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notesSlides/notesSlide9.xml" ContentType="application/vnd.openxmlformats-officedocument.presentationml.notesSlide+xml"/>
  <Override PartName="/ppt/tags/tag14.xml" ContentType="application/vnd.openxmlformats-officedocument.presentationml.tags+xml"/>
  <Override PartName="/ppt/notesSlides/notesSlide10.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11.xml" ContentType="application/vnd.openxmlformats-officedocument.presentationml.notesSlide+xml"/>
  <Override PartName="/ppt/tags/tag17.xml" ContentType="application/vnd.openxmlformats-officedocument.presentationml.tags+xml"/>
  <Override PartName="/ppt/notesSlides/notesSlide12.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3.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4.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5.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6.xml" ContentType="application/vnd.openxmlformats-officedocument.presentationml.notesSlide+xml"/>
  <Override PartName="/ppt/tags/tag26.xml" ContentType="application/vnd.openxmlformats-officedocument.presentationml.tags+xml"/>
  <Override PartName="/ppt/notesSlides/notesSlide17.xml" ContentType="application/vnd.openxmlformats-officedocument.presentationml.notesSlide+xml"/>
  <Override PartName="/ppt/tags/tag27.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8.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23.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26.xml" ContentType="application/vnd.openxmlformats-officedocument.presentationml.notesSlide+xml"/>
  <Override PartName="/ppt/tags/tag35.xml" ContentType="application/vnd.openxmlformats-officedocument.presentationml.tags+xml"/>
  <Override PartName="/ppt/notesSlides/notesSlide27.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28.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29.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30.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31.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32.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33.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34.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35.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36.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37.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38.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39.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40.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41.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42.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43.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4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70.xml" ContentType="application/vnd.openxmlformats-officedocument.presentationml.tags+xml"/>
  <Override PartName="/ppt/tags/tag71.xml" ContentType="application/vnd.openxmlformats-officedocument.presentationml.tags+xml"/>
  <Override PartName="/ppt/notesSlides/notesSlide45.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notesSlides/notesSlide46.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notesSlides/notesSlide47.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48.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49.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50.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notesSlides/notesSlide51.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52.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notesSlides/notesSlide53.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notesSlides/notesSlide54.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55.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notesSlides/notesSlide56.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notesSlides/notesSlide57.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notesSlides/notesSlide58.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notesSlides/notesSlide59.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notesSlides/notesSlide60.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notesSlides/notesSlide61.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notesSlides/notesSlide62.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notesSlides/notesSlide63.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notesSlides/notesSlide64.xml" ContentType="application/vnd.openxmlformats-officedocument.presentationml.notesSlide+xml"/>
  <Override PartName="/ppt/tags/tag111.xml" ContentType="application/vnd.openxmlformats-officedocument.presentationml.tags+xml"/>
  <Override PartName="/ppt/tags/tag112.xml" ContentType="application/vnd.openxmlformats-officedocument.presentationml.tags+xml"/>
  <Override PartName="/ppt/notesSlides/notesSlide65.xml" ContentType="application/vnd.openxmlformats-officedocument.presentationml.notesSlide+xml"/>
  <Override PartName="/ppt/tags/tag113.xml" ContentType="application/vnd.openxmlformats-officedocument.presentationml.tags+xml"/>
  <Override PartName="/ppt/tags/tag114.xml" ContentType="application/vnd.openxmlformats-officedocument.presentationml.tags+xml"/>
  <Override PartName="/ppt/notesSlides/notesSlide66.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notesSlides/notesSlide67.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notesSlides/notesSlide68.xml" ContentType="application/vnd.openxmlformats-officedocument.presentationml.notesSlide+xml"/>
  <Override PartName="/ppt/tags/tag119.xml" ContentType="application/vnd.openxmlformats-officedocument.presentationml.tags+xml"/>
  <Override PartName="/ppt/tags/tag120.xml" ContentType="application/vnd.openxmlformats-officedocument.presentationml.tags+xml"/>
  <Override PartName="/ppt/notesSlides/notesSlide69.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notesSlides/notesSlide70.xml" ContentType="application/vnd.openxmlformats-officedocument.presentationml.notesSlide+xml"/>
  <Override PartName="/ppt/tags/tag123.xml" ContentType="application/vnd.openxmlformats-officedocument.presentationml.tags+xml"/>
  <Override PartName="/ppt/tags/tag124.xml" ContentType="application/vnd.openxmlformats-officedocument.presentationml.tags+xml"/>
  <Override PartName="/ppt/notesSlides/notesSlide71.xml" ContentType="application/vnd.openxmlformats-officedocument.presentationml.notesSlide+xml"/>
  <Override PartName="/ppt/tags/tag125.xml" ContentType="application/vnd.openxmlformats-officedocument.presentationml.tags+xml"/>
  <Override PartName="/ppt/tags/tag126.xml" ContentType="application/vnd.openxmlformats-officedocument.presentationml.tags+xml"/>
  <Override PartName="/ppt/notesSlides/notesSlide72.xml" ContentType="application/vnd.openxmlformats-officedocument.presentationml.notesSlide+xml"/>
  <Override PartName="/ppt/tags/tag127.xml" ContentType="application/vnd.openxmlformats-officedocument.presentationml.tags+xml"/>
  <Override PartName="/ppt/tags/tag128.xml" ContentType="application/vnd.openxmlformats-officedocument.presentationml.tags+xml"/>
  <Override PartName="/ppt/notesSlides/notesSlide73.xml" ContentType="application/vnd.openxmlformats-officedocument.presentationml.notesSlide+xml"/>
  <Override PartName="/ppt/tags/tag129.xml" ContentType="application/vnd.openxmlformats-officedocument.presentationml.tags+xml"/>
  <Override PartName="/ppt/tags/tag130.xml" ContentType="application/vnd.openxmlformats-officedocument.presentationml.tags+xml"/>
  <Override PartName="/ppt/notesSlides/notesSlide74.xml" ContentType="application/vnd.openxmlformats-officedocument.presentationml.notesSlide+xml"/>
  <Override PartName="/ppt/tags/tag131.xml" ContentType="application/vnd.openxmlformats-officedocument.presentationml.tags+xml"/>
  <Override PartName="/ppt/tags/tag132.xml" ContentType="application/vnd.openxmlformats-officedocument.presentationml.tags+xml"/>
  <Override PartName="/ppt/notesSlides/notesSlide75.xml" ContentType="application/vnd.openxmlformats-officedocument.presentationml.notesSlide+xml"/>
  <Override PartName="/ppt/tags/tag133.xml" ContentType="application/vnd.openxmlformats-officedocument.presentationml.tags+xml"/>
  <Override PartName="/ppt/tags/tag134.xml" ContentType="application/vnd.openxmlformats-officedocument.presentationml.tags+xml"/>
  <Override PartName="/ppt/notesSlides/notesSlide7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135.xml" ContentType="application/vnd.openxmlformats-officedocument.presentationml.tags+xml"/>
  <Override PartName="/ppt/tags/tag136.xml" ContentType="application/vnd.openxmlformats-officedocument.presentationml.tags+xml"/>
  <Override PartName="/ppt/notesSlides/notesSlide77.xml" ContentType="application/vnd.openxmlformats-officedocument.presentationml.notesSlide+xml"/>
  <Override PartName="/ppt/tags/tag137.xml" ContentType="application/vnd.openxmlformats-officedocument.presentationml.tags+xml"/>
  <Override PartName="/ppt/tags/tag138.xml" ContentType="application/vnd.openxmlformats-officedocument.presentationml.tags+xml"/>
  <Override PartName="/ppt/notesSlides/notesSlide78.xml" ContentType="application/vnd.openxmlformats-officedocument.presentationml.notesSlide+xml"/>
  <Override PartName="/ppt/tags/tag139.xml" ContentType="application/vnd.openxmlformats-officedocument.presentationml.tags+xml"/>
  <Override PartName="/ppt/tags/tag140.xml" ContentType="application/vnd.openxmlformats-officedocument.presentationml.tags+xml"/>
  <Override PartName="/ppt/notesSlides/notesSlide79.xml" ContentType="application/vnd.openxmlformats-officedocument.presentationml.notesSlide+xml"/>
  <Override PartName="/ppt/tags/tag141.xml" ContentType="application/vnd.openxmlformats-officedocument.presentationml.tags+xml"/>
  <Override PartName="/ppt/tags/tag142.xml" ContentType="application/vnd.openxmlformats-officedocument.presentationml.tags+xml"/>
  <Override PartName="/ppt/notesSlides/notesSlide80.xml" ContentType="application/vnd.openxmlformats-officedocument.presentationml.notesSlide+xml"/>
  <Override PartName="/ppt/tags/tag143.xml" ContentType="application/vnd.openxmlformats-officedocument.presentationml.tags+xml"/>
  <Override PartName="/ppt/tags/tag144.xml" ContentType="application/vnd.openxmlformats-officedocument.presentationml.tags+xml"/>
  <Override PartName="/ppt/notesSlides/notesSlide81.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notesSlides/notesSlide82.xml" ContentType="application/vnd.openxmlformats-officedocument.presentationml.notesSlide+xml"/>
  <Override PartName="/ppt/tags/tag147.xml" ContentType="application/vnd.openxmlformats-officedocument.presentationml.tags+xml"/>
  <Override PartName="/ppt/tags/tag148.xml" ContentType="application/vnd.openxmlformats-officedocument.presentationml.tags+xml"/>
  <Override PartName="/ppt/notesSlides/notesSlide83.xml" ContentType="application/vnd.openxmlformats-officedocument.presentationml.notesSlide+xml"/>
  <Override PartName="/ppt/tags/tag149.xml" ContentType="application/vnd.openxmlformats-officedocument.presentationml.tags+xml"/>
  <Override PartName="/ppt/tags/tag150.xml" ContentType="application/vnd.openxmlformats-officedocument.presentationml.tags+xml"/>
  <Override PartName="/ppt/notesSlides/notesSlide84.xml" ContentType="application/vnd.openxmlformats-officedocument.presentationml.notesSlide+xml"/>
  <Override PartName="/ppt/tags/tag151.xml" ContentType="application/vnd.openxmlformats-officedocument.presentationml.tags+xml"/>
  <Override PartName="/ppt/tags/tag152.xml" ContentType="application/vnd.openxmlformats-officedocument.presentationml.tags+xml"/>
  <Override PartName="/ppt/notesSlides/notesSlide85.xml" ContentType="application/vnd.openxmlformats-officedocument.presentationml.notesSlide+xml"/>
  <Override PartName="/ppt/tags/tag153.xml" ContentType="application/vnd.openxmlformats-officedocument.presentationml.tags+xml"/>
  <Override PartName="/ppt/tags/tag154.xml" ContentType="application/vnd.openxmlformats-officedocument.presentationml.tags+xml"/>
  <Override PartName="/ppt/notesSlides/notesSlide86.xml" ContentType="application/vnd.openxmlformats-officedocument.presentationml.notesSlide+xml"/>
  <Override PartName="/ppt/tags/tag155.xml" ContentType="application/vnd.openxmlformats-officedocument.presentationml.tags+xml"/>
  <Override PartName="/ppt/notesSlides/notesSlide87.xml" ContentType="application/vnd.openxmlformats-officedocument.presentationml.notesSlide+xml"/>
  <Override PartName="/ppt/tags/tag156.xml" ContentType="application/vnd.openxmlformats-officedocument.presentationml.tags+xml"/>
  <Override PartName="/ppt/notesSlides/notesSlide88.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157.xml" ContentType="application/vnd.openxmlformats-officedocument.presentationml.tags+xml"/>
  <Override PartName="/ppt/notesSlides/notesSlide89.xml" ContentType="application/vnd.openxmlformats-officedocument.presentationml.notesSlide+xml"/>
  <Override PartName="/ppt/tags/tag158.xml" ContentType="application/vnd.openxmlformats-officedocument.presentationml.tags+xml"/>
  <Override PartName="/ppt/notesSlides/notesSlide90.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159.xml" ContentType="application/vnd.openxmlformats-officedocument.presentationml.tags+xml"/>
  <Override PartName="/ppt/notesSlides/notesSlide91.xml" ContentType="application/vnd.openxmlformats-officedocument.presentationml.notesSlide+xml"/>
  <Override PartName="/ppt/charts/chart11.xml" ContentType="application/vnd.openxmlformats-officedocument.drawingml.chart+xml"/>
  <Override PartName="/ppt/tags/tag160.xml" ContentType="application/vnd.openxmlformats-officedocument.presentationml.tags+xml"/>
  <Override PartName="/ppt/notesSlides/notesSlide92.xml" ContentType="application/vnd.openxmlformats-officedocument.presentationml.notesSlid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notesSlides/notesSlide93.xml" ContentType="application/vnd.openxmlformats-officedocument.presentationml.notesSlide+xml"/>
  <Override PartName="/ppt/charts/chart12.xml" ContentType="application/vnd.openxmlformats-officedocument.drawingml.chart+xml"/>
  <Override PartName="/ppt/tags/tag175.xml" ContentType="application/vnd.openxmlformats-officedocument.presentationml.tags+xml"/>
  <Override PartName="/ppt/notesSlides/notesSlide94.xml" ContentType="application/vnd.openxmlformats-officedocument.presentationml.notesSlide+xml"/>
  <Override PartName="/ppt/charts/chart13.xml" ContentType="application/vnd.openxmlformats-officedocument.drawingml.chart+xml"/>
  <Override PartName="/ppt/drawings/drawing1.xml" ContentType="application/vnd.openxmlformats-officedocument.drawingml.chartshapes+xml"/>
  <Override PartName="/ppt/tags/tag176.xml" ContentType="application/vnd.openxmlformats-officedocument.presentationml.tags+xml"/>
  <Override PartName="/ppt/notesSlides/notesSlide95.xml" ContentType="application/vnd.openxmlformats-officedocument.presentationml.notesSlide+xml"/>
  <Override PartName="/ppt/charts/chart14.xml" ContentType="application/vnd.openxmlformats-officedocument.drawingml.chart+xml"/>
  <Override PartName="/ppt/drawings/drawing2.xml" ContentType="application/vnd.openxmlformats-officedocument.drawingml.chartshapes+xml"/>
  <Override PartName="/ppt/charts/chart15.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xml" ContentType="application/vnd.openxmlformats-officedocument.themeOverride+xml"/>
  <Override PartName="/ppt/tags/tag177.xml" ContentType="application/vnd.openxmlformats-officedocument.presentationml.tags+xml"/>
  <Override PartName="/ppt/notesSlides/notesSlide96.xml" ContentType="application/vnd.openxmlformats-officedocument.presentationml.notesSlide+xml"/>
  <Override PartName="/ppt/tags/tag178.xml" ContentType="application/vnd.openxmlformats-officedocument.presentationml.tags+xml"/>
  <Override PartName="/ppt/notesSlides/notesSlide97.xml" ContentType="application/vnd.openxmlformats-officedocument.presentationml.notesSlide+xml"/>
  <Override PartName="/ppt/charts/chart16.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7.xml" ContentType="application/vnd.openxmlformats-officedocument.drawingml.chart+xml"/>
  <Override PartName="/ppt/theme/themeOverride2.xml" ContentType="application/vnd.openxmlformats-officedocument.themeOverride+xml"/>
  <Override PartName="/ppt/tags/tag179.xml" ContentType="application/vnd.openxmlformats-officedocument.presentationml.tags+xml"/>
  <Override PartName="/ppt/notesSlides/notesSlide98.xml" ContentType="application/vnd.openxmlformats-officedocument.presentationml.notesSlide+xml"/>
  <Override PartName="/ppt/charts/chart18.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9.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20.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21.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22.xml" ContentType="application/vnd.openxmlformats-officedocument.drawingml.chart+xml"/>
  <Override PartName="/ppt/charts/style17.xml" ContentType="application/vnd.ms-office.chartstyle+xml"/>
  <Override PartName="/ppt/charts/colors17.xml" ContentType="application/vnd.ms-office.chartcolorstyle+xml"/>
  <Override PartName="/ppt/tags/tag180.xml" ContentType="application/vnd.openxmlformats-officedocument.presentationml.tags+xml"/>
  <Override PartName="/ppt/notesSlides/notesSlide99.xml" ContentType="application/vnd.openxmlformats-officedocument.presentationml.notesSlide+xml"/>
  <Override PartName="/ppt/charts/chart23.xml" ContentType="application/vnd.openxmlformats-officedocument.drawingml.chart+xml"/>
  <Override PartName="/ppt/charts/style18.xml" ContentType="application/vnd.ms-office.chartstyle+xml"/>
  <Override PartName="/ppt/charts/colors18.xml" ContentType="application/vnd.ms-office.chartcolorstyle+xml"/>
  <Override PartName="/ppt/tags/tag181.xml" ContentType="application/vnd.openxmlformats-officedocument.presentationml.tags+xml"/>
  <Override PartName="/ppt/notesSlides/notesSlide100.xml" ContentType="application/vnd.openxmlformats-officedocument.presentationml.notesSlide+xml"/>
  <Override PartName="/ppt/charts/chart24.xml" ContentType="application/vnd.openxmlformats-officedocument.drawingml.chart+xml"/>
  <Override PartName="/ppt/charts/style19.xml" ContentType="application/vnd.ms-office.chartstyle+xml"/>
  <Override PartName="/ppt/charts/colors19.xml" ContentType="application/vnd.ms-office.chartcolorstyle+xml"/>
  <Override PartName="/ppt/tags/tag182.xml" ContentType="application/vnd.openxmlformats-officedocument.presentationml.tags+xml"/>
  <Override PartName="/ppt/notesSlides/notesSlide101.xml" ContentType="application/vnd.openxmlformats-officedocument.presentationml.notesSlide+xml"/>
  <Override PartName="/ppt/charts/chartEx1.xml" ContentType="application/vnd.ms-office.chartex+xml"/>
  <Override PartName="/ppt/charts/style20.xml" ContentType="application/vnd.ms-office.chartstyle+xml"/>
  <Override PartName="/ppt/charts/colors20.xml" ContentType="application/vnd.ms-office.chartcolorstyle+xml"/>
  <Override PartName="/ppt/tags/tag183.xml" ContentType="application/vnd.openxmlformats-officedocument.presentationml.tags+xml"/>
  <Override PartName="/ppt/notesSlides/notesSlide102.xml" ContentType="application/vnd.openxmlformats-officedocument.presentationml.notesSlide+xml"/>
  <Override PartName="/ppt/charts/chart25.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6.xml" ContentType="application/vnd.openxmlformats-officedocument.drawingml.chart+xml"/>
  <Override PartName="/ppt/charts/chart27.xml" ContentType="application/vnd.openxmlformats-officedocument.drawingml.chart+xml"/>
  <Override PartName="/ppt/charts/style22.xml" ContentType="application/vnd.ms-office.chartstyle+xml"/>
  <Override PartName="/ppt/charts/colors22.xml" ContentType="application/vnd.ms-office.chartcolorstyle+xml"/>
  <Override PartName="/ppt/tags/tag184.xml" ContentType="application/vnd.openxmlformats-officedocument.presentationml.tags+xml"/>
  <Override PartName="/ppt/notesSlides/notesSlide103.xml" ContentType="application/vnd.openxmlformats-officedocument.presentationml.notesSlide+xml"/>
  <Override PartName="/ppt/tags/tag185.xml" ContentType="application/vnd.openxmlformats-officedocument.presentationml.tags+xml"/>
  <Override PartName="/ppt/notesSlides/notesSlide104.xml" ContentType="application/vnd.openxmlformats-officedocument.presentationml.notesSlide+xml"/>
  <Override PartName="/ppt/charts/chart28.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9.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30.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31.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32.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33.xml" ContentType="application/vnd.openxmlformats-officedocument.drawingml.chart+xml"/>
  <Override PartName="/ppt/charts/style28.xml" ContentType="application/vnd.ms-office.chartstyle+xml"/>
  <Override PartName="/ppt/charts/colors28.xml" ContentType="application/vnd.ms-office.chartcolorstyle+xml"/>
  <Override PartName="/ppt/tags/tag186.xml" ContentType="application/vnd.openxmlformats-officedocument.presentationml.tags+xml"/>
  <Override PartName="/ppt/notesSlides/notesSlide105.xml" ContentType="application/vnd.openxmlformats-officedocument.presentationml.notesSlide+xml"/>
  <Override PartName="/ppt/tags/tag187.xml" ContentType="application/vnd.openxmlformats-officedocument.presentationml.tags+xml"/>
  <Override PartName="/ppt/notesSlides/notesSlide106.xml" ContentType="application/vnd.openxmlformats-officedocument.presentationml.notesSlide+xml"/>
  <Override PartName="/ppt/tags/tag188.xml" ContentType="application/vnd.openxmlformats-officedocument.presentationml.tags+xml"/>
  <Override PartName="/ppt/notesSlides/notesSlide107.xml" ContentType="application/vnd.openxmlformats-officedocument.presentationml.notesSlide+xml"/>
  <Override PartName="/ppt/charts/chart34.xml" ContentType="application/vnd.openxmlformats-officedocument.drawingml.chart+xml"/>
  <Override PartName="/ppt/charts/style29.xml" ContentType="application/vnd.ms-office.chartstyle+xml"/>
  <Override PartName="/ppt/charts/colors29.xml" ContentType="application/vnd.ms-office.chartcolorstyle+xml"/>
  <Override PartName="/ppt/theme/themeOverride3.xml" ContentType="application/vnd.openxmlformats-officedocument.themeOverride+xml"/>
  <Override PartName="/ppt/charts/chart35.xml" ContentType="application/vnd.openxmlformats-officedocument.drawingml.chart+xml"/>
  <Override PartName="/ppt/charts/style30.xml" ContentType="application/vnd.ms-office.chartstyle+xml"/>
  <Override PartName="/ppt/charts/colors30.xml" ContentType="application/vnd.ms-office.chartcolorstyle+xml"/>
  <Override PartName="/ppt/tags/tag189.xml" ContentType="application/vnd.openxmlformats-officedocument.presentationml.tags+xml"/>
  <Override PartName="/ppt/tags/tag190.xml" ContentType="application/vnd.openxmlformats-officedocument.presentationml.tags+xml"/>
  <Override PartName="/ppt/notesSlides/notesSlide108.xml" ContentType="application/vnd.openxmlformats-officedocument.presentationml.notesSlide+xml"/>
  <Override PartName="/ppt/tags/tag191.xml" ContentType="application/vnd.openxmlformats-officedocument.presentationml.tags+xml"/>
  <Override PartName="/ppt/notesSlides/notesSlide109.xml" ContentType="application/vnd.openxmlformats-officedocument.presentationml.notesSlide+xml"/>
  <Override PartName="/ppt/charts/chart36.xml" ContentType="application/vnd.openxmlformats-officedocument.drawingml.chart+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notesSlides/notesSlide110.xml" ContentType="application/vnd.openxmlformats-officedocument.presentationml.notesSlide+xml"/>
  <Override PartName="/ppt/charts/chart37.xml" ContentType="application/vnd.openxmlformats-officedocument.drawingml.chart+xml"/>
  <Override PartName="/ppt/tags/tag201.xml" ContentType="application/vnd.openxmlformats-officedocument.presentationml.tags+xml"/>
  <Override PartName="/ppt/notesSlides/notesSlide111.xml" ContentType="application/vnd.openxmlformats-officedocument.presentationml.notesSlide+xml"/>
  <Override PartName="/ppt/tags/tag202.xml" ContentType="application/vnd.openxmlformats-officedocument.presentationml.tags+xml"/>
  <Override PartName="/ppt/notesSlides/notesSlide112.xml" ContentType="application/vnd.openxmlformats-officedocument.presentationml.notesSlide+xml"/>
  <Override PartName="/ppt/charts/chart38.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9.xml" ContentType="application/vnd.openxmlformats-officedocument.drawingml.chart+xml"/>
  <Override PartName="/ppt/charts/style32.xml" ContentType="application/vnd.ms-office.chartstyle+xml"/>
  <Override PartName="/ppt/charts/colors32.xml" ContentType="application/vnd.ms-office.chartcolorstyle+xml"/>
  <Override PartName="/ppt/tags/tag203.xml" ContentType="application/vnd.openxmlformats-officedocument.presentationml.tags+xml"/>
  <Override PartName="/ppt/notesSlides/notesSlide113.xml" ContentType="application/vnd.openxmlformats-officedocument.presentationml.notesSlide+xml"/>
  <Override PartName="/ppt/charts/chart40.xml" ContentType="application/vnd.openxmlformats-officedocument.drawingml.chart+xml"/>
  <Override PartName="/ppt/theme/themeOverride4.xml" ContentType="application/vnd.openxmlformats-officedocument.themeOverride+xml"/>
  <Override PartName="/ppt/drawings/drawing3.xml" ContentType="application/vnd.openxmlformats-officedocument.drawingml.chartshape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notesSlides/notesSlide114.xml" ContentType="application/vnd.openxmlformats-officedocument.presentationml.notesSlide+xml"/>
  <Override PartName="/ppt/tags/tag209.xml" ContentType="application/vnd.openxmlformats-officedocument.presentationml.tags+xml"/>
  <Override PartName="/ppt/notesSlides/notesSlide115.xml" ContentType="application/vnd.openxmlformats-officedocument.presentationml.notesSlide+xml"/>
  <Override PartName="/ppt/tags/tag210.xml" ContentType="application/vnd.openxmlformats-officedocument.presentationml.tags+xml"/>
  <Override PartName="/ppt/notesSlides/notesSlide116.xml" ContentType="application/vnd.openxmlformats-officedocument.presentationml.notesSlide+xml"/>
  <Override PartName="/ppt/tags/tag211.xml" ContentType="application/vnd.openxmlformats-officedocument.presentationml.tags+xml"/>
  <Override PartName="/ppt/notesSlides/notesSlide117.xml" ContentType="application/vnd.openxmlformats-officedocument.presentationml.notesSlide+xml"/>
  <Override PartName="/ppt/charts/chart41.xml" ContentType="application/vnd.openxmlformats-officedocument.drawingml.chart+xml"/>
  <Override PartName="/ppt/charts/style33.xml" ContentType="application/vnd.ms-office.chartstyle+xml"/>
  <Override PartName="/ppt/charts/colors33.xml" ContentType="application/vnd.ms-office.chartcolorstyle+xml"/>
  <Override PartName="/ppt/tags/tag212.xml" ContentType="application/vnd.openxmlformats-officedocument.presentationml.tags+xml"/>
  <Override PartName="/ppt/notesSlides/notesSlide118.xml" ContentType="application/vnd.openxmlformats-officedocument.presentationml.notesSlide+xml"/>
  <Override PartName="/ppt/tags/tag213.xml" ContentType="application/vnd.openxmlformats-officedocument.presentationml.tags+xml"/>
  <Override PartName="/ppt/notesSlides/notesSlide119.xml" ContentType="application/vnd.openxmlformats-officedocument.presentationml.notesSlide+xml"/>
  <Override PartName="/ppt/tags/tag214.xml" ContentType="application/vnd.openxmlformats-officedocument.presentationml.tags+xml"/>
  <Override PartName="/ppt/tags/tag215.xml" ContentType="application/vnd.openxmlformats-officedocument.presentationml.tags+xml"/>
  <Override PartName="/ppt/notesSlides/notesSlide120.xml" ContentType="application/vnd.openxmlformats-officedocument.presentationml.notesSlide+xml"/>
  <Override PartName="/ppt/tags/tag216.xml" ContentType="application/vnd.openxmlformats-officedocument.presentationml.tags+xml"/>
  <Override PartName="/ppt/tags/tag217.xml" ContentType="application/vnd.openxmlformats-officedocument.presentationml.tags+xml"/>
  <Override PartName="/ppt/notesSlides/notesSlide121.xml" ContentType="application/vnd.openxmlformats-officedocument.presentationml.notesSlide+xml"/>
  <Override PartName="/ppt/tags/tag218.xml" ContentType="application/vnd.openxmlformats-officedocument.presentationml.tags+xml"/>
  <Override PartName="/ppt/tags/tag219.xml" ContentType="application/vnd.openxmlformats-officedocument.presentationml.tags+xml"/>
  <Override PartName="/ppt/notesSlides/notesSlide122.xml" ContentType="application/vnd.openxmlformats-officedocument.presentationml.notesSlide+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notesSlides/notesSlide123.xml" ContentType="application/vnd.openxmlformats-officedocument.presentationml.notesSlide+xml"/>
  <Override PartName="/ppt/charts/chart42.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43.xml" ContentType="application/vnd.openxmlformats-officedocument.drawingml.chart+xml"/>
  <Override PartName="/ppt/theme/themeOverride5.xml" ContentType="application/vnd.openxmlformats-officedocument.themeOverride+xml"/>
  <Override PartName="/ppt/tags/tag224.xml" ContentType="application/vnd.openxmlformats-officedocument.presentationml.tags+xml"/>
  <Override PartName="/ppt/tags/tag225.xml" ContentType="application/vnd.openxmlformats-officedocument.presentationml.tags+xml"/>
  <Override PartName="/ppt/notesSlides/notesSlide124.xml" ContentType="application/vnd.openxmlformats-officedocument.presentationml.notesSlide+xml"/>
  <Override PartName="/ppt/tags/tag226.xml" ContentType="application/vnd.openxmlformats-officedocument.presentationml.tags+xml"/>
  <Override PartName="/ppt/tags/tag227.xml" ContentType="application/vnd.openxmlformats-officedocument.presentationml.tags+xml"/>
  <Override PartName="/ppt/notesSlides/notesSlide125.xml" ContentType="application/vnd.openxmlformats-officedocument.presentationml.notesSlide+xml"/>
  <Override PartName="/ppt/charts/chart44.xml" ContentType="application/vnd.openxmlformats-officedocument.drawingml.chart+xml"/>
  <Override PartName="/ppt/charts/style35.xml" ContentType="application/vnd.ms-office.chartstyle+xml"/>
  <Override PartName="/ppt/charts/colors35.xml" ContentType="application/vnd.ms-office.chartcolorstyle+xml"/>
  <Override PartName="/ppt/drawings/drawing4.xml" ContentType="application/vnd.openxmlformats-officedocument.drawingml.chartshapes+xml"/>
  <Override PartName="/ppt/charts/chart45.xml" ContentType="application/vnd.openxmlformats-officedocument.drawingml.chart+xml"/>
  <Override PartName="/ppt/charts/style36.xml" ContentType="application/vnd.ms-office.chartstyle+xml"/>
  <Override PartName="/ppt/charts/colors36.xml" ContentType="application/vnd.ms-office.chartcolorstyl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tags/tag228.xml" ContentType="application/vnd.openxmlformats-officedocument.presentationml.tags+xml"/>
  <Override PartName="/ppt/tags/tag229.xml" ContentType="application/vnd.openxmlformats-officedocument.presentationml.tags+xml"/>
  <Override PartName="/ppt/notesSlides/notesSlide132.xml" ContentType="application/vnd.openxmlformats-officedocument.presentationml.notesSlide+xml"/>
  <Override PartName="/ppt/tags/tag230.xml" ContentType="application/vnd.openxmlformats-officedocument.presentationml.tags+xml"/>
  <Override PartName="/ppt/tags/tag231.xml" ContentType="application/vnd.openxmlformats-officedocument.presentationml.tags+xml"/>
  <Override PartName="/ppt/notesSlides/notesSlide133.xml" ContentType="application/vnd.openxmlformats-officedocument.presentationml.notesSlide+xml"/>
  <Override PartName="/ppt/tags/tag232.xml" ContentType="application/vnd.openxmlformats-officedocument.presentationml.tags+xml"/>
  <Override PartName="/ppt/tags/tag233.xml" ContentType="application/vnd.openxmlformats-officedocument.presentationml.tags+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tags/tag234.xml" ContentType="application/vnd.openxmlformats-officedocument.presentationml.tags+xml"/>
  <Override PartName="/ppt/tags/tag235.xml" ContentType="application/vnd.openxmlformats-officedocument.presentationml.tags+xml"/>
  <Override PartName="/ppt/notesSlides/notesSlide138.xml" ContentType="application/vnd.openxmlformats-officedocument.presentationml.notesSlide+xml"/>
  <Override PartName="/ppt/tags/tag236.xml" ContentType="application/vnd.openxmlformats-officedocument.presentationml.tags+xml"/>
  <Override PartName="/ppt/tags/tag237.xml" ContentType="application/vnd.openxmlformats-officedocument.presentationml.tags+xml"/>
  <Override PartName="/ppt/notesSlides/notesSlide139.xml" ContentType="application/vnd.openxmlformats-officedocument.presentationml.notesSlide+xml"/>
  <Override PartName="/ppt/tags/tag238.xml" ContentType="application/vnd.openxmlformats-officedocument.presentationml.tags+xml"/>
  <Override PartName="/ppt/tags/tag239.xml" ContentType="application/vnd.openxmlformats-officedocument.presentationml.tags+xml"/>
  <Override PartName="/ppt/notesSlides/notesSlide140.xml" ContentType="application/vnd.openxmlformats-officedocument.presentationml.notesSlide+xml"/>
  <Override PartName="/ppt/tags/tag240.xml" ContentType="application/vnd.openxmlformats-officedocument.presentationml.tags+xml"/>
  <Override PartName="/ppt/tags/tag241.xml" ContentType="application/vnd.openxmlformats-officedocument.presentationml.tags+xml"/>
  <Override PartName="/ppt/notesSlides/notesSlide141.xml" ContentType="application/vnd.openxmlformats-officedocument.presentationml.notesSlide+xml"/>
  <Override PartName="/ppt/tags/tag242.xml" ContentType="application/vnd.openxmlformats-officedocument.presentationml.tags+xml"/>
  <Override PartName="/ppt/tags/tag243.xml" ContentType="application/vnd.openxmlformats-officedocument.presentationml.tags+xml"/>
  <Override PartName="/ppt/notesSlides/notesSlide142.xml" ContentType="application/vnd.openxmlformats-officedocument.presentationml.notesSlide+xml"/>
  <Override PartName="/ppt/tags/tag244.xml" ContentType="application/vnd.openxmlformats-officedocument.presentationml.tags+xml"/>
  <Override PartName="/ppt/tags/tag245.xml" ContentType="application/vnd.openxmlformats-officedocument.presentationml.tags+xml"/>
  <Override PartName="/ppt/notesSlides/notesSlide143.xml" ContentType="application/vnd.openxmlformats-officedocument.presentationml.notesSlide+xml"/>
  <Override PartName="/ppt/tags/tag246.xml" ContentType="application/vnd.openxmlformats-officedocument.presentationml.tags+xml"/>
  <Override PartName="/ppt/tags/tag247.xml" ContentType="application/vnd.openxmlformats-officedocument.presentationml.tags+xml"/>
  <Override PartName="/ppt/notesSlides/notesSlide144.xml" ContentType="application/vnd.openxmlformats-officedocument.presentationml.notesSlide+xml"/>
  <Override PartName="/ppt/tags/tag248.xml" ContentType="application/vnd.openxmlformats-officedocument.presentationml.tags+xml"/>
  <Override PartName="/ppt/notesSlides/notesSlide145.xml" ContentType="application/vnd.openxmlformats-officedocument.presentationml.notesSlide+xml"/>
  <Override PartName="/ppt/tags/tag249.xml" ContentType="application/vnd.openxmlformats-officedocument.presentationml.tags+xml"/>
  <Override PartName="/ppt/tags/tag250.xml" ContentType="application/vnd.openxmlformats-officedocument.presentationml.tags+xml"/>
  <Override PartName="/ppt/notesSlides/notesSlide146.xml" ContentType="application/vnd.openxmlformats-officedocument.presentationml.notesSlide+xml"/>
  <Override PartName="/ppt/tags/tag251.xml" ContentType="application/vnd.openxmlformats-officedocument.presentationml.tags+xml"/>
  <Override PartName="/ppt/tags/tag252.xml" ContentType="application/vnd.openxmlformats-officedocument.presentationml.tags+xml"/>
  <Override PartName="/ppt/notesSlides/notesSlide147.xml" ContentType="application/vnd.openxmlformats-officedocument.presentationml.notesSlide+xml"/>
  <Override PartName="/ppt/tags/tag253.xml" ContentType="application/vnd.openxmlformats-officedocument.presentationml.tags+xml"/>
  <Override PartName="/ppt/tags/tag254.xml" ContentType="application/vnd.openxmlformats-officedocument.presentationml.tags+xml"/>
  <Override PartName="/ppt/notesSlides/notesSlide148.xml" ContentType="application/vnd.openxmlformats-officedocument.presentationml.notesSlide+xml"/>
  <Override PartName="/ppt/tags/tag255.xml" ContentType="application/vnd.openxmlformats-officedocument.presentationml.tags+xml"/>
  <Override PartName="/ppt/tags/tag256.xml" ContentType="application/vnd.openxmlformats-officedocument.presentationml.tags+xml"/>
  <Override PartName="/ppt/notesSlides/notesSlide149.xml" ContentType="application/vnd.openxmlformats-officedocument.presentationml.notesSlide+xml"/>
  <Override PartName="/ppt/tags/tag257.xml" ContentType="application/vnd.openxmlformats-officedocument.presentationml.tags+xml"/>
  <Override PartName="/ppt/tags/tag258.xml" ContentType="application/vnd.openxmlformats-officedocument.presentationml.tags+xml"/>
  <Override PartName="/ppt/notesSlides/notesSlide150.xml" ContentType="application/vnd.openxmlformats-officedocument.presentationml.notesSlide+xml"/>
  <Override PartName="/ppt/tags/tag259.xml" ContentType="application/vnd.openxmlformats-officedocument.presentationml.tags+xml"/>
  <Override PartName="/ppt/tags/tag260.xml" ContentType="application/vnd.openxmlformats-officedocument.presentationml.tags+xml"/>
  <Override PartName="/ppt/notesSlides/notesSlide151.xml" ContentType="application/vnd.openxmlformats-officedocument.presentationml.notesSlide+xml"/>
  <Override PartName="/ppt/tags/tag261.xml" ContentType="application/vnd.openxmlformats-officedocument.presentationml.tags+xml"/>
  <Override PartName="/ppt/tags/tag262.xml" ContentType="application/vnd.openxmlformats-officedocument.presentationml.tags+xml"/>
  <Override PartName="/ppt/notesSlides/notesSlide152.xml" ContentType="application/vnd.openxmlformats-officedocument.presentationml.notesSlide+xml"/>
  <Override PartName="/ppt/tags/tag263.xml" ContentType="application/vnd.openxmlformats-officedocument.presentationml.tags+xml"/>
  <Override PartName="/ppt/tags/tag264.xml" ContentType="application/vnd.openxmlformats-officedocument.presentationml.tags+xml"/>
  <Override PartName="/ppt/notesSlides/notesSlide153.xml" ContentType="application/vnd.openxmlformats-officedocument.presentationml.notesSlide+xml"/>
  <Override PartName="/ppt/tags/tag265.xml" ContentType="application/vnd.openxmlformats-officedocument.presentationml.tags+xml"/>
  <Override PartName="/ppt/tags/tag266.xml" ContentType="application/vnd.openxmlformats-officedocument.presentationml.tags+xml"/>
  <Override PartName="/ppt/notesSlides/notesSlide154.xml" ContentType="application/vnd.openxmlformats-officedocument.presentationml.notesSlide+xml"/>
  <Override PartName="/ppt/tags/tag267.xml" ContentType="application/vnd.openxmlformats-officedocument.presentationml.tags+xml"/>
  <Override PartName="/ppt/tags/tag268.xml" ContentType="application/vnd.openxmlformats-officedocument.presentationml.tags+xml"/>
  <Override PartName="/ppt/notesSlides/notesSlide155.xml" ContentType="application/vnd.openxmlformats-officedocument.presentationml.notesSlide+xml"/>
  <Override PartName="/ppt/tags/tag269.xml" ContentType="application/vnd.openxmlformats-officedocument.presentationml.tags+xml"/>
  <Override PartName="/ppt/tags/tag270.xml" ContentType="application/vnd.openxmlformats-officedocument.presentationml.tags+xml"/>
  <Override PartName="/ppt/notesSlides/notesSlide156.xml" ContentType="application/vnd.openxmlformats-officedocument.presentationml.notesSlide+xml"/>
  <Override PartName="/ppt/tags/tag271.xml" ContentType="application/vnd.openxmlformats-officedocument.presentationml.tags+xml"/>
  <Override PartName="/ppt/tags/tag272.xml" ContentType="application/vnd.openxmlformats-officedocument.presentationml.tags+xml"/>
  <Override PartName="/ppt/notesSlides/notesSlide157.xml" ContentType="application/vnd.openxmlformats-officedocument.presentationml.notesSlide+xml"/>
  <Override PartName="/ppt/tags/tag273.xml" ContentType="application/vnd.openxmlformats-officedocument.presentationml.tags+xml"/>
  <Override PartName="/ppt/tags/tag274.xml" ContentType="application/vnd.openxmlformats-officedocument.presentationml.tags+xml"/>
  <Override PartName="/ppt/notesSlides/notesSlide158.xml" ContentType="application/vnd.openxmlformats-officedocument.presentationml.notesSlide+xml"/>
  <Override PartName="/ppt/tags/tag275.xml" ContentType="application/vnd.openxmlformats-officedocument.presentationml.tags+xml"/>
  <Override PartName="/ppt/tags/tag276.xml" ContentType="application/vnd.openxmlformats-officedocument.presentationml.tags+xml"/>
  <Override PartName="/ppt/notesSlides/notesSlide159.xml" ContentType="application/vnd.openxmlformats-officedocument.presentationml.notesSlide+xml"/>
  <Override PartName="/ppt/tags/tag277.xml" ContentType="application/vnd.openxmlformats-officedocument.presentationml.tags+xml"/>
  <Override PartName="/ppt/tags/tag278.xml" ContentType="application/vnd.openxmlformats-officedocument.presentationml.tags+xml"/>
  <Override PartName="/ppt/notesSlides/notesSlide160.xml" ContentType="application/vnd.openxmlformats-officedocument.presentationml.notesSlide+xml"/>
  <Override PartName="/ppt/tags/tag279.xml" ContentType="application/vnd.openxmlformats-officedocument.presentationml.tags+xml"/>
  <Override PartName="/ppt/tags/tag280.xml" ContentType="application/vnd.openxmlformats-officedocument.presentationml.tags+xml"/>
  <Override PartName="/ppt/notesSlides/notesSlide161.xml" ContentType="application/vnd.openxmlformats-officedocument.presentationml.notesSlide+xml"/>
  <Override PartName="/ppt/tags/tag281.xml" ContentType="application/vnd.openxmlformats-officedocument.presentationml.tags+xml"/>
  <Override PartName="/ppt/tags/tag282.xml" ContentType="application/vnd.openxmlformats-officedocument.presentationml.tags+xml"/>
  <Override PartName="/ppt/notesSlides/notesSlide162.xml" ContentType="application/vnd.openxmlformats-officedocument.presentationml.notesSlide+xml"/>
  <Override PartName="/ppt/tags/tag283.xml" ContentType="application/vnd.openxmlformats-officedocument.presentationml.tags+xml"/>
  <Override PartName="/ppt/notesSlides/notesSlide163.xml" ContentType="application/vnd.openxmlformats-officedocument.presentationml.notesSlide+xml"/>
  <Override PartName="/ppt/tags/tag284.xml" ContentType="application/vnd.openxmlformats-officedocument.presentationml.tags+xml"/>
  <Override PartName="/ppt/tags/tag285.xml" ContentType="application/vnd.openxmlformats-officedocument.presentationml.tags+xml"/>
  <Override PartName="/ppt/notesSlides/notesSlide164.xml" ContentType="application/vnd.openxmlformats-officedocument.presentationml.notesSlide+xml"/>
  <Override PartName="/ppt/tags/tag286.xml" ContentType="application/vnd.openxmlformats-officedocument.presentationml.tags+xml"/>
  <Override PartName="/ppt/tags/tag287.xml" ContentType="application/vnd.openxmlformats-officedocument.presentationml.tags+xml"/>
  <Override PartName="/ppt/notesSlides/notesSlide165.xml" ContentType="application/vnd.openxmlformats-officedocument.presentationml.notesSlide+xml"/>
  <Override PartName="/ppt/tags/tag288.xml" ContentType="application/vnd.openxmlformats-officedocument.presentationml.tags+xml"/>
  <Override PartName="/ppt/tags/tag289.xml" ContentType="application/vnd.openxmlformats-officedocument.presentationml.tags+xml"/>
  <Override PartName="/ppt/notesSlides/notesSlide166.xml" ContentType="application/vnd.openxmlformats-officedocument.presentationml.notesSlide+xml"/>
  <Override PartName="/ppt/tags/tag290.xml" ContentType="application/vnd.openxmlformats-officedocument.presentationml.tags+xml"/>
  <Override PartName="/ppt/tags/tag291.xml" ContentType="application/vnd.openxmlformats-officedocument.presentationml.tags+xml"/>
  <Override PartName="/ppt/notesSlides/notesSlide167.xml" ContentType="application/vnd.openxmlformats-officedocument.presentationml.notesSlide+xml"/>
  <Override PartName="/ppt/tags/tag292.xml" ContentType="application/vnd.openxmlformats-officedocument.presentationml.tags+xml"/>
  <Override PartName="/ppt/tags/tag293.xml" ContentType="application/vnd.openxmlformats-officedocument.presentationml.tags+xml"/>
  <Override PartName="/ppt/notesSlides/notesSlide168.xml" ContentType="application/vnd.openxmlformats-officedocument.presentationml.notesSlide+xml"/>
  <Override PartName="/ppt/tags/tag294.xml" ContentType="application/vnd.openxmlformats-officedocument.presentationml.tags+xml"/>
  <Override PartName="/ppt/tags/tag295.xml" ContentType="application/vnd.openxmlformats-officedocument.presentationml.tags+xml"/>
  <Override PartName="/ppt/notesSlides/notesSlide169.xml" ContentType="application/vnd.openxmlformats-officedocument.presentationml.notesSlide+xml"/>
  <Override PartName="/ppt/tags/tag296.xml" ContentType="application/vnd.openxmlformats-officedocument.presentationml.tags+xml"/>
  <Override PartName="/ppt/tags/tag297.xml" ContentType="application/vnd.openxmlformats-officedocument.presentationml.tags+xml"/>
  <Override PartName="/ppt/notesSlides/notesSlide170.xml" ContentType="application/vnd.openxmlformats-officedocument.presentationml.notesSlide+xml"/>
  <Override PartName="/ppt/tags/tag298.xml" ContentType="application/vnd.openxmlformats-officedocument.presentationml.tags+xml"/>
  <Override PartName="/ppt/tags/tag299.xml" ContentType="application/vnd.openxmlformats-officedocument.presentationml.tags+xml"/>
  <Override PartName="/ppt/notesSlides/notesSlide171.xml" ContentType="application/vnd.openxmlformats-officedocument.presentationml.notesSlide+xml"/>
  <Override PartName="/ppt/tags/tag300.xml" ContentType="application/vnd.openxmlformats-officedocument.presentationml.tags+xml"/>
  <Override PartName="/ppt/tags/tag301.xml" ContentType="application/vnd.openxmlformats-officedocument.presentationml.tags+xml"/>
  <Override PartName="/ppt/notesSlides/notesSlide172.xml" ContentType="application/vnd.openxmlformats-officedocument.presentationml.notesSlide+xml"/>
  <Override PartName="/ppt/charts/chart46.xml" ContentType="application/vnd.openxmlformats-officedocument.drawingml.chart+xml"/>
  <Override PartName="/ppt/theme/themeOverride6.xml" ContentType="application/vnd.openxmlformats-officedocument.themeOverride+xml"/>
  <Override PartName="/ppt/tags/tag302.xml" ContentType="application/vnd.openxmlformats-officedocument.presentationml.tags+xml"/>
  <Override PartName="/ppt/tags/tag303.xml" ContentType="application/vnd.openxmlformats-officedocument.presentationml.tags+xml"/>
  <Override PartName="/ppt/notesSlides/notesSlide173.xml" ContentType="application/vnd.openxmlformats-officedocument.presentationml.notesSlide+xml"/>
  <Override PartName="/ppt/tags/tag304.xml" ContentType="application/vnd.openxmlformats-officedocument.presentationml.tags+xml"/>
  <Override PartName="/ppt/tags/tag305.xml" ContentType="application/vnd.openxmlformats-officedocument.presentationml.tags+xml"/>
  <Override PartName="/ppt/notesSlides/notesSlide174.xml" ContentType="application/vnd.openxmlformats-officedocument.presentationml.notesSlide+xml"/>
  <Override PartName="/ppt/tags/tag306.xml" ContentType="application/vnd.openxmlformats-officedocument.presentationml.tags+xml"/>
  <Override PartName="/ppt/tags/tag307.xml" ContentType="application/vnd.openxmlformats-officedocument.presentationml.tags+xml"/>
  <Override PartName="/ppt/notesSlides/notesSlide175.xml" ContentType="application/vnd.openxmlformats-officedocument.presentationml.notesSlide+xml"/>
  <Override PartName="/ppt/tags/tag308.xml" ContentType="application/vnd.openxmlformats-officedocument.presentationml.tags+xml"/>
  <Override PartName="/ppt/tags/tag309.xml" ContentType="application/vnd.openxmlformats-officedocument.presentationml.tags+xml"/>
  <Override PartName="/ppt/notesSlides/notesSlide176.xml" ContentType="application/vnd.openxmlformats-officedocument.presentationml.notesSlide+xml"/>
  <Override PartName="/ppt/tags/tag310.xml" ContentType="application/vnd.openxmlformats-officedocument.presentationml.tags+xml"/>
  <Override PartName="/ppt/tags/tag311.xml" ContentType="application/vnd.openxmlformats-officedocument.presentationml.tags+xml"/>
  <Override PartName="/ppt/notesSlides/notesSlide177.xml" ContentType="application/vnd.openxmlformats-officedocument.presentationml.notesSlide+xml"/>
  <Override PartName="/ppt/tags/tag312.xml" ContentType="application/vnd.openxmlformats-officedocument.presentationml.tags+xml"/>
  <Override PartName="/ppt/tags/tag313.xml" ContentType="application/vnd.openxmlformats-officedocument.presentationml.tags+xml"/>
  <Override PartName="/ppt/notesSlides/notesSlide178.xml" ContentType="application/vnd.openxmlformats-officedocument.presentationml.notesSlide+xml"/>
  <Override PartName="/ppt/charts/chart47.xml" ContentType="application/vnd.openxmlformats-officedocument.drawingml.chart+xml"/>
  <Override PartName="/ppt/charts/style37.xml" ContentType="application/vnd.ms-office.chartstyle+xml"/>
  <Override PartName="/ppt/charts/colors37.xml" ContentType="application/vnd.ms-office.chartcolorstyle+xml"/>
  <Override PartName="/ppt/drawings/drawing5.xml" ContentType="application/vnd.openxmlformats-officedocument.drawingml.chartshapes+xml"/>
  <Override PartName="/ppt/tags/tag314.xml" ContentType="application/vnd.openxmlformats-officedocument.presentationml.tags+xml"/>
  <Override PartName="/ppt/tags/tag315.xml" ContentType="application/vnd.openxmlformats-officedocument.presentationml.tags+xml"/>
  <Override PartName="/ppt/notesSlides/notesSlide179.xml" ContentType="application/vnd.openxmlformats-officedocument.presentationml.notesSlide+xml"/>
  <Override PartName="/ppt/tags/tag316.xml" ContentType="application/vnd.openxmlformats-officedocument.presentationml.tags+xml"/>
  <Override PartName="/ppt/tags/tag317.xml" ContentType="application/vnd.openxmlformats-officedocument.presentationml.tags+xml"/>
  <Override PartName="/ppt/notesSlides/notesSlide180.xml" ContentType="application/vnd.openxmlformats-officedocument.presentationml.notesSlide+xml"/>
  <Override PartName="/ppt/tags/tag318.xml" ContentType="application/vnd.openxmlformats-officedocument.presentationml.tags+xml"/>
  <Override PartName="/ppt/tags/tag319.xml" ContentType="application/vnd.openxmlformats-officedocument.presentationml.tags+xml"/>
  <Override PartName="/ppt/notesSlides/notesSlide181.xml" ContentType="application/vnd.openxmlformats-officedocument.presentationml.notesSlide+xml"/>
  <Override PartName="/ppt/tags/tag320.xml" ContentType="application/vnd.openxmlformats-officedocument.presentationml.tags+xml"/>
  <Override PartName="/ppt/notesSlides/notesSlide182.xml" ContentType="application/vnd.openxmlformats-officedocument.presentationml.notesSlide+xml"/>
  <Override PartName="/ppt/tags/tag321.xml" ContentType="application/vnd.openxmlformats-officedocument.presentationml.tags+xml"/>
  <Override PartName="/ppt/tags/tag322.xml" ContentType="application/vnd.openxmlformats-officedocument.presentationml.tags+xml"/>
  <Override PartName="/ppt/notesSlides/notesSlide183.xml" ContentType="application/vnd.openxmlformats-officedocument.presentationml.notesSlide+xml"/>
  <Override PartName="/ppt/tags/tag323.xml" ContentType="application/vnd.openxmlformats-officedocument.presentationml.tags+xml"/>
  <Override PartName="/ppt/tags/tag324.xml" ContentType="application/vnd.openxmlformats-officedocument.presentationml.tags+xml"/>
  <Override PartName="/ppt/notesSlides/notesSlide184.xml" ContentType="application/vnd.openxmlformats-officedocument.presentationml.notesSlide+xml"/>
  <Override PartName="/ppt/tags/tag325.xml" ContentType="application/vnd.openxmlformats-officedocument.presentationml.tags+xml"/>
  <Override PartName="/ppt/tags/tag326.xml" ContentType="application/vnd.openxmlformats-officedocument.presentationml.tags+xml"/>
  <Override PartName="/ppt/notesSlides/notesSlide185.xml" ContentType="application/vnd.openxmlformats-officedocument.presentationml.notesSlide+xml"/>
  <Override PartName="/ppt/tags/tag327.xml" ContentType="application/vnd.openxmlformats-officedocument.presentationml.tags+xml"/>
  <Override PartName="/ppt/tags/tag328.xml" ContentType="application/vnd.openxmlformats-officedocument.presentationml.tags+xml"/>
  <Override PartName="/ppt/notesSlides/notesSlide186.xml" ContentType="application/vnd.openxmlformats-officedocument.presentationml.notesSlide+xml"/>
  <Override PartName="/ppt/tags/tag329.xml" ContentType="application/vnd.openxmlformats-officedocument.presentationml.tags+xml"/>
  <Override PartName="/ppt/tags/tag330.xml" ContentType="application/vnd.openxmlformats-officedocument.presentationml.tags+xml"/>
  <Override PartName="/ppt/notesSlides/notesSlide187.xml" ContentType="application/vnd.openxmlformats-officedocument.presentationml.notesSlide+xml"/>
  <Override PartName="/ppt/tags/tag331.xml" ContentType="application/vnd.openxmlformats-officedocument.presentationml.tags+xml"/>
  <Override PartName="/ppt/tags/tag332.xml" ContentType="application/vnd.openxmlformats-officedocument.presentationml.tags+xml"/>
  <Override PartName="/ppt/notesSlides/notesSlide188.xml" ContentType="application/vnd.openxmlformats-officedocument.presentationml.notesSlide+xml"/>
  <Override PartName="/ppt/tags/tag333.xml" ContentType="application/vnd.openxmlformats-officedocument.presentationml.tags+xml"/>
  <Override PartName="/ppt/tags/tag334.xml" ContentType="application/vnd.openxmlformats-officedocument.presentationml.tags+xml"/>
  <Override PartName="/ppt/notesSlides/notesSlide189.xml" ContentType="application/vnd.openxmlformats-officedocument.presentationml.notesSlide+xml"/>
  <Override PartName="/ppt/tags/tag335.xml" ContentType="application/vnd.openxmlformats-officedocument.presentationml.tags+xml"/>
  <Override PartName="/ppt/tags/tag336.xml" ContentType="application/vnd.openxmlformats-officedocument.presentationml.tags+xml"/>
  <Override PartName="/ppt/notesSlides/notesSlide190.xml" ContentType="application/vnd.openxmlformats-officedocument.presentationml.notesSlide+xml"/>
  <Override PartName="/ppt/tags/tag337.xml" ContentType="application/vnd.openxmlformats-officedocument.presentationml.tags+xml"/>
  <Override PartName="/ppt/tags/tag338.xml" ContentType="application/vnd.openxmlformats-officedocument.presentationml.tags+xml"/>
  <Override PartName="/ppt/notesSlides/notesSlide191.xml" ContentType="application/vnd.openxmlformats-officedocument.presentationml.notesSlide+xml"/>
  <Override PartName="/ppt/tags/tag339.xml" ContentType="application/vnd.openxmlformats-officedocument.presentationml.tags+xml"/>
  <Override PartName="/ppt/tags/tag340.xml" ContentType="application/vnd.openxmlformats-officedocument.presentationml.tags+xml"/>
  <Override PartName="/ppt/notesSlides/notesSlide192.xml" ContentType="application/vnd.openxmlformats-officedocument.presentationml.notesSlide+xml"/>
  <Override PartName="/ppt/tags/tag341.xml" ContentType="application/vnd.openxmlformats-officedocument.presentationml.tags+xml"/>
  <Override PartName="/ppt/tags/tag342.xml" ContentType="application/vnd.openxmlformats-officedocument.presentationml.tags+xml"/>
  <Override PartName="/ppt/notesSlides/notesSlide193.xml" ContentType="application/vnd.openxmlformats-officedocument.presentationml.notesSlide+xml"/>
  <Override PartName="/ppt/tags/tag343.xml" ContentType="application/vnd.openxmlformats-officedocument.presentationml.tags+xml"/>
  <Override PartName="/ppt/tags/tag344.xml" ContentType="application/vnd.openxmlformats-officedocument.presentationml.tags+xml"/>
  <Override PartName="/ppt/notesSlides/notesSlide194.xml" ContentType="application/vnd.openxmlformats-officedocument.presentationml.notesSlide+xml"/>
  <Override PartName="/ppt/tags/tag345.xml" ContentType="application/vnd.openxmlformats-officedocument.presentationml.tags+xml"/>
  <Override PartName="/ppt/tags/tag346.xml" ContentType="application/vnd.openxmlformats-officedocument.presentationml.tags+xml"/>
  <Override PartName="/ppt/notesSlides/notesSlide195.xml" ContentType="application/vnd.openxmlformats-officedocument.presentationml.notesSlide+xml"/>
  <Override PartName="/ppt/tags/tag347.xml" ContentType="application/vnd.openxmlformats-officedocument.presentationml.tags+xml"/>
  <Override PartName="/ppt/tags/tag348.xml" ContentType="application/vnd.openxmlformats-officedocument.presentationml.tags+xml"/>
  <Override PartName="/ppt/notesSlides/notesSlide196.xml" ContentType="application/vnd.openxmlformats-officedocument.presentationml.notesSlide+xml"/>
  <Override PartName="/ppt/tags/tag349.xml" ContentType="application/vnd.openxmlformats-officedocument.presentationml.tags+xml"/>
  <Override PartName="/ppt/tags/tag350.xml" ContentType="application/vnd.openxmlformats-officedocument.presentationml.tags+xml"/>
  <Override PartName="/ppt/notesSlides/notesSlide197.xml" ContentType="application/vnd.openxmlformats-officedocument.presentationml.notesSlide+xml"/>
  <Override PartName="/ppt/tags/tag351.xml" ContentType="application/vnd.openxmlformats-officedocument.presentationml.tags+xml"/>
  <Override PartName="/ppt/tags/tag352.xml" ContentType="application/vnd.openxmlformats-officedocument.presentationml.tags+xml"/>
  <Override PartName="/ppt/notesSlides/notesSlide198.xml" ContentType="application/vnd.openxmlformats-officedocument.presentationml.notesSlide+xml"/>
  <Override PartName="/ppt/tags/tag353.xml" ContentType="application/vnd.openxmlformats-officedocument.presentationml.tags+xml"/>
  <Override PartName="/ppt/tags/tag354.xml" ContentType="application/vnd.openxmlformats-officedocument.presentationml.tags+xml"/>
  <Override PartName="/ppt/notesSlides/notesSlide199.xml" ContentType="application/vnd.openxmlformats-officedocument.presentationml.notesSlide+xml"/>
  <Override PartName="/ppt/tags/tag355.xml" ContentType="application/vnd.openxmlformats-officedocument.presentationml.tags+xml"/>
  <Override PartName="/ppt/tags/tag356.xml" ContentType="application/vnd.openxmlformats-officedocument.presentationml.tags+xml"/>
  <Override PartName="/ppt/notesSlides/notesSlide200.xml" ContentType="application/vnd.openxmlformats-officedocument.presentationml.notesSlide+xml"/>
  <Override PartName="/ppt/tags/tag357.xml" ContentType="application/vnd.openxmlformats-officedocument.presentationml.tags+xml"/>
  <Override PartName="/ppt/tags/tag358.xml" ContentType="application/vnd.openxmlformats-officedocument.presentationml.tags+xml"/>
  <Override PartName="/ppt/notesSlides/notesSlide201.xml" ContentType="application/vnd.openxmlformats-officedocument.presentationml.notesSlide+xml"/>
  <Override PartName="/ppt/tags/tag359.xml" ContentType="application/vnd.openxmlformats-officedocument.presentationml.tags+xml"/>
  <Override PartName="/ppt/tags/tag360.xml" ContentType="application/vnd.openxmlformats-officedocument.presentationml.tags+xml"/>
  <Override PartName="/ppt/notesSlides/notesSlide202.xml" ContentType="application/vnd.openxmlformats-officedocument.presentationml.notesSlide+xml"/>
  <Override PartName="/ppt/tags/tag361.xml" ContentType="application/vnd.openxmlformats-officedocument.presentationml.tags+xml"/>
  <Override PartName="/ppt/tags/tag362.xml" ContentType="application/vnd.openxmlformats-officedocument.presentationml.tags+xml"/>
  <Override PartName="/ppt/notesSlides/notesSlide203.xml" ContentType="application/vnd.openxmlformats-officedocument.presentationml.notesSlide+xml"/>
  <Override PartName="/ppt/tags/tag363.xml" ContentType="application/vnd.openxmlformats-officedocument.presentationml.tags+xml"/>
  <Override PartName="/ppt/tags/tag364.xml" ContentType="application/vnd.openxmlformats-officedocument.presentationml.tags+xml"/>
  <Override PartName="/ppt/notesSlides/notesSlide204.xml" ContentType="application/vnd.openxmlformats-officedocument.presentationml.notesSlide+xml"/>
  <Override PartName="/ppt/tags/tag365.xml" ContentType="application/vnd.openxmlformats-officedocument.presentationml.tags+xml"/>
  <Override PartName="/ppt/tags/tag366.xml" ContentType="application/vnd.openxmlformats-officedocument.presentationml.tags+xml"/>
  <Override PartName="/ppt/notesSlides/notesSlide205.xml" ContentType="application/vnd.openxmlformats-officedocument.presentationml.notesSlide+xml"/>
  <Override PartName="/ppt/tags/tag367.xml" ContentType="application/vnd.openxmlformats-officedocument.presentationml.tags+xml"/>
  <Override PartName="/ppt/tags/tag368.xml" ContentType="application/vnd.openxmlformats-officedocument.presentationml.tags+xml"/>
  <Override PartName="/ppt/notesSlides/notesSlide206.xml" ContentType="application/vnd.openxmlformats-officedocument.presentationml.notesSlide+xml"/>
  <Override PartName="/ppt/tags/tag369.xml" ContentType="application/vnd.openxmlformats-officedocument.presentationml.tags+xml"/>
  <Override PartName="/ppt/tags/tag370.xml" ContentType="application/vnd.openxmlformats-officedocument.presentationml.tags+xml"/>
  <Override PartName="/ppt/notesSlides/notesSlide207.xml" ContentType="application/vnd.openxmlformats-officedocument.presentationml.notesSlide+xml"/>
  <Override PartName="/ppt/tags/tag371.xml" ContentType="application/vnd.openxmlformats-officedocument.presentationml.tags+xml"/>
  <Override PartName="/ppt/tags/tag372.xml" ContentType="application/vnd.openxmlformats-officedocument.presentationml.tags+xml"/>
  <Override PartName="/ppt/notesSlides/notesSlide208.xml" ContentType="application/vnd.openxmlformats-officedocument.presentationml.notesSlide+xml"/>
  <Override PartName="/ppt/tags/tag373.xml" ContentType="application/vnd.openxmlformats-officedocument.presentationml.tags+xml"/>
  <Override PartName="/ppt/tags/tag374.xml" ContentType="application/vnd.openxmlformats-officedocument.presentationml.tags+xml"/>
  <Override PartName="/ppt/notesSlides/notesSlide209.xml" ContentType="application/vnd.openxmlformats-officedocument.presentationml.notesSlide+xml"/>
  <Override PartName="/ppt/tags/tag375.xml" ContentType="application/vnd.openxmlformats-officedocument.presentationml.tags+xml"/>
  <Override PartName="/ppt/tags/tag376.xml" ContentType="application/vnd.openxmlformats-officedocument.presentationml.tags+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tags/tag377.xml" ContentType="application/vnd.openxmlformats-officedocument.presentationml.tags+xml"/>
  <Override PartName="/ppt/tags/tag378.xml" ContentType="application/vnd.openxmlformats-officedocument.presentationml.tags+xml"/>
  <Override PartName="/ppt/notesSlides/notesSlide212.xml" ContentType="application/vnd.openxmlformats-officedocument.presentationml.notesSlide+xml"/>
  <Override PartName="/ppt/tags/tag379.xml" ContentType="application/vnd.openxmlformats-officedocument.presentationml.tags+xml"/>
  <Override PartName="/ppt/tags/tag380.xml" ContentType="application/vnd.openxmlformats-officedocument.presentationml.tags+xml"/>
  <Override PartName="/ppt/notesSlides/notesSlide213.xml" ContentType="application/vnd.openxmlformats-officedocument.presentationml.notesSlide+xml"/>
  <Override PartName="/ppt/tags/tag381.xml" ContentType="application/vnd.openxmlformats-officedocument.presentationml.tags+xml"/>
  <Override PartName="/ppt/tags/tag382.xml" ContentType="application/vnd.openxmlformats-officedocument.presentationml.tags+xml"/>
  <Override PartName="/ppt/notesSlides/notesSlide214.xml" ContentType="application/vnd.openxmlformats-officedocument.presentationml.notesSlide+xml"/>
  <Override PartName="/ppt/tags/tag383.xml" ContentType="application/vnd.openxmlformats-officedocument.presentationml.tags+xml"/>
  <Override PartName="/ppt/tags/tag384.xml" ContentType="application/vnd.openxmlformats-officedocument.presentationml.tags+xml"/>
  <Override PartName="/ppt/notesSlides/notesSlide215.xml" ContentType="application/vnd.openxmlformats-officedocument.presentationml.notesSlide+xml"/>
  <Override PartName="/ppt/tags/tag385.xml" ContentType="application/vnd.openxmlformats-officedocument.presentationml.tags+xml"/>
  <Override PartName="/ppt/tags/tag386.xml" ContentType="application/vnd.openxmlformats-officedocument.presentationml.tags+xml"/>
  <Override PartName="/ppt/notesSlides/notesSlide216.xml" ContentType="application/vnd.openxmlformats-officedocument.presentationml.notesSlide+xml"/>
  <Override PartName="/ppt/tags/tag387.xml" ContentType="application/vnd.openxmlformats-officedocument.presentationml.tags+xml"/>
  <Override PartName="/ppt/tags/tag388.xml" ContentType="application/vnd.openxmlformats-officedocument.presentationml.tags+xml"/>
  <Override PartName="/ppt/notesSlides/notesSlide217.xml" ContentType="application/vnd.openxmlformats-officedocument.presentationml.notesSlide+xml"/>
  <Override PartName="/ppt/tags/tag389.xml" ContentType="application/vnd.openxmlformats-officedocument.presentationml.tags+xml"/>
  <Override PartName="/ppt/tags/tag390.xml" ContentType="application/vnd.openxmlformats-officedocument.presentationml.tags+xml"/>
  <Override PartName="/ppt/notesSlides/notesSlide218.xml" ContentType="application/vnd.openxmlformats-officedocument.presentationml.notesSlide+xml"/>
  <Override PartName="/ppt/tags/tag391.xml" ContentType="application/vnd.openxmlformats-officedocument.presentationml.tags+xml"/>
  <Override PartName="/ppt/tags/tag392.xml" ContentType="application/vnd.openxmlformats-officedocument.presentationml.tags+xml"/>
  <Override PartName="/ppt/notesSlides/notesSlide219.xml" ContentType="application/vnd.openxmlformats-officedocument.presentationml.notesSlide+xml"/>
  <Override PartName="/ppt/tags/tag393.xml" ContentType="application/vnd.openxmlformats-officedocument.presentationml.tags+xml"/>
  <Override PartName="/ppt/tags/tag394.xml" ContentType="application/vnd.openxmlformats-officedocument.presentationml.tags+xml"/>
  <Override PartName="/ppt/notesSlides/notesSlide220.xml" ContentType="application/vnd.openxmlformats-officedocument.presentationml.notesSlide+xml"/>
  <Override PartName="/ppt/tags/tag395.xml" ContentType="application/vnd.openxmlformats-officedocument.presentationml.tags+xml"/>
  <Override PartName="/ppt/tags/tag396.xml" ContentType="application/vnd.openxmlformats-officedocument.presentationml.tags+xml"/>
  <Override PartName="/ppt/notesSlides/notesSlide221.xml" ContentType="application/vnd.openxmlformats-officedocument.presentationml.notesSlide+xml"/>
  <Override PartName="/ppt/tags/tag397.xml" ContentType="application/vnd.openxmlformats-officedocument.presentationml.tags+xml"/>
  <Override PartName="/ppt/tags/tag398.xml" ContentType="application/vnd.openxmlformats-officedocument.presentationml.tags+xml"/>
  <Override PartName="/ppt/notesSlides/notesSlide222.xml" ContentType="application/vnd.openxmlformats-officedocument.presentationml.notesSlide+xml"/>
  <Override PartName="/ppt/tags/tag399.xml" ContentType="application/vnd.openxmlformats-officedocument.presentationml.tags+xml"/>
  <Override PartName="/ppt/tags/tag400.xml" ContentType="application/vnd.openxmlformats-officedocument.presentationml.tags+xml"/>
  <Override PartName="/ppt/notesSlides/notesSlide223.xml" ContentType="application/vnd.openxmlformats-officedocument.presentationml.notesSlide+xml"/>
  <Override PartName="/ppt/tags/tag401.xml" ContentType="application/vnd.openxmlformats-officedocument.presentationml.tags+xml"/>
  <Override PartName="/ppt/tags/tag402.xml" ContentType="application/vnd.openxmlformats-officedocument.presentationml.tags+xml"/>
  <Override PartName="/ppt/notesSlides/notesSlide224.xml" ContentType="application/vnd.openxmlformats-officedocument.presentationml.notesSlide+xml"/>
  <Override PartName="/ppt/tags/tag403.xml" ContentType="application/vnd.openxmlformats-officedocument.presentationml.tags+xml"/>
  <Override PartName="/ppt/tags/tag404.xml" ContentType="application/vnd.openxmlformats-officedocument.presentationml.tags+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tags/tag405.xml" ContentType="application/vnd.openxmlformats-officedocument.presentationml.tags+xml"/>
  <Override PartName="/ppt/tags/tag406.xml" ContentType="application/vnd.openxmlformats-officedocument.presentationml.tags+xml"/>
  <Override PartName="/ppt/notesSlides/notesSlide227.xml" ContentType="application/vnd.openxmlformats-officedocument.presentationml.notesSlide+xml"/>
  <Override PartName="/ppt/tags/tag407.xml" ContentType="application/vnd.openxmlformats-officedocument.presentationml.tags+xml"/>
  <Override PartName="/ppt/tags/tag408.xml" ContentType="application/vnd.openxmlformats-officedocument.presentationml.tags+xml"/>
  <Override PartName="/ppt/notesSlides/notesSlide228.xml" ContentType="application/vnd.openxmlformats-officedocument.presentationml.notesSlide+xml"/>
  <Override PartName="/ppt/tags/tag409.xml" ContentType="application/vnd.openxmlformats-officedocument.presentationml.tags+xml"/>
  <Override PartName="/ppt/tags/tag410.xml" ContentType="application/vnd.openxmlformats-officedocument.presentationml.tags+xml"/>
  <Override PartName="/ppt/notesSlides/notesSlide229.xml" ContentType="application/vnd.openxmlformats-officedocument.presentationml.notesSlide+xml"/>
  <Override PartName="/ppt/tags/tag411.xml" ContentType="application/vnd.openxmlformats-officedocument.presentationml.tags+xml"/>
  <Override PartName="/ppt/tags/tag412.xml" ContentType="application/vnd.openxmlformats-officedocument.presentationml.tags+xml"/>
  <Override PartName="/ppt/notesSlides/notesSlide230.xml" ContentType="application/vnd.openxmlformats-officedocument.presentationml.notesSlide+xml"/>
  <Override PartName="/ppt/tags/tag413.xml" ContentType="application/vnd.openxmlformats-officedocument.presentationml.tags+xml"/>
  <Override PartName="/ppt/tags/tag414.xml" ContentType="application/vnd.openxmlformats-officedocument.presentationml.tags+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tags/tag415.xml" ContentType="application/vnd.openxmlformats-officedocument.presentationml.tags+xml"/>
  <Override PartName="/ppt/tags/tag416.xml" ContentType="application/vnd.openxmlformats-officedocument.presentationml.tags+xml"/>
  <Override PartName="/ppt/notesSlides/notesSlide233.xml" ContentType="application/vnd.openxmlformats-officedocument.presentationml.notesSlide+xml"/>
  <Override PartName="/ppt/tags/tag417.xml" ContentType="application/vnd.openxmlformats-officedocument.presentationml.tags+xml"/>
  <Override PartName="/ppt/tags/tag418.xml" ContentType="application/vnd.openxmlformats-officedocument.presentationml.tags+xml"/>
  <Override PartName="/ppt/notesSlides/notesSlide234.xml" ContentType="application/vnd.openxmlformats-officedocument.presentationml.notesSlide+xml"/>
  <Override PartName="/ppt/tags/tag419.xml" ContentType="application/vnd.openxmlformats-officedocument.presentationml.tags+xml"/>
  <Override PartName="/ppt/tags/tag420.xml" ContentType="application/vnd.openxmlformats-officedocument.presentationml.tags+xml"/>
  <Override PartName="/ppt/notesSlides/notesSlide235.xml" ContentType="application/vnd.openxmlformats-officedocument.presentationml.notesSlide+xml"/>
  <Override PartName="/ppt/tags/tag421.xml" ContentType="application/vnd.openxmlformats-officedocument.presentationml.tags+xml"/>
  <Override PartName="/ppt/tags/tag422.xml" ContentType="application/vnd.openxmlformats-officedocument.presentationml.tags+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tags/tag423.xml" ContentType="application/vnd.openxmlformats-officedocument.presentationml.tags+xml"/>
  <Override PartName="/ppt/tags/tag424.xml" ContentType="application/vnd.openxmlformats-officedocument.presentationml.tags+xml"/>
  <Override PartName="/ppt/notesSlides/notesSlide238.xml" ContentType="application/vnd.openxmlformats-officedocument.presentationml.notesSlide+xml"/>
  <Override PartName="/ppt/tags/tag425.xml" ContentType="application/vnd.openxmlformats-officedocument.presentationml.tags+xml"/>
  <Override PartName="/ppt/tags/tag426.xml" ContentType="application/vnd.openxmlformats-officedocument.presentationml.tags+xml"/>
  <Override PartName="/ppt/notesSlides/notesSlide239.xml" ContentType="application/vnd.openxmlformats-officedocument.presentationml.notesSlide+xml"/>
  <Override PartName="/ppt/tags/tag427.xml" ContentType="application/vnd.openxmlformats-officedocument.presentationml.tags+xml"/>
  <Override PartName="/ppt/tags/tag428.xml" ContentType="application/vnd.openxmlformats-officedocument.presentationml.tags+xml"/>
  <Override PartName="/ppt/notesSlides/notesSlide240.xml" ContentType="application/vnd.openxmlformats-officedocument.presentationml.notesSlide+xml"/>
  <Override PartName="/ppt/tags/tag429.xml" ContentType="application/vnd.openxmlformats-officedocument.presentationml.tags+xml"/>
  <Override PartName="/ppt/tags/tag430.xml" ContentType="application/vnd.openxmlformats-officedocument.presentationml.tags+xml"/>
  <Override PartName="/ppt/notesSlides/notesSlide241.xml" ContentType="application/vnd.openxmlformats-officedocument.presentationml.notesSlide+xml"/>
  <Override PartName="/ppt/tags/tag431.xml" ContentType="application/vnd.openxmlformats-officedocument.presentationml.tags+xml"/>
  <Override PartName="/ppt/tags/tag432.xml" ContentType="application/vnd.openxmlformats-officedocument.presentationml.tags+xml"/>
  <Override PartName="/ppt/notesSlides/notesSlide242.xml" ContentType="application/vnd.openxmlformats-officedocument.presentationml.notesSlide+xml"/>
  <Override PartName="/ppt/tags/tag433.xml" ContentType="application/vnd.openxmlformats-officedocument.presentationml.tags+xml"/>
  <Override PartName="/ppt/tags/tag434.xml" ContentType="application/vnd.openxmlformats-officedocument.presentationml.tags+xml"/>
  <Override PartName="/ppt/notesSlides/notesSlide243.xml" ContentType="application/vnd.openxmlformats-officedocument.presentationml.notesSlide+xml"/>
  <Override PartName="/ppt/tags/tag435.xml" ContentType="application/vnd.openxmlformats-officedocument.presentationml.tags+xml"/>
  <Override PartName="/ppt/tags/tag436.xml" ContentType="application/vnd.openxmlformats-officedocument.presentationml.tags+xml"/>
  <Override PartName="/ppt/notesSlides/notesSlide244.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Lst>
  <p:notesMasterIdLst>
    <p:notesMasterId r:id="rId261"/>
  </p:notesMasterIdLst>
  <p:sldIdLst>
    <p:sldId id="618" r:id="rId6"/>
    <p:sldId id="290" r:id="rId7"/>
    <p:sldId id="291" r:id="rId8"/>
    <p:sldId id="292" r:id="rId9"/>
    <p:sldId id="293" r:id="rId10"/>
    <p:sldId id="295" r:id="rId11"/>
    <p:sldId id="297" r:id="rId12"/>
    <p:sldId id="345" r:id="rId13"/>
    <p:sldId id="298" r:id="rId14"/>
    <p:sldId id="303" r:id="rId15"/>
    <p:sldId id="600" r:id="rId16"/>
    <p:sldId id="601" r:id="rId17"/>
    <p:sldId id="602" r:id="rId18"/>
    <p:sldId id="299" r:id="rId19"/>
    <p:sldId id="301" r:id="rId20"/>
    <p:sldId id="306" r:id="rId21"/>
    <p:sldId id="312" r:id="rId22"/>
    <p:sldId id="313" r:id="rId23"/>
    <p:sldId id="316" r:id="rId24"/>
    <p:sldId id="317" r:id="rId25"/>
    <p:sldId id="320" r:id="rId26"/>
    <p:sldId id="322" r:id="rId27"/>
    <p:sldId id="323" r:id="rId28"/>
    <p:sldId id="324" r:id="rId29"/>
    <p:sldId id="325" r:id="rId30"/>
    <p:sldId id="326" r:id="rId31"/>
    <p:sldId id="341" r:id="rId32"/>
    <p:sldId id="344" r:id="rId33"/>
    <p:sldId id="329" r:id="rId34"/>
    <p:sldId id="331" r:id="rId35"/>
    <p:sldId id="333" r:id="rId36"/>
    <p:sldId id="334" r:id="rId37"/>
    <p:sldId id="335" r:id="rId38"/>
    <p:sldId id="336" r:id="rId39"/>
    <p:sldId id="337" r:id="rId40"/>
    <p:sldId id="346" r:id="rId41"/>
    <p:sldId id="604" r:id="rId42"/>
    <p:sldId id="349" r:id="rId43"/>
    <p:sldId id="376" r:id="rId44"/>
    <p:sldId id="378" r:id="rId45"/>
    <p:sldId id="363" r:id="rId46"/>
    <p:sldId id="364" r:id="rId47"/>
    <p:sldId id="374" r:id="rId48"/>
    <p:sldId id="360" r:id="rId49"/>
    <p:sldId id="356" r:id="rId50"/>
    <p:sldId id="395" r:id="rId51"/>
    <p:sldId id="413" r:id="rId52"/>
    <p:sldId id="352" r:id="rId53"/>
    <p:sldId id="362" r:id="rId54"/>
    <p:sldId id="359" r:id="rId55"/>
    <p:sldId id="365" r:id="rId56"/>
    <p:sldId id="366" r:id="rId57"/>
    <p:sldId id="370" r:id="rId58"/>
    <p:sldId id="371" r:id="rId59"/>
    <p:sldId id="357" r:id="rId60"/>
    <p:sldId id="350" r:id="rId61"/>
    <p:sldId id="408" r:id="rId62"/>
    <p:sldId id="411" r:id="rId63"/>
    <p:sldId id="368" r:id="rId64"/>
    <p:sldId id="377" r:id="rId65"/>
    <p:sldId id="379" r:id="rId66"/>
    <p:sldId id="387" r:id="rId67"/>
    <p:sldId id="391" r:id="rId68"/>
    <p:sldId id="394" r:id="rId69"/>
    <p:sldId id="396" r:id="rId70"/>
    <p:sldId id="397" r:id="rId71"/>
    <p:sldId id="398" r:id="rId72"/>
    <p:sldId id="399" r:id="rId73"/>
    <p:sldId id="400" r:id="rId74"/>
    <p:sldId id="402" r:id="rId75"/>
    <p:sldId id="406" r:id="rId76"/>
    <p:sldId id="409" r:id="rId77"/>
    <p:sldId id="410" r:id="rId78"/>
    <p:sldId id="613" r:id="rId79"/>
    <p:sldId id="415" r:id="rId80"/>
    <p:sldId id="416" r:id="rId81"/>
    <p:sldId id="417" r:id="rId82"/>
    <p:sldId id="418" r:id="rId83"/>
    <p:sldId id="419" r:id="rId84"/>
    <p:sldId id="420" r:id="rId85"/>
    <p:sldId id="421" r:id="rId86"/>
    <p:sldId id="422" r:id="rId87"/>
    <p:sldId id="423" r:id="rId88"/>
    <p:sldId id="425" r:id="rId89"/>
    <p:sldId id="426" r:id="rId90"/>
    <p:sldId id="428" r:id="rId91"/>
    <p:sldId id="433" r:id="rId92"/>
    <p:sldId id="434" r:id="rId93"/>
    <p:sldId id="435" r:id="rId94"/>
    <p:sldId id="436" r:id="rId95"/>
    <p:sldId id="437" r:id="rId96"/>
    <p:sldId id="438" r:id="rId97"/>
    <p:sldId id="547" r:id="rId98"/>
    <p:sldId id="548" r:id="rId99"/>
    <p:sldId id="549" r:id="rId100"/>
    <p:sldId id="550" r:id="rId101"/>
    <p:sldId id="551" r:id="rId102"/>
    <p:sldId id="552" r:id="rId103"/>
    <p:sldId id="554" r:id="rId104"/>
    <p:sldId id="555" r:id="rId105"/>
    <p:sldId id="556" r:id="rId106"/>
    <p:sldId id="557" r:id="rId107"/>
    <p:sldId id="558" r:id="rId108"/>
    <p:sldId id="559" r:id="rId109"/>
    <p:sldId id="560" r:id="rId110"/>
    <p:sldId id="561" r:id="rId111"/>
    <p:sldId id="562" r:id="rId112"/>
    <p:sldId id="563" r:id="rId113"/>
    <p:sldId id="565" r:id="rId114"/>
    <p:sldId id="566" r:id="rId115"/>
    <p:sldId id="567" r:id="rId116"/>
    <p:sldId id="568" r:id="rId117"/>
    <p:sldId id="570" r:id="rId118"/>
    <p:sldId id="571" r:id="rId119"/>
    <p:sldId id="361" r:id="rId120"/>
    <p:sldId id="572" r:id="rId121"/>
    <p:sldId id="573" r:id="rId122"/>
    <p:sldId id="575" r:id="rId123"/>
    <p:sldId id="576" r:id="rId124"/>
    <p:sldId id="577" r:id="rId125"/>
    <p:sldId id="578" r:id="rId126"/>
    <p:sldId id="579" r:id="rId127"/>
    <p:sldId id="580" r:id="rId128"/>
    <p:sldId id="581" r:id="rId129"/>
    <p:sldId id="583" r:id="rId130"/>
    <p:sldId id="584" r:id="rId131"/>
    <p:sldId id="593" r:id="rId132"/>
    <p:sldId id="594" r:id="rId133"/>
    <p:sldId id="596" r:id="rId134"/>
    <p:sldId id="597" r:id="rId135"/>
    <p:sldId id="616" r:id="rId136"/>
    <p:sldId id="598" r:id="rId137"/>
    <p:sldId id="340" r:id="rId138"/>
    <p:sldId id="257" r:id="rId139"/>
    <p:sldId id="258" r:id="rId140"/>
    <p:sldId id="259" r:id="rId141"/>
    <p:sldId id="260" r:id="rId142"/>
    <p:sldId id="261" r:id="rId143"/>
    <p:sldId id="262" r:id="rId144"/>
    <p:sldId id="263" r:id="rId145"/>
    <p:sldId id="614" r:id="rId146"/>
    <p:sldId id="265" r:id="rId147"/>
    <p:sldId id="266" r:id="rId148"/>
    <p:sldId id="267" r:id="rId149"/>
    <p:sldId id="268" r:id="rId150"/>
    <p:sldId id="269" r:id="rId151"/>
    <p:sldId id="270" r:id="rId152"/>
    <p:sldId id="271" r:id="rId153"/>
    <p:sldId id="273" r:id="rId154"/>
    <p:sldId id="274" r:id="rId155"/>
    <p:sldId id="275" r:id="rId156"/>
    <p:sldId id="276" r:id="rId157"/>
    <p:sldId id="277" r:id="rId158"/>
    <p:sldId id="279" r:id="rId159"/>
    <p:sldId id="280" r:id="rId160"/>
    <p:sldId id="281" r:id="rId161"/>
    <p:sldId id="284" r:id="rId162"/>
    <p:sldId id="285" r:id="rId163"/>
    <p:sldId id="347" r:id="rId164"/>
    <p:sldId id="348" r:id="rId165"/>
    <p:sldId id="414" r:id="rId166"/>
    <p:sldId id="471" r:id="rId167"/>
    <p:sldId id="472" r:id="rId168"/>
    <p:sldId id="473" r:id="rId169"/>
    <p:sldId id="478" r:id="rId170"/>
    <p:sldId id="502" r:id="rId171"/>
    <p:sldId id="503" r:id="rId172"/>
    <p:sldId id="504" r:id="rId173"/>
    <p:sldId id="505" r:id="rId174"/>
    <p:sldId id="474" r:id="rId175"/>
    <p:sldId id="475" r:id="rId176"/>
    <p:sldId id="476" r:id="rId177"/>
    <p:sldId id="479" r:id="rId178"/>
    <p:sldId id="480" r:id="rId179"/>
    <p:sldId id="481" r:id="rId180"/>
    <p:sldId id="483" r:id="rId181"/>
    <p:sldId id="484" r:id="rId182"/>
    <p:sldId id="486" r:id="rId183"/>
    <p:sldId id="487" r:id="rId184"/>
    <p:sldId id="488" r:id="rId185"/>
    <p:sldId id="485" r:id="rId186"/>
    <p:sldId id="490" r:id="rId187"/>
    <p:sldId id="494" r:id="rId188"/>
    <p:sldId id="506" r:id="rId189"/>
    <p:sldId id="509" r:id="rId190"/>
    <p:sldId id="510" r:id="rId191"/>
    <p:sldId id="511" r:id="rId192"/>
    <p:sldId id="482" r:id="rId193"/>
    <p:sldId id="514" r:id="rId194"/>
    <p:sldId id="489" r:id="rId195"/>
    <p:sldId id="491" r:id="rId196"/>
    <p:sldId id="492" r:id="rId197"/>
    <p:sldId id="615" r:id="rId198"/>
    <p:sldId id="495" r:id="rId199"/>
    <p:sldId id="496" r:id="rId200"/>
    <p:sldId id="497" r:id="rId201"/>
    <p:sldId id="498" r:id="rId202"/>
    <p:sldId id="500" r:id="rId203"/>
    <p:sldId id="501" r:id="rId204"/>
    <p:sldId id="508" r:id="rId205"/>
    <p:sldId id="512" r:id="rId206"/>
    <p:sldId id="513" r:id="rId207"/>
    <p:sldId id="515" r:id="rId208"/>
    <p:sldId id="516" r:id="rId209"/>
    <p:sldId id="607" r:id="rId210"/>
    <p:sldId id="608" r:id="rId211"/>
    <p:sldId id="440" r:id="rId212"/>
    <p:sldId id="441" r:id="rId213"/>
    <p:sldId id="442" r:id="rId214"/>
    <p:sldId id="443" r:id="rId215"/>
    <p:sldId id="444" r:id="rId216"/>
    <p:sldId id="445" r:id="rId217"/>
    <p:sldId id="446" r:id="rId218"/>
    <p:sldId id="447" r:id="rId219"/>
    <p:sldId id="448" r:id="rId220"/>
    <p:sldId id="449" r:id="rId221"/>
    <p:sldId id="450" r:id="rId222"/>
    <p:sldId id="451" r:id="rId223"/>
    <p:sldId id="452" r:id="rId224"/>
    <p:sldId id="453" r:id="rId225"/>
    <p:sldId id="454" r:id="rId226"/>
    <p:sldId id="455" r:id="rId227"/>
    <p:sldId id="456" r:id="rId228"/>
    <p:sldId id="457" r:id="rId229"/>
    <p:sldId id="458" r:id="rId230"/>
    <p:sldId id="459" r:id="rId231"/>
    <p:sldId id="460" r:id="rId232"/>
    <p:sldId id="461" r:id="rId233"/>
    <p:sldId id="462" r:id="rId234"/>
    <p:sldId id="463" r:id="rId235"/>
    <p:sldId id="464" r:id="rId236"/>
    <p:sldId id="465" r:id="rId237"/>
    <p:sldId id="466" r:id="rId238"/>
    <p:sldId id="467" r:id="rId239"/>
    <p:sldId id="469" r:id="rId240"/>
    <p:sldId id="530" r:id="rId241"/>
    <p:sldId id="537" r:id="rId242"/>
    <p:sldId id="538" r:id="rId243"/>
    <p:sldId id="539" r:id="rId244"/>
    <p:sldId id="540" r:id="rId245"/>
    <p:sldId id="541" r:id="rId246"/>
    <p:sldId id="543" r:id="rId247"/>
    <p:sldId id="544" r:id="rId248"/>
    <p:sldId id="605" r:id="rId249"/>
    <p:sldId id="545" r:id="rId250"/>
    <p:sldId id="546" r:id="rId251"/>
    <p:sldId id="517" r:id="rId252"/>
    <p:sldId id="518" r:id="rId253"/>
    <p:sldId id="519" r:id="rId254"/>
    <p:sldId id="520" r:id="rId255"/>
    <p:sldId id="521" r:id="rId256"/>
    <p:sldId id="522" r:id="rId257"/>
    <p:sldId id="523" r:id="rId258"/>
    <p:sldId id="524" r:id="rId259"/>
    <p:sldId id="623" r:id="rId260"/>
  </p:sldIdLst>
  <p:sldSz cx="12192000" cy="6858000"/>
  <p:notesSz cx="6858000" cy="9144000"/>
  <p:custDataLst>
    <p:tags r:id="rId26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B96A3D-70DF-41B7-81AF-A7C8578BC47C}">
          <p14:sldIdLst>
            <p14:sldId id="618"/>
            <p14:sldId id="290"/>
          </p14:sldIdLst>
        </p14:section>
        <p14:section name="Titles and Dividers" id="{233612E8-30A2-4967-BC53-58EA0DD53710}">
          <p14:sldIdLst>
            <p14:sldId id="291"/>
            <p14:sldId id="292"/>
            <p14:sldId id="293"/>
            <p14:sldId id="295"/>
            <p14:sldId id="297"/>
            <p14:sldId id="345"/>
          </p14:sldIdLst>
        </p14:section>
        <p14:section name="Agenda and Table of Contents" id="{34D581ED-7CE1-43F8-A674-A78D2634EFF6}">
          <p14:sldIdLst>
            <p14:sldId id="298"/>
            <p14:sldId id="303"/>
            <p14:sldId id="600"/>
            <p14:sldId id="601"/>
            <p14:sldId id="602"/>
            <p14:sldId id="299"/>
            <p14:sldId id="301"/>
            <p14:sldId id="306"/>
            <p14:sldId id="312"/>
          </p14:sldIdLst>
        </p14:section>
        <p14:section name="Statement" id="{3FC8F5A6-5511-41DC-BB95-7B8C64747FA4}">
          <p14:sldIdLst>
            <p14:sldId id="313"/>
            <p14:sldId id="316"/>
            <p14:sldId id="317"/>
            <p14:sldId id="320"/>
            <p14:sldId id="322"/>
            <p14:sldId id="323"/>
            <p14:sldId id="324"/>
            <p14:sldId id="325"/>
            <p14:sldId id="326"/>
            <p14:sldId id="341"/>
            <p14:sldId id="344"/>
          </p14:sldIdLst>
        </p14:section>
        <p14:section name="Approach, Scope and Objectives" id="{F3499489-1FFB-4E5F-8F93-BC77A9C0B06D}">
          <p14:sldIdLst>
            <p14:sldId id="329"/>
            <p14:sldId id="331"/>
            <p14:sldId id="333"/>
            <p14:sldId id="334"/>
            <p14:sldId id="335"/>
            <p14:sldId id="336"/>
            <p14:sldId id="337"/>
            <p14:sldId id="346"/>
            <p14:sldId id="604"/>
          </p14:sldIdLst>
        </p14:section>
        <p14:section name="Content" id="{8ED8EB95-F928-4348-A54B-DA5C26ADD852}">
          <p14:sldIdLst>
            <p14:sldId id="349"/>
            <p14:sldId id="376"/>
            <p14:sldId id="378"/>
            <p14:sldId id="363"/>
            <p14:sldId id="364"/>
            <p14:sldId id="374"/>
            <p14:sldId id="360"/>
            <p14:sldId id="356"/>
            <p14:sldId id="395"/>
            <p14:sldId id="413"/>
            <p14:sldId id="352"/>
            <p14:sldId id="362"/>
            <p14:sldId id="359"/>
            <p14:sldId id="365"/>
            <p14:sldId id="366"/>
            <p14:sldId id="370"/>
            <p14:sldId id="371"/>
            <p14:sldId id="357"/>
            <p14:sldId id="350"/>
            <p14:sldId id="408"/>
            <p14:sldId id="411"/>
            <p14:sldId id="368"/>
            <p14:sldId id="377"/>
            <p14:sldId id="379"/>
            <p14:sldId id="387"/>
            <p14:sldId id="391"/>
            <p14:sldId id="394"/>
            <p14:sldId id="396"/>
            <p14:sldId id="397"/>
            <p14:sldId id="398"/>
            <p14:sldId id="399"/>
            <p14:sldId id="400"/>
            <p14:sldId id="402"/>
            <p14:sldId id="406"/>
            <p14:sldId id="409"/>
            <p14:sldId id="410"/>
            <p14:sldId id="613"/>
          </p14:sldIdLst>
        </p14:section>
        <p14:section name="Processes &amp; Customer Journeys" id="{76BE8272-8C18-49CF-997E-A79E1F2FED53}">
          <p14:sldIdLst>
            <p14:sldId id="415"/>
            <p14:sldId id="416"/>
            <p14:sldId id="417"/>
            <p14:sldId id="418"/>
            <p14:sldId id="419"/>
            <p14:sldId id="420"/>
            <p14:sldId id="421"/>
            <p14:sldId id="422"/>
            <p14:sldId id="423"/>
            <p14:sldId id="425"/>
            <p14:sldId id="426"/>
            <p14:sldId id="428"/>
            <p14:sldId id="433"/>
            <p14:sldId id="434"/>
            <p14:sldId id="435"/>
            <p14:sldId id="436"/>
            <p14:sldId id="437"/>
            <p14:sldId id="438"/>
          </p14:sldIdLst>
        </p14:section>
        <p14:section name="Data &amp; Infographics" id="{F7A9E2DB-B00D-488C-993D-1F653A3758DB}">
          <p14:sldIdLst>
            <p14:sldId id="547"/>
            <p14:sldId id="548"/>
            <p14:sldId id="549"/>
            <p14:sldId id="550"/>
            <p14:sldId id="551"/>
            <p14:sldId id="552"/>
            <p14:sldId id="554"/>
            <p14:sldId id="555"/>
            <p14:sldId id="556"/>
            <p14:sldId id="557"/>
            <p14:sldId id="558"/>
            <p14:sldId id="559"/>
            <p14:sldId id="560"/>
            <p14:sldId id="561"/>
            <p14:sldId id="562"/>
            <p14:sldId id="563"/>
            <p14:sldId id="565"/>
            <p14:sldId id="566"/>
            <p14:sldId id="567"/>
            <p14:sldId id="568"/>
            <p14:sldId id="570"/>
            <p14:sldId id="571"/>
            <p14:sldId id="361"/>
            <p14:sldId id="572"/>
            <p14:sldId id="573"/>
            <p14:sldId id="575"/>
            <p14:sldId id="576"/>
            <p14:sldId id="577"/>
            <p14:sldId id="578"/>
            <p14:sldId id="579"/>
            <p14:sldId id="580"/>
            <p14:sldId id="581"/>
            <p14:sldId id="583"/>
            <p14:sldId id="584"/>
            <p14:sldId id="593"/>
            <p14:sldId id="594"/>
            <p14:sldId id="596"/>
            <p14:sldId id="597"/>
            <p14:sldId id="616"/>
            <p14:sldId id="598"/>
          </p14:sldIdLst>
        </p14:section>
        <p14:section name="Tables" id="{ADE19946-CA2A-451F-8BCB-D75B97B2F4EE}">
          <p14:sldIdLst>
            <p14:sldId id="340"/>
            <p14:sldId id="257"/>
            <p14:sldId id="258"/>
            <p14:sldId id="259"/>
            <p14:sldId id="260"/>
            <p14:sldId id="261"/>
            <p14:sldId id="262"/>
            <p14:sldId id="263"/>
            <p14:sldId id="614"/>
            <p14:sldId id="265"/>
            <p14:sldId id="266"/>
            <p14:sldId id="267"/>
            <p14:sldId id="268"/>
            <p14:sldId id="269"/>
            <p14:sldId id="270"/>
            <p14:sldId id="271"/>
            <p14:sldId id="273"/>
            <p14:sldId id="274"/>
            <p14:sldId id="275"/>
            <p14:sldId id="276"/>
            <p14:sldId id="277"/>
            <p14:sldId id="279"/>
            <p14:sldId id="280"/>
            <p14:sldId id="281"/>
            <p14:sldId id="284"/>
            <p14:sldId id="285"/>
            <p14:sldId id="347"/>
            <p14:sldId id="348"/>
            <p14:sldId id="414"/>
          </p14:sldIdLst>
        </p14:section>
        <p14:section name="Frameworks" id="{5E54EE31-5836-4DCE-9F5F-10CA2ED9101B}">
          <p14:sldIdLst>
            <p14:sldId id="471"/>
            <p14:sldId id="472"/>
            <p14:sldId id="473"/>
            <p14:sldId id="478"/>
            <p14:sldId id="502"/>
            <p14:sldId id="503"/>
            <p14:sldId id="504"/>
            <p14:sldId id="505"/>
            <p14:sldId id="474"/>
            <p14:sldId id="475"/>
            <p14:sldId id="476"/>
            <p14:sldId id="479"/>
            <p14:sldId id="480"/>
            <p14:sldId id="481"/>
            <p14:sldId id="483"/>
            <p14:sldId id="484"/>
            <p14:sldId id="486"/>
            <p14:sldId id="487"/>
            <p14:sldId id="488"/>
            <p14:sldId id="485"/>
            <p14:sldId id="490"/>
            <p14:sldId id="494"/>
            <p14:sldId id="506"/>
            <p14:sldId id="509"/>
            <p14:sldId id="510"/>
            <p14:sldId id="511"/>
            <p14:sldId id="482"/>
            <p14:sldId id="514"/>
            <p14:sldId id="489"/>
            <p14:sldId id="491"/>
            <p14:sldId id="492"/>
            <p14:sldId id="615"/>
            <p14:sldId id="495"/>
            <p14:sldId id="496"/>
            <p14:sldId id="497"/>
            <p14:sldId id="498"/>
            <p14:sldId id="500"/>
            <p14:sldId id="501"/>
            <p14:sldId id="508"/>
            <p14:sldId id="512"/>
            <p14:sldId id="513"/>
            <p14:sldId id="515"/>
            <p14:sldId id="516"/>
            <p14:sldId id="607"/>
            <p14:sldId id="608"/>
          </p14:sldIdLst>
        </p14:section>
        <p14:section name="Project Plans &amp; Timelines" id="{24EA6E4D-760C-4A23-BEB3-2E58F06749BD}">
          <p14:sldIdLst>
            <p14:sldId id="440"/>
            <p14:sldId id="441"/>
            <p14:sldId id="442"/>
            <p14:sldId id="443"/>
            <p14:sldId id="444"/>
            <p14:sldId id="445"/>
            <p14:sldId id="446"/>
            <p14:sldId id="447"/>
            <p14:sldId id="448"/>
            <p14:sldId id="449"/>
            <p14:sldId id="450"/>
            <p14:sldId id="451"/>
            <p14:sldId id="452"/>
            <p14:sldId id="453"/>
            <p14:sldId id="454"/>
            <p14:sldId id="455"/>
            <p14:sldId id="456"/>
            <p14:sldId id="457"/>
            <p14:sldId id="458"/>
            <p14:sldId id="459"/>
            <p14:sldId id="460"/>
            <p14:sldId id="461"/>
            <p14:sldId id="462"/>
            <p14:sldId id="463"/>
            <p14:sldId id="464"/>
            <p14:sldId id="465"/>
            <p14:sldId id="466"/>
            <p14:sldId id="467"/>
            <p14:sldId id="469"/>
          </p14:sldIdLst>
        </p14:section>
        <p14:section name="Case Studies &amp; Market Overview" id="{653C74D9-5FB5-45C2-8088-786E0B4F0AE4}">
          <p14:sldIdLst>
            <p14:sldId id="530"/>
            <p14:sldId id="537"/>
            <p14:sldId id="538"/>
            <p14:sldId id="539"/>
            <p14:sldId id="540"/>
            <p14:sldId id="541"/>
            <p14:sldId id="543"/>
            <p14:sldId id="544"/>
            <p14:sldId id="605"/>
            <p14:sldId id="545"/>
            <p14:sldId id="546"/>
          </p14:sldIdLst>
        </p14:section>
        <p14:section name="Org Structure &amp; Bios" id="{604BA582-12CE-4E90-A809-41A73FCD4837}">
          <p14:sldIdLst>
            <p14:sldId id="517"/>
            <p14:sldId id="518"/>
            <p14:sldId id="519"/>
            <p14:sldId id="520"/>
            <p14:sldId id="521"/>
            <p14:sldId id="522"/>
            <p14:sldId id="523"/>
            <p14:sldId id="524"/>
            <p14:sldId id="62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D3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32" autoAdjust="0"/>
    <p:restoredTop sz="88214" autoAdjust="0"/>
  </p:normalViewPr>
  <p:slideViewPr>
    <p:cSldViewPr snapToGrid="0">
      <p:cViewPr varScale="1">
        <p:scale>
          <a:sx n="55" d="100"/>
          <a:sy n="55" d="100"/>
        </p:scale>
        <p:origin x="980" y="4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2.xml"/><Relationship Id="rId21" Type="http://schemas.openxmlformats.org/officeDocument/2006/relationships/slide" Target="slides/slide16.xml"/><Relationship Id="rId63" Type="http://schemas.openxmlformats.org/officeDocument/2006/relationships/slide" Target="slides/slide58.xml"/><Relationship Id="rId159" Type="http://schemas.openxmlformats.org/officeDocument/2006/relationships/slide" Target="slides/slide154.xml"/><Relationship Id="rId170" Type="http://schemas.openxmlformats.org/officeDocument/2006/relationships/slide" Target="slides/slide165.xml"/><Relationship Id="rId226" Type="http://schemas.openxmlformats.org/officeDocument/2006/relationships/slide" Target="slides/slide221.xml"/><Relationship Id="rId107" Type="http://schemas.openxmlformats.org/officeDocument/2006/relationships/slide" Target="slides/slide102.xml"/><Relationship Id="rId11" Type="http://schemas.openxmlformats.org/officeDocument/2006/relationships/slide" Target="slides/slide6.xml"/><Relationship Id="rId32" Type="http://schemas.openxmlformats.org/officeDocument/2006/relationships/slide" Target="slides/slide27.xml"/><Relationship Id="rId53" Type="http://schemas.openxmlformats.org/officeDocument/2006/relationships/slide" Target="slides/slide48.xml"/><Relationship Id="rId74" Type="http://schemas.openxmlformats.org/officeDocument/2006/relationships/slide" Target="slides/slide69.xml"/><Relationship Id="rId128" Type="http://schemas.openxmlformats.org/officeDocument/2006/relationships/slide" Target="slides/slide123.xml"/><Relationship Id="rId149" Type="http://schemas.openxmlformats.org/officeDocument/2006/relationships/slide" Target="slides/slide144.xml"/><Relationship Id="rId5" Type="http://schemas.openxmlformats.org/officeDocument/2006/relationships/slideMaster" Target="slideMasters/slideMaster2.xml"/><Relationship Id="rId95" Type="http://schemas.openxmlformats.org/officeDocument/2006/relationships/slide" Target="slides/slide90.xml"/><Relationship Id="rId160" Type="http://schemas.openxmlformats.org/officeDocument/2006/relationships/slide" Target="slides/slide155.xml"/><Relationship Id="rId181" Type="http://schemas.openxmlformats.org/officeDocument/2006/relationships/slide" Target="slides/slide176.xml"/><Relationship Id="rId216" Type="http://schemas.openxmlformats.org/officeDocument/2006/relationships/slide" Target="slides/slide211.xml"/><Relationship Id="rId237" Type="http://schemas.openxmlformats.org/officeDocument/2006/relationships/slide" Target="slides/slide232.xml"/><Relationship Id="rId258" Type="http://schemas.openxmlformats.org/officeDocument/2006/relationships/slide" Target="slides/slide253.xml"/><Relationship Id="rId22" Type="http://schemas.openxmlformats.org/officeDocument/2006/relationships/slide" Target="slides/slide17.xml"/><Relationship Id="rId43" Type="http://schemas.openxmlformats.org/officeDocument/2006/relationships/slide" Target="slides/slide38.xml"/><Relationship Id="rId64" Type="http://schemas.openxmlformats.org/officeDocument/2006/relationships/slide" Target="slides/slide59.xml"/><Relationship Id="rId118" Type="http://schemas.openxmlformats.org/officeDocument/2006/relationships/slide" Target="slides/slide113.xml"/><Relationship Id="rId139" Type="http://schemas.openxmlformats.org/officeDocument/2006/relationships/slide" Target="slides/slide134.xml"/><Relationship Id="rId85" Type="http://schemas.openxmlformats.org/officeDocument/2006/relationships/slide" Target="slides/slide80.xml"/><Relationship Id="rId150" Type="http://schemas.openxmlformats.org/officeDocument/2006/relationships/slide" Target="slides/slide145.xml"/><Relationship Id="rId171" Type="http://schemas.openxmlformats.org/officeDocument/2006/relationships/slide" Target="slides/slide166.xml"/><Relationship Id="rId192" Type="http://schemas.openxmlformats.org/officeDocument/2006/relationships/slide" Target="slides/slide187.xml"/><Relationship Id="rId206" Type="http://schemas.openxmlformats.org/officeDocument/2006/relationships/slide" Target="slides/slide201.xml"/><Relationship Id="rId227" Type="http://schemas.openxmlformats.org/officeDocument/2006/relationships/slide" Target="slides/slide222.xml"/><Relationship Id="rId248" Type="http://schemas.openxmlformats.org/officeDocument/2006/relationships/slide" Target="slides/slide243.xml"/><Relationship Id="rId12" Type="http://schemas.openxmlformats.org/officeDocument/2006/relationships/slide" Target="slides/slide7.xml"/><Relationship Id="rId33" Type="http://schemas.openxmlformats.org/officeDocument/2006/relationships/slide" Target="slides/slide28.xml"/><Relationship Id="rId108" Type="http://schemas.openxmlformats.org/officeDocument/2006/relationships/slide" Target="slides/slide103.xml"/><Relationship Id="rId129" Type="http://schemas.openxmlformats.org/officeDocument/2006/relationships/slide" Target="slides/slide124.xml"/><Relationship Id="rId54" Type="http://schemas.openxmlformats.org/officeDocument/2006/relationships/slide" Target="slides/slide49.xml"/><Relationship Id="rId75" Type="http://schemas.openxmlformats.org/officeDocument/2006/relationships/slide" Target="slides/slide70.xml"/><Relationship Id="rId96" Type="http://schemas.openxmlformats.org/officeDocument/2006/relationships/slide" Target="slides/slide91.xml"/><Relationship Id="rId140" Type="http://schemas.openxmlformats.org/officeDocument/2006/relationships/slide" Target="slides/slide135.xml"/><Relationship Id="rId161" Type="http://schemas.openxmlformats.org/officeDocument/2006/relationships/slide" Target="slides/slide156.xml"/><Relationship Id="rId182" Type="http://schemas.openxmlformats.org/officeDocument/2006/relationships/slide" Target="slides/slide177.xml"/><Relationship Id="rId217" Type="http://schemas.openxmlformats.org/officeDocument/2006/relationships/slide" Target="slides/slide212.xml"/><Relationship Id="rId6" Type="http://schemas.openxmlformats.org/officeDocument/2006/relationships/slide" Target="slides/slide1.xml"/><Relationship Id="rId238" Type="http://schemas.openxmlformats.org/officeDocument/2006/relationships/slide" Target="slides/slide233.xml"/><Relationship Id="rId259" Type="http://schemas.openxmlformats.org/officeDocument/2006/relationships/slide" Target="slides/slide254.xml"/><Relationship Id="rId23" Type="http://schemas.openxmlformats.org/officeDocument/2006/relationships/slide" Target="slides/slide18.xml"/><Relationship Id="rId119" Type="http://schemas.openxmlformats.org/officeDocument/2006/relationships/slide" Target="slides/slide114.xml"/><Relationship Id="rId44" Type="http://schemas.openxmlformats.org/officeDocument/2006/relationships/slide" Target="slides/slide39.xml"/><Relationship Id="rId65" Type="http://schemas.openxmlformats.org/officeDocument/2006/relationships/slide" Target="slides/slide60.xml"/><Relationship Id="rId86" Type="http://schemas.openxmlformats.org/officeDocument/2006/relationships/slide" Target="slides/slide81.xml"/><Relationship Id="rId130" Type="http://schemas.openxmlformats.org/officeDocument/2006/relationships/slide" Target="slides/slide125.xml"/><Relationship Id="rId151" Type="http://schemas.openxmlformats.org/officeDocument/2006/relationships/slide" Target="slides/slide146.xml"/><Relationship Id="rId172" Type="http://schemas.openxmlformats.org/officeDocument/2006/relationships/slide" Target="slides/slide167.xml"/><Relationship Id="rId193" Type="http://schemas.openxmlformats.org/officeDocument/2006/relationships/slide" Target="slides/slide188.xml"/><Relationship Id="rId207" Type="http://schemas.openxmlformats.org/officeDocument/2006/relationships/slide" Target="slides/slide202.xml"/><Relationship Id="rId228" Type="http://schemas.openxmlformats.org/officeDocument/2006/relationships/slide" Target="slides/slide223.xml"/><Relationship Id="rId249" Type="http://schemas.openxmlformats.org/officeDocument/2006/relationships/slide" Target="slides/slide244.xml"/><Relationship Id="rId13" Type="http://schemas.openxmlformats.org/officeDocument/2006/relationships/slide" Target="slides/slide8.xml"/><Relationship Id="rId109" Type="http://schemas.openxmlformats.org/officeDocument/2006/relationships/slide" Target="slides/slide104.xml"/><Relationship Id="rId260" Type="http://schemas.openxmlformats.org/officeDocument/2006/relationships/slide" Target="slides/slide255.xml"/><Relationship Id="rId34" Type="http://schemas.openxmlformats.org/officeDocument/2006/relationships/slide" Target="slides/slide29.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20" Type="http://schemas.openxmlformats.org/officeDocument/2006/relationships/slide" Target="slides/slide115.xml"/><Relationship Id="rId141" Type="http://schemas.openxmlformats.org/officeDocument/2006/relationships/slide" Target="slides/slide136.xml"/><Relationship Id="rId7" Type="http://schemas.openxmlformats.org/officeDocument/2006/relationships/slide" Target="slides/slide2.xml"/><Relationship Id="rId162" Type="http://schemas.openxmlformats.org/officeDocument/2006/relationships/slide" Target="slides/slide157.xml"/><Relationship Id="rId183" Type="http://schemas.openxmlformats.org/officeDocument/2006/relationships/slide" Target="slides/slide178.xml"/><Relationship Id="rId218" Type="http://schemas.openxmlformats.org/officeDocument/2006/relationships/slide" Target="slides/slide213.xml"/><Relationship Id="rId239" Type="http://schemas.openxmlformats.org/officeDocument/2006/relationships/slide" Target="slides/slide234.xml"/><Relationship Id="rId250" Type="http://schemas.openxmlformats.org/officeDocument/2006/relationships/slide" Target="slides/slide245.xml"/><Relationship Id="rId24" Type="http://schemas.openxmlformats.org/officeDocument/2006/relationships/slide" Target="slides/slide19.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31" Type="http://schemas.openxmlformats.org/officeDocument/2006/relationships/slide" Target="slides/slide126.xml"/><Relationship Id="rId152" Type="http://schemas.openxmlformats.org/officeDocument/2006/relationships/slide" Target="slides/slide147.xml"/><Relationship Id="rId173" Type="http://schemas.openxmlformats.org/officeDocument/2006/relationships/slide" Target="slides/slide168.xml"/><Relationship Id="rId194" Type="http://schemas.openxmlformats.org/officeDocument/2006/relationships/slide" Target="slides/slide189.xml"/><Relationship Id="rId208" Type="http://schemas.openxmlformats.org/officeDocument/2006/relationships/slide" Target="slides/slide203.xml"/><Relationship Id="rId229" Type="http://schemas.openxmlformats.org/officeDocument/2006/relationships/slide" Target="slides/slide224.xml"/><Relationship Id="rId240" Type="http://schemas.openxmlformats.org/officeDocument/2006/relationships/slide" Target="slides/slide235.xml"/><Relationship Id="rId261" Type="http://schemas.openxmlformats.org/officeDocument/2006/relationships/notesMaster" Target="notesMasters/notesMaster1.xml"/><Relationship Id="rId14" Type="http://schemas.openxmlformats.org/officeDocument/2006/relationships/slide" Target="slides/slide9.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8" Type="http://schemas.openxmlformats.org/officeDocument/2006/relationships/slide" Target="slides/slide3.xml"/><Relationship Id="rId98" Type="http://schemas.openxmlformats.org/officeDocument/2006/relationships/slide" Target="slides/slide93.xml"/><Relationship Id="rId121" Type="http://schemas.openxmlformats.org/officeDocument/2006/relationships/slide" Target="slides/slide116.xml"/><Relationship Id="rId142" Type="http://schemas.openxmlformats.org/officeDocument/2006/relationships/slide" Target="slides/slide137.xml"/><Relationship Id="rId163" Type="http://schemas.openxmlformats.org/officeDocument/2006/relationships/slide" Target="slides/slide158.xml"/><Relationship Id="rId184" Type="http://schemas.openxmlformats.org/officeDocument/2006/relationships/slide" Target="slides/slide179.xml"/><Relationship Id="rId219" Type="http://schemas.openxmlformats.org/officeDocument/2006/relationships/slide" Target="slides/slide214.xml"/><Relationship Id="rId230" Type="http://schemas.openxmlformats.org/officeDocument/2006/relationships/slide" Target="slides/slide225.xml"/><Relationship Id="rId251" Type="http://schemas.openxmlformats.org/officeDocument/2006/relationships/slide" Target="slides/slide246.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88" Type="http://schemas.openxmlformats.org/officeDocument/2006/relationships/slide" Target="slides/slide83.xml"/><Relationship Id="rId111" Type="http://schemas.openxmlformats.org/officeDocument/2006/relationships/slide" Target="slides/slide106.xml"/><Relationship Id="rId132" Type="http://schemas.openxmlformats.org/officeDocument/2006/relationships/slide" Target="slides/slide127.xml"/><Relationship Id="rId153" Type="http://schemas.openxmlformats.org/officeDocument/2006/relationships/slide" Target="slides/slide148.xml"/><Relationship Id="rId174" Type="http://schemas.openxmlformats.org/officeDocument/2006/relationships/slide" Target="slides/slide169.xml"/><Relationship Id="rId195" Type="http://schemas.openxmlformats.org/officeDocument/2006/relationships/slide" Target="slides/slide190.xml"/><Relationship Id="rId209" Type="http://schemas.openxmlformats.org/officeDocument/2006/relationships/slide" Target="slides/slide204.xml"/><Relationship Id="rId220" Type="http://schemas.openxmlformats.org/officeDocument/2006/relationships/slide" Target="slides/slide215.xml"/><Relationship Id="rId241" Type="http://schemas.openxmlformats.org/officeDocument/2006/relationships/slide" Target="slides/slide236.xml"/><Relationship Id="rId15" Type="http://schemas.openxmlformats.org/officeDocument/2006/relationships/slide" Target="slides/slide10.xml"/><Relationship Id="rId36" Type="http://schemas.openxmlformats.org/officeDocument/2006/relationships/slide" Target="slides/slide31.xml"/><Relationship Id="rId57" Type="http://schemas.openxmlformats.org/officeDocument/2006/relationships/slide" Target="slides/slide52.xml"/><Relationship Id="rId262" Type="http://schemas.openxmlformats.org/officeDocument/2006/relationships/tags" Target="tags/tag1.xml"/><Relationship Id="rId78" Type="http://schemas.openxmlformats.org/officeDocument/2006/relationships/slide" Target="slides/slide73.xml"/><Relationship Id="rId99" Type="http://schemas.openxmlformats.org/officeDocument/2006/relationships/slide" Target="slides/slide94.xml"/><Relationship Id="rId101" Type="http://schemas.openxmlformats.org/officeDocument/2006/relationships/slide" Target="slides/slide96.xml"/><Relationship Id="rId122" Type="http://schemas.openxmlformats.org/officeDocument/2006/relationships/slide" Target="slides/slide117.xml"/><Relationship Id="rId143" Type="http://schemas.openxmlformats.org/officeDocument/2006/relationships/slide" Target="slides/slide138.xml"/><Relationship Id="rId164" Type="http://schemas.openxmlformats.org/officeDocument/2006/relationships/slide" Target="slides/slide159.xml"/><Relationship Id="rId185" Type="http://schemas.openxmlformats.org/officeDocument/2006/relationships/slide" Target="slides/slide180.xml"/><Relationship Id="rId9" Type="http://schemas.openxmlformats.org/officeDocument/2006/relationships/slide" Target="slides/slide4.xml"/><Relationship Id="rId210" Type="http://schemas.openxmlformats.org/officeDocument/2006/relationships/slide" Target="slides/slide205.xml"/><Relationship Id="rId26" Type="http://schemas.openxmlformats.org/officeDocument/2006/relationships/slide" Target="slides/slide21.xml"/><Relationship Id="rId231" Type="http://schemas.openxmlformats.org/officeDocument/2006/relationships/slide" Target="slides/slide226.xml"/><Relationship Id="rId252" Type="http://schemas.openxmlformats.org/officeDocument/2006/relationships/slide" Target="slides/slide247.xml"/><Relationship Id="rId47" Type="http://schemas.openxmlformats.org/officeDocument/2006/relationships/slide" Target="slides/slide42.xml"/><Relationship Id="rId68" Type="http://schemas.openxmlformats.org/officeDocument/2006/relationships/slide" Target="slides/slide63.xml"/><Relationship Id="rId89" Type="http://schemas.openxmlformats.org/officeDocument/2006/relationships/slide" Target="slides/slide84.xml"/><Relationship Id="rId112" Type="http://schemas.openxmlformats.org/officeDocument/2006/relationships/slide" Target="slides/slide107.xml"/><Relationship Id="rId133" Type="http://schemas.openxmlformats.org/officeDocument/2006/relationships/slide" Target="slides/slide128.xml"/><Relationship Id="rId154" Type="http://schemas.openxmlformats.org/officeDocument/2006/relationships/slide" Target="slides/slide149.xml"/><Relationship Id="rId175" Type="http://schemas.openxmlformats.org/officeDocument/2006/relationships/slide" Target="slides/slide170.xml"/><Relationship Id="rId196" Type="http://schemas.openxmlformats.org/officeDocument/2006/relationships/slide" Target="slides/slide191.xml"/><Relationship Id="rId200" Type="http://schemas.openxmlformats.org/officeDocument/2006/relationships/slide" Target="slides/slide195.xml"/><Relationship Id="rId16" Type="http://schemas.openxmlformats.org/officeDocument/2006/relationships/slide" Target="slides/slide11.xml"/><Relationship Id="rId221" Type="http://schemas.openxmlformats.org/officeDocument/2006/relationships/slide" Target="slides/slide216.xml"/><Relationship Id="rId242" Type="http://schemas.openxmlformats.org/officeDocument/2006/relationships/slide" Target="slides/slide237.xml"/><Relationship Id="rId263" Type="http://schemas.openxmlformats.org/officeDocument/2006/relationships/presProps" Target="presProps.xml"/><Relationship Id="rId37" Type="http://schemas.openxmlformats.org/officeDocument/2006/relationships/slide" Target="slides/slide32.xml"/><Relationship Id="rId58" Type="http://schemas.openxmlformats.org/officeDocument/2006/relationships/slide" Target="slides/slide53.xml"/><Relationship Id="rId79" Type="http://schemas.openxmlformats.org/officeDocument/2006/relationships/slide" Target="slides/slide74.xml"/><Relationship Id="rId102" Type="http://schemas.openxmlformats.org/officeDocument/2006/relationships/slide" Target="slides/slide97.xml"/><Relationship Id="rId123" Type="http://schemas.openxmlformats.org/officeDocument/2006/relationships/slide" Target="slides/slide118.xml"/><Relationship Id="rId144" Type="http://schemas.openxmlformats.org/officeDocument/2006/relationships/slide" Target="slides/slide139.xml"/><Relationship Id="rId90" Type="http://schemas.openxmlformats.org/officeDocument/2006/relationships/slide" Target="slides/slide85.xml"/><Relationship Id="rId165" Type="http://schemas.openxmlformats.org/officeDocument/2006/relationships/slide" Target="slides/slide160.xml"/><Relationship Id="rId186" Type="http://schemas.openxmlformats.org/officeDocument/2006/relationships/slide" Target="slides/slide181.xml"/><Relationship Id="rId211" Type="http://schemas.openxmlformats.org/officeDocument/2006/relationships/slide" Target="slides/slide206.xml"/><Relationship Id="rId232" Type="http://schemas.openxmlformats.org/officeDocument/2006/relationships/slide" Target="slides/slide227.xml"/><Relationship Id="rId253" Type="http://schemas.openxmlformats.org/officeDocument/2006/relationships/slide" Target="slides/slide248.xml"/><Relationship Id="rId27" Type="http://schemas.openxmlformats.org/officeDocument/2006/relationships/slide" Target="slides/slide22.xml"/><Relationship Id="rId48" Type="http://schemas.openxmlformats.org/officeDocument/2006/relationships/slide" Target="slides/slide43.xml"/><Relationship Id="rId69" Type="http://schemas.openxmlformats.org/officeDocument/2006/relationships/slide" Target="slides/slide64.xml"/><Relationship Id="rId113" Type="http://schemas.openxmlformats.org/officeDocument/2006/relationships/slide" Target="slides/slide108.xml"/><Relationship Id="rId134" Type="http://schemas.openxmlformats.org/officeDocument/2006/relationships/slide" Target="slides/slide129.xml"/><Relationship Id="rId80" Type="http://schemas.openxmlformats.org/officeDocument/2006/relationships/slide" Target="slides/slide75.xml"/><Relationship Id="rId155" Type="http://schemas.openxmlformats.org/officeDocument/2006/relationships/slide" Target="slides/slide150.xml"/><Relationship Id="rId176" Type="http://schemas.openxmlformats.org/officeDocument/2006/relationships/slide" Target="slides/slide171.xml"/><Relationship Id="rId197" Type="http://schemas.openxmlformats.org/officeDocument/2006/relationships/slide" Target="slides/slide192.xml"/><Relationship Id="rId201" Type="http://schemas.openxmlformats.org/officeDocument/2006/relationships/slide" Target="slides/slide196.xml"/><Relationship Id="rId222" Type="http://schemas.openxmlformats.org/officeDocument/2006/relationships/slide" Target="slides/slide217.xml"/><Relationship Id="rId243" Type="http://schemas.openxmlformats.org/officeDocument/2006/relationships/slide" Target="slides/slide238.xml"/><Relationship Id="rId264" Type="http://schemas.openxmlformats.org/officeDocument/2006/relationships/viewProps" Target="viewProps.xml"/><Relationship Id="rId17" Type="http://schemas.openxmlformats.org/officeDocument/2006/relationships/slide" Target="slides/slide12.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slide" Target="slides/slide98.xml"/><Relationship Id="rId124" Type="http://schemas.openxmlformats.org/officeDocument/2006/relationships/slide" Target="slides/slide119.xml"/><Relationship Id="rId70" Type="http://schemas.openxmlformats.org/officeDocument/2006/relationships/slide" Target="slides/slide65.xml"/><Relationship Id="rId91" Type="http://schemas.openxmlformats.org/officeDocument/2006/relationships/slide" Target="slides/slide86.xml"/><Relationship Id="rId145" Type="http://schemas.openxmlformats.org/officeDocument/2006/relationships/slide" Target="slides/slide140.xml"/><Relationship Id="rId166" Type="http://schemas.openxmlformats.org/officeDocument/2006/relationships/slide" Target="slides/slide161.xml"/><Relationship Id="rId187" Type="http://schemas.openxmlformats.org/officeDocument/2006/relationships/slide" Target="slides/slide182.xml"/><Relationship Id="rId1" Type="http://schemas.openxmlformats.org/officeDocument/2006/relationships/customXml" Target="../customXml/item1.xml"/><Relationship Id="rId212" Type="http://schemas.openxmlformats.org/officeDocument/2006/relationships/slide" Target="slides/slide207.xml"/><Relationship Id="rId233" Type="http://schemas.openxmlformats.org/officeDocument/2006/relationships/slide" Target="slides/slide228.xml"/><Relationship Id="rId254" Type="http://schemas.openxmlformats.org/officeDocument/2006/relationships/slide" Target="slides/slide249.xml"/><Relationship Id="rId28" Type="http://schemas.openxmlformats.org/officeDocument/2006/relationships/slide" Target="slides/slide23.xml"/><Relationship Id="rId49" Type="http://schemas.openxmlformats.org/officeDocument/2006/relationships/slide" Target="slides/slide44.xml"/><Relationship Id="rId114" Type="http://schemas.openxmlformats.org/officeDocument/2006/relationships/slide" Target="slides/slide109.xml"/><Relationship Id="rId60" Type="http://schemas.openxmlformats.org/officeDocument/2006/relationships/slide" Target="slides/slide55.xml"/><Relationship Id="rId81" Type="http://schemas.openxmlformats.org/officeDocument/2006/relationships/slide" Target="slides/slide76.xml"/><Relationship Id="rId135" Type="http://schemas.openxmlformats.org/officeDocument/2006/relationships/slide" Target="slides/slide130.xml"/><Relationship Id="rId156" Type="http://schemas.openxmlformats.org/officeDocument/2006/relationships/slide" Target="slides/slide151.xml"/><Relationship Id="rId177" Type="http://schemas.openxmlformats.org/officeDocument/2006/relationships/slide" Target="slides/slide172.xml"/><Relationship Id="rId198" Type="http://schemas.openxmlformats.org/officeDocument/2006/relationships/slide" Target="slides/slide193.xml"/><Relationship Id="rId202" Type="http://schemas.openxmlformats.org/officeDocument/2006/relationships/slide" Target="slides/slide197.xml"/><Relationship Id="rId223" Type="http://schemas.openxmlformats.org/officeDocument/2006/relationships/slide" Target="slides/slide218.xml"/><Relationship Id="rId244" Type="http://schemas.openxmlformats.org/officeDocument/2006/relationships/slide" Target="slides/slide239.xml"/><Relationship Id="rId18" Type="http://schemas.openxmlformats.org/officeDocument/2006/relationships/slide" Target="slides/slide13.xml"/><Relationship Id="rId39" Type="http://schemas.openxmlformats.org/officeDocument/2006/relationships/slide" Target="slides/slide34.xml"/><Relationship Id="rId265" Type="http://schemas.openxmlformats.org/officeDocument/2006/relationships/theme" Target="theme/theme1.xml"/><Relationship Id="rId50" Type="http://schemas.openxmlformats.org/officeDocument/2006/relationships/slide" Target="slides/slide45.xml"/><Relationship Id="rId104" Type="http://schemas.openxmlformats.org/officeDocument/2006/relationships/slide" Target="slides/slide99.xml"/><Relationship Id="rId125" Type="http://schemas.openxmlformats.org/officeDocument/2006/relationships/slide" Target="slides/slide120.xml"/><Relationship Id="rId146" Type="http://schemas.openxmlformats.org/officeDocument/2006/relationships/slide" Target="slides/slide141.xml"/><Relationship Id="rId167" Type="http://schemas.openxmlformats.org/officeDocument/2006/relationships/slide" Target="slides/slide162.xml"/><Relationship Id="rId188" Type="http://schemas.openxmlformats.org/officeDocument/2006/relationships/slide" Target="slides/slide183.xml"/><Relationship Id="rId71" Type="http://schemas.openxmlformats.org/officeDocument/2006/relationships/slide" Target="slides/slide66.xml"/><Relationship Id="rId92" Type="http://schemas.openxmlformats.org/officeDocument/2006/relationships/slide" Target="slides/slide87.xml"/><Relationship Id="rId213" Type="http://schemas.openxmlformats.org/officeDocument/2006/relationships/slide" Target="slides/slide208.xml"/><Relationship Id="rId234" Type="http://schemas.openxmlformats.org/officeDocument/2006/relationships/slide" Target="slides/slide229.xml"/><Relationship Id="rId2" Type="http://schemas.openxmlformats.org/officeDocument/2006/relationships/customXml" Target="../customXml/item2.xml"/><Relationship Id="rId29" Type="http://schemas.openxmlformats.org/officeDocument/2006/relationships/slide" Target="slides/slide24.xml"/><Relationship Id="rId255" Type="http://schemas.openxmlformats.org/officeDocument/2006/relationships/slide" Target="slides/slide250.xml"/><Relationship Id="rId40" Type="http://schemas.openxmlformats.org/officeDocument/2006/relationships/slide" Target="slides/slide35.xml"/><Relationship Id="rId115" Type="http://schemas.openxmlformats.org/officeDocument/2006/relationships/slide" Target="slides/slide110.xml"/><Relationship Id="rId136" Type="http://schemas.openxmlformats.org/officeDocument/2006/relationships/slide" Target="slides/slide131.xml"/><Relationship Id="rId157" Type="http://schemas.openxmlformats.org/officeDocument/2006/relationships/slide" Target="slides/slide152.xml"/><Relationship Id="rId178" Type="http://schemas.openxmlformats.org/officeDocument/2006/relationships/slide" Target="slides/slide173.xml"/><Relationship Id="rId61" Type="http://schemas.openxmlformats.org/officeDocument/2006/relationships/slide" Target="slides/slide56.xml"/><Relationship Id="rId82" Type="http://schemas.openxmlformats.org/officeDocument/2006/relationships/slide" Target="slides/slide77.xml"/><Relationship Id="rId199" Type="http://schemas.openxmlformats.org/officeDocument/2006/relationships/slide" Target="slides/slide194.xml"/><Relationship Id="rId203" Type="http://schemas.openxmlformats.org/officeDocument/2006/relationships/slide" Target="slides/slide198.xml"/><Relationship Id="rId19" Type="http://schemas.openxmlformats.org/officeDocument/2006/relationships/slide" Target="slides/slide14.xml"/><Relationship Id="rId224" Type="http://schemas.openxmlformats.org/officeDocument/2006/relationships/slide" Target="slides/slide219.xml"/><Relationship Id="rId245" Type="http://schemas.openxmlformats.org/officeDocument/2006/relationships/slide" Target="slides/slide240.xml"/><Relationship Id="rId266" Type="http://schemas.openxmlformats.org/officeDocument/2006/relationships/tableStyles" Target="tableStyles.xml"/><Relationship Id="rId30" Type="http://schemas.openxmlformats.org/officeDocument/2006/relationships/slide" Target="slides/slide25.xml"/><Relationship Id="rId105" Type="http://schemas.openxmlformats.org/officeDocument/2006/relationships/slide" Target="slides/slide100.xml"/><Relationship Id="rId126" Type="http://schemas.openxmlformats.org/officeDocument/2006/relationships/slide" Target="slides/slide121.xml"/><Relationship Id="rId147" Type="http://schemas.openxmlformats.org/officeDocument/2006/relationships/slide" Target="slides/slide142.xml"/><Relationship Id="rId168" Type="http://schemas.openxmlformats.org/officeDocument/2006/relationships/slide" Target="slides/slide16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189" Type="http://schemas.openxmlformats.org/officeDocument/2006/relationships/slide" Target="slides/slide184.xml"/><Relationship Id="rId3" Type="http://schemas.openxmlformats.org/officeDocument/2006/relationships/customXml" Target="../customXml/item3.xml"/><Relationship Id="rId214" Type="http://schemas.openxmlformats.org/officeDocument/2006/relationships/slide" Target="slides/slide209.xml"/><Relationship Id="rId235" Type="http://schemas.openxmlformats.org/officeDocument/2006/relationships/slide" Target="slides/slide230.xml"/><Relationship Id="rId256" Type="http://schemas.openxmlformats.org/officeDocument/2006/relationships/slide" Target="slides/slide251.xml"/><Relationship Id="rId116" Type="http://schemas.openxmlformats.org/officeDocument/2006/relationships/slide" Target="slides/slide111.xml"/><Relationship Id="rId137" Type="http://schemas.openxmlformats.org/officeDocument/2006/relationships/slide" Target="slides/slide132.xml"/><Relationship Id="rId158" Type="http://schemas.openxmlformats.org/officeDocument/2006/relationships/slide" Target="slides/slide153.xml"/><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179" Type="http://schemas.openxmlformats.org/officeDocument/2006/relationships/slide" Target="slides/slide174.xml"/><Relationship Id="rId190" Type="http://schemas.openxmlformats.org/officeDocument/2006/relationships/slide" Target="slides/slide185.xml"/><Relationship Id="rId204" Type="http://schemas.openxmlformats.org/officeDocument/2006/relationships/slide" Target="slides/slide199.xml"/><Relationship Id="rId225" Type="http://schemas.openxmlformats.org/officeDocument/2006/relationships/slide" Target="slides/slide220.xml"/><Relationship Id="rId246" Type="http://schemas.openxmlformats.org/officeDocument/2006/relationships/slide" Target="slides/slide241.xml"/><Relationship Id="rId267" Type="http://schemas.microsoft.com/office/2016/11/relationships/changesInfo" Target="changesInfos/changesInfo1.xml"/><Relationship Id="rId106" Type="http://schemas.openxmlformats.org/officeDocument/2006/relationships/slide" Target="slides/slide101.xml"/><Relationship Id="rId127" Type="http://schemas.openxmlformats.org/officeDocument/2006/relationships/slide" Target="slides/slide122.xml"/><Relationship Id="rId10" Type="http://schemas.openxmlformats.org/officeDocument/2006/relationships/slide" Target="slides/slide5.xml"/><Relationship Id="rId31" Type="http://schemas.openxmlformats.org/officeDocument/2006/relationships/slide" Target="slides/slide26.xml"/><Relationship Id="rId52" Type="http://schemas.openxmlformats.org/officeDocument/2006/relationships/slide" Target="slides/slide47.xml"/><Relationship Id="rId73" Type="http://schemas.openxmlformats.org/officeDocument/2006/relationships/slide" Target="slides/slide68.xml"/><Relationship Id="rId94" Type="http://schemas.openxmlformats.org/officeDocument/2006/relationships/slide" Target="slides/slide89.xml"/><Relationship Id="rId148" Type="http://schemas.openxmlformats.org/officeDocument/2006/relationships/slide" Target="slides/slide143.xml"/><Relationship Id="rId169" Type="http://schemas.openxmlformats.org/officeDocument/2006/relationships/slide" Target="slides/slide164.xml"/><Relationship Id="rId4" Type="http://schemas.openxmlformats.org/officeDocument/2006/relationships/slideMaster" Target="slideMasters/slideMaster1.xml"/><Relationship Id="rId180" Type="http://schemas.openxmlformats.org/officeDocument/2006/relationships/slide" Target="slides/slide175.xml"/><Relationship Id="rId215" Type="http://schemas.openxmlformats.org/officeDocument/2006/relationships/slide" Target="slides/slide210.xml"/><Relationship Id="rId236" Type="http://schemas.openxmlformats.org/officeDocument/2006/relationships/slide" Target="slides/slide231.xml"/><Relationship Id="rId257" Type="http://schemas.openxmlformats.org/officeDocument/2006/relationships/slide" Target="slides/slide252.xml"/><Relationship Id="rId42" Type="http://schemas.openxmlformats.org/officeDocument/2006/relationships/slide" Target="slides/slide37.xml"/><Relationship Id="rId84" Type="http://schemas.openxmlformats.org/officeDocument/2006/relationships/slide" Target="slides/slide79.xml"/><Relationship Id="rId138" Type="http://schemas.openxmlformats.org/officeDocument/2006/relationships/slide" Target="slides/slide133.xml"/><Relationship Id="rId191" Type="http://schemas.openxmlformats.org/officeDocument/2006/relationships/slide" Target="slides/slide186.xml"/><Relationship Id="rId205" Type="http://schemas.openxmlformats.org/officeDocument/2006/relationships/slide" Target="slides/slide200.xml"/><Relationship Id="rId247" Type="http://schemas.openxmlformats.org/officeDocument/2006/relationships/slide" Target="slides/slide24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Osu, Ekechukwu" userId="26531f0a-8a87-4980-a14b-10ad12b55f89" providerId="ADAL" clId="{05782434-598E-4B64-8CEB-2551EAAD3399}"/>
    <pc:docChg chg="undo custSel modSld">
      <pc:chgData name="Osu, Ekechukwu" userId="26531f0a-8a87-4980-a14b-10ad12b55f89" providerId="ADAL" clId="{05782434-598E-4B64-8CEB-2551EAAD3399}" dt="2021-08-30T02:42:39.834" v="22" actId="20577"/>
      <pc:docMkLst>
        <pc:docMk/>
      </pc:docMkLst>
      <pc:sldChg chg="modSp mod">
        <pc:chgData name="Osu, Ekechukwu" userId="26531f0a-8a87-4980-a14b-10ad12b55f89" providerId="ADAL" clId="{05782434-598E-4B64-8CEB-2551EAAD3399}" dt="2021-08-30T01:33:02.418" v="1" actId="1035"/>
        <pc:sldMkLst>
          <pc:docMk/>
          <pc:sldMk cId="2992665467" sldId="369"/>
        </pc:sldMkLst>
        <pc:grpChg chg="mod">
          <ac:chgData name="Osu, Ekechukwu" userId="26531f0a-8a87-4980-a14b-10ad12b55f89" providerId="ADAL" clId="{05782434-598E-4B64-8CEB-2551EAAD3399}" dt="2021-08-30T01:33:02.418" v="1" actId="1035"/>
          <ac:grpSpMkLst>
            <pc:docMk/>
            <pc:sldMk cId="2992665467" sldId="369"/>
            <ac:grpSpMk id="6" creationId="{45169BC0-4662-49B0-B66B-15CABC5DF2E7}"/>
          </ac:grpSpMkLst>
        </pc:grpChg>
        <pc:grpChg chg="mod">
          <ac:chgData name="Osu, Ekechukwu" userId="26531f0a-8a87-4980-a14b-10ad12b55f89" providerId="ADAL" clId="{05782434-598E-4B64-8CEB-2551EAAD3399}" dt="2021-08-30T01:33:02.418" v="1" actId="1035"/>
          <ac:grpSpMkLst>
            <pc:docMk/>
            <pc:sldMk cId="2992665467" sldId="369"/>
            <ac:grpSpMk id="9" creationId="{437F98A2-F189-4DF0-93B7-2F7835BCC347}"/>
          </ac:grpSpMkLst>
        </pc:grpChg>
        <pc:grpChg chg="mod">
          <ac:chgData name="Osu, Ekechukwu" userId="26531f0a-8a87-4980-a14b-10ad12b55f89" providerId="ADAL" clId="{05782434-598E-4B64-8CEB-2551EAAD3399}" dt="2021-08-30T01:33:02.418" v="1" actId="1035"/>
          <ac:grpSpMkLst>
            <pc:docMk/>
            <pc:sldMk cId="2992665467" sldId="369"/>
            <ac:grpSpMk id="12" creationId="{0AB7CD15-50D5-4760-B44E-02A024D11185}"/>
          </ac:grpSpMkLst>
        </pc:grpChg>
        <pc:grpChg chg="mod">
          <ac:chgData name="Osu, Ekechukwu" userId="26531f0a-8a87-4980-a14b-10ad12b55f89" providerId="ADAL" clId="{05782434-598E-4B64-8CEB-2551EAAD3399}" dt="2021-08-30T01:33:02.418" v="1" actId="1035"/>
          <ac:grpSpMkLst>
            <pc:docMk/>
            <pc:sldMk cId="2992665467" sldId="369"/>
            <ac:grpSpMk id="15" creationId="{369E90C1-4F04-4E8E-808F-A0E7DFD179E6}"/>
          </ac:grpSpMkLst>
        </pc:grpChg>
        <pc:grpChg chg="mod">
          <ac:chgData name="Osu, Ekechukwu" userId="26531f0a-8a87-4980-a14b-10ad12b55f89" providerId="ADAL" clId="{05782434-598E-4B64-8CEB-2551EAAD3399}" dt="2021-08-30T01:33:02.418" v="1" actId="1035"/>
          <ac:grpSpMkLst>
            <pc:docMk/>
            <pc:sldMk cId="2992665467" sldId="369"/>
            <ac:grpSpMk id="18" creationId="{E75B1A81-4412-49DB-8355-2DFE929BF9AA}"/>
          </ac:grpSpMkLst>
        </pc:grpChg>
        <pc:picChg chg="mod">
          <ac:chgData name="Osu, Ekechukwu" userId="26531f0a-8a87-4980-a14b-10ad12b55f89" providerId="ADAL" clId="{05782434-598E-4B64-8CEB-2551EAAD3399}" dt="2021-08-30T01:33:02.418" v="1" actId="1035"/>
          <ac:picMkLst>
            <pc:docMk/>
            <pc:sldMk cId="2992665467" sldId="369"/>
            <ac:picMk id="21" creationId="{3C270EDD-373B-454D-A084-9723068F5A60}"/>
          </ac:picMkLst>
        </pc:picChg>
        <pc:picChg chg="mod">
          <ac:chgData name="Osu, Ekechukwu" userId="26531f0a-8a87-4980-a14b-10ad12b55f89" providerId="ADAL" clId="{05782434-598E-4B64-8CEB-2551EAAD3399}" dt="2021-08-30T01:33:02.418" v="1" actId="1035"/>
          <ac:picMkLst>
            <pc:docMk/>
            <pc:sldMk cId="2992665467" sldId="369"/>
            <ac:picMk id="22" creationId="{228C987F-8155-4E96-9D6E-A590D02AE88C}"/>
          </ac:picMkLst>
        </pc:picChg>
        <pc:picChg chg="mod">
          <ac:chgData name="Osu, Ekechukwu" userId="26531f0a-8a87-4980-a14b-10ad12b55f89" providerId="ADAL" clId="{05782434-598E-4B64-8CEB-2551EAAD3399}" dt="2021-08-30T01:33:02.418" v="1" actId="1035"/>
          <ac:picMkLst>
            <pc:docMk/>
            <pc:sldMk cId="2992665467" sldId="369"/>
            <ac:picMk id="23" creationId="{02FCD3C6-F4C7-412C-A31B-6C45C7B38A9F}"/>
          </ac:picMkLst>
        </pc:picChg>
        <pc:picChg chg="mod">
          <ac:chgData name="Osu, Ekechukwu" userId="26531f0a-8a87-4980-a14b-10ad12b55f89" providerId="ADAL" clId="{05782434-598E-4B64-8CEB-2551EAAD3399}" dt="2021-08-30T01:33:02.418" v="1" actId="1035"/>
          <ac:picMkLst>
            <pc:docMk/>
            <pc:sldMk cId="2992665467" sldId="369"/>
            <ac:picMk id="24" creationId="{A696C5E0-EBA1-4DAD-9804-31D181C35546}"/>
          </ac:picMkLst>
        </pc:picChg>
        <pc:picChg chg="mod">
          <ac:chgData name="Osu, Ekechukwu" userId="26531f0a-8a87-4980-a14b-10ad12b55f89" providerId="ADAL" clId="{05782434-598E-4B64-8CEB-2551EAAD3399}" dt="2021-08-30T01:33:02.418" v="1" actId="1035"/>
          <ac:picMkLst>
            <pc:docMk/>
            <pc:sldMk cId="2992665467" sldId="369"/>
            <ac:picMk id="25" creationId="{FE1C10B3-55CF-4EA4-A1E2-7B229CC9CB19}"/>
          </ac:picMkLst>
        </pc:picChg>
      </pc:sldChg>
      <pc:sldChg chg="modSp mod">
        <pc:chgData name="Osu, Ekechukwu" userId="26531f0a-8a87-4980-a14b-10ad12b55f89" providerId="ADAL" clId="{05782434-598E-4B64-8CEB-2551EAAD3399}" dt="2021-08-30T02:42:39.834" v="22" actId="20577"/>
        <pc:sldMkLst>
          <pc:docMk/>
          <pc:sldMk cId="439701710" sldId="374"/>
        </pc:sldMkLst>
        <pc:spChg chg="mod">
          <ac:chgData name="Osu, Ekechukwu" userId="26531f0a-8a87-4980-a14b-10ad12b55f89" providerId="ADAL" clId="{05782434-598E-4B64-8CEB-2551EAAD3399}" dt="2021-08-30T02:42:39.834" v="22" actId="20577"/>
          <ac:spMkLst>
            <pc:docMk/>
            <pc:sldMk cId="439701710" sldId="374"/>
            <ac:spMk id="18" creationId="{D5075D41-56B7-4D71-AE73-F92D48FD22C0}"/>
          </ac:spMkLst>
        </pc:spChg>
      </pc:sldChg>
    </pc:docChg>
  </pc:docChgLst>
  <pc:docChgLst>
    <pc:chgData name="Fapohunda, Oluwadamilola" userId="f79219e7-db47-4463-85cd-8fac097e0c45" providerId="ADAL" clId="{0744E822-08FB-46D6-B8FA-5ADBD7E7826A}"/>
    <pc:docChg chg="modSld sldOrd">
      <pc:chgData name="Fapohunda, Oluwadamilola" userId="f79219e7-db47-4463-85cd-8fac097e0c45" providerId="ADAL" clId="{0744E822-08FB-46D6-B8FA-5ADBD7E7826A}" dt="2021-10-22T12:19:48.116" v="7" actId="1076"/>
      <pc:docMkLst>
        <pc:docMk/>
      </pc:docMkLst>
      <pc:sldChg chg="modSp mod">
        <pc:chgData name="Fapohunda, Oluwadamilola" userId="f79219e7-db47-4463-85cd-8fac097e0c45" providerId="ADAL" clId="{0744E822-08FB-46D6-B8FA-5ADBD7E7826A}" dt="2021-10-22T12:19:48.116" v="7" actId="1076"/>
        <pc:sldMkLst>
          <pc:docMk/>
          <pc:sldMk cId="4125417713" sldId="256"/>
        </pc:sldMkLst>
        <pc:spChg chg="mod">
          <ac:chgData name="Fapohunda, Oluwadamilola" userId="f79219e7-db47-4463-85cd-8fac097e0c45" providerId="ADAL" clId="{0744E822-08FB-46D6-B8FA-5ADBD7E7826A}" dt="2021-10-22T12:19:48.116" v="7" actId="1076"/>
          <ac:spMkLst>
            <pc:docMk/>
            <pc:sldMk cId="4125417713" sldId="256"/>
            <ac:spMk id="1893" creationId="{00000000-0000-0000-0000-000000000000}"/>
          </ac:spMkLst>
        </pc:spChg>
        <pc:grpChg chg="mod">
          <ac:chgData name="Fapohunda, Oluwadamilola" userId="f79219e7-db47-4463-85cd-8fac097e0c45" providerId="ADAL" clId="{0744E822-08FB-46D6-B8FA-5ADBD7E7826A}" dt="2021-10-22T12:13:44.358" v="4" actId="1076"/>
          <ac:grpSpMkLst>
            <pc:docMk/>
            <pc:sldMk cId="4125417713" sldId="256"/>
            <ac:grpSpMk id="1906" creationId="{00000000-0000-0000-0000-000000000000}"/>
          </ac:grpSpMkLst>
        </pc:grpChg>
        <pc:grpChg chg="mod">
          <ac:chgData name="Fapohunda, Oluwadamilola" userId="f79219e7-db47-4463-85cd-8fac097e0c45" providerId="ADAL" clId="{0744E822-08FB-46D6-B8FA-5ADBD7E7826A}" dt="2021-10-22T12:11:09.910" v="3" actId="1076"/>
          <ac:grpSpMkLst>
            <pc:docMk/>
            <pc:sldMk cId="4125417713" sldId="256"/>
            <ac:grpSpMk id="1909" creationId="{00000000-0000-0000-0000-000000000000}"/>
          </ac:grpSpMkLst>
        </pc:grpChg>
      </pc:sldChg>
      <pc:sldChg chg="ord">
        <pc:chgData name="Fapohunda, Oluwadamilola" userId="f79219e7-db47-4463-85cd-8fac097e0c45" providerId="ADAL" clId="{0744E822-08FB-46D6-B8FA-5ADBD7E7826A}" dt="2021-10-22T12:10:44.372" v="1"/>
        <pc:sldMkLst>
          <pc:docMk/>
          <pc:sldMk cId="2086835095" sldId="621"/>
        </pc:sldMkLst>
      </pc:sldChg>
    </pc:docChg>
  </pc:docChgLst>
  <pc:docChgLst>
    <pc:chgData name="Osu, Ekechukwu" userId="26531f0a-8a87-4980-a14b-10ad12b55f89" providerId="ADAL" clId="{99681F77-3321-407E-B222-CDEF66E88E8C}"/>
    <pc:docChg chg="modSld">
      <pc:chgData name="Osu, Ekechukwu" userId="26531f0a-8a87-4980-a14b-10ad12b55f89" providerId="ADAL" clId="{99681F77-3321-407E-B222-CDEF66E88E8C}" dt="2021-05-28T13:28:20.967" v="11" actId="1035"/>
      <pc:docMkLst>
        <pc:docMk/>
      </pc:docMkLst>
      <pc:sldChg chg="modSp">
        <pc:chgData name="Osu, Ekechukwu" userId="26531f0a-8a87-4980-a14b-10ad12b55f89" providerId="ADAL" clId="{99681F77-3321-407E-B222-CDEF66E88E8C}" dt="2021-05-05T14:29:29.790" v="2" actId="1036"/>
        <pc:sldMkLst>
          <pc:docMk/>
          <pc:sldMk cId="292772025" sldId="292"/>
        </pc:sldMkLst>
        <pc:picChg chg="mod">
          <ac:chgData name="Osu, Ekechukwu" userId="26531f0a-8a87-4980-a14b-10ad12b55f89" providerId="ADAL" clId="{99681F77-3321-407E-B222-CDEF66E88E8C}" dt="2021-05-05T14:29:29.790" v="2" actId="1036"/>
          <ac:picMkLst>
            <pc:docMk/>
            <pc:sldMk cId="292772025" sldId="292"/>
            <ac:picMk id="22" creationId="{94AD0B3A-CFFC-49EE-AA86-DC85E2BEAF07}"/>
          </ac:picMkLst>
        </pc:picChg>
      </pc:sldChg>
      <pc:sldChg chg="modSp mod">
        <pc:chgData name="Osu, Ekechukwu" userId="26531f0a-8a87-4980-a14b-10ad12b55f89" providerId="ADAL" clId="{99681F77-3321-407E-B222-CDEF66E88E8C}" dt="2021-05-28T13:28:20.967" v="11" actId="1035"/>
        <pc:sldMkLst>
          <pc:docMk/>
          <pc:sldMk cId="1323468231" sldId="312"/>
        </pc:sldMkLst>
        <pc:spChg chg="mod">
          <ac:chgData name="Osu, Ekechukwu" userId="26531f0a-8a87-4980-a14b-10ad12b55f89" providerId="ADAL" clId="{99681F77-3321-407E-B222-CDEF66E88E8C}" dt="2021-05-28T13:28:20.967" v="11" actId="1035"/>
          <ac:spMkLst>
            <pc:docMk/>
            <pc:sldMk cId="1323468231" sldId="312"/>
            <ac:spMk id="80" creationId="{D719F412-D6EA-45F3-80F4-3263C506AF32}"/>
          </ac:spMkLst>
        </pc:spChg>
      </pc:sldChg>
      <pc:sldChg chg="modSp">
        <pc:chgData name="Osu, Ekechukwu" userId="26531f0a-8a87-4980-a14b-10ad12b55f89" providerId="ADAL" clId="{99681F77-3321-407E-B222-CDEF66E88E8C}" dt="2021-05-05T17:17:11.183" v="5" actId="1035"/>
        <pc:sldMkLst>
          <pc:docMk/>
          <pc:sldMk cId="3823487962" sldId="502"/>
        </pc:sldMkLst>
        <pc:grpChg chg="mod">
          <ac:chgData name="Osu, Ekechukwu" userId="26531f0a-8a87-4980-a14b-10ad12b55f89" providerId="ADAL" clId="{99681F77-3321-407E-B222-CDEF66E88E8C}" dt="2021-05-05T17:17:11.183" v="5" actId="1035"/>
          <ac:grpSpMkLst>
            <pc:docMk/>
            <pc:sldMk cId="3823487962" sldId="502"/>
            <ac:grpSpMk id="9" creationId="{7FB1A1E2-7999-4B02-A374-BD2722509E7A}"/>
          </ac:grpSpMkLst>
        </pc:grpChg>
      </pc:sldChg>
      <pc:sldChg chg="modSp">
        <pc:chgData name="Osu, Ekechukwu" userId="26531f0a-8a87-4980-a14b-10ad12b55f89" providerId="ADAL" clId="{99681F77-3321-407E-B222-CDEF66E88E8C}" dt="2021-05-13T00:55:46.100" v="7" actId="1076"/>
        <pc:sldMkLst>
          <pc:docMk/>
          <pc:sldMk cId="666414621" sldId="504"/>
        </pc:sldMkLst>
        <pc:picChg chg="mod">
          <ac:chgData name="Osu, Ekechukwu" userId="26531f0a-8a87-4980-a14b-10ad12b55f89" providerId="ADAL" clId="{99681F77-3321-407E-B222-CDEF66E88E8C}" dt="2021-05-13T00:55:46.100" v="7" actId="1076"/>
          <ac:picMkLst>
            <pc:docMk/>
            <pc:sldMk cId="666414621" sldId="504"/>
            <ac:picMk id="19" creationId="{A1D19A59-9FD4-4DA6-80D9-EFB93A45F264}"/>
          </ac:picMkLst>
        </pc:picChg>
      </pc:sldChg>
    </pc:docChg>
  </pc:docChgLst>
  <pc:docChgLst>
    <pc:chgData name="Osu, Ekechukwu" userId="26531f0a-8a87-4980-a14b-10ad12b55f89" providerId="ADAL" clId="{D620C452-4AFC-4F58-8028-B059A54E0041}"/>
    <pc:docChg chg="custSel modSld sldOrd">
      <pc:chgData name="Osu, Ekechukwu" userId="26531f0a-8a87-4980-a14b-10ad12b55f89" providerId="ADAL" clId="{D620C452-4AFC-4F58-8028-B059A54E0041}" dt="2021-07-24T15:10:15.743" v="6" actId="14100"/>
      <pc:docMkLst>
        <pc:docMk/>
      </pc:docMkLst>
      <pc:sldChg chg="delSp modSp mod">
        <pc:chgData name="Osu, Ekechukwu" userId="26531f0a-8a87-4980-a14b-10ad12b55f89" providerId="ADAL" clId="{D620C452-4AFC-4F58-8028-B059A54E0041}" dt="2021-07-24T15:10:15.743" v="6" actId="14100"/>
        <pc:sldMkLst>
          <pc:docMk/>
          <pc:sldMk cId="1786914093" sldId="368"/>
        </pc:sldMkLst>
        <pc:spChg chg="mod">
          <ac:chgData name="Osu, Ekechukwu" userId="26531f0a-8a87-4980-a14b-10ad12b55f89" providerId="ADAL" clId="{D620C452-4AFC-4F58-8028-B059A54E0041}" dt="2021-07-24T15:10:15.743" v="6" actId="14100"/>
          <ac:spMkLst>
            <pc:docMk/>
            <pc:sldMk cId="1786914093" sldId="368"/>
            <ac:spMk id="9" creationId="{F72FA9D6-5AB6-4AD0-A640-5D8E7AB9E597}"/>
          </ac:spMkLst>
        </pc:spChg>
        <pc:spChg chg="del">
          <ac:chgData name="Osu, Ekechukwu" userId="26531f0a-8a87-4980-a14b-10ad12b55f89" providerId="ADAL" clId="{D620C452-4AFC-4F58-8028-B059A54E0041}" dt="2021-07-24T15:09:50.341" v="2" actId="478"/>
          <ac:spMkLst>
            <pc:docMk/>
            <pc:sldMk cId="1786914093" sldId="368"/>
            <ac:spMk id="12" creationId="{2BC3869C-43B4-4307-A819-91F27B6B436A}"/>
          </ac:spMkLst>
        </pc:spChg>
        <pc:cxnChg chg="mod">
          <ac:chgData name="Osu, Ekechukwu" userId="26531f0a-8a87-4980-a14b-10ad12b55f89" providerId="ADAL" clId="{D620C452-4AFC-4F58-8028-B059A54E0041}" dt="2021-07-24T15:09:54.437" v="3" actId="1076"/>
          <ac:cxnSpMkLst>
            <pc:docMk/>
            <pc:sldMk cId="1786914093" sldId="368"/>
            <ac:cxnSpMk id="10" creationId="{5BFF28C0-97DC-4F71-807B-E8F2FC881046}"/>
          </ac:cxnSpMkLst>
        </pc:cxnChg>
      </pc:sldChg>
      <pc:sldChg chg="ord">
        <pc:chgData name="Osu, Ekechukwu" userId="26531f0a-8a87-4980-a14b-10ad12b55f89" providerId="ADAL" clId="{D620C452-4AFC-4F58-8028-B059A54E0041}" dt="2021-06-28T08:13:04.782" v="1"/>
        <pc:sldMkLst>
          <pc:docMk/>
          <pc:sldMk cId="1402299992" sldId="372"/>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2.xml"/><Relationship Id="rId1" Type="http://schemas.microsoft.com/office/2011/relationships/chartStyle" Target="style12.xml"/></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2.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3.xml"/><Relationship Id="rId1" Type="http://schemas.microsoft.com/office/2011/relationships/chartStyle" Target="style13.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4.xml"/><Relationship Id="rId1" Type="http://schemas.microsoft.com/office/2011/relationships/chartStyle" Target="style14.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5.xml"/><Relationship Id="rId1" Type="http://schemas.microsoft.com/office/2011/relationships/chartStyle" Target="style15.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6.xml"/><Relationship Id="rId1" Type="http://schemas.microsoft.com/office/2011/relationships/chartStyle" Target="style16.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7.xml"/><Relationship Id="rId1" Type="http://schemas.microsoft.com/office/2011/relationships/chartStyle" Target="style17.xml"/></Relationships>
</file>

<file path=ppt/charts/_rels/chart23.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8.xml"/><Relationship Id="rId1" Type="http://schemas.microsoft.com/office/2011/relationships/chartStyle" Target="style18.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19.xml"/><Relationship Id="rId1" Type="http://schemas.microsoft.com/office/2011/relationships/chartStyle" Target="style19.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1.xml"/><Relationship Id="rId1" Type="http://schemas.microsoft.com/office/2011/relationships/chartStyle" Target="style21.xml"/></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2.xml"/><Relationship Id="rId1" Type="http://schemas.microsoft.com/office/2011/relationships/chartStyle" Target="style22.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3.xml"/><Relationship Id="rId1" Type="http://schemas.microsoft.com/office/2011/relationships/chartStyle" Target="style23.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4.xml"/><Relationship Id="rId1" Type="http://schemas.microsoft.com/office/2011/relationships/chartStyle" Target="style24.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5.xml"/><Relationship Id="rId1" Type="http://schemas.microsoft.com/office/2011/relationships/chartStyle" Target="style25.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26.xml"/><Relationship Id="rId1" Type="http://schemas.microsoft.com/office/2011/relationships/chartStyle" Target="style26.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27.xml"/><Relationship Id="rId1" Type="http://schemas.microsoft.com/office/2011/relationships/chartStyle" Target="style27.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28.xml"/><Relationship Id="rId1" Type="http://schemas.microsoft.com/office/2011/relationships/chartStyle" Target="style28.xml"/></Relationships>
</file>

<file path=ppt/charts/_rels/chart34.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29.xml"/><Relationship Id="rId1" Type="http://schemas.microsoft.com/office/2011/relationships/chartStyle" Target="style29.xml"/><Relationship Id="rId4" Type="http://schemas.openxmlformats.org/officeDocument/2006/relationships/package" Target="../embeddings/Microsoft_Excel_Worksheet32.xlsx"/></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0.xml"/><Relationship Id="rId1" Type="http://schemas.microsoft.com/office/2011/relationships/chartStyle" Target="style30.xml"/></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1.xml"/><Relationship Id="rId1" Type="http://schemas.microsoft.com/office/2011/relationships/chartStyle" Target="style31.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2.xml"/><Relationship Id="rId1" Type="http://schemas.microsoft.com/office/2011/relationships/chartStyle" Target="style3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chartUserShapes" Target="../drawings/drawing3.xml"/><Relationship Id="rId2" Type="http://schemas.openxmlformats.org/officeDocument/2006/relationships/package" Target="../embeddings/Microsoft_Excel_Worksheet38.xlsx"/><Relationship Id="rId1" Type="http://schemas.openxmlformats.org/officeDocument/2006/relationships/themeOverride" Target="../theme/themeOverride4.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33.xml"/><Relationship Id="rId1" Type="http://schemas.microsoft.com/office/2011/relationships/chartStyle" Target="style33.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34.xml"/><Relationship Id="rId1" Type="http://schemas.microsoft.com/office/2011/relationships/chartStyle" Target="style34.xml"/></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1.xlsx"/><Relationship Id="rId1" Type="http://schemas.openxmlformats.org/officeDocument/2006/relationships/themeOverride" Target="../theme/themeOverride5.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35.xml"/><Relationship Id="rId1" Type="http://schemas.microsoft.com/office/2011/relationships/chartStyle" Target="style35.xml"/><Relationship Id="rId4" Type="http://schemas.openxmlformats.org/officeDocument/2006/relationships/chartUserShapes" Target="../drawings/drawing4.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36.xml"/><Relationship Id="rId1" Type="http://schemas.microsoft.com/office/2011/relationships/chartStyle" Target="style36.xml"/></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4.xlsx"/><Relationship Id="rId1" Type="http://schemas.openxmlformats.org/officeDocument/2006/relationships/themeOverride" Target="../theme/themeOverride6.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37.xml"/><Relationship Id="rId1" Type="http://schemas.microsoft.com/office/2011/relationships/chartStyle" Target="style37.xml"/><Relationship Id="rId4" Type="http://schemas.openxmlformats.org/officeDocument/2006/relationships/chartUserShapes" Target="../drawings/drawing5.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Ex1.xml.rels><?xml version="1.0" encoding="UTF-8" standalone="yes"?>
<Relationships xmlns="http://schemas.openxmlformats.org/package/2006/relationships"><Relationship Id="rId3" Type="http://schemas.microsoft.com/office/2011/relationships/chartColorStyle" Target="colors20.xml"/><Relationship Id="rId2" Type="http://schemas.microsoft.com/office/2011/relationships/chartStyle" Target="style20.xml"/><Relationship Id="rId1" Type="http://schemas.openxmlformats.org/officeDocument/2006/relationships/oleObject" Target="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F70D-4402-A629-9481A4245784}"/>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F70D-4402-A629-9481A4245784}"/>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F70D-4402-A629-9481A4245784}"/>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F70D-4402-A629-9481A4245784}"/>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8-F70D-4402-A629-9481A4245784}"/>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997862738761586E-2"/>
          <c:y val="0"/>
          <c:w val="0.94186050141051747"/>
          <c:h val="1"/>
        </c:manualLayout>
      </c:layout>
      <c:barChart>
        <c:barDir val="bar"/>
        <c:grouping val="percentStacked"/>
        <c:varyColors val="0"/>
        <c:ser>
          <c:idx val="0"/>
          <c:order val="0"/>
          <c:tx>
            <c:strRef>
              <c:f>Sheet1!$B$1</c:f>
              <c:strCache>
                <c:ptCount val="1"/>
                <c:pt idx="0">
                  <c:v>Column1</c:v>
                </c:pt>
              </c:strCache>
            </c:strRef>
          </c:tx>
          <c:spPr>
            <a:solidFill>
              <a:schemeClr val="accent1">
                <a:lumMod val="75000"/>
              </a:schemeClr>
            </a:solidFill>
            <a:ln>
              <a:noFill/>
            </a:ln>
            <a:effectLst/>
          </c:spPr>
          <c:invertIfNegative val="0"/>
          <c:cat>
            <c:strRef>
              <c:f>Sheet1!$A$2</c:f>
              <c:strCache>
                <c:ptCount val="1"/>
                <c:pt idx="0">
                  <c:v>I am more likely to add unplanned purchases when shopping online</c:v>
                </c:pt>
              </c:strCache>
            </c:strRef>
          </c:cat>
          <c:val>
            <c:numRef>
              <c:f>Sheet1!$B$2</c:f>
              <c:numCache>
                <c:formatCode>0%</c:formatCode>
                <c:ptCount val="1"/>
                <c:pt idx="0">
                  <c:v>0.04</c:v>
                </c:pt>
              </c:numCache>
            </c:numRef>
          </c:val>
          <c:extLst>
            <c:ext xmlns:c16="http://schemas.microsoft.com/office/drawing/2014/chart" uri="{C3380CC4-5D6E-409C-BE32-E72D297353CC}">
              <c16:uniqueId val="{00000000-2D6B-42AA-A693-52615A80253D}"/>
            </c:ext>
          </c:extLst>
        </c:ser>
        <c:ser>
          <c:idx val="1"/>
          <c:order val="1"/>
          <c:tx>
            <c:strRef>
              <c:f>Sheet1!$C$1</c:f>
              <c:strCache>
                <c:ptCount val="1"/>
                <c:pt idx="0">
                  <c:v>Column2</c:v>
                </c:pt>
              </c:strCache>
            </c:strRef>
          </c:tx>
          <c:spPr>
            <a:solidFill>
              <a:schemeClr val="accent1">
                <a:lumMod val="40000"/>
                <a:lumOff val="60000"/>
              </a:schemeClr>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2-2D6B-42AA-A693-52615A80253D}"/>
              </c:ext>
            </c:extLst>
          </c:dPt>
          <c:cat>
            <c:strRef>
              <c:f>Sheet1!$A$2</c:f>
              <c:strCache>
                <c:ptCount val="1"/>
                <c:pt idx="0">
                  <c:v>I am more likely to add unplanned purchases when shopping online</c:v>
                </c:pt>
              </c:strCache>
            </c:strRef>
          </c:cat>
          <c:val>
            <c:numRef>
              <c:f>Sheet1!$C$2</c:f>
              <c:numCache>
                <c:formatCode>0%</c:formatCode>
                <c:ptCount val="1"/>
                <c:pt idx="0">
                  <c:v>0.03</c:v>
                </c:pt>
              </c:numCache>
            </c:numRef>
          </c:val>
          <c:extLst>
            <c:ext xmlns:c16="http://schemas.microsoft.com/office/drawing/2014/chart" uri="{C3380CC4-5D6E-409C-BE32-E72D297353CC}">
              <c16:uniqueId val="{00000003-2D6B-42AA-A693-52615A80253D}"/>
            </c:ext>
          </c:extLst>
        </c:ser>
        <c:ser>
          <c:idx val="2"/>
          <c:order val="2"/>
          <c:tx>
            <c:strRef>
              <c:f>Sheet1!$D$1</c:f>
              <c:strCache>
                <c:ptCount val="1"/>
                <c:pt idx="0">
                  <c:v>Column3</c:v>
                </c:pt>
              </c:strCache>
            </c:strRef>
          </c:tx>
          <c:spPr>
            <a:solidFill>
              <a:schemeClr val="accent1">
                <a:lumMod val="40000"/>
                <a:lumOff val="60000"/>
              </a:schemeClr>
            </a:solidFill>
            <a:ln>
              <a:noFill/>
            </a:ln>
            <a:effectLst/>
          </c:spPr>
          <c:invertIfNegative val="0"/>
          <c:cat>
            <c:strRef>
              <c:f>Sheet1!$A$2</c:f>
              <c:strCache>
                <c:ptCount val="1"/>
                <c:pt idx="0">
                  <c:v>I am more likely to add unplanned purchases when shopping online</c:v>
                </c:pt>
              </c:strCache>
            </c:strRef>
          </c:cat>
          <c:val>
            <c:numRef>
              <c:f>Sheet1!$D$2</c:f>
              <c:numCache>
                <c:formatCode>0%</c:formatCode>
                <c:ptCount val="1"/>
                <c:pt idx="0">
                  <c:v>0.03</c:v>
                </c:pt>
              </c:numCache>
            </c:numRef>
          </c:val>
          <c:extLst>
            <c:ext xmlns:c16="http://schemas.microsoft.com/office/drawing/2014/chart" uri="{C3380CC4-5D6E-409C-BE32-E72D297353CC}">
              <c16:uniqueId val="{00000004-2D6B-42AA-A693-52615A80253D}"/>
            </c:ext>
          </c:extLst>
        </c:ser>
        <c:ser>
          <c:idx val="3"/>
          <c:order val="3"/>
          <c:tx>
            <c:strRef>
              <c:f>Sheet1!$E$1</c:f>
              <c:strCache>
                <c:ptCount val="1"/>
                <c:pt idx="0">
                  <c:v>Column4</c:v>
                </c:pt>
              </c:strCache>
            </c:strRef>
          </c:tx>
          <c:spPr>
            <a:solidFill>
              <a:schemeClr val="accent6">
                <a:lumMod val="20000"/>
                <a:lumOff val="80000"/>
              </a:schemeClr>
            </a:solidFill>
            <a:ln>
              <a:noFill/>
            </a:ln>
            <a:effectLst/>
          </c:spPr>
          <c:invertIfNegative val="0"/>
          <c:cat>
            <c:strRef>
              <c:f>Sheet1!$A$2</c:f>
              <c:strCache>
                <c:ptCount val="1"/>
                <c:pt idx="0">
                  <c:v>I am more likely to add unplanned purchases when shopping online</c:v>
                </c:pt>
              </c:strCache>
            </c:strRef>
          </c:cat>
          <c:val>
            <c:numRef>
              <c:f>Sheet1!$E$2</c:f>
              <c:numCache>
                <c:formatCode>0%</c:formatCode>
                <c:ptCount val="1"/>
                <c:pt idx="0">
                  <c:v>0.04</c:v>
                </c:pt>
              </c:numCache>
            </c:numRef>
          </c:val>
          <c:extLst>
            <c:ext xmlns:c16="http://schemas.microsoft.com/office/drawing/2014/chart" uri="{C3380CC4-5D6E-409C-BE32-E72D297353CC}">
              <c16:uniqueId val="{00000005-2D6B-42AA-A693-52615A80253D}"/>
            </c:ext>
          </c:extLst>
        </c:ser>
        <c:ser>
          <c:idx val="4"/>
          <c:order val="4"/>
          <c:tx>
            <c:strRef>
              <c:f>Sheet1!$F$1</c:f>
              <c:strCache>
                <c:ptCount val="1"/>
                <c:pt idx="0">
                  <c:v>Column5</c:v>
                </c:pt>
              </c:strCache>
            </c:strRef>
          </c:tx>
          <c:spPr>
            <a:solidFill>
              <a:schemeClr val="accent6">
                <a:lumMod val="40000"/>
                <a:lumOff val="60000"/>
              </a:schemeClr>
            </a:solidFill>
            <a:ln>
              <a:noFill/>
            </a:ln>
            <a:effectLst/>
          </c:spPr>
          <c:invertIfNegative val="0"/>
          <c:cat>
            <c:strRef>
              <c:f>Sheet1!$A$2</c:f>
              <c:strCache>
                <c:ptCount val="1"/>
                <c:pt idx="0">
                  <c:v>I am more likely to add unplanned purchases when shopping online</c:v>
                </c:pt>
              </c:strCache>
            </c:strRef>
          </c:cat>
          <c:val>
            <c:numRef>
              <c:f>Sheet1!$F$2</c:f>
              <c:numCache>
                <c:formatCode>0%</c:formatCode>
                <c:ptCount val="1"/>
                <c:pt idx="0">
                  <c:v>0.05</c:v>
                </c:pt>
              </c:numCache>
            </c:numRef>
          </c:val>
          <c:extLst>
            <c:ext xmlns:c16="http://schemas.microsoft.com/office/drawing/2014/chart" uri="{C3380CC4-5D6E-409C-BE32-E72D297353CC}">
              <c16:uniqueId val="{00000006-2D6B-42AA-A693-52615A80253D}"/>
            </c:ext>
          </c:extLst>
        </c:ser>
        <c:ser>
          <c:idx val="5"/>
          <c:order val="5"/>
          <c:tx>
            <c:strRef>
              <c:f>Sheet1!$G$1</c:f>
              <c:strCache>
                <c:ptCount val="1"/>
                <c:pt idx="0">
                  <c:v>Column6</c:v>
                </c:pt>
              </c:strCache>
            </c:strRef>
          </c:tx>
          <c:spPr>
            <a:solidFill>
              <a:schemeClr val="bg1">
                <a:lumMod val="65000"/>
              </a:schemeClr>
            </a:solidFill>
            <a:ln>
              <a:noFill/>
            </a:ln>
            <a:effectLst/>
          </c:spPr>
          <c:invertIfNegative val="0"/>
          <c:cat>
            <c:strRef>
              <c:f>Sheet1!$A$2</c:f>
              <c:strCache>
                <c:ptCount val="1"/>
                <c:pt idx="0">
                  <c:v>I am more likely to add unplanned purchases when shopping online</c:v>
                </c:pt>
              </c:strCache>
            </c:strRef>
          </c:cat>
          <c:val>
            <c:numRef>
              <c:f>Sheet1!$G$2</c:f>
              <c:numCache>
                <c:formatCode>0%</c:formatCode>
                <c:ptCount val="1"/>
                <c:pt idx="0">
                  <c:v>0.23</c:v>
                </c:pt>
              </c:numCache>
            </c:numRef>
          </c:val>
          <c:extLst>
            <c:ext xmlns:c16="http://schemas.microsoft.com/office/drawing/2014/chart" uri="{C3380CC4-5D6E-409C-BE32-E72D297353CC}">
              <c16:uniqueId val="{00000007-2D6B-42AA-A693-52615A80253D}"/>
            </c:ext>
          </c:extLst>
        </c:ser>
        <c:ser>
          <c:idx val="6"/>
          <c:order val="6"/>
          <c:tx>
            <c:strRef>
              <c:f>Sheet1!$H$1</c:f>
              <c:strCache>
                <c:ptCount val="1"/>
                <c:pt idx="0">
                  <c:v>Column7</c:v>
                </c:pt>
              </c:strCache>
            </c:strRef>
          </c:tx>
          <c:spPr>
            <a:solidFill>
              <a:schemeClr val="accent6">
                <a:lumMod val="40000"/>
                <a:lumOff val="60000"/>
              </a:schemeClr>
            </a:solidFill>
            <a:ln>
              <a:noFill/>
            </a:ln>
            <a:effectLst/>
          </c:spPr>
          <c:invertIfNegative val="0"/>
          <c:cat>
            <c:strRef>
              <c:f>Sheet1!$A$2</c:f>
              <c:strCache>
                <c:ptCount val="1"/>
                <c:pt idx="0">
                  <c:v>I am more likely to add unplanned purchases when shopping online</c:v>
                </c:pt>
              </c:strCache>
            </c:strRef>
          </c:cat>
          <c:val>
            <c:numRef>
              <c:f>Sheet1!$H$2</c:f>
              <c:numCache>
                <c:formatCode>0%</c:formatCode>
                <c:ptCount val="1"/>
                <c:pt idx="0">
                  <c:v>7.0000000000000007E-2</c:v>
                </c:pt>
              </c:numCache>
            </c:numRef>
          </c:val>
          <c:extLst>
            <c:ext xmlns:c16="http://schemas.microsoft.com/office/drawing/2014/chart" uri="{C3380CC4-5D6E-409C-BE32-E72D297353CC}">
              <c16:uniqueId val="{00000008-2D6B-42AA-A693-52615A80253D}"/>
            </c:ext>
          </c:extLst>
        </c:ser>
        <c:ser>
          <c:idx val="7"/>
          <c:order val="7"/>
          <c:tx>
            <c:strRef>
              <c:f>Sheet1!$I$1</c:f>
              <c:strCache>
                <c:ptCount val="1"/>
                <c:pt idx="0">
                  <c:v>Column8</c:v>
                </c:pt>
              </c:strCache>
            </c:strRef>
          </c:tx>
          <c:spPr>
            <a:solidFill>
              <a:schemeClr val="accent6">
                <a:lumMod val="20000"/>
                <a:lumOff val="80000"/>
              </a:schemeClr>
            </a:solidFill>
            <a:ln>
              <a:noFill/>
            </a:ln>
            <a:effectLst/>
          </c:spPr>
          <c:invertIfNegative val="0"/>
          <c:cat>
            <c:strRef>
              <c:f>Sheet1!$A$2</c:f>
              <c:strCache>
                <c:ptCount val="1"/>
                <c:pt idx="0">
                  <c:v>I am more likely to add unplanned purchases when shopping online</c:v>
                </c:pt>
              </c:strCache>
            </c:strRef>
          </c:cat>
          <c:val>
            <c:numRef>
              <c:f>Sheet1!$I$2</c:f>
              <c:numCache>
                <c:formatCode>0%</c:formatCode>
                <c:ptCount val="1"/>
                <c:pt idx="0">
                  <c:v>0.1</c:v>
                </c:pt>
              </c:numCache>
            </c:numRef>
          </c:val>
          <c:extLst>
            <c:ext xmlns:c16="http://schemas.microsoft.com/office/drawing/2014/chart" uri="{C3380CC4-5D6E-409C-BE32-E72D297353CC}">
              <c16:uniqueId val="{00000009-2D6B-42AA-A693-52615A80253D}"/>
            </c:ext>
          </c:extLst>
        </c:ser>
        <c:ser>
          <c:idx val="8"/>
          <c:order val="8"/>
          <c:tx>
            <c:strRef>
              <c:f>Sheet1!$J$1</c:f>
              <c:strCache>
                <c:ptCount val="1"/>
                <c:pt idx="0">
                  <c:v>Column9</c:v>
                </c:pt>
              </c:strCache>
            </c:strRef>
          </c:tx>
          <c:spPr>
            <a:solidFill>
              <a:schemeClr val="accent3">
                <a:lumMod val="60000"/>
                <a:lumOff val="40000"/>
              </a:schemeClr>
            </a:solidFill>
            <a:ln>
              <a:noFill/>
            </a:ln>
            <a:effectLst/>
          </c:spPr>
          <c:invertIfNegative val="0"/>
          <c:cat>
            <c:strRef>
              <c:f>Sheet1!$A$2</c:f>
              <c:strCache>
                <c:ptCount val="1"/>
                <c:pt idx="0">
                  <c:v>I am more likely to add unplanned purchases when shopping online</c:v>
                </c:pt>
              </c:strCache>
            </c:strRef>
          </c:cat>
          <c:val>
            <c:numRef>
              <c:f>Sheet1!$J$2</c:f>
              <c:numCache>
                <c:formatCode>0%</c:formatCode>
                <c:ptCount val="1"/>
                <c:pt idx="0">
                  <c:v>0.13</c:v>
                </c:pt>
              </c:numCache>
            </c:numRef>
          </c:val>
          <c:extLst>
            <c:ext xmlns:c16="http://schemas.microsoft.com/office/drawing/2014/chart" uri="{C3380CC4-5D6E-409C-BE32-E72D297353CC}">
              <c16:uniqueId val="{0000000A-2D6B-42AA-A693-52615A80253D}"/>
            </c:ext>
          </c:extLst>
        </c:ser>
        <c:ser>
          <c:idx val="9"/>
          <c:order val="9"/>
          <c:tx>
            <c:strRef>
              <c:f>Sheet1!$K$1</c:f>
              <c:strCache>
                <c:ptCount val="1"/>
                <c:pt idx="0">
                  <c:v>Column10</c:v>
                </c:pt>
              </c:strCache>
            </c:strRef>
          </c:tx>
          <c:spPr>
            <a:solidFill>
              <a:schemeClr val="accent3"/>
            </a:solidFill>
            <a:ln>
              <a:noFill/>
            </a:ln>
            <a:effectLst/>
          </c:spPr>
          <c:invertIfNegative val="0"/>
          <c:cat>
            <c:strRef>
              <c:f>Sheet1!$A$2</c:f>
              <c:strCache>
                <c:ptCount val="1"/>
                <c:pt idx="0">
                  <c:v>I am more likely to add unplanned purchases when shopping online</c:v>
                </c:pt>
              </c:strCache>
            </c:strRef>
          </c:cat>
          <c:val>
            <c:numRef>
              <c:f>Sheet1!$K$2</c:f>
              <c:numCache>
                <c:formatCode>0%</c:formatCode>
                <c:ptCount val="1"/>
                <c:pt idx="0">
                  <c:v>0.11</c:v>
                </c:pt>
              </c:numCache>
            </c:numRef>
          </c:val>
          <c:extLst>
            <c:ext xmlns:c16="http://schemas.microsoft.com/office/drawing/2014/chart" uri="{C3380CC4-5D6E-409C-BE32-E72D297353CC}">
              <c16:uniqueId val="{0000000B-2D6B-42AA-A693-52615A80253D}"/>
            </c:ext>
          </c:extLst>
        </c:ser>
        <c:ser>
          <c:idx val="10"/>
          <c:order val="10"/>
          <c:tx>
            <c:strRef>
              <c:f>Sheet1!$L$1</c:f>
              <c:strCache>
                <c:ptCount val="1"/>
                <c:pt idx="0">
                  <c:v>Column11</c:v>
                </c:pt>
              </c:strCache>
            </c:strRef>
          </c:tx>
          <c:spPr>
            <a:solidFill>
              <a:schemeClr val="accent3">
                <a:lumMod val="75000"/>
              </a:schemeClr>
            </a:solidFill>
            <a:ln>
              <a:noFill/>
            </a:ln>
            <a:effectLst/>
          </c:spPr>
          <c:invertIfNegative val="0"/>
          <c:cat>
            <c:strRef>
              <c:f>Sheet1!$A$2</c:f>
              <c:strCache>
                <c:ptCount val="1"/>
                <c:pt idx="0">
                  <c:v>I am more likely to add unplanned purchases when shopping online</c:v>
                </c:pt>
              </c:strCache>
            </c:strRef>
          </c:cat>
          <c:val>
            <c:numRef>
              <c:f>Sheet1!$L$2</c:f>
              <c:numCache>
                <c:formatCode>0%</c:formatCode>
                <c:ptCount val="1"/>
                <c:pt idx="0">
                  <c:v>0.18</c:v>
                </c:pt>
              </c:numCache>
            </c:numRef>
          </c:val>
          <c:extLst>
            <c:ext xmlns:c16="http://schemas.microsoft.com/office/drawing/2014/chart" uri="{C3380CC4-5D6E-409C-BE32-E72D297353CC}">
              <c16:uniqueId val="{0000000C-2D6B-42AA-A693-52615A80253D}"/>
            </c:ext>
          </c:extLst>
        </c:ser>
        <c:dLbls>
          <c:showLegendKey val="0"/>
          <c:showVal val="0"/>
          <c:showCatName val="0"/>
          <c:showSerName val="0"/>
          <c:showPercent val="0"/>
          <c:showBubbleSize val="0"/>
        </c:dLbls>
        <c:gapWidth val="0"/>
        <c:overlap val="100"/>
        <c:axId val="938976512"/>
        <c:axId val="938976904"/>
      </c:barChart>
      <c:catAx>
        <c:axId val="938976512"/>
        <c:scaling>
          <c:orientation val="minMax"/>
        </c:scaling>
        <c:delete val="1"/>
        <c:axPos val="l"/>
        <c:numFmt formatCode="General" sourceLinked="1"/>
        <c:majorTickMark val="none"/>
        <c:minorTickMark val="none"/>
        <c:tickLblPos val="nextTo"/>
        <c:crossAx val="938976904"/>
        <c:crosses val="autoZero"/>
        <c:auto val="1"/>
        <c:lblAlgn val="ctr"/>
        <c:lblOffset val="100"/>
        <c:noMultiLvlLbl val="0"/>
      </c:catAx>
      <c:valAx>
        <c:axId val="938976904"/>
        <c:scaling>
          <c:orientation val="minMax"/>
        </c:scaling>
        <c:delete val="1"/>
        <c:axPos val="b"/>
        <c:numFmt formatCode="0%" sourceLinked="1"/>
        <c:majorTickMark val="none"/>
        <c:minorTickMark val="none"/>
        <c:tickLblPos val="nextTo"/>
        <c:crossAx val="938976512"/>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2">
              <a:lumMod val="50000"/>
            </a:schemeClr>
          </a:solidFill>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strRef>
              <c:f>Sheet1!$B$1</c:f>
              <c:strCache>
                <c:ptCount val="1"/>
                <c:pt idx="0">
                  <c:v>Series 1</c:v>
                </c:pt>
              </c:strCache>
            </c:strRef>
          </c:tx>
          <c:spPr>
            <a:noFill/>
          </c:spPr>
          <c:invertIfNegative val="0"/>
          <c:cat>
            <c:strRef>
              <c:f>Sheet1!$A$2:$A$6</c:f>
              <c:strCache>
                <c:ptCount val="5"/>
                <c:pt idx="0">
                  <c:v>Total Spend</c:v>
                </c:pt>
                <c:pt idx="1">
                  <c:v>Labor</c:v>
                </c:pt>
                <c:pt idx="2">
                  <c:v>Outsourcing</c:v>
                </c:pt>
                <c:pt idx="3">
                  <c:v>Technology</c:v>
                </c:pt>
                <c:pt idx="4">
                  <c:v>Other</c:v>
                </c:pt>
              </c:strCache>
            </c:strRef>
          </c:cat>
          <c:val>
            <c:numRef>
              <c:f>Sheet1!$B$2:$B$6</c:f>
              <c:numCache>
                <c:formatCode>0</c:formatCode>
                <c:ptCount val="5"/>
                <c:pt idx="0">
                  <c:v>0</c:v>
                </c:pt>
                <c:pt idx="1">
                  <c:v>46.9</c:v>
                </c:pt>
                <c:pt idx="2">
                  <c:v>16.899999999999999</c:v>
                </c:pt>
                <c:pt idx="3">
                  <c:v>5.4999999999999982</c:v>
                </c:pt>
                <c:pt idx="4">
                  <c:v>-0.40000000000000213</c:v>
                </c:pt>
              </c:numCache>
            </c:numRef>
          </c:val>
          <c:extLst>
            <c:ext xmlns:c16="http://schemas.microsoft.com/office/drawing/2014/chart" uri="{C3380CC4-5D6E-409C-BE32-E72D297353CC}">
              <c16:uniqueId val="{00000000-1333-4C7E-8F5C-5D5D92EEB591}"/>
            </c:ext>
          </c:extLst>
        </c:ser>
        <c:ser>
          <c:idx val="1"/>
          <c:order val="1"/>
          <c:tx>
            <c:strRef>
              <c:f>Sheet1!$C$1</c:f>
              <c:strCache>
                <c:ptCount val="1"/>
                <c:pt idx="0">
                  <c:v>Series 2</c:v>
                </c:pt>
              </c:strCache>
            </c:strRef>
          </c:tx>
          <c:spPr>
            <a:solidFill>
              <a:srgbClr val="4066B2"/>
            </a:solidFill>
            <a:ln>
              <a:noFill/>
            </a:ln>
          </c:spPr>
          <c:invertIfNegative val="0"/>
          <c:cat>
            <c:strRef>
              <c:f>Sheet1!$A$2:$A$6</c:f>
              <c:strCache>
                <c:ptCount val="5"/>
                <c:pt idx="0">
                  <c:v>Total Spend</c:v>
                </c:pt>
                <c:pt idx="1">
                  <c:v>Labor</c:v>
                </c:pt>
                <c:pt idx="2">
                  <c:v>Outsourcing</c:v>
                </c:pt>
                <c:pt idx="3">
                  <c:v>Technology</c:v>
                </c:pt>
                <c:pt idx="4">
                  <c:v>Other</c:v>
                </c:pt>
              </c:strCache>
            </c:strRef>
          </c:cat>
          <c:val>
            <c:numRef>
              <c:f>Sheet1!$C$2:$C$6</c:f>
              <c:numCache>
                <c:formatCode>0</c:formatCode>
                <c:ptCount val="5"/>
                <c:pt idx="0">
                  <c:v>0</c:v>
                </c:pt>
                <c:pt idx="1">
                  <c:v>53.1</c:v>
                </c:pt>
                <c:pt idx="2">
                  <c:v>30</c:v>
                </c:pt>
                <c:pt idx="3">
                  <c:v>11.4</c:v>
                </c:pt>
                <c:pt idx="4">
                  <c:v>5.9</c:v>
                </c:pt>
              </c:numCache>
            </c:numRef>
          </c:val>
          <c:extLst>
            <c:ext xmlns:c16="http://schemas.microsoft.com/office/drawing/2014/chart" uri="{C3380CC4-5D6E-409C-BE32-E72D297353CC}">
              <c16:uniqueId val="{00000001-1333-4C7E-8F5C-5D5D92EEB591}"/>
            </c:ext>
          </c:extLst>
        </c:ser>
        <c:ser>
          <c:idx val="2"/>
          <c:order val="2"/>
          <c:tx>
            <c:strRef>
              <c:f>Sheet1!$D$1</c:f>
              <c:strCache>
                <c:ptCount val="1"/>
                <c:pt idx="0">
                  <c:v>Series 3</c:v>
                </c:pt>
              </c:strCache>
            </c:strRef>
          </c:tx>
          <c:spPr>
            <a:solidFill>
              <a:srgbClr val="000066"/>
            </a:solidFill>
            <a:ln>
              <a:noFill/>
            </a:ln>
          </c:spPr>
          <c:invertIfNegative val="0"/>
          <c:cat>
            <c:strRef>
              <c:f>Sheet1!$A$2:$A$6</c:f>
              <c:strCache>
                <c:ptCount val="5"/>
                <c:pt idx="0">
                  <c:v>Total Spend</c:v>
                </c:pt>
                <c:pt idx="1">
                  <c:v>Labor</c:v>
                </c:pt>
                <c:pt idx="2">
                  <c:v>Outsourcing</c:v>
                </c:pt>
                <c:pt idx="3">
                  <c:v>Technology</c:v>
                </c:pt>
                <c:pt idx="4">
                  <c:v>Other</c:v>
                </c:pt>
              </c:strCache>
            </c:strRef>
          </c:cat>
          <c:val>
            <c:numRef>
              <c:f>Sheet1!$D$2:$D$6</c:f>
              <c:numCache>
                <c:formatCode>0</c:formatCode>
                <c:ptCount val="5"/>
                <c:pt idx="0">
                  <c:v>100</c:v>
                </c:pt>
                <c:pt idx="1">
                  <c:v>0</c:v>
                </c:pt>
                <c:pt idx="2">
                  <c:v>0</c:v>
                </c:pt>
                <c:pt idx="3">
                  <c:v>0</c:v>
                </c:pt>
                <c:pt idx="4">
                  <c:v>0</c:v>
                </c:pt>
              </c:numCache>
            </c:numRef>
          </c:val>
          <c:extLst>
            <c:ext xmlns:c16="http://schemas.microsoft.com/office/drawing/2014/chart" uri="{C3380CC4-5D6E-409C-BE32-E72D297353CC}">
              <c16:uniqueId val="{00000002-1333-4C7E-8F5C-5D5D92EEB591}"/>
            </c:ext>
          </c:extLst>
        </c:ser>
        <c:dLbls>
          <c:showLegendKey val="0"/>
          <c:showVal val="0"/>
          <c:showCatName val="0"/>
          <c:showSerName val="0"/>
          <c:showPercent val="0"/>
          <c:showBubbleSize val="0"/>
        </c:dLbls>
        <c:gapWidth val="150"/>
        <c:overlap val="100"/>
        <c:axId val="373667712"/>
        <c:axId val="373669248"/>
      </c:barChart>
      <c:catAx>
        <c:axId val="373667712"/>
        <c:scaling>
          <c:orientation val="minMax"/>
        </c:scaling>
        <c:delete val="0"/>
        <c:axPos val="b"/>
        <c:numFmt formatCode="General" sourceLinked="0"/>
        <c:majorTickMark val="out"/>
        <c:minorTickMark val="none"/>
        <c:tickLblPos val="nextTo"/>
        <c:txPr>
          <a:bodyPr/>
          <a:lstStyle/>
          <a:p>
            <a:pPr>
              <a:defRPr sz="1000"/>
            </a:pPr>
            <a:endParaRPr lang="en-US"/>
          </a:p>
        </c:txPr>
        <c:crossAx val="373669248"/>
        <c:crosses val="autoZero"/>
        <c:auto val="1"/>
        <c:lblAlgn val="ctr"/>
        <c:lblOffset val="100"/>
        <c:noMultiLvlLbl val="0"/>
      </c:catAx>
      <c:valAx>
        <c:axId val="373669248"/>
        <c:scaling>
          <c:orientation val="minMax"/>
        </c:scaling>
        <c:delete val="0"/>
        <c:axPos val="l"/>
        <c:numFmt formatCode="0" sourceLinked="1"/>
        <c:majorTickMark val="out"/>
        <c:minorTickMark val="none"/>
        <c:tickLblPos val="nextTo"/>
        <c:txPr>
          <a:bodyPr/>
          <a:lstStyle/>
          <a:p>
            <a:pPr>
              <a:defRPr sz="1000"/>
            </a:pPr>
            <a:endParaRPr lang="en-US"/>
          </a:p>
        </c:txPr>
        <c:crossAx val="373667712"/>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08910891089109E-2"/>
          <c:y val="2.8953229398663696E-2"/>
          <c:w val="0.96782178217821779"/>
          <c:h val="0.94209354120267252"/>
        </c:manualLayout>
      </c:layout>
      <c:barChart>
        <c:barDir val="col"/>
        <c:grouping val="stacked"/>
        <c:varyColors val="0"/>
        <c:ser>
          <c:idx val="0"/>
          <c:order val="0"/>
          <c:spPr>
            <a:solidFill>
              <a:srgbClr val="63666A"/>
            </a:solidFill>
            <a:ln w="6350">
              <a:solidFill>
                <a:srgbClr val="808080"/>
              </a:solidFill>
              <a:prstDash val="solid"/>
            </a:ln>
          </c:spPr>
          <c:invertIfNegative val="0"/>
          <c:val>
            <c:numRef>
              <c:f>Sheet1!$A$1:$C$1</c:f>
              <c:numCache>
                <c:formatCode>General</c:formatCode>
                <c:ptCount val="3"/>
                <c:pt idx="0">
                  <c:v>102139003.93389331</c:v>
                </c:pt>
                <c:pt idx="1">
                  <c:v>102139003.93389331</c:v>
                </c:pt>
                <c:pt idx="2">
                  <c:v>102139003.93389331</c:v>
                </c:pt>
              </c:numCache>
            </c:numRef>
          </c:val>
          <c:extLst>
            <c:ext xmlns:c16="http://schemas.microsoft.com/office/drawing/2014/chart" uri="{C3380CC4-5D6E-409C-BE32-E72D297353CC}">
              <c16:uniqueId val="{00000000-2C07-49BC-8C04-E7D6F3CEAB6B}"/>
            </c:ext>
          </c:extLst>
        </c:ser>
        <c:ser>
          <c:idx val="1"/>
          <c:order val="1"/>
          <c:spPr>
            <a:solidFill>
              <a:schemeClr val="accent4"/>
            </a:solidFill>
            <a:ln w="6350">
              <a:solidFill>
                <a:srgbClr val="808080"/>
              </a:solidFill>
              <a:prstDash val="solid"/>
            </a:ln>
          </c:spPr>
          <c:invertIfNegative val="0"/>
          <c:dPt>
            <c:idx val="0"/>
            <c:invertIfNegative val="0"/>
            <c:bubble3D val="0"/>
            <c:spPr>
              <a:solidFill>
                <a:schemeClr val="accent2"/>
              </a:solidFill>
              <a:ln w="6350">
                <a:solidFill>
                  <a:srgbClr val="808080"/>
                </a:solidFill>
                <a:prstDash val="solid"/>
              </a:ln>
            </c:spPr>
            <c:extLst>
              <c:ext xmlns:c16="http://schemas.microsoft.com/office/drawing/2014/chart" uri="{C3380CC4-5D6E-409C-BE32-E72D297353CC}">
                <c16:uniqueId val="{00000002-2C07-49BC-8C04-E7D6F3CEAB6B}"/>
              </c:ext>
            </c:extLst>
          </c:dPt>
          <c:val>
            <c:numRef>
              <c:f>Sheet1!$A$2:$C$2</c:f>
              <c:numCache>
                <c:formatCode>General</c:formatCode>
                <c:ptCount val="3"/>
                <c:pt idx="0">
                  <c:v>0</c:v>
                </c:pt>
                <c:pt idx="1">
                  <c:v>150849384.24878412</c:v>
                </c:pt>
                <c:pt idx="2">
                  <c:v>150849384.24878412</c:v>
                </c:pt>
              </c:numCache>
            </c:numRef>
          </c:val>
          <c:extLst>
            <c:ext xmlns:c16="http://schemas.microsoft.com/office/drawing/2014/chart" uri="{C3380CC4-5D6E-409C-BE32-E72D297353CC}">
              <c16:uniqueId val="{00000003-2C07-49BC-8C04-E7D6F3CEAB6B}"/>
            </c:ext>
          </c:extLst>
        </c:ser>
        <c:ser>
          <c:idx val="2"/>
          <c:order val="2"/>
          <c:spPr>
            <a:solidFill>
              <a:srgbClr val="969696"/>
            </a:solidFill>
            <a:ln w="6350">
              <a:solidFill>
                <a:srgbClr val="808080"/>
              </a:solidFill>
              <a:prstDash val="solid"/>
            </a:ln>
          </c:spPr>
          <c:invertIfNegative val="0"/>
          <c:dPt>
            <c:idx val="2"/>
            <c:invertIfNegative val="0"/>
            <c:bubble3D val="0"/>
            <c:spPr>
              <a:solidFill>
                <a:schemeClr val="tx2"/>
              </a:solidFill>
              <a:ln w="6350">
                <a:solidFill>
                  <a:srgbClr val="808080"/>
                </a:solidFill>
                <a:prstDash val="solid"/>
              </a:ln>
            </c:spPr>
            <c:extLst>
              <c:ext xmlns:c16="http://schemas.microsoft.com/office/drawing/2014/chart" uri="{C3380CC4-5D6E-409C-BE32-E72D297353CC}">
                <c16:uniqueId val="{00000005-2C07-49BC-8C04-E7D6F3CEAB6B}"/>
              </c:ext>
            </c:extLst>
          </c:dPt>
          <c:val>
            <c:numRef>
              <c:f>Sheet1!$A$3:$C$3</c:f>
              <c:numCache>
                <c:formatCode>General</c:formatCode>
                <c:ptCount val="3"/>
                <c:pt idx="0">
                  <c:v>0</c:v>
                </c:pt>
                <c:pt idx="1">
                  <c:v>0</c:v>
                </c:pt>
                <c:pt idx="2">
                  <c:v>279069867.86531651</c:v>
                </c:pt>
              </c:numCache>
            </c:numRef>
          </c:val>
          <c:extLst>
            <c:ext xmlns:c16="http://schemas.microsoft.com/office/drawing/2014/chart" uri="{C3380CC4-5D6E-409C-BE32-E72D297353CC}">
              <c16:uniqueId val="{00000006-2C07-49BC-8C04-E7D6F3CEAB6B}"/>
            </c:ext>
          </c:extLst>
        </c:ser>
        <c:dLbls>
          <c:showLegendKey val="0"/>
          <c:showVal val="0"/>
          <c:showCatName val="0"/>
          <c:showSerName val="0"/>
          <c:showPercent val="0"/>
          <c:showBubbleSize val="0"/>
        </c:dLbls>
        <c:gapWidth val="80"/>
        <c:overlap val="100"/>
        <c:axId val="336126775"/>
        <c:axId val="1"/>
      </c:barChart>
      <c:catAx>
        <c:axId val="336126775"/>
        <c:scaling>
          <c:orientation val="minMax"/>
        </c:scaling>
        <c:delete val="0"/>
        <c:axPos val="b"/>
        <c:majorGridlines>
          <c:spPr>
            <a:ln>
              <a:noFill/>
            </a:ln>
          </c:spPr>
        </c:majorGridlines>
        <c:majorTickMark val="out"/>
        <c:minorTickMark val="none"/>
        <c:tickLblPos val="none"/>
        <c:spPr>
          <a:ln w="9525">
            <a:solidFill>
              <a:schemeClr val="tx1"/>
            </a:solidFill>
            <a:prstDash val="solid"/>
          </a:ln>
        </c:spPr>
        <c:txPr>
          <a:bodyPr wrap="none"/>
          <a:lstStyle/>
          <a:p>
            <a:pPr>
              <a:defRPr sz="1000">
                <a:solidFill>
                  <a:schemeClr val="tx1"/>
                </a:solidFill>
                <a:latin typeface="+mn-lt"/>
                <a:ea typeface="+mn-ea"/>
                <a:cs typeface="+mn-cs"/>
                <a:sym typeface="+mn-lt"/>
              </a:defRPr>
            </a:pPr>
            <a:endParaRPr lang="en-US"/>
          </a:p>
        </c:txPr>
        <c:crossAx val="1"/>
        <c:crosses val="min"/>
        <c:auto val="0"/>
        <c:lblAlgn val="ctr"/>
        <c:lblOffset val="100"/>
        <c:noMultiLvlLbl val="0"/>
      </c:catAx>
      <c:valAx>
        <c:axId val="1"/>
        <c:scaling>
          <c:orientation val="minMax"/>
          <c:max val="532058256.04799396"/>
          <c:min val="0"/>
        </c:scaling>
        <c:delete val="1"/>
        <c:axPos val="l"/>
        <c:numFmt formatCode="General" sourceLinked="1"/>
        <c:majorTickMark val="out"/>
        <c:minorTickMark val="none"/>
        <c:tickLblPos val="nextTo"/>
        <c:crossAx val="336126775"/>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089919575561075"/>
          <c:y val="0.13416673128895001"/>
          <c:w val="0.80003544008870553"/>
          <c:h val="0.78527506988265783"/>
        </c:manualLayout>
      </c:layout>
      <c:barChart>
        <c:barDir val="col"/>
        <c:grouping val="percentStacked"/>
        <c:varyColors val="0"/>
        <c:ser>
          <c:idx val="0"/>
          <c:order val="0"/>
          <c:tx>
            <c:strRef>
              <c:f>Sheet1!$G$2</c:f>
              <c:strCache>
                <c:ptCount val="1"/>
                <c:pt idx="0">
                  <c:v>Professional Sports</c:v>
                </c:pt>
              </c:strCache>
            </c:strRef>
          </c:tx>
          <c:spPr>
            <a:solidFill>
              <a:schemeClr val="accent6"/>
            </a:solidFill>
            <a:ln w="25400">
              <a:noFill/>
            </a:ln>
            <a:effectLst/>
          </c:spPr>
          <c:invertIfNegative val="0"/>
          <c:dLbls>
            <c:dLbl>
              <c:idx val="0"/>
              <c:tx>
                <c:rich>
                  <a:bodyPr/>
                  <a:lstStyle/>
                  <a:p>
                    <a:fld id="{7FE4D3DB-1D28-4B34-8D46-17756B9DFC5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690-460F-A346-CCBD9D7F2C1A}"/>
                </c:ext>
              </c:extLst>
            </c:dLbl>
            <c:dLbl>
              <c:idx val="1"/>
              <c:tx>
                <c:rich>
                  <a:bodyPr/>
                  <a:lstStyle/>
                  <a:p>
                    <a:fld id="{DDA5C23B-6D7C-4EA4-B69A-D86D9556917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690-460F-A346-CCBD9D7F2C1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solidFill>
                    <a:latin typeface="+mn-lt"/>
                    <a:ea typeface="+mn-lt"/>
                    <a:cs typeface="+mn-lt"/>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H$1:$I$1</c:f>
              <c:strCache>
                <c:ptCount val="2"/>
                <c:pt idx="0">
                  <c:v>Revenue</c:v>
                </c:pt>
                <c:pt idx="1">
                  <c:v>Expenses</c:v>
                </c:pt>
              </c:strCache>
            </c:strRef>
          </c:cat>
          <c:val>
            <c:numRef>
              <c:f>Sheet1!$H$2:$I$2</c:f>
              <c:numCache>
                <c:formatCode>_(* #,##0_);_(* \(#,##0\);_(* "-"??_);_(@_)</c:formatCode>
                <c:ptCount val="2"/>
                <c:pt idx="0">
                  <c:v>379545</c:v>
                </c:pt>
                <c:pt idx="1">
                  <c:v>165737</c:v>
                </c:pt>
              </c:numCache>
            </c:numRef>
          </c:val>
          <c:extLst>
            <c:ext xmlns:c15="http://schemas.microsoft.com/office/drawing/2012/chart" uri="{02D57815-91ED-43cb-92C2-25804820EDAC}">
              <c15:datalabelsRange>
                <c15:f>Sheet1!$H$18:$I$18</c15:f>
                <c15:dlblRangeCache>
                  <c:ptCount val="2"/>
                  <c:pt idx="0">
                    <c:v>90%</c:v>
                  </c:pt>
                  <c:pt idx="1">
                    <c:v>47%</c:v>
                  </c:pt>
                </c15:dlblRangeCache>
              </c15:datalabelsRange>
            </c:ext>
            <c:ext xmlns:c16="http://schemas.microsoft.com/office/drawing/2014/chart" uri="{C3380CC4-5D6E-409C-BE32-E72D297353CC}">
              <c16:uniqueId val="{00000002-F690-460F-A346-CCBD9D7F2C1A}"/>
            </c:ext>
          </c:extLst>
        </c:ser>
        <c:ser>
          <c:idx val="1"/>
          <c:order val="1"/>
          <c:tx>
            <c:strRef>
              <c:f>Sheet1!$G$3</c:f>
              <c:strCache>
                <c:ptCount val="1"/>
                <c:pt idx="0">
                  <c:v>Community Sports</c:v>
                </c:pt>
              </c:strCache>
            </c:strRef>
          </c:tx>
          <c:spPr>
            <a:solidFill>
              <a:schemeClr val="accent5"/>
            </a:solidFill>
            <a:ln w="25400">
              <a:noFill/>
            </a:ln>
            <a:effectLst/>
          </c:spPr>
          <c:invertIfNegative val="0"/>
          <c:dLbls>
            <c:dLbl>
              <c:idx val="0"/>
              <c:tx>
                <c:rich>
                  <a:bodyPr/>
                  <a:lstStyle/>
                  <a:p>
                    <a:fld id="{C9F73CD6-3417-4666-AD3C-3E770CEED6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690-460F-A346-CCBD9D7F2C1A}"/>
                </c:ext>
              </c:extLst>
            </c:dLbl>
            <c:dLbl>
              <c:idx val="1"/>
              <c:tx>
                <c:rich>
                  <a:bodyPr/>
                  <a:lstStyle/>
                  <a:p>
                    <a:fld id="{F9C9FCDA-E73A-487B-840A-D4C276A5C2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690-460F-A346-CCBD9D7F2C1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solidFill>
                    <a:latin typeface="+mn-lt"/>
                    <a:ea typeface="+mn-lt"/>
                    <a:cs typeface="+mn-lt"/>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H$1:$I$1</c:f>
              <c:strCache>
                <c:ptCount val="2"/>
                <c:pt idx="0">
                  <c:v>Revenue</c:v>
                </c:pt>
                <c:pt idx="1">
                  <c:v>Expenses</c:v>
                </c:pt>
              </c:strCache>
            </c:strRef>
          </c:cat>
          <c:val>
            <c:numRef>
              <c:f>Sheet1!$H$3:$I$3</c:f>
              <c:numCache>
                <c:formatCode>_(* #,##0_);_(* \(#,##0\);_(* "-"??_);_(@_)</c:formatCode>
                <c:ptCount val="2"/>
                <c:pt idx="0">
                  <c:v>21182</c:v>
                </c:pt>
                <c:pt idx="1">
                  <c:v>92164</c:v>
                </c:pt>
              </c:numCache>
            </c:numRef>
          </c:val>
          <c:extLst>
            <c:ext xmlns:c15="http://schemas.microsoft.com/office/drawing/2012/chart" uri="{02D57815-91ED-43cb-92C2-25804820EDAC}">
              <c15:datalabelsRange>
                <c15:f>Sheet1!$H$19:$I$19</c15:f>
                <c15:dlblRangeCache>
                  <c:ptCount val="2"/>
                  <c:pt idx="0">
                    <c:v>5%</c:v>
                  </c:pt>
                  <c:pt idx="1">
                    <c:v>26%</c:v>
                  </c:pt>
                </c15:dlblRangeCache>
              </c15:datalabelsRange>
            </c:ext>
            <c:ext xmlns:c16="http://schemas.microsoft.com/office/drawing/2014/chart" uri="{C3380CC4-5D6E-409C-BE32-E72D297353CC}">
              <c16:uniqueId val="{00000005-F690-460F-A346-CCBD9D7F2C1A}"/>
            </c:ext>
          </c:extLst>
        </c:ser>
        <c:ser>
          <c:idx val="2"/>
          <c:order val="2"/>
          <c:tx>
            <c:strRef>
              <c:f>Sheet1!$G$4</c:f>
              <c:strCache>
                <c:ptCount val="1"/>
                <c:pt idx="0">
                  <c:v>Facilities</c:v>
                </c:pt>
              </c:strCache>
            </c:strRef>
          </c:tx>
          <c:spPr>
            <a:solidFill>
              <a:srgbClr val="002060"/>
            </a:solidFill>
            <a:ln w="25400">
              <a:noFill/>
            </a:ln>
            <a:effectLst/>
          </c:spPr>
          <c:invertIfNegative val="0"/>
          <c:dLbls>
            <c:dLbl>
              <c:idx val="0"/>
              <c:tx>
                <c:rich>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lt"/>
                        <a:cs typeface="+mn-lt"/>
                      </a:defRPr>
                    </a:pPr>
                    <a:fld id="{E0A86793-0877-403A-9606-2FF137927499}" type="CELLRANGE">
                      <a:rPr lang="en-US"/>
                      <a:pPr>
                        <a:defRPr sz="900" b="0" i="0" u="none" strike="noStrike" kern="1200" baseline="0">
                          <a:solidFill>
                            <a:schemeClr val="bg1"/>
                          </a:solidFill>
                          <a:latin typeface="+mn-lt"/>
                          <a:ea typeface="+mn-lt"/>
                          <a:cs typeface="+mn-lt"/>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690-460F-A346-CCBD9D7F2C1A}"/>
                </c:ext>
              </c:extLst>
            </c:dLbl>
            <c:dLbl>
              <c:idx val="1"/>
              <c:tx>
                <c:rich>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lt"/>
                        <a:cs typeface="+mn-lt"/>
                      </a:defRPr>
                    </a:pPr>
                    <a:fld id="{CD3FD1EA-8192-4601-BC95-C45838D518A2}" type="CELLRANGE">
                      <a:rPr lang="en-US"/>
                      <a:pPr>
                        <a:defRPr sz="900" b="0" i="0" u="none" strike="noStrike" kern="1200" baseline="0">
                          <a:solidFill>
                            <a:schemeClr val="bg1"/>
                          </a:solidFill>
                          <a:latin typeface="+mn-lt"/>
                          <a:ea typeface="+mn-lt"/>
                          <a:cs typeface="+mn-lt"/>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690-460F-A346-CCBD9D7F2C1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solidFill>
                    <a:latin typeface="+mn-lt"/>
                    <a:ea typeface="+mn-lt"/>
                    <a:cs typeface="+mn-lt"/>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H$1:$I$1</c:f>
              <c:strCache>
                <c:ptCount val="2"/>
                <c:pt idx="0">
                  <c:v>Revenue</c:v>
                </c:pt>
                <c:pt idx="1">
                  <c:v>Expenses</c:v>
                </c:pt>
              </c:strCache>
            </c:strRef>
          </c:cat>
          <c:val>
            <c:numRef>
              <c:f>Sheet1!$H$4:$I$4</c:f>
              <c:numCache>
                <c:formatCode>_(* #,##0_);_(* \(#,##0\);_(* "-"??_);_(@_)</c:formatCode>
                <c:ptCount val="2"/>
                <c:pt idx="0">
                  <c:v>10699</c:v>
                </c:pt>
                <c:pt idx="1">
                  <c:v>15674</c:v>
                </c:pt>
              </c:numCache>
            </c:numRef>
          </c:val>
          <c:extLst>
            <c:ext xmlns:c15="http://schemas.microsoft.com/office/drawing/2012/chart" uri="{02D57815-91ED-43cb-92C2-25804820EDAC}">
              <c15:datalabelsRange>
                <c15:f>Sheet1!$H$20:$I$20</c15:f>
                <c15:dlblRangeCache>
                  <c:ptCount val="2"/>
                  <c:pt idx="0">
                    <c:v>3%</c:v>
                  </c:pt>
                  <c:pt idx="1">
                    <c:v>4%</c:v>
                  </c:pt>
                </c15:dlblRangeCache>
              </c15:datalabelsRange>
            </c:ext>
            <c:ext xmlns:c16="http://schemas.microsoft.com/office/drawing/2014/chart" uri="{C3380CC4-5D6E-409C-BE32-E72D297353CC}">
              <c16:uniqueId val="{00000008-F690-460F-A346-CCBD9D7F2C1A}"/>
            </c:ext>
          </c:extLst>
        </c:ser>
        <c:ser>
          <c:idx val="3"/>
          <c:order val="3"/>
          <c:tx>
            <c:strRef>
              <c:f>Sheet1!$G$5</c:f>
              <c:strCache>
                <c:ptCount val="1"/>
                <c:pt idx="0">
                  <c:v>Digital</c:v>
                </c:pt>
              </c:strCache>
            </c:strRef>
          </c:tx>
          <c:spPr>
            <a:solidFill>
              <a:srgbClr val="00B050"/>
            </a:solidFill>
            <a:ln w="25400">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9-F690-460F-A346-CCBD9D7F2C1A}"/>
                </c:ext>
              </c:extLst>
            </c:dLbl>
            <c:dLbl>
              <c:idx val="1"/>
              <c:tx>
                <c:rich>
                  <a:bodyPr rot="0" spcFirstLastPara="1" vertOverflow="ellipsis" vert="horz" wrap="square" lIns="38100" tIns="19050" rIns="38100" bIns="19050" anchor="ctr" anchorCtr="1">
                    <a:noAutofit/>
                  </a:bodyPr>
                  <a:lstStyle/>
                  <a:p>
                    <a:pPr>
                      <a:defRPr sz="900" b="0" i="0" u="none" strike="noStrike" kern="1200" baseline="0">
                        <a:solidFill>
                          <a:schemeClr val="bg1"/>
                        </a:solidFill>
                        <a:latin typeface="+mn-lt"/>
                        <a:ea typeface="+mn-ea"/>
                        <a:cs typeface="+mn-cs"/>
                      </a:defRPr>
                    </a:pPr>
                    <a:fld id="{3D4F1C5E-E2F3-4A3D-80B7-BA49F7AFE1EC}" type="CELLRANGE">
                      <a:rPr lang="en-US">
                        <a:solidFill>
                          <a:schemeClr val="bg1"/>
                        </a:solidFill>
                      </a:rPr>
                      <a:pPr>
                        <a:defRPr sz="900" b="0" i="0" u="none" strike="noStrike" kern="1200" baseline="0">
                          <a:solidFill>
                            <a:schemeClr val="bg1"/>
                          </a:solidFill>
                          <a:latin typeface="+mn-lt"/>
                          <a:ea typeface="+mn-ea"/>
                          <a:cs typeface="+mn-cs"/>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1"/>
                </c:ext>
                <c:ext xmlns:c16="http://schemas.microsoft.com/office/drawing/2014/chart" uri="{C3380CC4-5D6E-409C-BE32-E72D297353CC}">
                  <c16:uniqueId val="{0000000A-F690-460F-A346-CCBD9D7F2C1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H$1:$I$1</c:f>
              <c:strCache>
                <c:ptCount val="2"/>
                <c:pt idx="0">
                  <c:v>Revenue</c:v>
                </c:pt>
                <c:pt idx="1">
                  <c:v>Expenses</c:v>
                </c:pt>
              </c:strCache>
            </c:strRef>
          </c:cat>
          <c:val>
            <c:numRef>
              <c:f>Sheet1!$H$5:$I$5</c:f>
              <c:numCache>
                <c:formatCode>_(* #,##0_);_(* \(#,##0\);_(* "-"??_);_(@_)</c:formatCode>
                <c:ptCount val="2"/>
                <c:pt idx="0">
                  <c:v>0</c:v>
                </c:pt>
                <c:pt idx="1">
                  <c:v>20590</c:v>
                </c:pt>
              </c:numCache>
            </c:numRef>
          </c:val>
          <c:extLst>
            <c:ext xmlns:c15="http://schemas.microsoft.com/office/drawing/2012/chart" uri="{02D57815-91ED-43cb-92C2-25804820EDAC}">
              <c15:datalabelsRange>
                <c15:f>Sheet1!$H$21:$I$21</c15:f>
                <c15:dlblRangeCache>
                  <c:ptCount val="2"/>
                  <c:pt idx="0">
                    <c:v>0%</c:v>
                  </c:pt>
                  <c:pt idx="1">
                    <c:v>6%</c:v>
                  </c:pt>
                </c15:dlblRangeCache>
              </c15:datalabelsRange>
            </c:ext>
            <c:ext xmlns:c16="http://schemas.microsoft.com/office/drawing/2014/chart" uri="{C3380CC4-5D6E-409C-BE32-E72D297353CC}">
              <c16:uniqueId val="{0000000B-F690-460F-A346-CCBD9D7F2C1A}"/>
            </c:ext>
          </c:extLst>
        </c:ser>
        <c:ser>
          <c:idx val="4"/>
          <c:order val="4"/>
          <c:tx>
            <c:strRef>
              <c:f>Sheet1!$G$6</c:f>
              <c:strCache>
                <c:ptCount val="1"/>
                <c:pt idx="0">
                  <c:v>Player Development</c:v>
                </c:pt>
              </c:strCache>
            </c:strRef>
          </c:tx>
          <c:spPr>
            <a:solidFill>
              <a:schemeClr val="accent1"/>
            </a:solidFill>
            <a:ln w="25400">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C-F690-460F-A346-CCBD9D7F2C1A}"/>
                </c:ext>
              </c:extLst>
            </c:dLbl>
            <c:dLbl>
              <c:idx val="1"/>
              <c:tx>
                <c:rich>
                  <a:bodyPr/>
                  <a:lstStyle/>
                  <a:p>
                    <a:fld id="{177DEA79-096C-4C61-9076-89385535B6D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690-460F-A346-CCBD9D7F2C1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H$1:$I$1</c:f>
              <c:strCache>
                <c:ptCount val="2"/>
                <c:pt idx="0">
                  <c:v>Revenue</c:v>
                </c:pt>
                <c:pt idx="1">
                  <c:v>Expenses</c:v>
                </c:pt>
              </c:strCache>
            </c:strRef>
          </c:cat>
          <c:val>
            <c:numRef>
              <c:f>Sheet1!$H$6:$I$6</c:f>
              <c:numCache>
                <c:formatCode>_(* #,##0_);_(* \(#,##0\);_(* "-"??_);_(@_)</c:formatCode>
                <c:ptCount val="2"/>
                <c:pt idx="0">
                  <c:v>0</c:v>
                </c:pt>
                <c:pt idx="1">
                  <c:v>20516</c:v>
                </c:pt>
              </c:numCache>
            </c:numRef>
          </c:val>
          <c:extLst>
            <c:ext xmlns:c15="http://schemas.microsoft.com/office/drawing/2012/chart" uri="{02D57815-91ED-43cb-92C2-25804820EDAC}">
              <c15:datalabelsRange>
                <c15:f>Sheet1!$H$22:$I$22</c15:f>
                <c15:dlblRangeCache>
                  <c:ptCount val="2"/>
                  <c:pt idx="0">
                    <c:v>0%</c:v>
                  </c:pt>
                  <c:pt idx="1">
                    <c:v>6%</c:v>
                  </c:pt>
                </c15:dlblRangeCache>
              </c15:datalabelsRange>
            </c:ext>
            <c:ext xmlns:c16="http://schemas.microsoft.com/office/drawing/2014/chart" uri="{C3380CC4-5D6E-409C-BE32-E72D297353CC}">
              <c16:uniqueId val="{0000000E-F690-460F-A346-CCBD9D7F2C1A}"/>
            </c:ext>
          </c:extLst>
        </c:ser>
        <c:ser>
          <c:idx val="5"/>
          <c:order val="5"/>
          <c:tx>
            <c:strRef>
              <c:f>Sheet1!$G$7</c:f>
              <c:strCache>
                <c:ptCount val="1"/>
                <c:pt idx="0">
                  <c:v>Other</c:v>
                </c:pt>
              </c:strCache>
            </c:strRef>
          </c:tx>
          <c:spPr>
            <a:solidFill>
              <a:schemeClr val="accent2"/>
            </a:solidFill>
            <a:ln w="25400">
              <a:noFill/>
            </a:ln>
            <a:effectLst/>
          </c:spPr>
          <c:invertIfNegative val="0"/>
          <c:dLbls>
            <c:dLbl>
              <c:idx val="0"/>
              <c:tx>
                <c:rich>
                  <a:bodyPr/>
                  <a:lstStyle/>
                  <a:p>
                    <a:fld id="{0110F9CA-8AF0-4791-A6B7-9142B5F4C7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F690-460F-A346-CCBD9D7F2C1A}"/>
                </c:ext>
              </c:extLst>
            </c:dLbl>
            <c:dLbl>
              <c:idx val="1"/>
              <c:tx>
                <c:rich>
                  <a:bodyPr/>
                  <a:lstStyle/>
                  <a:p>
                    <a:fld id="{5922D745-C735-4CD4-8582-9B9B0B2959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F690-460F-A346-CCBD9D7F2C1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H$1:$I$1</c:f>
              <c:strCache>
                <c:ptCount val="2"/>
                <c:pt idx="0">
                  <c:v>Revenue</c:v>
                </c:pt>
                <c:pt idx="1">
                  <c:v>Expenses</c:v>
                </c:pt>
              </c:strCache>
            </c:strRef>
          </c:cat>
          <c:val>
            <c:numRef>
              <c:f>Sheet1!$H$7:$I$7</c:f>
              <c:numCache>
                <c:formatCode>_(* #,##0_);_(* \(#,##0\);_(* "-"??_);_(@_)</c:formatCode>
                <c:ptCount val="2"/>
                <c:pt idx="0">
                  <c:v>9425</c:v>
                </c:pt>
                <c:pt idx="1">
                  <c:v>34676</c:v>
                </c:pt>
              </c:numCache>
            </c:numRef>
          </c:val>
          <c:extLst>
            <c:ext xmlns:c15="http://schemas.microsoft.com/office/drawing/2012/chart" uri="{02D57815-91ED-43cb-92C2-25804820EDAC}">
              <c15:datalabelsRange>
                <c15:f>Sheet1!$H$23:$I$23</c15:f>
                <c15:dlblRangeCache>
                  <c:ptCount val="2"/>
                  <c:pt idx="0">
                    <c:v>2%</c:v>
                  </c:pt>
                  <c:pt idx="1">
                    <c:v>10%</c:v>
                  </c:pt>
                </c15:dlblRangeCache>
              </c15:datalabelsRange>
            </c:ext>
            <c:ext xmlns:c16="http://schemas.microsoft.com/office/drawing/2014/chart" uri="{C3380CC4-5D6E-409C-BE32-E72D297353CC}">
              <c16:uniqueId val="{00000011-F690-460F-A346-CCBD9D7F2C1A}"/>
            </c:ext>
          </c:extLst>
        </c:ser>
        <c:dLbls>
          <c:showLegendKey val="0"/>
          <c:showVal val="0"/>
          <c:showCatName val="0"/>
          <c:showSerName val="0"/>
          <c:showPercent val="0"/>
          <c:showBubbleSize val="0"/>
        </c:dLbls>
        <c:gapWidth val="150"/>
        <c:overlap val="100"/>
        <c:serLines>
          <c:spPr>
            <a:ln w="9525" cap="flat" cmpd="sng" algn="ctr">
              <a:solidFill>
                <a:schemeClr val="accent4"/>
              </a:solidFill>
              <a:round/>
            </a:ln>
            <a:effectLst/>
          </c:spPr>
        </c:serLines>
        <c:axId val="502979288"/>
        <c:axId val="502980072"/>
      </c:barChart>
      <c:catAx>
        <c:axId val="502979288"/>
        <c:scaling>
          <c:orientation val="minMax"/>
        </c:scaling>
        <c:delete val="0"/>
        <c:axPos val="b"/>
        <c:numFmt formatCode="General" sourceLinked="1"/>
        <c:majorTickMark val="none"/>
        <c:minorTickMark val="none"/>
        <c:tickLblPos val="low"/>
        <c:spPr>
          <a:noFill/>
          <a:ln w="9525" cap="flat" cmpd="sng" algn="ctr">
            <a:solidFill>
              <a:schemeClr val="accent4"/>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lt"/>
                <a:cs typeface="+mn-lt"/>
              </a:defRPr>
            </a:pPr>
            <a:endParaRPr lang="en-US"/>
          </a:p>
        </c:txPr>
        <c:crossAx val="502980072"/>
        <c:crosses val="autoZero"/>
        <c:auto val="1"/>
        <c:lblAlgn val="ctr"/>
        <c:lblOffset val="100"/>
        <c:noMultiLvlLbl val="0"/>
      </c:catAx>
      <c:valAx>
        <c:axId val="502980072"/>
        <c:scaling>
          <c:orientation val="minMax"/>
        </c:scaling>
        <c:delete val="1"/>
        <c:axPos val="l"/>
        <c:majorGridlines>
          <c:spPr>
            <a:ln w="3175" cap="flat" cmpd="sng" algn="ctr">
              <a:noFill/>
              <a:round/>
            </a:ln>
            <a:effectLst/>
          </c:spPr>
        </c:majorGridlines>
        <c:numFmt formatCode="0%" sourceLinked="0"/>
        <c:majorTickMark val="none"/>
        <c:minorTickMark val="none"/>
        <c:tickLblPos val="low"/>
        <c:crossAx val="502979288"/>
        <c:crosses val="autoZero"/>
        <c:crossBetween val="between"/>
      </c:valAx>
      <c:spPr>
        <a:noFill/>
        <a:ln w="25400">
          <a:noFill/>
        </a:ln>
        <a:effectLst/>
      </c:spPr>
    </c:plotArea>
    <c:legend>
      <c:legendPos val="l"/>
      <c:layout>
        <c:manualLayout>
          <c:xMode val="edge"/>
          <c:yMode val="edge"/>
          <c:x val="3.9293518979116496E-2"/>
          <c:y val="0.13912508571826104"/>
          <c:w val="0.24606139390344189"/>
          <c:h val="0.47425178244292743"/>
        </c:manualLayout>
      </c:layout>
      <c:overlay val="0"/>
      <c:spPr>
        <a:noFill/>
        <a:ln>
          <a:noFill/>
        </a:ln>
        <a:effectLst/>
        <a:extLst>
          <a:ext uri="{91240B29-F687-4F45-9708-019B960494DF}">
            <a14:hiddenLine xmlns:a14="http://schemas.microsoft.com/office/drawing/2010/main">
              <a:noFill/>
            </a14:hiddenLine>
          </a:ext>
        </a:extLst>
      </c:spPr>
      <c:txPr>
        <a:bodyPr rot="0" spcFirstLastPara="1" vertOverflow="ellipsis" vert="horz" wrap="square" anchor="ctr" anchorCtr="1"/>
        <a:lstStyle/>
        <a:p>
          <a:pPr>
            <a:defRPr sz="900" b="0" i="0" u="none" strike="noStrike" kern="1200" baseline="0">
              <a:solidFill>
                <a:schemeClr val="tx1"/>
              </a:solidFill>
              <a:latin typeface="+mn-lt"/>
              <a:ea typeface="+mn-lt"/>
              <a:cs typeface="+mn-lt"/>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userShapes r:id="rId2"/>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984215961937765E-2"/>
          <c:y val="0.14853144975449822"/>
          <c:w val="0.95232558157858205"/>
          <c:h val="0.70364414916121332"/>
        </c:manualLayout>
      </c:layout>
      <c:barChart>
        <c:barDir val="col"/>
        <c:grouping val="stacked"/>
        <c:varyColors val="0"/>
        <c:ser>
          <c:idx val="0"/>
          <c:order val="0"/>
          <c:tx>
            <c:strRef>
              <c:f>Sheet1!$B$1</c:f>
              <c:strCache>
                <c:ptCount val="1"/>
                <c:pt idx="0">
                  <c:v>Tracking for Deployment</c:v>
                </c:pt>
              </c:strCache>
            </c:strRef>
          </c:tx>
          <c:spPr>
            <a:solidFill>
              <a:schemeClr val="bg2">
                <a:lumMod val="75000"/>
              </a:schemeClr>
            </a:solidFill>
            <a:ln w="88900" cap="sq">
              <a:solidFill>
                <a:schemeClr val="bg2">
                  <a:lumMod val="75000"/>
                </a:schemeClr>
              </a:solidFill>
              <a:miter lim="800000"/>
            </a:ln>
          </c:spPr>
          <c:invertIfNegative val="0"/>
          <c:dLbls>
            <c:dLbl>
              <c:idx val="0"/>
              <c:layout>
                <c:manualLayout>
                  <c:x val="-4.5648055047655482E-18"/>
                  <c:y val="-0.1501458280856550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650-485F-BC96-06F48F4A0EBB}"/>
                </c:ext>
              </c:extLst>
            </c:dLbl>
            <c:dLbl>
              <c:idx val="1"/>
              <c:layout>
                <c:manualLayout>
                  <c:x val="-1.5922173251564534E-2"/>
                  <c:y val="-0.1106819376466481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650-485F-BC96-06F48F4A0EBB}"/>
                </c:ext>
              </c:extLst>
            </c:dLbl>
            <c:dLbl>
              <c:idx val="2"/>
              <c:layout>
                <c:manualLayout>
                  <c:x val="-1.997270887902523E-3"/>
                  <c:y val="-0.147098462507886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650-485F-BC96-06F48F4A0EBB}"/>
                </c:ext>
              </c:extLst>
            </c:dLbl>
            <c:dLbl>
              <c:idx val="3"/>
              <c:layout>
                <c:manualLayout>
                  <c:x val="-3.9774456138149715E-3"/>
                  <c:y val="-5.5700173244251715E-2"/>
                </c:manualLayout>
              </c:layout>
              <c:tx>
                <c:rich>
                  <a:bodyPr/>
                  <a:lstStyle/>
                  <a:p>
                    <a:r>
                      <a:rPr lang="en-US" dirty="0"/>
                      <a:t> </a:t>
                    </a:r>
                    <a:fld id="{A93B63EC-0A63-4B1A-A1A1-CDFE33B5DD61}" type="VALUE">
                      <a:rPr lang="en-US" smtClean="0"/>
                      <a:pPr/>
                      <a:t>[VALUE]</a:t>
                    </a:fld>
                    <a:endParaRPr lang="en-US" dirty="0"/>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2650-485F-BC96-06F48F4A0EBB}"/>
                </c:ext>
              </c:extLst>
            </c:dLbl>
            <c:dLbl>
              <c:idx val="4"/>
              <c:layout>
                <c:manualLayout>
                  <c:x val="-1.9919381401257903E-3"/>
                  <c:y val="-0.1596357902051799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650-485F-BC96-06F48F4A0EBB}"/>
                </c:ext>
              </c:extLst>
            </c:dLbl>
            <c:dLbl>
              <c:idx val="5"/>
              <c:layout>
                <c:manualLayout>
                  <c:x val="-1.9919381401257903E-3"/>
                  <c:y val="-0.1666720662070038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650-485F-BC96-06F48F4A0EBB}"/>
                </c:ext>
              </c:extLst>
            </c:dLbl>
            <c:spPr>
              <a:noFill/>
              <a:ln>
                <a:noFill/>
              </a:ln>
              <a:effectLst/>
            </c:spPr>
            <c:txPr>
              <a:bodyPr wrap="square" lIns="38100" tIns="19050" rIns="38100" bIns="19050" anchor="ctr">
                <a:spAutoFit/>
              </a:bodyPr>
              <a:lstStyle/>
              <a:p>
                <a:pPr>
                  <a:defRPr sz="600" b="1">
                    <a:solidFill>
                      <a:schemeClr val="bg2">
                        <a:lumMod val="50000"/>
                      </a:schemeClr>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24</c:f>
              <c:numCache>
                <c:formatCode>d\-mmm</c:formatCode>
                <c:ptCount val="23"/>
                <c:pt idx="0">
                  <c:v>43402</c:v>
                </c:pt>
                <c:pt idx="1">
                  <c:v>43409</c:v>
                </c:pt>
                <c:pt idx="2">
                  <c:v>43416</c:v>
                </c:pt>
                <c:pt idx="3">
                  <c:v>43423</c:v>
                </c:pt>
                <c:pt idx="4">
                  <c:v>43430</c:v>
                </c:pt>
                <c:pt idx="5">
                  <c:v>43437</c:v>
                </c:pt>
                <c:pt idx="6">
                  <c:v>43444</c:v>
                </c:pt>
                <c:pt idx="7">
                  <c:v>43451</c:v>
                </c:pt>
                <c:pt idx="8">
                  <c:v>43458</c:v>
                </c:pt>
                <c:pt idx="9">
                  <c:v>43465</c:v>
                </c:pt>
                <c:pt idx="10">
                  <c:v>43472</c:v>
                </c:pt>
                <c:pt idx="11">
                  <c:v>43479</c:v>
                </c:pt>
                <c:pt idx="12">
                  <c:v>43486</c:v>
                </c:pt>
                <c:pt idx="13">
                  <c:v>43493</c:v>
                </c:pt>
                <c:pt idx="14">
                  <c:v>43500</c:v>
                </c:pt>
                <c:pt idx="15">
                  <c:v>43507</c:v>
                </c:pt>
                <c:pt idx="16">
                  <c:v>43514</c:v>
                </c:pt>
                <c:pt idx="17">
                  <c:v>43521</c:v>
                </c:pt>
                <c:pt idx="18">
                  <c:v>43528</c:v>
                </c:pt>
                <c:pt idx="19">
                  <c:v>43535</c:v>
                </c:pt>
                <c:pt idx="20">
                  <c:v>43542</c:v>
                </c:pt>
                <c:pt idx="21">
                  <c:v>43549</c:v>
                </c:pt>
                <c:pt idx="22">
                  <c:v>43556</c:v>
                </c:pt>
              </c:numCache>
            </c:numRef>
          </c:cat>
          <c:val>
            <c:numRef>
              <c:f>Sheet1!$B$2:$B$24</c:f>
              <c:numCache>
                <c:formatCode>_(* #,##0_);_(* \(#,##0\);_(* "-"??_);_(@_)</c:formatCode>
                <c:ptCount val="23"/>
                <c:pt idx="0">
                  <c:v>15</c:v>
                </c:pt>
                <c:pt idx="1">
                  <c:v>13</c:v>
                </c:pt>
                <c:pt idx="2">
                  <c:v>15</c:v>
                </c:pt>
                <c:pt idx="3">
                  <c:v>15</c:v>
                </c:pt>
                <c:pt idx="4">
                  <c:v>16</c:v>
                </c:pt>
                <c:pt idx="5">
                  <c:v>18</c:v>
                </c:pt>
                <c:pt idx="6">
                  <c:v>15</c:v>
                </c:pt>
              </c:numCache>
            </c:numRef>
          </c:val>
          <c:extLst>
            <c:ext xmlns:c16="http://schemas.microsoft.com/office/drawing/2014/chart" uri="{C3380CC4-5D6E-409C-BE32-E72D297353CC}">
              <c16:uniqueId val="{00000006-2650-485F-BC96-06F48F4A0EBB}"/>
            </c:ext>
          </c:extLst>
        </c:ser>
        <c:dLbls>
          <c:showLegendKey val="0"/>
          <c:showVal val="0"/>
          <c:showCatName val="0"/>
          <c:showSerName val="0"/>
          <c:showPercent val="0"/>
          <c:showBubbleSize val="0"/>
        </c:dLbls>
        <c:gapWidth val="150"/>
        <c:overlap val="-100"/>
        <c:axId val="665323968"/>
        <c:axId val="665325144"/>
      </c:barChart>
      <c:barChart>
        <c:barDir val="col"/>
        <c:grouping val="stacked"/>
        <c:varyColors val="0"/>
        <c:ser>
          <c:idx val="3"/>
          <c:order val="3"/>
          <c:tx>
            <c:strRef>
              <c:f>Sheet1!$E$1</c:f>
              <c:strCache>
                <c:ptCount val="1"/>
                <c:pt idx="0">
                  <c:v>Emails</c:v>
                </c:pt>
              </c:strCache>
            </c:strRef>
          </c:tx>
          <c:spPr>
            <a:ln w="25400">
              <a:solidFill>
                <a:srgbClr val="36DDAE"/>
              </a:solidFill>
              <a:miter lim="800000"/>
            </a:ln>
          </c:spPr>
          <c:invertIfNegative val="0"/>
          <c:dPt>
            <c:idx val="5"/>
            <c:invertIfNegative val="0"/>
            <c:bubble3D val="0"/>
            <c:extLst>
              <c:ext xmlns:c16="http://schemas.microsoft.com/office/drawing/2014/chart" uri="{C3380CC4-5D6E-409C-BE32-E72D297353CC}">
                <c16:uniqueId val="{00000007-2650-485F-BC96-06F48F4A0EBB}"/>
              </c:ext>
            </c:extLst>
          </c:dPt>
          <c:cat>
            <c:numRef>
              <c:f>Sheet1!$A$2:$A$24</c:f>
              <c:numCache>
                <c:formatCode>d\-mmm</c:formatCode>
                <c:ptCount val="23"/>
                <c:pt idx="0">
                  <c:v>43402</c:v>
                </c:pt>
                <c:pt idx="1">
                  <c:v>43409</c:v>
                </c:pt>
                <c:pt idx="2">
                  <c:v>43416</c:v>
                </c:pt>
                <c:pt idx="3">
                  <c:v>43423</c:v>
                </c:pt>
                <c:pt idx="4">
                  <c:v>43430</c:v>
                </c:pt>
                <c:pt idx="5">
                  <c:v>43437</c:v>
                </c:pt>
                <c:pt idx="6">
                  <c:v>43444</c:v>
                </c:pt>
                <c:pt idx="7">
                  <c:v>43451</c:v>
                </c:pt>
                <c:pt idx="8">
                  <c:v>43458</c:v>
                </c:pt>
                <c:pt idx="9">
                  <c:v>43465</c:v>
                </c:pt>
                <c:pt idx="10">
                  <c:v>43472</c:v>
                </c:pt>
                <c:pt idx="11">
                  <c:v>43479</c:v>
                </c:pt>
                <c:pt idx="12">
                  <c:v>43486</c:v>
                </c:pt>
                <c:pt idx="13">
                  <c:v>43493</c:v>
                </c:pt>
                <c:pt idx="14">
                  <c:v>43500</c:v>
                </c:pt>
                <c:pt idx="15">
                  <c:v>43507</c:v>
                </c:pt>
                <c:pt idx="16">
                  <c:v>43514</c:v>
                </c:pt>
                <c:pt idx="17">
                  <c:v>43521</c:v>
                </c:pt>
                <c:pt idx="18">
                  <c:v>43528</c:v>
                </c:pt>
                <c:pt idx="19">
                  <c:v>43535</c:v>
                </c:pt>
                <c:pt idx="20">
                  <c:v>43542</c:v>
                </c:pt>
                <c:pt idx="21">
                  <c:v>43549</c:v>
                </c:pt>
                <c:pt idx="22">
                  <c:v>43556</c:v>
                </c:pt>
              </c:numCache>
            </c:numRef>
          </c:cat>
          <c:val>
            <c:numRef>
              <c:f>Sheet1!$E$2:$E$24</c:f>
              <c:numCache>
                <c:formatCode>General</c:formatCode>
                <c:ptCount val="23"/>
                <c:pt idx="0">
                  <c:v>4</c:v>
                </c:pt>
                <c:pt idx="1">
                  <c:v>7</c:v>
                </c:pt>
                <c:pt idx="5">
                  <c:v>6</c:v>
                </c:pt>
                <c:pt idx="10">
                  <c:v>8</c:v>
                </c:pt>
                <c:pt idx="14">
                  <c:v>5</c:v>
                </c:pt>
                <c:pt idx="18">
                  <c:v>16</c:v>
                </c:pt>
              </c:numCache>
            </c:numRef>
          </c:val>
          <c:extLst>
            <c:ext xmlns:c16="http://schemas.microsoft.com/office/drawing/2014/chart" uri="{C3380CC4-5D6E-409C-BE32-E72D297353CC}">
              <c16:uniqueId val="{00000008-2650-485F-BC96-06F48F4A0EBB}"/>
            </c:ext>
          </c:extLst>
        </c:ser>
        <c:ser>
          <c:idx val="4"/>
          <c:order val="4"/>
          <c:tx>
            <c:strRef>
              <c:f>Sheet1!$F$1</c:f>
              <c:strCache>
                <c:ptCount val="1"/>
                <c:pt idx="0">
                  <c:v>QRGs</c:v>
                </c:pt>
              </c:strCache>
            </c:strRef>
          </c:tx>
          <c:spPr>
            <a:solidFill>
              <a:schemeClr val="accent3"/>
            </a:solidFill>
            <a:ln w="25400">
              <a:solidFill>
                <a:schemeClr val="accent3"/>
              </a:solidFill>
              <a:miter lim="800000"/>
            </a:ln>
          </c:spPr>
          <c:invertIfNegative val="0"/>
          <c:cat>
            <c:numRef>
              <c:f>Sheet1!$A$2:$A$24</c:f>
              <c:numCache>
                <c:formatCode>d\-mmm</c:formatCode>
                <c:ptCount val="23"/>
                <c:pt idx="0">
                  <c:v>43402</c:v>
                </c:pt>
                <c:pt idx="1">
                  <c:v>43409</c:v>
                </c:pt>
                <c:pt idx="2">
                  <c:v>43416</c:v>
                </c:pt>
                <c:pt idx="3">
                  <c:v>43423</c:v>
                </c:pt>
                <c:pt idx="4">
                  <c:v>43430</c:v>
                </c:pt>
                <c:pt idx="5">
                  <c:v>43437</c:v>
                </c:pt>
                <c:pt idx="6">
                  <c:v>43444</c:v>
                </c:pt>
                <c:pt idx="7">
                  <c:v>43451</c:v>
                </c:pt>
                <c:pt idx="8">
                  <c:v>43458</c:v>
                </c:pt>
                <c:pt idx="9">
                  <c:v>43465</c:v>
                </c:pt>
                <c:pt idx="10">
                  <c:v>43472</c:v>
                </c:pt>
                <c:pt idx="11">
                  <c:v>43479</c:v>
                </c:pt>
                <c:pt idx="12">
                  <c:v>43486</c:v>
                </c:pt>
                <c:pt idx="13">
                  <c:v>43493</c:v>
                </c:pt>
                <c:pt idx="14">
                  <c:v>43500</c:v>
                </c:pt>
                <c:pt idx="15">
                  <c:v>43507</c:v>
                </c:pt>
                <c:pt idx="16">
                  <c:v>43514</c:v>
                </c:pt>
                <c:pt idx="17">
                  <c:v>43521</c:v>
                </c:pt>
                <c:pt idx="18">
                  <c:v>43528</c:v>
                </c:pt>
                <c:pt idx="19">
                  <c:v>43535</c:v>
                </c:pt>
                <c:pt idx="20">
                  <c:v>43542</c:v>
                </c:pt>
                <c:pt idx="21">
                  <c:v>43549</c:v>
                </c:pt>
                <c:pt idx="22">
                  <c:v>43556</c:v>
                </c:pt>
              </c:numCache>
            </c:numRef>
          </c:cat>
          <c:val>
            <c:numRef>
              <c:f>Sheet1!$F$2:$F$24</c:f>
              <c:numCache>
                <c:formatCode>General</c:formatCode>
                <c:ptCount val="23"/>
                <c:pt idx="0">
                  <c:v>2</c:v>
                </c:pt>
                <c:pt idx="1">
                  <c:v>7</c:v>
                </c:pt>
                <c:pt idx="5">
                  <c:v>6</c:v>
                </c:pt>
                <c:pt idx="10">
                  <c:v>7</c:v>
                </c:pt>
                <c:pt idx="14">
                  <c:v>5</c:v>
                </c:pt>
                <c:pt idx="18">
                  <c:v>13</c:v>
                </c:pt>
              </c:numCache>
            </c:numRef>
          </c:val>
          <c:extLst>
            <c:ext xmlns:c16="http://schemas.microsoft.com/office/drawing/2014/chart" uri="{C3380CC4-5D6E-409C-BE32-E72D297353CC}">
              <c16:uniqueId val="{00000009-2650-485F-BC96-06F48F4A0EBB}"/>
            </c:ext>
          </c:extLst>
        </c:ser>
        <c:ser>
          <c:idx val="5"/>
          <c:order val="5"/>
          <c:tx>
            <c:strRef>
              <c:f>Sheet1!$G$1</c:f>
              <c:strCache>
                <c:ptCount val="1"/>
                <c:pt idx="0">
                  <c:v>VKSs</c:v>
                </c:pt>
              </c:strCache>
            </c:strRef>
          </c:tx>
          <c:spPr>
            <a:solidFill>
              <a:schemeClr val="tx1">
                <a:lumMod val="65000"/>
                <a:lumOff val="35000"/>
              </a:schemeClr>
            </a:solidFill>
            <a:ln w="25400">
              <a:solidFill>
                <a:schemeClr val="tx1">
                  <a:lumMod val="65000"/>
                  <a:lumOff val="35000"/>
                </a:schemeClr>
              </a:solidFill>
              <a:miter lim="800000"/>
            </a:ln>
          </c:spPr>
          <c:invertIfNegative val="0"/>
          <c:cat>
            <c:numRef>
              <c:f>Sheet1!$A$2:$A$24</c:f>
              <c:numCache>
                <c:formatCode>d\-mmm</c:formatCode>
                <c:ptCount val="23"/>
                <c:pt idx="0">
                  <c:v>43402</c:v>
                </c:pt>
                <c:pt idx="1">
                  <c:v>43409</c:v>
                </c:pt>
                <c:pt idx="2">
                  <c:v>43416</c:v>
                </c:pt>
                <c:pt idx="3">
                  <c:v>43423</c:v>
                </c:pt>
                <c:pt idx="4">
                  <c:v>43430</c:v>
                </c:pt>
                <c:pt idx="5">
                  <c:v>43437</c:v>
                </c:pt>
                <c:pt idx="6">
                  <c:v>43444</c:v>
                </c:pt>
                <c:pt idx="7">
                  <c:v>43451</c:v>
                </c:pt>
                <c:pt idx="8">
                  <c:v>43458</c:v>
                </c:pt>
                <c:pt idx="9">
                  <c:v>43465</c:v>
                </c:pt>
                <c:pt idx="10">
                  <c:v>43472</c:v>
                </c:pt>
                <c:pt idx="11">
                  <c:v>43479</c:v>
                </c:pt>
                <c:pt idx="12">
                  <c:v>43486</c:v>
                </c:pt>
                <c:pt idx="13">
                  <c:v>43493</c:v>
                </c:pt>
                <c:pt idx="14">
                  <c:v>43500</c:v>
                </c:pt>
                <c:pt idx="15">
                  <c:v>43507</c:v>
                </c:pt>
                <c:pt idx="16">
                  <c:v>43514</c:v>
                </c:pt>
                <c:pt idx="17">
                  <c:v>43521</c:v>
                </c:pt>
                <c:pt idx="18">
                  <c:v>43528</c:v>
                </c:pt>
                <c:pt idx="19">
                  <c:v>43535</c:v>
                </c:pt>
                <c:pt idx="20">
                  <c:v>43542</c:v>
                </c:pt>
                <c:pt idx="21">
                  <c:v>43549</c:v>
                </c:pt>
                <c:pt idx="22">
                  <c:v>43556</c:v>
                </c:pt>
              </c:numCache>
            </c:numRef>
          </c:cat>
          <c:val>
            <c:numRef>
              <c:f>Sheet1!$G$2:$G$24</c:f>
              <c:numCache>
                <c:formatCode>General</c:formatCode>
                <c:ptCount val="23"/>
                <c:pt idx="0">
                  <c:v>0</c:v>
                </c:pt>
                <c:pt idx="1">
                  <c:v>2</c:v>
                </c:pt>
                <c:pt idx="5">
                  <c:v>6</c:v>
                </c:pt>
                <c:pt idx="10">
                  <c:v>4</c:v>
                </c:pt>
                <c:pt idx="14">
                  <c:v>3</c:v>
                </c:pt>
                <c:pt idx="18">
                  <c:v>5</c:v>
                </c:pt>
              </c:numCache>
            </c:numRef>
          </c:val>
          <c:extLst>
            <c:ext xmlns:c16="http://schemas.microsoft.com/office/drawing/2014/chart" uri="{C3380CC4-5D6E-409C-BE32-E72D297353CC}">
              <c16:uniqueId val="{0000000A-2650-485F-BC96-06F48F4A0EBB}"/>
            </c:ext>
          </c:extLst>
        </c:ser>
        <c:ser>
          <c:idx val="6"/>
          <c:order val="6"/>
          <c:tx>
            <c:strRef>
              <c:f>Sheet1!$H$1</c:f>
              <c:strCache>
                <c:ptCount val="1"/>
                <c:pt idx="0">
                  <c:v>ILTs</c:v>
                </c:pt>
              </c:strCache>
            </c:strRef>
          </c:tx>
          <c:spPr>
            <a:solidFill>
              <a:schemeClr val="accent1"/>
            </a:solidFill>
            <a:ln w="25400">
              <a:solidFill>
                <a:schemeClr val="accent1"/>
              </a:solidFill>
              <a:miter lim="800000"/>
            </a:ln>
          </c:spPr>
          <c:invertIfNegative val="0"/>
          <c:cat>
            <c:numRef>
              <c:f>Sheet1!$A$2:$A$24</c:f>
              <c:numCache>
                <c:formatCode>d\-mmm</c:formatCode>
                <c:ptCount val="23"/>
                <c:pt idx="0">
                  <c:v>43402</c:v>
                </c:pt>
                <c:pt idx="1">
                  <c:v>43409</c:v>
                </c:pt>
                <c:pt idx="2">
                  <c:v>43416</c:v>
                </c:pt>
                <c:pt idx="3">
                  <c:v>43423</c:v>
                </c:pt>
                <c:pt idx="4">
                  <c:v>43430</c:v>
                </c:pt>
                <c:pt idx="5">
                  <c:v>43437</c:v>
                </c:pt>
                <c:pt idx="6">
                  <c:v>43444</c:v>
                </c:pt>
                <c:pt idx="7">
                  <c:v>43451</c:v>
                </c:pt>
                <c:pt idx="8">
                  <c:v>43458</c:v>
                </c:pt>
                <c:pt idx="9">
                  <c:v>43465</c:v>
                </c:pt>
                <c:pt idx="10">
                  <c:v>43472</c:v>
                </c:pt>
                <c:pt idx="11">
                  <c:v>43479</c:v>
                </c:pt>
                <c:pt idx="12">
                  <c:v>43486</c:v>
                </c:pt>
                <c:pt idx="13">
                  <c:v>43493</c:v>
                </c:pt>
                <c:pt idx="14">
                  <c:v>43500</c:v>
                </c:pt>
                <c:pt idx="15">
                  <c:v>43507</c:v>
                </c:pt>
                <c:pt idx="16">
                  <c:v>43514</c:v>
                </c:pt>
                <c:pt idx="17">
                  <c:v>43521</c:v>
                </c:pt>
                <c:pt idx="18">
                  <c:v>43528</c:v>
                </c:pt>
                <c:pt idx="19">
                  <c:v>43535</c:v>
                </c:pt>
                <c:pt idx="20">
                  <c:v>43542</c:v>
                </c:pt>
                <c:pt idx="21">
                  <c:v>43549</c:v>
                </c:pt>
                <c:pt idx="22">
                  <c:v>43556</c:v>
                </c:pt>
              </c:numCache>
            </c:numRef>
          </c:cat>
          <c:val>
            <c:numRef>
              <c:f>Sheet1!$H$2:$H$24</c:f>
              <c:numCache>
                <c:formatCode>General</c:formatCode>
                <c:ptCount val="23"/>
                <c:pt idx="0">
                  <c:v>0</c:v>
                </c:pt>
                <c:pt idx="1">
                  <c:v>0</c:v>
                </c:pt>
                <c:pt idx="5">
                  <c:v>0</c:v>
                </c:pt>
                <c:pt idx="10">
                  <c:v>0</c:v>
                </c:pt>
                <c:pt idx="14">
                  <c:v>1</c:v>
                </c:pt>
                <c:pt idx="18">
                  <c:v>5</c:v>
                </c:pt>
              </c:numCache>
            </c:numRef>
          </c:val>
          <c:extLst>
            <c:ext xmlns:c16="http://schemas.microsoft.com/office/drawing/2014/chart" uri="{C3380CC4-5D6E-409C-BE32-E72D297353CC}">
              <c16:uniqueId val="{0000000B-2650-485F-BC96-06F48F4A0EBB}"/>
            </c:ext>
          </c:extLst>
        </c:ser>
        <c:ser>
          <c:idx val="7"/>
          <c:order val="7"/>
          <c:tx>
            <c:strRef>
              <c:f>Sheet1!$I$1</c:f>
              <c:strCache>
                <c:ptCount val="1"/>
                <c:pt idx="0">
                  <c:v>e-Learnings</c:v>
                </c:pt>
              </c:strCache>
            </c:strRef>
          </c:tx>
          <c:spPr>
            <a:solidFill>
              <a:schemeClr val="accent2"/>
            </a:solidFill>
            <a:ln w="25400">
              <a:solidFill>
                <a:schemeClr val="accent2"/>
              </a:solidFill>
              <a:miter lim="800000"/>
            </a:ln>
          </c:spPr>
          <c:invertIfNegative val="0"/>
          <c:cat>
            <c:numRef>
              <c:f>Sheet1!$A$2:$A$24</c:f>
              <c:numCache>
                <c:formatCode>d\-mmm</c:formatCode>
                <c:ptCount val="23"/>
                <c:pt idx="0">
                  <c:v>43402</c:v>
                </c:pt>
                <c:pt idx="1">
                  <c:v>43409</c:v>
                </c:pt>
                <c:pt idx="2">
                  <c:v>43416</c:v>
                </c:pt>
                <c:pt idx="3">
                  <c:v>43423</c:v>
                </c:pt>
                <c:pt idx="4">
                  <c:v>43430</c:v>
                </c:pt>
                <c:pt idx="5">
                  <c:v>43437</c:v>
                </c:pt>
                <c:pt idx="6">
                  <c:v>43444</c:v>
                </c:pt>
                <c:pt idx="7">
                  <c:v>43451</c:v>
                </c:pt>
                <c:pt idx="8">
                  <c:v>43458</c:v>
                </c:pt>
                <c:pt idx="9">
                  <c:v>43465</c:v>
                </c:pt>
                <c:pt idx="10">
                  <c:v>43472</c:v>
                </c:pt>
                <c:pt idx="11">
                  <c:v>43479</c:v>
                </c:pt>
                <c:pt idx="12">
                  <c:v>43486</c:v>
                </c:pt>
                <c:pt idx="13">
                  <c:v>43493</c:v>
                </c:pt>
                <c:pt idx="14">
                  <c:v>43500</c:v>
                </c:pt>
                <c:pt idx="15">
                  <c:v>43507</c:v>
                </c:pt>
                <c:pt idx="16">
                  <c:v>43514</c:v>
                </c:pt>
                <c:pt idx="17">
                  <c:v>43521</c:v>
                </c:pt>
                <c:pt idx="18">
                  <c:v>43528</c:v>
                </c:pt>
                <c:pt idx="19">
                  <c:v>43535</c:v>
                </c:pt>
                <c:pt idx="20">
                  <c:v>43542</c:v>
                </c:pt>
                <c:pt idx="21">
                  <c:v>43549</c:v>
                </c:pt>
                <c:pt idx="22">
                  <c:v>43556</c:v>
                </c:pt>
              </c:numCache>
            </c:numRef>
          </c:cat>
          <c:val>
            <c:numRef>
              <c:f>Sheet1!$I$2:$I$24</c:f>
              <c:numCache>
                <c:formatCode>General</c:formatCode>
                <c:ptCount val="23"/>
                <c:pt idx="0">
                  <c:v>0</c:v>
                </c:pt>
                <c:pt idx="1">
                  <c:v>2</c:v>
                </c:pt>
                <c:pt idx="5">
                  <c:v>0</c:v>
                </c:pt>
                <c:pt idx="10">
                  <c:v>1</c:v>
                </c:pt>
                <c:pt idx="14">
                  <c:v>0</c:v>
                </c:pt>
                <c:pt idx="18">
                  <c:v>2</c:v>
                </c:pt>
              </c:numCache>
            </c:numRef>
          </c:val>
          <c:extLst>
            <c:ext xmlns:c16="http://schemas.microsoft.com/office/drawing/2014/chart" uri="{C3380CC4-5D6E-409C-BE32-E72D297353CC}">
              <c16:uniqueId val="{0000000C-2650-485F-BC96-06F48F4A0EBB}"/>
            </c:ext>
          </c:extLst>
        </c:ser>
        <c:dLbls>
          <c:showLegendKey val="0"/>
          <c:showVal val="0"/>
          <c:showCatName val="0"/>
          <c:showSerName val="0"/>
          <c:showPercent val="0"/>
          <c:showBubbleSize val="0"/>
        </c:dLbls>
        <c:gapWidth val="150"/>
        <c:overlap val="100"/>
        <c:axId val="882090752"/>
        <c:axId val="882090096"/>
      </c:barChart>
      <c:lineChart>
        <c:grouping val="standard"/>
        <c:varyColors val="0"/>
        <c:ser>
          <c:idx val="1"/>
          <c:order val="1"/>
          <c:tx>
            <c:strRef>
              <c:f>Sheet1!$C$1</c:f>
              <c:strCache>
                <c:ptCount val="1"/>
                <c:pt idx="0">
                  <c:v>Deployed Opportunities</c:v>
                </c:pt>
              </c:strCache>
            </c:strRef>
          </c:tx>
          <c:spPr>
            <a:ln>
              <a:solidFill>
                <a:srgbClr val="0070C0"/>
              </a:solidFill>
              <a:prstDash val="solid"/>
            </a:ln>
          </c:spPr>
          <c:marker>
            <c:symbol val="none"/>
          </c:marker>
          <c:cat>
            <c:numRef>
              <c:f>Sheet1!$A$2:$A$24</c:f>
              <c:numCache>
                <c:formatCode>d\-mmm</c:formatCode>
                <c:ptCount val="23"/>
                <c:pt idx="0">
                  <c:v>43402</c:v>
                </c:pt>
                <c:pt idx="1">
                  <c:v>43409</c:v>
                </c:pt>
                <c:pt idx="2">
                  <c:v>43416</c:v>
                </c:pt>
                <c:pt idx="3">
                  <c:v>43423</c:v>
                </c:pt>
                <c:pt idx="4">
                  <c:v>43430</c:v>
                </c:pt>
                <c:pt idx="5">
                  <c:v>43437</c:v>
                </c:pt>
                <c:pt idx="6">
                  <c:v>43444</c:v>
                </c:pt>
                <c:pt idx="7">
                  <c:v>43451</c:v>
                </c:pt>
                <c:pt idx="8">
                  <c:v>43458</c:v>
                </c:pt>
                <c:pt idx="9">
                  <c:v>43465</c:v>
                </c:pt>
                <c:pt idx="10">
                  <c:v>43472</c:v>
                </c:pt>
                <c:pt idx="11">
                  <c:v>43479</c:v>
                </c:pt>
                <c:pt idx="12">
                  <c:v>43486</c:v>
                </c:pt>
                <c:pt idx="13">
                  <c:v>43493</c:v>
                </c:pt>
                <c:pt idx="14">
                  <c:v>43500</c:v>
                </c:pt>
                <c:pt idx="15">
                  <c:v>43507</c:v>
                </c:pt>
                <c:pt idx="16">
                  <c:v>43514</c:v>
                </c:pt>
                <c:pt idx="17">
                  <c:v>43521</c:v>
                </c:pt>
                <c:pt idx="18">
                  <c:v>43528</c:v>
                </c:pt>
                <c:pt idx="19">
                  <c:v>43535</c:v>
                </c:pt>
                <c:pt idx="20">
                  <c:v>43542</c:v>
                </c:pt>
                <c:pt idx="21">
                  <c:v>43549</c:v>
                </c:pt>
                <c:pt idx="22">
                  <c:v>43556</c:v>
                </c:pt>
              </c:numCache>
            </c:numRef>
          </c:cat>
          <c:val>
            <c:numRef>
              <c:f>Sheet1!$C$2:$C$24</c:f>
              <c:numCache>
                <c:formatCode>General</c:formatCode>
                <c:ptCount val="23"/>
                <c:pt idx="0">
                  <c:v>7</c:v>
                </c:pt>
                <c:pt idx="1">
                  <c:v>10</c:v>
                </c:pt>
                <c:pt idx="2">
                  <c:v>11</c:v>
                </c:pt>
                <c:pt idx="3">
                  <c:v>15</c:v>
                </c:pt>
                <c:pt idx="4">
                  <c:v>15</c:v>
                </c:pt>
                <c:pt idx="5">
                  <c:v>17</c:v>
                </c:pt>
                <c:pt idx="6">
                  <c:v>20</c:v>
                </c:pt>
              </c:numCache>
            </c:numRef>
          </c:val>
          <c:smooth val="0"/>
          <c:extLst>
            <c:ext xmlns:c16="http://schemas.microsoft.com/office/drawing/2014/chart" uri="{C3380CC4-5D6E-409C-BE32-E72D297353CC}">
              <c16:uniqueId val="{0000000D-2650-485F-BC96-06F48F4A0EBB}"/>
            </c:ext>
          </c:extLst>
        </c:ser>
        <c:ser>
          <c:idx val="2"/>
          <c:order val="2"/>
          <c:tx>
            <c:strRef>
              <c:f>Sheet1!$D$1</c:f>
              <c:strCache>
                <c:ptCount val="1"/>
                <c:pt idx="0">
                  <c:v>Forecasted Deployments</c:v>
                </c:pt>
              </c:strCache>
            </c:strRef>
          </c:tx>
          <c:spPr>
            <a:ln>
              <a:solidFill>
                <a:schemeClr val="tx1">
                  <a:lumMod val="50000"/>
                  <a:lumOff val="50000"/>
                </a:schemeClr>
              </a:solidFill>
              <a:prstDash val="sysDot"/>
            </a:ln>
          </c:spPr>
          <c:marker>
            <c:symbol val="none"/>
          </c:marker>
          <c:dPt>
            <c:idx val="1"/>
            <c:bubble3D val="0"/>
            <c:spPr>
              <a:ln>
                <a:noFill/>
                <a:prstDash val="sysDot"/>
              </a:ln>
            </c:spPr>
            <c:extLst>
              <c:ext xmlns:c16="http://schemas.microsoft.com/office/drawing/2014/chart" uri="{C3380CC4-5D6E-409C-BE32-E72D297353CC}">
                <c16:uniqueId val="{0000000F-2650-485F-BC96-06F48F4A0EBB}"/>
              </c:ext>
            </c:extLst>
          </c:dPt>
          <c:dPt>
            <c:idx val="2"/>
            <c:bubble3D val="0"/>
            <c:spPr>
              <a:ln>
                <a:solidFill>
                  <a:srgbClr val="0070C0"/>
                </a:solidFill>
                <a:prstDash val="sysDot"/>
              </a:ln>
            </c:spPr>
            <c:extLst>
              <c:ext xmlns:c16="http://schemas.microsoft.com/office/drawing/2014/chart" uri="{C3380CC4-5D6E-409C-BE32-E72D297353CC}">
                <c16:uniqueId val="{00000011-2650-485F-BC96-06F48F4A0EBB}"/>
              </c:ext>
            </c:extLst>
          </c:dPt>
          <c:dPt>
            <c:idx val="3"/>
            <c:bubble3D val="0"/>
            <c:spPr>
              <a:ln>
                <a:noFill/>
                <a:prstDash val="sysDot"/>
              </a:ln>
            </c:spPr>
            <c:extLst>
              <c:ext xmlns:c16="http://schemas.microsoft.com/office/drawing/2014/chart" uri="{C3380CC4-5D6E-409C-BE32-E72D297353CC}">
                <c16:uniqueId val="{00000013-2650-485F-BC96-06F48F4A0EBB}"/>
              </c:ext>
            </c:extLst>
          </c:dPt>
          <c:dPt>
            <c:idx val="4"/>
            <c:bubble3D val="0"/>
            <c:spPr>
              <a:ln>
                <a:noFill/>
                <a:prstDash val="sysDot"/>
              </a:ln>
            </c:spPr>
            <c:extLst>
              <c:ext xmlns:c16="http://schemas.microsoft.com/office/drawing/2014/chart" uri="{C3380CC4-5D6E-409C-BE32-E72D297353CC}">
                <c16:uniqueId val="{00000015-2650-485F-BC96-06F48F4A0EBB}"/>
              </c:ext>
            </c:extLst>
          </c:dPt>
          <c:dPt>
            <c:idx val="5"/>
            <c:bubble3D val="0"/>
            <c:spPr>
              <a:ln>
                <a:noFill/>
                <a:prstDash val="sysDot"/>
              </a:ln>
            </c:spPr>
            <c:extLst>
              <c:ext xmlns:c16="http://schemas.microsoft.com/office/drawing/2014/chart" uri="{C3380CC4-5D6E-409C-BE32-E72D297353CC}">
                <c16:uniqueId val="{00000017-2650-485F-BC96-06F48F4A0EBB}"/>
              </c:ext>
            </c:extLst>
          </c:dPt>
          <c:dLbls>
            <c:dLbl>
              <c:idx val="0"/>
              <c:layout>
                <c:manualLayout>
                  <c:x val="-2.1348539645925972E-2"/>
                  <c:y val="-2.4995842227031134E-2"/>
                </c:manualLayout>
              </c:layout>
              <c:tx>
                <c:rich>
                  <a:bodyPr wrap="square" lIns="38100" tIns="19050" rIns="38100" bIns="19050" anchor="ctr">
                    <a:spAutoFit/>
                  </a:bodyPr>
                  <a:lstStyle/>
                  <a:p>
                    <a:pPr>
                      <a:defRPr sz="500" b="1">
                        <a:solidFill>
                          <a:schemeClr val="bg1"/>
                        </a:solidFill>
                      </a:defRPr>
                    </a:pPr>
                    <a:r>
                      <a:rPr lang="en-US" dirty="0">
                        <a:solidFill>
                          <a:schemeClr val="bg1"/>
                        </a:solidFill>
                      </a:rPr>
                      <a:t>7</a:t>
                    </a:r>
                  </a:p>
                </c:rich>
              </c:tx>
              <c:spPr>
                <a:solidFill>
                  <a:srgbClr val="0070C0"/>
                </a:solidFill>
                <a:ln>
                  <a:noFill/>
                </a:ln>
                <a:effectLst/>
              </c:spPr>
              <c:showLegendKey val="0"/>
              <c:showVal val="1"/>
              <c:showCatName val="0"/>
              <c:showSerName val="0"/>
              <c:showPercent val="0"/>
              <c:showBubbleSize val="0"/>
              <c:extLst>
                <c:ext xmlns:c15="http://schemas.microsoft.com/office/drawing/2012/chart" uri="{CE6537A1-D6FC-4f65-9D91-7224C49458BB}">
                  <c15:layout>
                    <c:manualLayout>
                      <c:w val="2.305466421870541E-2"/>
                      <c:h val="6.1302303061793857E-2"/>
                    </c:manualLayout>
                  </c15:layout>
                  <c15:showDataLabelsRange val="0"/>
                </c:ext>
                <c:ext xmlns:c16="http://schemas.microsoft.com/office/drawing/2014/chart" uri="{C3380CC4-5D6E-409C-BE32-E72D297353CC}">
                  <c16:uniqueId val="{00000018-2650-485F-BC96-06F48F4A0EBB}"/>
                </c:ext>
              </c:extLst>
            </c:dLbl>
            <c:dLbl>
              <c:idx val="1"/>
              <c:layout>
                <c:manualLayout>
                  <c:x val="-2.2014002292166615E-2"/>
                  <c:y val="-1.145629534328786E-16"/>
                </c:manualLayout>
              </c:layout>
              <c:spPr>
                <a:solidFill>
                  <a:srgbClr val="0070C0"/>
                </a:solidFill>
                <a:ln>
                  <a:noFill/>
                </a:ln>
                <a:effectLst/>
              </c:spPr>
              <c:txPr>
                <a:bodyPr wrap="square" lIns="38100" tIns="19050" rIns="38100" bIns="19050" anchor="ctr">
                  <a:spAutoFit/>
                </a:bodyPr>
                <a:lstStyle/>
                <a:p>
                  <a:pPr>
                    <a:defRPr sz="500" b="1">
                      <a:solidFill>
                        <a:schemeClr val="bg1"/>
                      </a:solidFill>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2650-485F-BC96-06F48F4A0EBB}"/>
                </c:ext>
              </c:extLst>
            </c:dLbl>
            <c:dLbl>
              <c:idx val="2"/>
              <c:layout>
                <c:manualLayout>
                  <c:x val="-2.2734460549001169E-2"/>
                  <c:y val="-8.7795435601755213E-3"/>
                </c:manualLayout>
              </c:layout>
              <c:spPr>
                <a:solidFill>
                  <a:srgbClr val="0070C0"/>
                </a:solidFill>
                <a:ln>
                  <a:noFill/>
                </a:ln>
                <a:effectLst/>
              </c:spPr>
              <c:txPr>
                <a:bodyPr wrap="square" lIns="38100" tIns="19050" rIns="38100" bIns="19050" anchor="ctr">
                  <a:spAutoFit/>
                </a:bodyPr>
                <a:lstStyle/>
                <a:p>
                  <a:pPr>
                    <a:defRPr sz="500" b="1">
                      <a:solidFill>
                        <a:schemeClr val="bg1"/>
                      </a:solidFill>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2650-485F-BC96-06F48F4A0EBB}"/>
                </c:ext>
              </c:extLst>
            </c:dLbl>
            <c:dLbl>
              <c:idx val="3"/>
              <c:delete val="1"/>
              <c:extLst>
                <c:ext xmlns:c15="http://schemas.microsoft.com/office/drawing/2012/chart" uri="{CE6537A1-D6FC-4f65-9D91-7224C49458BB}"/>
                <c:ext xmlns:c16="http://schemas.microsoft.com/office/drawing/2014/chart" uri="{C3380CC4-5D6E-409C-BE32-E72D297353CC}">
                  <c16:uniqueId val="{00000013-2650-485F-BC96-06F48F4A0EBB}"/>
                </c:ext>
              </c:extLst>
            </c:dLbl>
            <c:dLbl>
              <c:idx val="4"/>
              <c:delete val="1"/>
              <c:extLst>
                <c:ext xmlns:c15="http://schemas.microsoft.com/office/drawing/2012/chart" uri="{CE6537A1-D6FC-4f65-9D91-7224C49458BB}"/>
                <c:ext xmlns:c16="http://schemas.microsoft.com/office/drawing/2014/chart" uri="{C3380CC4-5D6E-409C-BE32-E72D297353CC}">
                  <c16:uniqueId val="{00000015-2650-485F-BC96-06F48F4A0EBB}"/>
                </c:ext>
              </c:extLst>
            </c:dLbl>
            <c:dLbl>
              <c:idx val="5"/>
              <c:delete val="1"/>
              <c:extLst>
                <c:ext xmlns:c15="http://schemas.microsoft.com/office/drawing/2012/chart" uri="{CE6537A1-D6FC-4f65-9D91-7224C49458BB}"/>
                <c:ext xmlns:c16="http://schemas.microsoft.com/office/drawing/2014/chart" uri="{C3380CC4-5D6E-409C-BE32-E72D297353CC}">
                  <c16:uniqueId val="{00000017-2650-485F-BC96-06F48F4A0EBB}"/>
                </c:ext>
              </c:extLst>
            </c:dLbl>
            <c:dLbl>
              <c:idx val="6"/>
              <c:spPr>
                <a:solidFill>
                  <a:schemeClr val="bg1"/>
                </a:solidFill>
                <a:ln>
                  <a:noFill/>
                </a:ln>
                <a:effectLst/>
              </c:spPr>
              <c:txPr>
                <a:bodyPr wrap="square" lIns="38100" tIns="19050" rIns="38100" bIns="19050" anchor="ctr">
                  <a:spAutoFit/>
                </a:bodyPr>
                <a:lstStyle/>
                <a:p>
                  <a:pPr>
                    <a:defRPr sz="500" b="1">
                      <a:solidFill>
                        <a:schemeClr val="tx1"/>
                      </a:solidFill>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19-2650-485F-BC96-06F48F4A0EBB}"/>
                </c:ext>
              </c:extLst>
            </c:dLbl>
            <c:dLbl>
              <c:idx val="7"/>
              <c:spPr>
                <a:solidFill>
                  <a:schemeClr val="bg1"/>
                </a:solidFill>
                <a:ln>
                  <a:noFill/>
                </a:ln>
                <a:effectLst/>
              </c:spPr>
              <c:txPr>
                <a:bodyPr wrap="square" lIns="38100" tIns="19050" rIns="38100" bIns="19050" anchor="ctr">
                  <a:spAutoFit/>
                </a:bodyPr>
                <a:lstStyle/>
                <a:p>
                  <a:pPr>
                    <a:defRPr sz="500" b="1">
                      <a:solidFill>
                        <a:schemeClr val="tx1"/>
                      </a:solidFill>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1A-2650-485F-BC96-06F48F4A0EBB}"/>
                </c:ext>
              </c:extLst>
            </c:dLbl>
            <c:dLbl>
              <c:idx val="8"/>
              <c:spPr>
                <a:solidFill>
                  <a:schemeClr val="bg1"/>
                </a:solidFill>
                <a:ln>
                  <a:noFill/>
                </a:ln>
                <a:effectLst/>
              </c:spPr>
              <c:txPr>
                <a:bodyPr wrap="square" lIns="38100" tIns="19050" rIns="38100" bIns="19050" anchor="ctr">
                  <a:spAutoFit/>
                </a:bodyPr>
                <a:lstStyle/>
                <a:p>
                  <a:pPr>
                    <a:defRPr sz="500" b="1">
                      <a:solidFill>
                        <a:schemeClr val="tx1"/>
                      </a:solidFill>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1B-2650-485F-BC96-06F48F4A0EBB}"/>
                </c:ext>
              </c:extLst>
            </c:dLbl>
            <c:dLbl>
              <c:idx val="9"/>
              <c:spPr>
                <a:solidFill>
                  <a:schemeClr val="bg1"/>
                </a:solidFill>
                <a:ln>
                  <a:noFill/>
                </a:ln>
                <a:effectLst/>
              </c:spPr>
              <c:txPr>
                <a:bodyPr wrap="square" lIns="38100" tIns="19050" rIns="38100" bIns="19050" anchor="ctr">
                  <a:spAutoFit/>
                </a:bodyPr>
                <a:lstStyle/>
                <a:p>
                  <a:pPr>
                    <a:defRPr sz="500" b="1">
                      <a:solidFill>
                        <a:schemeClr val="tx1"/>
                      </a:solidFill>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1C-2650-485F-BC96-06F48F4A0EBB}"/>
                </c:ext>
              </c:extLst>
            </c:dLbl>
            <c:dLbl>
              <c:idx val="10"/>
              <c:spPr>
                <a:solidFill>
                  <a:schemeClr val="bg1"/>
                </a:solidFill>
                <a:ln>
                  <a:noFill/>
                </a:ln>
                <a:effectLst/>
              </c:spPr>
              <c:txPr>
                <a:bodyPr wrap="square" lIns="38100" tIns="19050" rIns="38100" bIns="19050" anchor="ctr">
                  <a:spAutoFit/>
                </a:bodyPr>
                <a:lstStyle/>
                <a:p>
                  <a:pPr>
                    <a:defRPr sz="500" b="1">
                      <a:solidFill>
                        <a:schemeClr val="tx1"/>
                      </a:solidFill>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1D-2650-485F-BC96-06F48F4A0EBB}"/>
                </c:ext>
              </c:extLst>
            </c:dLbl>
            <c:dLbl>
              <c:idx val="11"/>
              <c:spPr>
                <a:solidFill>
                  <a:schemeClr val="bg1"/>
                </a:solidFill>
                <a:ln>
                  <a:noFill/>
                </a:ln>
                <a:effectLst/>
              </c:spPr>
              <c:txPr>
                <a:bodyPr wrap="square" lIns="38100" tIns="19050" rIns="38100" bIns="19050" anchor="ctr">
                  <a:spAutoFit/>
                </a:bodyPr>
                <a:lstStyle/>
                <a:p>
                  <a:pPr>
                    <a:defRPr sz="500" b="1">
                      <a:solidFill>
                        <a:schemeClr val="tx1"/>
                      </a:solidFill>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1E-2650-485F-BC96-06F48F4A0EBB}"/>
                </c:ext>
              </c:extLst>
            </c:dLbl>
            <c:dLbl>
              <c:idx val="12"/>
              <c:spPr>
                <a:solidFill>
                  <a:schemeClr val="bg1"/>
                </a:solidFill>
                <a:ln>
                  <a:noFill/>
                </a:ln>
                <a:effectLst/>
              </c:spPr>
              <c:txPr>
                <a:bodyPr wrap="square" lIns="38100" tIns="19050" rIns="38100" bIns="19050" anchor="ctr">
                  <a:spAutoFit/>
                </a:bodyPr>
                <a:lstStyle/>
                <a:p>
                  <a:pPr>
                    <a:defRPr sz="500" b="1">
                      <a:solidFill>
                        <a:schemeClr val="tx1"/>
                      </a:solidFill>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1F-2650-485F-BC96-06F48F4A0EBB}"/>
                </c:ext>
              </c:extLst>
            </c:dLbl>
            <c:dLbl>
              <c:idx val="13"/>
              <c:spPr>
                <a:solidFill>
                  <a:schemeClr val="bg1"/>
                </a:solidFill>
                <a:ln>
                  <a:noFill/>
                </a:ln>
                <a:effectLst/>
              </c:spPr>
              <c:txPr>
                <a:bodyPr wrap="square" lIns="38100" tIns="19050" rIns="38100" bIns="19050" anchor="ctr">
                  <a:spAutoFit/>
                </a:bodyPr>
                <a:lstStyle/>
                <a:p>
                  <a:pPr>
                    <a:defRPr sz="500" b="1">
                      <a:solidFill>
                        <a:schemeClr val="tx1"/>
                      </a:solidFill>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20-2650-485F-BC96-06F48F4A0EBB}"/>
                </c:ext>
              </c:extLst>
            </c:dLbl>
            <c:dLbl>
              <c:idx val="14"/>
              <c:spPr>
                <a:solidFill>
                  <a:schemeClr val="bg1"/>
                </a:solidFill>
                <a:ln>
                  <a:noFill/>
                </a:ln>
                <a:effectLst/>
              </c:spPr>
              <c:txPr>
                <a:bodyPr wrap="square" lIns="38100" tIns="19050" rIns="38100" bIns="19050" anchor="ctr">
                  <a:spAutoFit/>
                </a:bodyPr>
                <a:lstStyle/>
                <a:p>
                  <a:pPr>
                    <a:defRPr sz="500" b="1">
                      <a:solidFill>
                        <a:schemeClr val="tx1"/>
                      </a:solidFill>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21-2650-485F-BC96-06F48F4A0EBB}"/>
                </c:ext>
              </c:extLst>
            </c:dLbl>
            <c:dLbl>
              <c:idx val="15"/>
              <c:spPr>
                <a:solidFill>
                  <a:schemeClr val="bg1"/>
                </a:solidFill>
                <a:ln>
                  <a:noFill/>
                </a:ln>
                <a:effectLst/>
              </c:spPr>
              <c:txPr>
                <a:bodyPr wrap="square" lIns="38100" tIns="19050" rIns="38100" bIns="19050" anchor="ctr">
                  <a:spAutoFit/>
                </a:bodyPr>
                <a:lstStyle/>
                <a:p>
                  <a:pPr>
                    <a:defRPr sz="500" b="1">
                      <a:solidFill>
                        <a:schemeClr val="tx1"/>
                      </a:solidFill>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22-2650-485F-BC96-06F48F4A0EBB}"/>
                </c:ext>
              </c:extLst>
            </c:dLbl>
            <c:dLbl>
              <c:idx val="16"/>
              <c:spPr>
                <a:solidFill>
                  <a:schemeClr val="bg1"/>
                </a:solidFill>
                <a:ln>
                  <a:noFill/>
                </a:ln>
                <a:effectLst/>
              </c:spPr>
              <c:txPr>
                <a:bodyPr wrap="square" lIns="38100" tIns="19050" rIns="38100" bIns="19050" anchor="ctr">
                  <a:spAutoFit/>
                </a:bodyPr>
                <a:lstStyle/>
                <a:p>
                  <a:pPr>
                    <a:defRPr sz="500" b="1">
                      <a:solidFill>
                        <a:schemeClr val="tx1"/>
                      </a:solidFill>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23-2650-485F-BC96-06F48F4A0EBB}"/>
                </c:ext>
              </c:extLst>
            </c:dLbl>
            <c:dLbl>
              <c:idx val="17"/>
              <c:spPr>
                <a:solidFill>
                  <a:schemeClr val="bg1"/>
                </a:solidFill>
                <a:ln>
                  <a:noFill/>
                </a:ln>
                <a:effectLst/>
              </c:spPr>
              <c:txPr>
                <a:bodyPr wrap="square" lIns="38100" tIns="19050" rIns="38100" bIns="19050" anchor="ctr">
                  <a:spAutoFit/>
                </a:bodyPr>
                <a:lstStyle/>
                <a:p>
                  <a:pPr>
                    <a:defRPr sz="500" b="1">
                      <a:solidFill>
                        <a:schemeClr val="tx1"/>
                      </a:solidFill>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24-2650-485F-BC96-06F48F4A0EBB}"/>
                </c:ext>
              </c:extLst>
            </c:dLbl>
            <c:dLbl>
              <c:idx val="18"/>
              <c:layout>
                <c:manualLayout>
                  <c:x val="-3.2525380676877554E-2"/>
                  <c:y val="-1.2368862038774639E-2"/>
                </c:manualLayout>
              </c:layout>
              <c:spPr>
                <a:noFill/>
                <a:ln>
                  <a:noFill/>
                </a:ln>
                <a:effectLst/>
              </c:spPr>
              <c:txPr>
                <a:bodyPr wrap="square" lIns="38100" tIns="19050" rIns="38100" bIns="19050" anchor="ctr">
                  <a:spAutoFit/>
                </a:bodyPr>
                <a:lstStyle/>
                <a:p>
                  <a:pPr>
                    <a:defRPr sz="500" b="1">
                      <a:solidFill>
                        <a:schemeClr val="tx1"/>
                      </a:solidFill>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5-2650-485F-BC96-06F48F4A0EBB}"/>
                </c:ext>
              </c:extLst>
            </c:dLbl>
            <c:dLbl>
              <c:idx val="19"/>
              <c:layout>
                <c:manualLayout>
                  <c:x val="-2.6947762305359222E-3"/>
                  <c:y val="-6.3799483749948371E-2"/>
                </c:manualLayout>
              </c:layout>
              <c:spPr>
                <a:noFill/>
                <a:ln>
                  <a:noFill/>
                </a:ln>
                <a:effectLst/>
              </c:spPr>
              <c:txPr>
                <a:bodyPr wrap="square" lIns="38100" tIns="19050" rIns="38100" bIns="19050" anchor="ctr">
                  <a:spAutoFit/>
                </a:bodyPr>
                <a:lstStyle/>
                <a:p>
                  <a:pPr>
                    <a:defRPr sz="500" b="1">
                      <a:solidFill>
                        <a:schemeClr val="bg1"/>
                      </a:solidFill>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6-2650-485F-BC96-06F48F4A0EBB}"/>
                </c:ext>
              </c:extLst>
            </c:dLbl>
            <c:dLbl>
              <c:idx val="20"/>
              <c:spPr>
                <a:solidFill>
                  <a:schemeClr val="bg1"/>
                </a:solidFill>
                <a:ln>
                  <a:noFill/>
                </a:ln>
                <a:effectLst/>
              </c:spPr>
              <c:txPr>
                <a:bodyPr wrap="square" lIns="38100" tIns="19050" rIns="38100" bIns="19050" anchor="ctr">
                  <a:spAutoFit/>
                </a:bodyPr>
                <a:lstStyle/>
                <a:p>
                  <a:pPr>
                    <a:defRPr sz="500" b="1">
                      <a:solidFill>
                        <a:schemeClr val="tx1"/>
                      </a:solidFill>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27-2650-485F-BC96-06F48F4A0EBB}"/>
                </c:ext>
              </c:extLst>
            </c:dLbl>
            <c:dLbl>
              <c:idx val="21"/>
              <c:spPr>
                <a:solidFill>
                  <a:schemeClr val="bg1"/>
                </a:solidFill>
                <a:ln>
                  <a:noFill/>
                </a:ln>
                <a:effectLst/>
              </c:spPr>
              <c:txPr>
                <a:bodyPr wrap="square" lIns="38100" tIns="19050" rIns="38100" bIns="19050" anchor="ctr">
                  <a:spAutoFit/>
                </a:bodyPr>
                <a:lstStyle/>
                <a:p>
                  <a:pPr>
                    <a:defRPr sz="500" b="1">
                      <a:solidFill>
                        <a:schemeClr val="tx1"/>
                      </a:solidFill>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28-2650-485F-BC96-06F48F4A0EBB}"/>
                </c:ext>
              </c:extLst>
            </c:dLbl>
            <c:dLbl>
              <c:idx val="22"/>
              <c:spPr>
                <a:solidFill>
                  <a:schemeClr val="bg1"/>
                </a:solidFill>
                <a:ln>
                  <a:noFill/>
                </a:ln>
                <a:effectLst/>
              </c:spPr>
              <c:txPr>
                <a:bodyPr wrap="square" lIns="38100" tIns="19050" rIns="38100" bIns="19050" anchor="ctr">
                  <a:spAutoFit/>
                </a:bodyPr>
                <a:lstStyle/>
                <a:p>
                  <a:pPr>
                    <a:defRPr sz="500" b="1">
                      <a:solidFill>
                        <a:schemeClr val="tx1"/>
                      </a:solidFill>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29-2650-485F-BC96-06F48F4A0EBB}"/>
                </c:ext>
              </c:extLst>
            </c:dLbl>
            <c:spPr>
              <a:solidFill>
                <a:schemeClr val="bg1"/>
              </a:solidFill>
              <a:ln>
                <a:noFill/>
              </a:ln>
              <a:effectLst/>
            </c:spPr>
            <c:txPr>
              <a:bodyPr wrap="square" lIns="38100" tIns="19050" rIns="38100" bIns="19050" anchor="ctr">
                <a:spAutoFit/>
              </a:bodyPr>
              <a:lstStyle/>
              <a:p>
                <a:pPr>
                  <a:defRPr sz="500" b="1">
                    <a:solidFill>
                      <a:schemeClr val="bg1"/>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24</c:f>
              <c:numCache>
                <c:formatCode>d\-mmm</c:formatCode>
                <c:ptCount val="23"/>
                <c:pt idx="0">
                  <c:v>43402</c:v>
                </c:pt>
                <c:pt idx="1">
                  <c:v>43409</c:v>
                </c:pt>
                <c:pt idx="2">
                  <c:v>43416</c:v>
                </c:pt>
                <c:pt idx="3">
                  <c:v>43423</c:v>
                </c:pt>
                <c:pt idx="4">
                  <c:v>43430</c:v>
                </c:pt>
                <c:pt idx="5">
                  <c:v>43437</c:v>
                </c:pt>
                <c:pt idx="6">
                  <c:v>43444</c:v>
                </c:pt>
                <c:pt idx="7">
                  <c:v>43451</c:v>
                </c:pt>
                <c:pt idx="8">
                  <c:v>43458</c:v>
                </c:pt>
                <c:pt idx="9">
                  <c:v>43465</c:v>
                </c:pt>
                <c:pt idx="10">
                  <c:v>43472</c:v>
                </c:pt>
                <c:pt idx="11">
                  <c:v>43479</c:v>
                </c:pt>
                <c:pt idx="12">
                  <c:v>43486</c:v>
                </c:pt>
                <c:pt idx="13">
                  <c:v>43493</c:v>
                </c:pt>
                <c:pt idx="14">
                  <c:v>43500</c:v>
                </c:pt>
                <c:pt idx="15">
                  <c:v>43507</c:v>
                </c:pt>
                <c:pt idx="16">
                  <c:v>43514</c:v>
                </c:pt>
                <c:pt idx="17">
                  <c:v>43521</c:v>
                </c:pt>
                <c:pt idx="18">
                  <c:v>43528</c:v>
                </c:pt>
                <c:pt idx="19">
                  <c:v>43535</c:v>
                </c:pt>
                <c:pt idx="20">
                  <c:v>43542</c:v>
                </c:pt>
                <c:pt idx="21">
                  <c:v>43549</c:v>
                </c:pt>
                <c:pt idx="22">
                  <c:v>43556</c:v>
                </c:pt>
              </c:numCache>
            </c:numRef>
          </c:cat>
          <c:val>
            <c:numRef>
              <c:f>Sheet1!$D$2:$D$24</c:f>
              <c:numCache>
                <c:formatCode>General</c:formatCode>
                <c:ptCount val="23"/>
                <c:pt idx="0">
                  <c:v>6</c:v>
                </c:pt>
                <c:pt idx="1">
                  <c:v>10</c:v>
                </c:pt>
                <c:pt idx="2">
                  <c:v>11</c:v>
                </c:pt>
                <c:pt idx="3">
                  <c:v>14</c:v>
                </c:pt>
                <c:pt idx="4">
                  <c:v>14</c:v>
                </c:pt>
                <c:pt idx="5">
                  <c:v>16</c:v>
                </c:pt>
                <c:pt idx="6">
                  <c:v>22</c:v>
                </c:pt>
                <c:pt idx="7">
                  <c:v>22</c:v>
                </c:pt>
                <c:pt idx="8">
                  <c:v>22</c:v>
                </c:pt>
                <c:pt idx="9">
                  <c:v>22</c:v>
                </c:pt>
                <c:pt idx="10">
                  <c:v>24</c:v>
                </c:pt>
                <c:pt idx="11">
                  <c:v>25</c:v>
                </c:pt>
                <c:pt idx="12">
                  <c:v>25</c:v>
                </c:pt>
                <c:pt idx="13">
                  <c:v>29</c:v>
                </c:pt>
                <c:pt idx="14">
                  <c:v>31</c:v>
                </c:pt>
                <c:pt idx="15">
                  <c:v>31</c:v>
                </c:pt>
                <c:pt idx="16">
                  <c:v>33</c:v>
                </c:pt>
                <c:pt idx="17">
                  <c:v>33</c:v>
                </c:pt>
                <c:pt idx="18">
                  <c:v>36</c:v>
                </c:pt>
                <c:pt idx="19">
                  <c:v>37</c:v>
                </c:pt>
                <c:pt idx="20">
                  <c:v>42</c:v>
                </c:pt>
                <c:pt idx="21">
                  <c:v>42</c:v>
                </c:pt>
                <c:pt idx="22">
                  <c:v>42</c:v>
                </c:pt>
              </c:numCache>
            </c:numRef>
          </c:val>
          <c:smooth val="0"/>
          <c:extLst>
            <c:ext xmlns:c16="http://schemas.microsoft.com/office/drawing/2014/chart" uri="{C3380CC4-5D6E-409C-BE32-E72D297353CC}">
              <c16:uniqueId val="{0000002A-2650-485F-BC96-06F48F4A0EBB}"/>
            </c:ext>
          </c:extLst>
        </c:ser>
        <c:dLbls>
          <c:showLegendKey val="0"/>
          <c:showVal val="0"/>
          <c:showCatName val="0"/>
          <c:showSerName val="0"/>
          <c:showPercent val="0"/>
          <c:showBubbleSize val="0"/>
        </c:dLbls>
        <c:marker val="1"/>
        <c:smooth val="0"/>
        <c:axId val="665323968"/>
        <c:axId val="665325144"/>
      </c:lineChart>
      <c:dateAx>
        <c:axId val="665323968"/>
        <c:scaling>
          <c:orientation val="minMax"/>
        </c:scaling>
        <c:delete val="0"/>
        <c:axPos val="b"/>
        <c:numFmt formatCode="m/d;@" sourceLinked="0"/>
        <c:majorTickMark val="out"/>
        <c:minorTickMark val="none"/>
        <c:tickLblPos val="nextTo"/>
        <c:spPr>
          <a:noFill/>
          <a:ln w="12700" cap="flat" cmpd="sng" algn="ctr">
            <a:solidFill>
              <a:srgbClr val="53565A"/>
            </a:solidFill>
            <a:prstDash val="solid"/>
            <a:round/>
          </a:ln>
          <a:effectLst/>
        </c:spPr>
        <c:txPr>
          <a:bodyPr rot="-2700000"/>
          <a:lstStyle/>
          <a:p>
            <a:pPr>
              <a:defRPr sz="700" b="0">
                <a:solidFill>
                  <a:schemeClr val="tx1"/>
                </a:solidFill>
                <a:latin typeface="+mn-lt"/>
                <a:ea typeface="+mn-lt"/>
                <a:cs typeface="+mn-lt"/>
              </a:defRPr>
            </a:pPr>
            <a:endParaRPr lang="en-US"/>
          </a:p>
        </c:txPr>
        <c:crossAx val="665325144"/>
        <c:crosses val="autoZero"/>
        <c:auto val="1"/>
        <c:lblOffset val="100"/>
        <c:baseTimeUnit val="days"/>
        <c:majorUnit val="7"/>
        <c:majorTimeUnit val="days"/>
      </c:dateAx>
      <c:valAx>
        <c:axId val="665325144"/>
        <c:scaling>
          <c:orientation val="minMax"/>
        </c:scaling>
        <c:delete val="1"/>
        <c:axPos val="l"/>
        <c:numFmt formatCode="_(* #,##0_);_(* \(#,##0\);_(* &quot;-&quot;??_);_(@_)" sourceLinked="1"/>
        <c:majorTickMark val="none"/>
        <c:minorTickMark val="none"/>
        <c:tickLblPos val="low"/>
        <c:crossAx val="665323968"/>
        <c:crossesAt val="43402"/>
        <c:crossBetween val="between"/>
      </c:valAx>
      <c:valAx>
        <c:axId val="882090096"/>
        <c:scaling>
          <c:orientation val="minMax"/>
        </c:scaling>
        <c:delete val="1"/>
        <c:axPos val="r"/>
        <c:numFmt formatCode="General" sourceLinked="1"/>
        <c:majorTickMark val="out"/>
        <c:minorTickMark val="none"/>
        <c:tickLblPos val="nextTo"/>
        <c:crossAx val="882090752"/>
        <c:crosses val="max"/>
        <c:crossBetween val="between"/>
      </c:valAx>
      <c:dateAx>
        <c:axId val="882090752"/>
        <c:scaling>
          <c:orientation val="minMax"/>
        </c:scaling>
        <c:delete val="1"/>
        <c:axPos val="b"/>
        <c:numFmt formatCode="d\-mmm" sourceLinked="1"/>
        <c:majorTickMark val="out"/>
        <c:minorTickMark val="none"/>
        <c:tickLblPos val="nextTo"/>
        <c:crossAx val="882090096"/>
        <c:crosses val="autoZero"/>
        <c:auto val="1"/>
        <c:lblOffset val="100"/>
        <c:baseTimeUnit val="days"/>
      </c:dateAx>
      <c:spPr>
        <a:noFill/>
        <a:ln>
          <a:noFill/>
        </a:ln>
        <a:effectLst/>
        <a:extLst>
          <a:ext uri="{91240B29-F687-4F45-9708-019B960494DF}">
            <a14:hiddenLine xmlns:a14="http://schemas.microsoft.com/office/drawing/2010/main">
              <a:noFill/>
            </a14:hiddenLine>
          </a:ext>
        </a:extLst>
      </c:spPr>
    </c:plotArea>
    <c:plotVisOnly val="1"/>
    <c:dispBlanksAs val="gap"/>
    <c:showDLblsOverMax val="0"/>
  </c:chart>
  <c:spPr>
    <a:solidFill>
      <a:schemeClr val="bg1"/>
    </a:solidFill>
    <a:ln w="12700">
      <a:solidFill>
        <a:schemeClr val="tx1"/>
      </a:solidFill>
      <a:prstDash val="solid"/>
    </a:ln>
  </c:spPr>
  <c:txPr>
    <a:bodyPr/>
    <a:lstStyle/>
    <a:p>
      <a:pPr>
        <a:defRPr sz="1200"/>
      </a:pPr>
      <a:endParaRPr lang="en-US"/>
    </a:p>
  </c:txPr>
  <c:externalData r:id="rId1">
    <c:autoUpdate val="0"/>
  </c:externalData>
  <c:userShapes r:id="rId2"/>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Opptys</c:v>
                </c:pt>
              </c:strCache>
            </c:strRef>
          </c:tx>
          <c:dPt>
            <c:idx val="0"/>
            <c:bubble3D val="0"/>
            <c:spPr>
              <a:solidFill>
                <a:schemeClr val="accent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1C0A-4508-B6F0-55BFC1AC768E}"/>
              </c:ext>
            </c:extLst>
          </c:dPt>
          <c:dPt>
            <c:idx val="1"/>
            <c:bubble3D val="0"/>
            <c:spPr>
              <a:solidFill>
                <a:schemeClr val="accent1"/>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1C0A-4508-B6F0-55BFC1AC768E}"/>
              </c:ext>
            </c:extLst>
          </c:dPt>
          <c:dPt>
            <c:idx val="2"/>
            <c:bubble3D val="0"/>
            <c:spPr>
              <a:solidFill>
                <a:schemeClr val="accent3"/>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5-1C0A-4508-B6F0-55BFC1AC768E}"/>
              </c:ext>
            </c:extLst>
          </c:dPt>
          <c:dPt>
            <c:idx val="3"/>
            <c:bubble3D val="0"/>
            <c:spPr>
              <a:solidFill>
                <a:schemeClr val="tx1">
                  <a:lumMod val="50000"/>
                  <a:lumOff val="50000"/>
                </a:schemeClr>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7-1C0A-4508-B6F0-55BFC1AC768E}"/>
              </c:ext>
            </c:extLst>
          </c:dPt>
          <c:dPt>
            <c:idx val="4"/>
            <c:bubble3D val="0"/>
            <c:spPr>
              <a:solidFill>
                <a:srgbClr val="7030A0"/>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9-1C0A-4508-B6F0-55BFC1AC768E}"/>
              </c:ext>
            </c:extLst>
          </c:dPt>
          <c:dPt>
            <c:idx val="5"/>
            <c:bubble3D val="0"/>
            <c:spPr>
              <a:solidFill>
                <a:schemeClr val="accent4"/>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B-1C0A-4508-B6F0-55BFC1AC768E}"/>
              </c:ext>
            </c:extLst>
          </c:dPt>
          <c:dLbls>
            <c:dLbl>
              <c:idx val="0"/>
              <c:delete val="1"/>
              <c:extLst>
                <c:ext xmlns:c15="http://schemas.microsoft.com/office/drawing/2012/chart" uri="{CE6537A1-D6FC-4f65-9D91-7224C49458BB}"/>
                <c:ext xmlns:c16="http://schemas.microsoft.com/office/drawing/2014/chart" uri="{C3380CC4-5D6E-409C-BE32-E72D297353CC}">
                  <c16:uniqueId val="{00000001-1C0A-4508-B6F0-55BFC1AC768E}"/>
                </c:ext>
              </c:extLst>
            </c:dLbl>
            <c:dLbl>
              <c:idx val="1"/>
              <c:delete val="1"/>
              <c:extLst>
                <c:ext xmlns:c15="http://schemas.microsoft.com/office/drawing/2012/chart" uri="{CE6537A1-D6FC-4f65-9D91-7224C49458BB}"/>
                <c:ext xmlns:c16="http://schemas.microsoft.com/office/drawing/2014/chart" uri="{C3380CC4-5D6E-409C-BE32-E72D297353CC}">
                  <c16:uniqueId val="{00000003-1C0A-4508-B6F0-55BFC1AC768E}"/>
                </c:ext>
              </c:extLst>
            </c:dLbl>
            <c:dLbl>
              <c:idx val="4"/>
              <c:delete val="1"/>
              <c:extLst>
                <c:ext xmlns:c15="http://schemas.microsoft.com/office/drawing/2012/chart" uri="{CE6537A1-D6FC-4f65-9D91-7224C49458BB}"/>
                <c:ext xmlns:c16="http://schemas.microsoft.com/office/drawing/2014/chart" uri="{C3380CC4-5D6E-409C-BE32-E72D297353CC}">
                  <c16:uniqueId val="{00000009-1C0A-4508-B6F0-55BFC1AC768E}"/>
                </c:ext>
              </c:extLst>
            </c:dLbl>
            <c:dLbl>
              <c:idx val="5"/>
              <c:delete val="1"/>
              <c:extLst>
                <c:ext xmlns:c15="http://schemas.microsoft.com/office/drawing/2012/chart" uri="{CE6537A1-D6FC-4f65-9D91-7224C49458BB}"/>
                <c:ext xmlns:c16="http://schemas.microsoft.com/office/drawing/2014/chart" uri="{C3380CC4-5D6E-409C-BE32-E72D297353CC}">
                  <c16:uniqueId val="{0000000B-1C0A-4508-B6F0-55BFC1AC768E}"/>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Process Re-Engineering</c:v>
                </c:pt>
                <c:pt idx="1">
                  <c:v>Role Clarity &amp; Alignment</c:v>
                </c:pt>
                <c:pt idx="2">
                  <c:v>Document Standardization</c:v>
                </c:pt>
                <c:pt idx="3">
                  <c:v>Technology / Data Enhancements &amp; Governance</c:v>
                </c:pt>
                <c:pt idx="4">
                  <c:v>Training &amp; Communications</c:v>
                </c:pt>
                <c:pt idx="5">
                  <c:v>Policy &amp; Compliance</c:v>
                </c:pt>
              </c:strCache>
            </c:strRef>
          </c:cat>
          <c:val>
            <c:numRef>
              <c:f>Sheet1!$B$2:$B$7</c:f>
              <c:numCache>
                <c:formatCode>General</c:formatCode>
                <c:ptCount val="6"/>
                <c:pt idx="0">
                  <c:v>0</c:v>
                </c:pt>
                <c:pt idx="1">
                  <c:v>0</c:v>
                </c:pt>
                <c:pt idx="2">
                  <c:v>2</c:v>
                </c:pt>
                <c:pt idx="3">
                  <c:v>1</c:v>
                </c:pt>
                <c:pt idx="4">
                  <c:v>0</c:v>
                </c:pt>
                <c:pt idx="5">
                  <c:v>0</c:v>
                </c:pt>
              </c:numCache>
            </c:numRef>
          </c:val>
          <c:extLst>
            <c:ext xmlns:c16="http://schemas.microsoft.com/office/drawing/2014/chart" uri="{C3380CC4-5D6E-409C-BE32-E72D297353CC}">
              <c16:uniqueId val="{0000000C-1C0A-4508-B6F0-55BFC1AC768E}"/>
            </c:ext>
          </c:extLst>
        </c:ser>
        <c:dLbls>
          <c:showLegendKey val="0"/>
          <c:showVal val="0"/>
          <c:showCatName val="0"/>
          <c:showSerName val="0"/>
          <c:showPercent val="1"/>
          <c:showBubbleSize val="0"/>
          <c:showLeaderLines val="1"/>
        </c:dLbls>
        <c:firstSliceAng val="320"/>
        <c:holeSize val="40"/>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515598549929802E-3"/>
          <c:y val="2.9421606812427498E-3"/>
          <c:w val="1"/>
          <c:h val="0.73785162447914399"/>
        </c:manualLayout>
      </c:layout>
      <c:barChart>
        <c:barDir val="col"/>
        <c:grouping val="clustered"/>
        <c:varyColors val="0"/>
        <c:ser>
          <c:idx val="0"/>
          <c:order val="0"/>
          <c:spPr>
            <a:pattFill prst="narHorz">
              <a:fgClr>
                <a:schemeClr val="accent1"/>
              </a:fgClr>
              <a:bgClr>
                <a:schemeClr val="accent1">
                  <a:lumMod val="20000"/>
                  <a:lumOff val="80000"/>
                </a:schemeClr>
              </a:bgClr>
            </a:pattFill>
            <a:ln>
              <a:noFill/>
            </a:ln>
            <a:effectLst/>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02B4-479F-A2C1-A983A1482A8A}"/>
              </c:ext>
            </c:extLst>
          </c:dPt>
          <c:dPt>
            <c:idx val="1"/>
            <c:invertIfNegative val="0"/>
            <c:bubble3D val="0"/>
            <c:spPr>
              <a:solidFill>
                <a:schemeClr val="accent4"/>
              </a:solidFill>
              <a:ln>
                <a:noFill/>
              </a:ln>
              <a:effectLst/>
            </c:spPr>
            <c:extLst>
              <c:ext xmlns:c16="http://schemas.microsoft.com/office/drawing/2014/chart" uri="{C3380CC4-5D6E-409C-BE32-E72D297353CC}">
                <c16:uniqueId val="{00000003-02B4-479F-A2C1-A983A1482A8A}"/>
              </c:ext>
            </c:extLst>
          </c:dPt>
          <c:dPt>
            <c:idx val="2"/>
            <c:invertIfNegative val="0"/>
            <c:bubble3D val="0"/>
            <c:spPr>
              <a:solidFill>
                <a:schemeClr val="bg1">
                  <a:lumMod val="75000"/>
                </a:schemeClr>
              </a:solidFill>
              <a:ln>
                <a:solidFill>
                  <a:schemeClr val="bg1">
                    <a:lumMod val="75000"/>
                  </a:schemeClr>
                </a:solidFill>
              </a:ln>
              <a:effectLst/>
            </c:spPr>
            <c:extLst>
              <c:ext xmlns:c16="http://schemas.microsoft.com/office/drawing/2014/chart" uri="{C3380CC4-5D6E-409C-BE32-E72D297353CC}">
                <c16:uniqueId val="{00000005-02B4-479F-A2C1-A983A1482A8A}"/>
              </c:ext>
            </c:extLst>
          </c:dPt>
          <c:dPt>
            <c:idx val="3"/>
            <c:invertIfNegative val="0"/>
            <c:bubble3D val="0"/>
            <c:spPr>
              <a:solidFill>
                <a:schemeClr val="bg1">
                  <a:lumMod val="75000"/>
                </a:schemeClr>
              </a:solidFill>
              <a:ln>
                <a:noFill/>
              </a:ln>
              <a:effectLst/>
            </c:spPr>
            <c:extLst>
              <c:ext xmlns:c16="http://schemas.microsoft.com/office/drawing/2014/chart" uri="{C3380CC4-5D6E-409C-BE32-E72D297353CC}">
                <c16:uniqueId val="{00000007-02B4-479F-A2C1-A983A1482A8A}"/>
              </c:ext>
            </c:extLst>
          </c:dPt>
          <c:dPt>
            <c:idx val="4"/>
            <c:invertIfNegative val="0"/>
            <c:bubble3D val="0"/>
            <c:spPr>
              <a:solidFill>
                <a:schemeClr val="bg1">
                  <a:lumMod val="75000"/>
                </a:schemeClr>
              </a:solidFill>
              <a:ln>
                <a:noFill/>
              </a:ln>
              <a:effectLst/>
            </c:spPr>
            <c:extLst>
              <c:ext xmlns:c16="http://schemas.microsoft.com/office/drawing/2014/chart" uri="{C3380CC4-5D6E-409C-BE32-E72D297353CC}">
                <c16:uniqueId val="{00000009-02B4-479F-A2C1-A983A1482A8A}"/>
              </c:ext>
            </c:extLst>
          </c:dPt>
          <c:dPt>
            <c:idx val="5"/>
            <c:invertIfNegative val="0"/>
            <c:bubble3D val="0"/>
            <c:spPr>
              <a:solidFill>
                <a:schemeClr val="bg1">
                  <a:lumMod val="75000"/>
                </a:schemeClr>
              </a:solidFill>
              <a:ln>
                <a:noFill/>
              </a:ln>
              <a:effectLst/>
            </c:spPr>
            <c:extLst>
              <c:ext xmlns:c16="http://schemas.microsoft.com/office/drawing/2014/chart" uri="{C3380CC4-5D6E-409C-BE32-E72D297353CC}">
                <c16:uniqueId val="{0000000B-02B4-479F-A2C1-A983A1482A8A}"/>
              </c:ext>
            </c:extLst>
          </c:dPt>
          <c:cat>
            <c:strRef>
              <c:f>Sheet4!$A$1:$A$6</c:f>
              <c:strCache>
                <c:ptCount val="6"/>
                <c:pt idx="0">
                  <c:v>'08</c:v>
                </c:pt>
                <c:pt idx="1">
                  <c:v>'13</c:v>
                </c:pt>
                <c:pt idx="2">
                  <c:v>'08</c:v>
                </c:pt>
                <c:pt idx="3">
                  <c:v>'13</c:v>
                </c:pt>
                <c:pt idx="4">
                  <c:v>'08</c:v>
                </c:pt>
                <c:pt idx="5">
                  <c:v>'13</c:v>
                </c:pt>
              </c:strCache>
            </c:strRef>
          </c:cat>
          <c:val>
            <c:numRef>
              <c:f>Sheet4!$B$1:$B$6</c:f>
              <c:numCache>
                <c:formatCode>0%</c:formatCode>
                <c:ptCount val="6"/>
                <c:pt idx="0">
                  <c:v>0.31</c:v>
                </c:pt>
                <c:pt idx="1">
                  <c:v>0.54</c:v>
                </c:pt>
                <c:pt idx="2">
                  <c:v>0.21</c:v>
                </c:pt>
                <c:pt idx="3">
                  <c:v>0.25</c:v>
                </c:pt>
                <c:pt idx="4">
                  <c:v>0.16</c:v>
                </c:pt>
                <c:pt idx="5">
                  <c:v>0.22</c:v>
                </c:pt>
              </c:numCache>
            </c:numRef>
          </c:val>
          <c:extLst>
            <c:ext xmlns:c16="http://schemas.microsoft.com/office/drawing/2014/chart" uri="{C3380CC4-5D6E-409C-BE32-E72D297353CC}">
              <c16:uniqueId val="{0000000C-02B4-479F-A2C1-A983A1482A8A}"/>
            </c:ext>
          </c:extLst>
        </c:ser>
        <c:dLbls>
          <c:showLegendKey val="0"/>
          <c:showVal val="0"/>
          <c:showCatName val="0"/>
          <c:showSerName val="0"/>
          <c:showPercent val="0"/>
          <c:showBubbleSize val="0"/>
        </c:dLbls>
        <c:gapWidth val="164"/>
        <c:overlap val="-22"/>
        <c:axId val="1103152960"/>
        <c:axId val="1103154736"/>
      </c:barChart>
      <c:catAx>
        <c:axId val="1103152960"/>
        <c:scaling>
          <c:orientation val="minMax"/>
        </c:scaling>
        <c:delete val="0"/>
        <c:axPos val="b"/>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103154736"/>
        <c:crosses val="autoZero"/>
        <c:auto val="1"/>
        <c:lblAlgn val="ctr"/>
        <c:lblOffset val="100"/>
        <c:noMultiLvlLbl val="0"/>
      </c:catAx>
      <c:valAx>
        <c:axId val="1103154736"/>
        <c:scaling>
          <c:orientation val="minMax"/>
        </c:scaling>
        <c:delete val="1"/>
        <c:axPos val="l"/>
        <c:numFmt formatCode="&quot;$&quot;#,##0" sourceLinked="0"/>
        <c:majorTickMark val="none"/>
        <c:minorTickMark val="none"/>
        <c:tickLblPos val="nextTo"/>
        <c:crossAx val="110315296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2194585020013306E-2"/>
          <c:y val="2.2294577195193E-2"/>
          <c:w val="0.87323244559748203"/>
          <c:h val="0.84466341113175303"/>
        </c:manualLayout>
      </c:layout>
      <c:doughnutChart>
        <c:varyColors val="1"/>
        <c:ser>
          <c:idx val="0"/>
          <c:order val="0"/>
          <c:tx>
            <c:strRef>
              <c:f>Sheet1!$B$1</c:f>
              <c:strCache>
                <c:ptCount val="1"/>
                <c:pt idx="0">
                  <c:v>Column1</c:v>
                </c:pt>
              </c:strCache>
            </c:strRef>
          </c:tx>
          <c:spPr>
            <a:solidFill>
              <a:srgbClr val="86F200"/>
            </a:solidFill>
          </c:spPr>
          <c:dPt>
            <c:idx val="0"/>
            <c:bubble3D val="0"/>
            <c:extLst>
              <c:ext xmlns:c16="http://schemas.microsoft.com/office/drawing/2014/chart" uri="{C3380CC4-5D6E-409C-BE32-E72D297353CC}">
                <c16:uniqueId val="{00000000-DA32-43E3-A4E4-194D835C37CD}"/>
              </c:ext>
            </c:extLst>
          </c:dPt>
          <c:dPt>
            <c:idx val="1"/>
            <c:bubble3D val="0"/>
            <c:spPr>
              <a:solidFill>
                <a:srgbClr val="86F200"/>
              </a:solidFill>
              <a:ln>
                <a:solidFill>
                  <a:srgbClr val="86F200"/>
                </a:solidFill>
              </a:ln>
            </c:spPr>
            <c:extLst>
              <c:ext xmlns:c16="http://schemas.microsoft.com/office/drawing/2014/chart" uri="{C3380CC4-5D6E-409C-BE32-E72D297353CC}">
                <c16:uniqueId val="{00000002-DA32-43E3-A4E4-194D835C37CD}"/>
              </c:ext>
            </c:extLst>
          </c:dPt>
          <c:dPt>
            <c:idx val="2"/>
            <c:bubble3D val="0"/>
            <c:spPr>
              <a:solidFill>
                <a:srgbClr val="FFFFFF">
                  <a:lumMod val="75000"/>
                </a:srgbClr>
              </a:solidFill>
            </c:spPr>
            <c:extLst>
              <c:ext xmlns:c16="http://schemas.microsoft.com/office/drawing/2014/chart" uri="{C3380CC4-5D6E-409C-BE32-E72D297353CC}">
                <c16:uniqueId val="{00000004-DA32-43E3-A4E4-194D835C37CD}"/>
              </c:ext>
            </c:extLst>
          </c:dPt>
          <c:dLbls>
            <c:delete val="1"/>
          </c:dLbls>
          <c:cat>
            <c:numRef>
              <c:f>Sheet1!$A$2:$A$4</c:f>
              <c:numCache>
                <c:formatCode>General</c:formatCode>
                <c:ptCount val="3"/>
              </c:numCache>
            </c:numRef>
          </c:cat>
          <c:val>
            <c:numRef>
              <c:f>Sheet1!$B$2:$B$4</c:f>
              <c:numCache>
                <c:formatCode>0%</c:formatCode>
                <c:ptCount val="3"/>
                <c:pt idx="0">
                  <c:v>0.27</c:v>
                </c:pt>
                <c:pt idx="1">
                  <c:v>0.26</c:v>
                </c:pt>
                <c:pt idx="2" formatCode="0.00%">
                  <c:v>0.47</c:v>
                </c:pt>
              </c:numCache>
            </c:numRef>
          </c:val>
          <c:extLst>
            <c:ext xmlns:c16="http://schemas.microsoft.com/office/drawing/2014/chart" uri="{C3380CC4-5D6E-409C-BE32-E72D297353CC}">
              <c16:uniqueId val="{00000005-DA32-43E3-A4E4-194D835C37CD}"/>
            </c:ext>
          </c:extLst>
        </c:ser>
        <c:dLbls>
          <c:showLegendKey val="0"/>
          <c:showVal val="1"/>
          <c:showCatName val="0"/>
          <c:showSerName val="0"/>
          <c:showPercent val="0"/>
          <c:showBubbleSize val="0"/>
          <c:showLeaderLines val="1"/>
        </c:dLbls>
        <c:firstSliceAng val="0"/>
        <c:holeSize val="65"/>
      </c:doughnutChart>
    </c:plotArea>
    <c:plotVisOnly val="1"/>
    <c:dispBlanksAs val="gap"/>
    <c:showDLblsOverMax val="0"/>
  </c:chart>
  <c:txPr>
    <a:bodyPr/>
    <a:lstStyle/>
    <a:p>
      <a:pPr>
        <a:defRPr sz="1800"/>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D86F-48FE-ADF5-04CB5E0D5B94}"/>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D86F-48FE-ADF5-04CB5E0D5B94}"/>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D86F-48FE-ADF5-04CB5E0D5B94}"/>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D86F-48FE-ADF5-04CB5E0D5B94}"/>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41</c:v>
                </c:pt>
                <c:pt idx="1">
                  <c:v>59</c:v>
                </c:pt>
                <c:pt idx="2">
                  <c:v>0</c:v>
                </c:pt>
                <c:pt idx="3">
                  <c:v>0</c:v>
                </c:pt>
              </c:numCache>
            </c:numRef>
          </c:val>
          <c:extLst>
            <c:ext xmlns:c16="http://schemas.microsoft.com/office/drawing/2014/chart" uri="{C3380CC4-5D6E-409C-BE32-E72D297353CC}">
              <c16:uniqueId val="{00000008-D86F-48FE-ADF5-04CB5E0D5B94}"/>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34BB-4F0C-ACCF-FEDB37B10FD6}"/>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34BB-4F0C-ACCF-FEDB37B10FD6}"/>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34BB-4F0C-ACCF-FEDB37B10FD6}"/>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34BB-4F0C-ACCF-FEDB37B10FD6}"/>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23</c:v>
                </c:pt>
                <c:pt idx="1">
                  <c:v>77</c:v>
                </c:pt>
                <c:pt idx="2">
                  <c:v>0</c:v>
                </c:pt>
                <c:pt idx="3">
                  <c:v>0</c:v>
                </c:pt>
              </c:numCache>
            </c:numRef>
          </c:val>
          <c:extLst>
            <c:ext xmlns:c16="http://schemas.microsoft.com/office/drawing/2014/chart" uri="{C3380CC4-5D6E-409C-BE32-E72D297353CC}">
              <c16:uniqueId val="{00000008-34BB-4F0C-ACCF-FEDB37B10FD6}"/>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sz="1400" b="1" dirty="0"/>
              <a:t>BRAND</a:t>
            </a:r>
            <a:r>
              <a:rPr lang="en-US" sz="1400" b="1" baseline="0" dirty="0"/>
              <a:t>S SELECTED</a:t>
            </a:r>
            <a:endParaRPr lang="en-US" sz="1400" b="1" dirty="0"/>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Brand</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onda</c:v>
                </c:pt>
                <c:pt idx="1">
                  <c:v>Yamaha</c:v>
                </c:pt>
                <c:pt idx="2">
                  <c:v>Mercury</c:v>
                </c:pt>
                <c:pt idx="3">
                  <c:v>Suzuki</c:v>
                </c:pt>
                <c:pt idx="4">
                  <c:v>Evinrude</c:v>
                </c:pt>
                <c:pt idx="5">
                  <c:v>Other</c:v>
                </c:pt>
              </c:strCache>
            </c:strRef>
          </c:cat>
          <c:val>
            <c:numRef>
              <c:f>Sheet1!$B$2:$B$7</c:f>
              <c:numCache>
                <c:formatCode>General</c:formatCode>
                <c:ptCount val="6"/>
                <c:pt idx="0">
                  <c:v>1</c:v>
                </c:pt>
                <c:pt idx="1">
                  <c:v>8</c:v>
                </c:pt>
                <c:pt idx="2">
                  <c:v>4</c:v>
                </c:pt>
                <c:pt idx="3">
                  <c:v>1</c:v>
                </c:pt>
                <c:pt idx="4">
                  <c:v>1</c:v>
                </c:pt>
                <c:pt idx="5">
                  <c:v>1</c:v>
                </c:pt>
              </c:numCache>
            </c:numRef>
          </c:val>
          <c:extLst>
            <c:ext xmlns:c16="http://schemas.microsoft.com/office/drawing/2014/chart" uri="{C3380CC4-5D6E-409C-BE32-E72D297353CC}">
              <c16:uniqueId val="{00000000-B8F4-4EB9-BA31-9238BA7278E0}"/>
            </c:ext>
          </c:extLst>
        </c:ser>
        <c:dLbls>
          <c:showLegendKey val="0"/>
          <c:showVal val="0"/>
          <c:showCatName val="0"/>
          <c:showSerName val="0"/>
          <c:showPercent val="0"/>
          <c:showBubbleSize val="0"/>
        </c:dLbls>
        <c:gapWidth val="100"/>
        <c:overlap val="-27"/>
        <c:axId val="673380416"/>
        <c:axId val="673382712"/>
      </c:barChart>
      <c:catAx>
        <c:axId val="6733804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1" i="0" u="none" strike="noStrike" kern="1200" baseline="0">
                <a:solidFill>
                  <a:schemeClr val="tx1">
                    <a:lumMod val="65000"/>
                    <a:lumOff val="35000"/>
                  </a:schemeClr>
                </a:solidFill>
                <a:latin typeface="+mn-lt"/>
                <a:ea typeface="+mn-ea"/>
                <a:cs typeface="+mn-cs"/>
              </a:defRPr>
            </a:pPr>
            <a:endParaRPr lang="en-US"/>
          </a:p>
        </c:txPr>
        <c:crossAx val="673382712"/>
        <c:crosses val="autoZero"/>
        <c:auto val="1"/>
        <c:lblAlgn val="ctr"/>
        <c:lblOffset val="100"/>
        <c:noMultiLvlLbl val="0"/>
      </c:catAx>
      <c:valAx>
        <c:axId val="673382712"/>
        <c:scaling>
          <c:orientation val="minMax"/>
        </c:scaling>
        <c:delete val="1"/>
        <c:axPos val="l"/>
        <c:numFmt formatCode="General" sourceLinked="1"/>
        <c:majorTickMark val="none"/>
        <c:minorTickMark val="none"/>
        <c:tickLblPos val="nextTo"/>
        <c:crossAx val="673380416"/>
        <c:crosses val="autoZero"/>
        <c:crossBetween val="between"/>
      </c:valAx>
      <c:spPr>
        <a:noFill/>
        <a:ln>
          <a:noFill/>
        </a:ln>
        <a:effectLst/>
      </c:spPr>
    </c:plotArea>
    <c:plotVisOnly val="1"/>
    <c:dispBlanksAs val="gap"/>
    <c:showDLblsOverMax val="0"/>
  </c:chart>
  <c:spPr>
    <a:noFill/>
    <a:ln>
      <a:noFill/>
    </a:ln>
    <a:effectLst/>
  </c:spPr>
  <c:txPr>
    <a:bodyPr/>
    <a:lstStyle/>
    <a:p>
      <a:pPr>
        <a:defRPr sz="900"/>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A4A7-404F-A7E9-153119686CDC}"/>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A4A7-404F-A7E9-153119686CDC}"/>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A4A7-404F-A7E9-153119686CDC}"/>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A4A7-404F-A7E9-153119686CDC}"/>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24</c:v>
                </c:pt>
                <c:pt idx="1">
                  <c:v>76</c:v>
                </c:pt>
                <c:pt idx="2">
                  <c:v>0</c:v>
                </c:pt>
                <c:pt idx="3">
                  <c:v>0</c:v>
                </c:pt>
              </c:numCache>
            </c:numRef>
          </c:val>
          <c:extLst>
            <c:ext xmlns:c16="http://schemas.microsoft.com/office/drawing/2014/chart" uri="{C3380CC4-5D6E-409C-BE32-E72D297353CC}">
              <c16:uniqueId val="{00000008-A4A7-404F-A7E9-153119686CDC}"/>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2DE-4A24-948E-F8FE62DC33B6}"/>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42DE-4A24-948E-F8FE62DC33B6}"/>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2DE-4A24-948E-F8FE62DC33B6}"/>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2DE-4A24-948E-F8FE62DC33B6}"/>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c:v>
                </c:pt>
                <c:pt idx="1">
                  <c:v>92</c:v>
                </c:pt>
                <c:pt idx="2">
                  <c:v>0</c:v>
                </c:pt>
                <c:pt idx="3">
                  <c:v>0</c:v>
                </c:pt>
              </c:numCache>
            </c:numRef>
          </c:val>
          <c:extLst>
            <c:ext xmlns:c16="http://schemas.microsoft.com/office/drawing/2014/chart" uri="{C3380CC4-5D6E-409C-BE32-E72D297353CC}">
              <c16:uniqueId val="{00000008-42DE-4A24-948E-F8FE62DC33B6}"/>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0"/>
    <c:plotArea>
      <c:layout/>
      <c:barChart>
        <c:barDir val="col"/>
        <c:grouping val="stacked"/>
        <c:varyColors val="0"/>
        <c:ser>
          <c:idx val="0"/>
          <c:order val="0"/>
          <c:tx>
            <c:strRef>
              <c:f>Sheet1!$B$1</c:f>
              <c:strCache>
                <c:ptCount val="1"/>
                <c:pt idx="0">
                  <c:v>Series 1</c:v>
                </c:pt>
              </c:strCache>
            </c:strRef>
          </c:tx>
          <c:spPr>
            <a:solidFill>
              <a:schemeClr val="accent1">
                <a:tint val="65000"/>
              </a:schemeClr>
            </a:solidFill>
            <a:ln>
              <a:noFill/>
            </a:ln>
            <a:effectLst/>
          </c:spPr>
          <c:invertIfNegative val="0"/>
          <c:cat>
            <c:strRef>
              <c:f>Sheet1!$A$2:$A$6</c:f>
              <c:strCache>
                <c:ptCount val="5"/>
                <c:pt idx="0">
                  <c:v>Total Spend</c:v>
                </c:pt>
                <c:pt idx="1">
                  <c:v>Labor</c:v>
                </c:pt>
                <c:pt idx="2">
                  <c:v>Outsourcing</c:v>
                </c:pt>
                <c:pt idx="3">
                  <c:v>Technology</c:v>
                </c:pt>
                <c:pt idx="4">
                  <c:v>Other</c:v>
                </c:pt>
              </c:strCache>
            </c:strRef>
          </c:cat>
          <c:val>
            <c:numRef>
              <c:f>Sheet1!$B$2:$B$6</c:f>
              <c:numCache>
                <c:formatCode>0</c:formatCode>
                <c:ptCount val="5"/>
                <c:pt idx="0">
                  <c:v>0</c:v>
                </c:pt>
                <c:pt idx="1">
                  <c:v>46.9</c:v>
                </c:pt>
                <c:pt idx="2">
                  <c:v>16.899999999999999</c:v>
                </c:pt>
                <c:pt idx="3">
                  <c:v>5.4999999999999982</c:v>
                </c:pt>
                <c:pt idx="4">
                  <c:v>-0.40000000000000213</c:v>
                </c:pt>
              </c:numCache>
            </c:numRef>
          </c:val>
          <c:extLst>
            <c:ext xmlns:c16="http://schemas.microsoft.com/office/drawing/2014/chart" uri="{C3380CC4-5D6E-409C-BE32-E72D297353CC}">
              <c16:uniqueId val="{00000000-DAF2-4683-AF49-62193406858D}"/>
            </c:ext>
          </c:extLst>
        </c:ser>
        <c:ser>
          <c:idx val="1"/>
          <c:order val="1"/>
          <c:tx>
            <c:strRef>
              <c:f>Sheet1!$C$1</c:f>
              <c:strCache>
                <c:ptCount val="1"/>
                <c:pt idx="0">
                  <c:v>Series 2</c:v>
                </c:pt>
              </c:strCache>
            </c:strRef>
          </c:tx>
          <c:spPr>
            <a:solidFill>
              <a:schemeClr val="accent1"/>
            </a:solidFill>
            <a:ln>
              <a:noFill/>
            </a:ln>
            <a:effectLst/>
          </c:spPr>
          <c:invertIfNegative val="0"/>
          <c:cat>
            <c:strRef>
              <c:f>Sheet1!$A$2:$A$6</c:f>
              <c:strCache>
                <c:ptCount val="5"/>
                <c:pt idx="0">
                  <c:v>Total Spend</c:v>
                </c:pt>
                <c:pt idx="1">
                  <c:v>Labor</c:v>
                </c:pt>
                <c:pt idx="2">
                  <c:v>Outsourcing</c:v>
                </c:pt>
                <c:pt idx="3">
                  <c:v>Technology</c:v>
                </c:pt>
                <c:pt idx="4">
                  <c:v>Other</c:v>
                </c:pt>
              </c:strCache>
            </c:strRef>
          </c:cat>
          <c:val>
            <c:numRef>
              <c:f>Sheet1!$C$2:$C$6</c:f>
              <c:numCache>
                <c:formatCode>0</c:formatCode>
                <c:ptCount val="5"/>
                <c:pt idx="0">
                  <c:v>0</c:v>
                </c:pt>
                <c:pt idx="1">
                  <c:v>53.1</c:v>
                </c:pt>
                <c:pt idx="2">
                  <c:v>30</c:v>
                </c:pt>
                <c:pt idx="3">
                  <c:v>11.4</c:v>
                </c:pt>
                <c:pt idx="4">
                  <c:v>5.9</c:v>
                </c:pt>
              </c:numCache>
            </c:numRef>
          </c:val>
          <c:extLst>
            <c:ext xmlns:c16="http://schemas.microsoft.com/office/drawing/2014/chart" uri="{C3380CC4-5D6E-409C-BE32-E72D297353CC}">
              <c16:uniqueId val="{00000001-DAF2-4683-AF49-62193406858D}"/>
            </c:ext>
          </c:extLst>
        </c:ser>
        <c:ser>
          <c:idx val="2"/>
          <c:order val="2"/>
          <c:tx>
            <c:strRef>
              <c:f>Sheet1!$D$1</c:f>
              <c:strCache>
                <c:ptCount val="1"/>
                <c:pt idx="0">
                  <c:v>Series 3</c:v>
                </c:pt>
              </c:strCache>
            </c:strRef>
          </c:tx>
          <c:spPr>
            <a:solidFill>
              <a:schemeClr val="accent1">
                <a:shade val="65000"/>
              </a:schemeClr>
            </a:solidFill>
            <a:ln>
              <a:noFill/>
            </a:ln>
            <a:effectLst/>
          </c:spPr>
          <c:invertIfNegative val="0"/>
          <c:cat>
            <c:strRef>
              <c:f>Sheet1!$A$2:$A$6</c:f>
              <c:strCache>
                <c:ptCount val="5"/>
                <c:pt idx="0">
                  <c:v>Total Spend</c:v>
                </c:pt>
                <c:pt idx="1">
                  <c:v>Labor</c:v>
                </c:pt>
                <c:pt idx="2">
                  <c:v>Outsourcing</c:v>
                </c:pt>
                <c:pt idx="3">
                  <c:v>Technology</c:v>
                </c:pt>
                <c:pt idx="4">
                  <c:v>Other</c:v>
                </c:pt>
              </c:strCache>
            </c:strRef>
          </c:cat>
          <c:val>
            <c:numRef>
              <c:f>Sheet1!$D$2:$D$6</c:f>
              <c:numCache>
                <c:formatCode>0</c:formatCode>
                <c:ptCount val="5"/>
                <c:pt idx="0">
                  <c:v>100</c:v>
                </c:pt>
                <c:pt idx="1">
                  <c:v>0</c:v>
                </c:pt>
                <c:pt idx="2">
                  <c:v>0</c:v>
                </c:pt>
                <c:pt idx="3">
                  <c:v>0</c:v>
                </c:pt>
                <c:pt idx="4">
                  <c:v>0</c:v>
                </c:pt>
              </c:numCache>
            </c:numRef>
          </c:val>
          <c:extLst>
            <c:ext xmlns:c16="http://schemas.microsoft.com/office/drawing/2014/chart" uri="{C3380CC4-5D6E-409C-BE32-E72D297353CC}">
              <c16:uniqueId val="{00000002-DAF2-4683-AF49-62193406858D}"/>
            </c:ext>
          </c:extLst>
        </c:ser>
        <c:dLbls>
          <c:showLegendKey val="0"/>
          <c:showVal val="0"/>
          <c:showCatName val="0"/>
          <c:showSerName val="0"/>
          <c:showPercent val="0"/>
          <c:showBubbleSize val="0"/>
        </c:dLbls>
        <c:gapWidth val="150"/>
        <c:overlap val="100"/>
        <c:axId val="373667712"/>
        <c:axId val="373669248"/>
      </c:barChart>
      <c:catAx>
        <c:axId val="373667712"/>
        <c:scaling>
          <c:orientation val="minMax"/>
        </c:scaling>
        <c:delete val="0"/>
        <c:axPos val="b"/>
        <c:numFmt formatCode="General" sourceLinked="0"/>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373669248"/>
        <c:crosses val="autoZero"/>
        <c:auto val="1"/>
        <c:lblAlgn val="ctr"/>
        <c:lblOffset val="100"/>
        <c:noMultiLvlLbl val="0"/>
      </c:catAx>
      <c:valAx>
        <c:axId val="373669248"/>
        <c:scaling>
          <c:orientation val="minMax"/>
        </c:scaling>
        <c:delete val="0"/>
        <c:axPos val="l"/>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373667712"/>
        <c:crosses val="autoZero"/>
        <c:crossBetween val="between"/>
      </c:val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800"/>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xVal>
            <c:numRef>
              <c:f>Sheet1!$A$1:$A$10</c:f>
              <c:numCache>
                <c:formatCode>General</c:formatCode>
                <c:ptCount val="10"/>
                <c:pt idx="0">
                  <c:v>1</c:v>
                </c:pt>
                <c:pt idx="1">
                  <c:v>66</c:v>
                </c:pt>
                <c:pt idx="2">
                  <c:v>7</c:v>
                </c:pt>
                <c:pt idx="3">
                  <c:v>4</c:v>
                </c:pt>
                <c:pt idx="4">
                  <c:v>8</c:v>
                </c:pt>
                <c:pt idx="5">
                  <c:v>9</c:v>
                </c:pt>
                <c:pt idx="6">
                  <c:v>0</c:v>
                </c:pt>
                <c:pt idx="7">
                  <c:v>9</c:v>
                </c:pt>
                <c:pt idx="8">
                  <c:v>9</c:v>
                </c:pt>
                <c:pt idx="9">
                  <c:v>0</c:v>
                </c:pt>
              </c:numCache>
            </c:numRef>
          </c:xVal>
          <c:yVal>
            <c:numRef>
              <c:f>Sheet1!$B$1:$B$10</c:f>
              <c:numCache>
                <c:formatCode>General</c:formatCode>
                <c:ptCount val="10"/>
                <c:pt idx="0">
                  <c:v>7</c:v>
                </c:pt>
                <c:pt idx="1">
                  <c:v>56</c:v>
                </c:pt>
                <c:pt idx="2">
                  <c:v>6</c:v>
                </c:pt>
                <c:pt idx="3">
                  <c:v>6</c:v>
                </c:pt>
                <c:pt idx="4">
                  <c:v>65</c:v>
                </c:pt>
                <c:pt idx="5">
                  <c:v>45</c:v>
                </c:pt>
                <c:pt idx="6">
                  <c:v>5</c:v>
                </c:pt>
                <c:pt idx="7">
                  <c:v>45</c:v>
                </c:pt>
                <c:pt idx="8">
                  <c:v>26</c:v>
                </c:pt>
                <c:pt idx="9">
                  <c:v>17</c:v>
                </c:pt>
              </c:numCache>
            </c:numRef>
          </c:yVal>
          <c:smooth val="0"/>
          <c:extLst>
            <c:ext xmlns:c16="http://schemas.microsoft.com/office/drawing/2014/chart" uri="{C3380CC4-5D6E-409C-BE32-E72D297353CC}">
              <c16:uniqueId val="{00000000-8195-4C32-8083-85CC3C07A766}"/>
            </c:ext>
          </c:extLst>
        </c:ser>
        <c:ser>
          <c:idx val="1"/>
          <c:order val="1"/>
          <c:spPr>
            <a:ln w="19050" cap="rnd">
              <a:noFill/>
              <a:round/>
            </a:ln>
            <a:effectLst/>
          </c:spPr>
          <c:marker>
            <c:symbol val="circle"/>
            <c:size val="5"/>
            <c:spPr>
              <a:solidFill>
                <a:schemeClr val="accent2"/>
              </a:solidFill>
              <a:ln w="9525">
                <a:solidFill>
                  <a:schemeClr val="accent2"/>
                </a:solidFill>
              </a:ln>
              <a:effectLst/>
            </c:spPr>
          </c:marker>
          <c:xVal>
            <c:numRef>
              <c:f>Sheet1!$A$1:$A$10</c:f>
              <c:numCache>
                <c:formatCode>General</c:formatCode>
                <c:ptCount val="10"/>
                <c:pt idx="0">
                  <c:v>1</c:v>
                </c:pt>
                <c:pt idx="1">
                  <c:v>66</c:v>
                </c:pt>
                <c:pt idx="2">
                  <c:v>7</c:v>
                </c:pt>
                <c:pt idx="3">
                  <c:v>4</c:v>
                </c:pt>
                <c:pt idx="4">
                  <c:v>8</c:v>
                </c:pt>
                <c:pt idx="5">
                  <c:v>9</c:v>
                </c:pt>
                <c:pt idx="6">
                  <c:v>0</c:v>
                </c:pt>
                <c:pt idx="7">
                  <c:v>9</c:v>
                </c:pt>
                <c:pt idx="8">
                  <c:v>9</c:v>
                </c:pt>
                <c:pt idx="9">
                  <c:v>0</c:v>
                </c:pt>
              </c:numCache>
            </c:numRef>
          </c:xVal>
          <c:yVal>
            <c:numRef>
              <c:f>Sheet1!$C$1:$C$10</c:f>
              <c:numCache>
                <c:formatCode>General</c:formatCode>
                <c:ptCount val="10"/>
                <c:pt idx="0">
                  <c:v>3</c:v>
                </c:pt>
                <c:pt idx="1">
                  <c:v>4</c:v>
                </c:pt>
                <c:pt idx="2">
                  <c:v>56</c:v>
                </c:pt>
                <c:pt idx="3">
                  <c:v>7</c:v>
                </c:pt>
                <c:pt idx="4">
                  <c:v>8</c:v>
                </c:pt>
                <c:pt idx="5">
                  <c:v>9</c:v>
                </c:pt>
                <c:pt idx="6">
                  <c:v>3</c:v>
                </c:pt>
                <c:pt idx="7">
                  <c:v>12</c:v>
                </c:pt>
                <c:pt idx="8">
                  <c:v>33</c:v>
                </c:pt>
                <c:pt idx="9">
                  <c:v>45</c:v>
                </c:pt>
              </c:numCache>
            </c:numRef>
          </c:yVal>
          <c:smooth val="0"/>
          <c:extLst>
            <c:ext xmlns:c16="http://schemas.microsoft.com/office/drawing/2014/chart" uri="{C3380CC4-5D6E-409C-BE32-E72D297353CC}">
              <c16:uniqueId val="{00000001-8195-4C32-8083-85CC3C07A766}"/>
            </c:ext>
          </c:extLst>
        </c:ser>
        <c:dLbls>
          <c:showLegendKey val="0"/>
          <c:showVal val="0"/>
          <c:showCatName val="0"/>
          <c:showSerName val="0"/>
          <c:showPercent val="0"/>
          <c:showBubbleSize val="0"/>
        </c:dLbls>
        <c:axId val="679384408"/>
        <c:axId val="679389656"/>
      </c:scatterChart>
      <c:valAx>
        <c:axId val="679384408"/>
        <c:scaling>
          <c:orientation val="minMax"/>
        </c:scaling>
        <c:delete val="1"/>
        <c:axPos val="b"/>
        <c:majorGridlines>
          <c:spPr>
            <a:ln w="9525" cap="flat" cmpd="sng" algn="ctr">
              <a:noFill/>
              <a:round/>
            </a:ln>
            <a:effectLst/>
          </c:spPr>
        </c:majorGridlines>
        <c:numFmt formatCode="General" sourceLinked="1"/>
        <c:majorTickMark val="none"/>
        <c:minorTickMark val="none"/>
        <c:tickLblPos val="nextTo"/>
        <c:crossAx val="679389656"/>
        <c:crosses val="autoZero"/>
        <c:crossBetween val="midCat"/>
      </c:valAx>
      <c:valAx>
        <c:axId val="679389656"/>
        <c:scaling>
          <c:orientation val="minMax"/>
        </c:scaling>
        <c:delete val="1"/>
        <c:axPos val="l"/>
        <c:majorGridlines>
          <c:spPr>
            <a:ln w="3175" cap="flat" cmpd="sng" algn="ctr">
              <a:noFill/>
              <a:round/>
            </a:ln>
            <a:effectLst/>
          </c:spPr>
        </c:majorGridlines>
        <c:numFmt formatCode="General" sourceLinked="1"/>
        <c:majorTickMark val="none"/>
        <c:minorTickMark val="none"/>
        <c:tickLblPos val="nextTo"/>
        <c:crossAx val="679384408"/>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B179-474E-8943-A99F6742DA9F}"/>
              </c:ext>
            </c:extLst>
          </c:dPt>
          <c:dPt>
            <c:idx val="1"/>
            <c:bubble3D val="0"/>
            <c:spPr>
              <a:solidFill>
                <a:schemeClr val="accent5">
                  <a:lumMod val="20000"/>
                  <a:lumOff val="80000"/>
                </a:schemeClr>
              </a:solidFill>
              <a:ln w="19050">
                <a:solidFill>
                  <a:schemeClr val="lt1"/>
                </a:solidFill>
              </a:ln>
              <a:effectLst/>
            </c:spPr>
            <c:extLst>
              <c:ext xmlns:c16="http://schemas.microsoft.com/office/drawing/2014/chart" uri="{C3380CC4-5D6E-409C-BE32-E72D297353CC}">
                <c16:uniqueId val="{00000003-B179-474E-8943-A99F6742DA9F}"/>
              </c:ext>
            </c:extLst>
          </c:dPt>
          <c:cat>
            <c:strRef>
              <c:f>Sheet1!$A$2:$A$3</c:f>
              <c:strCache>
                <c:ptCount val="2"/>
                <c:pt idx="0">
                  <c:v>1st Qtr</c:v>
                </c:pt>
                <c:pt idx="1">
                  <c:v>2nd Qtr</c:v>
                </c:pt>
              </c:strCache>
            </c:strRef>
          </c:cat>
          <c:val>
            <c:numRef>
              <c:f>Sheet1!$B$2:$B$3</c:f>
              <c:numCache>
                <c:formatCode>General</c:formatCode>
                <c:ptCount val="2"/>
                <c:pt idx="0">
                  <c:v>85</c:v>
                </c:pt>
                <c:pt idx="1">
                  <c:v>15</c:v>
                </c:pt>
              </c:numCache>
            </c:numRef>
          </c:val>
          <c:extLst>
            <c:ext xmlns:c16="http://schemas.microsoft.com/office/drawing/2014/chart" uri="{C3380CC4-5D6E-409C-BE32-E72D297353CC}">
              <c16:uniqueId val="{00000004-B179-474E-8943-A99F6742DA9F}"/>
            </c:ext>
          </c:extLst>
        </c:ser>
        <c:dLbls>
          <c:showLegendKey val="0"/>
          <c:showVal val="0"/>
          <c:showCatName val="0"/>
          <c:showSerName val="0"/>
          <c:showPercent val="0"/>
          <c:showBubbleSize val="0"/>
          <c:showLeaderLines val="1"/>
        </c:dLbls>
        <c:firstSliceAng val="0"/>
        <c:holeSize val="77"/>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518774606299213"/>
          <c:y val="0.11333211655191214"/>
          <c:w val="0.83607012795275593"/>
          <c:h val="0.75432352643186973"/>
        </c:manualLayout>
      </c:layout>
      <c:barChart>
        <c:barDir val="bar"/>
        <c:grouping val="stacked"/>
        <c:varyColors val="0"/>
        <c:ser>
          <c:idx val="0"/>
          <c:order val="0"/>
          <c:tx>
            <c:strRef>
              <c:f>Sheet1!$B$1</c:f>
              <c:strCache>
                <c:ptCount val="1"/>
                <c:pt idx="0">
                  <c:v>Working</c:v>
                </c:pt>
              </c:strCache>
            </c:strRef>
          </c:tx>
          <c:spPr>
            <a:solidFill>
              <a:schemeClr val="accent2"/>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0-46BE-4BD0-BB10-91D6891F886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0%</c:formatCode>
                <c:ptCount val="1"/>
                <c:pt idx="0">
                  <c:v>0.8</c:v>
                </c:pt>
              </c:numCache>
            </c:numRef>
          </c:val>
          <c:extLst>
            <c:ext xmlns:c16="http://schemas.microsoft.com/office/drawing/2014/chart" uri="{C3380CC4-5D6E-409C-BE32-E72D297353CC}">
              <c16:uniqueId val="{00000001-46BE-4BD0-BB10-91D6891F8865}"/>
            </c:ext>
          </c:extLst>
        </c:ser>
        <c:ser>
          <c:idx val="1"/>
          <c:order val="1"/>
          <c:tx>
            <c:strRef>
              <c:f>Sheet1!$C$1</c:f>
              <c:strCache>
                <c:ptCount val="1"/>
                <c:pt idx="0">
                  <c:v>Non-Working</c:v>
                </c:pt>
              </c:strCache>
            </c:strRef>
          </c:tx>
          <c:spPr>
            <a:solidFill>
              <a:schemeClr val="accent3"/>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46BE-4BD0-BB10-91D6891F886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0%</c:formatCode>
                <c:ptCount val="1"/>
                <c:pt idx="0">
                  <c:v>0.2</c:v>
                </c:pt>
              </c:numCache>
            </c:numRef>
          </c:val>
          <c:extLst>
            <c:ext xmlns:c16="http://schemas.microsoft.com/office/drawing/2014/chart" uri="{C3380CC4-5D6E-409C-BE32-E72D297353CC}">
              <c16:uniqueId val="{00000003-46BE-4BD0-BB10-91D6891F8865}"/>
            </c:ext>
          </c:extLst>
        </c:ser>
        <c:dLbls>
          <c:showLegendKey val="0"/>
          <c:showVal val="0"/>
          <c:showCatName val="0"/>
          <c:showSerName val="0"/>
          <c:showPercent val="0"/>
          <c:showBubbleSize val="0"/>
        </c:dLbls>
        <c:gapWidth val="150"/>
        <c:overlap val="100"/>
        <c:axId val="920610112"/>
        <c:axId val="920613720"/>
      </c:barChart>
      <c:catAx>
        <c:axId val="920610112"/>
        <c:scaling>
          <c:orientation val="minMax"/>
        </c:scaling>
        <c:delete val="1"/>
        <c:axPos val="l"/>
        <c:numFmt formatCode="General" sourceLinked="1"/>
        <c:majorTickMark val="none"/>
        <c:minorTickMark val="none"/>
        <c:tickLblPos val="nextTo"/>
        <c:crossAx val="920613720"/>
        <c:crosses val="autoZero"/>
        <c:auto val="1"/>
        <c:lblAlgn val="ctr"/>
        <c:lblOffset val="100"/>
        <c:noMultiLvlLbl val="0"/>
      </c:catAx>
      <c:valAx>
        <c:axId val="920613720"/>
        <c:scaling>
          <c:orientation val="minMax"/>
        </c:scaling>
        <c:delete val="1"/>
        <c:axPos val="b"/>
        <c:numFmt formatCode="0%" sourceLinked="1"/>
        <c:majorTickMark val="none"/>
        <c:minorTickMark val="none"/>
        <c:tickLblPos val="nextTo"/>
        <c:crossAx val="920610112"/>
        <c:crosses val="autoZero"/>
        <c:crossBetween val="between"/>
      </c:valAx>
      <c:spPr>
        <a:noFill/>
        <a:ln>
          <a:noFill/>
        </a:ln>
        <a:effectLst/>
      </c:spPr>
    </c:plotArea>
    <c:legend>
      <c:legendPos val="b"/>
      <c:layout>
        <c:manualLayout>
          <c:xMode val="edge"/>
          <c:yMode val="edge"/>
          <c:x val="0.11562676095599722"/>
          <c:y val="0.6403934077171668"/>
          <c:w val="0.35108400016402952"/>
          <c:h val="8.1406116408573675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doughnutChart>
        <c:varyColors val="1"/>
        <c:ser>
          <c:idx val="0"/>
          <c:order val="0"/>
          <c:tx>
            <c:strRef>
              <c:f>Sheet1!$B$1</c:f>
              <c:strCache>
                <c:ptCount val="1"/>
                <c:pt idx="0">
                  <c:v>Chart Title</c:v>
                </c:pt>
              </c:strCache>
            </c:strRef>
          </c:tx>
          <c:spPr>
            <a:ln w="12700">
              <a:solidFill>
                <a:schemeClr val="bg1"/>
              </a:solidFill>
            </a:ln>
            <a:effectLst/>
          </c:spPr>
          <c:dPt>
            <c:idx val="0"/>
            <c:bubble3D val="0"/>
            <c:spPr>
              <a:solidFill>
                <a:schemeClr val="bg1">
                  <a:lumMod val="85000"/>
                </a:schemeClr>
              </a:solidFill>
              <a:ln w="12700">
                <a:solidFill>
                  <a:schemeClr val="bg1"/>
                </a:solidFill>
              </a:ln>
              <a:effectLst/>
            </c:spPr>
            <c:extLst>
              <c:ext xmlns:c16="http://schemas.microsoft.com/office/drawing/2014/chart" uri="{C3380CC4-5D6E-409C-BE32-E72D297353CC}">
                <c16:uniqueId val="{00000001-D56D-4E2A-AD02-E6C6EFAE11C8}"/>
              </c:ext>
            </c:extLst>
          </c:dPt>
          <c:dPt>
            <c:idx val="1"/>
            <c:bubble3D val="0"/>
            <c:spPr>
              <a:solidFill>
                <a:schemeClr val="accent3"/>
              </a:solidFill>
              <a:ln w="12700">
                <a:solidFill>
                  <a:schemeClr val="bg1"/>
                </a:solidFill>
              </a:ln>
              <a:effectLst/>
            </c:spPr>
            <c:extLst>
              <c:ext xmlns:c16="http://schemas.microsoft.com/office/drawing/2014/chart" uri="{C3380CC4-5D6E-409C-BE32-E72D297353CC}">
                <c16:uniqueId val="{00000003-D56D-4E2A-AD02-E6C6EFAE11C8}"/>
              </c:ext>
            </c:extLst>
          </c:dPt>
          <c:cat>
            <c:strRef>
              <c:f>Sheet1!$A$2:$A$3</c:f>
              <c:strCache>
                <c:ptCount val="2"/>
                <c:pt idx="0">
                  <c:v>Title</c:v>
                </c:pt>
                <c:pt idx="1">
                  <c:v>Title</c:v>
                </c:pt>
              </c:strCache>
            </c:strRef>
          </c:cat>
          <c:val>
            <c:numRef>
              <c:f>Sheet1!$B$2:$B$3</c:f>
              <c:numCache>
                <c:formatCode>0.00%</c:formatCode>
                <c:ptCount val="2"/>
                <c:pt idx="0">
                  <c:v>0.80100000000000005</c:v>
                </c:pt>
                <c:pt idx="1">
                  <c:v>0.19900000000000001</c:v>
                </c:pt>
              </c:numCache>
            </c:numRef>
          </c:val>
          <c:extLst>
            <c:ext xmlns:c16="http://schemas.microsoft.com/office/drawing/2014/chart" uri="{C3380CC4-5D6E-409C-BE32-E72D297353CC}">
              <c16:uniqueId val="{00000004-D56D-4E2A-AD02-E6C6EFAE11C8}"/>
            </c:ext>
          </c:extLst>
        </c:ser>
        <c:dLbls>
          <c:showLegendKey val="0"/>
          <c:showVal val="0"/>
          <c:showCatName val="0"/>
          <c:showSerName val="0"/>
          <c:showPercent val="0"/>
          <c:showBubbleSize val="0"/>
          <c:showLeaderLines val="1"/>
        </c:dLbls>
        <c:firstSliceAng val="0"/>
        <c:holeSize val="77"/>
      </c:doughnutChart>
      <c:spPr>
        <a:noFill/>
        <a:ln w="25400">
          <a:noFill/>
        </a:ln>
      </c:spPr>
    </c:plotArea>
    <c:plotVisOnly val="1"/>
    <c:dispBlanksAs val="gap"/>
    <c:showDLblsOverMax val="0"/>
  </c:chart>
  <c:txPr>
    <a:bodyPr/>
    <a:lstStyle/>
    <a:p>
      <a:pPr>
        <a:defRPr sz="1800"/>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Working</c:v>
                </c:pt>
              </c:strCache>
            </c:strRef>
          </c:tx>
          <c:spPr>
            <a:solidFill>
              <a:schemeClr val="accent2"/>
            </a:solidFill>
            <a:ln>
              <a:noFill/>
            </a:ln>
            <a:effectLst/>
          </c:spPr>
          <c:invertIfNegative val="0"/>
          <c:cat>
            <c:strRef>
              <c:f>Sheet1!$A$2:$A$4</c:f>
              <c:strCache>
                <c:ptCount val="3"/>
                <c:pt idx="0">
                  <c:v>Traditional Media</c:v>
                </c:pt>
                <c:pt idx="1">
                  <c:v>Search / Display</c:v>
                </c:pt>
                <c:pt idx="2">
                  <c:v>Social / Mobile</c:v>
                </c:pt>
              </c:strCache>
            </c:strRef>
          </c:cat>
          <c:val>
            <c:numRef>
              <c:f>Sheet1!$B$2:$B$4</c:f>
              <c:numCache>
                <c:formatCode>0%</c:formatCode>
                <c:ptCount val="3"/>
                <c:pt idx="0">
                  <c:v>0.88</c:v>
                </c:pt>
                <c:pt idx="1">
                  <c:v>0.8</c:v>
                </c:pt>
                <c:pt idx="2">
                  <c:v>0.4</c:v>
                </c:pt>
              </c:numCache>
            </c:numRef>
          </c:val>
          <c:extLst>
            <c:ext xmlns:c16="http://schemas.microsoft.com/office/drawing/2014/chart" uri="{C3380CC4-5D6E-409C-BE32-E72D297353CC}">
              <c16:uniqueId val="{00000000-F9A3-4FB3-AF58-E7B6330198DD}"/>
            </c:ext>
          </c:extLst>
        </c:ser>
        <c:ser>
          <c:idx val="1"/>
          <c:order val="1"/>
          <c:tx>
            <c:strRef>
              <c:f>Sheet1!$C$1</c:f>
              <c:strCache>
                <c:ptCount val="1"/>
                <c:pt idx="0">
                  <c:v>Non-Working</c:v>
                </c:pt>
              </c:strCache>
            </c:strRef>
          </c:tx>
          <c:spPr>
            <a:solidFill>
              <a:schemeClr val="accent3"/>
            </a:solidFill>
            <a:ln>
              <a:noFill/>
            </a:ln>
            <a:effectLst/>
          </c:spPr>
          <c:invertIfNegative val="0"/>
          <c:cat>
            <c:strRef>
              <c:f>Sheet1!$A$2:$A$4</c:f>
              <c:strCache>
                <c:ptCount val="3"/>
                <c:pt idx="0">
                  <c:v>Traditional Media</c:v>
                </c:pt>
                <c:pt idx="1">
                  <c:v>Search / Display</c:v>
                </c:pt>
                <c:pt idx="2">
                  <c:v>Social / Mobile</c:v>
                </c:pt>
              </c:strCache>
            </c:strRef>
          </c:cat>
          <c:val>
            <c:numRef>
              <c:f>Sheet1!$C$2:$C$4</c:f>
              <c:numCache>
                <c:formatCode>0%</c:formatCode>
                <c:ptCount val="3"/>
                <c:pt idx="0">
                  <c:v>0.12</c:v>
                </c:pt>
                <c:pt idx="1">
                  <c:v>0.2</c:v>
                </c:pt>
                <c:pt idx="2">
                  <c:v>0.6</c:v>
                </c:pt>
              </c:numCache>
            </c:numRef>
          </c:val>
          <c:extLst>
            <c:ext xmlns:c16="http://schemas.microsoft.com/office/drawing/2014/chart" uri="{C3380CC4-5D6E-409C-BE32-E72D297353CC}">
              <c16:uniqueId val="{00000001-F9A3-4FB3-AF58-E7B6330198DD}"/>
            </c:ext>
          </c:extLst>
        </c:ser>
        <c:dLbls>
          <c:showLegendKey val="0"/>
          <c:showVal val="0"/>
          <c:showCatName val="0"/>
          <c:showSerName val="0"/>
          <c:showPercent val="0"/>
          <c:showBubbleSize val="0"/>
        </c:dLbls>
        <c:gapWidth val="54"/>
        <c:overlap val="100"/>
        <c:axId val="1097821760"/>
        <c:axId val="1097827008"/>
      </c:barChart>
      <c:catAx>
        <c:axId val="10978217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1" i="0" u="none" strike="noStrike" kern="1200" baseline="0">
                <a:solidFill>
                  <a:schemeClr val="tx1">
                    <a:lumMod val="95000"/>
                    <a:lumOff val="5000"/>
                  </a:schemeClr>
                </a:solidFill>
                <a:latin typeface="+mn-lt"/>
                <a:ea typeface="+mn-ea"/>
                <a:cs typeface="+mn-cs"/>
              </a:defRPr>
            </a:pPr>
            <a:endParaRPr lang="en-US"/>
          </a:p>
        </c:txPr>
        <c:crossAx val="1097827008"/>
        <c:crosses val="autoZero"/>
        <c:auto val="1"/>
        <c:lblAlgn val="ctr"/>
        <c:lblOffset val="100"/>
        <c:noMultiLvlLbl val="0"/>
      </c:catAx>
      <c:valAx>
        <c:axId val="1097827008"/>
        <c:scaling>
          <c:orientation val="minMax"/>
        </c:scaling>
        <c:delete val="1"/>
        <c:axPos val="l"/>
        <c:numFmt formatCode="0%" sourceLinked="1"/>
        <c:majorTickMark val="none"/>
        <c:minorTickMark val="none"/>
        <c:tickLblPos val="nextTo"/>
        <c:crossAx val="1097821760"/>
        <c:crosses val="autoZero"/>
        <c:crossBetween val="between"/>
      </c:valAx>
      <c:spPr>
        <a:noFill/>
        <a:ln>
          <a:noFill/>
        </a:ln>
        <a:effectLst/>
      </c:spPr>
    </c:plotArea>
    <c:legend>
      <c:legendPos val="b"/>
      <c:layout>
        <c:manualLayout>
          <c:xMode val="edge"/>
          <c:yMode val="edge"/>
          <c:x val="5.9087257225456363E-3"/>
          <c:y val="0.8475853910700285"/>
          <c:w val="0.41461309110042738"/>
          <c:h val="8.5893903705739155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1"/>
          <c:order val="0"/>
          <c:tx>
            <c:strRef>
              <c:f>Sheet1!$C$1</c:f>
              <c:strCache>
                <c:ptCount val="1"/>
                <c:pt idx="0">
                  <c:v>Standard</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urrent</c:v>
                </c:pt>
                <c:pt idx="1">
                  <c:v>Proposed</c:v>
                </c:pt>
              </c:strCache>
            </c:strRef>
          </c:cat>
          <c:val>
            <c:numRef>
              <c:f>Sheet1!$C$2:$C$3</c:f>
              <c:numCache>
                <c:formatCode>General</c:formatCode>
                <c:ptCount val="2"/>
                <c:pt idx="0">
                  <c:v>0.61</c:v>
                </c:pt>
                <c:pt idx="1">
                  <c:v>0.28000000000000003</c:v>
                </c:pt>
              </c:numCache>
            </c:numRef>
          </c:val>
          <c:extLst>
            <c:ext xmlns:c16="http://schemas.microsoft.com/office/drawing/2014/chart" uri="{C3380CC4-5D6E-409C-BE32-E72D297353CC}">
              <c16:uniqueId val="{00000000-8CC7-498F-A69D-DE21A5AB60C5}"/>
            </c:ext>
          </c:extLst>
        </c:ser>
        <c:ser>
          <c:idx val="0"/>
          <c:order val="1"/>
          <c:tx>
            <c:strRef>
              <c:f>Sheet1!$B$1</c:f>
              <c:strCache>
                <c:ptCount val="1"/>
                <c:pt idx="0">
                  <c:v>Discretionary</c:v>
                </c:pt>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urrent</c:v>
                </c:pt>
                <c:pt idx="1">
                  <c:v>Proposed</c:v>
                </c:pt>
              </c:strCache>
            </c:strRef>
          </c:cat>
          <c:val>
            <c:numRef>
              <c:f>Sheet1!$B$2:$B$3</c:f>
              <c:numCache>
                <c:formatCode>General</c:formatCode>
                <c:ptCount val="2"/>
                <c:pt idx="0">
                  <c:v>0.39</c:v>
                </c:pt>
                <c:pt idx="1">
                  <c:v>0.72</c:v>
                </c:pt>
              </c:numCache>
            </c:numRef>
          </c:val>
          <c:extLst>
            <c:ext xmlns:c16="http://schemas.microsoft.com/office/drawing/2014/chart" uri="{C3380CC4-5D6E-409C-BE32-E72D297353CC}">
              <c16:uniqueId val="{00000001-8CC7-498F-A69D-DE21A5AB60C5}"/>
            </c:ext>
          </c:extLst>
        </c:ser>
        <c:dLbls>
          <c:dLblPos val="ctr"/>
          <c:showLegendKey val="0"/>
          <c:showVal val="1"/>
          <c:showCatName val="0"/>
          <c:showSerName val="0"/>
          <c:showPercent val="0"/>
          <c:showBubbleSize val="0"/>
        </c:dLbls>
        <c:gapWidth val="36"/>
        <c:overlap val="100"/>
        <c:axId val="662709928"/>
        <c:axId val="662707576"/>
      </c:barChart>
      <c:catAx>
        <c:axId val="6627099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662707576"/>
        <c:crosses val="autoZero"/>
        <c:auto val="1"/>
        <c:lblAlgn val="ctr"/>
        <c:lblOffset val="100"/>
        <c:noMultiLvlLbl val="0"/>
      </c:catAx>
      <c:valAx>
        <c:axId val="662707576"/>
        <c:scaling>
          <c:orientation val="minMax"/>
        </c:scaling>
        <c:delete val="1"/>
        <c:axPos val="l"/>
        <c:numFmt formatCode="General" sourceLinked="1"/>
        <c:majorTickMark val="none"/>
        <c:minorTickMark val="none"/>
        <c:tickLblPos val="nextTo"/>
        <c:crossAx val="66270992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1"/>
          <c:order val="0"/>
          <c:tx>
            <c:strRef>
              <c:f>Sheet1!$C$1</c:f>
              <c:strCache>
                <c:ptCount val="1"/>
                <c:pt idx="0">
                  <c:v>Standard</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urrent</c:v>
                </c:pt>
                <c:pt idx="1">
                  <c:v>Proposed</c:v>
                </c:pt>
              </c:strCache>
            </c:strRef>
          </c:cat>
          <c:val>
            <c:numRef>
              <c:f>Sheet1!$C$2:$C$3</c:f>
              <c:numCache>
                <c:formatCode>General</c:formatCode>
                <c:ptCount val="2"/>
                <c:pt idx="0">
                  <c:v>0.71</c:v>
                </c:pt>
                <c:pt idx="1">
                  <c:v>0.48</c:v>
                </c:pt>
              </c:numCache>
            </c:numRef>
          </c:val>
          <c:extLst>
            <c:ext xmlns:c16="http://schemas.microsoft.com/office/drawing/2014/chart" uri="{C3380CC4-5D6E-409C-BE32-E72D297353CC}">
              <c16:uniqueId val="{00000000-8513-44A5-9B60-CCCF384EB58B}"/>
            </c:ext>
          </c:extLst>
        </c:ser>
        <c:ser>
          <c:idx val="0"/>
          <c:order val="1"/>
          <c:tx>
            <c:strRef>
              <c:f>Sheet1!$B$1</c:f>
              <c:strCache>
                <c:ptCount val="1"/>
                <c:pt idx="0">
                  <c:v>Discretionary</c:v>
                </c:pt>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urrent</c:v>
                </c:pt>
                <c:pt idx="1">
                  <c:v>Proposed</c:v>
                </c:pt>
              </c:strCache>
            </c:strRef>
          </c:cat>
          <c:val>
            <c:numRef>
              <c:f>Sheet1!$B$2:$B$3</c:f>
              <c:numCache>
                <c:formatCode>General</c:formatCode>
                <c:ptCount val="2"/>
                <c:pt idx="0">
                  <c:v>0.28999999999999998</c:v>
                </c:pt>
                <c:pt idx="1">
                  <c:v>0.52</c:v>
                </c:pt>
              </c:numCache>
            </c:numRef>
          </c:val>
          <c:extLst>
            <c:ext xmlns:c16="http://schemas.microsoft.com/office/drawing/2014/chart" uri="{C3380CC4-5D6E-409C-BE32-E72D297353CC}">
              <c16:uniqueId val="{00000001-8513-44A5-9B60-CCCF384EB58B}"/>
            </c:ext>
          </c:extLst>
        </c:ser>
        <c:dLbls>
          <c:dLblPos val="ctr"/>
          <c:showLegendKey val="0"/>
          <c:showVal val="1"/>
          <c:showCatName val="0"/>
          <c:showSerName val="0"/>
          <c:showPercent val="0"/>
          <c:showBubbleSize val="0"/>
        </c:dLbls>
        <c:gapWidth val="36"/>
        <c:overlap val="100"/>
        <c:axId val="662702480"/>
        <c:axId val="662704832"/>
      </c:barChart>
      <c:catAx>
        <c:axId val="6627024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662704832"/>
        <c:crosses val="autoZero"/>
        <c:auto val="1"/>
        <c:lblAlgn val="ctr"/>
        <c:lblOffset val="100"/>
        <c:noMultiLvlLbl val="0"/>
      </c:catAx>
      <c:valAx>
        <c:axId val="662704832"/>
        <c:scaling>
          <c:orientation val="minMax"/>
        </c:scaling>
        <c:delete val="1"/>
        <c:axPos val="l"/>
        <c:numFmt formatCode="General" sourceLinked="1"/>
        <c:majorTickMark val="none"/>
        <c:minorTickMark val="none"/>
        <c:tickLblPos val="nextTo"/>
        <c:crossAx val="66270248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sz="1400" b="1" dirty="0"/>
              <a:t>PURCHASE CHANNEL</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Channel</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Local Dealer</c:v>
                </c:pt>
                <c:pt idx="1">
                  <c:v>Online Dealer</c:v>
                </c:pt>
                <c:pt idx="2">
                  <c:v>Previous Owner</c:v>
                </c:pt>
              </c:strCache>
            </c:strRef>
          </c:cat>
          <c:val>
            <c:numRef>
              <c:f>Sheet1!$B$2:$B$4</c:f>
              <c:numCache>
                <c:formatCode>General</c:formatCode>
                <c:ptCount val="3"/>
                <c:pt idx="0">
                  <c:v>11</c:v>
                </c:pt>
                <c:pt idx="1">
                  <c:v>3</c:v>
                </c:pt>
                <c:pt idx="2">
                  <c:v>2</c:v>
                </c:pt>
              </c:numCache>
            </c:numRef>
          </c:val>
          <c:extLst>
            <c:ext xmlns:c16="http://schemas.microsoft.com/office/drawing/2014/chart" uri="{C3380CC4-5D6E-409C-BE32-E72D297353CC}">
              <c16:uniqueId val="{00000000-94A9-4A5D-A457-87D7A0B4A3AF}"/>
            </c:ext>
          </c:extLst>
        </c:ser>
        <c:dLbls>
          <c:showLegendKey val="0"/>
          <c:showVal val="0"/>
          <c:showCatName val="0"/>
          <c:showSerName val="0"/>
          <c:showPercent val="0"/>
          <c:showBubbleSize val="0"/>
        </c:dLbls>
        <c:gapWidth val="100"/>
        <c:overlap val="-27"/>
        <c:axId val="673380416"/>
        <c:axId val="673382712"/>
      </c:barChart>
      <c:catAx>
        <c:axId val="6733804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1" i="0" u="none" strike="noStrike" kern="1200" baseline="0">
                <a:solidFill>
                  <a:schemeClr val="tx1">
                    <a:lumMod val="65000"/>
                    <a:lumOff val="35000"/>
                  </a:schemeClr>
                </a:solidFill>
                <a:latin typeface="+mn-lt"/>
                <a:ea typeface="+mn-ea"/>
                <a:cs typeface="+mn-cs"/>
              </a:defRPr>
            </a:pPr>
            <a:endParaRPr lang="en-US"/>
          </a:p>
        </c:txPr>
        <c:crossAx val="673382712"/>
        <c:crosses val="autoZero"/>
        <c:auto val="1"/>
        <c:lblAlgn val="ctr"/>
        <c:lblOffset val="100"/>
        <c:noMultiLvlLbl val="0"/>
      </c:catAx>
      <c:valAx>
        <c:axId val="673382712"/>
        <c:scaling>
          <c:orientation val="minMax"/>
        </c:scaling>
        <c:delete val="1"/>
        <c:axPos val="l"/>
        <c:numFmt formatCode="General" sourceLinked="1"/>
        <c:majorTickMark val="none"/>
        <c:minorTickMark val="none"/>
        <c:tickLblPos val="nextTo"/>
        <c:crossAx val="673380416"/>
        <c:crosses val="autoZero"/>
        <c:crossBetween val="between"/>
      </c:valAx>
      <c:spPr>
        <a:noFill/>
        <a:ln>
          <a:noFill/>
        </a:ln>
        <a:effectLst/>
      </c:spPr>
    </c:plotArea>
    <c:plotVisOnly val="1"/>
    <c:dispBlanksAs val="gap"/>
    <c:showDLblsOverMax val="0"/>
  </c:chart>
  <c:spPr>
    <a:noFill/>
    <a:ln>
      <a:noFill/>
    </a:ln>
    <a:effectLst/>
  </c:spPr>
  <c:txPr>
    <a:bodyPr/>
    <a:lstStyle/>
    <a:p>
      <a:pPr>
        <a:defRPr sz="900"/>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1"/>
          <c:order val="0"/>
          <c:tx>
            <c:strRef>
              <c:f>Sheet1!$C$1</c:f>
              <c:strCache>
                <c:ptCount val="1"/>
                <c:pt idx="0">
                  <c:v>Standard</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urrent</c:v>
                </c:pt>
                <c:pt idx="1">
                  <c:v>Proposed</c:v>
                </c:pt>
              </c:strCache>
            </c:strRef>
          </c:cat>
          <c:val>
            <c:numRef>
              <c:f>Sheet1!$C$2:$C$3</c:f>
              <c:numCache>
                <c:formatCode>General</c:formatCode>
                <c:ptCount val="2"/>
                <c:pt idx="0">
                  <c:v>0.89</c:v>
                </c:pt>
                <c:pt idx="1">
                  <c:v>0.56000000000000005</c:v>
                </c:pt>
              </c:numCache>
            </c:numRef>
          </c:val>
          <c:extLst>
            <c:ext xmlns:c16="http://schemas.microsoft.com/office/drawing/2014/chart" uri="{C3380CC4-5D6E-409C-BE32-E72D297353CC}">
              <c16:uniqueId val="{00000000-4B1D-4DA7-BA20-4A8E9159C16E}"/>
            </c:ext>
          </c:extLst>
        </c:ser>
        <c:ser>
          <c:idx val="0"/>
          <c:order val="1"/>
          <c:tx>
            <c:strRef>
              <c:f>Sheet1!$B$1</c:f>
              <c:strCache>
                <c:ptCount val="1"/>
                <c:pt idx="0">
                  <c:v>Discretionary</c:v>
                </c:pt>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urrent</c:v>
                </c:pt>
                <c:pt idx="1">
                  <c:v>Proposed</c:v>
                </c:pt>
              </c:strCache>
            </c:strRef>
          </c:cat>
          <c:val>
            <c:numRef>
              <c:f>Sheet1!$B$2:$B$3</c:f>
              <c:numCache>
                <c:formatCode>General</c:formatCode>
                <c:ptCount val="2"/>
                <c:pt idx="0">
                  <c:v>0.11</c:v>
                </c:pt>
                <c:pt idx="1">
                  <c:v>0.44</c:v>
                </c:pt>
              </c:numCache>
            </c:numRef>
          </c:val>
          <c:extLst>
            <c:ext xmlns:c16="http://schemas.microsoft.com/office/drawing/2014/chart" uri="{C3380CC4-5D6E-409C-BE32-E72D297353CC}">
              <c16:uniqueId val="{00000001-4B1D-4DA7-BA20-4A8E9159C16E}"/>
            </c:ext>
          </c:extLst>
        </c:ser>
        <c:dLbls>
          <c:dLblPos val="ctr"/>
          <c:showLegendKey val="0"/>
          <c:showVal val="1"/>
          <c:showCatName val="0"/>
          <c:showSerName val="0"/>
          <c:showPercent val="0"/>
          <c:showBubbleSize val="0"/>
        </c:dLbls>
        <c:gapWidth val="36"/>
        <c:overlap val="100"/>
        <c:axId val="662702872"/>
        <c:axId val="662706400"/>
      </c:barChart>
      <c:catAx>
        <c:axId val="6627028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662706400"/>
        <c:crosses val="autoZero"/>
        <c:auto val="1"/>
        <c:lblAlgn val="ctr"/>
        <c:lblOffset val="100"/>
        <c:noMultiLvlLbl val="0"/>
      </c:catAx>
      <c:valAx>
        <c:axId val="662706400"/>
        <c:scaling>
          <c:orientation val="minMax"/>
        </c:scaling>
        <c:delete val="1"/>
        <c:axPos val="l"/>
        <c:numFmt formatCode="General" sourceLinked="1"/>
        <c:majorTickMark val="none"/>
        <c:minorTickMark val="none"/>
        <c:tickLblPos val="nextTo"/>
        <c:crossAx val="66270287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1"/>
          <c:order val="0"/>
          <c:tx>
            <c:strRef>
              <c:f>Sheet1!$C$1</c:f>
              <c:strCache>
                <c:ptCount val="1"/>
                <c:pt idx="0">
                  <c:v>Standard</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urrent</c:v>
                </c:pt>
                <c:pt idx="1">
                  <c:v>Proposed</c:v>
                </c:pt>
              </c:strCache>
            </c:strRef>
          </c:cat>
          <c:val>
            <c:numRef>
              <c:f>Sheet1!$C$2:$C$3</c:f>
              <c:numCache>
                <c:formatCode>General</c:formatCode>
                <c:ptCount val="2"/>
                <c:pt idx="0">
                  <c:v>0.82</c:v>
                </c:pt>
                <c:pt idx="1">
                  <c:v>0.72</c:v>
                </c:pt>
              </c:numCache>
            </c:numRef>
          </c:val>
          <c:extLst>
            <c:ext xmlns:c16="http://schemas.microsoft.com/office/drawing/2014/chart" uri="{C3380CC4-5D6E-409C-BE32-E72D297353CC}">
              <c16:uniqueId val="{00000000-2657-438D-8F83-F20AB221A632}"/>
            </c:ext>
          </c:extLst>
        </c:ser>
        <c:ser>
          <c:idx val="0"/>
          <c:order val="1"/>
          <c:tx>
            <c:strRef>
              <c:f>Sheet1!$B$1</c:f>
              <c:strCache>
                <c:ptCount val="1"/>
                <c:pt idx="0">
                  <c:v>Discretionary</c:v>
                </c:pt>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urrent</c:v>
                </c:pt>
                <c:pt idx="1">
                  <c:v>Proposed</c:v>
                </c:pt>
              </c:strCache>
            </c:strRef>
          </c:cat>
          <c:val>
            <c:numRef>
              <c:f>Sheet1!$B$2:$B$3</c:f>
              <c:numCache>
                <c:formatCode>General</c:formatCode>
                <c:ptCount val="2"/>
                <c:pt idx="0">
                  <c:v>0.18</c:v>
                </c:pt>
                <c:pt idx="1">
                  <c:v>0.28000000000000003</c:v>
                </c:pt>
              </c:numCache>
            </c:numRef>
          </c:val>
          <c:extLst>
            <c:ext xmlns:c16="http://schemas.microsoft.com/office/drawing/2014/chart" uri="{C3380CC4-5D6E-409C-BE32-E72D297353CC}">
              <c16:uniqueId val="{00000001-2657-438D-8F83-F20AB221A632}"/>
            </c:ext>
          </c:extLst>
        </c:ser>
        <c:dLbls>
          <c:dLblPos val="ctr"/>
          <c:showLegendKey val="0"/>
          <c:showVal val="1"/>
          <c:showCatName val="0"/>
          <c:showSerName val="0"/>
          <c:showPercent val="0"/>
          <c:showBubbleSize val="0"/>
        </c:dLbls>
        <c:gapWidth val="36"/>
        <c:overlap val="100"/>
        <c:axId val="662704048"/>
        <c:axId val="662700520"/>
      </c:barChart>
      <c:catAx>
        <c:axId val="6627040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662700520"/>
        <c:crosses val="autoZero"/>
        <c:auto val="1"/>
        <c:lblAlgn val="ctr"/>
        <c:lblOffset val="100"/>
        <c:noMultiLvlLbl val="0"/>
      </c:catAx>
      <c:valAx>
        <c:axId val="662700520"/>
        <c:scaling>
          <c:orientation val="minMax"/>
        </c:scaling>
        <c:delete val="1"/>
        <c:axPos val="l"/>
        <c:numFmt formatCode="General" sourceLinked="1"/>
        <c:majorTickMark val="none"/>
        <c:minorTickMark val="none"/>
        <c:tickLblPos val="nextTo"/>
        <c:crossAx val="66270404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1"/>
          <c:order val="0"/>
          <c:tx>
            <c:strRef>
              <c:f>Sheet1!$C$1</c:f>
              <c:strCache>
                <c:ptCount val="1"/>
                <c:pt idx="0">
                  <c:v>Standard</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urrent</c:v>
                </c:pt>
                <c:pt idx="1">
                  <c:v>Proposed</c:v>
                </c:pt>
              </c:strCache>
            </c:strRef>
          </c:cat>
          <c:val>
            <c:numRef>
              <c:f>Sheet1!$C$2:$C$3</c:f>
              <c:numCache>
                <c:formatCode>General</c:formatCode>
                <c:ptCount val="2"/>
                <c:pt idx="0">
                  <c:v>0.84</c:v>
                </c:pt>
                <c:pt idx="1">
                  <c:v>0.64</c:v>
                </c:pt>
              </c:numCache>
            </c:numRef>
          </c:val>
          <c:extLst>
            <c:ext xmlns:c16="http://schemas.microsoft.com/office/drawing/2014/chart" uri="{C3380CC4-5D6E-409C-BE32-E72D297353CC}">
              <c16:uniqueId val="{00000000-DBFE-47D3-AD69-17BE3F909FB1}"/>
            </c:ext>
          </c:extLst>
        </c:ser>
        <c:ser>
          <c:idx val="0"/>
          <c:order val="1"/>
          <c:tx>
            <c:strRef>
              <c:f>Sheet1!$B$1</c:f>
              <c:strCache>
                <c:ptCount val="1"/>
                <c:pt idx="0">
                  <c:v>Discretionary</c:v>
                </c:pt>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urrent</c:v>
                </c:pt>
                <c:pt idx="1">
                  <c:v>Proposed</c:v>
                </c:pt>
              </c:strCache>
            </c:strRef>
          </c:cat>
          <c:val>
            <c:numRef>
              <c:f>Sheet1!$B$2:$B$3</c:f>
              <c:numCache>
                <c:formatCode>General</c:formatCode>
                <c:ptCount val="2"/>
                <c:pt idx="0">
                  <c:v>0.16</c:v>
                </c:pt>
                <c:pt idx="1">
                  <c:v>0.36</c:v>
                </c:pt>
              </c:numCache>
            </c:numRef>
          </c:val>
          <c:extLst>
            <c:ext xmlns:c16="http://schemas.microsoft.com/office/drawing/2014/chart" uri="{C3380CC4-5D6E-409C-BE32-E72D297353CC}">
              <c16:uniqueId val="{00000001-DBFE-47D3-AD69-17BE3F909FB1}"/>
            </c:ext>
          </c:extLst>
        </c:ser>
        <c:dLbls>
          <c:dLblPos val="ctr"/>
          <c:showLegendKey val="0"/>
          <c:showVal val="1"/>
          <c:showCatName val="0"/>
          <c:showSerName val="0"/>
          <c:showPercent val="0"/>
          <c:showBubbleSize val="0"/>
        </c:dLbls>
        <c:gapWidth val="36"/>
        <c:overlap val="100"/>
        <c:axId val="662712280"/>
        <c:axId val="662706792"/>
      </c:barChart>
      <c:catAx>
        <c:axId val="6627122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662706792"/>
        <c:crosses val="autoZero"/>
        <c:auto val="1"/>
        <c:lblAlgn val="ctr"/>
        <c:lblOffset val="100"/>
        <c:noMultiLvlLbl val="0"/>
      </c:catAx>
      <c:valAx>
        <c:axId val="662706792"/>
        <c:scaling>
          <c:orientation val="minMax"/>
        </c:scaling>
        <c:delete val="1"/>
        <c:axPos val="l"/>
        <c:numFmt formatCode="General" sourceLinked="1"/>
        <c:majorTickMark val="none"/>
        <c:minorTickMark val="none"/>
        <c:tickLblPos val="nextTo"/>
        <c:crossAx val="66271228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1"/>
          <c:order val="0"/>
          <c:tx>
            <c:strRef>
              <c:f>Sheet1!$C$1</c:f>
              <c:strCache>
                <c:ptCount val="1"/>
                <c:pt idx="0">
                  <c:v>Standard</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urrent</c:v>
                </c:pt>
                <c:pt idx="1">
                  <c:v>Proposed</c:v>
                </c:pt>
              </c:strCache>
            </c:strRef>
          </c:cat>
          <c:val>
            <c:numRef>
              <c:f>Sheet1!$C$2:$C$3</c:f>
              <c:numCache>
                <c:formatCode>General</c:formatCode>
                <c:ptCount val="2"/>
                <c:pt idx="0">
                  <c:v>0.36</c:v>
                </c:pt>
                <c:pt idx="1">
                  <c:v>0.71</c:v>
                </c:pt>
              </c:numCache>
            </c:numRef>
          </c:val>
          <c:extLst>
            <c:ext xmlns:c16="http://schemas.microsoft.com/office/drawing/2014/chart" uri="{C3380CC4-5D6E-409C-BE32-E72D297353CC}">
              <c16:uniqueId val="{00000000-4766-46D3-B09D-99FC51B28130}"/>
            </c:ext>
          </c:extLst>
        </c:ser>
        <c:ser>
          <c:idx val="0"/>
          <c:order val="1"/>
          <c:tx>
            <c:strRef>
              <c:f>Sheet1!$B$1</c:f>
              <c:strCache>
                <c:ptCount val="1"/>
                <c:pt idx="0">
                  <c:v>Discretionary</c:v>
                </c:pt>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urrent</c:v>
                </c:pt>
                <c:pt idx="1">
                  <c:v>Proposed</c:v>
                </c:pt>
              </c:strCache>
            </c:strRef>
          </c:cat>
          <c:val>
            <c:numRef>
              <c:f>Sheet1!$B$2:$B$3</c:f>
              <c:numCache>
                <c:formatCode>General</c:formatCode>
                <c:ptCount val="2"/>
                <c:pt idx="0">
                  <c:v>0.64</c:v>
                </c:pt>
                <c:pt idx="1">
                  <c:v>0.28999999999999998</c:v>
                </c:pt>
              </c:numCache>
            </c:numRef>
          </c:val>
          <c:extLst>
            <c:ext xmlns:c16="http://schemas.microsoft.com/office/drawing/2014/chart" uri="{C3380CC4-5D6E-409C-BE32-E72D297353CC}">
              <c16:uniqueId val="{00000001-4766-46D3-B09D-99FC51B28130}"/>
            </c:ext>
          </c:extLst>
        </c:ser>
        <c:dLbls>
          <c:dLblPos val="ctr"/>
          <c:showLegendKey val="0"/>
          <c:showVal val="1"/>
          <c:showCatName val="0"/>
          <c:showSerName val="0"/>
          <c:showPercent val="0"/>
          <c:showBubbleSize val="0"/>
        </c:dLbls>
        <c:gapWidth val="36"/>
        <c:overlap val="100"/>
        <c:axId val="662700912"/>
        <c:axId val="662701304"/>
      </c:barChart>
      <c:catAx>
        <c:axId val="6627009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662701304"/>
        <c:crosses val="autoZero"/>
        <c:auto val="1"/>
        <c:lblAlgn val="ctr"/>
        <c:lblOffset val="100"/>
        <c:noMultiLvlLbl val="0"/>
      </c:catAx>
      <c:valAx>
        <c:axId val="662701304"/>
        <c:scaling>
          <c:orientation val="minMax"/>
        </c:scaling>
        <c:delete val="1"/>
        <c:axPos val="l"/>
        <c:numFmt formatCode="General" sourceLinked="1"/>
        <c:majorTickMark val="none"/>
        <c:minorTickMark val="none"/>
        <c:tickLblPos val="nextTo"/>
        <c:crossAx val="66270091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9642528773029571"/>
          <c:h val="1"/>
        </c:manualLayout>
      </c:layout>
      <c:doughnutChart>
        <c:varyColors val="1"/>
        <c:ser>
          <c:idx val="0"/>
          <c:order val="0"/>
          <c:tx>
            <c:strRef>
              <c:f>Sheet1!$B$1</c:f>
              <c:strCache>
                <c:ptCount val="1"/>
                <c:pt idx="0">
                  <c:v>%</c:v>
                </c:pt>
              </c:strCache>
            </c:strRef>
          </c:tx>
          <c:spPr>
            <a:ln>
              <a:noFill/>
            </a:ln>
          </c:spPr>
          <c:dPt>
            <c:idx val="0"/>
            <c:bubble3D val="0"/>
            <c:spPr>
              <a:solidFill>
                <a:srgbClr val="86F200"/>
              </a:solidFill>
              <a:ln w="19050">
                <a:noFill/>
              </a:ln>
              <a:effectLst/>
            </c:spPr>
            <c:extLst>
              <c:ext xmlns:c16="http://schemas.microsoft.com/office/drawing/2014/chart" uri="{C3380CC4-5D6E-409C-BE32-E72D297353CC}">
                <c16:uniqueId val="{00000001-BA4E-4D83-9BF4-7E49E5E27308}"/>
              </c:ext>
            </c:extLst>
          </c:dPt>
          <c:dPt>
            <c:idx val="1"/>
            <c:bubble3D val="0"/>
            <c:spPr>
              <a:solidFill>
                <a:schemeClr val="bg1">
                  <a:lumMod val="75000"/>
                </a:schemeClr>
              </a:solidFill>
              <a:ln w="19050">
                <a:noFill/>
              </a:ln>
              <a:effectLst/>
            </c:spPr>
            <c:extLst>
              <c:ext xmlns:c16="http://schemas.microsoft.com/office/drawing/2014/chart" uri="{C3380CC4-5D6E-409C-BE32-E72D297353CC}">
                <c16:uniqueId val="{00000003-BA4E-4D83-9BF4-7E49E5E27308}"/>
              </c:ext>
            </c:extLst>
          </c:dPt>
          <c:cat>
            <c:strRef>
              <c:f>Sheet1!$A$2:$A$3</c:f>
              <c:strCache>
                <c:ptCount val="2"/>
                <c:pt idx="0">
                  <c:v>Yes</c:v>
                </c:pt>
                <c:pt idx="1">
                  <c:v>No</c:v>
                </c:pt>
              </c:strCache>
            </c:strRef>
          </c:cat>
          <c:val>
            <c:numRef>
              <c:f>Sheet1!$B$2:$B$3</c:f>
              <c:numCache>
                <c:formatCode>General</c:formatCode>
                <c:ptCount val="2"/>
                <c:pt idx="0">
                  <c:v>91</c:v>
                </c:pt>
                <c:pt idx="1">
                  <c:v>9</c:v>
                </c:pt>
              </c:numCache>
            </c:numRef>
          </c:val>
          <c:extLst>
            <c:ext xmlns:c16="http://schemas.microsoft.com/office/drawing/2014/chart" uri="{C3380CC4-5D6E-409C-BE32-E72D297353CC}">
              <c16:uniqueId val="{00000004-BA4E-4D83-9BF4-7E49E5E27308}"/>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1131376520077149E-3"/>
          <c:w val="0.86943298183069007"/>
          <c:h val="0.8603308734923738"/>
        </c:manualLayout>
      </c:layout>
      <c:barChart>
        <c:barDir val="bar"/>
        <c:grouping val="stacked"/>
        <c:varyColors val="0"/>
        <c:ser>
          <c:idx val="0"/>
          <c:order val="0"/>
          <c:tx>
            <c:strRef>
              <c:f>Sheet1!$B$1</c:f>
              <c:strCache>
                <c:ptCount val="1"/>
                <c:pt idx="0">
                  <c:v>Yes</c:v>
                </c:pt>
              </c:strCache>
            </c:strRef>
          </c:tx>
          <c:spPr>
            <a:solidFill>
              <a:schemeClr val="accent1"/>
            </a:solidFill>
            <a:ln>
              <a:no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0-113D-4D35-B591-57FBFED9547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Target Setting</c:v>
                </c:pt>
                <c:pt idx="1">
                  <c:v>Account Planning</c:v>
                </c:pt>
                <c:pt idx="2">
                  <c:v>Program / Scenario Planning</c:v>
                </c:pt>
                <c:pt idx="3">
                  <c:v>Trade Fund Management</c:v>
                </c:pt>
                <c:pt idx="4">
                  <c:v>Master Data / Systems Setup / Security</c:v>
                </c:pt>
                <c:pt idx="5">
                  <c:v>Accruals, Settlements, &amp; Execution</c:v>
                </c:pt>
              </c:strCache>
            </c:strRef>
          </c:cat>
          <c:val>
            <c:numRef>
              <c:f>Sheet1!$B$2:$B$7</c:f>
              <c:numCache>
                <c:formatCode>0%</c:formatCode>
                <c:ptCount val="6"/>
                <c:pt idx="0">
                  <c:v>0.88</c:v>
                </c:pt>
                <c:pt idx="1">
                  <c:v>0.88570000000000004</c:v>
                </c:pt>
                <c:pt idx="2">
                  <c:v>0.87949999999999995</c:v>
                </c:pt>
                <c:pt idx="3">
                  <c:v>1</c:v>
                </c:pt>
                <c:pt idx="4">
                  <c:v>0.98</c:v>
                </c:pt>
                <c:pt idx="5" formatCode="0.0%">
                  <c:v>0</c:v>
                </c:pt>
              </c:numCache>
            </c:numRef>
          </c:val>
          <c:extLst>
            <c:ext xmlns:c16="http://schemas.microsoft.com/office/drawing/2014/chart" uri="{C3380CC4-5D6E-409C-BE32-E72D297353CC}">
              <c16:uniqueId val="{00000001-113D-4D35-B591-57FBFED9547F}"/>
            </c:ext>
          </c:extLst>
        </c:ser>
        <c:ser>
          <c:idx val="1"/>
          <c:order val="1"/>
          <c:tx>
            <c:strRef>
              <c:f>Sheet1!$C$1</c:f>
              <c:strCache>
                <c:ptCount val="1"/>
                <c:pt idx="0">
                  <c:v>No</c:v>
                </c:pt>
              </c:strCache>
            </c:strRef>
          </c:tx>
          <c:spPr>
            <a:solidFill>
              <a:schemeClr val="accent2"/>
            </a:solidFill>
            <a:ln>
              <a:noFill/>
            </a:ln>
            <a:effectLst/>
          </c:spPr>
          <c:invertIfNegative val="0"/>
          <c:dLbls>
            <c:dLbl>
              <c:idx val="0"/>
              <c:layout>
                <c:manualLayout>
                  <c:x val="-6.4923645702974833E-3"/>
                  <c:y val="6.3128614361710059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13D-4D35-B591-57FBFED9547F}"/>
                </c:ext>
              </c:extLst>
            </c:dLbl>
            <c:dLbl>
              <c:idx val="3"/>
              <c:delete val="1"/>
              <c:extLst>
                <c:ext xmlns:c15="http://schemas.microsoft.com/office/drawing/2012/chart" uri="{CE6537A1-D6FC-4f65-9D91-7224C49458BB}"/>
                <c:ext xmlns:c16="http://schemas.microsoft.com/office/drawing/2014/chart" uri="{C3380CC4-5D6E-409C-BE32-E72D297353CC}">
                  <c16:uniqueId val="{00000003-113D-4D35-B591-57FBFED9547F}"/>
                </c:ext>
              </c:extLst>
            </c:dLbl>
            <c:dLbl>
              <c:idx val="4"/>
              <c:layout>
                <c:manualLayout>
                  <c:x val="-1.9477093710892568E-2"/>
                  <c:y val="1.1573445602215646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13D-4D35-B591-57FBFED9547F}"/>
                </c:ext>
              </c:extLst>
            </c:dLbl>
            <c:dLbl>
              <c:idx val="5"/>
              <c:delete val="1"/>
              <c:extLst>
                <c:ext xmlns:c15="http://schemas.microsoft.com/office/drawing/2012/chart" uri="{CE6537A1-D6FC-4f65-9D91-7224C49458BB}"/>
                <c:ext xmlns:c16="http://schemas.microsoft.com/office/drawing/2014/chart" uri="{C3380CC4-5D6E-409C-BE32-E72D297353CC}">
                  <c16:uniqueId val="{00000005-113D-4D35-B591-57FBFED9547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Target Setting</c:v>
                </c:pt>
                <c:pt idx="1">
                  <c:v>Account Planning</c:v>
                </c:pt>
                <c:pt idx="2">
                  <c:v>Program / Scenario Planning</c:v>
                </c:pt>
                <c:pt idx="3">
                  <c:v>Trade Fund Management</c:v>
                </c:pt>
                <c:pt idx="4">
                  <c:v>Master Data / Systems Setup / Security</c:v>
                </c:pt>
                <c:pt idx="5">
                  <c:v>Accruals, Settlements, &amp; Execution</c:v>
                </c:pt>
              </c:strCache>
            </c:strRef>
          </c:cat>
          <c:val>
            <c:numRef>
              <c:f>Sheet1!$C$2:$C$7</c:f>
              <c:numCache>
                <c:formatCode>0%</c:formatCode>
                <c:ptCount val="6"/>
                <c:pt idx="0">
                  <c:v>0.12</c:v>
                </c:pt>
                <c:pt idx="1">
                  <c:v>0.1143</c:v>
                </c:pt>
                <c:pt idx="2">
                  <c:v>0.1205</c:v>
                </c:pt>
                <c:pt idx="3">
                  <c:v>0</c:v>
                </c:pt>
                <c:pt idx="4">
                  <c:v>0.02</c:v>
                </c:pt>
                <c:pt idx="5" formatCode="0.0%">
                  <c:v>0</c:v>
                </c:pt>
              </c:numCache>
            </c:numRef>
          </c:val>
          <c:extLst>
            <c:ext xmlns:c16="http://schemas.microsoft.com/office/drawing/2014/chart" uri="{C3380CC4-5D6E-409C-BE32-E72D297353CC}">
              <c16:uniqueId val="{00000006-113D-4D35-B591-57FBFED9547F}"/>
            </c:ext>
          </c:extLst>
        </c:ser>
        <c:ser>
          <c:idx val="2"/>
          <c:order val="2"/>
          <c:tx>
            <c:strRef>
              <c:f>Sheet1!$D$1</c:f>
              <c:strCache>
                <c:ptCount val="1"/>
                <c:pt idx="0">
                  <c:v>New</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Target Setting</c:v>
                </c:pt>
                <c:pt idx="1">
                  <c:v>Account Planning</c:v>
                </c:pt>
                <c:pt idx="2">
                  <c:v>Program / Scenario Planning</c:v>
                </c:pt>
                <c:pt idx="3">
                  <c:v>Trade Fund Management</c:v>
                </c:pt>
                <c:pt idx="4">
                  <c:v>Master Data / Systems Setup / Security</c:v>
                </c:pt>
                <c:pt idx="5">
                  <c:v>Accruals, Settlements, &amp; Execution</c:v>
                </c:pt>
              </c:strCache>
            </c:strRef>
          </c:cat>
          <c:val>
            <c:numRef>
              <c:f>Sheet1!$D$2:$D$7</c:f>
              <c:numCache>
                <c:formatCode>0%</c:formatCode>
                <c:ptCount val="6"/>
                <c:pt idx="0">
                  <c:v>0.36</c:v>
                </c:pt>
                <c:pt idx="1">
                  <c:v>0.15714285714285714</c:v>
                </c:pt>
                <c:pt idx="2">
                  <c:v>0.12048192771084337</c:v>
                </c:pt>
                <c:pt idx="3">
                  <c:v>0.3</c:v>
                </c:pt>
                <c:pt idx="4">
                  <c:v>0.16</c:v>
                </c:pt>
                <c:pt idx="5" formatCode="General">
                  <c:v>0</c:v>
                </c:pt>
              </c:numCache>
            </c:numRef>
          </c:val>
          <c:extLst>
            <c:ext xmlns:c16="http://schemas.microsoft.com/office/drawing/2014/chart" uri="{C3380CC4-5D6E-409C-BE32-E72D297353CC}">
              <c16:uniqueId val="{00000007-113D-4D35-B591-57FBFED9547F}"/>
            </c:ext>
          </c:extLst>
        </c:ser>
        <c:dLbls>
          <c:showLegendKey val="0"/>
          <c:showVal val="0"/>
          <c:showCatName val="0"/>
          <c:showSerName val="0"/>
          <c:showPercent val="0"/>
          <c:showBubbleSize val="0"/>
        </c:dLbls>
        <c:gapWidth val="20"/>
        <c:overlap val="100"/>
        <c:axId val="568345000"/>
        <c:axId val="568337944"/>
      </c:barChart>
      <c:catAx>
        <c:axId val="568345000"/>
        <c:scaling>
          <c:orientation val="maxMin"/>
        </c:scaling>
        <c:delete val="1"/>
        <c:axPos val="l"/>
        <c:numFmt formatCode="General" sourceLinked="1"/>
        <c:majorTickMark val="out"/>
        <c:minorTickMark val="none"/>
        <c:tickLblPos val="nextTo"/>
        <c:crossAx val="568337944"/>
        <c:crosses val="autoZero"/>
        <c:auto val="1"/>
        <c:lblAlgn val="ctr"/>
        <c:lblOffset val="100"/>
        <c:noMultiLvlLbl val="0"/>
      </c:catAx>
      <c:valAx>
        <c:axId val="568337944"/>
        <c:scaling>
          <c:orientation val="minMax"/>
        </c:scaling>
        <c:delete val="0"/>
        <c:axPos val="t"/>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568345000"/>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tx2"/>
          </a:solidFill>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393199960691542E-2"/>
          <c:y val="3.9385607083883452E-2"/>
          <c:w val="0.8653756191692108"/>
          <c:h val="0.65819974789828306"/>
        </c:manualLayout>
      </c:layout>
      <c:areaChart>
        <c:grouping val="stacked"/>
        <c:varyColors val="0"/>
        <c:ser>
          <c:idx val="0"/>
          <c:order val="0"/>
          <c:tx>
            <c:strRef>
              <c:f>Sheet1!$B$1</c:f>
              <c:strCache>
                <c:ptCount val="1"/>
                <c:pt idx="0">
                  <c:v>Parking</c:v>
                </c:pt>
              </c:strCache>
            </c:strRef>
          </c:tx>
          <c:spPr>
            <a:solidFill>
              <a:schemeClr val="tx1"/>
            </a:solidFill>
            <a:ln>
              <a:noFill/>
            </a:ln>
            <a:effectLst>
              <a:outerShdw blurRad="40000" dist="23000" dir="5400000" rotWithShape="0">
                <a:srgbClr val="000000">
                  <a:alpha val="35000"/>
                </a:srgbClr>
              </a:outerShdw>
            </a:effectLst>
          </c:spPr>
          <c:cat>
            <c:numRef>
              <c:f>Sheet1!$A$2:$A$11</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Sheet1!$B$2:$B$11</c:f>
              <c:numCache>
                <c:formatCode>"$"#,##0_);[Red]\("$"#,##0\)</c:formatCode>
                <c:ptCount val="10"/>
                <c:pt idx="0">
                  <c:v>0</c:v>
                </c:pt>
                <c:pt idx="1">
                  <c:v>38071.012199999997</c:v>
                </c:pt>
                <c:pt idx="2">
                  <c:v>101276.69685873706</c:v>
                </c:pt>
                <c:pt idx="3">
                  <c:v>171325.36374066921</c:v>
                </c:pt>
                <c:pt idx="4">
                  <c:v>236449.50445510348</c:v>
                </c:pt>
                <c:pt idx="5">
                  <c:v>252243.92456594782</c:v>
                </c:pt>
                <c:pt idx="6">
                  <c:v>253868.03918804281</c:v>
                </c:pt>
                <c:pt idx="7">
                  <c:v>253868.03918804281</c:v>
                </c:pt>
                <c:pt idx="8">
                  <c:v>253868.03918804281</c:v>
                </c:pt>
                <c:pt idx="9">
                  <c:v>255495.36297483576</c:v>
                </c:pt>
              </c:numCache>
            </c:numRef>
          </c:val>
          <c:extLst>
            <c:ext xmlns:c16="http://schemas.microsoft.com/office/drawing/2014/chart" uri="{C3380CC4-5D6E-409C-BE32-E72D297353CC}">
              <c16:uniqueId val="{00000000-A2B4-4444-9BBF-B07174ADA4C6}"/>
            </c:ext>
          </c:extLst>
        </c:ser>
        <c:ser>
          <c:idx val="1"/>
          <c:order val="1"/>
          <c:tx>
            <c:strRef>
              <c:f>Sheet1!$C$1</c:f>
              <c:strCache>
                <c:ptCount val="1"/>
                <c:pt idx="0">
                  <c:v>Concessions</c:v>
                </c:pt>
              </c:strCache>
            </c:strRef>
          </c:tx>
          <c:spPr>
            <a:solidFill>
              <a:schemeClr val="accent1">
                <a:lumMod val="40000"/>
                <a:lumOff val="60000"/>
              </a:schemeClr>
            </a:solidFill>
            <a:ln>
              <a:noFill/>
            </a:ln>
            <a:effectLst>
              <a:outerShdw blurRad="40000" dist="23000" dir="5400000" rotWithShape="0">
                <a:srgbClr val="000000">
                  <a:alpha val="35000"/>
                </a:srgbClr>
              </a:outerShdw>
            </a:effectLst>
          </c:spPr>
          <c:cat>
            <c:numRef>
              <c:f>Sheet1!$A$2:$A$11</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Sheet1!$C$2:$C$11</c:f>
              <c:numCache>
                <c:formatCode>"$"#,##0_);[Red]\("$"#,##0\)</c:formatCode>
                <c:ptCount val="10"/>
                <c:pt idx="0">
                  <c:v>0</c:v>
                </c:pt>
                <c:pt idx="1">
                  <c:v>2421930.4742281744</c:v>
                </c:pt>
                <c:pt idx="2">
                  <c:v>4673412.4347801078</c:v>
                </c:pt>
                <c:pt idx="3">
                  <c:v>6586009.0225448953</c:v>
                </c:pt>
                <c:pt idx="4">
                  <c:v>7895232.0043110363</c:v>
                </c:pt>
                <c:pt idx="5">
                  <c:v>8154244.3227917003</c:v>
                </c:pt>
                <c:pt idx="6">
                  <c:v>8179722.810978936</c:v>
                </c:pt>
                <c:pt idx="7">
                  <c:v>8179722.810978936</c:v>
                </c:pt>
                <c:pt idx="8">
                  <c:v>8179722.810978936</c:v>
                </c:pt>
                <c:pt idx="9">
                  <c:v>8205254.8059139065</c:v>
                </c:pt>
              </c:numCache>
            </c:numRef>
          </c:val>
          <c:extLst>
            <c:ext xmlns:c16="http://schemas.microsoft.com/office/drawing/2014/chart" uri="{C3380CC4-5D6E-409C-BE32-E72D297353CC}">
              <c16:uniqueId val="{00000001-A2B4-4444-9BBF-B07174ADA4C6}"/>
            </c:ext>
          </c:extLst>
        </c:ser>
        <c:ser>
          <c:idx val="2"/>
          <c:order val="2"/>
          <c:tx>
            <c:strRef>
              <c:f>Sheet1!$D$1</c:f>
              <c:strCache>
                <c:ptCount val="1"/>
                <c:pt idx="0">
                  <c:v>Merchandise</c:v>
                </c:pt>
              </c:strCache>
            </c:strRef>
          </c:tx>
          <c:spPr>
            <a:solidFill>
              <a:schemeClr val="bg1">
                <a:lumMod val="50000"/>
              </a:schemeClr>
            </a:solidFill>
            <a:ln>
              <a:noFill/>
            </a:ln>
            <a:effectLst>
              <a:outerShdw blurRad="40000" dist="23000" dir="5400000" rotWithShape="0">
                <a:srgbClr val="000000">
                  <a:alpha val="35000"/>
                </a:srgbClr>
              </a:outerShdw>
            </a:effectLst>
          </c:spPr>
          <c:cat>
            <c:numRef>
              <c:f>Sheet1!$A$2:$A$11</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Sheet1!$D$2:$D$11</c:f>
              <c:numCache>
                <c:formatCode>"$"#,##0_);[Red]\("$"#,##0\)</c:formatCode>
                <c:ptCount val="10"/>
                <c:pt idx="0">
                  <c:v>0</c:v>
                </c:pt>
                <c:pt idx="1">
                  <c:v>100367.3034964586</c:v>
                </c:pt>
                <c:pt idx="2">
                  <c:v>386709.02707573475</c:v>
                </c:pt>
                <c:pt idx="3">
                  <c:v>719097.17302332446</c:v>
                </c:pt>
                <c:pt idx="4">
                  <c:v>968646.97025228175</c:v>
                </c:pt>
                <c:pt idx="5">
                  <c:v>1073234.1423252155</c:v>
                </c:pt>
                <c:pt idx="6">
                  <c:v>1082178.6649648643</c:v>
                </c:pt>
                <c:pt idx="7">
                  <c:v>1082178.6649648643</c:v>
                </c:pt>
                <c:pt idx="8">
                  <c:v>1082178.6649648643</c:v>
                </c:pt>
                <c:pt idx="9">
                  <c:v>1091138.2718790076</c:v>
                </c:pt>
              </c:numCache>
            </c:numRef>
          </c:val>
          <c:extLst>
            <c:ext xmlns:c16="http://schemas.microsoft.com/office/drawing/2014/chart" uri="{C3380CC4-5D6E-409C-BE32-E72D297353CC}">
              <c16:uniqueId val="{00000002-A2B4-4444-9BBF-B07174ADA4C6}"/>
            </c:ext>
          </c:extLst>
        </c:ser>
        <c:ser>
          <c:idx val="3"/>
          <c:order val="3"/>
          <c:tx>
            <c:strRef>
              <c:f>Sheet1!$E$1</c:f>
              <c:strCache>
                <c:ptCount val="1"/>
                <c:pt idx="0">
                  <c:v>Ticket Sales</c:v>
                </c:pt>
              </c:strCache>
            </c:strRef>
          </c:tx>
          <c:spPr>
            <a:solidFill>
              <a:schemeClr val="accent3">
                <a:lumMod val="60000"/>
                <a:lumOff val="40000"/>
              </a:schemeClr>
            </a:solidFill>
            <a:ln>
              <a:noFill/>
            </a:ln>
            <a:effectLst>
              <a:outerShdw blurRad="40000" dist="23000" dir="5400000" rotWithShape="0">
                <a:srgbClr val="000000">
                  <a:alpha val="35000"/>
                </a:srgbClr>
              </a:outerShdw>
            </a:effectLst>
          </c:spPr>
          <c:cat>
            <c:numRef>
              <c:f>Sheet1!$A$2:$A$11</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Sheet1!$E$2:$E$11</c:f>
              <c:numCache>
                <c:formatCode>"$"#,##0_);[Red]\("$"#,##0\)</c:formatCode>
                <c:ptCount val="10"/>
                <c:pt idx="0">
                  <c:v>0</c:v>
                </c:pt>
                <c:pt idx="1">
                  <c:v>855715.48316941457</c:v>
                </c:pt>
                <c:pt idx="2">
                  <c:v>3329217.7263368675</c:v>
                </c:pt>
                <c:pt idx="3">
                  <c:v>5226009.3924585935</c:v>
                </c:pt>
                <c:pt idx="4">
                  <c:v>6661983.9621056737</c:v>
                </c:pt>
                <c:pt idx="5">
                  <c:v>7335665.6793269329</c:v>
                </c:pt>
                <c:pt idx="6">
                  <c:v>7495959.2108019348</c:v>
                </c:pt>
                <c:pt idx="7">
                  <c:v>7495959.2108019348</c:v>
                </c:pt>
                <c:pt idx="8">
                  <c:v>7495959.2108019348</c:v>
                </c:pt>
                <c:pt idx="9">
                  <c:v>7656767.8110727333</c:v>
                </c:pt>
              </c:numCache>
            </c:numRef>
          </c:val>
          <c:extLst>
            <c:ext xmlns:c16="http://schemas.microsoft.com/office/drawing/2014/chart" uri="{C3380CC4-5D6E-409C-BE32-E72D297353CC}">
              <c16:uniqueId val="{00000003-A2B4-4444-9BBF-B07174ADA4C6}"/>
            </c:ext>
          </c:extLst>
        </c:ser>
        <c:ser>
          <c:idx val="4"/>
          <c:order val="4"/>
          <c:tx>
            <c:strRef>
              <c:f>Sheet1!$F$1</c:f>
              <c:strCache>
                <c:ptCount val="1"/>
                <c:pt idx="0">
                  <c:v>Corporate Partnerships</c:v>
                </c:pt>
              </c:strCache>
            </c:strRef>
          </c:tx>
          <c:spPr>
            <a:solidFill>
              <a:schemeClr val="accent2"/>
            </a:solidFill>
            <a:ln w="25400">
              <a:noFill/>
            </a:ln>
          </c:spPr>
          <c:cat>
            <c:numRef>
              <c:f>Sheet1!$A$2:$A$11</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Sheet1!$F$2:$F$11</c:f>
              <c:numCache>
                <c:formatCode>"$"#,##0_);[Red]\("$"#,##0\)</c:formatCode>
                <c:ptCount val="10"/>
                <c:pt idx="0">
                  <c:v>0</c:v>
                </c:pt>
                <c:pt idx="1">
                  <c:v>1830710.8500000015</c:v>
                </c:pt>
                <c:pt idx="2">
                  <c:v>3452983.487924993</c:v>
                </c:pt>
                <c:pt idx="3">
                  <c:v>3726910.3960499987</c:v>
                </c:pt>
                <c:pt idx="4">
                  <c:v>4002891.755985938</c:v>
                </c:pt>
                <c:pt idx="5">
                  <c:v>4021035.736367397</c:v>
                </c:pt>
                <c:pt idx="6">
                  <c:v>4039188.7887390479</c:v>
                </c:pt>
                <c:pt idx="7">
                  <c:v>4039188.7887390479</c:v>
                </c:pt>
                <c:pt idx="8">
                  <c:v>4039188.7887390479</c:v>
                </c:pt>
                <c:pt idx="9">
                  <c:v>4057350.9176368862</c:v>
                </c:pt>
              </c:numCache>
            </c:numRef>
          </c:val>
          <c:extLst>
            <c:ext xmlns:c16="http://schemas.microsoft.com/office/drawing/2014/chart" uri="{C3380CC4-5D6E-409C-BE32-E72D297353CC}">
              <c16:uniqueId val="{00000004-A2B4-4444-9BBF-B07174ADA4C6}"/>
            </c:ext>
          </c:extLst>
        </c:ser>
        <c:ser>
          <c:idx val="5"/>
          <c:order val="5"/>
          <c:tx>
            <c:strRef>
              <c:f>Sheet1!$G$1</c:f>
              <c:strCache>
                <c:ptCount val="1"/>
                <c:pt idx="0">
                  <c:v>Other</c:v>
                </c:pt>
              </c:strCache>
            </c:strRef>
          </c:tx>
          <c:spPr>
            <a:solidFill>
              <a:schemeClr val="accent5"/>
            </a:solidFill>
            <a:ln>
              <a:noFill/>
            </a:ln>
            <a:effectLst>
              <a:outerShdw blurRad="40000" dist="23000" dir="5400000" rotWithShape="0">
                <a:srgbClr val="000000">
                  <a:alpha val="35000"/>
                </a:srgbClr>
              </a:outerShdw>
            </a:effectLst>
          </c:spPr>
          <c:cat>
            <c:numRef>
              <c:f>Sheet1!$A$2:$A$11</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Sheet1!$G$2:$G$11</c:f>
              <c:numCache>
                <c:formatCode>"$"#,##0_);[Red]\("$"#,##0\)</c:formatCode>
                <c:ptCount val="10"/>
                <c:pt idx="0">
                  <c:v>0</c:v>
                </c:pt>
                <c:pt idx="1">
                  <c:v>43030.3125</c:v>
                </c:pt>
                <c:pt idx="2">
                  <c:v>106962.08703124894</c:v>
                </c:pt>
                <c:pt idx="3">
                  <c:v>169360.13828124816</c:v>
                </c:pt>
                <c:pt idx="4">
                  <c:v>232279.20465312252</c:v>
                </c:pt>
                <c:pt idx="5">
                  <c:v>276975.56981270027</c:v>
                </c:pt>
                <c:pt idx="6">
                  <c:v>279027.7074435032</c:v>
                </c:pt>
                <c:pt idx="7">
                  <c:v>279027.7074435032</c:v>
                </c:pt>
                <c:pt idx="8">
                  <c:v>279027.7074435032</c:v>
                </c:pt>
                <c:pt idx="9">
                  <c:v>281080.87114312139</c:v>
                </c:pt>
              </c:numCache>
            </c:numRef>
          </c:val>
          <c:extLst>
            <c:ext xmlns:c16="http://schemas.microsoft.com/office/drawing/2014/chart" uri="{C3380CC4-5D6E-409C-BE32-E72D297353CC}">
              <c16:uniqueId val="{00000005-A2B4-4444-9BBF-B07174ADA4C6}"/>
            </c:ext>
          </c:extLst>
        </c:ser>
        <c:dLbls>
          <c:showLegendKey val="0"/>
          <c:showVal val="0"/>
          <c:showCatName val="0"/>
          <c:showSerName val="0"/>
          <c:showPercent val="0"/>
          <c:showBubbleSize val="0"/>
        </c:dLbls>
        <c:axId val="245701392"/>
        <c:axId val="245697864"/>
      </c:areaChart>
      <c:lineChart>
        <c:grouping val="standard"/>
        <c:varyColors val="0"/>
        <c:ser>
          <c:idx val="6"/>
          <c:order val="6"/>
          <c:tx>
            <c:strRef>
              <c:f>Sheet1!$H$1</c:f>
              <c:strCache>
                <c:ptCount val="1"/>
                <c:pt idx="0">
                  <c:v>Program Costs</c:v>
                </c:pt>
              </c:strCache>
            </c:strRef>
          </c:tx>
          <c:spPr>
            <a:ln>
              <a:solidFill>
                <a:srgbClr val="FF0000"/>
              </a:solidFill>
            </a:ln>
          </c:spPr>
          <c:marker>
            <c:symbol val="none"/>
          </c:marker>
          <c:cat>
            <c:numRef>
              <c:f>Sheet1!$A$2:$A$11</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Sheet1!$H$2:$H$11</c:f>
              <c:numCache>
                <c:formatCode>General</c:formatCode>
                <c:ptCount val="10"/>
                <c:pt idx="0">
                  <c:v>0</c:v>
                </c:pt>
                <c:pt idx="1">
                  <c:v>12402500</c:v>
                </c:pt>
                <c:pt idx="2">
                  <c:v>1710000</c:v>
                </c:pt>
                <c:pt idx="3">
                  <c:v>1710000</c:v>
                </c:pt>
                <c:pt idx="4">
                  <c:v>1710000</c:v>
                </c:pt>
                <c:pt idx="5">
                  <c:v>3260000</c:v>
                </c:pt>
                <c:pt idx="6">
                  <c:v>1710000</c:v>
                </c:pt>
                <c:pt idx="7">
                  <c:v>1710000</c:v>
                </c:pt>
                <c:pt idx="8">
                  <c:v>1710000</c:v>
                </c:pt>
                <c:pt idx="9">
                  <c:v>3260000</c:v>
                </c:pt>
              </c:numCache>
            </c:numRef>
          </c:val>
          <c:smooth val="0"/>
          <c:extLst>
            <c:ext xmlns:c16="http://schemas.microsoft.com/office/drawing/2014/chart" uri="{C3380CC4-5D6E-409C-BE32-E72D297353CC}">
              <c16:uniqueId val="{00000006-A2B4-4444-9BBF-B07174ADA4C6}"/>
            </c:ext>
          </c:extLst>
        </c:ser>
        <c:dLbls>
          <c:showLegendKey val="0"/>
          <c:showVal val="0"/>
          <c:showCatName val="0"/>
          <c:showSerName val="0"/>
          <c:showPercent val="0"/>
          <c:showBubbleSize val="0"/>
        </c:dLbls>
        <c:marker val="1"/>
        <c:smooth val="0"/>
        <c:axId val="245701392"/>
        <c:axId val="245697864"/>
      </c:lineChart>
      <c:catAx>
        <c:axId val="245701392"/>
        <c:scaling>
          <c:orientation val="minMax"/>
        </c:scaling>
        <c:delete val="0"/>
        <c:axPos val="b"/>
        <c:numFmt formatCode="General"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Frutiger Next Pro Light"/>
              </a:defRPr>
            </a:pPr>
            <a:endParaRPr lang="en-US"/>
          </a:p>
        </c:txPr>
        <c:crossAx val="245697864"/>
        <c:crosses val="autoZero"/>
        <c:auto val="1"/>
        <c:lblAlgn val="ctr"/>
        <c:lblOffset val="100"/>
        <c:noMultiLvlLbl val="0"/>
      </c:catAx>
      <c:valAx>
        <c:axId val="245697864"/>
        <c:scaling>
          <c:orientation val="minMax"/>
        </c:scaling>
        <c:delete val="0"/>
        <c:axPos val="l"/>
        <c:majorGridlines>
          <c:spPr>
            <a:ln w="9525" cap="flat" cmpd="sng" algn="ctr">
              <a:solidFill>
                <a:schemeClr val="bg1">
                  <a:lumMod val="95000"/>
                </a:schemeClr>
              </a:solidFill>
              <a:prstDash val="solid"/>
              <a:round/>
            </a:ln>
            <a:effectLst/>
          </c:spPr>
        </c:majorGridlines>
        <c:numFmt formatCode="&quot;$&quot;#,##0_);[Red]\(&quot;$&quot;#,##0\)"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Frutiger Next Pro Light"/>
              </a:defRPr>
            </a:pPr>
            <a:endParaRPr lang="en-US"/>
          </a:p>
        </c:txPr>
        <c:crossAx val="245701392"/>
        <c:crosses val="autoZero"/>
        <c:crossBetween val="between"/>
      </c:valAx>
      <c:spPr>
        <a:noFill/>
        <a:ln>
          <a:noFill/>
        </a:ln>
        <a:effectLst/>
      </c:spPr>
    </c:plotArea>
    <c:legend>
      <c:legendPos val="b"/>
      <c:layout>
        <c:manualLayout>
          <c:xMode val="edge"/>
          <c:yMode val="edge"/>
          <c:x val="0"/>
          <c:y val="0.78400222611849346"/>
          <c:w val="0.99709409747686772"/>
          <c:h val="0.2159977738815065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Frutiger Next Pro Light"/>
            </a:defRPr>
          </a:pPr>
          <a:endParaRPr lang="en-US"/>
        </a:p>
      </c:txPr>
    </c:legend>
    <c:plotVisOnly val="1"/>
    <c:dispBlanksAs val="gap"/>
    <c:showDLblsOverMax val="0"/>
  </c:chart>
  <c:spPr>
    <a:noFill/>
    <a:ln w="9525" cap="flat" cmpd="sng" algn="ctr">
      <a:noFill/>
      <a:prstDash val="solid"/>
    </a:ln>
    <a:effectLst/>
  </c:spPr>
  <c:txPr>
    <a:bodyPr/>
    <a:lstStyle/>
    <a:p>
      <a:pPr>
        <a:defRPr sz="1800"/>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352746342809827E-2"/>
          <c:y val="2.3996308260267652E-2"/>
          <c:w val="0.97129450731438038"/>
          <c:h val="0.95200738347946467"/>
        </c:manualLayout>
      </c:layout>
      <c:barChart>
        <c:barDir val="col"/>
        <c:grouping val="stacked"/>
        <c:varyColors val="0"/>
        <c:ser>
          <c:idx val="0"/>
          <c:order val="0"/>
          <c:spPr>
            <a:noFill/>
            <a:ln>
              <a:noFill/>
            </a:ln>
          </c:spPr>
          <c:invertIfNegative val="0"/>
          <c:dPt>
            <c:idx val="0"/>
            <c:invertIfNegative val="0"/>
            <c:bubble3D val="0"/>
            <c:spPr>
              <a:solidFill>
                <a:srgbClr val="046A38"/>
              </a:solidFill>
              <a:ln>
                <a:noFill/>
              </a:ln>
            </c:spPr>
            <c:extLst>
              <c:ext xmlns:c16="http://schemas.microsoft.com/office/drawing/2014/chart" uri="{C3380CC4-5D6E-409C-BE32-E72D297353CC}">
                <c16:uniqueId val="{00000001-CD83-47C4-A6A7-32A9C27F852A}"/>
              </c:ext>
            </c:extLst>
          </c:dPt>
          <c:dLbls>
            <c:dLbl>
              <c:idx val="0"/>
              <c:layout>
                <c:manualLayout>
                  <c:x val="0"/>
                  <c:y val="-4.7992616520535304E-2"/>
                </c:manualLayout>
              </c:layout>
              <c:numFmt formatCode="#,##0.0;&quot;-&quot;#,##0.0" sourceLinked="0"/>
              <c:spPr>
                <a:noFill/>
                <a:ln>
                  <a:noFill/>
                </a:ln>
              </c:spPr>
              <c:txPr>
                <a:bodyPr wrap="none"/>
                <a:lstStyle/>
                <a:p>
                  <a:pPr>
                    <a:defRPr sz="1200">
                      <a:solidFill>
                        <a:schemeClr val="tx1"/>
                      </a:solidFill>
                      <a:latin typeface="Verdana"/>
                      <a:ea typeface="Verdana"/>
                      <a:cs typeface="Verdana"/>
                      <a:sym typeface="Verdan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D83-47C4-A6A7-32A9C27F852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2.728697796391248</c:v>
                </c:pt>
                <c:pt idx="1">
                  <c:v>2.728697796391248</c:v>
                </c:pt>
                <c:pt idx="2">
                  <c:v>19.746876952000001</c:v>
                </c:pt>
                <c:pt idx="3">
                  <c:v>68.541181031000008</c:v>
                </c:pt>
              </c:numCache>
            </c:numRef>
          </c:val>
          <c:extLst>
            <c:ext xmlns:c16="http://schemas.microsoft.com/office/drawing/2014/chart" uri="{C3380CC4-5D6E-409C-BE32-E72D297353CC}">
              <c16:uniqueId val="{00000002-CD83-47C4-A6A7-32A9C27F852A}"/>
            </c:ext>
          </c:extLst>
        </c:ser>
        <c:ser>
          <c:idx val="1"/>
          <c:order val="1"/>
          <c:spPr>
            <a:solidFill>
              <a:srgbClr val="C4D600"/>
            </a:solidFill>
            <a:ln>
              <a:noFill/>
            </a:ln>
          </c:spPr>
          <c:invertIfNegative val="0"/>
          <c:dPt>
            <c:idx val="1"/>
            <c:invertIfNegative val="0"/>
            <c:bubble3D val="0"/>
            <c:spPr>
              <a:solidFill>
                <a:srgbClr val="43B02A"/>
              </a:solidFill>
              <a:ln>
                <a:noFill/>
              </a:ln>
            </c:spPr>
            <c:extLst>
              <c:ext xmlns:c16="http://schemas.microsoft.com/office/drawing/2014/chart" uri="{C3380CC4-5D6E-409C-BE32-E72D297353CC}">
                <c16:uniqueId val="{00000004-CD83-47C4-A6A7-32A9C27F852A}"/>
              </c:ext>
            </c:extLst>
          </c:dPt>
          <c:dPt>
            <c:idx val="3"/>
            <c:invertIfNegative val="0"/>
            <c:bubble3D val="0"/>
            <c:spPr>
              <a:solidFill>
                <a:srgbClr val="E3E48D"/>
              </a:solidFill>
              <a:ln>
                <a:noFill/>
              </a:ln>
            </c:spPr>
            <c:extLst>
              <c:ext xmlns:c16="http://schemas.microsoft.com/office/drawing/2014/chart" uri="{C3380CC4-5D6E-409C-BE32-E72D297353CC}">
                <c16:uniqueId val="{00000006-CD83-47C4-A6A7-32A9C27F852A}"/>
              </c:ext>
            </c:extLst>
          </c:dPt>
          <c:dLbls>
            <c:dLbl>
              <c:idx val="1"/>
              <c:layout>
                <c:manualLayout>
                  <c:x val="0"/>
                  <c:y val="0"/>
                </c:manualLayout>
              </c:layout>
              <c:numFmt formatCode="#,##0.0;#,##0.0" sourceLinked="0"/>
              <c:spPr>
                <a:noFill/>
                <a:ln>
                  <a:noFill/>
                </a:ln>
              </c:spPr>
              <c:txPr>
                <a:bodyPr wrap="none"/>
                <a:lstStyle/>
                <a:p>
                  <a:pPr>
                    <a:defRPr sz="1200">
                      <a:solidFill>
                        <a:schemeClr val="bg1"/>
                      </a:solidFill>
                      <a:latin typeface="Verdana"/>
                      <a:ea typeface="Verdana"/>
                      <a:cs typeface="Verdana"/>
                      <a:sym typeface="Verdan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D83-47C4-A6A7-32A9C27F852A}"/>
                </c:ext>
              </c:extLst>
            </c:dLbl>
            <c:dLbl>
              <c:idx val="2"/>
              <c:layout>
                <c:manualLayout>
                  <c:x val="0"/>
                  <c:y val="0"/>
                </c:manualLayout>
              </c:layout>
              <c:numFmt formatCode="#,##0.0;#,##0.0" sourceLinked="0"/>
              <c:spPr>
                <a:noFill/>
                <a:ln>
                  <a:noFill/>
                </a:ln>
              </c:spPr>
              <c:txPr>
                <a:bodyPr wrap="none"/>
                <a:lstStyle/>
                <a:p>
                  <a:pPr>
                    <a:defRPr sz="1200">
                      <a:solidFill>
                        <a:schemeClr val="tx1"/>
                      </a:solidFill>
                      <a:latin typeface="Verdana"/>
                      <a:ea typeface="Verdana"/>
                      <a:cs typeface="Verdana"/>
                      <a:sym typeface="Verdan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D83-47C4-A6A7-32A9C27F852A}"/>
                </c:ext>
              </c:extLst>
            </c:dLbl>
            <c:dLbl>
              <c:idx val="3"/>
              <c:layout>
                <c:manualLayout>
                  <c:x val="0"/>
                  <c:y val="0"/>
                </c:manualLayout>
              </c:layout>
              <c:numFmt formatCode="#,##0.0;#,##0.0" sourceLinked="0"/>
              <c:spPr>
                <a:noFill/>
                <a:ln>
                  <a:noFill/>
                </a:ln>
              </c:spPr>
              <c:txPr>
                <a:bodyPr wrap="none"/>
                <a:lstStyle/>
                <a:p>
                  <a:pPr>
                    <a:defRPr sz="1200">
                      <a:solidFill>
                        <a:schemeClr val="tx1"/>
                      </a:solidFill>
                      <a:latin typeface="Verdana"/>
                      <a:ea typeface="Verdana"/>
                      <a:cs typeface="Verdana"/>
                      <a:sym typeface="Verdan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D83-47C4-A6A7-32A9C27F852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1">
                  <c:v>17.018179155608752</c:v>
                </c:pt>
                <c:pt idx="2">
                  <c:v>48.794304079000007</c:v>
                </c:pt>
                <c:pt idx="3">
                  <c:v>25.221279321999987</c:v>
                </c:pt>
              </c:numCache>
            </c:numRef>
          </c:val>
          <c:extLst>
            <c:ext xmlns:c16="http://schemas.microsoft.com/office/drawing/2014/chart" uri="{C3380CC4-5D6E-409C-BE32-E72D297353CC}">
              <c16:uniqueId val="{00000008-CD83-47C4-A6A7-32A9C27F852A}"/>
            </c:ext>
          </c:extLst>
        </c:ser>
        <c:dLbls>
          <c:showLegendKey val="0"/>
          <c:showVal val="0"/>
          <c:showCatName val="0"/>
          <c:showSerName val="0"/>
          <c:showPercent val="0"/>
          <c:showBubbleSize val="0"/>
        </c:dLbls>
        <c:gapWidth val="80"/>
        <c:overlap val="100"/>
        <c:axId val="767926272"/>
        <c:axId val="1"/>
      </c:barChart>
      <c:catAx>
        <c:axId val="767926272"/>
        <c:scaling>
          <c:orientation val="minMax"/>
        </c:scaling>
        <c:delete val="0"/>
        <c:axPos val="b"/>
        <c:majorGridlines>
          <c:spPr>
            <a:ln>
              <a:noFill/>
            </a:ln>
          </c:spPr>
        </c:majorGridlines>
        <c:majorTickMark val="out"/>
        <c:minorTickMark val="none"/>
        <c:tickLblPos val="none"/>
        <c:spPr>
          <a:ln w="9525">
            <a:solidFill>
              <a:schemeClr val="tx1"/>
            </a:solidFill>
            <a:prstDash val="solid"/>
          </a:ln>
        </c:spPr>
        <c:txPr>
          <a:bodyPr wrap="none"/>
          <a:lstStyle/>
          <a:p>
            <a:pPr>
              <a:defRPr sz="1200">
                <a:solidFill>
                  <a:schemeClr val="tx1"/>
                </a:solidFill>
                <a:latin typeface="Verdana"/>
                <a:ea typeface="Verdana"/>
                <a:cs typeface="Verdana"/>
                <a:sym typeface="Verdana"/>
              </a:defRPr>
            </a:pPr>
            <a:endParaRPr lang="en-US"/>
          </a:p>
        </c:txPr>
        <c:crossAx val="1"/>
        <c:crosses val="min"/>
        <c:auto val="0"/>
        <c:lblAlgn val="ctr"/>
        <c:lblOffset val="100"/>
        <c:noMultiLvlLbl val="0"/>
      </c:catAx>
      <c:valAx>
        <c:axId val="1"/>
        <c:scaling>
          <c:orientation val="minMax"/>
          <c:max val="93.762460352999994"/>
          <c:min val="0"/>
        </c:scaling>
        <c:delete val="1"/>
        <c:axPos val="l"/>
        <c:numFmt formatCode="General" sourceLinked="1"/>
        <c:majorTickMark val="out"/>
        <c:minorTickMark val="none"/>
        <c:tickLblPos val="nextTo"/>
        <c:crossAx val="767926272"/>
        <c:crosses val="min"/>
        <c:crossBetween val="between"/>
      </c:valAx>
    </c:plotArea>
    <c:plotVisOnly val="0"/>
    <c:dispBlanksAs val="gap"/>
    <c:showDLblsOverMax val="1"/>
  </c:chart>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explosion val="7"/>
          <c:dPt>
            <c:idx val="0"/>
            <c:bubble3D val="0"/>
            <c:spPr>
              <a:solidFill>
                <a:schemeClr val="bg1">
                  <a:lumMod val="50000"/>
                </a:schemeClr>
              </a:solidFill>
              <a:ln w="19050">
                <a:solidFill>
                  <a:schemeClr val="lt1"/>
                </a:solidFill>
              </a:ln>
              <a:effectLst/>
            </c:spPr>
            <c:extLst>
              <c:ext xmlns:c16="http://schemas.microsoft.com/office/drawing/2014/chart" uri="{C3380CC4-5D6E-409C-BE32-E72D297353CC}">
                <c16:uniqueId val="{00000001-B8F6-456F-AD49-C7359CE2C559}"/>
              </c:ext>
            </c:extLst>
          </c:dPt>
          <c:dPt>
            <c:idx val="1"/>
            <c:bubble3D val="0"/>
            <c:spPr>
              <a:solidFill>
                <a:srgbClr val="92D050"/>
              </a:solidFill>
              <a:ln w="19050">
                <a:solidFill>
                  <a:schemeClr val="lt1"/>
                </a:solidFill>
              </a:ln>
              <a:effectLst/>
            </c:spPr>
            <c:extLst>
              <c:ext xmlns:c16="http://schemas.microsoft.com/office/drawing/2014/chart" uri="{C3380CC4-5D6E-409C-BE32-E72D297353CC}">
                <c16:uniqueId val="{00000003-B8F6-456F-AD49-C7359CE2C55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B8F6-456F-AD49-C7359CE2C559}"/>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B8F6-456F-AD49-C7359CE2C559}"/>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96</c:v>
                </c:pt>
                <c:pt idx="1">
                  <c:v>4</c:v>
                </c:pt>
                <c:pt idx="2">
                  <c:v>0</c:v>
                </c:pt>
                <c:pt idx="3">
                  <c:v>0</c:v>
                </c:pt>
              </c:numCache>
            </c:numRef>
          </c:val>
          <c:extLst>
            <c:ext xmlns:c16="http://schemas.microsoft.com/office/drawing/2014/chart" uri="{C3380CC4-5D6E-409C-BE32-E72D297353CC}">
              <c16:uniqueId val="{00000008-B8F6-456F-AD49-C7359CE2C559}"/>
            </c:ext>
          </c:extLst>
        </c:ser>
        <c:dLbls>
          <c:showLegendKey val="0"/>
          <c:showVal val="0"/>
          <c:showCatName val="0"/>
          <c:showSerName val="0"/>
          <c:showPercent val="0"/>
          <c:showBubbleSize val="0"/>
          <c:showLeaderLines val="1"/>
        </c:dLbls>
        <c:firstSliceAng val="90"/>
        <c:holeSize val="63"/>
      </c:doughnutChart>
      <c:spPr>
        <a:noFill/>
        <a:ln>
          <a:noFill/>
        </a:ln>
        <a:effectLst/>
      </c:spPr>
    </c:plotArea>
    <c:plotVisOnly val="1"/>
    <c:dispBlanksAs val="gap"/>
    <c:showDLblsOverMax val="0"/>
  </c:chart>
  <c:spPr>
    <a:noFill/>
    <a:ln w="12700">
      <a:noFill/>
    </a:ln>
    <a:effectLst/>
  </c:spPr>
  <c:txPr>
    <a:bodyPr/>
    <a:lstStyle/>
    <a:p>
      <a:pPr>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explosion val="7"/>
          <c:dPt>
            <c:idx val="0"/>
            <c:bubble3D val="0"/>
            <c:spPr>
              <a:solidFill>
                <a:schemeClr val="bg1">
                  <a:lumMod val="50000"/>
                </a:schemeClr>
              </a:solidFill>
              <a:ln w="19050">
                <a:solidFill>
                  <a:schemeClr val="lt1"/>
                </a:solidFill>
              </a:ln>
              <a:effectLst/>
            </c:spPr>
            <c:extLst>
              <c:ext xmlns:c16="http://schemas.microsoft.com/office/drawing/2014/chart" uri="{C3380CC4-5D6E-409C-BE32-E72D297353CC}">
                <c16:uniqueId val="{00000001-5475-49EB-AD05-D9D67DFA891E}"/>
              </c:ext>
            </c:extLst>
          </c:dPt>
          <c:dPt>
            <c:idx val="1"/>
            <c:bubble3D val="0"/>
            <c:spPr>
              <a:solidFill>
                <a:srgbClr val="92D050"/>
              </a:solidFill>
              <a:ln w="19050">
                <a:solidFill>
                  <a:schemeClr val="lt1"/>
                </a:solidFill>
              </a:ln>
              <a:effectLst/>
            </c:spPr>
            <c:extLst>
              <c:ext xmlns:c16="http://schemas.microsoft.com/office/drawing/2014/chart" uri="{C3380CC4-5D6E-409C-BE32-E72D297353CC}">
                <c16:uniqueId val="{00000003-5475-49EB-AD05-D9D67DFA891E}"/>
              </c:ext>
            </c:extLst>
          </c:dPt>
          <c:cat>
            <c:strRef>
              <c:f>Sheet1!$A$2:$A$3</c:f>
              <c:strCache>
                <c:ptCount val="2"/>
                <c:pt idx="0">
                  <c:v>1st Qtr</c:v>
                </c:pt>
                <c:pt idx="1">
                  <c:v>2nd Qtr</c:v>
                </c:pt>
              </c:strCache>
            </c:strRef>
          </c:cat>
          <c:val>
            <c:numRef>
              <c:f>Sheet1!$B$2:$B$3</c:f>
              <c:numCache>
                <c:formatCode>General</c:formatCode>
                <c:ptCount val="2"/>
                <c:pt idx="0">
                  <c:v>80</c:v>
                </c:pt>
                <c:pt idx="1">
                  <c:v>20</c:v>
                </c:pt>
              </c:numCache>
            </c:numRef>
          </c:val>
          <c:extLst>
            <c:ext xmlns:c16="http://schemas.microsoft.com/office/drawing/2014/chart" uri="{C3380CC4-5D6E-409C-BE32-E72D297353CC}">
              <c16:uniqueId val="{00000004-5475-49EB-AD05-D9D67DFA891E}"/>
            </c:ext>
          </c:extLst>
        </c:ser>
        <c:dLbls>
          <c:showLegendKey val="0"/>
          <c:showVal val="0"/>
          <c:showCatName val="0"/>
          <c:showSerName val="0"/>
          <c:showPercent val="0"/>
          <c:showBubbleSize val="0"/>
          <c:showLeaderLines val="1"/>
        </c:dLbls>
        <c:firstSliceAng val="128"/>
        <c:holeSize val="63"/>
      </c:doughnutChart>
      <c:spPr>
        <a:noFill/>
        <a:ln>
          <a:noFill/>
        </a:ln>
        <a:effectLst/>
      </c:spPr>
    </c:plotArea>
    <c:plotVisOnly val="1"/>
    <c:dispBlanksAs val="gap"/>
    <c:showDLblsOverMax val="0"/>
  </c:chart>
  <c:spPr>
    <a:noFill/>
    <a:ln w="12700">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sz="1400" b="1" dirty="0"/>
              <a:t>ORIGINATION</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doughnutChart>
        <c:varyColors val="1"/>
        <c:ser>
          <c:idx val="0"/>
          <c:order val="0"/>
          <c:tx>
            <c:strRef>
              <c:f>Sheet1!$B$1</c:f>
              <c:strCache>
                <c:ptCount val="1"/>
                <c:pt idx="0">
                  <c:v>Origination</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298-40E2-A463-65064C6A7127}"/>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298-40E2-A463-65064C6A7127}"/>
              </c:ext>
            </c:extLst>
          </c:dPt>
          <c:dLbls>
            <c:dLbl>
              <c:idx val="0"/>
              <c:layout>
                <c:manualLayout>
                  <c:x val="-9.3563682815324636E-2"/>
                  <c:y val="-1.8515585098545763E-2"/>
                </c:manualLayout>
              </c:layout>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0.16431013718469237"/>
                      <c:h val="0.23889405580620116"/>
                    </c:manualLayout>
                  </c15:layout>
                </c:ext>
                <c:ext xmlns:c16="http://schemas.microsoft.com/office/drawing/2014/chart" uri="{C3380CC4-5D6E-409C-BE32-E72D297353CC}">
                  <c16:uniqueId val="{00000001-4298-40E2-A463-65064C6A7127}"/>
                </c:ext>
              </c:extLst>
            </c:dLbl>
            <c:dLbl>
              <c:idx val="1"/>
              <c:layout>
                <c:manualLayout>
                  <c:x val="9.8749648347893737E-2"/>
                  <c:y val="-1.3181948156245182E-2"/>
                </c:manualLayout>
              </c:layout>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0.19669187796248305"/>
                      <c:h val="0.19451745101247964"/>
                    </c:manualLayout>
                  </c15:layout>
                </c:ext>
                <c:ext xmlns:c16="http://schemas.microsoft.com/office/drawing/2014/chart" uri="{C3380CC4-5D6E-409C-BE32-E72D297353CC}">
                  <c16:uniqueId val="{00000003-4298-40E2-A463-65064C6A7127}"/>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Reactive</c:v>
                </c:pt>
                <c:pt idx="1">
                  <c:v>Proactive</c:v>
                </c:pt>
              </c:strCache>
            </c:strRef>
          </c:cat>
          <c:val>
            <c:numRef>
              <c:f>Sheet1!$B$2:$B$3</c:f>
              <c:numCache>
                <c:formatCode>General</c:formatCode>
                <c:ptCount val="2"/>
                <c:pt idx="0">
                  <c:v>0.375</c:v>
                </c:pt>
                <c:pt idx="1">
                  <c:v>0.625</c:v>
                </c:pt>
              </c:numCache>
            </c:numRef>
          </c:val>
          <c:extLst>
            <c:ext xmlns:c16="http://schemas.microsoft.com/office/drawing/2014/chart" uri="{C3380CC4-5D6E-409C-BE32-E72D297353CC}">
              <c16:uniqueId val="{00000004-4298-40E2-A463-65064C6A7127}"/>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031691181299602E-2"/>
          <c:y val="0.14131370257529099"/>
          <c:w val="0.94427668803964904"/>
          <c:h val="0.71879997241086602"/>
        </c:manualLayout>
      </c:layout>
      <c:barChart>
        <c:barDir val="col"/>
        <c:grouping val="clustered"/>
        <c:varyColors val="0"/>
        <c:ser>
          <c:idx val="0"/>
          <c:order val="0"/>
          <c:tx>
            <c:strRef>
              <c:f>Sheet1!$B$1</c:f>
              <c:strCache>
                <c:ptCount val="1"/>
                <c:pt idx="0">
                  <c:v>% of In-Store Retail Sales that are Digitally Influenced
</c:v>
                </c:pt>
              </c:strCache>
            </c:strRef>
          </c:tx>
          <c:spPr>
            <a:solidFill>
              <a:srgbClr val="86F200"/>
            </a:solidFill>
            <a:ln w="28575">
              <a:solidFill>
                <a:srgbClr val="FFFFFF"/>
              </a:solidFill>
            </a:ln>
          </c:spPr>
          <c:invertIfNegative val="0"/>
          <c:dLbls>
            <c:dLbl>
              <c:idx val="2"/>
              <c:tx>
                <c:rich>
                  <a:bodyPr wrap="square" lIns="38100" tIns="19050" rIns="38100" bIns="19050" anchor="ctr">
                    <a:spAutoFit/>
                  </a:bodyPr>
                  <a:lstStyle/>
                  <a:p>
                    <a:pPr>
                      <a:defRPr sz="1200" b="0">
                        <a:solidFill>
                          <a:schemeClr val="tx2"/>
                        </a:solidFill>
                      </a:defRPr>
                    </a:pPr>
                    <a:fld id="{CEB767D0-3A83-4A3D-8510-556968F9EE64}" type="VALUE">
                      <a:rPr lang="en-US" sz="2000">
                        <a:solidFill>
                          <a:schemeClr val="tx2"/>
                        </a:solidFill>
                        <a:latin typeface="Chronicle Display Black" pitchFamily="50" charset="0"/>
                      </a:rPr>
                      <a:pPr>
                        <a:defRPr sz="1200" b="0">
                          <a:solidFill>
                            <a:schemeClr val="tx2"/>
                          </a:solidFill>
                        </a:defRPr>
                      </a:pPr>
                      <a:t>[VALUE]</a:t>
                    </a:fld>
                    <a:endParaRPr lang="en-US"/>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3014-4F13-9E7B-2469721FE2D0}"/>
                </c:ext>
              </c:extLst>
            </c:dLbl>
            <c:spPr>
              <a:noFill/>
              <a:ln>
                <a:noFill/>
              </a:ln>
              <a:effectLst/>
            </c:spPr>
            <c:txPr>
              <a:bodyPr wrap="square" lIns="38100" tIns="19050" rIns="38100" bIns="19050" anchor="ctr">
                <a:spAutoFit/>
              </a:bodyPr>
              <a:lstStyle/>
              <a:p>
                <a:pPr>
                  <a:defRPr sz="1200" b="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14</c:v>
                </c:pt>
                <c:pt idx="1">
                  <c:v>2015</c:v>
                </c:pt>
                <c:pt idx="2">
                  <c:v>2016</c:v>
                </c:pt>
              </c:numCache>
            </c:numRef>
          </c:cat>
          <c:val>
            <c:numRef>
              <c:f>Sheet1!$B$2:$B$4</c:f>
              <c:numCache>
                <c:formatCode>0%</c:formatCode>
                <c:ptCount val="3"/>
                <c:pt idx="0">
                  <c:v>0.14000000000000001</c:v>
                </c:pt>
                <c:pt idx="1">
                  <c:v>0.33</c:v>
                </c:pt>
                <c:pt idx="2">
                  <c:v>0.51</c:v>
                </c:pt>
              </c:numCache>
            </c:numRef>
          </c:val>
          <c:extLst>
            <c:ext xmlns:c16="http://schemas.microsoft.com/office/drawing/2014/chart" uri="{C3380CC4-5D6E-409C-BE32-E72D297353CC}">
              <c16:uniqueId val="{00000001-3014-4F13-9E7B-2469721FE2D0}"/>
            </c:ext>
          </c:extLst>
        </c:ser>
        <c:dLbls>
          <c:dLblPos val="outEnd"/>
          <c:showLegendKey val="0"/>
          <c:showVal val="1"/>
          <c:showCatName val="0"/>
          <c:showSerName val="0"/>
          <c:showPercent val="0"/>
          <c:showBubbleSize val="0"/>
        </c:dLbls>
        <c:gapWidth val="150"/>
        <c:axId val="548717360"/>
        <c:axId val="548713832"/>
      </c:barChart>
      <c:catAx>
        <c:axId val="548717360"/>
        <c:scaling>
          <c:orientation val="minMax"/>
        </c:scaling>
        <c:delete val="0"/>
        <c:axPos val="b"/>
        <c:numFmt formatCode="General" sourceLinked="1"/>
        <c:majorTickMark val="out"/>
        <c:minorTickMark val="none"/>
        <c:tickLblPos val="nextTo"/>
        <c:spPr>
          <a:ln>
            <a:noFill/>
          </a:ln>
        </c:spPr>
        <c:txPr>
          <a:bodyPr/>
          <a:lstStyle/>
          <a:p>
            <a:pPr>
              <a:defRPr sz="1200"/>
            </a:pPr>
            <a:endParaRPr lang="en-US"/>
          </a:p>
        </c:txPr>
        <c:crossAx val="548713832"/>
        <c:crosses val="autoZero"/>
        <c:auto val="1"/>
        <c:lblAlgn val="ctr"/>
        <c:lblOffset val="100"/>
        <c:noMultiLvlLbl val="0"/>
      </c:catAx>
      <c:valAx>
        <c:axId val="548713832"/>
        <c:scaling>
          <c:orientation val="minMax"/>
        </c:scaling>
        <c:delete val="1"/>
        <c:axPos val="l"/>
        <c:numFmt formatCode="0%" sourceLinked="1"/>
        <c:majorTickMark val="none"/>
        <c:minorTickMark val="none"/>
        <c:tickLblPos val="nextTo"/>
        <c:crossAx val="548717360"/>
        <c:crosses val="autoZero"/>
        <c:crossBetween val="between"/>
      </c:valAx>
      <c:spPr>
        <a:noFill/>
        <a:ln w="25400">
          <a:noFill/>
        </a:ln>
      </c:spPr>
    </c:plotArea>
    <c:plotVisOnly val="1"/>
    <c:dispBlanksAs val="zero"/>
    <c:showDLblsOverMax val="0"/>
  </c:chart>
  <c:txPr>
    <a:bodyPr/>
    <a:lstStyle/>
    <a:p>
      <a:pPr>
        <a:defRPr sz="1400">
          <a:solidFill>
            <a:schemeClr val="tx2"/>
          </a:solidFill>
          <a:latin typeface="Open Sans" charset="0"/>
          <a:ea typeface="Open Sans" charset="0"/>
          <a:cs typeface="Open Sans" charset="0"/>
        </a:defRPr>
      </a:pPr>
      <a:endParaRPr lang="en-US"/>
    </a:p>
  </c:txPr>
  <c:externalData r:id="rId2">
    <c:autoUpdate val="0"/>
  </c:externalData>
  <c:userShapes r:id="rId3"/>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441415880517065"/>
          <c:y val="3.8832361002389133E-2"/>
          <c:w val="0.86367602808840871"/>
          <c:h val="0.87963950746469632"/>
        </c:manualLayout>
      </c:layout>
      <c:lineChart>
        <c:grouping val="standard"/>
        <c:varyColors val="0"/>
        <c:ser>
          <c:idx val="0"/>
          <c:order val="0"/>
          <c:tx>
            <c:strRef>
              <c:f>Sheet1!$A$2</c:f>
              <c:strCache>
                <c:ptCount val="1"/>
                <c:pt idx="0">
                  <c:v>Scenario 1</c:v>
                </c:pt>
              </c:strCache>
            </c:strRef>
          </c:tx>
          <c:spPr>
            <a:ln w="28575" cap="rnd">
              <a:solidFill>
                <a:schemeClr val="bg1">
                  <a:lumMod val="75000"/>
                </a:schemeClr>
              </a:solidFill>
              <a:round/>
            </a:ln>
            <a:effectLst/>
          </c:spPr>
          <c:marker>
            <c:symbol val="none"/>
          </c:marker>
          <c:cat>
            <c:strRef>
              <c:f>Sheet1!$B$1:$K$1</c:f>
              <c:strCache>
                <c:ptCount val="10"/>
                <c:pt idx="0">
                  <c:v>FY19</c:v>
                </c:pt>
                <c:pt idx="1">
                  <c:v>FY20</c:v>
                </c:pt>
                <c:pt idx="2">
                  <c:v>FY21</c:v>
                </c:pt>
                <c:pt idx="3">
                  <c:v>FY22</c:v>
                </c:pt>
                <c:pt idx="4">
                  <c:v>FY23</c:v>
                </c:pt>
                <c:pt idx="5">
                  <c:v>FY24</c:v>
                </c:pt>
                <c:pt idx="6">
                  <c:v>FY25</c:v>
                </c:pt>
                <c:pt idx="7">
                  <c:v>FY26</c:v>
                </c:pt>
                <c:pt idx="8">
                  <c:v>FY27</c:v>
                </c:pt>
                <c:pt idx="9">
                  <c:v>FY28</c:v>
                </c:pt>
              </c:strCache>
            </c:strRef>
          </c:cat>
          <c:val>
            <c:numRef>
              <c:f>Sheet1!$B$2:$K$2</c:f>
              <c:numCache>
                <c:formatCode>_("$"* #,##0_);_("$"* \(#,##0\);_("$"* "-"??_);_(@_)</c:formatCode>
                <c:ptCount val="10"/>
                <c:pt idx="0">
                  <c:v>24018983.417378455</c:v>
                </c:pt>
                <c:pt idx="1">
                  <c:v>28324674.533977404</c:v>
                </c:pt>
                <c:pt idx="2">
                  <c:v>33484590.794649675</c:v>
                </c:pt>
                <c:pt idx="3">
                  <c:v>39691897.11040251</c:v>
                </c:pt>
                <c:pt idx="4">
                  <c:v>47189741.329996161</c:v>
                </c:pt>
                <c:pt idx="5">
                  <c:v>56285683.127556086</c:v>
                </c:pt>
                <c:pt idx="6">
                  <c:v>67370602.233029291</c:v>
                </c:pt>
                <c:pt idx="7">
                  <c:v>80943536.367300585</c:v>
                </c:pt>
                <c:pt idx="8">
                  <c:v>97644379.545199156</c:v>
                </c:pt>
                <c:pt idx="9">
                  <c:v>118297012.61823808</c:v>
                </c:pt>
              </c:numCache>
            </c:numRef>
          </c:val>
          <c:smooth val="0"/>
          <c:extLst>
            <c:ext xmlns:c16="http://schemas.microsoft.com/office/drawing/2014/chart" uri="{C3380CC4-5D6E-409C-BE32-E72D297353CC}">
              <c16:uniqueId val="{00000000-B0A8-4678-8764-96E03A3D51F7}"/>
            </c:ext>
          </c:extLst>
        </c:ser>
        <c:ser>
          <c:idx val="1"/>
          <c:order val="1"/>
          <c:tx>
            <c:strRef>
              <c:f>Sheet1!$A$3</c:f>
              <c:strCache>
                <c:ptCount val="1"/>
                <c:pt idx="0">
                  <c:v>Scenario 2</c:v>
                </c:pt>
              </c:strCache>
            </c:strRef>
          </c:tx>
          <c:spPr>
            <a:ln w="28575" cap="rnd">
              <a:solidFill>
                <a:schemeClr val="accent3"/>
              </a:solidFill>
              <a:round/>
            </a:ln>
            <a:effectLst/>
          </c:spPr>
          <c:marker>
            <c:symbol val="none"/>
          </c:marker>
          <c:cat>
            <c:strRef>
              <c:f>Sheet1!$B$1:$K$1</c:f>
              <c:strCache>
                <c:ptCount val="10"/>
                <c:pt idx="0">
                  <c:v>FY19</c:v>
                </c:pt>
                <c:pt idx="1">
                  <c:v>FY20</c:v>
                </c:pt>
                <c:pt idx="2">
                  <c:v>FY21</c:v>
                </c:pt>
                <c:pt idx="3">
                  <c:v>FY22</c:v>
                </c:pt>
                <c:pt idx="4">
                  <c:v>FY23</c:v>
                </c:pt>
                <c:pt idx="5">
                  <c:v>FY24</c:v>
                </c:pt>
                <c:pt idx="6">
                  <c:v>FY25</c:v>
                </c:pt>
                <c:pt idx="7">
                  <c:v>FY26</c:v>
                </c:pt>
                <c:pt idx="8">
                  <c:v>FY27</c:v>
                </c:pt>
                <c:pt idx="9">
                  <c:v>FY28</c:v>
                </c:pt>
              </c:strCache>
            </c:strRef>
          </c:cat>
          <c:val>
            <c:numRef>
              <c:f>Sheet1!$B$3:$K$3</c:f>
              <c:numCache>
                <c:formatCode>_("$"* #,##0_);_("$"* \(#,##0\);_("$"* "-"??_);_(@_)</c:formatCode>
                <c:ptCount val="10"/>
                <c:pt idx="0">
                  <c:v>27064723.357460558</c:v>
                </c:pt>
                <c:pt idx="1">
                  <c:v>37642984.054508969</c:v>
                </c:pt>
                <c:pt idx="2">
                  <c:v>26992372.202299755</c:v>
                </c:pt>
                <c:pt idx="3">
                  <c:v>24953298.792640883</c:v>
                </c:pt>
                <c:pt idx="4">
                  <c:v>28935567.396379918</c:v>
                </c:pt>
                <c:pt idx="5">
                  <c:v>34733937.595214352</c:v>
                </c:pt>
                <c:pt idx="6">
                  <c:v>41829202.751498356</c:v>
                </c:pt>
                <c:pt idx="7">
                  <c:v>50570622.831335515</c:v>
                </c:pt>
                <c:pt idx="8">
                  <c:v>61388989.054931387</c:v>
                </c:pt>
                <c:pt idx="9">
                  <c:v>74839588.697712839</c:v>
                </c:pt>
              </c:numCache>
            </c:numRef>
          </c:val>
          <c:smooth val="0"/>
          <c:extLst>
            <c:ext xmlns:c16="http://schemas.microsoft.com/office/drawing/2014/chart" uri="{C3380CC4-5D6E-409C-BE32-E72D297353CC}">
              <c16:uniqueId val="{00000001-B0A8-4678-8764-96E03A3D51F7}"/>
            </c:ext>
          </c:extLst>
        </c:ser>
        <c:ser>
          <c:idx val="2"/>
          <c:order val="2"/>
          <c:tx>
            <c:strRef>
              <c:f>Sheet1!$A$4</c:f>
              <c:strCache>
                <c:ptCount val="1"/>
                <c:pt idx="0">
                  <c:v>Scenario 3</c:v>
                </c:pt>
              </c:strCache>
            </c:strRef>
          </c:tx>
          <c:spPr>
            <a:ln w="28575" cap="rnd">
              <a:solidFill>
                <a:schemeClr val="accent1"/>
              </a:solidFill>
              <a:round/>
            </a:ln>
            <a:effectLst/>
          </c:spPr>
          <c:marker>
            <c:symbol val="none"/>
          </c:marker>
          <c:cat>
            <c:strRef>
              <c:f>Sheet1!$B$1:$K$1</c:f>
              <c:strCache>
                <c:ptCount val="10"/>
                <c:pt idx="0">
                  <c:v>FY19</c:v>
                </c:pt>
                <c:pt idx="1">
                  <c:v>FY20</c:v>
                </c:pt>
                <c:pt idx="2">
                  <c:v>FY21</c:v>
                </c:pt>
                <c:pt idx="3">
                  <c:v>FY22</c:v>
                </c:pt>
                <c:pt idx="4">
                  <c:v>FY23</c:v>
                </c:pt>
                <c:pt idx="5">
                  <c:v>FY24</c:v>
                </c:pt>
                <c:pt idx="6">
                  <c:v>FY25</c:v>
                </c:pt>
                <c:pt idx="7">
                  <c:v>FY26</c:v>
                </c:pt>
                <c:pt idx="8">
                  <c:v>FY27</c:v>
                </c:pt>
                <c:pt idx="9">
                  <c:v>FY28</c:v>
                </c:pt>
              </c:strCache>
            </c:strRef>
          </c:cat>
          <c:val>
            <c:numRef>
              <c:f>Sheet1!$B$4:$K$4</c:f>
              <c:numCache>
                <c:formatCode>_("$"* #,##0_);_("$"* \(#,##0\);_("$"* "-"??_);_(@_)</c:formatCode>
                <c:ptCount val="10"/>
                <c:pt idx="0">
                  <c:v>28397632.734146882</c:v>
                </c:pt>
                <c:pt idx="1">
                  <c:v>38687023.389347598</c:v>
                </c:pt>
                <c:pt idx="2">
                  <c:v>23218583.21860031</c:v>
                </c:pt>
                <c:pt idx="3">
                  <c:v>21384902.149142455</c:v>
                </c:pt>
                <c:pt idx="4">
                  <c:v>25229258.249655653</c:v>
                </c:pt>
                <c:pt idx="5">
                  <c:v>30380098.881982237</c:v>
                </c:pt>
                <c:pt idx="6">
                  <c:v>36673276.11503958</c:v>
                </c:pt>
                <c:pt idx="7">
                  <c:v>44503396.255010195</c:v>
                </c:pt>
                <c:pt idx="8">
                  <c:v>54201846.480102718</c:v>
                </c:pt>
                <c:pt idx="9">
                  <c:v>66302959.102718875</c:v>
                </c:pt>
              </c:numCache>
            </c:numRef>
          </c:val>
          <c:smooth val="0"/>
          <c:extLst>
            <c:ext xmlns:c16="http://schemas.microsoft.com/office/drawing/2014/chart" uri="{C3380CC4-5D6E-409C-BE32-E72D297353CC}">
              <c16:uniqueId val="{00000002-B0A8-4678-8764-96E03A3D51F7}"/>
            </c:ext>
          </c:extLst>
        </c:ser>
        <c:dLbls>
          <c:showLegendKey val="0"/>
          <c:showVal val="0"/>
          <c:showCatName val="0"/>
          <c:showSerName val="0"/>
          <c:showPercent val="0"/>
          <c:showBubbleSize val="0"/>
        </c:dLbls>
        <c:smooth val="0"/>
        <c:axId val="1295305928"/>
        <c:axId val="1295306256"/>
      </c:lineChart>
      <c:catAx>
        <c:axId val="12953059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n-US"/>
          </a:p>
        </c:txPr>
        <c:crossAx val="1295306256"/>
        <c:crosses val="autoZero"/>
        <c:auto val="1"/>
        <c:lblAlgn val="ctr"/>
        <c:lblOffset val="100"/>
        <c:noMultiLvlLbl val="0"/>
      </c:catAx>
      <c:valAx>
        <c:axId val="1295306256"/>
        <c:scaling>
          <c:orientation val="minMax"/>
        </c:scaling>
        <c:delete val="0"/>
        <c:axPos val="l"/>
        <c:numFmt formatCode="_(&quot;$&quot;* #,##0_);_(&quot;$&quot;* \(#,##0\);_(&quot;$&quot;* &quot;-&quot;??_);_(@_)" sourceLinked="1"/>
        <c:majorTickMark val="none"/>
        <c:minorTickMark val="none"/>
        <c:tickLblPos val="nextTo"/>
        <c:spPr>
          <a:noFill/>
          <a:ln>
            <a:noFill/>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n-US"/>
          </a:p>
        </c:txPr>
        <c:crossAx val="1295305928"/>
        <c:crosses val="autoZero"/>
        <c:crossBetween val="between"/>
        <c:dispUnits>
          <c:builtInUnit val="millions"/>
          <c:dispUnitsLbl>
            <c:spPr>
              <a:noFill/>
              <a:ln>
                <a:noFill/>
              </a:ln>
              <a:effectLst/>
            </c:spPr>
            <c:txPr>
              <a:bodyPr rot="-54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dispUnitsLbl>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766655679791761E-2"/>
          <c:y val="8.3881304651504549E-2"/>
          <c:w val="0.88193335192650624"/>
          <c:h val="0.84621760813890834"/>
        </c:manualLayout>
      </c:layout>
      <c:barChart>
        <c:barDir val="bar"/>
        <c:grouping val="clustered"/>
        <c:varyColors val="0"/>
        <c:ser>
          <c:idx val="0"/>
          <c:order val="0"/>
          <c:tx>
            <c:strRef>
              <c:f>Sheet1!$B$1</c:f>
              <c:strCache>
                <c:ptCount val="1"/>
                <c:pt idx="0">
                  <c:v>2016</c:v>
                </c:pt>
              </c:strCache>
            </c:strRef>
          </c:tx>
          <c:spPr>
            <a:solidFill>
              <a:schemeClr val="accent4">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c:f>
              <c:strCache>
                <c:ptCount val="1"/>
                <c:pt idx="0">
                  <c:v>Shoppers indicating digital makes shopping easier</c:v>
                </c:pt>
              </c:strCache>
            </c:strRef>
          </c:cat>
          <c:val>
            <c:numRef>
              <c:f>Sheet1!$B$3</c:f>
              <c:numCache>
                <c:formatCode>0%</c:formatCode>
                <c:ptCount val="1"/>
                <c:pt idx="0">
                  <c:v>0.3</c:v>
                </c:pt>
              </c:numCache>
            </c:numRef>
          </c:val>
          <c:extLst>
            <c:ext xmlns:c16="http://schemas.microsoft.com/office/drawing/2014/chart" uri="{C3380CC4-5D6E-409C-BE32-E72D297353CC}">
              <c16:uniqueId val="{00000000-1CF1-4AAD-902C-486BABBF8765}"/>
            </c:ext>
          </c:extLst>
        </c:ser>
        <c:ser>
          <c:idx val="1"/>
          <c:order val="1"/>
          <c:tx>
            <c:strRef>
              <c:f>Sheet1!$C$1</c:f>
              <c:strCache>
                <c:ptCount val="1"/>
                <c:pt idx="0">
                  <c:v>2025</c:v>
                </c:pt>
              </c:strCache>
            </c:strRef>
          </c:tx>
          <c:spPr>
            <a:solidFill>
              <a:schemeClr val="accent4">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c:f>
              <c:strCache>
                <c:ptCount val="1"/>
                <c:pt idx="0">
                  <c:v>Shoppers indicating digital makes shopping easier</c:v>
                </c:pt>
              </c:strCache>
            </c:strRef>
          </c:cat>
          <c:val>
            <c:numRef>
              <c:f>Sheet1!$C$3</c:f>
              <c:numCache>
                <c:formatCode>0%</c:formatCode>
                <c:ptCount val="1"/>
                <c:pt idx="0">
                  <c:v>0.6</c:v>
                </c:pt>
              </c:numCache>
            </c:numRef>
          </c:val>
          <c:extLst>
            <c:ext xmlns:c16="http://schemas.microsoft.com/office/drawing/2014/chart" uri="{C3380CC4-5D6E-409C-BE32-E72D297353CC}">
              <c16:uniqueId val="{00000001-1CF1-4AAD-902C-486BABBF8765}"/>
            </c:ext>
          </c:extLst>
        </c:ser>
        <c:dLbls>
          <c:showLegendKey val="0"/>
          <c:showVal val="0"/>
          <c:showCatName val="0"/>
          <c:showSerName val="0"/>
          <c:showPercent val="0"/>
          <c:showBubbleSize val="0"/>
        </c:dLbls>
        <c:gapWidth val="135"/>
        <c:axId val="207443768"/>
        <c:axId val="207444160"/>
      </c:barChart>
      <c:catAx>
        <c:axId val="207443768"/>
        <c:scaling>
          <c:orientation val="maxMin"/>
        </c:scaling>
        <c:delete val="1"/>
        <c:axPos val="l"/>
        <c:numFmt formatCode="General" sourceLinked="1"/>
        <c:majorTickMark val="out"/>
        <c:minorTickMark val="none"/>
        <c:tickLblPos val="nextTo"/>
        <c:crossAx val="207444160"/>
        <c:crosses val="autoZero"/>
        <c:auto val="1"/>
        <c:lblAlgn val="ctr"/>
        <c:lblOffset val="100"/>
        <c:noMultiLvlLbl val="0"/>
      </c:catAx>
      <c:valAx>
        <c:axId val="207444160"/>
        <c:scaling>
          <c:orientation val="minMax"/>
          <c:max val="0.70000000000000007"/>
        </c:scaling>
        <c:delete val="1"/>
        <c:axPos val="t"/>
        <c:numFmt formatCode="0%" sourceLinked="1"/>
        <c:majorTickMark val="out"/>
        <c:minorTickMark val="none"/>
        <c:tickLblPos val="nextTo"/>
        <c:crossAx val="207443768"/>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031691181299602E-2"/>
          <c:y val="0.14131370257529099"/>
          <c:w val="0.94427668803964904"/>
          <c:h val="0.80977581658000708"/>
        </c:manualLayout>
      </c:layout>
      <c:barChart>
        <c:barDir val="col"/>
        <c:grouping val="clustered"/>
        <c:varyColors val="0"/>
        <c:ser>
          <c:idx val="0"/>
          <c:order val="0"/>
          <c:tx>
            <c:strRef>
              <c:f>Sheet1!$B$1</c:f>
              <c:strCache>
                <c:ptCount val="1"/>
                <c:pt idx="0">
                  <c:v>% of In-Store Retail Sales that are Digitally Influenced
</c:v>
                </c:pt>
              </c:strCache>
            </c:strRef>
          </c:tx>
          <c:spPr>
            <a:solidFill>
              <a:srgbClr val="86F200">
                <a:lumMod val="20000"/>
                <a:lumOff val="80000"/>
              </a:srgbClr>
            </a:solidFill>
            <a:ln w="28575">
              <a:solidFill>
                <a:srgbClr val="FFFFFF"/>
              </a:solidFill>
            </a:ln>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0-8AE6-45F5-B7A8-65F3D32AAF0C}"/>
                </c:ext>
              </c:extLst>
            </c:dLbl>
            <c:spPr>
              <a:noFill/>
              <a:ln>
                <a:noFill/>
              </a:ln>
              <a:effectLst/>
            </c:spPr>
            <c:txPr>
              <a:bodyPr wrap="square" lIns="38100" tIns="19050" rIns="38100" bIns="19050" anchor="ctr">
                <a:spAutoFit/>
              </a:bodyPr>
              <a:lstStyle/>
              <a:p>
                <a:pPr>
                  <a:defRPr sz="1200" b="0">
                    <a:solidFill>
                      <a:schemeClr val="tx1">
                        <a:lumMod val="65000"/>
                        <a:lumOff val="35000"/>
                      </a:schemeClr>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14</c:v>
                </c:pt>
                <c:pt idx="1">
                  <c:v>2015</c:v>
                </c:pt>
                <c:pt idx="2">
                  <c:v>2016</c:v>
                </c:pt>
              </c:numCache>
            </c:numRef>
          </c:cat>
          <c:val>
            <c:numRef>
              <c:f>Sheet1!$B$2:$B$4</c:f>
              <c:numCache>
                <c:formatCode>0%</c:formatCode>
                <c:ptCount val="3"/>
                <c:pt idx="0">
                  <c:v>0.14000000000000001</c:v>
                </c:pt>
                <c:pt idx="1">
                  <c:v>0.33</c:v>
                </c:pt>
                <c:pt idx="2">
                  <c:v>0.51</c:v>
                </c:pt>
              </c:numCache>
            </c:numRef>
          </c:val>
          <c:extLst>
            <c:ext xmlns:c16="http://schemas.microsoft.com/office/drawing/2014/chart" uri="{C3380CC4-5D6E-409C-BE32-E72D297353CC}">
              <c16:uniqueId val="{00000001-8AE6-45F5-B7A8-65F3D32AAF0C}"/>
            </c:ext>
          </c:extLst>
        </c:ser>
        <c:dLbls>
          <c:dLblPos val="outEnd"/>
          <c:showLegendKey val="0"/>
          <c:showVal val="1"/>
          <c:showCatName val="0"/>
          <c:showSerName val="0"/>
          <c:showPercent val="0"/>
          <c:showBubbleSize val="0"/>
        </c:dLbls>
        <c:gapWidth val="150"/>
        <c:axId val="438470896"/>
        <c:axId val="438475208"/>
      </c:barChart>
      <c:catAx>
        <c:axId val="438470896"/>
        <c:scaling>
          <c:orientation val="minMax"/>
        </c:scaling>
        <c:delete val="1"/>
        <c:axPos val="b"/>
        <c:numFmt formatCode="General" sourceLinked="1"/>
        <c:majorTickMark val="out"/>
        <c:minorTickMark val="none"/>
        <c:tickLblPos val="nextTo"/>
        <c:crossAx val="438475208"/>
        <c:crosses val="autoZero"/>
        <c:auto val="1"/>
        <c:lblAlgn val="ctr"/>
        <c:lblOffset val="100"/>
        <c:noMultiLvlLbl val="0"/>
      </c:catAx>
      <c:valAx>
        <c:axId val="438475208"/>
        <c:scaling>
          <c:orientation val="minMax"/>
        </c:scaling>
        <c:delete val="1"/>
        <c:axPos val="l"/>
        <c:numFmt formatCode="0%" sourceLinked="1"/>
        <c:majorTickMark val="none"/>
        <c:minorTickMark val="none"/>
        <c:tickLblPos val="nextTo"/>
        <c:crossAx val="438470896"/>
        <c:crosses val="autoZero"/>
        <c:crossBetween val="between"/>
      </c:valAx>
      <c:spPr>
        <a:noFill/>
        <a:ln w="25400">
          <a:noFill/>
        </a:ln>
      </c:spPr>
    </c:plotArea>
    <c:plotVisOnly val="1"/>
    <c:dispBlanksAs val="zero"/>
    <c:showDLblsOverMax val="0"/>
  </c:chart>
  <c:txPr>
    <a:bodyPr/>
    <a:lstStyle/>
    <a:p>
      <a:pPr>
        <a:defRPr sz="1400">
          <a:solidFill>
            <a:schemeClr val="tx2"/>
          </a:solidFill>
          <a:latin typeface="Open Sans" charset="0"/>
          <a:ea typeface="Open Sans" charset="0"/>
          <a:cs typeface="Open Sans" charset="0"/>
        </a:defRPr>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292328794571163E-2"/>
          <c:y val="6.9524486354886422E-2"/>
          <c:w val="0.90098007944061553"/>
          <c:h val="0.7672203742079583"/>
        </c:manualLayout>
      </c:layout>
      <c:lineChart>
        <c:grouping val="standard"/>
        <c:varyColors val="0"/>
        <c:ser>
          <c:idx val="0"/>
          <c:order val="0"/>
          <c:tx>
            <c:strRef>
              <c:f>Sheet1!$B$1</c:f>
              <c:strCache>
                <c:ptCount val="1"/>
                <c:pt idx="0">
                  <c:v>Series 1</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6</c:f>
              <c:numCache>
                <c:formatCode>General</c:formatCode>
                <c:ptCount val="15"/>
                <c:pt idx="0">
                  <c:v>1989</c:v>
                </c:pt>
                <c:pt idx="1">
                  <c:v>1991</c:v>
                </c:pt>
                <c:pt idx="2">
                  <c:v>1993</c:v>
                </c:pt>
                <c:pt idx="3">
                  <c:v>1995</c:v>
                </c:pt>
                <c:pt idx="4">
                  <c:v>1997</c:v>
                </c:pt>
                <c:pt idx="5">
                  <c:v>1999</c:v>
                </c:pt>
                <c:pt idx="6">
                  <c:v>2001</c:v>
                </c:pt>
                <c:pt idx="7">
                  <c:v>2003</c:v>
                </c:pt>
                <c:pt idx="8">
                  <c:v>2005</c:v>
                </c:pt>
                <c:pt idx="9">
                  <c:v>2007</c:v>
                </c:pt>
                <c:pt idx="10">
                  <c:v>2009</c:v>
                </c:pt>
                <c:pt idx="11">
                  <c:v>2011</c:v>
                </c:pt>
                <c:pt idx="12">
                  <c:v>2013</c:v>
                </c:pt>
                <c:pt idx="13">
                  <c:v>2015</c:v>
                </c:pt>
                <c:pt idx="14">
                  <c:v>2017</c:v>
                </c:pt>
              </c:numCache>
            </c:numRef>
          </c:cat>
          <c:val>
            <c:numRef>
              <c:f>Sheet1!$B$2:$B$16</c:f>
              <c:numCache>
                <c:formatCode>General</c:formatCode>
                <c:ptCount val="15"/>
                <c:pt idx="0">
                  <c:v>2</c:v>
                </c:pt>
                <c:pt idx="1">
                  <c:v>2</c:v>
                </c:pt>
                <c:pt idx="2">
                  <c:v>11</c:v>
                </c:pt>
                <c:pt idx="3">
                  <c:v>10</c:v>
                </c:pt>
                <c:pt idx="4">
                  <c:v>25</c:v>
                </c:pt>
                <c:pt idx="5">
                  <c:v>27</c:v>
                </c:pt>
                <c:pt idx="6">
                  <c:v>42</c:v>
                </c:pt>
                <c:pt idx="7">
                  <c:v>90</c:v>
                </c:pt>
                <c:pt idx="8">
                  <c:v>91</c:v>
                </c:pt>
                <c:pt idx="9">
                  <c:v>152</c:v>
                </c:pt>
                <c:pt idx="10">
                  <c:v>111</c:v>
                </c:pt>
                <c:pt idx="11">
                  <c:v>226</c:v>
                </c:pt>
                <c:pt idx="12">
                  <c:v>334</c:v>
                </c:pt>
                <c:pt idx="13">
                  <c:v>346</c:v>
                </c:pt>
                <c:pt idx="14">
                  <c:v>749</c:v>
                </c:pt>
              </c:numCache>
            </c:numRef>
          </c:val>
          <c:smooth val="0"/>
          <c:extLst>
            <c:ext xmlns:c16="http://schemas.microsoft.com/office/drawing/2014/chart" uri="{C3380CC4-5D6E-409C-BE32-E72D297353CC}">
              <c16:uniqueId val="{00000000-1B4E-4E73-A531-1A81170E7469}"/>
            </c:ext>
          </c:extLst>
        </c:ser>
        <c:dLbls>
          <c:dLblPos val="t"/>
          <c:showLegendKey val="0"/>
          <c:showVal val="1"/>
          <c:showCatName val="0"/>
          <c:showSerName val="0"/>
          <c:showPercent val="0"/>
          <c:showBubbleSize val="0"/>
        </c:dLbls>
        <c:marker val="1"/>
        <c:smooth val="0"/>
        <c:axId val="714918464"/>
        <c:axId val="714918792"/>
      </c:lineChart>
      <c:catAx>
        <c:axId val="7149184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714918792"/>
        <c:crosses val="autoZero"/>
        <c:auto val="1"/>
        <c:lblAlgn val="ctr"/>
        <c:lblOffset val="100"/>
        <c:noMultiLvlLbl val="0"/>
      </c:catAx>
      <c:valAx>
        <c:axId val="714918792"/>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714918464"/>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accent1"/>
          </a:solidFill>
        </a:defRPr>
      </a:pPr>
      <a:endParaRPr lang="en-US"/>
    </a:p>
  </c:txPr>
  <c:externalData r:id="rId3">
    <c:autoUpdate val="0"/>
  </c:externalData>
  <c:userShapes r:id="rId4"/>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2D77-439C-9AFA-7EED09D200F8}"/>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2D77-439C-9AFA-7EED09D200F8}"/>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5-2D77-439C-9AFA-7EED09D200F8}"/>
              </c:ext>
            </c:extLst>
          </c:dPt>
          <c:dPt>
            <c:idx val="3"/>
            <c:invertIfNegative val="0"/>
            <c:bubble3D val="0"/>
            <c:spPr>
              <a:solidFill>
                <a:schemeClr val="accent1"/>
              </a:solidFill>
              <a:ln>
                <a:noFill/>
              </a:ln>
              <a:effectLst/>
            </c:spPr>
            <c:extLst>
              <c:ext xmlns:c16="http://schemas.microsoft.com/office/drawing/2014/chart" uri="{C3380CC4-5D6E-409C-BE32-E72D297353CC}">
                <c16:uniqueId val="{00000007-2D77-439C-9AFA-7EED09D200F8}"/>
              </c:ext>
            </c:extLst>
          </c:dPt>
          <c:dPt>
            <c:idx val="4"/>
            <c:invertIfNegative val="0"/>
            <c:bubble3D val="0"/>
            <c:spPr>
              <a:solidFill>
                <a:schemeClr val="accent1"/>
              </a:solidFill>
              <a:ln>
                <a:noFill/>
              </a:ln>
              <a:effectLst/>
            </c:spPr>
            <c:extLst>
              <c:ext xmlns:c16="http://schemas.microsoft.com/office/drawing/2014/chart" uri="{C3380CC4-5D6E-409C-BE32-E72D297353CC}">
                <c16:uniqueId val="{00000009-2D77-439C-9AFA-7EED09D200F8}"/>
              </c:ext>
            </c:extLst>
          </c:dPt>
          <c:dPt>
            <c:idx val="5"/>
            <c:invertIfNegative val="0"/>
            <c:bubble3D val="0"/>
            <c:spPr>
              <a:solidFill>
                <a:schemeClr val="accent1"/>
              </a:solidFill>
              <a:ln>
                <a:noFill/>
              </a:ln>
              <a:effectLst/>
            </c:spPr>
            <c:extLst>
              <c:ext xmlns:c16="http://schemas.microsoft.com/office/drawing/2014/chart" uri="{C3380CC4-5D6E-409C-BE32-E72D297353CC}">
                <c16:uniqueId val="{0000000B-2D77-439C-9AFA-7EED09D200F8}"/>
              </c:ext>
            </c:extLst>
          </c:dPt>
          <c:dPt>
            <c:idx val="6"/>
            <c:invertIfNegative val="0"/>
            <c:bubble3D val="0"/>
            <c:spPr>
              <a:solidFill>
                <a:schemeClr val="accent1"/>
              </a:solidFill>
              <a:ln>
                <a:noFill/>
              </a:ln>
              <a:effectLst/>
            </c:spPr>
            <c:extLst>
              <c:ext xmlns:c16="http://schemas.microsoft.com/office/drawing/2014/chart" uri="{C3380CC4-5D6E-409C-BE32-E72D297353CC}">
                <c16:uniqueId val="{0000000D-2D77-439C-9AFA-7EED09D200F8}"/>
              </c:ext>
            </c:extLst>
          </c:dPt>
          <c:dPt>
            <c:idx val="7"/>
            <c:invertIfNegative val="0"/>
            <c:bubble3D val="0"/>
            <c:spPr>
              <a:solidFill>
                <a:schemeClr val="accent1"/>
              </a:solidFill>
              <a:ln>
                <a:noFill/>
              </a:ln>
              <a:effectLst/>
            </c:spPr>
            <c:extLst>
              <c:ext xmlns:c16="http://schemas.microsoft.com/office/drawing/2014/chart" uri="{C3380CC4-5D6E-409C-BE32-E72D297353CC}">
                <c16:uniqueId val="{0000000F-2D77-439C-9AFA-7EED09D200F8}"/>
              </c:ext>
            </c:extLst>
          </c:dPt>
          <c:dPt>
            <c:idx val="8"/>
            <c:invertIfNegative val="0"/>
            <c:bubble3D val="0"/>
            <c:spPr>
              <a:solidFill>
                <a:schemeClr val="accent1"/>
              </a:solidFill>
              <a:ln>
                <a:noFill/>
              </a:ln>
              <a:effectLst/>
            </c:spPr>
            <c:extLst>
              <c:ext xmlns:c16="http://schemas.microsoft.com/office/drawing/2014/chart" uri="{C3380CC4-5D6E-409C-BE32-E72D297353CC}">
                <c16:uniqueId val="{00000011-2D77-439C-9AFA-7EED09D200F8}"/>
              </c:ext>
            </c:extLst>
          </c:dPt>
          <c:dPt>
            <c:idx val="9"/>
            <c:invertIfNegative val="0"/>
            <c:bubble3D val="0"/>
            <c:spPr>
              <a:solidFill>
                <a:schemeClr val="accent1"/>
              </a:solidFill>
              <a:ln>
                <a:noFill/>
              </a:ln>
              <a:effectLst/>
            </c:spPr>
            <c:extLst>
              <c:ext xmlns:c16="http://schemas.microsoft.com/office/drawing/2014/chart" uri="{C3380CC4-5D6E-409C-BE32-E72D297353CC}">
                <c16:uniqueId val="{00000013-2D77-439C-9AFA-7EED09D200F8}"/>
              </c:ext>
            </c:extLst>
          </c:dPt>
          <c:dLbls>
            <c:dLbl>
              <c:idx val="0"/>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2D77-439C-9AFA-7EED09D200F8}"/>
                </c:ext>
              </c:extLst>
            </c:dLbl>
            <c:dLbl>
              <c:idx val="1"/>
              <c:delete val="1"/>
              <c:extLst>
                <c:ext xmlns:c15="http://schemas.microsoft.com/office/drawing/2012/chart" uri="{CE6537A1-D6FC-4f65-9D91-7224C49458BB}"/>
                <c:ext xmlns:c16="http://schemas.microsoft.com/office/drawing/2014/chart" uri="{C3380CC4-5D6E-409C-BE32-E72D297353CC}">
                  <c16:uniqueId val="{00000003-2D77-439C-9AFA-7EED09D200F8}"/>
                </c:ext>
              </c:extLst>
            </c:dLbl>
            <c:dLbl>
              <c:idx val="2"/>
              <c:delete val="1"/>
              <c:extLst>
                <c:ext xmlns:c15="http://schemas.microsoft.com/office/drawing/2012/chart" uri="{CE6537A1-D6FC-4f65-9D91-7224C49458BB}"/>
                <c:ext xmlns:c16="http://schemas.microsoft.com/office/drawing/2014/chart" uri="{C3380CC4-5D6E-409C-BE32-E72D297353CC}">
                  <c16:uniqueId val="{00000005-2D77-439C-9AFA-7EED09D200F8}"/>
                </c:ext>
              </c:extLst>
            </c:dLbl>
            <c:dLbl>
              <c:idx val="3"/>
              <c:delete val="1"/>
              <c:extLst>
                <c:ext xmlns:c15="http://schemas.microsoft.com/office/drawing/2012/chart" uri="{CE6537A1-D6FC-4f65-9D91-7224C49458BB}"/>
                <c:ext xmlns:c16="http://schemas.microsoft.com/office/drawing/2014/chart" uri="{C3380CC4-5D6E-409C-BE32-E72D297353CC}">
                  <c16:uniqueId val="{00000007-2D77-439C-9AFA-7EED09D200F8}"/>
                </c:ext>
              </c:extLst>
            </c:dLbl>
            <c:dLbl>
              <c:idx val="4"/>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9-2D77-439C-9AFA-7EED09D200F8}"/>
                </c:ext>
              </c:extLst>
            </c:dLbl>
            <c:dLbl>
              <c:idx val="5"/>
              <c:delete val="1"/>
              <c:extLst>
                <c:ext xmlns:c15="http://schemas.microsoft.com/office/drawing/2012/chart" uri="{CE6537A1-D6FC-4f65-9D91-7224C49458BB}"/>
                <c:ext xmlns:c16="http://schemas.microsoft.com/office/drawing/2014/chart" uri="{C3380CC4-5D6E-409C-BE32-E72D297353CC}">
                  <c16:uniqueId val="{0000000B-2D77-439C-9AFA-7EED09D200F8}"/>
                </c:ext>
              </c:extLst>
            </c:dLbl>
            <c:dLbl>
              <c:idx val="6"/>
              <c:delete val="1"/>
              <c:extLst>
                <c:ext xmlns:c15="http://schemas.microsoft.com/office/drawing/2012/chart" uri="{CE6537A1-D6FC-4f65-9D91-7224C49458BB}"/>
                <c:ext xmlns:c16="http://schemas.microsoft.com/office/drawing/2014/chart" uri="{C3380CC4-5D6E-409C-BE32-E72D297353CC}">
                  <c16:uniqueId val="{0000000D-2D77-439C-9AFA-7EED09D200F8}"/>
                </c:ext>
              </c:extLst>
            </c:dLbl>
            <c:dLbl>
              <c:idx val="7"/>
              <c:delete val="1"/>
              <c:extLst>
                <c:ext xmlns:c15="http://schemas.microsoft.com/office/drawing/2012/chart" uri="{CE6537A1-D6FC-4f65-9D91-7224C49458BB}"/>
                <c:ext xmlns:c16="http://schemas.microsoft.com/office/drawing/2014/chart" uri="{C3380CC4-5D6E-409C-BE32-E72D297353CC}">
                  <c16:uniqueId val="{0000000F-2D77-439C-9AFA-7EED09D200F8}"/>
                </c:ext>
              </c:extLst>
            </c:dLbl>
            <c:dLbl>
              <c:idx val="8"/>
              <c:delete val="1"/>
              <c:extLst>
                <c:ext xmlns:c15="http://schemas.microsoft.com/office/drawing/2012/chart" uri="{CE6537A1-D6FC-4f65-9D91-7224C49458BB}"/>
                <c:ext xmlns:c16="http://schemas.microsoft.com/office/drawing/2014/chart" uri="{C3380CC4-5D6E-409C-BE32-E72D297353CC}">
                  <c16:uniqueId val="{00000011-2D77-439C-9AFA-7EED09D200F8}"/>
                </c:ext>
              </c:extLst>
            </c:dLbl>
            <c:dLbl>
              <c:idx val="9"/>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13-2D77-439C-9AFA-7EED09D200F8}"/>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1</c:f>
              <c:numCache>
                <c:formatCode>General</c:formatCode>
                <c:ptCount val="10"/>
                <c:pt idx="0">
                  <c:v>2013</c:v>
                </c:pt>
                <c:pt idx="1">
                  <c:v>2014</c:v>
                </c:pt>
                <c:pt idx="2">
                  <c:v>2015</c:v>
                </c:pt>
                <c:pt idx="3">
                  <c:v>2016</c:v>
                </c:pt>
                <c:pt idx="4">
                  <c:v>2017</c:v>
                </c:pt>
                <c:pt idx="5">
                  <c:v>2018</c:v>
                </c:pt>
                <c:pt idx="6">
                  <c:v>2019</c:v>
                </c:pt>
                <c:pt idx="7">
                  <c:v>2020</c:v>
                </c:pt>
                <c:pt idx="8">
                  <c:v>2021</c:v>
                </c:pt>
                <c:pt idx="9">
                  <c:v>2022</c:v>
                </c:pt>
              </c:numCache>
            </c:numRef>
          </c:cat>
          <c:val>
            <c:numRef>
              <c:f>Sheet1!$B$2:$B$11</c:f>
              <c:numCache>
                <c:formatCode>General</c:formatCode>
                <c:ptCount val="10"/>
                <c:pt idx="0" formatCode="0.000">
                  <c:v>3.0339151715479828</c:v>
                </c:pt>
                <c:pt idx="1">
                  <c:v>4.0999999999999996</c:v>
                </c:pt>
                <c:pt idx="2">
                  <c:v>5.165</c:v>
                </c:pt>
                <c:pt idx="3" formatCode="0.000">
                  <c:v>6.0628099173553727</c:v>
                </c:pt>
                <c:pt idx="4">
                  <c:v>7.3360000000000003</c:v>
                </c:pt>
                <c:pt idx="5">
                  <c:v>9.536999999999999</c:v>
                </c:pt>
                <c:pt idx="6">
                  <c:v>11.738</c:v>
                </c:pt>
                <c:pt idx="7">
                  <c:v>14.965999999999999</c:v>
                </c:pt>
                <c:pt idx="8">
                  <c:v>18.193999999999999</c:v>
                </c:pt>
                <c:pt idx="9">
                  <c:v>22.7485</c:v>
                </c:pt>
              </c:numCache>
            </c:numRef>
          </c:val>
          <c:extLst>
            <c:ext xmlns:c16="http://schemas.microsoft.com/office/drawing/2014/chart" uri="{C3380CC4-5D6E-409C-BE32-E72D297353CC}">
              <c16:uniqueId val="{00000014-2D77-439C-9AFA-7EED09D200F8}"/>
            </c:ext>
          </c:extLst>
        </c:ser>
        <c:dLbls>
          <c:dLblPos val="outEnd"/>
          <c:showLegendKey val="0"/>
          <c:showVal val="1"/>
          <c:showCatName val="0"/>
          <c:showSerName val="0"/>
          <c:showPercent val="0"/>
          <c:showBubbleSize val="0"/>
        </c:dLbls>
        <c:gapWidth val="219"/>
        <c:overlap val="-27"/>
        <c:axId val="899310616"/>
        <c:axId val="899310224"/>
      </c:barChart>
      <c:catAx>
        <c:axId val="8993106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99310224"/>
        <c:crosses val="autoZero"/>
        <c:auto val="1"/>
        <c:lblAlgn val="ctr"/>
        <c:lblOffset val="100"/>
        <c:noMultiLvlLbl val="0"/>
      </c:catAx>
      <c:valAx>
        <c:axId val="89931022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9931061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6481450456991"/>
          <c:y val="0.10969202898550701"/>
          <c:w val="0.67871270080601598"/>
          <c:h val="0.69346732473658201"/>
        </c:manualLayout>
      </c:layout>
      <c:pieChart>
        <c:varyColors val="1"/>
        <c:ser>
          <c:idx val="0"/>
          <c:order val="0"/>
          <c:tx>
            <c:strRef>
              <c:f>Sheet1!$B$1</c:f>
              <c:strCache>
                <c:ptCount val="1"/>
                <c:pt idx="0">
                  <c:v>Q1</c:v>
                </c:pt>
              </c:strCache>
            </c:strRef>
          </c:tx>
          <c:spPr>
            <a:solidFill>
              <a:schemeClr val="accent5"/>
            </a:solidFill>
            <a:ln w="12700">
              <a:solidFill>
                <a:schemeClr val="bg1"/>
              </a:solidFill>
            </a:ln>
          </c:spPr>
          <c:dPt>
            <c:idx val="0"/>
            <c:bubble3D val="0"/>
            <c:spPr>
              <a:solidFill>
                <a:srgbClr val="787878"/>
              </a:solidFill>
              <a:ln w="12700">
                <a:solidFill>
                  <a:srgbClr val="787878"/>
                </a:solidFill>
              </a:ln>
            </c:spPr>
            <c:extLst>
              <c:ext xmlns:c16="http://schemas.microsoft.com/office/drawing/2014/chart" uri="{C3380CC4-5D6E-409C-BE32-E72D297353CC}">
                <c16:uniqueId val="{00000001-5C18-4F00-B28C-0F122A04BAE4}"/>
              </c:ext>
            </c:extLst>
          </c:dPt>
          <c:dPt>
            <c:idx val="1"/>
            <c:bubble3D val="0"/>
            <c:spPr>
              <a:solidFill>
                <a:srgbClr val="F2F2F2"/>
              </a:solidFill>
              <a:ln w="12700">
                <a:noFill/>
              </a:ln>
            </c:spPr>
            <c:extLst>
              <c:ext xmlns:c16="http://schemas.microsoft.com/office/drawing/2014/chart" uri="{C3380CC4-5D6E-409C-BE32-E72D297353CC}">
                <c16:uniqueId val="{00000003-5C18-4F00-B28C-0F122A04BAE4}"/>
              </c:ext>
            </c:extLst>
          </c:dPt>
          <c:dPt>
            <c:idx val="2"/>
            <c:bubble3D val="0"/>
            <c:spPr>
              <a:solidFill>
                <a:srgbClr val="FCD200"/>
              </a:solidFill>
              <a:ln w="12700">
                <a:solidFill>
                  <a:srgbClr val="FFC000"/>
                </a:solidFill>
              </a:ln>
            </c:spPr>
            <c:extLst>
              <c:ext xmlns:c16="http://schemas.microsoft.com/office/drawing/2014/chart" uri="{C3380CC4-5D6E-409C-BE32-E72D297353CC}">
                <c16:uniqueId val="{00000005-5C18-4F00-B28C-0F122A04BAE4}"/>
              </c:ext>
            </c:extLst>
          </c:dPt>
          <c:dPt>
            <c:idx val="3"/>
            <c:bubble3D val="0"/>
            <c:spPr>
              <a:solidFill>
                <a:srgbClr val="86F200"/>
              </a:solidFill>
              <a:ln w="12700">
                <a:solidFill>
                  <a:srgbClr val="86F200"/>
                </a:solidFill>
              </a:ln>
            </c:spPr>
            <c:extLst>
              <c:ext xmlns:c16="http://schemas.microsoft.com/office/drawing/2014/chart" uri="{C3380CC4-5D6E-409C-BE32-E72D297353CC}">
                <c16:uniqueId val="{00000007-5C18-4F00-B28C-0F122A04BAE4}"/>
              </c:ext>
            </c:extLst>
          </c:dPt>
          <c:dPt>
            <c:idx val="4"/>
            <c:bubble3D val="0"/>
            <c:spPr>
              <a:solidFill>
                <a:srgbClr val="34F0FF"/>
              </a:solidFill>
              <a:ln w="12700">
                <a:solidFill>
                  <a:srgbClr val="34F0FF"/>
                </a:solidFill>
              </a:ln>
            </c:spPr>
            <c:extLst>
              <c:ext xmlns:c16="http://schemas.microsoft.com/office/drawing/2014/chart" uri="{C3380CC4-5D6E-409C-BE32-E72D297353CC}">
                <c16:uniqueId val="{00000009-5C18-4F00-B28C-0F122A04BAE4}"/>
              </c:ext>
            </c:extLst>
          </c:dPt>
          <c:dPt>
            <c:idx val="5"/>
            <c:bubble3D val="0"/>
            <c:extLst>
              <c:ext xmlns:c16="http://schemas.microsoft.com/office/drawing/2014/chart" uri="{C3380CC4-5D6E-409C-BE32-E72D297353CC}">
                <c16:uniqueId val="{0000000A-5C18-4F00-B28C-0F122A04BAE4}"/>
              </c:ext>
            </c:extLst>
          </c:dPt>
          <c:dPt>
            <c:idx val="6"/>
            <c:bubble3D val="0"/>
            <c:extLst>
              <c:ext xmlns:c16="http://schemas.microsoft.com/office/drawing/2014/chart" uri="{C3380CC4-5D6E-409C-BE32-E72D297353CC}">
                <c16:uniqueId val="{0000000B-5C18-4F00-B28C-0F122A04BAE4}"/>
              </c:ext>
            </c:extLst>
          </c:dPt>
          <c:dPt>
            <c:idx val="7"/>
            <c:bubble3D val="0"/>
            <c:extLst>
              <c:ext xmlns:c16="http://schemas.microsoft.com/office/drawing/2014/chart" uri="{C3380CC4-5D6E-409C-BE32-E72D297353CC}">
                <c16:uniqueId val="{0000000C-5C18-4F00-B28C-0F122A04BAE4}"/>
              </c:ext>
            </c:extLst>
          </c:dPt>
          <c:dPt>
            <c:idx val="8"/>
            <c:bubble3D val="0"/>
            <c:extLst>
              <c:ext xmlns:c16="http://schemas.microsoft.com/office/drawing/2014/chart" uri="{C3380CC4-5D6E-409C-BE32-E72D297353CC}">
                <c16:uniqueId val="{0000000D-5C18-4F00-B28C-0F122A04BAE4}"/>
              </c:ext>
            </c:extLst>
          </c:dPt>
          <c:cat>
            <c:strRef>
              <c:f>Sheet1!$A$2:$A$6</c:f>
              <c:strCache>
                <c:ptCount val="5"/>
                <c:pt idx="0">
                  <c:v>Label A</c:v>
                </c:pt>
                <c:pt idx="1">
                  <c:v>Label B</c:v>
                </c:pt>
                <c:pt idx="2">
                  <c:v>Label C</c:v>
                </c:pt>
                <c:pt idx="3">
                  <c:v>Label D</c:v>
                </c:pt>
                <c:pt idx="4">
                  <c:v>Label E</c:v>
                </c:pt>
              </c:strCache>
            </c:strRef>
          </c:cat>
          <c:val>
            <c:numRef>
              <c:f>Sheet1!$B$2:$B$6</c:f>
              <c:numCache>
                <c:formatCode>General</c:formatCode>
                <c:ptCount val="5"/>
                <c:pt idx="0">
                  <c:v>20</c:v>
                </c:pt>
                <c:pt idx="1">
                  <c:v>20</c:v>
                </c:pt>
                <c:pt idx="2">
                  <c:v>20</c:v>
                </c:pt>
                <c:pt idx="3">
                  <c:v>20</c:v>
                </c:pt>
                <c:pt idx="4">
                  <c:v>20</c:v>
                </c:pt>
              </c:numCache>
            </c:numRef>
          </c:val>
          <c:extLst>
            <c:ext xmlns:c16="http://schemas.microsoft.com/office/drawing/2014/chart" uri="{C3380CC4-5D6E-409C-BE32-E72D297353CC}">
              <c16:uniqueId val="{0000000E-5C18-4F00-B28C-0F122A04BAE4}"/>
            </c:ext>
          </c:extLst>
        </c:ser>
        <c:dLbls>
          <c:showLegendKey val="0"/>
          <c:showVal val="0"/>
          <c:showCatName val="0"/>
          <c:showSerName val="0"/>
          <c:showPercent val="0"/>
          <c:showBubbleSize val="0"/>
          <c:showLeaderLines val="1"/>
        </c:dLbls>
        <c:firstSliceAng val="73"/>
      </c:pieChart>
    </c:plotArea>
    <c:plotVisOnly val="1"/>
    <c:dispBlanksAs val="zero"/>
    <c:showDLblsOverMax val="0"/>
  </c:chart>
  <c:spPr>
    <a:ln>
      <a:noFill/>
    </a:ln>
  </c:spPr>
  <c:txPr>
    <a:bodyPr/>
    <a:lstStyle/>
    <a:p>
      <a:pPr>
        <a:defRPr sz="1000" b="1">
          <a:solidFill>
            <a:schemeClr val="bg1"/>
          </a:solidFill>
        </a:defRPr>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w="76200">
              <a:solidFill>
                <a:schemeClr val="bg1"/>
              </a:solidFill>
            </a:ln>
          </c:spPr>
          <c:dPt>
            <c:idx val="0"/>
            <c:bubble3D val="0"/>
            <c:spPr>
              <a:solidFill>
                <a:schemeClr val="accent1"/>
              </a:solidFill>
              <a:ln w="76200">
                <a:solidFill>
                  <a:schemeClr val="bg1"/>
                </a:solidFill>
              </a:ln>
              <a:effectLst/>
            </c:spPr>
            <c:extLst>
              <c:ext xmlns:c16="http://schemas.microsoft.com/office/drawing/2014/chart" uri="{C3380CC4-5D6E-409C-BE32-E72D297353CC}">
                <c16:uniqueId val="{00000001-DF6F-4ECD-B184-ACF6A6CE08BE}"/>
              </c:ext>
            </c:extLst>
          </c:dPt>
          <c:dPt>
            <c:idx val="1"/>
            <c:bubble3D val="0"/>
            <c:spPr>
              <a:solidFill>
                <a:schemeClr val="accent2"/>
              </a:solidFill>
              <a:ln w="76200">
                <a:solidFill>
                  <a:schemeClr val="bg1"/>
                </a:solidFill>
              </a:ln>
              <a:effectLst/>
            </c:spPr>
            <c:extLst>
              <c:ext xmlns:c16="http://schemas.microsoft.com/office/drawing/2014/chart" uri="{C3380CC4-5D6E-409C-BE32-E72D297353CC}">
                <c16:uniqueId val="{00000003-DF6F-4ECD-B184-ACF6A6CE08BE}"/>
              </c:ext>
            </c:extLst>
          </c:dPt>
          <c:dPt>
            <c:idx val="2"/>
            <c:bubble3D val="0"/>
            <c:spPr>
              <a:solidFill>
                <a:schemeClr val="accent3"/>
              </a:solidFill>
              <a:ln w="76200">
                <a:solidFill>
                  <a:schemeClr val="bg1"/>
                </a:solidFill>
              </a:ln>
              <a:effectLst/>
            </c:spPr>
            <c:extLst>
              <c:ext xmlns:c16="http://schemas.microsoft.com/office/drawing/2014/chart" uri="{C3380CC4-5D6E-409C-BE32-E72D297353CC}">
                <c16:uniqueId val="{00000005-DF6F-4ECD-B184-ACF6A6CE08BE}"/>
              </c:ext>
            </c:extLst>
          </c:dPt>
          <c:dPt>
            <c:idx val="3"/>
            <c:bubble3D val="0"/>
            <c:spPr>
              <a:solidFill>
                <a:schemeClr val="accent4"/>
              </a:solidFill>
              <a:ln w="76200">
                <a:solidFill>
                  <a:schemeClr val="bg1"/>
                </a:solidFill>
              </a:ln>
              <a:effectLst/>
            </c:spPr>
            <c:extLst>
              <c:ext xmlns:c16="http://schemas.microsoft.com/office/drawing/2014/chart" uri="{C3380CC4-5D6E-409C-BE32-E72D297353CC}">
                <c16:uniqueId val="{00000007-DF6F-4ECD-B184-ACF6A6CE08BE}"/>
              </c:ext>
            </c:extLst>
          </c:dPt>
          <c:dPt>
            <c:idx val="4"/>
            <c:bubble3D val="0"/>
            <c:spPr>
              <a:solidFill>
                <a:schemeClr val="bg1">
                  <a:lumMod val="75000"/>
                </a:schemeClr>
              </a:solidFill>
              <a:ln w="76200">
                <a:solidFill>
                  <a:schemeClr val="bg1"/>
                </a:solidFill>
              </a:ln>
              <a:effectLst/>
            </c:spPr>
            <c:extLst>
              <c:ext xmlns:c16="http://schemas.microsoft.com/office/drawing/2014/chart" uri="{C3380CC4-5D6E-409C-BE32-E72D297353CC}">
                <c16:uniqueId val="{00000009-DF6F-4ECD-B184-ACF6A6CE08BE}"/>
              </c:ext>
            </c:extLst>
          </c:dPt>
          <c:cat>
            <c:strRef>
              <c:f>Sheet1!$A$2:$A$6</c:f>
              <c:strCache>
                <c:ptCount val="5"/>
                <c:pt idx="0">
                  <c:v>1st Qtr</c:v>
                </c:pt>
                <c:pt idx="1">
                  <c:v>2nd Qtr</c:v>
                </c:pt>
                <c:pt idx="2">
                  <c:v>3rd Qtr</c:v>
                </c:pt>
                <c:pt idx="3">
                  <c:v>4th Qtr</c:v>
                </c:pt>
                <c:pt idx="4">
                  <c:v>4th Qtr</c:v>
                </c:pt>
              </c:strCache>
            </c:strRef>
          </c:cat>
          <c:val>
            <c:numRef>
              <c:f>Sheet1!$B$2:$B$6</c:f>
              <c:numCache>
                <c:formatCode>General</c:formatCode>
                <c:ptCount val="5"/>
                <c:pt idx="0">
                  <c:v>10</c:v>
                </c:pt>
                <c:pt idx="1">
                  <c:v>10</c:v>
                </c:pt>
                <c:pt idx="2">
                  <c:v>10</c:v>
                </c:pt>
                <c:pt idx="3">
                  <c:v>10</c:v>
                </c:pt>
                <c:pt idx="4">
                  <c:v>10</c:v>
                </c:pt>
              </c:numCache>
            </c:numRef>
          </c:val>
          <c:extLst>
            <c:ext xmlns:c16="http://schemas.microsoft.com/office/drawing/2014/chart" uri="{C3380CC4-5D6E-409C-BE32-E72D297353CC}">
              <c16:uniqueId val="{0000000A-DF6F-4ECD-B184-ACF6A6CE08B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sz="1400" b="1" dirty="0"/>
              <a:t>PURCHASE</a:t>
            </a:r>
            <a:r>
              <a:rPr lang="en-US" sz="1400" b="1" baseline="0" dirty="0"/>
              <a:t> PRICE*</a:t>
            </a:r>
            <a:endParaRPr lang="en-US" sz="1400" b="1" dirty="0"/>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percentStacked"/>
        <c:varyColors val="0"/>
        <c:ser>
          <c:idx val="0"/>
          <c:order val="0"/>
          <c:tx>
            <c:strRef>
              <c:f>Sheet1!$B$1</c:f>
              <c:strCache>
                <c:ptCount val="1"/>
                <c:pt idx="0">
                  <c:v>&lt;$10K</c:v>
                </c:pt>
              </c:strCache>
            </c:strRef>
          </c:tx>
          <c:spPr>
            <a:solidFill>
              <a:schemeClr val="accent1"/>
            </a:solidFill>
            <a:ln>
              <a:noFill/>
            </a:ln>
            <a:effectLst/>
          </c:spPr>
          <c:invertIfNegative val="0"/>
          <c:dLbls>
            <c:dLbl>
              <c:idx val="0"/>
              <c:tx>
                <c:rich>
                  <a:bodyPr/>
                  <a:lstStyle/>
                  <a:p>
                    <a:fld id="{E49380AE-73C8-4AB8-9E00-814B4A9822A0}" type="VALUE">
                      <a:rPr lang="en-US" baseline="0" smtClean="0"/>
                      <a:pPr/>
                      <a:t>[VALUE]</a:t>
                    </a:fld>
                    <a:endParaRPr lang="en-US"/>
                  </a:p>
                </c:rich>
              </c:tx>
              <c:dLblPos val="ctr"/>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FE83-4E0D-AC3E-887F480FF8B6}"/>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Purchase Price</c:v>
                </c:pt>
              </c:strCache>
            </c:strRef>
          </c:cat>
          <c:val>
            <c:numRef>
              <c:f>Sheet1!$B$2</c:f>
              <c:numCache>
                <c:formatCode>0%</c:formatCode>
                <c:ptCount val="1"/>
                <c:pt idx="0">
                  <c:v>0.2</c:v>
                </c:pt>
              </c:numCache>
            </c:numRef>
          </c:val>
          <c:extLst>
            <c:ext xmlns:c16="http://schemas.microsoft.com/office/drawing/2014/chart" uri="{C3380CC4-5D6E-409C-BE32-E72D297353CC}">
              <c16:uniqueId val="{00000001-FE83-4E0D-AC3E-887F480FF8B6}"/>
            </c:ext>
          </c:extLst>
        </c:ser>
        <c:ser>
          <c:idx val="1"/>
          <c:order val="1"/>
          <c:tx>
            <c:strRef>
              <c:f>Sheet1!$C$1</c:f>
              <c:strCache>
                <c:ptCount val="1"/>
                <c:pt idx="0">
                  <c:v>$10-19K</c:v>
                </c:pt>
              </c:strCache>
            </c:strRef>
          </c:tx>
          <c:spPr>
            <a:solidFill>
              <a:schemeClr val="accent2"/>
            </a:solidFill>
            <a:ln>
              <a:noFill/>
            </a:ln>
            <a:effectLst/>
          </c:spPr>
          <c:invertIfNegative val="0"/>
          <c:dLbls>
            <c:dLbl>
              <c:idx val="0"/>
              <c:tx>
                <c:rich>
                  <a:bodyPr/>
                  <a:lstStyle/>
                  <a:p>
                    <a:fld id="{D180AFF4-CB6E-41F7-B766-7E8C72C55DB8}" type="VALUE">
                      <a:rPr lang="en-US" baseline="0" smtClean="0"/>
                      <a:pPr/>
                      <a:t>[VALUE]</a:t>
                    </a:fld>
                    <a:endParaRPr lang="en-US"/>
                  </a:p>
                </c:rich>
              </c:tx>
              <c:dLblPos val="ctr"/>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FE83-4E0D-AC3E-887F480FF8B6}"/>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Purchase Price</c:v>
                </c:pt>
              </c:strCache>
            </c:strRef>
          </c:cat>
          <c:val>
            <c:numRef>
              <c:f>Sheet1!$C$2</c:f>
              <c:numCache>
                <c:formatCode>0%</c:formatCode>
                <c:ptCount val="1"/>
                <c:pt idx="0">
                  <c:v>0.6</c:v>
                </c:pt>
              </c:numCache>
            </c:numRef>
          </c:val>
          <c:extLst>
            <c:ext xmlns:c16="http://schemas.microsoft.com/office/drawing/2014/chart" uri="{C3380CC4-5D6E-409C-BE32-E72D297353CC}">
              <c16:uniqueId val="{00000003-FE83-4E0D-AC3E-887F480FF8B6}"/>
            </c:ext>
          </c:extLst>
        </c:ser>
        <c:ser>
          <c:idx val="2"/>
          <c:order val="2"/>
          <c:tx>
            <c:strRef>
              <c:f>Sheet1!$D$1</c:f>
              <c:strCache>
                <c:ptCount val="1"/>
                <c:pt idx="0">
                  <c:v>&gt;$20K</c:v>
                </c:pt>
              </c:strCache>
            </c:strRef>
          </c:tx>
          <c:spPr>
            <a:solidFill>
              <a:schemeClr val="accent3"/>
            </a:solidFill>
            <a:ln>
              <a:noFill/>
            </a:ln>
            <a:effectLst/>
          </c:spPr>
          <c:invertIfNegative val="0"/>
          <c:dLbls>
            <c:dLbl>
              <c:idx val="0"/>
              <c:tx>
                <c:rich>
                  <a:bodyPr/>
                  <a:lstStyle/>
                  <a:p>
                    <a:fld id="{EF8C5130-DD09-4BEC-A8C7-B5A7831458DC}" type="VALUE">
                      <a:rPr lang="en-US" baseline="0" smtClean="0"/>
                      <a:pPr/>
                      <a:t>[VALUE]</a:t>
                    </a:fld>
                    <a:endParaRPr lang="en-US"/>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FE83-4E0D-AC3E-887F480FF8B6}"/>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Purchase Price</c:v>
                </c:pt>
              </c:strCache>
            </c:strRef>
          </c:cat>
          <c:val>
            <c:numRef>
              <c:f>Sheet1!$D$2</c:f>
              <c:numCache>
                <c:formatCode>0%</c:formatCode>
                <c:ptCount val="1"/>
                <c:pt idx="0">
                  <c:v>0.2</c:v>
                </c:pt>
              </c:numCache>
            </c:numRef>
          </c:val>
          <c:extLst>
            <c:ext xmlns:c16="http://schemas.microsoft.com/office/drawing/2014/chart" uri="{C3380CC4-5D6E-409C-BE32-E72D297353CC}">
              <c16:uniqueId val="{00000005-FE83-4E0D-AC3E-887F480FF8B6}"/>
            </c:ext>
          </c:extLst>
        </c:ser>
        <c:dLbls>
          <c:showLegendKey val="0"/>
          <c:showVal val="0"/>
          <c:showCatName val="0"/>
          <c:showSerName val="0"/>
          <c:showPercent val="0"/>
          <c:showBubbleSize val="0"/>
        </c:dLbls>
        <c:gapWidth val="150"/>
        <c:overlap val="100"/>
        <c:axId val="914795544"/>
        <c:axId val="914785704"/>
      </c:barChart>
      <c:catAx>
        <c:axId val="914795544"/>
        <c:scaling>
          <c:orientation val="minMax"/>
        </c:scaling>
        <c:delete val="1"/>
        <c:axPos val="l"/>
        <c:numFmt formatCode="General" sourceLinked="1"/>
        <c:majorTickMark val="none"/>
        <c:minorTickMark val="none"/>
        <c:tickLblPos val="nextTo"/>
        <c:crossAx val="914785704"/>
        <c:crosses val="autoZero"/>
        <c:auto val="1"/>
        <c:lblAlgn val="ctr"/>
        <c:lblOffset val="100"/>
        <c:noMultiLvlLbl val="0"/>
      </c:catAx>
      <c:valAx>
        <c:axId val="914785704"/>
        <c:scaling>
          <c:orientation val="minMax"/>
        </c:scaling>
        <c:delete val="1"/>
        <c:axPos val="b"/>
        <c:numFmt formatCode="0%" sourceLinked="1"/>
        <c:majorTickMark val="none"/>
        <c:minorTickMark val="none"/>
        <c:tickLblPos val="nextTo"/>
        <c:crossAx val="914795544"/>
        <c:crosses val="autoZero"/>
        <c:crossBetween val="between"/>
      </c:valAx>
      <c:spPr>
        <a:noFill/>
        <a:ln>
          <a:noFill/>
        </a:ln>
        <a:effectLst/>
      </c:spPr>
    </c:plotArea>
    <c:legend>
      <c:legendPos val="b"/>
      <c:layout>
        <c:manualLayout>
          <c:xMode val="edge"/>
          <c:yMode val="edge"/>
          <c:x val="0.10000028841591883"/>
          <c:y val="0.64736567416658575"/>
          <c:w val="0.87743151319979285"/>
          <c:h val="0.16223930006628756"/>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A$2</c:f>
              <c:strCache>
                <c:ptCount val="1"/>
                <c:pt idx="0">
                  <c:v>overall</c:v>
                </c:pt>
              </c:strCache>
            </c:strRef>
          </c:tx>
          <c:spPr>
            <a:ln w="28575" cap="rnd">
              <a:solidFill>
                <a:schemeClr val="accent1"/>
              </a:solidFill>
              <a:prstDash val="solid"/>
              <a:round/>
            </a:ln>
            <a:effectLst/>
          </c:spPr>
          <c:marker>
            <c:symbol val="none"/>
          </c:marker>
          <c:cat>
            <c:strRef>
              <c:f>Sheet1!$B$1:$F$1</c:f>
              <c:strCache>
                <c:ptCount val="5"/>
                <c:pt idx="0">
                  <c:v>Series 1</c:v>
                </c:pt>
                <c:pt idx="1">
                  <c:v>Series 2</c:v>
                </c:pt>
                <c:pt idx="2">
                  <c:v>Series 3</c:v>
                </c:pt>
                <c:pt idx="3">
                  <c:v>Series 4</c:v>
                </c:pt>
                <c:pt idx="4">
                  <c:v>Series 5</c:v>
                </c:pt>
              </c:strCache>
            </c:strRef>
          </c:cat>
          <c:val>
            <c:numRef>
              <c:f>Sheet1!$B$2:$F$2</c:f>
              <c:numCache>
                <c:formatCode>0%</c:formatCode>
                <c:ptCount val="5"/>
                <c:pt idx="0">
                  <c:v>0.53</c:v>
                </c:pt>
                <c:pt idx="1">
                  <c:v>0.84</c:v>
                </c:pt>
                <c:pt idx="2">
                  <c:v>0.64</c:v>
                </c:pt>
                <c:pt idx="3">
                  <c:v>0.28000000000000003</c:v>
                </c:pt>
                <c:pt idx="4">
                  <c:v>0.37</c:v>
                </c:pt>
              </c:numCache>
            </c:numRef>
          </c:val>
          <c:smooth val="0"/>
          <c:extLst>
            <c:ext xmlns:c16="http://schemas.microsoft.com/office/drawing/2014/chart" uri="{C3380CC4-5D6E-409C-BE32-E72D297353CC}">
              <c16:uniqueId val="{00000000-2D5F-4220-88DB-7EDBE211A5A0}"/>
            </c:ext>
          </c:extLst>
        </c:ser>
        <c:dLbls>
          <c:showLegendKey val="0"/>
          <c:showVal val="0"/>
          <c:showCatName val="0"/>
          <c:showSerName val="0"/>
          <c:showPercent val="0"/>
          <c:showBubbleSize val="0"/>
        </c:dLbls>
        <c:smooth val="0"/>
        <c:axId val="1155807792"/>
        <c:axId val="1155804656"/>
        <c:extLst>
          <c:ext xmlns:c15="http://schemas.microsoft.com/office/drawing/2012/chart" uri="{02D57815-91ED-43cb-92C2-25804820EDAC}">
            <c15:filteredLineSeries>
              <c15:ser>
                <c:idx val="1"/>
                <c:order val="1"/>
                <c:tx>
                  <c:strRef>
                    <c:extLst>
                      <c:ext uri="{02D57815-91ED-43cb-92C2-25804820EDAC}">
                        <c15:formulaRef>
                          <c15:sqref>Sheet1!$A$3</c15:sqref>
                        </c15:formulaRef>
                      </c:ext>
                    </c:extLst>
                    <c:strCache>
                      <c:ptCount val="1"/>
                      <c:pt idx="0">
                        <c:v>general grocery</c:v>
                      </c:pt>
                    </c:strCache>
                  </c:strRef>
                </c:tx>
                <c:spPr>
                  <a:ln w="9525" cap="rnd">
                    <a:solidFill>
                      <a:schemeClr val="accent2"/>
                    </a:solidFill>
                    <a:prstDash val="solid"/>
                    <a:round/>
                  </a:ln>
                  <a:effectLst/>
                </c:spPr>
                <c:marker>
                  <c:symbol val="none"/>
                </c:marker>
                <c:cat>
                  <c:strRef>
                    <c:extLst>
                      <c:ext uri="{02D57815-91ED-43cb-92C2-25804820EDAC}">
                        <c15:formulaRef>
                          <c15:sqref>Sheet1!$B$1:$F$1</c15:sqref>
                        </c15:formulaRef>
                      </c:ext>
                    </c:extLst>
                    <c:strCache>
                      <c:ptCount val="5"/>
                      <c:pt idx="0">
                        <c:v>Series 1</c:v>
                      </c:pt>
                      <c:pt idx="1">
                        <c:v>Series 2</c:v>
                      </c:pt>
                      <c:pt idx="2">
                        <c:v>Series 3</c:v>
                      </c:pt>
                      <c:pt idx="3">
                        <c:v>Series 4</c:v>
                      </c:pt>
                      <c:pt idx="4">
                        <c:v>Series 5</c:v>
                      </c:pt>
                    </c:strCache>
                  </c:strRef>
                </c:cat>
                <c:val>
                  <c:numRef>
                    <c:extLst>
                      <c:ext uri="{02D57815-91ED-43cb-92C2-25804820EDAC}">
                        <c15:formulaRef>
                          <c15:sqref>Sheet1!$B$3:$F$3</c15:sqref>
                        </c15:formulaRef>
                      </c:ext>
                    </c:extLst>
                    <c:numCache>
                      <c:formatCode>0%</c:formatCode>
                      <c:ptCount val="5"/>
                      <c:pt idx="0">
                        <c:v>0.49</c:v>
                      </c:pt>
                      <c:pt idx="1">
                        <c:v>0.84</c:v>
                      </c:pt>
                      <c:pt idx="2">
                        <c:v>0.62</c:v>
                      </c:pt>
                      <c:pt idx="3">
                        <c:v>0.28000000000000003</c:v>
                      </c:pt>
                      <c:pt idx="4">
                        <c:v>0.35</c:v>
                      </c:pt>
                    </c:numCache>
                  </c:numRef>
                </c:val>
                <c:smooth val="0"/>
                <c:extLst>
                  <c:ext xmlns:c16="http://schemas.microsoft.com/office/drawing/2014/chart" uri="{C3380CC4-5D6E-409C-BE32-E72D297353CC}">
                    <c16:uniqueId val="{00000001-2D5F-4220-88DB-7EDBE211A5A0}"/>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Sheet1!$A$4</c15:sqref>
                        </c15:formulaRef>
                      </c:ext>
                    </c:extLst>
                    <c:strCache>
                      <c:ptCount val="1"/>
                      <c:pt idx="0">
                        <c:v>fresh / perimeter</c:v>
                      </c:pt>
                    </c:strCache>
                  </c:strRef>
                </c:tx>
                <c:spPr>
                  <a:ln w="9525" cap="rnd">
                    <a:solidFill>
                      <a:schemeClr val="accent3"/>
                    </a:solidFill>
                    <a:prstDash val="solid"/>
                    <a:round/>
                  </a:ln>
                  <a:effectLst/>
                </c:spPr>
                <c:marker>
                  <c:symbol val="none"/>
                </c:marker>
                <c:cat>
                  <c:strRef>
                    <c:extLst xmlns:c15="http://schemas.microsoft.com/office/drawing/2012/chart">
                      <c:ext xmlns:c15="http://schemas.microsoft.com/office/drawing/2012/chart" uri="{02D57815-91ED-43cb-92C2-25804820EDAC}">
                        <c15:formulaRef>
                          <c15:sqref>Sheet1!$B$1:$F$1</c15:sqref>
                        </c15:formulaRef>
                      </c:ext>
                    </c:extLst>
                    <c:strCache>
                      <c:ptCount val="5"/>
                      <c:pt idx="0">
                        <c:v>Series 1</c:v>
                      </c:pt>
                      <c:pt idx="1">
                        <c:v>Series 2</c:v>
                      </c:pt>
                      <c:pt idx="2">
                        <c:v>Series 3</c:v>
                      </c:pt>
                      <c:pt idx="3">
                        <c:v>Series 4</c:v>
                      </c:pt>
                      <c:pt idx="4">
                        <c:v>Series 5</c:v>
                      </c:pt>
                    </c:strCache>
                  </c:strRef>
                </c:cat>
                <c:val>
                  <c:numRef>
                    <c:extLst xmlns:c15="http://schemas.microsoft.com/office/drawing/2012/chart">
                      <c:ext xmlns:c15="http://schemas.microsoft.com/office/drawing/2012/chart" uri="{02D57815-91ED-43cb-92C2-25804820EDAC}">
                        <c15:formulaRef>
                          <c15:sqref>Sheet1!$B$4:$F$4</c15:sqref>
                        </c15:formulaRef>
                      </c:ext>
                    </c:extLst>
                    <c:numCache>
                      <c:formatCode>0%</c:formatCode>
                      <c:ptCount val="5"/>
                      <c:pt idx="0">
                        <c:v>0.55000000000000004</c:v>
                      </c:pt>
                      <c:pt idx="1">
                        <c:v>0.84</c:v>
                      </c:pt>
                      <c:pt idx="2">
                        <c:v>0.65</c:v>
                      </c:pt>
                      <c:pt idx="3">
                        <c:v>0.23</c:v>
                      </c:pt>
                      <c:pt idx="4">
                        <c:v>0.39</c:v>
                      </c:pt>
                    </c:numCache>
                  </c:numRef>
                </c:val>
                <c:smooth val="0"/>
                <c:extLst xmlns:c15="http://schemas.microsoft.com/office/drawing/2012/chart">
                  <c:ext xmlns:c16="http://schemas.microsoft.com/office/drawing/2014/chart" uri="{C3380CC4-5D6E-409C-BE32-E72D297353CC}">
                    <c16:uniqueId val="{00000002-2D5F-4220-88DB-7EDBE211A5A0}"/>
                  </c:ext>
                </c:extLst>
              </c15:ser>
            </c15:filteredLineSeries>
            <c15:filteredLineSeries>
              <c15:ser>
                <c:idx val="3"/>
                <c:order val="3"/>
                <c:tx>
                  <c:strRef>
                    <c:extLst xmlns:c15="http://schemas.microsoft.com/office/drawing/2012/chart">
                      <c:ext xmlns:c15="http://schemas.microsoft.com/office/drawing/2012/chart" uri="{02D57815-91ED-43cb-92C2-25804820EDAC}">
                        <c15:formulaRef>
                          <c15:sqref>Sheet1!$A$5</c15:sqref>
                        </c15:formulaRef>
                      </c:ext>
                    </c:extLst>
                    <c:strCache>
                      <c:ptCount val="1"/>
                      <c:pt idx="0">
                        <c:v>frozen / refrigerated</c:v>
                      </c:pt>
                    </c:strCache>
                  </c:strRef>
                </c:tx>
                <c:spPr>
                  <a:ln w="9525" cap="rnd">
                    <a:solidFill>
                      <a:srgbClr val="002060"/>
                    </a:solidFill>
                    <a:prstDash val="solid"/>
                    <a:round/>
                  </a:ln>
                  <a:effectLst/>
                </c:spPr>
                <c:marker>
                  <c:symbol val="none"/>
                </c:marker>
                <c:cat>
                  <c:strRef>
                    <c:extLst xmlns:c15="http://schemas.microsoft.com/office/drawing/2012/chart">
                      <c:ext xmlns:c15="http://schemas.microsoft.com/office/drawing/2012/chart" uri="{02D57815-91ED-43cb-92C2-25804820EDAC}">
                        <c15:formulaRef>
                          <c15:sqref>Sheet1!$B$1:$F$1</c15:sqref>
                        </c15:formulaRef>
                      </c:ext>
                    </c:extLst>
                    <c:strCache>
                      <c:ptCount val="5"/>
                      <c:pt idx="0">
                        <c:v>Series 1</c:v>
                      </c:pt>
                      <c:pt idx="1">
                        <c:v>Series 2</c:v>
                      </c:pt>
                      <c:pt idx="2">
                        <c:v>Series 3</c:v>
                      </c:pt>
                      <c:pt idx="3">
                        <c:v>Series 4</c:v>
                      </c:pt>
                      <c:pt idx="4">
                        <c:v>Series 5</c:v>
                      </c:pt>
                    </c:strCache>
                  </c:strRef>
                </c:cat>
                <c:val>
                  <c:numRef>
                    <c:extLst xmlns:c15="http://schemas.microsoft.com/office/drawing/2012/chart">
                      <c:ext xmlns:c15="http://schemas.microsoft.com/office/drawing/2012/chart" uri="{02D57815-91ED-43cb-92C2-25804820EDAC}">
                        <c15:formulaRef>
                          <c15:sqref>Sheet1!$B$5:$F$5</c15:sqref>
                        </c15:formulaRef>
                      </c:ext>
                    </c:extLst>
                    <c:numCache>
                      <c:formatCode>0%</c:formatCode>
                      <c:ptCount val="5"/>
                      <c:pt idx="0">
                        <c:v>0.54</c:v>
                      </c:pt>
                      <c:pt idx="1">
                        <c:v>0.83</c:v>
                      </c:pt>
                      <c:pt idx="2">
                        <c:v>0.63</c:v>
                      </c:pt>
                      <c:pt idx="3">
                        <c:v>0.23</c:v>
                      </c:pt>
                      <c:pt idx="4">
                        <c:v>0.36</c:v>
                      </c:pt>
                    </c:numCache>
                  </c:numRef>
                </c:val>
                <c:smooth val="0"/>
                <c:extLst xmlns:c15="http://schemas.microsoft.com/office/drawing/2012/chart">
                  <c:ext xmlns:c16="http://schemas.microsoft.com/office/drawing/2014/chart" uri="{C3380CC4-5D6E-409C-BE32-E72D297353CC}">
                    <c16:uniqueId val="{00000003-2D5F-4220-88DB-7EDBE211A5A0}"/>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Sheet1!$A$6</c15:sqref>
                        </c15:formulaRef>
                      </c:ext>
                    </c:extLst>
                    <c:strCache>
                      <c:ptCount val="1"/>
                      <c:pt idx="0">
                        <c:v>beverages</c:v>
                      </c:pt>
                    </c:strCache>
                  </c:strRef>
                </c:tx>
                <c:spPr>
                  <a:ln w="9525" cap="rnd">
                    <a:solidFill>
                      <a:schemeClr val="accent5"/>
                    </a:solidFill>
                    <a:prstDash val="solid"/>
                    <a:round/>
                  </a:ln>
                  <a:effectLst/>
                </c:spPr>
                <c:marker>
                  <c:symbol val="none"/>
                </c:marker>
                <c:cat>
                  <c:strRef>
                    <c:extLst xmlns:c15="http://schemas.microsoft.com/office/drawing/2012/chart">
                      <c:ext xmlns:c15="http://schemas.microsoft.com/office/drawing/2012/chart" uri="{02D57815-91ED-43cb-92C2-25804820EDAC}">
                        <c15:formulaRef>
                          <c15:sqref>Sheet1!$B$1:$F$1</c15:sqref>
                        </c15:formulaRef>
                      </c:ext>
                    </c:extLst>
                    <c:strCache>
                      <c:ptCount val="5"/>
                      <c:pt idx="0">
                        <c:v>Series 1</c:v>
                      </c:pt>
                      <c:pt idx="1">
                        <c:v>Series 2</c:v>
                      </c:pt>
                      <c:pt idx="2">
                        <c:v>Series 3</c:v>
                      </c:pt>
                      <c:pt idx="3">
                        <c:v>Series 4</c:v>
                      </c:pt>
                      <c:pt idx="4">
                        <c:v>Series 5</c:v>
                      </c:pt>
                    </c:strCache>
                  </c:strRef>
                </c:cat>
                <c:val>
                  <c:numRef>
                    <c:extLst xmlns:c15="http://schemas.microsoft.com/office/drawing/2012/chart">
                      <c:ext xmlns:c15="http://schemas.microsoft.com/office/drawing/2012/chart" uri="{02D57815-91ED-43cb-92C2-25804820EDAC}">
                        <c15:formulaRef>
                          <c15:sqref>Sheet1!$B$6:$F$6</c15:sqref>
                        </c15:formulaRef>
                      </c:ext>
                    </c:extLst>
                    <c:numCache>
                      <c:formatCode>0%</c:formatCode>
                      <c:ptCount val="5"/>
                      <c:pt idx="0">
                        <c:v>0.55000000000000004</c:v>
                      </c:pt>
                      <c:pt idx="1">
                        <c:v>0.83</c:v>
                      </c:pt>
                      <c:pt idx="2">
                        <c:v>0.61</c:v>
                      </c:pt>
                      <c:pt idx="3">
                        <c:v>0.25</c:v>
                      </c:pt>
                      <c:pt idx="4">
                        <c:v>0.41</c:v>
                      </c:pt>
                    </c:numCache>
                  </c:numRef>
                </c:val>
                <c:smooth val="0"/>
                <c:extLst xmlns:c15="http://schemas.microsoft.com/office/drawing/2012/chart">
                  <c:ext xmlns:c16="http://schemas.microsoft.com/office/drawing/2014/chart" uri="{C3380CC4-5D6E-409C-BE32-E72D297353CC}">
                    <c16:uniqueId val="{00000004-2D5F-4220-88DB-7EDBE211A5A0}"/>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Sheet1!$A$7</c15:sqref>
                        </c15:formulaRef>
                      </c:ext>
                    </c:extLst>
                    <c:strCache>
                      <c:ptCount val="1"/>
                      <c:pt idx="0">
                        <c:v>alcohol</c:v>
                      </c:pt>
                    </c:strCache>
                  </c:strRef>
                </c:tx>
                <c:spPr>
                  <a:ln w="9525" cap="rnd">
                    <a:solidFill>
                      <a:schemeClr val="bg1">
                        <a:lumMod val="75000"/>
                      </a:schemeClr>
                    </a:solidFill>
                    <a:prstDash val="solid"/>
                    <a:round/>
                  </a:ln>
                  <a:effectLst/>
                </c:spPr>
                <c:marker>
                  <c:symbol val="none"/>
                </c:marker>
                <c:cat>
                  <c:strRef>
                    <c:extLst xmlns:c15="http://schemas.microsoft.com/office/drawing/2012/chart">
                      <c:ext xmlns:c15="http://schemas.microsoft.com/office/drawing/2012/chart" uri="{02D57815-91ED-43cb-92C2-25804820EDAC}">
                        <c15:formulaRef>
                          <c15:sqref>Sheet1!$B$1:$F$1</c15:sqref>
                        </c15:formulaRef>
                      </c:ext>
                    </c:extLst>
                    <c:strCache>
                      <c:ptCount val="5"/>
                      <c:pt idx="0">
                        <c:v>Series 1</c:v>
                      </c:pt>
                      <c:pt idx="1">
                        <c:v>Series 2</c:v>
                      </c:pt>
                      <c:pt idx="2">
                        <c:v>Series 3</c:v>
                      </c:pt>
                      <c:pt idx="3">
                        <c:v>Series 4</c:v>
                      </c:pt>
                      <c:pt idx="4">
                        <c:v>Series 5</c:v>
                      </c:pt>
                    </c:strCache>
                  </c:strRef>
                </c:cat>
                <c:val>
                  <c:numRef>
                    <c:extLst xmlns:c15="http://schemas.microsoft.com/office/drawing/2012/chart">
                      <c:ext xmlns:c15="http://schemas.microsoft.com/office/drawing/2012/chart" uri="{02D57815-91ED-43cb-92C2-25804820EDAC}">
                        <c15:formulaRef>
                          <c15:sqref>Sheet1!$B$7:$F$7</c15:sqref>
                        </c15:formulaRef>
                      </c:ext>
                    </c:extLst>
                    <c:numCache>
                      <c:formatCode>0%</c:formatCode>
                      <c:ptCount val="5"/>
                      <c:pt idx="0">
                        <c:v>0.52</c:v>
                      </c:pt>
                      <c:pt idx="1">
                        <c:v>0.87</c:v>
                      </c:pt>
                      <c:pt idx="2">
                        <c:v>0.73</c:v>
                      </c:pt>
                      <c:pt idx="3">
                        <c:v>0.23</c:v>
                      </c:pt>
                      <c:pt idx="4">
                        <c:v>0.43</c:v>
                      </c:pt>
                    </c:numCache>
                  </c:numRef>
                </c:val>
                <c:smooth val="0"/>
                <c:extLst xmlns:c15="http://schemas.microsoft.com/office/drawing/2012/chart">
                  <c:ext xmlns:c16="http://schemas.microsoft.com/office/drawing/2014/chart" uri="{C3380CC4-5D6E-409C-BE32-E72D297353CC}">
                    <c16:uniqueId val="{00000005-2D5F-4220-88DB-7EDBE211A5A0}"/>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Sheet1!$A$8</c15:sqref>
                        </c15:formulaRef>
                      </c:ext>
                    </c:extLst>
                    <c:strCache>
                      <c:ptCount val="1"/>
                      <c:pt idx="0">
                        <c:v>personal care</c:v>
                      </c:pt>
                    </c:strCache>
                  </c:strRef>
                </c:tx>
                <c:spPr>
                  <a:ln w="9525" cap="rnd">
                    <a:solidFill>
                      <a:schemeClr val="accent1"/>
                    </a:solidFill>
                    <a:prstDash val="solid"/>
                    <a:round/>
                  </a:ln>
                  <a:effectLst/>
                </c:spPr>
                <c:marker>
                  <c:symbol val="none"/>
                </c:marker>
                <c:cat>
                  <c:strRef>
                    <c:extLst xmlns:c15="http://schemas.microsoft.com/office/drawing/2012/chart">
                      <c:ext xmlns:c15="http://schemas.microsoft.com/office/drawing/2012/chart" uri="{02D57815-91ED-43cb-92C2-25804820EDAC}">
                        <c15:formulaRef>
                          <c15:sqref>Sheet1!$B$1:$F$1</c15:sqref>
                        </c15:formulaRef>
                      </c:ext>
                    </c:extLst>
                    <c:strCache>
                      <c:ptCount val="5"/>
                      <c:pt idx="0">
                        <c:v>Series 1</c:v>
                      </c:pt>
                      <c:pt idx="1">
                        <c:v>Series 2</c:v>
                      </c:pt>
                      <c:pt idx="2">
                        <c:v>Series 3</c:v>
                      </c:pt>
                      <c:pt idx="3">
                        <c:v>Series 4</c:v>
                      </c:pt>
                      <c:pt idx="4">
                        <c:v>Series 5</c:v>
                      </c:pt>
                    </c:strCache>
                  </c:strRef>
                </c:cat>
                <c:val>
                  <c:numRef>
                    <c:extLst xmlns:c15="http://schemas.microsoft.com/office/drawing/2012/chart">
                      <c:ext xmlns:c15="http://schemas.microsoft.com/office/drawing/2012/chart" uri="{02D57815-91ED-43cb-92C2-25804820EDAC}">
                        <c15:formulaRef>
                          <c15:sqref>Sheet1!$B$8:$F$8</c15:sqref>
                        </c15:formulaRef>
                      </c:ext>
                    </c:extLst>
                    <c:numCache>
                      <c:formatCode>0%</c:formatCode>
                      <c:ptCount val="5"/>
                      <c:pt idx="0">
                        <c:v>0.54</c:v>
                      </c:pt>
                      <c:pt idx="1">
                        <c:v>0.84</c:v>
                      </c:pt>
                      <c:pt idx="2">
                        <c:v>0.63</c:v>
                      </c:pt>
                      <c:pt idx="3">
                        <c:v>0.39</c:v>
                      </c:pt>
                      <c:pt idx="4">
                        <c:v>0.3</c:v>
                      </c:pt>
                    </c:numCache>
                  </c:numRef>
                </c:val>
                <c:smooth val="0"/>
                <c:extLst xmlns:c15="http://schemas.microsoft.com/office/drawing/2012/chart">
                  <c:ext xmlns:c16="http://schemas.microsoft.com/office/drawing/2014/chart" uri="{C3380CC4-5D6E-409C-BE32-E72D297353CC}">
                    <c16:uniqueId val="{00000006-2D5F-4220-88DB-7EDBE211A5A0}"/>
                  </c:ext>
                </c:extLst>
              </c15:ser>
            </c15:filteredLineSeries>
          </c:ext>
        </c:extLst>
      </c:lineChart>
      <c:valAx>
        <c:axId val="1155804656"/>
        <c:scaling>
          <c:orientation val="minMax"/>
          <c:max val="1"/>
        </c:scaling>
        <c:delete val="1"/>
        <c:axPos val="l"/>
        <c:numFmt formatCode="0%" sourceLinked="1"/>
        <c:majorTickMark val="out"/>
        <c:minorTickMark val="none"/>
        <c:tickLblPos val="nextTo"/>
        <c:crossAx val="1155807792"/>
        <c:crosses val="autoZero"/>
        <c:crossBetween val="between"/>
      </c:valAx>
      <c:catAx>
        <c:axId val="1155807792"/>
        <c:scaling>
          <c:orientation val="minMax"/>
        </c:scaling>
        <c:delete val="1"/>
        <c:axPos val="b"/>
        <c:numFmt formatCode="General" sourceLinked="1"/>
        <c:majorTickMark val="out"/>
        <c:minorTickMark val="none"/>
        <c:tickLblPos val="nextTo"/>
        <c:crossAx val="1155804656"/>
        <c:crosses val="autoZero"/>
        <c:auto val="1"/>
        <c:lblAlgn val="ctr"/>
        <c:lblOffset val="100"/>
        <c:noMultiLvlLbl val="0"/>
      </c:catAx>
      <c:spPr>
        <a:noFill/>
        <a:ln w="19050">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997862738761586E-2"/>
          <c:y val="0"/>
          <c:w val="0.94186050141051747"/>
          <c:h val="1"/>
        </c:manualLayout>
      </c:layout>
      <c:barChart>
        <c:barDir val="bar"/>
        <c:grouping val="percentStacked"/>
        <c:varyColors val="0"/>
        <c:ser>
          <c:idx val="0"/>
          <c:order val="0"/>
          <c:tx>
            <c:strRef>
              <c:f>Sheet1!$B$1</c:f>
              <c:strCache>
                <c:ptCount val="1"/>
                <c:pt idx="0">
                  <c:v>Column1</c:v>
                </c:pt>
              </c:strCache>
            </c:strRef>
          </c:tx>
          <c:spPr>
            <a:solidFill>
              <a:schemeClr val="accent1">
                <a:lumMod val="75000"/>
              </a:schemeClr>
            </a:solidFill>
            <a:ln>
              <a:noFill/>
            </a:ln>
            <a:effectLst/>
          </c:spPr>
          <c:invertIfNegative val="0"/>
          <c:cat>
            <c:strRef>
              <c:f>Sheet1!$A$2</c:f>
              <c:strCache>
                <c:ptCount val="1"/>
                <c:pt idx="0">
                  <c:v>I trust I will receive a high quality product when shopping or buying online (e.g., fresh produce, undamaged cans, etc.)</c:v>
                </c:pt>
              </c:strCache>
            </c:strRef>
          </c:cat>
          <c:val>
            <c:numRef>
              <c:f>Sheet1!$B$2</c:f>
              <c:numCache>
                <c:formatCode>0%</c:formatCode>
                <c:ptCount val="1"/>
                <c:pt idx="0">
                  <c:v>0.03</c:v>
                </c:pt>
              </c:numCache>
            </c:numRef>
          </c:val>
          <c:extLst>
            <c:ext xmlns:c16="http://schemas.microsoft.com/office/drawing/2014/chart" uri="{C3380CC4-5D6E-409C-BE32-E72D297353CC}">
              <c16:uniqueId val="{00000000-FD12-4973-A9A7-F36E0B3A7DB5}"/>
            </c:ext>
          </c:extLst>
        </c:ser>
        <c:ser>
          <c:idx val="1"/>
          <c:order val="1"/>
          <c:tx>
            <c:strRef>
              <c:f>Sheet1!$C$1</c:f>
              <c:strCache>
                <c:ptCount val="1"/>
                <c:pt idx="0">
                  <c:v>Column2</c:v>
                </c:pt>
              </c:strCache>
            </c:strRef>
          </c:tx>
          <c:spPr>
            <a:solidFill>
              <a:schemeClr val="accent1">
                <a:lumMod val="40000"/>
                <a:lumOff val="60000"/>
              </a:schemeClr>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2-FD12-4973-A9A7-F36E0B3A7DB5}"/>
              </c:ext>
            </c:extLst>
          </c:dPt>
          <c:cat>
            <c:strRef>
              <c:f>Sheet1!$A$2</c:f>
              <c:strCache>
                <c:ptCount val="1"/>
                <c:pt idx="0">
                  <c:v>I trust I will receive a high quality product when shopping or buying online (e.g., fresh produce, undamaged cans, etc.)</c:v>
                </c:pt>
              </c:strCache>
            </c:strRef>
          </c:cat>
          <c:val>
            <c:numRef>
              <c:f>Sheet1!$C$2</c:f>
              <c:numCache>
                <c:formatCode>0%</c:formatCode>
                <c:ptCount val="1"/>
                <c:pt idx="0">
                  <c:v>0.02</c:v>
                </c:pt>
              </c:numCache>
            </c:numRef>
          </c:val>
          <c:extLst>
            <c:ext xmlns:c16="http://schemas.microsoft.com/office/drawing/2014/chart" uri="{C3380CC4-5D6E-409C-BE32-E72D297353CC}">
              <c16:uniqueId val="{00000003-FD12-4973-A9A7-F36E0B3A7DB5}"/>
            </c:ext>
          </c:extLst>
        </c:ser>
        <c:ser>
          <c:idx val="2"/>
          <c:order val="2"/>
          <c:tx>
            <c:strRef>
              <c:f>Sheet1!$D$1</c:f>
              <c:strCache>
                <c:ptCount val="1"/>
                <c:pt idx="0">
                  <c:v>Column3</c:v>
                </c:pt>
              </c:strCache>
            </c:strRef>
          </c:tx>
          <c:spPr>
            <a:solidFill>
              <a:schemeClr val="accent1">
                <a:lumMod val="40000"/>
                <a:lumOff val="60000"/>
              </a:schemeClr>
            </a:solidFill>
            <a:ln>
              <a:noFill/>
            </a:ln>
            <a:effectLst/>
          </c:spPr>
          <c:invertIfNegative val="0"/>
          <c:cat>
            <c:strRef>
              <c:f>Sheet1!$A$2</c:f>
              <c:strCache>
                <c:ptCount val="1"/>
                <c:pt idx="0">
                  <c:v>I trust I will receive a high quality product when shopping or buying online (e.g., fresh produce, undamaged cans, etc.)</c:v>
                </c:pt>
              </c:strCache>
            </c:strRef>
          </c:cat>
          <c:val>
            <c:numRef>
              <c:f>Sheet1!$D$2</c:f>
              <c:numCache>
                <c:formatCode>0%</c:formatCode>
                <c:ptCount val="1"/>
                <c:pt idx="0">
                  <c:v>0.03</c:v>
                </c:pt>
              </c:numCache>
            </c:numRef>
          </c:val>
          <c:extLst>
            <c:ext xmlns:c16="http://schemas.microsoft.com/office/drawing/2014/chart" uri="{C3380CC4-5D6E-409C-BE32-E72D297353CC}">
              <c16:uniqueId val="{00000004-FD12-4973-A9A7-F36E0B3A7DB5}"/>
            </c:ext>
          </c:extLst>
        </c:ser>
        <c:ser>
          <c:idx val="3"/>
          <c:order val="3"/>
          <c:tx>
            <c:strRef>
              <c:f>Sheet1!$E$1</c:f>
              <c:strCache>
                <c:ptCount val="1"/>
                <c:pt idx="0">
                  <c:v>Column4</c:v>
                </c:pt>
              </c:strCache>
            </c:strRef>
          </c:tx>
          <c:spPr>
            <a:solidFill>
              <a:schemeClr val="accent6">
                <a:lumMod val="20000"/>
                <a:lumOff val="80000"/>
              </a:schemeClr>
            </a:solidFill>
            <a:ln>
              <a:noFill/>
            </a:ln>
            <a:effectLst/>
          </c:spPr>
          <c:invertIfNegative val="0"/>
          <c:cat>
            <c:strRef>
              <c:f>Sheet1!$A$2</c:f>
              <c:strCache>
                <c:ptCount val="1"/>
                <c:pt idx="0">
                  <c:v>I trust I will receive a high quality product when shopping or buying online (e.g., fresh produce, undamaged cans, etc.)</c:v>
                </c:pt>
              </c:strCache>
            </c:strRef>
          </c:cat>
          <c:val>
            <c:numRef>
              <c:f>Sheet1!$E$2</c:f>
              <c:numCache>
                <c:formatCode>0%</c:formatCode>
                <c:ptCount val="1"/>
                <c:pt idx="0">
                  <c:v>0.03</c:v>
                </c:pt>
              </c:numCache>
            </c:numRef>
          </c:val>
          <c:extLst>
            <c:ext xmlns:c16="http://schemas.microsoft.com/office/drawing/2014/chart" uri="{C3380CC4-5D6E-409C-BE32-E72D297353CC}">
              <c16:uniqueId val="{00000005-FD12-4973-A9A7-F36E0B3A7DB5}"/>
            </c:ext>
          </c:extLst>
        </c:ser>
        <c:ser>
          <c:idx val="4"/>
          <c:order val="4"/>
          <c:tx>
            <c:strRef>
              <c:f>Sheet1!$F$1</c:f>
              <c:strCache>
                <c:ptCount val="1"/>
                <c:pt idx="0">
                  <c:v>Column5</c:v>
                </c:pt>
              </c:strCache>
            </c:strRef>
          </c:tx>
          <c:spPr>
            <a:solidFill>
              <a:schemeClr val="accent6">
                <a:lumMod val="40000"/>
                <a:lumOff val="60000"/>
              </a:schemeClr>
            </a:solidFill>
            <a:ln>
              <a:noFill/>
            </a:ln>
            <a:effectLst/>
          </c:spPr>
          <c:invertIfNegative val="0"/>
          <c:cat>
            <c:strRef>
              <c:f>Sheet1!$A$2</c:f>
              <c:strCache>
                <c:ptCount val="1"/>
                <c:pt idx="0">
                  <c:v>I trust I will receive a high quality product when shopping or buying online (e.g., fresh produce, undamaged cans, etc.)</c:v>
                </c:pt>
              </c:strCache>
            </c:strRef>
          </c:cat>
          <c:val>
            <c:numRef>
              <c:f>Sheet1!$F$2</c:f>
              <c:numCache>
                <c:formatCode>0%</c:formatCode>
                <c:ptCount val="1"/>
                <c:pt idx="0">
                  <c:v>0.04</c:v>
                </c:pt>
              </c:numCache>
            </c:numRef>
          </c:val>
          <c:extLst>
            <c:ext xmlns:c16="http://schemas.microsoft.com/office/drawing/2014/chart" uri="{C3380CC4-5D6E-409C-BE32-E72D297353CC}">
              <c16:uniqueId val="{00000006-FD12-4973-A9A7-F36E0B3A7DB5}"/>
            </c:ext>
          </c:extLst>
        </c:ser>
        <c:ser>
          <c:idx val="5"/>
          <c:order val="5"/>
          <c:tx>
            <c:strRef>
              <c:f>Sheet1!$G$1</c:f>
              <c:strCache>
                <c:ptCount val="1"/>
                <c:pt idx="0">
                  <c:v>Column6</c:v>
                </c:pt>
              </c:strCache>
            </c:strRef>
          </c:tx>
          <c:spPr>
            <a:solidFill>
              <a:schemeClr val="bg1">
                <a:lumMod val="65000"/>
              </a:schemeClr>
            </a:solidFill>
            <a:ln>
              <a:noFill/>
            </a:ln>
            <a:effectLst/>
          </c:spPr>
          <c:invertIfNegative val="0"/>
          <c:cat>
            <c:strRef>
              <c:f>Sheet1!$A$2</c:f>
              <c:strCache>
                <c:ptCount val="1"/>
                <c:pt idx="0">
                  <c:v>I trust I will receive a high quality product when shopping or buying online (e.g., fresh produce, undamaged cans, etc.)</c:v>
                </c:pt>
              </c:strCache>
            </c:strRef>
          </c:cat>
          <c:val>
            <c:numRef>
              <c:f>Sheet1!$G$2</c:f>
              <c:numCache>
                <c:formatCode>0%</c:formatCode>
                <c:ptCount val="1"/>
                <c:pt idx="0">
                  <c:v>0.26</c:v>
                </c:pt>
              </c:numCache>
            </c:numRef>
          </c:val>
          <c:extLst>
            <c:ext xmlns:c16="http://schemas.microsoft.com/office/drawing/2014/chart" uri="{C3380CC4-5D6E-409C-BE32-E72D297353CC}">
              <c16:uniqueId val="{00000007-FD12-4973-A9A7-F36E0B3A7DB5}"/>
            </c:ext>
          </c:extLst>
        </c:ser>
        <c:ser>
          <c:idx val="6"/>
          <c:order val="6"/>
          <c:tx>
            <c:strRef>
              <c:f>Sheet1!$H$1</c:f>
              <c:strCache>
                <c:ptCount val="1"/>
                <c:pt idx="0">
                  <c:v>Column7</c:v>
                </c:pt>
              </c:strCache>
            </c:strRef>
          </c:tx>
          <c:spPr>
            <a:solidFill>
              <a:schemeClr val="accent6">
                <a:lumMod val="40000"/>
                <a:lumOff val="60000"/>
              </a:schemeClr>
            </a:solidFill>
            <a:ln>
              <a:noFill/>
            </a:ln>
            <a:effectLst/>
          </c:spPr>
          <c:invertIfNegative val="0"/>
          <c:cat>
            <c:strRef>
              <c:f>Sheet1!$A$2</c:f>
              <c:strCache>
                <c:ptCount val="1"/>
                <c:pt idx="0">
                  <c:v>I trust I will receive a high quality product when shopping or buying online (e.g., fresh produce, undamaged cans, etc.)</c:v>
                </c:pt>
              </c:strCache>
            </c:strRef>
          </c:cat>
          <c:val>
            <c:numRef>
              <c:f>Sheet1!$H$2</c:f>
              <c:numCache>
                <c:formatCode>0%</c:formatCode>
                <c:ptCount val="1"/>
                <c:pt idx="0">
                  <c:v>0.08</c:v>
                </c:pt>
              </c:numCache>
            </c:numRef>
          </c:val>
          <c:extLst>
            <c:ext xmlns:c16="http://schemas.microsoft.com/office/drawing/2014/chart" uri="{C3380CC4-5D6E-409C-BE32-E72D297353CC}">
              <c16:uniqueId val="{00000008-FD12-4973-A9A7-F36E0B3A7DB5}"/>
            </c:ext>
          </c:extLst>
        </c:ser>
        <c:ser>
          <c:idx val="7"/>
          <c:order val="7"/>
          <c:tx>
            <c:strRef>
              <c:f>Sheet1!$I$1</c:f>
              <c:strCache>
                <c:ptCount val="1"/>
                <c:pt idx="0">
                  <c:v>Column8</c:v>
                </c:pt>
              </c:strCache>
            </c:strRef>
          </c:tx>
          <c:spPr>
            <a:solidFill>
              <a:schemeClr val="accent6">
                <a:lumMod val="20000"/>
                <a:lumOff val="80000"/>
              </a:schemeClr>
            </a:solidFill>
            <a:ln>
              <a:noFill/>
            </a:ln>
            <a:effectLst/>
          </c:spPr>
          <c:invertIfNegative val="0"/>
          <c:cat>
            <c:strRef>
              <c:f>Sheet1!$A$2</c:f>
              <c:strCache>
                <c:ptCount val="1"/>
                <c:pt idx="0">
                  <c:v>I trust I will receive a high quality product when shopping or buying online (e.g., fresh produce, undamaged cans, etc.)</c:v>
                </c:pt>
              </c:strCache>
            </c:strRef>
          </c:cat>
          <c:val>
            <c:numRef>
              <c:f>Sheet1!$I$2</c:f>
              <c:numCache>
                <c:formatCode>0%</c:formatCode>
                <c:ptCount val="1"/>
                <c:pt idx="0">
                  <c:v>0.11</c:v>
                </c:pt>
              </c:numCache>
            </c:numRef>
          </c:val>
          <c:extLst>
            <c:ext xmlns:c16="http://schemas.microsoft.com/office/drawing/2014/chart" uri="{C3380CC4-5D6E-409C-BE32-E72D297353CC}">
              <c16:uniqueId val="{00000009-FD12-4973-A9A7-F36E0B3A7DB5}"/>
            </c:ext>
          </c:extLst>
        </c:ser>
        <c:ser>
          <c:idx val="8"/>
          <c:order val="8"/>
          <c:tx>
            <c:strRef>
              <c:f>Sheet1!$J$1</c:f>
              <c:strCache>
                <c:ptCount val="1"/>
                <c:pt idx="0">
                  <c:v>Column9</c:v>
                </c:pt>
              </c:strCache>
            </c:strRef>
          </c:tx>
          <c:spPr>
            <a:solidFill>
              <a:schemeClr val="accent3">
                <a:lumMod val="60000"/>
                <a:lumOff val="40000"/>
              </a:schemeClr>
            </a:solidFill>
            <a:ln>
              <a:noFill/>
            </a:ln>
            <a:effectLst/>
          </c:spPr>
          <c:invertIfNegative val="0"/>
          <c:cat>
            <c:strRef>
              <c:f>Sheet1!$A$2</c:f>
              <c:strCache>
                <c:ptCount val="1"/>
                <c:pt idx="0">
                  <c:v>I trust I will receive a high quality product when shopping or buying online (e.g., fresh produce, undamaged cans, etc.)</c:v>
                </c:pt>
              </c:strCache>
            </c:strRef>
          </c:cat>
          <c:val>
            <c:numRef>
              <c:f>Sheet1!$J$2</c:f>
              <c:numCache>
                <c:formatCode>0%</c:formatCode>
                <c:ptCount val="1"/>
                <c:pt idx="0">
                  <c:v>0.12</c:v>
                </c:pt>
              </c:numCache>
            </c:numRef>
          </c:val>
          <c:extLst>
            <c:ext xmlns:c16="http://schemas.microsoft.com/office/drawing/2014/chart" uri="{C3380CC4-5D6E-409C-BE32-E72D297353CC}">
              <c16:uniqueId val="{0000000A-FD12-4973-A9A7-F36E0B3A7DB5}"/>
            </c:ext>
          </c:extLst>
        </c:ser>
        <c:ser>
          <c:idx val="9"/>
          <c:order val="9"/>
          <c:tx>
            <c:strRef>
              <c:f>Sheet1!$K$1</c:f>
              <c:strCache>
                <c:ptCount val="1"/>
                <c:pt idx="0">
                  <c:v>Column10</c:v>
                </c:pt>
              </c:strCache>
            </c:strRef>
          </c:tx>
          <c:spPr>
            <a:solidFill>
              <a:schemeClr val="accent3"/>
            </a:solidFill>
            <a:ln>
              <a:noFill/>
            </a:ln>
            <a:effectLst/>
          </c:spPr>
          <c:invertIfNegative val="0"/>
          <c:cat>
            <c:strRef>
              <c:f>Sheet1!$A$2</c:f>
              <c:strCache>
                <c:ptCount val="1"/>
                <c:pt idx="0">
                  <c:v>I trust I will receive a high quality product when shopping or buying online (e.g., fresh produce, undamaged cans, etc.)</c:v>
                </c:pt>
              </c:strCache>
            </c:strRef>
          </c:cat>
          <c:val>
            <c:numRef>
              <c:f>Sheet1!$K$2</c:f>
              <c:numCache>
                <c:formatCode>0%</c:formatCode>
                <c:ptCount val="1"/>
                <c:pt idx="0">
                  <c:v>0.1</c:v>
                </c:pt>
              </c:numCache>
            </c:numRef>
          </c:val>
          <c:extLst>
            <c:ext xmlns:c16="http://schemas.microsoft.com/office/drawing/2014/chart" uri="{C3380CC4-5D6E-409C-BE32-E72D297353CC}">
              <c16:uniqueId val="{0000000B-FD12-4973-A9A7-F36E0B3A7DB5}"/>
            </c:ext>
          </c:extLst>
        </c:ser>
        <c:ser>
          <c:idx val="10"/>
          <c:order val="10"/>
          <c:tx>
            <c:strRef>
              <c:f>Sheet1!$L$1</c:f>
              <c:strCache>
                <c:ptCount val="1"/>
                <c:pt idx="0">
                  <c:v>Column11</c:v>
                </c:pt>
              </c:strCache>
            </c:strRef>
          </c:tx>
          <c:spPr>
            <a:solidFill>
              <a:schemeClr val="accent3">
                <a:lumMod val="75000"/>
              </a:schemeClr>
            </a:solidFill>
            <a:ln>
              <a:noFill/>
            </a:ln>
            <a:effectLst/>
          </c:spPr>
          <c:invertIfNegative val="0"/>
          <c:cat>
            <c:strRef>
              <c:f>Sheet1!$A$2</c:f>
              <c:strCache>
                <c:ptCount val="1"/>
                <c:pt idx="0">
                  <c:v>I trust I will receive a high quality product when shopping or buying online (e.g., fresh produce, undamaged cans, etc.)</c:v>
                </c:pt>
              </c:strCache>
            </c:strRef>
          </c:cat>
          <c:val>
            <c:numRef>
              <c:f>Sheet1!$L$2</c:f>
              <c:numCache>
                <c:formatCode>0%</c:formatCode>
                <c:ptCount val="1"/>
                <c:pt idx="0">
                  <c:v>0.18</c:v>
                </c:pt>
              </c:numCache>
            </c:numRef>
          </c:val>
          <c:extLst>
            <c:ext xmlns:c16="http://schemas.microsoft.com/office/drawing/2014/chart" uri="{C3380CC4-5D6E-409C-BE32-E72D297353CC}">
              <c16:uniqueId val="{0000000C-FD12-4973-A9A7-F36E0B3A7DB5}"/>
            </c:ext>
          </c:extLst>
        </c:ser>
        <c:dLbls>
          <c:showLegendKey val="0"/>
          <c:showVal val="0"/>
          <c:showCatName val="0"/>
          <c:showSerName val="0"/>
          <c:showPercent val="0"/>
          <c:showBubbleSize val="0"/>
        </c:dLbls>
        <c:gapWidth val="0"/>
        <c:overlap val="100"/>
        <c:axId val="938980824"/>
        <c:axId val="938984352"/>
      </c:barChart>
      <c:catAx>
        <c:axId val="938980824"/>
        <c:scaling>
          <c:orientation val="minMax"/>
        </c:scaling>
        <c:delete val="1"/>
        <c:axPos val="l"/>
        <c:numFmt formatCode="General" sourceLinked="1"/>
        <c:majorTickMark val="none"/>
        <c:minorTickMark val="none"/>
        <c:tickLblPos val="nextTo"/>
        <c:crossAx val="938984352"/>
        <c:crosses val="autoZero"/>
        <c:auto val="1"/>
        <c:lblAlgn val="ctr"/>
        <c:lblOffset val="100"/>
        <c:noMultiLvlLbl val="0"/>
      </c:catAx>
      <c:valAx>
        <c:axId val="938984352"/>
        <c:scaling>
          <c:orientation val="minMax"/>
        </c:scaling>
        <c:delete val="1"/>
        <c:axPos val="b"/>
        <c:numFmt formatCode="0%" sourceLinked="1"/>
        <c:majorTickMark val="none"/>
        <c:minorTickMark val="none"/>
        <c:tickLblPos val="nextTo"/>
        <c:crossAx val="938980824"/>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2">
              <a:lumMod val="50000"/>
            </a:schemeClr>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997862738761586E-2"/>
          <c:y val="0"/>
          <c:w val="0.94186050141051747"/>
          <c:h val="1"/>
        </c:manualLayout>
      </c:layout>
      <c:barChart>
        <c:barDir val="bar"/>
        <c:grouping val="percentStacked"/>
        <c:varyColors val="0"/>
        <c:ser>
          <c:idx val="0"/>
          <c:order val="0"/>
          <c:tx>
            <c:strRef>
              <c:f>Sheet1!$B$1</c:f>
              <c:strCache>
                <c:ptCount val="1"/>
                <c:pt idx="0">
                  <c:v>Column1</c:v>
                </c:pt>
              </c:strCache>
            </c:strRef>
          </c:tx>
          <c:spPr>
            <a:solidFill>
              <a:schemeClr val="accent1">
                <a:lumMod val="75000"/>
              </a:schemeClr>
            </a:solidFill>
            <a:ln>
              <a:noFill/>
            </a:ln>
            <a:effectLst/>
          </c:spPr>
          <c:invertIfNegative val="0"/>
          <c:cat>
            <c:strRef>
              <c:f>Sheet1!$A$2</c:f>
              <c:strCache>
                <c:ptCount val="1"/>
                <c:pt idx="0">
                  <c:v>Category 1</c:v>
                </c:pt>
              </c:strCache>
            </c:strRef>
          </c:cat>
          <c:val>
            <c:numRef>
              <c:f>Sheet1!$B$2</c:f>
              <c:numCache>
                <c:formatCode>0%</c:formatCode>
                <c:ptCount val="1"/>
                <c:pt idx="0">
                  <c:v>0.05</c:v>
                </c:pt>
              </c:numCache>
            </c:numRef>
          </c:val>
          <c:extLst>
            <c:ext xmlns:c16="http://schemas.microsoft.com/office/drawing/2014/chart" uri="{C3380CC4-5D6E-409C-BE32-E72D297353CC}">
              <c16:uniqueId val="{00000000-D938-4727-B3B7-7B5A0A00383A}"/>
            </c:ext>
          </c:extLst>
        </c:ser>
        <c:ser>
          <c:idx val="1"/>
          <c:order val="1"/>
          <c:tx>
            <c:strRef>
              <c:f>Sheet1!$C$1</c:f>
              <c:strCache>
                <c:ptCount val="1"/>
                <c:pt idx="0">
                  <c:v>Column2</c:v>
                </c:pt>
              </c:strCache>
            </c:strRef>
          </c:tx>
          <c:spPr>
            <a:solidFill>
              <a:schemeClr val="accent1">
                <a:lumMod val="40000"/>
                <a:lumOff val="60000"/>
              </a:schemeClr>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2-D938-4727-B3B7-7B5A0A00383A}"/>
              </c:ext>
            </c:extLst>
          </c:dPt>
          <c:cat>
            <c:strRef>
              <c:f>Sheet1!$A$2</c:f>
              <c:strCache>
                <c:ptCount val="1"/>
                <c:pt idx="0">
                  <c:v>Category 1</c:v>
                </c:pt>
              </c:strCache>
            </c:strRef>
          </c:cat>
          <c:val>
            <c:numRef>
              <c:f>Sheet1!$C$2</c:f>
              <c:numCache>
                <c:formatCode>0%</c:formatCode>
                <c:ptCount val="1"/>
                <c:pt idx="0">
                  <c:v>0.03</c:v>
                </c:pt>
              </c:numCache>
            </c:numRef>
          </c:val>
          <c:extLst>
            <c:ext xmlns:c16="http://schemas.microsoft.com/office/drawing/2014/chart" uri="{C3380CC4-5D6E-409C-BE32-E72D297353CC}">
              <c16:uniqueId val="{00000003-D938-4727-B3B7-7B5A0A00383A}"/>
            </c:ext>
          </c:extLst>
        </c:ser>
        <c:ser>
          <c:idx val="2"/>
          <c:order val="2"/>
          <c:tx>
            <c:strRef>
              <c:f>Sheet1!$D$1</c:f>
              <c:strCache>
                <c:ptCount val="1"/>
                <c:pt idx="0">
                  <c:v>Column3</c:v>
                </c:pt>
              </c:strCache>
            </c:strRef>
          </c:tx>
          <c:spPr>
            <a:solidFill>
              <a:schemeClr val="accent1">
                <a:lumMod val="40000"/>
                <a:lumOff val="60000"/>
              </a:schemeClr>
            </a:solidFill>
            <a:ln>
              <a:noFill/>
            </a:ln>
            <a:effectLst/>
          </c:spPr>
          <c:invertIfNegative val="0"/>
          <c:cat>
            <c:strRef>
              <c:f>Sheet1!$A$2</c:f>
              <c:strCache>
                <c:ptCount val="1"/>
                <c:pt idx="0">
                  <c:v>Category 1</c:v>
                </c:pt>
              </c:strCache>
            </c:strRef>
          </c:cat>
          <c:val>
            <c:numRef>
              <c:f>Sheet1!$D$2</c:f>
              <c:numCache>
                <c:formatCode>0%</c:formatCode>
                <c:ptCount val="1"/>
                <c:pt idx="0">
                  <c:v>0.04</c:v>
                </c:pt>
              </c:numCache>
            </c:numRef>
          </c:val>
          <c:extLst>
            <c:ext xmlns:c16="http://schemas.microsoft.com/office/drawing/2014/chart" uri="{C3380CC4-5D6E-409C-BE32-E72D297353CC}">
              <c16:uniqueId val="{00000004-D938-4727-B3B7-7B5A0A00383A}"/>
            </c:ext>
          </c:extLst>
        </c:ser>
        <c:ser>
          <c:idx val="3"/>
          <c:order val="3"/>
          <c:tx>
            <c:strRef>
              <c:f>Sheet1!$E$1</c:f>
              <c:strCache>
                <c:ptCount val="1"/>
                <c:pt idx="0">
                  <c:v>Column4</c:v>
                </c:pt>
              </c:strCache>
            </c:strRef>
          </c:tx>
          <c:spPr>
            <a:solidFill>
              <a:schemeClr val="accent6">
                <a:lumMod val="20000"/>
                <a:lumOff val="80000"/>
              </a:schemeClr>
            </a:solidFill>
            <a:ln>
              <a:noFill/>
            </a:ln>
            <a:effectLst/>
          </c:spPr>
          <c:invertIfNegative val="0"/>
          <c:cat>
            <c:strRef>
              <c:f>Sheet1!$A$2</c:f>
              <c:strCache>
                <c:ptCount val="1"/>
                <c:pt idx="0">
                  <c:v>Category 1</c:v>
                </c:pt>
              </c:strCache>
            </c:strRef>
          </c:cat>
          <c:val>
            <c:numRef>
              <c:f>Sheet1!$E$2</c:f>
              <c:numCache>
                <c:formatCode>0%</c:formatCode>
                <c:ptCount val="1"/>
                <c:pt idx="0">
                  <c:v>0.05</c:v>
                </c:pt>
              </c:numCache>
            </c:numRef>
          </c:val>
          <c:extLst>
            <c:ext xmlns:c16="http://schemas.microsoft.com/office/drawing/2014/chart" uri="{C3380CC4-5D6E-409C-BE32-E72D297353CC}">
              <c16:uniqueId val="{00000005-D938-4727-B3B7-7B5A0A00383A}"/>
            </c:ext>
          </c:extLst>
        </c:ser>
        <c:ser>
          <c:idx val="4"/>
          <c:order val="4"/>
          <c:tx>
            <c:strRef>
              <c:f>Sheet1!$F$1</c:f>
              <c:strCache>
                <c:ptCount val="1"/>
                <c:pt idx="0">
                  <c:v>Column5</c:v>
                </c:pt>
              </c:strCache>
            </c:strRef>
          </c:tx>
          <c:spPr>
            <a:solidFill>
              <a:schemeClr val="accent6">
                <a:lumMod val="40000"/>
                <a:lumOff val="60000"/>
              </a:schemeClr>
            </a:solidFill>
            <a:ln>
              <a:noFill/>
            </a:ln>
            <a:effectLst/>
          </c:spPr>
          <c:invertIfNegative val="0"/>
          <c:cat>
            <c:strRef>
              <c:f>Sheet1!$A$2</c:f>
              <c:strCache>
                <c:ptCount val="1"/>
                <c:pt idx="0">
                  <c:v>Category 1</c:v>
                </c:pt>
              </c:strCache>
            </c:strRef>
          </c:cat>
          <c:val>
            <c:numRef>
              <c:f>Sheet1!$F$2</c:f>
              <c:numCache>
                <c:formatCode>0%</c:formatCode>
                <c:ptCount val="1"/>
                <c:pt idx="0">
                  <c:v>7.0000000000000007E-2</c:v>
                </c:pt>
              </c:numCache>
            </c:numRef>
          </c:val>
          <c:extLst>
            <c:ext xmlns:c16="http://schemas.microsoft.com/office/drawing/2014/chart" uri="{C3380CC4-5D6E-409C-BE32-E72D297353CC}">
              <c16:uniqueId val="{00000006-D938-4727-B3B7-7B5A0A00383A}"/>
            </c:ext>
          </c:extLst>
        </c:ser>
        <c:ser>
          <c:idx val="5"/>
          <c:order val="5"/>
          <c:tx>
            <c:strRef>
              <c:f>Sheet1!$G$1</c:f>
              <c:strCache>
                <c:ptCount val="1"/>
                <c:pt idx="0">
                  <c:v>Column6</c:v>
                </c:pt>
              </c:strCache>
            </c:strRef>
          </c:tx>
          <c:spPr>
            <a:solidFill>
              <a:schemeClr val="bg1">
                <a:lumMod val="65000"/>
              </a:schemeClr>
            </a:solidFill>
            <a:ln>
              <a:noFill/>
            </a:ln>
            <a:effectLst/>
          </c:spPr>
          <c:invertIfNegative val="0"/>
          <c:cat>
            <c:strRef>
              <c:f>Sheet1!$A$2</c:f>
              <c:strCache>
                <c:ptCount val="1"/>
                <c:pt idx="0">
                  <c:v>Category 1</c:v>
                </c:pt>
              </c:strCache>
            </c:strRef>
          </c:cat>
          <c:val>
            <c:numRef>
              <c:f>Sheet1!$G$2</c:f>
              <c:numCache>
                <c:formatCode>0%</c:formatCode>
                <c:ptCount val="1"/>
                <c:pt idx="0">
                  <c:v>0.32</c:v>
                </c:pt>
              </c:numCache>
            </c:numRef>
          </c:val>
          <c:extLst>
            <c:ext xmlns:c16="http://schemas.microsoft.com/office/drawing/2014/chart" uri="{C3380CC4-5D6E-409C-BE32-E72D297353CC}">
              <c16:uniqueId val="{00000007-D938-4727-B3B7-7B5A0A00383A}"/>
            </c:ext>
          </c:extLst>
        </c:ser>
        <c:ser>
          <c:idx val="6"/>
          <c:order val="6"/>
          <c:tx>
            <c:strRef>
              <c:f>Sheet1!$H$1</c:f>
              <c:strCache>
                <c:ptCount val="1"/>
                <c:pt idx="0">
                  <c:v>Column7</c:v>
                </c:pt>
              </c:strCache>
            </c:strRef>
          </c:tx>
          <c:spPr>
            <a:solidFill>
              <a:schemeClr val="accent1">
                <a:lumMod val="60000"/>
              </a:schemeClr>
            </a:solidFill>
            <a:ln>
              <a:noFill/>
            </a:ln>
            <a:effectLst/>
          </c:spPr>
          <c:invertIfNegative val="0"/>
          <c:dPt>
            <c:idx val="0"/>
            <c:invertIfNegative val="0"/>
            <c:bubble3D val="0"/>
            <c:spPr>
              <a:solidFill>
                <a:schemeClr val="bg1">
                  <a:lumMod val="75000"/>
                </a:schemeClr>
              </a:solidFill>
              <a:ln>
                <a:noFill/>
              </a:ln>
              <a:effectLst/>
            </c:spPr>
            <c:extLst>
              <c:ext xmlns:c16="http://schemas.microsoft.com/office/drawing/2014/chart" uri="{C3380CC4-5D6E-409C-BE32-E72D297353CC}">
                <c16:uniqueId val="{00000009-D938-4727-B3B7-7B5A0A00383A}"/>
              </c:ext>
            </c:extLst>
          </c:dPt>
          <c:cat>
            <c:strRef>
              <c:f>Sheet1!$A$2</c:f>
              <c:strCache>
                <c:ptCount val="1"/>
                <c:pt idx="0">
                  <c:v>Category 1</c:v>
                </c:pt>
              </c:strCache>
            </c:strRef>
          </c:cat>
          <c:val>
            <c:numRef>
              <c:f>Sheet1!$H$2</c:f>
              <c:numCache>
                <c:formatCode>0%</c:formatCode>
                <c:ptCount val="1"/>
                <c:pt idx="0">
                  <c:v>0.08</c:v>
                </c:pt>
              </c:numCache>
            </c:numRef>
          </c:val>
          <c:extLst>
            <c:ext xmlns:c16="http://schemas.microsoft.com/office/drawing/2014/chart" uri="{C3380CC4-5D6E-409C-BE32-E72D297353CC}">
              <c16:uniqueId val="{0000000A-D938-4727-B3B7-7B5A0A00383A}"/>
            </c:ext>
          </c:extLst>
        </c:ser>
        <c:ser>
          <c:idx val="7"/>
          <c:order val="7"/>
          <c:tx>
            <c:strRef>
              <c:f>Sheet1!$I$1</c:f>
              <c:strCache>
                <c:ptCount val="1"/>
                <c:pt idx="0">
                  <c:v>Column8</c:v>
                </c:pt>
              </c:strCache>
            </c:strRef>
          </c:tx>
          <c:spPr>
            <a:solidFill>
              <a:schemeClr val="accent6">
                <a:lumMod val="20000"/>
                <a:lumOff val="80000"/>
              </a:schemeClr>
            </a:solidFill>
            <a:ln>
              <a:noFill/>
            </a:ln>
            <a:effectLst/>
          </c:spPr>
          <c:invertIfNegative val="0"/>
          <c:cat>
            <c:strRef>
              <c:f>Sheet1!$A$2</c:f>
              <c:strCache>
                <c:ptCount val="1"/>
                <c:pt idx="0">
                  <c:v>Category 1</c:v>
                </c:pt>
              </c:strCache>
            </c:strRef>
          </c:cat>
          <c:val>
            <c:numRef>
              <c:f>Sheet1!$I$2</c:f>
              <c:numCache>
                <c:formatCode>0%</c:formatCode>
                <c:ptCount val="1"/>
                <c:pt idx="0">
                  <c:v>0.11</c:v>
                </c:pt>
              </c:numCache>
            </c:numRef>
          </c:val>
          <c:extLst>
            <c:ext xmlns:c16="http://schemas.microsoft.com/office/drawing/2014/chart" uri="{C3380CC4-5D6E-409C-BE32-E72D297353CC}">
              <c16:uniqueId val="{0000000B-D938-4727-B3B7-7B5A0A00383A}"/>
            </c:ext>
          </c:extLst>
        </c:ser>
        <c:ser>
          <c:idx val="8"/>
          <c:order val="8"/>
          <c:tx>
            <c:strRef>
              <c:f>Sheet1!$J$1</c:f>
              <c:strCache>
                <c:ptCount val="1"/>
                <c:pt idx="0">
                  <c:v>Column9</c:v>
                </c:pt>
              </c:strCache>
            </c:strRef>
          </c:tx>
          <c:spPr>
            <a:solidFill>
              <a:schemeClr val="accent3">
                <a:lumMod val="60000"/>
                <a:lumOff val="40000"/>
              </a:schemeClr>
            </a:solidFill>
            <a:ln>
              <a:noFill/>
            </a:ln>
            <a:effectLst/>
          </c:spPr>
          <c:invertIfNegative val="0"/>
          <c:cat>
            <c:strRef>
              <c:f>Sheet1!$A$2</c:f>
              <c:strCache>
                <c:ptCount val="1"/>
                <c:pt idx="0">
                  <c:v>Category 1</c:v>
                </c:pt>
              </c:strCache>
            </c:strRef>
          </c:cat>
          <c:val>
            <c:numRef>
              <c:f>Sheet1!$J$2</c:f>
              <c:numCache>
                <c:formatCode>0%</c:formatCode>
                <c:ptCount val="1"/>
                <c:pt idx="0">
                  <c:v>0.1</c:v>
                </c:pt>
              </c:numCache>
            </c:numRef>
          </c:val>
          <c:extLst>
            <c:ext xmlns:c16="http://schemas.microsoft.com/office/drawing/2014/chart" uri="{C3380CC4-5D6E-409C-BE32-E72D297353CC}">
              <c16:uniqueId val="{0000000C-D938-4727-B3B7-7B5A0A00383A}"/>
            </c:ext>
          </c:extLst>
        </c:ser>
        <c:ser>
          <c:idx val="9"/>
          <c:order val="9"/>
          <c:tx>
            <c:strRef>
              <c:f>Sheet1!$K$1</c:f>
              <c:strCache>
                <c:ptCount val="1"/>
                <c:pt idx="0">
                  <c:v>Column10</c:v>
                </c:pt>
              </c:strCache>
            </c:strRef>
          </c:tx>
          <c:spPr>
            <a:solidFill>
              <a:schemeClr val="accent3"/>
            </a:solidFill>
            <a:ln>
              <a:noFill/>
            </a:ln>
            <a:effectLst/>
          </c:spPr>
          <c:invertIfNegative val="0"/>
          <c:cat>
            <c:strRef>
              <c:f>Sheet1!$A$2</c:f>
              <c:strCache>
                <c:ptCount val="1"/>
                <c:pt idx="0">
                  <c:v>Category 1</c:v>
                </c:pt>
              </c:strCache>
            </c:strRef>
          </c:cat>
          <c:val>
            <c:numRef>
              <c:f>Sheet1!$K$2</c:f>
              <c:numCache>
                <c:formatCode>0%</c:formatCode>
                <c:ptCount val="1"/>
                <c:pt idx="0">
                  <c:v>7.0000000000000007E-2</c:v>
                </c:pt>
              </c:numCache>
            </c:numRef>
          </c:val>
          <c:extLst>
            <c:ext xmlns:c16="http://schemas.microsoft.com/office/drawing/2014/chart" uri="{C3380CC4-5D6E-409C-BE32-E72D297353CC}">
              <c16:uniqueId val="{0000000D-D938-4727-B3B7-7B5A0A00383A}"/>
            </c:ext>
          </c:extLst>
        </c:ser>
        <c:ser>
          <c:idx val="10"/>
          <c:order val="10"/>
          <c:tx>
            <c:strRef>
              <c:f>Sheet1!$L$1</c:f>
              <c:strCache>
                <c:ptCount val="1"/>
                <c:pt idx="0">
                  <c:v>Column11</c:v>
                </c:pt>
              </c:strCache>
            </c:strRef>
          </c:tx>
          <c:spPr>
            <a:solidFill>
              <a:schemeClr val="accent3">
                <a:lumMod val="75000"/>
              </a:schemeClr>
            </a:solidFill>
            <a:ln>
              <a:noFill/>
            </a:ln>
            <a:effectLst/>
          </c:spPr>
          <c:invertIfNegative val="0"/>
          <c:cat>
            <c:strRef>
              <c:f>Sheet1!$A$2</c:f>
              <c:strCache>
                <c:ptCount val="1"/>
                <c:pt idx="0">
                  <c:v>Category 1</c:v>
                </c:pt>
              </c:strCache>
            </c:strRef>
          </c:cat>
          <c:val>
            <c:numRef>
              <c:f>Sheet1!$L$2</c:f>
              <c:numCache>
                <c:formatCode>0%</c:formatCode>
                <c:ptCount val="1"/>
                <c:pt idx="0">
                  <c:v>0.09</c:v>
                </c:pt>
              </c:numCache>
            </c:numRef>
          </c:val>
          <c:extLst>
            <c:ext xmlns:c16="http://schemas.microsoft.com/office/drawing/2014/chart" uri="{C3380CC4-5D6E-409C-BE32-E72D297353CC}">
              <c16:uniqueId val="{0000000E-D938-4727-B3B7-7B5A0A00383A}"/>
            </c:ext>
          </c:extLst>
        </c:ser>
        <c:dLbls>
          <c:showLegendKey val="0"/>
          <c:showVal val="0"/>
          <c:showCatName val="0"/>
          <c:showSerName val="0"/>
          <c:showPercent val="0"/>
          <c:showBubbleSize val="0"/>
        </c:dLbls>
        <c:gapWidth val="0"/>
        <c:overlap val="100"/>
        <c:axId val="938981216"/>
        <c:axId val="938985136"/>
      </c:barChart>
      <c:catAx>
        <c:axId val="938981216"/>
        <c:scaling>
          <c:orientation val="minMax"/>
        </c:scaling>
        <c:delete val="1"/>
        <c:axPos val="l"/>
        <c:numFmt formatCode="General" sourceLinked="1"/>
        <c:majorTickMark val="none"/>
        <c:minorTickMark val="none"/>
        <c:tickLblPos val="nextTo"/>
        <c:crossAx val="938985136"/>
        <c:crosses val="autoZero"/>
        <c:auto val="1"/>
        <c:lblAlgn val="ctr"/>
        <c:lblOffset val="100"/>
        <c:noMultiLvlLbl val="0"/>
      </c:catAx>
      <c:valAx>
        <c:axId val="938985136"/>
        <c:scaling>
          <c:orientation val="minMax"/>
        </c:scaling>
        <c:delete val="1"/>
        <c:axPos val="b"/>
        <c:numFmt formatCode="0%" sourceLinked="1"/>
        <c:majorTickMark val="none"/>
        <c:minorTickMark val="none"/>
        <c:tickLblPos val="nextTo"/>
        <c:crossAx val="938981216"/>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2">
              <a:lumMod val="50000"/>
            </a:schemeClr>
          </a:solidFill>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997862738761586E-2"/>
          <c:y val="0"/>
          <c:w val="0.94186050141051747"/>
          <c:h val="1"/>
        </c:manualLayout>
      </c:layout>
      <c:barChart>
        <c:barDir val="bar"/>
        <c:grouping val="percentStacked"/>
        <c:varyColors val="0"/>
        <c:ser>
          <c:idx val="0"/>
          <c:order val="0"/>
          <c:tx>
            <c:strRef>
              <c:f>Sheet1!$B$1</c:f>
              <c:strCache>
                <c:ptCount val="1"/>
                <c:pt idx="0">
                  <c:v>Column1</c:v>
                </c:pt>
              </c:strCache>
            </c:strRef>
          </c:tx>
          <c:spPr>
            <a:solidFill>
              <a:schemeClr val="accent1">
                <a:lumMod val="75000"/>
              </a:schemeClr>
            </a:solidFill>
            <a:ln>
              <a:noFill/>
            </a:ln>
            <a:effectLst/>
          </c:spPr>
          <c:invertIfNegative val="0"/>
          <c:cat>
            <c:strRef>
              <c:f>Sheet1!$A$2</c:f>
              <c:strCache>
                <c:ptCount val="1"/>
                <c:pt idx="0">
                  <c:v>When looking for a particular product category (e.g., frozen pizza or potato chips, shampoo), I consider more brands when shopping or buying online</c:v>
                </c:pt>
              </c:strCache>
            </c:strRef>
          </c:cat>
          <c:val>
            <c:numRef>
              <c:f>Sheet1!$B$2</c:f>
              <c:numCache>
                <c:formatCode>0%</c:formatCode>
                <c:ptCount val="1"/>
                <c:pt idx="0">
                  <c:v>0.04</c:v>
                </c:pt>
              </c:numCache>
            </c:numRef>
          </c:val>
          <c:extLst>
            <c:ext xmlns:c16="http://schemas.microsoft.com/office/drawing/2014/chart" uri="{C3380CC4-5D6E-409C-BE32-E72D297353CC}">
              <c16:uniqueId val="{00000000-5B24-4B66-B8FA-E632624C4187}"/>
            </c:ext>
          </c:extLst>
        </c:ser>
        <c:ser>
          <c:idx val="1"/>
          <c:order val="1"/>
          <c:tx>
            <c:strRef>
              <c:f>Sheet1!$C$1</c:f>
              <c:strCache>
                <c:ptCount val="1"/>
                <c:pt idx="0">
                  <c:v>Column2</c:v>
                </c:pt>
              </c:strCache>
            </c:strRef>
          </c:tx>
          <c:spPr>
            <a:solidFill>
              <a:schemeClr val="accent1">
                <a:lumMod val="40000"/>
                <a:lumOff val="60000"/>
              </a:schemeClr>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2-5B24-4B66-B8FA-E632624C4187}"/>
              </c:ext>
            </c:extLst>
          </c:dPt>
          <c:cat>
            <c:strRef>
              <c:f>Sheet1!$A$2</c:f>
              <c:strCache>
                <c:ptCount val="1"/>
                <c:pt idx="0">
                  <c:v>When looking for a particular product category (e.g., frozen pizza or potato chips, shampoo), I consider more brands when shopping or buying online</c:v>
                </c:pt>
              </c:strCache>
            </c:strRef>
          </c:cat>
          <c:val>
            <c:numRef>
              <c:f>Sheet1!$C$2</c:f>
              <c:numCache>
                <c:formatCode>0%</c:formatCode>
                <c:ptCount val="1"/>
                <c:pt idx="0">
                  <c:v>0.03</c:v>
                </c:pt>
              </c:numCache>
            </c:numRef>
          </c:val>
          <c:extLst>
            <c:ext xmlns:c16="http://schemas.microsoft.com/office/drawing/2014/chart" uri="{C3380CC4-5D6E-409C-BE32-E72D297353CC}">
              <c16:uniqueId val="{00000003-5B24-4B66-B8FA-E632624C4187}"/>
            </c:ext>
          </c:extLst>
        </c:ser>
        <c:ser>
          <c:idx val="2"/>
          <c:order val="2"/>
          <c:tx>
            <c:strRef>
              <c:f>Sheet1!$D$1</c:f>
              <c:strCache>
                <c:ptCount val="1"/>
                <c:pt idx="0">
                  <c:v>Column3</c:v>
                </c:pt>
              </c:strCache>
            </c:strRef>
          </c:tx>
          <c:spPr>
            <a:solidFill>
              <a:schemeClr val="accent1">
                <a:lumMod val="40000"/>
                <a:lumOff val="60000"/>
              </a:schemeClr>
            </a:solidFill>
            <a:ln>
              <a:noFill/>
            </a:ln>
            <a:effectLst/>
          </c:spPr>
          <c:invertIfNegative val="0"/>
          <c:cat>
            <c:strRef>
              <c:f>Sheet1!$A$2</c:f>
              <c:strCache>
                <c:ptCount val="1"/>
                <c:pt idx="0">
                  <c:v>When looking for a particular product category (e.g., frozen pizza or potato chips, shampoo), I consider more brands when shopping or buying online</c:v>
                </c:pt>
              </c:strCache>
            </c:strRef>
          </c:cat>
          <c:val>
            <c:numRef>
              <c:f>Sheet1!$D$2</c:f>
              <c:numCache>
                <c:formatCode>0%</c:formatCode>
                <c:ptCount val="1"/>
                <c:pt idx="0">
                  <c:v>0.04</c:v>
                </c:pt>
              </c:numCache>
            </c:numRef>
          </c:val>
          <c:extLst>
            <c:ext xmlns:c16="http://schemas.microsoft.com/office/drawing/2014/chart" uri="{C3380CC4-5D6E-409C-BE32-E72D297353CC}">
              <c16:uniqueId val="{00000004-5B24-4B66-B8FA-E632624C4187}"/>
            </c:ext>
          </c:extLst>
        </c:ser>
        <c:ser>
          <c:idx val="3"/>
          <c:order val="3"/>
          <c:tx>
            <c:strRef>
              <c:f>Sheet1!$E$1</c:f>
              <c:strCache>
                <c:ptCount val="1"/>
                <c:pt idx="0">
                  <c:v>Column4</c:v>
                </c:pt>
              </c:strCache>
            </c:strRef>
          </c:tx>
          <c:spPr>
            <a:solidFill>
              <a:schemeClr val="accent6">
                <a:lumMod val="20000"/>
                <a:lumOff val="80000"/>
              </a:schemeClr>
            </a:solidFill>
            <a:ln>
              <a:noFill/>
            </a:ln>
            <a:effectLst/>
          </c:spPr>
          <c:invertIfNegative val="0"/>
          <c:cat>
            <c:strRef>
              <c:f>Sheet1!$A$2</c:f>
              <c:strCache>
                <c:ptCount val="1"/>
                <c:pt idx="0">
                  <c:v>When looking for a particular product category (e.g., frozen pizza or potato chips, shampoo), I consider more brands when shopping or buying online</c:v>
                </c:pt>
              </c:strCache>
            </c:strRef>
          </c:cat>
          <c:val>
            <c:numRef>
              <c:f>Sheet1!$E$2</c:f>
              <c:numCache>
                <c:formatCode>0%</c:formatCode>
                <c:ptCount val="1"/>
                <c:pt idx="0">
                  <c:v>0.05</c:v>
                </c:pt>
              </c:numCache>
            </c:numRef>
          </c:val>
          <c:extLst>
            <c:ext xmlns:c16="http://schemas.microsoft.com/office/drawing/2014/chart" uri="{C3380CC4-5D6E-409C-BE32-E72D297353CC}">
              <c16:uniqueId val="{00000005-5B24-4B66-B8FA-E632624C4187}"/>
            </c:ext>
          </c:extLst>
        </c:ser>
        <c:ser>
          <c:idx val="4"/>
          <c:order val="4"/>
          <c:tx>
            <c:strRef>
              <c:f>Sheet1!$F$1</c:f>
              <c:strCache>
                <c:ptCount val="1"/>
                <c:pt idx="0">
                  <c:v>Column5</c:v>
                </c:pt>
              </c:strCache>
            </c:strRef>
          </c:tx>
          <c:spPr>
            <a:solidFill>
              <a:schemeClr val="accent6">
                <a:lumMod val="40000"/>
                <a:lumOff val="60000"/>
              </a:schemeClr>
            </a:solidFill>
            <a:ln>
              <a:noFill/>
            </a:ln>
            <a:effectLst/>
          </c:spPr>
          <c:invertIfNegative val="0"/>
          <c:cat>
            <c:strRef>
              <c:f>Sheet1!$A$2</c:f>
              <c:strCache>
                <c:ptCount val="1"/>
                <c:pt idx="0">
                  <c:v>When looking for a particular product category (e.g., frozen pizza or potato chips, shampoo), I consider more brands when shopping or buying online</c:v>
                </c:pt>
              </c:strCache>
            </c:strRef>
          </c:cat>
          <c:val>
            <c:numRef>
              <c:f>Sheet1!$F$2</c:f>
              <c:numCache>
                <c:formatCode>0%</c:formatCode>
                <c:ptCount val="1"/>
                <c:pt idx="0">
                  <c:v>0.06</c:v>
                </c:pt>
              </c:numCache>
            </c:numRef>
          </c:val>
          <c:extLst>
            <c:ext xmlns:c16="http://schemas.microsoft.com/office/drawing/2014/chart" uri="{C3380CC4-5D6E-409C-BE32-E72D297353CC}">
              <c16:uniqueId val="{00000006-5B24-4B66-B8FA-E632624C4187}"/>
            </c:ext>
          </c:extLst>
        </c:ser>
        <c:ser>
          <c:idx val="5"/>
          <c:order val="5"/>
          <c:tx>
            <c:strRef>
              <c:f>Sheet1!$G$1</c:f>
              <c:strCache>
                <c:ptCount val="1"/>
                <c:pt idx="0">
                  <c:v>Column6</c:v>
                </c:pt>
              </c:strCache>
            </c:strRef>
          </c:tx>
          <c:spPr>
            <a:solidFill>
              <a:schemeClr val="bg1">
                <a:lumMod val="65000"/>
              </a:schemeClr>
            </a:solidFill>
            <a:ln>
              <a:noFill/>
            </a:ln>
            <a:effectLst/>
          </c:spPr>
          <c:invertIfNegative val="0"/>
          <c:cat>
            <c:strRef>
              <c:f>Sheet1!$A$2</c:f>
              <c:strCache>
                <c:ptCount val="1"/>
                <c:pt idx="0">
                  <c:v>When looking for a particular product category (e.g., frozen pizza or potato chips, shampoo), I consider more brands when shopping or buying online</c:v>
                </c:pt>
              </c:strCache>
            </c:strRef>
          </c:cat>
          <c:val>
            <c:numRef>
              <c:f>Sheet1!$G$2</c:f>
              <c:numCache>
                <c:formatCode>0%</c:formatCode>
                <c:ptCount val="1"/>
                <c:pt idx="0">
                  <c:v>0.26</c:v>
                </c:pt>
              </c:numCache>
            </c:numRef>
          </c:val>
          <c:extLst>
            <c:ext xmlns:c16="http://schemas.microsoft.com/office/drawing/2014/chart" uri="{C3380CC4-5D6E-409C-BE32-E72D297353CC}">
              <c16:uniqueId val="{00000007-5B24-4B66-B8FA-E632624C4187}"/>
            </c:ext>
          </c:extLst>
        </c:ser>
        <c:ser>
          <c:idx val="6"/>
          <c:order val="6"/>
          <c:tx>
            <c:strRef>
              <c:f>Sheet1!$H$1</c:f>
              <c:strCache>
                <c:ptCount val="1"/>
                <c:pt idx="0">
                  <c:v>Column7</c:v>
                </c:pt>
              </c:strCache>
            </c:strRef>
          </c:tx>
          <c:spPr>
            <a:solidFill>
              <a:schemeClr val="accent1">
                <a:lumMod val="60000"/>
              </a:schemeClr>
            </a:solidFill>
            <a:ln>
              <a:noFill/>
            </a:ln>
            <a:effectLst/>
          </c:spPr>
          <c:invertIfNegative val="0"/>
          <c:cat>
            <c:strRef>
              <c:f>Sheet1!$A$2</c:f>
              <c:strCache>
                <c:ptCount val="1"/>
                <c:pt idx="0">
                  <c:v>When looking for a particular product category (e.g., frozen pizza or potato chips, shampoo), I consider more brands when shopping or buying online</c:v>
                </c:pt>
              </c:strCache>
            </c:strRef>
          </c:cat>
          <c:val>
            <c:numRef>
              <c:f>Sheet1!$H$2</c:f>
              <c:numCache>
                <c:formatCode>0%</c:formatCode>
                <c:ptCount val="1"/>
                <c:pt idx="0">
                  <c:v>0</c:v>
                </c:pt>
              </c:numCache>
            </c:numRef>
          </c:val>
          <c:extLst>
            <c:ext xmlns:c16="http://schemas.microsoft.com/office/drawing/2014/chart" uri="{C3380CC4-5D6E-409C-BE32-E72D297353CC}">
              <c16:uniqueId val="{00000008-5B24-4B66-B8FA-E632624C4187}"/>
            </c:ext>
          </c:extLst>
        </c:ser>
        <c:ser>
          <c:idx val="7"/>
          <c:order val="7"/>
          <c:tx>
            <c:strRef>
              <c:f>Sheet1!$I$1</c:f>
              <c:strCache>
                <c:ptCount val="1"/>
                <c:pt idx="0">
                  <c:v>Column8</c:v>
                </c:pt>
              </c:strCache>
            </c:strRef>
          </c:tx>
          <c:spPr>
            <a:solidFill>
              <a:schemeClr val="accent6">
                <a:lumMod val="40000"/>
                <a:lumOff val="60000"/>
              </a:schemeClr>
            </a:solidFill>
            <a:ln>
              <a:noFill/>
            </a:ln>
            <a:effectLst/>
          </c:spPr>
          <c:invertIfNegative val="0"/>
          <c:cat>
            <c:strRef>
              <c:f>Sheet1!$A$2</c:f>
              <c:strCache>
                <c:ptCount val="1"/>
                <c:pt idx="0">
                  <c:v>When looking for a particular product category (e.g., frozen pizza or potato chips, shampoo), I consider more brands when shopping or buying online</c:v>
                </c:pt>
              </c:strCache>
            </c:strRef>
          </c:cat>
          <c:val>
            <c:numRef>
              <c:f>Sheet1!$I$2</c:f>
              <c:numCache>
                <c:formatCode>0%</c:formatCode>
                <c:ptCount val="1"/>
                <c:pt idx="0">
                  <c:v>0.1</c:v>
                </c:pt>
              </c:numCache>
            </c:numRef>
          </c:val>
          <c:extLst>
            <c:ext xmlns:c16="http://schemas.microsoft.com/office/drawing/2014/chart" uri="{C3380CC4-5D6E-409C-BE32-E72D297353CC}">
              <c16:uniqueId val="{00000009-5B24-4B66-B8FA-E632624C4187}"/>
            </c:ext>
          </c:extLst>
        </c:ser>
        <c:ser>
          <c:idx val="8"/>
          <c:order val="8"/>
          <c:tx>
            <c:strRef>
              <c:f>Sheet1!$J$1</c:f>
              <c:strCache>
                <c:ptCount val="1"/>
                <c:pt idx="0">
                  <c:v>Column9</c:v>
                </c:pt>
              </c:strCache>
            </c:strRef>
          </c:tx>
          <c:spPr>
            <a:solidFill>
              <a:schemeClr val="accent3">
                <a:lumMod val="60000"/>
                <a:lumOff val="40000"/>
              </a:schemeClr>
            </a:solidFill>
            <a:ln>
              <a:noFill/>
            </a:ln>
            <a:effectLst/>
          </c:spPr>
          <c:invertIfNegative val="0"/>
          <c:cat>
            <c:strRef>
              <c:f>Sheet1!$A$2</c:f>
              <c:strCache>
                <c:ptCount val="1"/>
                <c:pt idx="0">
                  <c:v>When looking for a particular product category (e.g., frozen pizza or potato chips, shampoo), I consider more brands when shopping or buying online</c:v>
                </c:pt>
              </c:strCache>
            </c:strRef>
          </c:cat>
          <c:val>
            <c:numRef>
              <c:f>Sheet1!$J$2</c:f>
              <c:numCache>
                <c:formatCode>0%</c:formatCode>
                <c:ptCount val="1"/>
                <c:pt idx="0">
                  <c:v>0.12</c:v>
                </c:pt>
              </c:numCache>
            </c:numRef>
          </c:val>
          <c:extLst>
            <c:ext xmlns:c16="http://schemas.microsoft.com/office/drawing/2014/chart" uri="{C3380CC4-5D6E-409C-BE32-E72D297353CC}">
              <c16:uniqueId val="{0000000A-5B24-4B66-B8FA-E632624C4187}"/>
            </c:ext>
          </c:extLst>
        </c:ser>
        <c:ser>
          <c:idx val="9"/>
          <c:order val="9"/>
          <c:tx>
            <c:strRef>
              <c:f>Sheet1!$K$1</c:f>
              <c:strCache>
                <c:ptCount val="1"/>
                <c:pt idx="0">
                  <c:v>Column10</c:v>
                </c:pt>
              </c:strCache>
            </c:strRef>
          </c:tx>
          <c:spPr>
            <a:solidFill>
              <a:schemeClr val="accent3"/>
            </a:solidFill>
            <a:ln>
              <a:noFill/>
            </a:ln>
            <a:effectLst/>
          </c:spPr>
          <c:invertIfNegative val="0"/>
          <c:cat>
            <c:strRef>
              <c:f>Sheet1!$A$2</c:f>
              <c:strCache>
                <c:ptCount val="1"/>
                <c:pt idx="0">
                  <c:v>When looking for a particular product category (e.g., frozen pizza or potato chips, shampoo), I consider more brands when shopping or buying online</c:v>
                </c:pt>
              </c:strCache>
            </c:strRef>
          </c:cat>
          <c:val>
            <c:numRef>
              <c:f>Sheet1!$K$2</c:f>
              <c:numCache>
                <c:formatCode>0%</c:formatCode>
                <c:ptCount val="1"/>
                <c:pt idx="0">
                  <c:v>0.09</c:v>
                </c:pt>
              </c:numCache>
            </c:numRef>
          </c:val>
          <c:extLst>
            <c:ext xmlns:c16="http://schemas.microsoft.com/office/drawing/2014/chart" uri="{C3380CC4-5D6E-409C-BE32-E72D297353CC}">
              <c16:uniqueId val="{0000000B-5B24-4B66-B8FA-E632624C4187}"/>
            </c:ext>
          </c:extLst>
        </c:ser>
        <c:ser>
          <c:idx val="10"/>
          <c:order val="10"/>
          <c:tx>
            <c:strRef>
              <c:f>Sheet1!$L$1</c:f>
              <c:strCache>
                <c:ptCount val="1"/>
                <c:pt idx="0">
                  <c:v>Column11</c:v>
                </c:pt>
              </c:strCache>
            </c:strRef>
          </c:tx>
          <c:spPr>
            <a:solidFill>
              <a:schemeClr val="accent3">
                <a:lumMod val="75000"/>
              </a:schemeClr>
            </a:solidFill>
            <a:ln>
              <a:noFill/>
            </a:ln>
            <a:effectLst/>
          </c:spPr>
          <c:invertIfNegative val="0"/>
          <c:cat>
            <c:strRef>
              <c:f>Sheet1!$A$2</c:f>
              <c:strCache>
                <c:ptCount val="1"/>
                <c:pt idx="0">
                  <c:v>When looking for a particular product category (e.g., frozen pizza or potato chips, shampoo), I consider more brands when shopping or buying online</c:v>
                </c:pt>
              </c:strCache>
            </c:strRef>
          </c:cat>
          <c:val>
            <c:numRef>
              <c:f>Sheet1!$L$2</c:f>
              <c:numCache>
                <c:formatCode>0%</c:formatCode>
                <c:ptCount val="1"/>
                <c:pt idx="0">
                  <c:v>0.14000000000000001</c:v>
                </c:pt>
              </c:numCache>
            </c:numRef>
          </c:val>
          <c:extLst>
            <c:ext xmlns:c16="http://schemas.microsoft.com/office/drawing/2014/chart" uri="{C3380CC4-5D6E-409C-BE32-E72D297353CC}">
              <c16:uniqueId val="{0000000C-5B24-4B66-B8FA-E632624C4187}"/>
            </c:ext>
          </c:extLst>
        </c:ser>
        <c:dLbls>
          <c:showLegendKey val="0"/>
          <c:showVal val="0"/>
          <c:showCatName val="0"/>
          <c:showSerName val="0"/>
          <c:showPercent val="0"/>
          <c:showBubbleSize val="0"/>
        </c:dLbls>
        <c:gapWidth val="0"/>
        <c:overlap val="100"/>
        <c:axId val="938974552"/>
        <c:axId val="938974944"/>
      </c:barChart>
      <c:catAx>
        <c:axId val="938974552"/>
        <c:scaling>
          <c:orientation val="minMax"/>
        </c:scaling>
        <c:delete val="1"/>
        <c:axPos val="l"/>
        <c:numFmt formatCode="General" sourceLinked="1"/>
        <c:majorTickMark val="none"/>
        <c:minorTickMark val="none"/>
        <c:tickLblPos val="nextTo"/>
        <c:crossAx val="938974944"/>
        <c:crosses val="autoZero"/>
        <c:auto val="1"/>
        <c:lblAlgn val="ctr"/>
        <c:lblOffset val="100"/>
        <c:noMultiLvlLbl val="0"/>
      </c:catAx>
      <c:valAx>
        <c:axId val="938974944"/>
        <c:scaling>
          <c:orientation val="minMax"/>
        </c:scaling>
        <c:delete val="1"/>
        <c:axPos val="b"/>
        <c:numFmt formatCode="0%" sourceLinked="1"/>
        <c:majorTickMark val="none"/>
        <c:minorTickMark val="none"/>
        <c:tickLblPos val="nextTo"/>
        <c:crossAx val="938974552"/>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2">
              <a:lumMod val="50000"/>
            </a:schemeClr>
          </a:solidFill>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2!$A$1:$A$9</cx:f>
        <cx:lvl ptCount="9">
          <cx:pt idx="0">Revenue</cx:pt>
          <cx:pt idx="1">COGS</cx:pt>
          <cx:pt idx="2">Gross Margin</cx:pt>
          <cx:pt idx="3">Administrative Expenses</cx:pt>
          <cx:pt idx="4">Net Income</cx:pt>
          <cx:pt idx="5">Promotion</cx:pt>
          <cx:pt idx="6">Net Sales</cx:pt>
          <cx:pt idx="7">Net Sales after Trade</cx:pt>
          <cx:pt idx="8">Disconts</cx:pt>
        </cx:lvl>
      </cx:strDim>
      <cx:numDim type="val">
        <cx:f>Sheet2!$B$1:$B$9</cx:f>
        <cx:lvl ptCount="9" formatCode="General">
          <cx:pt idx="0">23201</cx:pt>
          <cx:pt idx="1">-8273</cx:pt>
          <cx:pt idx="2">14928</cx:pt>
          <cx:pt idx="3">-1151</cx:pt>
          <cx:pt idx="4">13777</cx:pt>
          <cx:pt idx="5">-2223</cx:pt>
          <cx:pt idx="6">1219</cx:pt>
          <cx:pt idx="7">19000</cx:pt>
          <cx:pt idx="8">-1120</cx:pt>
        </cx:lvl>
      </cx:numDim>
    </cx:data>
  </cx:chartData>
  <cx:chart>
    <cx:plotArea>
      <cx:plotAreaRegion>
        <cx:series layoutId="waterfall" uniqueId="{B8ED1B17-7C3A-47CA-8785-445C9945C31B}">
          <cx:dataLabels pos="outEnd">
            <cx:visibility seriesName="0" categoryName="0" value="1"/>
          </cx:dataLabels>
          <cx:dataId val="0"/>
          <cx:layoutPr>
            <cx:subtotals/>
          </cx:layoutPr>
        </cx:series>
      </cx:plotAreaRegion>
      <cx:axis id="0">
        <cx:catScaling gapWidth="0.5"/>
        <cx:tickLabels/>
      </cx:axis>
      <cx:axis id="1">
        <cx:valScaling/>
        <cx:majorGridlines/>
        <cx:tickLabels/>
      </cx:axis>
    </cx:plotArea>
    <cx:legend pos="t" align="ctr" overlay="0"/>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withinLinearReversed" id="21">
  <a:schemeClr val="accent1"/>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51">
  <cs:axisTitle>
    <cs:lnRef idx="0"/>
    <cs:fillRef idx="0"/>
    <cs:effectRef idx="0"/>
    <cs:fontRef idx="minor">
      <a:schemeClr val="tx1"/>
    </cs:fontRef>
    <cs:defRPr sz="1330" kern="1200"/>
  </cs:axisTitle>
  <cs:categoryAxis>
    <cs:lnRef idx="0"/>
    <cs:fillRef idx="0"/>
    <cs:effectRef idx="0"/>
    <cs:fontRef idx="minor">
      <a:schemeClr val="tx1"/>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cs:fontRef>
    <cs:defRPr sz="1197" kern="1200"/>
  </cs:dataLabel>
  <cs:dataLabelCallout>
    <cs:lnRef idx="0"/>
    <cs:fillRef idx="0"/>
    <cs:effectRef idx="0"/>
    <cs:fontRef idx="minor">
      <a:schemeClr val="dk1"/>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drawing2.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image" Target="../media/image87.png"/></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12042</cdr:x>
      <cdr:y>0.16023</cdr:y>
    </cdr:from>
    <cdr:to>
      <cdr:x>0.1894</cdr:x>
      <cdr:y>0.18189</cdr:y>
    </cdr:to>
    <cdr:sp macro="" textlink="">
      <cdr:nvSpPr>
        <cdr:cNvPr id="2" name="TextBox 1"/>
        <cdr:cNvSpPr txBox="1"/>
      </cdr:nvSpPr>
      <cdr:spPr>
        <a:xfrm xmlns:a="http://schemas.openxmlformats.org/drawingml/2006/main" flipH="1">
          <a:off x="691601" y="773875"/>
          <a:ext cx="396175" cy="104613"/>
        </a:xfrm>
        <a:prstGeom xmlns:a="http://schemas.openxmlformats.org/drawingml/2006/main" prst="rect">
          <a:avLst/>
        </a:prstGeom>
      </cdr:spPr>
      <cdr:txBody>
        <a:bodyPr xmlns:a="http://schemas.openxmlformats.org/drawingml/2006/main" vertOverflow="clip" vert="horz" wrap="square" lIns="91440" tIns="45720" rIns="91440" bIns="45720" rtlCol="0" anchor="ctr">
          <a:noAutofit/>
        </a:bodyPr>
        <a:lstStyle xmlns:a="http://schemas.openxmlformats.org/drawingml/2006/main"/>
        <a:p xmlns:a="http://schemas.openxmlformats.org/drawingml/2006/main">
          <a:pPr algn="l"/>
          <a:r>
            <a:rPr lang="en-US" sz="700" dirty="0">
              <a:solidFill>
                <a:schemeClr val="tx1"/>
              </a:solidFill>
            </a:rPr>
            <a:t>3</a:t>
          </a:r>
        </a:p>
      </cdr:txBody>
    </cdr:sp>
  </cdr:relSizeAnchor>
  <cdr:relSizeAnchor xmlns:cdr="http://schemas.openxmlformats.org/drawingml/2006/chartDrawing">
    <cdr:from>
      <cdr:x>0.14211</cdr:x>
      <cdr:y>0.39503</cdr:y>
    </cdr:from>
    <cdr:to>
      <cdr:x>0.21109</cdr:x>
      <cdr:y>0.41669</cdr:y>
    </cdr:to>
    <cdr:sp macro="" textlink="">
      <cdr:nvSpPr>
        <cdr:cNvPr id="3" name="TextBox 2"/>
        <cdr:cNvSpPr txBox="1"/>
      </cdr:nvSpPr>
      <cdr:spPr>
        <a:xfrm xmlns:a="http://schemas.openxmlformats.org/drawingml/2006/main" flipH="1">
          <a:off x="816204" y="1907889"/>
          <a:ext cx="396176" cy="104613"/>
        </a:xfrm>
        <a:prstGeom xmlns:a="http://schemas.openxmlformats.org/drawingml/2006/main" prst="rect">
          <a:avLst/>
        </a:prstGeom>
      </cdr:spPr>
      <cdr:txBody>
        <a:bodyPr xmlns:a="http://schemas.openxmlformats.org/drawingml/2006/main" vertOverflow="clip" vert="horz" wrap="square" lIns="91440" tIns="45720" rIns="91440" bIns="45720" rtlCol="0" anchor="ctr">
          <a:noAutofit/>
        </a:bodyPr>
        <a:lstStyle xmlns:a="http://schemas.openxmlformats.org/drawingml/2006/main"/>
        <a:p xmlns:a="http://schemas.openxmlformats.org/drawingml/2006/main">
          <a:pPr algn="l"/>
          <a:r>
            <a:rPr lang="en-US" sz="700" dirty="0">
              <a:solidFill>
                <a:schemeClr val="tx1"/>
              </a:solidFill>
            </a:rPr>
            <a:t>4</a:t>
          </a:r>
        </a:p>
      </cdr:txBody>
    </cdr:sp>
  </cdr:relSizeAnchor>
  <cdr:relSizeAnchor xmlns:cdr="http://schemas.openxmlformats.org/drawingml/2006/chartDrawing">
    <cdr:from>
      <cdr:x>0.23356</cdr:x>
      <cdr:y>0.47661</cdr:y>
    </cdr:from>
    <cdr:to>
      <cdr:x>0.30253</cdr:x>
      <cdr:y>0.49827</cdr:y>
    </cdr:to>
    <cdr:sp macro="" textlink="">
      <cdr:nvSpPr>
        <cdr:cNvPr id="4" name="TextBox 3"/>
        <cdr:cNvSpPr txBox="1"/>
      </cdr:nvSpPr>
      <cdr:spPr>
        <a:xfrm xmlns:a="http://schemas.openxmlformats.org/drawingml/2006/main" flipH="1">
          <a:off x="1341386" y="2301914"/>
          <a:ext cx="396175" cy="104613"/>
        </a:xfrm>
        <a:prstGeom xmlns:a="http://schemas.openxmlformats.org/drawingml/2006/main" prst="rect">
          <a:avLst/>
        </a:prstGeom>
      </cdr:spPr>
      <cdr:txBody>
        <a:bodyPr xmlns:a="http://schemas.openxmlformats.org/drawingml/2006/main" vertOverflow="clip" vert="horz" wrap="square" lIns="91440" tIns="45720" rIns="91440" bIns="45720" rtlCol="0" anchor="ctr">
          <a:noAutofit/>
        </a:bodyPr>
        <a:lstStyle xmlns:a="http://schemas.openxmlformats.org/drawingml/2006/main"/>
        <a:p xmlns:a="http://schemas.openxmlformats.org/drawingml/2006/main">
          <a:pPr algn="l"/>
          <a:r>
            <a:rPr lang="en-US" sz="700" dirty="0">
              <a:solidFill>
                <a:schemeClr val="tx1"/>
              </a:solidFill>
            </a:rPr>
            <a:t>5</a:t>
          </a:r>
        </a:p>
      </cdr:txBody>
    </cdr:sp>
  </cdr:relSizeAnchor>
  <cdr:relSizeAnchor xmlns:cdr="http://schemas.openxmlformats.org/drawingml/2006/chartDrawing">
    <cdr:from>
      <cdr:x>0.24678</cdr:x>
      <cdr:y>0.55668</cdr:y>
    </cdr:from>
    <cdr:to>
      <cdr:x>0.31576</cdr:x>
      <cdr:y>0.57834</cdr:y>
    </cdr:to>
    <cdr:sp macro="" textlink="">
      <cdr:nvSpPr>
        <cdr:cNvPr id="5" name="TextBox 4"/>
        <cdr:cNvSpPr txBox="1"/>
      </cdr:nvSpPr>
      <cdr:spPr>
        <a:xfrm xmlns:a="http://schemas.openxmlformats.org/drawingml/2006/main" flipH="1">
          <a:off x="1417341" y="2688648"/>
          <a:ext cx="396176" cy="104613"/>
        </a:xfrm>
        <a:prstGeom xmlns:a="http://schemas.openxmlformats.org/drawingml/2006/main" prst="rect">
          <a:avLst/>
        </a:prstGeom>
      </cdr:spPr>
      <cdr:txBody>
        <a:bodyPr xmlns:a="http://schemas.openxmlformats.org/drawingml/2006/main" vertOverflow="clip" vert="horz" wrap="square" lIns="91440" tIns="45720" rIns="91440" bIns="45720" rtlCol="0" anchor="ctr">
          <a:noAutofit/>
        </a:bodyPr>
        <a:lstStyle xmlns:a="http://schemas.openxmlformats.org/drawingml/2006/main"/>
        <a:p xmlns:a="http://schemas.openxmlformats.org/drawingml/2006/main">
          <a:pPr algn="l"/>
          <a:r>
            <a:rPr lang="en-US" sz="700" dirty="0">
              <a:solidFill>
                <a:schemeClr val="tx1"/>
              </a:solidFill>
            </a:rPr>
            <a:t>6</a:t>
          </a:r>
        </a:p>
      </cdr:txBody>
    </cdr:sp>
  </cdr:relSizeAnchor>
</c:userShapes>
</file>

<file path=ppt/drawings/drawing2.xml><?xml version="1.0" encoding="utf-8"?>
<c:userShapes xmlns:c="http://schemas.openxmlformats.org/drawingml/2006/chart">
  <cdr:relSizeAnchor xmlns:cdr="http://schemas.openxmlformats.org/drawingml/2006/chartDrawing">
    <cdr:from>
      <cdr:x>0.12992</cdr:x>
      <cdr:y>0.25696</cdr:y>
    </cdr:from>
    <cdr:to>
      <cdr:x>0.18168</cdr:x>
      <cdr:y>0.41713</cdr:y>
    </cdr:to>
    <cdr:sp macro="" textlink="">
      <cdr:nvSpPr>
        <cdr:cNvPr id="5" name="TextBox 4">
          <a:extLst xmlns:a="http://schemas.openxmlformats.org/drawingml/2006/main">
            <a:ext uri="{FF2B5EF4-FFF2-40B4-BE49-F238E27FC236}">
              <a16:creationId xmlns:a16="http://schemas.microsoft.com/office/drawing/2014/main" id="{DFE7EFA2-A1F4-4DDE-95ED-B43F849A0E5F}"/>
            </a:ext>
          </a:extLst>
        </cdr:cNvPr>
        <cdr:cNvSpPr txBox="1"/>
      </cdr:nvSpPr>
      <cdr:spPr>
        <a:xfrm xmlns:a="http://schemas.openxmlformats.org/drawingml/2006/main">
          <a:off x="824466" y="522239"/>
          <a:ext cx="328468" cy="32551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600" dirty="0"/>
        </a:p>
      </cdr:txBody>
    </cdr:sp>
  </cdr:relSizeAnchor>
  <cdr:relSizeAnchor xmlns:cdr="http://schemas.openxmlformats.org/drawingml/2006/chartDrawing">
    <cdr:from>
      <cdr:x>0.83136</cdr:x>
      <cdr:y>0.23159</cdr:y>
    </cdr:from>
    <cdr:to>
      <cdr:x>0.8763</cdr:x>
      <cdr:y>0.3029</cdr:y>
    </cdr:to>
    <cdr:sp macro="" textlink="">
      <cdr:nvSpPr>
        <cdr:cNvPr id="2" name="TextBox 1">
          <a:extLst xmlns:a="http://schemas.openxmlformats.org/drawingml/2006/main">
            <a:ext uri="{FF2B5EF4-FFF2-40B4-BE49-F238E27FC236}">
              <a16:creationId xmlns:a16="http://schemas.microsoft.com/office/drawing/2014/main" id="{B74D6EB9-99BA-46D5-A16A-2341CCEB4989}"/>
            </a:ext>
          </a:extLst>
        </cdr:cNvPr>
        <cdr:cNvSpPr txBox="1"/>
      </cdr:nvSpPr>
      <cdr:spPr>
        <a:xfrm xmlns:a="http://schemas.openxmlformats.org/drawingml/2006/main">
          <a:off x="5300531" y="571871"/>
          <a:ext cx="286524" cy="17608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500" b="1" dirty="0">
              <a:solidFill>
                <a:schemeClr val="tx1"/>
              </a:solidFill>
            </a:rPr>
            <a:t>38</a:t>
          </a:r>
        </a:p>
      </cdr:txBody>
    </cdr:sp>
  </cdr:relSizeAnchor>
  <cdr:relSizeAnchor xmlns:cdr="http://schemas.openxmlformats.org/drawingml/2006/chartDrawing">
    <cdr:from>
      <cdr:x>0.06435</cdr:x>
      <cdr:y>0.21814</cdr:y>
    </cdr:from>
    <cdr:to>
      <cdr:x>0.20782</cdr:x>
      <cdr:y>0.40492</cdr:y>
    </cdr:to>
    <cdr:pic>
      <cdr:nvPicPr>
        <cdr:cNvPr id="8" name="chart">
          <a:extLst xmlns:a="http://schemas.openxmlformats.org/drawingml/2006/main">
            <a:ext uri="{FF2B5EF4-FFF2-40B4-BE49-F238E27FC236}">
              <a16:creationId xmlns:a16="http://schemas.microsoft.com/office/drawing/2014/main" id="{1FFE547D-B043-4559-B149-56161F9379EC}"/>
            </a:ext>
          </a:extLst>
        </cdr:cNvPr>
        <cdr:cNvPicPr>
          <a:picLocks xmlns:a="http://schemas.openxmlformats.org/drawingml/2006/main" noChangeAspect="1"/>
        </cdr:cNvPicPr>
      </cdr:nvPicPr>
      <cdr:blipFill rotWithShape="1">
        <a:blip xmlns:a="http://schemas.openxmlformats.org/drawingml/2006/main" xmlns:r="http://schemas.openxmlformats.org/officeDocument/2006/relationships" r:embed="rId1"/>
        <a:srcRect xmlns:a="http://schemas.openxmlformats.org/drawingml/2006/main" b="24626"/>
        <a:stretch xmlns:a="http://schemas.openxmlformats.org/drawingml/2006/main"/>
      </cdr:blipFill>
      <cdr:spPr>
        <a:xfrm xmlns:a="http://schemas.openxmlformats.org/drawingml/2006/main">
          <a:off x="410953" y="538652"/>
          <a:ext cx="916217" cy="461247"/>
        </a:xfrm>
        <a:prstGeom xmlns:a="http://schemas.openxmlformats.org/drawingml/2006/main" prst="rect">
          <a:avLst/>
        </a:prstGeom>
      </cdr:spPr>
    </cdr:pic>
  </cdr:relSizeAnchor>
  <cdr:relSizeAnchor xmlns:cdr="http://schemas.openxmlformats.org/drawingml/2006/chartDrawing">
    <cdr:from>
      <cdr:x>0.06435</cdr:x>
      <cdr:y>0.15969</cdr:y>
    </cdr:from>
    <cdr:to>
      <cdr:x>0.20782</cdr:x>
      <cdr:y>0.22123</cdr:y>
    </cdr:to>
    <cdr:pic>
      <cdr:nvPicPr>
        <cdr:cNvPr id="9" name="chart">
          <a:extLst xmlns:a="http://schemas.openxmlformats.org/drawingml/2006/main">
            <a:ext uri="{FF2B5EF4-FFF2-40B4-BE49-F238E27FC236}">
              <a16:creationId xmlns:a16="http://schemas.microsoft.com/office/drawing/2014/main" id="{B997AD55-9789-4347-8E68-92AA6EB811B5}"/>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2"/>
        <a:stretch xmlns:a="http://schemas.openxmlformats.org/drawingml/2006/main">
          <a:fillRect/>
        </a:stretch>
      </cdr:blipFill>
      <cdr:spPr>
        <a:xfrm xmlns:a="http://schemas.openxmlformats.org/drawingml/2006/main">
          <a:off x="410953" y="394323"/>
          <a:ext cx="916217" cy="151960"/>
        </a:xfrm>
        <a:prstGeom xmlns:a="http://schemas.openxmlformats.org/drawingml/2006/main" prst="rect">
          <a:avLst/>
        </a:prstGeom>
      </cdr:spPr>
    </cdr:pic>
  </cdr:relSizeAnchor>
  <cdr:relSizeAnchor xmlns:cdr="http://schemas.openxmlformats.org/drawingml/2006/chartDrawing">
    <cdr:from>
      <cdr:x>0.00795</cdr:x>
      <cdr:y>0.25471</cdr:y>
    </cdr:from>
    <cdr:to>
      <cdr:x>0.06922</cdr:x>
      <cdr:y>0.42127</cdr:y>
    </cdr:to>
    <cdr:sp macro="" textlink="">
      <cdr:nvSpPr>
        <cdr:cNvPr id="10" name="TextBox 3">
          <a:extLst xmlns:a="http://schemas.openxmlformats.org/drawingml/2006/main">
            <a:ext uri="{FF2B5EF4-FFF2-40B4-BE49-F238E27FC236}">
              <a16:creationId xmlns:a16="http://schemas.microsoft.com/office/drawing/2014/main" id="{60B252EE-AB4F-44C1-9595-43F9989B9FC9}"/>
            </a:ext>
          </a:extLst>
        </cdr:cNvPr>
        <cdr:cNvSpPr txBox="1"/>
      </cdr:nvSpPr>
      <cdr:spPr>
        <a:xfrm xmlns:a="http://schemas.openxmlformats.org/drawingml/2006/main">
          <a:off x="50800" y="628977"/>
          <a:ext cx="391247" cy="41127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r>
            <a:rPr lang="en-US" sz="400" b="0" dirty="0"/>
            <a:t>Monthly T&amp;C Artifacts Created</a:t>
          </a:r>
        </a:p>
      </cdr:txBody>
    </cdr:sp>
  </cdr:relSizeAnchor>
  <cdr:relSizeAnchor xmlns:cdr="http://schemas.openxmlformats.org/drawingml/2006/chartDrawing">
    <cdr:from>
      <cdr:x>0.05845</cdr:x>
      <cdr:y>0.25072</cdr:y>
    </cdr:from>
    <cdr:to>
      <cdr:x>0.06561</cdr:x>
      <cdr:y>0.39884</cdr:y>
    </cdr:to>
    <cdr:sp macro="" textlink="">
      <cdr:nvSpPr>
        <cdr:cNvPr id="11" name="Left Bracket 10">
          <a:extLst xmlns:a="http://schemas.openxmlformats.org/drawingml/2006/main">
            <a:ext uri="{FF2B5EF4-FFF2-40B4-BE49-F238E27FC236}">
              <a16:creationId xmlns:a16="http://schemas.microsoft.com/office/drawing/2014/main" id="{AC1EF9DF-666C-4268-9FD1-475AD9FC177E}"/>
            </a:ext>
          </a:extLst>
        </cdr:cNvPr>
        <cdr:cNvSpPr/>
      </cdr:nvSpPr>
      <cdr:spPr>
        <a:xfrm xmlns:a="http://schemas.openxmlformats.org/drawingml/2006/main">
          <a:off x="373247" y="619105"/>
          <a:ext cx="45718" cy="365759"/>
        </a:xfrm>
        <a:prstGeom xmlns:a="http://schemas.openxmlformats.org/drawingml/2006/main" prst="leftBracket">
          <a:avLst/>
        </a:prstGeom>
        <a:ln xmlns:a="http://schemas.openxmlformats.org/drawingml/2006/main">
          <a:solidFill>
            <a:srgbClr val="7030A0"/>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rtlCol="0" anchor="ct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pPr algn="ctr"/>
          <a:endParaRPr lang="en-US" dirty="0">
            <a:solidFill>
              <a:schemeClr val="bg2"/>
            </a:solidFill>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19112</cdr:x>
      <cdr:y>0.19026</cdr:y>
    </cdr:from>
    <cdr:to>
      <cdr:x>0.73037</cdr:x>
      <cdr:y>0.58926</cdr:y>
    </cdr:to>
    <cdr:cxnSp macro="">
      <cdr:nvCxnSpPr>
        <cdr:cNvPr id="3" name="Straight Connector 2">
          <a:extLst xmlns:a="http://schemas.openxmlformats.org/drawingml/2006/main">
            <a:ext uri="{FF2B5EF4-FFF2-40B4-BE49-F238E27FC236}">
              <a16:creationId xmlns:a16="http://schemas.microsoft.com/office/drawing/2014/main" id="{0AD83991-2952-47CA-A3B6-826EAB72CFFB}"/>
            </a:ext>
          </a:extLst>
        </cdr:cNvPr>
        <cdr:cNvCxnSpPr/>
      </cdr:nvCxnSpPr>
      <cdr:spPr>
        <a:xfrm xmlns:a="http://schemas.openxmlformats.org/drawingml/2006/main" flipV="1">
          <a:off x="846497" y="834641"/>
          <a:ext cx="2388420" cy="1750402"/>
        </a:xfrm>
        <a:prstGeom xmlns:a="http://schemas.openxmlformats.org/drawingml/2006/main" prst="line">
          <a:avLst/>
        </a:prstGeom>
        <a:ln xmlns:a="http://schemas.openxmlformats.org/drawingml/2006/main">
          <a:solidFill>
            <a:schemeClr val="tx1"/>
          </a:solidFill>
          <a:headEnd type="none" w="med" len="med"/>
          <a:tailEnd type="triangle" w="med"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4.xml><?xml version="1.0" encoding="utf-8"?>
<c:userShapes xmlns:c="http://schemas.openxmlformats.org/drawingml/2006/chart">
  <cdr:relSizeAnchor xmlns:cdr="http://schemas.openxmlformats.org/drawingml/2006/chartDrawing">
    <cdr:from>
      <cdr:x>0.12101</cdr:x>
      <cdr:y>0.38393</cdr:y>
    </cdr:from>
    <cdr:to>
      <cdr:x>0.75966</cdr:x>
      <cdr:y>0.49378</cdr:y>
    </cdr:to>
    <cdr:sp macro="" textlink="">
      <cdr:nvSpPr>
        <cdr:cNvPr id="2" name="Rectangle 1"/>
        <cdr:cNvSpPr/>
      </cdr:nvSpPr>
      <cdr:spPr>
        <a:xfrm xmlns:a="http://schemas.openxmlformats.org/drawingml/2006/main" rot="20760374">
          <a:off x="657075" y="691063"/>
          <a:ext cx="3467865" cy="197721"/>
        </a:xfrm>
        <a:prstGeom xmlns:a="http://schemas.openxmlformats.org/drawingml/2006/main" prst="rect">
          <a:avLst/>
        </a:prstGeom>
        <a:solidFill xmlns:a="http://schemas.openxmlformats.org/drawingml/2006/main">
          <a:schemeClr val="accent5">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5.xml><?xml version="1.0" encoding="utf-8"?>
<c:userShapes xmlns:c="http://schemas.openxmlformats.org/drawingml/2006/chart">
  <cdr:relSizeAnchor xmlns:cdr="http://schemas.openxmlformats.org/drawingml/2006/chartDrawing">
    <cdr:from>
      <cdr:x>0.00825</cdr:x>
      <cdr:y>0.01234</cdr:y>
    </cdr:from>
    <cdr:to>
      <cdr:x>0.00858</cdr:x>
      <cdr:y>0.01349</cdr:y>
    </cdr:to>
    <cdr:grpSp>
      <cdr:nvGrpSpPr>
        <cdr:cNvPr id="2" name="Group 1">
          <a:extLst xmlns:a="http://schemas.openxmlformats.org/drawingml/2006/main">
            <a:ext uri="{FF2B5EF4-FFF2-40B4-BE49-F238E27FC236}">
              <a16:creationId xmlns:a16="http://schemas.microsoft.com/office/drawing/2014/main" id="{8D0F1503-DC9F-F340-BADA-ADA16F890474}"/>
            </a:ext>
          </a:extLst>
        </cdr:cNvPr>
        <cdr:cNvGrpSpPr>
          <a:grpSpLocks xmlns:a="http://schemas.openxmlformats.org/drawingml/2006/main" noChangeAspect="1"/>
        </cdr:cNvGrpSpPr>
      </cdr:nvGrpSpPr>
      <cdr:grpSpPr bwMode="auto">
        <a:xfrm xmlns:a="http://schemas.openxmlformats.org/drawingml/2006/main">
          <a:off x="50307" y="50165"/>
          <a:ext cx="2013" cy="4675"/>
          <a:chOff x="-8016" y="-1055"/>
          <a:chExt cx="3" cy="7"/>
        </a:xfrm>
      </cdr:grpSpPr>
      <cdr:sp macro="" textlink="">
        <cdr:nvSpPr>
          <cdr:cNvPr id="3" name="AutoShape 3">
            <a:extLst xmlns:a="http://schemas.openxmlformats.org/drawingml/2006/main">
              <a:ext uri="{FF2B5EF4-FFF2-40B4-BE49-F238E27FC236}">
                <a16:creationId xmlns:a16="http://schemas.microsoft.com/office/drawing/2014/main" id="{173717EE-3787-E24E-958F-0328C97E108E}"/>
              </a:ext>
            </a:extLst>
          </cdr:cNvPr>
          <cdr:cNvSpPr>
            <a:spLocks xmlns:a="http://schemas.openxmlformats.org/drawingml/2006/main" noChangeAspect="1" noChangeArrowheads="1" noTextEdit="1"/>
          </cdr:cNvSpPr>
        </cdr:nvSpPr>
        <cdr:spPr bwMode="auto">
          <a:xfrm xmlns:a="http://schemas.openxmlformats.org/drawingml/2006/main">
            <a:off x="-8016" y="-1055"/>
            <a:ext cx="3" cy="6"/>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cdr:spPr>
        <cdr:txBody>
          <a:bodyPr xmlns:a="http://schemas.openxmlformats.org/drawingml/2006/main" vert="horz" wrap="square" lIns="91440" tIns="45720" rIns="91440" bIns="45720" numCol="1" anchor="t" anchorCtr="0" compatLnSpc="1">
            <a:prstTxWarp prst="textNoShape">
              <a:avLst/>
            </a:prstTxWarp>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endParaRPr lang="en-US" dirty="0"/>
          </a:p>
        </cdr:txBody>
      </cdr:sp>
      <cdr:sp macro="" textlink="">
        <cdr:nvSpPr>
          <cdr:cNvPr id="4" name="Freeform 3">
            <a:extLst xmlns:a="http://schemas.openxmlformats.org/drawingml/2006/main">
              <a:ext uri="{FF2B5EF4-FFF2-40B4-BE49-F238E27FC236}">
                <a16:creationId xmlns:a16="http://schemas.microsoft.com/office/drawing/2014/main" id="{2EFB4185-4946-3B4E-A659-2ED495AE345F}"/>
              </a:ext>
            </a:extLst>
          </cdr:cNvPr>
          <cdr:cNvSpPr>
            <a:spLocks xmlns:a="http://schemas.openxmlformats.org/drawingml/2006/main"/>
          </cdr:cNvSpPr>
        </cdr:nvSpPr>
        <cdr:spPr bwMode="auto">
          <a:xfrm xmlns:a="http://schemas.openxmlformats.org/drawingml/2006/main">
            <a:off x="-8015" y="-1052"/>
            <a:ext cx="1" cy="4"/>
          </a:xfrm>
          <a:custGeom xmlns:a="http://schemas.openxmlformats.org/drawingml/2006/main">
            <a:avLst/>
            <a:gdLst>
              <a:gd name="T0" fmla="*/ 2163 w 2987"/>
              <a:gd name="T1" fmla="*/ 123 h 7299"/>
              <a:gd name="T2" fmla="*/ 1974 w 2987"/>
              <a:gd name="T3" fmla="*/ 157 h 7299"/>
              <a:gd name="T4" fmla="*/ 1907 w 2987"/>
              <a:gd name="T5" fmla="*/ 157 h 7299"/>
              <a:gd name="T6" fmla="*/ 1862 w 2987"/>
              <a:gd name="T7" fmla="*/ 165 h 7299"/>
              <a:gd name="T8" fmla="*/ 1826 w 2987"/>
              <a:gd name="T9" fmla="*/ 208 h 7299"/>
              <a:gd name="T10" fmla="*/ 1200 w 2987"/>
              <a:gd name="T11" fmla="*/ 219 h 7299"/>
              <a:gd name="T12" fmla="*/ 1159 w 2987"/>
              <a:gd name="T13" fmla="*/ 208 h 7299"/>
              <a:gd name="T14" fmla="*/ 1124 w 2987"/>
              <a:gd name="T15" fmla="*/ 165 h 7299"/>
              <a:gd name="T16" fmla="*/ 982 w 2987"/>
              <a:gd name="T17" fmla="*/ 151 h 7299"/>
              <a:gd name="T18" fmla="*/ 409 w 2987"/>
              <a:gd name="T19" fmla="*/ 55 h 7299"/>
              <a:gd name="T20" fmla="*/ 196 w 2987"/>
              <a:gd name="T21" fmla="*/ 18 h 7299"/>
              <a:gd name="T22" fmla="*/ 0 w 2987"/>
              <a:gd name="T23" fmla="*/ 1228 h 7299"/>
              <a:gd name="T24" fmla="*/ 12 w 2987"/>
              <a:gd name="T25" fmla="*/ 1286 h 7299"/>
              <a:gd name="T26" fmla="*/ 45 w 2987"/>
              <a:gd name="T27" fmla="*/ 1334 h 7299"/>
              <a:gd name="T28" fmla="*/ 91 w 2987"/>
              <a:gd name="T29" fmla="*/ 1367 h 7299"/>
              <a:gd name="T30" fmla="*/ 150 w 2987"/>
              <a:gd name="T31" fmla="*/ 1378 h 7299"/>
              <a:gd name="T32" fmla="*/ 192 w 2987"/>
              <a:gd name="T33" fmla="*/ 4101 h 7299"/>
              <a:gd name="T34" fmla="*/ 204 w 2987"/>
              <a:gd name="T35" fmla="*/ 6835 h 7299"/>
              <a:gd name="T36" fmla="*/ 209 w 2987"/>
              <a:gd name="T37" fmla="*/ 6902 h 7299"/>
              <a:gd name="T38" fmla="*/ 230 w 2987"/>
              <a:gd name="T39" fmla="*/ 6988 h 7299"/>
              <a:gd name="T40" fmla="*/ 267 w 2987"/>
              <a:gd name="T41" fmla="*/ 7068 h 7299"/>
              <a:gd name="T42" fmla="*/ 317 w 2987"/>
              <a:gd name="T43" fmla="*/ 7138 h 7299"/>
              <a:gd name="T44" fmla="*/ 381 w 2987"/>
              <a:gd name="T45" fmla="*/ 7197 h 7299"/>
              <a:gd name="T46" fmla="*/ 455 w 2987"/>
              <a:gd name="T47" fmla="*/ 7245 h 7299"/>
              <a:gd name="T48" fmla="*/ 538 w 2987"/>
              <a:gd name="T49" fmla="*/ 7279 h 7299"/>
              <a:gd name="T50" fmla="*/ 630 w 2987"/>
              <a:gd name="T51" fmla="*/ 7297 h 7299"/>
              <a:gd name="T52" fmla="*/ 703 w 2987"/>
              <a:gd name="T53" fmla="*/ 7299 h 7299"/>
              <a:gd name="T54" fmla="*/ 795 w 2987"/>
              <a:gd name="T55" fmla="*/ 7284 h 7299"/>
              <a:gd name="T56" fmla="*/ 880 w 2987"/>
              <a:gd name="T57" fmla="*/ 7252 h 7299"/>
              <a:gd name="T58" fmla="*/ 957 w 2987"/>
              <a:gd name="T59" fmla="*/ 7205 h 7299"/>
              <a:gd name="T60" fmla="*/ 1024 w 2987"/>
              <a:gd name="T61" fmla="*/ 7144 h 7299"/>
              <a:gd name="T62" fmla="*/ 1078 w 2987"/>
              <a:gd name="T63" fmla="*/ 7071 h 7299"/>
              <a:gd name="T64" fmla="*/ 1117 w 2987"/>
              <a:gd name="T65" fmla="*/ 6987 h 7299"/>
              <a:gd name="T66" fmla="*/ 1141 w 2987"/>
              <a:gd name="T67" fmla="*/ 6897 h 7299"/>
              <a:gd name="T68" fmla="*/ 1175 w 2987"/>
              <a:gd name="T69" fmla="*/ 6220 h 7299"/>
              <a:gd name="T70" fmla="*/ 1313 w 2987"/>
              <a:gd name="T71" fmla="*/ 3073 h 7299"/>
              <a:gd name="T72" fmla="*/ 1854 w 2987"/>
              <a:gd name="T73" fmla="*/ 6849 h 7299"/>
              <a:gd name="T74" fmla="*/ 1863 w 2987"/>
              <a:gd name="T75" fmla="*/ 6917 h 7299"/>
              <a:gd name="T76" fmla="*/ 1889 w 2987"/>
              <a:gd name="T77" fmla="*/ 7002 h 7299"/>
              <a:gd name="T78" fmla="*/ 1930 w 2987"/>
              <a:gd name="T79" fmla="*/ 7081 h 7299"/>
              <a:gd name="T80" fmla="*/ 1984 w 2987"/>
              <a:gd name="T81" fmla="*/ 7150 h 7299"/>
              <a:gd name="T82" fmla="*/ 2050 w 2987"/>
              <a:gd name="T83" fmla="*/ 7208 h 7299"/>
              <a:gd name="T84" fmla="*/ 2125 w 2987"/>
              <a:gd name="T85" fmla="*/ 7254 h 7299"/>
              <a:gd name="T86" fmla="*/ 2207 w 2987"/>
              <a:gd name="T87" fmla="*/ 7284 h 7299"/>
              <a:gd name="T88" fmla="*/ 2296 w 2987"/>
              <a:gd name="T89" fmla="*/ 7298 h 7299"/>
              <a:gd name="T90" fmla="*/ 2366 w 2987"/>
              <a:gd name="T91" fmla="*/ 7297 h 7299"/>
              <a:gd name="T92" fmla="*/ 2458 w 2987"/>
              <a:gd name="T93" fmla="*/ 7278 h 7299"/>
              <a:gd name="T94" fmla="*/ 2540 w 2987"/>
              <a:gd name="T95" fmla="*/ 7243 h 7299"/>
              <a:gd name="T96" fmla="*/ 2615 w 2987"/>
              <a:gd name="T97" fmla="*/ 7194 h 7299"/>
              <a:gd name="T98" fmla="*/ 2678 w 2987"/>
              <a:gd name="T99" fmla="*/ 7131 h 7299"/>
              <a:gd name="T100" fmla="*/ 2727 w 2987"/>
              <a:gd name="T101" fmla="*/ 7058 h 7299"/>
              <a:gd name="T102" fmla="*/ 2762 w 2987"/>
              <a:gd name="T103" fmla="*/ 6974 h 7299"/>
              <a:gd name="T104" fmla="*/ 2779 w 2987"/>
              <a:gd name="T105" fmla="*/ 6883 h 7299"/>
              <a:gd name="T106" fmla="*/ 2836 w 2987"/>
              <a:gd name="T107" fmla="*/ 1378 h 7299"/>
              <a:gd name="T108" fmla="*/ 2881 w 2987"/>
              <a:gd name="T109" fmla="*/ 1371 h 7299"/>
              <a:gd name="T110" fmla="*/ 2931 w 2987"/>
              <a:gd name="T111" fmla="*/ 1343 h 7299"/>
              <a:gd name="T112" fmla="*/ 2968 w 2987"/>
              <a:gd name="T113" fmla="*/ 1299 h 7299"/>
              <a:gd name="T114" fmla="*/ 2986 w 2987"/>
              <a:gd name="T115" fmla="*/ 1244 h 7299"/>
              <a:gd name="T116" fmla="*/ 2829 w 2987"/>
              <a:gd name="T117" fmla="*/ 6 h 7299"/>
              <a:gd name="T118" fmla="*/ 2613 w 2987"/>
              <a:gd name="T119" fmla="*/ 49 h 7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87" h="7299">
                <a:moveTo>
                  <a:pt x="2577" y="55"/>
                </a:moveTo>
                <a:lnTo>
                  <a:pt x="2577" y="55"/>
                </a:lnTo>
                <a:lnTo>
                  <a:pt x="2344" y="93"/>
                </a:lnTo>
                <a:lnTo>
                  <a:pt x="2163" y="123"/>
                </a:lnTo>
                <a:lnTo>
                  <a:pt x="2005" y="151"/>
                </a:lnTo>
                <a:lnTo>
                  <a:pt x="2005" y="151"/>
                </a:lnTo>
                <a:lnTo>
                  <a:pt x="1990" y="155"/>
                </a:lnTo>
                <a:lnTo>
                  <a:pt x="1974" y="157"/>
                </a:lnTo>
                <a:lnTo>
                  <a:pt x="1958" y="160"/>
                </a:lnTo>
                <a:lnTo>
                  <a:pt x="1942" y="161"/>
                </a:lnTo>
                <a:lnTo>
                  <a:pt x="1925" y="160"/>
                </a:lnTo>
                <a:lnTo>
                  <a:pt x="1907" y="157"/>
                </a:lnTo>
                <a:lnTo>
                  <a:pt x="1888" y="155"/>
                </a:lnTo>
                <a:lnTo>
                  <a:pt x="1868" y="151"/>
                </a:lnTo>
                <a:lnTo>
                  <a:pt x="1868" y="151"/>
                </a:lnTo>
                <a:lnTo>
                  <a:pt x="1862" y="165"/>
                </a:lnTo>
                <a:lnTo>
                  <a:pt x="1856" y="178"/>
                </a:lnTo>
                <a:lnTo>
                  <a:pt x="1848" y="190"/>
                </a:lnTo>
                <a:lnTo>
                  <a:pt x="1838" y="200"/>
                </a:lnTo>
                <a:lnTo>
                  <a:pt x="1826" y="208"/>
                </a:lnTo>
                <a:lnTo>
                  <a:pt x="1814" y="213"/>
                </a:lnTo>
                <a:lnTo>
                  <a:pt x="1801" y="217"/>
                </a:lnTo>
                <a:lnTo>
                  <a:pt x="1786" y="219"/>
                </a:lnTo>
                <a:lnTo>
                  <a:pt x="1200" y="219"/>
                </a:lnTo>
                <a:lnTo>
                  <a:pt x="1200" y="219"/>
                </a:lnTo>
                <a:lnTo>
                  <a:pt x="1185" y="217"/>
                </a:lnTo>
                <a:lnTo>
                  <a:pt x="1172" y="213"/>
                </a:lnTo>
                <a:lnTo>
                  <a:pt x="1159" y="208"/>
                </a:lnTo>
                <a:lnTo>
                  <a:pt x="1148" y="200"/>
                </a:lnTo>
                <a:lnTo>
                  <a:pt x="1139" y="190"/>
                </a:lnTo>
                <a:lnTo>
                  <a:pt x="1130" y="178"/>
                </a:lnTo>
                <a:lnTo>
                  <a:pt x="1124" y="165"/>
                </a:lnTo>
                <a:lnTo>
                  <a:pt x="1118" y="151"/>
                </a:lnTo>
                <a:lnTo>
                  <a:pt x="1118" y="151"/>
                </a:lnTo>
                <a:lnTo>
                  <a:pt x="982" y="151"/>
                </a:lnTo>
                <a:lnTo>
                  <a:pt x="982" y="151"/>
                </a:lnTo>
                <a:lnTo>
                  <a:pt x="823" y="123"/>
                </a:lnTo>
                <a:lnTo>
                  <a:pt x="642" y="93"/>
                </a:lnTo>
                <a:lnTo>
                  <a:pt x="409" y="55"/>
                </a:lnTo>
                <a:lnTo>
                  <a:pt x="409" y="55"/>
                </a:lnTo>
                <a:lnTo>
                  <a:pt x="343" y="45"/>
                </a:lnTo>
                <a:lnTo>
                  <a:pt x="271" y="32"/>
                </a:lnTo>
                <a:lnTo>
                  <a:pt x="233" y="26"/>
                </a:lnTo>
                <a:lnTo>
                  <a:pt x="196" y="18"/>
                </a:lnTo>
                <a:lnTo>
                  <a:pt x="158" y="10"/>
                </a:lnTo>
                <a:lnTo>
                  <a:pt x="123" y="0"/>
                </a:lnTo>
                <a:lnTo>
                  <a:pt x="0" y="1228"/>
                </a:lnTo>
                <a:lnTo>
                  <a:pt x="0" y="1228"/>
                </a:lnTo>
                <a:lnTo>
                  <a:pt x="1" y="1244"/>
                </a:lnTo>
                <a:lnTo>
                  <a:pt x="3" y="1258"/>
                </a:lnTo>
                <a:lnTo>
                  <a:pt x="7" y="1273"/>
                </a:lnTo>
                <a:lnTo>
                  <a:pt x="12" y="1286"/>
                </a:lnTo>
                <a:lnTo>
                  <a:pt x="18" y="1299"/>
                </a:lnTo>
                <a:lnTo>
                  <a:pt x="26" y="1312"/>
                </a:lnTo>
                <a:lnTo>
                  <a:pt x="34" y="1323"/>
                </a:lnTo>
                <a:lnTo>
                  <a:pt x="45" y="1334"/>
                </a:lnTo>
                <a:lnTo>
                  <a:pt x="55" y="1343"/>
                </a:lnTo>
                <a:lnTo>
                  <a:pt x="67" y="1352"/>
                </a:lnTo>
                <a:lnTo>
                  <a:pt x="79" y="1360"/>
                </a:lnTo>
                <a:lnTo>
                  <a:pt x="91" y="1367"/>
                </a:lnTo>
                <a:lnTo>
                  <a:pt x="106" y="1371"/>
                </a:lnTo>
                <a:lnTo>
                  <a:pt x="119" y="1375"/>
                </a:lnTo>
                <a:lnTo>
                  <a:pt x="135" y="1378"/>
                </a:lnTo>
                <a:lnTo>
                  <a:pt x="150" y="1378"/>
                </a:lnTo>
                <a:lnTo>
                  <a:pt x="191" y="1378"/>
                </a:lnTo>
                <a:lnTo>
                  <a:pt x="191" y="1378"/>
                </a:lnTo>
                <a:lnTo>
                  <a:pt x="191" y="2739"/>
                </a:lnTo>
                <a:lnTo>
                  <a:pt x="192" y="4101"/>
                </a:lnTo>
                <a:lnTo>
                  <a:pt x="194" y="4784"/>
                </a:lnTo>
                <a:lnTo>
                  <a:pt x="196" y="5466"/>
                </a:lnTo>
                <a:lnTo>
                  <a:pt x="200" y="6150"/>
                </a:lnTo>
                <a:lnTo>
                  <a:pt x="204" y="6835"/>
                </a:lnTo>
                <a:lnTo>
                  <a:pt x="204" y="6835"/>
                </a:lnTo>
                <a:lnTo>
                  <a:pt x="205" y="6858"/>
                </a:lnTo>
                <a:lnTo>
                  <a:pt x="207" y="6880"/>
                </a:lnTo>
                <a:lnTo>
                  <a:pt x="209" y="6902"/>
                </a:lnTo>
                <a:lnTo>
                  <a:pt x="213" y="6925"/>
                </a:lnTo>
                <a:lnTo>
                  <a:pt x="218" y="6946"/>
                </a:lnTo>
                <a:lnTo>
                  <a:pt x="223" y="6968"/>
                </a:lnTo>
                <a:lnTo>
                  <a:pt x="230" y="6988"/>
                </a:lnTo>
                <a:lnTo>
                  <a:pt x="238" y="7010"/>
                </a:lnTo>
                <a:lnTo>
                  <a:pt x="247" y="7029"/>
                </a:lnTo>
                <a:lnTo>
                  <a:pt x="257" y="7049"/>
                </a:lnTo>
                <a:lnTo>
                  <a:pt x="267" y="7068"/>
                </a:lnTo>
                <a:lnTo>
                  <a:pt x="278" y="7086"/>
                </a:lnTo>
                <a:lnTo>
                  <a:pt x="290" y="7103"/>
                </a:lnTo>
                <a:lnTo>
                  <a:pt x="304" y="7121"/>
                </a:lnTo>
                <a:lnTo>
                  <a:pt x="317" y="7138"/>
                </a:lnTo>
                <a:lnTo>
                  <a:pt x="332" y="7154"/>
                </a:lnTo>
                <a:lnTo>
                  <a:pt x="347" y="7169"/>
                </a:lnTo>
                <a:lnTo>
                  <a:pt x="364" y="7184"/>
                </a:lnTo>
                <a:lnTo>
                  <a:pt x="381" y="7197"/>
                </a:lnTo>
                <a:lnTo>
                  <a:pt x="399" y="7211"/>
                </a:lnTo>
                <a:lnTo>
                  <a:pt x="417" y="7223"/>
                </a:lnTo>
                <a:lnTo>
                  <a:pt x="436" y="7234"/>
                </a:lnTo>
                <a:lnTo>
                  <a:pt x="455" y="7245"/>
                </a:lnTo>
                <a:lnTo>
                  <a:pt x="475" y="7255"/>
                </a:lnTo>
                <a:lnTo>
                  <a:pt x="496" y="7264"/>
                </a:lnTo>
                <a:lnTo>
                  <a:pt x="517" y="7272"/>
                </a:lnTo>
                <a:lnTo>
                  <a:pt x="538" y="7279"/>
                </a:lnTo>
                <a:lnTo>
                  <a:pt x="561" y="7284"/>
                </a:lnTo>
                <a:lnTo>
                  <a:pt x="583" y="7290"/>
                </a:lnTo>
                <a:lnTo>
                  <a:pt x="606" y="7293"/>
                </a:lnTo>
                <a:lnTo>
                  <a:pt x="630" y="7297"/>
                </a:lnTo>
                <a:lnTo>
                  <a:pt x="655" y="7299"/>
                </a:lnTo>
                <a:lnTo>
                  <a:pt x="655" y="7299"/>
                </a:lnTo>
                <a:lnTo>
                  <a:pt x="679" y="7299"/>
                </a:lnTo>
                <a:lnTo>
                  <a:pt x="703" y="7299"/>
                </a:lnTo>
                <a:lnTo>
                  <a:pt x="726" y="7297"/>
                </a:lnTo>
                <a:lnTo>
                  <a:pt x="749" y="7293"/>
                </a:lnTo>
                <a:lnTo>
                  <a:pt x="772" y="7290"/>
                </a:lnTo>
                <a:lnTo>
                  <a:pt x="795" y="7284"/>
                </a:lnTo>
                <a:lnTo>
                  <a:pt x="817" y="7278"/>
                </a:lnTo>
                <a:lnTo>
                  <a:pt x="839" y="7271"/>
                </a:lnTo>
                <a:lnTo>
                  <a:pt x="860" y="7262"/>
                </a:lnTo>
                <a:lnTo>
                  <a:pt x="880" y="7252"/>
                </a:lnTo>
                <a:lnTo>
                  <a:pt x="900" y="7242"/>
                </a:lnTo>
                <a:lnTo>
                  <a:pt x="920" y="7231"/>
                </a:lnTo>
                <a:lnTo>
                  <a:pt x="939" y="7219"/>
                </a:lnTo>
                <a:lnTo>
                  <a:pt x="957" y="7205"/>
                </a:lnTo>
                <a:lnTo>
                  <a:pt x="975" y="7191"/>
                </a:lnTo>
                <a:lnTo>
                  <a:pt x="992" y="7176"/>
                </a:lnTo>
                <a:lnTo>
                  <a:pt x="1009" y="7160"/>
                </a:lnTo>
                <a:lnTo>
                  <a:pt x="1024" y="7144"/>
                </a:lnTo>
                <a:lnTo>
                  <a:pt x="1039" y="7127"/>
                </a:lnTo>
                <a:lnTo>
                  <a:pt x="1052" y="7109"/>
                </a:lnTo>
                <a:lnTo>
                  <a:pt x="1066" y="7090"/>
                </a:lnTo>
                <a:lnTo>
                  <a:pt x="1078" y="7071"/>
                </a:lnTo>
                <a:lnTo>
                  <a:pt x="1089" y="7051"/>
                </a:lnTo>
                <a:lnTo>
                  <a:pt x="1099" y="7030"/>
                </a:lnTo>
                <a:lnTo>
                  <a:pt x="1109" y="7010"/>
                </a:lnTo>
                <a:lnTo>
                  <a:pt x="1117" y="6987"/>
                </a:lnTo>
                <a:lnTo>
                  <a:pt x="1125" y="6965"/>
                </a:lnTo>
                <a:lnTo>
                  <a:pt x="1132" y="6943"/>
                </a:lnTo>
                <a:lnTo>
                  <a:pt x="1136" y="6920"/>
                </a:lnTo>
                <a:lnTo>
                  <a:pt x="1141" y="6897"/>
                </a:lnTo>
                <a:lnTo>
                  <a:pt x="1144" y="6872"/>
                </a:lnTo>
                <a:lnTo>
                  <a:pt x="1145" y="6849"/>
                </a:lnTo>
                <a:lnTo>
                  <a:pt x="1145" y="6849"/>
                </a:lnTo>
                <a:lnTo>
                  <a:pt x="1175" y="6220"/>
                </a:lnTo>
                <a:lnTo>
                  <a:pt x="1204" y="5590"/>
                </a:lnTo>
                <a:lnTo>
                  <a:pt x="1232" y="4961"/>
                </a:lnTo>
                <a:lnTo>
                  <a:pt x="1260" y="4331"/>
                </a:lnTo>
                <a:lnTo>
                  <a:pt x="1313" y="3073"/>
                </a:lnTo>
                <a:lnTo>
                  <a:pt x="1364" y="1815"/>
                </a:lnTo>
                <a:lnTo>
                  <a:pt x="1364" y="1815"/>
                </a:lnTo>
                <a:lnTo>
                  <a:pt x="1650" y="1815"/>
                </a:lnTo>
                <a:lnTo>
                  <a:pt x="1854" y="6849"/>
                </a:lnTo>
                <a:lnTo>
                  <a:pt x="1854" y="6849"/>
                </a:lnTo>
                <a:lnTo>
                  <a:pt x="1857" y="6871"/>
                </a:lnTo>
                <a:lnTo>
                  <a:pt x="1860" y="6894"/>
                </a:lnTo>
                <a:lnTo>
                  <a:pt x="1863" y="6917"/>
                </a:lnTo>
                <a:lnTo>
                  <a:pt x="1869" y="6938"/>
                </a:lnTo>
                <a:lnTo>
                  <a:pt x="1874" y="6960"/>
                </a:lnTo>
                <a:lnTo>
                  <a:pt x="1881" y="6982"/>
                </a:lnTo>
                <a:lnTo>
                  <a:pt x="1889" y="7002"/>
                </a:lnTo>
                <a:lnTo>
                  <a:pt x="1898" y="7023"/>
                </a:lnTo>
                <a:lnTo>
                  <a:pt x="1908" y="7042"/>
                </a:lnTo>
                <a:lnTo>
                  <a:pt x="1919" y="7062"/>
                </a:lnTo>
                <a:lnTo>
                  <a:pt x="1930" y="7081"/>
                </a:lnTo>
                <a:lnTo>
                  <a:pt x="1943" y="7099"/>
                </a:lnTo>
                <a:lnTo>
                  <a:pt x="1956" y="7117"/>
                </a:lnTo>
                <a:lnTo>
                  <a:pt x="1969" y="7134"/>
                </a:lnTo>
                <a:lnTo>
                  <a:pt x="1984" y="7150"/>
                </a:lnTo>
                <a:lnTo>
                  <a:pt x="2000" y="7166"/>
                </a:lnTo>
                <a:lnTo>
                  <a:pt x="2015" y="7181"/>
                </a:lnTo>
                <a:lnTo>
                  <a:pt x="2032" y="7195"/>
                </a:lnTo>
                <a:lnTo>
                  <a:pt x="2050" y="7208"/>
                </a:lnTo>
                <a:lnTo>
                  <a:pt x="2068" y="7221"/>
                </a:lnTo>
                <a:lnTo>
                  <a:pt x="2086" y="7233"/>
                </a:lnTo>
                <a:lnTo>
                  <a:pt x="2105" y="7244"/>
                </a:lnTo>
                <a:lnTo>
                  <a:pt x="2125" y="7254"/>
                </a:lnTo>
                <a:lnTo>
                  <a:pt x="2144" y="7263"/>
                </a:lnTo>
                <a:lnTo>
                  <a:pt x="2165" y="7271"/>
                </a:lnTo>
                <a:lnTo>
                  <a:pt x="2185" y="7278"/>
                </a:lnTo>
                <a:lnTo>
                  <a:pt x="2207" y="7284"/>
                </a:lnTo>
                <a:lnTo>
                  <a:pt x="2229" y="7289"/>
                </a:lnTo>
                <a:lnTo>
                  <a:pt x="2251" y="7293"/>
                </a:lnTo>
                <a:lnTo>
                  <a:pt x="2273" y="7297"/>
                </a:lnTo>
                <a:lnTo>
                  <a:pt x="2296" y="7298"/>
                </a:lnTo>
                <a:lnTo>
                  <a:pt x="2318" y="7299"/>
                </a:lnTo>
                <a:lnTo>
                  <a:pt x="2318" y="7299"/>
                </a:lnTo>
                <a:lnTo>
                  <a:pt x="2343" y="7298"/>
                </a:lnTo>
                <a:lnTo>
                  <a:pt x="2366" y="7297"/>
                </a:lnTo>
                <a:lnTo>
                  <a:pt x="2390" y="7293"/>
                </a:lnTo>
                <a:lnTo>
                  <a:pt x="2413" y="7289"/>
                </a:lnTo>
                <a:lnTo>
                  <a:pt x="2435" y="7284"/>
                </a:lnTo>
                <a:lnTo>
                  <a:pt x="2458" y="7278"/>
                </a:lnTo>
                <a:lnTo>
                  <a:pt x="2479" y="7271"/>
                </a:lnTo>
                <a:lnTo>
                  <a:pt x="2500" y="7263"/>
                </a:lnTo>
                <a:lnTo>
                  <a:pt x="2520" y="7253"/>
                </a:lnTo>
                <a:lnTo>
                  <a:pt x="2540" y="7243"/>
                </a:lnTo>
                <a:lnTo>
                  <a:pt x="2560" y="7232"/>
                </a:lnTo>
                <a:lnTo>
                  <a:pt x="2579" y="7221"/>
                </a:lnTo>
                <a:lnTo>
                  <a:pt x="2597" y="7207"/>
                </a:lnTo>
                <a:lnTo>
                  <a:pt x="2615" y="7194"/>
                </a:lnTo>
                <a:lnTo>
                  <a:pt x="2632" y="7179"/>
                </a:lnTo>
                <a:lnTo>
                  <a:pt x="2648" y="7164"/>
                </a:lnTo>
                <a:lnTo>
                  <a:pt x="2663" y="7148"/>
                </a:lnTo>
                <a:lnTo>
                  <a:pt x="2678" y="7131"/>
                </a:lnTo>
                <a:lnTo>
                  <a:pt x="2691" y="7114"/>
                </a:lnTo>
                <a:lnTo>
                  <a:pt x="2703" y="7096"/>
                </a:lnTo>
                <a:lnTo>
                  <a:pt x="2716" y="7077"/>
                </a:lnTo>
                <a:lnTo>
                  <a:pt x="2727" y="7058"/>
                </a:lnTo>
                <a:lnTo>
                  <a:pt x="2737" y="7038"/>
                </a:lnTo>
                <a:lnTo>
                  <a:pt x="2746" y="7016"/>
                </a:lnTo>
                <a:lnTo>
                  <a:pt x="2755" y="6995"/>
                </a:lnTo>
                <a:lnTo>
                  <a:pt x="2762" y="6974"/>
                </a:lnTo>
                <a:lnTo>
                  <a:pt x="2768" y="6951"/>
                </a:lnTo>
                <a:lnTo>
                  <a:pt x="2773" y="6929"/>
                </a:lnTo>
                <a:lnTo>
                  <a:pt x="2777" y="6907"/>
                </a:lnTo>
                <a:lnTo>
                  <a:pt x="2779" y="6883"/>
                </a:lnTo>
                <a:lnTo>
                  <a:pt x="2782" y="6859"/>
                </a:lnTo>
                <a:lnTo>
                  <a:pt x="2782" y="6835"/>
                </a:lnTo>
                <a:lnTo>
                  <a:pt x="2782" y="1378"/>
                </a:lnTo>
                <a:lnTo>
                  <a:pt x="2836" y="1378"/>
                </a:lnTo>
                <a:lnTo>
                  <a:pt x="2836" y="1378"/>
                </a:lnTo>
                <a:lnTo>
                  <a:pt x="2852" y="1378"/>
                </a:lnTo>
                <a:lnTo>
                  <a:pt x="2867" y="1375"/>
                </a:lnTo>
                <a:lnTo>
                  <a:pt x="2881" y="1371"/>
                </a:lnTo>
                <a:lnTo>
                  <a:pt x="2894" y="1367"/>
                </a:lnTo>
                <a:lnTo>
                  <a:pt x="2908" y="1360"/>
                </a:lnTo>
                <a:lnTo>
                  <a:pt x="2920" y="1352"/>
                </a:lnTo>
                <a:lnTo>
                  <a:pt x="2931" y="1343"/>
                </a:lnTo>
                <a:lnTo>
                  <a:pt x="2943" y="1334"/>
                </a:lnTo>
                <a:lnTo>
                  <a:pt x="2953" y="1323"/>
                </a:lnTo>
                <a:lnTo>
                  <a:pt x="2960" y="1312"/>
                </a:lnTo>
                <a:lnTo>
                  <a:pt x="2968" y="1299"/>
                </a:lnTo>
                <a:lnTo>
                  <a:pt x="2975" y="1286"/>
                </a:lnTo>
                <a:lnTo>
                  <a:pt x="2979" y="1273"/>
                </a:lnTo>
                <a:lnTo>
                  <a:pt x="2984" y="1258"/>
                </a:lnTo>
                <a:lnTo>
                  <a:pt x="2986" y="1244"/>
                </a:lnTo>
                <a:lnTo>
                  <a:pt x="2987" y="1228"/>
                </a:lnTo>
                <a:lnTo>
                  <a:pt x="2864" y="0"/>
                </a:lnTo>
                <a:lnTo>
                  <a:pt x="2864" y="0"/>
                </a:lnTo>
                <a:lnTo>
                  <a:pt x="2829" y="6"/>
                </a:lnTo>
                <a:lnTo>
                  <a:pt x="2793" y="12"/>
                </a:lnTo>
                <a:lnTo>
                  <a:pt x="2720" y="28"/>
                </a:lnTo>
                <a:lnTo>
                  <a:pt x="2649" y="42"/>
                </a:lnTo>
                <a:lnTo>
                  <a:pt x="2613" y="49"/>
                </a:lnTo>
                <a:lnTo>
                  <a:pt x="2577" y="55"/>
                </a:lnTo>
                <a:lnTo>
                  <a:pt x="2577" y="55"/>
                </a:lnTo>
                <a:close/>
              </a:path>
            </a:pathLst>
          </a:custGeom>
          <a:solidFill xmlns:a="http://schemas.openxmlformats.org/drawingml/2006/main">
            <a:srgbClr val="000000"/>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txBody>
          <a:bodyPr xmlns:a="http://schemas.openxmlformats.org/drawingml/2006/main" vert="horz" wrap="square" lIns="91440" tIns="45720" rIns="91440" bIns="45720" numCol="1" anchor="t" anchorCtr="0" compatLnSpc="1">
            <a:prstTxWarp prst="textNoShape">
              <a:avLst/>
            </a:prstTxWarp>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endParaRPr lang="en-US" dirty="0"/>
          </a:p>
        </cdr:txBody>
      </cdr:sp>
      <cdr:sp macro="" textlink="">
        <cdr:nvSpPr>
          <cdr:cNvPr id="5" name="Freeform 4">
            <a:extLst xmlns:a="http://schemas.openxmlformats.org/drawingml/2006/main">
              <a:ext uri="{FF2B5EF4-FFF2-40B4-BE49-F238E27FC236}">
                <a16:creationId xmlns:a16="http://schemas.microsoft.com/office/drawing/2014/main" id="{025176E0-0D32-7F4E-B1F2-1E7BA36BCEEF}"/>
              </a:ext>
            </a:extLst>
          </cdr:cNvPr>
          <cdr:cNvSpPr>
            <a:spLocks xmlns:a="http://schemas.openxmlformats.org/drawingml/2006/main"/>
          </cdr:cNvSpPr>
        </cdr:nvSpPr>
        <cdr:spPr bwMode="auto">
          <a:xfrm xmlns:a="http://schemas.openxmlformats.org/drawingml/2006/main">
            <a:off x="-8016" y="-1053"/>
            <a:ext cx="3" cy="2"/>
          </a:xfrm>
          <a:custGeom xmlns:a="http://schemas.openxmlformats.org/drawingml/2006/main">
            <a:avLst/>
            <a:gdLst>
              <a:gd name="T0" fmla="*/ 5056 w 5148"/>
              <a:gd name="T1" fmla="*/ 2238 h 3406"/>
              <a:gd name="T2" fmla="*/ 4856 w 5148"/>
              <a:gd name="T3" fmla="*/ 1710 h 3406"/>
              <a:gd name="T4" fmla="*/ 4644 w 5148"/>
              <a:gd name="T5" fmla="*/ 1284 h 3406"/>
              <a:gd name="T6" fmla="*/ 4311 w 5148"/>
              <a:gd name="T7" fmla="*/ 757 h 3406"/>
              <a:gd name="T8" fmla="*/ 3989 w 5148"/>
              <a:gd name="T9" fmla="*/ 349 h 3406"/>
              <a:gd name="T10" fmla="*/ 3763 w 5148"/>
              <a:gd name="T11" fmla="*/ 163 h 3406"/>
              <a:gd name="T12" fmla="*/ 3526 w 5148"/>
              <a:gd name="T13" fmla="*/ 38 h 3406"/>
              <a:gd name="T14" fmla="*/ 3230 w 5148"/>
              <a:gd name="T15" fmla="*/ 111 h 3406"/>
              <a:gd name="T16" fmla="*/ 2862 w 5148"/>
              <a:gd name="T17" fmla="*/ 242 h 3406"/>
              <a:gd name="T18" fmla="*/ 2517 w 5148"/>
              <a:gd name="T19" fmla="*/ 271 h 3406"/>
              <a:gd name="T20" fmla="*/ 2127 w 5148"/>
              <a:gd name="T21" fmla="*/ 203 h 3406"/>
              <a:gd name="T22" fmla="*/ 1777 w 5148"/>
              <a:gd name="T23" fmla="*/ 32 h 3406"/>
              <a:gd name="T24" fmla="*/ 1596 w 5148"/>
              <a:gd name="T25" fmla="*/ 52 h 3406"/>
              <a:gd name="T26" fmla="*/ 1351 w 5148"/>
              <a:gd name="T27" fmla="*/ 195 h 3406"/>
              <a:gd name="T28" fmla="*/ 1137 w 5148"/>
              <a:gd name="T29" fmla="*/ 374 h 3406"/>
              <a:gd name="T30" fmla="*/ 831 w 5148"/>
              <a:gd name="T31" fmla="*/ 757 h 3406"/>
              <a:gd name="T32" fmla="*/ 504 w 5148"/>
              <a:gd name="T33" fmla="*/ 1284 h 3406"/>
              <a:gd name="T34" fmla="*/ 302 w 5148"/>
              <a:gd name="T35" fmla="*/ 1708 h 3406"/>
              <a:gd name="T36" fmla="*/ 98 w 5148"/>
              <a:gd name="T37" fmla="*/ 2231 h 3406"/>
              <a:gd name="T38" fmla="*/ 8 w 5148"/>
              <a:gd name="T39" fmla="*/ 2530 h 3406"/>
              <a:gd name="T40" fmla="*/ 6 w 5148"/>
              <a:gd name="T41" fmla="*/ 2664 h 3406"/>
              <a:gd name="T42" fmla="*/ 50 w 5148"/>
              <a:gd name="T43" fmla="*/ 2789 h 3406"/>
              <a:gd name="T44" fmla="*/ 135 w 5148"/>
              <a:gd name="T45" fmla="*/ 2894 h 3406"/>
              <a:gd name="T46" fmla="*/ 252 w 5148"/>
              <a:gd name="T47" fmla="*/ 2968 h 3406"/>
              <a:gd name="T48" fmla="*/ 2118 w 5148"/>
              <a:gd name="T49" fmla="*/ 3402 h 3406"/>
              <a:gd name="T50" fmla="*/ 2232 w 5148"/>
              <a:gd name="T51" fmla="*/ 3398 h 3406"/>
              <a:gd name="T52" fmla="*/ 2336 w 5148"/>
              <a:gd name="T53" fmla="*/ 3358 h 3406"/>
              <a:gd name="T54" fmla="*/ 2422 w 5148"/>
              <a:gd name="T55" fmla="*/ 3288 h 3406"/>
              <a:gd name="T56" fmla="*/ 2482 w 5148"/>
              <a:gd name="T57" fmla="*/ 3194 h 3406"/>
              <a:gd name="T58" fmla="*/ 2507 w 5148"/>
              <a:gd name="T59" fmla="*/ 3097 h 3406"/>
              <a:gd name="T60" fmla="*/ 2496 w 5148"/>
              <a:gd name="T61" fmla="*/ 2980 h 3406"/>
              <a:gd name="T62" fmla="*/ 2448 w 5148"/>
              <a:gd name="T63" fmla="*/ 2871 h 3406"/>
              <a:gd name="T64" fmla="*/ 2368 w 5148"/>
              <a:gd name="T65" fmla="*/ 2783 h 3406"/>
              <a:gd name="T66" fmla="*/ 2262 w 5148"/>
              <a:gd name="T67" fmla="*/ 2728 h 3406"/>
              <a:gd name="T68" fmla="*/ 1026 w 5148"/>
              <a:gd name="T69" fmla="*/ 2138 h 3406"/>
              <a:gd name="T70" fmla="*/ 1229 w 5148"/>
              <a:gd name="T71" fmla="*/ 1726 h 3406"/>
              <a:gd name="T72" fmla="*/ 1364 w 5148"/>
              <a:gd name="T73" fmla="*/ 2312 h 3406"/>
              <a:gd name="T74" fmla="*/ 2110 w 5148"/>
              <a:gd name="T75" fmla="*/ 2553 h 3406"/>
              <a:gd name="T76" fmla="*/ 2201 w 5148"/>
              <a:gd name="T77" fmla="*/ 2275 h 3406"/>
              <a:gd name="T78" fmla="*/ 2239 w 5148"/>
              <a:gd name="T79" fmla="*/ 2235 h 3406"/>
              <a:gd name="T80" fmla="*/ 2862 w 5148"/>
              <a:gd name="T81" fmla="*/ 2223 h 3406"/>
              <a:gd name="T82" fmla="*/ 2913 w 5148"/>
              <a:gd name="T83" fmla="*/ 2243 h 3406"/>
              <a:gd name="T84" fmla="*/ 2943 w 5148"/>
              <a:gd name="T85" fmla="*/ 2290 h 3406"/>
              <a:gd name="T86" fmla="*/ 3409 w 5148"/>
              <a:gd name="T87" fmla="*/ 2428 h 3406"/>
              <a:gd name="T88" fmla="*/ 3749 w 5148"/>
              <a:gd name="T89" fmla="*/ 1474 h 3406"/>
              <a:gd name="T90" fmla="*/ 3973 w 5148"/>
              <a:gd name="T91" fmla="*/ 1853 h 3406"/>
              <a:gd name="T92" fmla="*/ 4149 w 5148"/>
              <a:gd name="T93" fmla="*/ 2231 h 3406"/>
              <a:gd name="T94" fmla="*/ 2843 w 5148"/>
              <a:gd name="T95" fmla="*/ 2740 h 3406"/>
              <a:gd name="T96" fmla="*/ 2745 w 5148"/>
              <a:gd name="T97" fmla="*/ 2803 h 3406"/>
              <a:gd name="T98" fmla="*/ 2673 w 5148"/>
              <a:gd name="T99" fmla="*/ 2895 h 3406"/>
              <a:gd name="T100" fmla="*/ 2635 w 5148"/>
              <a:gd name="T101" fmla="*/ 3007 h 3406"/>
              <a:gd name="T102" fmla="*/ 2635 w 5148"/>
              <a:gd name="T103" fmla="*/ 3128 h 3406"/>
              <a:gd name="T104" fmla="*/ 2670 w 5148"/>
              <a:gd name="T105" fmla="*/ 3227 h 3406"/>
              <a:gd name="T106" fmla="*/ 2739 w 5148"/>
              <a:gd name="T107" fmla="*/ 3316 h 3406"/>
              <a:gd name="T108" fmla="*/ 2831 w 5148"/>
              <a:gd name="T109" fmla="*/ 3377 h 3406"/>
              <a:gd name="T110" fmla="*/ 2938 w 5148"/>
              <a:gd name="T111" fmla="*/ 3404 h 3406"/>
              <a:gd name="T112" fmla="*/ 3053 w 5148"/>
              <a:gd name="T113" fmla="*/ 3397 h 3406"/>
              <a:gd name="T114" fmla="*/ 4927 w 5148"/>
              <a:gd name="T115" fmla="*/ 2946 h 3406"/>
              <a:gd name="T116" fmla="*/ 5039 w 5148"/>
              <a:gd name="T117" fmla="*/ 2860 h 3406"/>
              <a:gd name="T118" fmla="*/ 5112 w 5148"/>
              <a:gd name="T119" fmla="*/ 2750 h 3406"/>
              <a:gd name="T120" fmla="*/ 5147 w 5148"/>
              <a:gd name="T121" fmla="*/ 2625 h 3406"/>
              <a:gd name="T122" fmla="*/ 5140 w 5148"/>
              <a:gd name="T123" fmla="*/ 2509 h 3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48" h="3406">
                <a:moveTo>
                  <a:pt x="5140" y="2509"/>
                </a:moveTo>
                <a:lnTo>
                  <a:pt x="5140" y="2509"/>
                </a:lnTo>
                <a:lnTo>
                  <a:pt x="5129" y="2468"/>
                </a:lnTo>
                <a:lnTo>
                  <a:pt x="5114" y="2419"/>
                </a:lnTo>
                <a:lnTo>
                  <a:pt x="5098" y="2364"/>
                </a:lnTo>
                <a:lnTo>
                  <a:pt x="5078" y="2303"/>
                </a:lnTo>
                <a:lnTo>
                  <a:pt x="5056" y="2238"/>
                </a:lnTo>
                <a:lnTo>
                  <a:pt x="5033" y="2169"/>
                </a:lnTo>
                <a:lnTo>
                  <a:pt x="5007" y="2096"/>
                </a:lnTo>
                <a:lnTo>
                  <a:pt x="4980" y="2021"/>
                </a:lnTo>
                <a:lnTo>
                  <a:pt x="4951" y="1944"/>
                </a:lnTo>
                <a:lnTo>
                  <a:pt x="4921" y="1866"/>
                </a:lnTo>
                <a:lnTo>
                  <a:pt x="4889" y="1788"/>
                </a:lnTo>
                <a:lnTo>
                  <a:pt x="4856" y="1710"/>
                </a:lnTo>
                <a:lnTo>
                  <a:pt x="4823" y="1633"/>
                </a:lnTo>
                <a:lnTo>
                  <a:pt x="4788" y="1558"/>
                </a:lnTo>
                <a:lnTo>
                  <a:pt x="4753" y="1487"/>
                </a:lnTo>
                <a:lnTo>
                  <a:pt x="4718" y="1419"/>
                </a:lnTo>
                <a:lnTo>
                  <a:pt x="4718" y="1419"/>
                </a:lnTo>
                <a:lnTo>
                  <a:pt x="4682" y="1353"/>
                </a:lnTo>
                <a:lnTo>
                  <a:pt x="4644" y="1284"/>
                </a:lnTo>
                <a:lnTo>
                  <a:pt x="4602" y="1211"/>
                </a:lnTo>
                <a:lnTo>
                  <a:pt x="4558" y="1137"/>
                </a:lnTo>
                <a:lnTo>
                  <a:pt x="4511" y="1061"/>
                </a:lnTo>
                <a:lnTo>
                  <a:pt x="4463" y="984"/>
                </a:lnTo>
                <a:lnTo>
                  <a:pt x="4414" y="908"/>
                </a:lnTo>
                <a:lnTo>
                  <a:pt x="4363" y="832"/>
                </a:lnTo>
                <a:lnTo>
                  <a:pt x="4311" y="757"/>
                </a:lnTo>
                <a:lnTo>
                  <a:pt x="4260" y="685"/>
                </a:lnTo>
                <a:lnTo>
                  <a:pt x="4208" y="614"/>
                </a:lnTo>
                <a:lnTo>
                  <a:pt x="4157" y="547"/>
                </a:lnTo>
                <a:lnTo>
                  <a:pt x="4108" y="485"/>
                </a:lnTo>
                <a:lnTo>
                  <a:pt x="4059" y="427"/>
                </a:lnTo>
                <a:lnTo>
                  <a:pt x="4012" y="374"/>
                </a:lnTo>
                <a:lnTo>
                  <a:pt x="3989" y="349"/>
                </a:lnTo>
                <a:lnTo>
                  <a:pt x="3967" y="327"/>
                </a:lnTo>
                <a:lnTo>
                  <a:pt x="3967" y="327"/>
                </a:lnTo>
                <a:lnTo>
                  <a:pt x="3925" y="288"/>
                </a:lnTo>
                <a:lnTo>
                  <a:pt x="3882" y="252"/>
                </a:lnTo>
                <a:lnTo>
                  <a:pt x="3841" y="220"/>
                </a:lnTo>
                <a:lnTo>
                  <a:pt x="3802" y="190"/>
                </a:lnTo>
                <a:lnTo>
                  <a:pt x="3763" y="163"/>
                </a:lnTo>
                <a:lnTo>
                  <a:pt x="3725" y="138"/>
                </a:lnTo>
                <a:lnTo>
                  <a:pt x="3689" y="117"/>
                </a:lnTo>
                <a:lnTo>
                  <a:pt x="3653" y="97"/>
                </a:lnTo>
                <a:lnTo>
                  <a:pt x="3620" y="79"/>
                </a:lnTo>
                <a:lnTo>
                  <a:pt x="3587" y="63"/>
                </a:lnTo>
                <a:lnTo>
                  <a:pt x="3556" y="50"/>
                </a:lnTo>
                <a:lnTo>
                  <a:pt x="3526" y="38"/>
                </a:lnTo>
                <a:lnTo>
                  <a:pt x="3471" y="16"/>
                </a:lnTo>
                <a:lnTo>
                  <a:pt x="3422" y="0"/>
                </a:lnTo>
                <a:lnTo>
                  <a:pt x="3422" y="0"/>
                </a:lnTo>
                <a:lnTo>
                  <a:pt x="3375" y="30"/>
                </a:lnTo>
                <a:lnTo>
                  <a:pt x="3328" y="59"/>
                </a:lnTo>
                <a:lnTo>
                  <a:pt x="3279" y="86"/>
                </a:lnTo>
                <a:lnTo>
                  <a:pt x="3230" y="111"/>
                </a:lnTo>
                <a:lnTo>
                  <a:pt x="3180" y="136"/>
                </a:lnTo>
                <a:lnTo>
                  <a:pt x="3129" y="158"/>
                </a:lnTo>
                <a:lnTo>
                  <a:pt x="3077" y="178"/>
                </a:lnTo>
                <a:lnTo>
                  <a:pt x="3024" y="197"/>
                </a:lnTo>
                <a:lnTo>
                  <a:pt x="2971" y="214"/>
                </a:lnTo>
                <a:lnTo>
                  <a:pt x="2917" y="230"/>
                </a:lnTo>
                <a:lnTo>
                  <a:pt x="2862" y="242"/>
                </a:lnTo>
                <a:lnTo>
                  <a:pt x="2806" y="253"/>
                </a:lnTo>
                <a:lnTo>
                  <a:pt x="2749" y="261"/>
                </a:lnTo>
                <a:lnTo>
                  <a:pt x="2692" y="268"/>
                </a:lnTo>
                <a:lnTo>
                  <a:pt x="2634" y="271"/>
                </a:lnTo>
                <a:lnTo>
                  <a:pt x="2576" y="272"/>
                </a:lnTo>
                <a:lnTo>
                  <a:pt x="2576" y="272"/>
                </a:lnTo>
                <a:lnTo>
                  <a:pt x="2517" y="271"/>
                </a:lnTo>
                <a:lnTo>
                  <a:pt x="2460" y="268"/>
                </a:lnTo>
                <a:lnTo>
                  <a:pt x="2403" y="262"/>
                </a:lnTo>
                <a:lnTo>
                  <a:pt x="2346" y="254"/>
                </a:lnTo>
                <a:lnTo>
                  <a:pt x="2290" y="246"/>
                </a:lnTo>
                <a:lnTo>
                  <a:pt x="2235" y="233"/>
                </a:lnTo>
                <a:lnTo>
                  <a:pt x="2181" y="219"/>
                </a:lnTo>
                <a:lnTo>
                  <a:pt x="2127" y="203"/>
                </a:lnTo>
                <a:lnTo>
                  <a:pt x="2075" y="184"/>
                </a:lnTo>
                <a:lnTo>
                  <a:pt x="2023" y="164"/>
                </a:lnTo>
                <a:lnTo>
                  <a:pt x="1972" y="142"/>
                </a:lnTo>
                <a:lnTo>
                  <a:pt x="1922" y="117"/>
                </a:lnTo>
                <a:lnTo>
                  <a:pt x="1872" y="91"/>
                </a:lnTo>
                <a:lnTo>
                  <a:pt x="1824" y="62"/>
                </a:lnTo>
                <a:lnTo>
                  <a:pt x="1777" y="32"/>
                </a:lnTo>
                <a:lnTo>
                  <a:pt x="1731" y="0"/>
                </a:lnTo>
                <a:lnTo>
                  <a:pt x="1731" y="0"/>
                </a:lnTo>
                <a:lnTo>
                  <a:pt x="1731" y="0"/>
                </a:lnTo>
                <a:lnTo>
                  <a:pt x="1681" y="18"/>
                </a:lnTo>
                <a:lnTo>
                  <a:pt x="1655" y="28"/>
                </a:lnTo>
                <a:lnTo>
                  <a:pt x="1626" y="40"/>
                </a:lnTo>
                <a:lnTo>
                  <a:pt x="1596" y="52"/>
                </a:lnTo>
                <a:lnTo>
                  <a:pt x="1565" y="68"/>
                </a:lnTo>
                <a:lnTo>
                  <a:pt x="1533" y="83"/>
                </a:lnTo>
                <a:lnTo>
                  <a:pt x="1498" y="102"/>
                </a:lnTo>
                <a:lnTo>
                  <a:pt x="1464" y="123"/>
                </a:lnTo>
                <a:lnTo>
                  <a:pt x="1427" y="145"/>
                </a:lnTo>
                <a:lnTo>
                  <a:pt x="1390" y="168"/>
                </a:lnTo>
                <a:lnTo>
                  <a:pt x="1351" y="195"/>
                </a:lnTo>
                <a:lnTo>
                  <a:pt x="1310" y="224"/>
                </a:lnTo>
                <a:lnTo>
                  <a:pt x="1270" y="256"/>
                </a:lnTo>
                <a:lnTo>
                  <a:pt x="1228" y="290"/>
                </a:lnTo>
                <a:lnTo>
                  <a:pt x="1185" y="327"/>
                </a:lnTo>
                <a:lnTo>
                  <a:pt x="1185" y="327"/>
                </a:lnTo>
                <a:lnTo>
                  <a:pt x="1162" y="349"/>
                </a:lnTo>
                <a:lnTo>
                  <a:pt x="1137" y="374"/>
                </a:lnTo>
                <a:lnTo>
                  <a:pt x="1114" y="400"/>
                </a:lnTo>
                <a:lnTo>
                  <a:pt x="1089" y="427"/>
                </a:lnTo>
                <a:lnTo>
                  <a:pt x="1039" y="485"/>
                </a:lnTo>
                <a:lnTo>
                  <a:pt x="988" y="547"/>
                </a:lnTo>
                <a:lnTo>
                  <a:pt x="935" y="614"/>
                </a:lnTo>
                <a:lnTo>
                  <a:pt x="883" y="685"/>
                </a:lnTo>
                <a:lnTo>
                  <a:pt x="831" y="757"/>
                </a:lnTo>
                <a:lnTo>
                  <a:pt x="779" y="832"/>
                </a:lnTo>
                <a:lnTo>
                  <a:pt x="728" y="908"/>
                </a:lnTo>
                <a:lnTo>
                  <a:pt x="679" y="984"/>
                </a:lnTo>
                <a:lnTo>
                  <a:pt x="631" y="1061"/>
                </a:lnTo>
                <a:lnTo>
                  <a:pt x="587" y="1137"/>
                </a:lnTo>
                <a:lnTo>
                  <a:pt x="544" y="1211"/>
                </a:lnTo>
                <a:lnTo>
                  <a:pt x="504" y="1284"/>
                </a:lnTo>
                <a:lnTo>
                  <a:pt x="467" y="1353"/>
                </a:lnTo>
                <a:lnTo>
                  <a:pt x="435" y="1419"/>
                </a:lnTo>
                <a:lnTo>
                  <a:pt x="435" y="1419"/>
                </a:lnTo>
                <a:lnTo>
                  <a:pt x="401" y="1487"/>
                </a:lnTo>
                <a:lnTo>
                  <a:pt x="368" y="1558"/>
                </a:lnTo>
                <a:lnTo>
                  <a:pt x="334" y="1632"/>
                </a:lnTo>
                <a:lnTo>
                  <a:pt x="302" y="1708"/>
                </a:lnTo>
                <a:lnTo>
                  <a:pt x="269" y="1785"/>
                </a:lnTo>
                <a:lnTo>
                  <a:pt x="237" y="1862"/>
                </a:lnTo>
                <a:lnTo>
                  <a:pt x="207" y="1940"/>
                </a:lnTo>
                <a:lnTo>
                  <a:pt x="178" y="2016"/>
                </a:lnTo>
                <a:lnTo>
                  <a:pt x="150" y="2090"/>
                </a:lnTo>
                <a:lnTo>
                  <a:pt x="123" y="2162"/>
                </a:lnTo>
                <a:lnTo>
                  <a:pt x="98" y="2231"/>
                </a:lnTo>
                <a:lnTo>
                  <a:pt x="76" y="2297"/>
                </a:lnTo>
                <a:lnTo>
                  <a:pt x="56" y="2359"/>
                </a:lnTo>
                <a:lnTo>
                  <a:pt x="38" y="2414"/>
                </a:lnTo>
                <a:lnTo>
                  <a:pt x="23" y="2466"/>
                </a:lnTo>
                <a:lnTo>
                  <a:pt x="12" y="2509"/>
                </a:lnTo>
                <a:lnTo>
                  <a:pt x="12" y="2509"/>
                </a:lnTo>
                <a:lnTo>
                  <a:pt x="8" y="2530"/>
                </a:lnTo>
                <a:lnTo>
                  <a:pt x="3" y="2549"/>
                </a:lnTo>
                <a:lnTo>
                  <a:pt x="1" y="2568"/>
                </a:lnTo>
                <a:lnTo>
                  <a:pt x="0" y="2587"/>
                </a:lnTo>
                <a:lnTo>
                  <a:pt x="0" y="2607"/>
                </a:lnTo>
                <a:lnTo>
                  <a:pt x="1" y="2626"/>
                </a:lnTo>
                <a:lnTo>
                  <a:pt x="2" y="2645"/>
                </a:lnTo>
                <a:lnTo>
                  <a:pt x="6" y="2664"/>
                </a:lnTo>
                <a:lnTo>
                  <a:pt x="9" y="2682"/>
                </a:lnTo>
                <a:lnTo>
                  <a:pt x="13" y="2701"/>
                </a:lnTo>
                <a:lnTo>
                  <a:pt x="19" y="2718"/>
                </a:lnTo>
                <a:lnTo>
                  <a:pt x="26" y="2736"/>
                </a:lnTo>
                <a:lnTo>
                  <a:pt x="32" y="2754"/>
                </a:lnTo>
                <a:lnTo>
                  <a:pt x="41" y="2772"/>
                </a:lnTo>
                <a:lnTo>
                  <a:pt x="50" y="2789"/>
                </a:lnTo>
                <a:lnTo>
                  <a:pt x="59" y="2806"/>
                </a:lnTo>
                <a:lnTo>
                  <a:pt x="70" y="2821"/>
                </a:lnTo>
                <a:lnTo>
                  <a:pt x="82" y="2837"/>
                </a:lnTo>
                <a:lnTo>
                  <a:pt x="94" y="2851"/>
                </a:lnTo>
                <a:lnTo>
                  <a:pt x="107" y="2866"/>
                </a:lnTo>
                <a:lnTo>
                  <a:pt x="121" y="2880"/>
                </a:lnTo>
                <a:lnTo>
                  <a:pt x="135" y="2894"/>
                </a:lnTo>
                <a:lnTo>
                  <a:pt x="150" y="2906"/>
                </a:lnTo>
                <a:lnTo>
                  <a:pt x="165" y="2918"/>
                </a:lnTo>
                <a:lnTo>
                  <a:pt x="182" y="2930"/>
                </a:lnTo>
                <a:lnTo>
                  <a:pt x="199" y="2941"/>
                </a:lnTo>
                <a:lnTo>
                  <a:pt x="216" y="2951"/>
                </a:lnTo>
                <a:lnTo>
                  <a:pt x="235" y="2960"/>
                </a:lnTo>
                <a:lnTo>
                  <a:pt x="252" y="2968"/>
                </a:lnTo>
                <a:lnTo>
                  <a:pt x="271" y="2975"/>
                </a:lnTo>
                <a:lnTo>
                  <a:pt x="292" y="2982"/>
                </a:lnTo>
                <a:lnTo>
                  <a:pt x="312" y="2988"/>
                </a:lnTo>
                <a:lnTo>
                  <a:pt x="2085" y="3397"/>
                </a:lnTo>
                <a:lnTo>
                  <a:pt x="2085" y="3397"/>
                </a:lnTo>
                <a:lnTo>
                  <a:pt x="2101" y="3400"/>
                </a:lnTo>
                <a:lnTo>
                  <a:pt x="2118" y="3402"/>
                </a:lnTo>
                <a:lnTo>
                  <a:pt x="2135" y="3404"/>
                </a:lnTo>
                <a:lnTo>
                  <a:pt x="2152" y="3406"/>
                </a:lnTo>
                <a:lnTo>
                  <a:pt x="2167" y="3406"/>
                </a:lnTo>
                <a:lnTo>
                  <a:pt x="2184" y="3404"/>
                </a:lnTo>
                <a:lnTo>
                  <a:pt x="2200" y="3403"/>
                </a:lnTo>
                <a:lnTo>
                  <a:pt x="2217" y="3401"/>
                </a:lnTo>
                <a:lnTo>
                  <a:pt x="2232" y="3398"/>
                </a:lnTo>
                <a:lnTo>
                  <a:pt x="2248" y="3394"/>
                </a:lnTo>
                <a:lnTo>
                  <a:pt x="2263" y="3390"/>
                </a:lnTo>
                <a:lnTo>
                  <a:pt x="2278" y="3384"/>
                </a:lnTo>
                <a:lnTo>
                  <a:pt x="2292" y="3379"/>
                </a:lnTo>
                <a:lnTo>
                  <a:pt x="2307" y="3372"/>
                </a:lnTo>
                <a:lnTo>
                  <a:pt x="2322" y="3365"/>
                </a:lnTo>
                <a:lnTo>
                  <a:pt x="2336" y="3358"/>
                </a:lnTo>
                <a:lnTo>
                  <a:pt x="2349" y="3350"/>
                </a:lnTo>
                <a:lnTo>
                  <a:pt x="2363" y="3341"/>
                </a:lnTo>
                <a:lnTo>
                  <a:pt x="2375" y="3331"/>
                </a:lnTo>
                <a:lnTo>
                  <a:pt x="2387" y="3321"/>
                </a:lnTo>
                <a:lnTo>
                  <a:pt x="2400" y="3311"/>
                </a:lnTo>
                <a:lnTo>
                  <a:pt x="2411" y="3299"/>
                </a:lnTo>
                <a:lnTo>
                  <a:pt x="2422" y="3288"/>
                </a:lnTo>
                <a:lnTo>
                  <a:pt x="2432" y="3276"/>
                </a:lnTo>
                <a:lnTo>
                  <a:pt x="2442" y="3264"/>
                </a:lnTo>
                <a:lnTo>
                  <a:pt x="2451" y="3250"/>
                </a:lnTo>
                <a:lnTo>
                  <a:pt x="2460" y="3237"/>
                </a:lnTo>
                <a:lnTo>
                  <a:pt x="2468" y="3223"/>
                </a:lnTo>
                <a:lnTo>
                  <a:pt x="2476" y="3209"/>
                </a:lnTo>
                <a:lnTo>
                  <a:pt x="2482" y="3194"/>
                </a:lnTo>
                <a:lnTo>
                  <a:pt x="2489" y="3180"/>
                </a:lnTo>
                <a:lnTo>
                  <a:pt x="2495" y="3165"/>
                </a:lnTo>
                <a:lnTo>
                  <a:pt x="2495" y="3165"/>
                </a:lnTo>
                <a:lnTo>
                  <a:pt x="2499" y="3149"/>
                </a:lnTo>
                <a:lnTo>
                  <a:pt x="2503" y="3131"/>
                </a:lnTo>
                <a:lnTo>
                  <a:pt x="2506" y="3114"/>
                </a:lnTo>
                <a:lnTo>
                  <a:pt x="2507" y="3097"/>
                </a:lnTo>
                <a:lnTo>
                  <a:pt x="2508" y="3080"/>
                </a:lnTo>
                <a:lnTo>
                  <a:pt x="2508" y="3064"/>
                </a:lnTo>
                <a:lnTo>
                  <a:pt x="2508" y="3047"/>
                </a:lnTo>
                <a:lnTo>
                  <a:pt x="2506" y="3029"/>
                </a:lnTo>
                <a:lnTo>
                  <a:pt x="2504" y="3012"/>
                </a:lnTo>
                <a:lnTo>
                  <a:pt x="2500" y="2996"/>
                </a:lnTo>
                <a:lnTo>
                  <a:pt x="2496" y="2980"/>
                </a:lnTo>
                <a:lnTo>
                  <a:pt x="2491" y="2963"/>
                </a:lnTo>
                <a:lnTo>
                  <a:pt x="2486" y="2947"/>
                </a:lnTo>
                <a:lnTo>
                  <a:pt x="2480" y="2931"/>
                </a:lnTo>
                <a:lnTo>
                  <a:pt x="2472" y="2916"/>
                </a:lnTo>
                <a:lnTo>
                  <a:pt x="2466" y="2901"/>
                </a:lnTo>
                <a:lnTo>
                  <a:pt x="2457" y="2886"/>
                </a:lnTo>
                <a:lnTo>
                  <a:pt x="2448" y="2871"/>
                </a:lnTo>
                <a:lnTo>
                  <a:pt x="2439" y="2857"/>
                </a:lnTo>
                <a:lnTo>
                  <a:pt x="2428" y="2844"/>
                </a:lnTo>
                <a:lnTo>
                  <a:pt x="2418" y="2830"/>
                </a:lnTo>
                <a:lnTo>
                  <a:pt x="2405" y="2818"/>
                </a:lnTo>
                <a:lnTo>
                  <a:pt x="2394" y="2806"/>
                </a:lnTo>
                <a:lnTo>
                  <a:pt x="2381" y="2794"/>
                </a:lnTo>
                <a:lnTo>
                  <a:pt x="2368" y="2783"/>
                </a:lnTo>
                <a:lnTo>
                  <a:pt x="2354" y="2773"/>
                </a:lnTo>
                <a:lnTo>
                  <a:pt x="2341" y="2764"/>
                </a:lnTo>
                <a:lnTo>
                  <a:pt x="2326" y="2755"/>
                </a:lnTo>
                <a:lnTo>
                  <a:pt x="2310" y="2747"/>
                </a:lnTo>
                <a:lnTo>
                  <a:pt x="2295" y="2741"/>
                </a:lnTo>
                <a:lnTo>
                  <a:pt x="2279" y="2734"/>
                </a:lnTo>
                <a:lnTo>
                  <a:pt x="2262" y="2728"/>
                </a:lnTo>
                <a:lnTo>
                  <a:pt x="953" y="2333"/>
                </a:lnTo>
                <a:lnTo>
                  <a:pt x="953" y="2333"/>
                </a:lnTo>
                <a:lnTo>
                  <a:pt x="962" y="2304"/>
                </a:lnTo>
                <a:lnTo>
                  <a:pt x="974" y="2270"/>
                </a:lnTo>
                <a:lnTo>
                  <a:pt x="989" y="2231"/>
                </a:lnTo>
                <a:lnTo>
                  <a:pt x="1005" y="2186"/>
                </a:lnTo>
                <a:lnTo>
                  <a:pt x="1026" y="2138"/>
                </a:lnTo>
                <a:lnTo>
                  <a:pt x="1048" y="2087"/>
                </a:lnTo>
                <a:lnTo>
                  <a:pt x="1073" y="2032"/>
                </a:lnTo>
                <a:lnTo>
                  <a:pt x="1099" y="1974"/>
                </a:lnTo>
                <a:lnTo>
                  <a:pt x="1128" y="1915"/>
                </a:lnTo>
                <a:lnTo>
                  <a:pt x="1161" y="1853"/>
                </a:lnTo>
                <a:lnTo>
                  <a:pt x="1194" y="1790"/>
                </a:lnTo>
                <a:lnTo>
                  <a:pt x="1229" y="1726"/>
                </a:lnTo>
                <a:lnTo>
                  <a:pt x="1267" y="1662"/>
                </a:lnTo>
                <a:lnTo>
                  <a:pt x="1306" y="1599"/>
                </a:lnTo>
                <a:lnTo>
                  <a:pt x="1347" y="1535"/>
                </a:lnTo>
                <a:lnTo>
                  <a:pt x="1390" y="1474"/>
                </a:lnTo>
                <a:lnTo>
                  <a:pt x="1307" y="2292"/>
                </a:lnTo>
                <a:lnTo>
                  <a:pt x="1307" y="2292"/>
                </a:lnTo>
                <a:lnTo>
                  <a:pt x="1364" y="2312"/>
                </a:lnTo>
                <a:lnTo>
                  <a:pt x="1420" y="2331"/>
                </a:lnTo>
                <a:lnTo>
                  <a:pt x="1529" y="2365"/>
                </a:lnTo>
                <a:lnTo>
                  <a:pt x="1633" y="2398"/>
                </a:lnTo>
                <a:lnTo>
                  <a:pt x="1731" y="2428"/>
                </a:lnTo>
                <a:lnTo>
                  <a:pt x="1731" y="2428"/>
                </a:lnTo>
                <a:lnTo>
                  <a:pt x="2003" y="2518"/>
                </a:lnTo>
                <a:lnTo>
                  <a:pt x="2110" y="2553"/>
                </a:lnTo>
                <a:lnTo>
                  <a:pt x="2194" y="2579"/>
                </a:lnTo>
                <a:lnTo>
                  <a:pt x="2194" y="2305"/>
                </a:lnTo>
                <a:lnTo>
                  <a:pt x="2194" y="2305"/>
                </a:lnTo>
                <a:lnTo>
                  <a:pt x="2194" y="2298"/>
                </a:lnTo>
                <a:lnTo>
                  <a:pt x="2196" y="2290"/>
                </a:lnTo>
                <a:lnTo>
                  <a:pt x="2199" y="2283"/>
                </a:lnTo>
                <a:lnTo>
                  <a:pt x="2201" y="2275"/>
                </a:lnTo>
                <a:lnTo>
                  <a:pt x="2205" y="2268"/>
                </a:lnTo>
                <a:lnTo>
                  <a:pt x="2210" y="2261"/>
                </a:lnTo>
                <a:lnTo>
                  <a:pt x="2214" y="2255"/>
                </a:lnTo>
                <a:lnTo>
                  <a:pt x="2220" y="2249"/>
                </a:lnTo>
                <a:lnTo>
                  <a:pt x="2225" y="2243"/>
                </a:lnTo>
                <a:lnTo>
                  <a:pt x="2232" y="2239"/>
                </a:lnTo>
                <a:lnTo>
                  <a:pt x="2239" y="2235"/>
                </a:lnTo>
                <a:lnTo>
                  <a:pt x="2246" y="2230"/>
                </a:lnTo>
                <a:lnTo>
                  <a:pt x="2253" y="2228"/>
                </a:lnTo>
                <a:lnTo>
                  <a:pt x="2261" y="2226"/>
                </a:lnTo>
                <a:lnTo>
                  <a:pt x="2268" y="2224"/>
                </a:lnTo>
                <a:lnTo>
                  <a:pt x="2276" y="2223"/>
                </a:lnTo>
                <a:lnTo>
                  <a:pt x="2862" y="2223"/>
                </a:lnTo>
                <a:lnTo>
                  <a:pt x="2862" y="2223"/>
                </a:lnTo>
                <a:lnTo>
                  <a:pt x="2870" y="2224"/>
                </a:lnTo>
                <a:lnTo>
                  <a:pt x="2878" y="2226"/>
                </a:lnTo>
                <a:lnTo>
                  <a:pt x="2886" y="2228"/>
                </a:lnTo>
                <a:lnTo>
                  <a:pt x="2892" y="2230"/>
                </a:lnTo>
                <a:lnTo>
                  <a:pt x="2899" y="2235"/>
                </a:lnTo>
                <a:lnTo>
                  <a:pt x="2906" y="2239"/>
                </a:lnTo>
                <a:lnTo>
                  <a:pt x="2913" y="2243"/>
                </a:lnTo>
                <a:lnTo>
                  <a:pt x="2919" y="2249"/>
                </a:lnTo>
                <a:lnTo>
                  <a:pt x="2925" y="2255"/>
                </a:lnTo>
                <a:lnTo>
                  <a:pt x="2929" y="2261"/>
                </a:lnTo>
                <a:lnTo>
                  <a:pt x="2934" y="2268"/>
                </a:lnTo>
                <a:lnTo>
                  <a:pt x="2937" y="2275"/>
                </a:lnTo>
                <a:lnTo>
                  <a:pt x="2940" y="2283"/>
                </a:lnTo>
                <a:lnTo>
                  <a:pt x="2943" y="2290"/>
                </a:lnTo>
                <a:lnTo>
                  <a:pt x="2944" y="2298"/>
                </a:lnTo>
                <a:lnTo>
                  <a:pt x="2944" y="2305"/>
                </a:lnTo>
                <a:lnTo>
                  <a:pt x="2944" y="2579"/>
                </a:lnTo>
                <a:lnTo>
                  <a:pt x="2944" y="2579"/>
                </a:lnTo>
                <a:lnTo>
                  <a:pt x="3029" y="2553"/>
                </a:lnTo>
                <a:lnTo>
                  <a:pt x="3135" y="2518"/>
                </a:lnTo>
                <a:lnTo>
                  <a:pt x="3409" y="2428"/>
                </a:lnTo>
                <a:lnTo>
                  <a:pt x="3409" y="2428"/>
                </a:lnTo>
                <a:lnTo>
                  <a:pt x="3505" y="2398"/>
                </a:lnTo>
                <a:lnTo>
                  <a:pt x="3610" y="2365"/>
                </a:lnTo>
                <a:lnTo>
                  <a:pt x="3719" y="2331"/>
                </a:lnTo>
                <a:lnTo>
                  <a:pt x="3775" y="2312"/>
                </a:lnTo>
                <a:lnTo>
                  <a:pt x="3831" y="2292"/>
                </a:lnTo>
                <a:lnTo>
                  <a:pt x="3749" y="1474"/>
                </a:lnTo>
                <a:lnTo>
                  <a:pt x="3749" y="1474"/>
                </a:lnTo>
                <a:lnTo>
                  <a:pt x="3790" y="1535"/>
                </a:lnTo>
                <a:lnTo>
                  <a:pt x="3829" y="1599"/>
                </a:lnTo>
                <a:lnTo>
                  <a:pt x="3867" y="1662"/>
                </a:lnTo>
                <a:lnTo>
                  <a:pt x="3903" y="1726"/>
                </a:lnTo>
                <a:lnTo>
                  <a:pt x="3939" y="1790"/>
                </a:lnTo>
                <a:lnTo>
                  <a:pt x="3973" y="1853"/>
                </a:lnTo>
                <a:lnTo>
                  <a:pt x="4004" y="1915"/>
                </a:lnTo>
                <a:lnTo>
                  <a:pt x="4034" y="1974"/>
                </a:lnTo>
                <a:lnTo>
                  <a:pt x="4061" y="2032"/>
                </a:lnTo>
                <a:lnTo>
                  <a:pt x="4087" y="2087"/>
                </a:lnTo>
                <a:lnTo>
                  <a:pt x="4110" y="2138"/>
                </a:lnTo>
                <a:lnTo>
                  <a:pt x="4130" y="2186"/>
                </a:lnTo>
                <a:lnTo>
                  <a:pt x="4149" y="2231"/>
                </a:lnTo>
                <a:lnTo>
                  <a:pt x="4164" y="2270"/>
                </a:lnTo>
                <a:lnTo>
                  <a:pt x="4176" y="2304"/>
                </a:lnTo>
                <a:lnTo>
                  <a:pt x="4185" y="2333"/>
                </a:lnTo>
                <a:lnTo>
                  <a:pt x="2876" y="2728"/>
                </a:lnTo>
                <a:lnTo>
                  <a:pt x="2876" y="2728"/>
                </a:lnTo>
                <a:lnTo>
                  <a:pt x="2860" y="2734"/>
                </a:lnTo>
                <a:lnTo>
                  <a:pt x="2843" y="2740"/>
                </a:lnTo>
                <a:lnTo>
                  <a:pt x="2828" y="2747"/>
                </a:lnTo>
                <a:lnTo>
                  <a:pt x="2813" y="2755"/>
                </a:lnTo>
                <a:lnTo>
                  <a:pt x="2799" y="2763"/>
                </a:lnTo>
                <a:lnTo>
                  <a:pt x="2784" y="2772"/>
                </a:lnTo>
                <a:lnTo>
                  <a:pt x="2771" y="2782"/>
                </a:lnTo>
                <a:lnTo>
                  <a:pt x="2757" y="2792"/>
                </a:lnTo>
                <a:lnTo>
                  <a:pt x="2745" y="2803"/>
                </a:lnTo>
                <a:lnTo>
                  <a:pt x="2733" y="2816"/>
                </a:lnTo>
                <a:lnTo>
                  <a:pt x="2721" y="2828"/>
                </a:lnTo>
                <a:lnTo>
                  <a:pt x="2710" y="2840"/>
                </a:lnTo>
                <a:lnTo>
                  <a:pt x="2700" y="2854"/>
                </a:lnTo>
                <a:lnTo>
                  <a:pt x="2690" y="2867"/>
                </a:lnTo>
                <a:lnTo>
                  <a:pt x="2681" y="2880"/>
                </a:lnTo>
                <a:lnTo>
                  <a:pt x="2673" y="2895"/>
                </a:lnTo>
                <a:lnTo>
                  <a:pt x="2666" y="2911"/>
                </a:lnTo>
                <a:lnTo>
                  <a:pt x="2659" y="2925"/>
                </a:lnTo>
                <a:lnTo>
                  <a:pt x="2652" y="2941"/>
                </a:lnTo>
                <a:lnTo>
                  <a:pt x="2647" y="2958"/>
                </a:lnTo>
                <a:lnTo>
                  <a:pt x="2642" y="2973"/>
                </a:lnTo>
                <a:lnTo>
                  <a:pt x="2638" y="2990"/>
                </a:lnTo>
                <a:lnTo>
                  <a:pt x="2635" y="3007"/>
                </a:lnTo>
                <a:lnTo>
                  <a:pt x="2632" y="3023"/>
                </a:lnTo>
                <a:lnTo>
                  <a:pt x="2631" y="3041"/>
                </a:lnTo>
                <a:lnTo>
                  <a:pt x="2630" y="3058"/>
                </a:lnTo>
                <a:lnTo>
                  <a:pt x="2630" y="3076"/>
                </a:lnTo>
                <a:lnTo>
                  <a:pt x="2631" y="3094"/>
                </a:lnTo>
                <a:lnTo>
                  <a:pt x="2633" y="3112"/>
                </a:lnTo>
                <a:lnTo>
                  <a:pt x="2635" y="3128"/>
                </a:lnTo>
                <a:lnTo>
                  <a:pt x="2640" y="3146"/>
                </a:lnTo>
                <a:lnTo>
                  <a:pt x="2644" y="3165"/>
                </a:lnTo>
                <a:lnTo>
                  <a:pt x="2644" y="3165"/>
                </a:lnTo>
                <a:lnTo>
                  <a:pt x="2650" y="3181"/>
                </a:lnTo>
                <a:lnTo>
                  <a:pt x="2656" y="3197"/>
                </a:lnTo>
                <a:lnTo>
                  <a:pt x="2662" y="3212"/>
                </a:lnTo>
                <a:lnTo>
                  <a:pt x="2670" y="3227"/>
                </a:lnTo>
                <a:lnTo>
                  <a:pt x="2678" y="3241"/>
                </a:lnTo>
                <a:lnTo>
                  <a:pt x="2687" y="3256"/>
                </a:lnTo>
                <a:lnTo>
                  <a:pt x="2697" y="3269"/>
                </a:lnTo>
                <a:lnTo>
                  <a:pt x="2706" y="3282"/>
                </a:lnTo>
                <a:lnTo>
                  <a:pt x="2717" y="3294"/>
                </a:lnTo>
                <a:lnTo>
                  <a:pt x="2728" y="3305"/>
                </a:lnTo>
                <a:lnTo>
                  <a:pt x="2739" y="3316"/>
                </a:lnTo>
                <a:lnTo>
                  <a:pt x="2751" y="3327"/>
                </a:lnTo>
                <a:lnTo>
                  <a:pt x="2763" y="3336"/>
                </a:lnTo>
                <a:lnTo>
                  <a:pt x="2776" y="3346"/>
                </a:lnTo>
                <a:lnTo>
                  <a:pt x="2790" y="3354"/>
                </a:lnTo>
                <a:lnTo>
                  <a:pt x="2803" y="3363"/>
                </a:lnTo>
                <a:lnTo>
                  <a:pt x="2816" y="3370"/>
                </a:lnTo>
                <a:lnTo>
                  <a:pt x="2831" y="3377"/>
                </a:lnTo>
                <a:lnTo>
                  <a:pt x="2845" y="3383"/>
                </a:lnTo>
                <a:lnTo>
                  <a:pt x="2860" y="3388"/>
                </a:lnTo>
                <a:lnTo>
                  <a:pt x="2876" y="3393"/>
                </a:lnTo>
                <a:lnTo>
                  <a:pt x="2891" y="3397"/>
                </a:lnTo>
                <a:lnTo>
                  <a:pt x="2907" y="3400"/>
                </a:lnTo>
                <a:lnTo>
                  <a:pt x="2923" y="3402"/>
                </a:lnTo>
                <a:lnTo>
                  <a:pt x="2938" y="3404"/>
                </a:lnTo>
                <a:lnTo>
                  <a:pt x="2955" y="3406"/>
                </a:lnTo>
                <a:lnTo>
                  <a:pt x="2971" y="3406"/>
                </a:lnTo>
                <a:lnTo>
                  <a:pt x="2987" y="3406"/>
                </a:lnTo>
                <a:lnTo>
                  <a:pt x="3004" y="3404"/>
                </a:lnTo>
                <a:lnTo>
                  <a:pt x="3020" y="3402"/>
                </a:lnTo>
                <a:lnTo>
                  <a:pt x="3037" y="3400"/>
                </a:lnTo>
                <a:lnTo>
                  <a:pt x="3053" y="3397"/>
                </a:lnTo>
                <a:lnTo>
                  <a:pt x="4826" y="2988"/>
                </a:lnTo>
                <a:lnTo>
                  <a:pt x="4826" y="2988"/>
                </a:lnTo>
                <a:lnTo>
                  <a:pt x="4847" y="2981"/>
                </a:lnTo>
                <a:lnTo>
                  <a:pt x="4869" y="2973"/>
                </a:lnTo>
                <a:lnTo>
                  <a:pt x="4889" y="2965"/>
                </a:lnTo>
                <a:lnTo>
                  <a:pt x="4908" y="2955"/>
                </a:lnTo>
                <a:lnTo>
                  <a:pt x="4927" y="2946"/>
                </a:lnTo>
                <a:lnTo>
                  <a:pt x="4945" y="2935"/>
                </a:lnTo>
                <a:lnTo>
                  <a:pt x="4963" y="2924"/>
                </a:lnTo>
                <a:lnTo>
                  <a:pt x="4979" y="2913"/>
                </a:lnTo>
                <a:lnTo>
                  <a:pt x="4995" y="2901"/>
                </a:lnTo>
                <a:lnTo>
                  <a:pt x="5011" y="2888"/>
                </a:lnTo>
                <a:lnTo>
                  <a:pt x="5025" y="2875"/>
                </a:lnTo>
                <a:lnTo>
                  <a:pt x="5039" y="2860"/>
                </a:lnTo>
                <a:lnTo>
                  <a:pt x="5052" y="2846"/>
                </a:lnTo>
                <a:lnTo>
                  <a:pt x="5063" y="2831"/>
                </a:lnTo>
                <a:lnTo>
                  <a:pt x="5075" y="2816"/>
                </a:lnTo>
                <a:lnTo>
                  <a:pt x="5085" y="2800"/>
                </a:lnTo>
                <a:lnTo>
                  <a:pt x="5095" y="2783"/>
                </a:lnTo>
                <a:lnTo>
                  <a:pt x="5104" y="2768"/>
                </a:lnTo>
                <a:lnTo>
                  <a:pt x="5112" y="2750"/>
                </a:lnTo>
                <a:lnTo>
                  <a:pt x="5120" y="2733"/>
                </a:lnTo>
                <a:lnTo>
                  <a:pt x="5127" y="2715"/>
                </a:lnTo>
                <a:lnTo>
                  <a:pt x="5132" y="2697"/>
                </a:lnTo>
                <a:lnTo>
                  <a:pt x="5137" y="2679"/>
                </a:lnTo>
                <a:lnTo>
                  <a:pt x="5141" y="2661"/>
                </a:lnTo>
                <a:lnTo>
                  <a:pt x="5145" y="2642"/>
                </a:lnTo>
                <a:lnTo>
                  <a:pt x="5147" y="2625"/>
                </a:lnTo>
                <a:lnTo>
                  <a:pt x="5148" y="2606"/>
                </a:lnTo>
                <a:lnTo>
                  <a:pt x="5148" y="2587"/>
                </a:lnTo>
                <a:lnTo>
                  <a:pt x="5148" y="2568"/>
                </a:lnTo>
                <a:lnTo>
                  <a:pt x="5146" y="2549"/>
                </a:lnTo>
                <a:lnTo>
                  <a:pt x="5144" y="2530"/>
                </a:lnTo>
                <a:lnTo>
                  <a:pt x="5140" y="2509"/>
                </a:lnTo>
                <a:lnTo>
                  <a:pt x="5140" y="2509"/>
                </a:lnTo>
                <a:close/>
              </a:path>
            </a:pathLst>
          </a:custGeom>
          <a:solidFill xmlns:a="http://schemas.openxmlformats.org/drawingml/2006/main">
            <a:srgbClr val="000000"/>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txBody>
          <a:bodyPr xmlns:a="http://schemas.openxmlformats.org/drawingml/2006/main" vert="horz" wrap="square" lIns="91440" tIns="45720" rIns="91440" bIns="45720" numCol="1" anchor="t" anchorCtr="0" compatLnSpc="1">
            <a:prstTxWarp prst="textNoShape">
              <a:avLst/>
            </a:prstTxWarp>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endParaRPr lang="en-US" dirty="0"/>
          </a:p>
        </cdr:txBody>
      </cdr:sp>
      <cdr:sp macro="" textlink="">
        <cdr:nvSpPr>
          <cdr:cNvPr id="6" name="Freeform 5">
            <a:extLst xmlns:a="http://schemas.openxmlformats.org/drawingml/2006/main">
              <a:ext uri="{FF2B5EF4-FFF2-40B4-BE49-F238E27FC236}">
                <a16:creationId xmlns:a16="http://schemas.microsoft.com/office/drawing/2014/main" id="{747168A5-4DC5-2946-8DC2-57A0EB3299BE}"/>
              </a:ext>
            </a:extLst>
          </cdr:cNvPr>
          <cdr:cNvSpPr>
            <a:spLocks xmlns:a="http://schemas.openxmlformats.org/drawingml/2006/main"/>
          </cdr:cNvSpPr>
        </cdr:nvSpPr>
        <cdr:spPr bwMode="auto">
          <a:xfrm xmlns:a="http://schemas.openxmlformats.org/drawingml/2006/main">
            <a:off x="-8015" y="-1054"/>
            <a:ext cx="1" cy="1"/>
          </a:xfrm>
          <a:custGeom xmlns:a="http://schemas.openxmlformats.org/drawingml/2006/main">
            <a:avLst/>
            <a:gdLst>
              <a:gd name="T0" fmla="*/ 1175 w 2237"/>
              <a:gd name="T1" fmla="*/ 1 h 2237"/>
              <a:gd name="T2" fmla="*/ 1288 w 2237"/>
              <a:gd name="T3" fmla="*/ 12 h 2237"/>
              <a:gd name="T4" fmla="*/ 1398 w 2237"/>
              <a:gd name="T5" fmla="*/ 35 h 2237"/>
              <a:gd name="T6" fmla="*/ 1503 w 2237"/>
              <a:gd name="T7" fmla="*/ 67 h 2237"/>
              <a:gd name="T8" fmla="*/ 1651 w 2237"/>
              <a:gd name="T9" fmla="*/ 135 h 2237"/>
              <a:gd name="T10" fmla="*/ 1830 w 2237"/>
              <a:gd name="T11" fmla="*/ 255 h 2237"/>
              <a:gd name="T12" fmla="*/ 1981 w 2237"/>
              <a:gd name="T13" fmla="*/ 407 h 2237"/>
              <a:gd name="T14" fmla="*/ 2101 w 2237"/>
              <a:gd name="T15" fmla="*/ 586 h 2237"/>
              <a:gd name="T16" fmla="*/ 2168 w 2237"/>
              <a:gd name="T17" fmla="*/ 734 h 2237"/>
              <a:gd name="T18" fmla="*/ 2201 w 2237"/>
              <a:gd name="T19" fmla="*/ 839 h 2237"/>
              <a:gd name="T20" fmla="*/ 2223 w 2237"/>
              <a:gd name="T21" fmla="*/ 948 h 2237"/>
              <a:gd name="T22" fmla="*/ 2235 w 2237"/>
              <a:gd name="T23" fmla="*/ 1060 h 2237"/>
              <a:gd name="T24" fmla="*/ 2237 w 2237"/>
              <a:gd name="T25" fmla="*/ 1148 h 2237"/>
              <a:gd name="T26" fmla="*/ 2228 w 2237"/>
              <a:gd name="T27" fmla="*/ 1260 h 2237"/>
              <a:gd name="T28" fmla="*/ 2207 w 2237"/>
              <a:gd name="T29" fmla="*/ 1371 h 2237"/>
              <a:gd name="T30" fmla="*/ 2177 w 2237"/>
              <a:gd name="T31" fmla="*/ 1477 h 2237"/>
              <a:gd name="T32" fmla="*/ 2126 w 2237"/>
              <a:gd name="T33" fmla="*/ 1604 h 2237"/>
              <a:gd name="T34" fmla="*/ 2014 w 2237"/>
              <a:gd name="T35" fmla="*/ 1788 h 2237"/>
              <a:gd name="T36" fmla="*/ 1870 w 2237"/>
              <a:gd name="T37" fmla="*/ 1947 h 2237"/>
              <a:gd name="T38" fmla="*/ 1698 w 2237"/>
              <a:gd name="T39" fmla="*/ 2075 h 2237"/>
              <a:gd name="T40" fmla="*/ 1528 w 2237"/>
              <a:gd name="T41" fmla="*/ 2159 h 2237"/>
              <a:gd name="T42" fmla="*/ 1424 w 2237"/>
              <a:gd name="T43" fmla="*/ 2195 h 2237"/>
              <a:gd name="T44" fmla="*/ 1316 w 2237"/>
              <a:gd name="T45" fmla="*/ 2219 h 2237"/>
              <a:gd name="T46" fmla="*/ 1204 w 2237"/>
              <a:gd name="T47" fmla="*/ 2234 h 2237"/>
              <a:gd name="T48" fmla="*/ 1118 w 2237"/>
              <a:gd name="T49" fmla="*/ 2237 h 2237"/>
              <a:gd name="T50" fmla="*/ 1003 w 2237"/>
              <a:gd name="T51" fmla="*/ 2232 h 2237"/>
              <a:gd name="T52" fmla="*/ 893 w 2237"/>
              <a:gd name="T53" fmla="*/ 2215 h 2237"/>
              <a:gd name="T54" fmla="*/ 785 w 2237"/>
              <a:gd name="T55" fmla="*/ 2187 h 2237"/>
              <a:gd name="T56" fmla="*/ 683 w 2237"/>
              <a:gd name="T57" fmla="*/ 2149 h 2237"/>
              <a:gd name="T58" fmla="*/ 493 w 2237"/>
              <a:gd name="T59" fmla="*/ 2046 h 2237"/>
              <a:gd name="T60" fmla="*/ 327 w 2237"/>
              <a:gd name="T61" fmla="*/ 1910 h 2237"/>
              <a:gd name="T62" fmla="*/ 191 w 2237"/>
              <a:gd name="T63" fmla="*/ 1744 h 2237"/>
              <a:gd name="T64" fmla="*/ 87 w 2237"/>
              <a:gd name="T65" fmla="*/ 1553 h 2237"/>
              <a:gd name="T66" fmla="*/ 50 w 2237"/>
              <a:gd name="T67" fmla="*/ 1450 h 2237"/>
              <a:gd name="T68" fmla="*/ 22 w 2237"/>
              <a:gd name="T69" fmla="*/ 1344 h 2237"/>
              <a:gd name="T70" fmla="*/ 6 w 2237"/>
              <a:gd name="T71" fmla="*/ 1233 h 2237"/>
              <a:gd name="T72" fmla="*/ 0 w 2237"/>
              <a:gd name="T73" fmla="*/ 1119 h 2237"/>
              <a:gd name="T74" fmla="*/ 3 w 2237"/>
              <a:gd name="T75" fmla="*/ 1033 h 2237"/>
              <a:gd name="T76" fmla="*/ 17 w 2237"/>
              <a:gd name="T77" fmla="*/ 921 h 2237"/>
              <a:gd name="T78" fmla="*/ 42 w 2237"/>
              <a:gd name="T79" fmla="*/ 812 h 2237"/>
              <a:gd name="T80" fmla="*/ 77 w 2237"/>
              <a:gd name="T81" fmla="*/ 708 h 2237"/>
              <a:gd name="T82" fmla="*/ 162 w 2237"/>
              <a:gd name="T83" fmla="*/ 539 h 2237"/>
              <a:gd name="T84" fmla="*/ 290 w 2237"/>
              <a:gd name="T85" fmla="*/ 367 h 2237"/>
              <a:gd name="T86" fmla="*/ 449 w 2237"/>
              <a:gd name="T87" fmla="*/ 222 h 2237"/>
              <a:gd name="T88" fmla="*/ 633 w 2237"/>
              <a:gd name="T89" fmla="*/ 110 h 2237"/>
              <a:gd name="T90" fmla="*/ 760 w 2237"/>
              <a:gd name="T91" fmla="*/ 58 h 2237"/>
              <a:gd name="T92" fmla="*/ 866 w 2237"/>
              <a:gd name="T93" fmla="*/ 28 h 2237"/>
              <a:gd name="T94" fmla="*/ 975 w 2237"/>
              <a:gd name="T95" fmla="*/ 9 h 2237"/>
              <a:gd name="T96" fmla="*/ 1089 w 2237"/>
              <a:gd name="T97" fmla="*/ 0 h 2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37" h="2237">
                <a:moveTo>
                  <a:pt x="1118" y="0"/>
                </a:moveTo>
                <a:lnTo>
                  <a:pt x="1118" y="0"/>
                </a:lnTo>
                <a:lnTo>
                  <a:pt x="1147" y="0"/>
                </a:lnTo>
                <a:lnTo>
                  <a:pt x="1175" y="1"/>
                </a:lnTo>
                <a:lnTo>
                  <a:pt x="1204" y="3"/>
                </a:lnTo>
                <a:lnTo>
                  <a:pt x="1232" y="6"/>
                </a:lnTo>
                <a:lnTo>
                  <a:pt x="1260" y="9"/>
                </a:lnTo>
                <a:lnTo>
                  <a:pt x="1288" y="12"/>
                </a:lnTo>
                <a:lnTo>
                  <a:pt x="1316" y="17"/>
                </a:lnTo>
                <a:lnTo>
                  <a:pt x="1344" y="22"/>
                </a:lnTo>
                <a:lnTo>
                  <a:pt x="1371" y="28"/>
                </a:lnTo>
                <a:lnTo>
                  <a:pt x="1398" y="35"/>
                </a:lnTo>
                <a:lnTo>
                  <a:pt x="1424" y="42"/>
                </a:lnTo>
                <a:lnTo>
                  <a:pt x="1451" y="50"/>
                </a:lnTo>
                <a:lnTo>
                  <a:pt x="1477" y="58"/>
                </a:lnTo>
                <a:lnTo>
                  <a:pt x="1503" y="67"/>
                </a:lnTo>
                <a:lnTo>
                  <a:pt x="1528" y="77"/>
                </a:lnTo>
                <a:lnTo>
                  <a:pt x="1554" y="87"/>
                </a:lnTo>
                <a:lnTo>
                  <a:pt x="1603" y="110"/>
                </a:lnTo>
                <a:lnTo>
                  <a:pt x="1651" y="135"/>
                </a:lnTo>
                <a:lnTo>
                  <a:pt x="1698" y="162"/>
                </a:lnTo>
                <a:lnTo>
                  <a:pt x="1744" y="191"/>
                </a:lnTo>
                <a:lnTo>
                  <a:pt x="1787" y="222"/>
                </a:lnTo>
                <a:lnTo>
                  <a:pt x="1830" y="255"/>
                </a:lnTo>
                <a:lnTo>
                  <a:pt x="1870" y="291"/>
                </a:lnTo>
                <a:lnTo>
                  <a:pt x="1909" y="327"/>
                </a:lnTo>
                <a:lnTo>
                  <a:pt x="1946" y="367"/>
                </a:lnTo>
                <a:lnTo>
                  <a:pt x="1981" y="407"/>
                </a:lnTo>
                <a:lnTo>
                  <a:pt x="2014" y="449"/>
                </a:lnTo>
                <a:lnTo>
                  <a:pt x="2046" y="493"/>
                </a:lnTo>
                <a:lnTo>
                  <a:pt x="2075" y="539"/>
                </a:lnTo>
                <a:lnTo>
                  <a:pt x="2101" y="586"/>
                </a:lnTo>
                <a:lnTo>
                  <a:pt x="2126" y="634"/>
                </a:lnTo>
                <a:lnTo>
                  <a:pt x="2148" y="683"/>
                </a:lnTo>
                <a:lnTo>
                  <a:pt x="2158" y="708"/>
                </a:lnTo>
                <a:lnTo>
                  <a:pt x="2168" y="734"/>
                </a:lnTo>
                <a:lnTo>
                  <a:pt x="2177" y="760"/>
                </a:lnTo>
                <a:lnTo>
                  <a:pt x="2186" y="786"/>
                </a:lnTo>
                <a:lnTo>
                  <a:pt x="2194" y="812"/>
                </a:lnTo>
                <a:lnTo>
                  <a:pt x="2201" y="839"/>
                </a:lnTo>
                <a:lnTo>
                  <a:pt x="2207" y="866"/>
                </a:lnTo>
                <a:lnTo>
                  <a:pt x="2214" y="893"/>
                </a:lnTo>
                <a:lnTo>
                  <a:pt x="2219" y="921"/>
                </a:lnTo>
                <a:lnTo>
                  <a:pt x="2223" y="948"/>
                </a:lnTo>
                <a:lnTo>
                  <a:pt x="2228" y="976"/>
                </a:lnTo>
                <a:lnTo>
                  <a:pt x="2231" y="1003"/>
                </a:lnTo>
                <a:lnTo>
                  <a:pt x="2233" y="1033"/>
                </a:lnTo>
                <a:lnTo>
                  <a:pt x="2235" y="1060"/>
                </a:lnTo>
                <a:lnTo>
                  <a:pt x="2237" y="1089"/>
                </a:lnTo>
                <a:lnTo>
                  <a:pt x="2237" y="1119"/>
                </a:lnTo>
                <a:lnTo>
                  <a:pt x="2237" y="1119"/>
                </a:lnTo>
                <a:lnTo>
                  <a:pt x="2237" y="1148"/>
                </a:lnTo>
                <a:lnTo>
                  <a:pt x="2235" y="1176"/>
                </a:lnTo>
                <a:lnTo>
                  <a:pt x="2233" y="1205"/>
                </a:lnTo>
                <a:lnTo>
                  <a:pt x="2231" y="1233"/>
                </a:lnTo>
                <a:lnTo>
                  <a:pt x="2228" y="1260"/>
                </a:lnTo>
                <a:lnTo>
                  <a:pt x="2223" y="1288"/>
                </a:lnTo>
                <a:lnTo>
                  <a:pt x="2219" y="1316"/>
                </a:lnTo>
                <a:lnTo>
                  <a:pt x="2214" y="1344"/>
                </a:lnTo>
                <a:lnTo>
                  <a:pt x="2207" y="1371"/>
                </a:lnTo>
                <a:lnTo>
                  <a:pt x="2201" y="1398"/>
                </a:lnTo>
                <a:lnTo>
                  <a:pt x="2194" y="1425"/>
                </a:lnTo>
                <a:lnTo>
                  <a:pt x="2186" y="1450"/>
                </a:lnTo>
                <a:lnTo>
                  <a:pt x="2177" y="1477"/>
                </a:lnTo>
                <a:lnTo>
                  <a:pt x="2168" y="1503"/>
                </a:lnTo>
                <a:lnTo>
                  <a:pt x="2158" y="1529"/>
                </a:lnTo>
                <a:lnTo>
                  <a:pt x="2148" y="1553"/>
                </a:lnTo>
                <a:lnTo>
                  <a:pt x="2126" y="1604"/>
                </a:lnTo>
                <a:lnTo>
                  <a:pt x="2101" y="1652"/>
                </a:lnTo>
                <a:lnTo>
                  <a:pt x="2075" y="1698"/>
                </a:lnTo>
                <a:lnTo>
                  <a:pt x="2046" y="1744"/>
                </a:lnTo>
                <a:lnTo>
                  <a:pt x="2014" y="1788"/>
                </a:lnTo>
                <a:lnTo>
                  <a:pt x="1981" y="1830"/>
                </a:lnTo>
                <a:lnTo>
                  <a:pt x="1946" y="1871"/>
                </a:lnTo>
                <a:lnTo>
                  <a:pt x="1909" y="1910"/>
                </a:lnTo>
                <a:lnTo>
                  <a:pt x="1870" y="1947"/>
                </a:lnTo>
                <a:lnTo>
                  <a:pt x="1830" y="1981"/>
                </a:lnTo>
                <a:lnTo>
                  <a:pt x="1787" y="2015"/>
                </a:lnTo>
                <a:lnTo>
                  <a:pt x="1744" y="2046"/>
                </a:lnTo>
                <a:lnTo>
                  <a:pt x="1698" y="2075"/>
                </a:lnTo>
                <a:lnTo>
                  <a:pt x="1651" y="2102"/>
                </a:lnTo>
                <a:lnTo>
                  <a:pt x="1603" y="2126"/>
                </a:lnTo>
                <a:lnTo>
                  <a:pt x="1554" y="2149"/>
                </a:lnTo>
                <a:lnTo>
                  <a:pt x="1528" y="2159"/>
                </a:lnTo>
                <a:lnTo>
                  <a:pt x="1503" y="2169"/>
                </a:lnTo>
                <a:lnTo>
                  <a:pt x="1477" y="2178"/>
                </a:lnTo>
                <a:lnTo>
                  <a:pt x="1451" y="2187"/>
                </a:lnTo>
                <a:lnTo>
                  <a:pt x="1424" y="2195"/>
                </a:lnTo>
                <a:lnTo>
                  <a:pt x="1398" y="2201"/>
                </a:lnTo>
                <a:lnTo>
                  <a:pt x="1371" y="2208"/>
                </a:lnTo>
                <a:lnTo>
                  <a:pt x="1344" y="2215"/>
                </a:lnTo>
                <a:lnTo>
                  <a:pt x="1316" y="2219"/>
                </a:lnTo>
                <a:lnTo>
                  <a:pt x="1288" y="2224"/>
                </a:lnTo>
                <a:lnTo>
                  <a:pt x="1260" y="2228"/>
                </a:lnTo>
                <a:lnTo>
                  <a:pt x="1232" y="2232"/>
                </a:lnTo>
                <a:lnTo>
                  <a:pt x="1204" y="2234"/>
                </a:lnTo>
                <a:lnTo>
                  <a:pt x="1175" y="2236"/>
                </a:lnTo>
                <a:lnTo>
                  <a:pt x="1147" y="2237"/>
                </a:lnTo>
                <a:lnTo>
                  <a:pt x="1118" y="2237"/>
                </a:lnTo>
                <a:lnTo>
                  <a:pt x="1118" y="2237"/>
                </a:lnTo>
                <a:lnTo>
                  <a:pt x="1089" y="2237"/>
                </a:lnTo>
                <a:lnTo>
                  <a:pt x="1060" y="2236"/>
                </a:lnTo>
                <a:lnTo>
                  <a:pt x="1032" y="2234"/>
                </a:lnTo>
                <a:lnTo>
                  <a:pt x="1003" y="2232"/>
                </a:lnTo>
                <a:lnTo>
                  <a:pt x="975" y="2228"/>
                </a:lnTo>
                <a:lnTo>
                  <a:pt x="947" y="2224"/>
                </a:lnTo>
                <a:lnTo>
                  <a:pt x="920" y="2219"/>
                </a:lnTo>
                <a:lnTo>
                  <a:pt x="893" y="2215"/>
                </a:lnTo>
                <a:lnTo>
                  <a:pt x="866" y="2208"/>
                </a:lnTo>
                <a:lnTo>
                  <a:pt x="839" y="2201"/>
                </a:lnTo>
                <a:lnTo>
                  <a:pt x="812" y="2195"/>
                </a:lnTo>
                <a:lnTo>
                  <a:pt x="785" y="2187"/>
                </a:lnTo>
                <a:lnTo>
                  <a:pt x="760" y="2178"/>
                </a:lnTo>
                <a:lnTo>
                  <a:pt x="734" y="2169"/>
                </a:lnTo>
                <a:lnTo>
                  <a:pt x="708" y="2159"/>
                </a:lnTo>
                <a:lnTo>
                  <a:pt x="683" y="2149"/>
                </a:lnTo>
                <a:lnTo>
                  <a:pt x="633" y="2126"/>
                </a:lnTo>
                <a:lnTo>
                  <a:pt x="585" y="2102"/>
                </a:lnTo>
                <a:lnTo>
                  <a:pt x="538" y="2075"/>
                </a:lnTo>
                <a:lnTo>
                  <a:pt x="493" y="2046"/>
                </a:lnTo>
                <a:lnTo>
                  <a:pt x="449" y="2015"/>
                </a:lnTo>
                <a:lnTo>
                  <a:pt x="407" y="1981"/>
                </a:lnTo>
                <a:lnTo>
                  <a:pt x="366" y="1947"/>
                </a:lnTo>
                <a:lnTo>
                  <a:pt x="327" y="1910"/>
                </a:lnTo>
                <a:lnTo>
                  <a:pt x="290" y="1871"/>
                </a:lnTo>
                <a:lnTo>
                  <a:pt x="255" y="1830"/>
                </a:lnTo>
                <a:lnTo>
                  <a:pt x="222" y="1788"/>
                </a:lnTo>
                <a:lnTo>
                  <a:pt x="191" y="1744"/>
                </a:lnTo>
                <a:lnTo>
                  <a:pt x="162" y="1698"/>
                </a:lnTo>
                <a:lnTo>
                  <a:pt x="135" y="1652"/>
                </a:lnTo>
                <a:lnTo>
                  <a:pt x="109" y="1604"/>
                </a:lnTo>
                <a:lnTo>
                  <a:pt x="87" y="1553"/>
                </a:lnTo>
                <a:lnTo>
                  <a:pt x="77" y="1529"/>
                </a:lnTo>
                <a:lnTo>
                  <a:pt x="67" y="1503"/>
                </a:lnTo>
                <a:lnTo>
                  <a:pt x="58" y="1477"/>
                </a:lnTo>
                <a:lnTo>
                  <a:pt x="50" y="1450"/>
                </a:lnTo>
                <a:lnTo>
                  <a:pt x="42" y="1425"/>
                </a:lnTo>
                <a:lnTo>
                  <a:pt x="35" y="1398"/>
                </a:lnTo>
                <a:lnTo>
                  <a:pt x="28" y="1371"/>
                </a:lnTo>
                <a:lnTo>
                  <a:pt x="22" y="1344"/>
                </a:lnTo>
                <a:lnTo>
                  <a:pt x="17" y="1316"/>
                </a:lnTo>
                <a:lnTo>
                  <a:pt x="12" y="1288"/>
                </a:lnTo>
                <a:lnTo>
                  <a:pt x="9" y="1260"/>
                </a:lnTo>
                <a:lnTo>
                  <a:pt x="6" y="1233"/>
                </a:lnTo>
                <a:lnTo>
                  <a:pt x="3" y="1205"/>
                </a:lnTo>
                <a:lnTo>
                  <a:pt x="1" y="1176"/>
                </a:lnTo>
                <a:lnTo>
                  <a:pt x="0" y="1148"/>
                </a:lnTo>
                <a:lnTo>
                  <a:pt x="0" y="1119"/>
                </a:lnTo>
                <a:lnTo>
                  <a:pt x="0" y="1119"/>
                </a:lnTo>
                <a:lnTo>
                  <a:pt x="0" y="1089"/>
                </a:lnTo>
                <a:lnTo>
                  <a:pt x="1" y="1060"/>
                </a:lnTo>
                <a:lnTo>
                  <a:pt x="3" y="1033"/>
                </a:lnTo>
                <a:lnTo>
                  <a:pt x="6" y="1003"/>
                </a:lnTo>
                <a:lnTo>
                  <a:pt x="9" y="976"/>
                </a:lnTo>
                <a:lnTo>
                  <a:pt x="12" y="948"/>
                </a:lnTo>
                <a:lnTo>
                  <a:pt x="17" y="921"/>
                </a:lnTo>
                <a:lnTo>
                  <a:pt x="22" y="893"/>
                </a:lnTo>
                <a:lnTo>
                  <a:pt x="28" y="866"/>
                </a:lnTo>
                <a:lnTo>
                  <a:pt x="35" y="839"/>
                </a:lnTo>
                <a:lnTo>
                  <a:pt x="42" y="812"/>
                </a:lnTo>
                <a:lnTo>
                  <a:pt x="50" y="786"/>
                </a:lnTo>
                <a:lnTo>
                  <a:pt x="58" y="760"/>
                </a:lnTo>
                <a:lnTo>
                  <a:pt x="67" y="734"/>
                </a:lnTo>
                <a:lnTo>
                  <a:pt x="77" y="708"/>
                </a:lnTo>
                <a:lnTo>
                  <a:pt x="87" y="683"/>
                </a:lnTo>
                <a:lnTo>
                  <a:pt x="109" y="634"/>
                </a:lnTo>
                <a:lnTo>
                  <a:pt x="135" y="586"/>
                </a:lnTo>
                <a:lnTo>
                  <a:pt x="162" y="539"/>
                </a:lnTo>
                <a:lnTo>
                  <a:pt x="191" y="493"/>
                </a:lnTo>
                <a:lnTo>
                  <a:pt x="222" y="449"/>
                </a:lnTo>
                <a:lnTo>
                  <a:pt x="255" y="407"/>
                </a:lnTo>
                <a:lnTo>
                  <a:pt x="290" y="367"/>
                </a:lnTo>
                <a:lnTo>
                  <a:pt x="327" y="327"/>
                </a:lnTo>
                <a:lnTo>
                  <a:pt x="366" y="291"/>
                </a:lnTo>
                <a:lnTo>
                  <a:pt x="407" y="255"/>
                </a:lnTo>
                <a:lnTo>
                  <a:pt x="449" y="222"/>
                </a:lnTo>
                <a:lnTo>
                  <a:pt x="493" y="191"/>
                </a:lnTo>
                <a:lnTo>
                  <a:pt x="538" y="162"/>
                </a:lnTo>
                <a:lnTo>
                  <a:pt x="585" y="135"/>
                </a:lnTo>
                <a:lnTo>
                  <a:pt x="633" y="110"/>
                </a:lnTo>
                <a:lnTo>
                  <a:pt x="683" y="87"/>
                </a:lnTo>
                <a:lnTo>
                  <a:pt x="708" y="77"/>
                </a:lnTo>
                <a:lnTo>
                  <a:pt x="734" y="67"/>
                </a:lnTo>
                <a:lnTo>
                  <a:pt x="760" y="58"/>
                </a:lnTo>
                <a:lnTo>
                  <a:pt x="785" y="50"/>
                </a:lnTo>
                <a:lnTo>
                  <a:pt x="812" y="42"/>
                </a:lnTo>
                <a:lnTo>
                  <a:pt x="839" y="35"/>
                </a:lnTo>
                <a:lnTo>
                  <a:pt x="866" y="28"/>
                </a:lnTo>
                <a:lnTo>
                  <a:pt x="893" y="22"/>
                </a:lnTo>
                <a:lnTo>
                  <a:pt x="920" y="17"/>
                </a:lnTo>
                <a:lnTo>
                  <a:pt x="947" y="12"/>
                </a:lnTo>
                <a:lnTo>
                  <a:pt x="975" y="9"/>
                </a:lnTo>
                <a:lnTo>
                  <a:pt x="1003" y="6"/>
                </a:lnTo>
                <a:lnTo>
                  <a:pt x="1032" y="3"/>
                </a:lnTo>
                <a:lnTo>
                  <a:pt x="1060" y="1"/>
                </a:lnTo>
                <a:lnTo>
                  <a:pt x="1089" y="0"/>
                </a:lnTo>
                <a:lnTo>
                  <a:pt x="1118" y="0"/>
                </a:lnTo>
                <a:lnTo>
                  <a:pt x="1118" y="0"/>
                </a:lnTo>
                <a:close/>
              </a:path>
            </a:pathLst>
          </a:custGeom>
          <a:solidFill xmlns:a="http://schemas.openxmlformats.org/drawingml/2006/main">
            <a:srgbClr val="000000"/>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txBody>
          <a:bodyPr xmlns:a="http://schemas.openxmlformats.org/drawingml/2006/main" vert="horz" wrap="square" lIns="91440" tIns="45720" rIns="91440" bIns="45720" numCol="1" anchor="t" anchorCtr="0" compatLnSpc="1">
            <a:prstTxWarp prst="textNoShape">
              <a:avLst/>
            </a:prstTxWarp>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endParaRPr lang="en-US" dirty="0"/>
          </a:p>
        </cdr:txBody>
      </cdr:sp>
      <cdr:sp macro="" textlink="">
        <cdr:nvSpPr>
          <cdr:cNvPr id="7" name="Freeform 6">
            <a:extLst xmlns:a="http://schemas.openxmlformats.org/drawingml/2006/main">
              <a:ext uri="{FF2B5EF4-FFF2-40B4-BE49-F238E27FC236}">
                <a16:creationId xmlns:a16="http://schemas.microsoft.com/office/drawing/2014/main" id="{B570EE81-0157-2745-8551-440FDD3A6166}"/>
              </a:ext>
            </a:extLst>
          </cdr:cNvPr>
          <cdr:cNvSpPr>
            <a:spLocks xmlns:a="http://schemas.openxmlformats.org/drawingml/2006/main"/>
          </cdr:cNvSpPr>
        </cdr:nvSpPr>
        <cdr:spPr bwMode="auto">
          <a:xfrm xmlns:a="http://schemas.openxmlformats.org/drawingml/2006/main">
            <a:off x="-8014" y="-1052"/>
            <a:ext cx="0" cy="0"/>
          </a:xfrm>
          <a:custGeom xmlns:a="http://schemas.openxmlformats.org/drawingml/2006/main">
            <a:avLst/>
            <a:gdLst>
              <a:gd name="T0" fmla="*/ 69 w 178"/>
              <a:gd name="T1" fmla="*/ 0 h 136"/>
              <a:gd name="T2" fmla="*/ 69 w 178"/>
              <a:gd name="T3" fmla="*/ 0 h 136"/>
              <a:gd name="T4" fmla="*/ 54 w 178"/>
              <a:gd name="T5" fmla="*/ 1 h 136"/>
              <a:gd name="T6" fmla="*/ 41 w 178"/>
              <a:gd name="T7" fmla="*/ 5 h 136"/>
              <a:gd name="T8" fmla="*/ 35 w 178"/>
              <a:gd name="T9" fmla="*/ 7 h 136"/>
              <a:gd name="T10" fmla="*/ 29 w 178"/>
              <a:gd name="T11" fmla="*/ 11 h 136"/>
              <a:gd name="T12" fmla="*/ 24 w 178"/>
              <a:gd name="T13" fmla="*/ 14 h 136"/>
              <a:gd name="T14" fmla="*/ 19 w 178"/>
              <a:gd name="T15" fmla="*/ 19 h 136"/>
              <a:gd name="T16" fmla="*/ 15 w 178"/>
              <a:gd name="T17" fmla="*/ 23 h 136"/>
              <a:gd name="T18" fmla="*/ 11 w 178"/>
              <a:gd name="T19" fmla="*/ 29 h 136"/>
              <a:gd name="T20" fmla="*/ 8 w 178"/>
              <a:gd name="T21" fmla="*/ 34 h 136"/>
              <a:gd name="T22" fmla="*/ 6 w 178"/>
              <a:gd name="T23" fmla="*/ 40 h 136"/>
              <a:gd name="T24" fmla="*/ 2 w 178"/>
              <a:gd name="T25" fmla="*/ 53 h 136"/>
              <a:gd name="T26" fmla="*/ 0 w 178"/>
              <a:gd name="T27" fmla="*/ 68 h 136"/>
              <a:gd name="T28" fmla="*/ 0 w 178"/>
              <a:gd name="T29" fmla="*/ 68 h 136"/>
              <a:gd name="T30" fmla="*/ 2 w 178"/>
              <a:gd name="T31" fmla="*/ 82 h 136"/>
              <a:gd name="T32" fmla="*/ 6 w 178"/>
              <a:gd name="T33" fmla="*/ 96 h 136"/>
              <a:gd name="T34" fmla="*/ 8 w 178"/>
              <a:gd name="T35" fmla="*/ 102 h 136"/>
              <a:gd name="T36" fmla="*/ 11 w 178"/>
              <a:gd name="T37" fmla="*/ 108 h 136"/>
              <a:gd name="T38" fmla="*/ 15 w 178"/>
              <a:gd name="T39" fmla="*/ 112 h 136"/>
              <a:gd name="T40" fmla="*/ 19 w 178"/>
              <a:gd name="T41" fmla="*/ 117 h 136"/>
              <a:gd name="T42" fmla="*/ 24 w 178"/>
              <a:gd name="T43" fmla="*/ 121 h 136"/>
              <a:gd name="T44" fmla="*/ 29 w 178"/>
              <a:gd name="T45" fmla="*/ 126 h 136"/>
              <a:gd name="T46" fmla="*/ 35 w 178"/>
              <a:gd name="T47" fmla="*/ 128 h 136"/>
              <a:gd name="T48" fmla="*/ 41 w 178"/>
              <a:gd name="T49" fmla="*/ 131 h 136"/>
              <a:gd name="T50" fmla="*/ 54 w 178"/>
              <a:gd name="T51" fmla="*/ 135 h 136"/>
              <a:gd name="T52" fmla="*/ 69 w 178"/>
              <a:gd name="T53" fmla="*/ 136 h 136"/>
              <a:gd name="T54" fmla="*/ 110 w 178"/>
              <a:gd name="T55" fmla="*/ 136 h 136"/>
              <a:gd name="T56" fmla="*/ 110 w 178"/>
              <a:gd name="T57" fmla="*/ 136 h 136"/>
              <a:gd name="T58" fmla="*/ 124 w 178"/>
              <a:gd name="T59" fmla="*/ 135 h 136"/>
              <a:gd name="T60" fmla="*/ 138 w 178"/>
              <a:gd name="T61" fmla="*/ 131 h 136"/>
              <a:gd name="T62" fmla="*/ 144 w 178"/>
              <a:gd name="T63" fmla="*/ 128 h 136"/>
              <a:gd name="T64" fmla="*/ 150 w 178"/>
              <a:gd name="T65" fmla="*/ 126 h 136"/>
              <a:gd name="T66" fmla="*/ 154 w 178"/>
              <a:gd name="T67" fmla="*/ 121 h 136"/>
              <a:gd name="T68" fmla="*/ 159 w 178"/>
              <a:gd name="T69" fmla="*/ 117 h 136"/>
              <a:gd name="T70" fmla="*/ 163 w 178"/>
              <a:gd name="T71" fmla="*/ 112 h 136"/>
              <a:gd name="T72" fmla="*/ 168 w 178"/>
              <a:gd name="T73" fmla="*/ 108 h 136"/>
              <a:gd name="T74" fmla="*/ 170 w 178"/>
              <a:gd name="T75" fmla="*/ 102 h 136"/>
              <a:gd name="T76" fmla="*/ 173 w 178"/>
              <a:gd name="T77" fmla="*/ 96 h 136"/>
              <a:gd name="T78" fmla="*/ 177 w 178"/>
              <a:gd name="T79" fmla="*/ 82 h 136"/>
              <a:gd name="T80" fmla="*/ 178 w 178"/>
              <a:gd name="T81" fmla="*/ 68 h 136"/>
              <a:gd name="T82" fmla="*/ 178 w 178"/>
              <a:gd name="T83" fmla="*/ 68 h 136"/>
              <a:gd name="T84" fmla="*/ 177 w 178"/>
              <a:gd name="T85" fmla="*/ 53 h 136"/>
              <a:gd name="T86" fmla="*/ 173 w 178"/>
              <a:gd name="T87" fmla="*/ 40 h 136"/>
              <a:gd name="T88" fmla="*/ 170 w 178"/>
              <a:gd name="T89" fmla="*/ 34 h 136"/>
              <a:gd name="T90" fmla="*/ 168 w 178"/>
              <a:gd name="T91" fmla="*/ 29 h 136"/>
              <a:gd name="T92" fmla="*/ 163 w 178"/>
              <a:gd name="T93" fmla="*/ 23 h 136"/>
              <a:gd name="T94" fmla="*/ 159 w 178"/>
              <a:gd name="T95" fmla="*/ 19 h 136"/>
              <a:gd name="T96" fmla="*/ 154 w 178"/>
              <a:gd name="T97" fmla="*/ 14 h 136"/>
              <a:gd name="T98" fmla="*/ 150 w 178"/>
              <a:gd name="T99" fmla="*/ 11 h 136"/>
              <a:gd name="T100" fmla="*/ 144 w 178"/>
              <a:gd name="T101" fmla="*/ 7 h 136"/>
              <a:gd name="T102" fmla="*/ 138 w 178"/>
              <a:gd name="T103" fmla="*/ 5 h 136"/>
              <a:gd name="T104" fmla="*/ 124 w 178"/>
              <a:gd name="T105" fmla="*/ 1 h 136"/>
              <a:gd name="T106" fmla="*/ 110 w 178"/>
              <a:gd name="T107" fmla="*/ 0 h 136"/>
              <a:gd name="T108" fmla="*/ 69 w 178"/>
              <a:gd name="T109"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8" h="136">
                <a:moveTo>
                  <a:pt x="69" y="0"/>
                </a:moveTo>
                <a:lnTo>
                  <a:pt x="69" y="0"/>
                </a:lnTo>
                <a:lnTo>
                  <a:pt x="54" y="1"/>
                </a:lnTo>
                <a:lnTo>
                  <a:pt x="41" y="5"/>
                </a:lnTo>
                <a:lnTo>
                  <a:pt x="35" y="7"/>
                </a:lnTo>
                <a:lnTo>
                  <a:pt x="29" y="11"/>
                </a:lnTo>
                <a:lnTo>
                  <a:pt x="24" y="14"/>
                </a:lnTo>
                <a:lnTo>
                  <a:pt x="19" y="19"/>
                </a:lnTo>
                <a:lnTo>
                  <a:pt x="15" y="23"/>
                </a:lnTo>
                <a:lnTo>
                  <a:pt x="11" y="29"/>
                </a:lnTo>
                <a:lnTo>
                  <a:pt x="8" y="34"/>
                </a:lnTo>
                <a:lnTo>
                  <a:pt x="6" y="40"/>
                </a:lnTo>
                <a:lnTo>
                  <a:pt x="2" y="53"/>
                </a:lnTo>
                <a:lnTo>
                  <a:pt x="0" y="68"/>
                </a:lnTo>
                <a:lnTo>
                  <a:pt x="0" y="68"/>
                </a:lnTo>
                <a:lnTo>
                  <a:pt x="2" y="82"/>
                </a:lnTo>
                <a:lnTo>
                  <a:pt x="6" y="96"/>
                </a:lnTo>
                <a:lnTo>
                  <a:pt x="8" y="102"/>
                </a:lnTo>
                <a:lnTo>
                  <a:pt x="11" y="108"/>
                </a:lnTo>
                <a:lnTo>
                  <a:pt x="15" y="112"/>
                </a:lnTo>
                <a:lnTo>
                  <a:pt x="19" y="117"/>
                </a:lnTo>
                <a:lnTo>
                  <a:pt x="24" y="121"/>
                </a:lnTo>
                <a:lnTo>
                  <a:pt x="29" y="126"/>
                </a:lnTo>
                <a:lnTo>
                  <a:pt x="35" y="128"/>
                </a:lnTo>
                <a:lnTo>
                  <a:pt x="41" y="131"/>
                </a:lnTo>
                <a:lnTo>
                  <a:pt x="54" y="135"/>
                </a:lnTo>
                <a:lnTo>
                  <a:pt x="69" y="136"/>
                </a:lnTo>
                <a:lnTo>
                  <a:pt x="110" y="136"/>
                </a:lnTo>
                <a:lnTo>
                  <a:pt x="110" y="136"/>
                </a:lnTo>
                <a:lnTo>
                  <a:pt x="124" y="135"/>
                </a:lnTo>
                <a:lnTo>
                  <a:pt x="138" y="131"/>
                </a:lnTo>
                <a:lnTo>
                  <a:pt x="144" y="128"/>
                </a:lnTo>
                <a:lnTo>
                  <a:pt x="150" y="126"/>
                </a:lnTo>
                <a:lnTo>
                  <a:pt x="154" y="121"/>
                </a:lnTo>
                <a:lnTo>
                  <a:pt x="159" y="117"/>
                </a:lnTo>
                <a:lnTo>
                  <a:pt x="163" y="112"/>
                </a:lnTo>
                <a:lnTo>
                  <a:pt x="168" y="108"/>
                </a:lnTo>
                <a:lnTo>
                  <a:pt x="170" y="102"/>
                </a:lnTo>
                <a:lnTo>
                  <a:pt x="173" y="96"/>
                </a:lnTo>
                <a:lnTo>
                  <a:pt x="177" y="82"/>
                </a:lnTo>
                <a:lnTo>
                  <a:pt x="178" y="68"/>
                </a:lnTo>
                <a:lnTo>
                  <a:pt x="178" y="68"/>
                </a:lnTo>
                <a:lnTo>
                  <a:pt x="177" y="53"/>
                </a:lnTo>
                <a:lnTo>
                  <a:pt x="173" y="40"/>
                </a:lnTo>
                <a:lnTo>
                  <a:pt x="170" y="34"/>
                </a:lnTo>
                <a:lnTo>
                  <a:pt x="168" y="29"/>
                </a:lnTo>
                <a:lnTo>
                  <a:pt x="163" y="23"/>
                </a:lnTo>
                <a:lnTo>
                  <a:pt x="159" y="19"/>
                </a:lnTo>
                <a:lnTo>
                  <a:pt x="154" y="14"/>
                </a:lnTo>
                <a:lnTo>
                  <a:pt x="150" y="11"/>
                </a:lnTo>
                <a:lnTo>
                  <a:pt x="144" y="7"/>
                </a:lnTo>
                <a:lnTo>
                  <a:pt x="138" y="5"/>
                </a:lnTo>
                <a:lnTo>
                  <a:pt x="124" y="1"/>
                </a:lnTo>
                <a:lnTo>
                  <a:pt x="110" y="0"/>
                </a:lnTo>
                <a:lnTo>
                  <a:pt x="69" y="0"/>
                </a:lnTo>
                <a:close/>
              </a:path>
            </a:pathLst>
          </a:custGeom>
          <a:solidFill xmlns:a="http://schemas.openxmlformats.org/drawingml/2006/main">
            <a:srgbClr val="000000"/>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txBody>
          <a:bodyPr xmlns:a="http://schemas.openxmlformats.org/drawingml/2006/main" vert="horz" wrap="square" lIns="91440" tIns="45720" rIns="91440" bIns="45720" numCol="1" anchor="t" anchorCtr="0" compatLnSpc="1">
            <a:prstTxWarp prst="textNoShape">
              <a:avLst/>
            </a:prstTxWarp>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endParaRPr lang="en-US" dirty="0"/>
          </a:p>
        </cdr:txBody>
      </cdr:sp>
    </cdr:grp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A30600-B631-4911-939A-6E590A5F7B5A}" type="datetimeFigureOut">
              <a:rPr lang="en-US" smtClean="0"/>
              <a:t>8/1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EDD572C-0642-445C-95EA-9BF60C5DC72B}" type="slidenum">
              <a:rPr lang="en-US" smtClean="0"/>
              <a:t>‹#›</a:t>
            </a:fld>
            <a:endParaRPr lang="en-US"/>
          </a:p>
        </p:txBody>
      </p:sp>
    </p:spTree>
    <p:extLst>
      <p:ext uri="{BB962C8B-B14F-4D97-AF65-F5344CB8AC3E}">
        <p14:creationId xmlns:p14="http://schemas.microsoft.com/office/powerpoint/2010/main" val="6933416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EDD572C-0642-445C-95EA-9BF60C5DC72B}" type="slidenum">
              <a:rPr lang="en-US" smtClean="0"/>
              <a:t>1</a:t>
            </a:fld>
            <a:endParaRPr lang="en-US"/>
          </a:p>
        </p:txBody>
      </p:sp>
    </p:spTree>
    <p:extLst>
      <p:ext uri="{BB962C8B-B14F-4D97-AF65-F5344CB8AC3E}">
        <p14:creationId xmlns:p14="http://schemas.microsoft.com/office/powerpoint/2010/main" val="41250891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agenda, list, time</a:t>
            </a:r>
            <a:endParaRPr lang="en-US" dirty="0"/>
          </a:p>
        </p:txBody>
      </p:sp>
      <p:sp>
        <p:nvSpPr>
          <p:cNvPr id="4" name="Slide Number Placeholder 3"/>
          <p:cNvSpPr>
            <a:spLocks noGrp="1"/>
          </p:cNvSpPr>
          <p:nvPr>
            <p:ph type="sldNum" sz="quarter" idx="10"/>
          </p:nvPr>
        </p:nvSpPr>
        <p:spPr/>
        <p:txBody>
          <a:bodyPr/>
          <a:lstStyle/>
          <a:p>
            <a:fld id="{D759AF6D-BA0E-4594-94DB-478664329D2A}" type="slidenum">
              <a:rPr lang="en-US" smtClean="0"/>
              <a:t>12</a:t>
            </a:fld>
            <a:endParaRPr lang="en-US"/>
          </a:p>
        </p:txBody>
      </p:sp>
    </p:spTree>
    <p:extLst>
      <p:ext uri="{BB962C8B-B14F-4D97-AF65-F5344CB8AC3E}">
        <p14:creationId xmlns:p14="http://schemas.microsoft.com/office/powerpoint/2010/main" val="973204173"/>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srgbClr val="FFFFFF"/>
                </a:solidFill>
                <a:effectLst/>
                <a:uLnTx/>
                <a:uFillTx/>
                <a:latin typeface="Open Sans"/>
                <a:ea typeface="+mn-ea"/>
                <a:cs typeface="+mn-cs"/>
              </a:rPr>
              <a:t>Tags: data visualization, infographics</a:t>
            </a:r>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107</a:t>
            </a:fld>
            <a:endParaRPr lang="en-US"/>
          </a:p>
        </p:txBody>
      </p:sp>
    </p:spTree>
    <p:extLst>
      <p:ext uri="{BB962C8B-B14F-4D97-AF65-F5344CB8AC3E}">
        <p14:creationId xmlns:p14="http://schemas.microsoft.com/office/powerpoint/2010/main" val="1398297663"/>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srgbClr val="FFFFFF"/>
                </a:solidFill>
                <a:effectLst/>
                <a:uLnTx/>
                <a:uFillTx/>
                <a:latin typeface="Open Sans"/>
                <a:ea typeface="+mn-ea"/>
                <a:cs typeface="+mn-cs"/>
              </a:rPr>
              <a:t>Tags: data visualization, waterfall chart</a:t>
            </a:r>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108</a:t>
            </a:fld>
            <a:endParaRPr lang="en-US"/>
          </a:p>
        </p:txBody>
      </p:sp>
    </p:spTree>
    <p:extLst>
      <p:ext uri="{BB962C8B-B14F-4D97-AF65-F5344CB8AC3E}">
        <p14:creationId xmlns:p14="http://schemas.microsoft.com/office/powerpoint/2010/main" val="3258336688"/>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srgbClr val="FFFFFF"/>
                </a:solidFill>
                <a:effectLst/>
                <a:uLnTx/>
                <a:uFillTx/>
                <a:latin typeface="Open Sans"/>
                <a:ea typeface="+mn-ea"/>
                <a:cs typeface="+mn-cs"/>
              </a:rPr>
              <a:t>Tags: data visualization, benchmarks, infographics, industry analysis</a:t>
            </a:r>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109</a:t>
            </a:fld>
            <a:endParaRPr lang="en-US"/>
          </a:p>
        </p:txBody>
      </p:sp>
    </p:spTree>
    <p:extLst>
      <p:ext uri="{BB962C8B-B14F-4D97-AF65-F5344CB8AC3E}">
        <p14:creationId xmlns:p14="http://schemas.microsoft.com/office/powerpoint/2010/main" val="2373151306"/>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srgbClr val="FFFFFF"/>
                </a:solidFill>
                <a:effectLst/>
                <a:uLnTx/>
                <a:uFillTx/>
                <a:latin typeface="Open Sans"/>
                <a:ea typeface="+mn-ea"/>
                <a:cs typeface="+mn-cs"/>
              </a:rPr>
              <a:t>Tags: data visualization, survey, results, icons, circle</a:t>
            </a:r>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110</a:t>
            </a:fld>
            <a:endParaRPr lang="en-US"/>
          </a:p>
        </p:txBody>
      </p:sp>
    </p:spTree>
    <p:extLst>
      <p:ext uri="{BB962C8B-B14F-4D97-AF65-F5344CB8AC3E}">
        <p14:creationId xmlns:p14="http://schemas.microsoft.com/office/powerpoint/2010/main" val="2878809026"/>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srgbClr val="FFFFFF"/>
                </a:solidFill>
                <a:effectLst/>
                <a:uLnTx/>
                <a:uFillTx/>
                <a:latin typeface="Open Sans"/>
                <a:ea typeface="+mn-ea"/>
                <a:cs typeface="+mn-cs"/>
              </a:rPr>
              <a:t>Tags: data visualization, impact, bar chart</a:t>
            </a:r>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111</a:t>
            </a:fld>
            <a:endParaRPr lang="en-US"/>
          </a:p>
        </p:txBody>
      </p:sp>
    </p:spTree>
    <p:extLst>
      <p:ext uri="{BB962C8B-B14F-4D97-AF65-F5344CB8AC3E}">
        <p14:creationId xmlns:p14="http://schemas.microsoft.com/office/powerpoint/2010/main" val="4113420304"/>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srgbClr val="FFFFFF"/>
                </a:solidFill>
                <a:effectLst/>
                <a:uLnTx/>
                <a:uFillTx/>
                <a:latin typeface="Open Sans"/>
                <a:ea typeface="+mn-ea"/>
                <a:cs typeface="+mn-cs"/>
              </a:rPr>
              <a:t>Tags: data visualization, survey, results</a:t>
            </a:r>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112</a:t>
            </a:fld>
            <a:endParaRPr lang="en-US"/>
          </a:p>
        </p:txBody>
      </p:sp>
    </p:spTree>
    <p:extLst>
      <p:ext uri="{BB962C8B-B14F-4D97-AF65-F5344CB8AC3E}">
        <p14:creationId xmlns:p14="http://schemas.microsoft.com/office/powerpoint/2010/main" val="1480492398"/>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srgbClr val="FFFFFF"/>
                </a:solidFill>
                <a:effectLst/>
                <a:uLnTx/>
                <a:uFillTx/>
                <a:latin typeface="Open Sans"/>
                <a:ea typeface="+mn-ea"/>
                <a:cs typeface="+mn-cs"/>
              </a:rPr>
              <a:t>Tags: data visualization, calculation, equation, formula</a:t>
            </a:r>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113</a:t>
            </a:fld>
            <a:endParaRPr lang="en-US"/>
          </a:p>
        </p:txBody>
      </p:sp>
    </p:spTree>
    <p:extLst>
      <p:ext uri="{BB962C8B-B14F-4D97-AF65-F5344CB8AC3E}">
        <p14:creationId xmlns:p14="http://schemas.microsoft.com/office/powerpoint/2010/main" val="1256980782"/>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srgbClr val="FFFFFF"/>
                </a:solidFill>
                <a:effectLst/>
                <a:uLnTx/>
                <a:uFillTx/>
                <a:latin typeface="Open Sans"/>
                <a:ea typeface="+mn-ea"/>
                <a:cs typeface="+mn-cs"/>
              </a:rPr>
              <a:t>Tags: data visualization, bar chart, pie chart, infographic</a:t>
            </a:r>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114</a:t>
            </a:fld>
            <a:endParaRPr lang="en-US"/>
          </a:p>
        </p:txBody>
      </p:sp>
    </p:spTree>
    <p:extLst>
      <p:ext uri="{BB962C8B-B14F-4D97-AF65-F5344CB8AC3E}">
        <p14:creationId xmlns:p14="http://schemas.microsoft.com/office/powerpoint/2010/main" val="2663768009"/>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a:t>
            </a:r>
            <a:r>
              <a:rPr lang="en-US" baseline="0" dirty="0"/>
              <a:t> text, survey, data visualization, overview, infographic, number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89E7E8-36E4-467C-8300-85BCF6933FB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4565432"/>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srgbClr val="FFFFFF"/>
                </a:solidFill>
                <a:effectLst/>
                <a:uLnTx/>
                <a:uFillTx/>
                <a:latin typeface="Open Sans"/>
                <a:ea typeface="+mn-ea"/>
                <a:cs typeface="+mn-cs"/>
              </a:rPr>
              <a:t>Tags: data visualization, business case, growth, chart, infographic</a:t>
            </a:r>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116</a:t>
            </a:fld>
            <a:endParaRPr lang="en-US"/>
          </a:p>
        </p:txBody>
      </p:sp>
    </p:spTree>
    <p:extLst>
      <p:ext uri="{BB962C8B-B14F-4D97-AF65-F5344CB8AC3E}">
        <p14:creationId xmlns:p14="http://schemas.microsoft.com/office/powerpoint/2010/main" val="39462392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Tags: agenda, list, time, left aligned text, image</a:t>
            </a:r>
            <a:endParaRPr lang="en-US" dirty="0"/>
          </a:p>
        </p:txBody>
      </p:sp>
      <p:sp>
        <p:nvSpPr>
          <p:cNvPr id="4" name="Slide Number Placeholder 3"/>
          <p:cNvSpPr>
            <a:spLocks noGrp="1"/>
          </p:cNvSpPr>
          <p:nvPr>
            <p:ph type="sldNum" sz="quarter" idx="10"/>
          </p:nvPr>
        </p:nvSpPr>
        <p:spPr/>
        <p:txBody>
          <a:bodyPr/>
          <a:lstStyle/>
          <a:p>
            <a:fld id="{5EDD572C-0642-445C-95EA-9BF60C5DC72B}" type="slidenum">
              <a:rPr lang="en-US" smtClean="0"/>
              <a:t>13</a:t>
            </a:fld>
            <a:endParaRPr lang="en-US"/>
          </a:p>
        </p:txBody>
      </p:sp>
    </p:spTree>
    <p:extLst>
      <p:ext uri="{BB962C8B-B14F-4D97-AF65-F5344CB8AC3E}">
        <p14:creationId xmlns:p14="http://schemas.microsoft.com/office/powerpoint/2010/main" val="3656792252"/>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srgbClr val="FFFFFF"/>
                </a:solidFill>
                <a:effectLst/>
                <a:uLnTx/>
                <a:uFillTx/>
                <a:latin typeface="Open Sans"/>
                <a:ea typeface="+mn-ea"/>
                <a:cs typeface="+mn-cs"/>
              </a:rPr>
              <a:t>Tags: data visualization, waterfall chart</a:t>
            </a:r>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117</a:t>
            </a:fld>
            <a:endParaRPr lang="en-US"/>
          </a:p>
        </p:txBody>
      </p:sp>
    </p:spTree>
    <p:extLst>
      <p:ext uri="{BB962C8B-B14F-4D97-AF65-F5344CB8AC3E}">
        <p14:creationId xmlns:p14="http://schemas.microsoft.com/office/powerpoint/2010/main" val="3376682117"/>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srgbClr val="FFFFFF"/>
                </a:solidFill>
                <a:effectLst/>
                <a:uLnTx/>
                <a:uFillTx/>
                <a:latin typeface="Open Sans"/>
                <a:ea typeface="+mn-ea"/>
                <a:cs typeface="+mn-cs"/>
              </a:rPr>
              <a:t>Tags: data visualization, growth, infographic</a:t>
            </a:r>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118</a:t>
            </a:fld>
            <a:endParaRPr lang="en-US"/>
          </a:p>
        </p:txBody>
      </p:sp>
    </p:spTree>
    <p:extLst>
      <p:ext uri="{BB962C8B-B14F-4D97-AF65-F5344CB8AC3E}">
        <p14:creationId xmlns:p14="http://schemas.microsoft.com/office/powerpoint/2010/main" val="2288425747"/>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srgbClr val="FFFFFF"/>
                </a:solidFill>
                <a:effectLst/>
                <a:uLnTx/>
                <a:uFillTx/>
                <a:latin typeface="Open Sans"/>
                <a:ea typeface="+mn-ea"/>
                <a:cs typeface="+mn-cs"/>
              </a:rPr>
              <a:t>Tags: data visualization, pie chart</a:t>
            </a:r>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119</a:t>
            </a:fld>
            <a:endParaRPr lang="en-US"/>
          </a:p>
        </p:txBody>
      </p:sp>
    </p:spTree>
    <p:extLst>
      <p:ext uri="{BB962C8B-B14F-4D97-AF65-F5344CB8AC3E}">
        <p14:creationId xmlns:p14="http://schemas.microsoft.com/office/powerpoint/2010/main" val="1559303641"/>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srgbClr val="FFFFFF"/>
                </a:solidFill>
                <a:effectLst/>
                <a:uLnTx/>
                <a:uFillTx/>
                <a:latin typeface="Open Sans"/>
                <a:ea typeface="+mn-ea"/>
                <a:cs typeface="+mn-cs"/>
              </a:rPr>
              <a:t>Tags: data visualization, bar chart, growth </a:t>
            </a:r>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120</a:t>
            </a:fld>
            <a:endParaRPr lang="en-US"/>
          </a:p>
        </p:txBody>
      </p:sp>
    </p:spTree>
    <p:extLst>
      <p:ext uri="{BB962C8B-B14F-4D97-AF65-F5344CB8AC3E}">
        <p14:creationId xmlns:p14="http://schemas.microsoft.com/office/powerpoint/2010/main" val="427697700"/>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srgbClr val="FFFFFF"/>
                </a:solidFill>
                <a:effectLst/>
                <a:uLnTx/>
                <a:uFillTx/>
                <a:latin typeface="Open Sans"/>
                <a:ea typeface="+mn-ea"/>
                <a:cs typeface="+mn-cs"/>
              </a:rPr>
              <a:t>Tags: data visualization, value, infographics</a:t>
            </a:r>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121</a:t>
            </a:fld>
            <a:endParaRPr lang="en-US"/>
          </a:p>
        </p:txBody>
      </p:sp>
    </p:spTree>
    <p:extLst>
      <p:ext uri="{BB962C8B-B14F-4D97-AF65-F5344CB8AC3E}">
        <p14:creationId xmlns:p14="http://schemas.microsoft.com/office/powerpoint/2010/main" val="3661795375"/>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srgbClr val="FFFFFF"/>
                </a:solidFill>
                <a:effectLst/>
                <a:uLnTx/>
                <a:uFillTx/>
                <a:latin typeface="Open Sans"/>
                <a:ea typeface="+mn-ea"/>
                <a:cs typeface="+mn-cs"/>
              </a:rPr>
              <a:t>Tags: data visualization, matrix, value, bubble chart</a:t>
            </a:r>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122</a:t>
            </a:fld>
            <a:endParaRPr lang="en-US"/>
          </a:p>
        </p:txBody>
      </p:sp>
    </p:spTree>
    <p:extLst>
      <p:ext uri="{BB962C8B-B14F-4D97-AF65-F5344CB8AC3E}">
        <p14:creationId xmlns:p14="http://schemas.microsoft.com/office/powerpoint/2010/main" val="195869132"/>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srgbClr val="FFFFFF"/>
                </a:solidFill>
                <a:effectLst/>
                <a:uLnTx/>
                <a:uFillTx/>
                <a:latin typeface="Open Sans"/>
                <a:ea typeface="+mn-ea"/>
                <a:cs typeface="+mn-cs"/>
              </a:rPr>
              <a:t>Tags: data visualization, bubble chart</a:t>
            </a:r>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123</a:t>
            </a:fld>
            <a:endParaRPr lang="en-US"/>
          </a:p>
        </p:txBody>
      </p:sp>
    </p:spTree>
    <p:extLst>
      <p:ext uri="{BB962C8B-B14F-4D97-AF65-F5344CB8AC3E}">
        <p14:creationId xmlns:p14="http://schemas.microsoft.com/office/powerpoint/2010/main" val="280189861"/>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Tags: </a:t>
            </a:r>
            <a:r>
              <a:rPr kumimoji="0" lang="en-US" sz="1200" b="0" i="0" u="none" strike="noStrike" kern="1200" cap="none" spc="0" normalizeH="0" baseline="0" noProof="0" dirty="0">
                <a:ln>
                  <a:noFill/>
                </a:ln>
                <a:solidFill>
                  <a:srgbClr val="FFFFFF"/>
                </a:solidFill>
                <a:effectLst/>
                <a:uLnTx/>
                <a:uFillTx/>
                <a:latin typeface="Open Sans"/>
                <a:ea typeface="+mn-ea"/>
                <a:cs typeface="+mn-cs"/>
              </a:rPr>
              <a:t>data visualization, </a:t>
            </a:r>
            <a:r>
              <a:rPr kumimoji="0" lang="en-US" sz="1200" b="0" i="0" u="none" strike="noStrike" kern="1200" cap="none" spc="0" normalizeH="0" baseline="0" noProof="0" dirty="0">
                <a:ln>
                  <a:noFill/>
                </a:ln>
                <a:solidFill>
                  <a:srgbClr val="000000"/>
                </a:solidFill>
                <a:effectLst/>
                <a:uLnTx/>
                <a:uFillTx/>
                <a:latin typeface="Open Sans"/>
                <a:ea typeface="+mn-ea"/>
                <a:cs typeface="+mn-cs"/>
              </a:rPr>
              <a:t>bar chart, growth</a:t>
            </a:r>
          </a:p>
          <a:p>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124</a:t>
            </a:fld>
            <a:endParaRPr lang="en-US"/>
          </a:p>
        </p:txBody>
      </p:sp>
    </p:spTree>
    <p:extLst>
      <p:ext uri="{BB962C8B-B14F-4D97-AF65-F5344CB8AC3E}">
        <p14:creationId xmlns:p14="http://schemas.microsoft.com/office/powerpoint/2010/main" val="195370681"/>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Tags: </a:t>
            </a:r>
            <a:r>
              <a:rPr kumimoji="0" lang="en-US" sz="1200" b="0" i="0" u="none" strike="noStrike" kern="1200" cap="none" spc="0" normalizeH="0" baseline="0" noProof="0" dirty="0">
                <a:ln>
                  <a:noFill/>
                </a:ln>
                <a:solidFill>
                  <a:srgbClr val="FFFFFF"/>
                </a:solidFill>
                <a:effectLst/>
                <a:uLnTx/>
                <a:uFillTx/>
                <a:latin typeface="Open Sans"/>
                <a:ea typeface="+mn-ea"/>
                <a:cs typeface="+mn-cs"/>
              </a:rPr>
              <a:t>data visualization, </a:t>
            </a:r>
            <a:r>
              <a:rPr kumimoji="0" lang="en-US" sz="1200" b="0" i="0" u="none" strike="noStrike" kern="1200" cap="none" spc="0" normalizeH="0" baseline="0" noProof="0" dirty="0">
                <a:ln>
                  <a:noFill/>
                </a:ln>
                <a:solidFill>
                  <a:srgbClr val="000000"/>
                </a:solidFill>
                <a:effectLst/>
                <a:uLnTx/>
                <a:uFillTx/>
                <a:latin typeface="Open Sans"/>
                <a:ea typeface="+mn-ea"/>
                <a:cs typeface="+mn-cs"/>
              </a:rPr>
              <a:t>value</a:t>
            </a:r>
          </a:p>
          <a:p>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125</a:t>
            </a:fld>
            <a:endParaRPr lang="en-US"/>
          </a:p>
        </p:txBody>
      </p:sp>
    </p:spTree>
    <p:extLst>
      <p:ext uri="{BB962C8B-B14F-4D97-AF65-F5344CB8AC3E}">
        <p14:creationId xmlns:p14="http://schemas.microsoft.com/office/powerpoint/2010/main" val="682728179"/>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t>
            </a:r>
            <a:r>
              <a:rPr kumimoji="0" lang="en-US" sz="1200" b="0" i="0" u="none" strike="noStrike" kern="1200" cap="none" spc="0" normalizeH="0" baseline="0" noProof="0" dirty="0">
                <a:ln>
                  <a:noFill/>
                </a:ln>
                <a:solidFill>
                  <a:srgbClr val="FFFFFF"/>
                </a:solidFill>
                <a:effectLst/>
                <a:uLnTx/>
                <a:uFillTx/>
                <a:latin typeface="Open Sans"/>
                <a:ea typeface="+mn-ea"/>
                <a:cs typeface="+mn-cs"/>
              </a:rPr>
              <a:t>data visualization, </a:t>
            </a:r>
            <a:r>
              <a:rPr lang="en-US" dirty="0"/>
              <a:t>scenarios</a:t>
            </a:r>
          </a:p>
        </p:txBody>
      </p:sp>
      <p:sp>
        <p:nvSpPr>
          <p:cNvPr id="4" name="Slide Number Placeholder 3"/>
          <p:cNvSpPr>
            <a:spLocks noGrp="1"/>
          </p:cNvSpPr>
          <p:nvPr>
            <p:ph type="sldNum" sz="quarter" idx="10"/>
          </p:nvPr>
        </p:nvSpPr>
        <p:spPr/>
        <p:txBody>
          <a:bodyPr/>
          <a:lstStyle/>
          <a:p>
            <a:fld id="{5BA76E45-6B41-42DC-8BC0-4F32365D1BCD}" type="slidenum">
              <a:rPr lang="en-US" smtClean="0"/>
              <a:t>126</a:t>
            </a:fld>
            <a:endParaRPr lang="en-US"/>
          </a:p>
        </p:txBody>
      </p:sp>
    </p:spTree>
    <p:extLst>
      <p:ext uri="{BB962C8B-B14F-4D97-AF65-F5344CB8AC3E}">
        <p14:creationId xmlns:p14="http://schemas.microsoft.com/office/powerpoint/2010/main" val="42367540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genda, time, details, workshop</a:t>
            </a:r>
          </a:p>
        </p:txBody>
      </p:sp>
      <p:sp>
        <p:nvSpPr>
          <p:cNvPr id="4" name="Slide Number Placeholder 3"/>
          <p:cNvSpPr>
            <a:spLocks noGrp="1"/>
          </p:cNvSpPr>
          <p:nvPr>
            <p:ph type="sldNum" sz="quarter" idx="10"/>
          </p:nvPr>
        </p:nvSpPr>
        <p:spPr/>
        <p:txBody>
          <a:bodyPr/>
          <a:lstStyle/>
          <a:p>
            <a:fld id="{D759AF6D-BA0E-4594-94DB-478664329D2A}" type="slidenum">
              <a:rPr lang="en-US" smtClean="0"/>
              <a:t>14</a:t>
            </a:fld>
            <a:endParaRPr lang="en-US"/>
          </a:p>
        </p:txBody>
      </p:sp>
    </p:spTree>
    <p:extLst>
      <p:ext uri="{BB962C8B-B14F-4D97-AF65-F5344CB8AC3E}">
        <p14:creationId xmlns:p14="http://schemas.microsoft.com/office/powerpoint/2010/main" val="1280963921"/>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t>
            </a:r>
            <a:r>
              <a:rPr kumimoji="0" lang="en-US" sz="1200" b="0" i="0" u="none" strike="noStrike" kern="1200" cap="none" spc="0" normalizeH="0" baseline="0" noProof="0" dirty="0">
                <a:ln>
                  <a:noFill/>
                </a:ln>
                <a:solidFill>
                  <a:srgbClr val="FFFFFF"/>
                </a:solidFill>
                <a:effectLst/>
                <a:uLnTx/>
                <a:uFillTx/>
                <a:latin typeface="Open Sans"/>
                <a:ea typeface="+mn-ea"/>
                <a:cs typeface="+mn-cs"/>
              </a:rPr>
              <a:t>data visualization, </a:t>
            </a:r>
            <a:r>
              <a:rPr lang="en-US" dirty="0"/>
              <a:t>market,</a:t>
            </a:r>
            <a:r>
              <a:rPr lang="en-US" baseline="0" dirty="0"/>
              <a:t> industry</a:t>
            </a:r>
            <a:endParaRPr lang="en-US" dirty="0"/>
          </a:p>
        </p:txBody>
      </p:sp>
      <p:sp>
        <p:nvSpPr>
          <p:cNvPr id="4" name="Slide Number Placeholder 3"/>
          <p:cNvSpPr>
            <a:spLocks noGrp="1"/>
          </p:cNvSpPr>
          <p:nvPr>
            <p:ph type="sldNum" sz="quarter" idx="10"/>
          </p:nvPr>
        </p:nvSpPr>
        <p:spPr/>
        <p:txBody>
          <a:bodyPr/>
          <a:lstStyle/>
          <a:p>
            <a:fld id="{830DD4E1-E176-49D7-9859-91157D402D02}" type="slidenum">
              <a:rPr lang="en-US" smtClean="0"/>
              <a:t>127</a:t>
            </a:fld>
            <a:endParaRPr lang="en-US"/>
          </a:p>
        </p:txBody>
      </p:sp>
    </p:spTree>
    <p:extLst>
      <p:ext uri="{BB962C8B-B14F-4D97-AF65-F5344CB8AC3E}">
        <p14:creationId xmlns:p14="http://schemas.microsoft.com/office/powerpoint/2010/main" val="2070316060"/>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data visualization, map, footprint, overview, icons</a:t>
            </a:r>
          </a:p>
        </p:txBody>
      </p:sp>
      <p:sp>
        <p:nvSpPr>
          <p:cNvPr id="4" name="Slide Number Placeholder 3"/>
          <p:cNvSpPr>
            <a:spLocks noGrp="1"/>
          </p:cNvSpPr>
          <p:nvPr>
            <p:ph type="sldNum" sz="quarter" idx="10"/>
          </p:nvPr>
        </p:nvSpPr>
        <p:spPr/>
        <p:txBody>
          <a:bodyPr/>
          <a:lstStyle/>
          <a:p>
            <a:fld id="{830DD4E1-E176-49D7-9859-91157D402D02}" type="slidenum">
              <a:rPr lang="en-US" smtClean="0"/>
              <a:t>128</a:t>
            </a:fld>
            <a:endParaRPr lang="en-US"/>
          </a:p>
        </p:txBody>
      </p:sp>
    </p:spTree>
    <p:extLst>
      <p:ext uri="{BB962C8B-B14F-4D97-AF65-F5344CB8AC3E}">
        <p14:creationId xmlns:p14="http://schemas.microsoft.com/office/powerpoint/2010/main" val="4061439001"/>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t>
            </a:r>
            <a:r>
              <a:rPr kumimoji="0" lang="en-US" sz="1200" b="0" i="0" u="none" strike="noStrike" kern="1200" cap="none" spc="0" normalizeH="0" baseline="0" noProof="0" dirty="0">
                <a:ln>
                  <a:noFill/>
                </a:ln>
                <a:solidFill>
                  <a:srgbClr val="FFFFFF"/>
                </a:solidFill>
                <a:effectLst/>
                <a:uLnTx/>
                <a:uFillTx/>
                <a:latin typeface="Open Sans"/>
                <a:ea typeface="+mn-ea"/>
                <a:cs typeface="+mn-cs"/>
              </a:rPr>
              <a:t>data visualization, </a:t>
            </a:r>
            <a:r>
              <a:rPr lang="en-US" dirty="0"/>
              <a:t>landscape, infographic</a:t>
            </a:r>
          </a:p>
        </p:txBody>
      </p:sp>
      <p:sp>
        <p:nvSpPr>
          <p:cNvPr id="4" name="Slide Number Placeholder 3"/>
          <p:cNvSpPr>
            <a:spLocks noGrp="1"/>
          </p:cNvSpPr>
          <p:nvPr>
            <p:ph type="sldNum" sz="quarter" idx="10"/>
          </p:nvPr>
        </p:nvSpPr>
        <p:spPr/>
        <p:txBody>
          <a:bodyPr/>
          <a:lstStyle/>
          <a:p>
            <a:fld id="{830DD4E1-E176-49D7-9859-91157D402D02}" type="slidenum">
              <a:rPr lang="en-US" smtClean="0"/>
              <a:t>129</a:t>
            </a:fld>
            <a:endParaRPr lang="en-US"/>
          </a:p>
        </p:txBody>
      </p:sp>
    </p:spTree>
    <p:extLst>
      <p:ext uri="{BB962C8B-B14F-4D97-AF65-F5344CB8AC3E}">
        <p14:creationId xmlns:p14="http://schemas.microsoft.com/office/powerpoint/2010/main" val="3148909006"/>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t>
            </a:r>
            <a:r>
              <a:rPr kumimoji="0" lang="en-US" sz="1200" b="0" i="0" u="none" strike="noStrike" kern="1200" cap="none" spc="0" normalizeH="0" baseline="0" noProof="0" dirty="0">
                <a:ln>
                  <a:noFill/>
                </a:ln>
                <a:solidFill>
                  <a:srgbClr val="FFFFFF"/>
                </a:solidFill>
                <a:effectLst/>
                <a:uLnTx/>
                <a:uFillTx/>
                <a:latin typeface="Open Sans"/>
                <a:ea typeface="+mn-ea"/>
                <a:cs typeface="+mn-cs"/>
              </a:rPr>
              <a:t>data visualization, </a:t>
            </a:r>
            <a:r>
              <a:rPr lang="en-US" dirty="0"/>
              <a:t>growth, bar chart</a:t>
            </a:r>
          </a:p>
        </p:txBody>
      </p:sp>
      <p:sp>
        <p:nvSpPr>
          <p:cNvPr id="4" name="Slide Number Placeholder 3"/>
          <p:cNvSpPr>
            <a:spLocks noGrp="1"/>
          </p:cNvSpPr>
          <p:nvPr>
            <p:ph type="sldNum" sz="quarter" idx="10"/>
          </p:nvPr>
        </p:nvSpPr>
        <p:spPr/>
        <p:txBody>
          <a:bodyPr/>
          <a:lstStyle/>
          <a:p>
            <a:fld id="{830DD4E1-E176-49D7-9859-91157D402D02}" type="slidenum">
              <a:rPr lang="en-US" smtClean="0"/>
              <a:t>130</a:t>
            </a:fld>
            <a:endParaRPr lang="en-US"/>
          </a:p>
        </p:txBody>
      </p:sp>
    </p:spTree>
    <p:extLst>
      <p:ext uri="{BB962C8B-B14F-4D97-AF65-F5344CB8AC3E}">
        <p14:creationId xmlns:p14="http://schemas.microsoft.com/office/powerpoint/2010/main" val="1710451917"/>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t>
            </a:r>
            <a:r>
              <a:rPr kumimoji="0" lang="en-US" sz="1200" b="0" i="0" u="none" strike="noStrike" kern="1200" cap="none" spc="0" normalizeH="0" baseline="0" noProof="0" dirty="0">
                <a:ln>
                  <a:noFill/>
                </a:ln>
                <a:solidFill>
                  <a:srgbClr val="FFFFFF"/>
                </a:solidFill>
                <a:effectLst/>
                <a:uLnTx/>
                <a:uFillTx/>
                <a:latin typeface="Open Sans"/>
                <a:ea typeface="+mn-ea"/>
                <a:cs typeface="+mn-cs"/>
              </a:rPr>
              <a:t>data visualization, </a:t>
            </a:r>
            <a:r>
              <a:rPr lang="en-US" dirty="0"/>
              <a:t>digital, survey, customer journey, infographics</a:t>
            </a:r>
          </a:p>
          <a:p>
            <a:endParaRPr lang="en-US" dirty="0"/>
          </a:p>
        </p:txBody>
      </p:sp>
      <p:sp>
        <p:nvSpPr>
          <p:cNvPr id="4" name="Slide Number Placeholder 3"/>
          <p:cNvSpPr>
            <a:spLocks noGrp="1"/>
          </p:cNvSpPr>
          <p:nvPr>
            <p:ph type="sldNum" sz="quarter" idx="10"/>
          </p:nvPr>
        </p:nvSpPr>
        <p:spPr/>
        <p:txBody>
          <a:bodyPr/>
          <a:lstStyle/>
          <a:p>
            <a:fld id="{5EDD572C-0642-445C-95EA-9BF60C5DC72B}" type="slidenum">
              <a:rPr lang="en-US" smtClean="0"/>
              <a:t>131</a:t>
            </a:fld>
            <a:endParaRPr lang="en-US"/>
          </a:p>
        </p:txBody>
      </p:sp>
    </p:spTree>
    <p:extLst>
      <p:ext uri="{BB962C8B-B14F-4D97-AF65-F5344CB8AC3E}">
        <p14:creationId xmlns:p14="http://schemas.microsoft.com/office/powerpoint/2010/main" val="3428517491"/>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a:t>
            </a:r>
            <a:r>
              <a:rPr kumimoji="0" lang="en-US" sz="1200" b="0" i="0" u="none" strike="noStrike" kern="1200" cap="none" spc="0" normalizeH="0" baseline="0" noProof="0" dirty="0">
                <a:ln>
                  <a:noFill/>
                </a:ln>
                <a:solidFill>
                  <a:srgbClr val="FFFFFF"/>
                </a:solidFill>
                <a:effectLst/>
                <a:uLnTx/>
                <a:uFillTx/>
                <a:latin typeface="Open Sans"/>
                <a:ea typeface="+mn-ea"/>
                <a:cs typeface="+mn-cs"/>
              </a:rPr>
              <a:t>data visualization, </a:t>
            </a:r>
            <a:r>
              <a:rPr lang="en-US" baseline="0" dirty="0"/>
              <a:t>market, growth, bar chart, overview</a:t>
            </a:r>
            <a:endParaRPr lang="en-US" dirty="0"/>
          </a:p>
        </p:txBody>
      </p:sp>
      <p:sp>
        <p:nvSpPr>
          <p:cNvPr id="4" name="Slide Number Placeholder 3"/>
          <p:cNvSpPr>
            <a:spLocks noGrp="1"/>
          </p:cNvSpPr>
          <p:nvPr>
            <p:ph type="sldNum" sz="quarter" idx="10"/>
          </p:nvPr>
        </p:nvSpPr>
        <p:spPr/>
        <p:txBody>
          <a:bodyPr/>
          <a:lstStyle/>
          <a:p>
            <a:fld id="{830DD4E1-E176-49D7-9859-91157D402D02}" type="slidenum">
              <a:rPr lang="en-US" smtClean="0"/>
              <a:t>132</a:t>
            </a:fld>
            <a:endParaRPr lang="en-US"/>
          </a:p>
        </p:txBody>
      </p:sp>
    </p:spTree>
    <p:extLst>
      <p:ext uri="{BB962C8B-B14F-4D97-AF65-F5344CB8AC3E}">
        <p14:creationId xmlns:p14="http://schemas.microsoft.com/office/powerpoint/2010/main" val="352747735"/>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risk, table, high, medium, low</a:t>
            </a:r>
          </a:p>
        </p:txBody>
      </p:sp>
      <p:sp>
        <p:nvSpPr>
          <p:cNvPr id="4" name="Slide Number Placeholder 3"/>
          <p:cNvSpPr>
            <a:spLocks noGrp="1"/>
          </p:cNvSpPr>
          <p:nvPr>
            <p:ph type="sldNum" sz="quarter" idx="10"/>
          </p:nvPr>
        </p:nvSpPr>
        <p:spPr/>
        <p:txBody>
          <a:bodyPr/>
          <a:lstStyle/>
          <a:p>
            <a:fld id="{5EDD572C-0642-445C-95EA-9BF60C5DC72B}" type="slidenum">
              <a:rPr lang="en-US" smtClean="0"/>
              <a:t>134</a:t>
            </a:fld>
            <a:endParaRPr lang="en-US"/>
          </a:p>
        </p:txBody>
      </p:sp>
    </p:spTree>
    <p:extLst>
      <p:ext uri="{BB962C8B-B14F-4D97-AF65-F5344CB8AC3E}">
        <p14:creationId xmlns:p14="http://schemas.microsoft.com/office/powerpoint/2010/main" val="2505898262"/>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approach, text</a:t>
            </a:r>
          </a:p>
          <a:p>
            <a:endParaRPr lang="en-US" dirty="0"/>
          </a:p>
        </p:txBody>
      </p:sp>
      <p:sp>
        <p:nvSpPr>
          <p:cNvPr id="4" name="Slide Number Placeholder 3"/>
          <p:cNvSpPr>
            <a:spLocks noGrp="1"/>
          </p:cNvSpPr>
          <p:nvPr>
            <p:ph type="sldNum" sz="quarter" idx="10"/>
          </p:nvPr>
        </p:nvSpPr>
        <p:spPr/>
        <p:txBody>
          <a:bodyPr/>
          <a:lstStyle/>
          <a:p>
            <a:fld id="{5EDD572C-0642-445C-95EA-9BF60C5DC72B}" type="slidenum">
              <a:rPr lang="en-US" smtClean="0"/>
              <a:t>135</a:t>
            </a:fld>
            <a:endParaRPr lang="en-US"/>
          </a:p>
        </p:txBody>
      </p:sp>
    </p:spTree>
    <p:extLst>
      <p:ext uri="{BB962C8B-B14F-4D97-AF65-F5344CB8AC3E}">
        <p14:creationId xmlns:p14="http://schemas.microsoft.com/office/powerpoint/2010/main" val="3411005341"/>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checklist, table</a:t>
            </a:r>
            <a:endParaRPr lang="en-US" dirty="0"/>
          </a:p>
        </p:txBody>
      </p:sp>
      <p:sp>
        <p:nvSpPr>
          <p:cNvPr id="4" name="Slide Number Placeholder 3"/>
          <p:cNvSpPr>
            <a:spLocks noGrp="1"/>
          </p:cNvSpPr>
          <p:nvPr>
            <p:ph type="sldNum" sz="quarter" idx="10"/>
          </p:nvPr>
        </p:nvSpPr>
        <p:spPr/>
        <p:txBody>
          <a:bodyPr/>
          <a:lstStyle/>
          <a:p>
            <a:fld id="{5EDD572C-0642-445C-95EA-9BF60C5DC72B}" type="slidenum">
              <a:rPr lang="en-US" smtClean="0"/>
              <a:t>136</a:t>
            </a:fld>
            <a:endParaRPr lang="en-US"/>
          </a:p>
        </p:txBody>
      </p:sp>
    </p:spTree>
    <p:extLst>
      <p:ext uri="{BB962C8B-B14F-4D97-AF65-F5344CB8AC3E}">
        <p14:creationId xmlns:p14="http://schemas.microsoft.com/office/powerpoint/2010/main" val="794546438"/>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able, box, segment, menu</a:t>
            </a:r>
          </a:p>
        </p:txBody>
      </p:sp>
      <p:sp>
        <p:nvSpPr>
          <p:cNvPr id="4" name="Slide Number Placeholder 3"/>
          <p:cNvSpPr>
            <a:spLocks noGrp="1"/>
          </p:cNvSpPr>
          <p:nvPr>
            <p:ph type="sldNum" sz="quarter" idx="10"/>
          </p:nvPr>
        </p:nvSpPr>
        <p:spPr/>
        <p:txBody>
          <a:bodyPr/>
          <a:lstStyle/>
          <a:p>
            <a:fld id="{5EDD572C-0642-445C-95EA-9BF60C5DC72B}" type="slidenum">
              <a:rPr lang="en-US" smtClean="0"/>
              <a:t>137</a:t>
            </a:fld>
            <a:endParaRPr lang="en-US"/>
          </a:p>
        </p:txBody>
      </p:sp>
    </p:spTree>
    <p:extLst>
      <p:ext uri="{BB962C8B-B14F-4D97-AF65-F5344CB8AC3E}">
        <p14:creationId xmlns:p14="http://schemas.microsoft.com/office/powerpoint/2010/main" val="21219660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genda, objectives, details, time, workshop</a:t>
            </a:r>
          </a:p>
        </p:txBody>
      </p:sp>
      <p:sp>
        <p:nvSpPr>
          <p:cNvPr id="4" name="Slide Number Placeholder 3"/>
          <p:cNvSpPr>
            <a:spLocks noGrp="1"/>
          </p:cNvSpPr>
          <p:nvPr>
            <p:ph type="sldNum" sz="quarter" idx="10"/>
          </p:nvPr>
        </p:nvSpPr>
        <p:spPr/>
        <p:txBody>
          <a:bodyPr/>
          <a:lstStyle/>
          <a:p>
            <a:fld id="{D759AF6D-BA0E-4594-94DB-478664329D2A}" type="slidenum">
              <a:rPr lang="en-US" smtClean="0"/>
              <a:t>15</a:t>
            </a:fld>
            <a:endParaRPr lang="en-US"/>
          </a:p>
        </p:txBody>
      </p:sp>
    </p:spTree>
    <p:extLst>
      <p:ext uri="{BB962C8B-B14F-4D97-AF65-F5344CB8AC3E}">
        <p14:creationId xmlns:p14="http://schemas.microsoft.com/office/powerpoint/2010/main" val="2144438075"/>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a:t>
            </a:r>
            <a:r>
              <a:rPr lang="en-US" baseline="0" dirty="0"/>
              <a:t> table, callouts, headcount</a:t>
            </a:r>
            <a:endParaRPr lang="en-US" dirty="0"/>
          </a:p>
        </p:txBody>
      </p:sp>
      <p:sp>
        <p:nvSpPr>
          <p:cNvPr id="4" name="Slide Number Placeholder 3"/>
          <p:cNvSpPr>
            <a:spLocks noGrp="1"/>
          </p:cNvSpPr>
          <p:nvPr>
            <p:ph type="sldNum" sz="quarter" idx="10"/>
          </p:nvPr>
        </p:nvSpPr>
        <p:spPr/>
        <p:txBody>
          <a:bodyPr/>
          <a:lstStyle/>
          <a:p>
            <a:fld id="{5EDD572C-0642-445C-95EA-9BF60C5DC72B}" type="slidenum">
              <a:rPr lang="en-US" smtClean="0"/>
              <a:t>138</a:t>
            </a:fld>
            <a:endParaRPr lang="en-US"/>
          </a:p>
        </p:txBody>
      </p:sp>
    </p:spTree>
    <p:extLst>
      <p:ext uri="{BB962C8B-B14F-4D97-AF65-F5344CB8AC3E}">
        <p14:creationId xmlns:p14="http://schemas.microsoft.com/office/powerpoint/2010/main" val="2524667735"/>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headcount, crawl walk run, table, phase</a:t>
            </a:r>
          </a:p>
        </p:txBody>
      </p:sp>
      <p:sp>
        <p:nvSpPr>
          <p:cNvPr id="4" name="Slide Number Placeholder 3"/>
          <p:cNvSpPr>
            <a:spLocks noGrp="1"/>
          </p:cNvSpPr>
          <p:nvPr>
            <p:ph type="sldNum" sz="quarter" idx="10"/>
          </p:nvPr>
        </p:nvSpPr>
        <p:spPr/>
        <p:txBody>
          <a:bodyPr/>
          <a:lstStyle/>
          <a:p>
            <a:fld id="{5EDD572C-0642-445C-95EA-9BF60C5DC72B}" type="slidenum">
              <a:rPr lang="en-US" smtClean="0"/>
              <a:t>139</a:t>
            </a:fld>
            <a:endParaRPr lang="en-US"/>
          </a:p>
        </p:txBody>
      </p:sp>
    </p:spTree>
    <p:extLst>
      <p:ext uri="{BB962C8B-B14F-4D97-AF65-F5344CB8AC3E}">
        <p14:creationId xmlns:p14="http://schemas.microsoft.com/office/powerpoint/2010/main" val="2395335870"/>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checklist, table, comparison, menu</a:t>
            </a:r>
          </a:p>
        </p:txBody>
      </p:sp>
      <p:sp>
        <p:nvSpPr>
          <p:cNvPr id="4" name="Slide Number Placeholder 3"/>
          <p:cNvSpPr>
            <a:spLocks noGrp="1"/>
          </p:cNvSpPr>
          <p:nvPr>
            <p:ph type="sldNum" sz="quarter" idx="10"/>
          </p:nvPr>
        </p:nvSpPr>
        <p:spPr/>
        <p:txBody>
          <a:bodyPr/>
          <a:lstStyle/>
          <a:p>
            <a:fld id="{5EDD572C-0642-445C-95EA-9BF60C5DC72B}" type="slidenum">
              <a:rPr lang="en-US" smtClean="0"/>
              <a:t>140</a:t>
            </a:fld>
            <a:endParaRPr lang="en-US"/>
          </a:p>
        </p:txBody>
      </p:sp>
    </p:spTree>
    <p:extLst>
      <p:ext uri="{BB962C8B-B14F-4D97-AF65-F5344CB8AC3E}">
        <p14:creationId xmlns:p14="http://schemas.microsoft.com/office/powerpoint/2010/main" val="4046010242"/>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menu, comparison, plans, services, table</a:t>
            </a:r>
          </a:p>
        </p:txBody>
      </p:sp>
      <p:sp>
        <p:nvSpPr>
          <p:cNvPr id="4" name="Slide Number Placeholder 3"/>
          <p:cNvSpPr>
            <a:spLocks noGrp="1"/>
          </p:cNvSpPr>
          <p:nvPr>
            <p:ph type="sldNum" sz="quarter" idx="10"/>
          </p:nvPr>
        </p:nvSpPr>
        <p:spPr/>
        <p:txBody>
          <a:bodyPr/>
          <a:lstStyle/>
          <a:p>
            <a:fld id="{5EDD572C-0642-445C-95EA-9BF60C5DC72B}" type="slidenum">
              <a:rPr lang="en-US" smtClean="0"/>
              <a:t>141</a:t>
            </a:fld>
            <a:endParaRPr lang="en-US"/>
          </a:p>
        </p:txBody>
      </p:sp>
    </p:spTree>
    <p:extLst>
      <p:ext uri="{BB962C8B-B14F-4D97-AF65-F5344CB8AC3E}">
        <p14:creationId xmlns:p14="http://schemas.microsoft.com/office/powerpoint/2010/main" val="1014402012"/>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able, deep dive, comparison</a:t>
            </a:r>
          </a:p>
        </p:txBody>
      </p:sp>
      <p:sp>
        <p:nvSpPr>
          <p:cNvPr id="4" name="Slide Number Placeholder 3"/>
          <p:cNvSpPr>
            <a:spLocks noGrp="1"/>
          </p:cNvSpPr>
          <p:nvPr>
            <p:ph type="sldNum" sz="quarter" idx="10"/>
          </p:nvPr>
        </p:nvSpPr>
        <p:spPr/>
        <p:txBody>
          <a:bodyPr/>
          <a:lstStyle/>
          <a:p>
            <a:fld id="{5EDD572C-0642-445C-95EA-9BF60C5DC72B}" type="slidenum">
              <a:rPr lang="en-US" smtClean="0"/>
              <a:t>142</a:t>
            </a:fld>
            <a:endParaRPr lang="en-US"/>
          </a:p>
        </p:txBody>
      </p:sp>
    </p:spTree>
    <p:extLst>
      <p:ext uri="{BB962C8B-B14F-4D97-AF65-F5344CB8AC3E}">
        <p14:creationId xmlns:p14="http://schemas.microsoft.com/office/powerpoint/2010/main" val="2357079214"/>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able, discount</a:t>
            </a:r>
          </a:p>
        </p:txBody>
      </p:sp>
      <p:sp>
        <p:nvSpPr>
          <p:cNvPr id="4" name="Slide Number Placeholder 3"/>
          <p:cNvSpPr>
            <a:spLocks noGrp="1"/>
          </p:cNvSpPr>
          <p:nvPr>
            <p:ph type="sldNum" sz="quarter" idx="10"/>
          </p:nvPr>
        </p:nvSpPr>
        <p:spPr/>
        <p:txBody>
          <a:bodyPr/>
          <a:lstStyle/>
          <a:p>
            <a:fld id="{5EDD572C-0642-445C-95EA-9BF60C5DC72B}" type="slidenum">
              <a:rPr lang="en-US" smtClean="0"/>
              <a:t>143</a:t>
            </a:fld>
            <a:endParaRPr lang="en-US"/>
          </a:p>
        </p:txBody>
      </p:sp>
    </p:spTree>
    <p:extLst>
      <p:ext uri="{BB962C8B-B14F-4D97-AF65-F5344CB8AC3E}">
        <p14:creationId xmlns:p14="http://schemas.microsoft.com/office/powerpoint/2010/main" val="2920437245"/>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able, callouts, plan</a:t>
            </a:r>
          </a:p>
        </p:txBody>
      </p:sp>
      <p:sp>
        <p:nvSpPr>
          <p:cNvPr id="4" name="Slide Number Placeholder 3"/>
          <p:cNvSpPr>
            <a:spLocks noGrp="1"/>
          </p:cNvSpPr>
          <p:nvPr>
            <p:ph type="sldNum" sz="quarter" idx="10"/>
          </p:nvPr>
        </p:nvSpPr>
        <p:spPr/>
        <p:txBody>
          <a:bodyPr/>
          <a:lstStyle/>
          <a:p>
            <a:fld id="{5EDD572C-0642-445C-95EA-9BF60C5DC72B}" type="slidenum">
              <a:rPr lang="en-US" smtClean="0"/>
              <a:t>144</a:t>
            </a:fld>
            <a:endParaRPr lang="en-US"/>
          </a:p>
        </p:txBody>
      </p:sp>
    </p:spTree>
    <p:extLst>
      <p:ext uri="{BB962C8B-B14F-4D97-AF65-F5344CB8AC3E}">
        <p14:creationId xmlns:p14="http://schemas.microsoft.com/office/powerpoint/2010/main" val="4261949615"/>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next steps, text, boxes</a:t>
            </a:r>
          </a:p>
        </p:txBody>
      </p:sp>
      <p:sp>
        <p:nvSpPr>
          <p:cNvPr id="4" name="Slide Number Placeholder 3"/>
          <p:cNvSpPr>
            <a:spLocks noGrp="1"/>
          </p:cNvSpPr>
          <p:nvPr>
            <p:ph type="sldNum" sz="quarter" idx="10"/>
          </p:nvPr>
        </p:nvSpPr>
        <p:spPr/>
        <p:txBody>
          <a:bodyPr/>
          <a:lstStyle/>
          <a:p>
            <a:fld id="{5EDD572C-0642-445C-95EA-9BF60C5DC72B}" type="slidenum">
              <a:rPr lang="en-US" smtClean="0"/>
              <a:t>145</a:t>
            </a:fld>
            <a:endParaRPr lang="en-US"/>
          </a:p>
        </p:txBody>
      </p:sp>
    </p:spTree>
    <p:extLst>
      <p:ext uri="{BB962C8B-B14F-4D97-AF65-F5344CB8AC3E}">
        <p14:creationId xmlns:p14="http://schemas.microsoft.com/office/powerpoint/2010/main" val="4152326366"/>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a:t>
            </a:r>
            <a:r>
              <a:rPr lang="en-US" baseline="0" dirty="0"/>
              <a:t> capabilities, tables, approach, process</a:t>
            </a:r>
            <a:endParaRPr lang="en-US" dirty="0"/>
          </a:p>
        </p:txBody>
      </p:sp>
      <p:sp>
        <p:nvSpPr>
          <p:cNvPr id="4" name="Slide Number Placeholder 3"/>
          <p:cNvSpPr>
            <a:spLocks noGrp="1"/>
          </p:cNvSpPr>
          <p:nvPr>
            <p:ph type="sldNum" sz="quarter" idx="10"/>
          </p:nvPr>
        </p:nvSpPr>
        <p:spPr/>
        <p:txBody>
          <a:bodyPr/>
          <a:lstStyle/>
          <a:p>
            <a:fld id="{5EDD572C-0642-445C-95EA-9BF60C5DC72B}" type="slidenum">
              <a:rPr lang="en-US" smtClean="0"/>
              <a:t>146</a:t>
            </a:fld>
            <a:endParaRPr lang="en-US"/>
          </a:p>
        </p:txBody>
      </p:sp>
    </p:spTree>
    <p:extLst>
      <p:ext uri="{BB962C8B-B14F-4D97-AF65-F5344CB8AC3E}">
        <p14:creationId xmlns:p14="http://schemas.microsoft.com/office/powerpoint/2010/main" val="423902086"/>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funnel, scope, chart</a:t>
            </a:r>
            <a:endParaRPr lang="en-US" dirty="0"/>
          </a:p>
        </p:txBody>
      </p:sp>
      <p:sp>
        <p:nvSpPr>
          <p:cNvPr id="4" name="Slide Number Placeholder 3"/>
          <p:cNvSpPr>
            <a:spLocks noGrp="1"/>
          </p:cNvSpPr>
          <p:nvPr>
            <p:ph type="sldNum" sz="quarter" idx="10"/>
          </p:nvPr>
        </p:nvSpPr>
        <p:spPr/>
        <p:txBody>
          <a:bodyPr/>
          <a:lstStyle/>
          <a:p>
            <a:fld id="{5EDD572C-0642-445C-95EA-9BF60C5DC72B}" type="slidenum">
              <a:rPr lang="en-US" smtClean="0"/>
              <a:t>147</a:t>
            </a:fld>
            <a:endParaRPr lang="en-US"/>
          </a:p>
        </p:txBody>
      </p:sp>
    </p:spTree>
    <p:extLst>
      <p:ext uri="{BB962C8B-B14F-4D97-AF65-F5344CB8AC3E}">
        <p14:creationId xmlns:p14="http://schemas.microsoft.com/office/powerpoint/2010/main" val="14583387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genda, objectives, workshop, time, duration</a:t>
            </a:r>
          </a:p>
        </p:txBody>
      </p:sp>
      <p:sp>
        <p:nvSpPr>
          <p:cNvPr id="4" name="Slide Number Placeholder 3"/>
          <p:cNvSpPr>
            <a:spLocks noGrp="1"/>
          </p:cNvSpPr>
          <p:nvPr>
            <p:ph type="sldNum" sz="quarter" idx="10"/>
          </p:nvPr>
        </p:nvSpPr>
        <p:spPr/>
        <p:txBody>
          <a:bodyPr/>
          <a:lstStyle/>
          <a:p>
            <a:fld id="{D759AF6D-BA0E-4594-94DB-478664329D2A}" type="slidenum">
              <a:rPr lang="en-US" smtClean="0"/>
              <a:t>16</a:t>
            </a:fld>
            <a:endParaRPr lang="en-US"/>
          </a:p>
        </p:txBody>
      </p:sp>
    </p:spTree>
    <p:extLst>
      <p:ext uri="{BB962C8B-B14F-4D97-AF65-F5344CB8AC3E}">
        <p14:creationId xmlns:p14="http://schemas.microsoft.com/office/powerpoint/2010/main" val="924230393"/>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able, menu, comparison</a:t>
            </a:r>
          </a:p>
        </p:txBody>
      </p:sp>
      <p:sp>
        <p:nvSpPr>
          <p:cNvPr id="4" name="Slide Number Placeholder 3"/>
          <p:cNvSpPr>
            <a:spLocks noGrp="1"/>
          </p:cNvSpPr>
          <p:nvPr>
            <p:ph type="sldNum" sz="quarter" idx="10"/>
          </p:nvPr>
        </p:nvSpPr>
        <p:spPr/>
        <p:txBody>
          <a:bodyPr/>
          <a:lstStyle/>
          <a:p>
            <a:fld id="{5EDD572C-0642-445C-95EA-9BF60C5DC72B}" type="slidenum">
              <a:rPr lang="en-US" smtClean="0"/>
              <a:t>148</a:t>
            </a:fld>
            <a:endParaRPr lang="en-US"/>
          </a:p>
        </p:txBody>
      </p:sp>
    </p:spTree>
    <p:extLst>
      <p:ext uri="{BB962C8B-B14F-4D97-AF65-F5344CB8AC3E}">
        <p14:creationId xmlns:p14="http://schemas.microsoft.com/office/powerpoint/2010/main" val="456957143"/>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able, content, text</a:t>
            </a:r>
          </a:p>
        </p:txBody>
      </p:sp>
      <p:sp>
        <p:nvSpPr>
          <p:cNvPr id="4" name="Slide Number Placeholder 3"/>
          <p:cNvSpPr>
            <a:spLocks noGrp="1"/>
          </p:cNvSpPr>
          <p:nvPr>
            <p:ph type="sldNum" sz="quarter" idx="10"/>
          </p:nvPr>
        </p:nvSpPr>
        <p:spPr/>
        <p:txBody>
          <a:bodyPr/>
          <a:lstStyle/>
          <a:p>
            <a:fld id="{5EDD572C-0642-445C-95EA-9BF60C5DC72B}" type="slidenum">
              <a:rPr lang="en-US" smtClean="0"/>
              <a:t>149</a:t>
            </a:fld>
            <a:endParaRPr lang="en-US"/>
          </a:p>
        </p:txBody>
      </p:sp>
    </p:spTree>
    <p:extLst>
      <p:ext uri="{BB962C8B-B14F-4D97-AF65-F5344CB8AC3E}">
        <p14:creationId xmlns:p14="http://schemas.microsoft.com/office/powerpoint/2010/main" val="3550683972"/>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boxes, comparison, tables</a:t>
            </a:r>
          </a:p>
        </p:txBody>
      </p:sp>
      <p:sp>
        <p:nvSpPr>
          <p:cNvPr id="4" name="Slide Number Placeholder 3"/>
          <p:cNvSpPr>
            <a:spLocks noGrp="1"/>
          </p:cNvSpPr>
          <p:nvPr>
            <p:ph type="sldNum" sz="quarter" idx="10"/>
          </p:nvPr>
        </p:nvSpPr>
        <p:spPr/>
        <p:txBody>
          <a:bodyPr/>
          <a:lstStyle/>
          <a:p>
            <a:fld id="{5EDD572C-0642-445C-95EA-9BF60C5DC72B}" type="slidenum">
              <a:rPr lang="en-US" smtClean="0"/>
              <a:t>150</a:t>
            </a:fld>
            <a:endParaRPr lang="en-US"/>
          </a:p>
        </p:txBody>
      </p:sp>
    </p:spTree>
    <p:extLst>
      <p:ext uri="{BB962C8B-B14F-4D97-AF65-F5344CB8AC3E}">
        <p14:creationId xmlns:p14="http://schemas.microsoft.com/office/powerpoint/2010/main" val="1937765533"/>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comparison, tables</a:t>
            </a:r>
          </a:p>
        </p:txBody>
      </p:sp>
      <p:sp>
        <p:nvSpPr>
          <p:cNvPr id="4" name="Slide Number Placeholder 3"/>
          <p:cNvSpPr>
            <a:spLocks noGrp="1"/>
          </p:cNvSpPr>
          <p:nvPr>
            <p:ph type="sldNum" sz="quarter" idx="10"/>
          </p:nvPr>
        </p:nvSpPr>
        <p:spPr/>
        <p:txBody>
          <a:bodyPr/>
          <a:lstStyle/>
          <a:p>
            <a:fld id="{5EDD572C-0642-445C-95EA-9BF60C5DC72B}" type="slidenum">
              <a:rPr lang="en-US" smtClean="0"/>
              <a:t>151</a:t>
            </a:fld>
            <a:endParaRPr lang="en-US"/>
          </a:p>
        </p:txBody>
      </p:sp>
    </p:spTree>
    <p:extLst>
      <p:ext uri="{BB962C8B-B14F-4D97-AF65-F5344CB8AC3E}">
        <p14:creationId xmlns:p14="http://schemas.microsoft.com/office/powerpoint/2010/main" val="2153532517"/>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pproach</a:t>
            </a:r>
            <a:r>
              <a:rPr lang="en-US" baseline="0" dirty="0"/>
              <a:t>, case study, </a:t>
            </a:r>
            <a:r>
              <a:rPr lang="en-US" baseline="0" dirty="0" err="1"/>
              <a:t>qual</a:t>
            </a:r>
            <a:r>
              <a:rPr lang="en-US" baseline="0" dirty="0"/>
              <a:t>, table, text box</a:t>
            </a:r>
            <a:endParaRPr lang="en-US" dirty="0"/>
          </a:p>
        </p:txBody>
      </p:sp>
      <p:sp>
        <p:nvSpPr>
          <p:cNvPr id="4" name="Slide Number Placeholder 3"/>
          <p:cNvSpPr>
            <a:spLocks noGrp="1"/>
          </p:cNvSpPr>
          <p:nvPr>
            <p:ph type="sldNum" sz="quarter" idx="10"/>
          </p:nvPr>
        </p:nvSpPr>
        <p:spPr/>
        <p:txBody>
          <a:bodyPr/>
          <a:lstStyle/>
          <a:p>
            <a:fld id="{5EDD572C-0642-445C-95EA-9BF60C5DC72B}" type="slidenum">
              <a:rPr lang="en-US" smtClean="0"/>
              <a:t>152</a:t>
            </a:fld>
            <a:endParaRPr lang="en-US"/>
          </a:p>
        </p:txBody>
      </p:sp>
    </p:spTree>
    <p:extLst>
      <p:ext uri="{BB962C8B-B14F-4D97-AF65-F5344CB8AC3E}">
        <p14:creationId xmlns:p14="http://schemas.microsoft.com/office/powerpoint/2010/main" val="3020327140"/>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akeaways, graphic, sidebar, panel</a:t>
            </a:r>
          </a:p>
        </p:txBody>
      </p:sp>
      <p:sp>
        <p:nvSpPr>
          <p:cNvPr id="4" name="Slide Number Placeholder 3"/>
          <p:cNvSpPr>
            <a:spLocks noGrp="1"/>
          </p:cNvSpPr>
          <p:nvPr>
            <p:ph type="sldNum" sz="quarter" idx="10"/>
          </p:nvPr>
        </p:nvSpPr>
        <p:spPr/>
        <p:txBody>
          <a:bodyPr/>
          <a:lstStyle/>
          <a:p>
            <a:fld id="{5EDD572C-0642-445C-95EA-9BF60C5DC72B}" type="slidenum">
              <a:rPr lang="en-US" smtClean="0"/>
              <a:t>153</a:t>
            </a:fld>
            <a:endParaRPr lang="en-US"/>
          </a:p>
        </p:txBody>
      </p:sp>
    </p:spTree>
    <p:extLst>
      <p:ext uri="{BB962C8B-B14F-4D97-AF65-F5344CB8AC3E}">
        <p14:creationId xmlns:p14="http://schemas.microsoft.com/office/powerpoint/2010/main" val="1685398306"/>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checklist, table, strategy</a:t>
            </a:r>
          </a:p>
        </p:txBody>
      </p:sp>
      <p:sp>
        <p:nvSpPr>
          <p:cNvPr id="4" name="Slide Number Placeholder 3"/>
          <p:cNvSpPr>
            <a:spLocks noGrp="1"/>
          </p:cNvSpPr>
          <p:nvPr>
            <p:ph type="sldNum" sz="quarter" idx="10"/>
          </p:nvPr>
        </p:nvSpPr>
        <p:spPr/>
        <p:txBody>
          <a:bodyPr/>
          <a:lstStyle/>
          <a:p>
            <a:fld id="{5EDD572C-0642-445C-95EA-9BF60C5DC72B}" type="slidenum">
              <a:rPr lang="en-US" smtClean="0"/>
              <a:t>154</a:t>
            </a:fld>
            <a:endParaRPr lang="en-US"/>
          </a:p>
        </p:txBody>
      </p:sp>
    </p:spTree>
    <p:extLst>
      <p:ext uri="{BB962C8B-B14F-4D97-AF65-F5344CB8AC3E}">
        <p14:creationId xmlns:p14="http://schemas.microsoft.com/office/powerpoint/2010/main" val="3500212690"/>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us, project update, high medium low</a:t>
            </a:r>
          </a:p>
        </p:txBody>
      </p:sp>
      <p:sp>
        <p:nvSpPr>
          <p:cNvPr id="4" name="Slide Number Placeholder 3"/>
          <p:cNvSpPr>
            <a:spLocks noGrp="1"/>
          </p:cNvSpPr>
          <p:nvPr>
            <p:ph type="sldNum" sz="quarter" idx="10"/>
          </p:nvPr>
        </p:nvSpPr>
        <p:spPr/>
        <p:txBody>
          <a:bodyPr/>
          <a:lstStyle/>
          <a:p>
            <a:fld id="{5EDD572C-0642-445C-95EA-9BF60C5DC72B}" type="slidenum">
              <a:rPr lang="en-US" smtClean="0"/>
              <a:t>155</a:t>
            </a:fld>
            <a:endParaRPr lang="en-US"/>
          </a:p>
        </p:txBody>
      </p:sp>
    </p:spTree>
    <p:extLst>
      <p:ext uri="{BB962C8B-B14F-4D97-AF65-F5344CB8AC3E}">
        <p14:creationId xmlns:p14="http://schemas.microsoft.com/office/powerpoint/2010/main" val="1433196401"/>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checklist, table</a:t>
            </a:r>
          </a:p>
        </p:txBody>
      </p:sp>
      <p:sp>
        <p:nvSpPr>
          <p:cNvPr id="4" name="Slide Number Placeholder 3"/>
          <p:cNvSpPr>
            <a:spLocks noGrp="1"/>
          </p:cNvSpPr>
          <p:nvPr>
            <p:ph type="sldNum" sz="quarter" idx="10"/>
          </p:nvPr>
        </p:nvSpPr>
        <p:spPr/>
        <p:txBody>
          <a:bodyPr/>
          <a:lstStyle/>
          <a:p>
            <a:fld id="{5EDD572C-0642-445C-95EA-9BF60C5DC72B}" type="slidenum">
              <a:rPr lang="en-US" smtClean="0"/>
              <a:t>156</a:t>
            </a:fld>
            <a:endParaRPr lang="en-US"/>
          </a:p>
        </p:txBody>
      </p:sp>
    </p:spTree>
    <p:extLst>
      <p:ext uri="{BB962C8B-B14F-4D97-AF65-F5344CB8AC3E}">
        <p14:creationId xmlns:p14="http://schemas.microsoft.com/office/powerpoint/2010/main" val="2249128381"/>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t>
            </a:r>
            <a:r>
              <a:rPr lang="en-US" dirty="0" err="1"/>
              <a:t>gantt</a:t>
            </a:r>
            <a:r>
              <a:rPr lang="en-US" dirty="0"/>
              <a:t> chart, table</a:t>
            </a:r>
          </a:p>
        </p:txBody>
      </p:sp>
      <p:sp>
        <p:nvSpPr>
          <p:cNvPr id="4" name="Slide Number Placeholder 3"/>
          <p:cNvSpPr>
            <a:spLocks noGrp="1"/>
          </p:cNvSpPr>
          <p:nvPr>
            <p:ph type="sldNum" sz="quarter" idx="10"/>
          </p:nvPr>
        </p:nvSpPr>
        <p:spPr/>
        <p:txBody>
          <a:bodyPr/>
          <a:lstStyle/>
          <a:p>
            <a:fld id="{5EDD572C-0642-445C-95EA-9BF60C5DC72B}" type="slidenum">
              <a:rPr lang="en-US" smtClean="0"/>
              <a:t>157</a:t>
            </a:fld>
            <a:endParaRPr lang="en-US"/>
          </a:p>
        </p:txBody>
      </p:sp>
    </p:spTree>
    <p:extLst>
      <p:ext uri="{BB962C8B-B14F-4D97-AF65-F5344CB8AC3E}">
        <p14:creationId xmlns:p14="http://schemas.microsoft.com/office/powerpoint/2010/main" val="35480330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genda, workshop, time, details, objectives, icons</a:t>
            </a:r>
          </a:p>
        </p:txBody>
      </p:sp>
      <p:sp>
        <p:nvSpPr>
          <p:cNvPr id="4" name="Slide Number Placeholder 3"/>
          <p:cNvSpPr>
            <a:spLocks noGrp="1"/>
          </p:cNvSpPr>
          <p:nvPr>
            <p:ph type="sldNum" sz="quarter" idx="10"/>
          </p:nvPr>
        </p:nvSpPr>
        <p:spPr/>
        <p:txBody>
          <a:bodyPr/>
          <a:lstStyle/>
          <a:p>
            <a:fld id="{D759AF6D-BA0E-4594-94DB-478664329D2A}" type="slidenum">
              <a:rPr lang="en-US" smtClean="0"/>
              <a:t>17</a:t>
            </a:fld>
            <a:endParaRPr lang="en-US"/>
          </a:p>
        </p:txBody>
      </p:sp>
    </p:spTree>
    <p:extLst>
      <p:ext uri="{BB962C8B-B14F-4D97-AF65-F5344CB8AC3E}">
        <p14:creationId xmlns:p14="http://schemas.microsoft.com/office/powerpoint/2010/main" val="2474827555"/>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 DNA, </a:t>
            </a:r>
            <a:r>
              <a:rPr lang="en-US" dirty="0" err="1"/>
              <a:t>qual</a:t>
            </a:r>
            <a:r>
              <a:rPr lang="en-US" dirty="0"/>
              <a:t>, case study, example</a:t>
            </a:r>
          </a:p>
        </p:txBody>
      </p:sp>
      <p:sp>
        <p:nvSpPr>
          <p:cNvPr id="4" name="Slide Number Placeholder 3"/>
          <p:cNvSpPr>
            <a:spLocks noGrp="1"/>
          </p:cNvSpPr>
          <p:nvPr>
            <p:ph type="sldNum" sz="quarter" idx="10"/>
          </p:nvPr>
        </p:nvSpPr>
        <p:spPr/>
        <p:txBody>
          <a:bodyPr/>
          <a:lstStyle/>
          <a:p>
            <a:fld id="{5EDD572C-0642-445C-95EA-9BF60C5DC72B}" type="slidenum">
              <a:rPr lang="en-US" smtClean="0"/>
              <a:t>158</a:t>
            </a:fld>
            <a:endParaRPr lang="en-US"/>
          </a:p>
        </p:txBody>
      </p:sp>
    </p:spTree>
    <p:extLst>
      <p:ext uri="{BB962C8B-B14F-4D97-AF65-F5344CB8AC3E}">
        <p14:creationId xmlns:p14="http://schemas.microsoft.com/office/powerpoint/2010/main" val="4073880918"/>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case study, </a:t>
            </a:r>
            <a:r>
              <a:rPr lang="en-US" dirty="0" err="1"/>
              <a:t>qual</a:t>
            </a:r>
            <a:r>
              <a:rPr lang="en-US" dirty="0"/>
              <a:t>, text</a:t>
            </a:r>
          </a:p>
        </p:txBody>
      </p:sp>
      <p:sp>
        <p:nvSpPr>
          <p:cNvPr id="4" name="Slide Number Placeholder 3"/>
          <p:cNvSpPr>
            <a:spLocks noGrp="1"/>
          </p:cNvSpPr>
          <p:nvPr>
            <p:ph type="sldNum" sz="quarter" idx="10"/>
          </p:nvPr>
        </p:nvSpPr>
        <p:spPr/>
        <p:txBody>
          <a:bodyPr/>
          <a:lstStyle/>
          <a:p>
            <a:fld id="{5EDD572C-0642-445C-95EA-9BF60C5DC72B}" type="slidenum">
              <a:rPr lang="en-US" smtClean="0"/>
              <a:t>159</a:t>
            </a:fld>
            <a:endParaRPr lang="en-US"/>
          </a:p>
        </p:txBody>
      </p:sp>
    </p:spTree>
    <p:extLst>
      <p:ext uri="{BB962C8B-B14F-4D97-AF65-F5344CB8AC3E}">
        <p14:creationId xmlns:p14="http://schemas.microsoft.com/office/powerpoint/2010/main" val="1706871434"/>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a:t>
            </a:r>
            <a:r>
              <a:rPr lang="en-US" baseline="0" dirty="0"/>
              <a:t> interviews, text, survey, content</a:t>
            </a:r>
            <a:endParaRPr lang="en-US" dirty="0"/>
          </a:p>
        </p:txBody>
      </p:sp>
      <p:sp>
        <p:nvSpPr>
          <p:cNvPr id="4" name="Slide Number Placeholder 3"/>
          <p:cNvSpPr>
            <a:spLocks noGrp="1"/>
          </p:cNvSpPr>
          <p:nvPr>
            <p:ph type="sldNum" sz="quarter" idx="10"/>
          </p:nvPr>
        </p:nvSpPr>
        <p:spPr/>
        <p:txBody>
          <a:bodyPr/>
          <a:lstStyle/>
          <a:p>
            <a:fld id="{5EDD572C-0642-445C-95EA-9BF60C5DC72B}" type="slidenum">
              <a:rPr lang="en-US" smtClean="0"/>
              <a:t>160</a:t>
            </a:fld>
            <a:endParaRPr lang="en-US"/>
          </a:p>
        </p:txBody>
      </p:sp>
    </p:spTree>
    <p:extLst>
      <p:ext uri="{BB962C8B-B14F-4D97-AF65-F5344CB8AC3E}">
        <p14:creationId xmlns:p14="http://schemas.microsoft.com/office/powerpoint/2010/main" val="1949560202"/>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 approach, scale, table, comparison</a:t>
            </a:r>
          </a:p>
        </p:txBody>
      </p:sp>
      <p:sp>
        <p:nvSpPr>
          <p:cNvPr id="4" name="Slide Number Placeholder 3"/>
          <p:cNvSpPr>
            <a:spLocks noGrp="1"/>
          </p:cNvSpPr>
          <p:nvPr>
            <p:ph type="sldNum" sz="quarter" idx="10"/>
          </p:nvPr>
        </p:nvSpPr>
        <p:spPr/>
        <p:txBody>
          <a:bodyPr/>
          <a:lstStyle/>
          <a:p>
            <a:fld id="{5689E7E8-36E4-467C-8300-85BCF6933FBA}" type="slidenum">
              <a:rPr lang="en-US" smtClean="0"/>
              <a:t>161</a:t>
            </a:fld>
            <a:endParaRPr lang="en-US"/>
          </a:p>
        </p:txBody>
      </p:sp>
    </p:spTree>
    <p:extLst>
      <p:ext uri="{BB962C8B-B14F-4D97-AF65-F5344CB8AC3E}">
        <p14:creationId xmlns:p14="http://schemas.microsoft.com/office/powerpoint/2010/main" val="533831257"/>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building blocks, infographic, box, text</a:t>
            </a:r>
          </a:p>
        </p:txBody>
      </p:sp>
      <p:sp>
        <p:nvSpPr>
          <p:cNvPr id="4" name="Slide Number Placeholder 3"/>
          <p:cNvSpPr>
            <a:spLocks noGrp="1"/>
          </p:cNvSpPr>
          <p:nvPr>
            <p:ph type="sldNum" sz="quarter" idx="10"/>
          </p:nvPr>
        </p:nvSpPr>
        <p:spPr/>
        <p:txBody>
          <a:bodyPr/>
          <a:lstStyle/>
          <a:p>
            <a:fld id="{320E634F-F277-46F4-BC93-3910B600E9D0}" type="slidenum">
              <a:rPr lang="en-US" smtClean="0"/>
              <a:t>163</a:t>
            </a:fld>
            <a:endParaRPr lang="en-US"/>
          </a:p>
        </p:txBody>
      </p:sp>
    </p:spTree>
    <p:extLst>
      <p:ext uri="{BB962C8B-B14F-4D97-AF65-F5344CB8AC3E}">
        <p14:creationId xmlns:p14="http://schemas.microsoft.com/office/powerpoint/2010/main" val="3594628481"/>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crowdsourcing, logos</a:t>
            </a:r>
            <a:endParaRPr lang="en-US" dirty="0"/>
          </a:p>
        </p:txBody>
      </p:sp>
      <p:sp>
        <p:nvSpPr>
          <p:cNvPr id="4" name="Slide Number Placeholder 3"/>
          <p:cNvSpPr>
            <a:spLocks noGrp="1"/>
          </p:cNvSpPr>
          <p:nvPr>
            <p:ph type="sldNum" sz="quarter" idx="10"/>
          </p:nvPr>
        </p:nvSpPr>
        <p:spPr/>
        <p:txBody>
          <a:bodyPr/>
          <a:lstStyle/>
          <a:p>
            <a:fld id="{320E634F-F277-46F4-BC93-3910B600E9D0}" type="slidenum">
              <a:rPr lang="en-US" smtClean="0"/>
              <a:t>164</a:t>
            </a:fld>
            <a:endParaRPr lang="en-US"/>
          </a:p>
        </p:txBody>
      </p:sp>
    </p:spTree>
    <p:extLst>
      <p:ext uri="{BB962C8B-B14F-4D97-AF65-F5344CB8AC3E}">
        <p14:creationId xmlns:p14="http://schemas.microsoft.com/office/powerpoint/2010/main" val="2261432205"/>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t>
            </a:r>
            <a:r>
              <a:rPr lang="en-US" dirty="0" err="1"/>
              <a:t>venn</a:t>
            </a:r>
            <a:r>
              <a:rPr lang="en-US" dirty="0"/>
              <a:t> diagram, chart</a:t>
            </a:r>
            <a:r>
              <a:rPr lang="en-US" baseline="0" dirty="0"/>
              <a:t> </a:t>
            </a:r>
            <a:endParaRPr lang="en-US" dirty="0"/>
          </a:p>
        </p:txBody>
      </p:sp>
      <p:sp>
        <p:nvSpPr>
          <p:cNvPr id="4" name="Slide Number Placeholder 3"/>
          <p:cNvSpPr>
            <a:spLocks noGrp="1"/>
          </p:cNvSpPr>
          <p:nvPr>
            <p:ph type="sldNum" sz="quarter" idx="10"/>
          </p:nvPr>
        </p:nvSpPr>
        <p:spPr/>
        <p:txBody>
          <a:bodyPr/>
          <a:lstStyle/>
          <a:p>
            <a:fld id="{320E634F-F277-46F4-BC93-3910B600E9D0}" type="slidenum">
              <a:rPr lang="en-US" smtClean="0"/>
              <a:t>165</a:t>
            </a:fld>
            <a:endParaRPr lang="en-US"/>
          </a:p>
        </p:txBody>
      </p:sp>
    </p:spTree>
    <p:extLst>
      <p:ext uri="{BB962C8B-B14F-4D97-AF65-F5344CB8AC3E}">
        <p14:creationId xmlns:p14="http://schemas.microsoft.com/office/powerpoint/2010/main" val="2081573518"/>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Venn Diagram</a:t>
            </a:r>
            <a:endParaRPr lang="en-US" dirty="0"/>
          </a:p>
        </p:txBody>
      </p:sp>
      <p:sp>
        <p:nvSpPr>
          <p:cNvPr id="4" name="Slide Number Placeholder 3"/>
          <p:cNvSpPr>
            <a:spLocks noGrp="1"/>
          </p:cNvSpPr>
          <p:nvPr>
            <p:ph type="sldNum" sz="quarter" idx="10"/>
          </p:nvPr>
        </p:nvSpPr>
        <p:spPr/>
        <p:txBody>
          <a:bodyPr/>
          <a:lstStyle/>
          <a:p>
            <a:fld id="{320E634F-F277-46F4-BC93-3910B600E9D0}" type="slidenum">
              <a:rPr lang="en-US" smtClean="0"/>
              <a:t>166</a:t>
            </a:fld>
            <a:endParaRPr lang="en-US"/>
          </a:p>
        </p:txBody>
      </p:sp>
    </p:spTree>
    <p:extLst>
      <p:ext uri="{BB962C8B-B14F-4D97-AF65-F5344CB8AC3E}">
        <p14:creationId xmlns:p14="http://schemas.microsoft.com/office/powerpoint/2010/main" val="1055984360"/>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gile, circle</a:t>
            </a:r>
          </a:p>
        </p:txBody>
      </p:sp>
      <p:sp>
        <p:nvSpPr>
          <p:cNvPr id="4" name="Slide Number Placeholder 3"/>
          <p:cNvSpPr>
            <a:spLocks noGrp="1"/>
          </p:cNvSpPr>
          <p:nvPr>
            <p:ph type="sldNum" sz="quarter" idx="10"/>
          </p:nvPr>
        </p:nvSpPr>
        <p:spPr/>
        <p:txBody>
          <a:bodyPr/>
          <a:lstStyle/>
          <a:p>
            <a:fld id="{320E634F-F277-46F4-BC93-3910B600E9D0}" type="slidenum">
              <a:rPr lang="en-US" smtClean="0"/>
              <a:t>167</a:t>
            </a:fld>
            <a:endParaRPr lang="en-US"/>
          </a:p>
        </p:txBody>
      </p:sp>
    </p:spTree>
    <p:extLst>
      <p:ext uri="{BB962C8B-B14F-4D97-AF65-F5344CB8AC3E}">
        <p14:creationId xmlns:p14="http://schemas.microsoft.com/office/powerpoint/2010/main" val="3889845948"/>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a:t>
            </a:r>
            <a:r>
              <a:rPr lang="en-US" baseline="0" dirty="0"/>
              <a:t> Venn Diagram, arrow, future state</a:t>
            </a:r>
            <a:endParaRPr lang="en-US" dirty="0"/>
          </a:p>
        </p:txBody>
      </p:sp>
      <p:sp>
        <p:nvSpPr>
          <p:cNvPr id="4" name="Slide Number Placeholder 3"/>
          <p:cNvSpPr>
            <a:spLocks noGrp="1"/>
          </p:cNvSpPr>
          <p:nvPr>
            <p:ph type="sldNum" sz="quarter" idx="10"/>
          </p:nvPr>
        </p:nvSpPr>
        <p:spPr/>
        <p:txBody>
          <a:bodyPr/>
          <a:lstStyle/>
          <a:p>
            <a:fld id="{320E634F-F277-46F4-BC93-3910B600E9D0}" type="slidenum">
              <a:rPr lang="en-US" smtClean="0"/>
              <a:t>168</a:t>
            </a:fld>
            <a:endParaRPr lang="en-US"/>
          </a:p>
        </p:txBody>
      </p:sp>
    </p:spTree>
    <p:extLst>
      <p:ext uri="{BB962C8B-B14F-4D97-AF65-F5344CB8AC3E}">
        <p14:creationId xmlns:p14="http://schemas.microsoft.com/office/powerpoint/2010/main" val="3555000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statement, callout</a:t>
            </a:r>
            <a:endParaRPr lang="en-US" dirty="0"/>
          </a:p>
        </p:txBody>
      </p:sp>
      <p:sp>
        <p:nvSpPr>
          <p:cNvPr id="4" name="Slide Number Placeholder 3"/>
          <p:cNvSpPr>
            <a:spLocks noGrp="1"/>
          </p:cNvSpPr>
          <p:nvPr>
            <p:ph type="sldNum" sz="quarter" idx="10"/>
          </p:nvPr>
        </p:nvSpPr>
        <p:spPr/>
        <p:txBody>
          <a:bodyPr/>
          <a:lstStyle/>
          <a:p>
            <a:fld id="{D759AF6D-BA0E-4594-94DB-478664329D2A}" type="slidenum">
              <a:rPr lang="en-US" smtClean="0"/>
              <a:t>19</a:t>
            </a:fld>
            <a:endParaRPr lang="en-US"/>
          </a:p>
        </p:txBody>
      </p:sp>
    </p:spTree>
    <p:extLst>
      <p:ext uri="{BB962C8B-B14F-4D97-AF65-F5344CB8AC3E}">
        <p14:creationId xmlns:p14="http://schemas.microsoft.com/office/powerpoint/2010/main" val="1453326652"/>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Venn Diagram, icons</a:t>
            </a:r>
          </a:p>
        </p:txBody>
      </p:sp>
      <p:sp>
        <p:nvSpPr>
          <p:cNvPr id="4" name="Slide Number Placeholder 3"/>
          <p:cNvSpPr>
            <a:spLocks noGrp="1"/>
          </p:cNvSpPr>
          <p:nvPr>
            <p:ph type="sldNum" sz="quarter" idx="10"/>
          </p:nvPr>
        </p:nvSpPr>
        <p:spPr/>
        <p:txBody>
          <a:bodyPr/>
          <a:lstStyle/>
          <a:p>
            <a:fld id="{320E634F-F277-46F4-BC93-3910B600E9D0}" type="slidenum">
              <a:rPr lang="en-US" smtClean="0"/>
              <a:t>169</a:t>
            </a:fld>
            <a:endParaRPr lang="en-US"/>
          </a:p>
        </p:txBody>
      </p:sp>
    </p:spTree>
    <p:extLst>
      <p:ext uri="{BB962C8B-B14F-4D97-AF65-F5344CB8AC3E}">
        <p14:creationId xmlns:p14="http://schemas.microsoft.com/office/powerpoint/2010/main" val="1499342074"/>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capabilities, maturity, comparison, future state</a:t>
            </a:r>
          </a:p>
          <a:p>
            <a:endParaRPr lang="en-US" dirty="0"/>
          </a:p>
        </p:txBody>
      </p:sp>
      <p:sp>
        <p:nvSpPr>
          <p:cNvPr id="4" name="Slide Number Placeholder 3"/>
          <p:cNvSpPr>
            <a:spLocks noGrp="1"/>
          </p:cNvSpPr>
          <p:nvPr>
            <p:ph type="sldNum" sz="quarter" idx="10"/>
          </p:nvPr>
        </p:nvSpPr>
        <p:spPr/>
        <p:txBody>
          <a:bodyPr/>
          <a:lstStyle/>
          <a:p>
            <a:fld id="{320E634F-F277-46F4-BC93-3910B600E9D0}" type="slidenum">
              <a:rPr lang="en-US" smtClean="0"/>
              <a:t>170</a:t>
            </a:fld>
            <a:endParaRPr lang="en-US"/>
          </a:p>
        </p:txBody>
      </p:sp>
    </p:spTree>
    <p:extLst>
      <p:ext uri="{BB962C8B-B14F-4D97-AF65-F5344CB8AC3E}">
        <p14:creationId xmlns:p14="http://schemas.microsoft.com/office/powerpoint/2010/main" val="4038656116"/>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chart, icons, organization</a:t>
            </a:r>
          </a:p>
        </p:txBody>
      </p:sp>
      <p:sp>
        <p:nvSpPr>
          <p:cNvPr id="4" name="Slide Number Placeholder 3"/>
          <p:cNvSpPr>
            <a:spLocks noGrp="1"/>
          </p:cNvSpPr>
          <p:nvPr>
            <p:ph type="sldNum" sz="quarter" idx="10"/>
          </p:nvPr>
        </p:nvSpPr>
        <p:spPr/>
        <p:txBody>
          <a:bodyPr/>
          <a:lstStyle/>
          <a:p>
            <a:fld id="{320E634F-F277-46F4-BC93-3910B600E9D0}" type="slidenum">
              <a:rPr lang="en-US" smtClean="0"/>
              <a:t>171</a:t>
            </a:fld>
            <a:endParaRPr lang="en-US"/>
          </a:p>
        </p:txBody>
      </p:sp>
    </p:spTree>
    <p:extLst>
      <p:ext uri="{BB962C8B-B14F-4D97-AF65-F5344CB8AC3E}">
        <p14:creationId xmlns:p14="http://schemas.microsoft.com/office/powerpoint/2010/main" val="2262059856"/>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process, business case, visual, process flow, thumbnails</a:t>
            </a:r>
          </a:p>
          <a:p>
            <a:endParaRPr lang="en-US" dirty="0"/>
          </a:p>
        </p:txBody>
      </p:sp>
      <p:sp>
        <p:nvSpPr>
          <p:cNvPr id="4" name="Slide Number Placeholder 3"/>
          <p:cNvSpPr>
            <a:spLocks noGrp="1"/>
          </p:cNvSpPr>
          <p:nvPr>
            <p:ph type="sldNum" sz="quarter" idx="10"/>
          </p:nvPr>
        </p:nvSpPr>
        <p:spPr/>
        <p:txBody>
          <a:bodyPr/>
          <a:lstStyle/>
          <a:p>
            <a:fld id="{320E634F-F277-46F4-BC93-3910B600E9D0}" type="slidenum">
              <a:rPr lang="en-US" smtClean="0"/>
              <a:t>172</a:t>
            </a:fld>
            <a:endParaRPr lang="en-US"/>
          </a:p>
        </p:txBody>
      </p:sp>
    </p:spTree>
    <p:extLst>
      <p:ext uri="{BB962C8B-B14F-4D97-AF65-F5344CB8AC3E}">
        <p14:creationId xmlns:p14="http://schemas.microsoft.com/office/powerpoint/2010/main" val="2531376431"/>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cale, high medium low</a:t>
            </a:r>
          </a:p>
        </p:txBody>
      </p:sp>
      <p:sp>
        <p:nvSpPr>
          <p:cNvPr id="4" name="Slide Number Placeholder 3"/>
          <p:cNvSpPr>
            <a:spLocks noGrp="1"/>
          </p:cNvSpPr>
          <p:nvPr>
            <p:ph type="sldNum" sz="quarter" idx="10"/>
          </p:nvPr>
        </p:nvSpPr>
        <p:spPr/>
        <p:txBody>
          <a:bodyPr/>
          <a:lstStyle/>
          <a:p>
            <a:fld id="{320E634F-F277-46F4-BC93-3910B600E9D0}" type="slidenum">
              <a:rPr lang="en-US" smtClean="0"/>
              <a:t>173</a:t>
            </a:fld>
            <a:endParaRPr lang="en-US"/>
          </a:p>
        </p:txBody>
      </p:sp>
    </p:spTree>
    <p:extLst>
      <p:ext uri="{BB962C8B-B14F-4D97-AF65-F5344CB8AC3E}">
        <p14:creationId xmlns:p14="http://schemas.microsoft.com/office/powerpoint/2010/main" val="1992612115"/>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industry, landscape, chart</a:t>
            </a:r>
          </a:p>
        </p:txBody>
      </p:sp>
      <p:sp>
        <p:nvSpPr>
          <p:cNvPr id="4" name="Slide Number Placeholder 3"/>
          <p:cNvSpPr>
            <a:spLocks noGrp="1"/>
          </p:cNvSpPr>
          <p:nvPr>
            <p:ph type="sldNum" sz="quarter" idx="10"/>
          </p:nvPr>
        </p:nvSpPr>
        <p:spPr/>
        <p:txBody>
          <a:bodyPr/>
          <a:lstStyle/>
          <a:p>
            <a:fld id="{320E634F-F277-46F4-BC93-3910B600E9D0}" type="slidenum">
              <a:rPr lang="en-US" smtClean="0"/>
              <a:t>174</a:t>
            </a:fld>
            <a:endParaRPr lang="en-US"/>
          </a:p>
        </p:txBody>
      </p:sp>
    </p:spTree>
    <p:extLst>
      <p:ext uri="{BB962C8B-B14F-4D97-AF65-F5344CB8AC3E}">
        <p14:creationId xmlns:p14="http://schemas.microsoft.com/office/powerpoint/2010/main" val="3750463303"/>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infographic, thumbnail, logo, formula, equation, CX, customer experience</a:t>
            </a:r>
          </a:p>
          <a:p>
            <a:endParaRPr lang="en-US" dirty="0"/>
          </a:p>
        </p:txBody>
      </p:sp>
      <p:sp>
        <p:nvSpPr>
          <p:cNvPr id="4" name="Slide Number Placeholder 3"/>
          <p:cNvSpPr>
            <a:spLocks noGrp="1"/>
          </p:cNvSpPr>
          <p:nvPr>
            <p:ph type="sldNum" sz="quarter" idx="10"/>
          </p:nvPr>
        </p:nvSpPr>
        <p:spPr/>
        <p:txBody>
          <a:bodyPr/>
          <a:lstStyle/>
          <a:p>
            <a:fld id="{320E634F-F277-46F4-BC93-3910B600E9D0}" type="slidenum">
              <a:rPr lang="en-US" smtClean="0"/>
              <a:t>175</a:t>
            </a:fld>
            <a:endParaRPr lang="en-US"/>
          </a:p>
        </p:txBody>
      </p:sp>
    </p:spTree>
    <p:extLst>
      <p:ext uri="{BB962C8B-B14F-4D97-AF65-F5344CB8AC3E}">
        <p14:creationId xmlns:p14="http://schemas.microsoft.com/office/powerpoint/2010/main" val="2094521180"/>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calculation, formula, equation</a:t>
            </a:r>
          </a:p>
        </p:txBody>
      </p:sp>
      <p:sp>
        <p:nvSpPr>
          <p:cNvPr id="4" name="Slide Number Placeholder 3"/>
          <p:cNvSpPr>
            <a:spLocks noGrp="1"/>
          </p:cNvSpPr>
          <p:nvPr>
            <p:ph type="sldNum" sz="quarter" idx="10"/>
          </p:nvPr>
        </p:nvSpPr>
        <p:spPr/>
        <p:txBody>
          <a:bodyPr/>
          <a:lstStyle/>
          <a:p>
            <a:fld id="{320E634F-F277-46F4-BC93-3910B600E9D0}" type="slidenum">
              <a:rPr lang="en-US" smtClean="0"/>
              <a:t>176</a:t>
            </a:fld>
            <a:endParaRPr lang="en-US"/>
          </a:p>
        </p:txBody>
      </p:sp>
    </p:spTree>
    <p:extLst>
      <p:ext uri="{BB962C8B-B14F-4D97-AF65-F5344CB8AC3E}">
        <p14:creationId xmlns:p14="http://schemas.microsoft.com/office/powerpoint/2010/main" val="600340593"/>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calculation, formula, equation</a:t>
            </a:r>
          </a:p>
        </p:txBody>
      </p:sp>
      <p:sp>
        <p:nvSpPr>
          <p:cNvPr id="4" name="Slide Number Placeholder 3"/>
          <p:cNvSpPr>
            <a:spLocks noGrp="1"/>
          </p:cNvSpPr>
          <p:nvPr>
            <p:ph type="sldNum" sz="quarter" idx="10"/>
          </p:nvPr>
        </p:nvSpPr>
        <p:spPr/>
        <p:txBody>
          <a:bodyPr/>
          <a:lstStyle/>
          <a:p>
            <a:fld id="{320E634F-F277-46F4-BC93-3910B600E9D0}" type="slidenum">
              <a:rPr lang="en-US" smtClean="0"/>
              <a:t>177</a:t>
            </a:fld>
            <a:endParaRPr lang="en-US"/>
          </a:p>
        </p:txBody>
      </p:sp>
    </p:spTree>
    <p:extLst>
      <p:ext uri="{BB962C8B-B14F-4D97-AF65-F5344CB8AC3E}">
        <p14:creationId xmlns:p14="http://schemas.microsoft.com/office/powerpoint/2010/main" val="3696166977"/>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scale, icons, process, high to low</a:t>
            </a:r>
            <a:endParaRPr lang="en-US" dirty="0"/>
          </a:p>
        </p:txBody>
      </p:sp>
      <p:sp>
        <p:nvSpPr>
          <p:cNvPr id="4" name="Slide Number Placeholder 3"/>
          <p:cNvSpPr>
            <a:spLocks noGrp="1"/>
          </p:cNvSpPr>
          <p:nvPr>
            <p:ph type="sldNum" sz="quarter" idx="10"/>
          </p:nvPr>
        </p:nvSpPr>
        <p:spPr/>
        <p:txBody>
          <a:bodyPr/>
          <a:lstStyle/>
          <a:p>
            <a:fld id="{320E634F-F277-46F4-BC93-3910B600E9D0}" type="slidenum">
              <a:rPr lang="en-US" smtClean="0"/>
              <a:t>178</a:t>
            </a:fld>
            <a:endParaRPr lang="en-US"/>
          </a:p>
        </p:txBody>
      </p:sp>
    </p:spTree>
    <p:extLst>
      <p:ext uri="{BB962C8B-B14F-4D97-AF65-F5344CB8AC3E}">
        <p14:creationId xmlns:p14="http://schemas.microsoft.com/office/powerpoint/2010/main" val="22601274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ement, executive summary, overview</a:t>
            </a:r>
          </a:p>
        </p:txBody>
      </p:sp>
      <p:sp>
        <p:nvSpPr>
          <p:cNvPr id="4" name="Slide Number Placeholder 3"/>
          <p:cNvSpPr>
            <a:spLocks noGrp="1"/>
          </p:cNvSpPr>
          <p:nvPr>
            <p:ph type="sldNum" sz="quarter" idx="10"/>
          </p:nvPr>
        </p:nvSpPr>
        <p:spPr/>
        <p:txBody>
          <a:bodyPr/>
          <a:lstStyle/>
          <a:p>
            <a:fld id="{D759AF6D-BA0E-4594-94DB-478664329D2A}" type="slidenum">
              <a:rPr lang="en-US" smtClean="0"/>
              <a:t>20</a:t>
            </a:fld>
            <a:endParaRPr lang="en-US"/>
          </a:p>
        </p:txBody>
      </p:sp>
    </p:spTree>
    <p:extLst>
      <p:ext uri="{BB962C8B-B14F-4D97-AF65-F5344CB8AC3E}">
        <p14:creationId xmlns:p14="http://schemas.microsoft.com/office/powerpoint/2010/main" val="1273747240"/>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funnel, chart, key questions</a:t>
            </a:r>
          </a:p>
        </p:txBody>
      </p:sp>
      <p:sp>
        <p:nvSpPr>
          <p:cNvPr id="4" name="Slide Number Placeholder 3"/>
          <p:cNvSpPr>
            <a:spLocks noGrp="1"/>
          </p:cNvSpPr>
          <p:nvPr>
            <p:ph type="sldNum" sz="quarter" idx="10"/>
          </p:nvPr>
        </p:nvSpPr>
        <p:spPr/>
        <p:txBody>
          <a:bodyPr/>
          <a:lstStyle/>
          <a:p>
            <a:fld id="{320E634F-F277-46F4-BC93-3910B600E9D0}" type="slidenum">
              <a:rPr lang="en-US" smtClean="0"/>
              <a:t>179</a:t>
            </a:fld>
            <a:endParaRPr lang="en-US"/>
          </a:p>
        </p:txBody>
      </p:sp>
    </p:spTree>
    <p:extLst>
      <p:ext uri="{BB962C8B-B14F-4D97-AF65-F5344CB8AC3E}">
        <p14:creationId xmlns:p14="http://schemas.microsoft.com/office/powerpoint/2010/main" val="671110906"/>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DNA, icons, underline, win</a:t>
            </a:r>
          </a:p>
        </p:txBody>
      </p:sp>
      <p:sp>
        <p:nvSpPr>
          <p:cNvPr id="4" name="Slide Number Placeholder 3"/>
          <p:cNvSpPr>
            <a:spLocks noGrp="1"/>
          </p:cNvSpPr>
          <p:nvPr>
            <p:ph type="sldNum" sz="quarter" idx="10"/>
          </p:nvPr>
        </p:nvSpPr>
        <p:spPr/>
        <p:txBody>
          <a:bodyPr/>
          <a:lstStyle/>
          <a:p>
            <a:fld id="{320E634F-F277-46F4-BC93-3910B600E9D0}" type="slidenum">
              <a:rPr lang="en-US" smtClean="0"/>
              <a:t>180</a:t>
            </a:fld>
            <a:endParaRPr lang="en-US"/>
          </a:p>
        </p:txBody>
      </p:sp>
    </p:spTree>
    <p:extLst>
      <p:ext uri="{BB962C8B-B14F-4D97-AF65-F5344CB8AC3E}">
        <p14:creationId xmlns:p14="http://schemas.microsoft.com/office/powerpoint/2010/main" val="2540648307"/>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circle, chart, icons, visual, wheel</a:t>
            </a:r>
          </a:p>
        </p:txBody>
      </p:sp>
      <p:sp>
        <p:nvSpPr>
          <p:cNvPr id="4" name="Slide Number Placeholder 3"/>
          <p:cNvSpPr>
            <a:spLocks noGrp="1"/>
          </p:cNvSpPr>
          <p:nvPr>
            <p:ph type="sldNum" sz="quarter" idx="10"/>
          </p:nvPr>
        </p:nvSpPr>
        <p:spPr/>
        <p:txBody>
          <a:bodyPr/>
          <a:lstStyle/>
          <a:p>
            <a:fld id="{320E634F-F277-46F4-BC93-3910B600E9D0}" type="slidenum">
              <a:rPr lang="en-US" smtClean="0"/>
              <a:t>181</a:t>
            </a:fld>
            <a:endParaRPr lang="en-US"/>
          </a:p>
        </p:txBody>
      </p:sp>
    </p:spTree>
    <p:extLst>
      <p:ext uri="{BB962C8B-B14F-4D97-AF65-F5344CB8AC3E}">
        <p14:creationId xmlns:p14="http://schemas.microsoft.com/office/powerpoint/2010/main" val="2412763140"/>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pillars, circle, arrow, icon</a:t>
            </a:r>
          </a:p>
        </p:txBody>
      </p:sp>
      <p:sp>
        <p:nvSpPr>
          <p:cNvPr id="4" name="Slide Number Placeholder 3"/>
          <p:cNvSpPr>
            <a:spLocks noGrp="1"/>
          </p:cNvSpPr>
          <p:nvPr>
            <p:ph type="sldNum" sz="quarter" idx="10"/>
          </p:nvPr>
        </p:nvSpPr>
        <p:spPr/>
        <p:txBody>
          <a:bodyPr/>
          <a:lstStyle/>
          <a:p>
            <a:fld id="{320E634F-F277-46F4-BC93-3910B600E9D0}" type="slidenum">
              <a:rPr lang="en-US" smtClean="0"/>
              <a:t>182</a:t>
            </a:fld>
            <a:endParaRPr lang="en-US"/>
          </a:p>
        </p:txBody>
      </p:sp>
    </p:spTree>
    <p:extLst>
      <p:ext uri="{BB962C8B-B14F-4D97-AF65-F5344CB8AC3E}">
        <p14:creationId xmlns:p14="http://schemas.microsoft.com/office/powerpoint/2010/main" val="1886322204"/>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circle, icons, callout</a:t>
            </a:r>
          </a:p>
        </p:txBody>
      </p:sp>
      <p:sp>
        <p:nvSpPr>
          <p:cNvPr id="4" name="Slide Number Placeholder 3"/>
          <p:cNvSpPr>
            <a:spLocks noGrp="1"/>
          </p:cNvSpPr>
          <p:nvPr>
            <p:ph type="sldNum" sz="quarter" idx="10"/>
          </p:nvPr>
        </p:nvSpPr>
        <p:spPr/>
        <p:txBody>
          <a:bodyPr/>
          <a:lstStyle/>
          <a:p>
            <a:fld id="{5EDD572C-0642-445C-95EA-9BF60C5DC72B}" type="slidenum">
              <a:rPr lang="en-US" smtClean="0"/>
              <a:t>183</a:t>
            </a:fld>
            <a:endParaRPr lang="en-US"/>
          </a:p>
        </p:txBody>
      </p:sp>
    </p:spTree>
    <p:extLst>
      <p:ext uri="{BB962C8B-B14F-4D97-AF65-F5344CB8AC3E}">
        <p14:creationId xmlns:p14="http://schemas.microsoft.com/office/powerpoint/2010/main" val="4108916886"/>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icon, circle, arrow</a:t>
            </a:r>
          </a:p>
        </p:txBody>
      </p:sp>
      <p:sp>
        <p:nvSpPr>
          <p:cNvPr id="4" name="Slide Number Placeholder 3"/>
          <p:cNvSpPr>
            <a:spLocks noGrp="1"/>
          </p:cNvSpPr>
          <p:nvPr>
            <p:ph type="sldNum" sz="quarter" idx="10"/>
          </p:nvPr>
        </p:nvSpPr>
        <p:spPr/>
        <p:txBody>
          <a:bodyPr/>
          <a:lstStyle/>
          <a:p>
            <a:fld id="{320E634F-F277-46F4-BC93-3910B600E9D0}" type="slidenum">
              <a:rPr lang="en-US" smtClean="0"/>
              <a:t>184</a:t>
            </a:fld>
            <a:endParaRPr lang="en-US"/>
          </a:p>
        </p:txBody>
      </p:sp>
    </p:spTree>
    <p:extLst>
      <p:ext uri="{BB962C8B-B14F-4D97-AF65-F5344CB8AC3E}">
        <p14:creationId xmlns:p14="http://schemas.microsoft.com/office/powerpoint/2010/main" val="1606196799"/>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customer, person, text</a:t>
            </a:r>
          </a:p>
        </p:txBody>
      </p:sp>
      <p:sp>
        <p:nvSpPr>
          <p:cNvPr id="4" name="Slide Number Placeholder 3"/>
          <p:cNvSpPr>
            <a:spLocks noGrp="1"/>
          </p:cNvSpPr>
          <p:nvPr>
            <p:ph type="sldNum" sz="quarter" idx="10"/>
          </p:nvPr>
        </p:nvSpPr>
        <p:spPr/>
        <p:txBody>
          <a:bodyPr/>
          <a:lstStyle/>
          <a:p>
            <a:fld id="{320E634F-F277-46F4-BC93-3910B600E9D0}" type="slidenum">
              <a:rPr lang="en-US" smtClean="0"/>
              <a:t>185</a:t>
            </a:fld>
            <a:endParaRPr lang="en-US"/>
          </a:p>
        </p:txBody>
      </p:sp>
    </p:spTree>
    <p:extLst>
      <p:ext uri="{BB962C8B-B14F-4D97-AF65-F5344CB8AC3E}">
        <p14:creationId xmlns:p14="http://schemas.microsoft.com/office/powerpoint/2010/main" val="587500192"/>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customer, journey, person, circle, arrow</a:t>
            </a:r>
          </a:p>
        </p:txBody>
      </p:sp>
      <p:sp>
        <p:nvSpPr>
          <p:cNvPr id="4" name="Slide Number Placeholder 3"/>
          <p:cNvSpPr>
            <a:spLocks noGrp="1"/>
          </p:cNvSpPr>
          <p:nvPr>
            <p:ph type="sldNum" sz="quarter" idx="10"/>
          </p:nvPr>
        </p:nvSpPr>
        <p:spPr/>
        <p:txBody>
          <a:bodyPr/>
          <a:lstStyle/>
          <a:p>
            <a:fld id="{320E634F-F277-46F4-BC93-3910B600E9D0}" type="slidenum">
              <a:rPr lang="en-US" smtClean="0"/>
              <a:t>186</a:t>
            </a:fld>
            <a:endParaRPr lang="en-US"/>
          </a:p>
        </p:txBody>
      </p:sp>
    </p:spTree>
    <p:extLst>
      <p:ext uri="{BB962C8B-B14F-4D97-AF65-F5344CB8AC3E}">
        <p14:creationId xmlns:p14="http://schemas.microsoft.com/office/powerpoint/2010/main" val="540544406"/>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circle, arrow, thumbnail, icon, statement</a:t>
            </a:r>
          </a:p>
        </p:txBody>
      </p:sp>
      <p:sp>
        <p:nvSpPr>
          <p:cNvPr id="4" name="Slide Number Placeholder 3"/>
          <p:cNvSpPr>
            <a:spLocks noGrp="1"/>
          </p:cNvSpPr>
          <p:nvPr>
            <p:ph type="sldNum" sz="quarter" idx="10"/>
          </p:nvPr>
        </p:nvSpPr>
        <p:spPr/>
        <p:txBody>
          <a:bodyPr/>
          <a:lstStyle/>
          <a:p>
            <a:fld id="{320E634F-F277-46F4-BC93-3910B600E9D0}" type="slidenum">
              <a:rPr lang="en-US" smtClean="0"/>
              <a:t>187</a:t>
            </a:fld>
            <a:endParaRPr lang="en-US"/>
          </a:p>
        </p:txBody>
      </p:sp>
    </p:spTree>
    <p:extLst>
      <p:ext uri="{BB962C8B-B14F-4D97-AF65-F5344CB8AC3E}">
        <p14:creationId xmlns:p14="http://schemas.microsoft.com/office/powerpoint/2010/main" val="2650684779"/>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person, circle, icon, callout</a:t>
            </a:r>
          </a:p>
        </p:txBody>
      </p:sp>
      <p:sp>
        <p:nvSpPr>
          <p:cNvPr id="4" name="Slide Number Placeholder 3"/>
          <p:cNvSpPr>
            <a:spLocks noGrp="1"/>
          </p:cNvSpPr>
          <p:nvPr>
            <p:ph type="sldNum" sz="quarter" idx="10"/>
          </p:nvPr>
        </p:nvSpPr>
        <p:spPr/>
        <p:txBody>
          <a:bodyPr/>
          <a:lstStyle/>
          <a:p>
            <a:fld id="{320E634F-F277-46F4-BC93-3910B600E9D0}" type="slidenum">
              <a:rPr lang="en-US" smtClean="0"/>
              <a:t>188</a:t>
            </a:fld>
            <a:endParaRPr lang="en-US"/>
          </a:p>
        </p:txBody>
      </p:sp>
    </p:spTree>
    <p:extLst>
      <p:ext uri="{BB962C8B-B14F-4D97-AF65-F5344CB8AC3E}">
        <p14:creationId xmlns:p14="http://schemas.microsoft.com/office/powerpoint/2010/main" val="8779113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ement, quote, callout</a:t>
            </a:r>
          </a:p>
        </p:txBody>
      </p:sp>
      <p:sp>
        <p:nvSpPr>
          <p:cNvPr id="4" name="Slide Number Placeholder 3"/>
          <p:cNvSpPr>
            <a:spLocks noGrp="1"/>
          </p:cNvSpPr>
          <p:nvPr>
            <p:ph type="sldNum" sz="quarter" idx="10"/>
          </p:nvPr>
        </p:nvSpPr>
        <p:spPr/>
        <p:txBody>
          <a:bodyPr/>
          <a:lstStyle/>
          <a:p>
            <a:fld id="{D759AF6D-BA0E-4594-94DB-478664329D2A}" type="slidenum">
              <a:rPr lang="en-US" smtClean="0"/>
              <a:t>21</a:t>
            </a:fld>
            <a:endParaRPr lang="en-US"/>
          </a:p>
        </p:txBody>
      </p:sp>
    </p:spTree>
    <p:extLst>
      <p:ext uri="{BB962C8B-B14F-4D97-AF65-F5344CB8AC3E}">
        <p14:creationId xmlns:p14="http://schemas.microsoft.com/office/powerpoint/2010/main" val="3265549312"/>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visual, sidebar, opportunity, text</a:t>
            </a:r>
          </a:p>
        </p:txBody>
      </p:sp>
      <p:sp>
        <p:nvSpPr>
          <p:cNvPr id="4" name="Slide Number Placeholder 3"/>
          <p:cNvSpPr>
            <a:spLocks noGrp="1"/>
          </p:cNvSpPr>
          <p:nvPr>
            <p:ph type="sldNum" sz="quarter" idx="10"/>
          </p:nvPr>
        </p:nvSpPr>
        <p:spPr/>
        <p:txBody>
          <a:bodyPr/>
          <a:lstStyle/>
          <a:p>
            <a:fld id="{320E634F-F277-46F4-BC93-3910B600E9D0}" type="slidenum">
              <a:rPr lang="en-US" smtClean="0"/>
              <a:t>189</a:t>
            </a:fld>
            <a:endParaRPr lang="en-US"/>
          </a:p>
        </p:txBody>
      </p:sp>
    </p:spTree>
    <p:extLst>
      <p:ext uri="{BB962C8B-B14F-4D97-AF65-F5344CB8AC3E}">
        <p14:creationId xmlns:p14="http://schemas.microsoft.com/office/powerpoint/2010/main" val="3748194020"/>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humbnail, icons, callout</a:t>
            </a:r>
          </a:p>
        </p:txBody>
      </p:sp>
      <p:sp>
        <p:nvSpPr>
          <p:cNvPr id="4" name="Slide Number Placeholder 3"/>
          <p:cNvSpPr>
            <a:spLocks noGrp="1"/>
          </p:cNvSpPr>
          <p:nvPr>
            <p:ph type="sldNum" sz="quarter" idx="10"/>
          </p:nvPr>
        </p:nvSpPr>
        <p:spPr/>
        <p:txBody>
          <a:bodyPr/>
          <a:lstStyle/>
          <a:p>
            <a:fld id="{320E634F-F277-46F4-BC93-3910B600E9D0}" type="slidenum">
              <a:rPr lang="en-US" smtClean="0"/>
              <a:t>190</a:t>
            </a:fld>
            <a:endParaRPr lang="en-US"/>
          </a:p>
        </p:txBody>
      </p:sp>
    </p:spTree>
    <p:extLst>
      <p:ext uri="{BB962C8B-B14F-4D97-AF65-F5344CB8AC3E}">
        <p14:creationId xmlns:p14="http://schemas.microsoft.com/office/powerpoint/2010/main" val="1273791497"/>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map, chart, callout</a:t>
            </a:r>
          </a:p>
        </p:txBody>
      </p:sp>
      <p:sp>
        <p:nvSpPr>
          <p:cNvPr id="4" name="Slide Number Placeholder 3"/>
          <p:cNvSpPr>
            <a:spLocks noGrp="1"/>
          </p:cNvSpPr>
          <p:nvPr>
            <p:ph type="sldNum" sz="quarter" idx="10"/>
          </p:nvPr>
        </p:nvSpPr>
        <p:spPr/>
        <p:txBody>
          <a:bodyPr/>
          <a:lstStyle/>
          <a:p>
            <a:fld id="{320E634F-F277-46F4-BC93-3910B600E9D0}" type="slidenum">
              <a:rPr lang="en-US" smtClean="0"/>
              <a:t>191</a:t>
            </a:fld>
            <a:endParaRPr lang="en-US"/>
          </a:p>
        </p:txBody>
      </p:sp>
    </p:spTree>
    <p:extLst>
      <p:ext uri="{BB962C8B-B14F-4D97-AF65-F5344CB8AC3E}">
        <p14:creationId xmlns:p14="http://schemas.microsoft.com/office/powerpoint/2010/main" val="1961863556"/>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map, names</a:t>
            </a:r>
          </a:p>
        </p:txBody>
      </p:sp>
      <p:sp>
        <p:nvSpPr>
          <p:cNvPr id="4" name="Slide Number Placeholder 3"/>
          <p:cNvSpPr>
            <a:spLocks noGrp="1"/>
          </p:cNvSpPr>
          <p:nvPr>
            <p:ph type="sldNum" sz="quarter" idx="10"/>
          </p:nvPr>
        </p:nvSpPr>
        <p:spPr/>
        <p:txBody>
          <a:bodyPr/>
          <a:lstStyle/>
          <a:p>
            <a:fld id="{320E634F-F277-46F4-BC93-3910B600E9D0}" type="slidenum">
              <a:rPr lang="en-US" smtClean="0"/>
              <a:t>192</a:t>
            </a:fld>
            <a:endParaRPr lang="en-US"/>
          </a:p>
        </p:txBody>
      </p:sp>
    </p:spTree>
    <p:extLst>
      <p:ext uri="{BB962C8B-B14F-4D97-AF65-F5344CB8AC3E}">
        <p14:creationId xmlns:p14="http://schemas.microsoft.com/office/powerpoint/2010/main" val="26949498"/>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matrix</a:t>
            </a:r>
            <a:r>
              <a:rPr lang="en-US" baseline="0" dirty="0"/>
              <a:t>, segmentation, text</a:t>
            </a:r>
            <a:endParaRPr lang="en-US" dirty="0"/>
          </a:p>
        </p:txBody>
      </p:sp>
      <p:sp>
        <p:nvSpPr>
          <p:cNvPr id="4" name="Slide Number Placeholder 3"/>
          <p:cNvSpPr>
            <a:spLocks noGrp="1"/>
          </p:cNvSpPr>
          <p:nvPr>
            <p:ph type="sldNum" sz="quarter" idx="10"/>
          </p:nvPr>
        </p:nvSpPr>
        <p:spPr/>
        <p:txBody>
          <a:bodyPr/>
          <a:lstStyle/>
          <a:p>
            <a:fld id="{320E634F-F277-46F4-BC93-3910B600E9D0}" type="slidenum">
              <a:rPr lang="en-US" smtClean="0"/>
              <a:t>193</a:t>
            </a:fld>
            <a:endParaRPr lang="en-US"/>
          </a:p>
        </p:txBody>
      </p:sp>
    </p:spTree>
    <p:extLst>
      <p:ext uri="{BB962C8B-B14F-4D97-AF65-F5344CB8AC3E}">
        <p14:creationId xmlns:p14="http://schemas.microsoft.com/office/powerpoint/2010/main" val="111908599"/>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matrix, icons, callout, chart</a:t>
            </a:r>
          </a:p>
        </p:txBody>
      </p:sp>
      <p:sp>
        <p:nvSpPr>
          <p:cNvPr id="4" name="Slide Number Placeholder 3"/>
          <p:cNvSpPr>
            <a:spLocks noGrp="1"/>
          </p:cNvSpPr>
          <p:nvPr>
            <p:ph type="sldNum" sz="quarter" idx="10"/>
          </p:nvPr>
        </p:nvSpPr>
        <p:spPr/>
        <p:txBody>
          <a:bodyPr/>
          <a:lstStyle/>
          <a:p>
            <a:fld id="{5EDD572C-0642-445C-95EA-9BF60C5DC72B}" type="slidenum">
              <a:rPr lang="en-US" smtClean="0"/>
              <a:t>194</a:t>
            </a:fld>
            <a:endParaRPr lang="en-US"/>
          </a:p>
        </p:txBody>
      </p:sp>
    </p:spTree>
    <p:extLst>
      <p:ext uri="{BB962C8B-B14F-4D97-AF65-F5344CB8AC3E}">
        <p14:creationId xmlns:p14="http://schemas.microsoft.com/office/powerpoint/2010/main" val="78947961"/>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DNA, underline, text</a:t>
            </a:r>
          </a:p>
        </p:txBody>
      </p:sp>
      <p:sp>
        <p:nvSpPr>
          <p:cNvPr id="4" name="Slide Number Placeholder 3"/>
          <p:cNvSpPr>
            <a:spLocks noGrp="1"/>
          </p:cNvSpPr>
          <p:nvPr>
            <p:ph type="sldNum" sz="quarter" idx="10"/>
          </p:nvPr>
        </p:nvSpPr>
        <p:spPr/>
        <p:txBody>
          <a:bodyPr/>
          <a:lstStyle/>
          <a:p>
            <a:fld id="{5EDD572C-0642-445C-95EA-9BF60C5DC72B}" type="slidenum">
              <a:rPr lang="en-US" smtClean="0"/>
              <a:t>195</a:t>
            </a:fld>
            <a:endParaRPr lang="en-US"/>
          </a:p>
        </p:txBody>
      </p:sp>
    </p:spTree>
    <p:extLst>
      <p:ext uri="{BB962C8B-B14F-4D97-AF65-F5344CB8AC3E}">
        <p14:creationId xmlns:p14="http://schemas.microsoft.com/office/powerpoint/2010/main" val="2138216511"/>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innovation, chart, core, adjacent, transformational</a:t>
            </a:r>
          </a:p>
        </p:txBody>
      </p:sp>
      <p:sp>
        <p:nvSpPr>
          <p:cNvPr id="4" name="Slide Number Placeholder 3"/>
          <p:cNvSpPr>
            <a:spLocks noGrp="1"/>
          </p:cNvSpPr>
          <p:nvPr>
            <p:ph type="sldNum" sz="quarter" idx="10"/>
          </p:nvPr>
        </p:nvSpPr>
        <p:spPr/>
        <p:txBody>
          <a:bodyPr/>
          <a:lstStyle/>
          <a:p>
            <a:fld id="{5EDD572C-0642-445C-95EA-9BF60C5DC72B}" type="slidenum">
              <a:rPr lang="en-US" smtClean="0"/>
              <a:t>196</a:t>
            </a:fld>
            <a:endParaRPr lang="en-US"/>
          </a:p>
        </p:txBody>
      </p:sp>
    </p:spTree>
    <p:extLst>
      <p:ext uri="{BB962C8B-B14F-4D97-AF65-F5344CB8AC3E}">
        <p14:creationId xmlns:p14="http://schemas.microsoft.com/office/powerpoint/2010/main" val="172894305"/>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innovation</a:t>
            </a:r>
            <a:r>
              <a:rPr lang="en-US" dirty="0"/>
              <a:t>, chart, core, adjacent, transformational</a:t>
            </a:r>
          </a:p>
        </p:txBody>
      </p:sp>
      <p:sp>
        <p:nvSpPr>
          <p:cNvPr id="4" name="Slide Number Placeholder 3"/>
          <p:cNvSpPr>
            <a:spLocks noGrp="1"/>
          </p:cNvSpPr>
          <p:nvPr>
            <p:ph type="sldNum" sz="quarter" idx="10"/>
          </p:nvPr>
        </p:nvSpPr>
        <p:spPr/>
        <p:txBody>
          <a:bodyPr/>
          <a:lstStyle/>
          <a:p>
            <a:fld id="{320E634F-F277-46F4-BC93-3910B600E9D0}" type="slidenum">
              <a:rPr lang="en-US" smtClean="0"/>
              <a:t>197</a:t>
            </a:fld>
            <a:endParaRPr lang="en-US"/>
          </a:p>
        </p:txBody>
      </p:sp>
    </p:spTree>
    <p:extLst>
      <p:ext uri="{BB962C8B-B14F-4D97-AF65-F5344CB8AC3E}">
        <p14:creationId xmlns:p14="http://schemas.microsoft.com/office/powerpoint/2010/main" val="587576098"/>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capabilities, cascade, text</a:t>
            </a:r>
          </a:p>
          <a:p>
            <a:endParaRPr lang="en-US" dirty="0"/>
          </a:p>
        </p:txBody>
      </p:sp>
      <p:sp>
        <p:nvSpPr>
          <p:cNvPr id="4" name="Slide Number Placeholder 3"/>
          <p:cNvSpPr>
            <a:spLocks noGrp="1"/>
          </p:cNvSpPr>
          <p:nvPr>
            <p:ph type="sldNum" sz="quarter" idx="10"/>
          </p:nvPr>
        </p:nvSpPr>
        <p:spPr/>
        <p:txBody>
          <a:bodyPr/>
          <a:lstStyle/>
          <a:p>
            <a:fld id="{320E634F-F277-46F4-BC93-3910B600E9D0}" type="slidenum">
              <a:rPr lang="en-US" smtClean="0"/>
              <a:t>198</a:t>
            </a:fld>
            <a:endParaRPr lang="en-US"/>
          </a:p>
        </p:txBody>
      </p:sp>
    </p:spTree>
    <p:extLst>
      <p:ext uri="{BB962C8B-B14F-4D97-AF65-F5344CB8AC3E}">
        <p14:creationId xmlns:p14="http://schemas.microsoft.com/office/powerpoint/2010/main" val="144453773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ement, header, overview, image</a:t>
            </a:r>
          </a:p>
        </p:txBody>
      </p:sp>
      <p:sp>
        <p:nvSpPr>
          <p:cNvPr id="4" name="Slide Number Placeholder 3"/>
          <p:cNvSpPr>
            <a:spLocks noGrp="1"/>
          </p:cNvSpPr>
          <p:nvPr>
            <p:ph type="sldNum" sz="quarter" idx="10"/>
          </p:nvPr>
        </p:nvSpPr>
        <p:spPr/>
        <p:txBody>
          <a:bodyPr/>
          <a:lstStyle/>
          <a:p>
            <a:fld id="{D759AF6D-BA0E-4594-94DB-478664329D2A}" type="slidenum">
              <a:rPr lang="en-US" smtClean="0"/>
              <a:t>22</a:t>
            </a:fld>
            <a:endParaRPr lang="en-US"/>
          </a:p>
        </p:txBody>
      </p:sp>
    </p:spTree>
    <p:extLst>
      <p:ext uri="{BB962C8B-B14F-4D97-AF65-F5344CB8AC3E}">
        <p14:creationId xmlns:p14="http://schemas.microsoft.com/office/powerpoint/2010/main" val="2862208016"/>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pproach,</a:t>
            </a:r>
            <a:r>
              <a:rPr lang="en-US" baseline="0" dirty="0"/>
              <a:t> outputs</a:t>
            </a:r>
            <a:endParaRPr lang="en-US" dirty="0"/>
          </a:p>
        </p:txBody>
      </p:sp>
      <p:sp>
        <p:nvSpPr>
          <p:cNvPr id="4" name="Slide Number Placeholder 3"/>
          <p:cNvSpPr>
            <a:spLocks noGrp="1"/>
          </p:cNvSpPr>
          <p:nvPr>
            <p:ph type="sldNum" sz="quarter" idx="10"/>
          </p:nvPr>
        </p:nvSpPr>
        <p:spPr/>
        <p:txBody>
          <a:bodyPr/>
          <a:lstStyle/>
          <a:p>
            <a:fld id="{320E634F-F277-46F4-BC93-3910B600E9D0}" type="slidenum">
              <a:rPr lang="en-US" smtClean="0"/>
              <a:t>199</a:t>
            </a:fld>
            <a:endParaRPr lang="en-US"/>
          </a:p>
        </p:txBody>
      </p:sp>
    </p:spTree>
    <p:extLst>
      <p:ext uri="{BB962C8B-B14F-4D97-AF65-F5344CB8AC3E}">
        <p14:creationId xmlns:p14="http://schemas.microsoft.com/office/powerpoint/2010/main" val="3604660818"/>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process, flow, arrow</a:t>
            </a:r>
          </a:p>
        </p:txBody>
      </p:sp>
      <p:sp>
        <p:nvSpPr>
          <p:cNvPr id="4" name="Slide Number Placeholder 3"/>
          <p:cNvSpPr>
            <a:spLocks noGrp="1"/>
          </p:cNvSpPr>
          <p:nvPr>
            <p:ph type="sldNum" sz="quarter" idx="10"/>
          </p:nvPr>
        </p:nvSpPr>
        <p:spPr/>
        <p:txBody>
          <a:bodyPr/>
          <a:lstStyle/>
          <a:p>
            <a:fld id="{320E634F-F277-46F4-BC93-3910B600E9D0}" type="slidenum">
              <a:rPr lang="en-US" smtClean="0"/>
              <a:t>200</a:t>
            </a:fld>
            <a:endParaRPr lang="en-US"/>
          </a:p>
        </p:txBody>
      </p:sp>
    </p:spTree>
    <p:extLst>
      <p:ext uri="{BB962C8B-B14F-4D97-AF65-F5344CB8AC3E}">
        <p14:creationId xmlns:p14="http://schemas.microsoft.com/office/powerpoint/2010/main" val="1771466625"/>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icons, process, linear</a:t>
            </a:r>
          </a:p>
        </p:txBody>
      </p:sp>
      <p:sp>
        <p:nvSpPr>
          <p:cNvPr id="4" name="Slide Number Placeholder 3"/>
          <p:cNvSpPr>
            <a:spLocks noGrp="1"/>
          </p:cNvSpPr>
          <p:nvPr>
            <p:ph type="sldNum" sz="quarter" idx="10"/>
          </p:nvPr>
        </p:nvSpPr>
        <p:spPr/>
        <p:txBody>
          <a:bodyPr/>
          <a:lstStyle/>
          <a:p>
            <a:fld id="{320E634F-F277-46F4-BC93-3910B600E9D0}" type="slidenum">
              <a:rPr lang="en-US" smtClean="0"/>
              <a:t>201</a:t>
            </a:fld>
            <a:endParaRPr lang="en-US"/>
          </a:p>
        </p:txBody>
      </p:sp>
    </p:spTree>
    <p:extLst>
      <p:ext uri="{BB962C8B-B14F-4D97-AF65-F5344CB8AC3E}">
        <p14:creationId xmlns:p14="http://schemas.microsoft.com/office/powerpoint/2010/main" val="1985856049"/>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cale, text, numbers</a:t>
            </a:r>
          </a:p>
        </p:txBody>
      </p:sp>
      <p:sp>
        <p:nvSpPr>
          <p:cNvPr id="4" name="Slide Number Placeholder 3"/>
          <p:cNvSpPr>
            <a:spLocks noGrp="1"/>
          </p:cNvSpPr>
          <p:nvPr>
            <p:ph type="sldNum" sz="quarter" idx="10"/>
          </p:nvPr>
        </p:nvSpPr>
        <p:spPr/>
        <p:txBody>
          <a:bodyPr/>
          <a:lstStyle/>
          <a:p>
            <a:fld id="{320E634F-F277-46F4-BC93-3910B600E9D0}" type="slidenum">
              <a:rPr lang="en-US" smtClean="0"/>
              <a:t>202</a:t>
            </a:fld>
            <a:endParaRPr lang="en-US"/>
          </a:p>
        </p:txBody>
      </p:sp>
    </p:spTree>
    <p:extLst>
      <p:ext uri="{BB962C8B-B14F-4D97-AF65-F5344CB8AC3E}">
        <p14:creationId xmlns:p14="http://schemas.microsoft.com/office/powerpoint/2010/main" val="2395595693"/>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calculation,</a:t>
            </a:r>
            <a:r>
              <a:rPr lang="en-US" baseline="0" dirty="0"/>
              <a:t> customer experience, equation, formula</a:t>
            </a:r>
            <a:endParaRPr lang="en-US" dirty="0"/>
          </a:p>
        </p:txBody>
      </p:sp>
      <p:sp>
        <p:nvSpPr>
          <p:cNvPr id="4" name="Slide Number Placeholder 3"/>
          <p:cNvSpPr>
            <a:spLocks noGrp="1"/>
          </p:cNvSpPr>
          <p:nvPr>
            <p:ph type="sldNum" sz="quarter" idx="10"/>
          </p:nvPr>
        </p:nvSpPr>
        <p:spPr/>
        <p:txBody>
          <a:bodyPr/>
          <a:lstStyle/>
          <a:p>
            <a:fld id="{320E634F-F277-46F4-BC93-3910B600E9D0}" type="slidenum">
              <a:rPr lang="en-US" smtClean="0"/>
              <a:t>203</a:t>
            </a:fld>
            <a:endParaRPr lang="en-US"/>
          </a:p>
        </p:txBody>
      </p:sp>
    </p:spTree>
    <p:extLst>
      <p:ext uri="{BB962C8B-B14F-4D97-AF65-F5344CB8AC3E}">
        <p14:creationId xmlns:p14="http://schemas.microsoft.com/office/powerpoint/2010/main" val="695925804"/>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operating model, box</a:t>
            </a:r>
          </a:p>
        </p:txBody>
      </p:sp>
      <p:sp>
        <p:nvSpPr>
          <p:cNvPr id="4" name="Slide Number Placeholder 3"/>
          <p:cNvSpPr>
            <a:spLocks noGrp="1"/>
          </p:cNvSpPr>
          <p:nvPr>
            <p:ph type="sldNum" sz="quarter" idx="10"/>
          </p:nvPr>
        </p:nvSpPr>
        <p:spPr/>
        <p:txBody>
          <a:bodyPr/>
          <a:lstStyle/>
          <a:p>
            <a:fld id="{5EDD572C-0642-445C-95EA-9BF60C5DC72B}" type="slidenum">
              <a:rPr lang="en-US" smtClean="0"/>
              <a:t>204</a:t>
            </a:fld>
            <a:endParaRPr lang="en-US"/>
          </a:p>
        </p:txBody>
      </p:sp>
    </p:spTree>
    <p:extLst>
      <p:ext uri="{BB962C8B-B14F-4D97-AF65-F5344CB8AC3E}">
        <p14:creationId xmlns:p14="http://schemas.microsoft.com/office/powerpoint/2010/main" val="3886160999"/>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chnology, callout, icons</a:t>
            </a:r>
          </a:p>
        </p:txBody>
      </p:sp>
      <p:sp>
        <p:nvSpPr>
          <p:cNvPr id="4" name="Slide Number Placeholder 3"/>
          <p:cNvSpPr>
            <a:spLocks noGrp="1"/>
          </p:cNvSpPr>
          <p:nvPr>
            <p:ph type="sldNum" sz="quarter" idx="10"/>
          </p:nvPr>
        </p:nvSpPr>
        <p:spPr/>
        <p:txBody>
          <a:bodyPr/>
          <a:lstStyle/>
          <a:p>
            <a:fld id="{5689E7E8-36E4-467C-8300-85BCF6933FBA}" type="slidenum">
              <a:rPr lang="en-US" smtClean="0"/>
              <a:t>205</a:t>
            </a:fld>
            <a:endParaRPr lang="en-US"/>
          </a:p>
        </p:txBody>
      </p:sp>
    </p:spTree>
    <p:extLst>
      <p:ext uri="{BB962C8B-B14F-4D97-AF65-F5344CB8AC3E}">
        <p14:creationId xmlns:p14="http://schemas.microsoft.com/office/powerpoint/2010/main" val="2298803911"/>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a:t>
            </a:r>
            <a:r>
              <a:rPr lang="en-US" baseline="0" dirty="0"/>
              <a:t> operating model, path, journey, current state, future state</a:t>
            </a:r>
            <a:endParaRPr lang="en-US" dirty="0"/>
          </a:p>
        </p:txBody>
      </p:sp>
      <p:sp>
        <p:nvSpPr>
          <p:cNvPr id="4" name="Slide Number Placeholder 3"/>
          <p:cNvSpPr>
            <a:spLocks noGrp="1"/>
          </p:cNvSpPr>
          <p:nvPr>
            <p:ph type="sldNum" sz="quarter" idx="10"/>
          </p:nvPr>
        </p:nvSpPr>
        <p:spPr/>
        <p:txBody>
          <a:bodyPr/>
          <a:lstStyle/>
          <a:p>
            <a:fld id="{6340AB4C-F464-4123-9F18-85533569F96F}" type="slidenum">
              <a:rPr lang="en-US" smtClean="0"/>
              <a:t>206</a:t>
            </a:fld>
            <a:endParaRPr lang="en-US"/>
          </a:p>
        </p:txBody>
      </p:sp>
    </p:spTree>
    <p:extLst>
      <p:ext uri="{BB962C8B-B14F-4D97-AF65-F5344CB8AC3E}">
        <p14:creationId xmlns:p14="http://schemas.microsoft.com/office/powerpoint/2010/main" val="3758520264"/>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pproach, pricing, steps, stage, phase</a:t>
            </a:r>
          </a:p>
        </p:txBody>
      </p:sp>
      <p:sp>
        <p:nvSpPr>
          <p:cNvPr id="4" name="Slide Number Placeholder 3"/>
          <p:cNvSpPr>
            <a:spLocks noGrp="1"/>
          </p:cNvSpPr>
          <p:nvPr>
            <p:ph type="sldNum" sz="quarter" idx="10"/>
          </p:nvPr>
        </p:nvSpPr>
        <p:spPr/>
        <p:txBody>
          <a:bodyPr/>
          <a:lstStyle/>
          <a:p>
            <a:fld id="{010BE93B-B4D6-4E29-B321-64772F551831}" type="slidenum">
              <a:rPr lang="en-US" smtClean="0"/>
              <a:t>208</a:t>
            </a:fld>
            <a:endParaRPr lang="en-US"/>
          </a:p>
        </p:txBody>
      </p:sp>
    </p:spTree>
    <p:extLst>
      <p:ext uri="{BB962C8B-B14F-4D97-AF65-F5344CB8AC3E}">
        <p14:creationId xmlns:p14="http://schemas.microsoft.com/office/powerpoint/2010/main" val="2709274580"/>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pproach, consumer </a:t>
            </a:r>
          </a:p>
        </p:txBody>
      </p:sp>
      <p:sp>
        <p:nvSpPr>
          <p:cNvPr id="4" name="Slide Number Placeholder 3"/>
          <p:cNvSpPr>
            <a:spLocks noGrp="1"/>
          </p:cNvSpPr>
          <p:nvPr>
            <p:ph type="sldNum" sz="quarter" idx="10"/>
          </p:nvPr>
        </p:nvSpPr>
        <p:spPr/>
        <p:txBody>
          <a:bodyPr/>
          <a:lstStyle/>
          <a:p>
            <a:fld id="{010BE93B-B4D6-4E29-B321-64772F551831}" type="slidenum">
              <a:rPr lang="en-US" smtClean="0"/>
              <a:t>209</a:t>
            </a:fld>
            <a:endParaRPr lang="en-US"/>
          </a:p>
        </p:txBody>
      </p:sp>
    </p:spTree>
    <p:extLst>
      <p:ext uri="{BB962C8B-B14F-4D97-AF65-F5344CB8AC3E}">
        <p14:creationId xmlns:p14="http://schemas.microsoft.com/office/powerpoint/2010/main" val="25335252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EDD572C-0642-445C-95EA-9BF60C5DC72B}" type="slidenum">
              <a:rPr lang="en-US" smtClean="0"/>
              <a:t>2</a:t>
            </a:fld>
            <a:endParaRPr lang="en-US"/>
          </a:p>
        </p:txBody>
      </p:sp>
    </p:spTree>
    <p:extLst>
      <p:ext uri="{BB962C8B-B14F-4D97-AF65-F5344CB8AC3E}">
        <p14:creationId xmlns:p14="http://schemas.microsoft.com/office/powerpoint/2010/main" val="5570228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ement, quote, overview</a:t>
            </a:r>
          </a:p>
        </p:txBody>
      </p:sp>
      <p:sp>
        <p:nvSpPr>
          <p:cNvPr id="4" name="Slide Number Placeholder 3"/>
          <p:cNvSpPr>
            <a:spLocks noGrp="1"/>
          </p:cNvSpPr>
          <p:nvPr>
            <p:ph type="sldNum" sz="quarter" idx="10"/>
          </p:nvPr>
        </p:nvSpPr>
        <p:spPr/>
        <p:txBody>
          <a:bodyPr/>
          <a:lstStyle/>
          <a:p>
            <a:fld id="{5EDD572C-0642-445C-95EA-9BF60C5DC72B}" type="slidenum">
              <a:rPr lang="en-US" smtClean="0"/>
              <a:t>23</a:t>
            </a:fld>
            <a:endParaRPr lang="en-US"/>
          </a:p>
        </p:txBody>
      </p:sp>
    </p:spTree>
    <p:extLst>
      <p:ext uri="{BB962C8B-B14F-4D97-AF65-F5344CB8AC3E}">
        <p14:creationId xmlns:p14="http://schemas.microsoft.com/office/powerpoint/2010/main" val="1516953260"/>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timeline, progress</a:t>
            </a:r>
            <a:endParaRPr lang="en-US" dirty="0"/>
          </a:p>
        </p:txBody>
      </p:sp>
      <p:sp>
        <p:nvSpPr>
          <p:cNvPr id="4" name="Slide Number Placeholder 3"/>
          <p:cNvSpPr>
            <a:spLocks noGrp="1"/>
          </p:cNvSpPr>
          <p:nvPr>
            <p:ph type="sldNum" sz="quarter" idx="10"/>
          </p:nvPr>
        </p:nvSpPr>
        <p:spPr/>
        <p:txBody>
          <a:bodyPr/>
          <a:lstStyle/>
          <a:p>
            <a:fld id="{010BE93B-B4D6-4E29-B321-64772F551831}" type="slidenum">
              <a:rPr lang="en-US" smtClean="0"/>
              <a:t>210</a:t>
            </a:fld>
            <a:endParaRPr lang="en-US"/>
          </a:p>
        </p:txBody>
      </p:sp>
    </p:spTree>
    <p:extLst>
      <p:ext uri="{BB962C8B-B14F-4D97-AF65-F5344CB8AC3E}">
        <p14:creationId xmlns:p14="http://schemas.microsoft.com/office/powerpoint/2010/main" val="2056620316"/>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pproach, text, phases</a:t>
            </a:r>
          </a:p>
        </p:txBody>
      </p:sp>
      <p:sp>
        <p:nvSpPr>
          <p:cNvPr id="4" name="Slide Number Placeholder 3"/>
          <p:cNvSpPr>
            <a:spLocks noGrp="1"/>
          </p:cNvSpPr>
          <p:nvPr>
            <p:ph type="sldNum" sz="quarter" idx="10"/>
          </p:nvPr>
        </p:nvSpPr>
        <p:spPr/>
        <p:txBody>
          <a:bodyPr/>
          <a:lstStyle/>
          <a:p>
            <a:fld id="{010BE93B-B4D6-4E29-B321-64772F551831}" type="slidenum">
              <a:rPr lang="en-US" smtClean="0"/>
              <a:t>211</a:t>
            </a:fld>
            <a:endParaRPr lang="en-US"/>
          </a:p>
        </p:txBody>
      </p:sp>
    </p:spTree>
    <p:extLst>
      <p:ext uri="{BB962C8B-B14F-4D97-AF65-F5344CB8AC3E}">
        <p14:creationId xmlns:p14="http://schemas.microsoft.com/office/powerpoint/2010/main" val="664210493"/>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timeline, progress</a:t>
            </a:r>
            <a:endParaRPr lang="en-US" dirty="0"/>
          </a:p>
        </p:txBody>
      </p:sp>
      <p:sp>
        <p:nvSpPr>
          <p:cNvPr id="4" name="Slide Number Placeholder 3"/>
          <p:cNvSpPr>
            <a:spLocks noGrp="1"/>
          </p:cNvSpPr>
          <p:nvPr>
            <p:ph type="sldNum" sz="quarter" idx="10"/>
          </p:nvPr>
        </p:nvSpPr>
        <p:spPr/>
        <p:txBody>
          <a:bodyPr/>
          <a:lstStyle/>
          <a:p>
            <a:fld id="{010BE93B-B4D6-4E29-B321-64772F551831}" type="slidenum">
              <a:rPr lang="en-US" smtClean="0"/>
              <a:t>212</a:t>
            </a:fld>
            <a:endParaRPr lang="en-US"/>
          </a:p>
        </p:txBody>
      </p:sp>
    </p:spTree>
    <p:extLst>
      <p:ext uri="{BB962C8B-B14F-4D97-AF65-F5344CB8AC3E}">
        <p14:creationId xmlns:p14="http://schemas.microsoft.com/office/powerpoint/2010/main" val="495929290"/>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imeline, process, callouts</a:t>
            </a:r>
          </a:p>
        </p:txBody>
      </p:sp>
      <p:sp>
        <p:nvSpPr>
          <p:cNvPr id="4" name="Slide Number Placeholder 3"/>
          <p:cNvSpPr>
            <a:spLocks noGrp="1"/>
          </p:cNvSpPr>
          <p:nvPr>
            <p:ph type="sldNum" sz="quarter" idx="10"/>
          </p:nvPr>
        </p:nvSpPr>
        <p:spPr/>
        <p:txBody>
          <a:bodyPr/>
          <a:lstStyle/>
          <a:p>
            <a:fld id="{010BE93B-B4D6-4E29-B321-64772F551831}" type="slidenum">
              <a:rPr lang="en-US" smtClean="0"/>
              <a:t>213</a:t>
            </a:fld>
            <a:endParaRPr lang="en-US"/>
          </a:p>
        </p:txBody>
      </p:sp>
    </p:spTree>
    <p:extLst>
      <p:ext uri="{BB962C8B-B14F-4D97-AF65-F5344CB8AC3E}">
        <p14:creationId xmlns:p14="http://schemas.microsoft.com/office/powerpoint/2010/main" val="2288999913"/>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path, journey, roadmap, signs</a:t>
            </a:r>
          </a:p>
        </p:txBody>
      </p:sp>
      <p:sp>
        <p:nvSpPr>
          <p:cNvPr id="4" name="Slide Number Placeholder 3"/>
          <p:cNvSpPr>
            <a:spLocks noGrp="1"/>
          </p:cNvSpPr>
          <p:nvPr>
            <p:ph type="sldNum" sz="quarter" idx="10"/>
          </p:nvPr>
        </p:nvSpPr>
        <p:spPr/>
        <p:txBody>
          <a:bodyPr/>
          <a:lstStyle/>
          <a:p>
            <a:fld id="{010BE93B-B4D6-4E29-B321-64772F551831}" type="slidenum">
              <a:rPr lang="en-US" smtClean="0"/>
              <a:t>214</a:t>
            </a:fld>
            <a:endParaRPr lang="en-US"/>
          </a:p>
        </p:txBody>
      </p:sp>
    </p:spTree>
    <p:extLst>
      <p:ext uri="{BB962C8B-B14F-4D97-AF65-F5344CB8AC3E}">
        <p14:creationId xmlns:p14="http://schemas.microsoft.com/office/powerpoint/2010/main" val="1263443072"/>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timeline, planning, day 1</a:t>
            </a:r>
            <a:endParaRPr lang="en-US" dirty="0"/>
          </a:p>
        </p:txBody>
      </p:sp>
      <p:sp>
        <p:nvSpPr>
          <p:cNvPr id="4" name="Slide Number Placeholder 3"/>
          <p:cNvSpPr>
            <a:spLocks noGrp="1"/>
          </p:cNvSpPr>
          <p:nvPr>
            <p:ph type="sldNum" sz="quarter" idx="10"/>
          </p:nvPr>
        </p:nvSpPr>
        <p:spPr/>
        <p:txBody>
          <a:bodyPr/>
          <a:lstStyle/>
          <a:p>
            <a:fld id="{010BE93B-B4D6-4E29-B321-64772F551831}" type="slidenum">
              <a:rPr lang="en-US" smtClean="0"/>
              <a:t>215</a:t>
            </a:fld>
            <a:endParaRPr lang="en-US"/>
          </a:p>
        </p:txBody>
      </p:sp>
    </p:spTree>
    <p:extLst>
      <p:ext uri="{BB962C8B-B14F-4D97-AF65-F5344CB8AC3E}">
        <p14:creationId xmlns:p14="http://schemas.microsoft.com/office/powerpoint/2010/main" val="245695135"/>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timeline, seasonal</a:t>
            </a:r>
            <a:endParaRPr lang="en-US" dirty="0"/>
          </a:p>
        </p:txBody>
      </p:sp>
      <p:sp>
        <p:nvSpPr>
          <p:cNvPr id="4" name="Slide Number Placeholder 3"/>
          <p:cNvSpPr>
            <a:spLocks noGrp="1"/>
          </p:cNvSpPr>
          <p:nvPr>
            <p:ph type="sldNum" sz="quarter" idx="10"/>
          </p:nvPr>
        </p:nvSpPr>
        <p:spPr/>
        <p:txBody>
          <a:bodyPr/>
          <a:lstStyle/>
          <a:p>
            <a:fld id="{010BE93B-B4D6-4E29-B321-64772F551831}" type="slidenum">
              <a:rPr lang="en-US" smtClean="0"/>
              <a:t>216</a:t>
            </a:fld>
            <a:endParaRPr lang="en-US"/>
          </a:p>
        </p:txBody>
      </p:sp>
    </p:spTree>
    <p:extLst>
      <p:ext uri="{BB962C8B-B14F-4D97-AF65-F5344CB8AC3E}">
        <p14:creationId xmlns:p14="http://schemas.microsoft.com/office/powerpoint/2010/main" val="2389245771"/>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timeline, cycle, process, sprints, release</a:t>
            </a:r>
            <a:endParaRPr lang="en-US" dirty="0"/>
          </a:p>
        </p:txBody>
      </p:sp>
      <p:sp>
        <p:nvSpPr>
          <p:cNvPr id="4" name="Slide Number Placeholder 3"/>
          <p:cNvSpPr>
            <a:spLocks noGrp="1"/>
          </p:cNvSpPr>
          <p:nvPr>
            <p:ph type="sldNum" sz="quarter" idx="10"/>
          </p:nvPr>
        </p:nvSpPr>
        <p:spPr/>
        <p:txBody>
          <a:bodyPr/>
          <a:lstStyle/>
          <a:p>
            <a:fld id="{010BE93B-B4D6-4E29-B321-64772F551831}" type="slidenum">
              <a:rPr lang="en-US" smtClean="0"/>
              <a:t>217</a:t>
            </a:fld>
            <a:endParaRPr lang="en-US"/>
          </a:p>
        </p:txBody>
      </p:sp>
    </p:spTree>
    <p:extLst>
      <p:ext uri="{BB962C8B-B14F-4D97-AF65-F5344CB8AC3E}">
        <p14:creationId xmlns:p14="http://schemas.microsoft.com/office/powerpoint/2010/main" val="2018620887"/>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timeline, months, progress</a:t>
            </a:r>
            <a:endParaRPr lang="en-US" dirty="0"/>
          </a:p>
        </p:txBody>
      </p:sp>
      <p:sp>
        <p:nvSpPr>
          <p:cNvPr id="4" name="Slide Number Placeholder 3"/>
          <p:cNvSpPr>
            <a:spLocks noGrp="1"/>
          </p:cNvSpPr>
          <p:nvPr>
            <p:ph type="sldNum" sz="quarter" idx="10"/>
          </p:nvPr>
        </p:nvSpPr>
        <p:spPr/>
        <p:txBody>
          <a:bodyPr/>
          <a:lstStyle/>
          <a:p>
            <a:fld id="{010BE93B-B4D6-4E29-B321-64772F551831}" type="slidenum">
              <a:rPr lang="en-US" smtClean="0"/>
              <a:t>218</a:t>
            </a:fld>
            <a:endParaRPr lang="en-US"/>
          </a:p>
        </p:txBody>
      </p:sp>
    </p:spTree>
    <p:extLst>
      <p:ext uri="{BB962C8B-B14F-4D97-AF65-F5344CB8AC3E}">
        <p14:creationId xmlns:p14="http://schemas.microsoft.com/office/powerpoint/2010/main" val="2781796645"/>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 project plan, roadmap, table</a:t>
            </a:r>
            <a:endParaRPr lang="en-US" dirty="0"/>
          </a:p>
        </p:txBody>
      </p:sp>
      <p:sp>
        <p:nvSpPr>
          <p:cNvPr id="4" name="Slide Number Placeholder 3"/>
          <p:cNvSpPr>
            <a:spLocks noGrp="1"/>
          </p:cNvSpPr>
          <p:nvPr>
            <p:ph type="sldNum" sz="quarter" idx="10"/>
          </p:nvPr>
        </p:nvSpPr>
        <p:spPr/>
        <p:txBody>
          <a:bodyPr/>
          <a:lstStyle/>
          <a:p>
            <a:fld id="{010BE93B-B4D6-4E29-B321-64772F551831}" type="slidenum">
              <a:rPr lang="en-US" smtClean="0"/>
              <a:t>219</a:t>
            </a:fld>
            <a:endParaRPr lang="en-US"/>
          </a:p>
        </p:txBody>
      </p:sp>
    </p:spTree>
    <p:extLst>
      <p:ext uri="{BB962C8B-B14F-4D97-AF65-F5344CB8AC3E}">
        <p14:creationId xmlns:p14="http://schemas.microsoft.com/office/powerpoint/2010/main" val="12592217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ement, left aligned text, right aligned image, question, image</a:t>
            </a:r>
          </a:p>
        </p:txBody>
      </p:sp>
      <p:sp>
        <p:nvSpPr>
          <p:cNvPr id="4" name="Slide Number Placeholder 3"/>
          <p:cNvSpPr>
            <a:spLocks noGrp="1"/>
          </p:cNvSpPr>
          <p:nvPr>
            <p:ph type="sldNum" sz="quarter" idx="10"/>
          </p:nvPr>
        </p:nvSpPr>
        <p:spPr/>
        <p:txBody>
          <a:bodyPr/>
          <a:lstStyle/>
          <a:p>
            <a:fld id="{D759AF6D-BA0E-4594-94DB-478664329D2A}" type="slidenum">
              <a:rPr lang="en-US" smtClean="0"/>
              <a:t>24</a:t>
            </a:fld>
            <a:endParaRPr lang="en-US"/>
          </a:p>
        </p:txBody>
      </p:sp>
    </p:spTree>
    <p:extLst>
      <p:ext uri="{BB962C8B-B14F-4D97-AF65-F5344CB8AC3E}">
        <p14:creationId xmlns:p14="http://schemas.microsoft.com/office/powerpoint/2010/main" val="1519886232"/>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timeline, approach, table</a:t>
            </a:r>
            <a:endParaRPr lang="en-US" dirty="0"/>
          </a:p>
        </p:txBody>
      </p:sp>
      <p:sp>
        <p:nvSpPr>
          <p:cNvPr id="4" name="Slide Number Placeholder 3"/>
          <p:cNvSpPr>
            <a:spLocks noGrp="1"/>
          </p:cNvSpPr>
          <p:nvPr>
            <p:ph type="sldNum" sz="quarter" idx="10"/>
          </p:nvPr>
        </p:nvSpPr>
        <p:spPr/>
        <p:txBody>
          <a:bodyPr/>
          <a:lstStyle/>
          <a:p>
            <a:fld id="{010BE93B-B4D6-4E29-B321-64772F551831}" type="slidenum">
              <a:rPr lang="en-US" smtClean="0"/>
              <a:t>220</a:t>
            </a:fld>
            <a:endParaRPr lang="en-US"/>
          </a:p>
        </p:txBody>
      </p:sp>
    </p:spTree>
    <p:extLst>
      <p:ext uri="{BB962C8B-B14F-4D97-AF65-F5344CB8AC3E}">
        <p14:creationId xmlns:p14="http://schemas.microsoft.com/office/powerpoint/2010/main" val="3150938645"/>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timeline, week, table</a:t>
            </a:r>
            <a:endParaRPr lang="en-US" dirty="0"/>
          </a:p>
        </p:txBody>
      </p:sp>
      <p:sp>
        <p:nvSpPr>
          <p:cNvPr id="4" name="Slide Number Placeholder 3"/>
          <p:cNvSpPr>
            <a:spLocks noGrp="1"/>
          </p:cNvSpPr>
          <p:nvPr>
            <p:ph type="sldNum" sz="quarter" idx="10"/>
          </p:nvPr>
        </p:nvSpPr>
        <p:spPr/>
        <p:txBody>
          <a:bodyPr/>
          <a:lstStyle/>
          <a:p>
            <a:fld id="{010BE93B-B4D6-4E29-B321-64772F551831}" type="slidenum">
              <a:rPr lang="en-US" smtClean="0"/>
              <a:t>221</a:t>
            </a:fld>
            <a:endParaRPr lang="en-US"/>
          </a:p>
        </p:txBody>
      </p:sp>
    </p:spTree>
    <p:extLst>
      <p:ext uri="{BB962C8B-B14F-4D97-AF65-F5344CB8AC3E}">
        <p14:creationId xmlns:p14="http://schemas.microsoft.com/office/powerpoint/2010/main" val="4103099230"/>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timeline, roadmap, table, project management, PMO</a:t>
            </a:r>
            <a:endParaRPr lang="en-US" dirty="0"/>
          </a:p>
        </p:txBody>
      </p:sp>
      <p:sp>
        <p:nvSpPr>
          <p:cNvPr id="4" name="Slide Number Placeholder 3"/>
          <p:cNvSpPr>
            <a:spLocks noGrp="1"/>
          </p:cNvSpPr>
          <p:nvPr>
            <p:ph type="sldNum" sz="quarter" idx="10"/>
          </p:nvPr>
        </p:nvSpPr>
        <p:spPr/>
        <p:txBody>
          <a:bodyPr/>
          <a:lstStyle/>
          <a:p>
            <a:fld id="{010BE93B-B4D6-4E29-B321-64772F551831}" type="slidenum">
              <a:rPr lang="en-US" smtClean="0"/>
              <a:t>222</a:t>
            </a:fld>
            <a:endParaRPr lang="en-US"/>
          </a:p>
        </p:txBody>
      </p:sp>
    </p:spTree>
    <p:extLst>
      <p:ext uri="{BB962C8B-B14F-4D97-AF65-F5344CB8AC3E}">
        <p14:creationId xmlns:p14="http://schemas.microsoft.com/office/powerpoint/2010/main" val="2633248030"/>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imeline, </a:t>
            </a:r>
            <a:r>
              <a:rPr lang="en-US" dirty="0" err="1"/>
              <a:t>gantt</a:t>
            </a:r>
            <a:r>
              <a:rPr lang="en-US" dirty="0"/>
              <a:t> chart, week, table</a:t>
            </a:r>
          </a:p>
        </p:txBody>
      </p:sp>
      <p:sp>
        <p:nvSpPr>
          <p:cNvPr id="4" name="Slide Number Placeholder 3"/>
          <p:cNvSpPr>
            <a:spLocks noGrp="1"/>
          </p:cNvSpPr>
          <p:nvPr>
            <p:ph type="sldNum" sz="quarter" idx="10"/>
          </p:nvPr>
        </p:nvSpPr>
        <p:spPr/>
        <p:txBody>
          <a:bodyPr/>
          <a:lstStyle/>
          <a:p>
            <a:fld id="{010BE93B-B4D6-4E29-B321-64772F551831}" type="slidenum">
              <a:rPr lang="en-US" smtClean="0"/>
              <a:t>223</a:t>
            </a:fld>
            <a:endParaRPr lang="en-US"/>
          </a:p>
        </p:txBody>
      </p:sp>
    </p:spTree>
    <p:extLst>
      <p:ext uri="{BB962C8B-B14F-4D97-AF65-F5344CB8AC3E}">
        <p14:creationId xmlns:p14="http://schemas.microsoft.com/office/powerpoint/2010/main" val="3430836081"/>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roadmap, progress, vision, future state</a:t>
            </a:r>
          </a:p>
        </p:txBody>
      </p:sp>
      <p:sp>
        <p:nvSpPr>
          <p:cNvPr id="4" name="Slide Number Placeholder 3"/>
          <p:cNvSpPr>
            <a:spLocks noGrp="1"/>
          </p:cNvSpPr>
          <p:nvPr>
            <p:ph type="sldNum" sz="quarter" idx="10"/>
          </p:nvPr>
        </p:nvSpPr>
        <p:spPr/>
        <p:txBody>
          <a:bodyPr/>
          <a:lstStyle/>
          <a:p>
            <a:fld id="{010BE93B-B4D6-4E29-B321-64772F551831}" type="slidenum">
              <a:rPr lang="en-US" smtClean="0"/>
              <a:t>224</a:t>
            </a:fld>
            <a:endParaRPr lang="en-US"/>
          </a:p>
        </p:txBody>
      </p:sp>
    </p:spTree>
    <p:extLst>
      <p:ext uri="{BB962C8B-B14F-4D97-AF65-F5344CB8AC3E}">
        <p14:creationId xmlns:p14="http://schemas.microsoft.com/office/powerpoint/2010/main" val="1807584073"/>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implementation,</a:t>
            </a:r>
            <a:r>
              <a:rPr lang="en-US" baseline="0" dirty="0"/>
              <a:t> roadmap, </a:t>
            </a:r>
            <a:r>
              <a:rPr lang="en-US" baseline="0" dirty="0" err="1"/>
              <a:t>gantt</a:t>
            </a:r>
            <a:r>
              <a:rPr lang="en-US" baseline="0" dirty="0"/>
              <a:t> chart, months</a:t>
            </a:r>
            <a:endParaRPr lang="en-US" dirty="0"/>
          </a:p>
        </p:txBody>
      </p:sp>
      <p:sp>
        <p:nvSpPr>
          <p:cNvPr id="4" name="Slide Number Placeholder 3"/>
          <p:cNvSpPr>
            <a:spLocks noGrp="1"/>
          </p:cNvSpPr>
          <p:nvPr>
            <p:ph type="sldNum" sz="quarter" idx="10"/>
          </p:nvPr>
        </p:nvSpPr>
        <p:spPr/>
        <p:txBody>
          <a:bodyPr/>
          <a:lstStyle/>
          <a:p>
            <a:fld id="{010BE93B-B4D6-4E29-B321-64772F551831}" type="slidenum">
              <a:rPr lang="en-US" smtClean="0"/>
              <a:t>225</a:t>
            </a:fld>
            <a:endParaRPr lang="en-US"/>
          </a:p>
        </p:txBody>
      </p:sp>
    </p:spTree>
    <p:extLst>
      <p:ext uri="{BB962C8B-B14F-4D97-AF65-F5344CB8AC3E}">
        <p14:creationId xmlns:p14="http://schemas.microsoft.com/office/powerpoint/2010/main" val="3176280509"/>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roadmap, table, process, timeline</a:t>
            </a:r>
          </a:p>
        </p:txBody>
      </p:sp>
      <p:sp>
        <p:nvSpPr>
          <p:cNvPr id="4" name="Slide Number Placeholder 3"/>
          <p:cNvSpPr>
            <a:spLocks noGrp="1"/>
          </p:cNvSpPr>
          <p:nvPr>
            <p:ph type="sldNum" sz="quarter" idx="10"/>
          </p:nvPr>
        </p:nvSpPr>
        <p:spPr/>
        <p:txBody>
          <a:bodyPr/>
          <a:lstStyle/>
          <a:p>
            <a:fld id="{010BE93B-B4D6-4E29-B321-64772F551831}" type="slidenum">
              <a:rPr lang="en-US" smtClean="0"/>
              <a:t>226</a:t>
            </a:fld>
            <a:endParaRPr lang="en-US"/>
          </a:p>
        </p:txBody>
      </p:sp>
    </p:spTree>
    <p:extLst>
      <p:ext uri="{BB962C8B-B14F-4D97-AF65-F5344CB8AC3E}">
        <p14:creationId xmlns:p14="http://schemas.microsoft.com/office/powerpoint/2010/main" val="2353458203"/>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roadmap, text, months, high level</a:t>
            </a:r>
          </a:p>
        </p:txBody>
      </p:sp>
      <p:sp>
        <p:nvSpPr>
          <p:cNvPr id="4" name="Slide Number Placeholder 3"/>
          <p:cNvSpPr>
            <a:spLocks noGrp="1"/>
          </p:cNvSpPr>
          <p:nvPr>
            <p:ph type="sldNum" sz="quarter" idx="10"/>
          </p:nvPr>
        </p:nvSpPr>
        <p:spPr/>
        <p:txBody>
          <a:bodyPr/>
          <a:lstStyle/>
          <a:p>
            <a:fld id="{010BE93B-B4D6-4E29-B321-64772F551831}" type="slidenum">
              <a:rPr lang="en-US" smtClean="0"/>
              <a:t>227</a:t>
            </a:fld>
            <a:endParaRPr lang="en-US"/>
          </a:p>
        </p:txBody>
      </p:sp>
    </p:spTree>
    <p:extLst>
      <p:ext uri="{BB962C8B-B14F-4D97-AF65-F5344CB8AC3E}">
        <p14:creationId xmlns:p14="http://schemas.microsoft.com/office/powerpoint/2010/main" val="1751928774"/>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project plan, current state, future state</a:t>
            </a:r>
          </a:p>
        </p:txBody>
      </p:sp>
      <p:sp>
        <p:nvSpPr>
          <p:cNvPr id="4" name="Slide Number Placeholder 3"/>
          <p:cNvSpPr>
            <a:spLocks noGrp="1"/>
          </p:cNvSpPr>
          <p:nvPr>
            <p:ph type="sldNum" sz="quarter" idx="10"/>
          </p:nvPr>
        </p:nvSpPr>
        <p:spPr/>
        <p:txBody>
          <a:bodyPr/>
          <a:lstStyle/>
          <a:p>
            <a:fld id="{010BE93B-B4D6-4E29-B321-64772F551831}" type="slidenum">
              <a:rPr lang="en-US" smtClean="0"/>
              <a:t>228</a:t>
            </a:fld>
            <a:endParaRPr lang="en-US"/>
          </a:p>
        </p:txBody>
      </p:sp>
    </p:spTree>
    <p:extLst>
      <p:ext uri="{BB962C8B-B14F-4D97-AF65-F5344CB8AC3E}">
        <p14:creationId xmlns:p14="http://schemas.microsoft.com/office/powerpoint/2010/main" val="493831775"/>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roadmap, implementation, path, journey, future state</a:t>
            </a:r>
          </a:p>
        </p:txBody>
      </p:sp>
      <p:sp>
        <p:nvSpPr>
          <p:cNvPr id="4" name="Slide Number Placeholder 3"/>
          <p:cNvSpPr>
            <a:spLocks noGrp="1"/>
          </p:cNvSpPr>
          <p:nvPr>
            <p:ph type="sldNum" sz="quarter" idx="10"/>
          </p:nvPr>
        </p:nvSpPr>
        <p:spPr/>
        <p:txBody>
          <a:bodyPr/>
          <a:lstStyle/>
          <a:p>
            <a:fld id="{010BE93B-B4D6-4E29-B321-64772F551831}" type="slidenum">
              <a:rPr lang="en-US" smtClean="0"/>
              <a:t>229</a:t>
            </a:fld>
            <a:endParaRPr lang="en-US"/>
          </a:p>
        </p:txBody>
      </p:sp>
    </p:spTree>
    <p:extLst>
      <p:ext uri="{BB962C8B-B14F-4D97-AF65-F5344CB8AC3E}">
        <p14:creationId xmlns:p14="http://schemas.microsoft.com/office/powerpoint/2010/main" val="16356364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ement, quote, image, bold, statement</a:t>
            </a:r>
          </a:p>
        </p:txBody>
      </p:sp>
      <p:sp>
        <p:nvSpPr>
          <p:cNvPr id="4" name="Slide Number Placeholder 3"/>
          <p:cNvSpPr>
            <a:spLocks noGrp="1"/>
          </p:cNvSpPr>
          <p:nvPr>
            <p:ph type="sldNum" sz="quarter" idx="10"/>
          </p:nvPr>
        </p:nvSpPr>
        <p:spPr/>
        <p:txBody>
          <a:bodyPr/>
          <a:lstStyle/>
          <a:p>
            <a:fld id="{5EDD572C-0642-445C-95EA-9BF60C5DC72B}" type="slidenum">
              <a:rPr lang="en-US" smtClean="0"/>
              <a:t>25</a:t>
            </a:fld>
            <a:endParaRPr lang="en-US"/>
          </a:p>
        </p:txBody>
      </p:sp>
    </p:spTree>
    <p:extLst>
      <p:ext uri="{BB962C8B-B14F-4D97-AF65-F5344CB8AC3E}">
        <p14:creationId xmlns:p14="http://schemas.microsoft.com/office/powerpoint/2010/main" val="2706671789"/>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roadmap </a:t>
            </a:r>
          </a:p>
        </p:txBody>
      </p:sp>
      <p:sp>
        <p:nvSpPr>
          <p:cNvPr id="4" name="Slide Number Placeholder 3"/>
          <p:cNvSpPr>
            <a:spLocks noGrp="1"/>
          </p:cNvSpPr>
          <p:nvPr>
            <p:ph type="sldNum" sz="quarter" idx="10"/>
          </p:nvPr>
        </p:nvSpPr>
        <p:spPr/>
        <p:txBody>
          <a:bodyPr/>
          <a:lstStyle/>
          <a:p>
            <a:fld id="{010BE93B-B4D6-4E29-B321-64772F551831}" type="slidenum">
              <a:rPr lang="en-US" smtClean="0"/>
              <a:t>230</a:t>
            </a:fld>
            <a:endParaRPr lang="en-US"/>
          </a:p>
        </p:txBody>
      </p:sp>
    </p:spTree>
    <p:extLst>
      <p:ext uri="{BB962C8B-B14F-4D97-AF65-F5344CB8AC3E}">
        <p14:creationId xmlns:p14="http://schemas.microsoft.com/office/powerpoint/2010/main" val="4032451135"/>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pproach, timeline, </a:t>
            </a:r>
            <a:r>
              <a:rPr lang="en-US" dirty="0" err="1"/>
              <a:t>gantt</a:t>
            </a:r>
            <a:r>
              <a:rPr lang="en-US" dirty="0"/>
              <a:t> chart</a:t>
            </a:r>
          </a:p>
        </p:txBody>
      </p:sp>
      <p:sp>
        <p:nvSpPr>
          <p:cNvPr id="4" name="Slide Number Placeholder 3"/>
          <p:cNvSpPr>
            <a:spLocks noGrp="1"/>
          </p:cNvSpPr>
          <p:nvPr>
            <p:ph type="sldNum" sz="quarter" idx="10"/>
          </p:nvPr>
        </p:nvSpPr>
        <p:spPr/>
        <p:txBody>
          <a:bodyPr/>
          <a:lstStyle/>
          <a:p>
            <a:fld id="{010BE93B-B4D6-4E29-B321-64772F551831}" type="slidenum">
              <a:rPr lang="en-US" smtClean="0"/>
              <a:t>231</a:t>
            </a:fld>
            <a:endParaRPr lang="en-US"/>
          </a:p>
        </p:txBody>
      </p:sp>
    </p:spTree>
    <p:extLst>
      <p:ext uri="{BB962C8B-B14F-4D97-AF65-F5344CB8AC3E}">
        <p14:creationId xmlns:p14="http://schemas.microsoft.com/office/powerpoint/2010/main" val="2486312302"/>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calendar, timeline, sprint, phase</a:t>
            </a:r>
          </a:p>
        </p:txBody>
      </p:sp>
      <p:sp>
        <p:nvSpPr>
          <p:cNvPr id="4" name="Slide Number Placeholder 3"/>
          <p:cNvSpPr>
            <a:spLocks noGrp="1"/>
          </p:cNvSpPr>
          <p:nvPr>
            <p:ph type="sldNum" sz="quarter" idx="10"/>
          </p:nvPr>
        </p:nvSpPr>
        <p:spPr/>
        <p:txBody>
          <a:bodyPr/>
          <a:lstStyle/>
          <a:p>
            <a:fld id="{5EDD572C-0642-445C-95EA-9BF60C5DC72B}" type="slidenum">
              <a:rPr lang="en-US" smtClean="0"/>
              <a:t>232</a:t>
            </a:fld>
            <a:endParaRPr lang="en-US"/>
          </a:p>
        </p:txBody>
      </p:sp>
    </p:spTree>
    <p:extLst>
      <p:ext uri="{BB962C8B-B14F-4D97-AF65-F5344CB8AC3E}">
        <p14:creationId xmlns:p14="http://schemas.microsoft.com/office/powerpoint/2010/main" val="705000170"/>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workplan, project management, table, </a:t>
            </a:r>
            <a:r>
              <a:rPr lang="en-US" dirty="0" err="1"/>
              <a:t>gantt</a:t>
            </a:r>
            <a:r>
              <a:rPr lang="en-US" dirty="0"/>
              <a:t> chart</a:t>
            </a:r>
          </a:p>
        </p:txBody>
      </p:sp>
      <p:sp>
        <p:nvSpPr>
          <p:cNvPr id="4" name="Slide Number Placeholder 3"/>
          <p:cNvSpPr>
            <a:spLocks noGrp="1"/>
          </p:cNvSpPr>
          <p:nvPr>
            <p:ph type="sldNum" sz="quarter" idx="10"/>
          </p:nvPr>
        </p:nvSpPr>
        <p:spPr/>
        <p:txBody>
          <a:bodyPr/>
          <a:lstStyle/>
          <a:p>
            <a:fld id="{010BE93B-B4D6-4E29-B321-64772F551831}" type="slidenum">
              <a:rPr lang="en-US" smtClean="0"/>
              <a:t>233</a:t>
            </a:fld>
            <a:endParaRPr lang="en-US"/>
          </a:p>
        </p:txBody>
      </p:sp>
    </p:spTree>
    <p:extLst>
      <p:ext uri="{BB962C8B-B14F-4D97-AF65-F5344CB8AC3E}">
        <p14:creationId xmlns:p14="http://schemas.microsoft.com/office/powerpoint/2010/main" val="3281663102"/>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pproach, table, week, timeline</a:t>
            </a:r>
          </a:p>
        </p:txBody>
      </p:sp>
      <p:sp>
        <p:nvSpPr>
          <p:cNvPr id="4" name="Slide Number Placeholder 3"/>
          <p:cNvSpPr>
            <a:spLocks noGrp="1"/>
          </p:cNvSpPr>
          <p:nvPr>
            <p:ph type="sldNum" sz="quarter" idx="10"/>
          </p:nvPr>
        </p:nvSpPr>
        <p:spPr/>
        <p:txBody>
          <a:bodyPr/>
          <a:lstStyle/>
          <a:p>
            <a:fld id="{5EDD572C-0642-445C-95EA-9BF60C5DC72B}" type="slidenum">
              <a:rPr lang="en-US" smtClean="0"/>
              <a:t>234</a:t>
            </a:fld>
            <a:endParaRPr lang="en-US"/>
          </a:p>
        </p:txBody>
      </p:sp>
    </p:spTree>
    <p:extLst>
      <p:ext uri="{BB962C8B-B14F-4D97-AF65-F5344CB8AC3E}">
        <p14:creationId xmlns:p14="http://schemas.microsoft.com/office/powerpoint/2010/main" val="650882486"/>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week, phase, timeline, roadmap, phase, table</a:t>
            </a:r>
          </a:p>
        </p:txBody>
      </p:sp>
      <p:sp>
        <p:nvSpPr>
          <p:cNvPr id="4" name="Slide Number Placeholder 3"/>
          <p:cNvSpPr>
            <a:spLocks noGrp="1"/>
          </p:cNvSpPr>
          <p:nvPr>
            <p:ph type="sldNum" sz="quarter" idx="10"/>
          </p:nvPr>
        </p:nvSpPr>
        <p:spPr/>
        <p:txBody>
          <a:bodyPr/>
          <a:lstStyle/>
          <a:p>
            <a:fld id="{010BE93B-B4D6-4E29-B321-64772F551831}" type="slidenum">
              <a:rPr lang="en-US" smtClean="0"/>
              <a:t>235</a:t>
            </a:fld>
            <a:endParaRPr lang="en-US"/>
          </a:p>
        </p:txBody>
      </p:sp>
    </p:spTree>
    <p:extLst>
      <p:ext uri="{BB962C8B-B14F-4D97-AF65-F5344CB8AC3E}">
        <p14:creationId xmlns:p14="http://schemas.microsoft.com/office/powerpoint/2010/main" val="2034905020"/>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30DD4E1-E176-49D7-9859-91157D402D02}" type="slidenum">
              <a:rPr lang="en-US" smtClean="0"/>
              <a:t>236</a:t>
            </a:fld>
            <a:endParaRPr lang="en-US"/>
          </a:p>
        </p:txBody>
      </p:sp>
    </p:spTree>
    <p:extLst>
      <p:ext uri="{BB962C8B-B14F-4D97-AF65-F5344CB8AC3E}">
        <p14:creationId xmlns:p14="http://schemas.microsoft.com/office/powerpoint/2010/main" val="2655859667"/>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case study, text, context, image</a:t>
            </a:r>
          </a:p>
        </p:txBody>
      </p:sp>
      <p:sp>
        <p:nvSpPr>
          <p:cNvPr id="4" name="Slide Number Placeholder 3"/>
          <p:cNvSpPr>
            <a:spLocks noGrp="1"/>
          </p:cNvSpPr>
          <p:nvPr>
            <p:ph type="sldNum" sz="quarter" idx="10"/>
          </p:nvPr>
        </p:nvSpPr>
        <p:spPr/>
        <p:txBody>
          <a:bodyPr/>
          <a:lstStyle/>
          <a:p>
            <a:fld id="{830DD4E1-E176-49D7-9859-91157D402D02}" type="slidenum">
              <a:rPr lang="en-US" smtClean="0"/>
              <a:t>237</a:t>
            </a:fld>
            <a:endParaRPr lang="en-US"/>
          </a:p>
        </p:txBody>
      </p:sp>
    </p:spTree>
    <p:extLst>
      <p:ext uri="{BB962C8B-B14F-4D97-AF65-F5344CB8AC3E}">
        <p14:creationId xmlns:p14="http://schemas.microsoft.com/office/powerpoint/2010/main" val="117613149"/>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infographic, numbers, price</a:t>
            </a:r>
          </a:p>
        </p:txBody>
      </p:sp>
      <p:sp>
        <p:nvSpPr>
          <p:cNvPr id="4" name="Slide Number Placeholder 3"/>
          <p:cNvSpPr>
            <a:spLocks noGrp="1"/>
          </p:cNvSpPr>
          <p:nvPr>
            <p:ph type="sldNum" sz="quarter" idx="10"/>
          </p:nvPr>
        </p:nvSpPr>
        <p:spPr/>
        <p:txBody>
          <a:bodyPr/>
          <a:lstStyle/>
          <a:p>
            <a:fld id="{830DD4E1-E176-49D7-9859-91157D402D02}" type="slidenum">
              <a:rPr lang="en-US" smtClean="0"/>
              <a:t>238</a:t>
            </a:fld>
            <a:endParaRPr lang="en-US"/>
          </a:p>
        </p:txBody>
      </p:sp>
    </p:spTree>
    <p:extLst>
      <p:ext uri="{BB962C8B-B14F-4D97-AF65-F5344CB8AC3E}">
        <p14:creationId xmlns:p14="http://schemas.microsoft.com/office/powerpoint/2010/main" val="599720877"/>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t>
            </a:r>
            <a:r>
              <a:rPr lang="en-US" dirty="0" err="1"/>
              <a:t>qual</a:t>
            </a:r>
            <a:r>
              <a:rPr lang="en-US" dirty="0"/>
              <a:t>, image, text</a:t>
            </a:r>
          </a:p>
        </p:txBody>
      </p:sp>
      <p:sp>
        <p:nvSpPr>
          <p:cNvPr id="4" name="Slide Number Placeholder 3"/>
          <p:cNvSpPr>
            <a:spLocks noGrp="1"/>
          </p:cNvSpPr>
          <p:nvPr>
            <p:ph type="sldNum" sz="quarter" idx="10"/>
          </p:nvPr>
        </p:nvSpPr>
        <p:spPr/>
        <p:txBody>
          <a:bodyPr/>
          <a:lstStyle/>
          <a:p>
            <a:fld id="{830DD4E1-E176-49D7-9859-91157D402D02}" type="slidenum">
              <a:rPr lang="en-US" smtClean="0"/>
              <a:t>239</a:t>
            </a:fld>
            <a:endParaRPr lang="en-US"/>
          </a:p>
        </p:txBody>
      </p:sp>
    </p:spTree>
    <p:extLst>
      <p:ext uri="{BB962C8B-B14F-4D97-AF65-F5344CB8AC3E}">
        <p14:creationId xmlns:p14="http://schemas.microsoft.com/office/powerpoint/2010/main" val="4480404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ement, vision, overview, left aligned text, right aligned image</a:t>
            </a:r>
          </a:p>
        </p:txBody>
      </p:sp>
      <p:sp>
        <p:nvSpPr>
          <p:cNvPr id="4" name="Slide Number Placeholder 3"/>
          <p:cNvSpPr>
            <a:spLocks noGrp="1"/>
          </p:cNvSpPr>
          <p:nvPr>
            <p:ph type="sldNum" sz="quarter" idx="10"/>
          </p:nvPr>
        </p:nvSpPr>
        <p:spPr/>
        <p:txBody>
          <a:bodyPr/>
          <a:lstStyle/>
          <a:p>
            <a:fld id="{D759AF6D-BA0E-4594-94DB-478664329D2A}" type="slidenum">
              <a:rPr lang="en-US" smtClean="0"/>
              <a:t>26</a:t>
            </a:fld>
            <a:endParaRPr lang="en-US"/>
          </a:p>
        </p:txBody>
      </p:sp>
    </p:spTree>
    <p:extLst>
      <p:ext uri="{BB962C8B-B14F-4D97-AF65-F5344CB8AC3E}">
        <p14:creationId xmlns:p14="http://schemas.microsoft.com/office/powerpoint/2010/main" val="2130959463"/>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ags: </a:t>
            </a:r>
            <a:r>
              <a:rPr lang="en-US" dirty="0" err="1"/>
              <a:t>qual</a:t>
            </a:r>
            <a:r>
              <a:rPr lang="en-US" dirty="0"/>
              <a:t>, image, text</a:t>
            </a:r>
          </a:p>
          <a:p>
            <a:endParaRPr lang="en-US" dirty="0"/>
          </a:p>
        </p:txBody>
      </p:sp>
      <p:sp>
        <p:nvSpPr>
          <p:cNvPr id="4" name="Slide Number Placeholder 3"/>
          <p:cNvSpPr>
            <a:spLocks noGrp="1"/>
          </p:cNvSpPr>
          <p:nvPr>
            <p:ph type="sldNum" sz="quarter" idx="10"/>
          </p:nvPr>
        </p:nvSpPr>
        <p:spPr/>
        <p:txBody>
          <a:bodyPr/>
          <a:lstStyle/>
          <a:p>
            <a:fld id="{830DD4E1-E176-49D7-9859-91157D402D02}" type="slidenum">
              <a:rPr lang="en-US" smtClean="0"/>
              <a:t>240</a:t>
            </a:fld>
            <a:endParaRPr lang="en-US"/>
          </a:p>
        </p:txBody>
      </p:sp>
    </p:spTree>
    <p:extLst>
      <p:ext uri="{BB962C8B-B14F-4D97-AF65-F5344CB8AC3E}">
        <p14:creationId xmlns:p14="http://schemas.microsoft.com/office/powerpoint/2010/main" val="1626135436"/>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ags: </a:t>
            </a:r>
            <a:r>
              <a:rPr lang="en-US" dirty="0" err="1"/>
              <a:t>qual</a:t>
            </a:r>
            <a:r>
              <a:rPr lang="en-US" dirty="0"/>
              <a:t>, icons, text</a:t>
            </a:r>
          </a:p>
          <a:p>
            <a:endParaRPr lang="en-US" dirty="0"/>
          </a:p>
        </p:txBody>
      </p:sp>
      <p:sp>
        <p:nvSpPr>
          <p:cNvPr id="4" name="Slide Number Placeholder 3"/>
          <p:cNvSpPr>
            <a:spLocks noGrp="1"/>
          </p:cNvSpPr>
          <p:nvPr>
            <p:ph type="sldNum" sz="quarter" idx="10"/>
          </p:nvPr>
        </p:nvSpPr>
        <p:spPr/>
        <p:txBody>
          <a:bodyPr/>
          <a:lstStyle/>
          <a:p>
            <a:fld id="{830DD4E1-E176-49D7-9859-91157D402D02}" type="slidenum">
              <a:rPr lang="en-US" smtClean="0"/>
              <a:t>241</a:t>
            </a:fld>
            <a:endParaRPr lang="en-US"/>
          </a:p>
        </p:txBody>
      </p:sp>
    </p:spTree>
    <p:extLst>
      <p:ext uri="{BB962C8B-B14F-4D97-AF65-F5344CB8AC3E}">
        <p14:creationId xmlns:p14="http://schemas.microsoft.com/office/powerpoint/2010/main" val="2944394131"/>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icons, text, image, </a:t>
            </a:r>
            <a:r>
              <a:rPr lang="en-US" dirty="0" err="1"/>
              <a:t>qual</a:t>
            </a:r>
            <a:endParaRPr lang="en-US" dirty="0"/>
          </a:p>
        </p:txBody>
      </p:sp>
      <p:sp>
        <p:nvSpPr>
          <p:cNvPr id="4" name="Slide Number Placeholder 3"/>
          <p:cNvSpPr>
            <a:spLocks noGrp="1"/>
          </p:cNvSpPr>
          <p:nvPr>
            <p:ph type="sldNum" sz="quarter" idx="10"/>
          </p:nvPr>
        </p:nvSpPr>
        <p:spPr/>
        <p:txBody>
          <a:bodyPr/>
          <a:lstStyle/>
          <a:p>
            <a:fld id="{5EDD572C-0642-445C-95EA-9BF60C5DC72B}" type="slidenum">
              <a:rPr lang="en-US" smtClean="0"/>
              <a:t>242</a:t>
            </a:fld>
            <a:endParaRPr lang="en-US"/>
          </a:p>
        </p:txBody>
      </p:sp>
    </p:spTree>
    <p:extLst>
      <p:ext uri="{BB962C8B-B14F-4D97-AF65-F5344CB8AC3E}">
        <p14:creationId xmlns:p14="http://schemas.microsoft.com/office/powerpoint/2010/main" val="2758128943"/>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list, numbers, achievement, accomplishment, approach</a:t>
            </a:r>
          </a:p>
        </p:txBody>
      </p:sp>
      <p:sp>
        <p:nvSpPr>
          <p:cNvPr id="4" name="Slide Number Placeholder 3"/>
          <p:cNvSpPr>
            <a:spLocks noGrp="1"/>
          </p:cNvSpPr>
          <p:nvPr>
            <p:ph type="sldNum" sz="quarter" idx="10"/>
          </p:nvPr>
        </p:nvSpPr>
        <p:spPr/>
        <p:txBody>
          <a:bodyPr/>
          <a:lstStyle/>
          <a:p>
            <a:fld id="{5EDD572C-0642-445C-95EA-9BF60C5DC72B}" type="slidenum">
              <a:rPr lang="en-US" smtClean="0"/>
              <a:t>243</a:t>
            </a:fld>
            <a:endParaRPr lang="en-US"/>
          </a:p>
        </p:txBody>
      </p:sp>
    </p:spTree>
    <p:extLst>
      <p:ext uri="{BB962C8B-B14F-4D97-AF65-F5344CB8AC3E}">
        <p14:creationId xmlns:p14="http://schemas.microsoft.com/office/powerpoint/2010/main" val="315244056"/>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bubble, images, text</a:t>
            </a:r>
          </a:p>
        </p:txBody>
      </p:sp>
      <p:sp>
        <p:nvSpPr>
          <p:cNvPr id="4" name="Slide Number Placeholder 3"/>
          <p:cNvSpPr>
            <a:spLocks noGrp="1"/>
          </p:cNvSpPr>
          <p:nvPr>
            <p:ph type="sldNum" sz="quarter" idx="10"/>
          </p:nvPr>
        </p:nvSpPr>
        <p:spPr/>
        <p:txBody>
          <a:bodyPr/>
          <a:lstStyle/>
          <a:p>
            <a:fld id="{5689E7E8-36E4-467C-8300-85BCF6933FBA}" type="slidenum">
              <a:rPr lang="en-US" smtClean="0"/>
              <a:t>244</a:t>
            </a:fld>
            <a:endParaRPr lang="en-US"/>
          </a:p>
        </p:txBody>
      </p:sp>
    </p:spTree>
    <p:extLst>
      <p:ext uri="{BB962C8B-B14F-4D97-AF65-F5344CB8AC3E}">
        <p14:creationId xmlns:p14="http://schemas.microsoft.com/office/powerpoint/2010/main" val="286036202"/>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examples,</a:t>
            </a:r>
            <a:r>
              <a:rPr lang="en-US" baseline="0" dirty="0"/>
              <a:t> logos, case studies, comparison</a:t>
            </a:r>
            <a:endParaRPr lang="en-US" dirty="0"/>
          </a:p>
        </p:txBody>
      </p:sp>
      <p:sp>
        <p:nvSpPr>
          <p:cNvPr id="4" name="Slide Number Placeholder 3"/>
          <p:cNvSpPr>
            <a:spLocks noGrp="1"/>
          </p:cNvSpPr>
          <p:nvPr>
            <p:ph type="sldNum" sz="quarter" idx="10"/>
          </p:nvPr>
        </p:nvSpPr>
        <p:spPr/>
        <p:txBody>
          <a:bodyPr/>
          <a:lstStyle/>
          <a:p>
            <a:fld id="{830DD4E1-E176-49D7-9859-91157D402D02}" type="slidenum">
              <a:rPr lang="en-US" smtClean="0"/>
              <a:t>245</a:t>
            </a:fld>
            <a:endParaRPr lang="en-US"/>
          </a:p>
        </p:txBody>
      </p:sp>
    </p:spTree>
    <p:extLst>
      <p:ext uri="{BB962C8B-B14F-4D97-AF65-F5344CB8AC3E}">
        <p14:creationId xmlns:p14="http://schemas.microsoft.com/office/powerpoint/2010/main" val="1078140347"/>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t>
            </a:r>
            <a:r>
              <a:rPr lang="en-US" dirty="0" err="1"/>
              <a:t>quals</a:t>
            </a:r>
            <a:r>
              <a:rPr lang="en-US" dirty="0"/>
              <a:t>, win, image, text</a:t>
            </a:r>
          </a:p>
        </p:txBody>
      </p:sp>
      <p:sp>
        <p:nvSpPr>
          <p:cNvPr id="4" name="Slide Number Placeholder 3"/>
          <p:cNvSpPr>
            <a:spLocks noGrp="1"/>
          </p:cNvSpPr>
          <p:nvPr>
            <p:ph type="sldNum" sz="quarter" idx="10"/>
          </p:nvPr>
        </p:nvSpPr>
        <p:spPr/>
        <p:txBody>
          <a:bodyPr/>
          <a:lstStyle/>
          <a:p>
            <a:fld id="{830DD4E1-E176-49D7-9859-91157D402D02}" type="slidenum">
              <a:rPr lang="en-US" smtClean="0"/>
              <a:t>246</a:t>
            </a:fld>
            <a:endParaRPr lang="en-US"/>
          </a:p>
        </p:txBody>
      </p:sp>
    </p:spTree>
    <p:extLst>
      <p:ext uri="{BB962C8B-B14F-4D97-AF65-F5344CB8AC3E}">
        <p14:creationId xmlns:p14="http://schemas.microsoft.com/office/powerpoint/2010/main" val="2349930145"/>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84694FE-3A91-4742-9AC1-2FCBA2021966}" type="slidenum">
              <a:rPr lang="en-US" smtClean="0"/>
              <a:t>247</a:t>
            </a:fld>
            <a:endParaRPr lang="en-US"/>
          </a:p>
        </p:txBody>
      </p:sp>
    </p:spTree>
    <p:extLst>
      <p:ext uri="{BB962C8B-B14F-4D97-AF65-F5344CB8AC3E}">
        <p14:creationId xmlns:p14="http://schemas.microsoft.com/office/powerpoint/2010/main" val="516751074"/>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am, icons, organization, roles</a:t>
            </a:r>
          </a:p>
        </p:txBody>
      </p:sp>
      <p:sp>
        <p:nvSpPr>
          <p:cNvPr id="4" name="Slide Number Placeholder 3"/>
          <p:cNvSpPr>
            <a:spLocks noGrp="1"/>
          </p:cNvSpPr>
          <p:nvPr>
            <p:ph type="sldNum" sz="quarter" idx="10"/>
          </p:nvPr>
        </p:nvSpPr>
        <p:spPr/>
        <p:txBody>
          <a:bodyPr/>
          <a:lstStyle/>
          <a:p>
            <a:fld id="{5EDD572C-0642-445C-95EA-9BF60C5DC72B}" type="slidenum">
              <a:rPr lang="en-US" smtClean="0"/>
              <a:t>248</a:t>
            </a:fld>
            <a:endParaRPr lang="en-US"/>
          </a:p>
        </p:txBody>
      </p:sp>
    </p:spTree>
    <p:extLst>
      <p:ext uri="{BB962C8B-B14F-4D97-AF65-F5344CB8AC3E}">
        <p14:creationId xmlns:p14="http://schemas.microsoft.com/office/powerpoint/2010/main" val="2508889698"/>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am, bio, biography, role, title</a:t>
            </a:r>
          </a:p>
        </p:txBody>
      </p:sp>
      <p:sp>
        <p:nvSpPr>
          <p:cNvPr id="4" name="Slide Number Placeholder 3"/>
          <p:cNvSpPr>
            <a:spLocks noGrp="1"/>
          </p:cNvSpPr>
          <p:nvPr>
            <p:ph type="sldNum" sz="quarter" idx="10"/>
          </p:nvPr>
        </p:nvSpPr>
        <p:spPr/>
        <p:txBody>
          <a:bodyPr/>
          <a:lstStyle/>
          <a:p>
            <a:fld id="{584694FE-3A91-4742-9AC1-2FCBA2021966}" type="slidenum">
              <a:rPr lang="en-US" smtClean="0"/>
              <a:t>249</a:t>
            </a:fld>
            <a:endParaRPr lang="en-US"/>
          </a:p>
        </p:txBody>
      </p:sp>
    </p:spTree>
    <p:extLst>
      <p:ext uri="{BB962C8B-B14F-4D97-AF65-F5344CB8AC3E}">
        <p14:creationId xmlns:p14="http://schemas.microsoft.com/office/powerpoint/2010/main" val="41458619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statement, list, why Deloitte?, question</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9AF6D-BA0E-4594-94DB-478664329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528974"/>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ags: structure, visual, roles, responsibilities</a:t>
            </a:r>
          </a:p>
        </p:txBody>
      </p:sp>
      <p:sp>
        <p:nvSpPr>
          <p:cNvPr id="4" name="Slide Number Placeholder 3"/>
          <p:cNvSpPr>
            <a:spLocks noGrp="1"/>
          </p:cNvSpPr>
          <p:nvPr>
            <p:ph type="sldNum" sz="quarter" idx="10"/>
          </p:nvPr>
        </p:nvSpPr>
        <p:spPr/>
        <p:txBody>
          <a:bodyPr/>
          <a:lstStyle/>
          <a:p>
            <a:fld id="{584694FE-3A91-4742-9AC1-2FCBA2021966}" type="slidenum">
              <a:rPr lang="en-US" smtClean="0"/>
              <a:t>250</a:t>
            </a:fld>
            <a:endParaRPr lang="en-US"/>
          </a:p>
        </p:txBody>
      </p:sp>
    </p:spTree>
    <p:extLst>
      <p:ext uri="{BB962C8B-B14F-4D97-AF65-F5344CB8AC3E}">
        <p14:creationId xmlns:p14="http://schemas.microsoft.com/office/powerpoint/2010/main" val="1631260332"/>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responsibilities, table, role, team</a:t>
            </a:r>
          </a:p>
        </p:txBody>
      </p:sp>
      <p:sp>
        <p:nvSpPr>
          <p:cNvPr id="4" name="Slide Number Placeholder 3"/>
          <p:cNvSpPr>
            <a:spLocks noGrp="1"/>
          </p:cNvSpPr>
          <p:nvPr>
            <p:ph type="sldNum" sz="quarter" idx="10"/>
          </p:nvPr>
        </p:nvSpPr>
        <p:spPr/>
        <p:txBody>
          <a:bodyPr/>
          <a:lstStyle/>
          <a:p>
            <a:fld id="{5EDD572C-0642-445C-95EA-9BF60C5DC72B}" type="slidenum">
              <a:rPr lang="en-US" smtClean="0"/>
              <a:t>251</a:t>
            </a:fld>
            <a:endParaRPr lang="en-US"/>
          </a:p>
        </p:txBody>
      </p:sp>
    </p:spTree>
    <p:extLst>
      <p:ext uri="{BB962C8B-B14F-4D97-AF65-F5344CB8AC3E}">
        <p14:creationId xmlns:p14="http://schemas.microsoft.com/office/powerpoint/2010/main" val="1340680947"/>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am, roles, objectives, table, text, box</a:t>
            </a:r>
          </a:p>
        </p:txBody>
      </p:sp>
      <p:sp>
        <p:nvSpPr>
          <p:cNvPr id="4" name="Slide Number Placeholder 3"/>
          <p:cNvSpPr>
            <a:spLocks noGrp="1"/>
          </p:cNvSpPr>
          <p:nvPr>
            <p:ph type="sldNum" sz="quarter" idx="10"/>
          </p:nvPr>
        </p:nvSpPr>
        <p:spPr/>
        <p:txBody>
          <a:bodyPr/>
          <a:lstStyle/>
          <a:p>
            <a:fld id="{584694FE-3A91-4742-9AC1-2FCBA2021966}" type="slidenum">
              <a:rPr lang="en-US" smtClean="0"/>
              <a:t>252</a:t>
            </a:fld>
            <a:endParaRPr lang="en-US"/>
          </a:p>
        </p:txBody>
      </p:sp>
    </p:spTree>
    <p:extLst>
      <p:ext uri="{BB962C8B-B14F-4D97-AF65-F5344CB8AC3E}">
        <p14:creationId xmlns:p14="http://schemas.microsoft.com/office/powerpoint/2010/main" val="2605637417"/>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visual, team, roles, workstreams</a:t>
            </a:r>
          </a:p>
        </p:txBody>
      </p:sp>
      <p:sp>
        <p:nvSpPr>
          <p:cNvPr id="4" name="Slide Number Placeholder 3"/>
          <p:cNvSpPr>
            <a:spLocks noGrp="1"/>
          </p:cNvSpPr>
          <p:nvPr>
            <p:ph type="sldNum" sz="quarter" idx="10"/>
          </p:nvPr>
        </p:nvSpPr>
        <p:spPr/>
        <p:txBody>
          <a:bodyPr/>
          <a:lstStyle/>
          <a:p>
            <a:fld id="{584694FE-3A91-4742-9AC1-2FCBA2021966}" type="slidenum">
              <a:rPr lang="en-US" smtClean="0"/>
              <a:t>253</a:t>
            </a:fld>
            <a:endParaRPr lang="en-US"/>
          </a:p>
        </p:txBody>
      </p:sp>
    </p:spTree>
    <p:extLst>
      <p:ext uri="{BB962C8B-B14F-4D97-AF65-F5344CB8AC3E}">
        <p14:creationId xmlns:p14="http://schemas.microsoft.com/office/powerpoint/2010/main" val="1384545313"/>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visual, box, roles, organization, workstreams</a:t>
            </a:r>
          </a:p>
        </p:txBody>
      </p:sp>
      <p:sp>
        <p:nvSpPr>
          <p:cNvPr id="4" name="Slide Number Placeholder 3"/>
          <p:cNvSpPr>
            <a:spLocks noGrp="1"/>
          </p:cNvSpPr>
          <p:nvPr>
            <p:ph type="sldNum" sz="quarter" idx="10"/>
          </p:nvPr>
        </p:nvSpPr>
        <p:spPr/>
        <p:txBody>
          <a:bodyPr/>
          <a:lstStyle/>
          <a:p>
            <a:fld id="{584694FE-3A91-4742-9AC1-2FCBA2021966}" type="slidenum">
              <a:rPr lang="en-US" smtClean="0"/>
              <a:t>254</a:t>
            </a:fld>
            <a:endParaRPr lang="en-US"/>
          </a:p>
        </p:txBody>
      </p:sp>
    </p:spTree>
    <p:extLst>
      <p:ext uri="{BB962C8B-B14F-4D97-AF65-F5344CB8AC3E}">
        <p14:creationId xmlns:p14="http://schemas.microsoft.com/office/powerpoint/2010/main" val="209617943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ement, quote, callout</a:t>
            </a:r>
          </a:p>
        </p:txBody>
      </p:sp>
      <p:sp>
        <p:nvSpPr>
          <p:cNvPr id="4" name="Slide Number Placeholder 3"/>
          <p:cNvSpPr>
            <a:spLocks noGrp="1"/>
          </p:cNvSpPr>
          <p:nvPr>
            <p:ph type="sldNum" sz="quarter" idx="10"/>
          </p:nvPr>
        </p:nvSpPr>
        <p:spPr/>
        <p:txBody>
          <a:bodyPr/>
          <a:lstStyle/>
          <a:p>
            <a:fld id="{5EDD572C-0642-445C-95EA-9BF60C5DC72B}" type="slidenum">
              <a:rPr lang="en-US" smtClean="0"/>
              <a:t>28</a:t>
            </a:fld>
            <a:endParaRPr lang="en-US"/>
          </a:p>
        </p:txBody>
      </p:sp>
    </p:spTree>
    <p:extLst>
      <p:ext uri="{BB962C8B-B14F-4D97-AF65-F5344CB8AC3E}">
        <p14:creationId xmlns:p14="http://schemas.microsoft.com/office/powerpoint/2010/main" val="134781134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cope, approach, RFP, proposal</a:t>
            </a:r>
          </a:p>
        </p:txBody>
      </p:sp>
      <p:sp>
        <p:nvSpPr>
          <p:cNvPr id="4" name="Slide Number Placeholder 3"/>
          <p:cNvSpPr>
            <a:spLocks noGrp="1"/>
          </p:cNvSpPr>
          <p:nvPr>
            <p:ph type="sldNum" sz="quarter" idx="10"/>
          </p:nvPr>
        </p:nvSpPr>
        <p:spPr/>
        <p:txBody>
          <a:bodyPr/>
          <a:lstStyle/>
          <a:p>
            <a:fld id="{D759AF6D-BA0E-4594-94DB-478664329D2A}" type="slidenum">
              <a:rPr lang="en-US" smtClean="0"/>
              <a:t>30</a:t>
            </a:fld>
            <a:endParaRPr lang="en-US"/>
          </a:p>
        </p:txBody>
      </p:sp>
    </p:spTree>
    <p:extLst>
      <p:ext uri="{BB962C8B-B14F-4D97-AF65-F5344CB8AC3E}">
        <p14:creationId xmlns:p14="http://schemas.microsoft.com/office/powerpoint/2010/main" val="5084983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pproach, overview, scope, list</a:t>
            </a:r>
          </a:p>
        </p:txBody>
      </p:sp>
      <p:sp>
        <p:nvSpPr>
          <p:cNvPr id="4" name="Slide Number Placeholder 3"/>
          <p:cNvSpPr>
            <a:spLocks noGrp="1"/>
          </p:cNvSpPr>
          <p:nvPr>
            <p:ph type="sldNum" sz="quarter" idx="10"/>
          </p:nvPr>
        </p:nvSpPr>
        <p:spPr/>
        <p:txBody>
          <a:bodyPr/>
          <a:lstStyle/>
          <a:p>
            <a:fld id="{D759AF6D-BA0E-4594-94DB-478664329D2A}" type="slidenum">
              <a:rPr lang="en-US" smtClean="0"/>
              <a:t>31</a:t>
            </a:fld>
            <a:endParaRPr lang="en-US"/>
          </a:p>
        </p:txBody>
      </p:sp>
    </p:spTree>
    <p:extLst>
      <p:ext uri="{BB962C8B-B14F-4D97-AF65-F5344CB8AC3E}">
        <p14:creationId xmlns:p14="http://schemas.microsoft.com/office/powerpoint/2010/main" val="325181929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cope, text boxes, icons</a:t>
            </a:r>
          </a:p>
        </p:txBody>
      </p:sp>
      <p:sp>
        <p:nvSpPr>
          <p:cNvPr id="4" name="Slide Number Placeholder 3"/>
          <p:cNvSpPr>
            <a:spLocks noGrp="1"/>
          </p:cNvSpPr>
          <p:nvPr>
            <p:ph type="sldNum" sz="quarter" idx="10"/>
          </p:nvPr>
        </p:nvSpPr>
        <p:spPr/>
        <p:txBody>
          <a:bodyPr/>
          <a:lstStyle/>
          <a:p>
            <a:fld id="{D759AF6D-BA0E-4594-94DB-478664329D2A}" type="slidenum">
              <a:rPr lang="en-US" smtClean="0"/>
              <a:t>32</a:t>
            </a:fld>
            <a:endParaRPr lang="en-US"/>
          </a:p>
        </p:txBody>
      </p:sp>
    </p:spTree>
    <p:extLst>
      <p:ext uri="{BB962C8B-B14F-4D97-AF65-F5344CB8AC3E}">
        <p14:creationId xmlns:p14="http://schemas.microsoft.com/office/powerpoint/2010/main" val="317531987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pproach, analysis, objectives, drivers, principles, interview</a:t>
            </a:r>
          </a:p>
        </p:txBody>
      </p:sp>
      <p:sp>
        <p:nvSpPr>
          <p:cNvPr id="4" name="Slide Number Placeholder 3"/>
          <p:cNvSpPr>
            <a:spLocks noGrp="1"/>
          </p:cNvSpPr>
          <p:nvPr>
            <p:ph type="sldNum" sz="quarter" idx="10"/>
          </p:nvPr>
        </p:nvSpPr>
        <p:spPr/>
        <p:txBody>
          <a:bodyPr/>
          <a:lstStyle/>
          <a:p>
            <a:fld id="{D759AF6D-BA0E-4594-94DB-478664329D2A}" type="slidenum">
              <a:rPr lang="en-US" smtClean="0"/>
              <a:t>33</a:t>
            </a:fld>
            <a:endParaRPr lang="en-US"/>
          </a:p>
        </p:txBody>
      </p:sp>
    </p:spTree>
    <p:extLst>
      <p:ext uri="{BB962C8B-B14F-4D97-AF65-F5344CB8AC3E}">
        <p14:creationId xmlns:p14="http://schemas.microsoft.com/office/powerpoint/2010/main" val="10957492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itle, subtitle, title with image, left-aligned</a:t>
            </a:r>
          </a:p>
        </p:txBody>
      </p:sp>
      <p:sp>
        <p:nvSpPr>
          <p:cNvPr id="4" name="Slide Number Placeholder 3"/>
          <p:cNvSpPr>
            <a:spLocks noGrp="1"/>
          </p:cNvSpPr>
          <p:nvPr>
            <p:ph type="sldNum" sz="quarter" idx="10"/>
          </p:nvPr>
        </p:nvSpPr>
        <p:spPr/>
        <p:txBody>
          <a:bodyPr/>
          <a:lstStyle/>
          <a:p>
            <a:fld id="{D759AF6D-BA0E-4594-94DB-478664329D2A}" type="slidenum">
              <a:rPr lang="en-US" smtClean="0"/>
              <a:t>4</a:t>
            </a:fld>
            <a:endParaRPr lang="en-US"/>
          </a:p>
        </p:txBody>
      </p:sp>
    </p:spTree>
    <p:extLst>
      <p:ext uri="{BB962C8B-B14F-4D97-AF65-F5344CB8AC3E}">
        <p14:creationId xmlns:p14="http://schemas.microsoft.com/office/powerpoint/2010/main" val="358697865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pproach, current state, future state, recommendation</a:t>
            </a:r>
          </a:p>
        </p:txBody>
      </p:sp>
      <p:sp>
        <p:nvSpPr>
          <p:cNvPr id="4" name="Slide Number Placeholder 3"/>
          <p:cNvSpPr>
            <a:spLocks noGrp="1"/>
          </p:cNvSpPr>
          <p:nvPr>
            <p:ph type="sldNum" sz="quarter" idx="10"/>
          </p:nvPr>
        </p:nvSpPr>
        <p:spPr/>
        <p:txBody>
          <a:bodyPr/>
          <a:lstStyle/>
          <a:p>
            <a:fld id="{D759AF6D-BA0E-4594-94DB-478664329D2A}" type="slidenum">
              <a:rPr lang="en-US" smtClean="0"/>
              <a:t>34</a:t>
            </a:fld>
            <a:endParaRPr lang="en-US"/>
          </a:p>
        </p:txBody>
      </p:sp>
    </p:spTree>
    <p:extLst>
      <p:ext uri="{BB962C8B-B14F-4D97-AF65-F5344CB8AC3E}">
        <p14:creationId xmlns:p14="http://schemas.microsoft.com/office/powerpoint/2010/main" val="306486058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approach, objectives, situation, current state</a:t>
            </a:r>
            <a:endParaRPr lang="en-US" dirty="0"/>
          </a:p>
        </p:txBody>
      </p:sp>
      <p:sp>
        <p:nvSpPr>
          <p:cNvPr id="4" name="Slide Number Placeholder 3"/>
          <p:cNvSpPr>
            <a:spLocks noGrp="1"/>
          </p:cNvSpPr>
          <p:nvPr>
            <p:ph type="sldNum" sz="quarter" idx="10"/>
          </p:nvPr>
        </p:nvSpPr>
        <p:spPr/>
        <p:txBody>
          <a:bodyPr/>
          <a:lstStyle/>
          <a:p>
            <a:fld id="{D759AF6D-BA0E-4594-94DB-478664329D2A}" type="slidenum">
              <a:rPr lang="en-US" smtClean="0"/>
              <a:t>35</a:t>
            </a:fld>
            <a:endParaRPr lang="en-US"/>
          </a:p>
        </p:txBody>
      </p:sp>
    </p:spTree>
    <p:extLst>
      <p:ext uri="{BB962C8B-B14F-4D97-AF65-F5344CB8AC3E}">
        <p14:creationId xmlns:p14="http://schemas.microsoft.com/office/powerpoint/2010/main" val="133080062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goals,</a:t>
            </a:r>
            <a:r>
              <a:rPr lang="en-US" baseline="0" dirty="0"/>
              <a:t> objectives, approach, outcomes</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36</a:t>
            </a:fld>
            <a:endParaRPr lang="en-US"/>
          </a:p>
        </p:txBody>
      </p:sp>
    </p:spTree>
    <p:extLst>
      <p:ext uri="{BB962C8B-B14F-4D97-AF65-F5344CB8AC3E}">
        <p14:creationId xmlns:p14="http://schemas.microsoft.com/office/powerpoint/2010/main" val="188699888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list, text, approach, key principles, principles</a:t>
            </a:r>
          </a:p>
        </p:txBody>
      </p:sp>
      <p:sp>
        <p:nvSpPr>
          <p:cNvPr id="4" name="Slide Number Placeholder 3"/>
          <p:cNvSpPr>
            <a:spLocks noGrp="1"/>
          </p:cNvSpPr>
          <p:nvPr>
            <p:ph type="sldNum" sz="quarter" idx="10"/>
          </p:nvPr>
        </p:nvSpPr>
        <p:spPr/>
        <p:txBody>
          <a:bodyPr/>
          <a:lstStyle/>
          <a:p>
            <a:fld id="{5689E7E8-36E4-467C-8300-85BCF6933FBA}" type="slidenum">
              <a:rPr lang="en-US" smtClean="0"/>
              <a:t>37</a:t>
            </a:fld>
            <a:endParaRPr lang="en-US"/>
          </a:p>
        </p:txBody>
      </p:sp>
    </p:spTree>
    <p:extLst>
      <p:ext uri="{BB962C8B-B14F-4D97-AF65-F5344CB8AC3E}">
        <p14:creationId xmlns:p14="http://schemas.microsoft.com/office/powerpoint/2010/main" val="608059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DNA, model</a:t>
            </a:r>
          </a:p>
        </p:txBody>
      </p:sp>
      <p:sp>
        <p:nvSpPr>
          <p:cNvPr id="4" name="Slide Number Placeholder 3"/>
          <p:cNvSpPr>
            <a:spLocks noGrp="1"/>
          </p:cNvSpPr>
          <p:nvPr>
            <p:ph type="sldNum" sz="quarter" idx="10"/>
          </p:nvPr>
        </p:nvSpPr>
        <p:spPr/>
        <p:txBody>
          <a:bodyPr/>
          <a:lstStyle/>
          <a:p>
            <a:fld id="{5689E7E8-36E4-467C-8300-85BCF6933FBA}" type="slidenum">
              <a:rPr lang="en-US" smtClean="0"/>
              <a:t>39</a:t>
            </a:fld>
            <a:endParaRPr lang="en-US"/>
          </a:p>
        </p:txBody>
      </p:sp>
    </p:spTree>
    <p:extLst>
      <p:ext uri="{BB962C8B-B14F-4D97-AF65-F5344CB8AC3E}">
        <p14:creationId xmlns:p14="http://schemas.microsoft.com/office/powerpoint/2010/main" val="145133321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a:t>
            </a:r>
            <a:r>
              <a:rPr lang="en-US" baseline="0" dirty="0"/>
              <a:t> text, list, icons</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40</a:t>
            </a:fld>
            <a:endParaRPr lang="en-US"/>
          </a:p>
        </p:txBody>
      </p:sp>
    </p:spTree>
    <p:extLst>
      <p:ext uri="{BB962C8B-B14F-4D97-AF65-F5344CB8AC3E}">
        <p14:creationId xmlns:p14="http://schemas.microsoft.com/office/powerpoint/2010/main" val="147404347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crowdsourcing </a:t>
            </a:r>
          </a:p>
        </p:txBody>
      </p:sp>
      <p:sp>
        <p:nvSpPr>
          <p:cNvPr id="4" name="Slide Number Placeholder 3"/>
          <p:cNvSpPr>
            <a:spLocks noGrp="1"/>
          </p:cNvSpPr>
          <p:nvPr>
            <p:ph type="sldNum" sz="quarter" idx="10"/>
          </p:nvPr>
        </p:nvSpPr>
        <p:spPr/>
        <p:txBody>
          <a:bodyPr/>
          <a:lstStyle/>
          <a:p>
            <a:fld id="{5689E7E8-36E4-467C-8300-85BCF6933FBA}" type="slidenum">
              <a:rPr lang="en-US" smtClean="0"/>
              <a:t>41</a:t>
            </a:fld>
            <a:endParaRPr lang="en-US"/>
          </a:p>
        </p:txBody>
      </p:sp>
    </p:spTree>
    <p:extLst>
      <p:ext uri="{BB962C8B-B14F-4D97-AF65-F5344CB8AC3E}">
        <p14:creationId xmlns:p14="http://schemas.microsoft.com/office/powerpoint/2010/main" val="227177222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text, crowdsourcing, list, numbers</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42</a:t>
            </a:fld>
            <a:endParaRPr lang="en-US"/>
          </a:p>
        </p:txBody>
      </p:sp>
    </p:spTree>
    <p:extLst>
      <p:ext uri="{BB962C8B-B14F-4D97-AF65-F5344CB8AC3E}">
        <p14:creationId xmlns:p14="http://schemas.microsoft.com/office/powerpoint/2010/main" val="324109178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list,</a:t>
            </a:r>
            <a:r>
              <a:rPr lang="en-US" baseline="0" dirty="0"/>
              <a:t> principles</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43</a:t>
            </a:fld>
            <a:endParaRPr lang="en-US"/>
          </a:p>
        </p:txBody>
      </p:sp>
    </p:spTree>
    <p:extLst>
      <p:ext uri="{BB962C8B-B14F-4D97-AF65-F5344CB8AC3E}">
        <p14:creationId xmlns:p14="http://schemas.microsoft.com/office/powerpoint/2010/main" val="117583706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opportunities</a:t>
            </a:r>
            <a:r>
              <a:rPr lang="en-US" baseline="0" dirty="0"/>
              <a:t>, challenges</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44</a:t>
            </a:fld>
            <a:endParaRPr lang="en-US"/>
          </a:p>
        </p:txBody>
      </p:sp>
    </p:spTree>
    <p:extLst>
      <p:ext uri="{BB962C8B-B14F-4D97-AF65-F5344CB8AC3E}">
        <p14:creationId xmlns:p14="http://schemas.microsoft.com/office/powerpoint/2010/main" val="5214553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divider, divider with image, bottom left header</a:t>
            </a:r>
          </a:p>
        </p:txBody>
      </p:sp>
      <p:sp>
        <p:nvSpPr>
          <p:cNvPr id="4" name="Slide Number Placeholder 3"/>
          <p:cNvSpPr>
            <a:spLocks noGrp="1"/>
          </p:cNvSpPr>
          <p:nvPr>
            <p:ph type="sldNum" sz="quarter" idx="10"/>
          </p:nvPr>
        </p:nvSpPr>
        <p:spPr/>
        <p:txBody>
          <a:bodyPr/>
          <a:lstStyle/>
          <a:p>
            <a:fld id="{D759AF6D-BA0E-4594-94DB-478664329D2A}" type="slidenum">
              <a:rPr lang="en-US" smtClean="0"/>
              <a:t>5</a:t>
            </a:fld>
            <a:endParaRPr lang="en-US"/>
          </a:p>
        </p:txBody>
      </p:sp>
    </p:spTree>
    <p:extLst>
      <p:ext uri="{BB962C8B-B14F-4D97-AF65-F5344CB8AC3E}">
        <p14:creationId xmlns:p14="http://schemas.microsoft.com/office/powerpoint/2010/main" val="333783278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rules of the road</a:t>
            </a:r>
          </a:p>
        </p:txBody>
      </p:sp>
      <p:sp>
        <p:nvSpPr>
          <p:cNvPr id="4" name="Slide Number Placeholder 3"/>
          <p:cNvSpPr>
            <a:spLocks noGrp="1"/>
          </p:cNvSpPr>
          <p:nvPr>
            <p:ph type="sldNum" sz="quarter" idx="10"/>
          </p:nvPr>
        </p:nvSpPr>
        <p:spPr/>
        <p:txBody>
          <a:bodyPr/>
          <a:lstStyle/>
          <a:p>
            <a:fld id="{5689E7E8-36E4-467C-8300-85BCF6933FBA}" type="slidenum">
              <a:rPr lang="en-US" smtClean="0"/>
              <a:t>45</a:t>
            </a:fld>
            <a:endParaRPr lang="en-US"/>
          </a:p>
        </p:txBody>
      </p:sp>
    </p:spTree>
    <p:extLst>
      <p:ext uri="{BB962C8B-B14F-4D97-AF65-F5344CB8AC3E}">
        <p14:creationId xmlns:p14="http://schemas.microsoft.com/office/powerpoint/2010/main" val="263424038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transformation, evolve</a:t>
            </a:r>
          </a:p>
        </p:txBody>
      </p:sp>
      <p:sp>
        <p:nvSpPr>
          <p:cNvPr id="4" name="Slide Number Placeholder 3"/>
          <p:cNvSpPr>
            <a:spLocks noGrp="1"/>
          </p:cNvSpPr>
          <p:nvPr>
            <p:ph type="sldNum" sz="quarter" idx="10"/>
          </p:nvPr>
        </p:nvSpPr>
        <p:spPr/>
        <p:txBody>
          <a:bodyPr/>
          <a:lstStyle/>
          <a:p>
            <a:fld id="{5EDD572C-0642-445C-95EA-9BF60C5DC72B}" type="slidenum">
              <a:rPr lang="en-US" smtClean="0"/>
              <a:t>46</a:t>
            </a:fld>
            <a:endParaRPr lang="en-US"/>
          </a:p>
        </p:txBody>
      </p:sp>
    </p:spTree>
    <p:extLst>
      <p:ext uri="{BB962C8B-B14F-4D97-AF65-F5344CB8AC3E}">
        <p14:creationId xmlns:p14="http://schemas.microsoft.com/office/powerpoint/2010/main" val="122001835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list, question, answer</a:t>
            </a:r>
          </a:p>
        </p:txBody>
      </p:sp>
      <p:sp>
        <p:nvSpPr>
          <p:cNvPr id="4" name="Slide Number Placeholder 3"/>
          <p:cNvSpPr>
            <a:spLocks noGrp="1"/>
          </p:cNvSpPr>
          <p:nvPr>
            <p:ph type="sldNum" sz="quarter" idx="10"/>
          </p:nvPr>
        </p:nvSpPr>
        <p:spPr/>
        <p:txBody>
          <a:bodyPr/>
          <a:lstStyle/>
          <a:p>
            <a:fld id="{5689E7E8-36E4-467C-8300-85BCF6933FBA}" type="slidenum">
              <a:rPr lang="en-US" smtClean="0"/>
              <a:t>47</a:t>
            </a:fld>
            <a:endParaRPr lang="en-US"/>
          </a:p>
        </p:txBody>
      </p:sp>
    </p:spTree>
    <p:extLst>
      <p:ext uri="{BB962C8B-B14F-4D97-AF65-F5344CB8AC3E}">
        <p14:creationId xmlns:p14="http://schemas.microsoft.com/office/powerpoint/2010/main" val="395977755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text, pain points, disconnects</a:t>
            </a:r>
          </a:p>
          <a:p>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48</a:t>
            </a:fld>
            <a:endParaRPr lang="en-US"/>
          </a:p>
        </p:txBody>
      </p:sp>
    </p:spTree>
    <p:extLst>
      <p:ext uri="{BB962C8B-B14F-4D97-AF65-F5344CB8AC3E}">
        <p14:creationId xmlns:p14="http://schemas.microsoft.com/office/powerpoint/2010/main" val="85322809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a:t>
            </a:r>
            <a:r>
              <a:rPr lang="en-US" baseline="0" dirty="0"/>
              <a:t> text, crowdsourcing, overview, icons, people</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49</a:t>
            </a:fld>
            <a:endParaRPr lang="en-US"/>
          </a:p>
        </p:txBody>
      </p:sp>
    </p:spTree>
    <p:extLst>
      <p:ext uri="{BB962C8B-B14F-4D97-AF65-F5344CB8AC3E}">
        <p14:creationId xmlns:p14="http://schemas.microsoft.com/office/powerpoint/2010/main" val="234026001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text, opportunities, list, numbers</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50</a:t>
            </a:fld>
            <a:endParaRPr lang="en-US"/>
          </a:p>
        </p:txBody>
      </p:sp>
    </p:spTree>
    <p:extLst>
      <p:ext uri="{BB962C8B-B14F-4D97-AF65-F5344CB8AC3E}">
        <p14:creationId xmlns:p14="http://schemas.microsoft.com/office/powerpoint/2010/main" val="121469263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events,</a:t>
            </a:r>
            <a:r>
              <a:rPr lang="en-US" baseline="0" dirty="0"/>
              <a:t> calendar </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51</a:t>
            </a:fld>
            <a:endParaRPr lang="en-US"/>
          </a:p>
        </p:txBody>
      </p:sp>
    </p:spTree>
    <p:extLst>
      <p:ext uri="{BB962C8B-B14F-4D97-AF65-F5344CB8AC3E}">
        <p14:creationId xmlns:p14="http://schemas.microsoft.com/office/powerpoint/2010/main" val="239510216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chevron, list,</a:t>
            </a:r>
            <a:r>
              <a:rPr lang="en-US" baseline="0" dirty="0"/>
              <a:t> customer experience, CX</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52</a:t>
            </a:fld>
            <a:endParaRPr lang="en-US"/>
          </a:p>
        </p:txBody>
      </p:sp>
    </p:spTree>
    <p:extLst>
      <p:ext uri="{BB962C8B-B14F-4D97-AF65-F5344CB8AC3E}">
        <p14:creationId xmlns:p14="http://schemas.microsoft.com/office/powerpoint/2010/main" val="385224008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list, chevron, current state, future state, to and from</a:t>
            </a:r>
          </a:p>
        </p:txBody>
      </p:sp>
      <p:sp>
        <p:nvSpPr>
          <p:cNvPr id="4" name="Slide Number Placeholder 3"/>
          <p:cNvSpPr>
            <a:spLocks noGrp="1"/>
          </p:cNvSpPr>
          <p:nvPr>
            <p:ph type="sldNum" sz="quarter" idx="10"/>
          </p:nvPr>
        </p:nvSpPr>
        <p:spPr/>
        <p:txBody>
          <a:bodyPr/>
          <a:lstStyle/>
          <a:p>
            <a:fld id="{5689E7E8-36E4-467C-8300-85BCF6933FBA}" type="slidenum">
              <a:rPr lang="en-US" smtClean="0"/>
              <a:t>53</a:t>
            </a:fld>
            <a:endParaRPr lang="en-US"/>
          </a:p>
        </p:txBody>
      </p:sp>
    </p:spTree>
    <p:extLst>
      <p:ext uri="{BB962C8B-B14F-4D97-AF65-F5344CB8AC3E}">
        <p14:creationId xmlns:p14="http://schemas.microsoft.com/office/powerpoint/2010/main" val="147213638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chevron, old world, new world, customer journey, to and from</a:t>
            </a:r>
          </a:p>
        </p:txBody>
      </p:sp>
      <p:sp>
        <p:nvSpPr>
          <p:cNvPr id="4" name="Slide Number Placeholder 3"/>
          <p:cNvSpPr>
            <a:spLocks noGrp="1"/>
          </p:cNvSpPr>
          <p:nvPr>
            <p:ph type="sldNum" sz="quarter" idx="10"/>
          </p:nvPr>
        </p:nvSpPr>
        <p:spPr/>
        <p:txBody>
          <a:bodyPr/>
          <a:lstStyle/>
          <a:p>
            <a:fld id="{5689E7E8-36E4-467C-8300-85BCF6933FBA}" type="slidenum">
              <a:rPr lang="en-US" smtClean="0"/>
              <a:t>54</a:t>
            </a:fld>
            <a:endParaRPr lang="en-US"/>
          </a:p>
        </p:txBody>
      </p:sp>
    </p:spTree>
    <p:extLst>
      <p:ext uri="{BB962C8B-B14F-4D97-AF65-F5344CB8AC3E}">
        <p14:creationId xmlns:p14="http://schemas.microsoft.com/office/powerpoint/2010/main" val="20995368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divider, left aligned header, divider with image</a:t>
            </a:r>
          </a:p>
        </p:txBody>
      </p:sp>
      <p:sp>
        <p:nvSpPr>
          <p:cNvPr id="4" name="Slide Number Placeholder 3"/>
          <p:cNvSpPr>
            <a:spLocks noGrp="1"/>
          </p:cNvSpPr>
          <p:nvPr>
            <p:ph type="sldNum" sz="quarter" idx="10"/>
          </p:nvPr>
        </p:nvSpPr>
        <p:spPr/>
        <p:txBody>
          <a:bodyPr/>
          <a:lstStyle/>
          <a:p>
            <a:fld id="{D759AF6D-BA0E-4594-94DB-478664329D2A}" type="slidenum">
              <a:rPr lang="en-US" smtClean="0"/>
              <a:t>6</a:t>
            </a:fld>
            <a:endParaRPr lang="en-US"/>
          </a:p>
        </p:txBody>
      </p:sp>
    </p:spTree>
    <p:extLst>
      <p:ext uri="{BB962C8B-B14F-4D97-AF65-F5344CB8AC3E}">
        <p14:creationId xmlns:p14="http://schemas.microsoft.com/office/powerpoint/2010/main" val="36646717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opportunities, insights, to and from, arrow</a:t>
            </a:r>
          </a:p>
        </p:txBody>
      </p:sp>
      <p:sp>
        <p:nvSpPr>
          <p:cNvPr id="4" name="Slide Number Placeholder 3"/>
          <p:cNvSpPr>
            <a:spLocks noGrp="1"/>
          </p:cNvSpPr>
          <p:nvPr>
            <p:ph type="sldNum" sz="quarter" idx="10"/>
          </p:nvPr>
        </p:nvSpPr>
        <p:spPr/>
        <p:txBody>
          <a:bodyPr/>
          <a:lstStyle/>
          <a:p>
            <a:fld id="{5689E7E8-36E4-467C-8300-85BCF6933FBA}" type="slidenum">
              <a:rPr lang="en-US" smtClean="0"/>
              <a:t>55</a:t>
            </a:fld>
            <a:endParaRPr lang="en-US"/>
          </a:p>
        </p:txBody>
      </p:sp>
    </p:spTree>
    <p:extLst>
      <p:ext uri="{BB962C8B-B14F-4D97-AF65-F5344CB8AC3E}">
        <p14:creationId xmlns:p14="http://schemas.microsoft.com/office/powerpoint/2010/main" val="302471390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a:t>
            </a:r>
            <a:r>
              <a:rPr lang="en-US" baseline="0" dirty="0"/>
              <a:t> text, business transformation, activities, deliverables, software &amp; tooling, key considerations, overview</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56</a:t>
            </a:fld>
            <a:endParaRPr lang="en-US"/>
          </a:p>
        </p:txBody>
      </p:sp>
    </p:spTree>
    <p:extLst>
      <p:ext uri="{BB962C8B-B14F-4D97-AF65-F5344CB8AC3E}">
        <p14:creationId xmlns:p14="http://schemas.microsoft.com/office/powerpoint/2010/main" val="342025734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landscape, data visualization, trends</a:t>
            </a:r>
          </a:p>
        </p:txBody>
      </p:sp>
      <p:sp>
        <p:nvSpPr>
          <p:cNvPr id="4" name="Slide Number Placeholder 3"/>
          <p:cNvSpPr>
            <a:spLocks noGrp="1"/>
          </p:cNvSpPr>
          <p:nvPr>
            <p:ph type="sldNum" sz="quarter" idx="10"/>
          </p:nvPr>
        </p:nvSpPr>
        <p:spPr/>
        <p:txBody>
          <a:bodyPr/>
          <a:lstStyle/>
          <a:p>
            <a:fld id="{5EDD572C-0642-445C-95EA-9BF60C5DC72B}" type="slidenum">
              <a:rPr lang="en-US" smtClean="0"/>
              <a:t>57</a:t>
            </a:fld>
            <a:endParaRPr lang="en-US"/>
          </a:p>
        </p:txBody>
      </p:sp>
    </p:spTree>
    <p:extLst>
      <p:ext uri="{BB962C8B-B14F-4D97-AF65-F5344CB8AC3E}">
        <p14:creationId xmlns:p14="http://schemas.microsoft.com/office/powerpoint/2010/main" val="222337880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considerations</a:t>
            </a:r>
          </a:p>
        </p:txBody>
      </p:sp>
      <p:sp>
        <p:nvSpPr>
          <p:cNvPr id="4" name="Slide Number Placeholder 3"/>
          <p:cNvSpPr>
            <a:spLocks noGrp="1"/>
          </p:cNvSpPr>
          <p:nvPr>
            <p:ph type="sldNum" sz="quarter" idx="10"/>
          </p:nvPr>
        </p:nvSpPr>
        <p:spPr/>
        <p:txBody>
          <a:bodyPr/>
          <a:lstStyle/>
          <a:p>
            <a:fld id="{5EDD572C-0642-445C-95EA-9BF60C5DC72B}" type="slidenum">
              <a:rPr lang="en-US" smtClean="0"/>
              <a:t>58</a:t>
            </a:fld>
            <a:endParaRPr lang="en-US"/>
          </a:p>
        </p:txBody>
      </p:sp>
    </p:spTree>
    <p:extLst>
      <p:ext uri="{BB962C8B-B14F-4D97-AF65-F5344CB8AC3E}">
        <p14:creationId xmlns:p14="http://schemas.microsoft.com/office/powerpoint/2010/main" val="115550307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list, team responsibilities</a:t>
            </a:r>
          </a:p>
        </p:txBody>
      </p:sp>
      <p:sp>
        <p:nvSpPr>
          <p:cNvPr id="4" name="Slide Number Placeholder 3"/>
          <p:cNvSpPr>
            <a:spLocks noGrp="1"/>
          </p:cNvSpPr>
          <p:nvPr>
            <p:ph type="sldNum" sz="quarter" idx="10"/>
          </p:nvPr>
        </p:nvSpPr>
        <p:spPr/>
        <p:txBody>
          <a:bodyPr/>
          <a:lstStyle/>
          <a:p>
            <a:fld id="{5689E7E8-36E4-467C-8300-85BCF6933FBA}" type="slidenum">
              <a:rPr lang="en-US" smtClean="0"/>
              <a:t>59</a:t>
            </a:fld>
            <a:endParaRPr lang="en-US"/>
          </a:p>
        </p:txBody>
      </p:sp>
    </p:spTree>
    <p:extLst>
      <p:ext uri="{BB962C8B-B14F-4D97-AF65-F5344CB8AC3E}">
        <p14:creationId xmlns:p14="http://schemas.microsoft.com/office/powerpoint/2010/main" val="8155739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a:t>
            </a:r>
            <a:r>
              <a:rPr lang="en-US" dirty="0" err="1"/>
              <a:t>venn</a:t>
            </a:r>
            <a:r>
              <a:rPr lang="en-US" dirty="0"/>
              <a:t> diagram</a:t>
            </a:r>
          </a:p>
        </p:txBody>
      </p:sp>
      <p:sp>
        <p:nvSpPr>
          <p:cNvPr id="4" name="Slide Number Placeholder 3"/>
          <p:cNvSpPr>
            <a:spLocks noGrp="1"/>
          </p:cNvSpPr>
          <p:nvPr>
            <p:ph type="sldNum" sz="quarter" idx="10"/>
          </p:nvPr>
        </p:nvSpPr>
        <p:spPr/>
        <p:txBody>
          <a:bodyPr/>
          <a:lstStyle/>
          <a:p>
            <a:fld id="{5689E7E8-36E4-467C-8300-85BCF6933FBA}" type="slidenum">
              <a:rPr lang="en-US" smtClean="0"/>
              <a:t>60</a:t>
            </a:fld>
            <a:endParaRPr lang="en-US"/>
          </a:p>
        </p:txBody>
      </p:sp>
    </p:spTree>
    <p:extLst>
      <p:ext uri="{BB962C8B-B14F-4D97-AF65-F5344CB8AC3E}">
        <p14:creationId xmlns:p14="http://schemas.microsoft.com/office/powerpoint/2010/main" val="228902591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list</a:t>
            </a:r>
          </a:p>
        </p:txBody>
      </p:sp>
      <p:sp>
        <p:nvSpPr>
          <p:cNvPr id="4" name="Slide Number Placeholder 3"/>
          <p:cNvSpPr>
            <a:spLocks noGrp="1"/>
          </p:cNvSpPr>
          <p:nvPr>
            <p:ph type="sldNum" sz="quarter" idx="10"/>
          </p:nvPr>
        </p:nvSpPr>
        <p:spPr/>
        <p:txBody>
          <a:bodyPr/>
          <a:lstStyle/>
          <a:p>
            <a:fld id="{5689E7E8-36E4-467C-8300-85BCF6933FBA}" type="slidenum">
              <a:rPr lang="en-US" smtClean="0"/>
              <a:t>61</a:t>
            </a:fld>
            <a:endParaRPr lang="en-US"/>
          </a:p>
        </p:txBody>
      </p:sp>
    </p:spTree>
    <p:extLst>
      <p:ext uri="{BB962C8B-B14F-4D97-AF65-F5344CB8AC3E}">
        <p14:creationId xmlns:p14="http://schemas.microsoft.com/office/powerpoint/2010/main" val="111050042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list, underline</a:t>
            </a:r>
          </a:p>
          <a:p>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62</a:t>
            </a:fld>
            <a:endParaRPr lang="en-US"/>
          </a:p>
        </p:txBody>
      </p:sp>
    </p:spTree>
    <p:extLst>
      <p:ext uri="{BB962C8B-B14F-4D97-AF65-F5344CB8AC3E}">
        <p14:creationId xmlns:p14="http://schemas.microsoft.com/office/powerpoint/2010/main" val="278110032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customer, quote</a:t>
            </a:r>
          </a:p>
        </p:txBody>
      </p:sp>
      <p:sp>
        <p:nvSpPr>
          <p:cNvPr id="4" name="Slide Number Placeholder 3"/>
          <p:cNvSpPr>
            <a:spLocks noGrp="1"/>
          </p:cNvSpPr>
          <p:nvPr>
            <p:ph type="sldNum" sz="quarter" idx="10"/>
          </p:nvPr>
        </p:nvSpPr>
        <p:spPr/>
        <p:txBody>
          <a:bodyPr/>
          <a:lstStyle/>
          <a:p>
            <a:fld id="{5EDD572C-0642-445C-95EA-9BF60C5DC72B}" type="slidenum">
              <a:rPr lang="en-US" smtClean="0"/>
              <a:t>63</a:t>
            </a:fld>
            <a:endParaRPr lang="en-US"/>
          </a:p>
        </p:txBody>
      </p:sp>
    </p:spTree>
    <p:extLst>
      <p:ext uri="{BB962C8B-B14F-4D97-AF65-F5344CB8AC3E}">
        <p14:creationId xmlns:p14="http://schemas.microsoft.com/office/powerpoint/2010/main" val="330657542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CX, customer experience</a:t>
            </a:r>
          </a:p>
        </p:txBody>
      </p:sp>
      <p:sp>
        <p:nvSpPr>
          <p:cNvPr id="4" name="Slide Number Placeholder 3"/>
          <p:cNvSpPr>
            <a:spLocks noGrp="1"/>
          </p:cNvSpPr>
          <p:nvPr>
            <p:ph type="sldNum" sz="quarter" idx="10"/>
          </p:nvPr>
        </p:nvSpPr>
        <p:spPr/>
        <p:txBody>
          <a:bodyPr/>
          <a:lstStyle/>
          <a:p>
            <a:fld id="{5EDD572C-0642-445C-95EA-9BF60C5DC72B}" type="slidenum">
              <a:rPr lang="en-US" smtClean="0"/>
              <a:t>64</a:t>
            </a:fld>
            <a:endParaRPr lang="en-US"/>
          </a:p>
        </p:txBody>
      </p:sp>
    </p:spTree>
    <p:extLst>
      <p:ext uri="{BB962C8B-B14F-4D97-AF65-F5344CB8AC3E}">
        <p14:creationId xmlns:p14="http://schemas.microsoft.com/office/powerpoint/2010/main" val="22985055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divider, divider with image, process divider, separator</a:t>
            </a:r>
          </a:p>
        </p:txBody>
      </p:sp>
      <p:sp>
        <p:nvSpPr>
          <p:cNvPr id="4" name="Slide Number Placeholder 3"/>
          <p:cNvSpPr>
            <a:spLocks noGrp="1"/>
          </p:cNvSpPr>
          <p:nvPr>
            <p:ph type="sldNum" sz="quarter" idx="10"/>
          </p:nvPr>
        </p:nvSpPr>
        <p:spPr/>
        <p:txBody>
          <a:bodyPr/>
          <a:lstStyle/>
          <a:p>
            <a:fld id="{D759AF6D-BA0E-4594-94DB-478664329D2A}" type="slidenum">
              <a:rPr lang="en-US" smtClean="0"/>
              <a:t>7</a:t>
            </a:fld>
            <a:endParaRPr lang="en-US"/>
          </a:p>
        </p:txBody>
      </p:sp>
    </p:spTree>
    <p:extLst>
      <p:ext uri="{BB962C8B-B14F-4D97-AF65-F5344CB8AC3E}">
        <p14:creationId xmlns:p14="http://schemas.microsoft.com/office/powerpoint/2010/main" val="242401820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list</a:t>
            </a:r>
          </a:p>
        </p:txBody>
      </p:sp>
      <p:sp>
        <p:nvSpPr>
          <p:cNvPr id="4" name="Slide Number Placeholder 3"/>
          <p:cNvSpPr>
            <a:spLocks noGrp="1"/>
          </p:cNvSpPr>
          <p:nvPr>
            <p:ph type="sldNum" sz="quarter" idx="10"/>
          </p:nvPr>
        </p:nvSpPr>
        <p:spPr/>
        <p:txBody>
          <a:bodyPr/>
          <a:lstStyle/>
          <a:p>
            <a:fld id="{5689E7E8-36E4-467C-8300-85BCF6933FBA}" type="slidenum">
              <a:rPr lang="en-US" smtClean="0"/>
              <a:t>65</a:t>
            </a:fld>
            <a:endParaRPr lang="en-US"/>
          </a:p>
        </p:txBody>
      </p:sp>
    </p:spTree>
    <p:extLst>
      <p:ext uri="{BB962C8B-B14F-4D97-AF65-F5344CB8AC3E}">
        <p14:creationId xmlns:p14="http://schemas.microsoft.com/office/powerpoint/2010/main" val="7480613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guiding principles, list</a:t>
            </a:r>
          </a:p>
        </p:txBody>
      </p:sp>
      <p:sp>
        <p:nvSpPr>
          <p:cNvPr id="4" name="Slide Number Placeholder 3"/>
          <p:cNvSpPr>
            <a:spLocks noGrp="1"/>
          </p:cNvSpPr>
          <p:nvPr>
            <p:ph type="sldNum" sz="quarter" idx="10"/>
          </p:nvPr>
        </p:nvSpPr>
        <p:spPr/>
        <p:txBody>
          <a:bodyPr/>
          <a:lstStyle/>
          <a:p>
            <a:fld id="{5689E7E8-36E4-467C-8300-85BCF6933FBA}" type="slidenum">
              <a:rPr lang="en-US" smtClean="0"/>
              <a:t>66</a:t>
            </a:fld>
            <a:endParaRPr lang="en-US"/>
          </a:p>
        </p:txBody>
      </p:sp>
    </p:spTree>
    <p:extLst>
      <p:ext uri="{BB962C8B-B14F-4D97-AF65-F5344CB8AC3E}">
        <p14:creationId xmlns:p14="http://schemas.microsoft.com/office/powerpoint/2010/main" val="83708909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text, list, principles </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67</a:t>
            </a:fld>
            <a:endParaRPr lang="en-US"/>
          </a:p>
        </p:txBody>
      </p:sp>
    </p:spTree>
    <p:extLst>
      <p:ext uri="{BB962C8B-B14F-4D97-AF65-F5344CB8AC3E}">
        <p14:creationId xmlns:p14="http://schemas.microsoft.com/office/powerpoint/2010/main" val="298183250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approach, recommendation, suggestion</a:t>
            </a:r>
          </a:p>
          <a:p>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68</a:t>
            </a:fld>
            <a:endParaRPr lang="en-US"/>
          </a:p>
        </p:txBody>
      </p:sp>
    </p:spTree>
    <p:extLst>
      <p:ext uri="{BB962C8B-B14F-4D97-AF65-F5344CB8AC3E}">
        <p14:creationId xmlns:p14="http://schemas.microsoft.com/office/powerpoint/2010/main" val="239161783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case study, qual, logos</a:t>
            </a:r>
          </a:p>
        </p:txBody>
      </p:sp>
      <p:sp>
        <p:nvSpPr>
          <p:cNvPr id="4" name="Slide Number Placeholder 3"/>
          <p:cNvSpPr>
            <a:spLocks noGrp="1"/>
          </p:cNvSpPr>
          <p:nvPr>
            <p:ph type="sldNum" sz="quarter" idx="10"/>
          </p:nvPr>
        </p:nvSpPr>
        <p:spPr/>
        <p:txBody>
          <a:bodyPr/>
          <a:lstStyle/>
          <a:p>
            <a:fld id="{5689E7E8-36E4-467C-8300-85BCF6933FBA}" type="slidenum">
              <a:rPr lang="en-US" smtClean="0"/>
              <a:t>69</a:t>
            </a:fld>
            <a:endParaRPr lang="en-US"/>
          </a:p>
        </p:txBody>
      </p:sp>
    </p:spTree>
    <p:extLst>
      <p:ext uri="{BB962C8B-B14F-4D97-AF65-F5344CB8AC3E}">
        <p14:creationId xmlns:p14="http://schemas.microsoft.com/office/powerpoint/2010/main" val="147249773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photo, arrow, image</a:t>
            </a:r>
          </a:p>
        </p:txBody>
      </p:sp>
      <p:sp>
        <p:nvSpPr>
          <p:cNvPr id="4" name="Slide Number Placeholder 3"/>
          <p:cNvSpPr>
            <a:spLocks noGrp="1"/>
          </p:cNvSpPr>
          <p:nvPr>
            <p:ph type="sldNum" sz="quarter" idx="10"/>
          </p:nvPr>
        </p:nvSpPr>
        <p:spPr/>
        <p:txBody>
          <a:bodyPr/>
          <a:lstStyle/>
          <a:p>
            <a:fld id="{5689E7E8-36E4-467C-8300-85BCF6933FBA}" type="slidenum">
              <a:rPr lang="en-US" smtClean="0"/>
              <a:t>70</a:t>
            </a:fld>
            <a:endParaRPr lang="en-US"/>
          </a:p>
        </p:txBody>
      </p:sp>
    </p:spTree>
    <p:extLst>
      <p:ext uri="{BB962C8B-B14F-4D97-AF65-F5344CB8AC3E}">
        <p14:creationId xmlns:p14="http://schemas.microsoft.com/office/powerpoint/2010/main" val="96955782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a:t>
            </a:r>
            <a:r>
              <a:rPr lang="en-US" baseline="0" dirty="0"/>
              <a:t> text, list </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71</a:t>
            </a:fld>
            <a:endParaRPr lang="en-US"/>
          </a:p>
        </p:txBody>
      </p:sp>
    </p:spTree>
    <p:extLst>
      <p:ext uri="{BB962C8B-B14F-4D97-AF65-F5344CB8AC3E}">
        <p14:creationId xmlns:p14="http://schemas.microsoft.com/office/powerpoint/2010/main" val="214627428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list, impact, scale</a:t>
            </a:r>
          </a:p>
        </p:txBody>
      </p:sp>
      <p:sp>
        <p:nvSpPr>
          <p:cNvPr id="4" name="Slide Number Placeholder 3"/>
          <p:cNvSpPr>
            <a:spLocks noGrp="1"/>
          </p:cNvSpPr>
          <p:nvPr>
            <p:ph type="sldNum" sz="quarter" idx="10"/>
          </p:nvPr>
        </p:nvSpPr>
        <p:spPr/>
        <p:txBody>
          <a:bodyPr/>
          <a:lstStyle/>
          <a:p>
            <a:fld id="{5EDD572C-0642-445C-95EA-9BF60C5DC72B}" type="slidenum">
              <a:rPr lang="en-US" smtClean="0"/>
              <a:t>72</a:t>
            </a:fld>
            <a:endParaRPr lang="en-US"/>
          </a:p>
        </p:txBody>
      </p:sp>
    </p:spTree>
    <p:extLst>
      <p:ext uri="{BB962C8B-B14F-4D97-AF65-F5344CB8AC3E}">
        <p14:creationId xmlns:p14="http://schemas.microsoft.com/office/powerpoint/2010/main" val="258002679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capabilities</a:t>
            </a:r>
            <a:r>
              <a:rPr lang="en-US" baseline="0" dirty="0"/>
              <a:t>, scale, assessment</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73</a:t>
            </a:fld>
            <a:endParaRPr lang="en-US"/>
          </a:p>
        </p:txBody>
      </p:sp>
    </p:spTree>
    <p:extLst>
      <p:ext uri="{BB962C8B-B14F-4D97-AF65-F5344CB8AC3E}">
        <p14:creationId xmlns:p14="http://schemas.microsoft.com/office/powerpoint/2010/main" val="203680934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text, overview, environment</a:t>
            </a:r>
            <a:endParaRPr lang="en-US" dirty="0"/>
          </a:p>
        </p:txBody>
      </p:sp>
      <p:sp>
        <p:nvSpPr>
          <p:cNvPr id="4" name="Slide Number Placeholder 3"/>
          <p:cNvSpPr>
            <a:spLocks noGrp="1"/>
          </p:cNvSpPr>
          <p:nvPr>
            <p:ph type="sldNum" sz="quarter" idx="10"/>
          </p:nvPr>
        </p:nvSpPr>
        <p:spPr/>
        <p:txBody>
          <a:bodyPr/>
          <a:lstStyle/>
          <a:p>
            <a:fld id="{830DD4E1-E176-49D7-9859-91157D402D02}" type="slidenum">
              <a:rPr lang="en-US" smtClean="0"/>
              <a:t>74</a:t>
            </a:fld>
            <a:endParaRPr lang="en-US"/>
          </a:p>
        </p:txBody>
      </p:sp>
    </p:spTree>
    <p:extLst>
      <p:ext uri="{BB962C8B-B14F-4D97-AF65-F5344CB8AC3E}">
        <p14:creationId xmlns:p14="http://schemas.microsoft.com/office/powerpoint/2010/main" val="42542731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eparator,</a:t>
            </a:r>
            <a:r>
              <a:rPr lang="en-US" baseline="0" dirty="0"/>
              <a:t> list, divider, divider with image</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8</a:t>
            </a:fld>
            <a:endParaRPr lang="en-US"/>
          </a:p>
        </p:txBody>
      </p:sp>
    </p:spTree>
    <p:extLst>
      <p:ext uri="{BB962C8B-B14F-4D97-AF65-F5344CB8AC3E}">
        <p14:creationId xmlns:p14="http://schemas.microsoft.com/office/powerpoint/2010/main" val="121238512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process, value chain</a:t>
            </a:r>
            <a:endParaRPr lang="en-US" dirty="0"/>
          </a:p>
        </p:txBody>
      </p:sp>
      <p:sp>
        <p:nvSpPr>
          <p:cNvPr id="4" name="Slide Number Placeholder 3"/>
          <p:cNvSpPr>
            <a:spLocks noGrp="1"/>
          </p:cNvSpPr>
          <p:nvPr>
            <p:ph type="sldNum" sz="quarter" idx="10"/>
          </p:nvPr>
        </p:nvSpPr>
        <p:spPr/>
        <p:txBody>
          <a:bodyPr/>
          <a:lstStyle/>
          <a:p>
            <a:fld id="{6340AB4C-F464-4123-9F18-85533569F96F}" type="slidenum">
              <a:rPr lang="en-US" smtClean="0"/>
              <a:t>76</a:t>
            </a:fld>
            <a:endParaRPr lang="en-US"/>
          </a:p>
        </p:txBody>
      </p:sp>
    </p:spTree>
    <p:extLst>
      <p:ext uri="{BB962C8B-B14F-4D97-AF65-F5344CB8AC3E}">
        <p14:creationId xmlns:p14="http://schemas.microsoft.com/office/powerpoint/2010/main" val="340089751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process, approach, PMO, arrow</a:t>
            </a:r>
            <a:endParaRPr lang="en-US" dirty="0"/>
          </a:p>
        </p:txBody>
      </p:sp>
      <p:sp>
        <p:nvSpPr>
          <p:cNvPr id="4" name="Slide Number Placeholder 3"/>
          <p:cNvSpPr>
            <a:spLocks noGrp="1"/>
          </p:cNvSpPr>
          <p:nvPr>
            <p:ph type="sldNum" sz="quarter" idx="10"/>
          </p:nvPr>
        </p:nvSpPr>
        <p:spPr/>
        <p:txBody>
          <a:bodyPr/>
          <a:lstStyle/>
          <a:p>
            <a:fld id="{6340AB4C-F464-4123-9F18-85533569F96F}" type="slidenum">
              <a:rPr lang="en-US" smtClean="0"/>
              <a:t>77</a:t>
            </a:fld>
            <a:endParaRPr lang="en-US"/>
          </a:p>
        </p:txBody>
      </p:sp>
    </p:spTree>
    <p:extLst>
      <p:ext uri="{BB962C8B-B14F-4D97-AF65-F5344CB8AC3E}">
        <p14:creationId xmlns:p14="http://schemas.microsoft.com/office/powerpoint/2010/main" val="357754899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process, pathways, growth</a:t>
            </a:r>
            <a:endParaRPr lang="en-US" dirty="0"/>
          </a:p>
        </p:txBody>
      </p:sp>
      <p:sp>
        <p:nvSpPr>
          <p:cNvPr id="4" name="Slide Number Placeholder 3"/>
          <p:cNvSpPr>
            <a:spLocks noGrp="1"/>
          </p:cNvSpPr>
          <p:nvPr>
            <p:ph type="sldNum" sz="quarter" idx="10"/>
          </p:nvPr>
        </p:nvSpPr>
        <p:spPr/>
        <p:txBody>
          <a:bodyPr/>
          <a:lstStyle/>
          <a:p>
            <a:fld id="{6340AB4C-F464-4123-9F18-85533569F96F}" type="slidenum">
              <a:rPr lang="en-US" smtClean="0"/>
              <a:t>78</a:t>
            </a:fld>
            <a:endParaRPr lang="en-US"/>
          </a:p>
        </p:txBody>
      </p:sp>
    </p:spTree>
    <p:extLst>
      <p:ext uri="{BB962C8B-B14F-4D97-AF65-F5344CB8AC3E}">
        <p14:creationId xmlns:p14="http://schemas.microsoft.com/office/powerpoint/2010/main" val="337389393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process, logos</a:t>
            </a:r>
          </a:p>
        </p:txBody>
      </p:sp>
      <p:sp>
        <p:nvSpPr>
          <p:cNvPr id="4" name="Slide Number Placeholder 3"/>
          <p:cNvSpPr>
            <a:spLocks noGrp="1"/>
          </p:cNvSpPr>
          <p:nvPr>
            <p:ph type="sldNum" sz="quarter" idx="10"/>
          </p:nvPr>
        </p:nvSpPr>
        <p:spPr/>
        <p:txBody>
          <a:bodyPr/>
          <a:lstStyle/>
          <a:p>
            <a:fld id="{6340AB4C-F464-4123-9F18-85533569F96F}" type="slidenum">
              <a:rPr lang="en-US" smtClean="0"/>
              <a:t>79</a:t>
            </a:fld>
            <a:endParaRPr lang="en-US"/>
          </a:p>
        </p:txBody>
      </p:sp>
    </p:spTree>
    <p:extLst>
      <p:ext uri="{BB962C8B-B14F-4D97-AF65-F5344CB8AC3E}">
        <p14:creationId xmlns:p14="http://schemas.microsoft.com/office/powerpoint/2010/main" val="287123317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process, customer journey, before, after, icons</a:t>
            </a:r>
          </a:p>
        </p:txBody>
      </p:sp>
      <p:sp>
        <p:nvSpPr>
          <p:cNvPr id="4" name="Slide Number Placeholder 3"/>
          <p:cNvSpPr>
            <a:spLocks noGrp="1"/>
          </p:cNvSpPr>
          <p:nvPr>
            <p:ph type="sldNum" sz="quarter" idx="10"/>
          </p:nvPr>
        </p:nvSpPr>
        <p:spPr/>
        <p:txBody>
          <a:bodyPr/>
          <a:lstStyle/>
          <a:p>
            <a:fld id="{6340AB4C-F464-4123-9F18-85533569F96F}" type="slidenum">
              <a:rPr lang="en-US" smtClean="0"/>
              <a:t>80</a:t>
            </a:fld>
            <a:endParaRPr lang="en-US"/>
          </a:p>
        </p:txBody>
      </p:sp>
    </p:spTree>
    <p:extLst>
      <p:ext uri="{BB962C8B-B14F-4D97-AF65-F5344CB8AC3E}">
        <p14:creationId xmlns:p14="http://schemas.microsoft.com/office/powerpoint/2010/main" val="300270963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process, current, future, changes</a:t>
            </a:r>
          </a:p>
        </p:txBody>
      </p:sp>
      <p:sp>
        <p:nvSpPr>
          <p:cNvPr id="4" name="Slide Number Placeholder 3"/>
          <p:cNvSpPr>
            <a:spLocks noGrp="1"/>
          </p:cNvSpPr>
          <p:nvPr>
            <p:ph type="sldNum" sz="quarter" idx="10"/>
          </p:nvPr>
        </p:nvSpPr>
        <p:spPr/>
        <p:txBody>
          <a:bodyPr/>
          <a:lstStyle/>
          <a:p>
            <a:fld id="{6340AB4C-F464-4123-9F18-85533569F96F}" type="slidenum">
              <a:rPr lang="en-US" smtClean="0"/>
              <a:t>81</a:t>
            </a:fld>
            <a:endParaRPr lang="en-US"/>
          </a:p>
        </p:txBody>
      </p:sp>
    </p:spTree>
    <p:extLst>
      <p:ext uri="{BB962C8B-B14F-4D97-AF65-F5344CB8AC3E}">
        <p14:creationId xmlns:p14="http://schemas.microsoft.com/office/powerpoint/2010/main" val="170584001"/>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process, statistics, data visualization</a:t>
            </a:r>
          </a:p>
        </p:txBody>
      </p:sp>
      <p:sp>
        <p:nvSpPr>
          <p:cNvPr id="4" name="Slide Number Placeholder 3"/>
          <p:cNvSpPr>
            <a:spLocks noGrp="1"/>
          </p:cNvSpPr>
          <p:nvPr>
            <p:ph type="sldNum" sz="quarter" idx="10"/>
          </p:nvPr>
        </p:nvSpPr>
        <p:spPr/>
        <p:txBody>
          <a:bodyPr/>
          <a:lstStyle/>
          <a:p>
            <a:fld id="{6340AB4C-F464-4123-9F18-85533569F96F}" type="slidenum">
              <a:rPr lang="en-US" smtClean="0"/>
              <a:t>82</a:t>
            </a:fld>
            <a:endParaRPr lang="en-US"/>
          </a:p>
        </p:txBody>
      </p:sp>
    </p:spTree>
    <p:extLst>
      <p:ext uri="{BB962C8B-B14F-4D97-AF65-F5344CB8AC3E}">
        <p14:creationId xmlns:p14="http://schemas.microsoft.com/office/powerpoint/2010/main" val="362570127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process, customer journey, problem solving</a:t>
            </a:r>
          </a:p>
        </p:txBody>
      </p:sp>
      <p:sp>
        <p:nvSpPr>
          <p:cNvPr id="4" name="Slide Number Placeholder 3"/>
          <p:cNvSpPr>
            <a:spLocks noGrp="1"/>
          </p:cNvSpPr>
          <p:nvPr>
            <p:ph type="sldNum" sz="quarter" idx="10"/>
          </p:nvPr>
        </p:nvSpPr>
        <p:spPr/>
        <p:txBody>
          <a:bodyPr/>
          <a:lstStyle/>
          <a:p>
            <a:fld id="{6340AB4C-F464-4123-9F18-85533569F96F}" type="slidenum">
              <a:rPr lang="en-US" smtClean="0"/>
              <a:t>83</a:t>
            </a:fld>
            <a:endParaRPr lang="en-US"/>
          </a:p>
        </p:txBody>
      </p:sp>
    </p:spTree>
    <p:extLst>
      <p:ext uri="{BB962C8B-B14F-4D97-AF65-F5344CB8AC3E}">
        <p14:creationId xmlns:p14="http://schemas.microsoft.com/office/powerpoint/2010/main" val="426887162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process, text, diagram</a:t>
            </a:r>
          </a:p>
        </p:txBody>
      </p:sp>
      <p:sp>
        <p:nvSpPr>
          <p:cNvPr id="4" name="Slide Number Placeholder 3"/>
          <p:cNvSpPr>
            <a:spLocks noGrp="1"/>
          </p:cNvSpPr>
          <p:nvPr>
            <p:ph type="sldNum" sz="quarter" idx="10"/>
          </p:nvPr>
        </p:nvSpPr>
        <p:spPr/>
        <p:txBody>
          <a:bodyPr/>
          <a:lstStyle/>
          <a:p>
            <a:fld id="{6340AB4C-F464-4123-9F18-85533569F96F}" type="slidenum">
              <a:rPr lang="en-US" smtClean="0"/>
              <a:t>84</a:t>
            </a:fld>
            <a:endParaRPr lang="en-US"/>
          </a:p>
        </p:txBody>
      </p:sp>
    </p:spTree>
    <p:extLst>
      <p:ext uri="{BB962C8B-B14F-4D97-AF65-F5344CB8AC3E}">
        <p14:creationId xmlns:p14="http://schemas.microsoft.com/office/powerpoint/2010/main" val="319041284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process, approach, journey</a:t>
            </a:r>
            <a:endParaRPr lang="en-US" dirty="0"/>
          </a:p>
        </p:txBody>
      </p:sp>
      <p:sp>
        <p:nvSpPr>
          <p:cNvPr id="4" name="Slide Number Placeholder 3"/>
          <p:cNvSpPr>
            <a:spLocks noGrp="1"/>
          </p:cNvSpPr>
          <p:nvPr>
            <p:ph type="sldNum" sz="quarter" idx="10"/>
          </p:nvPr>
        </p:nvSpPr>
        <p:spPr/>
        <p:txBody>
          <a:bodyPr/>
          <a:lstStyle/>
          <a:p>
            <a:fld id="{6340AB4C-F464-4123-9F18-85533569F96F}" type="slidenum">
              <a:rPr lang="en-US" smtClean="0"/>
              <a:t>85</a:t>
            </a:fld>
            <a:endParaRPr lang="en-US"/>
          </a:p>
        </p:txBody>
      </p:sp>
    </p:spTree>
    <p:extLst>
      <p:ext uri="{BB962C8B-B14F-4D97-AF65-F5344CB8AC3E}">
        <p14:creationId xmlns:p14="http://schemas.microsoft.com/office/powerpoint/2010/main" val="19965730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genda, list, numbers</a:t>
            </a:r>
          </a:p>
        </p:txBody>
      </p:sp>
      <p:sp>
        <p:nvSpPr>
          <p:cNvPr id="4" name="Slide Number Placeholder 3"/>
          <p:cNvSpPr>
            <a:spLocks noGrp="1"/>
          </p:cNvSpPr>
          <p:nvPr>
            <p:ph type="sldNum" sz="quarter" idx="10"/>
          </p:nvPr>
        </p:nvSpPr>
        <p:spPr/>
        <p:txBody>
          <a:bodyPr/>
          <a:lstStyle/>
          <a:p>
            <a:fld id="{D759AF6D-BA0E-4594-94DB-478664329D2A}" type="slidenum">
              <a:rPr lang="en-US" smtClean="0"/>
              <a:t>10</a:t>
            </a:fld>
            <a:endParaRPr lang="en-US"/>
          </a:p>
        </p:txBody>
      </p:sp>
    </p:spTree>
    <p:extLst>
      <p:ext uri="{BB962C8B-B14F-4D97-AF65-F5344CB8AC3E}">
        <p14:creationId xmlns:p14="http://schemas.microsoft.com/office/powerpoint/2010/main" val="403204627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process, value creation, journey map</a:t>
            </a:r>
            <a:endParaRPr lang="en-US" dirty="0"/>
          </a:p>
        </p:txBody>
      </p:sp>
      <p:sp>
        <p:nvSpPr>
          <p:cNvPr id="4" name="Slide Number Placeholder 3"/>
          <p:cNvSpPr>
            <a:spLocks noGrp="1"/>
          </p:cNvSpPr>
          <p:nvPr>
            <p:ph type="sldNum" sz="quarter" idx="10"/>
          </p:nvPr>
        </p:nvSpPr>
        <p:spPr/>
        <p:txBody>
          <a:bodyPr/>
          <a:lstStyle/>
          <a:p>
            <a:fld id="{6340AB4C-F464-4123-9F18-85533569F96F}" type="slidenum">
              <a:rPr lang="en-US" smtClean="0"/>
              <a:t>86</a:t>
            </a:fld>
            <a:endParaRPr lang="en-US"/>
          </a:p>
        </p:txBody>
      </p:sp>
    </p:spTree>
    <p:extLst>
      <p:ext uri="{BB962C8B-B14F-4D97-AF65-F5344CB8AC3E}">
        <p14:creationId xmlns:p14="http://schemas.microsoft.com/office/powerpoint/2010/main" val="1469702428"/>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process, CX, customer experience, person</a:t>
            </a:r>
            <a:endParaRPr lang="en-US" dirty="0"/>
          </a:p>
        </p:txBody>
      </p:sp>
      <p:sp>
        <p:nvSpPr>
          <p:cNvPr id="4" name="Slide Number Placeholder 3"/>
          <p:cNvSpPr>
            <a:spLocks noGrp="1"/>
          </p:cNvSpPr>
          <p:nvPr>
            <p:ph type="sldNum" sz="quarter" idx="10"/>
          </p:nvPr>
        </p:nvSpPr>
        <p:spPr/>
        <p:txBody>
          <a:bodyPr/>
          <a:lstStyle/>
          <a:p>
            <a:fld id="{6340AB4C-F464-4123-9F18-85533569F96F}" type="slidenum">
              <a:rPr lang="en-US" smtClean="0"/>
              <a:t>87</a:t>
            </a:fld>
            <a:endParaRPr lang="en-US"/>
          </a:p>
        </p:txBody>
      </p:sp>
    </p:spTree>
    <p:extLst>
      <p:ext uri="{BB962C8B-B14F-4D97-AF65-F5344CB8AC3E}">
        <p14:creationId xmlns:p14="http://schemas.microsoft.com/office/powerpoint/2010/main" val="488276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customer journey, person, web</a:t>
            </a:r>
          </a:p>
        </p:txBody>
      </p:sp>
      <p:sp>
        <p:nvSpPr>
          <p:cNvPr id="4" name="Slide Number Placeholder 3"/>
          <p:cNvSpPr>
            <a:spLocks noGrp="1"/>
          </p:cNvSpPr>
          <p:nvPr>
            <p:ph type="sldNum" sz="quarter" idx="10"/>
          </p:nvPr>
        </p:nvSpPr>
        <p:spPr/>
        <p:txBody>
          <a:bodyPr/>
          <a:lstStyle/>
          <a:p>
            <a:fld id="{6340AB4C-F464-4123-9F18-85533569F96F}" type="slidenum">
              <a:rPr lang="en-US" smtClean="0"/>
              <a:t>88</a:t>
            </a:fld>
            <a:endParaRPr lang="en-US"/>
          </a:p>
        </p:txBody>
      </p:sp>
    </p:spTree>
    <p:extLst>
      <p:ext uri="{BB962C8B-B14F-4D97-AF65-F5344CB8AC3E}">
        <p14:creationId xmlns:p14="http://schemas.microsoft.com/office/powerpoint/2010/main" val="1430245171"/>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process, customer journey, customer engagement</a:t>
            </a:r>
          </a:p>
        </p:txBody>
      </p:sp>
      <p:sp>
        <p:nvSpPr>
          <p:cNvPr id="4" name="Slide Number Placeholder 3"/>
          <p:cNvSpPr>
            <a:spLocks noGrp="1"/>
          </p:cNvSpPr>
          <p:nvPr>
            <p:ph type="sldNum" sz="quarter" idx="10"/>
          </p:nvPr>
        </p:nvSpPr>
        <p:spPr/>
        <p:txBody>
          <a:bodyPr/>
          <a:lstStyle/>
          <a:p>
            <a:fld id="{6340AB4C-F464-4123-9F18-85533569F96F}" type="slidenum">
              <a:rPr lang="en-US" smtClean="0"/>
              <a:t>89</a:t>
            </a:fld>
            <a:endParaRPr lang="en-US"/>
          </a:p>
        </p:txBody>
      </p:sp>
    </p:spTree>
    <p:extLst>
      <p:ext uri="{BB962C8B-B14F-4D97-AF65-F5344CB8AC3E}">
        <p14:creationId xmlns:p14="http://schemas.microsoft.com/office/powerpoint/2010/main" val="390141974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customer journey, path</a:t>
            </a:r>
          </a:p>
          <a:p>
            <a:endParaRPr lang="en-US" dirty="0"/>
          </a:p>
        </p:txBody>
      </p:sp>
      <p:sp>
        <p:nvSpPr>
          <p:cNvPr id="4" name="Slide Number Placeholder 3"/>
          <p:cNvSpPr>
            <a:spLocks noGrp="1"/>
          </p:cNvSpPr>
          <p:nvPr>
            <p:ph type="sldNum" sz="quarter" idx="10"/>
          </p:nvPr>
        </p:nvSpPr>
        <p:spPr/>
        <p:txBody>
          <a:bodyPr/>
          <a:lstStyle/>
          <a:p>
            <a:fld id="{6340AB4C-F464-4123-9F18-85533569F96F}" type="slidenum">
              <a:rPr lang="en-US" smtClean="0"/>
              <a:t>90</a:t>
            </a:fld>
            <a:endParaRPr lang="en-US"/>
          </a:p>
        </p:txBody>
      </p:sp>
    </p:spTree>
    <p:extLst>
      <p:ext uri="{BB962C8B-B14F-4D97-AF65-F5344CB8AC3E}">
        <p14:creationId xmlns:p14="http://schemas.microsoft.com/office/powerpoint/2010/main" val="327380270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process, upward, increase</a:t>
            </a:r>
          </a:p>
        </p:txBody>
      </p:sp>
      <p:sp>
        <p:nvSpPr>
          <p:cNvPr id="4" name="Slide Number Placeholder 3"/>
          <p:cNvSpPr>
            <a:spLocks noGrp="1"/>
          </p:cNvSpPr>
          <p:nvPr>
            <p:ph type="sldNum" sz="quarter" idx="10"/>
          </p:nvPr>
        </p:nvSpPr>
        <p:spPr/>
        <p:txBody>
          <a:bodyPr/>
          <a:lstStyle/>
          <a:p>
            <a:fld id="{5EDD572C-0642-445C-95EA-9BF60C5DC72B}" type="slidenum">
              <a:rPr lang="en-US" smtClean="0"/>
              <a:t>91</a:t>
            </a:fld>
            <a:endParaRPr lang="en-US"/>
          </a:p>
        </p:txBody>
      </p:sp>
    </p:spTree>
    <p:extLst>
      <p:ext uri="{BB962C8B-B14F-4D97-AF65-F5344CB8AC3E}">
        <p14:creationId xmlns:p14="http://schemas.microsoft.com/office/powerpoint/2010/main" val="148294536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process, current state</a:t>
            </a:r>
          </a:p>
        </p:txBody>
      </p:sp>
      <p:sp>
        <p:nvSpPr>
          <p:cNvPr id="4" name="Slide Number Placeholder 3"/>
          <p:cNvSpPr>
            <a:spLocks noGrp="1"/>
          </p:cNvSpPr>
          <p:nvPr>
            <p:ph type="sldNum" sz="quarter" idx="10"/>
          </p:nvPr>
        </p:nvSpPr>
        <p:spPr/>
        <p:txBody>
          <a:bodyPr/>
          <a:lstStyle/>
          <a:p>
            <a:fld id="{6340AB4C-F464-4123-9F18-85533569F96F}" type="slidenum">
              <a:rPr lang="en-US" smtClean="0"/>
              <a:t>92</a:t>
            </a:fld>
            <a:endParaRPr lang="en-US"/>
          </a:p>
        </p:txBody>
      </p:sp>
    </p:spTree>
    <p:extLst>
      <p:ext uri="{BB962C8B-B14F-4D97-AF65-F5344CB8AC3E}">
        <p14:creationId xmlns:p14="http://schemas.microsoft.com/office/powerpoint/2010/main" val="851214365"/>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data visualization, survey, results, takeaways</a:t>
            </a:r>
          </a:p>
        </p:txBody>
      </p:sp>
      <p:sp>
        <p:nvSpPr>
          <p:cNvPr id="4" name="Slide Number Placeholder 3"/>
          <p:cNvSpPr>
            <a:spLocks noGrp="1"/>
          </p:cNvSpPr>
          <p:nvPr>
            <p:ph type="sldNum" sz="quarter" idx="10"/>
          </p:nvPr>
        </p:nvSpPr>
        <p:spPr/>
        <p:txBody>
          <a:bodyPr/>
          <a:lstStyle/>
          <a:p>
            <a:fld id="{5BA76E45-6B41-42DC-8BC0-4F32365D1BCD}" type="slidenum">
              <a:rPr lang="en-US" smtClean="0"/>
              <a:t>94</a:t>
            </a:fld>
            <a:endParaRPr lang="en-US"/>
          </a:p>
        </p:txBody>
      </p:sp>
    </p:spTree>
    <p:extLst>
      <p:ext uri="{BB962C8B-B14F-4D97-AF65-F5344CB8AC3E}">
        <p14:creationId xmlns:p14="http://schemas.microsoft.com/office/powerpoint/2010/main" val="220820187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infographics, survey, results</a:t>
            </a:r>
          </a:p>
        </p:txBody>
      </p:sp>
      <p:sp>
        <p:nvSpPr>
          <p:cNvPr id="4" name="Slide Number Placeholder 3"/>
          <p:cNvSpPr>
            <a:spLocks noGrp="1"/>
          </p:cNvSpPr>
          <p:nvPr>
            <p:ph type="sldNum" sz="quarter" idx="10"/>
          </p:nvPr>
        </p:nvSpPr>
        <p:spPr/>
        <p:txBody>
          <a:bodyPr/>
          <a:lstStyle/>
          <a:p>
            <a:fld id="{5BA76E45-6B41-42DC-8BC0-4F32365D1BCD}" type="slidenum">
              <a:rPr lang="en-US" smtClean="0"/>
              <a:t>95</a:t>
            </a:fld>
            <a:endParaRPr lang="en-US"/>
          </a:p>
        </p:txBody>
      </p:sp>
    </p:spTree>
    <p:extLst>
      <p:ext uri="{BB962C8B-B14F-4D97-AF65-F5344CB8AC3E}">
        <p14:creationId xmlns:p14="http://schemas.microsoft.com/office/powerpoint/2010/main" val="3089978347"/>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data visualization, infographics, survey, digital journey</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A76E45-6B41-42DC-8BC0-4F32365D1B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09037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agenda, list, Q&amp;A, callout, instructions</a:t>
            </a:r>
          </a:p>
        </p:txBody>
      </p:sp>
      <p:sp>
        <p:nvSpPr>
          <p:cNvPr id="4" name="Slide Number Placeholder 3"/>
          <p:cNvSpPr>
            <a:spLocks noGrp="1"/>
          </p:cNvSpPr>
          <p:nvPr>
            <p:ph type="sldNum" sz="quarter" idx="10"/>
          </p:nvPr>
        </p:nvSpPr>
        <p:spPr/>
        <p:txBody>
          <a:bodyPr/>
          <a:lstStyle/>
          <a:p>
            <a:fld id="{D759AF6D-BA0E-4594-94DB-478664329D2A}" type="slidenum">
              <a:rPr lang="en-US" smtClean="0"/>
              <a:t>11</a:t>
            </a:fld>
            <a:endParaRPr lang="en-US"/>
          </a:p>
        </p:txBody>
      </p:sp>
    </p:spTree>
    <p:extLst>
      <p:ext uri="{BB962C8B-B14F-4D97-AF65-F5344CB8AC3E}">
        <p14:creationId xmlns:p14="http://schemas.microsoft.com/office/powerpoint/2010/main" val="2554363844"/>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data visualization, survey, bar</a:t>
            </a:r>
            <a:r>
              <a:rPr lang="en-US" baseline="0" dirty="0"/>
              <a:t> chart</a:t>
            </a:r>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97</a:t>
            </a:fld>
            <a:endParaRPr lang="en-US"/>
          </a:p>
        </p:txBody>
      </p:sp>
    </p:spTree>
    <p:extLst>
      <p:ext uri="{BB962C8B-B14F-4D97-AF65-F5344CB8AC3E}">
        <p14:creationId xmlns:p14="http://schemas.microsoft.com/office/powerpoint/2010/main" val="327375777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data visualization, benchmark, waterfall chart</a:t>
            </a:r>
          </a:p>
        </p:txBody>
      </p:sp>
      <p:sp>
        <p:nvSpPr>
          <p:cNvPr id="4" name="Slide Number Placeholder 3"/>
          <p:cNvSpPr>
            <a:spLocks noGrp="1"/>
          </p:cNvSpPr>
          <p:nvPr>
            <p:ph type="sldNum" sz="quarter" idx="10"/>
          </p:nvPr>
        </p:nvSpPr>
        <p:spPr/>
        <p:txBody>
          <a:bodyPr/>
          <a:lstStyle/>
          <a:p>
            <a:fld id="{5BA76E45-6B41-42DC-8BC0-4F32365D1BCD}" type="slidenum">
              <a:rPr lang="en-US" smtClean="0"/>
              <a:t>98</a:t>
            </a:fld>
            <a:endParaRPr lang="en-US"/>
          </a:p>
        </p:txBody>
      </p:sp>
    </p:spTree>
    <p:extLst>
      <p:ext uri="{BB962C8B-B14F-4D97-AF65-F5344CB8AC3E}">
        <p14:creationId xmlns:p14="http://schemas.microsoft.com/office/powerpoint/2010/main" val="1242962437"/>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data visualization, calculation,</a:t>
            </a:r>
            <a:r>
              <a:rPr lang="en-US" baseline="0" dirty="0"/>
              <a:t> growth</a:t>
            </a:r>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99</a:t>
            </a:fld>
            <a:endParaRPr lang="en-US"/>
          </a:p>
        </p:txBody>
      </p:sp>
    </p:spTree>
    <p:extLst>
      <p:ext uri="{BB962C8B-B14F-4D97-AF65-F5344CB8AC3E}">
        <p14:creationId xmlns:p14="http://schemas.microsoft.com/office/powerpoint/2010/main" val="4165380588"/>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data visualization, growth, calculation, bar chart</a:t>
            </a:r>
          </a:p>
        </p:txBody>
      </p:sp>
      <p:sp>
        <p:nvSpPr>
          <p:cNvPr id="4" name="Slide Number Placeholder 3"/>
          <p:cNvSpPr>
            <a:spLocks noGrp="1"/>
          </p:cNvSpPr>
          <p:nvPr>
            <p:ph type="sldNum" sz="quarter" idx="10"/>
          </p:nvPr>
        </p:nvSpPr>
        <p:spPr/>
        <p:txBody>
          <a:bodyPr/>
          <a:lstStyle/>
          <a:p>
            <a:fld id="{5BA76E45-6B41-42DC-8BC0-4F32365D1BCD}" type="slidenum">
              <a:rPr lang="en-US" smtClean="0"/>
              <a:t>100</a:t>
            </a:fld>
            <a:endParaRPr lang="en-US"/>
          </a:p>
        </p:txBody>
      </p:sp>
    </p:spTree>
    <p:extLst>
      <p:ext uri="{BB962C8B-B14F-4D97-AF65-F5344CB8AC3E}">
        <p14:creationId xmlns:p14="http://schemas.microsoft.com/office/powerpoint/2010/main" val="4140920279"/>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data visualization, growth, bar chart</a:t>
            </a:r>
          </a:p>
        </p:txBody>
      </p:sp>
      <p:sp>
        <p:nvSpPr>
          <p:cNvPr id="4" name="Slide Number Placeholder 3"/>
          <p:cNvSpPr>
            <a:spLocks noGrp="1"/>
          </p:cNvSpPr>
          <p:nvPr>
            <p:ph type="sldNum" sz="quarter" idx="10"/>
          </p:nvPr>
        </p:nvSpPr>
        <p:spPr/>
        <p:txBody>
          <a:bodyPr/>
          <a:lstStyle/>
          <a:p>
            <a:fld id="{5BA76E45-6B41-42DC-8BC0-4F32365D1BCD}" type="slidenum">
              <a:rPr lang="en-US" smtClean="0"/>
              <a:t>101</a:t>
            </a:fld>
            <a:endParaRPr lang="en-US"/>
          </a:p>
        </p:txBody>
      </p:sp>
    </p:spTree>
    <p:extLst>
      <p:ext uri="{BB962C8B-B14F-4D97-AF65-F5344CB8AC3E}">
        <p14:creationId xmlns:p14="http://schemas.microsoft.com/office/powerpoint/2010/main" val="1115309821"/>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data visualization, bar chart, pie</a:t>
            </a:r>
            <a:r>
              <a:rPr lang="en-US" baseline="0" dirty="0"/>
              <a:t> chart</a:t>
            </a:r>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102</a:t>
            </a:fld>
            <a:endParaRPr lang="en-US"/>
          </a:p>
        </p:txBody>
      </p:sp>
    </p:spTree>
    <p:extLst>
      <p:ext uri="{BB962C8B-B14F-4D97-AF65-F5344CB8AC3E}">
        <p14:creationId xmlns:p14="http://schemas.microsoft.com/office/powerpoint/2010/main" val="1701424844"/>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srgbClr val="FFFFFF"/>
                </a:solidFill>
                <a:effectLst/>
                <a:uLnTx/>
                <a:uFillTx/>
                <a:latin typeface="Open Sans"/>
                <a:ea typeface="+mn-ea"/>
                <a:cs typeface="+mn-cs"/>
              </a:rPr>
              <a:t>Tags: data visualization, crowdsourcing, infographics, people</a:t>
            </a:r>
          </a:p>
          <a:p>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103</a:t>
            </a:fld>
            <a:endParaRPr lang="en-US"/>
          </a:p>
        </p:txBody>
      </p:sp>
    </p:spTree>
    <p:extLst>
      <p:ext uri="{BB962C8B-B14F-4D97-AF65-F5344CB8AC3E}">
        <p14:creationId xmlns:p14="http://schemas.microsoft.com/office/powerpoint/2010/main" val="4200203504"/>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srgbClr val="FFFFFF"/>
                </a:solidFill>
                <a:effectLst/>
                <a:uLnTx/>
                <a:uFillTx/>
                <a:latin typeface="Open Sans"/>
                <a:ea typeface="+mn-ea"/>
                <a:cs typeface="+mn-cs"/>
              </a:rPr>
              <a:t>Tags: infographics, numbers, visual</a:t>
            </a:r>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104</a:t>
            </a:fld>
            <a:endParaRPr lang="en-US"/>
          </a:p>
        </p:txBody>
      </p:sp>
    </p:spTree>
    <p:extLst>
      <p:ext uri="{BB962C8B-B14F-4D97-AF65-F5344CB8AC3E}">
        <p14:creationId xmlns:p14="http://schemas.microsoft.com/office/powerpoint/2010/main" val="260050104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srgbClr val="FFFFFF"/>
                </a:solidFill>
                <a:effectLst/>
                <a:uLnTx/>
                <a:uFillTx/>
                <a:latin typeface="Open Sans"/>
                <a:ea typeface="+mn-ea"/>
                <a:cs typeface="+mn-cs"/>
              </a:rPr>
              <a:t>Tags: data visualization, waterfall chart</a:t>
            </a:r>
          </a:p>
          <a:p>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105</a:t>
            </a:fld>
            <a:endParaRPr lang="en-US"/>
          </a:p>
        </p:txBody>
      </p:sp>
    </p:spTree>
    <p:extLst>
      <p:ext uri="{BB962C8B-B14F-4D97-AF65-F5344CB8AC3E}">
        <p14:creationId xmlns:p14="http://schemas.microsoft.com/office/powerpoint/2010/main" val="2624452457"/>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srgbClr val="FFFFFF"/>
                </a:solidFill>
                <a:effectLst/>
                <a:uLnTx/>
                <a:uFillTx/>
                <a:latin typeface="Open Sans"/>
                <a:ea typeface="+mn-ea"/>
                <a:cs typeface="+mn-cs"/>
              </a:rPr>
              <a:t>Tags: data visualization, segmentation, matrix</a:t>
            </a:r>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106</a:t>
            </a:fld>
            <a:endParaRPr lang="en-US"/>
          </a:p>
        </p:txBody>
      </p:sp>
    </p:spTree>
    <p:extLst>
      <p:ext uri="{BB962C8B-B14F-4D97-AF65-F5344CB8AC3E}">
        <p14:creationId xmlns:p14="http://schemas.microsoft.com/office/powerpoint/2010/main" val="633246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AF40E2-65E7-468E-B1D2-4EBA5F4DFEE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8454AFA-F6BE-447A-A2DA-FC831EEAA75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DABD428-26E5-4DDC-9D0E-382BF952F785}"/>
              </a:ext>
            </a:extLst>
          </p:cNvPr>
          <p:cNvSpPr>
            <a:spLocks noGrp="1"/>
          </p:cNvSpPr>
          <p:nvPr>
            <p:ph type="dt" sz="half" idx="10"/>
          </p:nvPr>
        </p:nvSpPr>
        <p:spPr/>
        <p:txBody>
          <a:bodyPr/>
          <a:lstStyle/>
          <a:p>
            <a:fld id="{0DAACAD2-678A-4966-A74E-1D8A7B98D37D}" type="datetimeFigureOut">
              <a:rPr lang="en-US" smtClean="0"/>
              <a:t>8/11/2022</a:t>
            </a:fld>
            <a:endParaRPr lang="en-US"/>
          </a:p>
        </p:txBody>
      </p:sp>
      <p:sp>
        <p:nvSpPr>
          <p:cNvPr id="5" name="Footer Placeholder 4">
            <a:extLst>
              <a:ext uri="{FF2B5EF4-FFF2-40B4-BE49-F238E27FC236}">
                <a16:creationId xmlns:a16="http://schemas.microsoft.com/office/drawing/2014/main" id="{48C6FE68-843A-486C-A0DC-40081209EC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12A08D9-0318-4EDB-9250-2E69AF337CFD}"/>
              </a:ext>
            </a:extLst>
          </p:cNvPr>
          <p:cNvSpPr>
            <a:spLocks noGrp="1"/>
          </p:cNvSpPr>
          <p:nvPr>
            <p:ph type="sldNum" sz="quarter" idx="12"/>
          </p:nvPr>
        </p:nvSpPr>
        <p:spPr/>
        <p:txBody>
          <a:bodyPr/>
          <a:lstStyle/>
          <a:p>
            <a:fld id="{BF0791DD-BEC0-4ED7-8D09-FE5C5DD2F715}" type="slidenum">
              <a:rPr lang="en-US" smtClean="0"/>
              <a:t>‹#›</a:t>
            </a:fld>
            <a:endParaRPr lang="en-US"/>
          </a:p>
        </p:txBody>
      </p:sp>
    </p:spTree>
    <p:extLst>
      <p:ext uri="{BB962C8B-B14F-4D97-AF65-F5344CB8AC3E}">
        <p14:creationId xmlns:p14="http://schemas.microsoft.com/office/powerpoint/2010/main" val="20690605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2E5D77-DEDB-47B4-AA75-635B0D62C4A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C44C1E3-8E3C-4495-A12D-9671FE7D3C8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5BBFE12-0CD3-463E-90AE-D3208CDD7191}"/>
              </a:ext>
            </a:extLst>
          </p:cNvPr>
          <p:cNvSpPr>
            <a:spLocks noGrp="1"/>
          </p:cNvSpPr>
          <p:nvPr>
            <p:ph type="dt" sz="half" idx="10"/>
          </p:nvPr>
        </p:nvSpPr>
        <p:spPr/>
        <p:txBody>
          <a:bodyPr/>
          <a:lstStyle/>
          <a:p>
            <a:fld id="{0DAACAD2-678A-4966-A74E-1D8A7B98D37D}" type="datetimeFigureOut">
              <a:rPr lang="en-US" smtClean="0"/>
              <a:t>8/11/2022</a:t>
            </a:fld>
            <a:endParaRPr lang="en-US"/>
          </a:p>
        </p:txBody>
      </p:sp>
      <p:sp>
        <p:nvSpPr>
          <p:cNvPr id="5" name="Footer Placeholder 4">
            <a:extLst>
              <a:ext uri="{FF2B5EF4-FFF2-40B4-BE49-F238E27FC236}">
                <a16:creationId xmlns:a16="http://schemas.microsoft.com/office/drawing/2014/main" id="{2E937449-F2B3-412D-9C7D-AF86724C1E5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C8DA4DB-981D-4FEA-98DB-2BFDA3806214}"/>
              </a:ext>
            </a:extLst>
          </p:cNvPr>
          <p:cNvSpPr>
            <a:spLocks noGrp="1"/>
          </p:cNvSpPr>
          <p:nvPr>
            <p:ph type="sldNum" sz="quarter" idx="12"/>
          </p:nvPr>
        </p:nvSpPr>
        <p:spPr/>
        <p:txBody>
          <a:bodyPr/>
          <a:lstStyle/>
          <a:p>
            <a:fld id="{BF0791DD-BEC0-4ED7-8D09-FE5C5DD2F715}" type="slidenum">
              <a:rPr lang="en-US" smtClean="0"/>
              <a:t>‹#›</a:t>
            </a:fld>
            <a:endParaRPr lang="en-US"/>
          </a:p>
        </p:txBody>
      </p:sp>
    </p:spTree>
    <p:extLst>
      <p:ext uri="{BB962C8B-B14F-4D97-AF65-F5344CB8AC3E}">
        <p14:creationId xmlns:p14="http://schemas.microsoft.com/office/powerpoint/2010/main" val="11049000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00BE026-4911-4C93-9845-B741EAFA714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F38DD8F-A2FC-4FEE-A129-E7E0DD5C5A4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83CE632-B557-4CCA-BB6D-69431E8CD8B4}"/>
              </a:ext>
            </a:extLst>
          </p:cNvPr>
          <p:cNvSpPr>
            <a:spLocks noGrp="1"/>
          </p:cNvSpPr>
          <p:nvPr>
            <p:ph type="dt" sz="half" idx="10"/>
          </p:nvPr>
        </p:nvSpPr>
        <p:spPr/>
        <p:txBody>
          <a:bodyPr/>
          <a:lstStyle/>
          <a:p>
            <a:fld id="{0DAACAD2-678A-4966-A74E-1D8A7B98D37D}" type="datetimeFigureOut">
              <a:rPr lang="en-US" smtClean="0"/>
              <a:t>8/11/2022</a:t>
            </a:fld>
            <a:endParaRPr lang="en-US"/>
          </a:p>
        </p:txBody>
      </p:sp>
      <p:sp>
        <p:nvSpPr>
          <p:cNvPr id="5" name="Footer Placeholder 4">
            <a:extLst>
              <a:ext uri="{FF2B5EF4-FFF2-40B4-BE49-F238E27FC236}">
                <a16:creationId xmlns:a16="http://schemas.microsoft.com/office/drawing/2014/main" id="{8369A758-6292-42DE-A49D-F7B3FA35AE9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E89620E-AA69-4310-B8A0-1B7920B0798E}"/>
              </a:ext>
            </a:extLst>
          </p:cNvPr>
          <p:cNvSpPr>
            <a:spLocks noGrp="1"/>
          </p:cNvSpPr>
          <p:nvPr>
            <p:ph type="sldNum" sz="quarter" idx="12"/>
          </p:nvPr>
        </p:nvSpPr>
        <p:spPr/>
        <p:txBody>
          <a:bodyPr/>
          <a:lstStyle/>
          <a:p>
            <a:fld id="{BF0791DD-BEC0-4ED7-8D09-FE5C5DD2F715}" type="slidenum">
              <a:rPr lang="en-US" smtClean="0"/>
              <a:t>‹#›</a:t>
            </a:fld>
            <a:endParaRPr lang="en-US"/>
          </a:p>
        </p:txBody>
      </p:sp>
    </p:spTree>
    <p:extLst>
      <p:ext uri="{BB962C8B-B14F-4D97-AF65-F5344CB8AC3E}">
        <p14:creationId xmlns:p14="http://schemas.microsoft.com/office/powerpoint/2010/main" val="6750893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endParaRPr lang="en-US" dirty="0"/>
          </a:p>
        </p:txBody>
      </p:sp>
    </p:spTree>
    <p:extLst>
      <p:ext uri="{BB962C8B-B14F-4D97-AF65-F5344CB8AC3E}">
        <p14:creationId xmlns:p14="http://schemas.microsoft.com/office/powerpoint/2010/main" val="39006940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39340492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endParaRPr lang="en-US" dirty="0"/>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5655666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104270124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dirty="0"/>
              <a:t>Click to edit Master text styles</a:t>
            </a:r>
          </a:p>
        </p:txBody>
      </p:sp>
    </p:spTree>
    <p:extLst>
      <p:ext uri="{BB962C8B-B14F-4D97-AF65-F5344CB8AC3E}">
        <p14:creationId xmlns:p14="http://schemas.microsoft.com/office/powerpoint/2010/main" val="42337356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dirty="0"/>
              <a:t>Click to edit Master text styles</a:t>
            </a:r>
          </a:p>
        </p:txBody>
      </p:sp>
    </p:spTree>
    <p:extLst>
      <p:ext uri="{BB962C8B-B14F-4D97-AF65-F5344CB8AC3E}">
        <p14:creationId xmlns:p14="http://schemas.microsoft.com/office/powerpoint/2010/main" val="27915417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extLst>
              <p:ext uri="{D42A27DB-BD31-4B8C-83A1-F6EECF244321}">
                <p14:modId xmlns:p14="http://schemas.microsoft.com/office/powerpoint/2010/main" val="2470256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a:lvl1pPr>
          </a:lstStyle>
          <a:p>
            <a:r>
              <a:rPr lang="en-US" dirty="0"/>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dirty="0"/>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dirty="0"/>
              <a:t>Click to edit Master text styles</a:t>
            </a:r>
            <a:endParaRPr lang="en-US" dirty="0"/>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28578523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2"/>
            </p:custDataLst>
            <p:extLst>
              <p:ext uri="{D42A27DB-BD31-4B8C-83A1-F6EECF244321}">
                <p14:modId xmlns:p14="http://schemas.microsoft.com/office/powerpoint/2010/main" val="1350129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6591045" y="2239972"/>
            <a:ext cx="2452738" cy="2728580"/>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149766"/>
            </a:xfrm>
            <a:prstGeom prst="rect">
              <a:avLst/>
            </a:prstGeom>
            <a:noFill/>
          </p:spPr>
          <p:txBody>
            <a:bodyPr>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8922139" y="4968552"/>
            <a:ext cx="326986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0" y="4628982"/>
            <a:ext cx="7894216" cy="8099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952500" y="1206500"/>
            <a:ext cx="5337175" cy="2257425"/>
          </a:xfrm>
        </p:spPr>
        <p:txBody>
          <a:bodyPr/>
          <a:lstStyle>
            <a:lvl1pPr marL="0" indent="0">
              <a:buNone/>
              <a:defRPr sz="6600">
                <a:latin typeface="+mj-lt"/>
              </a:defRPr>
            </a:lvl1pPr>
          </a:lstStyle>
          <a:p>
            <a:pPr lvl="0"/>
            <a:r>
              <a:rPr lang="en-US" sz="6600" dirty="0">
                <a:latin typeface="+mj-lt"/>
              </a:rPr>
              <a:t>Section Header</a:t>
            </a:r>
            <a:endParaRPr lang="en-US" dirty="0"/>
          </a:p>
        </p:txBody>
      </p:sp>
    </p:spTree>
    <p:extLst>
      <p:ext uri="{BB962C8B-B14F-4D97-AF65-F5344CB8AC3E}">
        <p14:creationId xmlns:p14="http://schemas.microsoft.com/office/powerpoint/2010/main" val="33068772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9D61C6-D69D-47EB-A855-0F0A847291A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9BB458A-A98B-4906-A06E-FED8C6CBD21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9911D31-B66F-46FB-A116-74B8AFD413DC}"/>
              </a:ext>
            </a:extLst>
          </p:cNvPr>
          <p:cNvSpPr>
            <a:spLocks noGrp="1"/>
          </p:cNvSpPr>
          <p:nvPr>
            <p:ph type="dt" sz="half" idx="10"/>
          </p:nvPr>
        </p:nvSpPr>
        <p:spPr/>
        <p:txBody>
          <a:bodyPr/>
          <a:lstStyle/>
          <a:p>
            <a:fld id="{0DAACAD2-678A-4966-A74E-1D8A7B98D37D}" type="datetimeFigureOut">
              <a:rPr lang="en-US" smtClean="0"/>
              <a:t>8/11/2022</a:t>
            </a:fld>
            <a:endParaRPr lang="en-US"/>
          </a:p>
        </p:txBody>
      </p:sp>
      <p:sp>
        <p:nvSpPr>
          <p:cNvPr id="5" name="Footer Placeholder 4">
            <a:extLst>
              <a:ext uri="{FF2B5EF4-FFF2-40B4-BE49-F238E27FC236}">
                <a16:creationId xmlns:a16="http://schemas.microsoft.com/office/drawing/2014/main" id="{AA77372F-C2AE-424F-8D99-B891CF80CE1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E577ABE-CD37-4CF7-95B6-7F29BDC6C787}"/>
              </a:ext>
            </a:extLst>
          </p:cNvPr>
          <p:cNvSpPr>
            <a:spLocks noGrp="1"/>
          </p:cNvSpPr>
          <p:nvPr>
            <p:ph type="sldNum" sz="quarter" idx="12"/>
          </p:nvPr>
        </p:nvSpPr>
        <p:spPr/>
        <p:txBody>
          <a:bodyPr/>
          <a:lstStyle/>
          <a:p>
            <a:fld id="{BF0791DD-BEC0-4ED7-8D09-FE5C5DD2F715}" type="slidenum">
              <a:rPr lang="en-US" smtClean="0"/>
              <a:t>‹#›</a:t>
            </a:fld>
            <a:endParaRPr lang="en-US"/>
          </a:p>
        </p:txBody>
      </p:sp>
    </p:spTree>
    <p:extLst>
      <p:ext uri="{BB962C8B-B14F-4D97-AF65-F5344CB8AC3E}">
        <p14:creationId xmlns:p14="http://schemas.microsoft.com/office/powerpoint/2010/main" val="21313152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90783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2"/>
            </p:custDataLst>
            <p:extLst>
              <p:ext uri="{D42A27DB-BD31-4B8C-83A1-F6EECF244321}">
                <p14:modId xmlns:p14="http://schemas.microsoft.com/office/powerpoint/2010/main" val="2032164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4665821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1" y="1961812"/>
            <a:ext cx="8001000" cy="2921731"/>
          </a:xfrm>
        </p:spPr>
        <p:txBody>
          <a:bodyPr anchor="b" anchorCtr="0"/>
          <a:lstStyle>
            <a:lvl1pPr>
              <a:lnSpc>
                <a:spcPct val="85000"/>
              </a:lnSpc>
              <a:defRPr sz="5400" b="1" baseline="0">
                <a:latin typeface="+mn-lt"/>
              </a:defRPr>
            </a:lvl1pPr>
          </a:lstStyle>
          <a:p>
            <a:r>
              <a:rPr lang="en-US" dirty="0"/>
              <a:t>Thank You </a:t>
            </a:r>
            <a:br>
              <a:rPr lang="en-US" dirty="0"/>
            </a:br>
            <a:r>
              <a:rPr lang="en-US" dirty="0"/>
              <a:t>Goes Here.</a:t>
            </a:r>
          </a:p>
        </p:txBody>
      </p:sp>
      <p:sp>
        <p:nvSpPr>
          <p:cNvPr id="9" name="Rectangle 8"/>
          <p:cNvSpPr/>
          <p:nvPr/>
        </p:nvSpPr>
        <p:spPr>
          <a:xfrm>
            <a:off x="4134012" y="5436072"/>
            <a:ext cx="7143588" cy="1421928"/>
          </a:xfrm>
          <a:prstGeom prst="rect">
            <a:avLst/>
          </a:prstGeom>
        </p:spPr>
        <p:txBody>
          <a:bodyPr wrap="square" numCol="2" spcCol="182880">
            <a:spAutoFit/>
          </a:bodyPr>
          <a:lstStyle/>
          <a:p>
            <a:pPr>
              <a:lnSpc>
                <a:spcPct val="120000"/>
              </a:lnSpc>
            </a:pPr>
            <a:r>
              <a:rPr lang="en-US" sz="700" dirty="0">
                <a:latin typeface="Open Sans" charset="0"/>
                <a:ea typeface="Open Sans" charset="0"/>
                <a:cs typeface="Open Sans" charset="0"/>
              </a:rPr>
              <a:t>This publication contains general information only, and none of the member firms of Deloitte </a:t>
            </a:r>
            <a:r>
              <a:rPr lang="en-US" sz="700" dirty="0" err="1">
                <a:latin typeface="Open Sans" charset="0"/>
                <a:ea typeface="Open Sans" charset="0"/>
                <a:cs typeface="Open Sans" charset="0"/>
              </a:rPr>
              <a:t>Touche</a:t>
            </a:r>
            <a:r>
              <a:rPr lang="en-US" sz="700" dirty="0">
                <a:latin typeface="Open Sans" charset="0"/>
                <a:ea typeface="Open Sans" charset="0"/>
                <a:cs typeface="Open Sans"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dirty="0">
                <a:latin typeface="Open Sans" charset="0"/>
                <a:ea typeface="Open Sans" charset="0"/>
                <a:cs typeface="Open Sans" charset="0"/>
              </a:rPr>
            </a:br>
            <a:br>
              <a:rPr lang="en-US" sz="700" dirty="0">
                <a:latin typeface="Open Sans" charset="0"/>
                <a:ea typeface="Open Sans" charset="0"/>
                <a:cs typeface="Open Sans" charset="0"/>
              </a:rPr>
            </a:br>
            <a:endParaRPr lang="en-US" sz="700" dirty="0">
              <a:latin typeface="Open Sans" charset="0"/>
              <a:ea typeface="Open Sans" charset="0"/>
              <a:cs typeface="Open Sans" charset="0"/>
            </a:endParaRPr>
          </a:p>
          <a:p>
            <a:pPr>
              <a:lnSpc>
                <a:spcPct val="120000"/>
              </a:lnSpc>
            </a:pPr>
            <a:r>
              <a:rPr lang="en-US" sz="700" dirty="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dirty="0">
                <a:latin typeface="Open Sans" charset="0"/>
                <a:ea typeface="Open Sans" charset="0"/>
                <a:cs typeface="Open Sans" charset="0"/>
              </a:rPr>
            </a:br>
            <a:r>
              <a:rPr lang="en-US" sz="700" dirty="0">
                <a:latin typeface="Open Sans" charset="0"/>
                <a:ea typeface="Open Sans" charset="0"/>
                <a:cs typeface="Open Sans" charset="0"/>
              </a:rPr>
              <a:t>the rules and regulations of public accounting.</a:t>
            </a:r>
          </a:p>
          <a:p>
            <a:endParaRPr lang="en-US" sz="700" dirty="0">
              <a:latin typeface="Open Sans" charset="0"/>
              <a:ea typeface="Open Sans" charset="0"/>
              <a:cs typeface="Open Sans" charset="0"/>
              <a:sym typeface="Frutiger Next Pro Light" charset="0"/>
            </a:endParaRPr>
          </a:p>
          <a:p>
            <a:r>
              <a:rPr lang="en-US" sz="700" b="1" dirty="0">
                <a:latin typeface="Open Sans" charset="0"/>
                <a:ea typeface="Open Sans" charset="0"/>
                <a:cs typeface="Open Sans" charset="0"/>
                <a:sym typeface="Frutiger Next Pro Light" charset="0"/>
              </a:rPr>
              <a:t>Copyright © 2019 Deloitte Development LLC. </a:t>
            </a:r>
            <a:br>
              <a:rPr lang="en-US" sz="700" dirty="0">
                <a:latin typeface="Open Sans" charset="0"/>
                <a:ea typeface="Open Sans" charset="0"/>
                <a:cs typeface="Open Sans" charset="0"/>
                <a:sym typeface="Frutiger Next Pro Light" charset="0"/>
              </a:rPr>
            </a:br>
            <a:r>
              <a:rPr lang="en-US" sz="700" b="1" dirty="0">
                <a:latin typeface="Open Sans" charset="0"/>
                <a:ea typeface="Open Sans" charset="0"/>
                <a:cs typeface="Open Sans" charset="0"/>
                <a:sym typeface="Frutiger Next Pro Light" charset="0"/>
              </a:rPr>
              <a:t>All rights reserved. </a:t>
            </a:r>
            <a:r>
              <a:rPr lang="en-US" sz="700" b="1" dirty="0">
                <a:latin typeface="Open Sans" charset="0"/>
                <a:ea typeface="Open Sans" charset="0"/>
                <a:cs typeface="Open Sans" charset="0"/>
              </a:rPr>
              <a:t>Member of Deloitte </a:t>
            </a:r>
            <a:r>
              <a:rPr lang="en-US" sz="700" b="1" dirty="0" err="1">
                <a:latin typeface="Open Sans" charset="0"/>
                <a:ea typeface="Open Sans" charset="0"/>
                <a:cs typeface="Open Sans" charset="0"/>
              </a:rPr>
              <a:t>Touche</a:t>
            </a:r>
            <a:r>
              <a:rPr lang="en-US" sz="700" b="1" dirty="0">
                <a:latin typeface="Open Sans" charset="0"/>
                <a:ea typeface="Open Sans" charset="0"/>
                <a:cs typeface="Open Sans" charset="0"/>
              </a:rPr>
              <a:t> Tohmatsu Limited</a:t>
            </a:r>
          </a:p>
        </p:txBody>
      </p:sp>
      <p:pic>
        <p:nvPicPr>
          <p:cNvPr id="5" name="Picture 4">
            <a:extLst>
              <a:ext uri="{FF2B5EF4-FFF2-40B4-BE49-F238E27FC236}">
                <a16:creationId xmlns:a16="http://schemas.microsoft.com/office/drawing/2014/main" id="{AF6272ED-D46B-4410-850F-BE680FD2A4F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14400" y="762000"/>
            <a:ext cx="1788289" cy="388953"/>
          </a:xfrm>
          <a:prstGeom prst="rect">
            <a:avLst/>
          </a:prstGeom>
        </p:spPr>
      </p:pic>
    </p:spTree>
    <p:extLst>
      <p:ext uri="{BB962C8B-B14F-4D97-AF65-F5344CB8AC3E}">
        <p14:creationId xmlns:p14="http://schemas.microsoft.com/office/powerpoint/2010/main" val="801345682"/>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p:nvSpPr>
        <p:spPr>
          <a:xfrm>
            <a:off x="914400" y="1217629"/>
            <a:ext cx="10363200" cy="4616648"/>
          </a:xfrm>
          <a:prstGeom prst="rect">
            <a:avLst/>
          </a:prstGeom>
          <a:noFill/>
        </p:spPr>
        <p:txBody>
          <a:bodyPr wrap="square" rtlCol="0">
            <a:spAutoFit/>
          </a:bodyPr>
          <a:lstStyle/>
          <a:p>
            <a:pPr algn="ctr"/>
            <a:r>
              <a:rPr lang="en-US" sz="11500" b="1" dirty="0"/>
              <a:t>Do not use this</a:t>
            </a:r>
            <a:r>
              <a:rPr lang="en-US" sz="11500" b="1" baseline="0" dirty="0"/>
              <a:t> layout</a:t>
            </a:r>
          </a:p>
          <a:p>
            <a:pPr algn="ctr"/>
            <a:endParaRPr lang="en-US" sz="3200" b="1" baseline="0" dirty="0"/>
          </a:p>
          <a:p>
            <a:pPr algn="ctr"/>
            <a:r>
              <a:rPr lang="en-US" sz="3200" b="0" baseline="0" dirty="0"/>
              <a:t>Delete any master slides that occur after this layout</a:t>
            </a:r>
            <a:endParaRPr lang="en-US" sz="3200" b="0" dirty="0"/>
          </a:p>
        </p:txBody>
      </p:sp>
    </p:spTree>
    <p:extLst>
      <p:ext uri="{BB962C8B-B14F-4D97-AF65-F5344CB8AC3E}">
        <p14:creationId xmlns:p14="http://schemas.microsoft.com/office/powerpoint/2010/main" val="28544734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cSld name="Title, Right,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dirty="0"/>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dirty="0"/>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Date</a:t>
            </a:r>
          </a:p>
        </p:txBody>
      </p:sp>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dirty="0"/>
              <a:t>Click to insert picture</a:t>
            </a:r>
          </a:p>
        </p:txBody>
      </p:sp>
      <p:pic>
        <p:nvPicPr>
          <p:cNvPr id="4" name="Picture 3">
            <a:extLst>
              <a:ext uri="{FF2B5EF4-FFF2-40B4-BE49-F238E27FC236}">
                <a16:creationId xmlns:a16="http://schemas.microsoft.com/office/drawing/2014/main" id="{9690DDD7-BC40-45F8-9944-8723C753155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14400" y="762000"/>
            <a:ext cx="1788289" cy="388953"/>
          </a:xfrm>
          <a:prstGeom prst="rect">
            <a:avLst/>
          </a:prstGeom>
        </p:spPr>
      </p:pic>
    </p:spTree>
    <p:extLst>
      <p:ext uri="{BB962C8B-B14F-4D97-AF65-F5344CB8AC3E}">
        <p14:creationId xmlns:p14="http://schemas.microsoft.com/office/powerpoint/2010/main" val="3746812608"/>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73822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CEC40C-E32A-4569-AD61-1B7EC8A39B1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EFFA5AB-F0B0-44BB-B31A-73DED2583A2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2963EBD-037F-4E0A-8A1A-F41C7D6CC176}"/>
              </a:ext>
            </a:extLst>
          </p:cNvPr>
          <p:cNvSpPr>
            <a:spLocks noGrp="1"/>
          </p:cNvSpPr>
          <p:nvPr>
            <p:ph type="dt" sz="half" idx="10"/>
          </p:nvPr>
        </p:nvSpPr>
        <p:spPr/>
        <p:txBody>
          <a:bodyPr/>
          <a:lstStyle/>
          <a:p>
            <a:fld id="{0DAACAD2-678A-4966-A74E-1D8A7B98D37D}" type="datetimeFigureOut">
              <a:rPr lang="en-US" smtClean="0"/>
              <a:t>8/11/2022</a:t>
            </a:fld>
            <a:endParaRPr lang="en-US"/>
          </a:p>
        </p:txBody>
      </p:sp>
      <p:sp>
        <p:nvSpPr>
          <p:cNvPr id="5" name="Footer Placeholder 4">
            <a:extLst>
              <a:ext uri="{FF2B5EF4-FFF2-40B4-BE49-F238E27FC236}">
                <a16:creationId xmlns:a16="http://schemas.microsoft.com/office/drawing/2014/main" id="{C6D73143-7C95-4A4E-8637-9820F7FFD27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813D1A-443F-4102-9991-F62AD88B36A3}"/>
              </a:ext>
            </a:extLst>
          </p:cNvPr>
          <p:cNvSpPr>
            <a:spLocks noGrp="1"/>
          </p:cNvSpPr>
          <p:nvPr>
            <p:ph type="sldNum" sz="quarter" idx="12"/>
          </p:nvPr>
        </p:nvSpPr>
        <p:spPr/>
        <p:txBody>
          <a:bodyPr/>
          <a:lstStyle/>
          <a:p>
            <a:fld id="{BF0791DD-BEC0-4ED7-8D09-FE5C5DD2F715}" type="slidenum">
              <a:rPr lang="en-US" smtClean="0"/>
              <a:t>‹#›</a:t>
            </a:fld>
            <a:endParaRPr lang="en-US"/>
          </a:p>
        </p:txBody>
      </p:sp>
    </p:spTree>
    <p:extLst>
      <p:ext uri="{BB962C8B-B14F-4D97-AF65-F5344CB8AC3E}">
        <p14:creationId xmlns:p14="http://schemas.microsoft.com/office/powerpoint/2010/main" val="15849062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918E94-549D-45FA-B5E3-9F57ED2A56D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6FCA908-0E56-4B76-AD40-3CEDA330E02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D14DDAF-CAF2-4A9F-B838-CA2F8DBF9B7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3D3D3F7-ADC8-44FC-B6F8-DD89A2A813A2}"/>
              </a:ext>
            </a:extLst>
          </p:cNvPr>
          <p:cNvSpPr>
            <a:spLocks noGrp="1"/>
          </p:cNvSpPr>
          <p:nvPr>
            <p:ph type="dt" sz="half" idx="10"/>
          </p:nvPr>
        </p:nvSpPr>
        <p:spPr/>
        <p:txBody>
          <a:bodyPr/>
          <a:lstStyle/>
          <a:p>
            <a:fld id="{0DAACAD2-678A-4966-A74E-1D8A7B98D37D}" type="datetimeFigureOut">
              <a:rPr lang="en-US" smtClean="0"/>
              <a:t>8/11/2022</a:t>
            </a:fld>
            <a:endParaRPr lang="en-US"/>
          </a:p>
        </p:txBody>
      </p:sp>
      <p:sp>
        <p:nvSpPr>
          <p:cNvPr id="6" name="Footer Placeholder 5">
            <a:extLst>
              <a:ext uri="{FF2B5EF4-FFF2-40B4-BE49-F238E27FC236}">
                <a16:creationId xmlns:a16="http://schemas.microsoft.com/office/drawing/2014/main" id="{1669F9E1-DE0A-4018-A86A-FD356CBA1B6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1C2C1A5-4C9F-4DDC-AAE7-6925B7E9D650}"/>
              </a:ext>
            </a:extLst>
          </p:cNvPr>
          <p:cNvSpPr>
            <a:spLocks noGrp="1"/>
          </p:cNvSpPr>
          <p:nvPr>
            <p:ph type="sldNum" sz="quarter" idx="12"/>
          </p:nvPr>
        </p:nvSpPr>
        <p:spPr/>
        <p:txBody>
          <a:bodyPr/>
          <a:lstStyle/>
          <a:p>
            <a:fld id="{BF0791DD-BEC0-4ED7-8D09-FE5C5DD2F715}" type="slidenum">
              <a:rPr lang="en-US" smtClean="0"/>
              <a:t>‹#›</a:t>
            </a:fld>
            <a:endParaRPr lang="en-US"/>
          </a:p>
        </p:txBody>
      </p:sp>
    </p:spTree>
    <p:extLst>
      <p:ext uri="{BB962C8B-B14F-4D97-AF65-F5344CB8AC3E}">
        <p14:creationId xmlns:p14="http://schemas.microsoft.com/office/powerpoint/2010/main" val="14915396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BED373-64BF-4AA1-B9F0-70D4CCE9989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CC28D3C-83E7-4D57-A575-976E0533765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66BB581-3ECA-4CFF-B8BD-04123DC9A52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44F78F1-0206-4CE3-8C09-02452A10BD4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3E815FD-B348-46FE-95EF-2FDF3C6B9DF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CCE35D1-DAFF-4A1F-A8AB-C72F19C1AACB}"/>
              </a:ext>
            </a:extLst>
          </p:cNvPr>
          <p:cNvSpPr>
            <a:spLocks noGrp="1"/>
          </p:cNvSpPr>
          <p:nvPr>
            <p:ph type="dt" sz="half" idx="10"/>
          </p:nvPr>
        </p:nvSpPr>
        <p:spPr/>
        <p:txBody>
          <a:bodyPr/>
          <a:lstStyle/>
          <a:p>
            <a:fld id="{0DAACAD2-678A-4966-A74E-1D8A7B98D37D}" type="datetimeFigureOut">
              <a:rPr lang="en-US" smtClean="0"/>
              <a:t>8/11/2022</a:t>
            </a:fld>
            <a:endParaRPr lang="en-US"/>
          </a:p>
        </p:txBody>
      </p:sp>
      <p:sp>
        <p:nvSpPr>
          <p:cNvPr id="8" name="Footer Placeholder 7">
            <a:extLst>
              <a:ext uri="{FF2B5EF4-FFF2-40B4-BE49-F238E27FC236}">
                <a16:creationId xmlns:a16="http://schemas.microsoft.com/office/drawing/2014/main" id="{FEA83C25-A1FF-424B-A2DF-14E0D310560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DCB0A8E-7A3B-42E4-BFC2-813FCBE06733}"/>
              </a:ext>
            </a:extLst>
          </p:cNvPr>
          <p:cNvSpPr>
            <a:spLocks noGrp="1"/>
          </p:cNvSpPr>
          <p:nvPr>
            <p:ph type="sldNum" sz="quarter" idx="12"/>
          </p:nvPr>
        </p:nvSpPr>
        <p:spPr/>
        <p:txBody>
          <a:bodyPr/>
          <a:lstStyle/>
          <a:p>
            <a:fld id="{BF0791DD-BEC0-4ED7-8D09-FE5C5DD2F715}" type="slidenum">
              <a:rPr lang="en-US" smtClean="0"/>
              <a:t>‹#›</a:t>
            </a:fld>
            <a:endParaRPr lang="en-US"/>
          </a:p>
        </p:txBody>
      </p:sp>
    </p:spTree>
    <p:extLst>
      <p:ext uri="{BB962C8B-B14F-4D97-AF65-F5344CB8AC3E}">
        <p14:creationId xmlns:p14="http://schemas.microsoft.com/office/powerpoint/2010/main" val="21758933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5E4CC8-ACDE-45C7-815A-427158F8416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23586F9-7F4F-4527-A6C7-28FC0D84CF77}"/>
              </a:ext>
            </a:extLst>
          </p:cNvPr>
          <p:cNvSpPr>
            <a:spLocks noGrp="1"/>
          </p:cNvSpPr>
          <p:nvPr>
            <p:ph type="dt" sz="half" idx="10"/>
          </p:nvPr>
        </p:nvSpPr>
        <p:spPr/>
        <p:txBody>
          <a:bodyPr/>
          <a:lstStyle/>
          <a:p>
            <a:fld id="{0DAACAD2-678A-4966-A74E-1D8A7B98D37D}" type="datetimeFigureOut">
              <a:rPr lang="en-US" smtClean="0"/>
              <a:t>8/11/2022</a:t>
            </a:fld>
            <a:endParaRPr lang="en-US"/>
          </a:p>
        </p:txBody>
      </p:sp>
      <p:sp>
        <p:nvSpPr>
          <p:cNvPr id="4" name="Footer Placeholder 3">
            <a:extLst>
              <a:ext uri="{FF2B5EF4-FFF2-40B4-BE49-F238E27FC236}">
                <a16:creationId xmlns:a16="http://schemas.microsoft.com/office/drawing/2014/main" id="{952191DB-3B44-4102-B40C-F1DB3598904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077AFB8-C965-4CBD-B6D7-C8554C2FF735}"/>
              </a:ext>
            </a:extLst>
          </p:cNvPr>
          <p:cNvSpPr>
            <a:spLocks noGrp="1"/>
          </p:cNvSpPr>
          <p:nvPr>
            <p:ph type="sldNum" sz="quarter" idx="12"/>
          </p:nvPr>
        </p:nvSpPr>
        <p:spPr/>
        <p:txBody>
          <a:bodyPr/>
          <a:lstStyle/>
          <a:p>
            <a:fld id="{BF0791DD-BEC0-4ED7-8D09-FE5C5DD2F715}" type="slidenum">
              <a:rPr lang="en-US" smtClean="0"/>
              <a:t>‹#›</a:t>
            </a:fld>
            <a:endParaRPr lang="en-US"/>
          </a:p>
        </p:txBody>
      </p:sp>
    </p:spTree>
    <p:extLst>
      <p:ext uri="{BB962C8B-B14F-4D97-AF65-F5344CB8AC3E}">
        <p14:creationId xmlns:p14="http://schemas.microsoft.com/office/powerpoint/2010/main" val="38250377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910AD3E-FFE4-4537-83BD-A77FB4C66747}"/>
              </a:ext>
            </a:extLst>
          </p:cNvPr>
          <p:cNvSpPr>
            <a:spLocks noGrp="1"/>
          </p:cNvSpPr>
          <p:nvPr>
            <p:ph type="dt" sz="half" idx="10"/>
          </p:nvPr>
        </p:nvSpPr>
        <p:spPr/>
        <p:txBody>
          <a:bodyPr/>
          <a:lstStyle/>
          <a:p>
            <a:fld id="{0DAACAD2-678A-4966-A74E-1D8A7B98D37D}" type="datetimeFigureOut">
              <a:rPr lang="en-US" smtClean="0"/>
              <a:t>8/11/2022</a:t>
            </a:fld>
            <a:endParaRPr lang="en-US"/>
          </a:p>
        </p:txBody>
      </p:sp>
      <p:sp>
        <p:nvSpPr>
          <p:cNvPr id="3" name="Footer Placeholder 2">
            <a:extLst>
              <a:ext uri="{FF2B5EF4-FFF2-40B4-BE49-F238E27FC236}">
                <a16:creationId xmlns:a16="http://schemas.microsoft.com/office/drawing/2014/main" id="{5A576ADF-6BDD-4639-94AD-958B02671A7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2E7AD41-A886-42C8-8BE1-C7E69BADF48B}"/>
              </a:ext>
            </a:extLst>
          </p:cNvPr>
          <p:cNvSpPr>
            <a:spLocks noGrp="1"/>
          </p:cNvSpPr>
          <p:nvPr>
            <p:ph type="sldNum" sz="quarter" idx="12"/>
          </p:nvPr>
        </p:nvSpPr>
        <p:spPr/>
        <p:txBody>
          <a:bodyPr/>
          <a:lstStyle/>
          <a:p>
            <a:fld id="{BF0791DD-BEC0-4ED7-8D09-FE5C5DD2F715}" type="slidenum">
              <a:rPr lang="en-US" smtClean="0"/>
              <a:t>‹#›</a:t>
            </a:fld>
            <a:endParaRPr lang="en-US"/>
          </a:p>
        </p:txBody>
      </p:sp>
    </p:spTree>
    <p:extLst>
      <p:ext uri="{BB962C8B-B14F-4D97-AF65-F5344CB8AC3E}">
        <p14:creationId xmlns:p14="http://schemas.microsoft.com/office/powerpoint/2010/main" val="8557933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B634A0-69B1-45D7-8AFA-6D149C4D144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736408D-2C9A-4321-9D3E-FFCC4F6E7AB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74F4C2A-CD72-43E8-9734-7731FE0349F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FCCB596-C160-42A0-B187-E8C51242DD51}"/>
              </a:ext>
            </a:extLst>
          </p:cNvPr>
          <p:cNvSpPr>
            <a:spLocks noGrp="1"/>
          </p:cNvSpPr>
          <p:nvPr>
            <p:ph type="dt" sz="half" idx="10"/>
          </p:nvPr>
        </p:nvSpPr>
        <p:spPr/>
        <p:txBody>
          <a:bodyPr/>
          <a:lstStyle/>
          <a:p>
            <a:fld id="{0DAACAD2-678A-4966-A74E-1D8A7B98D37D}" type="datetimeFigureOut">
              <a:rPr lang="en-US" smtClean="0"/>
              <a:t>8/11/2022</a:t>
            </a:fld>
            <a:endParaRPr lang="en-US"/>
          </a:p>
        </p:txBody>
      </p:sp>
      <p:sp>
        <p:nvSpPr>
          <p:cNvPr id="6" name="Footer Placeholder 5">
            <a:extLst>
              <a:ext uri="{FF2B5EF4-FFF2-40B4-BE49-F238E27FC236}">
                <a16:creationId xmlns:a16="http://schemas.microsoft.com/office/drawing/2014/main" id="{89EE457F-C773-49C7-8B99-C6DEE385A72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8647B39-330C-40D9-A215-2546FBBF0D94}"/>
              </a:ext>
            </a:extLst>
          </p:cNvPr>
          <p:cNvSpPr>
            <a:spLocks noGrp="1"/>
          </p:cNvSpPr>
          <p:nvPr>
            <p:ph type="sldNum" sz="quarter" idx="12"/>
          </p:nvPr>
        </p:nvSpPr>
        <p:spPr/>
        <p:txBody>
          <a:bodyPr/>
          <a:lstStyle/>
          <a:p>
            <a:fld id="{BF0791DD-BEC0-4ED7-8D09-FE5C5DD2F715}" type="slidenum">
              <a:rPr lang="en-US" smtClean="0"/>
              <a:t>‹#›</a:t>
            </a:fld>
            <a:endParaRPr lang="en-US"/>
          </a:p>
        </p:txBody>
      </p:sp>
    </p:spTree>
    <p:extLst>
      <p:ext uri="{BB962C8B-B14F-4D97-AF65-F5344CB8AC3E}">
        <p14:creationId xmlns:p14="http://schemas.microsoft.com/office/powerpoint/2010/main" val="14314370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2CCB69-0188-4345-8FBD-4F95C376B51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5511CF4-8C41-4F3A-A8F3-55C35BD4EFC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07FAFA9-5C45-4D85-BA5C-D1A3A3D7329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ED32956-CA1D-4963-AE6F-7C44BD368DAB}"/>
              </a:ext>
            </a:extLst>
          </p:cNvPr>
          <p:cNvSpPr>
            <a:spLocks noGrp="1"/>
          </p:cNvSpPr>
          <p:nvPr>
            <p:ph type="dt" sz="half" idx="10"/>
          </p:nvPr>
        </p:nvSpPr>
        <p:spPr/>
        <p:txBody>
          <a:bodyPr/>
          <a:lstStyle/>
          <a:p>
            <a:fld id="{0DAACAD2-678A-4966-A74E-1D8A7B98D37D}" type="datetimeFigureOut">
              <a:rPr lang="en-US" smtClean="0"/>
              <a:t>8/11/2022</a:t>
            </a:fld>
            <a:endParaRPr lang="en-US"/>
          </a:p>
        </p:txBody>
      </p:sp>
      <p:sp>
        <p:nvSpPr>
          <p:cNvPr id="6" name="Footer Placeholder 5">
            <a:extLst>
              <a:ext uri="{FF2B5EF4-FFF2-40B4-BE49-F238E27FC236}">
                <a16:creationId xmlns:a16="http://schemas.microsoft.com/office/drawing/2014/main" id="{42F0E8B7-75E4-4F53-8128-4CE9620F54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6BA64D5-C644-4DDC-984F-571DEB24B053}"/>
              </a:ext>
            </a:extLst>
          </p:cNvPr>
          <p:cNvSpPr>
            <a:spLocks noGrp="1"/>
          </p:cNvSpPr>
          <p:nvPr>
            <p:ph type="sldNum" sz="quarter" idx="12"/>
          </p:nvPr>
        </p:nvSpPr>
        <p:spPr/>
        <p:txBody>
          <a:bodyPr/>
          <a:lstStyle/>
          <a:p>
            <a:fld id="{BF0791DD-BEC0-4ED7-8D09-FE5C5DD2F715}" type="slidenum">
              <a:rPr lang="en-US" smtClean="0"/>
              <a:t>‹#›</a:t>
            </a:fld>
            <a:endParaRPr lang="en-US"/>
          </a:p>
        </p:txBody>
      </p:sp>
    </p:spTree>
    <p:extLst>
      <p:ext uri="{BB962C8B-B14F-4D97-AF65-F5344CB8AC3E}">
        <p14:creationId xmlns:p14="http://schemas.microsoft.com/office/powerpoint/2010/main" val="34473788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heme" Target="../theme/theme2.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0E13A50-C12F-4F40-9452-81C4018EB08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9E76B38-CE14-4DB5-8BC2-9DFA6010675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2CE55FF-03AF-4D66-9798-6BB11AF3DFD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DAACAD2-678A-4966-A74E-1D8A7B98D37D}" type="datetimeFigureOut">
              <a:rPr lang="en-US" smtClean="0"/>
              <a:t>8/11/2022</a:t>
            </a:fld>
            <a:endParaRPr lang="en-US"/>
          </a:p>
        </p:txBody>
      </p:sp>
      <p:sp>
        <p:nvSpPr>
          <p:cNvPr id="5" name="Footer Placeholder 4">
            <a:extLst>
              <a:ext uri="{FF2B5EF4-FFF2-40B4-BE49-F238E27FC236}">
                <a16:creationId xmlns:a16="http://schemas.microsoft.com/office/drawing/2014/main" id="{6FF83994-3E68-4C3E-A7A5-630878C701F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11BE0C3-3014-48DA-B54F-024911CB0BD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F0791DD-BEC0-4ED7-8D09-FE5C5DD2F715}" type="slidenum">
              <a:rPr lang="en-US" smtClean="0"/>
              <a:t>‹#›</a:t>
            </a:fld>
            <a:endParaRPr lang="en-US"/>
          </a:p>
        </p:txBody>
      </p:sp>
    </p:spTree>
    <p:extLst>
      <p:ext uri="{BB962C8B-B14F-4D97-AF65-F5344CB8AC3E}">
        <p14:creationId xmlns:p14="http://schemas.microsoft.com/office/powerpoint/2010/main" val="113750040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1828800"/>
            <a:ext cx="10363200" cy="434627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p:ph type="title"/>
          </p:nvPr>
        </p:nvSpPr>
        <p:spPr>
          <a:xfrm>
            <a:off x="914912" y="718263"/>
            <a:ext cx="10362688" cy="879756"/>
          </a:xfrm>
          <a:prstGeom prst="rect">
            <a:avLst/>
          </a:prstGeom>
        </p:spPr>
        <p:txBody>
          <a:bodyPr vert="horz" lIns="0" tIns="45720" rIns="91440" bIns="0" rtlCol="0" anchor="t" anchorCtr="0">
            <a:noAutofit/>
          </a:bodyPr>
          <a:lstStyle/>
          <a:p>
            <a:r>
              <a:rPr lang="en-US" dirty="0"/>
              <a:t>Click To Edit Master Title</a:t>
            </a:r>
          </a:p>
        </p:txBody>
      </p:sp>
      <p:sp>
        <p:nvSpPr>
          <p:cNvPr id="4" name="Rectangle 2"/>
          <p:cNvSpPr>
            <a:spLocks/>
          </p:cNvSpPr>
          <p:nvPr/>
        </p:nvSpPr>
        <p:spPr bwMode="auto">
          <a:xfrm>
            <a:off x="914719" y="6444147"/>
            <a:ext cx="3347070"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smtClean="0">
                <a:solidFill>
                  <a:schemeClr val="accent5">
                    <a:lumMod val="60000"/>
                    <a:lumOff val="40000"/>
                  </a:schemeClr>
                </a:solidFill>
                <a:latin typeface="Open Sans" charset="0"/>
                <a:ea typeface="Open Sans" charset="0"/>
                <a:cs typeface="Open Sans" charset="0"/>
                <a:sym typeface="Frutiger Next Pro Light" charset="0"/>
              </a:rPr>
              <a:t>‹#›</a:t>
            </a:fld>
            <a:r>
              <a:rPr lang="en-US" sz="800" dirty="0">
                <a:solidFill>
                  <a:schemeClr val="accent5">
                    <a:lumMod val="60000"/>
                    <a:lumOff val="40000"/>
                  </a:schemeClr>
                </a:solidFill>
                <a:latin typeface="Open Sans" charset="0"/>
                <a:ea typeface="Open Sans" charset="0"/>
                <a:cs typeface="Open Sans" charset="0"/>
                <a:sym typeface="Frutiger Next Pro Light" charset="0"/>
              </a:rPr>
              <a:t>  |  Copyright © 2019 Deloitte Development LLC. All rights reserved.</a:t>
            </a:r>
          </a:p>
        </p:txBody>
      </p:sp>
    </p:spTree>
    <p:extLst>
      <p:ext uri="{BB962C8B-B14F-4D97-AF65-F5344CB8AC3E}">
        <p14:creationId xmlns:p14="http://schemas.microsoft.com/office/powerpoint/2010/main" val="1063230275"/>
      </p:ext>
    </p:extLst>
  </p:cSld>
  <p:clrMap bg1="lt1" tx1="dk1" bg2="lt2" tx2="dk2" accent1="accent1" accent2="accent2" accent3="accent3" accent4="accent4" accent5="accent5" accent6="accent6" hlink="hlink" folHlink="folHlink"/>
  <p:sldLayoutIdLst>
    <p:sldLayoutId id="2147483670" r:id="rId1"/>
    <p:sldLayoutId id="2147483663" r:id="rId2"/>
    <p:sldLayoutId id="2147483671" r:id="rId3"/>
    <p:sldLayoutId id="2147483664" r:id="rId4"/>
    <p:sldLayoutId id="2147483665" r:id="rId5"/>
    <p:sldLayoutId id="2147483666" r:id="rId6"/>
    <p:sldLayoutId id="2147483675" r:id="rId7"/>
    <p:sldLayoutId id="2147483672" r:id="rId8"/>
    <p:sldLayoutId id="2147483667" r:id="rId9"/>
    <p:sldLayoutId id="2147483674" r:id="rId10"/>
    <p:sldLayoutId id="2147483668" r:id="rId11"/>
    <p:sldLayoutId id="2147483669" r:id="rId12"/>
    <p:sldLayoutId id="2147483677" r:id="rId13"/>
    <p:sldLayoutId id="2147483678" r:id="rId14"/>
  </p:sldLayoutIdLst>
  <p:txStyles>
    <p:title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76">
          <p15:clr>
            <a:srgbClr val="F26B43"/>
          </p15:clr>
        </p15:guide>
        <p15:guide id="4" pos="7104">
          <p15:clr>
            <a:srgbClr val="F26B43"/>
          </p15:clr>
        </p15:guide>
        <p15:guide id="5" pos="2976">
          <p15:clr>
            <a:srgbClr val="F26B43"/>
          </p15:clr>
        </p15:guide>
        <p15:guide id="6" orient="horz" pos="1152">
          <p15:clr>
            <a:srgbClr val="F26B43"/>
          </p15:clr>
        </p15:guide>
        <p15:guide id="7" pos="268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notesSlide" Target="../notesSlides/notesSlide8.xml"/></Relationships>
</file>

<file path=ppt/slides/_rels/slide100.xml.rels><?xml version="1.0" encoding="UTF-8" standalone="yes"?>
<Relationships xmlns="http://schemas.openxmlformats.org/package/2006/relationships"><Relationship Id="rId8" Type="http://schemas.openxmlformats.org/officeDocument/2006/relationships/tags" Target="../tags/tag167.xml"/><Relationship Id="rId13" Type="http://schemas.openxmlformats.org/officeDocument/2006/relationships/tags" Target="../tags/tag172.xml"/><Relationship Id="rId18" Type="http://schemas.openxmlformats.org/officeDocument/2006/relationships/oleObject" Target="../embeddings/oleObject89.bin"/><Relationship Id="rId3" Type="http://schemas.openxmlformats.org/officeDocument/2006/relationships/tags" Target="../tags/tag162.xml"/><Relationship Id="rId7" Type="http://schemas.openxmlformats.org/officeDocument/2006/relationships/tags" Target="../tags/tag166.xml"/><Relationship Id="rId12" Type="http://schemas.openxmlformats.org/officeDocument/2006/relationships/tags" Target="../tags/tag171.xml"/><Relationship Id="rId17" Type="http://schemas.openxmlformats.org/officeDocument/2006/relationships/notesSlide" Target="../notesSlides/notesSlide93.xml"/><Relationship Id="rId2" Type="http://schemas.openxmlformats.org/officeDocument/2006/relationships/tags" Target="../tags/tag161.xml"/><Relationship Id="rId16" Type="http://schemas.openxmlformats.org/officeDocument/2006/relationships/slideLayout" Target="../slideLayouts/slideLayout15.xml"/><Relationship Id="rId20" Type="http://schemas.openxmlformats.org/officeDocument/2006/relationships/chart" Target="../charts/chart12.xml"/><Relationship Id="rId1" Type="http://schemas.openxmlformats.org/officeDocument/2006/relationships/vmlDrawing" Target="../drawings/vmlDrawing89.vml"/><Relationship Id="rId6" Type="http://schemas.openxmlformats.org/officeDocument/2006/relationships/tags" Target="../tags/tag165.xml"/><Relationship Id="rId11" Type="http://schemas.openxmlformats.org/officeDocument/2006/relationships/tags" Target="../tags/tag170.xml"/><Relationship Id="rId5" Type="http://schemas.openxmlformats.org/officeDocument/2006/relationships/tags" Target="../tags/tag164.xml"/><Relationship Id="rId15" Type="http://schemas.openxmlformats.org/officeDocument/2006/relationships/tags" Target="../tags/tag174.xml"/><Relationship Id="rId10" Type="http://schemas.openxmlformats.org/officeDocument/2006/relationships/tags" Target="../tags/tag169.xml"/><Relationship Id="rId19" Type="http://schemas.openxmlformats.org/officeDocument/2006/relationships/image" Target="../media/image1.emf"/><Relationship Id="rId4" Type="http://schemas.openxmlformats.org/officeDocument/2006/relationships/tags" Target="../tags/tag163.xml"/><Relationship Id="rId9" Type="http://schemas.openxmlformats.org/officeDocument/2006/relationships/tags" Target="../tags/tag168.xml"/><Relationship Id="rId14" Type="http://schemas.openxmlformats.org/officeDocument/2006/relationships/tags" Target="../tags/tag173.xml"/></Relationships>
</file>

<file path=ppt/slides/_rels/slide101.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chart" Target="../charts/chart13.xml"/><Relationship Id="rId2" Type="http://schemas.openxmlformats.org/officeDocument/2006/relationships/tags" Target="../tags/tag175.xml"/><Relationship Id="rId1" Type="http://schemas.openxmlformats.org/officeDocument/2006/relationships/vmlDrawing" Target="../drawings/vmlDrawing90.vml"/><Relationship Id="rId6" Type="http://schemas.openxmlformats.org/officeDocument/2006/relationships/image" Target="../media/image1.emf"/><Relationship Id="rId5" Type="http://schemas.openxmlformats.org/officeDocument/2006/relationships/oleObject" Target="../embeddings/oleObject90.bin"/><Relationship Id="rId4" Type="http://schemas.openxmlformats.org/officeDocument/2006/relationships/notesSlide" Target="../notesSlides/notesSlide94.xml"/></Relationships>
</file>

<file path=ppt/slides/_rels/slide102.xml.rels><?xml version="1.0" encoding="UTF-8" standalone="yes"?>
<Relationships xmlns="http://schemas.openxmlformats.org/package/2006/relationships"><Relationship Id="rId8" Type="http://schemas.openxmlformats.org/officeDocument/2006/relationships/chart" Target="../charts/chart14.xml"/><Relationship Id="rId3" Type="http://schemas.openxmlformats.org/officeDocument/2006/relationships/slideLayout" Target="../slideLayouts/slideLayout15.xml"/><Relationship Id="rId7" Type="http://schemas.openxmlformats.org/officeDocument/2006/relationships/image" Target="../media/image86.png"/><Relationship Id="rId2" Type="http://schemas.openxmlformats.org/officeDocument/2006/relationships/tags" Target="../tags/tag176.xml"/><Relationship Id="rId1" Type="http://schemas.openxmlformats.org/officeDocument/2006/relationships/vmlDrawing" Target="../drawings/vmlDrawing91.vml"/><Relationship Id="rId6" Type="http://schemas.openxmlformats.org/officeDocument/2006/relationships/image" Target="../media/image1.emf"/><Relationship Id="rId5" Type="http://schemas.openxmlformats.org/officeDocument/2006/relationships/oleObject" Target="../embeddings/oleObject91.bin"/><Relationship Id="rId4" Type="http://schemas.openxmlformats.org/officeDocument/2006/relationships/notesSlide" Target="../notesSlides/notesSlide95.xml"/><Relationship Id="rId9" Type="http://schemas.openxmlformats.org/officeDocument/2006/relationships/chart" Target="../charts/chart15.xml"/></Relationships>
</file>

<file path=ppt/slides/_rels/slide10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77.xml"/><Relationship Id="rId1" Type="http://schemas.openxmlformats.org/officeDocument/2006/relationships/vmlDrawing" Target="../drawings/vmlDrawing92.vml"/><Relationship Id="rId6" Type="http://schemas.openxmlformats.org/officeDocument/2006/relationships/image" Target="../media/image1.emf"/><Relationship Id="rId5" Type="http://schemas.openxmlformats.org/officeDocument/2006/relationships/oleObject" Target="../embeddings/oleObject92.bin"/><Relationship Id="rId4" Type="http://schemas.openxmlformats.org/officeDocument/2006/relationships/notesSlide" Target="../notesSlides/notesSlide96.xml"/></Relationships>
</file>

<file path=ppt/slides/_rels/slide104.xml.rels><?xml version="1.0" encoding="UTF-8" standalone="yes"?>
<Relationships xmlns="http://schemas.openxmlformats.org/package/2006/relationships"><Relationship Id="rId8" Type="http://schemas.openxmlformats.org/officeDocument/2006/relationships/chart" Target="../charts/chart17.xml"/><Relationship Id="rId3" Type="http://schemas.openxmlformats.org/officeDocument/2006/relationships/slideLayout" Target="../slideLayouts/slideLayout15.xml"/><Relationship Id="rId7" Type="http://schemas.openxmlformats.org/officeDocument/2006/relationships/chart" Target="../charts/chart16.xml"/><Relationship Id="rId2" Type="http://schemas.openxmlformats.org/officeDocument/2006/relationships/tags" Target="../tags/tag178.xml"/><Relationship Id="rId1" Type="http://schemas.openxmlformats.org/officeDocument/2006/relationships/vmlDrawing" Target="../drawings/vmlDrawing93.vml"/><Relationship Id="rId6" Type="http://schemas.openxmlformats.org/officeDocument/2006/relationships/image" Target="../media/image1.emf"/><Relationship Id="rId5" Type="http://schemas.openxmlformats.org/officeDocument/2006/relationships/oleObject" Target="../embeddings/oleObject93.bin"/><Relationship Id="rId4" Type="http://schemas.openxmlformats.org/officeDocument/2006/relationships/notesSlide" Target="../notesSlides/notesSlide97.xml"/></Relationships>
</file>

<file path=ppt/slides/_rels/slide105.xml.rels><?xml version="1.0" encoding="UTF-8" standalone="yes"?>
<Relationships xmlns="http://schemas.openxmlformats.org/package/2006/relationships"><Relationship Id="rId8" Type="http://schemas.openxmlformats.org/officeDocument/2006/relationships/chart" Target="../charts/chart19.xml"/><Relationship Id="rId3" Type="http://schemas.openxmlformats.org/officeDocument/2006/relationships/slideLayout" Target="../slideLayouts/slideLayout15.xml"/><Relationship Id="rId7" Type="http://schemas.openxmlformats.org/officeDocument/2006/relationships/chart" Target="../charts/chart18.xml"/><Relationship Id="rId2" Type="http://schemas.openxmlformats.org/officeDocument/2006/relationships/tags" Target="../tags/tag179.xml"/><Relationship Id="rId1" Type="http://schemas.openxmlformats.org/officeDocument/2006/relationships/vmlDrawing" Target="../drawings/vmlDrawing94.vml"/><Relationship Id="rId6" Type="http://schemas.openxmlformats.org/officeDocument/2006/relationships/image" Target="../media/image1.emf"/><Relationship Id="rId11" Type="http://schemas.openxmlformats.org/officeDocument/2006/relationships/chart" Target="../charts/chart22.xml"/><Relationship Id="rId5" Type="http://schemas.openxmlformats.org/officeDocument/2006/relationships/oleObject" Target="../embeddings/oleObject94.bin"/><Relationship Id="rId10" Type="http://schemas.openxmlformats.org/officeDocument/2006/relationships/chart" Target="../charts/chart21.xml"/><Relationship Id="rId4" Type="http://schemas.openxmlformats.org/officeDocument/2006/relationships/notesSlide" Target="../notesSlides/notesSlide98.xml"/><Relationship Id="rId9" Type="http://schemas.openxmlformats.org/officeDocument/2006/relationships/chart" Target="../charts/chart20.xml"/></Relationships>
</file>

<file path=ppt/slides/_rels/slide106.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chart" Target="../charts/chart23.xml"/><Relationship Id="rId2" Type="http://schemas.openxmlformats.org/officeDocument/2006/relationships/tags" Target="../tags/tag180.xml"/><Relationship Id="rId1" Type="http://schemas.openxmlformats.org/officeDocument/2006/relationships/vmlDrawing" Target="../drawings/vmlDrawing95.vml"/><Relationship Id="rId6" Type="http://schemas.openxmlformats.org/officeDocument/2006/relationships/image" Target="../media/image1.emf"/><Relationship Id="rId5" Type="http://schemas.openxmlformats.org/officeDocument/2006/relationships/oleObject" Target="../embeddings/oleObject95.bin"/><Relationship Id="rId4" Type="http://schemas.openxmlformats.org/officeDocument/2006/relationships/notesSlide" Target="../notesSlides/notesSlide99.xml"/></Relationships>
</file>

<file path=ppt/slides/_rels/slide107.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chart" Target="../charts/chart24.xml"/><Relationship Id="rId2" Type="http://schemas.openxmlformats.org/officeDocument/2006/relationships/tags" Target="../tags/tag181.xml"/><Relationship Id="rId1" Type="http://schemas.openxmlformats.org/officeDocument/2006/relationships/vmlDrawing" Target="../drawings/vmlDrawing96.vml"/><Relationship Id="rId6" Type="http://schemas.openxmlformats.org/officeDocument/2006/relationships/image" Target="../media/image1.emf"/><Relationship Id="rId5" Type="http://schemas.openxmlformats.org/officeDocument/2006/relationships/oleObject" Target="../embeddings/oleObject96.bin"/><Relationship Id="rId4" Type="http://schemas.openxmlformats.org/officeDocument/2006/relationships/notesSlide" Target="../notesSlides/notesSlide100.xml"/></Relationships>
</file>

<file path=ppt/slides/_rels/slide108.xml.rels><?xml version="1.0" encoding="UTF-8" standalone="yes"?>
<Relationships xmlns="http://schemas.openxmlformats.org/package/2006/relationships"><Relationship Id="rId8" Type="http://schemas.openxmlformats.org/officeDocument/2006/relationships/image" Target="../media/image1450.png"/><Relationship Id="rId3" Type="http://schemas.openxmlformats.org/officeDocument/2006/relationships/slideLayout" Target="../slideLayouts/slideLayout15.xml"/><Relationship Id="rId7" Type="http://schemas.microsoft.com/office/2014/relationships/chartEx" Target="../charts/chartEx1.xml"/><Relationship Id="rId2" Type="http://schemas.openxmlformats.org/officeDocument/2006/relationships/tags" Target="../tags/tag182.xml"/><Relationship Id="rId1" Type="http://schemas.openxmlformats.org/officeDocument/2006/relationships/vmlDrawing" Target="../drawings/vmlDrawing97.vml"/><Relationship Id="rId6" Type="http://schemas.openxmlformats.org/officeDocument/2006/relationships/image" Target="../media/image1.emf"/><Relationship Id="rId5" Type="http://schemas.openxmlformats.org/officeDocument/2006/relationships/oleObject" Target="../embeddings/oleObject97.bin"/><Relationship Id="rId4" Type="http://schemas.openxmlformats.org/officeDocument/2006/relationships/notesSlide" Target="../notesSlides/notesSlide101.xml"/></Relationships>
</file>

<file path=ppt/slides/_rels/slide109.xml.rels><?xml version="1.0" encoding="UTF-8" standalone="yes"?>
<Relationships xmlns="http://schemas.openxmlformats.org/package/2006/relationships"><Relationship Id="rId8" Type="http://schemas.openxmlformats.org/officeDocument/2006/relationships/chart" Target="../charts/chart26.xml"/><Relationship Id="rId3" Type="http://schemas.openxmlformats.org/officeDocument/2006/relationships/slideLayout" Target="../slideLayouts/slideLayout15.xml"/><Relationship Id="rId7" Type="http://schemas.openxmlformats.org/officeDocument/2006/relationships/chart" Target="../charts/chart25.xml"/><Relationship Id="rId2" Type="http://schemas.openxmlformats.org/officeDocument/2006/relationships/tags" Target="../tags/tag183.xml"/><Relationship Id="rId1" Type="http://schemas.openxmlformats.org/officeDocument/2006/relationships/vmlDrawing" Target="../drawings/vmlDrawing98.vml"/><Relationship Id="rId6" Type="http://schemas.openxmlformats.org/officeDocument/2006/relationships/image" Target="../media/image1.emf"/><Relationship Id="rId5" Type="http://schemas.openxmlformats.org/officeDocument/2006/relationships/oleObject" Target="../embeddings/oleObject98.bin"/><Relationship Id="rId4" Type="http://schemas.openxmlformats.org/officeDocument/2006/relationships/notesSlide" Target="../notesSlides/notesSlide102.xml"/><Relationship Id="rId9" Type="http://schemas.openxmlformats.org/officeDocument/2006/relationships/chart" Target="../charts/chart27.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notesSlide" Target="../notesSlides/notesSlide9.xml"/></Relationships>
</file>

<file path=ppt/slides/_rels/slide110.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89.png"/><Relationship Id="rId2" Type="http://schemas.openxmlformats.org/officeDocument/2006/relationships/tags" Target="../tags/tag184.xml"/><Relationship Id="rId1" Type="http://schemas.openxmlformats.org/officeDocument/2006/relationships/vmlDrawing" Target="../drawings/vmlDrawing99.vml"/><Relationship Id="rId6" Type="http://schemas.openxmlformats.org/officeDocument/2006/relationships/image" Target="../media/image1.emf"/><Relationship Id="rId5" Type="http://schemas.openxmlformats.org/officeDocument/2006/relationships/oleObject" Target="../embeddings/oleObject99.bin"/><Relationship Id="rId4" Type="http://schemas.openxmlformats.org/officeDocument/2006/relationships/notesSlide" Target="../notesSlides/notesSlide103.xml"/></Relationships>
</file>

<file path=ppt/slides/_rels/slide111.xml.rels><?xml version="1.0" encoding="UTF-8" standalone="yes"?>
<Relationships xmlns="http://schemas.openxmlformats.org/package/2006/relationships"><Relationship Id="rId8" Type="http://schemas.openxmlformats.org/officeDocument/2006/relationships/chart" Target="../charts/chart29.xml"/><Relationship Id="rId3" Type="http://schemas.openxmlformats.org/officeDocument/2006/relationships/slideLayout" Target="../slideLayouts/slideLayout15.xml"/><Relationship Id="rId7" Type="http://schemas.openxmlformats.org/officeDocument/2006/relationships/chart" Target="../charts/chart28.xml"/><Relationship Id="rId12" Type="http://schemas.openxmlformats.org/officeDocument/2006/relationships/chart" Target="../charts/chart33.xml"/><Relationship Id="rId2" Type="http://schemas.openxmlformats.org/officeDocument/2006/relationships/tags" Target="../tags/tag185.xml"/><Relationship Id="rId1" Type="http://schemas.openxmlformats.org/officeDocument/2006/relationships/vmlDrawing" Target="../drawings/vmlDrawing100.vml"/><Relationship Id="rId6" Type="http://schemas.openxmlformats.org/officeDocument/2006/relationships/image" Target="../media/image1.emf"/><Relationship Id="rId11" Type="http://schemas.openxmlformats.org/officeDocument/2006/relationships/chart" Target="../charts/chart32.xml"/><Relationship Id="rId5" Type="http://schemas.openxmlformats.org/officeDocument/2006/relationships/oleObject" Target="../embeddings/oleObject100.bin"/><Relationship Id="rId10" Type="http://schemas.openxmlformats.org/officeDocument/2006/relationships/chart" Target="../charts/chart31.xml"/><Relationship Id="rId4" Type="http://schemas.openxmlformats.org/officeDocument/2006/relationships/notesSlide" Target="../notesSlides/notesSlide104.xml"/><Relationship Id="rId9" Type="http://schemas.openxmlformats.org/officeDocument/2006/relationships/chart" Target="../charts/chart30.xml"/></Relationships>
</file>

<file path=ppt/slides/_rels/slide11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86.xml"/><Relationship Id="rId1" Type="http://schemas.openxmlformats.org/officeDocument/2006/relationships/vmlDrawing" Target="../drawings/vmlDrawing101.vml"/><Relationship Id="rId6" Type="http://schemas.openxmlformats.org/officeDocument/2006/relationships/image" Target="../media/image1.emf"/><Relationship Id="rId5" Type="http://schemas.openxmlformats.org/officeDocument/2006/relationships/oleObject" Target="../embeddings/oleObject101.bin"/><Relationship Id="rId4" Type="http://schemas.openxmlformats.org/officeDocument/2006/relationships/notesSlide" Target="../notesSlides/notesSlide105.xml"/></Relationships>
</file>

<file path=ppt/slides/_rels/slide11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87.xml"/><Relationship Id="rId1" Type="http://schemas.openxmlformats.org/officeDocument/2006/relationships/vmlDrawing" Target="../drawings/vmlDrawing102.vml"/><Relationship Id="rId6" Type="http://schemas.openxmlformats.org/officeDocument/2006/relationships/image" Target="../media/image1.emf"/><Relationship Id="rId5" Type="http://schemas.openxmlformats.org/officeDocument/2006/relationships/oleObject" Target="../embeddings/oleObject102.bin"/><Relationship Id="rId4" Type="http://schemas.openxmlformats.org/officeDocument/2006/relationships/notesSlide" Target="../notesSlides/notesSlide106.xml"/></Relationships>
</file>

<file path=ppt/slides/_rels/slide114.xml.rels><?xml version="1.0" encoding="UTF-8" standalone="yes"?>
<Relationships xmlns="http://schemas.openxmlformats.org/package/2006/relationships"><Relationship Id="rId8" Type="http://schemas.openxmlformats.org/officeDocument/2006/relationships/chart" Target="../charts/chart35.xml"/><Relationship Id="rId3" Type="http://schemas.openxmlformats.org/officeDocument/2006/relationships/slideLayout" Target="../slideLayouts/slideLayout15.xml"/><Relationship Id="rId7" Type="http://schemas.openxmlformats.org/officeDocument/2006/relationships/chart" Target="../charts/chart34.xml"/><Relationship Id="rId2" Type="http://schemas.openxmlformats.org/officeDocument/2006/relationships/tags" Target="../tags/tag188.xml"/><Relationship Id="rId1" Type="http://schemas.openxmlformats.org/officeDocument/2006/relationships/vmlDrawing" Target="../drawings/vmlDrawing103.vml"/><Relationship Id="rId6" Type="http://schemas.openxmlformats.org/officeDocument/2006/relationships/image" Target="../media/image1.emf"/><Relationship Id="rId5" Type="http://schemas.openxmlformats.org/officeDocument/2006/relationships/oleObject" Target="../embeddings/oleObject103.bin"/><Relationship Id="rId4" Type="http://schemas.openxmlformats.org/officeDocument/2006/relationships/notesSlide" Target="../notesSlides/notesSlide107.xml"/></Relationships>
</file>

<file path=ppt/slides/_rels/slide115.xml.rels><?xml version="1.0" encoding="UTF-8" standalone="yes"?>
<Relationships xmlns="http://schemas.openxmlformats.org/package/2006/relationships"><Relationship Id="rId3" Type="http://schemas.openxmlformats.org/officeDocument/2006/relationships/tags" Target="../tags/tag190.xml"/><Relationship Id="rId7" Type="http://schemas.openxmlformats.org/officeDocument/2006/relationships/image" Target="../media/image1.emf"/><Relationship Id="rId2" Type="http://schemas.openxmlformats.org/officeDocument/2006/relationships/tags" Target="../tags/tag189.xml"/><Relationship Id="rId1" Type="http://schemas.openxmlformats.org/officeDocument/2006/relationships/vmlDrawing" Target="../drawings/vmlDrawing104.vml"/><Relationship Id="rId6" Type="http://schemas.openxmlformats.org/officeDocument/2006/relationships/oleObject" Target="../embeddings/oleObject104.bin"/><Relationship Id="rId5" Type="http://schemas.openxmlformats.org/officeDocument/2006/relationships/notesSlide" Target="../notesSlides/notesSlide108.xml"/><Relationship Id="rId4" Type="http://schemas.openxmlformats.org/officeDocument/2006/relationships/slideLayout" Target="../slideLayouts/slideLayout15.xml"/></Relationships>
</file>

<file path=ppt/slides/_rels/slide116.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chart" Target="../charts/chart36.xml"/><Relationship Id="rId2" Type="http://schemas.openxmlformats.org/officeDocument/2006/relationships/tags" Target="../tags/tag191.xml"/><Relationship Id="rId1" Type="http://schemas.openxmlformats.org/officeDocument/2006/relationships/vmlDrawing" Target="../drawings/vmlDrawing105.vml"/><Relationship Id="rId6" Type="http://schemas.openxmlformats.org/officeDocument/2006/relationships/image" Target="../media/image1.emf"/><Relationship Id="rId5" Type="http://schemas.openxmlformats.org/officeDocument/2006/relationships/oleObject" Target="../embeddings/oleObject105.bin"/><Relationship Id="rId4" Type="http://schemas.openxmlformats.org/officeDocument/2006/relationships/notesSlide" Target="../notesSlides/notesSlide109.xml"/></Relationships>
</file>

<file path=ppt/slides/_rels/slide117.xml.rels><?xml version="1.0" encoding="UTF-8" standalone="yes"?>
<Relationships xmlns="http://schemas.openxmlformats.org/package/2006/relationships"><Relationship Id="rId8" Type="http://schemas.openxmlformats.org/officeDocument/2006/relationships/tags" Target="../tags/tag198.xml"/><Relationship Id="rId13" Type="http://schemas.openxmlformats.org/officeDocument/2006/relationships/oleObject" Target="../embeddings/oleObject106.bin"/><Relationship Id="rId3" Type="http://schemas.openxmlformats.org/officeDocument/2006/relationships/tags" Target="../tags/tag193.xml"/><Relationship Id="rId7" Type="http://schemas.openxmlformats.org/officeDocument/2006/relationships/tags" Target="../tags/tag197.xml"/><Relationship Id="rId12" Type="http://schemas.openxmlformats.org/officeDocument/2006/relationships/notesSlide" Target="../notesSlides/notesSlide110.xml"/><Relationship Id="rId2" Type="http://schemas.openxmlformats.org/officeDocument/2006/relationships/tags" Target="../tags/tag192.xml"/><Relationship Id="rId1" Type="http://schemas.openxmlformats.org/officeDocument/2006/relationships/vmlDrawing" Target="../drawings/vmlDrawing106.vml"/><Relationship Id="rId6" Type="http://schemas.openxmlformats.org/officeDocument/2006/relationships/tags" Target="../tags/tag196.xml"/><Relationship Id="rId11" Type="http://schemas.openxmlformats.org/officeDocument/2006/relationships/slideLayout" Target="../slideLayouts/slideLayout15.xml"/><Relationship Id="rId5" Type="http://schemas.openxmlformats.org/officeDocument/2006/relationships/tags" Target="../tags/tag195.xml"/><Relationship Id="rId15" Type="http://schemas.openxmlformats.org/officeDocument/2006/relationships/chart" Target="../charts/chart37.xml"/><Relationship Id="rId10" Type="http://schemas.openxmlformats.org/officeDocument/2006/relationships/tags" Target="../tags/tag200.xml"/><Relationship Id="rId4" Type="http://schemas.openxmlformats.org/officeDocument/2006/relationships/tags" Target="../tags/tag194.xml"/><Relationship Id="rId9" Type="http://schemas.openxmlformats.org/officeDocument/2006/relationships/tags" Target="../tags/tag199.xml"/><Relationship Id="rId14" Type="http://schemas.openxmlformats.org/officeDocument/2006/relationships/image" Target="../media/image1.emf"/></Relationships>
</file>

<file path=ppt/slides/_rels/slide118.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slideLayout" Target="../slideLayouts/slideLayout15.xml"/><Relationship Id="rId7" Type="http://schemas.openxmlformats.org/officeDocument/2006/relationships/image" Target="../media/image90.jpeg"/><Relationship Id="rId2" Type="http://schemas.openxmlformats.org/officeDocument/2006/relationships/tags" Target="../tags/tag201.xml"/><Relationship Id="rId1" Type="http://schemas.openxmlformats.org/officeDocument/2006/relationships/vmlDrawing" Target="../drawings/vmlDrawing107.vml"/><Relationship Id="rId6" Type="http://schemas.openxmlformats.org/officeDocument/2006/relationships/image" Target="../media/image1.emf"/><Relationship Id="rId5" Type="http://schemas.openxmlformats.org/officeDocument/2006/relationships/oleObject" Target="../embeddings/oleObject107.bin"/><Relationship Id="rId4" Type="http://schemas.openxmlformats.org/officeDocument/2006/relationships/notesSlide" Target="../notesSlides/notesSlide111.xml"/><Relationship Id="rId9" Type="http://schemas.openxmlformats.org/officeDocument/2006/relationships/image" Target="../media/image92.png"/></Relationships>
</file>

<file path=ppt/slides/_rels/slide119.xml.rels><?xml version="1.0" encoding="UTF-8" standalone="yes"?>
<Relationships xmlns="http://schemas.openxmlformats.org/package/2006/relationships"><Relationship Id="rId8" Type="http://schemas.openxmlformats.org/officeDocument/2006/relationships/chart" Target="../charts/chart39.xml"/><Relationship Id="rId3" Type="http://schemas.openxmlformats.org/officeDocument/2006/relationships/slideLayout" Target="../slideLayouts/slideLayout15.xml"/><Relationship Id="rId7" Type="http://schemas.openxmlformats.org/officeDocument/2006/relationships/chart" Target="../charts/chart38.xml"/><Relationship Id="rId2" Type="http://schemas.openxmlformats.org/officeDocument/2006/relationships/tags" Target="../tags/tag202.xml"/><Relationship Id="rId1" Type="http://schemas.openxmlformats.org/officeDocument/2006/relationships/vmlDrawing" Target="../drawings/vmlDrawing108.vml"/><Relationship Id="rId6" Type="http://schemas.openxmlformats.org/officeDocument/2006/relationships/image" Target="../media/image1.emf"/><Relationship Id="rId5" Type="http://schemas.openxmlformats.org/officeDocument/2006/relationships/oleObject" Target="../embeddings/oleObject108.bin"/><Relationship Id="rId4" Type="http://schemas.openxmlformats.org/officeDocument/2006/relationships/notesSlide" Target="../notesSlides/notesSlide11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4.xml"/><Relationship Id="rId1" Type="http://schemas.openxmlformats.org/officeDocument/2006/relationships/vmlDrawing" Target="../drawings/vmlDrawing10.v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notesSlide" Target="../notesSlides/notesSlide10.xml"/></Relationships>
</file>

<file path=ppt/slides/_rels/slide120.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slideLayout" Target="../slideLayouts/slideLayout15.xml"/><Relationship Id="rId7" Type="http://schemas.openxmlformats.org/officeDocument/2006/relationships/chart" Target="../charts/chart40.xml"/><Relationship Id="rId2" Type="http://schemas.openxmlformats.org/officeDocument/2006/relationships/tags" Target="../tags/tag203.xml"/><Relationship Id="rId1" Type="http://schemas.openxmlformats.org/officeDocument/2006/relationships/vmlDrawing" Target="../drawings/vmlDrawing109.vml"/><Relationship Id="rId6" Type="http://schemas.openxmlformats.org/officeDocument/2006/relationships/image" Target="../media/image1.emf"/><Relationship Id="rId5" Type="http://schemas.openxmlformats.org/officeDocument/2006/relationships/oleObject" Target="../embeddings/oleObject109.bin"/><Relationship Id="rId4" Type="http://schemas.openxmlformats.org/officeDocument/2006/relationships/notesSlide" Target="../notesSlides/notesSlide113.xml"/></Relationships>
</file>

<file path=ppt/slides/_rels/slide121.xml.rels><?xml version="1.0" encoding="UTF-8" standalone="yes"?>
<Relationships xmlns="http://schemas.openxmlformats.org/package/2006/relationships"><Relationship Id="rId8" Type="http://schemas.openxmlformats.org/officeDocument/2006/relationships/notesSlide" Target="../notesSlides/notesSlide114.xml"/><Relationship Id="rId3" Type="http://schemas.openxmlformats.org/officeDocument/2006/relationships/tags" Target="../tags/tag205.xml"/><Relationship Id="rId7" Type="http://schemas.openxmlformats.org/officeDocument/2006/relationships/slideLayout" Target="../slideLayouts/slideLayout15.xml"/><Relationship Id="rId2" Type="http://schemas.openxmlformats.org/officeDocument/2006/relationships/tags" Target="../tags/tag204.xml"/><Relationship Id="rId1" Type="http://schemas.openxmlformats.org/officeDocument/2006/relationships/vmlDrawing" Target="../drawings/vmlDrawing110.vml"/><Relationship Id="rId6" Type="http://schemas.openxmlformats.org/officeDocument/2006/relationships/tags" Target="../tags/tag208.xml"/><Relationship Id="rId5" Type="http://schemas.openxmlformats.org/officeDocument/2006/relationships/tags" Target="../tags/tag207.xml"/><Relationship Id="rId10" Type="http://schemas.openxmlformats.org/officeDocument/2006/relationships/image" Target="../media/image1.emf"/><Relationship Id="rId4" Type="http://schemas.openxmlformats.org/officeDocument/2006/relationships/tags" Target="../tags/tag206.xml"/><Relationship Id="rId9" Type="http://schemas.openxmlformats.org/officeDocument/2006/relationships/oleObject" Target="../embeddings/oleObject110.bin"/></Relationships>
</file>

<file path=ppt/slides/_rels/slide12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09.xml"/><Relationship Id="rId1" Type="http://schemas.openxmlformats.org/officeDocument/2006/relationships/vmlDrawing" Target="../drawings/vmlDrawing111.vml"/><Relationship Id="rId6" Type="http://schemas.openxmlformats.org/officeDocument/2006/relationships/image" Target="../media/image1.emf"/><Relationship Id="rId5" Type="http://schemas.openxmlformats.org/officeDocument/2006/relationships/oleObject" Target="../embeddings/oleObject111.bin"/><Relationship Id="rId4" Type="http://schemas.openxmlformats.org/officeDocument/2006/relationships/notesSlide" Target="../notesSlides/notesSlide115.xml"/></Relationships>
</file>

<file path=ppt/slides/_rels/slide12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10.xml"/><Relationship Id="rId1" Type="http://schemas.openxmlformats.org/officeDocument/2006/relationships/vmlDrawing" Target="../drawings/vmlDrawing112.vml"/><Relationship Id="rId6" Type="http://schemas.openxmlformats.org/officeDocument/2006/relationships/image" Target="../media/image1.emf"/><Relationship Id="rId5" Type="http://schemas.openxmlformats.org/officeDocument/2006/relationships/oleObject" Target="../embeddings/oleObject112.bin"/><Relationship Id="rId4" Type="http://schemas.openxmlformats.org/officeDocument/2006/relationships/notesSlide" Target="../notesSlides/notesSlide116.xml"/></Relationships>
</file>

<file path=ppt/slides/_rels/slide124.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chart" Target="../charts/chart41.xml"/><Relationship Id="rId2" Type="http://schemas.openxmlformats.org/officeDocument/2006/relationships/tags" Target="../tags/tag211.xml"/><Relationship Id="rId1" Type="http://schemas.openxmlformats.org/officeDocument/2006/relationships/vmlDrawing" Target="../drawings/vmlDrawing113.vml"/><Relationship Id="rId6" Type="http://schemas.openxmlformats.org/officeDocument/2006/relationships/image" Target="../media/image1.emf"/><Relationship Id="rId5" Type="http://schemas.openxmlformats.org/officeDocument/2006/relationships/oleObject" Target="../embeddings/oleObject113.bin"/><Relationship Id="rId4" Type="http://schemas.openxmlformats.org/officeDocument/2006/relationships/notesSlide" Target="../notesSlides/notesSlide117.xml"/></Relationships>
</file>

<file path=ppt/slides/_rels/slide12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12.xml"/><Relationship Id="rId1" Type="http://schemas.openxmlformats.org/officeDocument/2006/relationships/vmlDrawing" Target="../drawings/vmlDrawing114.vml"/><Relationship Id="rId6" Type="http://schemas.openxmlformats.org/officeDocument/2006/relationships/image" Target="../media/image1.emf"/><Relationship Id="rId5" Type="http://schemas.openxmlformats.org/officeDocument/2006/relationships/oleObject" Target="../embeddings/oleObject114.bin"/><Relationship Id="rId4" Type="http://schemas.openxmlformats.org/officeDocument/2006/relationships/notesSlide" Target="../notesSlides/notesSlide118.xml"/></Relationships>
</file>

<file path=ppt/slides/_rels/slide12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13.xml"/><Relationship Id="rId1" Type="http://schemas.openxmlformats.org/officeDocument/2006/relationships/vmlDrawing" Target="../drawings/vmlDrawing115.vml"/><Relationship Id="rId6" Type="http://schemas.openxmlformats.org/officeDocument/2006/relationships/image" Target="../media/image1.emf"/><Relationship Id="rId5" Type="http://schemas.openxmlformats.org/officeDocument/2006/relationships/oleObject" Target="../embeddings/oleObject115.bin"/><Relationship Id="rId4" Type="http://schemas.openxmlformats.org/officeDocument/2006/relationships/notesSlide" Target="../notesSlides/notesSlide119.xml"/></Relationships>
</file>

<file path=ppt/slides/_rels/slide127.xml.rels><?xml version="1.0" encoding="UTF-8" standalone="yes"?>
<Relationships xmlns="http://schemas.openxmlformats.org/package/2006/relationships"><Relationship Id="rId3" Type="http://schemas.openxmlformats.org/officeDocument/2006/relationships/tags" Target="../tags/tag215.xml"/><Relationship Id="rId7" Type="http://schemas.openxmlformats.org/officeDocument/2006/relationships/image" Target="../media/image1.emf"/><Relationship Id="rId2" Type="http://schemas.openxmlformats.org/officeDocument/2006/relationships/tags" Target="../tags/tag214.xml"/><Relationship Id="rId1" Type="http://schemas.openxmlformats.org/officeDocument/2006/relationships/vmlDrawing" Target="../drawings/vmlDrawing116.vml"/><Relationship Id="rId6" Type="http://schemas.openxmlformats.org/officeDocument/2006/relationships/oleObject" Target="../embeddings/oleObject116.bin"/><Relationship Id="rId5" Type="http://schemas.openxmlformats.org/officeDocument/2006/relationships/notesSlide" Target="../notesSlides/notesSlide120.xml"/><Relationship Id="rId4" Type="http://schemas.openxmlformats.org/officeDocument/2006/relationships/slideLayout" Target="../slideLayouts/slideLayout15.xml"/></Relationships>
</file>

<file path=ppt/slides/_rels/slide128.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tags" Target="../tags/tag217.xml"/><Relationship Id="rId7" Type="http://schemas.openxmlformats.org/officeDocument/2006/relationships/image" Target="../media/image1.emf"/><Relationship Id="rId2" Type="http://schemas.openxmlformats.org/officeDocument/2006/relationships/tags" Target="../tags/tag216.xml"/><Relationship Id="rId1" Type="http://schemas.openxmlformats.org/officeDocument/2006/relationships/vmlDrawing" Target="../drawings/vmlDrawing117.vml"/><Relationship Id="rId6" Type="http://schemas.openxmlformats.org/officeDocument/2006/relationships/oleObject" Target="../embeddings/oleObject117.bin"/><Relationship Id="rId5" Type="http://schemas.openxmlformats.org/officeDocument/2006/relationships/notesSlide" Target="../notesSlides/notesSlide121.xml"/><Relationship Id="rId4" Type="http://schemas.openxmlformats.org/officeDocument/2006/relationships/slideLayout" Target="../slideLayouts/slideLayout15.xml"/></Relationships>
</file>

<file path=ppt/slides/_rels/slide129.xml.rels><?xml version="1.0" encoding="UTF-8" standalone="yes"?>
<Relationships xmlns="http://schemas.openxmlformats.org/package/2006/relationships"><Relationship Id="rId8" Type="http://schemas.openxmlformats.org/officeDocument/2006/relationships/image" Target="../media/image95.png"/><Relationship Id="rId13" Type="http://schemas.openxmlformats.org/officeDocument/2006/relationships/image" Target="../media/image99.svg"/><Relationship Id="rId18" Type="http://schemas.openxmlformats.org/officeDocument/2006/relationships/image" Target="../media/image104.png"/><Relationship Id="rId3" Type="http://schemas.openxmlformats.org/officeDocument/2006/relationships/tags" Target="../tags/tag219.xml"/><Relationship Id="rId21" Type="http://schemas.openxmlformats.org/officeDocument/2006/relationships/image" Target="../media/image107.svg"/><Relationship Id="rId7" Type="http://schemas.openxmlformats.org/officeDocument/2006/relationships/image" Target="../media/image1.emf"/><Relationship Id="rId12" Type="http://schemas.openxmlformats.org/officeDocument/2006/relationships/image" Target="../media/image98.png"/><Relationship Id="rId17" Type="http://schemas.openxmlformats.org/officeDocument/2006/relationships/image" Target="../media/image103.svg"/><Relationship Id="rId2" Type="http://schemas.openxmlformats.org/officeDocument/2006/relationships/tags" Target="../tags/tag218.xml"/><Relationship Id="rId16" Type="http://schemas.openxmlformats.org/officeDocument/2006/relationships/image" Target="../media/image102.png"/><Relationship Id="rId20" Type="http://schemas.openxmlformats.org/officeDocument/2006/relationships/image" Target="../media/image106.png"/><Relationship Id="rId1" Type="http://schemas.openxmlformats.org/officeDocument/2006/relationships/vmlDrawing" Target="../drawings/vmlDrawing118.vml"/><Relationship Id="rId6" Type="http://schemas.openxmlformats.org/officeDocument/2006/relationships/oleObject" Target="../embeddings/oleObject118.bin"/><Relationship Id="rId11" Type="http://schemas.openxmlformats.org/officeDocument/2006/relationships/image" Target="../media/image57.svg"/><Relationship Id="rId5" Type="http://schemas.openxmlformats.org/officeDocument/2006/relationships/notesSlide" Target="../notesSlides/notesSlide122.xml"/><Relationship Id="rId15" Type="http://schemas.openxmlformats.org/officeDocument/2006/relationships/image" Target="../media/image101.svg"/><Relationship Id="rId10" Type="http://schemas.openxmlformats.org/officeDocument/2006/relationships/image" Target="../media/image97.png"/><Relationship Id="rId19" Type="http://schemas.openxmlformats.org/officeDocument/2006/relationships/image" Target="../media/image105.svg"/><Relationship Id="rId4" Type="http://schemas.openxmlformats.org/officeDocument/2006/relationships/slideLayout" Target="../slideLayouts/slideLayout15.xml"/><Relationship Id="rId9" Type="http://schemas.openxmlformats.org/officeDocument/2006/relationships/image" Target="../media/image96.svg"/><Relationship Id="rId14" Type="http://schemas.openxmlformats.org/officeDocument/2006/relationships/image" Target="../media/image100.png"/></Relationships>
</file>

<file path=ppt/slides/_rels/slide13.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tags" Target="../tags/tag16.xml"/><Relationship Id="rId7" Type="http://schemas.openxmlformats.org/officeDocument/2006/relationships/image" Target="../media/image5.emf"/><Relationship Id="rId2" Type="http://schemas.openxmlformats.org/officeDocument/2006/relationships/tags" Target="../tags/tag15.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1.xml"/><Relationship Id="rId4" Type="http://schemas.openxmlformats.org/officeDocument/2006/relationships/slideLayout" Target="../slideLayouts/slideLayout14.xml"/></Relationships>
</file>

<file path=ppt/slides/_rels/slide130.xml.rels><?xml version="1.0" encoding="UTF-8" standalone="yes"?>
<Relationships xmlns="http://schemas.openxmlformats.org/package/2006/relationships"><Relationship Id="rId8" Type="http://schemas.openxmlformats.org/officeDocument/2006/relationships/oleObject" Target="../embeddings/oleObject119.bin"/><Relationship Id="rId13" Type="http://schemas.openxmlformats.org/officeDocument/2006/relationships/hyperlink" Target="https://www.bloomberg.com/news/articles/2017-10-04/pepsico-makes-bigger-online-bet-as-amazon-roils-grocery-industry" TargetMode="External"/><Relationship Id="rId18" Type="http://schemas.openxmlformats.org/officeDocument/2006/relationships/image" Target="../media/image110.jpeg"/><Relationship Id="rId3" Type="http://schemas.openxmlformats.org/officeDocument/2006/relationships/tags" Target="../tags/tag221.xml"/><Relationship Id="rId7" Type="http://schemas.openxmlformats.org/officeDocument/2006/relationships/notesSlide" Target="../notesSlides/notesSlide123.xml"/><Relationship Id="rId12" Type="http://schemas.openxmlformats.org/officeDocument/2006/relationships/hyperlink" Target="https://www2.deloitte.com/content/dam/Deloitte/us/Documents/consumer-business/us-cip-cagny-infographic.pdf" TargetMode="External"/><Relationship Id="rId17" Type="http://schemas.openxmlformats.org/officeDocument/2006/relationships/image" Target="../media/image109.png"/><Relationship Id="rId2" Type="http://schemas.openxmlformats.org/officeDocument/2006/relationships/tags" Target="../tags/tag220.xml"/><Relationship Id="rId16" Type="http://schemas.openxmlformats.org/officeDocument/2006/relationships/image" Target="../media/image108.png"/><Relationship Id="rId1" Type="http://schemas.openxmlformats.org/officeDocument/2006/relationships/vmlDrawing" Target="../drawings/vmlDrawing119.vml"/><Relationship Id="rId6" Type="http://schemas.openxmlformats.org/officeDocument/2006/relationships/slideLayout" Target="../slideLayouts/slideLayout14.xml"/><Relationship Id="rId11" Type="http://schemas.openxmlformats.org/officeDocument/2006/relationships/chart" Target="../charts/chart43.xml"/><Relationship Id="rId5" Type="http://schemas.openxmlformats.org/officeDocument/2006/relationships/tags" Target="../tags/tag223.xml"/><Relationship Id="rId15" Type="http://schemas.openxmlformats.org/officeDocument/2006/relationships/hyperlink" Target="http://fortune.com/2017/06/20/nestle-invests-meal-startup/" TargetMode="External"/><Relationship Id="rId10" Type="http://schemas.openxmlformats.org/officeDocument/2006/relationships/chart" Target="../charts/chart42.xml"/><Relationship Id="rId4" Type="http://schemas.openxmlformats.org/officeDocument/2006/relationships/tags" Target="../tags/tag222.xml"/><Relationship Id="rId9" Type="http://schemas.openxmlformats.org/officeDocument/2006/relationships/image" Target="../media/image1.emf"/><Relationship Id="rId14" Type="http://schemas.openxmlformats.org/officeDocument/2006/relationships/hyperlink" Target="https://digiday.com/marketing/clorox-grew-e-commerce-business-50-percent/" TargetMode="External"/></Relationships>
</file>

<file path=ppt/slides/_rels/slide131.xml.rels><?xml version="1.0" encoding="UTF-8" standalone="yes"?>
<Relationships xmlns="http://schemas.openxmlformats.org/package/2006/relationships"><Relationship Id="rId3" Type="http://schemas.openxmlformats.org/officeDocument/2006/relationships/tags" Target="../tags/tag225.xml"/><Relationship Id="rId7" Type="http://schemas.openxmlformats.org/officeDocument/2006/relationships/image" Target="../media/image1.emf"/><Relationship Id="rId2" Type="http://schemas.openxmlformats.org/officeDocument/2006/relationships/tags" Target="../tags/tag224.xml"/><Relationship Id="rId1" Type="http://schemas.openxmlformats.org/officeDocument/2006/relationships/vmlDrawing" Target="../drawings/vmlDrawing120.vml"/><Relationship Id="rId6" Type="http://schemas.openxmlformats.org/officeDocument/2006/relationships/oleObject" Target="../embeddings/oleObject120.bin"/><Relationship Id="rId5" Type="http://schemas.openxmlformats.org/officeDocument/2006/relationships/notesSlide" Target="../notesSlides/notesSlide124.xml"/><Relationship Id="rId4" Type="http://schemas.openxmlformats.org/officeDocument/2006/relationships/slideLayout" Target="../slideLayouts/slideLayout15.xml"/></Relationships>
</file>

<file path=ppt/slides/_rels/slide132.xml.rels><?xml version="1.0" encoding="UTF-8" standalone="yes"?>
<Relationships xmlns="http://schemas.openxmlformats.org/package/2006/relationships"><Relationship Id="rId8" Type="http://schemas.openxmlformats.org/officeDocument/2006/relationships/chart" Target="../charts/chart44.xml"/><Relationship Id="rId13" Type="http://schemas.openxmlformats.org/officeDocument/2006/relationships/image" Target="../media/image113.jpeg"/><Relationship Id="rId3" Type="http://schemas.openxmlformats.org/officeDocument/2006/relationships/tags" Target="../tags/tag227.xml"/><Relationship Id="rId7" Type="http://schemas.openxmlformats.org/officeDocument/2006/relationships/image" Target="../media/image1.emf"/><Relationship Id="rId12" Type="http://schemas.openxmlformats.org/officeDocument/2006/relationships/chart" Target="../charts/chart45.xml"/><Relationship Id="rId2" Type="http://schemas.openxmlformats.org/officeDocument/2006/relationships/tags" Target="../tags/tag226.xml"/><Relationship Id="rId1" Type="http://schemas.openxmlformats.org/officeDocument/2006/relationships/vmlDrawing" Target="../drawings/vmlDrawing121.vml"/><Relationship Id="rId6" Type="http://schemas.openxmlformats.org/officeDocument/2006/relationships/oleObject" Target="../embeddings/oleObject121.bin"/><Relationship Id="rId11" Type="http://schemas.openxmlformats.org/officeDocument/2006/relationships/image" Target="../media/image112.jpeg"/><Relationship Id="rId5" Type="http://schemas.openxmlformats.org/officeDocument/2006/relationships/notesSlide" Target="../notesSlides/notesSlide125.xml"/><Relationship Id="rId15" Type="http://schemas.openxmlformats.org/officeDocument/2006/relationships/image" Target="../media/image115.jpeg"/><Relationship Id="rId10" Type="http://schemas.microsoft.com/office/2007/relationships/hdphoto" Target="../media/hdphoto4.wdp"/><Relationship Id="rId4" Type="http://schemas.openxmlformats.org/officeDocument/2006/relationships/slideLayout" Target="../slideLayouts/slideLayout15.xml"/><Relationship Id="rId9" Type="http://schemas.openxmlformats.org/officeDocument/2006/relationships/image" Target="../media/image111.png"/><Relationship Id="rId14" Type="http://schemas.openxmlformats.org/officeDocument/2006/relationships/image" Target="../media/image114.jpeg"/></Relationships>
</file>

<file path=ppt/slides/_rels/slide133.xml.rels><?xml version="1.0" encoding="UTF-8" standalone="yes"?>
<Relationships xmlns="http://schemas.openxmlformats.org/package/2006/relationships"><Relationship Id="rId2" Type="http://schemas.openxmlformats.org/officeDocument/2006/relationships/slide" Target="slide2.xml"/><Relationship Id="rId1" Type="http://schemas.openxmlformats.org/officeDocument/2006/relationships/slideLayout" Target="../slideLayouts/slideLayout19.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126.xml"/><Relationship Id="rId1" Type="http://schemas.openxmlformats.org/officeDocument/2006/relationships/slideLayout" Target="../slideLayouts/slideLayout15.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15.xml"/></Relationships>
</file>

<file path=ppt/slides/_rels/slide136.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128.xml"/><Relationship Id="rId1" Type="http://schemas.openxmlformats.org/officeDocument/2006/relationships/slideLayout" Target="../slideLayouts/slideLayout15.xml"/></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129.xml"/><Relationship Id="rId1" Type="http://schemas.openxmlformats.org/officeDocument/2006/relationships/slideLayout" Target="../slideLayouts/slideLayout15.xml"/></Relationships>
</file>

<file path=ppt/slides/_rels/slide138.xml.rels><?xml version="1.0" encoding="UTF-8" standalone="yes"?>
<Relationships xmlns="http://schemas.openxmlformats.org/package/2006/relationships"><Relationship Id="rId2" Type="http://schemas.openxmlformats.org/officeDocument/2006/relationships/notesSlide" Target="../notesSlides/notesSlide130.xml"/><Relationship Id="rId1" Type="http://schemas.openxmlformats.org/officeDocument/2006/relationships/slideLayout" Target="../slideLayouts/slideLayout15.xml"/></Relationships>
</file>

<file path=ppt/slides/_rels/slide139.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131.xml"/><Relationship Id="rId1" Type="http://schemas.openxmlformats.org/officeDocument/2006/relationships/slideLayout" Target="../slideLayouts/slideLayout15.xml"/><Relationship Id="rId6" Type="http://schemas.openxmlformats.org/officeDocument/2006/relationships/image" Target="../media/image120.png"/><Relationship Id="rId5" Type="http://schemas.openxmlformats.org/officeDocument/2006/relationships/image" Target="../media/image119.png"/><Relationship Id="rId4" Type="http://schemas.openxmlformats.org/officeDocument/2006/relationships/image" Target="../media/image118.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7.xml"/><Relationship Id="rId1" Type="http://schemas.openxmlformats.org/officeDocument/2006/relationships/vmlDrawing" Target="../drawings/vmlDrawing12.vml"/><Relationship Id="rId6" Type="http://schemas.openxmlformats.org/officeDocument/2006/relationships/image" Target="../media/image5.emf"/><Relationship Id="rId5" Type="http://schemas.openxmlformats.org/officeDocument/2006/relationships/oleObject" Target="../embeddings/oleObject12.bin"/><Relationship Id="rId4" Type="http://schemas.openxmlformats.org/officeDocument/2006/relationships/notesSlide" Target="../notesSlides/notesSlide12.xml"/></Relationships>
</file>

<file path=ppt/slides/_rels/slide140.xml.rels><?xml version="1.0" encoding="UTF-8" standalone="yes"?>
<Relationships xmlns="http://schemas.openxmlformats.org/package/2006/relationships"><Relationship Id="rId3" Type="http://schemas.openxmlformats.org/officeDocument/2006/relationships/tags" Target="../tags/tag229.xml"/><Relationship Id="rId7" Type="http://schemas.openxmlformats.org/officeDocument/2006/relationships/image" Target="../media/image5.emf"/><Relationship Id="rId2" Type="http://schemas.openxmlformats.org/officeDocument/2006/relationships/tags" Target="../tags/tag228.xml"/><Relationship Id="rId1" Type="http://schemas.openxmlformats.org/officeDocument/2006/relationships/vmlDrawing" Target="../drawings/vmlDrawing122.vml"/><Relationship Id="rId6" Type="http://schemas.openxmlformats.org/officeDocument/2006/relationships/oleObject" Target="../embeddings/oleObject122.bin"/><Relationship Id="rId5" Type="http://schemas.openxmlformats.org/officeDocument/2006/relationships/notesSlide" Target="../notesSlides/notesSlide132.xml"/><Relationship Id="rId4" Type="http://schemas.openxmlformats.org/officeDocument/2006/relationships/slideLayout" Target="../slideLayouts/slideLayout15.xml"/></Relationships>
</file>

<file path=ppt/slides/_rels/slide141.xml.rels><?xml version="1.0" encoding="UTF-8" standalone="yes"?>
<Relationships xmlns="http://schemas.openxmlformats.org/package/2006/relationships"><Relationship Id="rId3" Type="http://schemas.openxmlformats.org/officeDocument/2006/relationships/tags" Target="../tags/tag231.xml"/><Relationship Id="rId7" Type="http://schemas.openxmlformats.org/officeDocument/2006/relationships/image" Target="../media/image5.emf"/><Relationship Id="rId2" Type="http://schemas.openxmlformats.org/officeDocument/2006/relationships/tags" Target="../tags/tag230.xml"/><Relationship Id="rId1" Type="http://schemas.openxmlformats.org/officeDocument/2006/relationships/vmlDrawing" Target="../drawings/vmlDrawing123.vml"/><Relationship Id="rId6" Type="http://schemas.openxmlformats.org/officeDocument/2006/relationships/oleObject" Target="../embeddings/oleObject123.bin"/><Relationship Id="rId5" Type="http://schemas.openxmlformats.org/officeDocument/2006/relationships/notesSlide" Target="../notesSlides/notesSlide133.xml"/><Relationship Id="rId4" Type="http://schemas.openxmlformats.org/officeDocument/2006/relationships/slideLayout" Target="../slideLayouts/slideLayout15.xml"/></Relationships>
</file>

<file path=ppt/slides/_rels/slide142.xml.rels><?xml version="1.0" encoding="UTF-8" standalone="yes"?>
<Relationships xmlns="http://schemas.openxmlformats.org/package/2006/relationships"><Relationship Id="rId3" Type="http://schemas.openxmlformats.org/officeDocument/2006/relationships/tags" Target="../tags/tag233.xml"/><Relationship Id="rId7" Type="http://schemas.openxmlformats.org/officeDocument/2006/relationships/image" Target="../media/image5.emf"/><Relationship Id="rId2" Type="http://schemas.openxmlformats.org/officeDocument/2006/relationships/tags" Target="../tags/tag232.xml"/><Relationship Id="rId1" Type="http://schemas.openxmlformats.org/officeDocument/2006/relationships/vmlDrawing" Target="../drawings/vmlDrawing124.vml"/><Relationship Id="rId6" Type="http://schemas.openxmlformats.org/officeDocument/2006/relationships/oleObject" Target="../embeddings/oleObject124.bin"/><Relationship Id="rId5" Type="http://schemas.openxmlformats.org/officeDocument/2006/relationships/notesSlide" Target="../notesSlides/notesSlide134.xml"/><Relationship Id="rId4" Type="http://schemas.openxmlformats.org/officeDocument/2006/relationships/slideLayout" Target="../slideLayouts/slideLayout15.xml"/></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135.xml"/><Relationship Id="rId1" Type="http://schemas.openxmlformats.org/officeDocument/2006/relationships/slideLayout" Target="../slideLayouts/slideLayout15.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136.xml"/><Relationship Id="rId1" Type="http://schemas.openxmlformats.org/officeDocument/2006/relationships/slideLayout" Target="../slideLayouts/slideLayout15.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137.xml"/><Relationship Id="rId1" Type="http://schemas.openxmlformats.org/officeDocument/2006/relationships/slideLayout" Target="../slideLayouts/slideLayout15.xml"/></Relationships>
</file>

<file path=ppt/slides/_rels/slide146.xml.rels><?xml version="1.0" encoding="UTF-8" standalone="yes"?>
<Relationships xmlns="http://schemas.openxmlformats.org/package/2006/relationships"><Relationship Id="rId3" Type="http://schemas.openxmlformats.org/officeDocument/2006/relationships/tags" Target="../tags/tag235.xml"/><Relationship Id="rId7" Type="http://schemas.openxmlformats.org/officeDocument/2006/relationships/image" Target="../media/image5.emf"/><Relationship Id="rId2" Type="http://schemas.openxmlformats.org/officeDocument/2006/relationships/tags" Target="../tags/tag234.xml"/><Relationship Id="rId1" Type="http://schemas.openxmlformats.org/officeDocument/2006/relationships/vmlDrawing" Target="../drawings/vmlDrawing125.vml"/><Relationship Id="rId6" Type="http://schemas.openxmlformats.org/officeDocument/2006/relationships/oleObject" Target="../embeddings/oleObject125.bin"/><Relationship Id="rId5" Type="http://schemas.openxmlformats.org/officeDocument/2006/relationships/notesSlide" Target="../notesSlides/notesSlide138.xml"/><Relationship Id="rId4" Type="http://schemas.openxmlformats.org/officeDocument/2006/relationships/slideLayout" Target="../slideLayouts/slideLayout15.xml"/></Relationships>
</file>

<file path=ppt/slides/_rels/slide147.xml.rels><?xml version="1.0" encoding="UTF-8" standalone="yes"?>
<Relationships xmlns="http://schemas.openxmlformats.org/package/2006/relationships"><Relationship Id="rId3" Type="http://schemas.openxmlformats.org/officeDocument/2006/relationships/tags" Target="../tags/tag237.xml"/><Relationship Id="rId7" Type="http://schemas.openxmlformats.org/officeDocument/2006/relationships/image" Target="../media/image5.emf"/><Relationship Id="rId2" Type="http://schemas.openxmlformats.org/officeDocument/2006/relationships/tags" Target="../tags/tag236.xml"/><Relationship Id="rId1" Type="http://schemas.openxmlformats.org/officeDocument/2006/relationships/vmlDrawing" Target="../drawings/vmlDrawing126.vml"/><Relationship Id="rId6" Type="http://schemas.openxmlformats.org/officeDocument/2006/relationships/oleObject" Target="../embeddings/oleObject126.bin"/><Relationship Id="rId5" Type="http://schemas.openxmlformats.org/officeDocument/2006/relationships/notesSlide" Target="../notesSlides/notesSlide139.xml"/><Relationship Id="rId4" Type="http://schemas.openxmlformats.org/officeDocument/2006/relationships/slideLayout" Target="../slideLayouts/slideLayout15.xml"/></Relationships>
</file>

<file path=ppt/slides/_rels/slide148.xml.rels><?xml version="1.0" encoding="UTF-8" standalone="yes"?>
<Relationships xmlns="http://schemas.openxmlformats.org/package/2006/relationships"><Relationship Id="rId3" Type="http://schemas.openxmlformats.org/officeDocument/2006/relationships/tags" Target="../tags/tag239.xml"/><Relationship Id="rId7" Type="http://schemas.openxmlformats.org/officeDocument/2006/relationships/image" Target="../media/image5.emf"/><Relationship Id="rId2" Type="http://schemas.openxmlformats.org/officeDocument/2006/relationships/tags" Target="../tags/tag238.xml"/><Relationship Id="rId1" Type="http://schemas.openxmlformats.org/officeDocument/2006/relationships/vmlDrawing" Target="../drawings/vmlDrawing127.vml"/><Relationship Id="rId6" Type="http://schemas.openxmlformats.org/officeDocument/2006/relationships/oleObject" Target="../embeddings/oleObject127.bin"/><Relationship Id="rId5" Type="http://schemas.openxmlformats.org/officeDocument/2006/relationships/notesSlide" Target="../notesSlides/notesSlide140.xml"/><Relationship Id="rId4" Type="http://schemas.openxmlformats.org/officeDocument/2006/relationships/slideLayout" Target="../slideLayouts/slideLayout15.xml"/></Relationships>
</file>

<file path=ppt/slides/_rels/slide149.xml.rels><?xml version="1.0" encoding="UTF-8" standalone="yes"?>
<Relationships xmlns="http://schemas.openxmlformats.org/package/2006/relationships"><Relationship Id="rId3" Type="http://schemas.openxmlformats.org/officeDocument/2006/relationships/tags" Target="../tags/tag241.xml"/><Relationship Id="rId7" Type="http://schemas.openxmlformats.org/officeDocument/2006/relationships/image" Target="../media/image5.emf"/><Relationship Id="rId2" Type="http://schemas.openxmlformats.org/officeDocument/2006/relationships/tags" Target="../tags/tag240.xml"/><Relationship Id="rId1" Type="http://schemas.openxmlformats.org/officeDocument/2006/relationships/vmlDrawing" Target="../drawings/vmlDrawing128.vml"/><Relationship Id="rId6" Type="http://schemas.openxmlformats.org/officeDocument/2006/relationships/oleObject" Target="../embeddings/oleObject128.bin"/><Relationship Id="rId5" Type="http://schemas.openxmlformats.org/officeDocument/2006/relationships/notesSlide" Target="../notesSlides/notesSlide141.xml"/><Relationship Id="rId4"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5.emf"/><Relationship Id="rId2" Type="http://schemas.openxmlformats.org/officeDocument/2006/relationships/tags" Target="../tags/tag18.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13.xml"/><Relationship Id="rId4" Type="http://schemas.openxmlformats.org/officeDocument/2006/relationships/slideLayout" Target="../slideLayouts/slideLayout15.xml"/></Relationships>
</file>

<file path=ppt/slides/_rels/slide150.xml.rels><?xml version="1.0" encoding="UTF-8" standalone="yes"?>
<Relationships xmlns="http://schemas.openxmlformats.org/package/2006/relationships"><Relationship Id="rId3" Type="http://schemas.openxmlformats.org/officeDocument/2006/relationships/tags" Target="../tags/tag243.xml"/><Relationship Id="rId7" Type="http://schemas.openxmlformats.org/officeDocument/2006/relationships/image" Target="../media/image5.emf"/><Relationship Id="rId2" Type="http://schemas.openxmlformats.org/officeDocument/2006/relationships/tags" Target="../tags/tag242.xml"/><Relationship Id="rId1" Type="http://schemas.openxmlformats.org/officeDocument/2006/relationships/vmlDrawing" Target="../drawings/vmlDrawing129.vml"/><Relationship Id="rId6" Type="http://schemas.openxmlformats.org/officeDocument/2006/relationships/oleObject" Target="../embeddings/oleObject129.bin"/><Relationship Id="rId5" Type="http://schemas.openxmlformats.org/officeDocument/2006/relationships/notesSlide" Target="../notesSlides/notesSlide142.xml"/><Relationship Id="rId4" Type="http://schemas.openxmlformats.org/officeDocument/2006/relationships/slideLayout" Target="../slideLayouts/slideLayout15.xml"/></Relationships>
</file>

<file path=ppt/slides/_rels/slide151.xml.rels><?xml version="1.0" encoding="UTF-8" standalone="yes"?>
<Relationships xmlns="http://schemas.openxmlformats.org/package/2006/relationships"><Relationship Id="rId3" Type="http://schemas.openxmlformats.org/officeDocument/2006/relationships/tags" Target="../tags/tag245.xml"/><Relationship Id="rId7" Type="http://schemas.openxmlformats.org/officeDocument/2006/relationships/image" Target="../media/image5.emf"/><Relationship Id="rId2" Type="http://schemas.openxmlformats.org/officeDocument/2006/relationships/tags" Target="../tags/tag244.xml"/><Relationship Id="rId1" Type="http://schemas.openxmlformats.org/officeDocument/2006/relationships/vmlDrawing" Target="../drawings/vmlDrawing130.vml"/><Relationship Id="rId6" Type="http://schemas.openxmlformats.org/officeDocument/2006/relationships/oleObject" Target="../embeddings/oleObject130.bin"/><Relationship Id="rId5" Type="http://schemas.openxmlformats.org/officeDocument/2006/relationships/notesSlide" Target="../notesSlides/notesSlide143.xml"/><Relationship Id="rId4" Type="http://schemas.openxmlformats.org/officeDocument/2006/relationships/slideLayout" Target="../slideLayouts/slideLayout15.xml"/></Relationships>
</file>

<file path=ppt/slides/_rels/slide152.xml.rels><?xml version="1.0" encoding="UTF-8" standalone="yes"?>
<Relationships xmlns="http://schemas.openxmlformats.org/package/2006/relationships"><Relationship Id="rId8" Type="http://schemas.openxmlformats.org/officeDocument/2006/relationships/image" Target="../media/image121.jpeg"/><Relationship Id="rId3" Type="http://schemas.openxmlformats.org/officeDocument/2006/relationships/tags" Target="../tags/tag247.xml"/><Relationship Id="rId7" Type="http://schemas.openxmlformats.org/officeDocument/2006/relationships/image" Target="../media/image5.emf"/><Relationship Id="rId2" Type="http://schemas.openxmlformats.org/officeDocument/2006/relationships/tags" Target="../tags/tag246.xml"/><Relationship Id="rId1" Type="http://schemas.openxmlformats.org/officeDocument/2006/relationships/vmlDrawing" Target="../drawings/vmlDrawing131.vml"/><Relationship Id="rId6" Type="http://schemas.openxmlformats.org/officeDocument/2006/relationships/oleObject" Target="../embeddings/oleObject131.bin"/><Relationship Id="rId5" Type="http://schemas.openxmlformats.org/officeDocument/2006/relationships/notesSlide" Target="../notesSlides/notesSlide144.xml"/><Relationship Id="rId4" Type="http://schemas.openxmlformats.org/officeDocument/2006/relationships/slideLayout" Target="../slideLayouts/slideLayout15.xml"/></Relationships>
</file>

<file path=ppt/slides/_rels/slide15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48.xml"/><Relationship Id="rId1" Type="http://schemas.openxmlformats.org/officeDocument/2006/relationships/vmlDrawing" Target="../drawings/vmlDrawing132.vml"/><Relationship Id="rId6" Type="http://schemas.openxmlformats.org/officeDocument/2006/relationships/image" Target="../media/image5.emf"/><Relationship Id="rId5" Type="http://schemas.openxmlformats.org/officeDocument/2006/relationships/oleObject" Target="../embeddings/oleObject132.bin"/><Relationship Id="rId4" Type="http://schemas.openxmlformats.org/officeDocument/2006/relationships/notesSlide" Target="../notesSlides/notesSlide145.xml"/></Relationships>
</file>

<file path=ppt/slides/_rels/slide154.xml.rels><?xml version="1.0" encoding="UTF-8" standalone="yes"?>
<Relationships xmlns="http://schemas.openxmlformats.org/package/2006/relationships"><Relationship Id="rId8" Type="http://schemas.openxmlformats.org/officeDocument/2006/relationships/image" Target="../media/image122.png"/><Relationship Id="rId13" Type="http://schemas.openxmlformats.org/officeDocument/2006/relationships/image" Target="../media/image127.png"/><Relationship Id="rId3" Type="http://schemas.openxmlformats.org/officeDocument/2006/relationships/tags" Target="../tags/tag250.xml"/><Relationship Id="rId7" Type="http://schemas.openxmlformats.org/officeDocument/2006/relationships/image" Target="../media/image5.emf"/><Relationship Id="rId12" Type="http://schemas.openxmlformats.org/officeDocument/2006/relationships/image" Target="../media/image126.png"/><Relationship Id="rId2" Type="http://schemas.openxmlformats.org/officeDocument/2006/relationships/tags" Target="../tags/tag249.xml"/><Relationship Id="rId1" Type="http://schemas.openxmlformats.org/officeDocument/2006/relationships/vmlDrawing" Target="../drawings/vmlDrawing133.vml"/><Relationship Id="rId6" Type="http://schemas.openxmlformats.org/officeDocument/2006/relationships/oleObject" Target="../embeddings/oleObject133.bin"/><Relationship Id="rId11" Type="http://schemas.openxmlformats.org/officeDocument/2006/relationships/image" Target="../media/image125.svg"/><Relationship Id="rId5" Type="http://schemas.openxmlformats.org/officeDocument/2006/relationships/notesSlide" Target="../notesSlides/notesSlide146.xml"/><Relationship Id="rId15" Type="http://schemas.openxmlformats.org/officeDocument/2006/relationships/image" Target="../media/image129.png"/><Relationship Id="rId10" Type="http://schemas.openxmlformats.org/officeDocument/2006/relationships/image" Target="../media/image124.png"/><Relationship Id="rId4" Type="http://schemas.openxmlformats.org/officeDocument/2006/relationships/slideLayout" Target="../slideLayouts/slideLayout15.xml"/><Relationship Id="rId9" Type="http://schemas.openxmlformats.org/officeDocument/2006/relationships/image" Target="../media/image123.svg"/><Relationship Id="rId14" Type="http://schemas.openxmlformats.org/officeDocument/2006/relationships/image" Target="../media/image128.png"/></Relationships>
</file>

<file path=ppt/slides/_rels/slide155.xml.rels><?xml version="1.0" encoding="UTF-8" standalone="yes"?>
<Relationships xmlns="http://schemas.openxmlformats.org/package/2006/relationships"><Relationship Id="rId3" Type="http://schemas.openxmlformats.org/officeDocument/2006/relationships/tags" Target="../tags/tag252.xml"/><Relationship Id="rId7" Type="http://schemas.openxmlformats.org/officeDocument/2006/relationships/image" Target="../media/image5.emf"/><Relationship Id="rId2" Type="http://schemas.openxmlformats.org/officeDocument/2006/relationships/tags" Target="../tags/tag251.xml"/><Relationship Id="rId1" Type="http://schemas.openxmlformats.org/officeDocument/2006/relationships/vmlDrawing" Target="../drawings/vmlDrawing134.vml"/><Relationship Id="rId6" Type="http://schemas.openxmlformats.org/officeDocument/2006/relationships/oleObject" Target="../embeddings/oleObject134.bin"/><Relationship Id="rId5" Type="http://schemas.openxmlformats.org/officeDocument/2006/relationships/notesSlide" Target="../notesSlides/notesSlide147.xml"/><Relationship Id="rId4" Type="http://schemas.openxmlformats.org/officeDocument/2006/relationships/slideLayout" Target="../slideLayouts/slideLayout15.xml"/></Relationships>
</file>

<file path=ppt/slides/_rels/slide156.xml.rels><?xml version="1.0" encoding="UTF-8" standalone="yes"?>
<Relationships xmlns="http://schemas.openxmlformats.org/package/2006/relationships"><Relationship Id="rId3" Type="http://schemas.openxmlformats.org/officeDocument/2006/relationships/tags" Target="../tags/tag254.xml"/><Relationship Id="rId7" Type="http://schemas.openxmlformats.org/officeDocument/2006/relationships/image" Target="../media/image5.emf"/><Relationship Id="rId2" Type="http://schemas.openxmlformats.org/officeDocument/2006/relationships/tags" Target="../tags/tag253.xml"/><Relationship Id="rId1" Type="http://schemas.openxmlformats.org/officeDocument/2006/relationships/vmlDrawing" Target="../drawings/vmlDrawing135.vml"/><Relationship Id="rId6" Type="http://schemas.openxmlformats.org/officeDocument/2006/relationships/oleObject" Target="../embeddings/oleObject135.bin"/><Relationship Id="rId5" Type="http://schemas.openxmlformats.org/officeDocument/2006/relationships/notesSlide" Target="../notesSlides/notesSlide148.xml"/><Relationship Id="rId4" Type="http://schemas.openxmlformats.org/officeDocument/2006/relationships/slideLayout" Target="../slideLayouts/slideLayout15.xml"/></Relationships>
</file>

<file path=ppt/slides/_rels/slide157.xml.rels><?xml version="1.0" encoding="UTF-8" standalone="yes"?>
<Relationships xmlns="http://schemas.openxmlformats.org/package/2006/relationships"><Relationship Id="rId3" Type="http://schemas.openxmlformats.org/officeDocument/2006/relationships/tags" Target="../tags/tag256.xml"/><Relationship Id="rId7" Type="http://schemas.openxmlformats.org/officeDocument/2006/relationships/image" Target="../media/image5.emf"/><Relationship Id="rId2" Type="http://schemas.openxmlformats.org/officeDocument/2006/relationships/tags" Target="../tags/tag255.xml"/><Relationship Id="rId1" Type="http://schemas.openxmlformats.org/officeDocument/2006/relationships/vmlDrawing" Target="../drawings/vmlDrawing136.vml"/><Relationship Id="rId6" Type="http://schemas.openxmlformats.org/officeDocument/2006/relationships/oleObject" Target="../embeddings/oleObject136.bin"/><Relationship Id="rId5" Type="http://schemas.openxmlformats.org/officeDocument/2006/relationships/notesSlide" Target="../notesSlides/notesSlide149.xml"/><Relationship Id="rId4" Type="http://schemas.openxmlformats.org/officeDocument/2006/relationships/slideLayout" Target="../slideLayouts/slideLayout15.xml"/></Relationships>
</file>

<file path=ppt/slides/_rels/slide158.xml.rels><?xml version="1.0" encoding="UTF-8" standalone="yes"?>
<Relationships xmlns="http://schemas.openxmlformats.org/package/2006/relationships"><Relationship Id="rId3" Type="http://schemas.openxmlformats.org/officeDocument/2006/relationships/tags" Target="../tags/tag258.xml"/><Relationship Id="rId7" Type="http://schemas.openxmlformats.org/officeDocument/2006/relationships/image" Target="../media/image5.emf"/><Relationship Id="rId2" Type="http://schemas.openxmlformats.org/officeDocument/2006/relationships/tags" Target="../tags/tag257.xml"/><Relationship Id="rId1" Type="http://schemas.openxmlformats.org/officeDocument/2006/relationships/vmlDrawing" Target="../drawings/vmlDrawing137.vml"/><Relationship Id="rId6" Type="http://schemas.openxmlformats.org/officeDocument/2006/relationships/oleObject" Target="../embeddings/oleObject137.bin"/><Relationship Id="rId5" Type="http://schemas.openxmlformats.org/officeDocument/2006/relationships/notesSlide" Target="../notesSlides/notesSlide150.xml"/><Relationship Id="rId4" Type="http://schemas.openxmlformats.org/officeDocument/2006/relationships/slideLayout" Target="../slideLayouts/slideLayout15.xml"/></Relationships>
</file>

<file path=ppt/slides/_rels/slide159.xml.rels><?xml version="1.0" encoding="UTF-8" standalone="yes"?>
<Relationships xmlns="http://schemas.openxmlformats.org/package/2006/relationships"><Relationship Id="rId3" Type="http://schemas.openxmlformats.org/officeDocument/2006/relationships/tags" Target="../tags/tag260.xml"/><Relationship Id="rId7" Type="http://schemas.openxmlformats.org/officeDocument/2006/relationships/image" Target="../media/image1.emf"/><Relationship Id="rId2" Type="http://schemas.openxmlformats.org/officeDocument/2006/relationships/tags" Target="../tags/tag259.xml"/><Relationship Id="rId1" Type="http://schemas.openxmlformats.org/officeDocument/2006/relationships/vmlDrawing" Target="../drawings/vmlDrawing138.vml"/><Relationship Id="rId6" Type="http://schemas.openxmlformats.org/officeDocument/2006/relationships/oleObject" Target="../embeddings/oleObject138.bin"/><Relationship Id="rId5" Type="http://schemas.openxmlformats.org/officeDocument/2006/relationships/notesSlide" Target="../notesSlides/notesSlide151.xml"/><Relationship Id="rId4"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5.emf"/><Relationship Id="rId2" Type="http://schemas.openxmlformats.org/officeDocument/2006/relationships/tags" Target="../tags/tag20.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14.xml"/><Relationship Id="rId4" Type="http://schemas.openxmlformats.org/officeDocument/2006/relationships/slideLayout" Target="../slideLayouts/slideLayout14.xml"/></Relationships>
</file>

<file path=ppt/slides/_rels/slide160.xml.rels><?xml version="1.0" encoding="UTF-8" standalone="yes"?>
<Relationships xmlns="http://schemas.openxmlformats.org/package/2006/relationships"><Relationship Id="rId3" Type="http://schemas.openxmlformats.org/officeDocument/2006/relationships/tags" Target="../tags/tag262.xml"/><Relationship Id="rId7" Type="http://schemas.openxmlformats.org/officeDocument/2006/relationships/image" Target="../media/image1.emf"/><Relationship Id="rId2" Type="http://schemas.openxmlformats.org/officeDocument/2006/relationships/tags" Target="../tags/tag261.xml"/><Relationship Id="rId1" Type="http://schemas.openxmlformats.org/officeDocument/2006/relationships/vmlDrawing" Target="../drawings/vmlDrawing139.vml"/><Relationship Id="rId6" Type="http://schemas.openxmlformats.org/officeDocument/2006/relationships/oleObject" Target="../embeddings/oleObject139.bin"/><Relationship Id="rId5" Type="http://schemas.openxmlformats.org/officeDocument/2006/relationships/notesSlide" Target="../notesSlides/notesSlide152.xml"/><Relationship Id="rId4" Type="http://schemas.openxmlformats.org/officeDocument/2006/relationships/slideLayout" Target="../slideLayouts/slideLayout15.xml"/></Relationships>
</file>

<file path=ppt/slides/_rels/slide161.xml.rels><?xml version="1.0" encoding="UTF-8" standalone="yes"?>
<Relationships xmlns="http://schemas.openxmlformats.org/package/2006/relationships"><Relationship Id="rId3" Type="http://schemas.openxmlformats.org/officeDocument/2006/relationships/tags" Target="../tags/tag264.xml"/><Relationship Id="rId7" Type="http://schemas.openxmlformats.org/officeDocument/2006/relationships/image" Target="../media/image1.emf"/><Relationship Id="rId2" Type="http://schemas.openxmlformats.org/officeDocument/2006/relationships/tags" Target="../tags/tag263.xml"/><Relationship Id="rId1" Type="http://schemas.openxmlformats.org/officeDocument/2006/relationships/vmlDrawing" Target="../drawings/vmlDrawing140.vml"/><Relationship Id="rId6" Type="http://schemas.openxmlformats.org/officeDocument/2006/relationships/oleObject" Target="../embeddings/oleObject140.bin"/><Relationship Id="rId5" Type="http://schemas.openxmlformats.org/officeDocument/2006/relationships/notesSlide" Target="../notesSlides/notesSlide153.xml"/><Relationship Id="rId4" Type="http://schemas.openxmlformats.org/officeDocument/2006/relationships/slideLayout" Target="../slideLayouts/slideLayout15.xml"/></Relationships>
</file>

<file path=ppt/slides/_rels/slide162.xml.rels><?xml version="1.0" encoding="UTF-8" standalone="yes"?>
<Relationships xmlns="http://schemas.openxmlformats.org/package/2006/relationships"><Relationship Id="rId2" Type="http://schemas.openxmlformats.org/officeDocument/2006/relationships/slide" Target="slide2.xml"/><Relationship Id="rId1" Type="http://schemas.openxmlformats.org/officeDocument/2006/relationships/slideLayout" Target="../slideLayouts/slideLayout19.xml"/></Relationships>
</file>

<file path=ppt/slides/_rels/slide163.xml.rels><?xml version="1.0" encoding="UTF-8" standalone="yes"?>
<Relationships xmlns="http://schemas.openxmlformats.org/package/2006/relationships"><Relationship Id="rId3" Type="http://schemas.openxmlformats.org/officeDocument/2006/relationships/tags" Target="../tags/tag266.xml"/><Relationship Id="rId7" Type="http://schemas.openxmlformats.org/officeDocument/2006/relationships/image" Target="../media/image5.emf"/><Relationship Id="rId2" Type="http://schemas.openxmlformats.org/officeDocument/2006/relationships/tags" Target="../tags/tag265.xml"/><Relationship Id="rId1" Type="http://schemas.openxmlformats.org/officeDocument/2006/relationships/vmlDrawing" Target="../drawings/vmlDrawing141.vml"/><Relationship Id="rId6" Type="http://schemas.openxmlformats.org/officeDocument/2006/relationships/oleObject" Target="../embeddings/oleObject141.bin"/><Relationship Id="rId5" Type="http://schemas.openxmlformats.org/officeDocument/2006/relationships/notesSlide" Target="../notesSlides/notesSlide154.xml"/><Relationship Id="rId4" Type="http://schemas.openxmlformats.org/officeDocument/2006/relationships/slideLayout" Target="../slideLayouts/slideLayout15.xml"/></Relationships>
</file>

<file path=ppt/slides/_rels/slide164.xml.rels><?xml version="1.0" encoding="UTF-8" standalone="yes"?>
<Relationships xmlns="http://schemas.openxmlformats.org/package/2006/relationships"><Relationship Id="rId8" Type="http://schemas.openxmlformats.org/officeDocument/2006/relationships/image" Target="../media/image130.png"/><Relationship Id="rId13" Type="http://schemas.openxmlformats.org/officeDocument/2006/relationships/image" Target="../media/image135.png"/><Relationship Id="rId18" Type="http://schemas.openxmlformats.org/officeDocument/2006/relationships/image" Target="../media/image140.png"/><Relationship Id="rId3" Type="http://schemas.openxmlformats.org/officeDocument/2006/relationships/tags" Target="../tags/tag268.xml"/><Relationship Id="rId21" Type="http://schemas.openxmlformats.org/officeDocument/2006/relationships/image" Target="../media/image143.png"/><Relationship Id="rId7" Type="http://schemas.openxmlformats.org/officeDocument/2006/relationships/image" Target="../media/image5.emf"/><Relationship Id="rId12" Type="http://schemas.openxmlformats.org/officeDocument/2006/relationships/image" Target="../media/image134.jpeg"/><Relationship Id="rId17" Type="http://schemas.openxmlformats.org/officeDocument/2006/relationships/image" Target="../media/image139.png"/><Relationship Id="rId2" Type="http://schemas.openxmlformats.org/officeDocument/2006/relationships/tags" Target="../tags/tag267.xml"/><Relationship Id="rId16" Type="http://schemas.openxmlformats.org/officeDocument/2006/relationships/image" Target="../media/image138.jpeg"/><Relationship Id="rId20" Type="http://schemas.openxmlformats.org/officeDocument/2006/relationships/image" Target="../media/image142.png"/><Relationship Id="rId1" Type="http://schemas.openxmlformats.org/officeDocument/2006/relationships/vmlDrawing" Target="../drawings/vmlDrawing142.vml"/><Relationship Id="rId6" Type="http://schemas.openxmlformats.org/officeDocument/2006/relationships/oleObject" Target="../embeddings/oleObject142.bin"/><Relationship Id="rId11" Type="http://schemas.openxmlformats.org/officeDocument/2006/relationships/image" Target="../media/image133.png"/><Relationship Id="rId24" Type="http://schemas.openxmlformats.org/officeDocument/2006/relationships/image" Target="../media/image146.png"/><Relationship Id="rId5" Type="http://schemas.openxmlformats.org/officeDocument/2006/relationships/notesSlide" Target="../notesSlides/notesSlide155.xml"/><Relationship Id="rId15" Type="http://schemas.openxmlformats.org/officeDocument/2006/relationships/image" Target="../media/image137.jpeg"/><Relationship Id="rId23" Type="http://schemas.openxmlformats.org/officeDocument/2006/relationships/image" Target="../media/image145.png"/><Relationship Id="rId10" Type="http://schemas.openxmlformats.org/officeDocument/2006/relationships/image" Target="../media/image132.png"/><Relationship Id="rId19" Type="http://schemas.openxmlformats.org/officeDocument/2006/relationships/image" Target="../media/image141.png"/><Relationship Id="rId4" Type="http://schemas.openxmlformats.org/officeDocument/2006/relationships/slideLayout" Target="../slideLayouts/slideLayout15.xml"/><Relationship Id="rId9" Type="http://schemas.openxmlformats.org/officeDocument/2006/relationships/image" Target="../media/image131.jpeg"/><Relationship Id="rId14" Type="http://schemas.openxmlformats.org/officeDocument/2006/relationships/image" Target="../media/image136.jpeg"/><Relationship Id="rId22" Type="http://schemas.openxmlformats.org/officeDocument/2006/relationships/image" Target="../media/image144.png"/></Relationships>
</file>

<file path=ppt/slides/_rels/slide165.xml.rels><?xml version="1.0" encoding="UTF-8" standalone="yes"?>
<Relationships xmlns="http://schemas.openxmlformats.org/package/2006/relationships"><Relationship Id="rId3" Type="http://schemas.openxmlformats.org/officeDocument/2006/relationships/tags" Target="../tags/tag270.xml"/><Relationship Id="rId7" Type="http://schemas.openxmlformats.org/officeDocument/2006/relationships/image" Target="../media/image5.emf"/><Relationship Id="rId2" Type="http://schemas.openxmlformats.org/officeDocument/2006/relationships/tags" Target="../tags/tag269.xml"/><Relationship Id="rId1" Type="http://schemas.openxmlformats.org/officeDocument/2006/relationships/vmlDrawing" Target="../drawings/vmlDrawing143.vml"/><Relationship Id="rId6" Type="http://schemas.openxmlformats.org/officeDocument/2006/relationships/oleObject" Target="../embeddings/oleObject143.bin"/><Relationship Id="rId5" Type="http://schemas.openxmlformats.org/officeDocument/2006/relationships/notesSlide" Target="../notesSlides/notesSlide156.xml"/><Relationship Id="rId4" Type="http://schemas.openxmlformats.org/officeDocument/2006/relationships/slideLayout" Target="../slideLayouts/slideLayout15.xml"/></Relationships>
</file>

<file path=ppt/slides/_rels/slide166.xml.rels><?xml version="1.0" encoding="UTF-8" standalone="yes"?>
<Relationships xmlns="http://schemas.openxmlformats.org/package/2006/relationships"><Relationship Id="rId8" Type="http://schemas.openxmlformats.org/officeDocument/2006/relationships/image" Target="../media/image147.png"/><Relationship Id="rId3" Type="http://schemas.openxmlformats.org/officeDocument/2006/relationships/tags" Target="../tags/tag272.xml"/><Relationship Id="rId7" Type="http://schemas.openxmlformats.org/officeDocument/2006/relationships/image" Target="../media/image5.emf"/><Relationship Id="rId2" Type="http://schemas.openxmlformats.org/officeDocument/2006/relationships/tags" Target="../tags/tag271.xml"/><Relationship Id="rId1" Type="http://schemas.openxmlformats.org/officeDocument/2006/relationships/vmlDrawing" Target="../drawings/vmlDrawing144.vml"/><Relationship Id="rId6" Type="http://schemas.openxmlformats.org/officeDocument/2006/relationships/oleObject" Target="../embeddings/oleObject144.bin"/><Relationship Id="rId5" Type="http://schemas.openxmlformats.org/officeDocument/2006/relationships/notesSlide" Target="../notesSlides/notesSlide157.xml"/><Relationship Id="rId4" Type="http://schemas.openxmlformats.org/officeDocument/2006/relationships/slideLayout" Target="../slideLayouts/slideLayout15.xml"/></Relationships>
</file>

<file path=ppt/slides/_rels/slide167.xml.rels><?xml version="1.0" encoding="UTF-8" standalone="yes"?>
<Relationships xmlns="http://schemas.openxmlformats.org/package/2006/relationships"><Relationship Id="rId3" Type="http://schemas.openxmlformats.org/officeDocument/2006/relationships/tags" Target="../tags/tag274.xml"/><Relationship Id="rId7" Type="http://schemas.openxmlformats.org/officeDocument/2006/relationships/image" Target="../media/image5.emf"/><Relationship Id="rId2" Type="http://schemas.openxmlformats.org/officeDocument/2006/relationships/tags" Target="../tags/tag273.xml"/><Relationship Id="rId1" Type="http://schemas.openxmlformats.org/officeDocument/2006/relationships/vmlDrawing" Target="../drawings/vmlDrawing145.vml"/><Relationship Id="rId6" Type="http://schemas.openxmlformats.org/officeDocument/2006/relationships/oleObject" Target="../embeddings/oleObject145.bin"/><Relationship Id="rId5" Type="http://schemas.openxmlformats.org/officeDocument/2006/relationships/notesSlide" Target="../notesSlides/notesSlide158.xml"/><Relationship Id="rId4" Type="http://schemas.openxmlformats.org/officeDocument/2006/relationships/slideLayout" Target="../slideLayouts/slideLayout15.xml"/></Relationships>
</file>

<file path=ppt/slides/_rels/slide168.xml.rels><?xml version="1.0" encoding="UTF-8" standalone="yes"?>
<Relationships xmlns="http://schemas.openxmlformats.org/package/2006/relationships"><Relationship Id="rId8" Type="http://schemas.openxmlformats.org/officeDocument/2006/relationships/image" Target="../media/image148.png"/><Relationship Id="rId3" Type="http://schemas.openxmlformats.org/officeDocument/2006/relationships/tags" Target="../tags/tag276.xml"/><Relationship Id="rId7" Type="http://schemas.openxmlformats.org/officeDocument/2006/relationships/image" Target="../media/image5.emf"/><Relationship Id="rId2" Type="http://schemas.openxmlformats.org/officeDocument/2006/relationships/tags" Target="../tags/tag275.xml"/><Relationship Id="rId1" Type="http://schemas.openxmlformats.org/officeDocument/2006/relationships/vmlDrawing" Target="../drawings/vmlDrawing146.vml"/><Relationship Id="rId6" Type="http://schemas.openxmlformats.org/officeDocument/2006/relationships/oleObject" Target="../embeddings/oleObject146.bin"/><Relationship Id="rId5" Type="http://schemas.openxmlformats.org/officeDocument/2006/relationships/notesSlide" Target="../notesSlides/notesSlide159.xml"/><Relationship Id="rId4" Type="http://schemas.openxmlformats.org/officeDocument/2006/relationships/slideLayout" Target="../slideLayouts/slideLayout15.xml"/></Relationships>
</file>

<file path=ppt/slides/_rels/slide169.xml.rels><?xml version="1.0" encoding="UTF-8" standalone="yes"?>
<Relationships xmlns="http://schemas.openxmlformats.org/package/2006/relationships"><Relationship Id="rId3" Type="http://schemas.openxmlformats.org/officeDocument/2006/relationships/tags" Target="../tags/tag278.xml"/><Relationship Id="rId7" Type="http://schemas.openxmlformats.org/officeDocument/2006/relationships/image" Target="../media/image5.emf"/><Relationship Id="rId2" Type="http://schemas.openxmlformats.org/officeDocument/2006/relationships/tags" Target="../tags/tag277.xml"/><Relationship Id="rId1" Type="http://schemas.openxmlformats.org/officeDocument/2006/relationships/vmlDrawing" Target="../drawings/vmlDrawing147.vml"/><Relationship Id="rId6" Type="http://schemas.openxmlformats.org/officeDocument/2006/relationships/oleObject" Target="../embeddings/oleObject147.bin"/><Relationship Id="rId5" Type="http://schemas.openxmlformats.org/officeDocument/2006/relationships/notesSlide" Target="../notesSlides/notesSlide160.xml"/><Relationship Id="rId4"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5.emf"/><Relationship Id="rId2" Type="http://schemas.openxmlformats.org/officeDocument/2006/relationships/tags" Target="../tags/tag22.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15.xml"/><Relationship Id="rId4" Type="http://schemas.openxmlformats.org/officeDocument/2006/relationships/slideLayout" Target="../slideLayouts/slideLayout15.xml"/></Relationships>
</file>

<file path=ppt/slides/_rels/slide170.xml.rels><?xml version="1.0" encoding="UTF-8" standalone="yes"?>
<Relationships xmlns="http://schemas.openxmlformats.org/package/2006/relationships"><Relationship Id="rId3" Type="http://schemas.openxmlformats.org/officeDocument/2006/relationships/tags" Target="../tags/tag280.xml"/><Relationship Id="rId7" Type="http://schemas.openxmlformats.org/officeDocument/2006/relationships/image" Target="../media/image5.emf"/><Relationship Id="rId2" Type="http://schemas.openxmlformats.org/officeDocument/2006/relationships/tags" Target="../tags/tag279.xml"/><Relationship Id="rId1" Type="http://schemas.openxmlformats.org/officeDocument/2006/relationships/vmlDrawing" Target="../drawings/vmlDrawing148.vml"/><Relationship Id="rId6" Type="http://schemas.openxmlformats.org/officeDocument/2006/relationships/oleObject" Target="../embeddings/oleObject148.bin"/><Relationship Id="rId5" Type="http://schemas.openxmlformats.org/officeDocument/2006/relationships/notesSlide" Target="../notesSlides/notesSlide161.xml"/><Relationship Id="rId4" Type="http://schemas.openxmlformats.org/officeDocument/2006/relationships/slideLayout" Target="../slideLayouts/slideLayout15.xml"/></Relationships>
</file>

<file path=ppt/slides/_rels/slide171.xml.rels><?xml version="1.0" encoding="UTF-8" standalone="yes"?>
<Relationships xmlns="http://schemas.openxmlformats.org/package/2006/relationships"><Relationship Id="rId3" Type="http://schemas.openxmlformats.org/officeDocument/2006/relationships/tags" Target="../tags/tag282.xml"/><Relationship Id="rId7" Type="http://schemas.openxmlformats.org/officeDocument/2006/relationships/image" Target="../media/image5.emf"/><Relationship Id="rId2" Type="http://schemas.openxmlformats.org/officeDocument/2006/relationships/tags" Target="../tags/tag281.xml"/><Relationship Id="rId1" Type="http://schemas.openxmlformats.org/officeDocument/2006/relationships/vmlDrawing" Target="../drawings/vmlDrawing149.vml"/><Relationship Id="rId6" Type="http://schemas.openxmlformats.org/officeDocument/2006/relationships/oleObject" Target="../embeddings/oleObject149.bin"/><Relationship Id="rId5" Type="http://schemas.openxmlformats.org/officeDocument/2006/relationships/notesSlide" Target="../notesSlides/notesSlide162.xml"/><Relationship Id="rId4" Type="http://schemas.openxmlformats.org/officeDocument/2006/relationships/slideLayout" Target="../slideLayouts/slideLayout15.xml"/></Relationships>
</file>

<file path=ppt/slides/_rels/slide172.xml.rels><?xml version="1.0" encoding="UTF-8" standalone="yes"?>
<Relationships xmlns="http://schemas.openxmlformats.org/package/2006/relationships"><Relationship Id="rId8" Type="http://schemas.openxmlformats.org/officeDocument/2006/relationships/image" Target="../media/image150.png"/><Relationship Id="rId3" Type="http://schemas.openxmlformats.org/officeDocument/2006/relationships/slideLayout" Target="../slideLayouts/slideLayout15.xml"/><Relationship Id="rId7" Type="http://schemas.openxmlformats.org/officeDocument/2006/relationships/image" Target="../media/image149.png"/><Relationship Id="rId2" Type="http://schemas.openxmlformats.org/officeDocument/2006/relationships/tags" Target="../tags/tag283.xml"/><Relationship Id="rId1" Type="http://schemas.openxmlformats.org/officeDocument/2006/relationships/vmlDrawing" Target="../drawings/vmlDrawing150.vml"/><Relationship Id="rId6" Type="http://schemas.openxmlformats.org/officeDocument/2006/relationships/image" Target="../media/image5.emf"/><Relationship Id="rId5" Type="http://schemas.openxmlformats.org/officeDocument/2006/relationships/oleObject" Target="../embeddings/oleObject150.bin"/><Relationship Id="rId10" Type="http://schemas.openxmlformats.org/officeDocument/2006/relationships/image" Target="../media/image152.png"/><Relationship Id="rId4" Type="http://schemas.openxmlformats.org/officeDocument/2006/relationships/notesSlide" Target="../notesSlides/notesSlide163.xml"/><Relationship Id="rId9" Type="http://schemas.openxmlformats.org/officeDocument/2006/relationships/image" Target="../media/image151.png"/></Relationships>
</file>

<file path=ppt/slides/_rels/slide173.xml.rels><?xml version="1.0" encoding="UTF-8" standalone="yes"?>
<Relationships xmlns="http://schemas.openxmlformats.org/package/2006/relationships"><Relationship Id="rId3" Type="http://schemas.openxmlformats.org/officeDocument/2006/relationships/tags" Target="../tags/tag285.xml"/><Relationship Id="rId7" Type="http://schemas.openxmlformats.org/officeDocument/2006/relationships/image" Target="../media/image5.emf"/><Relationship Id="rId2" Type="http://schemas.openxmlformats.org/officeDocument/2006/relationships/tags" Target="../tags/tag284.xml"/><Relationship Id="rId1" Type="http://schemas.openxmlformats.org/officeDocument/2006/relationships/vmlDrawing" Target="../drawings/vmlDrawing151.vml"/><Relationship Id="rId6" Type="http://schemas.openxmlformats.org/officeDocument/2006/relationships/oleObject" Target="../embeddings/oleObject151.bin"/><Relationship Id="rId5" Type="http://schemas.openxmlformats.org/officeDocument/2006/relationships/notesSlide" Target="../notesSlides/notesSlide164.xml"/><Relationship Id="rId4" Type="http://schemas.openxmlformats.org/officeDocument/2006/relationships/slideLayout" Target="../slideLayouts/slideLayout15.xml"/></Relationships>
</file>

<file path=ppt/slides/_rels/slide174.xml.rels><?xml version="1.0" encoding="UTF-8" standalone="yes"?>
<Relationships xmlns="http://schemas.openxmlformats.org/package/2006/relationships"><Relationship Id="rId3" Type="http://schemas.openxmlformats.org/officeDocument/2006/relationships/tags" Target="../tags/tag287.xml"/><Relationship Id="rId7" Type="http://schemas.openxmlformats.org/officeDocument/2006/relationships/image" Target="../media/image5.emf"/><Relationship Id="rId2" Type="http://schemas.openxmlformats.org/officeDocument/2006/relationships/tags" Target="../tags/tag286.xml"/><Relationship Id="rId1" Type="http://schemas.openxmlformats.org/officeDocument/2006/relationships/vmlDrawing" Target="../drawings/vmlDrawing152.vml"/><Relationship Id="rId6" Type="http://schemas.openxmlformats.org/officeDocument/2006/relationships/oleObject" Target="../embeddings/oleObject152.bin"/><Relationship Id="rId5" Type="http://schemas.openxmlformats.org/officeDocument/2006/relationships/notesSlide" Target="../notesSlides/notesSlide165.xml"/><Relationship Id="rId4" Type="http://schemas.openxmlformats.org/officeDocument/2006/relationships/slideLayout" Target="../slideLayouts/slideLayout15.xml"/></Relationships>
</file>

<file path=ppt/slides/_rels/slide175.xml.rels><?xml version="1.0" encoding="UTF-8" standalone="yes"?>
<Relationships xmlns="http://schemas.openxmlformats.org/package/2006/relationships"><Relationship Id="rId8" Type="http://schemas.openxmlformats.org/officeDocument/2006/relationships/image" Target="../media/image153.png"/><Relationship Id="rId13" Type="http://schemas.openxmlformats.org/officeDocument/2006/relationships/image" Target="../media/image158.png"/><Relationship Id="rId18" Type="http://schemas.openxmlformats.org/officeDocument/2006/relationships/image" Target="../media/image163.png"/><Relationship Id="rId26" Type="http://schemas.openxmlformats.org/officeDocument/2006/relationships/image" Target="../media/image171.png"/><Relationship Id="rId3" Type="http://schemas.openxmlformats.org/officeDocument/2006/relationships/tags" Target="../tags/tag289.xml"/><Relationship Id="rId21" Type="http://schemas.openxmlformats.org/officeDocument/2006/relationships/image" Target="../media/image166.png"/><Relationship Id="rId7" Type="http://schemas.openxmlformats.org/officeDocument/2006/relationships/image" Target="../media/image5.emf"/><Relationship Id="rId12" Type="http://schemas.openxmlformats.org/officeDocument/2006/relationships/image" Target="../media/image157.png"/><Relationship Id="rId17" Type="http://schemas.openxmlformats.org/officeDocument/2006/relationships/image" Target="../media/image162.png"/><Relationship Id="rId25" Type="http://schemas.openxmlformats.org/officeDocument/2006/relationships/image" Target="../media/image170.png"/><Relationship Id="rId2" Type="http://schemas.openxmlformats.org/officeDocument/2006/relationships/tags" Target="../tags/tag288.xml"/><Relationship Id="rId16" Type="http://schemas.openxmlformats.org/officeDocument/2006/relationships/image" Target="../media/image161.png"/><Relationship Id="rId20" Type="http://schemas.openxmlformats.org/officeDocument/2006/relationships/image" Target="../media/image165.png"/><Relationship Id="rId1" Type="http://schemas.openxmlformats.org/officeDocument/2006/relationships/vmlDrawing" Target="../drawings/vmlDrawing153.vml"/><Relationship Id="rId6" Type="http://schemas.openxmlformats.org/officeDocument/2006/relationships/oleObject" Target="../embeddings/oleObject153.bin"/><Relationship Id="rId11" Type="http://schemas.openxmlformats.org/officeDocument/2006/relationships/image" Target="../media/image156.png"/><Relationship Id="rId24" Type="http://schemas.openxmlformats.org/officeDocument/2006/relationships/image" Target="../media/image169.png"/><Relationship Id="rId5" Type="http://schemas.openxmlformats.org/officeDocument/2006/relationships/notesSlide" Target="../notesSlides/notesSlide166.xml"/><Relationship Id="rId15" Type="http://schemas.openxmlformats.org/officeDocument/2006/relationships/image" Target="../media/image160.png"/><Relationship Id="rId23" Type="http://schemas.openxmlformats.org/officeDocument/2006/relationships/image" Target="../media/image168.png"/><Relationship Id="rId10" Type="http://schemas.openxmlformats.org/officeDocument/2006/relationships/image" Target="../media/image155.png"/><Relationship Id="rId19" Type="http://schemas.openxmlformats.org/officeDocument/2006/relationships/image" Target="../media/image164.png"/><Relationship Id="rId4" Type="http://schemas.openxmlformats.org/officeDocument/2006/relationships/slideLayout" Target="../slideLayouts/slideLayout15.xml"/><Relationship Id="rId9" Type="http://schemas.openxmlformats.org/officeDocument/2006/relationships/image" Target="../media/image154.png"/><Relationship Id="rId14" Type="http://schemas.openxmlformats.org/officeDocument/2006/relationships/image" Target="../media/image159.png"/><Relationship Id="rId22" Type="http://schemas.openxmlformats.org/officeDocument/2006/relationships/image" Target="../media/image167.png"/></Relationships>
</file>

<file path=ppt/slides/_rels/slide176.xml.rels><?xml version="1.0" encoding="UTF-8" standalone="yes"?>
<Relationships xmlns="http://schemas.openxmlformats.org/package/2006/relationships"><Relationship Id="rId3" Type="http://schemas.openxmlformats.org/officeDocument/2006/relationships/tags" Target="../tags/tag291.xml"/><Relationship Id="rId7" Type="http://schemas.openxmlformats.org/officeDocument/2006/relationships/image" Target="../media/image5.emf"/><Relationship Id="rId2" Type="http://schemas.openxmlformats.org/officeDocument/2006/relationships/tags" Target="../tags/tag290.xml"/><Relationship Id="rId1" Type="http://schemas.openxmlformats.org/officeDocument/2006/relationships/vmlDrawing" Target="../drawings/vmlDrawing154.vml"/><Relationship Id="rId6" Type="http://schemas.openxmlformats.org/officeDocument/2006/relationships/oleObject" Target="../embeddings/oleObject154.bin"/><Relationship Id="rId5" Type="http://schemas.openxmlformats.org/officeDocument/2006/relationships/notesSlide" Target="../notesSlides/notesSlide167.xml"/><Relationship Id="rId4" Type="http://schemas.openxmlformats.org/officeDocument/2006/relationships/slideLayout" Target="../slideLayouts/slideLayout15.xml"/></Relationships>
</file>

<file path=ppt/slides/_rels/slide177.xml.rels><?xml version="1.0" encoding="UTF-8" standalone="yes"?>
<Relationships xmlns="http://schemas.openxmlformats.org/package/2006/relationships"><Relationship Id="rId3" Type="http://schemas.openxmlformats.org/officeDocument/2006/relationships/tags" Target="../tags/tag293.xml"/><Relationship Id="rId7" Type="http://schemas.openxmlformats.org/officeDocument/2006/relationships/image" Target="../media/image5.emf"/><Relationship Id="rId2" Type="http://schemas.openxmlformats.org/officeDocument/2006/relationships/tags" Target="../tags/tag292.xml"/><Relationship Id="rId1" Type="http://schemas.openxmlformats.org/officeDocument/2006/relationships/vmlDrawing" Target="../drawings/vmlDrawing155.vml"/><Relationship Id="rId6" Type="http://schemas.openxmlformats.org/officeDocument/2006/relationships/oleObject" Target="../embeddings/oleObject155.bin"/><Relationship Id="rId5" Type="http://schemas.openxmlformats.org/officeDocument/2006/relationships/notesSlide" Target="../notesSlides/notesSlide168.xml"/><Relationship Id="rId4" Type="http://schemas.openxmlformats.org/officeDocument/2006/relationships/slideLayout" Target="../slideLayouts/slideLayout15.xml"/></Relationships>
</file>

<file path=ppt/slides/_rels/slide178.xml.rels><?xml version="1.0" encoding="UTF-8" standalone="yes"?>
<Relationships xmlns="http://schemas.openxmlformats.org/package/2006/relationships"><Relationship Id="rId3" Type="http://schemas.openxmlformats.org/officeDocument/2006/relationships/tags" Target="../tags/tag295.xml"/><Relationship Id="rId7" Type="http://schemas.openxmlformats.org/officeDocument/2006/relationships/image" Target="../media/image5.emf"/><Relationship Id="rId2" Type="http://schemas.openxmlformats.org/officeDocument/2006/relationships/tags" Target="../tags/tag294.xml"/><Relationship Id="rId1" Type="http://schemas.openxmlformats.org/officeDocument/2006/relationships/vmlDrawing" Target="../drawings/vmlDrawing156.vml"/><Relationship Id="rId6" Type="http://schemas.openxmlformats.org/officeDocument/2006/relationships/oleObject" Target="../embeddings/oleObject156.bin"/><Relationship Id="rId5" Type="http://schemas.openxmlformats.org/officeDocument/2006/relationships/notesSlide" Target="../notesSlides/notesSlide169.xml"/><Relationship Id="rId4" Type="http://schemas.openxmlformats.org/officeDocument/2006/relationships/slideLayout" Target="../slideLayouts/slideLayout15.xml"/></Relationships>
</file>

<file path=ppt/slides/_rels/slide179.xml.rels><?xml version="1.0" encoding="UTF-8" standalone="yes"?>
<Relationships xmlns="http://schemas.openxmlformats.org/package/2006/relationships"><Relationship Id="rId3" Type="http://schemas.openxmlformats.org/officeDocument/2006/relationships/tags" Target="../tags/tag297.xml"/><Relationship Id="rId7" Type="http://schemas.openxmlformats.org/officeDocument/2006/relationships/image" Target="../media/image5.emf"/><Relationship Id="rId2" Type="http://schemas.openxmlformats.org/officeDocument/2006/relationships/tags" Target="../tags/tag296.xml"/><Relationship Id="rId1" Type="http://schemas.openxmlformats.org/officeDocument/2006/relationships/vmlDrawing" Target="../drawings/vmlDrawing157.vml"/><Relationship Id="rId6" Type="http://schemas.openxmlformats.org/officeDocument/2006/relationships/oleObject" Target="../embeddings/oleObject157.bin"/><Relationship Id="rId5" Type="http://schemas.openxmlformats.org/officeDocument/2006/relationships/notesSlide" Target="../notesSlides/notesSlide170.xml"/><Relationship Id="rId4"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2" Type="http://schemas.openxmlformats.org/officeDocument/2006/relationships/slide" Target="slide2.xml"/><Relationship Id="rId1" Type="http://schemas.openxmlformats.org/officeDocument/2006/relationships/slideLayout" Target="../slideLayouts/slideLayout19.xml"/></Relationships>
</file>

<file path=ppt/slides/_rels/slide180.xml.rels><?xml version="1.0" encoding="UTF-8" standalone="yes"?>
<Relationships xmlns="http://schemas.openxmlformats.org/package/2006/relationships"><Relationship Id="rId3" Type="http://schemas.openxmlformats.org/officeDocument/2006/relationships/tags" Target="../tags/tag299.xml"/><Relationship Id="rId7" Type="http://schemas.openxmlformats.org/officeDocument/2006/relationships/image" Target="../media/image5.emf"/><Relationship Id="rId2" Type="http://schemas.openxmlformats.org/officeDocument/2006/relationships/tags" Target="../tags/tag298.xml"/><Relationship Id="rId1" Type="http://schemas.openxmlformats.org/officeDocument/2006/relationships/vmlDrawing" Target="../drawings/vmlDrawing158.vml"/><Relationship Id="rId6" Type="http://schemas.openxmlformats.org/officeDocument/2006/relationships/oleObject" Target="../embeddings/oleObject158.bin"/><Relationship Id="rId5" Type="http://schemas.openxmlformats.org/officeDocument/2006/relationships/notesSlide" Target="../notesSlides/notesSlide171.xml"/><Relationship Id="rId4" Type="http://schemas.openxmlformats.org/officeDocument/2006/relationships/slideLayout" Target="../slideLayouts/slideLayout15.xml"/></Relationships>
</file>

<file path=ppt/slides/_rels/slide181.xml.rels><?xml version="1.0" encoding="UTF-8" standalone="yes"?>
<Relationships xmlns="http://schemas.openxmlformats.org/package/2006/relationships"><Relationship Id="rId8" Type="http://schemas.openxmlformats.org/officeDocument/2006/relationships/chart" Target="../charts/chart46.xml"/><Relationship Id="rId3" Type="http://schemas.openxmlformats.org/officeDocument/2006/relationships/tags" Target="../tags/tag301.xml"/><Relationship Id="rId7" Type="http://schemas.openxmlformats.org/officeDocument/2006/relationships/image" Target="../media/image5.emf"/><Relationship Id="rId2" Type="http://schemas.openxmlformats.org/officeDocument/2006/relationships/tags" Target="../tags/tag300.xml"/><Relationship Id="rId1" Type="http://schemas.openxmlformats.org/officeDocument/2006/relationships/vmlDrawing" Target="../drawings/vmlDrawing159.vml"/><Relationship Id="rId6" Type="http://schemas.openxmlformats.org/officeDocument/2006/relationships/oleObject" Target="../embeddings/oleObject159.bin"/><Relationship Id="rId5" Type="http://schemas.openxmlformats.org/officeDocument/2006/relationships/notesSlide" Target="../notesSlides/notesSlide172.xml"/><Relationship Id="rId4" Type="http://schemas.openxmlformats.org/officeDocument/2006/relationships/slideLayout" Target="../slideLayouts/slideLayout15.xml"/></Relationships>
</file>

<file path=ppt/slides/_rels/slide182.xml.rels><?xml version="1.0" encoding="UTF-8" standalone="yes"?>
<Relationships xmlns="http://schemas.openxmlformats.org/package/2006/relationships"><Relationship Id="rId3" Type="http://schemas.openxmlformats.org/officeDocument/2006/relationships/tags" Target="../tags/tag303.xml"/><Relationship Id="rId7" Type="http://schemas.openxmlformats.org/officeDocument/2006/relationships/image" Target="../media/image5.emf"/><Relationship Id="rId2" Type="http://schemas.openxmlformats.org/officeDocument/2006/relationships/tags" Target="../tags/tag302.xml"/><Relationship Id="rId1" Type="http://schemas.openxmlformats.org/officeDocument/2006/relationships/vmlDrawing" Target="../drawings/vmlDrawing160.vml"/><Relationship Id="rId6" Type="http://schemas.openxmlformats.org/officeDocument/2006/relationships/oleObject" Target="../embeddings/oleObject160.bin"/><Relationship Id="rId5" Type="http://schemas.openxmlformats.org/officeDocument/2006/relationships/notesSlide" Target="../notesSlides/notesSlide173.xml"/><Relationship Id="rId4" Type="http://schemas.openxmlformats.org/officeDocument/2006/relationships/slideLayout" Target="../slideLayouts/slideLayout15.xml"/></Relationships>
</file>

<file path=ppt/slides/_rels/slide183.xml.rels><?xml version="1.0" encoding="UTF-8" standalone="yes"?>
<Relationships xmlns="http://schemas.openxmlformats.org/package/2006/relationships"><Relationship Id="rId8" Type="http://schemas.openxmlformats.org/officeDocument/2006/relationships/image" Target="../media/image172.png"/><Relationship Id="rId3" Type="http://schemas.openxmlformats.org/officeDocument/2006/relationships/tags" Target="../tags/tag305.xml"/><Relationship Id="rId7" Type="http://schemas.openxmlformats.org/officeDocument/2006/relationships/image" Target="../media/image5.emf"/><Relationship Id="rId2" Type="http://schemas.openxmlformats.org/officeDocument/2006/relationships/tags" Target="../tags/tag304.xml"/><Relationship Id="rId1" Type="http://schemas.openxmlformats.org/officeDocument/2006/relationships/vmlDrawing" Target="../drawings/vmlDrawing161.vml"/><Relationship Id="rId6" Type="http://schemas.openxmlformats.org/officeDocument/2006/relationships/oleObject" Target="../embeddings/oleObject161.bin"/><Relationship Id="rId11" Type="http://schemas.openxmlformats.org/officeDocument/2006/relationships/image" Target="../media/image175.gif"/><Relationship Id="rId5" Type="http://schemas.openxmlformats.org/officeDocument/2006/relationships/notesSlide" Target="../notesSlides/notesSlide174.xml"/><Relationship Id="rId10" Type="http://schemas.openxmlformats.org/officeDocument/2006/relationships/image" Target="../media/image174.png"/><Relationship Id="rId4" Type="http://schemas.openxmlformats.org/officeDocument/2006/relationships/slideLayout" Target="../slideLayouts/slideLayout15.xml"/><Relationship Id="rId9" Type="http://schemas.openxmlformats.org/officeDocument/2006/relationships/image" Target="../media/image173.png"/></Relationships>
</file>

<file path=ppt/slides/_rels/slide184.xml.rels><?xml version="1.0" encoding="UTF-8" standalone="yes"?>
<Relationships xmlns="http://schemas.openxmlformats.org/package/2006/relationships"><Relationship Id="rId3" Type="http://schemas.openxmlformats.org/officeDocument/2006/relationships/tags" Target="../tags/tag307.xml"/><Relationship Id="rId7" Type="http://schemas.openxmlformats.org/officeDocument/2006/relationships/image" Target="../media/image5.emf"/><Relationship Id="rId2" Type="http://schemas.openxmlformats.org/officeDocument/2006/relationships/tags" Target="../tags/tag306.xml"/><Relationship Id="rId1" Type="http://schemas.openxmlformats.org/officeDocument/2006/relationships/vmlDrawing" Target="../drawings/vmlDrawing162.vml"/><Relationship Id="rId6" Type="http://schemas.openxmlformats.org/officeDocument/2006/relationships/oleObject" Target="../embeddings/oleObject162.bin"/><Relationship Id="rId5" Type="http://schemas.openxmlformats.org/officeDocument/2006/relationships/notesSlide" Target="../notesSlides/notesSlide175.xml"/><Relationship Id="rId4" Type="http://schemas.openxmlformats.org/officeDocument/2006/relationships/slideLayout" Target="../slideLayouts/slideLayout15.xml"/></Relationships>
</file>

<file path=ppt/slides/_rels/slide185.xml.rels><?xml version="1.0" encoding="UTF-8" standalone="yes"?>
<Relationships xmlns="http://schemas.openxmlformats.org/package/2006/relationships"><Relationship Id="rId3" Type="http://schemas.openxmlformats.org/officeDocument/2006/relationships/tags" Target="../tags/tag309.xml"/><Relationship Id="rId7" Type="http://schemas.openxmlformats.org/officeDocument/2006/relationships/image" Target="../media/image5.emf"/><Relationship Id="rId2" Type="http://schemas.openxmlformats.org/officeDocument/2006/relationships/tags" Target="../tags/tag308.xml"/><Relationship Id="rId1" Type="http://schemas.openxmlformats.org/officeDocument/2006/relationships/vmlDrawing" Target="../drawings/vmlDrawing163.vml"/><Relationship Id="rId6" Type="http://schemas.openxmlformats.org/officeDocument/2006/relationships/oleObject" Target="../embeddings/oleObject163.bin"/><Relationship Id="rId5" Type="http://schemas.openxmlformats.org/officeDocument/2006/relationships/notesSlide" Target="../notesSlides/notesSlide176.xml"/><Relationship Id="rId4" Type="http://schemas.openxmlformats.org/officeDocument/2006/relationships/slideLayout" Target="../slideLayouts/slideLayout15.xml"/></Relationships>
</file>

<file path=ppt/slides/_rels/slide186.xml.rels><?xml version="1.0" encoding="UTF-8" standalone="yes"?>
<Relationships xmlns="http://schemas.openxmlformats.org/package/2006/relationships"><Relationship Id="rId8" Type="http://schemas.openxmlformats.org/officeDocument/2006/relationships/image" Target="../media/image176.png"/><Relationship Id="rId3" Type="http://schemas.openxmlformats.org/officeDocument/2006/relationships/tags" Target="../tags/tag311.xml"/><Relationship Id="rId7" Type="http://schemas.openxmlformats.org/officeDocument/2006/relationships/image" Target="../media/image5.emf"/><Relationship Id="rId2" Type="http://schemas.openxmlformats.org/officeDocument/2006/relationships/tags" Target="../tags/tag310.xml"/><Relationship Id="rId1" Type="http://schemas.openxmlformats.org/officeDocument/2006/relationships/vmlDrawing" Target="../drawings/vmlDrawing164.vml"/><Relationship Id="rId6" Type="http://schemas.openxmlformats.org/officeDocument/2006/relationships/oleObject" Target="../embeddings/oleObject164.bin"/><Relationship Id="rId5" Type="http://schemas.openxmlformats.org/officeDocument/2006/relationships/notesSlide" Target="../notesSlides/notesSlide177.xml"/><Relationship Id="rId4" Type="http://schemas.openxmlformats.org/officeDocument/2006/relationships/slideLayout" Target="../slideLayouts/slideLayout15.xml"/></Relationships>
</file>

<file path=ppt/slides/_rels/slide187.xml.rels><?xml version="1.0" encoding="UTF-8" standalone="yes"?>
<Relationships xmlns="http://schemas.openxmlformats.org/package/2006/relationships"><Relationship Id="rId8" Type="http://schemas.openxmlformats.org/officeDocument/2006/relationships/chart" Target="../charts/chart47.xml"/><Relationship Id="rId3" Type="http://schemas.openxmlformats.org/officeDocument/2006/relationships/tags" Target="../tags/tag313.xml"/><Relationship Id="rId7" Type="http://schemas.openxmlformats.org/officeDocument/2006/relationships/image" Target="../media/image5.emf"/><Relationship Id="rId2" Type="http://schemas.openxmlformats.org/officeDocument/2006/relationships/tags" Target="../tags/tag312.xml"/><Relationship Id="rId1" Type="http://schemas.openxmlformats.org/officeDocument/2006/relationships/vmlDrawing" Target="../drawings/vmlDrawing165.vml"/><Relationship Id="rId6" Type="http://schemas.openxmlformats.org/officeDocument/2006/relationships/oleObject" Target="../embeddings/oleObject165.bin"/><Relationship Id="rId5" Type="http://schemas.openxmlformats.org/officeDocument/2006/relationships/notesSlide" Target="../notesSlides/notesSlide178.xml"/><Relationship Id="rId4" Type="http://schemas.openxmlformats.org/officeDocument/2006/relationships/slideLayout" Target="../slideLayouts/slideLayout15.xml"/><Relationship Id="rId9" Type="http://schemas.openxmlformats.org/officeDocument/2006/relationships/image" Target="../media/image177.png"/></Relationships>
</file>

<file path=ppt/slides/_rels/slide188.xml.rels><?xml version="1.0" encoding="UTF-8" standalone="yes"?>
<Relationships xmlns="http://schemas.openxmlformats.org/package/2006/relationships"><Relationship Id="rId8" Type="http://schemas.openxmlformats.org/officeDocument/2006/relationships/image" Target="../media/image178.png"/><Relationship Id="rId13" Type="http://schemas.openxmlformats.org/officeDocument/2006/relationships/image" Target="../media/image183.png"/><Relationship Id="rId3" Type="http://schemas.openxmlformats.org/officeDocument/2006/relationships/tags" Target="../tags/tag315.xml"/><Relationship Id="rId7" Type="http://schemas.openxmlformats.org/officeDocument/2006/relationships/image" Target="../media/image5.emf"/><Relationship Id="rId12" Type="http://schemas.openxmlformats.org/officeDocument/2006/relationships/image" Target="../media/image182.png"/><Relationship Id="rId17" Type="http://schemas.microsoft.com/office/2007/relationships/hdphoto" Target="../media/hdphoto6.wdp"/><Relationship Id="rId2" Type="http://schemas.openxmlformats.org/officeDocument/2006/relationships/tags" Target="../tags/tag314.xml"/><Relationship Id="rId16" Type="http://schemas.openxmlformats.org/officeDocument/2006/relationships/image" Target="../media/image185.png"/><Relationship Id="rId1" Type="http://schemas.openxmlformats.org/officeDocument/2006/relationships/vmlDrawing" Target="../drawings/vmlDrawing166.vml"/><Relationship Id="rId6" Type="http://schemas.openxmlformats.org/officeDocument/2006/relationships/oleObject" Target="../embeddings/oleObject166.bin"/><Relationship Id="rId11" Type="http://schemas.openxmlformats.org/officeDocument/2006/relationships/image" Target="../media/image181.png"/><Relationship Id="rId5" Type="http://schemas.openxmlformats.org/officeDocument/2006/relationships/notesSlide" Target="../notesSlides/notesSlide179.xml"/><Relationship Id="rId15" Type="http://schemas.microsoft.com/office/2007/relationships/hdphoto" Target="../media/hdphoto5.wdp"/><Relationship Id="rId10" Type="http://schemas.openxmlformats.org/officeDocument/2006/relationships/image" Target="../media/image180.png"/><Relationship Id="rId4" Type="http://schemas.openxmlformats.org/officeDocument/2006/relationships/slideLayout" Target="../slideLayouts/slideLayout15.xml"/><Relationship Id="rId9" Type="http://schemas.openxmlformats.org/officeDocument/2006/relationships/image" Target="../media/image179.png"/><Relationship Id="rId14" Type="http://schemas.openxmlformats.org/officeDocument/2006/relationships/image" Target="../media/image184.png"/></Relationships>
</file>

<file path=ppt/slides/_rels/slide189.xml.rels><?xml version="1.0" encoding="UTF-8" standalone="yes"?>
<Relationships xmlns="http://schemas.openxmlformats.org/package/2006/relationships"><Relationship Id="rId8" Type="http://schemas.openxmlformats.org/officeDocument/2006/relationships/image" Target="../media/image186.png"/><Relationship Id="rId3" Type="http://schemas.openxmlformats.org/officeDocument/2006/relationships/tags" Target="../tags/tag317.xml"/><Relationship Id="rId7" Type="http://schemas.openxmlformats.org/officeDocument/2006/relationships/image" Target="../media/image5.emf"/><Relationship Id="rId2" Type="http://schemas.openxmlformats.org/officeDocument/2006/relationships/tags" Target="../tags/tag316.xml"/><Relationship Id="rId1" Type="http://schemas.openxmlformats.org/officeDocument/2006/relationships/vmlDrawing" Target="../drawings/vmlDrawing167.vml"/><Relationship Id="rId6" Type="http://schemas.openxmlformats.org/officeDocument/2006/relationships/oleObject" Target="../embeddings/oleObject167.bin"/><Relationship Id="rId5" Type="http://schemas.openxmlformats.org/officeDocument/2006/relationships/notesSlide" Target="../notesSlides/notesSlide180.xml"/><Relationship Id="rId4"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5.emf"/><Relationship Id="rId2" Type="http://schemas.openxmlformats.org/officeDocument/2006/relationships/tags" Target="../tags/tag24.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16.xml"/><Relationship Id="rId4" Type="http://schemas.openxmlformats.org/officeDocument/2006/relationships/slideLayout" Target="../slideLayouts/slideLayout14.xml"/></Relationships>
</file>

<file path=ppt/slides/_rels/slide190.xml.rels><?xml version="1.0" encoding="UTF-8" standalone="yes"?>
<Relationships xmlns="http://schemas.openxmlformats.org/package/2006/relationships"><Relationship Id="rId8" Type="http://schemas.openxmlformats.org/officeDocument/2006/relationships/image" Target="../media/image187.png"/><Relationship Id="rId13" Type="http://schemas.openxmlformats.org/officeDocument/2006/relationships/image" Target="../media/image192.png"/><Relationship Id="rId3" Type="http://schemas.openxmlformats.org/officeDocument/2006/relationships/tags" Target="../tags/tag319.xml"/><Relationship Id="rId7" Type="http://schemas.openxmlformats.org/officeDocument/2006/relationships/image" Target="../media/image5.emf"/><Relationship Id="rId12" Type="http://schemas.openxmlformats.org/officeDocument/2006/relationships/image" Target="../media/image191.png"/><Relationship Id="rId2" Type="http://schemas.openxmlformats.org/officeDocument/2006/relationships/tags" Target="../tags/tag318.xml"/><Relationship Id="rId1" Type="http://schemas.openxmlformats.org/officeDocument/2006/relationships/vmlDrawing" Target="../drawings/vmlDrawing168.vml"/><Relationship Id="rId6" Type="http://schemas.openxmlformats.org/officeDocument/2006/relationships/oleObject" Target="../embeddings/oleObject168.bin"/><Relationship Id="rId11" Type="http://schemas.openxmlformats.org/officeDocument/2006/relationships/image" Target="../media/image190.png"/><Relationship Id="rId5" Type="http://schemas.openxmlformats.org/officeDocument/2006/relationships/notesSlide" Target="../notesSlides/notesSlide181.xml"/><Relationship Id="rId10" Type="http://schemas.openxmlformats.org/officeDocument/2006/relationships/image" Target="../media/image189.png"/><Relationship Id="rId4" Type="http://schemas.openxmlformats.org/officeDocument/2006/relationships/slideLayout" Target="../slideLayouts/slideLayout15.xml"/><Relationship Id="rId9" Type="http://schemas.openxmlformats.org/officeDocument/2006/relationships/image" Target="../media/image188.png"/><Relationship Id="rId14" Type="http://schemas.openxmlformats.org/officeDocument/2006/relationships/image" Target="../media/image193.png"/></Relationships>
</file>

<file path=ppt/slides/_rels/slide19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20.xml"/><Relationship Id="rId1" Type="http://schemas.openxmlformats.org/officeDocument/2006/relationships/vmlDrawing" Target="../drawings/vmlDrawing169.vml"/><Relationship Id="rId6" Type="http://schemas.openxmlformats.org/officeDocument/2006/relationships/image" Target="../media/image5.emf"/><Relationship Id="rId5" Type="http://schemas.openxmlformats.org/officeDocument/2006/relationships/oleObject" Target="../embeddings/oleObject169.bin"/><Relationship Id="rId4" Type="http://schemas.openxmlformats.org/officeDocument/2006/relationships/notesSlide" Target="../notesSlides/notesSlide182.xml"/></Relationships>
</file>

<file path=ppt/slides/_rels/slide192.xml.rels><?xml version="1.0" encoding="UTF-8" standalone="yes"?>
<Relationships xmlns="http://schemas.openxmlformats.org/package/2006/relationships"><Relationship Id="rId8" Type="http://schemas.openxmlformats.org/officeDocument/2006/relationships/image" Target="../media/image194.png"/><Relationship Id="rId3" Type="http://schemas.openxmlformats.org/officeDocument/2006/relationships/tags" Target="../tags/tag322.xml"/><Relationship Id="rId7" Type="http://schemas.openxmlformats.org/officeDocument/2006/relationships/image" Target="../media/image5.emf"/><Relationship Id="rId2" Type="http://schemas.openxmlformats.org/officeDocument/2006/relationships/tags" Target="../tags/tag321.xml"/><Relationship Id="rId1" Type="http://schemas.openxmlformats.org/officeDocument/2006/relationships/vmlDrawing" Target="../drawings/vmlDrawing170.vml"/><Relationship Id="rId6" Type="http://schemas.openxmlformats.org/officeDocument/2006/relationships/oleObject" Target="../embeddings/oleObject170.bin"/><Relationship Id="rId5" Type="http://schemas.openxmlformats.org/officeDocument/2006/relationships/notesSlide" Target="../notesSlides/notesSlide183.xml"/><Relationship Id="rId4" Type="http://schemas.openxmlformats.org/officeDocument/2006/relationships/slideLayout" Target="../slideLayouts/slideLayout15.xml"/></Relationships>
</file>

<file path=ppt/slides/_rels/slide193.xml.rels><?xml version="1.0" encoding="UTF-8" standalone="yes"?>
<Relationships xmlns="http://schemas.openxmlformats.org/package/2006/relationships"><Relationship Id="rId3" Type="http://schemas.openxmlformats.org/officeDocument/2006/relationships/tags" Target="../tags/tag324.xml"/><Relationship Id="rId7" Type="http://schemas.openxmlformats.org/officeDocument/2006/relationships/image" Target="../media/image5.emf"/><Relationship Id="rId2" Type="http://schemas.openxmlformats.org/officeDocument/2006/relationships/tags" Target="../tags/tag323.xml"/><Relationship Id="rId1" Type="http://schemas.openxmlformats.org/officeDocument/2006/relationships/vmlDrawing" Target="../drawings/vmlDrawing171.vml"/><Relationship Id="rId6" Type="http://schemas.openxmlformats.org/officeDocument/2006/relationships/oleObject" Target="../embeddings/oleObject171.bin"/><Relationship Id="rId5" Type="http://schemas.openxmlformats.org/officeDocument/2006/relationships/notesSlide" Target="../notesSlides/notesSlide184.xml"/><Relationship Id="rId4" Type="http://schemas.openxmlformats.org/officeDocument/2006/relationships/slideLayout" Target="../slideLayouts/slideLayout15.xml"/></Relationships>
</file>

<file path=ppt/slides/_rels/slide194.xml.rels><?xml version="1.0" encoding="UTF-8" standalone="yes"?>
<Relationships xmlns="http://schemas.openxmlformats.org/package/2006/relationships"><Relationship Id="rId3" Type="http://schemas.openxmlformats.org/officeDocument/2006/relationships/tags" Target="../tags/tag326.xml"/><Relationship Id="rId7" Type="http://schemas.openxmlformats.org/officeDocument/2006/relationships/image" Target="../media/image5.emf"/><Relationship Id="rId2" Type="http://schemas.openxmlformats.org/officeDocument/2006/relationships/tags" Target="../tags/tag325.xml"/><Relationship Id="rId1" Type="http://schemas.openxmlformats.org/officeDocument/2006/relationships/vmlDrawing" Target="../drawings/vmlDrawing172.vml"/><Relationship Id="rId6" Type="http://schemas.openxmlformats.org/officeDocument/2006/relationships/oleObject" Target="../embeddings/oleObject172.bin"/><Relationship Id="rId5" Type="http://schemas.openxmlformats.org/officeDocument/2006/relationships/notesSlide" Target="../notesSlides/notesSlide185.xml"/><Relationship Id="rId4" Type="http://schemas.openxmlformats.org/officeDocument/2006/relationships/slideLayout" Target="../slideLayouts/slideLayout15.xml"/></Relationships>
</file>

<file path=ppt/slides/_rels/slide195.xml.rels><?xml version="1.0" encoding="UTF-8" standalone="yes"?>
<Relationships xmlns="http://schemas.openxmlformats.org/package/2006/relationships"><Relationship Id="rId8" Type="http://schemas.openxmlformats.org/officeDocument/2006/relationships/image" Target="../media/image195.png"/><Relationship Id="rId3" Type="http://schemas.openxmlformats.org/officeDocument/2006/relationships/tags" Target="../tags/tag328.xml"/><Relationship Id="rId7" Type="http://schemas.openxmlformats.org/officeDocument/2006/relationships/image" Target="../media/image5.emf"/><Relationship Id="rId2" Type="http://schemas.openxmlformats.org/officeDocument/2006/relationships/tags" Target="../tags/tag327.xml"/><Relationship Id="rId1" Type="http://schemas.openxmlformats.org/officeDocument/2006/relationships/vmlDrawing" Target="../drawings/vmlDrawing173.vml"/><Relationship Id="rId6" Type="http://schemas.openxmlformats.org/officeDocument/2006/relationships/oleObject" Target="../embeddings/oleObject173.bin"/><Relationship Id="rId5" Type="http://schemas.openxmlformats.org/officeDocument/2006/relationships/notesSlide" Target="../notesSlides/notesSlide186.xml"/><Relationship Id="rId4" Type="http://schemas.openxmlformats.org/officeDocument/2006/relationships/slideLayout" Target="../slideLayouts/slideLayout15.xml"/></Relationships>
</file>

<file path=ppt/slides/_rels/slide196.xml.rels><?xml version="1.0" encoding="UTF-8" standalone="yes"?>
<Relationships xmlns="http://schemas.openxmlformats.org/package/2006/relationships"><Relationship Id="rId8" Type="http://schemas.openxmlformats.org/officeDocument/2006/relationships/image" Target="../media/image196.png"/><Relationship Id="rId3" Type="http://schemas.openxmlformats.org/officeDocument/2006/relationships/tags" Target="../tags/tag330.xml"/><Relationship Id="rId7" Type="http://schemas.openxmlformats.org/officeDocument/2006/relationships/image" Target="../media/image5.emf"/><Relationship Id="rId2" Type="http://schemas.openxmlformats.org/officeDocument/2006/relationships/tags" Target="../tags/tag329.xml"/><Relationship Id="rId1" Type="http://schemas.openxmlformats.org/officeDocument/2006/relationships/vmlDrawing" Target="../drawings/vmlDrawing174.vml"/><Relationship Id="rId6" Type="http://schemas.openxmlformats.org/officeDocument/2006/relationships/oleObject" Target="../embeddings/oleObject174.bin"/><Relationship Id="rId5" Type="http://schemas.openxmlformats.org/officeDocument/2006/relationships/notesSlide" Target="../notesSlides/notesSlide187.xml"/><Relationship Id="rId4" Type="http://schemas.openxmlformats.org/officeDocument/2006/relationships/slideLayout" Target="../slideLayouts/slideLayout15.xml"/></Relationships>
</file>

<file path=ppt/slides/_rels/slide197.xml.rels><?xml version="1.0" encoding="UTF-8" standalone="yes"?>
<Relationships xmlns="http://schemas.openxmlformats.org/package/2006/relationships"><Relationship Id="rId8" Type="http://schemas.openxmlformats.org/officeDocument/2006/relationships/image" Target="../media/image196.png"/><Relationship Id="rId3" Type="http://schemas.openxmlformats.org/officeDocument/2006/relationships/tags" Target="../tags/tag332.xml"/><Relationship Id="rId7" Type="http://schemas.openxmlformats.org/officeDocument/2006/relationships/image" Target="../media/image5.emf"/><Relationship Id="rId2" Type="http://schemas.openxmlformats.org/officeDocument/2006/relationships/tags" Target="../tags/tag331.xml"/><Relationship Id="rId1" Type="http://schemas.openxmlformats.org/officeDocument/2006/relationships/vmlDrawing" Target="../drawings/vmlDrawing175.vml"/><Relationship Id="rId6" Type="http://schemas.openxmlformats.org/officeDocument/2006/relationships/oleObject" Target="../embeddings/oleObject175.bin"/><Relationship Id="rId5" Type="http://schemas.openxmlformats.org/officeDocument/2006/relationships/notesSlide" Target="../notesSlides/notesSlide188.xml"/><Relationship Id="rId4" Type="http://schemas.openxmlformats.org/officeDocument/2006/relationships/slideLayout" Target="../slideLayouts/slideLayout15.xml"/></Relationships>
</file>

<file path=ppt/slides/_rels/slide198.xml.rels><?xml version="1.0" encoding="UTF-8" standalone="yes"?>
<Relationships xmlns="http://schemas.openxmlformats.org/package/2006/relationships"><Relationship Id="rId3" Type="http://schemas.openxmlformats.org/officeDocument/2006/relationships/tags" Target="../tags/tag334.xml"/><Relationship Id="rId7" Type="http://schemas.openxmlformats.org/officeDocument/2006/relationships/image" Target="../media/image5.emf"/><Relationship Id="rId2" Type="http://schemas.openxmlformats.org/officeDocument/2006/relationships/tags" Target="../tags/tag333.xml"/><Relationship Id="rId1" Type="http://schemas.openxmlformats.org/officeDocument/2006/relationships/vmlDrawing" Target="../drawings/vmlDrawing176.vml"/><Relationship Id="rId6" Type="http://schemas.openxmlformats.org/officeDocument/2006/relationships/oleObject" Target="../embeddings/oleObject176.bin"/><Relationship Id="rId5" Type="http://schemas.openxmlformats.org/officeDocument/2006/relationships/notesSlide" Target="../notesSlides/notesSlide189.xml"/><Relationship Id="rId4" Type="http://schemas.openxmlformats.org/officeDocument/2006/relationships/slideLayout" Target="../slideLayouts/slideLayout15.xml"/></Relationships>
</file>

<file path=ppt/slides/_rels/slide199.xml.rels><?xml version="1.0" encoding="UTF-8" standalone="yes"?>
<Relationships xmlns="http://schemas.openxmlformats.org/package/2006/relationships"><Relationship Id="rId3" Type="http://schemas.openxmlformats.org/officeDocument/2006/relationships/tags" Target="../tags/tag336.xml"/><Relationship Id="rId7" Type="http://schemas.openxmlformats.org/officeDocument/2006/relationships/image" Target="../media/image5.emf"/><Relationship Id="rId2" Type="http://schemas.openxmlformats.org/officeDocument/2006/relationships/tags" Target="../tags/tag335.xml"/><Relationship Id="rId1" Type="http://schemas.openxmlformats.org/officeDocument/2006/relationships/vmlDrawing" Target="../drawings/vmlDrawing177.vml"/><Relationship Id="rId6" Type="http://schemas.openxmlformats.org/officeDocument/2006/relationships/oleObject" Target="../embeddings/oleObject177.bin"/><Relationship Id="rId5" Type="http://schemas.openxmlformats.org/officeDocument/2006/relationships/notesSlide" Target="../notesSlides/notesSlide190.xml"/><Relationship Id="rId4"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8" Type="http://schemas.openxmlformats.org/officeDocument/2006/relationships/slide" Target="slide9.xml"/><Relationship Id="rId13" Type="http://schemas.openxmlformats.org/officeDocument/2006/relationships/slide" Target="slide133.xml"/><Relationship Id="rId18" Type="http://schemas.openxmlformats.org/officeDocument/2006/relationships/slide" Target="slide38.xml"/><Relationship Id="rId3" Type="http://schemas.openxmlformats.org/officeDocument/2006/relationships/tags" Target="../tags/tag7.xml"/><Relationship Id="rId7" Type="http://schemas.openxmlformats.org/officeDocument/2006/relationships/image" Target="../media/image1.emf"/><Relationship Id="rId12" Type="http://schemas.openxmlformats.org/officeDocument/2006/relationships/slide" Target="slide93.xml"/><Relationship Id="rId17" Type="http://schemas.openxmlformats.org/officeDocument/2006/relationships/slide" Target="slide247.xml"/><Relationship Id="rId2" Type="http://schemas.openxmlformats.org/officeDocument/2006/relationships/tags" Target="../tags/tag6.xml"/><Relationship Id="rId16" Type="http://schemas.openxmlformats.org/officeDocument/2006/relationships/slide" Target="slide236.xml"/><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slide" Target="slide75.xml"/><Relationship Id="rId5" Type="http://schemas.openxmlformats.org/officeDocument/2006/relationships/notesSlide" Target="../notesSlides/notesSlide2.xml"/><Relationship Id="rId15" Type="http://schemas.openxmlformats.org/officeDocument/2006/relationships/slide" Target="slide207.xml"/><Relationship Id="rId10" Type="http://schemas.openxmlformats.org/officeDocument/2006/relationships/slide" Target="slide18.xml"/><Relationship Id="rId19" Type="http://schemas.openxmlformats.org/officeDocument/2006/relationships/slide" Target="slide29.xml"/><Relationship Id="rId4" Type="http://schemas.openxmlformats.org/officeDocument/2006/relationships/slideLayout" Target="../slideLayouts/slideLayout15.xml"/><Relationship Id="rId9" Type="http://schemas.openxmlformats.org/officeDocument/2006/relationships/slide" Target="slide3.xml"/><Relationship Id="rId14" Type="http://schemas.openxmlformats.org/officeDocument/2006/relationships/slide" Target="slide16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6.xml"/><Relationship Id="rId1" Type="http://schemas.openxmlformats.org/officeDocument/2006/relationships/vmlDrawing" Target="../drawings/vmlDrawing17.vml"/><Relationship Id="rId6" Type="http://schemas.openxmlformats.org/officeDocument/2006/relationships/image" Target="../media/image5.emf"/><Relationship Id="rId5" Type="http://schemas.openxmlformats.org/officeDocument/2006/relationships/oleObject" Target="../embeddings/oleObject17.bin"/><Relationship Id="rId4" Type="http://schemas.openxmlformats.org/officeDocument/2006/relationships/notesSlide" Target="../notesSlides/notesSlide17.xml"/></Relationships>
</file>

<file path=ppt/slides/_rels/slide200.xml.rels><?xml version="1.0" encoding="UTF-8" standalone="yes"?>
<Relationships xmlns="http://schemas.openxmlformats.org/package/2006/relationships"><Relationship Id="rId3" Type="http://schemas.openxmlformats.org/officeDocument/2006/relationships/tags" Target="../tags/tag338.xml"/><Relationship Id="rId7" Type="http://schemas.openxmlformats.org/officeDocument/2006/relationships/image" Target="../media/image5.emf"/><Relationship Id="rId2" Type="http://schemas.openxmlformats.org/officeDocument/2006/relationships/tags" Target="../tags/tag337.xml"/><Relationship Id="rId1" Type="http://schemas.openxmlformats.org/officeDocument/2006/relationships/vmlDrawing" Target="../drawings/vmlDrawing178.vml"/><Relationship Id="rId6" Type="http://schemas.openxmlformats.org/officeDocument/2006/relationships/oleObject" Target="../embeddings/oleObject178.bin"/><Relationship Id="rId5" Type="http://schemas.openxmlformats.org/officeDocument/2006/relationships/notesSlide" Target="../notesSlides/notesSlide191.xml"/><Relationship Id="rId4" Type="http://schemas.openxmlformats.org/officeDocument/2006/relationships/slideLayout" Target="../slideLayouts/slideLayout15.xml"/></Relationships>
</file>

<file path=ppt/slides/_rels/slide201.xml.rels><?xml version="1.0" encoding="UTF-8" standalone="yes"?>
<Relationships xmlns="http://schemas.openxmlformats.org/package/2006/relationships"><Relationship Id="rId3" Type="http://schemas.openxmlformats.org/officeDocument/2006/relationships/tags" Target="../tags/tag340.xml"/><Relationship Id="rId7" Type="http://schemas.openxmlformats.org/officeDocument/2006/relationships/image" Target="../media/image5.emf"/><Relationship Id="rId2" Type="http://schemas.openxmlformats.org/officeDocument/2006/relationships/tags" Target="../tags/tag339.xml"/><Relationship Id="rId1" Type="http://schemas.openxmlformats.org/officeDocument/2006/relationships/vmlDrawing" Target="../drawings/vmlDrawing179.vml"/><Relationship Id="rId6" Type="http://schemas.openxmlformats.org/officeDocument/2006/relationships/oleObject" Target="../embeddings/oleObject179.bin"/><Relationship Id="rId5" Type="http://schemas.openxmlformats.org/officeDocument/2006/relationships/notesSlide" Target="../notesSlides/notesSlide192.xml"/><Relationship Id="rId4" Type="http://schemas.openxmlformats.org/officeDocument/2006/relationships/slideLayout" Target="../slideLayouts/slideLayout15.xml"/></Relationships>
</file>

<file path=ppt/slides/_rels/slide202.xml.rels><?xml version="1.0" encoding="UTF-8" standalone="yes"?>
<Relationships xmlns="http://schemas.openxmlformats.org/package/2006/relationships"><Relationship Id="rId8" Type="http://schemas.openxmlformats.org/officeDocument/2006/relationships/image" Target="../media/image197.jpeg"/><Relationship Id="rId13" Type="http://schemas.openxmlformats.org/officeDocument/2006/relationships/image" Target="../media/image202.jpeg"/><Relationship Id="rId3" Type="http://schemas.openxmlformats.org/officeDocument/2006/relationships/tags" Target="../tags/tag342.xml"/><Relationship Id="rId7" Type="http://schemas.openxmlformats.org/officeDocument/2006/relationships/image" Target="../media/image5.emf"/><Relationship Id="rId12" Type="http://schemas.openxmlformats.org/officeDocument/2006/relationships/image" Target="../media/image201.jpeg"/><Relationship Id="rId2" Type="http://schemas.openxmlformats.org/officeDocument/2006/relationships/tags" Target="../tags/tag341.xml"/><Relationship Id="rId1" Type="http://schemas.openxmlformats.org/officeDocument/2006/relationships/vmlDrawing" Target="../drawings/vmlDrawing180.vml"/><Relationship Id="rId6" Type="http://schemas.openxmlformats.org/officeDocument/2006/relationships/oleObject" Target="../embeddings/oleObject180.bin"/><Relationship Id="rId11" Type="http://schemas.openxmlformats.org/officeDocument/2006/relationships/image" Target="../media/image200.jpeg"/><Relationship Id="rId5" Type="http://schemas.openxmlformats.org/officeDocument/2006/relationships/notesSlide" Target="../notesSlides/notesSlide193.xml"/><Relationship Id="rId10" Type="http://schemas.openxmlformats.org/officeDocument/2006/relationships/image" Target="../media/image199.jpeg"/><Relationship Id="rId4" Type="http://schemas.openxmlformats.org/officeDocument/2006/relationships/slideLayout" Target="../slideLayouts/slideLayout15.xml"/><Relationship Id="rId9" Type="http://schemas.openxmlformats.org/officeDocument/2006/relationships/image" Target="../media/image198.jpeg"/><Relationship Id="rId14" Type="http://schemas.openxmlformats.org/officeDocument/2006/relationships/image" Target="../media/image203.jpeg"/></Relationships>
</file>

<file path=ppt/slides/_rels/slide203.xml.rels><?xml version="1.0" encoding="UTF-8" standalone="yes"?>
<Relationships xmlns="http://schemas.openxmlformats.org/package/2006/relationships"><Relationship Id="rId3" Type="http://schemas.openxmlformats.org/officeDocument/2006/relationships/tags" Target="../tags/tag344.xml"/><Relationship Id="rId7" Type="http://schemas.openxmlformats.org/officeDocument/2006/relationships/image" Target="../media/image5.emf"/><Relationship Id="rId2" Type="http://schemas.openxmlformats.org/officeDocument/2006/relationships/tags" Target="../tags/tag343.xml"/><Relationship Id="rId1" Type="http://schemas.openxmlformats.org/officeDocument/2006/relationships/vmlDrawing" Target="../drawings/vmlDrawing181.vml"/><Relationship Id="rId6" Type="http://schemas.openxmlformats.org/officeDocument/2006/relationships/oleObject" Target="../embeddings/oleObject181.bin"/><Relationship Id="rId5" Type="http://schemas.openxmlformats.org/officeDocument/2006/relationships/notesSlide" Target="../notesSlides/notesSlide194.xml"/><Relationship Id="rId4" Type="http://schemas.openxmlformats.org/officeDocument/2006/relationships/slideLayout" Target="../slideLayouts/slideLayout15.xml"/></Relationships>
</file>

<file path=ppt/slides/_rels/slide204.xml.rels><?xml version="1.0" encoding="UTF-8" standalone="yes"?>
<Relationships xmlns="http://schemas.openxmlformats.org/package/2006/relationships"><Relationship Id="rId3" Type="http://schemas.openxmlformats.org/officeDocument/2006/relationships/tags" Target="../tags/tag346.xml"/><Relationship Id="rId7" Type="http://schemas.openxmlformats.org/officeDocument/2006/relationships/image" Target="../media/image5.emf"/><Relationship Id="rId2" Type="http://schemas.openxmlformats.org/officeDocument/2006/relationships/tags" Target="../tags/tag345.xml"/><Relationship Id="rId1" Type="http://schemas.openxmlformats.org/officeDocument/2006/relationships/vmlDrawing" Target="../drawings/vmlDrawing182.vml"/><Relationship Id="rId6" Type="http://schemas.openxmlformats.org/officeDocument/2006/relationships/oleObject" Target="../embeddings/oleObject182.bin"/><Relationship Id="rId5" Type="http://schemas.openxmlformats.org/officeDocument/2006/relationships/notesSlide" Target="../notesSlides/notesSlide195.xml"/><Relationship Id="rId4" Type="http://schemas.openxmlformats.org/officeDocument/2006/relationships/slideLayout" Target="../slideLayouts/slideLayout15.xml"/></Relationships>
</file>

<file path=ppt/slides/_rels/slide205.xml.rels><?xml version="1.0" encoding="UTF-8" standalone="yes"?>
<Relationships xmlns="http://schemas.openxmlformats.org/package/2006/relationships"><Relationship Id="rId8" Type="http://schemas.openxmlformats.org/officeDocument/2006/relationships/image" Target="../media/image204.png"/><Relationship Id="rId13" Type="http://schemas.openxmlformats.org/officeDocument/2006/relationships/image" Target="../media/image209.png"/><Relationship Id="rId3" Type="http://schemas.openxmlformats.org/officeDocument/2006/relationships/tags" Target="../tags/tag348.xml"/><Relationship Id="rId7" Type="http://schemas.openxmlformats.org/officeDocument/2006/relationships/image" Target="../media/image1.emf"/><Relationship Id="rId12" Type="http://schemas.openxmlformats.org/officeDocument/2006/relationships/image" Target="../media/image208.png"/><Relationship Id="rId2" Type="http://schemas.openxmlformats.org/officeDocument/2006/relationships/tags" Target="../tags/tag347.xml"/><Relationship Id="rId1" Type="http://schemas.openxmlformats.org/officeDocument/2006/relationships/vmlDrawing" Target="../drawings/vmlDrawing183.vml"/><Relationship Id="rId6" Type="http://schemas.openxmlformats.org/officeDocument/2006/relationships/oleObject" Target="../embeddings/oleObject183.bin"/><Relationship Id="rId11" Type="http://schemas.openxmlformats.org/officeDocument/2006/relationships/image" Target="../media/image207.png"/><Relationship Id="rId5" Type="http://schemas.openxmlformats.org/officeDocument/2006/relationships/notesSlide" Target="../notesSlides/notesSlide196.xml"/><Relationship Id="rId15" Type="http://schemas.openxmlformats.org/officeDocument/2006/relationships/image" Target="../media/image211.jpg"/><Relationship Id="rId10" Type="http://schemas.openxmlformats.org/officeDocument/2006/relationships/image" Target="../media/image206.png"/><Relationship Id="rId4" Type="http://schemas.openxmlformats.org/officeDocument/2006/relationships/slideLayout" Target="../slideLayouts/slideLayout15.xml"/><Relationship Id="rId9" Type="http://schemas.openxmlformats.org/officeDocument/2006/relationships/image" Target="../media/image205.png"/><Relationship Id="rId14" Type="http://schemas.openxmlformats.org/officeDocument/2006/relationships/image" Target="../media/image210.png"/></Relationships>
</file>

<file path=ppt/slides/_rels/slide206.xml.rels><?xml version="1.0" encoding="UTF-8" standalone="yes"?>
<Relationships xmlns="http://schemas.openxmlformats.org/package/2006/relationships"><Relationship Id="rId3" Type="http://schemas.openxmlformats.org/officeDocument/2006/relationships/tags" Target="../tags/tag350.xml"/><Relationship Id="rId7" Type="http://schemas.openxmlformats.org/officeDocument/2006/relationships/image" Target="../media/image1.emf"/><Relationship Id="rId2" Type="http://schemas.openxmlformats.org/officeDocument/2006/relationships/tags" Target="../tags/tag349.xml"/><Relationship Id="rId1" Type="http://schemas.openxmlformats.org/officeDocument/2006/relationships/vmlDrawing" Target="../drawings/vmlDrawing184.vml"/><Relationship Id="rId6" Type="http://schemas.openxmlformats.org/officeDocument/2006/relationships/oleObject" Target="../embeddings/oleObject184.bin"/><Relationship Id="rId5" Type="http://schemas.openxmlformats.org/officeDocument/2006/relationships/notesSlide" Target="../notesSlides/notesSlide197.xml"/><Relationship Id="rId4" Type="http://schemas.openxmlformats.org/officeDocument/2006/relationships/slideLayout" Target="../slideLayouts/slideLayout15.xml"/></Relationships>
</file>

<file path=ppt/slides/_rels/slide207.xml.rels><?xml version="1.0" encoding="UTF-8" standalone="yes"?>
<Relationships xmlns="http://schemas.openxmlformats.org/package/2006/relationships"><Relationship Id="rId2" Type="http://schemas.openxmlformats.org/officeDocument/2006/relationships/slide" Target="slide2.xml"/><Relationship Id="rId1" Type="http://schemas.openxmlformats.org/officeDocument/2006/relationships/slideLayout" Target="../slideLayouts/slideLayout19.xml"/></Relationships>
</file>

<file path=ppt/slides/_rels/slide208.xml.rels><?xml version="1.0" encoding="UTF-8" standalone="yes"?>
<Relationships xmlns="http://schemas.openxmlformats.org/package/2006/relationships"><Relationship Id="rId3" Type="http://schemas.openxmlformats.org/officeDocument/2006/relationships/tags" Target="../tags/tag352.xml"/><Relationship Id="rId7" Type="http://schemas.openxmlformats.org/officeDocument/2006/relationships/image" Target="../media/image1.emf"/><Relationship Id="rId2" Type="http://schemas.openxmlformats.org/officeDocument/2006/relationships/tags" Target="../tags/tag351.xml"/><Relationship Id="rId1" Type="http://schemas.openxmlformats.org/officeDocument/2006/relationships/vmlDrawing" Target="../drawings/vmlDrawing185.vml"/><Relationship Id="rId6" Type="http://schemas.openxmlformats.org/officeDocument/2006/relationships/oleObject" Target="../embeddings/oleObject185.bin"/><Relationship Id="rId5" Type="http://schemas.openxmlformats.org/officeDocument/2006/relationships/notesSlide" Target="../notesSlides/notesSlide198.xml"/><Relationship Id="rId4" Type="http://schemas.openxmlformats.org/officeDocument/2006/relationships/slideLayout" Target="../slideLayouts/slideLayout15.xml"/></Relationships>
</file>

<file path=ppt/slides/_rels/slide209.xml.rels><?xml version="1.0" encoding="UTF-8" standalone="yes"?>
<Relationships xmlns="http://schemas.openxmlformats.org/package/2006/relationships"><Relationship Id="rId8" Type="http://schemas.openxmlformats.org/officeDocument/2006/relationships/image" Target="../media/image212.emf"/><Relationship Id="rId3" Type="http://schemas.openxmlformats.org/officeDocument/2006/relationships/tags" Target="../tags/tag354.xml"/><Relationship Id="rId7" Type="http://schemas.openxmlformats.org/officeDocument/2006/relationships/image" Target="../media/image1.emf"/><Relationship Id="rId2" Type="http://schemas.openxmlformats.org/officeDocument/2006/relationships/tags" Target="../tags/tag353.xml"/><Relationship Id="rId1" Type="http://schemas.openxmlformats.org/officeDocument/2006/relationships/vmlDrawing" Target="../drawings/vmlDrawing186.vml"/><Relationship Id="rId6" Type="http://schemas.openxmlformats.org/officeDocument/2006/relationships/oleObject" Target="../embeddings/oleObject186.bin"/><Relationship Id="rId5" Type="http://schemas.openxmlformats.org/officeDocument/2006/relationships/notesSlide" Target="../notesSlides/notesSlide199.xml"/><Relationship Id="rId4"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27.xml"/><Relationship Id="rId1" Type="http://schemas.openxmlformats.org/officeDocument/2006/relationships/vmlDrawing" Target="../drawings/vmlDrawing18.vml"/><Relationship Id="rId6" Type="http://schemas.openxmlformats.org/officeDocument/2006/relationships/image" Target="../media/image5.emf"/><Relationship Id="rId5" Type="http://schemas.openxmlformats.org/officeDocument/2006/relationships/oleObject" Target="../embeddings/oleObject18.bin"/><Relationship Id="rId4" Type="http://schemas.openxmlformats.org/officeDocument/2006/relationships/notesSlide" Target="../notesSlides/notesSlide18.xml"/></Relationships>
</file>

<file path=ppt/slides/_rels/slide210.xml.rels><?xml version="1.0" encoding="UTF-8" standalone="yes"?>
<Relationships xmlns="http://schemas.openxmlformats.org/package/2006/relationships"><Relationship Id="rId3" Type="http://schemas.openxmlformats.org/officeDocument/2006/relationships/tags" Target="../tags/tag356.xml"/><Relationship Id="rId7" Type="http://schemas.openxmlformats.org/officeDocument/2006/relationships/image" Target="../media/image1.emf"/><Relationship Id="rId2" Type="http://schemas.openxmlformats.org/officeDocument/2006/relationships/tags" Target="../tags/tag355.xml"/><Relationship Id="rId1" Type="http://schemas.openxmlformats.org/officeDocument/2006/relationships/vmlDrawing" Target="../drawings/vmlDrawing187.vml"/><Relationship Id="rId6" Type="http://schemas.openxmlformats.org/officeDocument/2006/relationships/oleObject" Target="../embeddings/oleObject187.bin"/><Relationship Id="rId5" Type="http://schemas.openxmlformats.org/officeDocument/2006/relationships/notesSlide" Target="../notesSlides/notesSlide200.xml"/><Relationship Id="rId4" Type="http://schemas.openxmlformats.org/officeDocument/2006/relationships/slideLayout" Target="../slideLayouts/slideLayout15.xml"/></Relationships>
</file>

<file path=ppt/slides/_rels/slide211.xml.rels><?xml version="1.0" encoding="UTF-8" standalone="yes"?>
<Relationships xmlns="http://schemas.openxmlformats.org/package/2006/relationships"><Relationship Id="rId3" Type="http://schemas.openxmlformats.org/officeDocument/2006/relationships/tags" Target="../tags/tag358.xml"/><Relationship Id="rId7" Type="http://schemas.openxmlformats.org/officeDocument/2006/relationships/image" Target="../media/image1.emf"/><Relationship Id="rId2" Type="http://schemas.openxmlformats.org/officeDocument/2006/relationships/tags" Target="../tags/tag357.xml"/><Relationship Id="rId1" Type="http://schemas.openxmlformats.org/officeDocument/2006/relationships/vmlDrawing" Target="../drawings/vmlDrawing188.vml"/><Relationship Id="rId6" Type="http://schemas.openxmlformats.org/officeDocument/2006/relationships/oleObject" Target="../embeddings/oleObject188.bin"/><Relationship Id="rId5" Type="http://schemas.openxmlformats.org/officeDocument/2006/relationships/notesSlide" Target="../notesSlides/notesSlide201.xml"/><Relationship Id="rId4" Type="http://schemas.openxmlformats.org/officeDocument/2006/relationships/slideLayout" Target="../slideLayouts/slideLayout15.xml"/></Relationships>
</file>

<file path=ppt/slides/_rels/slide212.xml.rels><?xml version="1.0" encoding="UTF-8" standalone="yes"?>
<Relationships xmlns="http://schemas.openxmlformats.org/package/2006/relationships"><Relationship Id="rId3" Type="http://schemas.openxmlformats.org/officeDocument/2006/relationships/tags" Target="../tags/tag360.xml"/><Relationship Id="rId7" Type="http://schemas.openxmlformats.org/officeDocument/2006/relationships/image" Target="../media/image1.emf"/><Relationship Id="rId2" Type="http://schemas.openxmlformats.org/officeDocument/2006/relationships/tags" Target="../tags/tag359.xml"/><Relationship Id="rId1" Type="http://schemas.openxmlformats.org/officeDocument/2006/relationships/vmlDrawing" Target="../drawings/vmlDrawing189.vml"/><Relationship Id="rId6" Type="http://schemas.openxmlformats.org/officeDocument/2006/relationships/oleObject" Target="../embeddings/oleObject189.bin"/><Relationship Id="rId5" Type="http://schemas.openxmlformats.org/officeDocument/2006/relationships/notesSlide" Target="../notesSlides/notesSlide202.xml"/><Relationship Id="rId4" Type="http://schemas.openxmlformats.org/officeDocument/2006/relationships/slideLayout" Target="../slideLayouts/slideLayout15.xml"/></Relationships>
</file>

<file path=ppt/slides/_rels/slide213.xml.rels><?xml version="1.0" encoding="UTF-8" standalone="yes"?>
<Relationships xmlns="http://schemas.openxmlformats.org/package/2006/relationships"><Relationship Id="rId3" Type="http://schemas.openxmlformats.org/officeDocument/2006/relationships/tags" Target="../tags/tag362.xml"/><Relationship Id="rId7" Type="http://schemas.openxmlformats.org/officeDocument/2006/relationships/image" Target="../media/image1.emf"/><Relationship Id="rId2" Type="http://schemas.openxmlformats.org/officeDocument/2006/relationships/tags" Target="../tags/tag361.xml"/><Relationship Id="rId1" Type="http://schemas.openxmlformats.org/officeDocument/2006/relationships/vmlDrawing" Target="../drawings/vmlDrawing190.vml"/><Relationship Id="rId6" Type="http://schemas.openxmlformats.org/officeDocument/2006/relationships/oleObject" Target="../embeddings/oleObject190.bin"/><Relationship Id="rId5" Type="http://schemas.openxmlformats.org/officeDocument/2006/relationships/notesSlide" Target="../notesSlides/notesSlide203.xml"/><Relationship Id="rId4" Type="http://schemas.openxmlformats.org/officeDocument/2006/relationships/slideLayout" Target="../slideLayouts/slideLayout15.xml"/></Relationships>
</file>

<file path=ppt/slides/_rels/slide214.xml.rels><?xml version="1.0" encoding="UTF-8" standalone="yes"?>
<Relationships xmlns="http://schemas.openxmlformats.org/package/2006/relationships"><Relationship Id="rId8" Type="http://schemas.openxmlformats.org/officeDocument/2006/relationships/image" Target="../media/image213.jpeg"/><Relationship Id="rId3" Type="http://schemas.openxmlformats.org/officeDocument/2006/relationships/tags" Target="../tags/tag364.xml"/><Relationship Id="rId7" Type="http://schemas.openxmlformats.org/officeDocument/2006/relationships/image" Target="../media/image1.emf"/><Relationship Id="rId2" Type="http://schemas.openxmlformats.org/officeDocument/2006/relationships/tags" Target="../tags/tag363.xml"/><Relationship Id="rId1" Type="http://schemas.openxmlformats.org/officeDocument/2006/relationships/vmlDrawing" Target="../drawings/vmlDrawing191.vml"/><Relationship Id="rId6" Type="http://schemas.openxmlformats.org/officeDocument/2006/relationships/oleObject" Target="../embeddings/oleObject191.bin"/><Relationship Id="rId5" Type="http://schemas.openxmlformats.org/officeDocument/2006/relationships/notesSlide" Target="../notesSlides/notesSlide204.xml"/><Relationship Id="rId4" Type="http://schemas.openxmlformats.org/officeDocument/2006/relationships/slideLayout" Target="../slideLayouts/slideLayout15.xml"/></Relationships>
</file>

<file path=ppt/slides/_rels/slide215.xml.rels><?xml version="1.0" encoding="UTF-8" standalone="yes"?>
<Relationships xmlns="http://schemas.openxmlformats.org/package/2006/relationships"><Relationship Id="rId3" Type="http://schemas.openxmlformats.org/officeDocument/2006/relationships/tags" Target="../tags/tag366.xml"/><Relationship Id="rId7" Type="http://schemas.openxmlformats.org/officeDocument/2006/relationships/image" Target="../media/image1.emf"/><Relationship Id="rId2" Type="http://schemas.openxmlformats.org/officeDocument/2006/relationships/tags" Target="../tags/tag365.xml"/><Relationship Id="rId1" Type="http://schemas.openxmlformats.org/officeDocument/2006/relationships/vmlDrawing" Target="../drawings/vmlDrawing192.vml"/><Relationship Id="rId6" Type="http://schemas.openxmlformats.org/officeDocument/2006/relationships/oleObject" Target="../embeddings/oleObject192.bin"/><Relationship Id="rId5" Type="http://schemas.openxmlformats.org/officeDocument/2006/relationships/notesSlide" Target="../notesSlides/notesSlide205.xml"/><Relationship Id="rId4" Type="http://schemas.openxmlformats.org/officeDocument/2006/relationships/slideLayout" Target="../slideLayouts/slideLayout15.xml"/></Relationships>
</file>

<file path=ppt/slides/_rels/slide216.xml.rels><?xml version="1.0" encoding="UTF-8" standalone="yes"?>
<Relationships xmlns="http://schemas.openxmlformats.org/package/2006/relationships"><Relationship Id="rId3" Type="http://schemas.openxmlformats.org/officeDocument/2006/relationships/tags" Target="../tags/tag368.xml"/><Relationship Id="rId7" Type="http://schemas.openxmlformats.org/officeDocument/2006/relationships/image" Target="../media/image1.emf"/><Relationship Id="rId2" Type="http://schemas.openxmlformats.org/officeDocument/2006/relationships/tags" Target="../tags/tag367.xml"/><Relationship Id="rId1" Type="http://schemas.openxmlformats.org/officeDocument/2006/relationships/vmlDrawing" Target="../drawings/vmlDrawing193.vml"/><Relationship Id="rId6" Type="http://schemas.openxmlformats.org/officeDocument/2006/relationships/oleObject" Target="../embeddings/oleObject193.bin"/><Relationship Id="rId5" Type="http://schemas.openxmlformats.org/officeDocument/2006/relationships/notesSlide" Target="../notesSlides/notesSlide206.xml"/><Relationship Id="rId4" Type="http://schemas.openxmlformats.org/officeDocument/2006/relationships/slideLayout" Target="../slideLayouts/slideLayout15.xml"/></Relationships>
</file>

<file path=ppt/slides/_rels/slide217.xml.rels><?xml version="1.0" encoding="UTF-8" standalone="yes"?>
<Relationships xmlns="http://schemas.openxmlformats.org/package/2006/relationships"><Relationship Id="rId3" Type="http://schemas.openxmlformats.org/officeDocument/2006/relationships/tags" Target="../tags/tag370.xml"/><Relationship Id="rId7" Type="http://schemas.openxmlformats.org/officeDocument/2006/relationships/image" Target="../media/image1.emf"/><Relationship Id="rId2" Type="http://schemas.openxmlformats.org/officeDocument/2006/relationships/tags" Target="../tags/tag369.xml"/><Relationship Id="rId1" Type="http://schemas.openxmlformats.org/officeDocument/2006/relationships/vmlDrawing" Target="../drawings/vmlDrawing194.vml"/><Relationship Id="rId6" Type="http://schemas.openxmlformats.org/officeDocument/2006/relationships/oleObject" Target="../embeddings/oleObject194.bin"/><Relationship Id="rId5" Type="http://schemas.openxmlformats.org/officeDocument/2006/relationships/notesSlide" Target="../notesSlides/notesSlide207.xml"/><Relationship Id="rId4" Type="http://schemas.openxmlformats.org/officeDocument/2006/relationships/slideLayout" Target="../slideLayouts/slideLayout17.xml"/></Relationships>
</file>

<file path=ppt/slides/_rels/slide218.xml.rels><?xml version="1.0" encoding="UTF-8" standalone="yes"?>
<Relationships xmlns="http://schemas.openxmlformats.org/package/2006/relationships"><Relationship Id="rId3" Type="http://schemas.openxmlformats.org/officeDocument/2006/relationships/tags" Target="../tags/tag372.xml"/><Relationship Id="rId7" Type="http://schemas.openxmlformats.org/officeDocument/2006/relationships/image" Target="../media/image1.emf"/><Relationship Id="rId2" Type="http://schemas.openxmlformats.org/officeDocument/2006/relationships/tags" Target="../tags/tag371.xml"/><Relationship Id="rId1" Type="http://schemas.openxmlformats.org/officeDocument/2006/relationships/vmlDrawing" Target="../drawings/vmlDrawing195.vml"/><Relationship Id="rId6" Type="http://schemas.openxmlformats.org/officeDocument/2006/relationships/oleObject" Target="../embeddings/oleObject195.bin"/><Relationship Id="rId5" Type="http://schemas.openxmlformats.org/officeDocument/2006/relationships/notesSlide" Target="../notesSlides/notesSlide208.xml"/><Relationship Id="rId4" Type="http://schemas.openxmlformats.org/officeDocument/2006/relationships/slideLayout" Target="../slideLayouts/slideLayout15.xml"/></Relationships>
</file>

<file path=ppt/slides/_rels/slide219.xml.rels><?xml version="1.0" encoding="UTF-8" standalone="yes"?>
<Relationships xmlns="http://schemas.openxmlformats.org/package/2006/relationships"><Relationship Id="rId3" Type="http://schemas.openxmlformats.org/officeDocument/2006/relationships/tags" Target="../tags/tag374.xml"/><Relationship Id="rId7" Type="http://schemas.openxmlformats.org/officeDocument/2006/relationships/image" Target="../media/image1.emf"/><Relationship Id="rId2" Type="http://schemas.openxmlformats.org/officeDocument/2006/relationships/tags" Target="../tags/tag373.xml"/><Relationship Id="rId1" Type="http://schemas.openxmlformats.org/officeDocument/2006/relationships/vmlDrawing" Target="../drawings/vmlDrawing196.vml"/><Relationship Id="rId6" Type="http://schemas.openxmlformats.org/officeDocument/2006/relationships/oleObject" Target="../embeddings/oleObject196.bin"/><Relationship Id="rId5" Type="http://schemas.openxmlformats.org/officeDocument/2006/relationships/notesSlide" Target="../notesSlides/notesSlide209.xml"/><Relationship Id="rId4"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9.xml"/><Relationship Id="rId1" Type="http://schemas.openxmlformats.org/officeDocument/2006/relationships/slideLayout" Target="../slideLayouts/slideLayout21.xml"/><Relationship Id="rId4" Type="http://schemas.microsoft.com/office/2007/relationships/hdphoto" Target="../media/hdphoto1.wdp"/></Relationships>
</file>

<file path=ppt/slides/_rels/slide220.xml.rels><?xml version="1.0" encoding="UTF-8" standalone="yes"?>
<Relationships xmlns="http://schemas.openxmlformats.org/package/2006/relationships"><Relationship Id="rId3" Type="http://schemas.openxmlformats.org/officeDocument/2006/relationships/tags" Target="../tags/tag376.xml"/><Relationship Id="rId7" Type="http://schemas.openxmlformats.org/officeDocument/2006/relationships/image" Target="../media/image1.emf"/><Relationship Id="rId2" Type="http://schemas.openxmlformats.org/officeDocument/2006/relationships/tags" Target="../tags/tag375.xml"/><Relationship Id="rId1" Type="http://schemas.openxmlformats.org/officeDocument/2006/relationships/vmlDrawing" Target="../drawings/vmlDrawing197.vml"/><Relationship Id="rId6" Type="http://schemas.openxmlformats.org/officeDocument/2006/relationships/oleObject" Target="../embeddings/oleObject197.bin"/><Relationship Id="rId5" Type="http://schemas.openxmlformats.org/officeDocument/2006/relationships/notesSlide" Target="../notesSlides/notesSlide210.xml"/><Relationship Id="rId4" Type="http://schemas.openxmlformats.org/officeDocument/2006/relationships/slideLayout" Target="../slideLayouts/slideLayout15.xml"/></Relationships>
</file>

<file path=ppt/slides/_rels/slide221.xml.rels><?xml version="1.0" encoding="UTF-8" standalone="yes"?>
<Relationships xmlns="http://schemas.openxmlformats.org/package/2006/relationships"><Relationship Id="rId2" Type="http://schemas.openxmlformats.org/officeDocument/2006/relationships/notesSlide" Target="../notesSlides/notesSlide211.xml"/><Relationship Id="rId1" Type="http://schemas.openxmlformats.org/officeDocument/2006/relationships/slideLayout" Target="../slideLayouts/slideLayout15.xml"/></Relationships>
</file>

<file path=ppt/slides/_rels/slide222.xml.rels><?xml version="1.0" encoding="UTF-8" standalone="yes"?>
<Relationships xmlns="http://schemas.openxmlformats.org/package/2006/relationships"><Relationship Id="rId3" Type="http://schemas.openxmlformats.org/officeDocument/2006/relationships/tags" Target="../tags/tag378.xml"/><Relationship Id="rId7" Type="http://schemas.openxmlformats.org/officeDocument/2006/relationships/image" Target="../media/image1.emf"/><Relationship Id="rId2" Type="http://schemas.openxmlformats.org/officeDocument/2006/relationships/tags" Target="../tags/tag377.xml"/><Relationship Id="rId1" Type="http://schemas.openxmlformats.org/officeDocument/2006/relationships/vmlDrawing" Target="../drawings/vmlDrawing198.vml"/><Relationship Id="rId6" Type="http://schemas.openxmlformats.org/officeDocument/2006/relationships/oleObject" Target="../embeddings/oleObject198.bin"/><Relationship Id="rId5" Type="http://schemas.openxmlformats.org/officeDocument/2006/relationships/notesSlide" Target="../notesSlides/notesSlide212.xml"/><Relationship Id="rId4" Type="http://schemas.openxmlformats.org/officeDocument/2006/relationships/slideLayout" Target="../slideLayouts/slideLayout15.xml"/></Relationships>
</file>

<file path=ppt/slides/_rels/slide223.xml.rels><?xml version="1.0" encoding="UTF-8" standalone="yes"?>
<Relationships xmlns="http://schemas.openxmlformats.org/package/2006/relationships"><Relationship Id="rId3" Type="http://schemas.openxmlformats.org/officeDocument/2006/relationships/tags" Target="../tags/tag380.xml"/><Relationship Id="rId7" Type="http://schemas.openxmlformats.org/officeDocument/2006/relationships/image" Target="../media/image1.emf"/><Relationship Id="rId2" Type="http://schemas.openxmlformats.org/officeDocument/2006/relationships/tags" Target="../tags/tag379.xml"/><Relationship Id="rId1" Type="http://schemas.openxmlformats.org/officeDocument/2006/relationships/vmlDrawing" Target="../drawings/vmlDrawing199.vml"/><Relationship Id="rId6" Type="http://schemas.openxmlformats.org/officeDocument/2006/relationships/oleObject" Target="../embeddings/oleObject199.bin"/><Relationship Id="rId5" Type="http://schemas.openxmlformats.org/officeDocument/2006/relationships/notesSlide" Target="../notesSlides/notesSlide213.xml"/><Relationship Id="rId4" Type="http://schemas.openxmlformats.org/officeDocument/2006/relationships/slideLayout" Target="../slideLayouts/slideLayout15.xml"/></Relationships>
</file>

<file path=ppt/slides/_rels/slide224.xml.rels><?xml version="1.0" encoding="UTF-8" standalone="yes"?>
<Relationships xmlns="http://schemas.openxmlformats.org/package/2006/relationships"><Relationship Id="rId3" Type="http://schemas.openxmlformats.org/officeDocument/2006/relationships/tags" Target="../tags/tag382.xml"/><Relationship Id="rId7" Type="http://schemas.openxmlformats.org/officeDocument/2006/relationships/image" Target="../media/image1.emf"/><Relationship Id="rId2" Type="http://schemas.openxmlformats.org/officeDocument/2006/relationships/tags" Target="../tags/tag381.xml"/><Relationship Id="rId1" Type="http://schemas.openxmlformats.org/officeDocument/2006/relationships/vmlDrawing" Target="../drawings/vmlDrawing200.vml"/><Relationship Id="rId6" Type="http://schemas.openxmlformats.org/officeDocument/2006/relationships/oleObject" Target="../embeddings/oleObject200.bin"/><Relationship Id="rId5" Type="http://schemas.openxmlformats.org/officeDocument/2006/relationships/notesSlide" Target="../notesSlides/notesSlide214.xml"/><Relationship Id="rId4" Type="http://schemas.openxmlformats.org/officeDocument/2006/relationships/slideLayout" Target="../slideLayouts/slideLayout15.xml"/></Relationships>
</file>

<file path=ppt/slides/_rels/slide225.xml.rels><?xml version="1.0" encoding="UTF-8" standalone="yes"?>
<Relationships xmlns="http://schemas.openxmlformats.org/package/2006/relationships"><Relationship Id="rId3" Type="http://schemas.openxmlformats.org/officeDocument/2006/relationships/tags" Target="../tags/tag384.xml"/><Relationship Id="rId7" Type="http://schemas.openxmlformats.org/officeDocument/2006/relationships/image" Target="../media/image1.emf"/><Relationship Id="rId2" Type="http://schemas.openxmlformats.org/officeDocument/2006/relationships/tags" Target="../tags/tag383.xml"/><Relationship Id="rId1" Type="http://schemas.openxmlformats.org/officeDocument/2006/relationships/vmlDrawing" Target="../drawings/vmlDrawing201.vml"/><Relationship Id="rId6" Type="http://schemas.openxmlformats.org/officeDocument/2006/relationships/oleObject" Target="../embeddings/oleObject201.bin"/><Relationship Id="rId5" Type="http://schemas.openxmlformats.org/officeDocument/2006/relationships/notesSlide" Target="../notesSlides/notesSlide215.xml"/><Relationship Id="rId4" Type="http://schemas.openxmlformats.org/officeDocument/2006/relationships/slideLayout" Target="../slideLayouts/slideLayout15.xml"/></Relationships>
</file>

<file path=ppt/slides/_rels/slide226.xml.rels><?xml version="1.0" encoding="UTF-8" standalone="yes"?>
<Relationships xmlns="http://schemas.openxmlformats.org/package/2006/relationships"><Relationship Id="rId3" Type="http://schemas.openxmlformats.org/officeDocument/2006/relationships/tags" Target="../tags/tag386.xml"/><Relationship Id="rId7" Type="http://schemas.openxmlformats.org/officeDocument/2006/relationships/image" Target="../media/image1.emf"/><Relationship Id="rId2" Type="http://schemas.openxmlformats.org/officeDocument/2006/relationships/tags" Target="../tags/tag385.xml"/><Relationship Id="rId1" Type="http://schemas.openxmlformats.org/officeDocument/2006/relationships/vmlDrawing" Target="../drawings/vmlDrawing202.vml"/><Relationship Id="rId6" Type="http://schemas.openxmlformats.org/officeDocument/2006/relationships/oleObject" Target="../embeddings/oleObject202.bin"/><Relationship Id="rId5" Type="http://schemas.openxmlformats.org/officeDocument/2006/relationships/notesSlide" Target="../notesSlides/notesSlide216.xml"/><Relationship Id="rId4" Type="http://schemas.openxmlformats.org/officeDocument/2006/relationships/slideLayout" Target="../slideLayouts/slideLayout15.xml"/></Relationships>
</file>

<file path=ppt/slides/_rels/slide227.xml.rels><?xml version="1.0" encoding="UTF-8" standalone="yes"?>
<Relationships xmlns="http://schemas.openxmlformats.org/package/2006/relationships"><Relationship Id="rId3" Type="http://schemas.openxmlformats.org/officeDocument/2006/relationships/tags" Target="../tags/tag388.xml"/><Relationship Id="rId7" Type="http://schemas.openxmlformats.org/officeDocument/2006/relationships/image" Target="../media/image1.emf"/><Relationship Id="rId2" Type="http://schemas.openxmlformats.org/officeDocument/2006/relationships/tags" Target="../tags/tag387.xml"/><Relationship Id="rId1" Type="http://schemas.openxmlformats.org/officeDocument/2006/relationships/vmlDrawing" Target="../drawings/vmlDrawing203.vml"/><Relationship Id="rId6" Type="http://schemas.openxmlformats.org/officeDocument/2006/relationships/oleObject" Target="../embeddings/oleObject203.bin"/><Relationship Id="rId5" Type="http://schemas.openxmlformats.org/officeDocument/2006/relationships/notesSlide" Target="../notesSlides/notesSlide217.xml"/><Relationship Id="rId4" Type="http://schemas.openxmlformats.org/officeDocument/2006/relationships/slideLayout" Target="../slideLayouts/slideLayout15.xml"/></Relationships>
</file>

<file path=ppt/slides/_rels/slide228.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390.xml"/><Relationship Id="rId7" Type="http://schemas.openxmlformats.org/officeDocument/2006/relationships/image" Target="../media/image1.emf"/><Relationship Id="rId2" Type="http://schemas.openxmlformats.org/officeDocument/2006/relationships/tags" Target="../tags/tag389.xml"/><Relationship Id="rId1" Type="http://schemas.openxmlformats.org/officeDocument/2006/relationships/vmlDrawing" Target="../drawings/vmlDrawing204.vml"/><Relationship Id="rId6" Type="http://schemas.openxmlformats.org/officeDocument/2006/relationships/oleObject" Target="../embeddings/oleObject204.bin"/><Relationship Id="rId5" Type="http://schemas.openxmlformats.org/officeDocument/2006/relationships/notesSlide" Target="../notesSlides/notesSlide218.xml"/><Relationship Id="rId4" Type="http://schemas.openxmlformats.org/officeDocument/2006/relationships/slideLayout" Target="../slideLayouts/slideLayout15.xml"/></Relationships>
</file>

<file path=ppt/slides/_rels/slide229.xml.rels><?xml version="1.0" encoding="UTF-8" standalone="yes"?>
<Relationships xmlns="http://schemas.openxmlformats.org/package/2006/relationships"><Relationship Id="rId8" Type="http://schemas.openxmlformats.org/officeDocument/2006/relationships/image" Target="../media/image214.png"/><Relationship Id="rId3" Type="http://schemas.openxmlformats.org/officeDocument/2006/relationships/tags" Target="../tags/tag392.xml"/><Relationship Id="rId7" Type="http://schemas.openxmlformats.org/officeDocument/2006/relationships/image" Target="../media/image1.emf"/><Relationship Id="rId2" Type="http://schemas.openxmlformats.org/officeDocument/2006/relationships/tags" Target="../tags/tag391.xml"/><Relationship Id="rId1" Type="http://schemas.openxmlformats.org/officeDocument/2006/relationships/vmlDrawing" Target="../drawings/vmlDrawing205.vml"/><Relationship Id="rId6" Type="http://schemas.openxmlformats.org/officeDocument/2006/relationships/oleObject" Target="../embeddings/oleObject205.bin"/><Relationship Id="rId5" Type="http://schemas.openxmlformats.org/officeDocument/2006/relationships/notesSlide" Target="../notesSlides/notesSlide219.xml"/><Relationship Id="rId4"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28.xml"/><Relationship Id="rId1" Type="http://schemas.openxmlformats.org/officeDocument/2006/relationships/vmlDrawing" Target="../drawings/vmlDrawing19.vml"/><Relationship Id="rId6" Type="http://schemas.openxmlformats.org/officeDocument/2006/relationships/image" Target="../media/image5.emf"/><Relationship Id="rId5" Type="http://schemas.openxmlformats.org/officeDocument/2006/relationships/oleObject" Target="../embeddings/oleObject19.bin"/><Relationship Id="rId4" Type="http://schemas.openxmlformats.org/officeDocument/2006/relationships/notesSlide" Target="../notesSlides/notesSlide20.xml"/></Relationships>
</file>

<file path=ppt/slides/_rels/slide230.xml.rels><?xml version="1.0" encoding="UTF-8" standalone="yes"?>
<Relationships xmlns="http://schemas.openxmlformats.org/package/2006/relationships"><Relationship Id="rId8" Type="http://schemas.openxmlformats.org/officeDocument/2006/relationships/image" Target="../media/image215.png"/><Relationship Id="rId3" Type="http://schemas.openxmlformats.org/officeDocument/2006/relationships/tags" Target="../tags/tag394.xml"/><Relationship Id="rId7" Type="http://schemas.openxmlformats.org/officeDocument/2006/relationships/image" Target="../media/image1.emf"/><Relationship Id="rId2" Type="http://schemas.openxmlformats.org/officeDocument/2006/relationships/tags" Target="../tags/tag393.xml"/><Relationship Id="rId1" Type="http://schemas.openxmlformats.org/officeDocument/2006/relationships/vmlDrawing" Target="../drawings/vmlDrawing206.vml"/><Relationship Id="rId6" Type="http://schemas.openxmlformats.org/officeDocument/2006/relationships/oleObject" Target="../embeddings/oleObject206.bin"/><Relationship Id="rId5" Type="http://schemas.openxmlformats.org/officeDocument/2006/relationships/notesSlide" Target="../notesSlides/notesSlide220.xml"/><Relationship Id="rId4" Type="http://schemas.openxmlformats.org/officeDocument/2006/relationships/slideLayout" Target="../slideLayouts/slideLayout15.xml"/><Relationship Id="rId9" Type="http://schemas.openxmlformats.org/officeDocument/2006/relationships/image" Target="../media/image216.png"/></Relationships>
</file>

<file path=ppt/slides/_rels/slide231.xml.rels><?xml version="1.0" encoding="UTF-8" standalone="yes"?>
<Relationships xmlns="http://schemas.openxmlformats.org/package/2006/relationships"><Relationship Id="rId3" Type="http://schemas.openxmlformats.org/officeDocument/2006/relationships/tags" Target="../tags/tag396.xml"/><Relationship Id="rId7" Type="http://schemas.openxmlformats.org/officeDocument/2006/relationships/image" Target="../media/image1.emf"/><Relationship Id="rId2" Type="http://schemas.openxmlformats.org/officeDocument/2006/relationships/tags" Target="../tags/tag395.xml"/><Relationship Id="rId1" Type="http://schemas.openxmlformats.org/officeDocument/2006/relationships/vmlDrawing" Target="../drawings/vmlDrawing207.vml"/><Relationship Id="rId6" Type="http://schemas.openxmlformats.org/officeDocument/2006/relationships/oleObject" Target="../embeddings/oleObject207.bin"/><Relationship Id="rId5" Type="http://schemas.openxmlformats.org/officeDocument/2006/relationships/notesSlide" Target="../notesSlides/notesSlide221.xml"/><Relationship Id="rId4" Type="http://schemas.openxmlformats.org/officeDocument/2006/relationships/slideLayout" Target="../slideLayouts/slideLayout15.xml"/></Relationships>
</file>

<file path=ppt/slides/_rels/slide232.xml.rels><?xml version="1.0" encoding="UTF-8" standalone="yes"?>
<Relationships xmlns="http://schemas.openxmlformats.org/package/2006/relationships"><Relationship Id="rId3" Type="http://schemas.openxmlformats.org/officeDocument/2006/relationships/tags" Target="../tags/tag398.xml"/><Relationship Id="rId7" Type="http://schemas.openxmlformats.org/officeDocument/2006/relationships/image" Target="../media/image1.emf"/><Relationship Id="rId2" Type="http://schemas.openxmlformats.org/officeDocument/2006/relationships/tags" Target="../tags/tag397.xml"/><Relationship Id="rId1" Type="http://schemas.openxmlformats.org/officeDocument/2006/relationships/vmlDrawing" Target="../drawings/vmlDrawing208.vml"/><Relationship Id="rId6" Type="http://schemas.openxmlformats.org/officeDocument/2006/relationships/oleObject" Target="../embeddings/oleObject208.bin"/><Relationship Id="rId5" Type="http://schemas.openxmlformats.org/officeDocument/2006/relationships/notesSlide" Target="../notesSlides/notesSlide222.xml"/><Relationship Id="rId4" Type="http://schemas.openxmlformats.org/officeDocument/2006/relationships/slideLayout" Target="../slideLayouts/slideLayout15.xml"/></Relationships>
</file>

<file path=ppt/slides/_rels/slide233.xml.rels><?xml version="1.0" encoding="UTF-8" standalone="yes"?>
<Relationships xmlns="http://schemas.openxmlformats.org/package/2006/relationships"><Relationship Id="rId3" Type="http://schemas.openxmlformats.org/officeDocument/2006/relationships/tags" Target="../tags/tag400.xml"/><Relationship Id="rId7" Type="http://schemas.openxmlformats.org/officeDocument/2006/relationships/image" Target="../media/image1.emf"/><Relationship Id="rId2" Type="http://schemas.openxmlformats.org/officeDocument/2006/relationships/tags" Target="../tags/tag399.xml"/><Relationship Id="rId1" Type="http://schemas.openxmlformats.org/officeDocument/2006/relationships/vmlDrawing" Target="../drawings/vmlDrawing209.vml"/><Relationship Id="rId6" Type="http://schemas.openxmlformats.org/officeDocument/2006/relationships/oleObject" Target="../embeddings/oleObject209.bin"/><Relationship Id="rId5" Type="http://schemas.openxmlformats.org/officeDocument/2006/relationships/notesSlide" Target="../notesSlides/notesSlide223.xml"/><Relationship Id="rId4" Type="http://schemas.openxmlformats.org/officeDocument/2006/relationships/slideLayout" Target="../slideLayouts/slideLayout15.xml"/></Relationships>
</file>

<file path=ppt/slides/_rels/slide234.xml.rels><?xml version="1.0" encoding="UTF-8" standalone="yes"?>
<Relationships xmlns="http://schemas.openxmlformats.org/package/2006/relationships"><Relationship Id="rId3" Type="http://schemas.openxmlformats.org/officeDocument/2006/relationships/tags" Target="../tags/tag402.xml"/><Relationship Id="rId7" Type="http://schemas.openxmlformats.org/officeDocument/2006/relationships/image" Target="../media/image1.emf"/><Relationship Id="rId2" Type="http://schemas.openxmlformats.org/officeDocument/2006/relationships/tags" Target="../tags/tag401.xml"/><Relationship Id="rId1" Type="http://schemas.openxmlformats.org/officeDocument/2006/relationships/vmlDrawing" Target="../drawings/vmlDrawing210.vml"/><Relationship Id="rId6" Type="http://schemas.openxmlformats.org/officeDocument/2006/relationships/oleObject" Target="../embeddings/oleObject210.bin"/><Relationship Id="rId5" Type="http://schemas.openxmlformats.org/officeDocument/2006/relationships/notesSlide" Target="../notesSlides/notesSlide224.xml"/><Relationship Id="rId4" Type="http://schemas.openxmlformats.org/officeDocument/2006/relationships/slideLayout" Target="../slideLayouts/slideLayout15.xml"/></Relationships>
</file>

<file path=ppt/slides/_rels/slide235.xml.rels><?xml version="1.0" encoding="UTF-8" standalone="yes"?>
<Relationships xmlns="http://schemas.openxmlformats.org/package/2006/relationships"><Relationship Id="rId3" Type="http://schemas.openxmlformats.org/officeDocument/2006/relationships/tags" Target="../tags/tag404.xml"/><Relationship Id="rId7" Type="http://schemas.openxmlformats.org/officeDocument/2006/relationships/image" Target="../media/image1.emf"/><Relationship Id="rId2" Type="http://schemas.openxmlformats.org/officeDocument/2006/relationships/tags" Target="../tags/tag403.xml"/><Relationship Id="rId1" Type="http://schemas.openxmlformats.org/officeDocument/2006/relationships/vmlDrawing" Target="../drawings/vmlDrawing211.vml"/><Relationship Id="rId6" Type="http://schemas.openxmlformats.org/officeDocument/2006/relationships/oleObject" Target="../embeddings/oleObject211.bin"/><Relationship Id="rId5" Type="http://schemas.openxmlformats.org/officeDocument/2006/relationships/notesSlide" Target="../notesSlides/notesSlide225.xml"/><Relationship Id="rId4" Type="http://schemas.openxmlformats.org/officeDocument/2006/relationships/slideLayout" Target="../slideLayouts/slideLayout15.xml"/></Relationships>
</file>

<file path=ppt/slides/_rels/slide236.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notesSlide" Target="../notesSlides/notesSlide226.xml"/><Relationship Id="rId1" Type="http://schemas.openxmlformats.org/officeDocument/2006/relationships/slideLayout" Target="../slideLayouts/slideLayout19.xml"/></Relationships>
</file>

<file path=ppt/slides/_rels/slide237.xml.rels><?xml version="1.0" encoding="UTF-8" standalone="yes"?>
<Relationships xmlns="http://schemas.openxmlformats.org/package/2006/relationships"><Relationship Id="rId8" Type="http://schemas.openxmlformats.org/officeDocument/2006/relationships/image" Target="../media/image217.jpeg"/><Relationship Id="rId3" Type="http://schemas.openxmlformats.org/officeDocument/2006/relationships/tags" Target="../tags/tag406.xml"/><Relationship Id="rId7" Type="http://schemas.openxmlformats.org/officeDocument/2006/relationships/image" Target="../media/image1.emf"/><Relationship Id="rId2" Type="http://schemas.openxmlformats.org/officeDocument/2006/relationships/tags" Target="../tags/tag405.xml"/><Relationship Id="rId1" Type="http://schemas.openxmlformats.org/officeDocument/2006/relationships/vmlDrawing" Target="../drawings/vmlDrawing212.vml"/><Relationship Id="rId6" Type="http://schemas.openxmlformats.org/officeDocument/2006/relationships/oleObject" Target="../embeddings/oleObject212.bin"/><Relationship Id="rId5" Type="http://schemas.openxmlformats.org/officeDocument/2006/relationships/notesSlide" Target="../notesSlides/notesSlide227.xml"/><Relationship Id="rId4" Type="http://schemas.openxmlformats.org/officeDocument/2006/relationships/slideLayout" Target="../slideLayouts/slideLayout18.xml"/></Relationships>
</file>

<file path=ppt/slides/_rels/slide238.xml.rels><?xml version="1.0" encoding="UTF-8" standalone="yes"?>
<Relationships xmlns="http://schemas.openxmlformats.org/package/2006/relationships"><Relationship Id="rId8" Type="http://schemas.openxmlformats.org/officeDocument/2006/relationships/image" Target="../media/image218.png"/><Relationship Id="rId3" Type="http://schemas.openxmlformats.org/officeDocument/2006/relationships/tags" Target="../tags/tag408.xml"/><Relationship Id="rId7" Type="http://schemas.openxmlformats.org/officeDocument/2006/relationships/image" Target="../media/image1.emf"/><Relationship Id="rId2" Type="http://schemas.openxmlformats.org/officeDocument/2006/relationships/tags" Target="../tags/tag407.xml"/><Relationship Id="rId1" Type="http://schemas.openxmlformats.org/officeDocument/2006/relationships/vmlDrawing" Target="../drawings/vmlDrawing213.vml"/><Relationship Id="rId6" Type="http://schemas.openxmlformats.org/officeDocument/2006/relationships/oleObject" Target="../embeddings/oleObject213.bin"/><Relationship Id="rId5" Type="http://schemas.openxmlformats.org/officeDocument/2006/relationships/notesSlide" Target="../notesSlides/notesSlide228.xml"/><Relationship Id="rId4" Type="http://schemas.openxmlformats.org/officeDocument/2006/relationships/slideLayout" Target="../slideLayouts/slideLayout15.xml"/></Relationships>
</file>

<file path=ppt/slides/_rels/slide239.xml.rels><?xml version="1.0" encoding="UTF-8" standalone="yes"?>
<Relationships xmlns="http://schemas.openxmlformats.org/package/2006/relationships"><Relationship Id="rId8" Type="http://schemas.openxmlformats.org/officeDocument/2006/relationships/image" Target="../media/image219.jpeg"/><Relationship Id="rId3" Type="http://schemas.openxmlformats.org/officeDocument/2006/relationships/tags" Target="../tags/tag410.xml"/><Relationship Id="rId7" Type="http://schemas.openxmlformats.org/officeDocument/2006/relationships/image" Target="../media/image1.emf"/><Relationship Id="rId2" Type="http://schemas.openxmlformats.org/officeDocument/2006/relationships/tags" Target="../tags/tag409.xml"/><Relationship Id="rId1" Type="http://schemas.openxmlformats.org/officeDocument/2006/relationships/vmlDrawing" Target="../drawings/vmlDrawing214.vml"/><Relationship Id="rId6" Type="http://schemas.openxmlformats.org/officeDocument/2006/relationships/oleObject" Target="../embeddings/oleObject214.bin"/><Relationship Id="rId5" Type="http://schemas.openxmlformats.org/officeDocument/2006/relationships/notesSlide" Target="../notesSlides/notesSlide229.xml"/><Relationship Id="rId4"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1.xml"/><Relationship Id="rId1" Type="http://schemas.openxmlformats.org/officeDocument/2006/relationships/slideLayout" Target="../slideLayouts/slideLayout21.xml"/></Relationships>
</file>

<file path=ppt/slides/_rels/slide240.xml.rels><?xml version="1.0" encoding="UTF-8" standalone="yes"?>
<Relationships xmlns="http://schemas.openxmlformats.org/package/2006/relationships"><Relationship Id="rId8" Type="http://schemas.openxmlformats.org/officeDocument/2006/relationships/image" Target="../media/image220.png"/><Relationship Id="rId3" Type="http://schemas.openxmlformats.org/officeDocument/2006/relationships/tags" Target="../tags/tag412.xml"/><Relationship Id="rId7" Type="http://schemas.openxmlformats.org/officeDocument/2006/relationships/image" Target="../media/image1.emf"/><Relationship Id="rId2" Type="http://schemas.openxmlformats.org/officeDocument/2006/relationships/tags" Target="../tags/tag411.xml"/><Relationship Id="rId1" Type="http://schemas.openxmlformats.org/officeDocument/2006/relationships/vmlDrawing" Target="../drawings/vmlDrawing215.vml"/><Relationship Id="rId6" Type="http://schemas.openxmlformats.org/officeDocument/2006/relationships/oleObject" Target="../embeddings/oleObject215.bin"/><Relationship Id="rId5" Type="http://schemas.openxmlformats.org/officeDocument/2006/relationships/notesSlide" Target="../notesSlides/notesSlide230.xml"/><Relationship Id="rId4" Type="http://schemas.openxmlformats.org/officeDocument/2006/relationships/slideLayout" Target="../slideLayouts/slideLayout18.xml"/></Relationships>
</file>

<file path=ppt/slides/_rels/slide241.xml.rels><?xml version="1.0" encoding="UTF-8" standalone="yes"?>
<Relationships xmlns="http://schemas.openxmlformats.org/package/2006/relationships"><Relationship Id="rId3" Type="http://schemas.openxmlformats.org/officeDocument/2006/relationships/tags" Target="../tags/tag414.xml"/><Relationship Id="rId7" Type="http://schemas.openxmlformats.org/officeDocument/2006/relationships/image" Target="../media/image1.emf"/><Relationship Id="rId2" Type="http://schemas.openxmlformats.org/officeDocument/2006/relationships/tags" Target="../tags/tag413.xml"/><Relationship Id="rId1" Type="http://schemas.openxmlformats.org/officeDocument/2006/relationships/vmlDrawing" Target="../drawings/vmlDrawing216.vml"/><Relationship Id="rId6" Type="http://schemas.openxmlformats.org/officeDocument/2006/relationships/oleObject" Target="../embeddings/oleObject216.bin"/><Relationship Id="rId5" Type="http://schemas.openxmlformats.org/officeDocument/2006/relationships/notesSlide" Target="../notesSlides/notesSlide231.xml"/><Relationship Id="rId4" Type="http://schemas.openxmlformats.org/officeDocument/2006/relationships/slideLayout" Target="../slideLayouts/slideLayout15.xml"/></Relationships>
</file>

<file path=ppt/slides/_rels/slide242.xml.rels><?xml version="1.0" encoding="UTF-8" standalone="yes"?>
<Relationships xmlns="http://schemas.openxmlformats.org/package/2006/relationships"><Relationship Id="rId3" Type="http://schemas.openxmlformats.org/officeDocument/2006/relationships/image" Target="../media/image221.jpeg"/><Relationship Id="rId2" Type="http://schemas.openxmlformats.org/officeDocument/2006/relationships/notesSlide" Target="../notesSlides/notesSlide232.xml"/><Relationship Id="rId1" Type="http://schemas.openxmlformats.org/officeDocument/2006/relationships/slideLayout" Target="../slideLayouts/slideLayout20.xml"/><Relationship Id="rId4" Type="http://schemas.openxmlformats.org/officeDocument/2006/relationships/image" Target="../media/image222.emf"/></Relationships>
</file>

<file path=ppt/slides/_rels/slide243.xml.rels><?xml version="1.0" encoding="UTF-8" standalone="yes"?>
<Relationships xmlns="http://schemas.openxmlformats.org/package/2006/relationships"><Relationship Id="rId3" Type="http://schemas.openxmlformats.org/officeDocument/2006/relationships/tags" Target="../tags/tag416.xml"/><Relationship Id="rId7" Type="http://schemas.openxmlformats.org/officeDocument/2006/relationships/image" Target="../media/image1.emf"/><Relationship Id="rId2" Type="http://schemas.openxmlformats.org/officeDocument/2006/relationships/tags" Target="../tags/tag415.xml"/><Relationship Id="rId1" Type="http://schemas.openxmlformats.org/officeDocument/2006/relationships/vmlDrawing" Target="../drawings/vmlDrawing217.vml"/><Relationship Id="rId6" Type="http://schemas.openxmlformats.org/officeDocument/2006/relationships/oleObject" Target="../embeddings/oleObject217.bin"/><Relationship Id="rId5" Type="http://schemas.openxmlformats.org/officeDocument/2006/relationships/notesSlide" Target="../notesSlides/notesSlide233.xml"/><Relationship Id="rId4" Type="http://schemas.openxmlformats.org/officeDocument/2006/relationships/slideLayout" Target="../slideLayouts/slideLayout15.xml"/></Relationships>
</file>

<file path=ppt/slides/_rels/slide244.xml.rels><?xml version="1.0" encoding="UTF-8" standalone="yes"?>
<Relationships xmlns="http://schemas.openxmlformats.org/package/2006/relationships"><Relationship Id="rId8" Type="http://schemas.openxmlformats.org/officeDocument/2006/relationships/image" Target="../media/image223.jpeg"/><Relationship Id="rId3" Type="http://schemas.openxmlformats.org/officeDocument/2006/relationships/tags" Target="../tags/tag418.xml"/><Relationship Id="rId7" Type="http://schemas.openxmlformats.org/officeDocument/2006/relationships/image" Target="../media/image1.emf"/><Relationship Id="rId2" Type="http://schemas.openxmlformats.org/officeDocument/2006/relationships/tags" Target="../tags/tag417.xml"/><Relationship Id="rId1" Type="http://schemas.openxmlformats.org/officeDocument/2006/relationships/vmlDrawing" Target="../drawings/vmlDrawing218.vml"/><Relationship Id="rId6" Type="http://schemas.openxmlformats.org/officeDocument/2006/relationships/oleObject" Target="../embeddings/oleObject218.bin"/><Relationship Id="rId5" Type="http://schemas.openxmlformats.org/officeDocument/2006/relationships/notesSlide" Target="../notesSlides/notesSlide234.xml"/><Relationship Id="rId4" Type="http://schemas.openxmlformats.org/officeDocument/2006/relationships/slideLayout" Target="../slideLayouts/slideLayout15.xml"/><Relationship Id="rId9" Type="http://schemas.openxmlformats.org/officeDocument/2006/relationships/image" Target="../media/image224.jpeg"/></Relationships>
</file>

<file path=ppt/slides/_rels/slide245.xml.rels><?xml version="1.0" encoding="UTF-8" standalone="yes"?>
<Relationships xmlns="http://schemas.openxmlformats.org/package/2006/relationships"><Relationship Id="rId8" Type="http://schemas.openxmlformats.org/officeDocument/2006/relationships/image" Target="../media/image225.png"/><Relationship Id="rId13" Type="http://schemas.openxmlformats.org/officeDocument/2006/relationships/image" Target="../media/image230.png"/><Relationship Id="rId3" Type="http://schemas.openxmlformats.org/officeDocument/2006/relationships/tags" Target="../tags/tag420.xml"/><Relationship Id="rId7" Type="http://schemas.openxmlformats.org/officeDocument/2006/relationships/image" Target="../media/image1.emf"/><Relationship Id="rId12" Type="http://schemas.openxmlformats.org/officeDocument/2006/relationships/image" Target="../media/image229.jpeg"/><Relationship Id="rId2" Type="http://schemas.openxmlformats.org/officeDocument/2006/relationships/tags" Target="../tags/tag419.xml"/><Relationship Id="rId1" Type="http://schemas.openxmlformats.org/officeDocument/2006/relationships/vmlDrawing" Target="../drawings/vmlDrawing219.vml"/><Relationship Id="rId6" Type="http://schemas.openxmlformats.org/officeDocument/2006/relationships/oleObject" Target="../embeddings/oleObject219.bin"/><Relationship Id="rId11" Type="http://schemas.openxmlformats.org/officeDocument/2006/relationships/image" Target="../media/image228.png"/><Relationship Id="rId5" Type="http://schemas.openxmlformats.org/officeDocument/2006/relationships/notesSlide" Target="../notesSlides/notesSlide235.xml"/><Relationship Id="rId10" Type="http://schemas.openxmlformats.org/officeDocument/2006/relationships/image" Target="../media/image227.png"/><Relationship Id="rId4" Type="http://schemas.openxmlformats.org/officeDocument/2006/relationships/slideLayout" Target="../slideLayouts/slideLayout15.xml"/><Relationship Id="rId9" Type="http://schemas.openxmlformats.org/officeDocument/2006/relationships/image" Target="../media/image226.jpeg"/><Relationship Id="rId14" Type="http://schemas.openxmlformats.org/officeDocument/2006/relationships/image" Target="../media/image231.png"/></Relationships>
</file>

<file path=ppt/slides/_rels/slide246.xml.rels><?xml version="1.0" encoding="UTF-8" standalone="yes"?>
<Relationships xmlns="http://schemas.openxmlformats.org/package/2006/relationships"><Relationship Id="rId8" Type="http://schemas.openxmlformats.org/officeDocument/2006/relationships/image" Target="../media/image232.jpeg"/><Relationship Id="rId3" Type="http://schemas.openxmlformats.org/officeDocument/2006/relationships/tags" Target="../tags/tag422.xml"/><Relationship Id="rId7" Type="http://schemas.openxmlformats.org/officeDocument/2006/relationships/image" Target="../media/image1.emf"/><Relationship Id="rId2" Type="http://schemas.openxmlformats.org/officeDocument/2006/relationships/tags" Target="../tags/tag421.xml"/><Relationship Id="rId1" Type="http://schemas.openxmlformats.org/officeDocument/2006/relationships/vmlDrawing" Target="../drawings/vmlDrawing220.vml"/><Relationship Id="rId6" Type="http://schemas.openxmlformats.org/officeDocument/2006/relationships/oleObject" Target="../embeddings/oleObject220.bin"/><Relationship Id="rId5" Type="http://schemas.openxmlformats.org/officeDocument/2006/relationships/notesSlide" Target="../notesSlides/notesSlide236.xml"/><Relationship Id="rId4" Type="http://schemas.openxmlformats.org/officeDocument/2006/relationships/slideLayout" Target="../slideLayouts/slideLayout15.xml"/></Relationships>
</file>

<file path=ppt/slides/_rels/slide247.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notesSlide" Target="../notesSlides/notesSlide237.xml"/><Relationship Id="rId1" Type="http://schemas.openxmlformats.org/officeDocument/2006/relationships/slideLayout" Target="../slideLayouts/slideLayout19.xml"/></Relationships>
</file>

<file path=ppt/slides/_rels/slide248.xml.rels><?xml version="1.0" encoding="UTF-8" standalone="yes"?>
<Relationships xmlns="http://schemas.openxmlformats.org/package/2006/relationships"><Relationship Id="rId8" Type="http://schemas.openxmlformats.org/officeDocument/2006/relationships/image" Target="../media/image233.tiff"/><Relationship Id="rId3" Type="http://schemas.openxmlformats.org/officeDocument/2006/relationships/tags" Target="../tags/tag424.xml"/><Relationship Id="rId7" Type="http://schemas.openxmlformats.org/officeDocument/2006/relationships/image" Target="../media/image1.emf"/><Relationship Id="rId2" Type="http://schemas.openxmlformats.org/officeDocument/2006/relationships/tags" Target="../tags/tag423.xml"/><Relationship Id="rId1" Type="http://schemas.openxmlformats.org/officeDocument/2006/relationships/vmlDrawing" Target="../drawings/vmlDrawing221.vml"/><Relationship Id="rId6" Type="http://schemas.openxmlformats.org/officeDocument/2006/relationships/oleObject" Target="../embeddings/oleObject221.bin"/><Relationship Id="rId5" Type="http://schemas.openxmlformats.org/officeDocument/2006/relationships/notesSlide" Target="../notesSlides/notesSlide238.xml"/><Relationship Id="rId4" Type="http://schemas.openxmlformats.org/officeDocument/2006/relationships/slideLayout" Target="../slideLayouts/slideLayout15.xml"/></Relationships>
</file>

<file path=ppt/slides/_rels/slide249.xml.rels><?xml version="1.0" encoding="UTF-8" standalone="yes"?>
<Relationships xmlns="http://schemas.openxmlformats.org/package/2006/relationships"><Relationship Id="rId8" Type="http://schemas.openxmlformats.org/officeDocument/2006/relationships/image" Target="../media/image234.png"/><Relationship Id="rId3" Type="http://schemas.openxmlformats.org/officeDocument/2006/relationships/tags" Target="../tags/tag426.xml"/><Relationship Id="rId7" Type="http://schemas.openxmlformats.org/officeDocument/2006/relationships/image" Target="../media/image1.emf"/><Relationship Id="rId2" Type="http://schemas.openxmlformats.org/officeDocument/2006/relationships/tags" Target="../tags/tag425.xml"/><Relationship Id="rId1" Type="http://schemas.openxmlformats.org/officeDocument/2006/relationships/vmlDrawing" Target="../drawings/vmlDrawing222.vml"/><Relationship Id="rId6" Type="http://schemas.openxmlformats.org/officeDocument/2006/relationships/oleObject" Target="../embeddings/oleObject222.bin"/><Relationship Id="rId5" Type="http://schemas.openxmlformats.org/officeDocument/2006/relationships/notesSlide" Target="../notesSlides/notesSlide239.xml"/><Relationship Id="rId4" Type="http://schemas.openxmlformats.org/officeDocument/2006/relationships/slideLayout" Target="../slideLayouts/slideLayout15.xml"/><Relationship Id="rId9" Type="http://schemas.openxmlformats.org/officeDocument/2006/relationships/image" Target="../media/image235.png"/></Relationships>
</file>

<file path=ppt/slides/_rels/slide2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2.xml"/><Relationship Id="rId1" Type="http://schemas.openxmlformats.org/officeDocument/2006/relationships/slideLayout" Target="../slideLayouts/slideLayout21.xml"/><Relationship Id="rId4" Type="http://schemas.microsoft.com/office/2007/relationships/hdphoto" Target="../media/hdphoto2.wdp"/></Relationships>
</file>

<file path=ppt/slides/_rels/slide250.xml.rels><?xml version="1.0" encoding="UTF-8" standalone="yes"?>
<Relationships xmlns="http://schemas.openxmlformats.org/package/2006/relationships"><Relationship Id="rId3" Type="http://schemas.openxmlformats.org/officeDocument/2006/relationships/tags" Target="../tags/tag428.xml"/><Relationship Id="rId7" Type="http://schemas.openxmlformats.org/officeDocument/2006/relationships/image" Target="../media/image1.emf"/><Relationship Id="rId2" Type="http://schemas.openxmlformats.org/officeDocument/2006/relationships/tags" Target="../tags/tag427.xml"/><Relationship Id="rId1" Type="http://schemas.openxmlformats.org/officeDocument/2006/relationships/vmlDrawing" Target="../drawings/vmlDrawing223.vml"/><Relationship Id="rId6" Type="http://schemas.openxmlformats.org/officeDocument/2006/relationships/oleObject" Target="../embeddings/oleObject223.bin"/><Relationship Id="rId5" Type="http://schemas.openxmlformats.org/officeDocument/2006/relationships/notesSlide" Target="../notesSlides/notesSlide240.xml"/><Relationship Id="rId4" Type="http://schemas.openxmlformats.org/officeDocument/2006/relationships/slideLayout" Target="../slideLayouts/slideLayout15.xml"/></Relationships>
</file>

<file path=ppt/slides/_rels/slide251.xml.rels><?xml version="1.0" encoding="UTF-8" standalone="yes"?>
<Relationships xmlns="http://schemas.openxmlformats.org/package/2006/relationships"><Relationship Id="rId3" Type="http://schemas.openxmlformats.org/officeDocument/2006/relationships/tags" Target="../tags/tag430.xml"/><Relationship Id="rId7" Type="http://schemas.openxmlformats.org/officeDocument/2006/relationships/image" Target="../media/image1.emf"/><Relationship Id="rId2" Type="http://schemas.openxmlformats.org/officeDocument/2006/relationships/tags" Target="../tags/tag429.xml"/><Relationship Id="rId1" Type="http://schemas.openxmlformats.org/officeDocument/2006/relationships/vmlDrawing" Target="../drawings/vmlDrawing224.vml"/><Relationship Id="rId6" Type="http://schemas.openxmlformats.org/officeDocument/2006/relationships/oleObject" Target="../embeddings/oleObject224.bin"/><Relationship Id="rId5" Type="http://schemas.openxmlformats.org/officeDocument/2006/relationships/notesSlide" Target="../notesSlides/notesSlide241.xml"/><Relationship Id="rId4" Type="http://schemas.openxmlformats.org/officeDocument/2006/relationships/slideLayout" Target="../slideLayouts/slideLayout15.xml"/></Relationships>
</file>

<file path=ppt/slides/_rels/slide252.xml.rels><?xml version="1.0" encoding="UTF-8" standalone="yes"?>
<Relationships xmlns="http://schemas.openxmlformats.org/package/2006/relationships"><Relationship Id="rId3" Type="http://schemas.openxmlformats.org/officeDocument/2006/relationships/tags" Target="../tags/tag432.xml"/><Relationship Id="rId7" Type="http://schemas.openxmlformats.org/officeDocument/2006/relationships/image" Target="../media/image1.emf"/><Relationship Id="rId2" Type="http://schemas.openxmlformats.org/officeDocument/2006/relationships/tags" Target="../tags/tag431.xml"/><Relationship Id="rId1" Type="http://schemas.openxmlformats.org/officeDocument/2006/relationships/vmlDrawing" Target="../drawings/vmlDrawing225.vml"/><Relationship Id="rId6" Type="http://schemas.openxmlformats.org/officeDocument/2006/relationships/oleObject" Target="../embeddings/oleObject225.bin"/><Relationship Id="rId5" Type="http://schemas.openxmlformats.org/officeDocument/2006/relationships/notesSlide" Target="../notesSlides/notesSlide242.xml"/><Relationship Id="rId4" Type="http://schemas.openxmlformats.org/officeDocument/2006/relationships/slideLayout" Target="../slideLayouts/slideLayout15.xml"/></Relationships>
</file>

<file path=ppt/slides/_rels/slide253.xml.rels><?xml version="1.0" encoding="UTF-8" standalone="yes"?>
<Relationships xmlns="http://schemas.openxmlformats.org/package/2006/relationships"><Relationship Id="rId3" Type="http://schemas.openxmlformats.org/officeDocument/2006/relationships/tags" Target="../tags/tag434.xml"/><Relationship Id="rId7" Type="http://schemas.openxmlformats.org/officeDocument/2006/relationships/image" Target="../media/image1.emf"/><Relationship Id="rId2" Type="http://schemas.openxmlformats.org/officeDocument/2006/relationships/tags" Target="../tags/tag433.xml"/><Relationship Id="rId1" Type="http://schemas.openxmlformats.org/officeDocument/2006/relationships/vmlDrawing" Target="../drawings/vmlDrawing226.vml"/><Relationship Id="rId6" Type="http://schemas.openxmlformats.org/officeDocument/2006/relationships/oleObject" Target="../embeddings/oleObject226.bin"/><Relationship Id="rId5" Type="http://schemas.openxmlformats.org/officeDocument/2006/relationships/notesSlide" Target="../notesSlides/notesSlide243.xml"/><Relationship Id="rId4" Type="http://schemas.openxmlformats.org/officeDocument/2006/relationships/slideLayout" Target="../slideLayouts/slideLayout15.xml"/></Relationships>
</file>

<file path=ppt/slides/_rels/slide254.xml.rels><?xml version="1.0" encoding="UTF-8" standalone="yes"?>
<Relationships xmlns="http://schemas.openxmlformats.org/package/2006/relationships"><Relationship Id="rId3" Type="http://schemas.openxmlformats.org/officeDocument/2006/relationships/tags" Target="../tags/tag436.xml"/><Relationship Id="rId7" Type="http://schemas.openxmlformats.org/officeDocument/2006/relationships/image" Target="../media/image1.emf"/><Relationship Id="rId2" Type="http://schemas.openxmlformats.org/officeDocument/2006/relationships/tags" Target="../tags/tag435.xml"/><Relationship Id="rId1" Type="http://schemas.openxmlformats.org/officeDocument/2006/relationships/vmlDrawing" Target="../drawings/vmlDrawing227.vml"/><Relationship Id="rId6" Type="http://schemas.openxmlformats.org/officeDocument/2006/relationships/oleObject" Target="../embeddings/oleObject227.bin"/><Relationship Id="rId5" Type="http://schemas.openxmlformats.org/officeDocument/2006/relationships/notesSlide" Target="../notesSlides/notesSlide244.xml"/><Relationship Id="rId4" Type="http://schemas.openxmlformats.org/officeDocument/2006/relationships/slideLayout" Target="../slideLayouts/slideLayout15.xml"/></Relationships>
</file>

<file path=ppt/slides/_rels/slide25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6.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tags" Target="../tags/tag30.xml"/><Relationship Id="rId7" Type="http://schemas.openxmlformats.org/officeDocument/2006/relationships/image" Target="../media/image5.emf"/><Relationship Id="rId2" Type="http://schemas.openxmlformats.org/officeDocument/2006/relationships/tags" Target="../tags/tag29.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23.xml"/><Relationship Id="rId4"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5.emf"/><Relationship Id="rId2" Type="http://schemas.openxmlformats.org/officeDocument/2006/relationships/tags" Target="../tags/tag31.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24.xml"/><Relationship Id="rId4"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2" Type="http://schemas.openxmlformats.org/officeDocument/2006/relationships/slide" Target="slide2.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2" Type="http://schemas.openxmlformats.org/officeDocument/2006/relationships/slide" Target="slide2.xml"/><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5.emf"/><Relationship Id="rId2" Type="http://schemas.openxmlformats.org/officeDocument/2006/relationships/tags" Target="../tags/tag33.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26.xml"/><Relationship Id="rId4"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35.xml"/><Relationship Id="rId1" Type="http://schemas.openxmlformats.org/officeDocument/2006/relationships/vmlDrawing" Target="../drawings/vmlDrawing23.vml"/><Relationship Id="rId6" Type="http://schemas.openxmlformats.org/officeDocument/2006/relationships/image" Target="../media/image5.emf"/><Relationship Id="rId5" Type="http://schemas.openxmlformats.org/officeDocument/2006/relationships/oleObject" Target="../embeddings/oleObject23.bin"/><Relationship Id="rId4" Type="http://schemas.openxmlformats.org/officeDocument/2006/relationships/notesSlide" Target="../notesSlides/notesSlide27.xml"/></Relationships>
</file>

<file path=ppt/slides/_rels/slide32.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5.emf"/><Relationship Id="rId2" Type="http://schemas.openxmlformats.org/officeDocument/2006/relationships/tags" Target="../tags/tag36.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28.xml"/><Relationship Id="rId4"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5.emf"/><Relationship Id="rId2" Type="http://schemas.openxmlformats.org/officeDocument/2006/relationships/tags" Target="../tags/tag38.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29.xml"/><Relationship Id="rId4"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41.xml"/><Relationship Id="rId7" Type="http://schemas.openxmlformats.org/officeDocument/2006/relationships/image" Target="../media/image5.emf"/><Relationship Id="rId2" Type="http://schemas.openxmlformats.org/officeDocument/2006/relationships/tags" Target="../tags/tag40.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30.xml"/><Relationship Id="rId4"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5.emf"/><Relationship Id="rId2" Type="http://schemas.openxmlformats.org/officeDocument/2006/relationships/tags" Target="../tags/tag42.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notesSlide" Target="../notesSlides/notesSlide31.xml"/><Relationship Id="rId4"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1.emf"/><Relationship Id="rId2" Type="http://schemas.openxmlformats.org/officeDocument/2006/relationships/tags" Target="../tags/tag44.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notesSlide" Target="../notesSlides/notesSlide32.xml"/><Relationship Id="rId4"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1.emf"/><Relationship Id="rId2" Type="http://schemas.openxmlformats.org/officeDocument/2006/relationships/tags" Target="../tags/tag46.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notesSlide" Target="../notesSlides/notesSlide33.xml"/><Relationship Id="rId4"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2" Type="http://schemas.openxmlformats.org/officeDocument/2006/relationships/slide" Target="slide2.xml"/><Relationship Id="rId1" Type="http://schemas.openxmlformats.org/officeDocument/2006/relationships/slideLayout" Target="../slideLayouts/slideLayout19.xml"/></Relationships>
</file>

<file path=ppt/slides/_rels/slide39.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tags" Target="../tags/tag49.xml"/><Relationship Id="rId7" Type="http://schemas.openxmlformats.org/officeDocument/2006/relationships/image" Target="../media/image1.emf"/><Relationship Id="rId2" Type="http://schemas.openxmlformats.org/officeDocument/2006/relationships/tags" Target="../tags/tag48.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notesSlide" Target="../notesSlides/notesSlide34.xml"/><Relationship Id="rId4"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3.xml"/><Relationship Id="rId4" Type="http://schemas.openxmlformats.org/officeDocument/2006/relationships/slideLayout" Target="../slideLayouts/slideLayout24.xml"/></Relationships>
</file>

<file path=ppt/slides/_rels/slide40.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1.emf"/><Relationship Id="rId2" Type="http://schemas.openxmlformats.org/officeDocument/2006/relationships/tags" Target="../tags/tag50.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notesSlide" Target="../notesSlides/notesSlide35.xml"/><Relationship Id="rId4"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image" Target="../media/image1.emf"/><Relationship Id="rId2" Type="http://schemas.openxmlformats.org/officeDocument/2006/relationships/tags" Target="../tags/tag52.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notesSlide" Target="../notesSlides/notesSlide36.xml"/><Relationship Id="rId4" Type="http://schemas.openxmlformats.org/officeDocument/2006/relationships/slideLayout" Target="../slideLayouts/slideLayout15.xml"/></Relationships>
</file>

<file path=ppt/slides/_rels/slide42.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notesSlide" Target="../notesSlides/notesSlide37.xml"/><Relationship Id="rId4" Type="http://schemas.openxmlformats.org/officeDocument/2006/relationships/slideLayout" Target="../slideLayouts/slideLayout15.xml"/></Relationships>
</file>

<file path=ppt/slides/_rels/slide43.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1.emf"/><Relationship Id="rId2" Type="http://schemas.openxmlformats.org/officeDocument/2006/relationships/tags" Target="../tags/tag56.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notesSlide" Target="../notesSlides/notesSlide38.xml"/><Relationship Id="rId4" Type="http://schemas.openxmlformats.org/officeDocument/2006/relationships/slideLayout" Target="../slideLayouts/slideLayout15.xml"/></Relationships>
</file>

<file path=ppt/slides/_rels/slide44.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1.emf"/><Relationship Id="rId2" Type="http://schemas.openxmlformats.org/officeDocument/2006/relationships/tags" Target="../tags/tag58.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notesSlide" Target="../notesSlides/notesSlide39.xml"/><Relationship Id="rId4" Type="http://schemas.openxmlformats.org/officeDocument/2006/relationships/slideLayout" Target="../slideLayouts/slideLayout15.xml"/></Relationships>
</file>

<file path=ppt/slides/_rels/slide4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36.vml"/><Relationship Id="rId6" Type="http://schemas.openxmlformats.org/officeDocument/2006/relationships/oleObject" Target="../embeddings/oleObject36.bin"/><Relationship Id="rId5" Type="http://schemas.openxmlformats.org/officeDocument/2006/relationships/notesSlide" Target="../notesSlides/notesSlide40.xml"/><Relationship Id="rId4" Type="http://schemas.openxmlformats.org/officeDocument/2006/relationships/slideLayout" Target="../slideLayouts/slideLayout15.xml"/></Relationships>
</file>

<file path=ppt/slides/_rels/slide46.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1.emf"/><Relationship Id="rId2" Type="http://schemas.openxmlformats.org/officeDocument/2006/relationships/tags" Target="../tags/tag62.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notesSlide" Target="../notesSlides/notesSlide41.xml"/><Relationship Id="rId4" Type="http://schemas.openxmlformats.org/officeDocument/2006/relationships/slideLayout" Target="../slideLayouts/slideLayout15.xml"/></Relationships>
</file>

<file path=ppt/slides/_rels/slide47.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3" Type="http://schemas.openxmlformats.org/officeDocument/2006/relationships/tags" Target="../tags/tag65.xml"/><Relationship Id="rId7" Type="http://schemas.openxmlformats.org/officeDocument/2006/relationships/image" Target="../media/image1.emf"/><Relationship Id="rId12" Type="http://schemas.openxmlformats.org/officeDocument/2006/relationships/image" Target="../media/image21.png"/><Relationship Id="rId2" Type="http://schemas.openxmlformats.org/officeDocument/2006/relationships/tags" Target="../tags/tag64.xml"/><Relationship Id="rId1" Type="http://schemas.openxmlformats.org/officeDocument/2006/relationships/vmlDrawing" Target="../drawings/vmlDrawing38.vml"/><Relationship Id="rId6" Type="http://schemas.openxmlformats.org/officeDocument/2006/relationships/oleObject" Target="../embeddings/oleObject38.bin"/><Relationship Id="rId11" Type="http://schemas.openxmlformats.org/officeDocument/2006/relationships/image" Target="../media/image20.png"/><Relationship Id="rId5" Type="http://schemas.openxmlformats.org/officeDocument/2006/relationships/notesSlide" Target="../notesSlides/notesSlide42.xml"/><Relationship Id="rId15" Type="http://schemas.openxmlformats.org/officeDocument/2006/relationships/image" Target="../media/image24.png"/><Relationship Id="rId10" Type="http://schemas.openxmlformats.org/officeDocument/2006/relationships/image" Target="../media/image19.png"/><Relationship Id="rId4" Type="http://schemas.openxmlformats.org/officeDocument/2006/relationships/slideLayout" Target="../slideLayouts/slideLayout15.xml"/><Relationship Id="rId9" Type="http://schemas.openxmlformats.org/officeDocument/2006/relationships/image" Target="../media/image18.png"/><Relationship Id="rId14" Type="http://schemas.openxmlformats.org/officeDocument/2006/relationships/image" Target="../media/image23.png"/></Relationships>
</file>

<file path=ppt/slides/_rels/slide48.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67.xml"/><Relationship Id="rId7" Type="http://schemas.openxmlformats.org/officeDocument/2006/relationships/image" Target="../media/image1.emf"/><Relationship Id="rId2" Type="http://schemas.openxmlformats.org/officeDocument/2006/relationships/tags" Target="../tags/tag66.xml"/><Relationship Id="rId1" Type="http://schemas.openxmlformats.org/officeDocument/2006/relationships/vmlDrawing" Target="../drawings/vmlDrawing39.vml"/><Relationship Id="rId6" Type="http://schemas.openxmlformats.org/officeDocument/2006/relationships/oleObject" Target="../embeddings/oleObject39.bin"/><Relationship Id="rId5" Type="http://schemas.openxmlformats.org/officeDocument/2006/relationships/notesSlide" Target="../notesSlides/notesSlide43.xml"/><Relationship Id="rId4" Type="http://schemas.openxmlformats.org/officeDocument/2006/relationships/slideLayout" Target="../slideLayouts/slideLayout15.xml"/><Relationship Id="rId9" Type="http://schemas.openxmlformats.org/officeDocument/2006/relationships/image" Target="../media/image26.png"/></Relationships>
</file>

<file path=ppt/slides/_rels/slide49.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69.xml"/><Relationship Id="rId7" Type="http://schemas.openxmlformats.org/officeDocument/2006/relationships/image" Target="../media/image1.emf"/><Relationship Id="rId2" Type="http://schemas.openxmlformats.org/officeDocument/2006/relationships/tags" Target="../tags/tag68.xml"/><Relationship Id="rId1" Type="http://schemas.openxmlformats.org/officeDocument/2006/relationships/vmlDrawing" Target="../drawings/vmlDrawing40.vml"/><Relationship Id="rId6" Type="http://schemas.openxmlformats.org/officeDocument/2006/relationships/oleObject" Target="../embeddings/oleObject40.bin"/><Relationship Id="rId5" Type="http://schemas.openxmlformats.org/officeDocument/2006/relationships/notesSlide" Target="../notesSlides/notesSlide44.xml"/><Relationship Id="rId4"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1.emf"/><Relationship Id="rId2" Type="http://schemas.openxmlformats.org/officeDocument/2006/relationships/tags" Target="../tags/tag70.xml"/><Relationship Id="rId1" Type="http://schemas.openxmlformats.org/officeDocument/2006/relationships/vmlDrawing" Target="../drawings/vmlDrawing41.vml"/><Relationship Id="rId6" Type="http://schemas.openxmlformats.org/officeDocument/2006/relationships/oleObject" Target="../embeddings/oleObject41.bin"/><Relationship Id="rId5" Type="http://schemas.openxmlformats.org/officeDocument/2006/relationships/notesSlide" Target="../notesSlides/notesSlide45.xml"/><Relationship Id="rId4" Type="http://schemas.openxmlformats.org/officeDocument/2006/relationships/slideLayout" Target="../slideLayouts/slideLayout15.xml"/></Relationships>
</file>

<file path=ppt/slides/_rels/slide51.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1.emf"/><Relationship Id="rId2" Type="http://schemas.openxmlformats.org/officeDocument/2006/relationships/tags" Target="../tags/tag72.xml"/><Relationship Id="rId1" Type="http://schemas.openxmlformats.org/officeDocument/2006/relationships/vmlDrawing" Target="../drawings/vmlDrawing42.vml"/><Relationship Id="rId6" Type="http://schemas.openxmlformats.org/officeDocument/2006/relationships/oleObject" Target="../embeddings/oleObject42.bin"/><Relationship Id="rId5" Type="http://schemas.openxmlformats.org/officeDocument/2006/relationships/notesSlide" Target="../notesSlides/notesSlide46.xml"/><Relationship Id="rId4" Type="http://schemas.openxmlformats.org/officeDocument/2006/relationships/slideLayout" Target="../slideLayouts/slideLayout15.xml"/></Relationships>
</file>

<file path=ppt/slides/_rels/slide52.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1.emf"/><Relationship Id="rId2" Type="http://schemas.openxmlformats.org/officeDocument/2006/relationships/tags" Target="../tags/tag74.xml"/><Relationship Id="rId1" Type="http://schemas.openxmlformats.org/officeDocument/2006/relationships/vmlDrawing" Target="../drawings/vmlDrawing43.vml"/><Relationship Id="rId6" Type="http://schemas.openxmlformats.org/officeDocument/2006/relationships/oleObject" Target="../embeddings/oleObject43.bin"/><Relationship Id="rId5" Type="http://schemas.openxmlformats.org/officeDocument/2006/relationships/notesSlide" Target="../notesSlides/notesSlide47.xml"/><Relationship Id="rId4" Type="http://schemas.openxmlformats.org/officeDocument/2006/relationships/slideLayout" Target="../slideLayouts/slideLayout15.xml"/></Relationships>
</file>

<file path=ppt/slides/_rels/slide53.xml.rels><?xml version="1.0" encoding="UTF-8" standalone="yes"?>
<Relationships xmlns="http://schemas.openxmlformats.org/package/2006/relationships"><Relationship Id="rId3" Type="http://schemas.openxmlformats.org/officeDocument/2006/relationships/tags" Target="../tags/tag77.xml"/><Relationship Id="rId7" Type="http://schemas.openxmlformats.org/officeDocument/2006/relationships/image" Target="../media/image1.emf"/><Relationship Id="rId2" Type="http://schemas.openxmlformats.org/officeDocument/2006/relationships/tags" Target="../tags/tag76.xml"/><Relationship Id="rId1" Type="http://schemas.openxmlformats.org/officeDocument/2006/relationships/vmlDrawing" Target="../drawings/vmlDrawing44.vml"/><Relationship Id="rId6" Type="http://schemas.openxmlformats.org/officeDocument/2006/relationships/oleObject" Target="../embeddings/oleObject44.bin"/><Relationship Id="rId5" Type="http://schemas.openxmlformats.org/officeDocument/2006/relationships/notesSlide" Target="../notesSlides/notesSlide48.xml"/><Relationship Id="rId4" Type="http://schemas.openxmlformats.org/officeDocument/2006/relationships/slideLayout" Target="../slideLayouts/slideLayout15.xml"/></Relationships>
</file>

<file path=ppt/slides/_rels/slide54.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image" Target="../media/image1.emf"/><Relationship Id="rId2" Type="http://schemas.openxmlformats.org/officeDocument/2006/relationships/tags" Target="../tags/tag78.xml"/><Relationship Id="rId1" Type="http://schemas.openxmlformats.org/officeDocument/2006/relationships/vmlDrawing" Target="../drawings/vmlDrawing45.vml"/><Relationship Id="rId6" Type="http://schemas.openxmlformats.org/officeDocument/2006/relationships/oleObject" Target="../embeddings/oleObject45.bin"/><Relationship Id="rId5" Type="http://schemas.openxmlformats.org/officeDocument/2006/relationships/notesSlide" Target="../notesSlides/notesSlide49.xml"/><Relationship Id="rId4" Type="http://schemas.openxmlformats.org/officeDocument/2006/relationships/slideLayout" Target="../slideLayouts/slideLayout15.xml"/></Relationships>
</file>

<file path=ppt/slides/_rels/slide55.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1.emf"/><Relationship Id="rId2" Type="http://schemas.openxmlformats.org/officeDocument/2006/relationships/tags" Target="../tags/tag80.xml"/><Relationship Id="rId1" Type="http://schemas.openxmlformats.org/officeDocument/2006/relationships/vmlDrawing" Target="../drawings/vmlDrawing46.vml"/><Relationship Id="rId6" Type="http://schemas.openxmlformats.org/officeDocument/2006/relationships/oleObject" Target="../embeddings/oleObject46.bin"/><Relationship Id="rId5" Type="http://schemas.openxmlformats.org/officeDocument/2006/relationships/notesSlide" Target="../notesSlides/notesSlide50.xml"/><Relationship Id="rId4" Type="http://schemas.openxmlformats.org/officeDocument/2006/relationships/slideLayout" Target="../slideLayouts/slideLayout15.xml"/></Relationships>
</file>

<file path=ppt/slides/_rels/slide56.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1.emf"/><Relationship Id="rId2" Type="http://schemas.openxmlformats.org/officeDocument/2006/relationships/tags" Target="../tags/tag82.xml"/><Relationship Id="rId1" Type="http://schemas.openxmlformats.org/officeDocument/2006/relationships/vmlDrawing" Target="../drawings/vmlDrawing47.vml"/><Relationship Id="rId6" Type="http://schemas.openxmlformats.org/officeDocument/2006/relationships/oleObject" Target="../embeddings/oleObject47.bin"/><Relationship Id="rId5" Type="http://schemas.openxmlformats.org/officeDocument/2006/relationships/notesSlide" Target="../notesSlides/notesSlide51.xml"/><Relationship Id="rId4" Type="http://schemas.openxmlformats.org/officeDocument/2006/relationships/slideLayout" Target="../slideLayouts/slideLayout15.xml"/></Relationships>
</file>

<file path=ppt/slides/_rels/slide57.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85.xml"/><Relationship Id="rId7" Type="http://schemas.openxmlformats.org/officeDocument/2006/relationships/image" Target="../media/image1.emf"/><Relationship Id="rId2" Type="http://schemas.openxmlformats.org/officeDocument/2006/relationships/tags" Target="../tags/tag84.xml"/><Relationship Id="rId1" Type="http://schemas.openxmlformats.org/officeDocument/2006/relationships/vmlDrawing" Target="../drawings/vmlDrawing48.vml"/><Relationship Id="rId6" Type="http://schemas.openxmlformats.org/officeDocument/2006/relationships/oleObject" Target="../embeddings/oleObject48.bin"/><Relationship Id="rId5" Type="http://schemas.openxmlformats.org/officeDocument/2006/relationships/notesSlide" Target="../notesSlides/notesSlide52.xml"/><Relationship Id="rId4" Type="http://schemas.openxmlformats.org/officeDocument/2006/relationships/slideLayout" Target="../slideLayouts/slideLayout15.xml"/></Relationships>
</file>

<file path=ppt/slides/_rels/slide58.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image" Target="../media/image1.emf"/><Relationship Id="rId2" Type="http://schemas.openxmlformats.org/officeDocument/2006/relationships/tags" Target="../tags/tag86.xml"/><Relationship Id="rId1" Type="http://schemas.openxmlformats.org/officeDocument/2006/relationships/vmlDrawing" Target="../drawings/vmlDrawing49.vml"/><Relationship Id="rId6" Type="http://schemas.openxmlformats.org/officeDocument/2006/relationships/oleObject" Target="../embeddings/oleObject49.bin"/><Relationship Id="rId5" Type="http://schemas.openxmlformats.org/officeDocument/2006/relationships/notesSlide" Target="../notesSlides/notesSlide53.xml"/><Relationship Id="rId4" Type="http://schemas.openxmlformats.org/officeDocument/2006/relationships/slideLayout" Target="../slideLayouts/slideLayout15.xml"/></Relationships>
</file>

<file path=ppt/slides/_rels/slide59.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1.emf"/><Relationship Id="rId2" Type="http://schemas.openxmlformats.org/officeDocument/2006/relationships/tags" Target="../tags/tag88.xml"/><Relationship Id="rId1" Type="http://schemas.openxmlformats.org/officeDocument/2006/relationships/vmlDrawing" Target="../drawings/vmlDrawing50.vml"/><Relationship Id="rId6" Type="http://schemas.openxmlformats.org/officeDocument/2006/relationships/oleObject" Target="../embeddings/oleObject50.bin"/><Relationship Id="rId5" Type="http://schemas.openxmlformats.org/officeDocument/2006/relationships/notesSlide" Target="../notesSlides/notesSlide54.xml"/><Relationship Id="rId4"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6.png"/><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notesSlide" Target="../notesSlides/notesSlide5.xml"/></Relationships>
</file>

<file path=ppt/slides/_rels/slide60.xml.rels><?xml version="1.0" encoding="UTF-8" standalone="yes"?>
<Relationships xmlns="http://schemas.openxmlformats.org/package/2006/relationships"><Relationship Id="rId3" Type="http://schemas.openxmlformats.org/officeDocument/2006/relationships/tags" Target="../tags/tag91.xml"/><Relationship Id="rId7" Type="http://schemas.openxmlformats.org/officeDocument/2006/relationships/image" Target="../media/image1.emf"/><Relationship Id="rId2" Type="http://schemas.openxmlformats.org/officeDocument/2006/relationships/tags" Target="../tags/tag90.xml"/><Relationship Id="rId1" Type="http://schemas.openxmlformats.org/officeDocument/2006/relationships/vmlDrawing" Target="../drawings/vmlDrawing51.vml"/><Relationship Id="rId6" Type="http://schemas.openxmlformats.org/officeDocument/2006/relationships/oleObject" Target="../embeddings/oleObject51.bin"/><Relationship Id="rId5" Type="http://schemas.openxmlformats.org/officeDocument/2006/relationships/notesSlide" Target="../notesSlides/notesSlide55.xml"/><Relationship Id="rId4" Type="http://schemas.openxmlformats.org/officeDocument/2006/relationships/slideLayout" Target="../slideLayouts/slideLayout15.xml"/></Relationships>
</file>

<file path=ppt/slides/_rels/slide61.xml.rels><?xml version="1.0" encoding="UTF-8" standalone="yes"?>
<Relationships xmlns="http://schemas.openxmlformats.org/package/2006/relationships"><Relationship Id="rId3" Type="http://schemas.openxmlformats.org/officeDocument/2006/relationships/tags" Target="../tags/tag93.xml"/><Relationship Id="rId7" Type="http://schemas.openxmlformats.org/officeDocument/2006/relationships/image" Target="../media/image1.emf"/><Relationship Id="rId2" Type="http://schemas.openxmlformats.org/officeDocument/2006/relationships/tags" Target="../tags/tag92.xml"/><Relationship Id="rId1" Type="http://schemas.openxmlformats.org/officeDocument/2006/relationships/vmlDrawing" Target="../drawings/vmlDrawing52.vml"/><Relationship Id="rId6" Type="http://schemas.openxmlformats.org/officeDocument/2006/relationships/oleObject" Target="../embeddings/oleObject52.bin"/><Relationship Id="rId5" Type="http://schemas.openxmlformats.org/officeDocument/2006/relationships/notesSlide" Target="../notesSlides/notesSlide56.xml"/><Relationship Id="rId4" Type="http://schemas.openxmlformats.org/officeDocument/2006/relationships/slideLayout" Target="../slideLayouts/slideLayout15.xml"/></Relationships>
</file>

<file path=ppt/slides/_rels/slide62.xml.rels><?xml version="1.0" encoding="UTF-8" standalone="yes"?>
<Relationships xmlns="http://schemas.openxmlformats.org/package/2006/relationships"><Relationship Id="rId3" Type="http://schemas.openxmlformats.org/officeDocument/2006/relationships/tags" Target="../tags/tag95.xml"/><Relationship Id="rId7" Type="http://schemas.openxmlformats.org/officeDocument/2006/relationships/image" Target="../media/image1.emf"/><Relationship Id="rId2" Type="http://schemas.openxmlformats.org/officeDocument/2006/relationships/tags" Target="../tags/tag94.xml"/><Relationship Id="rId1" Type="http://schemas.openxmlformats.org/officeDocument/2006/relationships/vmlDrawing" Target="../drawings/vmlDrawing53.vml"/><Relationship Id="rId6" Type="http://schemas.openxmlformats.org/officeDocument/2006/relationships/oleObject" Target="../embeddings/oleObject53.bin"/><Relationship Id="rId5" Type="http://schemas.openxmlformats.org/officeDocument/2006/relationships/notesSlide" Target="../notesSlides/notesSlide57.xml"/><Relationship Id="rId4" Type="http://schemas.openxmlformats.org/officeDocument/2006/relationships/slideLayout" Target="../slideLayouts/slideLayout15.xml"/></Relationships>
</file>

<file path=ppt/slides/_rels/slide6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7.xml"/><Relationship Id="rId7" Type="http://schemas.openxmlformats.org/officeDocument/2006/relationships/oleObject" Target="../embeddings/oleObject54.bin"/><Relationship Id="rId2" Type="http://schemas.openxmlformats.org/officeDocument/2006/relationships/tags" Target="../tags/tag96.xml"/><Relationship Id="rId1" Type="http://schemas.openxmlformats.org/officeDocument/2006/relationships/vmlDrawing" Target="../drawings/vmlDrawing54.vml"/><Relationship Id="rId6" Type="http://schemas.openxmlformats.org/officeDocument/2006/relationships/notesSlide" Target="../notesSlides/notesSlide58.xml"/><Relationship Id="rId5" Type="http://schemas.openxmlformats.org/officeDocument/2006/relationships/slideLayout" Target="../slideLayouts/slideLayout15.xml"/><Relationship Id="rId4" Type="http://schemas.openxmlformats.org/officeDocument/2006/relationships/tags" Target="../tags/tag98.xml"/></Relationships>
</file>

<file path=ppt/slides/_rels/slide64.xml.rels><?xml version="1.0" encoding="UTF-8" standalone="yes"?>
<Relationships xmlns="http://schemas.openxmlformats.org/package/2006/relationships"><Relationship Id="rId3" Type="http://schemas.openxmlformats.org/officeDocument/2006/relationships/tags" Target="../tags/tag100.xml"/><Relationship Id="rId7" Type="http://schemas.openxmlformats.org/officeDocument/2006/relationships/image" Target="../media/image1.emf"/><Relationship Id="rId2" Type="http://schemas.openxmlformats.org/officeDocument/2006/relationships/tags" Target="../tags/tag99.xml"/><Relationship Id="rId1" Type="http://schemas.openxmlformats.org/officeDocument/2006/relationships/vmlDrawing" Target="../drawings/vmlDrawing55.vml"/><Relationship Id="rId6" Type="http://schemas.openxmlformats.org/officeDocument/2006/relationships/oleObject" Target="../embeddings/oleObject55.bin"/><Relationship Id="rId5" Type="http://schemas.openxmlformats.org/officeDocument/2006/relationships/notesSlide" Target="../notesSlides/notesSlide59.xml"/><Relationship Id="rId4" Type="http://schemas.openxmlformats.org/officeDocument/2006/relationships/slideLayout" Target="../slideLayouts/slideLayout15.xml"/></Relationships>
</file>

<file path=ppt/slides/_rels/slide65.xml.rels><?xml version="1.0" encoding="UTF-8" standalone="yes"?>
<Relationships xmlns="http://schemas.openxmlformats.org/package/2006/relationships"><Relationship Id="rId3" Type="http://schemas.openxmlformats.org/officeDocument/2006/relationships/tags" Target="../tags/tag102.xml"/><Relationship Id="rId7" Type="http://schemas.openxmlformats.org/officeDocument/2006/relationships/image" Target="../media/image1.emf"/><Relationship Id="rId2" Type="http://schemas.openxmlformats.org/officeDocument/2006/relationships/tags" Target="../tags/tag101.xml"/><Relationship Id="rId1" Type="http://schemas.openxmlformats.org/officeDocument/2006/relationships/vmlDrawing" Target="../drawings/vmlDrawing56.vml"/><Relationship Id="rId6" Type="http://schemas.openxmlformats.org/officeDocument/2006/relationships/oleObject" Target="../embeddings/oleObject56.bin"/><Relationship Id="rId5" Type="http://schemas.openxmlformats.org/officeDocument/2006/relationships/notesSlide" Target="../notesSlides/notesSlide60.xml"/><Relationship Id="rId4" Type="http://schemas.openxmlformats.org/officeDocument/2006/relationships/slideLayout" Target="../slideLayouts/slideLayout15.xml"/></Relationships>
</file>

<file path=ppt/slides/_rels/slide66.xml.rels><?xml version="1.0" encoding="UTF-8" standalone="yes"?>
<Relationships xmlns="http://schemas.openxmlformats.org/package/2006/relationships"><Relationship Id="rId3" Type="http://schemas.openxmlformats.org/officeDocument/2006/relationships/tags" Target="../tags/tag104.xml"/><Relationship Id="rId7" Type="http://schemas.openxmlformats.org/officeDocument/2006/relationships/image" Target="../media/image1.emf"/><Relationship Id="rId2" Type="http://schemas.openxmlformats.org/officeDocument/2006/relationships/tags" Target="../tags/tag103.xml"/><Relationship Id="rId1" Type="http://schemas.openxmlformats.org/officeDocument/2006/relationships/vmlDrawing" Target="../drawings/vmlDrawing57.vml"/><Relationship Id="rId6" Type="http://schemas.openxmlformats.org/officeDocument/2006/relationships/oleObject" Target="../embeddings/oleObject57.bin"/><Relationship Id="rId5" Type="http://schemas.openxmlformats.org/officeDocument/2006/relationships/notesSlide" Target="../notesSlides/notesSlide61.xml"/><Relationship Id="rId4" Type="http://schemas.openxmlformats.org/officeDocument/2006/relationships/slideLayout" Target="../slideLayouts/slideLayout15.xml"/></Relationships>
</file>

<file path=ppt/slides/_rels/slide67.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image" Target="../media/image1.emf"/><Relationship Id="rId2" Type="http://schemas.openxmlformats.org/officeDocument/2006/relationships/tags" Target="../tags/tag105.xml"/><Relationship Id="rId1" Type="http://schemas.openxmlformats.org/officeDocument/2006/relationships/vmlDrawing" Target="../drawings/vmlDrawing58.vml"/><Relationship Id="rId6" Type="http://schemas.openxmlformats.org/officeDocument/2006/relationships/oleObject" Target="../embeddings/oleObject58.bin"/><Relationship Id="rId5" Type="http://schemas.openxmlformats.org/officeDocument/2006/relationships/notesSlide" Target="../notesSlides/notesSlide62.xml"/><Relationship Id="rId4" Type="http://schemas.openxmlformats.org/officeDocument/2006/relationships/slideLayout" Target="../slideLayouts/slideLayout17.xml"/></Relationships>
</file>

<file path=ppt/slides/_rels/slide68.xml.rels><?xml version="1.0" encoding="UTF-8" standalone="yes"?>
<Relationships xmlns="http://schemas.openxmlformats.org/package/2006/relationships"><Relationship Id="rId3" Type="http://schemas.openxmlformats.org/officeDocument/2006/relationships/tags" Target="../tags/tag108.xml"/><Relationship Id="rId7" Type="http://schemas.openxmlformats.org/officeDocument/2006/relationships/image" Target="../media/image1.emf"/><Relationship Id="rId2" Type="http://schemas.openxmlformats.org/officeDocument/2006/relationships/tags" Target="../tags/tag107.xml"/><Relationship Id="rId1" Type="http://schemas.openxmlformats.org/officeDocument/2006/relationships/vmlDrawing" Target="../drawings/vmlDrawing59.vml"/><Relationship Id="rId6" Type="http://schemas.openxmlformats.org/officeDocument/2006/relationships/oleObject" Target="../embeddings/oleObject59.bin"/><Relationship Id="rId5" Type="http://schemas.openxmlformats.org/officeDocument/2006/relationships/notesSlide" Target="../notesSlides/notesSlide63.xml"/><Relationship Id="rId4" Type="http://schemas.openxmlformats.org/officeDocument/2006/relationships/slideLayout" Target="../slideLayouts/slideLayout15.xml"/></Relationships>
</file>

<file path=ppt/slides/_rels/slide69.xml.rels><?xml version="1.0" encoding="UTF-8" standalone="yes"?>
<Relationships xmlns="http://schemas.openxmlformats.org/package/2006/relationships"><Relationship Id="rId8" Type="http://schemas.openxmlformats.org/officeDocument/2006/relationships/hyperlink" Target="https://www.businesswire.com/news/home/20181211005108/en/Navy-Lyft-Team-Last-Minute-Holiday-Shopping-Easier" TargetMode="External"/><Relationship Id="rId13" Type="http://schemas.openxmlformats.org/officeDocument/2006/relationships/image" Target="../media/image28.png"/><Relationship Id="rId18" Type="http://schemas.openxmlformats.org/officeDocument/2006/relationships/image" Target="../media/image33.png"/><Relationship Id="rId3" Type="http://schemas.openxmlformats.org/officeDocument/2006/relationships/tags" Target="../tags/tag110.xml"/><Relationship Id="rId21" Type="http://schemas.openxmlformats.org/officeDocument/2006/relationships/image" Target="../media/image36.png"/><Relationship Id="rId7" Type="http://schemas.openxmlformats.org/officeDocument/2006/relationships/image" Target="../media/image1.emf"/><Relationship Id="rId12" Type="http://schemas.openxmlformats.org/officeDocument/2006/relationships/hyperlink" Target="https://www.forbes.com/sites/gregpetro/2018/12/21/walmart-amazon-facebook-use-in-store-experiences-to-target-holiday-shoppers/#55de2f577142" TargetMode="External"/><Relationship Id="rId17" Type="http://schemas.openxmlformats.org/officeDocument/2006/relationships/image" Target="../media/image32.png"/><Relationship Id="rId2" Type="http://schemas.openxmlformats.org/officeDocument/2006/relationships/tags" Target="../tags/tag109.xml"/><Relationship Id="rId16" Type="http://schemas.openxmlformats.org/officeDocument/2006/relationships/image" Target="../media/image31.png"/><Relationship Id="rId20" Type="http://schemas.openxmlformats.org/officeDocument/2006/relationships/image" Target="../media/image35.png"/><Relationship Id="rId1" Type="http://schemas.openxmlformats.org/officeDocument/2006/relationships/vmlDrawing" Target="../drawings/vmlDrawing60.vml"/><Relationship Id="rId6" Type="http://schemas.openxmlformats.org/officeDocument/2006/relationships/oleObject" Target="../embeddings/oleObject60.bin"/><Relationship Id="rId11" Type="http://schemas.openxmlformats.org/officeDocument/2006/relationships/hyperlink" Target="https://www.adweek.com/digital/saks-fifth-avenue-launched-a-holiday-gift-guide-chatbot-on-messenger/" TargetMode="External"/><Relationship Id="rId5" Type="http://schemas.openxmlformats.org/officeDocument/2006/relationships/notesSlide" Target="../notesSlides/notesSlide64.xml"/><Relationship Id="rId15" Type="http://schemas.openxmlformats.org/officeDocument/2006/relationships/image" Target="../media/image30.png"/><Relationship Id="rId10" Type="http://schemas.openxmlformats.org/officeDocument/2006/relationships/hyperlink" Target="https://www.retaildive.com/news/simon-installs-launchpad-to-showcase-new-products-in-malls/543102/" TargetMode="External"/><Relationship Id="rId19" Type="http://schemas.openxmlformats.org/officeDocument/2006/relationships/image" Target="../media/image34.png"/><Relationship Id="rId4" Type="http://schemas.openxmlformats.org/officeDocument/2006/relationships/slideLayout" Target="../slideLayouts/slideLayout17.xml"/><Relationship Id="rId9" Type="http://schemas.openxmlformats.org/officeDocument/2006/relationships/hyperlink" Target="https://www.retaildive.com/news/kohls-old-navy-sprint-to-win-the-final-lap-of-the-holiday-race/544128/" TargetMode="External"/><Relationship Id="rId14" Type="http://schemas.openxmlformats.org/officeDocument/2006/relationships/image" Target="../media/image29.png"/></Relationships>
</file>

<file path=ppt/slides/_rels/slide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70.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112.xml"/><Relationship Id="rId7" Type="http://schemas.openxmlformats.org/officeDocument/2006/relationships/image" Target="../media/image1.emf"/><Relationship Id="rId2" Type="http://schemas.openxmlformats.org/officeDocument/2006/relationships/tags" Target="../tags/tag111.xml"/><Relationship Id="rId1" Type="http://schemas.openxmlformats.org/officeDocument/2006/relationships/vmlDrawing" Target="../drawings/vmlDrawing61.vml"/><Relationship Id="rId6" Type="http://schemas.openxmlformats.org/officeDocument/2006/relationships/oleObject" Target="../embeddings/oleObject61.bin"/><Relationship Id="rId5" Type="http://schemas.openxmlformats.org/officeDocument/2006/relationships/notesSlide" Target="../notesSlides/notesSlide65.xml"/><Relationship Id="rId4" Type="http://schemas.openxmlformats.org/officeDocument/2006/relationships/slideLayout" Target="../slideLayouts/slideLayout15.xml"/></Relationships>
</file>

<file path=ppt/slides/_rels/slide71.xml.rels><?xml version="1.0" encoding="UTF-8" standalone="yes"?>
<Relationships xmlns="http://schemas.openxmlformats.org/package/2006/relationships"><Relationship Id="rId3" Type="http://schemas.openxmlformats.org/officeDocument/2006/relationships/tags" Target="../tags/tag114.xml"/><Relationship Id="rId7" Type="http://schemas.openxmlformats.org/officeDocument/2006/relationships/image" Target="../media/image1.emf"/><Relationship Id="rId2" Type="http://schemas.openxmlformats.org/officeDocument/2006/relationships/tags" Target="../tags/tag113.xml"/><Relationship Id="rId1" Type="http://schemas.openxmlformats.org/officeDocument/2006/relationships/vmlDrawing" Target="../drawings/vmlDrawing62.vml"/><Relationship Id="rId6" Type="http://schemas.openxmlformats.org/officeDocument/2006/relationships/oleObject" Target="../embeddings/oleObject62.bin"/><Relationship Id="rId5" Type="http://schemas.openxmlformats.org/officeDocument/2006/relationships/notesSlide" Target="../notesSlides/notesSlide66.xml"/><Relationship Id="rId4" Type="http://schemas.openxmlformats.org/officeDocument/2006/relationships/slideLayout" Target="../slideLayouts/slideLayout15.xml"/></Relationships>
</file>

<file path=ppt/slides/_rels/slide72.xml.rels><?xml version="1.0" encoding="UTF-8" standalone="yes"?>
<Relationships xmlns="http://schemas.openxmlformats.org/package/2006/relationships"><Relationship Id="rId3" Type="http://schemas.openxmlformats.org/officeDocument/2006/relationships/tags" Target="../tags/tag116.xml"/><Relationship Id="rId7" Type="http://schemas.openxmlformats.org/officeDocument/2006/relationships/image" Target="../media/image1.emf"/><Relationship Id="rId2" Type="http://schemas.openxmlformats.org/officeDocument/2006/relationships/tags" Target="../tags/tag115.xml"/><Relationship Id="rId1" Type="http://schemas.openxmlformats.org/officeDocument/2006/relationships/vmlDrawing" Target="../drawings/vmlDrawing63.vml"/><Relationship Id="rId6" Type="http://schemas.openxmlformats.org/officeDocument/2006/relationships/oleObject" Target="../embeddings/oleObject63.bin"/><Relationship Id="rId5" Type="http://schemas.openxmlformats.org/officeDocument/2006/relationships/notesSlide" Target="../notesSlides/notesSlide67.xml"/><Relationship Id="rId4" Type="http://schemas.openxmlformats.org/officeDocument/2006/relationships/slideLayout" Target="../slideLayouts/slideLayout15.xml"/></Relationships>
</file>

<file path=ppt/slides/_rels/slide73.xml.rels><?xml version="1.0" encoding="UTF-8" standalone="yes"?>
<Relationships xmlns="http://schemas.openxmlformats.org/package/2006/relationships"><Relationship Id="rId3" Type="http://schemas.openxmlformats.org/officeDocument/2006/relationships/tags" Target="../tags/tag118.xml"/><Relationship Id="rId7" Type="http://schemas.openxmlformats.org/officeDocument/2006/relationships/image" Target="../media/image1.emf"/><Relationship Id="rId2" Type="http://schemas.openxmlformats.org/officeDocument/2006/relationships/tags" Target="../tags/tag117.xml"/><Relationship Id="rId1" Type="http://schemas.openxmlformats.org/officeDocument/2006/relationships/vmlDrawing" Target="../drawings/vmlDrawing64.vml"/><Relationship Id="rId6" Type="http://schemas.openxmlformats.org/officeDocument/2006/relationships/oleObject" Target="../embeddings/oleObject64.bin"/><Relationship Id="rId5" Type="http://schemas.openxmlformats.org/officeDocument/2006/relationships/notesSlide" Target="../notesSlides/notesSlide68.xml"/><Relationship Id="rId4" Type="http://schemas.openxmlformats.org/officeDocument/2006/relationships/slideLayout" Target="../slideLayouts/slideLayout15.xml"/></Relationships>
</file>

<file path=ppt/slides/_rels/slide74.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tags" Target="../tags/tag120.xml"/><Relationship Id="rId7" Type="http://schemas.openxmlformats.org/officeDocument/2006/relationships/image" Target="../media/image1.emf"/><Relationship Id="rId2" Type="http://schemas.openxmlformats.org/officeDocument/2006/relationships/tags" Target="../tags/tag119.xml"/><Relationship Id="rId1" Type="http://schemas.openxmlformats.org/officeDocument/2006/relationships/vmlDrawing" Target="../drawings/vmlDrawing65.vml"/><Relationship Id="rId6" Type="http://schemas.openxmlformats.org/officeDocument/2006/relationships/oleObject" Target="../embeddings/oleObject65.bin"/><Relationship Id="rId5" Type="http://schemas.openxmlformats.org/officeDocument/2006/relationships/notesSlide" Target="../notesSlides/notesSlide69.xml"/><Relationship Id="rId10" Type="http://schemas.openxmlformats.org/officeDocument/2006/relationships/image" Target="../media/image40.png"/><Relationship Id="rId4" Type="http://schemas.openxmlformats.org/officeDocument/2006/relationships/slideLayout" Target="../slideLayouts/slideLayout15.xml"/><Relationship Id="rId9" Type="http://schemas.openxmlformats.org/officeDocument/2006/relationships/image" Target="../media/image39.png"/></Relationships>
</file>

<file path=ppt/slides/_rels/slide75.xml.rels><?xml version="1.0" encoding="UTF-8" standalone="yes"?>
<Relationships xmlns="http://schemas.openxmlformats.org/package/2006/relationships"><Relationship Id="rId2" Type="http://schemas.openxmlformats.org/officeDocument/2006/relationships/slide" Target="slide2.xml"/><Relationship Id="rId1" Type="http://schemas.openxmlformats.org/officeDocument/2006/relationships/slideLayout" Target="../slideLayouts/slideLayout19.xml"/></Relationships>
</file>

<file path=ppt/slides/_rels/slide76.xml.rels><?xml version="1.0" encoding="UTF-8" standalone="yes"?>
<Relationships xmlns="http://schemas.openxmlformats.org/package/2006/relationships"><Relationship Id="rId3" Type="http://schemas.openxmlformats.org/officeDocument/2006/relationships/tags" Target="../tags/tag122.xml"/><Relationship Id="rId7" Type="http://schemas.openxmlformats.org/officeDocument/2006/relationships/image" Target="../media/image1.emf"/><Relationship Id="rId2" Type="http://schemas.openxmlformats.org/officeDocument/2006/relationships/tags" Target="../tags/tag121.xml"/><Relationship Id="rId1" Type="http://schemas.openxmlformats.org/officeDocument/2006/relationships/vmlDrawing" Target="../drawings/vmlDrawing66.vml"/><Relationship Id="rId6" Type="http://schemas.openxmlformats.org/officeDocument/2006/relationships/oleObject" Target="../embeddings/oleObject66.bin"/><Relationship Id="rId5" Type="http://schemas.openxmlformats.org/officeDocument/2006/relationships/notesSlide" Target="../notesSlides/notesSlide70.xml"/><Relationship Id="rId4" Type="http://schemas.openxmlformats.org/officeDocument/2006/relationships/slideLayout" Target="../slideLayouts/slideLayout15.xml"/></Relationships>
</file>

<file path=ppt/slides/_rels/slide77.xml.rels><?xml version="1.0" encoding="UTF-8" standalone="yes"?>
<Relationships xmlns="http://schemas.openxmlformats.org/package/2006/relationships"><Relationship Id="rId3" Type="http://schemas.openxmlformats.org/officeDocument/2006/relationships/tags" Target="../tags/tag124.xml"/><Relationship Id="rId7" Type="http://schemas.openxmlformats.org/officeDocument/2006/relationships/image" Target="../media/image1.emf"/><Relationship Id="rId2" Type="http://schemas.openxmlformats.org/officeDocument/2006/relationships/tags" Target="../tags/tag123.xml"/><Relationship Id="rId1" Type="http://schemas.openxmlformats.org/officeDocument/2006/relationships/vmlDrawing" Target="../drawings/vmlDrawing67.vml"/><Relationship Id="rId6" Type="http://schemas.openxmlformats.org/officeDocument/2006/relationships/oleObject" Target="../embeddings/oleObject67.bin"/><Relationship Id="rId5" Type="http://schemas.openxmlformats.org/officeDocument/2006/relationships/notesSlide" Target="../notesSlides/notesSlide71.xml"/><Relationship Id="rId4" Type="http://schemas.openxmlformats.org/officeDocument/2006/relationships/slideLayout" Target="../slideLayouts/slideLayout15.xml"/></Relationships>
</file>

<file path=ppt/slides/_rels/slide78.xml.rels><?xml version="1.0" encoding="UTF-8" standalone="yes"?>
<Relationships xmlns="http://schemas.openxmlformats.org/package/2006/relationships"><Relationship Id="rId3" Type="http://schemas.openxmlformats.org/officeDocument/2006/relationships/tags" Target="../tags/tag126.xml"/><Relationship Id="rId7" Type="http://schemas.openxmlformats.org/officeDocument/2006/relationships/image" Target="../media/image1.emf"/><Relationship Id="rId2" Type="http://schemas.openxmlformats.org/officeDocument/2006/relationships/tags" Target="../tags/tag125.xml"/><Relationship Id="rId1" Type="http://schemas.openxmlformats.org/officeDocument/2006/relationships/vmlDrawing" Target="../drawings/vmlDrawing68.vml"/><Relationship Id="rId6" Type="http://schemas.openxmlformats.org/officeDocument/2006/relationships/oleObject" Target="../embeddings/oleObject68.bin"/><Relationship Id="rId5" Type="http://schemas.openxmlformats.org/officeDocument/2006/relationships/notesSlide" Target="../notesSlides/notesSlide72.xml"/><Relationship Id="rId4" Type="http://schemas.openxmlformats.org/officeDocument/2006/relationships/slideLayout" Target="../slideLayouts/slideLayout15.xml"/></Relationships>
</file>

<file path=ppt/slides/_rels/slide79.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png"/><Relationship Id="rId18" Type="http://schemas.openxmlformats.org/officeDocument/2006/relationships/image" Target="../media/image51.png"/><Relationship Id="rId3" Type="http://schemas.openxmlformats.org/officeDocument/2006/relationships/tags" Target="../tags/tag128.xml"/><Relationship Id="rId7" Type="http://schemas.openxmlformats.org/officeDocument/2006/relationships/image" Target="../media/image1.emf"/><Relationship Id="rId12" Type="http://schemas.openxmlformats.org/officeDocument/2006/relationships/image" Target="../media/image45.png"/><Relationship Id="rId17" Type="http://schemas.openxmlformats.org/officeDocument/2006/relationships/image" Target="../media/image50.gif"/><Relationship Id="rId2" Type="http://schemas.openxmlformats.org/officeDocument/2006/relationships/tags" Target="../tags/tag127.xml"/><Relationship Id="rId16" Type="http://schemas.openxmlformats.org/officeDocument/2006/relationships/image" Target="../media/image49.jpeg"/><Relationship Id="rId1" Type="http://schemas.openxmlformats.org/officeDocument/2006/relationships/vmlDrawing" Target="../drawings/vmlDrawing69.vml"/><Relationship Id="rId6" Type="http://schemas.openxmlformats.org/officeDocument/2006/relationships/oleObject" Target="../embeddings/oleObject69.bin"/><Relationship Id="rId11" Type="http://schemas.openxmlformats.org/officeDocument/2006/relationships/image" Target="../media/image44.png"/><Relationship Id="rId5" Type="http://schemas.openxmlformats.org/officeDocument/2006/relationships/notesSlide" Target="../notesSlides/notesSlide73.xml"/><Relationship Id="rId15" Type="http://schemas.openxmlformats.org/officeDocument/2006/relationships/image" Target="../media/image48.png"/><Relationship Id="rId10" Type="http://schemas.openxmlformats.org/officeDocument/2006/relationships/image" Target="../media/image43.png"/><Relationship Id="rId4" Type="http://schemas.openxmlformats.org/officeDocument/2006/relationships/slideLayout" Target="../slideLayouts/slideLayout14.xml"/><Relationship Id="rId9" Type="http://schemas.openxmlformats.org/officeDocument/2006/relationships/image" Target="../media/image42.png"/><Relationship Id="rId14" Type="http://schemas.openxmlformats.org/officeDocument/2006/relationships/image" Target="../media/image47.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image" Target="../media/image8.jpeg"/><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7.xml"/></Relationships>
</file>

<file path=ppt/slides/_rels/slide80.xml.rels><?xml version="1.0" encoding="UTF-8" standalone="yes"?>
<Relationships xmlns="http://schemas.openxmlformats.org/package/2006/relationships"><Relationship Id="rId3" Type="http://schemas.openxmlformats.org/officeDocument/2006/relationships/tags" Target="../tags/tag130.xml"/><Relationship Id="rId7" Type="http://schemas.openxmlformats.org/officeDocument/2006/relationships/image" Target="../media/image1.emf"/><Relationship Id="rId2" Type="http://schemas.openxmlformats.org/officeDocument/2006/relationships/tags" Target="../tags/tag129.xml"/><Relationship Id="rId1" Type="http://schemas.openxmlformats.org/officeDocument/2006/relationships/vmlDrawing" Target="../drawings/vmlDrawing70.vml"/><Relationship Id="rId6" Type="http://schemas.openxmlformats.org/officeDocument/2006/relationships/oleObject" Target="../embeddings/oleObject70.bin"/><Relationship Id="rId5" Type="http://schemas.openxmlformats.org/officeDocument/2006/relationships/notesSlide" Target="../notesSlides/notesSlide74.xml"/><Relationship Id="rId4" Type="http://schemas.openxmlformats.org/officeDocument/2006/relationships/slideLayout" Target="../slideLayouts/slideLayout15.xml"/></Relationships>
</file>

<file path=ppt/slides/_rels/slide81.xml.rels><?xml version="1.0" encoding="UTF-8" standalone="yes"?>
<Relationships xmlns="http://schemas.openxmlformats.org/package/2006/relationships"><Relationship Id="rId3" Type="http://schemas.openxmlformats.org/officeDocument/2006/relationships/tags" Target="../tags/tag132.xml"/><Relationship Id="rId7" Type="http://schemas.openxmlformats.org/officeDocument/2006/relationships/image" Target="../media/image1.emf"/><Relationship Id="rId2" Type="http://schemas.openxmlformats.org/officeDocument/2006/relationships/tags" Target="../tags/tag131.xml"/><Relationship Id="rId1" Type="http://schemas.openxmlformats.org/officeDocument/2006/relationships/vmlDrawing" Target="../drawings/vmlDrawing71.vml"/><Relationship Id="rId6" Type="http://schemas.openxmlformats.org/officeDocument/2006/relationships/oleObject" Target="../embeddings/oleObject71.bin"/><Relationship Id="rId5" Type="http://schemas.openxmlformats.org/officeDocument/2006/relationships/notesSlide" Target="../notesSlides/notesSlide75.xml"/><Relationship Id="rId4" Type="http://schemas.openxmlformats.org/officeDocument/2006/relationships/slideLayout" Target="../slideLayouts/slideLayout15.xml"/></Relationships>
</file>

<file path=ppt/slides/_rels/slide82.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tags" Target="../tags/tag134.xml"/><Relationship Id="rId7" Type="http://schemas.openxmlformats.org/officeDocument/2006/relationships/image" Target="../media/image1.emf"/><Relationship Id="rId2" Type="http://schemas.openxmlformats.org/officeDocument/2006/relationships/tags" Target="../tags/tag133.xml"/><Relationship Id="rId1" Type="http://schemas.openxmlformats.org/officeDocument/2006/relationships/vmlDrawing" Target="../drawings/vmlDrawing72.vml"/><Relationship Id="rId6" Type="http://schemas.openxmlformats.org/officeDocument/2006/relationships/oleObject" Target="../embeddings/oleObject72.bin"/><Relationship Id="rId11" Type="http://schemas.openxmlformats.org/officeDocument/2006/relationships/chart" Target="../charts/chart5.xml"/><Relationship Id="rId5" Type="http://schemas.openxmlformats.org/officeDocument/2006/relationships/notesSlide" Target="../notesSlides/notesSlide76.xml"/><Relationship Id="rId10" Type="http://schemas.openxmlformats.org/officeDocument/2006/relationships/chart" Target="../charts/chart4.xml"/><Relationship Id="rId4" Type="http://schemas.openxmlformats.org/officeDocument/2006/relationships/slideLayout" Target="../slideLayouts/slideLayout15.xml"/><Relationship Id="rId9" Type="http://schemas.openxmlformats.org/officeDocument/2006/relationships/chart" Target="../charts/chart3.xml"/></Relationships>
</file>

<file path=ppt/slides/_rels/slide83.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7.svg"/><Relationship Id="rId3" Type="http://schemas.openxmlformats.org/officeDocument/2006/relationships/tags" Target="../tags/tag136.xml"/><Relationship Id="rId7" Type="http://schemas.openxmlformats.org/officeDocument/2006/relationships/image" Target="../media/image1.emf"/><Relationship Id="rId12" Type="http://schemas.openxmlformats.org/officeDocument/2006/relationships/image" Target="../media/image56.png"/><Relationship Id="rId17" Type="http://schemas.openxmlformats.org/officeDocument/2006/relationships/image" Target="../media/image61.svg"/><Relationship Id="rId2" Type="http://schemas.openxmlformats.org/officeDocument/2006/relationships/tags" Target="../tags/tag135.xml"/><Relationship Id="rId16" Type="http://schemas.openxmlformats.org/officeDocument/2006/relationships/image" Target="../media/image60.png"/><Relationship Id="rId1" Type="http://schemas.openxmlformats.org/officeDocument/2006/relationships/vmlDrawing" Target="../drawings/vmlDrawing73.vml"/><Relationship Id="rId6" Type="http://schemas.openxmlformats.org/officeDocument/2006/relationships/oleObject" Target="../embeddings/oleObject73.bin"/><Relationship Id="rId11" Type="http://schemas.openxmlformats.org/officeDocument/2006/relationships/image" Target="../media/image55.svg"/><Relationship Id="rId5" Type="http://schemas.openxmlformats.org/officeDocument/2006/relationships/notesSlide" Target="../notesSlides/notesSlide77.xml"/><Relationship Id="rId15" Type="http://schemas.openxmlformats.org/officeDocument/2006/relationships/image" Target="../media/image59.svg"/><Relationship Id="rId10" Type="http://schemas.openxmlformats.org/officeDocument/2006/relationships/image" Target="../media/image54.png"/><Relationship Id="rId4" Type="http://schemas.openxmlformats.org/officeDocument/2006/relationships/slideLayout" Target="../slideLayouts/slideLayout15.xml"/><Relationship Id="rId9" Type="http://schemas.openxmlformats.org/officeDocument/2006/relationships/image" Target="../media/image53.svg"/><Relationship Id="rId14" Type="http://schemas.openxmlformats.org/officeDocument/2006/relationships/image" Target="../media/image58.png"/></Relationships>
</file>

<file path=ppt/slides/_rels/slide84.xml.rels><?xml version="1.0" encoding="UTF-8" standalone="yes"?>
<Relationships xmlns="http://schemas.openxmlformats.org/package/2006/relationships"><Relationship Id="rId3" Type="http://schemas.openxmlformats.org/officeDocument/2006/relationships/tags" Target="../tags/tag138.xml"/><Relationship Id="rId7" Type="http://schemas.openxmlformats.org/officeDocument/2006/relationships/image" Target="../media/image1.emf"/><Relationship Id="rId2" Type="http://schemas.openxmlformats.org/officeDocument/2006/relationships/tags" Target="../tags/tag137.xml"/><Relationship Id="rId1" Type="http://schemas.openxmlformats.org/officeDocument/2006/relationships/vmlDrawing" Target="../drawings/vmlDrawing74.vml"/><Relationship Id="rId6" Type="http://schemas.openxmlformats.org/officeDocument/2006/relationships/oleObject" Target="../embeddings/oleObject74.bin"/><Relationship Id="rId5" Type="http://schemas.openxmlformats.org/officeDocument/2006/relationships/notesSlide" Target="../notesSlides/notesSlide78.xml"/><Relationship Id="rId4" Type="http://schemas.openxmlformats.org/officeDocument/2006/relationships/slideLayout" Target="../slideLayouts/slideLayout15.xml"/></Relationships>
</file>

<file path=ppt/slides/_rels/slide85.xml.rels><?xml version="1.0" encoding="UTF-8" standalone="yes"?>
<Relationships xmlns="http://schemas.openxmlformats.org/package/2006/relationships"><Relationship Id="rId3" Type="http://schemas.openxmlformats.org/officeDocument/2006/relationships/tags" Target="../tags/tag140.xml"/><Relationship Id="rId7" Type="http://schemas.openxmlformats.org/officeDocument/2006/relationships/image" Target="../media/image1.emf"/><Relationship Id="rId2" Type="http://schemas.openxmlformats.org/officeDocument/2006/relationships/tags" Target="../tags/tag139.xml"/><Relationship Id="rId1" Type="http://schemas.openxmlformats.org/officeDocument/2006/relationships/vmlDrawing" Target="../drawings/vmlDrawing75.vml"/><Relationship Id="rId6" Type="http://schemas.openxmlformats.org/officeDocument/2006/relationships/oleObject" Target="../embeddings/oleObject75.bin"/><Relationship Id="rId5" Type="http://schemas.openxmlformats.org/officeDocument/2006/relationships/notesSlide" Target="../notesSlides/notesSlide79.xml"/><Relationship Id="rId4" Type="http://schemas.openxmlformats.org/officeDocument/2006/relationships/slideLayout" Target="../slideLayouts/slideLayout15.xml"/></Relationships>
</file>

<file path=ppt/slides/_rels/slide86.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67.png"/><Relationship Id="rId18" Type="http://schemas.openxmlformats.org/officeDocument/2006/relationships/image" Target="../media/image72.png"/><Relationship Id="rId3" Type="http://schemas.openxmlformats.org/officeDocument/2006/relationships/tags" Target="../tags/tag142.xml"/><Relationship Id="rId7" Type="http://schemas.openxmlformats.org/officeDocument/2006/relationships/image" Target="../media/image1.emf"/><Relationship Id="rId12" Type="http://schemas.openxmlformats.org/officeDocument/2006/relationships/image" Target="../media/image66.png"/><Relationship Id="rId17" Type="http://schemas.openxmlformats.org/officeDocument/2006/relationships/image" Target="../media/image71.png"/><Relationship Id="rId2" Type="http://schemas.openxmlformats.org/officeDocument/2006/relationships/tags" Target="../tags/tag141.xml"/><Relationship Id="rId16" Type="http://schemas.openxmlformats.org/officeDocument/2006/relationships/image" Target="../media/image70.png"/><Relationship Id="rId1" Type="http://schemas.openxmlformats.org/officeDocument/2006/relationships/vmlDrawing" Target="../drawings/vmlDrawing76.vml"/><Relationship Id="rId6" Type="http://schemas.openxmlformats.org/officeDocument/2006/relationships/oleObject" Target="../embeddings/oleObject76.bin"/><Relationship Id="rId11" Type="http://schemas.openxmlformats.org/officeDocument/2006/relationships/image" Target="../media/image65.png"/><Relationship Id="rId5" Type="http://schemas.openxmlformats.org/officeDocument/2006/relationships/notesSlide" Target="../notesSlides/notesSlide80.xml"/><Relationship Id="rId15" Type="http://schemas.openxmlformats.org/officeDocument/2006/relationships/image" Target="../media/image69.png"/><Relationship Id="rId10" Type="http://schemas.openxmlformats.org/officeDocument/2006/relationships/image" Target="../media/image64.png"/><Relationship Id="rId4" Type="http://schemas.openxmlformats.org/officeDocument/2006/relationships/slideLayout" Target="../slideLayouts/slideLayout15.xml"/><Relationship Id="rId9" Type="http://schemas.openxmlformats.org/officeDocument/2006/relationships/image" Target="../media/image63.png"/><Relationship Id="rId14" Type="http://schemas.openxmlformats.org/officeDocument/2006/relationships/image" Target="../media/image68.png"/></Relationships>
</file>

<file path=ppt/slides/_rels/slide87.xml.rels><?xml version="1.0" encoding="UTF-8" standalone="yes"?>
<Relationships xmlns="http://schemas.openxmlformats.org/package/2006/relationships"><Relationship Id="rId8" Type="http://schemas.openxmlformats.org/officeDocument/2006/relationships/image" Target="../media/image73.jpeg"/><Relationship Id="rId3" Type="http://schemas.openxmlformats.org/officeDocument/2006/relationships/tags" Target="../tags/tag144.xml"/><Relationship Id="rId7" Type="http://schemas.openxmlformats.org/officeDocument/2006/relationships/image" Target="../media/image1.emf"/><Relationship Id="rId12" Type="http://schemas.openxmlformats.org/officeDocument/2006/relationships/image" Target="../media/image76.png"/><Relationship Id="rId2" Type="http://schemas.openxmlformats.org/officeDocument/2006/relationships/tags" Target="../tags/tag143.xml"/><Relationship Id="rId1" Type="http://schemas.openxmlformats.org/officeDocument/2006/relationships/vmlDrawing" Target="../drawings/vmlDrawing77.vml"/><Relationship Id="rId6" Type="http://schemas.openxmlformats.org/officeDocument/2006/relationships/oleObject" Target="../embeddings/oleObject77.bin"/><Relationship Id="rId11" Type="http://schemas.microsoft.com/office/2007/relationships/hdphoto" Target="../media/hdphoto3.wdp"/><Relationship Id="rId5" Type="http://schemas.openxmlformats.org/officeDocument/2006/relationships/notesSlide" Target="../notesSlides/notesSlide81.xml"/><Relationship Id="rId10" Type="http://schemas.openxmlformats.org/officeDocument/2006/relationships/image" Target="../media/image75.png"/><Relationship Id="rId4" Type="http://schemas.openxmlformats.org/officeDocument/2006/relationships/slideLayout" Target="../slideLayouts/slideLayout15.xml"/><Relationship Id="rId9" Type="http://schemas.openxmlformats.org/officeDocument/2006/relationships/image" Target="../media/image74.png"/></Relationships>
</file>

<file path=ppt/slides/_rels/slide88.xml.rels><?xml version="1.0" encoding="UTF-8" standalone="yes"?>
<Relationships xmlns="http://schemas.openxmlformats.org/package/2006/relationships"><Relationship Id="rId8" Type="http://schemas.openxmlformats.org/officeDocument/2006/relationships/image" Target="../media/image77.wmf"/><Relationship Id="rId3" Type="http://schemas.openxmlformats.org/officeDocument/2006/relationships/tags" Target="../tags/tag146.xml"/><Relationship Id="rId7" Type="http://schemas.openxmlformats.org/officeDocument/2006/relationships/image" Target="../media/image1.emf"/><Relationship Id="rId2" Type="http://schemas.openxmlformats.org/officeDocument/2006/relationships/tags" Target="../tags/tag145.xml"/><Relationship Id="rId1" Type="http://schemas.openxmlformats.org/officeDocument/2006/relationships/vmlDrawing" Target="../drawings/vmlDrawing78.vml"/><Relationship Id="rId6" Type="http://schemas.openxmlformats.org/officeDocument/2006/relationships/oleObject" Target="../embeddings/oleObject78.bin"/><Relationship Id="rId5" Type="http://schemas.openxmlformats.org/officeDocument/2006/relationships/notesSlide" Target="../notesSlides/notesSlide82.xml"/><Relationship Id="rId10" Type="http://schemas.openxmlformats.org/officeDocument/2006/relationships/image" Target="../media/image79.wmf"/><Relationship Id="rId4" Type="http://schemas.openxmlformats.org/officeDocument/2006/relationships/slideLayout" Target="../slideLayouts/slideLayout15.xml"/><Relationship Id="rId9" Type="http://schemas.openxmlformats.org/officeDocument/2006/relationships/image" Target="../media/image78.wmf"/></Relationships>
</file>

<file path=ppt/slides/_rels/slide89.xml.rels><?xml version="1.0" encoding="UTF-8" standalone="yes"?>
<Relationships xmlns="http://schemas.openxmlformats.org/package/2006/relationships"><Relationship Id="rId8" Type="http://schemas.openxmlformats.org/officeDocument/2006/relationships/image" Target="../media/image80.emf"/><Relationship Id="rId3" Type="http://schemas.openxmlformats.org/officeDocument/2006/relationships/tags" Target="../tags/tag148.xml"/><Relationship Id="rId7" Type="http://schemas.openxmlformats.org/officeDocument/2006/relationships/image" Target="../media/image1.emf"/><Relationship Id="rId12" Type="http://schemas.openxmlformats.org/officeDocument/2006/relationships/image" Target="../media/image84.png"/><Relationship Id="rId2" Type="http://schemas.openxmlformats.org/officeDocument/2006/relationships/tags" Target="../tags/tag147.xml"/><Relationship Id="rId1" Type="http://schemas.openxmlformats.org/officeDocument/2006/relationships/vmlDrawing" Target="../drawings/vmlDrawing79.vml"/><Relationship Id="rId6" Type="http://schemas.openxmlformats.org/officeDocument/2006/relationships/oleObject" Target="../embeddings/oleObject79.bin"/><Relationship Id="rId11" Type="http://schemas.openxmlformats.org/officeDocument/2006/relationships/image" Target="../media/image83.emf"/><Relationship Id="rId5" Type="http://schemas.openxmlformats.org/officeDocument/2006/relationships/notesSlide" Target="../notesSlides/notesSlide83.xml"/><Relationship Id="rId10" Type="http://schemas.openxmlformats.org/officeDocument/2006/relationships/image" Target="../media/image82.emf"/><Relationship Id="rId4" Type="http://schemas.openxmlformats.org/officeDocument/2006/relationships/slideLayout" Target="../slideLayouts/slideLayout14.xml"/><Relationship Id="rId9" Type="http://schemas.openxmlformats.org/officeDocument/2006/relationships/image" Target="../media/image81.emf"/></Relationships>
</file>

<file path=ppt/slides/_rels/slide9.xml.rels><?xml version="1.0" encoding="UTF-8" standalone="yes"?>
<Relationships xmlns="http://schemas.openxmlformats.org/package/2006/relationships"><Relationship Id="rId2" Type="http://schemas.openxmlformats.org/officeDocument/2006/relationships/slide" Target="slide2.xml"/><Relationship Id="rId1" Type="http://schemas.openxmlformats.org/officeDocument/2006/relationships/slideLayout" Target="../slideLayouts/slideLayout19.xml"/></Relationships>
</file>

<file path=ppt/slides/_rels/slide90.xml.rels><?xml version="1.0" encoding="UTF-8" standalone="yes"?>
<Relationships xmlns="http://schemas.openxmlformats.org/package/2006/relationships"><Relationship Id="rId3" Type="http://schemas.openxmlformats.org/officeDocument/2006/relationships/tags" Target="../tags/tag150.xml"/><Relationship Id="rId7" Type="http://schemas.openxmlformats.org/officeDocument/2006/relationships/image" Target="../media/image1.emf"/><Relationship Id="rId2" Type="http://schemas.openxmlformats.org/officeDocument/2006/relationships/tags" Target="../tags/tag149.xml"/><Relationship Id="rId1" Type="http://schemas.openxmlformats.org/officeDocument/2006/relationships/vmlDrawing" Target="../drawings/vmlDrawing80.vml"/><Relationship Id="rId6" Type="http://schemas.openxmlformats.org/officeDocument/2006/relationships/oleObject" Target="../embeddings/oleObject80.bin"/><Relationship Id="rId5" Type="http://schemas.openxmlformats.org/officeDocument/2006/relationships/notesSlide" Target="../notesSlides/notesSlide84.xml"/><Relationship Id="rId4" Type="http://schemas.openxmlformats.org/officeDocument/2006/relationships/slideLayout" Target="../slideLayouts/slideLayout14.xml"/></Relationships>
</file>

<file path=ppt/slides/_rels/slide91.xml.rels><?xml version="1.0" encoding="UTF-8" standalone="yes"?>
<Relationships xmlns="http://schemas.openxmlformats.org/package/2006/relationships"><Relationship Id="rId3" Type="http://schemas.openxmlformats.org/officeDocument/2006/relationships/tags" Target="../tags/tag152.xml"/><Relationship Id="rId7" Type="http://schemas.openxmlformats.org/officeDocument/2006/relationships/image" Target="../media/image1.emf"/><Relationship Id="rId2" Type="http://schemas.openxmlformats.org/officeDocument/2006/relationships/tags" Target="../tags/tag151.xml"/><Relationship Id="rId1" Type="http://schemas.openxmlformats.org/officeDocument/2006/relationships/vmlDrawing" Target="../drawings/vmlDrawing81.vml"/><Relationship Id="rId6" Type="http://schemas.openxmlformats.org/officeDocument/2006/relationships/oleObject" Target="../embeddings/oleObject81.bin"/><Relationship Id="rId5" Type="http://schemas.openxmlformats.org/officeDocument/2006/relationships/notesSlide" Target="../notesSlides/notesSlide85.xml"/><Relationship Id="rId4" Type="http://schemas.openxmlformats.org/officeDocument/2006/relationships/slideLayout" Target="../slideLayouts/slideLayout15.xml"/></Relationships>
</file>

<file path=ppt/slides/_rels/slide92.xml.rels><?xml version="1.0" encoding="UTF-8" standalone="yes"?>
<Relationships xmlns="http://schemas.openxmlformats.org/package/2006/relationships"><Relationship Id="rId3" Type="http://schemas.openxmlformats.org/officeDocument/2006/relationships/tags" Target="../tags/tag154.xml"/><Relationship Id="rId7" Type="http://schemas.openxmlformats.org/officeDocument/2006/relationships/image" Target="../media/image1.emf"/><Relationship Id="rId2" Type="http://schemas.openxmlformats.org/officeDocument/2006/relationships/tags" Target="../tags/tag153.xml"/><Relationship Id="rId1" Type="http://schemas.openxmlformats.org/officeDocument/2006/relationships/vmlDrawing" Target="../drawings/vmlDrawing82.vml"/><Relationship Id="rId6" Type="http://schemas.openxmlformats.org/officeDocument/2006/relationships/oleObject" Target="../embeddings/oleObject82.bin"/><Relationship Id="rId5" Type="http://schemas.openxmlformats.org/officeDocument/2006/relationships/notesSlide" Target="../notesSlides/notesSlide86.xml"/><Relationship Id="rId4" Type="http://schemas.openxmlformats.org/officeDocument/2006/relationships/slideLayout" Target="../slideLayouts/slideLayout15.xml"/></Relationships>
</file>

<file path=ppt/slides/_rels/slide93.xml.rels><?xml version="1.0" encoding="UTF-8" standalone="yes"?>
<Relationships xmlns="http://schemas.openxmlformats.org/package/2006/relationships"><Relationship Id="rId2" Type="http://schemas.openxmlformats.org/officeDocument/2006/relationships/slide" Target="slide2.xml"/><Relationship Id="rId1" Type="http://schemas.openxmlformats.org/officeDocument/2006/relationships/slideLayout" Target="../slideLayouts/slideLayout19.xml"/></Relationships>
</file>

<file path=ppt/slides/_rels/slide9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55.xml"/><Relationship Id="rId1" Type="http://schemas.openxmlformats.org/officeDocument/2006/relationships/vmlDrawing" Target="../drawings/vmlDrawing83.vml"/><Relationship Id="rId6" Type="http://schemas.openxmlformats.org/officeDocument/2006/relationships/image" Target="../media/image1.emf"/><Relationship Id="rId5" Type="http://schemas.openxmlformats.org/officeDocument/2006/relationships/oleObject" Target="../embeddings/oleObject83.bin"/><Relationship Id="rId4" Type="http://schemas.openxmlformats.org/officeDocument/2006/relationships/notesSlide" Target="../notesSlides/notesSlide87.xml"/></Relationships>
</file>

<file path=ppt/slides/_rels/slide95.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chart" Target="../charts/chart6.xml"/><Relationship Id="rId2" Type="http://schemas.openxmlformats.org/officeDocument/2006/relationships/tags" Target="../tags/tag156.xml"/><Relationship Id="rId1" Type="http://schemas.openxmlformats.org/officeDocument/2006/relationships/vmlDrawing" Target="../drawings/vmlDrawing84.vml"/><Relationship Id="rId6" Type="http://schemas.openxmlformats.org/officeDocument/2006/relationships/image" Target="../media/image1.emf"/><Relationship Id="rId5" Type="http://schemas.openxmlformats.org/officeDocument/2006/relationships/oleObject" Target="../embeddings/oleObject84.bin"/><Relationship Id="rId4" Type="http://schemas.openxmlformats.org/officeDocument/2006/relationships/notesSlide" Target="../notesSlides/notesSlide88.xml"/></Relationships>
</file>

<file path=ppt/slides/_rels/slide96.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85.png"/><Relationship Id="rId2" Type="http://schemas.openxmlformats.org/officeDocument/2006/relationships/tags" Target="../tags/tag157.xml"/><Relationship Id="rId1" Type="http://schemas.openxmlformats.org/officeDocument/2006/relationships/vmlDrawing" Target="../drawings/vmlDrawing85.vml"/><Relationship Id="rId6" Type="http://schemas.openxmlformats.org/officeDocument/2006/relationships/image" Target="../media/image1.emf"/><Relationship Id="rId5" Type="http://schemas.openxmlformats.org/officeDocument/2006/relationships/oleObject" Target="../embeddings/oleObject85.bin"/><Relationship Id="rId4" Type="http://schemas.openxmlformats.org/officeDocument/2006/relationships/notesSlide" Target="../notesSlides/notesSlide89.xml"/></Relationships>
</file>

<file path=ppt/slides/_rels/slide97.xml.rels><?xml version="1.0" encoding="UTF-8" standalone="yes"?>
<Relationships xmlns="http://schemas.openxmlformats.org/package/2006/relationships"><Relationship Id="rId8" Type="http://schemas.openxmlformats.org/officeDocument/2006/relationships/chart" Target="../charts/chart8.xml"/><Relationship Id="rId3" Type="http://schemas.openxmlformats.org/officeDocument/2006/relationships/slideLayout" Target="../slideLayouts/slideLayout15.xml"/><Relationship Id="rId7" Type="http://schemas.openxmlformats.org/officeDocument/2006/relationships/chart" Target="../charts/chart7.xml"/><Relationship Id="rId2" Type="http://schemas.openxmlformats.org/officeDocument/2006/relationships/tags" Target="../tags/tag158.xml"/><Relationship Id="rId1" Type="http://schemas.openxmlformats.org/officeDocument/2006/relationships/vmlDrawing" Target="../drawings/vmlDrawing86.vml"/><Relationship Id="rId6" Type="http://schemas.openxmlformats.org/officeDocument/2006/relationships/image" Target="../media/image1.emf"/><Relationship Id="rId5" Type="http://schemas.openxmlformats.org/officeDocument/2006/relationships/oleObject" Target="../embeddings/oleObject86.bin"/><Relationship Id="rId10" Type="http://schemas.openxmlformats.org/officeDocument/2006/relationships/chart" Target="../charts/chart10.xml"/><Relationship Id="rId4" Type="http://schemas.openxmlformats.org/officeDocument/2006/relationships/notesSlide" Target="../notesSlides/notesSlide90.xml"/><Relationship Id="rId9" Type="http://schemas.openxmlformats.org/officeDocument/2006/relationships/chart" Target="../charts/chart9.xml"/></Relationships>
</file>

<file path=ppt/slides/_rels/slide98.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chart" Target="../charts/chart11.xml"/><Relationship Id="rId2" Type="http://schemas.openxmlformats.org/officeDocument/2006/relationships/tags" Target="../tags/tag159.xml"/><Relationship Id="rId1" Type="http://schemas.openxmlformats.org/officeDocument/2006/relationships/vmlDrawing" Target="../drawings/vmlDrawing87.vml"/><Relationship Id="rId6" Type="http://schemas.openxmlformats.org/officeDocument/2006/relationships/image" Target="../media/image1.emf"/><Relationship Id="rId5" Type="http://schemas.openxmlformats.org/officeDocument/2006/relationships/oleObject" Target="../embeddings/oleObject87.bin"/><Relationship Id="rId4" Type="http://schemas.openxmlformats.org/officeDocument/2006/relationships/notesSlide" Target="../notesSlides/notesSlide91.xml"/></Relationships>
</file>

<file path=ppt/slides/_rels/slide99.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60.xml"/><Relationship Id="rId1" Type="http://schemas.openxmlformats.org/officeDocument/2006/relationships/vmlDrawing" Target="../drawings/vmlDrawing88.vml"/><Relationship Id="rId6" Type="http://schemas.openxmlformats.org/officeDocument/2006/relationships/image" Target="../media/image1.emf"/><Relationship Id="rId5" Type="http://schemas.openxmlformats.org/officeDocument/2006/relationships/oleObject" Target="../embeddings/oleObject88.bin"/><Relationship Id="rId4" Type="http://schemas.openxmlformats.org/officeDocument/2006/relationships/notesSlide" Target="../notesSlides/notesSlide9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p:txBody>
          <a:bodyPr/>
          <a:lstStyle/>
          <a:p>
            <a:r>
              <a:rPr lang="en-US" dirty="0"/>
              <a:t>Here’s how you use this thing</a:t>
            </a:r>
          </a:p>
        </p:txBody>
      </p:sp>
      <p:sp>
        <p:nvSpPr>
          <p:cNvPr id="55" name="Text Placeholder 54">
            <a:extLst>
              <a:ext uri="{FF2B5EF4-FFF2-40B4-BE49-F238E27FC236}">
                <a16:creationId xmlns:a16="http://schemas.microsoft.com/office/drawing/2014/main" id="{BAD98991-B0ED-4C3F-A3FC-C23E0910764F}"/>
              </a:ext>
            </a:extLst>
          </p:cNvPr>
          <p:cNvSpPr>
            <a:spLocks noGrp="1"/>
          </p:cNvSpPr>
          <p:nvPr>
            <p:ph type="body" sz="quarter" idx="14"/>
          </p:nvPr>
        </p:nvSpPr>
        <p:spPr/>
        <p:txBody>
          <a:bodyPr/>
          <a:lstStyle/>
          <a:p>
            <a:r>
              <a:rPr lang="en-US" dirty="0"/>
              <a:t>We want you to make your deadline, so we’ve developed a step by step guide on how to make the most of the PowerPoint scrapbook </a:t>
            </a:r>
          </a:p>
          <a:p>
            <a:endParaRPr lang="en-US" dirty="0"/>
          </a:p>
        </p:txBody>
      </p:sp>
      <p:sp>
        <p:nvSpPr>
          <p:cNvPr id="56" name="Text Placeholder 55">
            <a:extLst>
              <a:ext uri="{FF2B5EF4-FFF2-40B4-BE49-F238E27FC236}">
                <a16:creationId xmlns:a16="http://schemas.microsoft.com/office/drawing/2014/main" id="{A14D566E-590D-4E1F-A739-07212EFBA8FF}"/>
              </a:ext>
            </a:extLst>
          </p:cNvPr>
          <p:cNvSpPr>
            <a:spLocks noGrp="1"/>
          </p:cNvSpPr>
          <p:nvPr>
            <p:ph type="body" sz="quarter" idx="15"/>
          </p:nvPr>
        </p:nvSpPr>
        <p:spPr/>
        <p:txBody>
          <a:bodyPr/>
          <a:lstStyle/>
          <a:p>
            <a:r>
              <a:rPr lang="en-US" dirty="0"/>
              <a:t>INTRO</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5" name="TextBox 4">
            <a:extLst>
              <a:ext uri="{FF2B5EF4-FFF2-40B4-BE49-F238E27FC236}">
                <a16:creationId xmlns:a16="http://schemas.microsoft.com/office/drawing/2014/main" id="{10045DC2-1328-444A-A011-BC4700644BB4}"/>
              </a:ext>
            </a:extLst>
          </p:cNvPr>
          <p:cNvSpPr txBox="1"/>
          <p:nvPr/>
        </p:nvSpPr>
        <p:spPr>
          <a:xfrm>
            <a:off x="903286" y="6241525"/>
            <a:ext cx="10710042" cy="64633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 name="Rectangle 5">
            <a:extLst>
              <a:ext uri="{FF2B5EF4-FFF2-40B4-BE49-F238E27FC236}">
                <a16:creationId xmlns:a16="http://schemas.microsoft.com/office/drawing/2014/main" id="{A5206AF7-B66F-4D5E-BB79-A9BD51AA1D18}"/>
              </a:ext>
            </a:extLst>
          </p:cNvPr>
          <p:cNvSpPr/>
          <p:nvPr/>
        </p:nvSpPr>
        <p:spPr>
          <a:xfrm>
            <a:off x="8161459" y="1828800"/>
            <a:ext cx="3104707" cy="4114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dirty="0">
                <a:solidFill>
                  <a:srgbClr val="000000"/>
                </a:solidFill>
              </a:rPr>
              <a:t>Please take a moment to flip through, familiarize yourself with the </a:t>
            </a:r>
            <a:r>
              <a:rPr lang="en-US" b="1" dirty="0">
                <a:solidFill>
                  <a:srgbClr val="000000"/>
                </a:solidFill>
              </a:rPr>
              <a:t>layout and slide design options</a:t>
            </a:r>
            <a:r>
              <a:rPr lang="en-US" dirty="0">
                <a:solidFill>
                  <a:srgbClr val="000000"/>
                </a:solidFill>
              </a:rPr>
              <a:t>, and start getting inspired!</a:t>
            </a:r>
          </a:p>
        </p:txBody>
      </p:sp>
      <p:sp>
        <p:nvSpPr>
          <p:cNvPr id="9" name="Rectangle 8">
            <a:extLst>
              <a:ext uri="{FF2B5EF4-FFF2-40B4-BE49-F238E27FC236}">
                <a16:creationId xmlns:a16="http://schemas.microsoft.com/office/drawing/2014/main" id="{5269C1B8-4EB0-4817-BF71-C9CCEDA4840D}"/>
              </a:ext>
            </a:extLst>
          </p:cNvPr>
          <p:cNvSpPr/>
          <p:nvPr/>
        </p:nvSpPr>
        <p:spPr>
          <a:xfrm>
            <a:off x="903286" y="1828800"/>
            <a:ext cx="3104707" cy="4114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dirty="0">
                <a:solidFill>
                  <a:srgbClr val="000000"/>
                </a:solidFill>
              </a:rPr>
              <a:t>This massive deck is </a:t>
            </a:r>
            <a:r>
              <a:rPr lang="en-US" b="1" dirty="0">
                <a:solidFill>
                  <a:srgbClr val="000000"/>
                </a:solidFill>
              </a:rPr>
              <a:t>divided by slide category</a:t>
            </a:r>
            <a:r>
              <a:rPr lang="en-US" dirty="0">
                <a:solidFill>
                  <a:srgbClr val="000000"/>
                </a:solidFill>
              </a:rPr>
              <a:t>, and each category section is </a:t>
            </a:r>
            <a:r>
              <a:rPr lang="en-US" b="1" dirty="0">
                <a:solidFill>
                  <a:srgbClr val="000000"/>
                </a:solidFill>
              </a:rPr>
              <a:t>hyperlinked in the Table of Contents</a:t>
            </a:r>
            <a:r>
              <a:rPr lang="en-US" dirty="0">
                <a:solidFill>
                  <a:srgbClr val="000000"/>
                </a:solidFill>
              </a:rPr>
              <a:t> for your reference and easy flipping</a:t>
            </a:r>
          </a:p>
        </p:txBody>
      </p:sp>
      <p:sp>
        <p:nvSpPr>
          <p:cNvPr id="10" name="Rectangle 9">
            <a:extLst>
              <a:ext uri="{FF2B5EF4-FFF2-40B4-BE49-F238E27FC236}">
                <a16:creationId xmlns:a16="http://schemas.microsoft.com/office/drawing/2014/main" id="{4B4F154B-FED8-469B-9011-64DF3539465A}"/>
              </a:ext>
            </a:extLst>
          </p:cNvPr>
          <p:cNvSpPr/>
          <p:nvPr/>
        </p:nvSpPr>
        <p:spPr>
          <a:xfrm>
            <a:off x="4532372" y="1828800"/>
            <a:ext cx="3104707" cy="4114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dirty="0">
                <a:solidFill>
                  <a:srgbClr val="000000"/>
                </a:solidFill>
              </a:rPr>
              <a:t>Each slide is individually </a:t>
            </a:r>
            <a:r>
              <a:rPr lang="en-US" b="1" dirty="0">
                <a:solidFill>
                  <a:srgbClr val="000000"/>
                </a:solidFill>
              </a:rPr>
              <a:t>tagged in the notes with keywords</a:t>
            </a:r>
            <a:r>
              <a:rPr lang="en-US" dirty="0">
                <a:solidFill>
                  <a:srgbClr val="000000"/>
                </a:solidFill>
              </a:rPr>
              <a:t>, so if you know what you’re looking for, Ctrl + F is your friend</a:t>
            </a:r>
          </a:p>
        </p:txBody>
      </p:sp>
      <p:sp>
        <p:nvSpPr>
          <p:cNvPr id="7" name="Rectangle 6">
            <a:extLst>
              <a:ext uri="{FF2B5EF4-FFF2-40B4-BE49-F238E27FC236}">
                <a16:creationId xmlns:a16="http://schemas.microsoft.com/office/drawing/2014/main" id="{C1485746-A456-4A83-91AA-A7B421E0C6DD}"/>
              </a:ext>
            </a:extLst>
          </p:cNvPr>
          <p:cNvSpPr/>
          <p:nvPr/>
        </p:nvSpPr>
        <p:spPr>
          <a:xfrm>
            <a:off x="857567" y="1828800"/>
            <a:ext cx="45719" cy="411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2AFEB561-E80E-4765-85B0-9E43371D5C8B}"/>
              </a:ext>
            </a:extLst>
          </p:cNvPr>
          <p:cNvSpPr/>
          <p:nvPr/>
        </p:nvSpPr>
        <p:spPr>
          <a:xfrm>
            <a:off x="4480935" y="1828800"/>
            <a:ext cx="45719" cy="4114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D7C31DAE-D2D2-4B8B-B1A2-E6ADA3DFEB42}"/>
              </a:ext>
            </a:extLst>
          </p:cNvPr>
          <p:cNvSpPr/>
          <p:nvPr/>
        </p:nvSpPr>
        <p:spPr>
          <a:xfrm>
            <a:off x="8133627" y="1828800"/>
            <a:ext cx="45719" cy="4114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312269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C23F8459-939F-48EE-A33C-EBEC9F31191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4" name="think-cell Slide" r:id="rId5" imgW="395" imgH="396" progId="TCLayout.ActiveDocument.1">
                  <p:embed/>
                </p:oleObj>
              </mc:Choice>
              <mc:Fallback>
                <p:oleObj name="think-cell Slide" r:id="rId5" imgW="395" imgH="396" progId="TCLayout.ActiveDocument.1">
                  <p:embed/>
                  <p:pic>
                    <p:nvPicPr>
                      <p:cNvPr id="23" name="Object 22" hidden="1">
                        <a:extLst>
                          <a:ext uri="{FF2B5EF4-FFF2-40B4-BE49-F238E27FC236}">
                            <a16:creationId xmlns:a16="http://schemas.microsoft.com/office/drawing/2014/main" id="{C23F8459-939F-48EE-A33C-EBEC9F31191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BA618C7-F41E-402C-87F1-4F64A69B3355}"/>
              </a:ext>
            </a:extLst>
          </p:cNvPr>
          <p:cNvSpPr>
            <a:spLocks noGrp="1"/>
          </p:cNvSpPr>
          <p:nvPr>
            <p:ph type="title"/>
          </p:nvPr>
        </p:nvSpPr>
        <p:spPr/>
        <p:txBody>
          <a:bodyPr/>
          <a:lstStyle/>
          <a:p>
            <a:r>
              <a:rPr lang="en-US" dirty="0"/>
              <a:t>Agenda</a:t>
            </a:r>
          </a:p>
        </p:txBody>
      </p:sp>
      <p:sp>
        <p:nvSpPr>
          <p:cNvPr id="24" name="Text Placeholder 23">
            <a:extLst>
              <a:ext uri="{FF2B5EF4-FFF2-40B4-BE49-F238E27FC236}">
                <a16:creationId xmlns:a16="http://schemas.microsoft.com/office/drawing/2014/main" id="{8A8D67C1-025E-41AC-83E7-3E3FF405AAAC}"/>
              </a:ext>
            </a:extLst>
          </p:cNvPr>
          <p:cNvSpPr>
            <a:spLocks noGrp="1"/>
          </p:cNvSpPr>
          <p:nvPr>
            <p:ph type="body" sz="quarter" idx="15"/>
          </p:nvPr>
        </p:nvSpPr>
        <p:spPr/>
        <p:txBody>
          <a:bodyPr/>
          <a:lstStyle/>
          <a:p>
            <a:r>
              <a:rPr lang="en-US" dirty="0"/>
              <a:t>Agenda &amp; Table of Contents</a:t>
            </a:r>
          </a:p>
          <a:p>
            <a:endParaRPr lang="en-US" dirty="0"/>
          </a:p>
        </p:txBody>
      </p:sp>
      <p:grpSp>
        <p:nvGrpSpPr>
          <p:cNvPr id="4" name="Group 3">
            <a:extLst>
              <a:ext uri="{FF2B5EF4-FFF2-40B4-BE49-F238E27FC236}">
                <a16:creationId xmlns:a16="http://schemas.microsoft.com/office/drawing/2014/main" id="{8B8343CD-BA4D-4DEA-8ACD-7251EAA4E882}"/>
              </a:ext>
            </a:extLst>
          </p:cNvPr>
          <p:cNvGrpSpPr/>
          <p:nvPr/>
        </p:nvGrpSpPr>
        <p:grpSpPr>
          <a:xfrm>
            <a:off x="914400" y="1649627"/>
            <a:ext cx="3160244" cy="830997"/>
            <a:chOff x="914400" y="1649627"/>
            <a:chExt cx="3160244" cy="830997"/>
          </a:xfrm>
        </p:grpSpPr>
        <p:sp>
          <p:nvSpPr>
            <p:cNvPr id="5" name="TextBox 4">
              <a:extLst>
                <a:ext uri="{FF2B5EF4-FFF2-40B4-BE49-F238E27FC236}">
                  <a16:creationId xmlns:a16="http://schemas.microsoft.com/office/drawing/2014/main" id="{A04D56D1-2467-4AA2-9264-935EBCB33055}"/>
                </a:ext>
              </a:extLst>
            </p:cNvPr>
            <p:cNvSpPr txBox="1"/>
            <p:nvPr/>
          </p:nvSpPr>
          <p:spPr>
            <a:xfrm>
              <a:off x="914400" y="1649627"/>
              <a:ext cx="457176" cy="830997"/>
            </a:xfrm>
            <a:prstGeom prst="rect">
              <a:avLst/>
            </a:prstGeom>
            <a:noFill/>
          </p:spPr>
          <p:txBody>
            <a:bodyPr wrap="none" rtlCol="0">
              <a:spAutoFit/>
            </a:bodyPr>
            <a:lstStyle/>
            <a:p>
              <a:r>
                <a:rPr lang="en-US" sz="4800" dirty="0">
                  <a:latin typeface="+mj-lt"/>
                </a:rPr>
                <a:t>1</a:t>
              </a:r>
            </a:p>
          </p:txBody>
        </p:sp>
        <p:sp>
          <p:nvSpPr>
            <p:cNvPr id="6" name="TextBox 5">
              <a:extLst>
                <a:ext uri="{FF2B5EF4-FFF2-40B4-BE49-F238E27FC236}">
                  <a16:creationId xmlns:a16="http://schemas.microsoft.com/office/drawing/2014/main" id="{F06A6E3A-FF7E-47ED-B9C1-BCF74A1A965D}"/>
                </a:ext>
              </a:extLst>
            </p:cNvPr>
            <p:cNvSpPr txBox="1"/>
            <p:nvPr/>
          </p:nvSpPr>
          <p:spPr>
            <a:xfrm>
              <a:off x="1805881" y="1899641"/>
              <a:ext cx="2268763" cy="369332"/>
            </a:xfrm>
            <a:prstGeom prst="rect">
              <a:avLst/>
            </a:prstGeom>
            <a:noFill/>
          </p:spPr>
          <p:txBody>
            <a:bodyPr wrap="none" rtlCol="0">
              <a:spAutoFit/>
            </a:bodyPr>
            <a:lstStyle/>
            <a:p>
              <a:r>
                <a:rPr lang="en-US" dirty="0"/>
                <a:t>Company Overview</a:t>
              </a:r>
            </a:p>
          </p:txBody>
        </p:sp>
        <p:cxnSp>
          <p:nvCxnSpPr>
            <p:cNvPr id="7" name="Straight Connector 6">
              <a:extLst>
                <a:ext uri="{FF2B5EF4-FFF2-40B4-BE49-F238E27FC236}">
                  <a16:creationId xmlns:a16="http://schemas.microsoft.com/office/drawing/2014/main" id="{D46AC312-54A0-4700-BD05-1E915CA32EEC}"/>
                </a:ext>
              </a:extLst>
            </p:cNvPr>
            <p:cNvCxnSpPr/>
            <p:nvPr/>
          </p:nvCxnSpPr>
          <p:spPr>
            <a:xfrm>
              <a:off x="1576091" y="1741750"/>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78E394C4-E1F2-4FB3-AC69-919901B92B9B}"/>
              </a:ext>
            </a:extLst>
          </p:cNvPr>
          <p:cNvGrpSpPr/>
          <p:nvPr/>
        </p:nvGrpSpPr>
        <p:grpSpPr>
          <a:xfrm>
            <a:off x="914400" y="2800583"/>
            <a:ext cx="3572215" cy="830997"/>
            <a:chOff x="914400" y="1649627"/>
            <a:chExt cx="3572215" cy="830997"/>
          </a:xfrm>
        </p:grpSpPr>
        <p:sp>
          <p:nvSpPr>
            <p:cNvPr id="9" name="TextBox 8">
              <a:extLst>
                <a:ext uri="{FF2B5EF4-FFF2-40B4-BE49-F238E27FC236}">
                  <a16:creationId xmlns:a16="http://schemas.microsoft.com/office/drawing/2014/main" id="{AEACA0A2-0132-4FF4-808F-02DD1AF3E745}"/>
                </a:ext>
              </a:extLst>
            </p:cNvPr>
            <p:cNvSpPr txBox="1"/>
            <p:nvPr/>
          </p:nvSpPr>
          <p:spPr>
            <a:xfrm>
              <a:off x="914400" y="1649627"/>
              <a:ext cx="543739" cy="830997"/>
            </a:xfrm>
            <a:prstGeom prst="rect">
              <a:avLst/>
            </a:prstGeom>
            <a:noFill/>
          </p:spPr>
          <p:txBody>
            <a:bodyPr wrap="none" rtlCol="0">
              <a:spAutoFit/>
            </a:bodyPr>
            <a:lstStyle/>
            <a:p>
              <a:r>
                <a:rPr lang="en-US" sz="4800" dirty="0">
                  <a:latin typeface="+mj-lt"/>
                </a:rPr>
                <a:t>2</a:t>
              </a:r>
            </a:p>
          </p:txBody>
        </p:sp>
        <p:sp>
          <p:nvSpPr>
            <p:cNvPr id="10" name="TextBox 9">
              <a:extLst>
                <a:ext uri="{FF2B5EF4-FFF2-40B4-BE49-F238E27FC236}">
                  <a16:creationId xmlns:a16="http://schemas.microsoft.com/office/drawing/2014/main" id="{5622DFF6-44B9-4CDA-8358-97D8BF9AA048}"/>
                </a:ext>
              </a:extLst>
            </p:cNvPr>
            <p:cNvSpPr txBox="1"/>
            <p:nvPr/>
          </p:nvSpPr>
          <p:spPr>
            <a:xfrm>
              <a:off x="1805881" y="1899641"/>
              <a:ext cx="2680734" cy="369332"/>
            </a:xfrm>
            <a:prstGeom prst="rect">
              <a:avLst/>
            </a:prstGeom>
            <a:noFill/>
          </p:spPr>
          <p:txBody>
            <a:bodyPr wrap="none" rtlCol="0">
              <a:spAutoFit/>
            </a:bodyPr>
            <a:lstStyle/>
            <a:p>
              <a:r>
                <a:rPr lang="en-US" dirty="0"/>
                <a:t>The Retail Environment</a:t>
              </a:r>
            </a:p>
          </p:txBody>
        </p:sp>
        <p:cxnSp>
          <p:nvCxnSpPr>
            <p:cNvPr id="11" name="Straight Connector 10">
              <a:extLst>
                <a:ext uri="{FF2B5EF4-FFF2-40B4-BE49-F238E27FC236}">
                  <a16:creationId xmlns:a16="http://schemas.microsoft.com/office/drawing/2014/main" id="{49786FA6-413A-430A-8384-91F21E7213C9}"/>
                </a:ext>
              </a:extLst>
            </p:cNvPr>
            <p:cNvCxnSpPr/>
            <p:nvPr/>
          </p:nvCxnSpPr>
          <p:spPr>
            <a:xfrm>
              <a:off x="1576091" y="1741750"/>
              <a:ext cx="0" cy="646750"/>
            </a:xfrm>
            <a:prstGeom prst="line">
              <a:avLst/>
            </a:prstGeom>
            <a:ln w="635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2EFF2970-595D-4CBE-9BFE-2E4DD4BD5D35}"/>
              </a:ext>
            </a:extLst>
          </p:cNvPr>
          <p:cNvGrpSpPr/>
          <p:nvPr/>
        </p:nvGrpSpPr>
        <p:grpSpPr>
          <a:xfrm>
            <a:off x="914400" y="3951539"/>
            <a:ext cx="2862405" cy="830997"/>
            <a:chOff x="914400" y="1649627"/>
            <a:chExt cx="2862405" cy="830997"/>
          </a:xfrm>
        </p:grpSpPr>
        <p:sp>
          <p:nvSpPr>
            <p:cNvPr id="13" name="TextBox 12">
              <a:extLst>
                <a:ext uri="{FF2B5EF4-FFF2-40B4-BE49-F238E27FC236}">
                  <a16:creationId xmlns:a16="http://schemas.microsoft.com/office/drawing/2014/main" id="{85063788-22F3-4778-8BB8-FD443CE48AE7}"/>
                </a:ext>
              </a:extLst>
            </p:cNvPr>
            <p:cNvSpPr txBox="1"/>
            <p:nvPr/>
          </p:nvSpPr>
          <p:spPr>
            <a:xfrm>
              <a:off x="914400" y="1649627"/>
              <a:ext cx="543739" cy="830997"/>
            </a:xfrm>
            <a:prstGeom prst="rect">
              <a:avLst/>
            </a:prstGeom>
            <a:noFill/>
          </p:spPr>
          <p:txBody>
            <a:bodyPr wrap="none" rtlCol="0">
              <a:spAutoFit/>
            </a:bodyPr>
            <a:lstStyle/>
            <a:p>
              <a:r>
                <a:rPr lang="en-US" sz="4800" dirty="0">
                  <a:latin typeface="+mj-lt"/>
                </a:rPr>
                <a:t>3</a:t>
              </a:r>
            </a:p>
          </p:txBody>
        </p:sp>
        <p:sp>
          <p:nvSpPr>
            <p:cNvPr id="14" name="TextBox 13">
              <a:extLst>
                <a:ext uri="{FF2B5EF4-FFF2-40B4-BE49-F238E27FC236}">
                  <a16:creationId xmlns:a16="http://schemas.microsoft.com/office/drawing/2014/main" id="{4D1A38F9-E620-426F-91A6-90CF0FFC1B4E}"/>
                </a:ext>
              </a:extLst>
            </p:cNvPr>
            <p:cNvSpPr txBox="1"/>
            <p:nvPr/>
          </p:nvSpPr>
          <p:spPr>
            <a:xfrm>
              <a:off x="1805881" y="1899641"/>
              <a:ext cx="1970924" cy="369332"/>
            </a:xfrm>
            <a:prstGeom prst="rect">
              <a:avLst/>
            </a:prstGeom>
            <a:noFill/>
          </p:spPr>
          <p:txBody>
            <a:bodyPr wrap="none" rtlCol="0">
              <a:spAutoFit/>
            </a:bodyPr>
            <a:lstStyle/>
            <a:p>
              <a:r>
                <a:rPr lang="en-US" dirty="0"/>
                <a:t>Deloitte’s Impact</a:t>
              </a:r>
            </a:p>
          </p:txBody>
        </p:sp>
        <p:cxnSp>
          <p:nvCxnSpPr>
            <p:cNvPr id="15" name="Straight Connector 14">
              <a:extLst>
                <a:ext uri="{FF2B5EF4-FFF2-40B4-BE49-F238E27FC236}">
                  <a16:creationId xmlns:a16="http://schemas.microsoft.com/office/drawing/2014/main" id="{FBCB34DB-704C-42A5-82D2-04FAF6EB233F}"/>
                </a:ext>
              </a:extLst>
            </p:cNvPr>
            <p:cNvCxnSpPr/>
            <p:nvPr/>
          </p:nvCxnSpPr>
          <p:spPr>
            <a:xfrm>
              <a:off x="1576091" y="1741750"/>
              <a:ext cx="0" cy="64675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75CF1C5C-F98F-48D7-813C-021CECB40F46}"/>
              </a:ext>
            </a:extLst>
          </p:cNvPr>
          <p:cNvGrpSpPr/>
          <p:nvPr/>
        </p:nvGrpSpPr>
        <p:grpSpPr>
          <a:xfrm>
            <a:off x="914400" y="5102495"/>
            <a:ext cx="2536675" cy="830997"/>
            <a:chOff x="914400" y="1649627"/>
            <a:chExt cx="2536675" cy="830997"/>
          </a:xfrm>
        </p:grpSpPr>
        <p:sp>
          <p:nvSpPr>
            <p:cNvPr id="17" name="TextBox 16">
              <a:extLst>
                <a:ext uri="{FF2B5EF4-FFF2-40B4-BE49-F238E27FC236}">
                  <a16:creationId xmlns:a16="http://schemas.microsoft.com/office/drawing/2014/main" id="{38125AAE-33C9-45DA-B301-A4C8FEC27C8F}"/>
                </a:ext>
              </a:extLst>
            </p:cNvPr>
            <p:cNvSpPr txBox="1"/>
            <p:nvPr/>
          </p:nvSpPr>
          <p:spPr>
            <a:xfrm>
              <a:off x="914400" y="1649627"/>
              <a:ext cx="561372" cy="830997"/>
            </a:xfrm>
            <a:prstGeom prst="rect">
              <a:avLst/>
            </a:prstGeom>
            <a:noFill/>
          </p:spPr>
          <p:txBody>
            <a:bodyPr wrap="none" rtlCol="0">
              <a:spAutoFit/>
            </a:bodyPr>
            <a:lstStyle/>
            <a:p>
              <a:r>
                <a:rPr lang="en-US" sz="4800" dirty="0">
                  <a:latin typeface="+mj-lt"/>
                </a:rPr>
                <a:t>4</a:t>
              </a:r>
            </a:p>
          </p:txBody>
        </p:sp>
        <p:sp>
          <p:nvSpPr>
            <p:cNvPr id="18" name="TextBox 17">
              <a:extLst>
                <a:ext uri="{FF2B5EF4-FFF2-40B4-BE49-F238E27FC236}">
                  <a16:creationId xmlns:a16="http://schemas.microsoft.com/office/drawing/2014/main" id="{36D67E86-BD2F-4A98-82B5-731E0D46CBF3}"/>
                </a:ext>
              </a:extLst>
            </p:cNvPr>
            <p:cNvSpPr txBox="1"/>
            <p:nvPr/>
          </p:nvSpPr>
          <p:spPr>
            <a:xfrm>
              <a:off x="1805881" y="1899641"/>
              <a:ext cx="1645194" cy="369332"/>
            </a:xfrm>
            <a:prstGeom prst="rect">
              <a:avLst/>
            </a:prstGeom>
            <a:noFill/>
          </p:spPr>
          <p:txBody>
            <a:bodyPr wrap="none" rtlCol="0">
              <a:spAutoFit/>
            </a:bodyPr>
            <a:lstStyle/>
            <a:p>
              <a:r>
                <a:rPr lang="en-US" dirty="0"/>
                <a:t>Project Demo</a:t>
              </a:r>
            </a:p>
          </p:txBody>
        </p:sp>
        <p:cxnSp>
          <p:nvCxnSpPr>
            <p:cNvPr id="19" name="Straight Connector 18">
              <a:extLst>
                <a:ext uri="{FF2B5EF4-FFF2-40B4-BE49-F238E27FC236}">
                  <a16:creationId xmlns:a16="http://schemas.microsoft.com/office/drawing/2014/main" id="{FBA09962-FFF9-43D7-A073-58EC31AE5D04}"/>
                </a:ext>
              </a:extLst>
            </p:cNvPr>
            <p:cNvCxnSpPr/>
            <p:nvPr/>
          </p:nvCxnSpPr>
          <p:spPr>
            <a:xfrm>
              <a:off x="1576091" y="1741750"/>
              <a:ext cx="0" cy="646750"/>
            </a:xfrm>
            <a:prstGeom prst="line">
              <a:avLst/>
            </a:prstGeom>
            <a:ln w="63500">
              <a:solidFill>
                <a:schemeClr val="accent4"/>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5148706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56" name="think-cell Slide" r:id="rId18" imgW="415" imgH="416" progId="TCLayout.ActiveDocument.1">
                  <p:embed/>
                </p:oleObj>
              </mc:Choice>
              <mc:Fallback>
                <p:oleObj name="think-cell Slide" r:id="rId18"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The Client Global e-Commerce Opportunity</a:t>
            </a:r>
            <a:endParaRPr lang="en-US" dirty="0"/>
          </a:p>
        </p:txBody>
      </p:sp>
      <p:sp>
        <p:nvSpPr>
          <p:cNvPr id="3" name="Text Placeholder 2"/>
          <p:cNvSpPr>
            <a:spLocks noGrp="1"/>
          </p:cNvSpPr>
          <p:nvPr>
            <p:ph type="body" sz="quarter" idx="14"/>
          </p:nvPr>
        </p:nvSpPr>
        <p:spPr/>
        <p:txBody>
          <a:bodyPr/>
          <a:lstStyle/>
          <a:p>
            <a:r>
              <a:rPr lang="en-US" dirty="0"/>
              <a:t>Client has set a goal to reach and exceed its ‘fair share’, which translates to sales of over $530M in 2022</a:t>
            </a:r>
          </a:p>
        </p:txBody>
      </p:sp>
      <p:sp>
        <p:nvSpPr>
          <p:cNvPr id="5" name="Text Placeholder 4"/>
          <p:cNvSpPr>
            <a:spLocks noGrp="1"/>
          </p:cNvSpPr>
          <p:nvPr>
            <p:ph type="body" sz="quarter" idx="15"/>
          </p:nvPr>
        </p:nvSpPr>
        <p:spPr/>
        <p:txBody>
          <a:bodyPr/>
          <a:lstStyle/>
          <a:p>
            <a:r>
              <a:rPr lang="en-US" dirty="0"/>
              <a:t>Data Visualization &amp; Infographics</a:t>
            </a:r>
          </a:p>
        </p:txBody>
      </p:sp>
      <p:sp>
        <p:nvSpPr>
          <p:cNvPr id="29" name="Rectangle 28">
            <a:extLst>
              <a:ext uri="{FF2B5EF4-FFF2-40B4-BE49-F238E27FC236}">
                <a16:creationId xmlns:a16="http://schemas.microsoft.com/office/drawing/2014/main" id="{CDB17900-BE25-3846-B05A-D0BE57BDF62F}"/>
              </a:ext>
            </a:extLst>
          </p:cNvPr>
          <p:cNvSpPr/>
          <p:nvPr/>
        </p:nvSpPr>
        <p:spPr>
          <a:xfrm>
            <a:off x="1292178" y="6168171"/>
            <a:ext cx="3764478" cy="3367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30" name="Rectangle 29">
            <a:extLst>
              <a:ext uri="{FF2B5EF4-FFF2-40B4-BE49-F238E27FC236}">
                <a16:creationId xmlns:a16="http://schemas.microsoft.com/office/drawing/2014/main" id="{CDB17900-BE25-3846-B05A-D0BE57BDF62F}"/>
              </a:ext>
            </a:extLst>
          </p:cNvPr>
          <p:cNvSpPr/>
          <p:nvPr/>
        </p:nvSpPr>
        <p:spPr>
          <a:xfrm>
            <a:off x="1292178" y="6168171"/>
            <a:ext cx="3764478" cy="3367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grpSp>
        <p:nvGrpSpPr>
          <p:cNvPr id="31" name="Group 30">
            <a:extLst>
              <a:ext uri="{FF2B5EF4-FFF2-40B4-BE49-F238E27FC236}">
                <a16:creationId xmlns:a16="http://schemas.microsoft.com/office/drawing/2014/main" id="{D2DB132D-B930-124D-B013-32D059291857}"/>
              </a:ext>
            </a:extLst>
          </p:cNvPr>
          <p:cNvGrpSpPr/>
          <p:nvPr/>
        </p:nvGrpSpPr>
        <p:grpSpPr>
          <a:xfrm>
            <a:off x="3669345" y="2491241"/>
            <a:ext cx="1951825" cy="3818855"/>
            <a:chOff x="4868696" y="2508772"/>
            <a:chExt cx="2000740" cy="3349768"/>
          </a:xfrm>
        </p:grpSpPr>
        <p:sp>
          <p:nvSpPr>
            <p:cNvPr id="32" name="Rectangle 31">
              <a:extLst>
                <a:ext uri="{FF2B5EF4-FFF2-40B4-BE49-F238E27FC236}">
                  <a16:creationId xmlns:a16="http://schemas.microsoft.com/office/drawing/2014/main" id="{208AED1B-FA22-1345-8225-1F077C847BCE}"/>
                </a:ext>
              </a:extLst>
            </p:cNvPr>
            <p:cNvSpPr/>
            <p:nvPr/>
          </p:nvSpPr>
          <p:spPr>
            <a:xfrm>
              <a:off x="4917702" y="2764686"/>
              <a:ext cx="1951734" cy="3093854"/>
            </a:xfrm>
            <a:prstGeom prst="rect">
              <a:avLst/>
            </a:prstGeom>
            <a:noFill/>
            <a:ln w="28575">
              <a:solidFill>
                <a:schemeClr val="tx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B747B">
                    <a:lumMod val="75000"/>
                  </a:srgbClr>
                </a:solidFill>
                <a:effectLst/>
                <a:uLnTx/>
                <a:uFillTx/>
                <a:ea typeface="+mn-ea"/>
                <a:cs typeface="+mn-cs"/>
              </a:endParaRPr>
            </a:p>
          </p:txBody>
        </p:sp>
        <p:sp>
          <p:nvSpPr>
            <p:cNvPr id="33" name="Rectangle 32">
              <a:extLst>
                <a:ext uri="{FF2B5EF4-FFF2-40B4-BE49-F238E27FC236}">
                  <a16:creationId xmlns:a16="http://schemas.microsoft.com/office/drawing/2014/main" id="{FA2CCB3F-5151-B641-9CB9-06C11BFD0753}"/>
                </a:ext>
              </a:extLst>
            </p:cNvPr>
            <p:cNvSpPr/>
            <p:nvPr/>
          </p:nvSpPr>
          <p:spPr>
            <a:xfrm>
              <a:off x="4868696" y="2508772"/>
              <a:ext cx="1951734" cy="1678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B747B">
                      <a:lumMod val="75000"/>
                    </a:srgbClr>
                  </a:solidFill>
                  <a:effectLst/>
                  <a:uLnTx/>
                  <a:uFillTx/>
                  <a:ea typeface="+mn-ea"/>
                  <a:cs typeface="+mn-cs"/>
                </a:rPr>
                <a:t>Strategic focus</a:t>
              </a:r>
              <a:endParaRPr kumimoji="0" lang="en-US" sz="1400" b="1" i="0" u="none" strike="noStrike" kern="1200" cap="none" spc="0" normalizeH="0" baseline="30000" noProof="0" dirty="0">
                <a:ln>
                  <a:noFill/>
                </a:ln>
                <a:solidFill>
                  <a:srgbClr val="6B747B">
                    <a:lumMod val="75000"/>
                  </a:srgbClr>
                </a:solidFill>
                <a:effectLst/>
                <a:uLnTx/>
                <a:uFillTx/>
                <a:ea typeface="+mn-ea"/>
                <a:cs typeface="+mn-cs"/>
              </a:endParaRPr>
            </a:p>
          </p:txBody>
        </p:sp>
      </p:grpSp>
      <p:cxnSp>
        <p:nvCxnSpPr>
          <p:cNvPr id="34" name="Straight Connector 33"/>
          <p:cNvCxnSpPr/>
          <p:nvPr/>
        </p:nvCxnSpPr>
        <p:spPr>
          <a:xfrm flipV="1">
            <a:off x="5835336" y="3842179"/>
            <a:ext cx="504566" cy="384054"/>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5876295" y="2508594"/>
            <a:ext cx="531932" cy="444802"/>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3B4198A6-18F1-814D-B0A2-A9FC199B53CB}"/>
              </a:ext>
            </a:extLst>
          </p:cNvPr>
          <p:cNvSpPr/>
          <p:nvPr/>
        </p:nvSpPr>
        <p:spPr>
          <a:xfrm>
            <a:off x="6536755" y="2253254"/>
            <a:ext cx="4167233" cy="3167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573" tIns="34289" rIns="68573" bIns="34289"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25CA3"/>
                </a:solidFill>
                <a:effectLst/>
                <a:uLnTx/>
                <a:uFillTx/>
                <a:ea typeface="+mn-ea"/>
                <a:cs typeface="+mn-cs"/>
              </a:rPr>
              <a:t>Explore Whitespace </a:t>
            </a:r>
            <a:br>
              <a:rPr kumimoji="0" lang="en-US" sz="2000" b="1" i="0" u="none" strike="noStrike" kern="1200" cap="none" spc="0" normalizeH="0" baseline="0" noProof="0" dirty="0">
                <a:ln>
                  <a:noFill/>
                </a:ln>
                <a:solidFill>
                  <a:srgbClr val="525CA3"/>
                </a:solidFill>
                <a:effectLst/>
                <a:uLnTx/>
                <a:uFillTx/>
                <a:ea typeface="+mn-ea"/>
                <a:cs typeface="+mn-cs"/>
              </a:rPr>
            </a:br>
            <a:r>
              <a:rPr kumimoji="0" lang="en-US" sz="2000" b="1" i="0" u="none" strike="noStrike" kern="1200" cap="none" spc="0" normalizeH="0" baseline="0" noProof="0" dirty="0">
                <a:ln>
                  <a:noFill/>
                </a:ln>
                <a:solidFill>
                  <a:srgbClr val="525CA3"/>
                </a:solidFill>
                <a:effectLst/>
                <a:uLnTx/>
                <a:uFillTx/>
                <a:ea typeface="+mn-ea"/>
                <a:cs typeface="+mn-cs"/>
              </a:rPr>
              <a:t>e-Commerce</a:t>
            </a:r>
          </a:p>
        </p:txBody>
      </p:sp>
      <p:sp>
        <p:nvSpPr>
          <p:cNvPr id="37" name="Rectangle 36">
            <a:extLst>
              <a:ext uri="{FF2B5EF4-FFF2-40B4-BE49-F238E27FC236}">
                <a16:creationId xmlns:a16="http://schemas.microsoft.com/office/drawing/2014/main" id="{3B4198A6-18F1-814D-B0A2-A9FC199B53CB}"/>
              </a:ext>
            </a:extLst>
          </p:cNvPr>
          <p:cNvSpPr/>
          <p:nvPr/>
        </p:nvSpPr>
        <p:spPr>
          <a:xfrm>
            <a:off x="6536755" y="3623999"/>
            <a:ext cx="3261232" cy="156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573" tIns="34289" rIns="68573" bIns="34289"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BE006B"/>
                </a:solidFill>
                <a:effectLst/>
                <a:uLnTx/>
                <a:uFillTx/>
                <a:ea typeface="+mn-ea"/>
                <a:cs typeface="+mn-cs"/>
              </a:rPr>
              <a:t>Build the Foundations</a:t>
            </a:r>
          </a:p>
        </p:txBody>
      </p:sp>
      <p:sp>
        <p:nvSpPr>
          <p:cNvPr id="38" name="Rectangle 37"/>
          <p:cNvSpPr/>
          <p:nvPr/>
        </p:nvSpPr>
        <p:spPr>
          <a:xfrm>
            <a:off x="6536755" y="2714452"/>
            <a:ext cx="2837681" cy="646327"/>
          </a:xfrm>
          <a:prstGeom prst="rect">
            <a:avLst/>
          </a:prstGeom>
        </p:spPr>
        <p:txBody>
          <a:bodyPr wrap="square" lIns="91430" tIns="45718" rIns="91430" bIns="45718">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6B747B"/>
                </a:solidFill>
                <a:effectLst/>
                <a:uLnTx/>
                <a:uFillTx/>
                <a:ea typeface="+mn-ea"/>
                <a:cs typeface="+mn-cs"/>
              </a:rPr>
              <a:t>Explore new brands, service layers, and/or platforms, to engage with our consumer through e-Commerce</a:t>
            </a:r>
          </a:p>
        </p:txBody>
      </p:sp>
      <p:sp>
        <p:nvSpPr>
          <p:cNvPr id="39" name="Rectangle 38"/>
          <p:cNvSpPr/>
          <p:nvPr/>
        </p:nvSpPr>
        <p:spPr>
          <a:xfrm>
            <a:off x="10778322" y="2493007"/>
            <a:ext cx="1023750" cy="5389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6B747B">
                    <a:lumMod val="50000"/>
                  </a:srgbClr>
                </a:solidFill>
                <a:effectLst/>
                <a:uLnTx/>
                <a:uFillTx/>
                <a:ea typeface="+mn-ea"/>
                <a:cs typeface="+mn-cs"/>
              </a:rPr>
              <a:t>$279 M</a:t>
            </a:r>
          </a:p>
        </p:txBody>
      </p:sp>
      <p:sp>
        <p:nvSpPr>
          <p:cNvPr id="40" name="Rectangle 39"/>
          <p:cNvSpPr/>
          <p:nvPr/>
        </p:nvSpPr>
        <p:spPr>
          <a:xfrm>
            <a:off x="10281956" y="2897757"/>
            <a:ext cx="1520116" cy="430887"/>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525CA3"/>
                </a:solidFill>
                <a:effectLst/>
                <a:uLnTx/>
                <a:uFillTx/>
                <a:ea typeface="+mn-ea"/>
                <a:cs typeface="+mn-cs"/>
              </a:rPr>
              <a:t>2022 Incremental Net Revenue</a:t>
            </a:r>
          </a:p>
        </p:txBody>
      </p:sp>
      <p:sp>
        <p:nvSpPr>
          <p:cNvPr id="41" name="Rectangle 40"/>
          <p:cNvSpPr/>
          <p:nvPr/>
        </p:nvSpPr>
        <p:spPr>
          <a:xfrm>
            <a:off x="10778322" y="3556882"/>
            <a:ext cx="1023750" cy="5389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6B747B">
                    <a:lumMod val="50000"/>
                  </a:srgbClr>
                </a:solidFill>
                <a:effectLst/>
                <a:uLnTx/>
                <a:uFillTx/>
                <a:ea typeface="+mn-ea"/>
                <a:cs typeface="+mn-cs"/>
              </a:rPr>
              <a:t>$63 M</a:t>
            </a:r>
          </a:p>
        </p:txBody>
      </p:sp>
      <p:sp>
        <p:nvSpPr>
          <p:cNvPr id="42" name="Rectangle 41"/>
          <p:cNvSpPr/>
          <p:nvPr/>
        </p:nvSpPr>
        <p:spPr>
          <a:xfrm>
            <a:off x="10281956" y="3933334"/>
            <a:ext cx="1520116" cy="430887"/>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BE006B"/>
                </a:solidFill>
                <a:effectLst/>
                <a:uLnTx/>
                <a:uFillTx/>
                <a:ea typeface="+mn-ea"/>
                <a:cs typeface="+mn-cs"/>
              </a:rPr>
              <a:t>2022 Incremental Net Revenue</a:t>
            </a:r>
          </a:p>
        </p:txBody>
      </p:sp>
      <p:sp>
        <p:nvSpPr>
          <p:cNvPr id="43" name="Rectangle 42"/>
          <p:cNvSpPr/>
          <p:nvPr/>
        </p:nvSpPr>
        <p:spPr>
          <a:xfrm>
            <a:off x="10778322" y="4501429"/>
            <a:ext cx="1023750" cy="5389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6B747B">
                    <a:lumMod val="50000"/>
                  </a:srgbClr>
                </a:solidFill>
                <a:effectLst/>
                <a:uLnTx/>
                <a:uFillTx/>
                <a:ea typeface="+mn-ea"/>
                <a:cs typeface="+mn-cs"/>
              </a:rPr>
              <a:t>$88 M</a:t>
            </a:r>
          </a:p>
        </p:txBody>
      </p:sp>
      <p:sp>
        <p:nvSpPr>
          <p:cNvPr id="44" name="Rectangle 43"/>
          <p:cNvSpPr/>
          <p:nvPr/>
        </p:nvSpPr>
        <p:spPr>
          <a:xfrm>
            <a:off x="10390489" y="4903281"/>
            <a:ext cx="1411583" cy="430887"/>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BE006B"/>
                </a:solidFill>
                <a:effectLst/>
                <a:uLnTx/>
                <a:uFillTx/>
                <a:ea typeface="+mn-ea"/>
                <a:cs typeface="+mn-cs"/>
              </a:rPr>
              <a:t>2022 Lost Sales Avoidance</a:t>
            </a:r>
          </a:p>
        </p:txBody>
      </p:sp>
      <p:sp>
        <p:nvSpPr>
          <p:cNvPr id="45" name="Rectangle 44"/>
          <p:cNvSpPr/>
          <p:nvPr/>
        </p:nvSpPr>
        <p:spPr>
          <a:xfrm>
            <a:off x="6585966" y="3942960"/>
            <a:ext cx="4008841" cy="646327"/>
          </a:xfrm>
          <a:prstGeom prst="rect">
            <a:avLst/>
          </a:prstGeom>
        </p:spPr>
        <p:txBody>
          <a:bodyPr wrap="square" lIns="91430" tIns="45718" rIns="91430" bIns="45718">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6B747B"/>
                </a:solidFill>
                <a:effectLst/>
                <a:uLnTx/>
                <a:uFillTx/>
                <a:ea typeface="+mn-ea"/>
              </a:rPr>
              <a:t>Drive traffic, conversion, and loyalty across the path to purchase to build the basics of our digital strategy and earn our fair share of this channel</a:t>
            </a:r>
          </a:p>
        </p:txBody>
      </p:sp>
      <p:sp>
        <p:nvSpPr>
          <p:cNvPr id="46" name="Rectangle 45"/>
          <p:cNvSpPr/>
          <p:nvPr/>
        </p:nvSpPr>
        <p:spPr>
          <a:xfrm>
            <a:off x="10778322" y="5477357"/>
            <a:ext cx="1023750" cy="5389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6B747B">
                    <a:lumMod val="50000"/>
                  </a:srgbClr>
                </a:solidFill>
                <a:effectLst/>
                <a:uLnTx/>
                <a:uFillTx/>
                <a:ea typeface="+mn-ea"/>
                <a:cs typeface="+mn-cs"/>
              </a:rPr>
              <a:t>$102 M</a:t>
            </a:r>
          </a:p>
        </p:txBody>
      </p:sp>
      <p:sp>
        <p:nvSpPr>
          <p:cNvPr id="70" name="Rectangle 69"/>
          <p:cNvSpPr/>
          <p:nvPr/>
        </p:nvSpPr>
        <p:spPr>
          <a:xfrm>
            <a:off x="10390489" y="5879209"/>
            <a:ext cx="1411583" cy="430887"/>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6B747B"/>
                </a:solidFill>
                <a:effectLst/>
                <a:uLnTx/>
                <a:uFillTx/>
                <a:ea typeface="+mn-ea"/>
                <a:cs typeface="+mn-cs"/>
              </a:rPr>
              <a:t>2022 Take No Action Revenue </a:t>
            </a:r>
          </a:p>
        </p:txBody>
      </p:sp>
      <p:cxnSp>
        <p:nvCxnSpPr>
          <p:cNvPr id="71" name="Straight Connector 70">
            <a:extLst>
              <a:ext uri="{FF2B5EF4-FFF2-40B4-BE49-F238E27FC236}">
                <a16:creationId xmlns:a16="http://schemas.microsoft.com/office/drawing/2014/main" id="{B4334777-CC50-42BC-808F-1D2CF018E13C}"/>
              </a:ext>
            </a:extLst>
          </p:cNvPr>
          <p:cNvCxnSpPr>
            <a:cxnSpLocks/>
          </p:cNvCxnSpPr>
          <p:nvPr/>
        </p:nvCxnSpPr>
        <p:spPr>
          <a:xfrm>
            <a:off x="5835336" y="5400511"/>
            <a:ext cx="572891" cy="29558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3B4198A6-18F1-814D-B0A2-A9FC199B53CB}"/>
              </a:ext>
            </a:extLst>
          </p:cNvPr>
          <p:cNvSpPr/>
          <p:nvPr/>
        </p:nvSpPr>
        <p:spPr>
          <a:xfrm>
            <a:off x="6561394" y="5617880"/>
            <a:ext cx="3261232" cy="1564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573" tIns="34289" rIns="68573" bIns="34289"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6B747B"/>
                </a:solidFill>
                <a:effectLst/>
                <a:uLnTx/>
                <a:uFillTx/>
                <a:ea typeface="+mn-ea"/>
                <a:cs typeface="+mn-cs"/>
              </a:rPr>
              <a:t>Take No New Action</a:t>
            </a:r>
          </a:p>
        </p:txBody>
      </p:sp>
      <p:sp>
        <p:nvSpPr>
          <p:cNvPr id="73" name="Rectangle 72"/>
          <p:cNvSpPr/>
          <p:nvPr/>
        </p:nvSpPr>
        <p:spPr>
          <a:xfrm>
            <a:off x="6536755" y="5934560"/>
            <a:ext cx="3804523" cy="461661"/>
          </a:xfrm>
          <a:prstGeom prst="rect">
            <a:avLst/>
          </a:prstGeom>
        </p:spPr>
        <p:txBody>
          <a:bodyPr wrap="square" lIns="91430" tIns="45718" rIns="91430" bIns="45718">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6B747B"/>
                </a:solidFill>
                <a:effectLst/>
                <a:uLnTx/>
                <a:uFillTx/>
                <a:ea typeface="+mn-ea"/>
                <a:cs typeface="+mn-cs"/>
              </a:rPr>
              <a:t>Take no new action to increase digital presence and marketing to accelerate channel growth</a:t>
            </a:r>
          </a:p>
        </p:txBody>
      </p:sp>
      <p:graphicFrame>
        <p:nvGraphicFramePr>
          <p:cNvPr id="76" name="Chart 75"/>
          <p:cNvGraphicFramePr/>
          <p:nvPr>
            <p:custDataLst>
              <p:tags r:id="rId3"/>
            </p:custDataLst>
            <p:extLst>
              <p:ext uri="{D42A27DB-BD31-4B8C-83A1-F6EECF244321}">
                <p14:modId xmlns:p14="http://schemas.microsoft.com/office/powerpoint/2010/main" val="2054848776"/>
              </p:ext>
            </p:extLst>
          </p:nvPr>
        </p:nvGraphicFramePr>
        <p:xfrm>
          <a:off x="473075" y="2948441"/>
          <a:ext cx="5130800" cy="2851150"/>
        </p:xfrm>
        <a:graphic>
          <a:graphicData uri="http://schemas.openxmlformats.org/drawingml/2006/chart">
            <c:chart xmlns:c="http://schemas.openxmlformats.org/drawingml/2006/chart" xmlns:r="http://schemas.openxmlformats.org/officeDocument/2006/relationships" r:id="rId20"/>
          </a:graphicData>
        </a:graphic>
      </p:graphicFrame>
      <p:sp>
        <p:nvSpPr>
          <p:cNvPr id="77" name="Text Placeholder 2"/>
          <p:cNvSpPr>
            <a:spLocks noGrp="1"/>
          </p:cNvSpPr>
          <p:nvPr>
            <p:custDataLst>
              <p:tags r:id="rId4"/>
            </p:custDataLst>
          </p:nvPr>
        </p:nvSpPr>
        <p:spPr bwMode="gray">
          <a:xfrm>
            <a:off x="4479925" y="3665991"/>
            <a:ext cx="4270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139700" indent="-139700" algn="l" defTabSz="685800"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400" indent="-134938"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1" indent="0" algn="ctr" defTabSz="685800" rtl="0" eaLnBrk="1" fontAlgn="auto" latinLnBrk="0" hangingPunct="1">
              <a:lnSpc>
                <a:spcPct val="90000"/>
              </a:lnSpc>
              <a:spcBef>
                <a:spcPct val="0"/>
              </a:spcBef>
              <a:spcAft>
                <a:spcPct val="0"/>
              </a:spcAft>
              <a:buClr>
                <a:srgbClr val="BCBC1C"/>
              </a:buClr>
              <a:buSzTx/>
              <a:buFont typeface="Arial" charset="0"/>
              <a:buNone/>
              <a:tabLst/>
              <a:defRPr/>
            </a:pPr>
            <a:fld id="{DCB316FE-0283-46EF-AB5A-F076F104C58A}" type="datetime'''''''$''2''''''''''''''''''''7''9''''''''''''''''''M'''">
              <a:rPr kumimoji="0" lang="en-US" altLang="en-US" sz="1000" b="0" i="0" u="none" strike="noStrike" kern="1200" cap="none" spc="0" normalizeH="0" baseline="0" noProof="0" smtClean="0">
                <a:ln>
                  <a:noFill/>
                </a:ln>
                <a:solidFill>
                  <a:srgbClr val="FFFFFF"/>
                </a:solidFill>
                <a:effectLst/>
                <a:uLnTx/>
                <a:uFillTx/>
                <a:ea typeface="+mn-ea"/>
                <a:cs typeface="+mn-cs"/>
              </a:rPr>
              <a:pPr marL="0" marR="0" lvl="1" indent="0" algn="ctr" defTabSz="685800" rtl="0" eaLnBrk="1" fontAlgn="auto" latinLnBrk="0" hangingPunct="1">
                <a:lnSpc>
                  <a:spcPct val="90000"/>
                </a:lnSpc>
                <a:spcBef>
                  <a:spcPct val="0"/>
                </a:spcBef>
                <a:spcAft>
                  <a:spcPct val="0"/>
                </a:spcAft>
                <a:buClr>
                  <a:srgbClr val="BCBC1C"/>
                </a:buClr>
                <a:buSzTx/>
                <a:buFont typeface="Arial" charset="0"/>
                <a:buNone/>
                <a:tabLst/>
                <a:defRPr/>
              </a:pPr>
              <a:t>$279M</a:t>
            </a:fld>
            <a:endParaRPr kumimoji="0" lang="en-US" sz="1000" b="0" i="0" u="none" strike="noStrike" kern="1200" cap="none" spc="0" normalizeH="0" baseline="0" noProof="0" dirty="0">
              <a:ln>
                <a:noFill/>
              </a:ln>
              <a:solidFill>
                <a:srgbClr val="FFFFFF"/>
              </a:solidFill>
              <a:effectLst/>
              <a:uLnTx/>
              <a:uFillTx/>
              <a:ea typeface="+mn-ea"/>
              <a:cs typeface="+mn-cs"/>
              <a:sym typeface="+mn-lt"/>
            </a:endParaRPr>
          </a:p>
        </p:txBody>
      </p:sp>
      <p:sp>
        <p:nvSpPr>
          <p:cNvPr id="78" name="Text Placeholder 2"/>
          <p:cNvSpPr>
            <a:spLocks noGrp="1"/>
          </p:cNvSpPr>
          <p:nvPr>
            <p:custDataLst>
              <p:tags r:id="rId5"/>
            </p:custDataLst>
          </p:nvPr>
        </p:nvSpPr>
        <p:spPr bwMode="gray">
          <a:xfrm>
            <a:off x="1169988" y="5390016"/>
            <a:ext cx="4270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139700" indent="-139700" algn="l" defTabSz="685800"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400" indent="-134938"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1" indent="0" algn="ctr" defTabSz="685800" rtl="0" eaLnBrk="1" fontAlgn="auto" latinLnBrk="0" hangingPunct="1">
              <a:lnSpc>
                <a:spcPct val="90000"/>
              </a:lnSpc>
              <a:spcBef>
                <a:spcPct val="0"/>
              </a:spcBef>
              <a:spcAft>
                <a:spcPct val="0"/>
              </a:spcAft>
              <a:buClr>
                <a:srgbClr val="BCBC1C"/>
              </a:buClr>
              <a:buSzTx/>
              <a:buFont typeface="Arial" charset="0"/>
              <a:buNone/>
              <a:tabLst/>
              <a:defRPr/>
            </a:pPr>
            <a:fld id="{60B87D52-EB68-4E40-B274-79A68F6AB201}" type="datetime'''$1''''02''''''''''''M'''''''''''''''''''''''''''''''''">
              <a:rPr kumimoji="0" lang="en-US" altLang="en-US" sz="1000" b="0" i="0" u="none" strike="noStrike" kern="1200" cap="none" spc="0" normalizeH="0" baseline="0" noProof="0" smtClean="0">
                <a:ln>
                  <a:noFill/>
                </a:ln>
                <a:solidFill>
                  <a:srgbClr val="FFFFFF"/>
                </a:solidFill>
                <a:effectLst/>
                <a:uLnTx/>
                <a:uFillTx/>
                <a:ea typeface="+mn-ea"/>
                <a:cs typeface="+mn-cs"/>
              </a:rPr>
              <a:pPr marL="0" marR="0" lvl="1" indent="0" algn="ctr" defTabSz="685800" rtl="0" eaLnBrk="1" fontAlgn="auto" latinLnBrk="0" hangingPunct="1">
                <a:lnSpc>
                  <a:spcPct val="90000"/>
                </a:lnSpc>
                <a:spcBef>
                  <a:spcPct val="0"/>
                </a:spcBef>
                <a:spcAft>
                  <a:spcPct val="0"/>
                </a:spcAft>
                <a:buClr>
                  <a:srgbClr val="BCBC1C"/>
                </a:buClr>
                <a:buSzTx/>
                <a:buFont typeface="Arial" charset="0"/>
                <a:buNone/>
                <a:tabLst/>
                <a:defRPr/>
              </a:pPr>
              <a:t>$102M</a:t>
            </a:fld>
            <a:endParaRPr kumimoji="0" lang="en-US" sz="1000" b="0" i="0" u="none" strike="noStrike" kern="1200" cap="none" spc="0" normalizeH="0" baseline="0" noProof="0" dirty="0">
              <a:ln>
                <a:noFill/>
              </a:ln>
              <a:solidFill>
                <a:srgbClr val="FFFFFF"/>
              </a:solidFill>
              <a:effectLst/>
              <a:uLnTx/>
              <a:uFillTx/>
              <a:ea typeface="+mn-ea"/>
              <a:cs typeface="+mn-cs"/>
              <a:sym typeface="+mn-lt"/>
            </a:endParaRPr>
          </a:p>
        </p:txBody>
      </p:sp>
      <p:sp>
        <p:nvSpPr>
          <p:cNvPr id="79" name="Text Placeholder 2"/>
          <p:cNvSpPr>
            <a:spLocks noGrp="1"/>
          </p:cNvSpPr>
          <p:nvPr>
            <p:custDataLst>
              <p:tags r:id="rId6"/>
            </p:custDataLst>
          </p:nvPr>
        </p:nvSpPr>
        <p:spPr bwMode="gray">
          <a:xfrm>
            <a:off x="4479925" y="5390016"/>
            <a:ext cx="4270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139700" indent="-139700" algn="l" defTabSz="685800"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400" indent="-134938"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1" indent="0" algn="ctr" defTabSz="685800" rtl="0" eaLnBrk="1" fontAlgn="auto" latinLnBrk="0" hangingPunct="1">
              <a:lnSpc>
                <a:spcPct val="90000"/>
              </a:lnSpc>
              <a:spcBef>
                <a:spcPct val="0"/>
              </a:spcBef>
              <a:spcAft>
                <a:spcPct val="0"/>
              </a:spcAft>
              <a:buClr>
                <a:srgbClr val="BCBC1C"/>
              </a:buClr>
              <a:buSzTx/>
              <a:buFont typeface="Arial" charset="0"/>
              <a:buNone/>
              <a:tabLst/>
              <a:defRPr/>
            </a:pPr>
            <a:fld id="{29068460-65F8-43F3-B7C9-2FB7CE7EC670}" type="datetime'''''''$''''''''''''''''''''''''''''''''''1''''''0''2M'''''''''">
              <a:rPr kumimoji="0" lang="en-US" altLang="en-US" sz="1000" b="0" i="0" u="none" strike="noStrike" kern="1200" cap="none" spc="0" normalizeH="0" baseline="0" noProof="0" smtClean="0">
                <a:ln>
                  <a:noFill/>
                </a:ln>
                <a:solidFill>
                  <a:srgbClr val="FFFFFF"/>
                </a:solidFill>
                <a:effectLst/>
                <a:uLnTx/>
                <a:uFillTx/>
                <a:ea typeface="+mn-ea"/>
                <a:cs typeface="+mn-cs"/>
              </a:rPr>
              <a:pPr marL="0" marR="0" lvl="1" indent="0" algn="ctr" defTabSz="685800" rtl="0" eaLnBrk="1" fontAlgn="auto" latinLnBrk="0" hangingPunct="1">
                <a:lnSpc>
                  <a:spcPct val="90000"/>
                </a:lnSpc>
                <a:spcBef>
                  <a:spcPct val="0"/>
                </a:spcBef>
                <a:spcAft>
                  <a:spcPct val="0"/>
                </a:spcAft>
                <a:buClr>
                  <a:srgbClr val="BCBC1C"/>
                </a:buClr>
                <a:buSzTx/>
                <a:buFont typeface="Arial" charset="0"/>
                <a:buNone/>
                <a:tabLst/>
                <a:defRPr/>
              </a:pPr>
              <a:t>$102M</a:t>
            </a:fld>
            <a:endParaRPr kumimoji="0" lang="en-US" sz="1000" b="0" i="0" u="none" strike="noStrike" kern="1200" cap="none" spc="0" normalizeH="0" baseline="0" noProof="0" dirty="0">
              <a:ln>
                <a:noFill/>
              </a:ln>
              <a:solidFill>
                <a:srgbClr val="FFFFFF"/>
              </a:solidFill>
              <a:effectLst/>
              <a:uLnTx/>
              <a:uFillTx/>
              <a:ea typeface="+mn-ea"/>
              <a:cs typeface="+mn-cs"/>
              <a:sym typeface="+mn-lt"/>
            </a:endParaRPr>
          </a:p>
        </p:txBody>
      </p:sp>
      <p:sp>
        <p:nvSpPr>
          <p:cNvPr id="80" name="Rectangle 79">
            <a:extLst>
              <a:ext uri="{FF2B5EF4-FFF2-40B4-BE49-F238E27FC236}">
                <a16:creationId xmlns:a16="http://schemas.microsoft.com/office/drawing/2014/main" id="{E5DAC00A-D46E-45AF-B68A-4B411F1E83BB}"/>
              </a:ext>
            </a:extLst>
          </p:cNvPr>
          <p:cNvSpPr>
            <a:spLocks noGrp="1" noChangeArrowheads="1"/>
          </p:cNvSpPr>
          <p:nvPr>
            <p:custDataLst>
              <p:tags r:id="rId7"/>
            </p:custDataLst>
          </p:nvPr>
        </p:nvSpPr>
        <p:spPr bwMode="auto">
          <a:xfrm>
            <a:off x="800100" y="5802766"/>
            <a:ext cx="1165225"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ct val="0"/>
              </a:spcBef>
              <a:spcAft>
                <a:spcPts val="0"/>
              </a:spcAft>
              <a:buClrTx/>
              <a:buSzTx/>
              <a:buFontTx/>
              <a:buNone/>
              <a:tabLst/>
              <a:defRPr/>
            </a:pPr>
            <a:fld id="{8421F697-9161-46BF-9831-1AF91B2D970C}" type="datetime'''T''ak''e N''o N''''e''w'''' ''''''Act''''''''i''''''''on'">
              <a:rPr kumimoji="0" lang="en-US" altLang="en-US" sz="1000" b="0" i="0" u="none" strike="noStrike" kern="1200" cap="none" spc="0" normalizeH="0" baseline="0" noProof="0" smtClean="0">
                <a:ln>
                  <a:noFill/>
                </a:ln>
                <a:solidFill>
                  <a:srgbClr val="6B747B"/>
                </a:solidFill>
                <a:effectLst/>
                <a:uLnTx/>
                <a:uFillTx/>
                <a:ea typeface="+mn-ea"/>
                <a:cs typeface="+mn-cs"/>
              </a:rPr>
              <a:pPr marL="0" marR="0" lvl="1" indent="0" algn="ctr" defTabSz="914400" rtl="0" eaLnBrk="1" fontAlgn="auto" latinLnBrk="0" hangingPunct="1">
                <a:lnSpc>
                  <a:spcPct val="100000"/>
                </a:lnSpc>
                <a:spcBef>
                  <a:spcPct val="0"/>
                </a:spcBef>
                <a:spcAft>
                  <a:spcPts val="0"/>
                </a:spcAft>
                <a:buClrTx/>
                <a:buSzTx/>
                <a:buFontTx/>
                <a:buNone/>
                <a:tabLst/>
                <a:defRPr/>
              </a:pPr>
              <a:t>Take No New Action</a:t>
            </a:fld>
            <a:endParaRPr kumimoji="0" lang="en-US" altLang="en-US" sz="1000" b="0" i="0" u="none" strike="noStrike" kern="1200" cap="none" spc="0" normalizeH="0" baseline="0" noProof="0" dirty="0">
              <a:ln>
                <a:noFill/>
              </a:ln>
              <a:solidFill>
                <a:srgbClr val="6B747B"/>
              </a:solidFill>
              <a:effectLst/>
              <a:uLnTx/>
              <a:uFillTx/>
              <a:ea typeface="+mn-ea"/>
              <a:cs typeface="+mn-cs"/>
              <a:sym typeface="+mn-lt"/>
            </a:endParaRPr>
          </a:p>
        </p:txBody>
      </p:sp>
      <p:sp>
        <p:nvSpPr>
          <p:cNvPr id="81" name="Text Placeholder 2"/>
          <p:cNvSpPr>
            <a:spLocks noGrp="1"/>
          </p:cNvSpPr>
          <p:nvPr>
            <p:custDataLst>
              <p:tags r:id="rId8"/>
            </p:custDataLst>
          </p:nvPr>
        </p:nvSpPr>
        <p:spPr bwMode="gray">
          <a:xfrm>
            <a:off x="2824163" y="5390016"/>
            <a:ext cx="4270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139700" indent="-139700" algn="l" defTabSz="685800"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400" indent="-134938"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1" indent="0" algn="ctr" defTabSz="685800" rtl="0" eaLnBrk="1" fontAlgn="auto" latinLnBrk="0" hangingPunct="1">
              <a:lnSpc>
                <a:spcPct val="90000"/>
              </a:lnSpc>
              <a:spcBef>
                <a:spcPct val="0"/>
              </a:spcBef>
              <a:spcAft>
                <a:spcPct val="0"/>
              </a:spcAft>
              <a:buClr>
                <a:srgbClr val="BCBC1C"/>
              </a:buClr>
              <a:buSzTx/>
              <a:buFont typeface="Arial" charset="0"/>
              <a:buNone/>
              <a:tabLst/>
              <a:defRPr/>
            </a:pPr>
            <a:fld id="{9DAD4C01-1C89-45D0-A618-86FF7B1858D4}" type="datetime'''$''''''''''''''''''''''1''''''''''''''''02M'''''''''''''">
              <a:rPr kumimoji="0" lang="en-US" altLang="en-US" sz="1000" b="0" i="0" u="none" strike="noStrike" kern="1200" cap="none" spc="0" normalizeH="0" baseline="0" noProof="0" smtClean="0">
                <a:ln>
                  <a:noFill/>
                </a:ln>
                <a:solidFill>
                  <a:srgbClr val="FFFFFF"/>
                </a:solidFill>
                <a:effectLst/>
                <a:uLnTx/>
                <a:uFillTx/>
                <a:ea typeface="+mn-ea"/>
                <a:cs typeface="+mn-cs"/>
              </a:rPr>
              <a:pPr marL="0" marR="0" lvl="1" indent="0" algn="ctr" defTabSz="685800" rtl="0" eaLnBrk="1" fontAlgn="auto" latinLnBrk="0" hangingPunct="1">
                <a:lnSpc>
                  <a:spcPct val="90000"/>
                </a:lnSpc>
                <a:spcBef>
                  <a:spcPct val="0"/>
                </a:spcBef>
                <a:spcAft>
                  <a:spcPct val="0"/>
                </a:spcAft>
                <a:buClr>
                  <a:srgbClr val="BCBC1C"/>
                </a:buClr>
                <a:buSzTx/>
                <a:buFont typeface="Arial" charset="0"/>
                <a:buNone/>
                <a:tabLst/>
                <a:defRPr/>
              </a:pPr>
              <a:t>$102M</a:t>
            </a:fld>
            <a:endParaRPr kumimoji="0" lang="en-US" sz="1000" b="0" i="0" u="none" strike="noStrike" kern="1200" cap="none" spc="0" normalizeH="0" baseline="0" noProof="0" dirty="0">
              <a:ln>
                <a:noFill/>
              </a:ln>
              <a:solidFill>
                <a:srgbClr val="FFFFFF"/>
              </a:solidFill>
              <a:effectLst/>
              <a:uLnTx/>
              <a:uFillTx/>
              <a:ea typeface="+mn-ea"/>
              <a:cs typeface="+mn-cs"/>
              <a:sym typeface="+mn-lt"/>
            </a:endParaRPr>
          </a:p>
        </p:txBody>
      </p:sp>
      <p:sp>
        <p:nvSpPr>
          <p:cNvPr id="82" name="Text Placeholder 2"/>
          <p:cNvSpPr>
            <a:spLocks noGrp="1"/>
          </p:cNvSpPr>
          <p:nvPr>
            <p:custDataLst>
              <p:tags r:id="rId9"/>
            </p:custDataLst>
          </p:nvPr>
        </p:nvSpPr>
        <p:spPr bwMode="gray">
          <a:xfrm>
            <a:off x="2824163" y="4751841"/>
            <a:ext cx="4270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139700" indent="-139700" algn="l" defTabSz="685800"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400" indent="-134938"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1" indent="0" algn="ctr" defTabSz="685800" rtl="0" eaLnBrk="1" fontAlgn="auto" latinLnBrk="0" hangingPunct="1">
              <a:lnSpc>
                <a:spcPct val="90000"/>
              </a:lnSpc>
              <a:spcBef>
                <a:spcPct val="0"/>
              </a:spcBef>
              <a:spcAft>
                <a:spcPct val="0"/>
              </a:spcAft>
              <a:buClr>
                <a:srgbClr val="BCBC1C"/>
              </a:buClr>
              <a:buSzTx/>
              <a:buFont typeface="Arial" charset="0"/>
              <a:buNone/>
              <a:tabLst/>
              <a:defRPr/>
            </a:pPr>
            <a:fld id="{B69239BB-0E1A-4138-BC8F-9D0C6867AD26}" type="datetime'''''$''''1''5''''''''''''1''''''''''''M'''''''''''''''''''''''">
              <a:rPr kumimoji="0" lang="en-US" altLang="en-US" sz="1000" b="0" i="0" u="none" strike="noStrike" kern="1200" cap="none" spc="0" normalizeH="0" baseline="0" noProof="0" smtClean="0">
                <a:ln>
                  <a:noFill/>
                </a:ln>
                <a:solidFill>
                  <a:srgbClr val="FFFFFF"/>
                </a:solidFill>
                <a:effectLst/>
                <a:uLnTx/>
                <a:uFillTx/>
                <a:ea typeface="+mn-ea"/>
                <a:cs typeface="+mn-cs"/>
              </a:rPr>
              <a:pPr marL="0" marR="0" lvl="1" indent="0" algn="ctr" defTabSz="685800" rtl="0" eaLnBrk="1" fontAlgn="auto" latinLnBrk="0" hangingPunct="1">
                <a:lnSpc>
                  <a:spcPct val="90000"/>
                </a:lnSpc>
                <a:spcBef>
                  <a:spcPct val="0"/>
                </a:spcBef>
                <a:spcAft>
                  <a:spcPct val="0"/>
                </a:spcAft>
                <a:buClr>
                  <a:srgbClr val="BCBC1C"/>
                </a:buClr>
                <a:buSzTx/>
                <a:buFont typeface="Arial" charset="0"/>
                <a:buNone/>
                <a:tabLst/>
                <a:defRPr/>
              </a:pPr>
              <a:t>$151M</a:t>
            </a:fld>
            <a:endParaRPr kumimoji="0" lang="en-US" sz="1000" b="0" i="0" u="none" strike="noStrike" kern="1200" cap="none" spc="0" normalizeH="0" baseline="0" noProof="0" dirty="0">
              <a:ln>
                <a:noFill/>
              </a:ln>
              <a:solidFill>
                <a:srgbClr val="FFFFFF"/>
              </a:solidFill>
              <a:effectLst/>
              <a:uLnTx/>
              <a:uFillTx/>
              <a:ea typeface="+mn-ea"/>
              <a:cs typeface="+mn-cs"/>
              <a:sym typeface="+mn-lt"/>
            </a:endParaRPr>
          </a:p>
        </p:txBody>
      </p:sp>
      <p:sp>
        <p:nvSpPr>
          <p:cNvPr id="83" name="Text Placeholder 2">
            <a:extLst>
              <a:ext uri="{FF2B5EF4-FFF2-40B4-BE49-F238E27FC236}">
                <a16:creationId xmlns:a16="http://schemas.microsoft.com/office/drawing/2014/main" id="{A2F66391-E1D9-4C33-AC3B-08F1213F6CF4}"/>
              </a:ext>
            </a:extLst>
          </p:cNvPr>
          <p:cNvSpPr>
            <a:spLocks noGrp="1"/>
          </p:cNvSpPr>
          <p:nvPr>
            <p:custDataLst>
              <p:tags r:id="rId10"/>
            </p:custDataLst>
          </p:nvPr>
        </p:nvSpPr>
        <p:spPr bwMode="gray">
          <a:xfrm>
            <a:off x="4479925" y="2869066"/>
            <a:ext cx="4270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139700" indent="-139700" algn="l" defTabSz="685800"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400" indent="-134938"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1" indent="0" algn="ctr" defTabSz="685800" rtl="0" eaLnBrk="1" fontAlgn="auto" latinLnBrk="0" hangingPunct="1">
              <a:lnSpc>
                <a:spcPct val="90000"/>
              </a:lnSpc>
              <a:spcBef>
                <a:spcPct val="0"/>
              </a:spcBef>
              <a:spcAft>
                <a:spcPct val="0"/>
              </a:spcAft>
              <a:buClr>
                <a:srgbClr val="BCBC1C"/>
              </a:buClr>
              <a:buSzTx/>
              <a:buFont typeface="Arial" charset="0"/>
              <a:buNone/>
              <a:tabLst/>
              <a:defRPr/>
            </a:pPr>
            <a:fld id="{589580D5-346B-49F2-ABBE-C613915F9BDB}" type="datetime'$5''''''''''''''''3''''2M'''''''''''''''''''''''''''">
              <a:rPr kumimoji="0" lang="en-US" altLang="en-US" sz="1000" b="0" i="0" u="none" strike="noStrike" kern="1200" cap="none" spc="0" normalizeH="0" baseline="0" noProof="0" smtClean="0">
                <a:ln>
                  <a:noFill/>
                </a:ln>
                <a:solidFill>
                  <a:srgbClr val="6B747B"/>
                </a:solidFill>
                <a:effectLst/>
                <a:uLnTx/>
                <a:uFillTx/>
                <a:ea typeface="+mn-ea"/>
                <a:cs typeface="+mn-cs"/>
              </a:rPr>
              <a:pPr marL="0" marR="0" lvl="1" indent="0" algn="ctr" defTabSz="685800" rtl="0" eaLnBrk="1" fontAlgn="auto" latinLnBrk="0" hangingPunct="1">
                <a:lnSpc>
                  <a:spcPct val="90000"/>
                </a:lnSpc>
                <a:spcBef>
                  <a:spcPct val="0"/>
                </a:spcBef>
                <a:spcAft>
                  <a:spcPct val="0"/>
                </a:spcAft>
                <a:buClr>
                  <a:srgbClr val="BCBC1C"/>
                </a:buClr>
                <a:buSzTx/>
                <a:buFont typeface="Arial" charset="0"/>
                <a:buNone/>
                <a:tabLst/>
                <a:defRPr/>
              </a:pPr>
              <a:t>$532M</a:t>
            </a:fld>
            <a:endParaRPr kumimoji="0" lang="en-US" sz="1000" b="0" i="0" u="none" strike="noStrike" kern="1200" cap="none" spc="0" normalizeH="0" baseline="0" noProof="0" dirty="0">
              <a:ln>
                <a:noFill/>
              </a:ln>
              <a:solidFill>
                <a:srgbClr val="6B747B"/>
              </a:solidFill>
              <a:effectLst/>
              <a:uLnTx/>
              <a:uFillTx/>
              <a:ea typeface="+mn-ea"/>
              <a:cs typeface="+mn-cs"/>
              <a:sym typeface="+mn-lt"/>
            </a:endParaRPr>
          </a:p>
        </p:txBody>
      </p:sp>
      <p:sp>
        <p:nvSpPr>
          <p:cNvPr id="84" name="Rectangle 83">
            <a:extLst>
              <a:ext uri="{FF2B5EF4-FFF2-40B4-BE49-F238E27FC236}">
                <a16:creationId xmlns:a16="http://schemas.microsoft.com/office/drawing/2014/main" id="{032E6FBA-014C-4BF8-BB68-D564B82B8738}"/>
              </a:ext>
            </a:extLst>
          </p:cNvPr>
          <p:cNvSpPr>
            <a:spLocks noGrp="1" noChangeArrowheads="1"/>
          </p:cNvSpPr>
          <p:nvPr>
            <p:custDataLst>
              <p:tags r:id="rId11"/>
            </p:custDataLst>
          </p:nvPr>
        </p:nvSpPr>
        <p:spPr bwMode="auto">
          <a:xfrm>
            <a:off x="2420938" y="5802766"/>
            <a:ext cx="12319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ct val="0"/>
              </a:spcBef>
              <a:spcAft>
                <a:spcPts val="0"/>
              </a:spcAft>
              <a:buClrTx/>
              <a:buSzTx/>
              <a:buFontTx/>
              <a:buNone/>
              <a:tabLst/>
              <a:defRPr/>
            </a:pPr>
            <a:fld id="{B175F25B-C280-40A2-A5C5-B26C4C46C599}" type="datetime'''''Bu''''i''ld t''he F''''''''ou''''''n''''da''t''io''n''''s'">
              <a:rPr kumimoji="0" lang="en-US" altLang="en-US" sz="1000" b="0" i="0" u="none" strike="noStrike" kern="1200" cap="none" spc="0" normalizeH="0" baseline="0" noProof="0" smtClean="0">
                <a:ln>
                  <a:noFill/>
                </a:ln>
                <a:solidFill>
                  <a:srgbClr val="6B747B"/>
                </a:solidFill>
                <a:effectLst/>
                <a:uLnTx/>
                <a:uFillTx/>
                <a:ea typeface="+mn-ea"/>
                <a:cs typeface="+mn-cs"/>
              </a:rPr>
              <a:pPr marL="0" marR="0" lvl="1" indent="0" algn="ctr" defTabSz="914400" rtl="0" eaLnBrk="1" fontAlgn="auto" latinLnBrk="0" hangingPunct="1">
                <a:lnSpc>
                  <a:spcPct val="100000"/>
                </a:lnSpc>
                <a:spcBef>
                  <a:spcPct val="0"/>
                </a:spcBef>
                <a:spcAft>
                  <a:spcPts val="0"/>
                </a:spcAft>
                <a:buClrTx/>
                <a:buSzTx/>
                <a:buFontTx/>
                <a:buNone/>
                <a:tabLst/>
                <a:defRPr/>
              </a:pPr>
              <a:t>Build the Foundations</a:t>
            </a:fld>
            <a:endParaRPr kumimoji="0" lang="en-US" altLang="en-US" sz="1000" b="0" i="0" u="none" strike="noStrike" kern="1200" cap="none" spc="0" normalizeH="0" baseline="0" noProof="0" dirty="0">
              <a:ln>
                <a:noFill/>
              </a:ln>
              <a:solidFill>
                <a:srgbClr val="6B747B"/>
              </a:solidFill>
              <a:effectLst/>
              <a:uLnTx/>
              <a:uFillTx/>
              <a:ea typeface="+mn-ea"/>
              <a:cs typeface="+mn-cs"/>
              <a:sym typeface="+mn-lt"/>
            </a:endParaRPr>
          </a:p>
        </p:txBody>
      </p:sp>
      <p:sp>
        <p:nvSpPr>
          <p:cNvPr id="85" name="Text Placeholder 2"/>
          <p:cNvSpPr>
            <a:spLocks noGrp="1"/>
          </p:cNvSpPr>
          <p:nvPr>
            <p:custDataLst>
              <p:tags r:id="rId12"/>
            </p:custDataLst>
          </p:nvPr>
        </p:nvSpPr>
        <p:spPr bwMode="gray">
          <a:xfrm>
            <a:off x="4479925" y="4751841"/>
            <a:ext cx="4270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139700" indent="-139700" algn="l" defTabSz="685800"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400" indent="-134938"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1" indent="0" algn="ctr" defTabSz="685800" rtl="0" eaLnBrk="1" fontAlgn="auto" latinLnBrk="0" hangingPunct="1">
              <a:lnSpc>
                <a:spcPct val="90000"/>
              </a:lnSpc>
              <a:spcBef>
                <a:spcPct val="0"/>
              </a:spcBef>
              <a:spcAft>
                <a:spcPct val="0"/>
              </a:spcAft>
              <a:buClr>
                <a:srgbClr val="BCBC1C"/>
              </a:buClr>
              <a:buSzTx/>
              <a:buFont typeface="Arial" charset="0"/>
              <a:buNone/>
              <a:tabLst/>
              <a:defRPr/>
            </a:pPr>
            <a:fld id="{9F2DC73C-AF50-4864-9A8B-305518D873C5}" type="datetime'''''''''''''''''$''''''''''''''1''''''''51M'''''''''''''''''">
              <a:rPr kumimoji="0" lang="en-US" altLang="en-US" sz="1000" b="0" i="0" u="none" strike="noStrike" kern="1200" cap="none" spc="0" normalizeH="0" baseline="0" noProof="0" smtClean="0">
                <a:ln>
                  <a:noFill/>
                </a:ln>
                <a:solidFill>
                  <a:srgbClr val="FFFFFF"/>
                </a:solidFill>
                <a:effectLst/>
                <a:uLnTx/>
                <a:uFillTx/>
                <a:ea typeface="+mn-ea"/>
                <a:cs typeface="+mn-cs"/>
              </a:rPr>
              <a:pPr marL="0" marR="0" lvl="1" indent="0" algn="ctr" defTabSz="685800" rtl="0" eaLnBrk="1" fontAlgn="auto" latinLnBrk="0" hangingPunct="1">
                <a:lnSpc>
                  <a:spcPct val="90000"/>
                </a:lnSpc>
                <a:spcBef>
                  <a:spcPct val="0"/>
                </a:spcBef>
                <a:spcAft>
                  <a:spcPct val="0"/>
                </a:spcAft>
                <a:buClr>
                  <a:srgbClr val="BCBC1C"/>
                </a:buClr>
                <a:buSzTx/>
                <a:buFont typeface="Arial" charset="0"/>
                <a:buNone/>
                <a:tabLst/>
                <a:defRPr/>
              </a:pPr>
              <a:t>$151M</a:t>
            </a:fld>
            <a:endParaRPr kumimoji="0" lang="en-US" sz="1000" b="0" i="0" u="none" strike="noStrike" kern="1200" cap="none" spc="0" normalizeH="0" baseline="0" noProof="0" dirty="0">
              <a:ln>
                <a:noFill/>
              </a:ln>
              <a:solidFill>
                <a:srgbClr val="FFFFFF"/>
              </a:solidFill>
              <a:effectLst/>
              <a:uLnTx/>
              <a:uFillTx/>
              <a:ea typeface="+mn-ea"/>
              <a:cs typeface="+mn-cs"/>
              <a:sym typeface="+mn-lt"/>
            </a:endParaRPr>
          </a:p>
        </p:txBody>
      </p:sp>
      <p:sp>
        <p:nvSpPr>
          <p:cNvPr id="86" name="Rectangle 85">
            <a:extLst>
              <a:ext uri="{FF2B5EF4-FFF2-40B4-BE49-F238E27FC236}">
                <a16:creationId xmlns:a16="http://schemas.microsoft.com/office/drawing/2014/main" id="{F6B612DD-443F-45EB-AD3E-D5C6B96CF1E0}"/>
              </a:ext>
            </a:extLst>
          </p:cNvPr>
          <p:cNvSpPr>
            <a:spLocks noGrp="1" noChangeArrowheads="1"/>
          </p:cNvSpPr>
          <p:nvPr>
            <p:custDataLst>
              <p:tags r:id="rId13"/>
            </p:custDataLst>
          </p:nvPr>
        </p:nvSpPr>
        <p:spPr bwMode="auto">
          <a:xfrm>
            <a:off x="4124325" y="5802766"/>
            <a:ext cx="11366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ct val="0"/>
              </a:spcBef>
              <a:spcAft>
                <a:spcPts val="0"/>
              </a:spcAft>
              <a:buClrTx/>
              <a:buSzTx/>
              <a:buFontTx/>
              <a:buNone/>
              <a:tabLst/>
              <a:defRPr/>
            </a:pPr>
            <a:fld id="{37851FBB-C56E-4169-B95C-1DCDF32AA146}" type="datetime'Ex''''''''pl''o''re'' Whi''tespac''e eC''om''''merc''''''e'''">
              <a:rPr kumimoji="0" lang="en-US" altLang="en-US" sz="1000" b="0" i="0" u="none" strike="noStrike" kern="1200" cap="none" spc="0" normalizeH="0" baseline="0" noProof="0" smtClean="0">
                <a:ln>
                  <a:noFill/>
                </a:ln>
                <a:solidFill>
                  <a:srgbClr val="6B747B"/>
                </a:solidFill>
                <a:effectLst/>
                <a:uLnTx/>
                <a:uFillTx/>
                <a:ea typeface="+mn-ea"/>
                <a:cs typeface="+mn-cs"/>
              </a:rPr>
              <a:pPr marL="0" marR="0" lvl="1" indent="0" algn="ctr" defTabSz="914400" rtl="0" eaLnBrk="1" fontAlgn="auto" latinLnBrk="0" hangingPunct="1">
                <a:lnSpc>
                  <a:spcPct val="100000"/>
                </a:lnSpc>
                <a:spcBef>
                  <a:spcPct val="0"/>
                </a:spcBef>
                <a:spcAft>
                  <a:spcPts val="0"/>
                </a:spcAft>
                <a:buClrTx/>
                <a:buSzTx/>
                <a:buFontTx/>
                <a:buNone/>
                <a:tabLst/>
                <a:defRPr/>
              </a:pPr>
              <a:t>Explore Whitespace eCommerce</a:t>
            </a:fld>
            <a:endParaRPr kumimoji="0" lang="en-US" altLang="en-US" sz="1000" b="0" i="0" u="none" strike="noStrike" kern="1200" cap="none" spc="0" normalizeH="0" baseline="0" noProof="0" dirty="0">
              <a:ln>
                <a:noFill/>
              </a:ln>
              <a:solidFill>
                <a:srgbClr val="6B747B"/>
              </a:solidFill>
              <a:effectLst/>
              <a:uLnTx/>
              <a:uFillTx/>
              <a:ea typeface="+mn-ea"/>
              <a:cs typeface="+mn-cs"/>
              <a:sym typeface="+mn-lt"/>
            </a:endParaRPr>
          </a:p>
        </p:txBody>
      </p:sp>
      <p:sp>
        <p:nvSpPr>
          <p:cNvPr id="87" name="Rectangle 86">
            <a:extLst>
              <a:ext uri="{FF2B5EF4-FFF2-40B4-BE49-F238E27FC236}">
                <a16:creationId xmlns:a16="http://schemas.microsoft.com/office/drawing/2014/main" id="{3C03F19D-FF89-4C62-AC05-9DB82ACC7425}"/>
              </a:ext>
            </a:extLst>
          </p:cNvPr>
          <p:cNvSpPr>
            <a:spLocks noGrp="1" noChangeArrowheads="1"/>
          </p:cNvSpPr>
          <p:nvPr>
            <p:custDataLst>
              <p:tags r:id="rId14"/>
            </p:custDataLst>
          </p:nvPr>
        </p:nvSpPr>
        <p:spPr bwMode="gray">
          <a:xfrm>
            <a:off x="1169988" y="5023303"/>
            <a:ext cx="427038"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0638" tIns="0" rIns="20638" bIns="0" numCol="1" spcCol="0" anchor="b"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ct val="0"/>
              </a:spcBef>
              <a:spcAft>
                <a:spcPts val="0"/>
              </a:spcAft>
              <a:buClrTx/>
              <a:buSzTx/>
              <a:buFontTx/>
              <a:buNone/>
              <a:tabLst/>
              <a:defRPr/>
            </a:pPr>
            <a:fld id="{06999D89-1D61-492B-9364-C89D06DD2580}" type="datetime'''''$''''1''0''''''''''''''''''''''''2M'''''''''''''''''''">
              <a:rPr kumimoji="0" lang="en-US" altLang="en-US" sz="1000" b="0" i="0" u="none" strike="noStrike" kern="1200" cap="none" spc="0" normalizeH="0" baseline="0" noProof="0" smtClean="0">
                <a:ln>
                  <a:noFill/>
                </a:ln>
                <a:solidFill>
                  <a:srgbClr val="6B747B"/>
                </a:solidFill>
                <a:effectLst/>
                <a:uLnTx/>
                <a:uFillTx/>
                <a:ea typeface="+mn-ea"/>
                <a:cs typeface="+mn-cs"/>
              </a:rPr>
              <a:pPr marL="0" marR="0" lvl="1" indent="0" algn="ctr" defTabSz="914400" rtl="0" eaLnBrk="1" fontAlgn="auto" latinLnBrk="0" hangingPunct="1">
                <a:lnSpc>
                  <a:spcPct val="100000"/>
                </a:lnSpc>
                <a:spcBef>
                  <a:spcPct val="0"/>
                </a:spcBef>
                <a:spcAft>
                  <a:spcPts val="0"/>
                </a:spcAft>
                <a:buClrTx/>
                <a:buSzTx/>
                <a:buFontTx/>
                <a:buNone/>
                <a:tabLst/>
                <a:defRPr/>
              </a:pPr>
              <a:t>$102M</a:t>
            </a:fld>
            <a:endParaRPr kumimoji="0" lang="en-US" altLang="en-US" sz="1000" b="0" i="0" u="none" strike="noStrike" kern="1200" cap="none" spc="0" normalizeH="0" baseline="0" noProof="0" dirty="0">
              <a:ln>
                <a:noFill/>
              </a:ln>
              <a:solidFill>
                <a:srgbClr val="6B747B"/>
              </a:solidFill>
              <a:effectLst/>
              <a:uLnTx/>
              <a:uFillTx/>
              <a:ea typeface="+mn-ea"/>
              <a:cs typeface="+mn-cs"/>
              <a:sym typeface="+mn-lt"/>
            </a:endParaRPr>
          </a:p>
        </p:txBody>
      </p:sp>
      <p:sp>
        <p:nvSpPr>
          <p:cNvPr id="88" name="Rectangle 87">
            <a:extLst>
              <a:ext uri="{FF2B5EF4-FFF2-40B4-BE49-F238E27FC236}">
                <a16:creationId xmlns:a16="http://schemas.microsoft.com/office/drawing/2014/main" id="{C4C343E1-EDF1-4F89-8D02-73B24B38A3B0}"/>
              </a:ext>
            </a:extLst>
          </p:cNvPr>
          <p:cNvSpPr>
            <a:spLocks noGrp="1" noChangeArrowheads="1"/>
          </p:cNvSpPr>
          <p:nvPr>
            <p:custDataLst>
              <p:tags r:id="rId15"/>
            </p:custDataLst>
          </p:nvPr>
        </p:nvSpPr>
        <p:spPr bwMode="gray">
          <a:xfrm>
            <a:off x="2824163" y="4261303"/>
            <a:ext cx="427038"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0638" tIns="0" rIns="20638" bIns="0" numCol="1" spcCol="0" anchor="b"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ct val="0"/>
              </a:spcBef>
              <a:spcAft>
                <a:spcPts val="0"/>
              </a:spcAft>
              <a:buClrTx/>
              <a:buSzTx/>
              <a:buFontTx/>
              <a:buNone/>
              <a:tabLst/>
              <a:defRPr/>
            </a:pPr>
            <a:fld id="{F008E3D4-58BE-485D-80DC-55CBCF943729}" type="datetime'''$''''''''''''''''''''''''2''''''5''''''''''''''''3''''''''M'">
              <a:rPr kumimoji="0" lang="en-US" altLang="en-US" sz="1000" b="0" i="0" u="none" strike="noStrike" kern="1200" cap="none" spc="0" normalizeH="0" baseline="0" noProof="0" smtClean="0">
                <a:ln>
                  <a:noFill/>
                </a:ln>
                <a:solidFill>
                  <a:srgbClr val="6B747B"/>
                </a:solidFill>
                <a:effectLst/>
                <a:uLnTx/>
                <a:uFillTx/>
                <a:ea typeface="+mn-ea"/>
                <a:cs typeface="+mn-cs"/>
              </a:rPr>
              <a:pPr marL="0" marR="0" lvl="1" indent="0" algn="ctr" defTabSz="914400" rtl="0" eaLnBrk="1" fontAlgn="auto" latinLnBrk="0" hangingPunct="1">
                <a:lnSpc>
                  <a:spcPct val="100000"/>
                </a:lnSpc>
                <a:spcBef>
                  <a:spcPct val="0"/>
                </a:spcBef>
                <a:spcAft>
                  <a:spcPts val="0"/>
                </a:spcAft>
                <a:buClrTx/>
                <a:buSzTx/>
                <a:buFontTx/>
                <a:buNone/>
                <a:tabLst/>
                <a:defRPr/>
              </a:pPr>
              <a:t>$253M</a:t>
            </a:fld>
            <a:endParaRPr kumimoji="0" lang="en-US" altLang="en-US" sz="1000" b="0" i="0" u="none" strike="noStrike" kern="1200" cap="none" spc="0" normalizeH="0" baseline="0" noProof="0" dirty="0">
              <a:ln>
                <a:noFill/>
              </a:ln>
              <a:solidFill>
                <a:srgbClr val="6B747B"/>
              </a:solidFill>
              <a:effectLst/>
              <a:uLnTx/>
              <a:uFillTx/>
              <a:ea typeface="+mn-ea"/>
              <a:cs typeface="+mn-cs"/>
              <a:sym typeface="+mn-lt"/>
            </a:endParaRPr>
          </a:p>
        </p:txBody>
      </p:sp>
      <p:sp>
        <p:nvSpPr>
          <p:cNvPr id="90" name="Plus 89"/>
          <p:cNvSpPr/>
          <p:nvPr/>
        </p:nvSpPr>
        <p:spPr>
          <a:xfrm>
            <a:off x="11449374" y="3362735"/>
            <a:ext cx="274320" cy="274320"/>
          </a:xfrm>
          <a:prstGeom prst="mathPlus">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91" name="Plus 90"/>
          <p:cNvSpPr/>
          <p:nvPr/>
        </p:nvSpPr>
        <p:spPr>
          <a:xfrm>
            <a:off x="11449374" y="5338763"/>
            <a:ext cx="274320" cy="274320"/>
          </a:xfrm>
          <a:prstGeom prst="mathPlus">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92" name="Plus 91"/>
          <p:cNvSpPr/>
          <p:nvPr/>
        </p:nvSpPr>
        <p:spPr>
          <a:xfrm>
            <a:off x="11449374" y="4357465"/>
            <a:ext cx="274320" cy="274320"/>
          </a:xfrm>
          <a:prstGeom prst="mathPlus">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93" name="Rectangle 92"/>
          <p:cNvSpPr/>
          <p:nvPr/>
        </p:nvSpPr>
        <p:spPr>
          <a:xfrm>
            <a:off x="10787392" y="1588099"/>
            <a:ext cx="1023750" cy="5389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6B747B">
                    <a:lumMod val="50000"/>
                  </a:srgbClr>
                </a:solidFill>
                <a:effectLst/>
                <a:uLnTx/>
                <a:uFillTx/>
                <a:ea typeface="+mn-ea"/>
                <a:cs typeface="+mn-cs"/>
              </a:rPr>
              <a:t>$532 M</a:t>
            </a:r>
          </a:p>
        </p:txBody>
      </p:sp>
      <p:sp>
        <p:nvSpPr>
          <p:cNvPr id="94" name="Rectangle 93"/>
          <p:cNvSpPr/>
          <p:nvPr/>
        </p:nvSpPr>
        <p:spPr>
          <a:xfrm>
            <a:off x="10029370" y="1992849"/>
            <a:ext cx="1781772" cy="261610"/>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6B747B">
                    <a:lumMod val="50000"/>
                  </a:srgbClr>
                </a:solidFill>
                <a:effectLst/>
                <a:uLnTx/>
                <a:uFillTx/>
                <a:ea typeface="+mn-ea"/>
                <a:cs typeface="+mn-cs"/>
              </a:rPr>
              <a:t>Total Opportunity</a:t>
            </a:r>
          </a:p>
        </p:txBody>
      </p:sp>
      <p:cxnSp>
        <p:nvCxnSpPr>
          <p:cNvPr id="95" name="Straight Connector 94"/>
          <p:cNvCxnSpPr/>
          <p:nvPr/>
        </p:nvCxnSpPr>
        <p:spPr>
          <a:xfrm>
            <a:off x="10020300" y="2319357"/>
            <a:ext cx="1781772" cy="0"/>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022260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980"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Client Financial Analysis</a:t>
            </a:r>
            <a:endParaRPr lang="en-US" dirty="0"/>
          </a:p>
        </p:txBody>
      </p:sp>
      <p:sp>
        <p:nvSpPr>
          <p:cNvPr id="3" name="Text Placeholder 2"/>
          <p:cNvSpPr>
            <a:spLocks noGrp="1"/>
          </p:cNvSpPr>
          <p:nvPr>
            <p:ph type="body" sz="quarter" idx="14"/>
          </p:nvPr>
        </p:nvSpPr>
        <p:spPr/>
        <p:txBody>
          <a:bodyPr/>
          <a:lstStyle/>
          <a:p>
            <a:r>
              <a:rPr lang="en-US" dirty="0"/>
              <a:t>Professional sports accounts for 90% of revenue and just under half of expenses</a:t>
            </a:r>
          </a:p>
        </p:txBody>
      </p:sp>
      <p:sp>
        <p:nvSpPr>
          <p:cNvPr id="5" name="Text Placeholder 4"/>
          <p:cNvSpPr>
            <a:spLocks noGrp="1"/>
          </p:cNvSpPr>
          <p:nvPr>
            <p:ph type="body" sz="quarter" idx="15"/>
          </p:nvPr>
        </p:nvSpPr>
        <p:spPr/>
        <p:txBody>
          <a:bodyPr/>
          <a:lstStyle/>
          <a:p>
            <a:r>
              <a:rPr lang="en-US" dirty="0"/>
              <a:t>Data Visualization &amp; Infographics</a:t>
            </a:r>
          </a:p>
        </p:txBody>
      </p:sp>
      <p:graphicFrame>
        <p:nvGraphicFramePr>
          <p:cNvPr id="47" name="Chart 46"/>
          <p:cNvGraphicFramePr/>
          <p:nvPr>
            <p:extLst>
              <p:ext uri="{D42A27DB-BD31-4B8C-83A1-F6EECF244321}">
                <p14:modId xmlns:p14="http://schemas.microsoft.com/office/powerpoint/2010/main" val="3656275652"/>
              </p:ext>
            </p:extLst>
          </p:nvPr>
        </p:nvGraphicFramePr>
        <p:xfrm>
          <a:off x="634426" y="1663773"/>
          <a:ext cx="5743339" cy="4829776"/>
        </p:xfrm>
        <a:graphic>
          <a:graphicData uri="http://schemas.openxmlformats.org/drawingml/2006/chart">
            <c:chart xmlns:c="http://schemas.openxmlformats.org/drawingml/2006/chart" xmlns:r="http://schemas.openxmlformats.org/officeDocument/2006/relationships" r:id="rId7"/>
          </a:graphicData>
        </a:graphic>
      </p:graphicFrame>
      <p:sp>
        <p:nvSpPr>
          <p:cNvPr id="48" name="TextBox 47"/>
          <p:cNvSpPr txBox="1"/>
          <p:nvPr/>
        </p:nvSpPr>
        <p:spPr>
          <a:xfrm>
            <a:off x="857762" y="1731063"/>
            <a:ext cx="5817618" cy="260625"/>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mn-ea"/>
                <a:cs typeface="+mn-cs"/>
              </a:rPr>
              <a:t>Client 2018 Projected</a:t>
            </a:r>
            <a:r>
              <a:rPr kumimoji="0" lang="en-US" sz="1400" b="1" i="0" u="none" strike="noStrike" kern="1200" cap="none" spc="0" normalizeH="0" baseline="30000" noProof="0" dirty="0">
                <a:ln>
                  <a:noFill/>
                </a:ln>
                <a:solidFill>
                  <a:srgbClr val="000000"/>
                </a:solidFill>
                <a:effectLst/>
                <a:uLnTx/>
                <a:uFillTx/>
                <a:ea typeface="+mn-ea"/>
                <a:cs typeface="+mn-cs"/>
              </a:rPr>
              <a:t>1</a:t>
            </a:r>
            <a:r>
              <a:rPr kumimoji="0" lang="en-US" sz="1400" b="1" i="0" u="none" strike="noStrike" kern="1200" cap="none" spc="0" normalizeH="0" baseline="0" noProof="0" dirty="0">
                <a:ln>
                  <a:noFill/>
                </a:ln>
                <a:solidFill>
                  <a:srgbClr val="000000"/>
                </a:solidFill>
                <a:effectLst/>
                <a:uLnTx/>
                <a:uFillTx/>
                <a:ea typeface="+mn-ea"/>
                <a:cs typeface="+mn-cs"/>
              </a:rPr>
              <a:t> Revenue vs. Expenses (% of Total)</a:t>
            </a:r>
          </a:p>
        </p:txBody>
      </p:sp>
      <p:sp>
        <p:nvSpPr>
          <p:cNvPr id="49" name="TextBox 48"/>
          <p:cNvSpPr txBox="1"/>
          <p:nvPr/>
        </p:nvSpPr>
        <p:spPr>
          <a:xfrm>
            <a:off x="4640319" y="2037633"/>
            <a:ext cx="900555" cy="195040"/>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349.4M</a:t>
            </a:r>
            <a:r>
              <a:rPr kumimoji="0" lang="en-US" sz="1100" b="1" i="0" u="none" strike="noStrike" kern="1200" cap="none" spc="0" normalizeH="0" baseline="30000" noProof="0" dirty="0">
                <a:ln>
                  <a:noFill/>
                </a:ln>
                <a:solidFill>
                  <a:srgbClr val="000000"/>
                </a:solidFill>
                <a:effectLst/>
                <a:uLnTx/>
                <a:uFillTx/>
                <a:ea typeface="+mn-ea"/>
                <a:cs typeface="+mn-cs"/>
              </a:rPr>
              <a:t>2</a:t>
            </a:r>
            <a:endParaRPr kumimoji="0" lang="en-US" sz="1100" b="1" i="0" u="none" strike="noStrike" kern="1200" cap="none" spc="0" normalizeH="0" baseline="0" noProof="0" dirty="0">
              <a:ln>
                <a:noFill/>
              </a:ln>
              <a:solidFill>
                <a:srgbClr val="000000"/>
              </a:solidFill>
              <a:effectLst/>
              <a:uLnTx/>
              <a:uFillTx/>
              <a:ea typeface="+mn-ea"/>
              <a:cs typeface="+mn-cs"/>
            </a:endParaRPr>
          </a:p>
        </p:txBody>
      </p:sp>
      <p:sp>
        <p:nvSpPr>
          <p:cNvPr id="50" name="TextBox 49"/>
          <p:cNvSpPr txBox="1"/>
          <p:nvPr/>
        </p:nvSpPr>
        <p:spPr>
          <a:xfrm>
            <a:off x="2371987" y="2037633"/>
            <a:ext cx="900555" cy="195040"/>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420.9M </a:t>
            </a:r>
          </a:p>
        </p:txBody>
      </p:sp>
      <p:sp>
        <p:nvSpPr>
          <p:cNvPr id="51" name="Rounded Rectangular Callout 50"/>
          <p:cNvSpPr/>
          <p:nvPr/>
        </p:nvSpPr>
        <p:spPr>
          <a:xfrm>
            <a:off x="5682225" y="2184279"/>
            <a:ext cx="1373934" cy="847293"/>
          </a:xfrm>
          <a:prstGeom prst="wedgeRoundRectCallout">
            <a:avLst>
              <a:gd name="adj1" fmla="val -59327"/>
              <a:gd name="adj2" fmla="val 43358"/>
              <a:gd name="adj3" fmla="val 16667"/>
            </a:avLst>
          </a:prstGeom>
          <a:solidFill>
            <a:schemeClr val="accent3">
              <a:lumMod val="60000"/>
              <a:lumOff val="40000"/>
              <a:alpha val="74902"/>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1" u="none" strike="noStrike" kern="1200" cap="none" spc="0" normalizeH="0" baseline="0" noProof="0" dirty="0">
                <a:ln>
                  <a:noFill/>
                </a:ln>
                <a:solidFill>
                  <a:srgbClr val="5C5C5C"/>
                </a:solidFill>
                <a:effectLst/>
                <a:uLnTx/>
                <a:uFillTx/>
                <a:ea typeface="+mn-ea"/>
                <a:cs typeface="Segoe UI Semilight" panose="020B0402040204020203" pitchFamily="34" charset="0"/>
              </a:rPr>
              <a:t>Primarily investment in new digital properties and infrastructure</a:t>
            </a:r>
          </a:p>
        </p:txBody>
      </p:sp>
      <p:sp>
        <p:nvSpPr>
          <p:cNvPr id="52" name="Rounded Rectangular Callout 51"/>
          <p:cNvSpPr/>
          <p:nvPr/>
        </p:nvSpPr>
        <p:spPr>
          <a:xfrm>
            <a:off x="5707846" y="3108792"/>
            <a:ext cx="1313440" cy="984685"/>
          </a:xfrm>
          <a:prstGeom prst="wedgeRoundRectCallout">
            <a:avLst>
              <a:gd name="adj1" fmla="val -60181"/>
              <a:gd name="adj2" fmla="val -40538"/>
              <a:gd name="adj3" fmla="val 16667"/>
            </a:avLst>
          </a:prstGeom>
          <a:solidFill>
            <a:schemeClr val="accent3">
              <a:lumMod val="60000"/>
              <a:lumOff val="40000"/>
              <a:alpha val="74902"/>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1" u="none" strike="noStrike" kern="1200" cap="none" spc="0" normalizeH="0" baseline="0" noProof="0" dirty="0">
                <a:ln>
                  <a:noFill/>
                </a:ln>
                <a:solidFill>
                  <a:srgbClr val="5C5C5C"/>
                </a:solidFill>
                <a:effectLst/>
                <a:uLnTx/>
                <a:uFillTx/>
                <a:ea typeface="+mn-ea"/>
                <a:cs typeface="Segoe UI Semilight" panose="020B0402040204020203" pitchFamily="34" charset="0"/>
              </a:rPr>
              <a:t>Largely investment in new facilities</a:t>
            </a:r>
          </a:p>
        </p:txBody>
      </p:sp>
      <p:sp>
        <p:nvSpPr>
          <p:cNvPr id="53" name="Rectangle 52"/>
          <p:cNvSpPr/>
          <p:nvPr/>
        </p:nvSpPr>
        <p:spPr>
          <a:xfrm>
            <a:off x="7639849" y="1892808"/>
            <a:ext cx="3708428" cy="2884964"/>
          </a:xfrm>
          <a:prstGeom prst="rect">
            <a:avLst/>
          </a:prstGeom>
          <a:solidFill>
            <a:schemeClr val="bg1"/>
          </a:solidFill>
          <a:ln>
            <a:solidFill>
              <a:schemeClr val="bg1">
                <a:lumMod val="75000"/>
              </a:schemeClr>
            </a:solidFill>
            <a:prstDash val="dash"/>
          </a:ln>
          <a:effectLst/>
        </p:spPr>
        <p:style>
          <a:lnRef idx="1">
            <a:schemeClr val="accent1"/>
          </a:lnRef>
          <a:fillRef idx="3">
            <a:schemeClr val="accent1"/>
          </a:fillRef>
          <a:effectRef idx="2">
            <a:schemeClr val="accent1"/>
          </a:effectRef>
          <a:fontRef idx="minor">
            <a:schemeClr val="lt1"/>
          </a:fontRef>
        </p:style>
        <p:txBody>
          <a:bodyPr tIns="91440" rtlCol="0" anchor="t"/>
          <a:lstStyle/>
          <a:p>
            <a:pPr marL="171450" marR="0" lvl="0" indent="-1714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ea typeface="+mn-ea"/>
              <a:cs typeface="+mn-cs"/>
            </a:endParaRPr>
          </a:p>
          <a:p>
            <a:pPr marL="171450" marR="0" lvl="0" indent="-1714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ea typeface="+mn-ea"/>
                <a:cs typeface="+mn-cs"/>
              </a:rPr>
              <a:t>The $</a:t>
            </a:r>
            <a:r>
              <a:rPr kumimoji="0" lang="en-US" sz="1200" b="0" i="0" u="none" strike="noStrike" kern="1200" cap="none" spc="0" normalizeH="0" baseline="0" noProof="0" dirty="0" err="1">
                <a:ln>
                  <a:noFill/>
                </a:ln>
                <a:solidFill>
                  <a:srgbClr val="000000"/>
                </a:solidFill>
                <a:effectLst/>
                <a:uLnTx/>
                <a:uFillTx/>
                <a:ea typeface="+mn-ea"/>
                <a:cs typeface="+mn-cs"/>
              </a:rPr>
              <a:t>xxM</a:t>
            </a:r>
            <a:r>
              <a:rPr kumimoji="0" lang="en-US" sz="1200" b="0" i="0" u="none" strike="noStrike" kern="1200" cap="none" spc="0" normalizeH="0" baseline="0" noProof="0" dirty="0">
                <a:ln>
                  <a:noFill/>
                </a:ln>
                <a:solidFill>
                  <a:srgbClr val="000000"/>
                </a:solidFill>
                <a:effectLst/>
                <a:uLnTx/>
                <a:uFillTx/>
                <a:ea typeface="+mn-ea"/>
                <a:cs typeface="+mn-cs"/>
              </a:rPr>
              <a:t> in net excess generated by the Game enables the Org to fund nearly all other programming throughout the year</a:t>
            </a:r>
          </a:p>
          <a:p>
            <a:pPr marL="171450" marR="0" lvl="0" indent="-1714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ea typeface="+mn-ea"/>
                <a:cs typeface="+mn-cs"/>
              </a:rPr>
              <a:t>Only the </a:t>
            </a:r>
            <a:r>
              <a:rPr lang="en-US" sz="1200" dirty="0">
                <a:solidFill>
                  <a:srgbClr val="000000"/>
                </a:solidFill>
              </a:rPr>
              <a:t>3 main e</a:t>
            </a:r>
            <a:r>
              <a:rPr kumimoji="0" lang="en-US" sz="1200" b="0" i="0" u="none" strike="noStrike" kern="1200" cap="none" spc="0" normalizeH="0" baseline="0" noProof="0" dirty="0">
                <a:ln>
                  <a:noFill/>
                </a:ln>
                <a:solidFill>
                  <a:srgbClr val="000000"/>
                </a:solidFill>
                <a:effectLst/>
                <a:uLnTx/>
                <a:uFillTx/>
                <a:ea typeface="+mn-ea"/>
                <a:cs typeface="+mn-cs"/>
              </a:rPr>
              <a:t>vents generate positive financial returns </a:t>
            </a:r>
          </a:p>
          <a:p>
            <a:pPr marL="171450" marR="0" lvl="0" indent="-1714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ea typeface="+mn-ea"/>
                <a:cs typeface="+mn-cs"/>
              </a:rPr>
              <a:t>55% ($50M) of the budget goes to Section funding</a:t>
            </a:r>
          </a:p>
          <a:p>
            <a:pPr marL="171450" marR="0" lvl="0" indent="-1714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ea typeface="+mn-ea"/>
              <a:cs typeface="+mn-cs"/>
            </a:endParaRPr>
          </a:p>
          <a:p>
            <a:pPr marL="171450" marR="0" lvl="0" indent="-1714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ea typeface="+mn-ea"/>
              <a:cs typeface="+mn-cs"/>
            </a:endParaRPr>
          </a:p>
          <a:p>
            <a:pPr marL="171450" marR="0" lvl="0" indent="-1714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ea typeface="+mn-ea"/>
              <a:cs typeface="+mn-cs"/>
            </a:endParaRPr>
          </a:p>
          <a:p>
            <a:pPr marL="171450" marR="0" lvl="0" indent="-1714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ea typeface="+mn-ea"/>
              <a:cs typeface="+mn-cs"/>
            </a:endParaRPr>
          </a:p>
        </p:txBody>
      </p:sp>
      <p:sp>
        <p:nvSpPr>
          <p:cNvPr id="54" name="Rectangle 53"/>
          <p:cNvSpPr/>
          <p:nvPr/>
        </p:nvSpPr>
        <p:spPr>
          <a:xfrm>
            <a:off x="8436338" y="1809746"/>
            <a:ext cx="2115450" cy="2286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noProof="0" dirty="0">
                <a:ln>
                  <a:noFill/>
                </a:ln>
                <a:solidFill>
                  <a:srgbClr val="3F3F3F"/>
                </a:solidFill>
                <a:effectLst/>
                <a:uLnTx/>
                <a:uFillTx/>
                <a:ea typeface="+mn-ea"/>
                <a:cs typeface="+mn-cs"/>
              </a:rPr>
              <a:t>OBSERVATIONS</a:t>
            </a:r>
            <a:endParaRPr kumimoji="0" lang="en-US" sz="1200" b="1" i="0" u="none" strike="noStrike" kern="1200" cap="none" spc="300" normalizeH="0" baseline="30000" noProof="0" dirty="0">
              <a:ln>
                <a:noFill/>
              </a:ln>
              <a:solidFill>
                <a:srgbClr val="3F3F3F"/>
              </a:solidFill>
              <a:effectLst/>
              <a:uLnTx/>
              <a:uFillTx/>
              <a:ea typeface="+mn-ea"/>
              <a:cs typeface="+mn-cs"/>
            </a:endParaRPr>
          </a:p>
        </p:txBody>
      </p:sp>
    </p:spTree>
    <p:extLst>
      <p:ext uri="{BB962C8B-B14F-4D97-AF65-F5344CB8AC3E}">
        <p14:creationId xmlns:p14="http://schemas.microsoft.com/office/powerpoint/2010/main" val="305696595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04"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Client Execution Update</a:t>
            </a:r>
            <a:endParaRPr lang="en-US" dirty="0"/>
          </a:p>
        </p:txBody>
      </p:sp>
      <p:sp>
        <p:nvSpPr>
          <p:cNvPr id="3" name="Text Placeholder 2"/>
          <p:cNvSpPr>
            <a:spLocks noGrp="1"/>
          </p:cNvSpPr>
          <p:nvPr>
            <p:ph type="body" sz="quarter" idx="14"/>
          </p:nvPr>
        </p:nvSpPr>
        <p:spPr/>
        <p:txBody>
          <a:bodyPr/>
          <a:lstStyle/>
          <a:p>
            <a:pPr lvl="0">
              <a:buClr>
                <a:srgbClr val="787878"/>
              </a:buClr>
              <a:defRPr/>
            </a:pPr>
            <a:r>
              <a:rPr lang="en-US" spc="0" dirty="0">
                <a:solidFill>
                  <a:srgbClr val="000000"/>
                </a:solidFill>
              </a:rPr>
              <a:t> 20 Opportunities deployed to target users plus 18 plans under review as of 12/7</a:t>
            </a:r>
          </a:p>
        </p:txBody>
      </p:sp>
      <p:sp>
        <p:nvSpPr>
          <p:cNvPr id="5" name="Text Placeholder 4"/>
          <p:cNvSpPr>
            <a:spLocks noGrp="1"/>
          </p:cNvSpPr>
          <p:nvPr>
            <p:ph type="body" sz="quarter" idx="15"/>
          </p:nvPr>
        </p:nvSpPr>
        <p:spPr/>
        <p:txBody>
          <a:bodyPr/>
          <a:lstStyle/>
          <a:p>
            <a:r>
              <a:rPr lang="en-US" dirty="0"/>
              <a:t>Data Visualization &amp; Infographics</a:t>
            </a:r>
          </a:p>
        </p:txBody>
      </p:sp>
      <p:graphicFrame>
        <p:nvGraphicFramePr>
          <p:cNvPr id="15" name="Table 14">
            <a:extLst>
              <a:ext uri="{FF2B5EF4-FFF2-40B4-BE49-F238E27FC236}">
                <a16:creationId xmlns:a16="http://schemas.microsoft.com/office/drawing/2014/main" id="{5C83D743-EEBF-491D-8B49-686A6DDEA420}"/>
              </a:ext>
            </a:extLst>
          </p:cNvPr>
          <p:cNvGraphicFramePr>
            <a:graphicFrameLocks noGrp="1"/>
          </p:cNvGraphicFramePr>
          <p:nvPr/>
        </p:nvGraphicFramePr>
        <p:xfrm>
          <a:off x="629822" y="4407997"/>
          <a:ext cx="4312287" cy="365760"/>
        </p:xfrm>
        <a:graphic>
          <a:graphicData uri="http://schemas.openxmlformats.org/drawingml/2006/table">
            <a:tbl>
              <a:tblPr firstRow="1" bandRow="1"/>
              <a:tblGrid>
                <a:gridCol w="4312287">
                  <a:extLst>
                    <a:ext uri="{9D8B030D-6E8A-4147-A177-3AD203B41FA5}">
                      <a16:colId xmlns:a16="http://schemas.microsoft.com/office/drawing/2014/main" val="1320249938"/>
                    </a:ext>
                  </a:extLst>
                </a:gridCol>
              </a:tblGrid>
              <a:tr h="305408">
                <a:tc>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marL="0" lvl="0" indent="0" algn="l"/>
                      <a:r>
                        <a:rPr lang="en-US" sz="1800" cap="small" baseline="0" dirty="0">
                          <a:solidFill>
                            <a:schemeClr val="tx1"/>
                          </a:solidFill>
                        </a:rPr>
                        <a:t>2.0 Planning</a:t>
                      </a:r>
                    </a:p>
                  </a:txBody>
                  <a:tcPr marL="457200" marR="18090">
                    <a:lnL w="12700" cmpd="sng">
                      <a:noFill/>
                    </a:lnL>
                    <a:lnR w="12700" cmpd="sng">
                      <a:noFill/>
                    </a:lnR>
                    <a:lnT w="28575" cap="flat" cmpd="sng" algn="ctr">
                      <a:noFill/>
                      <a:prstDash val="solid"/>
                      <a:round/>
                      <a:headEnd type="none" w="med" len="med"/>
                      <a:tailEnd type="none" w="med" len="med"/>
                    </a:lnT>
                    <a:lnB w="57150" cap="flat" cmpd="sng" algn="ctr">
                      <a:solidFill>
                        <a:srgbClr val="FFC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2733259"/>
                  </a:ext>
                </a:extLst>
              </a:tr>
            </a:tbl>
          </a:graphicData>
        </a:graphic>
      </p:graphicFrame>
      <p:sp>
        <p:nvSpPr>
          <p:cNvPr id="16" name="Freeform 30">
            <a:extLst>
              <a:ext uri="{FF2B5EF4-FFF2-40B4-BE49-F238E27FC236}">
                <a16:creationId xmlns:a16="http://schemas.microsoft.com/office/drawing/2014/main" id="{3E65C8FA-7179-45C2-8D50-9D17DB5F521E}"/>
              </a:ext>
            </a:extLst>
          </p:cNvPr>
          <p:cNvSpPr>
            <a:spLocks noChangeAspect="1" noEditPoints="1"/>
          </p:cNvSpPr>
          <p:nvPr/>
        </p:nvSpPr>
        <p:spPr bwMode="auto">
          <a:xfrm>
            <a:off x="659565" y="4416383"/>
            <a:ext cx="348506" cy="259400"/>
          </a:xfrm>
          <a:custGeom>
            <a:avLst/>
            <a:gdLst>
              <a:gd name="T0" fmla="*/ 1906 w 1933"/>
              <a:gd name="T1" fmla="*/ 358 h 1458"/>
              <a:gd name="T2" fmla="*/ 1917 w 1933"/>
              <a:gd name="T3" fmla="*/ 871 h 1458"/>
              <a:gd name="T4" fmla="*/ 1853 w 1933"/>
              <a:gd name="T5" fmla="*/ 1407 h 1458"/>
              <a:gd name="T6" fmla="*/ 1392 w 1933"/>
              <a:gd name="T7" fmla="*/ 1121 h 1458"/>
              <a:gd name="T8" fmla="*/ 954 w 1933"/>
              <a:gd name="T9" fmla="*/ 1382 h 1458"/>
              <a:gd name="T10" fmla="*/ 538 w 1933"/>
              <a:gd name="T11" fmla="*/ 1136 h 1458"/>
              <a:gd name="T12" fmla="*/ 27 w 1933"/>
              <a:gd name="T13" fmla="*/ 1237 h 1458"/>
              <a:gd name="T14" fmla="*/ 16 w 1933"/>
              <a:gd name="T15" fmla="*/ 681 h 1458"/>
              <a:gd name="T16" fmla="*/ 32 w 1933"/>
              <a:gd name="T17" fmla="*/ 169 h 1458"/>
              <a:gd name="T18" fmla="*/ 500 w 1933"/>
              <a:gd name="T19" fmla="*/ 10 h 1458"/>
              <a:gd name="T20" fmla="*/ 1009 w 1933"/>
              <a:gd name="T21" fmla="*/ 226 h 1458"/>
              <a:gd name="T22" fmla="*/ 1773 w 1933"/>
              <a:gd name="T23" fmla="*/ 492 h 1458"/>
              <a:gd name="T24" fmla="*/ 1584 w 1933"/>
              <a:gd name="T25" fmla="*/ 702 h 1458"/>
              <a:gd name="T26" fmla="*/ 1512 w 1933"/>
              <a:gd name="T27" fmla="*/ 935 h 1458"/>
              <a:gd name="T28" fmla="*/ 1456 w 1933"/>
              <a:gd name="T29" fmla="*/ 408 h 1458"/>
              <a:gd name="T30" fmla="*/ 1409 w 1933"/>
              <a:gd name="T31" fmla="*/ 548 h 1458"/>
              <a:gd name="T32" fmla="*/ 1417 w 1933"/>
              <a:gd name="T33" fmla="*/ 974 h 1458"/>
              <a:gd name="T34" fmla="*/ 1726 w 1933"/>
              <a:gd name="T35" fmla="*/ 1306 h 1458"/>
              <a:gd name="T36" fmla="*/ 1911 w 1933"/>
              <a:gd name="T37" fmla="*/ 1217 h 1458"/>
              <a:gd name="T38" fmla="*/ 1906 w 1933"/>
              <a:gd name="T39" fmla="*/ 910 h 1458"/>
              <a:gd name="T40" fmla="*/ 1898 w 1933"/>
              <a:gd name="T41" fmla="*/ 589 h 1458"/>
              <a:gd name="T42" fmla="*/ 1642 w 1933"/>
              <a:gd name="T43" fmla="*/ 165 h 1458"/>
              <a:gd name="T44" fmla="*/ 1405 w 1933"/>
              <a:gd name="T45" fmla="*/ 310 h 1458"/>
              <a:gd name="T46" fmla="*/ 1653 w 1933"/>
              <a:gd name="T47" fmla="*/ 645 h 1458"/>
              <a:gd name="T48" fmla="*/ 37 w 1933"/>
              <a:gd name="T49" fmla="*/ 1145 h 1458"/>
              <a:gd name="T50" fmla="*/ 376 w 1933"/>
              <a:gd name="T51" fmla="*/ 1181 h 1458"/>
              <a:gd name="T52" fmla="*/ 515 w 1933"/>
              <a:gd name="T53" fmla="*/ 830 h 1458"/>
              <a:gd name="T54" fmla="*/ 338 w 1933"/>
              <a:gd name="T55" fmla="*/ 925 h 1458"/>
              <a:gd name="T56" fmla="*/ 198 w 1933"/>
              <a:gd name="T57" fmla="*/ 451 h 1458"/>
              <a:gd name="T58" fmla="*/ 223 w 1933"/>
              <a:gd name="T59" fmla="*/ 369 h 1458"/>
              <a:gd name="T60" fmla="*/ 508 w 1933"/>
              <a:gd name="T61" fmla="*/ 373 h 1458"/>
              <a:gd name="T62" fmla="*/ 452 w 1933"/>
              <a:gd name="T63" fmla="*/ 44 h 1458"/>
              <a:gd name="T64" fmla="*/ 9 w 1933"/>
              <a:gd name="T65" fmla="*/ 187 h 1458"/>
              <a:gd name="T66" fmla="*/ 33 w 1933"/>
              <a:gd name="T67" fmla="*/ 1000 h 1458"/>
              <a:gd name="T68" fmla="*/ 948 w 1933"/>
              <a:gd name="T69" fmla="*/ 441 h 1458"/>
              <a:gd name="T70" fmla="*/ 951 w 1933"/>
              <a:gd name="T71" fmla="*/ 1124 h 1458"/>
              <a:gd name="T72" fmla="*/ 1275 w 1933"/>
              <a:gd name="T73" fmla="*/ 1178 h 1458"/>
              <a:gd name="T74" fmla="*/ 1402 w 1933"/>
              <a:gd name="T75" fmla="*/ 838 h 1458"/>
              <a:gd name="T76" fmla="*/ 682 w 1933"/>
              <a:gd name="T77" fmla="*/ 1000 h 1458"/>
              <a:gd name="T78" fmla="*/ 529 w 1933"/>
              <a:gd name="T79" fmla="*/ 994 h 1458"/>
              <a:gd name="T80" fmla="*/ 943 w 1933"/>
              <a:gd name="T81" fmla="*/ 1346 h 1458"/>
              <a:gd name="T82" fmla="*/ 936 w 1933"/>
              <a:gd name="T83" fmla="*/ 918 h 1458"/>
              <a:gd name="T84" fmla="*/ 922 w 1933"/>
              <a:gd name="T85" fmla="*/ 403 h 1458"/>
              <a:gd name="T86" fmla="*/ 722 w 1933"/>
              <a:gd name="T87" fmla="*/ 939 h 1458"/>
              <a:gd name="T88" fmla="*/ 616 w 1933"/>
              <a:gd name="T89" fmla="*/ 165 h 1458"/>
              <a:gd name="T90" fmla="*/ 524 w 1933"/>
              <a:gd name="T91" fmla="*/ 666 h 1458"/>
              <a:gd name="T92" fmla="*/ 672 w 1933"/>
              <a:gd name="T93" fmla="*/ 478 h 1458"/>
              <a:gd name="T94" fmla="*/ 924 w 1933"/>
              <a:gd name="T95" fmla="*/ 262 h 1458"/>
              <a:gd name="T96" fmla="*/ 510 w 1933"/>
              <a:gd name="T97" fmla="*/ 88 h 1458"/>
              <a:gd name="T98" fmla="*/ 564 w 1933"/>
              <a:gd name="T99" fmla="*/ 216 h 1458"/>
              <a:gd name="T100" fmla="*/ 1393 w 1933"/>
              <a:gd name="T101" fmla="*/ 225 h 1458"/>
              <a:gd name="T102" fmla="*/ 947 w 1933"/>
              <a:gd name="T103" fmla="*/ 325 h 1458"/>
              <a:gd name="T104" fmla="*/ 1398 w 1933"/>
              <a:gd name="T105" fmla="*/ 576 h 1458"/>
              <a:gd name="T106" fmla="*/ 513 w 1933"/>
              <a:gd name="T107" fmla="*/ 745 h 1458"/>
              <a:gd name="T108" fmla="*/ 378 w 1933"/>
              <a:gd name="T109" fmla="*/ 623 h 1458"/>
              <a:gd name="T110" fmla="*/ 1319 w 1933"/>
              <a:gd name="T111" fmla="*/ 649 h 1458"/>
              <a:gd name="T112" fmla="*/ 154 w 1933"/>
              <a:gd name="T113" fmla="*/ 720 h 1458"/>
              <a:gd name="T114" fmla="*/ 400 w 1933"/>
              <a:gd name="T115" fmla="*/ 547 h 1458"/>
              <a:gd name="T116" fmla="*/ 176 w 1933"/>
              <a:gd name="T117" fmla="*/ 415 h 1458"/>
              <a:gd name="T118" fmla="*/ 1520 w 1933"/>
              <a:gd name="T119" fmla="*/ 877 h 1458"/>
              <a:gd name="T120" fmla="*/ 573 w 1933"/>
              <a:gd name="T121" fmla="*/ 440 h 1458"/>
              <a:gd name="T122" fmla="*/ 590 w 1933"/>
              <a:gd name="T123" fmla="*/ 221 h 1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33" h="1458">
                <a:moveTo>
                  <a:pt x="1386" y="15"/>
                </a:moveTo>
                <a:cubicBezTo>
                  <a:pt x="1390" y="12"/>
                  <a:pt x="1390" y="8"/>
                  <a:pt x="1391" y="4"/>
                </a:cubicBezTo>
                <a:cubicBezTo>
                  <a:pt x="1392" y="3"/>
                  <a:pt x="1392" y="0"/>
                  <a:pt x="1392" y="0"/>
                </a:cubicBezTo>
                <a:cubicBezTo>
                  <a:pt x="1395" y="0"/>
                  <a:pt x="1397" y="0"/>
                  <a:pt x="1399" y="1"/>
                </a:cubicBezTo>
                <a:cubicBezTo>
                  <a:pt x="1407" y="6"/>
                  <a:pt x="1415" y="12"/>
                  <a:pt x="1422" y="17"/>
                </a:cubicBezTo>
                <a:cubicBezTo>
                  <a:pt x="1427" y="19"/>
                  <a:pt x="1431" y="21"/>
                  <a:pt x="1436" y="24"/>
                </a:cubicBezTo>
                <a:cubicBezTo>
                  <a:pt x="1446" y="30"/>
                  <a:pt x="1456" y="37"/>
                  <a:pt x="1466" y="43"/>
                </a:cubicBezTo>
                <a:cubicBezTo>
                  <a:pt x="1472" y="47"/>
                  <a:pt x="1479" y="50"/>
                  <a:pt x="1485" y="54"/>
                </a:cubicBezTo>
                <a:cubicBezTo>
                  <a:pt x="1493" y="59"/>
                  <a:pt x="1501" y="64"/>
                  <a:pt x="1508" y="69"/>
                </a:cubicBezTo>
                <a:cubicBezTo>
                  <a:pt x="1518" y="74"/>
                  <a:pt x="1527" y="80"/>
                  <a:pt x="1536" y="85"/>
                </a:cubicBezTo>
                <a:cubicBezTo>
                  <a:pt x="1539" y="88"/>
                  <a:pt x="1543" y="90"/>
                  <a:pt x="1546" y="92"/>
                </a:cubicBezTo>
                <a:cubicBezTo>
                  <a:pt x="1553" y="96"/>
                  <a:pt x="1559" y="100"/>
                  <a:pt x="1565" y="104"/>
                </a:cubicBezTo>
                <a:cubicBezTo>
                  <a:pt x="1576" y="110"/>
                  <a:pt x="1586" y="116"/>
                  <a:pt x="1597" y="122"/>
                </a:cubicBezTo>
                <a:cubicBezTo>
                  <a:pt x="1604" y="127"/>
                  <a:pt x="1611" y="132"/>
                  <a:pt x="1619" y="137"/>
                </a:cubicBezTo>
                <a:cubicBezTo>
                  <a:pt x="1620" y="138"/>
                  <a:pt x="1622" y="139"/>
                  <a:pt x="1623" y="140"/>
                </a:cubicBezTo>
                <a:cubicBezTo>
                  <a:pt x="1628" y="142"/>
                  <a:pt x="1632" y="144"/>
                  <a:pt x="1636" y="147"/>
                </a:cubicBezTo>
                <a:cubicBezTo>
                  <a:pt x="1641" y="151"/>
                  <a:pt x="1647" y="154"/>
                  <a:pt x="1652" y="157"/>
                </a:cubicBezTo>
                <a:cubicBezTo>
                  <a:pt x="1658" y="160"/>
                  <a:pt x="1663" y="164"/>
                  <a:pt x="1669" y="167"/>
                </a:cubicBezTo>
                <a:cubicBezTo>
                  <a:pt x="1672" y="169"/>
                  <a:pt x="1676" y="172"/>
                  <a:pt x="1680" y="174"/>
                </a:cubicBezTo>
                <a:cubicBezTo>
                  <a:pt x="1687" y="178"/>
                  <a:pt x="1693" y="183"/>
                  <a:pt x="1700" y="186"/>
                </a:cubicBezTo>
                <a:cubicBezTo>
                  <a:pt x="1707" y="190"/>
                  <a:pt x="1713" y="194"/>
                  <a:pt x="1719" y="199"/>
                </a:cubicBezTo>
                <a:cubicBezTo>
                  <a:pt x="1727" y="204"/>
                  <a:pt x="1736" y="208"/>
                  <a:pt x="1745" y="213"/>
                </a:cubicBezTo>
                <a:cubicBezTo>
                  <a:pt x="1748" y="214"/>
                  <a:pt x="1751" y="217"/>
                  <a:pt x="1754" y="219"/>
                </a:cubicBezTo>
                <a:cubicBezTo>
                  <a:pt x="1761" y="223"/>
                  <a:pt x="1768" y="228"/>
                  <a:pt x="1775" y="232"/>
                </a:cubicBezTo>
                <a:cubicBezTo>
                  <a:pt x="1778" y="233"/>
                  <a:pt x="1780" y="235"/>
                  <a:pt x="1783" y="236"/>
                </a:cubicBezTo>
                <a:cubicBezTo>
                  <a:pt x="1787" y="239"/>
                  <a:pt x="1791" y="242"/>
                  <a:pt x="1795" y="244"/>
                </a:cubicBezTo>
                <a:cubicBezTo>
                  <a:pt x="1799" y="247"/>
                  <a:pt x="1804" y="249"/>
                  <a:pt x="1809" y="252"/>
                </a:cubicBezTo>
                <a:cubicBezTo>
                  <a:pt x="1812" y="253"/>
                  <a:pt x="1815" y="255"/>
                  <a:pt x="1818" y="257"/>
                </a:cubicBezTo>
                <a:cubicBezTo>
                  <a:pt x="1823" y="260"/>
                  <a:pt x="1827" y="263"/>
                  <a:pt x="1832" y="265"/>
                </a:cubicBezTo>
                <a:cubicBezTo>
                  <a:pt x="1838" y="269"/>
                  <a:pt x="1845" y="272"/>
                  <a:pt x="1851" y="276"/>
                </a:cubicBezTo>
                <a:cubicBezTo>
                  <a:pt x="1852" y="277"/>
                  <a:pt x="1853" y="278"/>
                  <a:pt x="1854" y="278"/>
                </a:cubicBezTo>
                <a:cubicBezTo>
                  <a:pt x="1855" y="279"/>
                  <a:pt x="1857" y="281"/>
                  <a:pt x="1859" y="281"/>
                </a:cubicBezTo>
                <a:cubicBezTo>
                  <a:pt x="1865" y="281"/>
                  <a:pt x="1871" y="284"/>
                  <a:pt x="1877" y="287"/>
                </a:cubicBezTo>
                <a:cubicBezTo>
                  <a:pt x="1884" y="291"/>
                  <a:pt x="1890" y="296"/>
                  <a:pt x="1896" y="303"/>
                </a:cubicBezTo>
                <a:cubicBezTo>
                  <a:pt x="1897" y="304"/>
                  <a:pt x="1898" y="305"/>
                  <a:pt x="1900" y="306"/>
                </a:cubicBezTo>
                <a:cubicBezTo>
                  <a:pt x="1904" y="307"/>
                  <a:pt x="1907" y="310"/>
                  <a:pt x="1909" y="314"/>
                </a:cubicBezTo>
                <a:cubicBezTo>
                  <a:pt x="1910" y="316"/>
                  <a:pt x="1909" y="319"/>
                  <a:pt x="1909" y="322"/>
                </a:cubicBezTo>
                <a:cubicBezTo>
                  <a:pt x="1908" y="334"/>
                  <a:pt x="1905" y="346"/>
                  <a:pt x="1906" y="358"/>
                </a:cubicBezTo>
                <a:cubicBezTo>
                  <a:pt x="1906" y="360"/>
                  <a:pt x="1907" y="361"/>
                  <a:pt x="1907" y="363"/>
                </a:cubicBezTo>
                <a:cubicBezTo>
                  <a:pt x="1908" y="365"/>
                  <a:pt x="1907" y="367"/>
                  <a:pt x="1907" y="369"/>
                </a:cubicBezTo>
                <a:cubicBezTo>
                  <a:pt x="1907" y="378"/>
                  <a:pt x="1907" y="388"/>
                  <a:pt x="1907" y="397"/>
                </a:cubicBezTo>
                <a:cubicBezTo>
                  <a:pt x="1907" y="403"/>
                  <a:pt x="1907" y="409"/>
                  <a:pt x="1908" y="415"/>
                </a:cubicBezTo>
                <a:cubicBezTo>
                  <a:pt x="1909" y="424"/>
                  <a:pt x="1908" y="433"/>
                  <a:pt x="1908" y="441"/>
                </a:cubicBezTo>
                <a:cubicBezTo>
                  <a:pt x="1908" y="445"/>
                  <a:pt x="1908" y="448"/>
                  <a:pt x="1908" y="451"/>
                </a:cubicBezTo>
                <a:cubicBezTo>
                  <a:pt x="1908" y="458"/>
                  <a:pt x="1907" y="466"/>
                  <a:pt x="1909" y="473"/>
                </a:cubicBezTo>
                <a:cubicBezTo>
                  <a:pt x="1910" y="481"/>
                  <a:pt x="1908" y="489"/>
                  <a:pt x="1909" y="497"/>
                </a:cubicBezTo>
                <a:cubicBezTo>
                  <a:pt x="1911" y="506"/>
                  <a:pt x="1909" y="515"/>
                  <a:pt x="1909" y="524"/>
                </a:cubicBezTo>
                <a:cubicBezTo>
                  <a:pt x="1909" y="526"/>
                  <a:pt x="1909" y="528"/>
                  <a:pt x="1910" y="529"/>
                </a:cubicBezTo>
                <a:cubicBezTo>
                  <a:pt x="1912" y="536"/>
                  <a:pt x="1910" y="542"/>
                  <a:pt x="1910" y="549"/>
                </a:cubicBezTo>
                <a:cubicBezTo>
                  <a:pt x="1910" y="550"/>
                  <a:pt x="1911" y="551"/>
                  <a:pt x="1911" y="552"/>
                </a:cubicBezTo>
                <a:cubicBezTo>
                  <a:pt x="1911" y="553"/>
                  <a:pt x="1912" y="555"/>
                  <a:pt x="1912" y="556"/>
                </a:cubicBezTo>
                <a:cubicBezTo>
                  <a:pt x="1909" y="562"/>
                  <a:pt x="1911" y="568"/>
                  <a:pt x="1910" y="573"/>
                </a:cubicBezTo>
                <a:cubicBezTo>
                  <a:pt x="1910" y="577"/>
                  <a:pt x="1911" y="581"/>
                  <a:pt x="1913" y="585"/>
                </a:cubicBezTo>
                <a:cubicBezTo>
                  <a:pt x="1913" y="585"/>
                  <a:pt x="1914" y="586"/>
                  <a:pt x="1913" y="586"/>
                </a:cubicBezTo>
                <a:cubicBezTo>
                  <a:pt x="1911" y="591"/>
                  <a:pt x="1910" y="603"/>
                  <a:pt x="1913" y="609"/>
                </a:cubicBezTo>
                <a:cubicBezTo>
                  <a:pt x="1914" y="611"/>
                  <a:pt x="1913" y="610"/>
                  <a:pt x="1912" y="611"/>
                </a:cubicBezTo>
                <a:cubicBezTo>
                  <a:pt x="1912" y="613"/>
                  <a:pt x="1911" y="615"/>
                  <a:pt x="1912" y="617"/>
                </a:cubicBezTo>
                <a:cubicBezTo>
                  <a:pt x="1912" y="625"/>
                  <a:pt x="1912" y="633"/>
                  <a:pt x="1913" y="641"/>
                </a:cubicBezTo>
                <a:cubicBezTo>
                  <a:pt x="1913" y="642"/>
                  <a:pt x="1913" y="644"/>
                  <a:pt x="1914" y="645"/>
                </a:cubicBezTo>
                <a:cubicBezTo>
                  <a:pt x="1914" y="647"/>
                  <a:pt x="1914" y="648"/>
                  <a:pt x="1914" y="650"/>
                </a:cubicBezTo>
                <a:cubicBezTo>
                  <a:pt x="1914" y="653"/>
                  <a:pt x="1913" y="656"/>
                  <a:pt x="1913" y="658"/>
                </a:cubicBezTo>
                <a:cubicBezTo>
                  <a:pt x="1912" y="666"/>
                  <a:pt x="1913" y="673"/>
                  <a:pt x="1913" y="681"/>
                </a:cubicBezTo>
                <a:cubicBezTo>
                  <a:pt x="1913" y="686"/>
                  <a:pt x="1913" y="691"/>
                  <a:pt x="1913" y="697"/>
                </a:cubicBezTo>
                <a:cubicBezTo>
                  <a:pt x="1913" y="697"/>
                  <a:pt x="1912" y="698"/>
                  <a:pt x="1912" y="698"/>
                </a:cubicBezTo>
                <a:cubicBezTo>
                  <a:pt x="1916" y="701"/>
                  <a:pt x="1914" y="705"/>
                  <a:pt x="1914" y="709"/>
                </a:cubicBezTo>
                <a:cubicBezTo>
                  <a:pt x="1913" y="712"/>
                  <a:pt x="1914" y="716"/>
                  <a:pt x="1914" y="720"/>
                </a:cubicBezTo>
                <a:cubicBezTo>
                  <a:pt x="1914" y="724"/>
                  <a:pt x="1914" y="728"/>
                  <a:pt x="1914" y="732"/>
                </a:cubicBezTo>
                <a:cubicBezTo>
                  <a:pt x="1914" y="738"/>
                  <a:pt x="1915" y="743"/>
                  <a:pt x="1915" y="749"/>
                </a:cubicBezTo>
                <a:cubicBezTo>
                  <a:pt x="1915" y="756"/>
                  <a:pt x="1915" y="763"/>
                  <a:pt x="1915" y="769"/>
                </a:cubicBezTo>
                <a:cubicBezTo>
                  <a:pt x="1915" y="774"/>
                  <a:pt x="1916" y="778"/>
                  <a:pt x="1916" y="782"/>
                </a:cubicBezTo>
                <a:cubicBezTo>
                  <a:pt x="1916" y="786"/>
                  <a:pt x="1915" y="790"/>
                  <a:pt x="1915" y="794"/>
                </a:cubicBezTo>
                <a:cubicBezTo>
                  <a:pt x="1915" y="797"/>
                  <a:pt x="1914" y="799"/>
                  <a:pt x="1914" y="801"/>
                </a:cubicBezTo>
                <a:cubicBezTo>
                  <a:pt x="1918" y="812"/>
                  <a:pt x="1916" y="822"/>
                  <a:pt x="1916" y="833"/>
                </a:cubicBezTo>
                <a:cubicBezTo>
                  <a:pt x="1916" y="835"/>
                  <a:pt x="1917" y="837"/>
                  <a:pt x="1917" y="840"/>
                </a:cubicBezTo>
                <a:cubicBezTo>
                  <a:pt x="1917" y="848"/>
                  <a:pt x="1918" y="855"/>
                  <a:pt x="1916" y="863"/>
                </a:cubicBezTo>
                <a:cubicBezTo>
                  <a:pt x="1916" y="866"/>
                  <a:pt x="1917" y="868"/>
                  <a:pt x="1917" y="871"/>
                </a:cubicBezTo>
                <a:cubicBezTo>
                  <a:pt x="1918" y="879"/>
                  <a:pt x="1918" y="888"/>
                  <a:pt x="1918" y="896"/>
                </a:cubicBezTo>
                <a:cubicBezTo>
                  <a:pt x="1918" y="904"/>
                  <a:pt x="1919" y="911"/>
                  <a:pt x="1919" y="919"/>
                </a:cubicBezTo>
                <a:cubicBezTo>
                  <a:pt x="1920" y="936"/>
                  <a:pt x="1921" y="953"/>
                  <a:pt x="1922" y="971"/>
                </a:cubicBezTo>
                <a:cubicBezTo>
                  <a:pt x="1922" y="975"/>
                  <a:pt x="1921" y="979"/>
                  <a:pt x="1922" y="983"/>
                </a:cubicBezTo>
                <a:cubicBezTo>
                  <a:pt x="1923" y="986"/>
                  <a:pt x="1922" y="990"/>
                  <a:pt x="1922" y="994"/>
                </a:cubicBezTo>
                <a:cubicBezTo>
                  <a:pt x="1923" y="998"/>
                  <a:pt x="1922" y="1002"/>
                  <a:pt x="1923" y="1006"/>
                </a:cubicBezTo>
                <a:cubicBezTo>
                  <a:pt x="1923" y="1012"/>
                  <a:pt x="1924" y="1017"/>
                  <a:pt x="1922" y="1023"/>
                </a:cubicBezTo>
                <a:cubicBezTo>
                  <a:pt x="1921" y="1025"/>
                  <a:pt x="1924" y="1027"/>
                  <a:pt x="1923" y="1030"/>
                </a:cubicBezTo>
                <a:cubicBezTo>
                  <a:pt x="1922" y="1033"/>
                  <a:pt x="1923" y="1037"/>
                  <a:pt x="1924" y="1040"/>
                </a:cubicBezTo>
                <a:cubicBezTo>
                  <a:pt x="1924" y="1048"/>
                  <a:pt x="1924" y="1056"/>
                  <a:pt x="1924" y="1065"/>
                </a:cubicBezTo>
                <a:cubicBezTo>
                  <a:pt x="1924" y="1068"/>
                  <a:pt x="1924" y="1071"/>
                  <a:pt x="1924" y="1074"/>
                </a:cubicBezTo>
                <a:cubicBezTo>
                  <a:pt x="1926" y="1080"/>
                  <a:pt x="1925" y="1086"/>
                  <a:pt x="1924" y="1092"/>
                </a:cubicBezTo>
                <a:cubicBezTo>
                  <a:pt x="1924" y="1102"/>
                  <a:pt x="1925" y="1112"/>
                  <a:pt x="1926" y="1123"/>
                </a:cubicBezTo>
                <a:cubicBezTo>
                  <a:pt x="1926" y="1123"/>
                  <a:pt x="1926" y="1124"/>
                  <a:pt x="1926" y="1125"/>
                </a:cubicBezTo>
                <a:cubicBezTo>
                  <a:pt x="1926" y="1131"/>
                  <a:pt x="1926" y="1138"/>
                  <a:pt x="1926" y="1145"/>
                </a:cubicBezTo>
                <a:cubicBezTo>
                  <a:pt x="1926" y="1150"/>
                  <a:pt x="1927" y="1155"/>
                  <a:pt x="1926" y="1160"/>
                </a:cubicBezTo>
                <a:cubicBezTo>
                  <a:pt x="1925" y="1165"/>
                  <a:pt x="1927" y="1169"/>
                  <a:pt x="1927" y="1174"/>
                </a:cubicBezTo>
                <a:cubicBezTo>
                  <a:pt x="1927" y="1176"/>
                  <a:pt x="1927" y="1178"/>
                  <a:pt x="1927" y="1179"/>
                </a:cubicBezTo>
                <a:cubicBezTo>
                  <a:pt x="1927" y="1181"/>
                  <a:pt x="1927" y="1183"/>
                  <a:pt x="1927" y="1185"/>
                </a:cubicBezTo>
                <a:cubicBezTo>
                  <a:pt x="1927" y="1186"/>
                  <a:pt x="1927" y="1188"/>
                  <a:pt x="1927" y="1189"/>
                </a:cubicBezTo>
                <a:cubicBezTo>
                  <a:pt x="1923" y="1193"/>
                  <a:pt x="1927" y="1198"/>
                  <a:pt x="1927" y="1203"/>
                </a:cubicBezTo>
                <a:cubicBezTo>
                  <a:pt x="1927" y="1208"/>
                  <a:pt x="1926" y="1214"/>
                  <a:pt x="1926" y="1219"/>
                </a:cubicBezTo>
                <a:cubicBezTo>
                  <a:pt x="1926" y="1220"/>
                  <a:pt x="1926" y="1221"/>
                  <a:pt x="1926" y="1222"/>
                </a:cubicBezTo>
                <a:cubicBezTo>
                  <a:pt x="1926" y="1234"/>
                  <a:pt x="1926" y="1245"/>
                  <a:pt x="1928" y="1257"/>
                </a:cubicBezTo>
                <a:cubicBezTo>
                  <a:pt x="1928" y="1262"/>
                  <a:pt x="1925" y="1267"/>
                  <a:pt x="1928" y="1273"/>
                </a:cubicBezTo>
                <a:cubicBezTo>
                  <a:pt x="1929" y="1274"/>
                  <a:pt x="1929" y="1277"/>
                  <a:pt x="1928" y="1279"/>
                </a:cubicBezTo>
                <a:cubicBezTo>
                  <a:pt x="1926" y="1289"/>
                  <a:pt x="1930" y="1299"/>
                  <a:pt x="1930" y="1309"/>
                </a:cubicBezTo>
                <a:cubicBezTo>
                  <a:pt x="1929" y="1316"/>
                  <a:pt x="1931" y="1324"/>
                  <a:pt x="1930" y="1331"/>
                </a:cubicBezTo>
                <a:cubicBezTo>
                  <a:pt x="1929" y="1341"/>
                  <a:pt x="1931" y="1351"/>
                  <a:pt x="1931" y="1361"/>
                </a:cubicBezTo>
                <a:cubicBezTo>
                  <a:pt x="1931" y="1379"/>
                  <a:pt x="1932" y="1396"/>
                  <a:pt x="1932" y="1414"/>
                </a:cubicBezTo>
                <a:cubicBezTo>
                  <a:pt x="1932" y="1425"/>
                  <a:pt x="1933" y="1435"/>
                  <a:pt x="1933" y="1446"/>
                </a:cubicBezTo>
                <a:cubicBezTo>
                  <a:pt x="1933" y="1448"/>
                  <a:pt x="1933" y="1450"/>
                  <a:pt x="1933" y="1452"/>
                </a:cubicBezTo>
                <a:cubicBezTo>
                  <a:pt x="1933" y="1458"/>
                  <a:pt x="1933" y="1458"/>
                  <a:pt x="1928" y="1456"/>
                </a:cubicBezTo>
                <a:cubicBezTo>
                  <a:pt x="1921" y="1454"/>
                  <a:pt x="1917" y="1449"/>
                  <a:pt x="1912" y="1445"/>
                </a:cubicBezTo>
                <a:cubicBezTo>
                  <a:pt x="1908" y="1442"/>
                  <a:pt x="1904" y="1440"/>
                  <a:pt x="1900" y="1437"/>
                </a:cubicBezTo>
                <a:cubicBezTo>
                  <a:pt x="1896" y="1435"/>
                  <a:pt x="1892" y="1432"/>
                  <a:pt x="1889" y="1430"/>
                </a:cubicBezTo>
                <a:cubicBezTo>
                  <a:pt x="1887" y="1429"/>
                  <a:pt x="1885" y="1429"/>
                  <a:pt x="1883" y="1428"/>
                </a:cubicBezTo>
                <a:cubicBezTo>
                  <a:pt x="1874" y="1420"/>
                  <a:pt x="1863" y="1413"/>
                  <a:pt x="1853" y="1407"/>
                </a:cubicBezTo>
                <a:cubicBezTo>
                  <a:pt x="1844" y="1401"/>
                  <a:pt x="1835" y="1395"/>
                  <a:pt x="1827" y="1389"/>
                </a:cubicBezTo>
                <a:cubicBezTo>
                  <a:pt x="1820" y="1384"/>
                  <a:pt x="1811" y="1383"/>
                  <a:pt x="1807" y="1375"/>
                </a:cubicBezTo>
                <a:cubicBezTo>
                  <a:pt x="1806" y="1374"/>
                  <a:pt x="1804" y="1375"/>
                  <a:pt x="1803" y="1374"/>
                </a:cubicBezTo>
                <a:cubicBezTo>
                  <a:pt x="1801" y="1372"/>
                  <a:pt x="1798" y="1371"/>
                  <a:pt x="1796" y="1368"/>
                </a:cubicBezTo>
                <a:cubicBezTo>
                  <a:pt x="1795" y="1366"/>
                  <a:pt x="1793" y="1364"/>
                  <a:pt x="1789" y="1364"/>
                </a:cubicBezTo>
                <a:cubicBezTo>
                  <a:pt x="1787" y="1363"/>
                  <a:pt x="1785" y="1361"/>
                  <a:pt x="1783" y="1359"/>
                </a:cubicBezTo>
                <a:cubicBezTo>
                  <a:pt x="1778" y="1356"/>
                  <a:pt x="1772" y="1353"/>
                  <a:pt x="1768" y="1350"/>
                </a:cubicBezTo>
                <a:cubicBezTo>
                  <a:pt x="1763" y="1346"/>
                  <a:pt x="1756" y="1344"/>
                  <a:pt x="1753" y="1337"/>
                </a:cubicBezTo>
                <a:cubicBezTo>
                  <a:pt x="1753" y="1337"/>
                  <a:pt x="1753" y="1337"/>
                  <a:pt x="1753" y="1337"/>
                </a:cubicBezTo>
                <a:cubicBezTo>
                  <a:pt x="1748" y="1335"/>
                  <a:pt x="1744" y="1333"/>
                  <a:pt x="1740" y="1330"/>
                </a:cubicBezTo>
                <a:cubicBezTo>
                  <a:pt x="1736" y="1328"/>
                  <a:pt x="1732" y="1325"/>
                  <a:pt x="1729" y="1323"/>
                </a:cubicBezTo>
                <a:cubicBezTo>
                  <a:pt x="1725" y="1321"/>
                  <a:pt x="1722" y="1319"/>
                  <a:pt x="1719" y="1316"/>
                </a:cubicBezTo>
                <a:cubicBezTo>
                  <a:pt x="1715" y="1311"/>
                  <a:pt x="1709" y="1309"/>
                  <a:pt x="1704" y="1306"/>
                </a:cubicBezTo>
                <a:cubicBezTo>
                  <a:pt x="1703" y="1306"/>
                  <a:pt x="1703" y="1305"/>
                  <a:pt x="1702" y="1305"/>
                </a:cubicBezTo>
                <a:cubicBezTo>
                  <a:pt x="1698" y="1302"/>
                  <a:pt x="1693" y="1298"/>
                  <a:pt x="1688" y="1295"/>
                </a:cubicBezTo>
                <a:cubicBezTo>
                  <a:pt x="1684" y="1291"/>
                  <a:pt x="1678" y="1288"/>
                  <a:pt x="1673" y="1285"/>
                </a:cubicBezTo>
                <a:cubicBezTo>
                  <a:pt x="1672" y="1284"/>
                  <a:pt x="1670" y="1283"/>
                  <a:pt x="1669" y="1282"/>
                </a:cubicBezTo>
                <a:cubicBezTo>
                  <a:pt x="1659" y="1276"/>
                  <a:pt x="1649" y="1269"/>
                  <a:pt x="1640" y="1261"/>
                </a:cubicBezTo>
                <a:cubicBezTo>
                  <a:pt x="1638" y="1259"/>
                  <a:pt x="1635" y="1258"/>
                  <a:pt x="1633" y="1257"/>
                </a:cubicBezTo>
                <a:cubicBezTo>
                  <a:pt x="1622" y="1250"/>
                  <a:pt x="1612" y="1243"/>
                  <a:pt x="1601" y="1236"/>
                </a:cubicBezTo>
                <a:cubicBezTo>
                  <a:pt x="1593" y="1231"/>
                  <a:pt x="1586" y="1225"/>
                  <a:pt x="1578" y="1220"/>
                </a:cubicBezTo>
                <a:cubicBezTo>
                  <a:pt x="1574" y="1217"/>
                  <a:pt x="1570" y="1215"/>
                  <a:pt x="1565" y="1213"/>
                </a:cubicBezTo>
                <a:cubicBezTo>
                  <a:pt x="1562" y="1211"/>
                  <a:pt x="1559" y="1209"/>
                  <a:pt x="1558" y="1205"/>
                </a:cubicBezTo>
                <a:cubicBezTo>
                  <a:pt x="1558" y="1204"/>
                  <a:pt x="1557" y="1204"/>
                  <a:pt x="1557" y="1204"/>
                </a:cubicBezTo>
                <a:cubicBezTo>
                  <a:pt x="1554" y="1209"/>
                  <a:pt x="1553" y="1204"/>
                  <a:pt x="1552" y="1203"/>
                </a:cubicBezTo>
                <a:cubicBezTo>
                  <a:pt x="1547" y="1200"/>
                  <a:pt x="1542" y="1198"/>
                  <a:pt x="1538" y="1195"/>
                </a:cubicBezTo>
                <a:cubicBezTo>
                  <a:pt x="1535" y="1193"/>
                  <a:pt x="1532" y="1191"/>
                  <a:pt x="1529" y="1189"/>
                </a:cubicBezTo>
                <a:cubicBezTo>
                  <a:pt x="1525" y="1186"/>
                  <a:pt x="1521" y="1183"/>
                  <a:pt x="1516" y="1180"/>
                </a:cubicBezTo>
                <a:cubicBezTo>
                  <a:pt x="1516" y="1180"/>
                  <a:pt x="1515" y="1179"/>
                  <a:pt x="1515" y="1179"/>
                </a:cubicBezTo>
                <a:cubicBezTo>
                  <a:pt x="1510" y="1175"/>
                  <a:pt x="1506" y="1171"/>
                  <a:pt x="1500" y="1168"/>
                </a:cubicBezTo>
                <a:cubicBezTo>
                  <a:pt x="1492" y="1162"/>
                  <a:pt x="1483" y="1157"/>
                  <a:pt x="1474" y="1151"/>
                </a:cubicBezTo>
                <a:cubicBezTo>
                  <a:pt x="1468" y="1147"/>
                  <a:pt x="1462" y="1143"/>
                  <a:pt x="1456" y="1140"/>
                </a:cubicBezTo>
                <a:cubicBezTo>
                  <a:pt x="1453" y="1138"/>
                  <a:pt x="1449" y="1135"/>
                  <a:pt x="1446" y="1133"/>
                </a:cubicBezTo>
                <a:cubicBezTo>
                  <a:pt x="1440" y="1130"/>
                  <a:pt x="1434" y="1126"/>
                  <a:pt x="1428" y="1122"/>
                </a:cubicBezTo>
                <a:cubicBezTo>
                  <a:pt x="1423" y="1119"/>
                  <a:pt x="1417" y="1116"/>
                  <a:pt x="1413" y="1112"/>
                </a:cubicBezTo>
                <a:cubicBezTo>
                  <a:pt x="1410" y="1109"/>
                  <a:pt x="1409" y="1110"/>
                  <a:pt x="1406" y="1112"/>
                </a:cubicBezTo>
                <a:cubicBezTo>
                  <a:pt x="1404" y="1114"/>
                  <a:pt x="1403" y="1116"/>
                  <a:pt x="1400" y="1117"/>
                </a:cubicBezTo>
                <a:cubicBezTo>
                  <a:pt x="1398" y="1119"/>
                  <a:pt x="1395" y="1120"/>
                  <a:pt x="1392" y="1121"/>
                </a:cubicBezTo>
                <a:cubicBezTo>
                  <a:pt x="1385" y="1123"/>
                  <a:pt x="1379" y="1128"/>
                  <a:pt x="1373" y="1132"/>
                </a:cubicBezTo>
                <a:cubicBezTo>
                  <a:pt x="1368" y="1135"/>
                  <a:pt x="1363" y="1139"/>
                  <a:pt x="1357" y="1142"/>
                </a:cubicBezTo>
                <a:cubicBezTo>
                  <a:pt x="1354" y="1144"/>
                  <a:pt x="1351" y="1145"/>
                  <a:pt x="1348" y="1147"/>
                </a:cubicBezTo>
                <a:cubicBezTo>
                  <a:pt x="1341" y="1151"/>
                  <a:pt x="1334" y="1155"/>
                  <a:pt x="1328" y="1160"/>
                </a:cubicBezTo>
                <a:cubicBezTo>
                  <a:pt x="1324" y="1163"/>
                  <a:pt x="1320" y="1164"/>
                  <a:pt x="1315" y="1166"/>
                </a:cubicBezTo>
                <a:cubicBezTo>
                  <a:pt x="1315" y="1167"/>
                  <a:pt x="1313" y="1167"/>
                  <a:pt x="1313" y="1167"/>
                </a:cubicBezTo>
                <a:cubicBezTo>
                  <a:pt x="1312" y="1164"/>
                  <a:pt x="1311" y="1166"/>
                  <a:pt x="1310" y="1167"/>
                </a:cubicBezTo>
                <a:cubicBezTo>
                  <a:pt x="1308" y="1170"/>
                  <a:pt x="1305" y="1172"/>
                  <a:pt x="1302" y="1173"/>
                </a:cubicBezTo>
                <a:cubicBezTo>
                  <a:pt x="1296" y="1177"/>
                  <a:pt x="1290" y="1181"/>
                  <a:pt x="1284" y="1185"/>
                </a:cubicBezTo>
                <a:cubicBezTo>
                  <a:pt x="1282" y="1186"/>
                  <a:pt x="1280" y="1188"/>
                  <a:pt x="1277" y="1188"/>
                </a:cubicBezTo>
                <a:cubicBezTo>
                  <a:pt x="1271" y="1190"/>
                  <a:pt x="1268" y="1195"/>
                  <a:pt x="1264" y="1198"/>
                </a:cubicBezTo>
                <a:cubicBezTo>
                  <a:pt x="1262" y="1199"/>
                  <a:pt x="1259" y="1200"/>
                  <a:pt x="1257" y="1201"/>
                </a:cubicBezTo>
                <a:cubicBezTo>
                  <a:pt x="1256" y="1201"/>
                  <a:pt x="1256" y="1201"/>
                  <a:pt x="1255" y="1202"/>
                </a:cubicBezTo>
                <a:cubicBezTo>
                  <a:pt x="1254" y="1203"/>
                  <a:pt x="1253" y="1205"/>
                  <a:pt x="1252" y="1206"/>
                </a:cubicBezTo>
                <a:cubicBezTo>
                  <a:pt x="1249" y="1208"/>
                  <a:pt x="1247" y="1209"/>
                  <a:pt x="1244" y="1211"/>
                </a:cubicBezTo>
                <a:cubicBezTo>
                  <a:pt x="1244" y="1212"/>
                  <a:pt x="1243" y="1212"/>
                  <a:pt x="1243" y="1212"/>
                </a:cubicBezTo>
                <a:cubicBezTo>
                  <a:pt x="1233" y="1214"/>
                  <a:pt x="1226" y="1221"/>
                  <a:pt x="1217" y="1225"/>
                </a:cubicBezTo>
                <a:cubicBezTo>
                  <a:pt x="1210" y="1229"/>
                  <a:pt x="1204" y="1235"/>
                  <a:pt x="1196" y="1237"/>
                </a:cubicBezTo>
                <a:cubicBezTo>
                  <a:pt x="1188" y="1239"/>
                  <a:pt x="1183" y="1245"/>
                  <a:pt x="1176" y="1248"/>
                </a:cubicBezTo>
                <a:cubicBezTo>
                  <a:pt x="1172" y="1250"/>
                  <a:pt x="1169" y="1253"/>
                  <a:pt x="1166" y="1255"/>
                </a:cubicBezTo>
                <a:cubicBezTo>
                  <a:pt x="1164" y="1257"/>
                  <a:pt x="1161" y="1258"/>
                  <a:pt x="1158" y="1260"/>
                </a:cubicBezTo>
                <a:cubicBezTo>
                  <a:pt x="1155" y="1261"/>
                  <a:pt x="1153" y="1264"/>
                  <a:pt x="1150" y="1265"/>
                </a:cubicBezTo>
                <a:cubicBezTo>
                  <a:pt x="1144" y="1269"/>
                  <a:pt x="1139" y="1273"/>
                  <a:pt x="1132" y="1275"/>
                </a:cubicBezTo>
                <a:cubicBezTo>
                  <a:pt x="1127" y="1276"/>
                  <a:pt x="1125" y="1281"/>
                  <a:pt x="1119" y="1281"/>
                </a:cubicBezTo>
                <a:cubicBezTo>
                  <a:pt x="1118" y="1281"/>
                  <a:pt x="1117" y="1283"/>
                  <a:pt x="1116" y="1284"/>
                </a:cubicBezTo>
                <a:cubicBezTo>
                  <a:pt x="1114" y="1285"/>
                  <a:pt x="1111" y="1287"/>
                  <a:pt x="1109" y="1289"/>
                </a:cubicBezTo>
                <a:cubicBezTo>
                  <a:pt x="1104" y="1292"/>
                  <a:pt x="1099" y="1295"/>
                  <a:pt x="1093" y="1298"/>
                </a:cubicBezTo>
                <a:cubicBezTo>
                  <a:pt x="1090" y="1300"/>
                  <a:pt x="1087" y="1302"/>
                  <a:pt x="1084" y="1304"/>
                </a:cubicBezTo>
                <a:cubicBezTo>
                  <a:pt x="1076" y="1308"/>
                  <a:pt x="1070" y="1312"/>
                  <a:pt x="1063" y="1317"/>
                </a:cubicBezTo>
                <a:cubicBezTo>
                  <a:pt x="1055" y="1322"/>
                  <a:pt x="1046" y="1327"/>
                  <a:pt x="1038" y="1332"/>
                </a:cubicBezTo>
                <a:cubicBezTo>
                  <a:pt x="1031" y="1335"/>
                  <a:pt x="1024" y="1339"/>
                  <a:pt x="1017" y="1342"/>
                </a:cubicBezTo>
                <a:cubicBezTo>
                  <a:pt x="1016" y="1343"/>
                  <a:pt x="1016" y="1343"/>
                  <a:pt x="1015" y="1344"/>
                </a:cubicBezTo>
                <a:cubicBezTo>
                  <a:pt x="1013" y="1348"/>
                  <a:pt x="1008" y="1350"/>
                  <a:pt x="1004" y="1352"/>
                </a:cubicBezTo>
                <a:cubicBezTo>
                  <a:pt x="1001" y="1353"/>
                  <a:pt x="998" y="1357"/>
                  <a:pt x="994" y="1356"/>
                </a:cubicBezTo>
                <a:cubicBezTo>
                  <a:pt x="992" y="1360"/>
                  <a:pt x="987" y="1360"/>
                  <a:pt x="984" y="1363"/>
                </a:cubicBezTo>
                <a:cubicBezTo>
                  <a:pt x="981" y="1365"/>
                  <a:pt x="979" y="1367"/>
                  <a:pt x="976" y="1369"/>
                </a:cubicBezTo>
                <a:cubicBezTo>
                  <a:pt x="973" y="1370"/>
                  <a:pt x="971" y="1371"/>
                  <a:pt x="968" y="1373"/>
                </a:cubicBezTo>
                <a:cubicBezTo>
                  <a:pt x="964" y="1377"/>
                  <a:pt x="958" y="1379"/>
                  <a:pt x="954" y="1382"/>
                </a:cubicBezTo>
                <a:cubicBezTo>
                  <a:pt x="950" y="1385"/>
                  <a:pt x="947" y="1386"/>
                  <a:pt x="943" y="1387"/>
                </a:cubicBezTo>
                <a:cubicBezTo>
                  <a:pt x="942" y="1387"/>
                  <a:pt x="941" y="1386"/>
                  <a:pt x="940" y="1385"/>
                </a:cubicBezTo>
                <a:cubicBezTo>
                  <a:pt x="935" y="1382"/>
                  <a:pt x="930" y="1378"/>
                  <a:pt x="925" y="1375"/>
                </a:cubicBezTo>
                <a:cubicBezTo>
                  <a:pt x="921" y="1372"/>
                  <a:pt x="916" y="1370"/>
                  <a:pt x="912" y="1367"/>
                </a:cubicBezTo>
                <a:cubicBezTo>
                  <a:pt x="909" y="1364"/>
                  <a:pt x="906" y="1363"/>
                  <a:pt x="904" y="1361"/>
                </a:cubicBezTo>
                <a:cubicBezTo>
                  <a:pt x="897" y="1358"/>
                  <a:pt x="890" y="1354"/>
                  <a:pt x="884" y="1349"/>
                </a:cubicBezTo>
                <a:cubicBezTo>
                  <a:pt x="879" y="1347"/>
                  <a:pt x="875" y="1343"/>
                  <a:pt x="870" y="1341"/>
                </a:cubicBezTo>
                <a:cubicBezTo>
                  <a:pt x="863" y="1336"/>
                  <a:pt x="855" y="1331"/>
                  <a:pt x="847" y="1327"/>
                </a:cubicBezTo>
                <a:cubicBezTo>
                  <a:pt x="843" y="1324"/>
                  <a:pt x="839" y="1321"/>
                  <a:pt x="835" y="1319"/>
                </a:cubicBezTo>
                <a:cubicBezTo>
                  <a:pt x="830" y="1315"/>
                  <a:pt x="826" y="1312"/>
                  <a:pt x="821" y="1309"/>
                </a:cubicBezTo>
                <a:cubicBezTo>
                  <a:pt x="817" y="1306"/>
                  <a:pt x="813" y="1304"/>
                  <a:pt x="809" y="1302"/>
                </a:cubicBezTo>
                <a:cubicBezTo>
                  <a:pt x="806" y="1301"/>
                  <a:pt x="803" y="1300"/>
                  <a:pt x="802" y="1297"/>
                </a:cubicBezTo>
                <a:cubicBezTo>
                  <a:pt x="802" y="1297"/>
                  <a:pt x="800" y="1297"/>
                  <a:pt x="800" y="1296"/>
                </a:cubicBezTo>
                <a:cubicBezTo>
                  <a:pt x="797" y="1295"/>
                  <a:pt x="795" y="1294"/>
                  <a:pt x="793" y="1293"/>
                </a:cubicBezTo>
                <a:cubicBezTo>
                  <a:pt x="786" y="1289"/>
                  <a:pt x="779" y="1284"/>
                  <a:pt x="772" y="1280"/>
                </a:cubicBezTo>
                <a:cubicBezTo>
                  <a:pt x="768" y="1278"/>
                  <a:pt x="763" y="1276"/>
                  <a:pt x="759" y="1273"/>
                </a:cubicBezTo>
                <a:cubicBezTo>
                  <a:pt x="757" y="1272"/>
                  <a:pt x="756" y="1270"/>
                  <a:pt x="754" y="1269"/>
                </a:cubicBezTo>
                <a:cubicBezTo>
                  <a:pt x="750" y="1266"/>
                  <a:pt x="746" y="1264"/>
                  <a:pt x="743" y="1261"/>
                </a:cubicBezTo>
                <a:cubicBezTo>
                  <a:pt x="738" y="1258"/>
                  <a:pt x="735" y="1254"/>
                  <a:pt x="729" y="1253"/>
                </a:cubicBezTo>
                <a:cubicBezTo>
                  <a:pt x="729" y="1253"/>
                  <a:pt x="728" y="1252"/>
                  <a:pt x="727" y="1252"/>
                </a:cubicBezTo>
                <a:cubicBezTo>
                  <a:pt x="722" y="1248"/>
                  <a:pt x="716" y="1244"/>
                  <a:pt x="710" y="1240"/>
                </a:cubicBezTo>
                <a:cubicBezTo>
                  <a:pt x="705" y="1237"/>
                  <a:pt x="699" y="1234"/>
                  <a:pt x="694" y="1231"/>
                </a:cubicBezTo>
                <a:cubicBezTo>
                  <a:pt x="693" y="1231"/>
                  <a:pt x="693" y="1231"/>
                  <a:pt x="693" y="1231"/>
                </a:cubicBezTo>
                <a:cubicBezTo>
                  <a:pt x="688" y="1224"/>
                  <a:pt x="679" y="1222"/>
                  <a:pt x="673" y="1218"/>
                </a:cubicBezTo>
                <a:cubicBezTo>
                  <a:pt x="668" y="1214"/>
                  <a:pt x="664" y="1211"/>
                  <a:pt x="659" y="1208"/>
                </a:cubicBezTo>
                <a:cubicBezTo>
                  <a:pt x="657" y="1207"/>
                  <a:pt x="654" y="1206"/>
                  <a:pt x="652" y="1205"/>
                </a:cubicBezTo>
                <a:cubicBezTo>
                  <a:pt x="651" y="1205"/>
                  <a:pt x="650" y="1205"/>
                  <a:pt x="650" y="1205"/>
                </a:cubicBezTo>
                <a:cubicBezTo>
                  <a:pt x="647" y="1200"/>
                  <a:pt x="641" y="1200"/>
                  <a:pt x="637" y="1197"/>
                </a:cubicBezTo>
                <a:cubicBezTo>
                  <a:pt x="631" y="1193"/>
                  <a:pt x="625" y="1189"/>
                  <a:pt x="620" y="1185"/>
                </a:cubicBezTo>
                <a:cubicBezTo>
                  <a:pt x="619" y="1184"/>
                  <a:pt x="618" y="1183"/>
                  <a:pt x="618" y="1183"/>
                </a:cubicBezTo>
                <a:cubicBezTo>
                  <a:pt x="612" y="1183"/>
                  <a:pt x="609" y="1179"/>
                  <a:pt x="606" y="1176"/>
                </a:cubicBezTo>
                <a:cubicBezTo>
                  <a:pt x="605" y="1175"/>
                  <a:pt x="603" y="1175"/>
                  <a:pt x="602" y="1174"/>
                </a:cubicBezTo>
                <a:cubicBezTo>
                  <a:pt x="601" y="1174"/>
                  <a:pt x="600" y="1173"/>
                  <a:pt x="600" y="1172"/>
                </a:cubicBezTo>
                <a:cubicBezTo>
                  <a:pt x="598" y="1170"/>
                  <a:pt x="598" y="1169"/>
                  <a:pt x="595" y="1169"/>
                </a:cubicBezTo>
                <a:cubicBezTo>
                  <a:pt x="593" y="1170"/>
                  <a:pt x="591" y="1167"/>
                  <a:pt x="589" y="1165"/>
                </a:cubicBezTo>
                <a:cubicBezTo>
                  <a:pt x="581" y="1161"/>
                  <a:pt x="574" y="1157"/>
                  <a:pt x="567" y="1153"/>
                </a:cubicBezTo>
                <a:cubicBezTo>
                  <a:pt x="562" y="1150"/>
                  <a:pt x="556" y="1147"/>
                  <a:pt x="551" y="1144"/>
                </a:cubicBezTo>
                <a:cubicBezTo>
                  <a:pt x="547" y="1141"/>
                  <a:pt x="542" y="1138"/>
                  <a:pt x="538" y="1136"/>
                </a:cubicBezTo>
                <a:cubicBezTo>
                  <a:pt x="535" y="1135"/>
                  <a:pt x="532" y="1135"/>
                  <a:pt x="529" y="1138"/>
                </a:cubicBezTo>
                <a:cubicBezTo>
                  <a:pt x="529" y="1138"/>
                  <a:pt x="527" y="1139"/>
                  <a:pt x="526" y="1139"/>
                </a:cubicBezTo>
                <a:cubicBezTo>
                  <a:pt x="523" y="1137"/>
                  <a:pt x="520" y="1139"/>
                  <a:pt x="517" y="1140"/>
                </a:cubicBezTo>
                <a:cubicBezTo>
                  <a:pt x="505" y="1146"/>
                  <a:pt x="490" y="1148"/>
                  <a:pt x="478" y="1155"/>
                </a:cubicBezTo>
                <a:cubicBezTo>
                  <a:pt x="469" y="1157"/>
                  <a:pt x="461" y="1161"/>
                  <a:pt x="453" y="1164"/>
                </a:cubicBezTo>
                <a:cubicBezTo>
                  <a:pt x="446" y="1167"/>
                  <a:pt x="439" y="1170"/>
                  <a:pt x="433" y="1172"/>
                </a:cubicBezTo>
                <a:cubicBezTo>
                  <a:pt x="423" y="1176"/>
                  <a:pt x="413" y="1180"/>
                  <a:pt x="403" y="1182"/>
                </a:cubicBezTo>
                <a:cubicBezTo>
                  <a:pt x="397" y="1184"/>
                  <a:pt x="391" y="1187"/>
                  <a:pt x="385" y="1190"/>
                </a:cubicBezTo>
                <a:cubicBezTo>
                  <a:pt x="379" y="1192"/>
                  <a:pt x="372" y="1195"/>
                  <a:pt x="366" y="1198"/>
                </a:cubicBezTo>
                <a:cubicBezTo>
                  <a:pt x="358" y="1201"/>
                  <a:pt x="351" y="1203"/>
                  <a:pt x="344" y="1206"/>
                </a:cubicBezTo>
                <a:cubicBezTo>
                  <a:pt x="342" y="1206"/>
                  <a:pt x="340" y="1207"/>
                  <a:pt x="338" y="1208"/>
                </a:cubicBezTo>
                <a:cubicBezTo>
                  <a:pt x="332" y="1210"/>
                  <a:pt x="325" y="1213"/>
                  <a:pt x="318" y="1216"/>
                </a:cubicBezTo>
                <a:cubicBezTo>
                  <a:pt x="311" y="1218"/>
                  <a:pt x="305" y="1220"/>
                  <a:pt x="298" y="1223"/>
                </a:cubicBezTo>
                <a:cubicBezTo>
                  <a:pt x="292" y="1225"/>
                  <a:pt x="285" y="1227"/>
                  <a:pt x="279" y="1230"/>
                </a:cubicBezTo>
                <a:cubicBezTo>
                  <a:pt x="271" y="1233"/>
                  <a:pt x="263" y="1237"/>
                  <a:pt x="254" y="1239"/>
                </a:cubicBezTo>
                <a:cubicBezTo>
                  <a:pt x="243" y="1243"/>
                  <a:pt x="233" y="1248"/>
                  <a:pt x="221" y="1252"/>
                </a:cubicBezTo>
                <a:cubicBezTo>
                  <a:pt x="213" y="1254"/>
                  <a:pt x="206" y="1260"/>
                  <a:pt x="197" y="1261"/>
                </a:cubicBezTo>
                <a:cubicBezTo>
                  <a:pt x="193" y="1261"/>
                  <a:pt x="188" y="1264"/>
                  <a:pt x="184" y="1266"/>
                </a:cubicBezTo>
                <a:cubicBezTo>
                  <a:pt x="176" y="1268"/>
                  <a:pt x="168" y="1271"/>
                  <a:pt x="160" y="1274"/>
                </a:cubicBezTo>
                <a:cubicBezTo>
                  <a:pt x="156" y="1276"/>
                  <a:pt x="153" y="1278"/>
                  <a:pt x="149" y="1279"/>
                </a:cubicBezTo>
                <a:cubicBezTo>
                  <a:pt x="142" y="1281"/>
                  <a:pt x="135" y="1284"/>
                  <a:pt x="128" y="1287"/>
                </a:cubicBezTo>
                <a:cubicBezTo>
                  <a:pt x="123" y="1289"/>
                  <a:pt x="119" y="1291"/>
                  <a:pt x="114" y="1293"/>
                </a:cubicBezTo>
                <a:cubicBezTo>
                  <a:pt x="110" y="1295"/>
                  <a:pt x="106" y="1296"/>
                  <a:pt x="101" y="1297"/>
                </a:cubicBezTo>
                <a:cubicBezTo>
                  <a:pt x="95" y="1299"/>
                  <a:pt x="89" y="1300"/>
                  <a:pt x="85" y="1306"/>
                </a:cubicBezTo>
                <a:cubicBezTo>
                  <a:pt x="85" y="1306"/>
                  <a:pt x="84" y="1307"/>
                  <a:pt x="83" y="1306"/>
                </a:cubicBezTo>
                <a:cubicBezTo>
                  <a:pt x="79" y="1303"/>
                  <a:pt x="75" y="1308"/>
                  <a:pt x="71" y="1309"/>
                </a:cubicBezTo>
                <a:cubicBezTo>
                  <a:pt x="63" y="1311"/>
                  <a:pt x="55" y="1315"/>
                  <a:pt x="47" y="1318"/>
                </a:cubicBezTo>
                <a:cubicBezTo>
                  <a:pt x="45" y="1322"/>
                  <a:pt x="39" y="1320"/>
                  <a:pt x="37" y="1324"/>
                </a:cubicBezTo>
                <a:cubicBezTo>
                  <a:pt x="37" y="1324"/>
                  <a:pt x="33" y="1324"/>
                  <a:pt x="32" y="1323"/>
                </a:cubicBezTo>
                <a:cubicBezTo>
                  <a:pt x="28" y="1320"/>
                  <a:pt x="29" y="1316"/>
                  <a:pt x="28" y="1312"/>
                </a:cubicBezTo>
                <a:cubicBezTo>
                  <a:pt x="28" y="1311"/>
                  <a:pt x="28" y="1311"/>
                  <a:pt x="28" y="1311"/>
                </a:cubicBezTo>
                <a:cubicBezTo>
                  <a:pt x="29" y="1308"/>
                  <a:pt x="28" y="1306"/>
                  <a:pt x="25" y="1305"/>
                </a:cubicBezTo>
                <a:cubicBezTo>
                  <a:pt x="25" y="1303"/>
                  <a:pt x="30" y="1303"/>
                  <a:pt x="28" y="1299"/>
                </a:cubicBezTo>
                <a:cubicBezTo>
                  <a:pt x="27" y="1297"/>
                  <a:pt x="28" y="1294"/>
                  <a:pt x="28" y="1292"/>
                </a:cubicBezTo>
                <a:cubicBezTo>
                  <a:pt x="28" y="1284"/>
                  <a:pt x="27" y="1277"/>
                  <a:pt x="27" y="1270"/>
                </a:cubicBezTo>
                <a:cubicBezTo>
                  <a:pt x="27" y="1263"/>
                  <a:pt x="25" y="1256"/>
                  <a:pt x="28" y="1248"/>
                </a:cubicBezTo>
                <a:cubicBezTo>
                  <a:pt x="28" y="1247"/>
                  <a:pt x="27" y="1245"/>
                  <a:pt x="26" y="1244"/>
                </a:cubicBezTo>
                <a:cubicBezTo>
                  <a:pt x="25" y="1242"/>
                  <a:pt x="24" y="1240"/>
                  <a:pt x="27" y="1237"/>
                </a:cubicBezTo>
                <a:cubicBezTo>
                  <a:pt x="27" y="1237"/>
                  <a:pt x="28" y="1236"/>
                  <a:pt x="28" y="1235"/>
                </a:cubicBezTo>
                <a:cubicBezTo>
                  <a:pt x="24" y="1229"/>
                  <a:pt x="30" y="1223"/>
                  <a:pt x="25" y="1217"/>
                </a:cubicBezTo>
                <a:cubicBezTo>
                  <a:pt x="25" y="1217"/>
                  <a:pt x="25" y="1216"/>
                  <a:pt x="25" y="1216"/>
                </a:cubicBezTo>
                <a:cubicBezTo>
                  <a:pt x="25" y="1208"/>
                  <a:pt x="26" y="1201"/>
                  <a:pt x="27" y="1194"/>
                </a:cubicBezTo>
                <a:cubicBezTo>
                  <a:pt x="27" y="1189"/>
                  <a:pt x="26" y="1184"/>
                  <a:pt x="25" y="1178"/>
                </a:cubicBezTo>
                <a:cubicBezTo>
                  <a:pt x="25" y="1176"/>
                  <a:pt x="25" y="1173"/>
                  <a:pt x="25" y="1170"/>
                </a:cubicBezTo>
                <a:cubicBezTo>
                  <a:pt x="25" y="1163"/>
                  <a:pt x="23" y="1156"/>
                  <a:pt x="24" y="1150"/>
                </a:cubicBezTo>
                <a:cubicBezTo>
                  <a:pt x="26" y="1142"/>
                  <a:pt x="24" y="1135"/>
                  <a:pt x="25" y="1128"/>
                </a:cubicBezTo>
                <a:cubicBezTo>
                  <a:pt x="25" y="1125"/>
                  <a:pt x="25" y="1122"/>
                  <a:pt x="25" y="1119"/>
                </a:cubicBezTo>
                <a:cubicBezTo>
                  <a:pt x="25" y="1114"/>
                  <a:pt x="26" y="1108"/>
                  <a:pt x="25" y="1103"/>
                </a:cubicBezTo>
                <a:cubicBezTo>
                  <a:pt x="24" y="1096"/>
                  <a:pt x="25" y="1089"/>
                  <a:pt x="24" y="1082"/>
                </a:cubicBezTo>
                <a:cubicBezTo>
                  <a:pt x="24" y="1074"/>
                  <a:pt x="25" y="1067"/>
                  <a:pt x="24" y="1060"/>
                </a:cubicBezTo>
                <a:cubicBezTo>
                  <a:pt x="24" y="1052"/>
                  <a:pt x="25" y="1044"/>
                  <a:pt x="24" y="1037"/>
                </a:cubicBezTo>
                <a:cubicBezTo>
                  <a:pt x="24" y="1030"/>
                  <a:pt x="23" y="1023"/>
                  <a:pt x="24" y="1016"/>
                </a:cubicBezTo>
                <a:cubicBezTo>
                  <a:pt x="24" y="1012"/>
                  <a:pt x="26" y="1009"/>
                  <a:pt x="22" y="1007"/>
                </a:cubicBezTo>
                <a:cubicBezTo>
                  <a:pt x="22" y="1006"/>
                  <a:pt x="23" y="1005"/>
                  <a:pt x="23" y="1004"/>
                </a:cubicBezTo>
                <a:cubicBezTo>
                  <a:pt x="23" y="1002"/>
                  <a:pt x="22" y="1000"/>
                  <a:pt x="22" y="998"/>
                </a:cubicBezTo>
                <a:cubicBezTo>
                  <a:pt x="22" y="997"/>
                  <a:pt x="22" y="996"/>
                  <a:pt x="22" y="996"/>
                </a:cubicBezTo>
                <a:cubicBezTo>
                  <a:pt x="24" y="993"/>
                  <a:pt x="23" y="991"/>
                  <a:pt x="23" y="988"/>
                </a:cubicBezTo>
                <a:cubicBezTo>
                  <a:pt x="22" y="982"/>
                  <a:pt x="21" y="976"/>
                  <a:pt x="21" y="970"/>
                </a:cubicBezTo>
                <a:cubicBezTo>
                  <a:pt x="21" y="962"/>
                  <a:pt x="22" y="954"/>
                  <a:pt x="22" y="946"/>
                </a:cubicBezTo>
                <a:cubicBezTo>
                  <a:pt x="22" y="940"/>
                  <a:pt x="21" y="933"/>
                  <a:pt x="21" y="927"/>
                </a:cubicBezTo>
                <a:cubicBezTo>
                  <a:pt x="21" y="922"/>
                  <a:pt x="21" y="918"/>
                  <a:pt x="21" y="914"/>
                </a:cubicBezTo>
                <a:cubicBezTo>
                  <a:pt x="21" y="909"/>
                  <a:pt x="20" y="903"/>
                  <a:pt x="20" y="898"/>
                </a:cubicBezTo>
                <a:cubicBezTo>
                  <a:pt x="20" y="893"/>
                  <a:pt x="20" y="889"/>
                  <a:pt x="20" y="885"/>
                </a:cubicBezTo>
                <a:cubicBezTo>
                  <a:pt x="20" y="878"/>
                  <a:pt x="20" y="871"/>
                  <a:pt x="20" y="864"/>
                </a:cubicBezTo>
                <a:cubicBezTo>
                  <a:pt x="20" y="860"/>
                  <a:pt x="20" y="856"/>
                  <a:pt x="20" y="852"/>
                </a:cubicBezTo>
                <a:cubicBezTo>
                  <a:pt x="19" y="848"/>
                  <a:pt x="19" y="843"/>
                  <a:pt x="19" y="839"/>
                </a:cubicBezTo>
                <a:cubicBezTo>
                  <a:pt x="19" y="834"/>
                  <a:pt x="19" y="830"/>
                  <a:pt x="19" y="826"/>
                </a:cubicBezTo>
                <a:cubicBezTo>
                  <a:pt x="18" y="822"/>
                  <a:pt x="19" y="817"/>
                  <a:pt x="18" y="812"/>
                </a:cubicBezTo>
                <a:cubicBezTo>
                  <a:pt x="18" y="805"/>
                  <a:pt x="17" y="798"/>
                  <a:pt x="17" y="791"/>
                </a:cubicBezTo>
                <a:cubicBezTo>
                  <a:pt x="17" y="778"/>
                  <a:pt x="17" y="765"/>
                  <a:pt x="16" y="752"/>
                </a:cubicBezTo>
                <a:cubicBezTo>
                  <a:pt x="16" y="743"/>
                  <a:pt x="15" y="735"/>
                  <a:pt x="15" y="727"/>
                </a:cubicBezTo>
                <a:cubicBezTo>
                  <a:pt x="15" y="723"/>
                  <a:pt x="16" y="720"/>
                  <a:pt x="16" y="716"/>
                </a:cubicBezTo>
                <a:cubicBezTo>
                  <a:pt x="16" y="715"/>
                  <a:pt x="16" y="715"/>
                  <a:pt x="16" y="714"/>
                </a:cubicBezTo>
                <a:cubicBezTo>
                  <a:pt x="13" y="709"/>
                  <a:pt x="14" y="703"/>
                  <a:pt x="15" y="696"/>
                </a:cubicBezTo>
                <a:cubicBezTo>
                  <a:pt x="15" y="693"/>
                  <a:pt x="14" y="690"/>
                  <a:pt x="14" y="687"/>
                </a:cubicBezTo>
                <a:cubicBezTo>
                  <a:pt x="14" y="685"/>
                  <a:pt x="13" y="682"/>
                  <a:pt x="16" y="681"/>
                </a:cubicBezTo>
                <a:cubicBezTo>
                  <a:pt x="16" y="681"/>
                  <a:pt x="16" y="680"/>
                  <a:pt x="16" y="680"/>
                </a:cubicBezTo>
                <a:cubicBezTo>
                  <a:pt x="12" y="676"/>
                  <a:pt x="14" y="671"/>
                  <a:pt x="13" y="666"/>
                </a:cubicBezTo>
                <a:cubicBezTo>
                  <a:pt x="12" y="659"/>
                  <a:pt x="13" y="651"/>
                  <a:pt x="13" y="644"/>
                </a:cubicBezTo>
                <a:cubicBezTo>
                  <a:pt x="12" y="639"/>
                  <a:pt x="13" y="634"/>
                  <a:pt x="13" y="629"/>
                </a:cubicBezTo>
                <a:cubicBezTo>
                  <a:pt x="13" y="628"/>
                  <a:pt x="13" y="627"/>
                  <a:pt x="12" y="626"/>
                </a:cubicBezTo>
                <a:cubicBezTo>
                  <a:pt x="12" y="625"/>
                  <a:pt x="12" y="624"/>
                  <a:pt x="12" y="623"/>
                </a:cubicBezTo>
                <a:cubicBezTo>
                  <a:pt x="13" y="621"/>
                  <a:pt x="15" y="619"/>
                  <a:pt x="11" y="618"/>
                </a:cubicBezTo>
                <a:cubicBezTo>
                  <a:pt x="11" y="618"/>
                  <a:pt x="12" y="616"/>
                  <a:pt x="12" y="615"/>
                </a:cubicBezTo>
                <a:cubicBezTo>
                  <a:pt x="11" y="608"/>
                  <a:pt x="13" y="601"/>
                  <a:pt x="10" y="594"/>
                </a:cubicBezTo>
                <a:cubicBezTo>
                  <a:pt x="10" y="593"/>
                  <a:pt x="11" y="590"/>
                  <a:pt x="11" y="589"/>
                </a:cubicBezTo>
                <a:cubicBezTo>
                  <a:pt x="11" y="584"/>
                  <a:pt x="11" y="580"/>
                  <a:pt x="11" y="575"/>
                </a:cubicBezTo>
                <a:cubicBezTo>
                  <a:pt x="10" y="572"/>
                  <a:pt x="11" y="570"/>
                  <a:pt x="11" y="567"/>
                </a:cubicBezTo>
                <a:cubicBezTo>
                  <a:pt x="11" y="557"/>
                  <a:pt x="10" y="547"/>
                  <a:pt x="10" y="537"/>
                </a:cubicBezTo>
                <a:cubicBezTo>
                  <a:pt x="10" y="530"/>
                  <a:pt x="10" y="523"/>
                  <a:pt x="10" y="515"/>
                </a:cubicBezTo>
                <a:cubicBezTo>
                  <a:pt x="10" y="509"/>
                  <a:pt x="9" y="502"/>
                  <a:pt x="8" y="496"/>
                </a:cubicBezTo>
                <a:cubicBezTo>
                  <a:pt x="8" y="488"/>
                  <a:pt x="8" y="480"/>
                  <a:pt x="8" y="472"/>
                </a:cubicBezTo>
                <a:cubicBezTo>
                  <a:pt x="8" y="465"/>
                  <a:pt x="7" y="458"/>
                  <a:pt x="7" y="450"/>
                </a:cubicBezTo>
                <a:cubicBezTo>
                  <a:pt x="7" y="439"/>
                  <a:pt x="7" y="427"/>
                  <a:pt x="7" y="415"/>
                </a:cubicBezTo>
                <a:cubicBezTo>
                  <a:pt x="7" y="407"/>
                  <a:pt x="6" y="399"/>
                  <a:pt x="6" y="391"/>
                </a:cubicBezTo>
                <a:cubicBezTo>
                  <a:pt x="6" y="385"/>
                  <a:pt x="6" y="379"/>
                  <a:pt x="6" y="373"/>
                </a:cubicBezTo>
                <a:cubicBezTo>
                  <a:pt x="6" y="365"/>
                  <a:pt x="5" y="357"/>
                  <a:pt x="5" y="348"/>
                </a:cubicBezTo>
                <a:cubicBezTo>
                  <a:pt x="6" y="344"/>
                  <a:pt x="4" y="340"/>
                  <a:pt x="5" y="336"/>
                </a:cubicBezTo>
                <a:cubicBezTo>
                  <a:pt x="5" y="332"/>
                  <a:pt x="7" y="327"/>
                  <a:pt x="4" y="322"/>
                </a:cubicBezTo>
                <a:cubicBezTo>
                  <a:pt x="5" y="315"/>
                  <a:pt x="2" y="307"/>
                  <a:pt x="3" y="299"/>
                </a:cubicBezTo>
                <a:cubicBezTo>
                  <a:pt x="3" y="293"/>
                  <a:pt x="4" y="287"/>
                  <a:pt x="2" y="282"/>
                </a:cubicBezTo>
                <a:cubicBezTo>
                  <a:pt x="1" y="274"/>
                  <a:pt x="4" y="266"/>
                  <a:pt x="2" y="258"/>
                </a:cubicBezTo>
                <a:cubicBezTo>
                  <a:pt x="0" y="253"/>
                  <a:pt x="1" y="248"/>
                  <a:pt x="2" y="243"/>
                </a:cubicBezTo>
                <a:cubicBezTo>
                  <a:pt x="2" y="240"/>
                  <a:pt x="4" y="236"/>
                  <a:pt x="1" y="233"/>
                </a:cubicBezTo>
                <a:cubicBezTo>
                  <a:pt x="1" y="232"/>
                  <a:pt x="1" y="231"/>
                  <a:pt x="1" y="230"/>
                </a:cubicBezTo>
                <a:cubicBezTo>
                  <a:pt x="1" y="228"/>
                  <a:pt x="2" y="226"/>
                  <a:pt x="2" y="224"/>
                </a:cubicBezTo>
                <a:cubicBezTo>
                  <a:pt x="2" y="223"/>
                  <a:pt x="1" y="222"/>
                  <a:pt x="1" y="222"/>
                </a:cubicBezTo>
                <a:cubicBezTo>
                  <a:pt x="5" y="219"/>
                  <a:pt x="1" y="215"/>
                  <a:pt x="1" y="212"/>
                </a:cubicBezTo>
                <a:cubicBezTo>
                  <a:pt x="2" y="207"/>
                  <a:pt x="1" y="202"/>
                  <a:pt x="0" y="197"/>
                </a:cubicBezTo>
                <a:cubicBezTo>
                  <a:pt x="0" y="193"/>
                  <a:pt x="1" y="189"/>
                  <a:pt x="2" y="185"/>
                </a:cubicBezTo>
                <a:cubicBezTo>
                  <a:pt x="2" y="183"/>
                  <a:pt x="2" y="181"/>
                  <a:pt x="2" y="179"/>
                </a:cubicBezTo>
                <a:cubicBezTo>
                  <a:pt x="1" y="176"/>
                  <a:pt x="3" y="175"/>
                  <a:pt x="5" y="175"/>
                </a:cubicBezTo>
                <a:cubicBezTo>
                  <a:pt x="8" y="174"/>
                  <a:pt x="11" y="173"/>
                  <a:pt x="13" y="172"/>
                </a:cubicBezTo>
                <a:cubicBezTo>
                  <a:pt x="19" y="170"/>
                  <a:pt x="25" y="167"/>
                  <a:pt x="32" y="169"/>
                </a:cubicBezTo>
                <a:cubicBezTo>
                  <a:pt x="32" y="170"/>
                  <a:pt x="34" y="169"/>
                  <a:pt x="34" y="169"/>
                </a:cubicBezTo>
                <a:cubicBezTo>
                  <a:pt x="34" y="166"/>
                  <a:pt x="36" y="165"/>
                  <a:pt x="39" y="165"/>
                </a:cubicBezTo>
                <a:cubicBezTo>
                  <a:pt x="42" y="165"/>
                  <a:pt x="44" y="164"/>
                  <a:pt x="47" y="163"/>
                </a:cubicBezTo>
                <a:cubicBezTo>
                  <a:pt x="47" y="163"/>
                  <a:pt x="48" y="162"/>
                  <a:pt x="48" y="162"/>
                </a:cubicBezTo>
                <a:cubicBezTo>
                  <a:pt x="48" y="158"/>
                  <a:pt x="51" y="160"/>
                  <a:pt x="52" y="160"/>
                </a:cubicBezTo>
                <a:cubicBezTo>
                  <a:pt x="54" y="160"/>
                  <a:pt x="56" y="161"/>
                  <a:pt x="57" y="160"/>
                </a:cubicBezTo>
                <a:cubicBezTo>
                  <a:pt x="59" y="158"/>
                  <a:pt x="62" y="158"/>
                  <a:pt x="64" y="157"/>
                </a:cubicBezTo>
                <a:cubicBezTo>
                  <a:pt x="70" y="153"/>
                  <a:pt x="77" y="153"/>
                  <a:pt x="83" y="152"/>
                </a:cubicBezTo>
                <a:cubicBezTo>
                  <a:pt x="84" y="152"/>
                  <a:pt x="84" y="152"/>
                  <a:pt x="84" y="151"/>
                </a:cubicBezTo>
                <a:cubicBezTo>
                  <a:pt x="90" y="147"/>
                  <a:pt x="98" y="147"/>
                  <a:pt x="104" y="145"/>
                </a:cubicBezTo>
                <a:cubicBezTo>
                  <a:pt x="112" y="142"/>
                  <a:pt x="121" y="140"/>
                  <a:pt x="129" y="137"/>
                </a:cubicBezTo>
                <a:cubicBezTo>
                  <a:pt x="133" y="136"/>
                  <a:pt x="137" y="132"/>
                  <a:pt x="141" y="132"/>
                </a:cubicBezTo>
                <a:cubicBezTo>
                  <a:pt x="147" y="133"/>
                  <a:pt x="151" y="127"/>
                  <a:pt x="156" y="129"/>
                </a:cubicBezTo>
                <a:cubicBezTo>
                  <a:pt x="158" y="129"/>
                  <a:pt x="159" y="126"/>
                  <a:pt x="161" y="126"/>
                </a:cubicBezTo>
                <a:cubicBezTo>
                  <a:pt x="166" y="126"/>
                  <a:pt x="171" y="122"/>
                  <a:pt x="176" y="121"/>
                </a:cubicBezTo>
                <a:cubicBezTo>
                  <a:pt x="181" y="120"/>
                  <a:pt x="187" y="119"/>
                  <a:pt x="191" y="117"/>
                </a:cubicBezTo>
                <a:cubicBezTo>
                  <a:pt x="196" y="113"/>
                  <a:pt x="203" y="114"/>
                  <a:pt x="208" y="110"/>
                </a:cubicBezTo>
                <a:cubicBezTo>
                  <a:pt x="212" y="107"/>
                  <a:pt x="217" y="106"/>
                  <a:pt x="222" y="106"/>
                </a:cubicBezTo>
                <a:cubicBezTo>
                  <a:pt x="230" y="104"/>
                  <a:pt x="237" y="101"/>
                  <a:pt x="244" y="97"/>
                </a:cubicBezTo>
                <a:cubicBezTo>
                  <a:pt x="246" y="96"/>
                  <a:pt x="249" y="96"/>
                  <a:pt x="252" y="96"/>
                </a:cubicBezTo>
                <a:cubicBezTo>
                  <a:pt x="258" y="96"/>
                  <a:pt x="264" y="94"/>
                  <a:pt x="270" y="91"/>
                </a:cubicBezTo>
                <a:cubicBezTo>
                  <a:pt x="278" y="88"/>
                  <a:pt x="286" y="85"/>
                  <a:pt x="295" y="82"/>
                </a:cubicBezTo>
                <a:cubicBezTo>
                  <a:pt x="301" y="80"/>
                  <a:pt x="306" y="77"/>
                  <a:pt x="313" y="76"/>
                </a:cubicBezTo>
                <a:cubicBezTo>
                  <a:pt x="320" y="74"/>
                  <a:pt x="327" y="72"/>
                  <a:pt x="334" y="69"/>
                </a:cubicBezTo>
                <a:cubicBezTo>
                  <a:pt x="339" y="66"/>
                  <a:pt x="345" y="66"/>
                  <a:pt x="351" y="65"/>
                </a:cubicBezTo>
                <a:cubicBezTo>
                  <a:pt x="355" y="64"/>
                  <a:pt x="358" y="62"/>
                  <a:pt x="362" y="61"/>
                </a:cubicBezTo>
                <a:cubicBezTo>
                  <a:pt x="367" y="59"/>
                  <a:pt x="373" y="57"/>
                  <a:pt x="378" y="55"/>
                </a:cubicBezTo>
                <a:cubicBezTo>
                  <a:pt x="378" y="55"/>
                  <a:pt x="379" y="55"/>
                  <a:pt x="379" y="55"/>
                </a:cubicBezTo>
                <a:cubicBezTo>
                  <a:pt x="386" y="55"/>
                  <a:pt x="391" y="53"/>
                  <a:pt x="396" y="49"/>
                </a:cubicBezTo>
                <a:cubicBezTo>
                  <a:pt x="397" y="49"/>
                  <a:pt x="397" y="48"/>
                  <a:pt x="397" y="48"/>
                </a:cubicBezTo>
                <a:cubicBezTo>
                  <a:pt x="403" y="50"/>
                  <a:pt x="406" y="46"/>
                  <a:pt x="410" y="44"/>
                </a:cubicBezTo>
                <a:cubicBezTo>
                  <a:pt x="413" y="43"/>
                  <a:pt x="416" y="42"/>
                  <a:pt x="419" y="41"/>
                </a:cubicBezTo>
                <a:cubicBezTo>
                  <a:pt x="425" y="39"/>
                  <a:pt x="432" y="36"/>
                  <a:pt x="438" y="35"/>
                </a:cubicBezTo>
                <a:cubicBezTo>
                  <a:pt x="446" y="33"/>
                  <a:pt x="454" y="30"/>
                  <a:pt x="462" y="26"/>
                </a:cubicBezTo>
                <a:cubicBezTo>
                  <a:pt x="465" y="24"/>
                  <a:pt x="468" y="24"/>
                  <a:pt x="471" y="23"/>
                </a:cubicBezTo>
                <a:cubicBezTo>
                  <a:pt x="476" y="21"/>
                  <a:pt x="482" y="19"/>
                  <a:pt x="487" y="18"/>
                </a:cubicBezTo>
                <a:cubicBezTo>
                  <a:pt x="488" y="17"/>
                  <a:pt x="489" y="17"/>
                  <a:pt x="489" y="16"/>
                </a:cubicBezTo>
                <a:cubicBezTo>
                  <a:pt x="491" y="12"/>
                  <a:pt x="496" y="12"/>
                  <a:pt x="500" y="10"/>
                </a:cubicBezTo>
                <a:cubicBezTo>
                  <a:pt x="501" y="10"/>
                  <a:pt x="504" y="11"/>
                  <a:pt x="505" y="12"/>
                </a:cubicBezTo>
                <a:cubicBezTo>
                  <a:pt x="510" y="16"/>
                  <a:pt x="514" y="22"/>
                  <a:pt x="519" y="24"/>
                </a:cubicBezTo>
                <a:cubicBezTo>
                  <a:pt x="525" y="26"/>
                  <a:pt x="529" y="30"/>
                  <a:pt x="535" y="32"/>
                </a:cubicBezTo>
                <a:cubicBezTo>
                  <a:pt x="539" y="32"/>
                  <a:pt x="545" y="35"/>
                  <a:pt x="548" y="40"/>
                </a:cubicBezTo>
                <a:cubicBezTo>
                  <a:pt x="548" y="41"/>
                  <a:pt x="550" y="41"/>
                  <a:pt x="550" y="42"/>
                </a:cubicBezTo>
                <a:cubicBezTo>
                  <a:pt x="552" y="43"/>
                  <a:pt x="553" y="43"/>
                  <a:pt x="555" y="44"/>
                </a:cubicBezTo>
                <a:cubicBezTo>
                  <a:pt x="559" y="46"/>
                  <a:pt x="563" y="49"/>
                  <a:pt x="568" y="52"/>
                </a:cubicBezTo>
                <a:cubicBezTo>
                  <a:pt x="571" y="53"/>
                  <a:pt x="574" y="53"/>
                  <a:pt x="576" y="55"/>
                </a:cubicBezTo>
                <a:cubicBezTo>
                  <a:pt x="581" y="58"/>
                  <a:pt x="586" y="61"/>
                  <a:pt x="591" y="64"/>
                </a:cubicBezTo>
                <a:cubicBezTo>
                  <a:pt x="596" y="67"/>
                  <a:pt x="601" y="71"/>
                  <a:pt x="607" y="74"/>
                </a:cubicBezTo>
                <a:cubicBezTo>
                  <a:pt x="614" y="77"/>
                  <a:pt x="619" y="83"/>
                  <a:pt x="627" y="84"/>
                </a:cubicBezTo>
                <a:cubicBezTo>
                  <a:pt x="629" y="85"/>
                  <a:pt x="631" y="87"/>
                  <a:pt x="633" y="88"/>
                </a:cubicBezTo>
                <a:cubicBezTo>
                  <a:pt x="638" y="90"/>
                  <a:pt x="643" y="92"/>
                  <a:pt x="648" y="95"/>
                </a:cubicBezTo>
                <a:cubicBezTo>
                  <a:pt x="651" y="97"/>
                  <a:pt x="655" y="99"/>
                  <a:pt x="658" y="101"/>
                </a:cubicBezTo>
                <a:cubicBezTo>
                  <a:pt x="664" y="105"/>
                  <a:pt x="669" y="109"/>
                  <a:pt x="676" y="111"/>
                </a:cubicBezTo>
                <a:cubicBezTo>
                  <a:pt x="681" y="114"/>
                  <a:pt x="685" y="117"/>
                  <a:pt x="690" y="120"/>
                </a:cubicBezTo>
                <a:cubicBezTo>
                  <a:pt x="693" y="121"/>
                  <a:pt x="695" y="122"/>
                  <a:pt x="698" y="123"/>
                </a:cubicBezTo>
                <a:cubicBezTo>
                  <a:pt x="703" y="125"/>
                  <a:pt x="707" y="128"/>
                  <a:pt x="712" y="131"/>
                </a:cubicBezTo>
                <a:cubicBezTo>
                  <a:pt x="722" y="137"/>
                  <a:pt x="731" y="144"/>
                  <a:pt x="742" y="147"/>
                </a:cubicBezTo>
                <a:cubicBezTo>
                  <a:pt x="748" y="149"/>
                  <a:pt x="752" y="153"/>
                  <a:pt x="757" y="156"/>
                </a:cubicBezTo>
                <a:cubicBezTo>
                  <a:pt x="762" y="159"/>
                  <a:pt x="768" y="161"/>
                  <a:pt x="773" y="164"/>
                </a:cubicBezTo>
                <a:cubicBezTo>
                  <a:pt x="776" y="166"/>
                  <a:pt x="780" y="168"/>
                  <a:pt x="783" y="170"/>
                </a:cubicBezTo>
                <a:cubicBezTo>
                  <a:pt x="789" y="173"/>
                  <a:pt x="794" y="178"/>
                  <a:pt x="800" y="180"/>
                </a:cubicBezTo>
                <a:cubicBezTo>
                  <a:pt x="808" y="182"/>
                  <a:pt x="814" y="187"/>
                  <a:pt x="820" y="191"/>
                </a:cubicBezTo>
                <a:cubicBezTo>
                  <a:pt x="823" y="193"/>
                  <a:pt x="826" y="194"/>
                  <a:pt x="829" y="195"/>
                </a:cubicBezTo>
                <a:cubicBezTo>
                  <a:pt x="830" y="195"/>
                  <a:pt x="830" y="195"/>
                  <a:pt x="831" y="196"/>
                </a:cubicBezTo>
                <a:cubicBezTo>
                  <a:pt x="838" y="200"/>
                  <a:pt x="844" y="205"/>
                  <a:pt x="851" y="208"/>
                </a:cubicBezTo>
                <a:cubicBezTo>
                  <a:pt x="860" y="211"/>
                  <a:pt x="866" y="216"/>
                  <a:pt x="874" y="220"/>
                </a:cubicBezTo>
                <a:cubicBezTo>
                  <a:pt x="883" y="225"/>
                  <a:pt x="891" y="229"/>
                  <a:pt x="900" y="234"/>
                </a:cubicBezTo>
                <a:cubicBezTo>
                  <a:pt x="904" y="236"/>
                  <a:pt x="908" y="239"/>
                  <a:pt x="911" y="241"/>
                </a:cubicBezTo>
                <a:cubicBezTo>
                  <a:pt x="912" y="241"/>
                  <a:pt x="913" y="241"/>
                  <a:pt x="913" y="242"/>
                </a:cubicBezTo>
                <a:cubicBezTo>
                  <a:pt x="915" y="243"/>
                  <a:pt x="918" y="244"/>
                  <a:pt x="920" y="245"/>
                </a:cubicBezTo>
                <a:cubicBezTo>
                  <a:pt x="926" y="248"/>
                  <a:pt x="933" y="252"/>
                  <a:pt x="939" y="256"/>
                </a:cubicBezTo>
                <a:cubicBezTo>
                  <a:pt x="940" y="256"/>
                  <a:pt x="941" y="256"/>
                  <a:pt x="942" y="256"/>
                </a:cubicBezTo>
                <a:cubicBezTo>
                  <a:pt x="943" y="256"/>
                  <a:pt x="945" y="255"/>
                  <a:pt x="946" y="256"/>
                </a:cubicBezTo>
                <a:cubicBezTo>
                  <a:pt x="951" y="260"/>
                  <a:pt x="955" y="257"/>
                  <a:pt x="958" y="255"/>
                </a:cubicBezTo>
                <a:cubicBezTo>
                  <a:pt x="967" y="250"/>
                  <a:pt x="976" y="245"/>
                  <a:pt x="984" y="240"/>
                </a:cubicBezTo>
                <a:cubicBezTo>
                  <a:pt x="992" y="235"/>
                  <a:pt x="1001" y="231"/>
                  <a:pt x="1009" y="226"/>
                </a:cubicBezTo>
                <a:cubicBezTo>
                  <a:pt x="1014" y="223"/>
                  <a:pt x="1020" y="220"/>
                  <a:pt x="1025" y="217"/>
                </a:cubicBezTo>
                <a:cubicBezTo>
                  <a:pt x="1036" y="211"/>
                  <a:pt x="1047" y="205"/>
                  <a:pt x="1058" y="199"/>
                </a:cubicBezTo>
                <a:cubicBezTo>
                  <a:pt x="1063" y="196"/>
                  <a:pt x="1068" y="193"/>
                  <a:pt x="1073" y="190"/>
                </a:cubicBezTo>
                <a:cubicBezTo>
                  <a:pt x="1079" y="186"/>
                  <a:pt x="1086" y="183"/>
                  <a:pt x="1092" y="180"/>
                </a:cubicBezTo>
                <a:cubicBezTo>
                  <a:pt x="1098" y="176"/>
                  <a:pt x="1104" y="172"/>
                  <a:pt x="1110" y="169"/>
                </a:cubicBezTo>
                <a:cubicBezTo>
                  <a:pt x="1116" y="166"/>
                  <a:pt x="1121" y="162"/>
                  <a:pt x="1128" y="160"/>
                </a:cubicBezTo>
                <a:cubicBezTo>
                  <a:pt x="1130" y="159"/>
                  <a:pt x="1132" y="158"/>
                  <a:pt x="1133" y="156"/>
                </a:cubicBezTo>
                <a:cubicBezTo>
                  <a:pt x="1139" y="151"/>
                  <a:pt x="1146" y="148"/>
                  <a:pt x="1153" y="145"/>
                </a:cubicBezTo>
                <a:cubicBezTo>
                  <a:pt x="1160" y="142"/>
                  <a:pt x="1166" y="137"/>
                  <a:pt x="1173" y="134"/>
                </a:cubicBezTo>
                <a:cubicBezTo>
                  <a:pt x="1177" y="131"/>
                  <a:pt x="1180" y="129"/>
                  <a:pt x="1184" y="127"/>
                </a:cubicBezTo>
                <a:cubicBezTo>
                  <a:pt x="1189" y="124"/>
                  <a:pt x="1195" y="122"/>
                  <a:pt x="1199" y="119"/>
                </a:cubicBezTo>
                <a:cubicBezTo>
                  <a:pt x="1204" y="114"/>
                  <a:pt x="1210" y="113"/>
                  <a:pt x="1216" y="109"/>
                </a:cubicBezTo>
                <a:cubicBezTo>
                  <a:pt x="1218" y="107"/>
                  <a:pt x="1221" y="106"/>
                  <a:pt x="1224" y="104"/>
                </a:cubicBezTo>
                <a:cubicBezTo>
                  <a:pt x="1228" y="102"/>
                  <a:pt x="1233" y="99"/>
                  <a:pt x="1237" y="97"/>
                </a:cubicBezTo>
                <a:cubicBezTo>
                  <a:pt x="1238" y="96"/>
                  <a:pt x="1240" y="95"/>
                  <a:pt x="1241" y="95"/>
                </a:cubicBezTo>
                <a:cubicBezTo>
                  <a:pt x="1247" y="91"/>
                  <a:pt x="1252" y="88"/>
                  <a:pt x="1258" y="85"/>
                </a:cubicBezTo>
                <a:cubicBezTo>
                  <a:pt x="1261" y="83"/>
                  <a:pt x="1264" y="81"/>
                  <a:pt x="1267" y="80"/>
                </a:cubicBezTo>
                <a:cubicBezTo>
                  <a:pt x="1269" y="78"/>
                  <a:pt x="1271" y="77"/>
                  <a:pt x="1274" y="76"/>
                </a:cubicBezTo>
                <a:cubicBezTo>
                  <a:pt x="1281" y="72"/>
                  <a:pt x="1286" y="67"/>
                  <a:pt x="1294" y="64"/>
                </a:cubicBezTo>
                <a:cubicBezTo>
                  <a:pt x="1299" y="63"/>
                  <a:pt x="1302" y="59"/>
                  <a:pt x="1307" y="56"/>
                </a:cubicBezTo>
                <a:cubicBezTo>
                  <a:pt x="1309" y="55"/>
                  <a:pt x="1311" y="54"/>
                  <a:pt x="1313" y="53"/>
                </a:cubicBezTo>
                <a:cubicBezTo>
                  <a:pt x="1318" y="50"/>
                  <a:pt x="1323" y="47"/>
                  <a:pt x="1328" y="44"/>
                </a:cubicBezTo>
                <a:cubicBezTo>
                  <a:pt x="1333" y="41"/>
                  <a:pt x="1338" y="38"/>
                  <a:pt x="1343" y="33"/>
                </a:cubicBezTo>
                <a:cubicBezTo>
                  <a:pt x="1344" y="31"/>
                  <a:pt x="1347" y="31"/>
                  <a:pt x="1350" y="30"/>
                </a:cubicBezTo>
                <a:cubicBezTo>
                  <a:pt x="1356" y="26"/>
                  <a:pt x="1362" y="22"/>
                  <a:pt x="1368" y="19"/>
                </a:cubicBezTo>
                <a:cubicBezTo>
                  <a:pt x="1373" y="16"/>
                  <a:pt x="1377" y="14"/>
                  <a:pt x="1382" y="12"/>
                </a:cubicBezTo>
                <a:cubicBezTo>
                  <a:pt x="1386" y="10"/>
                  <a:pt x="1386" y="11"/>
                  <a:pt x="1386" y="15"/>
                </a:cubicBezTo>
                <a:close/>
                <a:moveTo>
                  <a:pt x="1698" y="449"/>
                </a:moveTo>
                <a:cubicBezTo>
                  <a:pt x="1697" y="439"/>
                  <a:pt x="1699" y="429"/>
                  <a:pt x="1704" y="421"/>
                </a:cubicBezTo>
                <a:cubicBezTo>
                  <a:pt x="1707" y="417"/>
                  <a:pt x="1710" y="414"/>
                  <a:pt x="1713" y="411"/>
                </a:cubicBezTo>
                <a:cubicBezTo>
                  <a:pt x="1717" y="406"/>
                  <a:pt x="1721" y="402"/>
                  <a:pt x="1726" y="399"/>
                </a:cubicBezTo>
                <a:cubicBezTo>
                  <a:pt x="1727" y="398"/>
                  <a:pt x="1727" y="397"/>
                  <a:pt x="1728" y="396"/>
                </a:cubicBezTo>
                <a:cubicBezTo>
                  <a:pt x="1737" y="394"/>
                  <a:pt x="1746" y="394"/>
                  <a:pt x="1754" y="396"/>
                </a:cubicBezTo>
                <a:cubicBezTo>
                  <a:pt x="1767" y="398"/>
                  <a:pt x="1776" y="406"/>
                  <a:pt x="1785" y="414"/>
                </a:cubicBezTo>
                <a:cubicBezTo>
                  <a:pt x="1789" y="417"/>
                  <a:pt x="1791" y="424"/>
                  <a:pt x="1793" y="429"/>
                </a:cubicBezTo>
                <a:cubicBezTo>
                  <a:pt x="1795" y="436"/>
                  <a:pt x="1796" y="443"/>
                  <a:pt x="1795" y="450"/>
                </a:cubicBezTo>
                <a:cubicBezTo>
                  <a:pt x="1794" y="464"/>
                  <a:pt x="1790" y="476"/>
                  <a:pt x="1781" y="487"/>
                </a:cubicBezTo>
                <a:cubicBezTo>
                  <a:pt x="1779" y="489"/>
                  <a:pt x="1777" y="492"/>
                  <a:pt x="1773" y="492"/>
                </a:cubicBezTo>
                <a:cubicBezTo>
                  <a:pt x="1769" y="492"/>
                  <a:pt x="1767" y="497"/>
                  <a:pt x="1768" y="501"/>
                </a:cubicBezTo>
                <a:cubicBezTo>
                  <a:pt x="1770" y="505"/>
                  <a:pt x="1772" y="510"/>
                  <a:pt x="1774" y="515"/>
                </a:cubicBezTo>
                <a:cubicBezTo>
                  <a:pt x="1779" y="525"/>
                  <a:pt x="1783" y="534"/>
                  <a:pt x="1787" y="544"/>
                </a:cubicBezTo>
                <a:cubicBezTo>
                  <a:pt x="1790" y="551"/>
                  <a:pt x="1793" y="557"/>
                  <a:pt x="1796" y="564"/>
                </a:cubicBezTo>
                <a:cubicBezTo>
                  <a:pt x="1801" y="575"/>
                  <a:pt x="1805" y="586"/>
                  <a:pt x="1810" y="598"/>
                </a:cubicBezTo>
                <a:cubicBezTo>
                  <a:pt x="1815" y="608"/>
                  <a:pt x="1820" y="619"/>
                  <a:pt x="1824" y="630"/>
                </a:cubicBezTo>
                <a:cubicBezTo>
                  <a:pt x="1828" y="638"/>
                  <a:pt x="1830" y="646"/>
                  <a:pt x="1834" y="654"/>
                </a:cubicBezTo>
                <a:cubicBezTo>
                  <a:pt x="1836" y="657"/>
                  <a:pt x="1838" y="659"/>
                  <a:pt x="1842" y="660"/>
                </a:cubicBezTo>
                <a:cubicBezTo>
                  <a:pt x="1855" y="661"/>
                  <a:pt x="1865" y="667"/>
                  <a:pt x="1870" y="679"/>
                </a:cubicBezTo>
                <a:cubicBezTo>
                  <a:pt x="1871" y="683"/>
                  <a:pt x="1872" y="686"/>
                  <a:pt x="1873" y="689"/>
                </a:cubicBezTo>
                <a:cubicBezTo>
                  <a:pt x="1877" y="700"/>
                  <a:pt x="1876" y="711"/>
                  <a:pt x="1873" y="722"/>
                </a:cubicBezTo>
                <a:cubicBezTo>
                  <a:pt x="1870" y="730"/>
                  <a:pt x="1865" y="737"/>
                  <a:pt x="1859" y="743"/>
                </a:cubicBezTo>
                <a:cubicBezTo>
                  <a:pt x="1853" y="749"/>
                  <a:pt x="1846" y="751"/>
                  <a:pt x="1838" y="751"/>
                </a:cubicBezTo>
                <a:cubicBezTo>
                  <a:pt x="1835" y="751"/>
                  <a:pt x="1831" y="750"/>
                  <a:pt x="1828" y="750"/>
                </a:cubicBezTo>
                <a:cubicBezTo>
                  <a:pt x="1820" y="750"/>
                  <a:pt x="1816" y="746"/>
                  <a:pt x="1813" y="740"/>
                </a:cubicBezTo>
                <a:cubicBezTo>
                  <a:pt x="1812" y="739"/>
                  <a:pt x="1812" y="738"/>
                  <a:pt x="1811" y="738"/>
                </a:cubicBezTo>
                <a:cubicBezTo>
                  <a:pt x="1805" y="735"/>
                  <a:pt x="1801" y="729"/>
                  <a:pt x="1799" y="723"/>
                </a:cubicBezTo>
                <a:cubicBezTo>
                  <a:pt x="1797" y="718"/>
                  <a:pt x="1797" y="712"/>
                  <a:pt x="1797" y="706"/>
                </a:cubicBezTo>
                <a:cubicBezTo>
                  <a:pt x="1796" y="704"/>
                  <a:pt x="1795" y="702"/>
                  <a:pt x="1792" y="702"/>
                </a:cubicBezTo>
                <a:cubicBezTo>
                  <a:pt x="1790" y="702"/>
                  <a:pt x="1788" y="702"/>
                  <a:pt x="1786" y="701"/>
                </a:cubicBezTo>
                <a:cubicBezTo>
                  <a:pt x="1781" y="698"/>
                  <a:pt x="1776" y="696"/>
                  <a:pt x="1771" y="693"/>
                </a:cubicBezTo>
                <a:cubicBezTo>
                  <a:pt x="1769" y="692"/>
                  <a:pt x="1766" y="692"/>
                  <a:pt x="1765" y="691"/>
                </a:cubicBezTo>
                <a:cubicBezTo>
                  <a:pt x="1762" y="688"/>
                  <a:pt x="1759" y="688"/>
                  <a:pt x="1755" y="687"/>
                </a:cubicBezTo>
                <a:cubicBezTo>
                  <a:pt x="1753" y="686"/>
                  <a:pt x="1751" y="686"/>
                  <a:pt x="1749" y="686"/>
                </a:cubicBezTo>
                <a:cubicBezTo>
                  <a:pt x="1741" y="683"/>
                  <a:pt x="1733" y="680"/>
                  <a:pt x="1726" y="678"/>
                </a:cubicBezTo>
                <a:cubicBezTo>
                  <a:pt x="1717" y="676"/>
                  <a:pt x="1708" y="674"/>
                  <a:pt x="1699" y="671"/>
                </a:cubicBezTo>
                <a:cubicBezTo>
                  <a:pt x="1694" y="669"/>
                  <a:pt x="1688" y="670"/>
                  <a:pt x="1684" y="666"/>
                </a:cubicBezTo>
                <a:cubicBezTo>
                  <a:pt x="1682" y="663"/>
                  <a:pt x="1680" y="667"/>
                  <a:pt x="1678" y="664"/>
                </a:cubicBezTo>
                <a:cubicBezTo>
                  <a:pt x="1677" y="662"/>
                  <a:pt x="1674" y="662"/>
                  <a:pt x="1671" y="661"/>
                </a:cubicBezTo>
                <a:cubicBezTo>
                  <a:pt x="1670" y="660"/>
                  <a:pt x="1668" y="660"/>
                  <a:pt x="1666" y="660"/>
                </a:cubicBezTo>
                <a:cubicBezTo>
                  <a:pt x="1662" y="658"/>
                  <a:pt x="1657" y="655"/>
                  <a:pt x="1653" y="653"/>
                </a:cubicBezTo>
                <a:cubicBezTo>
                  <a:pt x="1652" y="652"/>
                  <a:pt x="1651" y="653"/>
                  <a:pt x="1651" y="654"/>
                </a:cubicBezTo>
                <a:cubicBezTo>
                  <a:pt x="1650" y="658"/>
                  <a:pt x="1650" y="661"/>
                  <a:pt x="1648" y="664"/>
                </a:cubicBezTo>
                <a:cubicBezTo>
                  <a:pt x="1644" y="673"/>
                  <a:pt x="1639" y="681"/>
                  <a:pt x="1630" y="687"/>
                </a:cubicBezTo>
                <a:cubicBezTo>
                  <a:pt x="1626" y="690"/>
                  <a:pt x="1622" y="693"/>
                  <a:pt x="1618" y="693"/>
                </a:cubicBezTo>
                <a:cubicBezTo>
                  <a:pt x="1608" y="694"/>
                  <a:pt x="1599" y="694"/>
                  <a:pt x="1590" y="691"/>
                </a:cubicBezTo>
                <a:cubicBezTo>
                  <a:pt x="1590" y="691"/>
                  <a:pt x="1588" y="692"/>
                  <a:pt x="1588" y="692"/>
                </a:cubicBezTo>
                <a:cubicBezTo>
                  <a:pt x="1587" y="696"/>
                  <a:pt x="1586" y="699"/>
                  <a:pt x="1584" y="702"/>
                </a:cubicBezTo>
                <a:cubicBezTo>
                  <a:pt x="1577" y="718"/>
                  <a:pt x="1570" y="734"/>
                  <a:pt x="1562" y="750"/>
                </a:cubicBezTo>
                <a:cubicBezTo>
                  <a:pt x="1559" y="757"/>
                  <a:pt x="1555" y="765"/>
                  <a:pt x="1552" y="772"/>
                </a:cubicBezTo>
                <a:cubicBezTo>
                  <a:pt x="1549" y="779"/>
                  <a:pt x="1545" y="786"/>
                  <a:pt x="1542" y="793"/>
                </a:cubicBezTo>
                <a:cubicBezTo>
                  <a:pt x="1538" y="804"/>
                  <a:pt x="1534" y="814"/>
                  <a:pt x="1529" y="825"/>
                </a:cubicBezTo>
                <a:cubicBezTo>
                  <a:pt x="1525" y="835"/>
                  <a:pt x="1520" y="845"/>
                  <a:pt x="1515" y="856"/>
                </a:cubicBezTo>
                <a:cubicBezTo>
                  <a:pt x="1514" y="858"/>
                  <a:pt x="1514" y="860"/>
                  <a:pt x="1516" y="862"/>
                </a:cubicBezTo>
                <a:cubicBezTo>
                  <a:pt x="1524" y="869"/>
                  <a:pt x="1531" y="876"/>
                  <a:pt x="1535" y="887"/>
                </a:cubicBezTo>
                <a:cubicBezTo>
                  <a:pt x="1538" y="894"/>
                  <a:pt x="1539" y="902"/>
                  <a:pt x="1538" y="909"/>
                </a:cubicBezTo>
                <a:cubicBezTo>
                  <a:pt x="1537" y="915"/>
                  <a:pt x="1534" y="919"/>
                  <a:pt x="1530" y="923"/>
                </a:cubicBezTo>
                <a:cubicBezTo>
                  <a:pt x="1528" y="924"/>
                  <a:pt x="1525" y="926"/>
                  <a:pt x="1523" y="928"/>
                </a:cubicBezTo>
                <a:cubicBezTo>
                  <a:pt x="1521" y="930"/>
                  <a:pt x="1521" y="931"/>
                  <a:pt x="1522" y="934"/>
                </a:cubicBezTo>
                <a:cubicBezTo>
                  <a:pt x="1529" y="946"/>
                  <a:pt x="1536" y="958"/>
                  <a:pt x="1543" y="970"/>
                </a:cubicBezTo>
                <a:cubicBezTo>
                  <a:pt x="1549" y="980"/>
                  <a:pt x="1553" y="990"/>
                  <a:pt x="1559" y="1000"/>
                </a:cubicBezTo>
                <a:cubicBezTo>
                  <a:pt x="1563" y="1009"/>
                  <a:pt x="1568" y="1017"/>
                  <a:pt x="1573" y="1026"/>
                </a:cubicBezTo>
                <a:cubicBezTo>
                  <a:pt x="1577" y="1035"/>
                  <a:pt x="1580" y="1043"/>
                  <a:pt x="1584" y="1052"/>
                </a:cubicBezTo>
                <a:cubicBezTo>
                  <a:pt x="1587" y="1059"/>
                  <a:pt x="1587" y="1059"/>
                  <a:pt x="1594" y="1056"/>
                </a:cubicBezTo>
                <a:cubicBezTo>
                  <a:pt x="1595" y="1056"/>
                  <a:pt x="1596" y="1056"/>
                  <a:pt x="1597" y="1056"/>
                </a:cubicBezTo>
                <a:cubicBezTo>
                  <a:pt x="1603" y="1053"/>
                  <a:pt x="1610" y="1052"/>
                  <a:pt x="1617" y="1054"/>
                </a:cubicBezTo>
                <a:cubicBezTo>
                  <a:pt x="1634" y="1058"/>
                  <a:pt x="1642" y="1078"/>
                  <a:pt x="1639" y="1094"/>
                </a:cubicBezTo>
                <a:cubicBezTo>
                  <a:pt x="1637" y="1102"/>
                  <a:pt x="1632" y="1109"/>
                  <a:pt x="1626" y="1116"/>
                </a:cubicBezTo>
                <a:cubicBezTo>
                  <a:pt x="1619" y="1123"/>
                  <a:pt x="1611" y="1126"/>
                  <a:pt x="1601" y="1126"/>
                </a:cubicBezTo>
                <a:cubicBezTo>
                  <a:pt x="1596" y="1125"/>
                  <a:pt x="1591" y="1124"/>
                  <a:pt x="1586" y="1124"/>
                </a:cubicBezTo>
                <a:cubicBezTo>
                  <a:pt x="1584" y="1123"/>
                  <a:pt x="1583" y="1123"/>
                  <a:pt x="1582" y="1122"/>
                </a:cubicBezTo>
                <a:cubicBezTo>
                  <a:pt x="1579" y="1120"/>
                  <a:pt x="1576" y="1117"/>
                  <a:pt x="1574" y="1115"/>
                </a:cubicBezTo>
                <a:cubicBezTo>
                  <a:pt x="1573" y="1114"/>
                  <a:pt x="1572" y="1114"/>
                  <a:pt x="1572" y="1113"/>
                </a:cubicBezTo>
                <a:cubicBezTo>
                  <a:pt x="1564" y="1098"/>
                  <a:pt x="1565" y="1085"/>
                  <a:pt x="1577" y="1072"/>
                </a:cubicBezTo>
                <a:cubicBezTo>
                  <a:pt x="1578" y="1070"/>
                  <a:pt x="1580" y="1069"/>
                  <a:pt x="1580" y="1068"/>
                </a:cubicBezTo>
                <a:cubicBezTo>
                  <a:pt x="1581" y="1066"/>
                  <a:pt x="1582" y="1064"/>
                  <a:pt x="1581" y="1062"/>
                </a:cubicBezTo>
                <a:cubicBezTo>
                  <a:pt x="1580" y="1059"/>
                  <a:pt x="1578" y="1055"/>
                  <a:pt x="1577" y="1052"/>
                </a:cubicBezTo>
                <a:cubicBezTo>
                  <a:pt x="1574" y="1046"/>
                  <a:pt x="1572" y="1040"/>
                  <a:pt x="1569" y="1035"/>
                </a:cubicBezTo>
                <a:cubicBezTo>
                  <a:pt x="1568" y="1032"/>
                  <a:pt x="1566" y="1030"/>
                  <a:pt x="1565" y="1028"/>
                </a:cubicBezTo>
                <a:cubicBezTo>
                  <a:pt x="1564" y="1028"/>
                  <a:pt x="1564" y="1027"/>
                  <a:pt x="1563" y="1026"/>
                </a:cubicBezTo>
                <a:cubicBezTo>
                  <a:pt x="1560" y="1020"/>
                  <a:pt x="1558" y="1013"/>
                  <a:pt x="1555" y="1007"/>
                </a:cubicBezTo>
                <a:cubicBezTo>
                  <a:pt x="1553" y="1001"/>
                  <a:pt x="1550" y="996"/>
                  <a:pt x="1547" y="990"/>
                </a:cubicBezTo>
                <a:cubicBezTo>
                  <a:pt x="1544" y="986"/>
                  <a:pt x="1541" y="981"/>
                  <a:pt x="1538" y="976"/>
                </a:cubicBezTo>
                <a:cubicBezTo>
                  <a:pt x="1535" y="971"/>
                  <a:pt x="1533" y="965"/>
                  <a:pt x="1530" y="959"/>
                </a:cubicBezTo>
                <a:cubicBezTo>
                  <a:pt x="1526" y="951"/>
                  <a:pt x="1521" y="944"/>
                  <a:pt x="1516" y="936"/>
                </a:cubicBezTo>
                <a:cubicBezTo>
                  <a:pt x="1515" y="935"/>
                  <a:pt x="1514" y="935"/>
                  <a:pt x="1512" y="935"/>
                </a:cubicBezTo>
                <a:cubicBezTo>
                  <a:pt x="1509" y="935"/>
                  <a:pt x="1505" y="936"/>
                  <a:pt x="1501" y="937"/>
                </a:cubicBezTo>
                <a:cubicBezTo>
                  <a:pt x="1500" y="937"/>
                  <a:pt x="1498" y="938"/>
                  <a:pt x="1498" y="937"/>
                </a:cubicBezTo>
                <a:cubicBezTo>
                  <a:pt x="1495" y="935"/>
                  <a:pt x="1491" y="936"/>
                  <a:pt x="1488" y="934"/>
                </a:cubicBezTo>
                <a:cubicBezTo>
                  <a:pt x="1479" y="932"/>
                  <a:pt x="1472" y="928"/>
                  <a:pt x="1466" y="922"/>
                </a:cubicBezTo>
                <a:cubicBezTo>
                  <a:pt x="1459" y="916"/>
                  <a:pt x="1455" y="909"/>
                  <a:pt x="1456" y="899"/>
                </a:cubicBezTo>
                <a:cubicBezTo>
                  <a:pt x="1457" y="891"/>
                  <a:pt x="1459" y="884"/>
                  <a:pt x="1462" y="876"/>
                </a:cubicBezTo>
                <a:cubicBezTo>
                  <a:pt x="1466" y="868"/>
                  <a:pt x="1472" y="863"/>
                  <a:pt x="1480" y="860"/>
                </a:cubicBezTo>
                <a:cubicBezTo>
                  <a:pt x="1485" y="858"/>
                  <a:pt x="1490" y="856"/>
                  <a:pt x="1494" y="857"/>
                </a:cubicBezTo>
                <a:cubicBezTo>
                  <a:pt x="1502" y="857"/>
                  <a:pt x="1506" y="853"/>
                  <a:pt x="1509" y="846"/>
                </a:cubicBezTo>
                <a:cubicBezTo>
                  <a:pt x="1515" y="835"/>
                  <a:pt x="1523" y="825"/>
                  <a:pt x="1526" y="812"/>
                </a:cubicBezTo>
                <a:cubicBezTo>
                  <a:pt x="1526" y="811"/>
                  <a:pt x="1527" y="811"/>
                  <a:pt x="1527" y="810"/>
                </a:cubicBezTo>
                <a:cubicBezTo>
                  <a:pt x="1531" y="801"/>
                  <a:pt x="1536" y="791"/>
                  <a:pt x="1540" y="782"/>
                </a:cubicBezTo>
                <a:cubicBezTo>
                  <a:pt x="1544" y="772"/>
                  <a:pt x="1548" y="763"/>
                  <a:pt x="1552" y="753"/>
                </a:cubicBezTo>
                <a:cubicBezTo>
                  <a:pt x="1556" y="744"/>
                  <a:pt x="1561" y="735"/>
                  <a:pt x="1565" y="725"/>
                </a:cubicBezTo>
                <a:cubicBezTo>
                  <a:pt x="1567" y="721"/>
                  <a:pt x="1569" y="717"/>
                  <a:pt x="1571" y="712"/>
                </a:cubicBezTo>
                <a:cubicBezTo>
                  <a:pt x="1575" y="705"/>
                  <a:pt x="1578" y="698"/>
                  <a:pt x="1581" y="690"/>
                </a:cubicBezTo>
                <a:cubicBezTo>
                  <a:pt x="1582" y="689"/>
                  <a:pt x="1582" y="687"/>
                  <a:pt x="1581" y="685"/>
                </a:cubicBezTo>
                <a:cubicBezTo>
                  <a:pt x="1579" y="682"/>
                  <a:pt x="1576" y="679"/>
                  <a:pt x="1573" y="676"/>
                </a:cubicBezTo>
                <a:cubicBezTo>
                  <a:pt x="1572" y="674"/>
                  <a:pt x="1571" y="673"/>
                  <a:pt x="1570" y="672"/>
                </a:cubicBezTo>
                <a:cubicBezTo>
                  <a:pt x="1565" y="662"/>
                  <a:pt x="1561" y="652"/>
                  <a:pt x="1563" y="640"/>
                </a:cubicBezTo>
                <a:cubicBezTo>
                  <a:pt x="1565" y="630"/>
                  <a:pt x="1569" y="621"/>
                  <a:pt x="1577" y="614"/>
                </a:cubicBezTo>
                <a:cubicBezTo>
                  <a:pt x="1580" y="612"/>
                  <a:pt x="1582" y="610"/>
                  <a:pt x="1584" y="607"/>
                </a:cubicBezTo>
                <a:cubicBezTo>
                  <a:pt x="1585" y="607"/>
                  <a:pt x="1585" y="605"/>
                  <a:pt x="1585" y="604"/>
                </a:cubicBezTo>
                <a:cubicBezTo>
                  <a:pt x="1583" y="598"/>
                  <a:pt x="1580" y="592"/>
                  <a:pt x="1578" y="586"/>
                </a:cubicBezTo>
                <a:cubicBezTo>
                  <a:pt x="1577" y="583"/>
                  <a:pt x="1575" y="581"/>
                  <a:pt x="1573" y="578"/>
                </a:cubicBezTo>
                <a:cubicBezTo>
                  <a:pt x="1571" y="573"/>
                  <a:pt x="1570" y="568"/>
                  <a:pt x="1568" y="563"/>
                </a:cubicBezTo>
                <a:cubicBezTo>
                  <a:pt x="1564" y="556"/>
                  <a:pt x="1560" y="549"/>
                  <a:pt x="1556" y="542"/>
                </a:cubicBezTo>
                <a:cubicBezTo>
                  <a:pt x="1553" y="536"/>
                  <a:pt x="1550" y="529"/>
                  <a:pt x="1547" y="523"/>
                </a:cubicBezTo>
                <a:cubicBezTo>
                  <a:pt x="1544" y="517"/>
                  <a:pt x="1542" y="511"/>
                  <a:pt x="1539" y="505"/>
                </a:cubicBezTo>
                <a:cubicBezTo>
                  <a:pt x="1536" y="501"/>
                  <a:pt x="1533" y="497"/>
                  <a:pt x="1531" y="493"/>
                </a:cubicBezTo>
                <a:cubicBezTo>
                  <a:pt x="1528" y="487"/>
                  <a:pt x="1525" y="481"/>
                  <a:pt x="1523" y="475"/>
                </a:cubicBezTo>
                <a:cubicBezTo>
                  <a:pt x="1518" y="464"/>
                  <a:pt x="1514" y="452"/>
                  <a:pt x="1508" y="442"/>
                </a:cubicBezTo>
                <a:cubicBezTo>
                  <a:pt x="1506" y="439"/>
                  <a:pt x="1505" y="435"/>
                  <a:pt x="1504" y="432"/>
                </a:cubicBezTo>
                <a:cubicBezTo>
                  <a:pt x="1504" y="427"/>
                  <a:pt x="1500" y="423"/>
                  <a:pt x="1497" y="420"/>
                </a:cubicBezTo>
                <a:cubicBezTo>
                  <a:pt x="1496" y="419"/>
                  <a:pt x="1495" y="419"/>
                  <a:pt x="1494" y="419"/>
                </a:cubicBezTo>
                <a:cubicBezTo>
                  <a:pt x="1489" y="418"/>
                  <a:pt x="1485" y="419"/>
                  <a:pt x="1481" y="418"/>
                </a:cubicBezTo>
                <a:cubicBezTo>
                  <a:pt x="1474" y="416"/>
                  <a:pt x="1467" y="414"/>
                  <a:pt x="1460" y="411"/>
                </a:cubicBezTo>
                <a:cubicBezTo>
                  <a:pt x="1458" y="411"/>
                  <a:pt x="1457" y="409"/>
                  <a:pt x="1456" y="408"/>
                </a:cubicBezTo>
                <a:cubicBezTo>
                  <a:pt x="1455" y="407"/>
                  <a:pt x="1453" y="405"/>
                  <a:pt x="1453" y="405"/>
                </a:cubicBezTo>
                <a:cubicBezTo>
                  <a:pt x="1449" y="407"/>
                  <a:pt x="1448" y="404"/>
                  <a:pt x="1447" y="402"/>
                </a:cubicBezTo>
                <a:cubicBezTo>
                  <a:pt x="1445" y="400"/>
                  <a:pt x="1443" y="399"/>
                  <a:pt x="1442" y="397"/>
                </a:cubicBezTo>
                <a:cubicBezTo>
                  <a:pt x="1440" y="396"/>
                  <a:pt x="1441" y="392"/>
                  <a:pt x="1437" y="395"/>
                </a:cubicBezTo>
                <a:cubicBezTo>
                  <a:pt x="1437" y="394"/>
                  <a:pt x="1437" y="394"/>
                  <a:pt x="1437" y="394"/>
                </a:cubicBezTo>
                <a:cubicBezTo>
                  <a:pt x="1436" y="390"/>
                  <a:pt x="1432" y="390"/>
                  <a:pt x="1429" y="391"/>
                </a:cubicBezTo>
                <a:cubicBezTo>
                  <a:pt x="1423" y="393"/>
                  <a:pt x="1417" y="396"/>
                  <a:pt x="1411" y="398"/>
                </a:cubicBezTo>
                <a:cubicBezTo>
                  <a:pt x="1410" y="399"/>
                  <a:pt x="1408" y="401"/>
                  <a:pt x="1408" y="402"/>
                </a:cubicBezTo>
                <a:cubicBezTo>
                  <a:pt x="1408" y="409"/>
                  <a:pt x="1410" y="416"/>
                  <a:pt x="1408" y="423"/>
                </a:cubicBezTo>
                <a:cubicBezTo>
                  <a:pt x="1407" y="424"/>
                  <a:pt x="1408" y="425"/>
                  <a:pt x="1408" y="426"/>
                </a:cubicBezTo>
                <a:cubicBezTo>
                  <a:pt x="1408" y="427"/>
                  <a:pt x="1409" y="429"/>
                  <a:pt x="1409" y="430"/>
                </a:cubicBezTo>
                <a:cubicBezTo>
                  <a:pt x="1408" y="433"/>
                  <a:pt x="1408" y="435"/>
                  <a:pt x="1410" y="437"/>
                </a:cubicBezTo>
                <a:cubicBezTo>
                  <a:pt x="1411" y="437"/>
                  <a:pt x="1411" y="439"/>
                  <a:pt x="1411" y="440"/>
                </a:cubicBezTo>
                <a:cubicBezTo>
                  <a:pt x="1408" y="443"/>
                  <a:pt x="1409" y="445"/>
                  <a:pt x="1411" y="447"/>
                </a:cubicBezTo>
                <a:cubicBezTo>
                  <a:pt x="1412" y="447"/>
                  <a:pt x="1412" y="449"/>
                  <a:pt x="1412" y="450"/>
                </a:cubicBezTo>
                <a:cubicBezTo>
                  <a:pt x="1412" y="450"/>
                  <a:pt x="1412" y="451"/>
                  <a:pt x="1412" y="452"/>
                </a:cubicBezTo>
                <a:cubicBezTo>
                  <a:pt x="1411" y="452"/>
                  <a:pt x="1410" y="451"/>
                  <a:pt x="1410" y="451"/>
                </a:cubicBezTo>
                <a:cubicBezTo>
                  <a:pt x="1409" y="451"/>
                  <a:pt x="1408" y="450"/>
                  <a:pt x="1408" y="450"/>
                </a:cubicBezTo>
                <a:cubicBezTo>
                  <a:pt x="1408" y="451"/>
                  <a:pt x="1407" y="452"/>
                  <a:pt x="1408" y="453"/>
                </a:cubicBezTo>
                <a:cubicBezTo>
                  <a:pt x="1408" y="454"/>
                  <a:pt x="1409" y="455"/>
                  <a:pt x="1409" y="456"/>
                </a:cubicBezTo>
                <a:cubicBezTo>
                  <a:pt x="1405" y="458"/>
                  <a:pt x="1409" y="459"/>
                  <a:pt x="1410" y="461"/>
                </a:cubicBezTo>
                <a:cubicBezTo>
                  <a:pt x="1410" y="461"/>
                  <a:pt x="1410" y="462"/>
                  <a:pt x="1410" y="463"/>
                </a:cubicBezTo>
                <a:cubicBezTo>
                  <a:pt x="1410" y="465"/>
                  <a:pt x="1409" y="467"/>
                  <a:pt x="1410" y="468"/>
                </a:cubicBezTo>
                <a:cubicBezTo>
                  <a:pt x="1412" y="471"/>
                  <a:pt x="1412" y="474"/>
                  <a:pt x="1411" y="477"/>
                </a:cubicBezTo>
                <a:cubicBezTo>
                  <a:pt x="1410" y="478"/>
                  <a:pt x="1411" y="480"/>
                  <a:pt x="1410" y="481"/>
                </a:cubicBezTo>
                <a:cubicBezTo>
                  <a:pt x="1410" y="484"/>
                  <a:pt x="1409" y="486"/>
                  <a:pt x="1409" y="488"/>
                </a:cubicBezTo>
                <a:cubicBezTo>
                  <a:pt x="1409" y="490"/>
                  <a:pt x="1406" y="493"/>
                  <a:pt x="1409" y="495"/>
                </a:cubicBezTo>
                <a:cubicBezTo>
                  <a:pt x="1411" y="497"/>
                  <a:pt x="1412" y="498"/>
                  <a:pt x="1408" y="499"/>
                </a:cubicBezTo>
                <a:cubicBezTo>
                  <a:pt x="1408" y="499"/>
                  <a:pt x="1407" y="500"/>
                  <a:pt x="1407" y="500"/>
                </a:cubicBezTo>
                <a:cubicBezTo>
                  <a:pt x="1411" y="502"/>
                  <a:pt x="1406" y="506"/>
                  <a:pt x="1410" y="508"/>
                </a:cubicBezTo>
                <a:cubicBezTo>
                  <a:pt x="1410" y="508"/>
                  <a:pt x="1410" y="509"/>
                  <a:pt x="1410" y="510"/>
                </a:cubicBezTo>
                <a:cubicBezTo>
                  <a:pt x="1410" y="511"/>
                  <a:pt x="1410" y="513"/>
                  <a:pt x="1410" y="515"/>
                </a:cubicBezTo>
                <a:cubicBezTo>
                  <a:pt x="1412" y="517"/>
                  <a:pt x="1411" y="518"/>
                  <a:pt x="1411" y="520"/>
                </a:cubicBezTo>
                <a:cubicBezTo>
                  <a:pt x="1409" y="525"/>
                  <a:pt x="1409" y="527"/>
                  <a:pt x="1411" y="532"/>
                </a:cubicBezTo>
                <a:cubicBezTo>
                  <a:pt x="1411" y="532"/>
                  <a:pt x="1411" y="534"/>
                  <a:pt x="1410" y="534"/>
                </a:cubicBezTo>
                <a:cubicBezTo>
                  <a:pt x="1409" y="535"/>
                  <a:pt x="1408" y="536"/>
                  <a:pt x="1410" y="537"/>
                </a:cubicBezTo>
                <a:cubicBezTo>
                  <a:pt x="1411" y="537"/>
                  <a:pt x="1411" y="538"/>
                  <a:pt x="1410" y="539"/>
                </a:cubicBezTo>
                <a:cubicBezTo>
                  <a:pt x="1410" y="542"/>
                  <a:pt x="1409" y="545"/>
                  <a:pt x="1409" y="548"/>
                </a:cubicBezTo>
                <a:cubicBezTo>
                  <a:pt x="1409" y="550"/>
                  <a:pt x="1409" y="553"/>
                  <a:pt x="1409" y="555"/>
                </a:cubicBezTo>
                <a:cubicBezTo>
                  <a:pt x="1409" y="559"/>
                  <a:pt x="1409" y="564"/>
                  <a:pt x="1409" y="568"/>
                </a:cubicBezTo>
                <a:cubicBezTo>
                  <a:pt x="1409" y="569"/>
                  <a:pt x="1409" y="569"/>
                  <a:pt x="1409" y="570"/>
                </a:cubicBezTo>
                <a:cubicBezTo>
                  <a:pt x="1410" y="575"/>
                  <a:pt x="1412" y="580"/>
                  <a:pt x="1411" y="586"/>
                </a:cubicBezTo>
                <a:cubicBezTo>
                  <a:pt x="1411" y="588"/>
                  <a:pt x="1411" y="589"/>
                  <a:pt x="1411" y="591"/>
                </a:cubicBezTo>
                <a:cubicBezTo>
                  <a:pt x="1411" y="595"/>
                  <a:pt x="1411" y="599"/>
                  <a:pt x="1411" y="603"/>
                </a:cubicBezTo>
                <a:cubicBezTo>
                  <a:pt x="1411" y="605"/>
                  <a:pt x="1410" y="606"/>
                  <a:pt x="1411" y="608"/>
                </a:cubicBezTo>
                <a:cubicBezTo>
                  <a:pt x="1411" y="612"/>
                  <a:pt x="1413" y="617"/>
                  <a:pt x="1412" y="621"/>
                </a:cubicBezTo>
                <a:cubicBezTo>
                  <a:pt x="1408" y="630"/>
                  <a:pt x="1410" y="639"/>
                  <a:pt x="1411" y="647"/>
                </a:cubicBezTo>
                <a:cubicBezTo>
                  <a:pt x="1411" y="653"/>
                  <a:pt x="1414" y="658"/>
                  <a:pt x="1413" y="663"/>
                </a:cubicBezTo>
                <a:cubicBezTo>
                  <a:pt x="1411" y="671"/>
                  <a:pt x="1413" y="679"/>
                  <a:pt x="1412" y="687"/>
                </a:cubicBezTo>
                <a:cubicBezTo>
                  <a:pt x="1412" y="692"/>
                  <a:pt x="1413" y="697"/>
                  <a:pt x="1413" y="702"/>
                </a:cubicBezTo>
                <a:cubicBezTo>
                  <a:pt x="1413" y="704"/>
                  <a:pt x="1414" y="705"/>
                  <a:pt x="1413" y="707"/>
                </a:cubicBezTo>
                <a:cubicBezTo>
                  <a:pt x="1412" y="711"/>
                  <a:pt x="1413" y="716"/>
                  <a:pt x="1414" y="720"/>
                </a:cubicBezTo>
                <a:cubicBezTo>
                  <a:pt x="1415" y="721"/>
                  <a:pt x="1415" y="722"/>
                  <a:pt x="1415" y="724"/>
                </a:cubicBezTo>
                <a:cubicBezTo>
                  <a:pt x="1414" y="726"/>
                  <a:pt x="1413" y="729"/>
                  <a:pt x="1412" y="732"/>
                </a:cubicBezTo>
                <a:cubicBezTo>
                  <a:pt x="1412" y="732"/>
                  <a:pt x="1412" y="733"/>
                  <a:pt x="1412" y="734"/>
                </a:cubicBezTo>
                <a:cubicBezTo>
                  <a:pt x="1416" y="738"/>
                  <a:pt x="1414" y="742"/>
                  <a:pt x="1414" y="747"/>
                </a:cubicBezTo>
                <a:cubicBezTo>
                  <a:pt x="1414" y="752"/>
                  <a:pt x="1413" y="758"/>
                  <a:pt x="1415" y="764"/>
                </a:cubicBezTo>
                <a:cubicBezTo>
                  <a:pt x="1416" y="765"/>
                  <a:pt x="1416" y="767"/>
                  <a:pt x="1416" y="767"/>
                </a:cubicBezTo>
                <a:cubicBezTo>
                  <a:pt x="1413" y="768"/>
                  <a:pt x="1415" y="770"/>
                  <a:pt x="1414" y="772"/>
                </a:cubicBezTo>
                <a:cubicBezTo>
                  <a:pt x="1414" y="776"/>
                  <a:pt x="1415" y="780"/>
                  <a:pt x="1414" y="784"/>
                </a:cubicBezTo>
                <a:cubicBezTo>
                  <a:pt x="1414" y="788"/>
                  <a:pt x="1414" y="792"/>
                  <a:pt x="1416" y="796"/>
                </a:cubicBezTo>
                <a:cubicBezTo>
                  <a:pt x="1416" y="796"/>
                  <a:pt x="1416" y="798"/>
                  <a:pt x="1416" y="799"/>
                </a:cubicBezTo>
                <a:cubicBezTo>
                  <a:pt x="1415" y="801"/>
                  <a:pt x="1414" y="804"/>
                  <a:pt x="1413" y="806"/>
                </a:cubicBezTo>
                <a:cubicBezTo>
                  <a:pt x="1412" y="809"/>
                  <a:pt x="1414" y="812"/>
                  <a:pt x="1416" y="812"/>
                </a:cubicBezTo>
                <a:cubicBezTo>
                  <a:pt x="1417" y="812"/>
                  <a:pt x="1417" y="812"/>
                  <a:pt x="1418" y="811"/>
                </a:cubicBezTo>
                <a:cubicBezTo>
                  <a:pt x="1418" y="812"/>
                  <a:pt x="1418" y="813"/>
                  <a:pt x="1418" y="813"/>
                </a:cubicBezTo>
                <a:cubicBezTo>
                  <a:pt x="1412" y="816"/>
                  <a:pt x="1414" y="821"/>
                  <a:pt x="1414" y="825"/>
                </a:cubicBezTo>
                <a:cubicBezTo>
                  <a:pt x="1413" y="836"/>
                  <a:pt x="1416" y="847"/>
                  <a:pt x="1415" y="859"/>
                </a:cubicBezTo>
                <a:cubicBezTo>
                  <a:pt x="1414" y="861"/>
                  <a:pt x="1416" y="863"/>
                  <a:pt x="1416" y="864"/>
                </a:cubicBezTo>
                <a:cubicBezTo>
                  <a:pt x="1416" y="867"/>
                  <a:pt x="1416" y="870"/>
                  <a:pt x="1416" y="873"/>
                </a:cubicBezTo>
                <a:cubicBezTo>
                  <a:pt x="1416" y="873"/>
                  <a:pt x="1416" y="874"/>
                  <a:pt x="1416" y="875"/>
                </a:cubicBezTo>
                <a:cubicBezTo>
                  <a:pt x="1413" y="875"/>
                  <a:pt x="1413" y="877"/>
                  <a:pt x="1414" y="878"/>
                </a:cubicBezTo>
                <a:cubicBezTo>
                  <a:pt x="1418" y="889"/>
                  <a:pt x="1415" y="901"/>
                  <a:pt x="1415" y="913"/>
                </a:cubicBezTo>
                <a:cubicBezTo>
                  <a:pt x="1415" y="918"/>
                  <a:pt x="1414" y="923"/>
                  <a:pt x="1415" y="928"/>
                </a:cubicBezTo>
                <a:cubicBezTo>
                  <a:pt x="1417" y="938"/>
                  <a:pt x="1415" y="948"/>
                  <a:pt x="1417" y="958"/>
                </a:cubicBezTo>
                <a:cubicBezTo>
                  <a:pt x="1418" y="963"/>
                  <a:pt x="1417" y="969"/>
                  <a:pt x="1417" y="974"/>
                </a:cubicBezTo>
                <a:cubicBezTo>
                  <a:pt x="1417" y="984"/>
                  <a:pt x="1417" y="994"/>
                  <a:pt x="1417" y="1003"/>
                </a:cubicBezTo>
                <a:cubicBezTo>
                  <a:pt x="1417" y="1014"/>
                  <a:pt x="1418" y="1025"/>
                  <a:pt x="1419" y="1035"/>
                </a:cubicBezTo>
                <a:cubicBezTo>
                  <a:pt x="1419" y="1043"/>
                  <a:pt x="1419" y="1052"/>
                  <a:pt x="1419" y="1060"/>
                </a:cubicBezTo>
                <a:cubicBezTo>
                  <a:pt x="1419" y="1063"/>
                  <a:pt x="1419" y="1067"/>
                  <a:pt x="1418" y="1070"/>
                </a:cubicBezTo>
                <a:cubicBezTo>
                  <a:pt x="1416" y="1074"/>
                  <a:pt x="1420" y="1077"/>
                  <a:pt x="1420" y="1081"/>
                </a:cubicBezTo>
                <a:cubicBezTo>
                  <a:pt x="1420" y="1082"/>
                  <a:pt x="1420" y="1083"/>
                  <a:pt x="1420" y="1085"/>
                </a:cubicBezTo>
                <a:cubicBezTo>
                  <a:pt x="1420" y="1087"/>
                  <a:pt x="1421" y="1090"/>
                  <a:pt x="1421" y="1092"/>
                </a:cubicBezTo>
                <a:cubicBezTo>
                  <a:pt x="1421" y="1093"/>
                  <a:pt x="1420" y="1094"/>
                  <a:pt x="1420" y="1095"/>
                </a:cubicBezTo>
                <a:cubicBezTo>
                  <a:pt x="1418" y="1099"/>
                  <a:pt x="1419" y="1101"/>
                  <a:pt x="1423" y="1102"/>
                </a:cubicBezTo>
                <a:cubicBezTo>
                  <a:pt x="1429" y="1104"/>
                  <a:pt x="1432" y="1106"/>
                  <a:pt x="1435" y="1111"/>
                </a:cubicBezTo>
                <a:cubicBezTo>
                  <a:pt x="1435" y="1112"/>
                  <a:pt x="1436" y="1113"/>
                  <a:pt x="1437" y="1113"/>
                </a:cubicBezTo>
                <a:cubicBezTo>
                  <a:pt x="1440" y="1115"/>
                  <a:pt x="1443" y="1117"/>
                  <a:pt x="1445" y="1121"/>
                </a:cubicBezTo>
                <a:cubicBezTo>
                  <a:pt x="1445" y="1121"/>
                  <a:pt x="1446" y="1121"/>
                  <a:pt x="1447" y="1121"/>
                </a:cubicBezTo>
                <a:cubicBezTo>
                  <a:pt x="1450" y="1122"/>
                  <a:pt x="1450" y="1122"/>
                  <a:pt x="1451" y="1123"/>
                </a:cubicBezTo>
                <a:cubicBezTo>
                  <a:pt x="1453" y="1124"/>
                  <a:pt x="1455" y="1125"/>
                  <a:pt x="1457" y="1126"/>
                </a:cubicBezTo>
                <a:cubicBezTo>
                  <a:pt x="1460" y="1128"/>
                  <a:pt x="1462" y="1130"/>
                  <a:pt x="1464" y="1131"/>
                </a:cubicBezTo>
                <a:cubicBezTo>
                  <a:pt x="1466" y="1133"/>
                  <a:pt x="1468" y="1134"/>
                  <a:pt x="1470" y="1135"/>
                </a:cubicBezTo>
                <a:cubicBezTo>
                  <a:pt x="1472" y="1136"/>
                  <a:pt x="1474" y="1136"/>
                  <a:pt x="1476" y="1137"/>
                </a:cubicBezTo>
                <a:cubicBezTo>
                  <a:pt x="1480" y="1140"/>
                  <a:pt x="1485" y="1144"/>
                  <a:pt x="1489" y="1147"/>
                </a:cubicBezTo>
                <a:cubicBezTo>
                  <a:pt x="1498" y="1154"/>
                  <a:pt x="1506" y="1161"/>
                  <a:pt x="1516" y="1166"/>
                </a:cubicBezTo>
                <a:cubicBezTo>
                  <a:pt x="1519" y="1167"/>
                  <a:pt x="1521" y="1168"/>
                  <a:pt x="1523" y="1170"/>
                </a:cubicBezTo>
                <a:cubicBezTo>
                  <a:pt x="1529" y="1174"/>
                  <a:pt x="1535" y="1179"/>
                  <a:pt x="1541" y="1184"/>
                </a:cubicBezTo>
                <a:cubicBezTo>
                  <a:pt x="1545" y="1187"/>
                  <a:pt x="1548" y="1190"/>
                  <a:pt x="1553" y="1192"/>
                </a:cubicBezTo>
                <a:cubicBezTo>
                  <a:pt x="1558" y="1196"/>
                  <a:pt x="1566" y="1197"/>
                  <a:pt x="1571" y="1202"/>
                </a:cubicBezTo>
                <a:cubicBezTo>
                  <a:pt x="1572" y="1204"/>
                  <a:pt x="1574" y="1206"/>
                  <a:pt x="1577" y="1207"/>
                </a:cubicBezTo>
                <a:cubicBezTo>
                  <a:pt x="1582" y="1211"/>
                  <a:pt x="1588" y="1214"/>
                  <a:pt x="1593" y="1218"/>
                </a:cubicBezTo>
                <a:cubicBezTo>
                  <a:pt x="1594" y="1219"/>
                  <a:pt x="1595" y="1221"/>
                  <a:pt x="1596" y="1220"/>
                </a:cubicBezTo>
                <a:cubicBezTo>
                  <a:pt x="1601" y="1219"/>
                  <a:pt x="1601" y="1223"/>
                  <a:pt x="1603" y="1226"/>
                </a:cubicBezTo>
                <a:cubicBezTo>
                  <a:pt x="1604" y="1227"/>
                  <a:pt x="1604" y="1228"/>
                  <a:pt x="1605" y="1229"/>
                </a:cubicBezTo>
                <a:cubicBezTo>
                  <a:pt x="1611" y="1230"/>
                  <a:pt x="1615" y="1234"/>
                  <a:pt x="1620" y="1237"/>
                </a:cubicBezTo>
                <a:cubicBezTo>
                  <a:pt x="1624" y="1239"/>
                  <a:pt x="1628" y="1242"/>
                  <a:pt x="1632" y="1244"/>
                </a:cubicBezTo>
                <a:cubicBezTo>
                  <a:pt x="1641" y="1250"/>
                  <a:pt x="1649" y="1256"/>
                  <a:pt x="1658" y="1262"/>
                </a:cubicBezTo>
                <a:cubicBezTo>
                  <a:pt x="1662" y="1265"/>
                  <a:pt x="1667" y="1268"/>
                  <a:pt x="1671" y="1270"/>
                </a:cubicBezTo>
                <a:cubicBezTo>
                  <a:pt x="1675" y="1273"/>
                  <a:pt x="1680" y="1277"/>
                  <a:pt x="1684" y="1280"/>
                </a:cubicBezTo>
                <a:cubicBezTo>
                  <a:pt x="1688" y="1282"/>
                  <a:pt x="1692" y="1286"/>
                  <a:pt x="1697" y="1288"/>
                </a:cubicBezTo>
                <a:cubicBezTo>
                  <a:pt x="1698" y="1288"/>
                  <a:pt x="1699" y="1289"/>
                  <a:pt x="1700" y="1289"/>
                </a:cubicBezTo>
                <a:cubicBezTo>
                  <a:pt x="1708" y="1294"/>
                  <a:pt x="1714" y="1302"/>
                  <a:pt x="1724" y="1305"/>
                </a:cubicBezTo>
                <a:cubicBezTo>
                  <a:pt x="1724" y="1305"/>
                  <a:pt x="1725" y="1306"/>
                  <a:pt x="1726" y="1306"/>
                </a:cubicBezTo>
                <a:cubicBezTo>
                  <a:pt x="1732" y="1311"/>
                  <a:pt x="1739" y="1315"/>
                  <a:pt x="1745" y="1320"/>
                </a:cubicBezTo>
                <a:cubicBezTo>
                  <a:pt x="1747" y="1321"/>
                  <a:pt x="1748" y="1323"/>
                  <a:pt x="1750" y="1325"/>
                </a:cubicBezTo>
                <a:cubicBezTo>
                  <a:pt x="1757" y="1329"/>
                  <a:pt x="1765" y="1333"/>
                  <a:pt x="1772" y="1338"/>
                </a:cubicBezTo>
                <a:cubicBezTo>
                  <a:pt x="1775" y="1340"/>
                  <a:pt x="1777" y="1343"/>
                  <a:pt x="1781" y="1344"/>
                </a:cubicBezTo>
                <a:cubicBezTo>
                  <a:pt x="1788" y="1346"/>
                  <a:pt x="1793" y="1351"/>
                  <a:pt x="1798" y="1355"/>
                </a:cubicBezTo>
                <a:cubicBezTo>
                  <a:pt x="1807" y="1360"/>
                  <a:pt x="1815" y="1366"/>
                  <a:pt x="1824" y="1371"/>
                </a:cubicBezTo>
                <a:cubicBezTo>
                  <a:pt x="1832" y="1377"/>
                  <a:pt x="1841" y="1381"/>
                  <a:pt x="1847" y="1389"/>
                </a:cubicBezTo>
                <a:cubicBezTo>
                  <a:pt x="1848" y="1390"/>
                  <a:pt x="1849" y="1391"/>
                  <a:pt x="1850" y="1391"/>
                </a:cubicBezTo>
                <a:cubicBezTo>
                  <a:pt x="1855" y="1390"/>
                  <a:pt x="1858" y="1395"/>
                  <a:pt x="1862" y="1396"/>
                </a:cubicBezTo>
                <a:cubicBezTo>
                  <a:pt x="1864" y="1397"/>
                  <a:pt x="1866" y="1399"/>
                  <a:pt x="1868" y="1402"/>
                </a:cubicBezTo>
                <a:cubicBezTo>
                  <a:pt x="1869" y="1404"/>
                  <a:pt x="1871" y="1405"/>
                  <a:pt x="1874" y="1405"/>
                </a:cubicBezTo>
                <a:cubicBezTo>
                  <a:pt x="1880" y="1411"/>
                  <a:pt x="1889" y="1413"/>
                  <a:pt x="1894" y="1420"/>
                </a:cubicBezTo>
                <a:cubicBezTo>
                  <a:pt x="1895" y="1421"/>
                  <a:pt x="1896" y="1422"/>
                  <a:pt x="1897" y="1422"/>
                </a:cubicBezTo>
                <a:cubicBezTo>
                  <a:pt x="1901" y="1425"/>
                  <a:pt x="1907" y="1426"/>
                  <a:pt x="1910" y="1430"/>
                </a:cubicBezTo>
                <a:cubicBezTo>
                  <a:pt x="1911" y="1430"/>
                  <a:pt x="1914" y="1430"/>
                  <a:pt x="1914" y="1429"/>
                </a:cubicBezTo>
                <a:cubicBezTo>
                  <a:pt x="1915" y="1427"/>
                  <a:pt x="1915" y="1425"/>
                  <a:pt x="1915" y="1423"/>
                </a:cubicBezTo>
                <a:cubicBezTo>
                  <a:pt x="1913" y="1416"/>
                  <a:pt x="1916" y="1410"/>
                  <a:pt x="1916" y="1403"/>
                </a:cubicBezTo>
                <a:cubicBezTo>
                  <a:pt x="1916" y="1402"/>
                  <a:pt x="1917" y="1401"/>
                  <a:pt x="1916" y="1400"/>
                </a:cubicBezTo>
                <a:cubicBezTo>
                  <a:pt x="1916" y="1398"/>
                  <a:pt x="1915" y="1395"/>
                  <a:pt x="1914" y="1393"/>
                </a:cubicBezTo>
                <a:cubicBezTo>
                  <a:pt x="1914" y="1393"/>
                  <a:pt x="1915" y="1392"/>
                  <a:pt x="1915" y="1392"/>
                </a:cubicBezTo>
                <a:cubicBezTo>
                  <a:pt x="1919" y="1392"/>
                  <a:pt x="1918" y="1389"/>
                  <a:pt x="1918" y="1386"/>
                </a:cubicBezTo>
                <a:cubicBezTo>
                  <a:pt x="1917" y="1380"/>
                  <a:pt x="1916" y="1373"/>
                  <a:pt x="1916" y="1367"/>
                </a:cubicBezTo>
                <a:cubicBezTo>
                  <a:pt x="1916" y="1363"/>
                  <a:pt x="1915" y="1361"/>
                  <a:pt x="1914" y="1358"/>
                </a:cubicBezTo>
                <a:cubicBezTo>
                  <a:pt x="1914" y="1355"/>
                  <a:pt x="1912" y="1352"/>
                  <a:pt x="1914" y="1349"/>
                </a:cubicBezTo>
                <a:cubicBezTo>
                  <a:pt x="1916" y="1347"/>
                  <a:pt x="1917" y="1342"/>
                  <a:pt x="1915" y="1341"/>
                </a:cubicBezTo>
                <a:cubicBezTo>
                  <a:pt x="1912" y="1336"/>
                  <a:pt x="1915" y="1332"/>
                  <a:pt x="1914" y="1328"/>
                </a:cubicBezTo>
                <a:cubicBezTo>
                  <a:pt x="1914" y="1325"/>
                  <a:pt x="1917" y="1321"/>
                  <a:pt x="1916" y="1319"/>
                </a:cubicBezTo>
                <a:cubicBezTo>
                  <a:pt x="1915" y="1314"/>
                  <a:pt x="1916" y="1311"/>
                  <a:pt x="1916" y="1307"/>
                </a:cubicBezTo>
                <a:cubicBezTo>
                  <a:pt x="1916" y="1304"/>
                  <a:pt x="1913" y="1302"/>
                  <a:pt x="1915" y="1298"/>
                </a:cubicBezTo>
                <a:cubicBezTo>
                  <a:pt x="1912" y="1297"/>
                  <a:pt x="1913" y="1295"/>
                  <a:pt x="1914" y="1293"/>
                </a:cubicBezTo>
                <a:cubicBezTo>
                  <a:pt x="1914" y="1293"/>
                  <a:pt x="1914" y="1292"/>
                  <a:pt x="1913" y="1291"/>
                </a:cubicBezTo>
                <a:cubicBezTo>
                  <a:pt x="1911" y="1288"/>
                  <a:pt x="1911" y="1284"/>
                  <a:pt x="1914" y="1280"/>
                </a:cubicBezTo>
                <a:cubicBezTo>
                  <a:pt x="1914" y="1280"/>
                  <a:pt x="1913" y="1279"/>
                  <a:pt x="1913" y="1278"/>
                </a:cubicBezTo>
                <a:cubicBezTo>
                  <a:pt x="1913" y="1278"/>
                  <a:pt x="1912" y="1277"/>
                  <a:pt x="1912" y="1276"/>
                </a:cubicBezTo>
                <a:cubicBezTo>
                  <a:pt x="1912" y="1268"/>
                  <a:pt x="1912" y="1260"/>
                  <a:pt x="1912" y="1252"/>
                </a:cubicBezTo>
                <a:cubicBezTo>
                  <a:pt x="1912" y="1250"/>
                  <a:pt x="1913" y="1247"/>
                  <a:pt x="1913" y="1245"/>
                </a:cubicBezTo>
                <a:cubicBezTo>
                  <a:pt x="1912" y="1240"/>
                  <a:pt x="1912" y="1235"/>
                  <a:pt x="1911" y="1230"/>
                </a:cubicBezTo>
                <a:cubicBezTo>
                  <a:pt x="1911" y="1226"/>
                  <a:pt x="1912" y="1221"/>
                  <a:pt x="1911" y="1217"/>
                </a:cubicBezTo>
                <a:cubicBezTo>
                  <a:pt x="1909" y="1213"/>
                  <a:pt x="1910" y="1208"/>
                  <a:pt x="1911" y="1203"/>
                </a:cubicBezTo>
                <a:cubicBezTo>
                  <a:pt x="1911" y="1200"/>
                  <a:pt x="1910" y="1195"/>
                  <a:pt x="1915" y="1194"/>
                </a:cubicBezTo>
                <a:cubicBezTo>
                  <a:pt x="1915" y="1193"/>
                  <a:pt x="1915" y="1193"/>
                  <a:pt x="1914" y="1192"/>
                </a:cubicBezTo>
                <a:cubicBezTo>
                  <a:pt x="1913" y="1188"/>
                  <a:pt x="1910" y="1184"/>
                  <a:pt x="1912" y="1179"/>
                </a:cubicBezTo>
                <a:cubicBezTo>
                  <a:pt x="1912" y="1177"/>
                  <a:pt x="1912" y="1174"/>
                  <a:pt x="1914" y="1173"/>
                </a:cubicBezTo>
                <a:cubicBezTo>
                  <a:pt x="1912" y="1171"/>
                  <a:pt x="1918" y="1167"/>
                  <a:pt x="1912" y="1167"/>
                </a:cubicBezTo>
                <a:cubicBezTo>
                  <a:pt x="1912" y="1167"/>
                  <a:pt x="1911" y="1166"/>
                  <a:pt x="1911" y="1165"/>
                </a:cubicBezTo>
                <a:cubicBezTo>
                  <a:pt x="1911" y="1164"/>
                  <a:pt x="1913" y="1163"/>
                  <a:pt x="1912" y="1162"/>
                </a:cubicBezTo>
                <a:cubicBezTo>
                  <a:pt x="1910" y="1153"/>
                  <a:pt x="1912" y="1144"/>
                  <a:pt x="1913" y="1136"/>
                </a:cubicBezTo>
                <a:cubicBezTo>
                  <a:pt x="1913" y="1133"/>
                  <a:pt x="1914" y="1130"/>
                  <a:pt x="1912" y="1128"/>
                </a:cubicBezTo>
                <a:cubicBezTo>
                  <a:pt x="1911" y="1127"/>
                  <a:pt x="1911" y="1126"/>
                  <a:pt x="1912" y="1125"/>
                </a:cubicBezTo>
                <a:cubicBezTo>
                  <a:pt x="1914" y="1118"/>
                  <a:pt x="1913" y="1111"/>
                  <a:pt x="1914" y="1104"/>
                </a:cubicBezTo>
                <a:cubicBezTo>
                  <a:pt x="1914" y="1100"/>
                  <a:pt x="1913" y="1097"/>
                  <a:pt x="1914" y="1093"/>
                </a:cubicBezTo>
                <a:cubicBezTo>
                  <a:pt x="1915" y="1090"/>
                  <a:pt x="1914" y="1086"/>
                  <a:pt x="1912" y="1084"/>
                </a:cubicBezTo>
                <a:cubicBezTo>
                  <a:pt x="1909" y="1081"/>
                  <a:pt x="1910" y="1079"/>
                  <a:pt x="1912" y="1076"/>
                </a:cubicBezTo>
                <a:cubicBezTo>
                  <a:pt x="1912" y="1076"/>
                  <a:pt x="1911" y="1076"/>
                  <a:pt x="1910" y="1075"/>
                </a:cubicBezTo>
                <a:cubicBezTo>
                  <a:pt x="1909" y="1073"/>
                  <a:pt x="1908" y="1071"/>
                  <a:pt x="1910" y="1069"/>
                </a:cubicBezTo>
                <a:cubicBezTo>
                  <a:pt x="1912" y="1068"/>
                  <a:pt x="1911" y="1066"/>
                  <a:pt x="1911" y="1064"/>
                </a:cubicBezTo>
                <a:cubicBezTo>
                  <a:pt x="1911" y="1060"/>
                  <a:pt x="1911" y="1056"/>
                  <a:pt x="1911" y="1051"/>
                </a:cubicBezTo>
                <a:cubicBezTo>
                  <a:pt x="1911" y="1049"/>
                  <a:pt x="1912" y="1047"/>
                  <a:pt x="1912" y="1045"/>
                </a:cubicBezTo>
                <a:cubicBezTo>
                  <a:pt x="1912" y="1040"/>
                  <a:pt x="1911" y="1035"/>
                  <a:pt x="1911" y="1029"/>
                </a:cubicBezTo>
                <a:cubicBezTo>
                  <a:pt x="1911" y="1027"/>
                  <a:pt x="1913" y="1026"/>
                  <a:pt x="1912" y="1023"/>
                </a:cubicBezTo>
                <a:cubicBezTo>
                  <a:pt x="1911" y="1019"/>
                  <a:pt x="1913" y="1013"/>
                  <a:pt x="1912" y="1008"/>
                </a:cubicBezTo>
                <a:cubicBezTo>
                  <a:pt x="1911" y="1007"/>
                  <a:pt x="1912" y="1005"/>
                  <a:pt x="1912" y="1003"/>
                </a:cubicBezTo>
                <a:cubicBezTo>
                  <a:pt x="1912" y="1002"/>
                  <a:pt x="1913" y="1000"/>
                  <a:pt x="1913" y="1000"/>
                </a:cubicBezTo>
                <a:cubicBezTo>
                  <a:pt x="1910" y="996"/>
                  <a:pt x="1911" y="992"/>
                  <a:pt x="1911" y="987"/>
                </a:cubicBezTo>
                <a:cubicBezTo>
                  <a:pt x="1911" y="984"/>
                  <a:pt x="1912" y="980"/>
                  <a:pt x="1912" y="977"/>
                </a:cubicBezTo>
                <a:cubicBezTo>
                  <a:pt x="1912" y="975"/>
                  <a:pt x="1911" y="974"/>
                  <a:pt x="1911" y="972"/>
                </a:cubicBezTo>
                <a:cubicBezTo>
                  <a:pt x="1910" y="971"/>
                  <a:pt x="1909" y="970"/>
                  <a:pt x="1909" y="970"/>
                </a:cubicBezTo>
                <a:cubicBezTo>
                  <a:pt x="1911" y="967"/>
                  <a:pt x="1912" y="964"/>
                  <a:pt x="1908" y="962"/>
                </a:cubicBezTo>
                <a:cubicBezTo>
                  <a:pt x="1909" y="955"/>
                  <a:pt x="1904" y="949"/>
                  <a:pt x="1909" y="943"/>
                </a:cubicBezTo>
                <a:cubicBezTo>
                  <a:pt x="1909" y="942"/>
                  <a:pt x="1909" y="942"/>
                  <a:pt x="1909" y="942"/>
                </a:cubicBezTo>
                <a:cubicBezTo>
                  <a:pt x="1906" y="939"/>
                  <a:pt x="1909" y="935"/>
                  <a:pt x="1908" y="932"/>
                </a:cubicBezTo>
                <a:cubicBezTo>
                  <a:pt x="1908" y="930"/>
                  <a:pt x="1907" y="926"/>
                  <a:pt x="1908" y="924"/>
                </a:cubicBezTo>
                <a:cubicBezTo>
                  <a:pt x="1909" y="921"/>
                  <a:pt x="1908" y="921"/>
                  <a:pt x="1906" y="919"/>
                </a:cubicBezTo>
                <a:cubicBezTo>
                  <a:pt x="1903" y="917"/>
                  <a:pt x="1904" y="916"/>
                  <a:pt x="1906" y="915"/>
                </a:cubicBezTo>
                <a:cubicBezTo>
                  <a:pt x="1907" y="914"/>
                  <a:pt x="1908" y="913"/>
                  <a:pt x="1909" y="913"/>
                </a:cubicBezTo>
                <a:cubicBezTo>
                  <a:pt x="1908" y="912"/>
                  <a:pt x="1907" y="911"/>
                  <a:pt x="1906" y="910"/>
                </a:cubicBezTo>
                <a:cubicBezTo>
                  <a:pt x="1906" y="910"/>
                  <a:pt x="1905" y="909"/>
                  <a:pt x="1905" y="908"/>
                </a:cubicBezTo>
                <a:cubicBezTo>
                  <a:pt x="1907" y="906"/>
                  <a:pt x="1905" y="904"/>
                  <a:pt x="1905" y="901"/>
                </a:cubicBezTo>
                <a:cubicBezTo>
                  <a:pt x="1906" y="899"/>
                  <a:pt x="1902" y="896"/>
                  <a:pt x="1905" y="893"/>
                </a:cubicBezTo>
                <a:cubicBezTo>
                  <a:pt x="1906" y="892"/>
                  <a:pt x="1908" y="889"/>
                  <a:pt x="1905" y="887"/>
                </a:cubicBezTo>
                <a:cubicBezTo>
                  <a:pt x="1904" y="887"/>
                  <a:pt x="1904" y="885"/>
                  <a:pt x="1904" y="884"/>
                </a:cubicBezTo>
                <a:cubicBezTo>
                  <a:pt x="1906" y="882"/>
                  <a:pt x="1905" y="880"/>
                  <a:pt x="1904" y="878"/>
                </a:cubicBezTo>
                <a:cubicBezTo>
                  <a:pt x="1904" y="876"/>
                  <a:pt x="1904" y="873"/>
                  <a:pt x="1905" y="872"/>
                </a:cubicBezTo>
                <a:cubicBezTo>
                  <a:pt x="1907" y="870"/>
                  <a:pt x="1907" y="869"/>
                  <a:pt x="1906" y="867"/>
                </a:cubicBezTo>
                <a:cubicBezTo>
                  <a:pt x="1905" y="863"/>
                  <a:pt x="1902" y="860"/>
                  <a:pt x="1905" y="855"/>
                </a:cubicBezTo>
                <a:cubicBezTo>
                  <a:pt x="1907" y="850"/>
                  <a:pt x="1902" y="845"/>
                  <a:pt x="1906" y="840"/>
                </a:cubicBezTo>
                <a:cubicBezTo>
                  <a:pt x="1906" y="840"/>
                  <a:pt x="1905" y="839"/>
                  <a:pt x="1905" y="838"/>
                </a:cubicBezTo>
                <a:cubicBezTo>
                  <a:pt x="1904" y="837"/>
                  <a:pt x="1903" y="836"/>
                  <a:pt x="1902" y="834"/>
                </a:cubicBezTo>
                <a:cubicBezTo>
                  <a:pt x="1902" y="834"/>
                  <a:pt x="1902" y="833"/>
                  <a:pt x="1903" y="832"/>
                </a:cubicBezTo>
                <a:cubicBezTo>
                  <a:pt x="1904" y="832"/>
                  <a:pt x="1905" y="827"/>
                  <a:pt x="1905" y="826"/>
                </a:cubicBezTo>
                <a:cubicBezTo>
                  <a:pt x="1904" y="823"/>
                  <a:pt x="1904" y="821"/>
                  <a:pt x="1905" y="818"/>
                </a:cubicBezTo>
                <a:cubicBezTo>
                  <a:pt x="1906" y="816"/>
                  <a:pt x="1904" y="813"/>
                  <a:pt x="1904" y="810"/>
                </a:cubicBezTo>
                <a:cubicBezTo>
                  <a:pt x="1904" y="808"/>
                  <a:pt x="1906" y="807"/>
                  <a:pt x="1906" y="805"/>
                </a:cubicBezTo>
                <a:cubicBezTo>
                  <a:pt x="1906" y="804"/>
                  <a:pt x="1903" y="803"/>
                  <a:pt x="1903" y="801"/>
                </a:cubicBezTo>
                <a:cubicBezTo>
                  <a:pt x="1903" y="798"/>
                  <a:pt x="1904" y="796"/>
                  <a:pt x="1904" y="793"/>
                </a:cubicBezTo>
                <a:cubicBezTo>
                  <a:pt x="1904" y="784"/>
                  <a:pt x="1902" y="774"/>
                  <a:pt x="1904" y="765"/>
                </a:cubicBezTo>
                <a:cubicBezTo>
                  <a:pt x="1901" y="762"/>
                  <a:pt x="1904" y="757"/>
                  <a:pt x="1902" y="754"/>
                </a:cubicBezTo>
                <a:cubicBezTo>
                  <a:pt x="1901" y="752"/>
                  <a:pt x="1901" y="751"/>
                  <a:pt x="1901" y="749"/>
                </a:cubicBezTo>
                <a:cubicBezTo>
                  <a:pt x="1901" y="745"/>
                  <a:pt x="1905" y="739"/>
                  <a:pt x="1899" y="736"/>
                </a:cubicBezTo>
                <a:cubicBezTo>
                  <a:pt x="1899" y="736"/>
                  <a:pt x="1899" y="735"/>
                  <a:pt x="1899" y="734"/>
                </a:cubicBezTo>
                <a:cubicBezTo>
                  <a:pt x="1901" y="731"/>
                  <a:pt x="1900" y="726"/>
                  <a:pt x="1899" y="723"/>
                </a:cubicBezTo>
                <a:cubicBezTo>
                  <a:pt x="1898" y="714"/>
                  <a:pt x="1898" y="706"/>
                  <a:pt x="1899" y="698"/>
                </a:cubicBezTo>
                <a:cubicBezTo>
                  <a:pt x="1899" y="696"/>
                  <a:pt x="1900" y="694"/>
                  <a:pt x="1900" y="692"/>
                </a:cubicBezTo>
                <a:cubicBezTo>
                  <a:pt x="1900" y="690"/>
                  <a:pt x="1900" y="688"/>
                  <a:pt x="1900" y="686"/>
                </a:cubicBezTo>
                <a:cubicBezTo>
                  <a:pt x="1900" y="682"/>
                  <a:pt x="1898" y="678"/>
                  <a:pt x="1900" y="674"/>
                </a:cubicBezTo>
                <a:cubicBezTo>
                  <a:pt x="1902" y="671"/>
                  <a:pt x="1901" y="669"/>
                  <a:pt x="1900" y="666"/>
                </a:cubicBezTo>
                <a:cubicBezTo>
                  <a:pt x="1898" y="663"/>
                  <a:pt x="1902" y="657"/>
                  <a:pt x="1898" y="653"/>
                </a:cubicBezTo>
                <a:cubicBezTo>
                  <a:pt x="1901" y="650"/>
                  <a:pt x="1898" y="648"/>
                  <a:pt x="1897" y="645"/>
                </a:cubicBezTo>
                <a:cubicBezTo>
                  <a:pt x="1896" y="642"/>
                  <a:pt x="1895" y="638"/>
                  <a:pt x="1897" y="635"/>
                </a:cubicBezTo>
                <a:cubicBezTo>
                  <a:pt x="1900" y="632"/>
                  <a:pt x="1894" y="629"/>
                  <a:pt x="1896" y="626"/>
                </a:cubicBezTo>
                <a:cubicBezTo>
                  <a:pt x="1896" y="625"/>
                  <a:pt x="1895" y="624"/>
                  <a:pt x="1896" y="624"/>
                </a:cubicBezTo>
                <a:cubicBezTo>
                  <a:pt x="1899" y="619"/>
                  <a:pt x="1896" y="614"/>
                  <a:pt x="1897" y="609"/>
                </a:cubicBezTo>
                <a:cubicBezTo>
                  <a:pt x="1897" y="608"/>
                  <a:pt x="1897" y="607"/>
                  <a:pt x="1897" y="606"/>
                </a:cubicBezTo>
                <a:cubicBezTo>
                  <a:pt x="1900" y="600"/>
                  <a:pt x="1899" y="594"/>
                  <a:pt x="1898" y="589"/>
                </a:cubicBezTo>
                <a:cubicBezTo>
                  <a:pt x="1897" y="583"/>
                  <a:pt x="1900" y="576"/>
                  <a:pt x="1896" y="571"/>
                </a:cubicBezTo>
                <a:cubicBezTo>
                  <a:pt x="1895" y="571"/>
                  <a:pt x="1896" y="570"/>
                  <a:pt x="1896" y="570"/>
                </a:cubicBezTo>
                <a:cubicBezTo>
                  <a:pt x="1896" y="566"/>
                  <a:pt x="1897" y="561"/>
                  <a:pt x="1897" y="557"/>
                </a:cubicBezTo>
                <a:cubicBezTo>
                  <a:pt x="1897" y="550"/>
                  <a:pt x="1895" y="543"/>
                  <a:pt x="1896" y="537"/>
                </a:cubicBezTo>
                <a:cubicBezTo>
                  <a:pt x="1896" y="530"/>
                  <a:pt x="1896" y="524"/>
                  <a:pt x="1896" y="517"/>
                </a:cubicBezTo>
                <a:cubicBezTo>
                  <a:pt x="1896" y="515"/>
                  <a:pt x="1895" y="512"/>
                  <a:pt x="1896" y="510"/>
                </a:cubicBezTo>
                <a:cubicBezTo>
                  <a:pt x="1897" y="506"/>
                  <a:pt x="1896" y="503"/>
                  <a:pt x="1895" y="499"/>
                </a:cubicBezTo>
                <a:cubicBezTo>
                  <a:pt x="1894" y="492"/>
                  <a:pt x="1895" y="485"/>
                  <a:pt x="1894" y="478"/>
                </a:cubicBezTo>
                <a:cubicBezTo>
                  <a:pt x="1894" y="476"/>
                  <a:pt x="1894" y="474"/>
                  <a:pt x="1894" y="472"/>
                </a:cubicBezTo>
                <a:cubicBezTo>
                  <a:pt x="1894" y="466"/>
                  <a:pt x="1894" y="460"/>
                  <a:pt x="1894" y="455"/>
                </a:cubicBezTo>
                <a:cubicBezTo>
                  <a:pt x="1894" y="452"/>
                  <a:pt x="1894" y="449"/>
                  <a:pt x="1895" y="447"/>
                </a:cubicBezTo>
                <a:cubicBezTo>
                  <a:pt x="1896" y="443"/>
                  <a:pt x="1897" y="439"/>
                  <a:pt x="1894" y="435"/>
                </a:cubicBezTo>
                <a:cubicBezTo>
                  <a:pt x="1893" y="434"/>
                  <a:pt x="1893" y="432"/>
                  <a:pt x="1893" y="431"/>
                </a:cubicBezTo>
                <a:cubicBezTo>
                  <a:pt x="1896" y="425"/>
                  <a:pt x="1892" y="419"/>
                  <a:pt x="1892" y="413"/>
                </a:cubicBezTo>
                <a:cubicBezTo>
                  <a:pt x="1892" y="412"/>
                  <a:pt x="1891" y="411"/>
                  <a:pt x="1892" y="410"/>
                </a:cubicBezTo>
                <a:cubicBezTo>
                  <a:pt x="1895" y="402"/>
                  <a:pt x="1893" y="395"/>
                  <a:pt x="1893" y="387"/>
                </a:cubicBezTo>
                <a:cubicBezTo>
                  <a:pt x="1894" y="381"/>
                  <a:pt x="1892" y="376"/>
                  <a:pt x="1891" y="370"/>
                </a:cubicBezTo>
                <a:cubicBezTo>
                  <a:pt x="1891" y="368"/>
                  <a:pt x="1892" y="366"/>
                  <a:pt x="1892" y="365"/>
                </a:cubicBezTo>
                <a:cubicBezTo>
                  <a:pt x="1890" y="362"/>
                  <a:pt x="1891" y="360"/>
                  <a:pt x="1892" y="359"/>
                </a:cubicBezTo>
                <a:cubicBezTo>
                  <a:pt x="1893" y="357"/>
                  <a:pt x="1893" y="355"/>
                  <a:pt x="1892" y="353"/>
                </a:cubicBezTo>
                <a:cubicBezTo>
                  <a:pt x="1890" y="348"/>
                  <a:pt x="1889" y="343"/>
                  <a:pt x="1893" y="339"/>
                </a:cubicBezTo>
                <a:cubicBezTo>
                  <a:pt x="1894" y="338"/>
                  <a:pt x="1894" y="338"/>
                  <a:pt x="1893" y="337"/>
                </a:cubicBezTo>
                <a:cubicBezTo>
                  <a:pt x="1892" y="332"/>
                  <a:pt x="1893" y="328"/>
                  <a:pt x="1894" y="323"/>
                </a:cubicBezTo>
                <a:cubicBezTo>
                  <a:pt x="1894" y="319"/>
                  <a:pt x="1892" y="315"/>
                  <a:pt x="1889" y="313"/>
                </a:cubicBezTo>
                <a:cubicBezTo>
                  <a:pt x="1886" y="310"/>
                  <a:pt x="1881" y="308"/>
                  <a:pt x="1877" y="306"/>
                </a:cubicBezTo>
                <a:cubicBezTo>
                  <a:pt x="1869" y="303"/>
                  <a:pt x="1862" y="299"/>
                  <a:pt x="1856" y="294"/>
                </a:cubicBezTo>
                <a:cubicBezTo>
                  <a:pt x="1855" y="293"/>
                  <a:pt x="1854" y="292"/>
                  <a:pt x="1853" y="292"/>
                </a:cubicBezTo>
                <a:cubicBezTo>
                  <a:pt x="1845" y="288"/>
                  <a:pt x="1836" y="284"/>
                  <a:pt x="1829" y="279"/>
                </a:cubicBezTo>
                <a:cubicBezTo>
                  <a:pt x="1821" y="273"/>
                  <a:pt x="1811" y="270"/>
                  <a:pt x="1804" y="263"/>
                </a:cubicBezTo>
                <a:cubicBezTo>
                  <a:pt x="1802" y="261"/>
                  <a:pt x="1798" y="261"/>
                  <a:pt x="1796" y="260"/>
                </a:cubicBezTo>
                <a:cubicBezTo>
                  <a:pt x="1786" y="254"/>
                  <a:pt x="1776" y="247"/>
                  <a:pt x="1766" y="241"/>
                </a:cubicBezTo>
                <a:cubicBezTo>
                  <a:pt x="1759" y="237"/>
                  <a:pt x="1752" y="232"/>
                  <a:pt x="1746" y="228"/>
                </a:cubicBezTo>
                <a:cubicBezTo>
                  <a:pt x="1743" y="226"/>
                  <a:pt x="1740" y="226"/>
                  <a:pt x="1737" y="224"/>
                </a:cubicBezTo>
                <a:cubicBezTo>
                  <a:pt x="1727" y="217"/>
                  <a:pt x="1717" y="210"/>
                  <a:pt x="1706" y="203"/>
                </a:cubicBezTo>
                <a:cubicBezTo>
                  <a:pt x="1699" y="199"/>
                  <a:pt x="1692" y="195"/>
                  <a:pt x="1685" y="190"/>
                </a:cubicBezTo>
                <a:cubicBezTo>
                  <a:pt x="1673" y="183"/>
                  <a:pt x="1661" y="176"/>
                  <a:pt x="1649" y="168"/>
                </a:cubicBezTo>
                <a:cubicBezTo>
                  <a:pt x="1648" y="167"/>
                  <a:pt x="1646" y="167"/>
                  <a:pt x="1644" y="166"/>
                </a:cubicBezTo>
                <a:cubicBezTo>
                  <a:pt x="1643" y="166"/>
                  <a:pt x="1642" y="165"/>
                  <a:pt x="1642" y="165"/>
                </a:cubicBezTo>
                <a:cubicBezTo>
                  <a:pt x="1640" y="159"/>
                  <a:pt x="1633" y="161"/>
                  <a:pt x="1630" y="157"/>
                </a:cubicBezTo>
                <a:cubicBezTo>
                  <a:pt x="1628" y="155"/>
                  <a:pt x="1625" y="155"/>
                  <a:pt x="1622" y="153"/>
                </a:cubicBezTo>
                <a:cubicBezTo>
                  <a:pt x="1617" y="150"/>
                  <a:pt x="1612" y="146"/>
                  <a:pt x="1606" y="143"/>
                </a:cubicBezTo>
                <a:cubicBezTo>
                  <a:pt x="1603" y="141"/>
                  <a:pt x="1599" y="139"/>
                  <a:pt x="1595" y="136"/>
                </a:cubicBezTo>
                <a:cubicBezTo>
                  <a:pt x="1590" y="132"/>
                  <a:pt x="1583" y="129"/>
                  <a:pt x="1578" y="125"/>
                </a:cubicBezTo>
                <a:cubicBezTo>
                  <a:pt x="1572" y="122"/>
                  <a:pt x="1567" y="118"/>
                  <a:pt x="1562" y="115"/>
                </a:cubicBezTo>
                <a:cubicBezTo>
                  <a:pt x="1555" y="112"/>
                  <a:pt x="1549" y="109"/>
                  <a:pt x="1543" y="105"/>
                </a:cubicBezTo>
                <a:cubicBezTo>
                  <a:pt x="1537" y="101"/>
                  <a:pt x="1531" y="97"/>
                  <a:pt x="1524" y="93"/>
                </a:cubicBezTo>
                <a:cubicBezTo>
                  <a:pt x="1524" y="92"/>
                  <a:pt x="1523" y="92"/>
                  <a:pt x="1522" y="91"/>
                </a:cubicBezTo>
                <a:cubicBezTo>
                  <a:pt x="1515" y="88"/>
                  <a:pt x="1508" y="84"/>
                  <a:pt x="1503" y="79"/>
                </a:cubicBezTo>
                <a:cubicBezTo>
                  <a:pt x="1502" y="79"/>
                  <a:pt x="1501" y="78"/>
                  <a:pt x="1500" y="78"/>
                </a:cubicBezTo>
                <a:cubicBezTo>
                  <a:pt x="1496" y="75"/>
                  <a:pt x="1491" y="73"/>
                  <a:pt x="1486" y="70"/>
                </a:cubicBezTo>
                <a:cubicBezTo>
                  <a:pt x="1480" y="65"/>
                  <a:pt x="1473" y="61"/>
                  <a:pt x="1466" y="57"/>
                </a:cubicBezTo>
                <a:cubicBezTo>
                  <a:pt x="1456" y="52"/>
                  <a:pt x="1446" y="45"/>
                  <a:pt x="1436" y="39"/>
                </a:cubicBezTo>
                <a:cubicBezTo>
                  <a:pt x="1426" y="34"/>
                  <a:pt x="1416" y="28"/>
                  <a:pt x="1406" y="22"/>
                </a:cubicBezTo>
                <a:cubicBezTo>
                  <a:pt x="1405" y="22"/>
                  <a:pt x="1404" y="22"/>
                  <a:pt x="1404" y="22"/>
                </a:cubicBezTo>
                <a:cubicBezTo>
                  <a:pt x="1404" y="23"/>
                  <a:pt x="1404" y="23"/>
                  <a:pt x="1404" y="24"/>
                </a:cubicBezTo>
                <a:cubicBezTo>
                  <a:pt x="1404" y="31"/>
                  <a:pt x="1404" y="38"/>
                  <a:pt x="1403" y="44"/>
                </a:cubicBezTo>
                <a:cubicBezTo>
                  <a:pt x="1403" y="50"/>
                  <a:pt x="1402" y="55"/>
                  <a:pt x="1404" y="61"/>
                </a:cubicBezTo>
                <a:cubicBezTo>
                  <a:pt x="1404" y="62"/>
                  <a:pt x="1404" y="63"/>
                  <a:pt x="1404" y="64"/>
                </a:cubicBezTo>
                <a:cubicBezTo>
                  <a:pt x="1402" y="69"/>
                  <a:pt x="1402" y="75"/>
                  <a:pt x="1403" y="81"/>
                </a:cubicBezTo>
                <a:cubicBezTo>
                  <a:pt x="1404" y="85"/>
                  <a:pt x="1405" y="89"/>
                  <a:pt x="1405" y="93"/>
                </a:cubicBezTo>
                <a:cubicBezTo>
                  <a:pt x="1404" y="98"/>
                  <a:pt x="1404" y="104"/>
                  <a:pt x="1405" y="109"/>
                </a:cubicBezTo>
                <a:cubicBezTo>
                  <a:pt x="1406" y="115"/>
                  <a:pt x="1404" y="122"/>
                  <a:pt x="1404" y="128"/>
                </a:cubicBezTo>
                <a:cubicBezTo>
                  <a:pt x="1404" y="137"/>
                  <a:pt x="1405" y="145"/>
                  <a:pt x="1405" y="153"/>
                </a:cubicBezTo>
                <a:cubicBezTo>
                  <a:pt x="1404" y="161"/>
                  <a:pt x="1406" y="169"/>
                  <a:pt x="1406" y="177"/>
                </a:cubicBezTo>
                <a:cubicBezTo>
                  <a:pt x="1406" y="180"/>
                  <a:pt x="1407" y="181"/>
                  <a:pt x="1407" y="184"/>
                </a:cubicBezTo>
                <a:cubicBezTo>
                  <a:pt x="1406" y="189"/>
                  <a:pt x="1407" y="194"/>
                  <a:pt x="1405" y="199"/>
                </a:cubicBezTo>
                <a:cubicBezTo>
                  <a:pt x="1403" y="204"/>
                  <a:pt x="1406" y="210"/>
                  <a:pt x="1405" y="215"/>
                </a:cubicBezTo>
                <a:cubicBezTo>
                  <a:pt x="1404" y="219"/>
                  <a:pt x="1405" y="223"/>
                  <a:pt x="1405" y="227"/>
                </a:cubicBezTo>
                <a:cubicBezTo>
                  <a:pt x="1406" y="231"/>
                  <a:pt x="1405" y="234"/>
                  <a:pt x="1405" y="238"/>
                </a:cubicBezTo>
                <a:cubicBezTo>
                  <a:pt x="1405" y="245"/>
                  <a:pt x="1406" y="252"/>
                  <a:pt x="1406" y="259"/>
                </a:cubicBezTo>
                <a:cubicBezTo>
                  <a:pt x="1405" y="266"/>
                  <a:pt x="1405" y="273"/>
                  <a:pt x="1407" y="280"/>
                </a:cubicBezTo>
                <a:cubicBezTo>
                  <a:pt x="1407" y="280"/>
                  <a:pt x="1407" y="280"/>
                  <a:pt x="1407" y="281"/>
                </a:cubicBezTo>
                <a:cubicBezTo>
                  <a:pt x="1406" y="285"/>
                  <a:pt x="1405" y="290"/>
                  <a:pt x="1405" y="294"/>
                </a:cubicBezTo>
                <a:cubicBezTo>
                  <a:pt x="1404" y="296"/>
                  <a:pt x="1405" y="299"/>
                  <a:pt x="1406" y="301"/>
                </a:cubicBezTo>
                <a:cubicBezTo>
                  <a:pt x="1406" y="302"/>
                  <a:pt x="1406" y="303"/>
                  <a:pt x="1406" y="305"/>
                </a:cubicBezTo>
                <a:cubicBezTo>
                  <a:pt x="1406" y="306"/>
                  <a:pt x="1405" y="308"/>
                  <a:pt x="1405" y="310"/>
                </a:cubicBezTo>
                <a:cubicBezTo>
                  <a:pt x="1406" y="314"/>
                  <a:pt x="1406" y="319"/>
                  <a:pt x="1407" y="323"/>
                </a:cubicBezTo>
                <a:cubicBezTo>
                  <a:pt x="1407" y="324"/>
                  <a:pt x="1406" y="325"/>
                  <a:pt x="1406" y="327"/>
                </a:cubicBezTo>
                <a:cubicBezTo>
                  <a:pt x="1406" y="329"/>
                  <a:pt x="1406" y="331"/>
                  <a:pt x="1406" y="333"/>
                </a:cubicBezTo>
                <a:cubicBezTo>
                  <a:pt x="1406" y="335"/>
                  <a:pt x="1406" y="337"/>
                  <a:pt x="1405" y="339"/>
                </a:cubicBezTo>
                <a:cubicBezTo>
                  <a:pt x="1404" y="342"/>
                  <a:pt x="1403" y="347"/>
                  <a:pt x="1405" y="350"/>
                </a:cubicBezTo>
                <a:cubicBezTo>
                  <a:pt x="1408" y="353"/>
                  <a:pt x="1406" y="357"/>
                  <a:pt x="1407" y="360"/>
                </a:cubicBezTo>
                <a:cubicBezTo>
                  <a:pt x="1407" y="361"/>
                  <a:pt x="1406" y="362"/>
                  <a:pt x="1406" y="363"/>
                </a:cubicBezTo>
                <a:cubicBezTo>
                  <a:pt x="1408" y="371"/>
                  <a:pt x="1406" y="379"/>
                  <a:pt x="1407" y="387"/>
                </a:cubicBezTo>
                <a:cubicBezTo>
                  <a:pt x="1407" y="388"/>
                  <a:pt x="1407" y="389"/>
                  <a:pt x="1409" y="389"/>
                </a:cubicBezTo>
                <a:cubicBezTo>
                  <a:pt x="1414" y="387"/>
                  <a:pt x="1418" y="386"/>
                  <a:pt x="1422" y="385"/>
                </a:cubicBezTo>
                <a:cubicBezTo>
                  <a:pt x="1427" y="383"/>
                  <a:pt x="1428" y="380"/>
                  <a:pt x="1427" y="375"/>
                </a:cubicBezTo>
                <a:cubicBezTo>
                  <a:pt x="1426" y="371"/>
                  <a:pt x="1423" y="367"/>
                  <a:pt x="1423" y="363"/>
                </a:cubicBezTo>
                <a:cubicBezTo>
                  <a:pt x="1422" y="355"/>
                  <a:pt x="1422" y="346"/>
                  <a:pt x="1428" y="339"/>
                </a:cubicBezTo>
                <a:cubicBezTo>
                  <a:pt x="1429" y="338"/>
                  <a:pt x="1430" y="336"/>
                  <a:pt x="1431" y="335"/>
                </a:cubicBezTo>
                <a:cubicBezTo>
                  <a:pt x="1435" y="327"/>
                  <a:pt x="1441" y="322"/>
                  <a:pt x="1448" y="318"/>
                </a:cubicBezTo>
                <a:cubicBezTo>
                  <a:pt x="1454" y="314"/>
                  <a:pt x="1461" y="312"/>
                  <a:pt x="1468" y="310"/>
                </a:cubicBezTo>
                <a:cubicBezTo>
                  <a:pt x="1475" y="308"/>
                  <a:pt x="1481" y="308"/>
                  <a:pt x="1487" y="309"/>
                </a:cubicBezTo>
                <a:cubicBezTo>
                  <a:pt x="1488" y="309"/>
                  <a:pt x="1490" y="309"/>
                  <a:pt x="1491" y="310"/>
                </a:cubicBezTo>
                <a:cubicBezTo>
                  <a:pt x="1500" y="313"/>
                  <a:pt x="1507" y="319"/>
                  <a:pt x="1514" y="325"/>
                </a:cubicBezTo>
                <a:cubicBezTo>
                  <a:pt x="1521" y="331"/>
                  <a:pt x="1526" y="338"/>
                  <a:pt x="1528" y="347"/>
                </a:cubicBezTo>
                <a:cubicBezTo>
                  <a:pt x="1528" y="350"/>
                  <a:pt x="1529" y="354"/>
                  <a:pt x="1529" y="357"/>
                </a:cubicBezTo>
                <a:cubicBezTo>
                  <a:pt x="1529" y="362"/>
                  <a:pt x="1529" y="366"/>
                  <a:pt x="1528" y="371"/>
                </a:cubicBezTo>
                <a:cubicBezTo>
                  <a:pt x="1528" y="377"/>
                  <a:pt x="1528" y="383"/>
                  <a:pt x="1526" y="388"/>
                </a:cubicBezTo>
                <a:cubicBezTo>
                  <a:pt x="1522" y="398"/>
                  <a:pt x="1517" y="407"/>
                  <a:pt x="1509" y="415"/>
                </a:cubicBezTo>
                <a:cubicBezTo>
                  <a:pt x="1508" y="416"/>
                  <a:pt x="1507" y="417"/>
                  <a:pt x="1508" y="418"/>
                </a:cubicBezTo>
                <a:cubicBezTo>
                  <a:pt x="1510" y="425"/>
                  <a:pt x="1513" y="431"/>
                  <a:pt x="1516" y="437"/>
                </a:cubicBezTo>
                <a:cubicBezTo>
                  <a:pt x="1518" y="442"/>
                  <a:pt x="1521" y="447"/>
                  <a:pt x="1523" y="452"/>
                </a:cubicBezTo>
                <a:cubicBezTo>
                  <a:pt x="1526" y="459"/>
                  <a:pt x="1529" y="466"/>
                  <a:pt x="1532" y="474"/>
                </a:cubicBezTo>
                <a:cubicBezTo>
                  <a:pt x="1538" y="486"/>
                  <a:pt x="1544" y="497"/>
                  <a:pt x="1550" y="509"/>
                </a:cubicBezTo>
                <a:cubicBezTo>
                  <a:pt x="1555" y="520"/>
                  <a:pt x="1560" y="531"/>
                  <a:pt x="1565" y="541"/>
                </a:cubicBezTo>
                <a:cubicBezTo>
                  <a:pt x="1571" y="553"/>
                  <a:pt x="1576" y="565"/>
                  <a:pt x="1582" y="576"/>
                </a:cubicBezTo>
                <a:cubicBezTo>
                  <a:pt x="1585" y="584"/>
                  <a:pt x="1590" y="591"/>
                  <a:pt x="1593" y="598"/>
                </a:cubicBezTo>
                <a:cubicBezTo>
                  <a:pt x="1594" y="601"/>
                  <a:pt x="1596" y="601"/>
                  <a:pt x="1598" y="600"/>
                </a:cubicBezTo>
                <a:cubicBezTo>
                  <a:pt x="1604" y="598"/>
                  <a:pt x="1610" y="596"/>
                  <a:pt x="1616" y="598"/>
                </a:cubicBezTo>
                <a:cubicBezTo>
                  <a:pt x="1621" y="599"/>
                  <a:pt x="1625" y="602"/>
                  <a:pt x="1629" y="604"/>
                </a:cubicBezTo>
                <a:cubicBezTo>
                  <a:pt x="1641" y="610"/>
                  <a:pt x="1647" y="619"/>
                  <a:pt x="1650" y="631"/>
                </a:cubicBezTo>
                <a:cubicBezTo>
                  <a:pt x="1651" y="634"/>
                  <a:pt x="1651" y="638"/>
                  <a:pt x="1651" y="641"/>
                </a:cubicBezTo>
                <a:cubicBezTo>
                  <a:pt x="1651" y="642"/>
                  <a:pt x="1652" y="644"/>
                  <a:pt x="1653" y="645"/>
                </a:cubicBezTo>
                <a:cubicBezTo>
                  <a:pt x="1659" y="647"/>
                  <a:pt x="1665" y="649"/>
                  <a:pt x="1671" y="652"/>
                </a:cubicBezTo>
                <a:cubicBezTo>
                  <a:pt x="1681" y="656"/>
                  <a:pt x="1691" y="661"/>
                  <a:pt x="1701" y="665"/>
                </a:cubicBezTo>
                <a:cubicBezTo>
                  <a:pt x="1702" y="665"/>
                  <a:pt x="1702" y="665"/>
                  <a:pt x="1703" y="665"/>
                </a:cubicBezTo>
                <a:cubicBezTo>
                  <a:pt x="1720" y="668"/>
                  <a:pt x="1736" y="674"/>
                  <a:pt x="1752" y="680"/>
                </a:cubicBezTo>
                <a:cubicBezTo>
                  <a:pt x="1754" y="680"/>
                  <a:pt x="1756" y="680"/>
                  <a:pt x="1757" y="681"/>
                </a:cubicBezTo>
                <a:cubicBezTo>
                  <a:pt x="1770" y="689"/>
                  <a:pt x="1784" y="693"/>
                  <a:pt x="1797" y="697"/>
                </a:cubicBezTo>
                <a:cubicBezTo>
                  <a:pt x="1798" y="698"/>
                  <a:pt x="1800" y="697"/>
                  <a:pt x="1800" y="696"/>
                </a:cubicBezTo>
                <a:cubicBezTo>
                  <a:pt x="1802" y="694"/>
                  <a:pt x="1802" y="692"/>
                  <a:pt x="1803" y="691"/>
                </a:cubicBezTo>
                <a:cubicBezTo>
                  <a:pt x="1803" y="688"/>
                  <a:pt x="1804" y="686"/>
                  <a:pt x="1806" y="685"/>
                </a:cubicBezTo>
                <a:cubicBezTo>
                  <a:pt x="1810" y="682"/>
                  <a:pt x="1813" y="678"/>
                  <a:pt x="1816" y="675"/>
                </a:cubicBezTo>
                <a:cubicBezTo>
                  <a:pt x="1819" y="672"/>
                  <a:pt x="1822" y="669"/>
                  <a:pt x="1825" y="667"/>
                </a:cubicBezTo>
                <a:cubicBezTo>
                  <a:pt x="1829" y="664"/>
                  <a:pt x="1829" y="664"/>
                  <a:pt x="1827" y="659"/>
                </a:cubicBezTo>
                <a:cubicBezTo>
                  <a:pt x="1825" y="654"/>
                  <a:pt x="1823" y="649"/>
                  <a:pt x="1821" y="644"/>
                </a:cubicBezTo>
                <a:cubicBezTo>
                  <a:pt x="1819" y="640"/>
                  <a:pt x="1818" y="637"/>
                  <a:pt x="1817" y="633"/>
                </a:cubicBezTo>
                <a:cubicBezTo>
                  <a:pt x="1816" y="629"/>
                  <a:pt x="1814" y="626"/>
                  <a:pt x="1812" y="622"/>
                </a:cubicBezTo>
                <a:cubicBezTo>
                  <a:pt x="1810" y="617"/>
                  <a:pt x="1808" y="610"/>
                  <a:pt x="1804" y="606"/>
                </a:cubicBezTo>
                <a:cubicBezTo>
                  <a:pt x="1799" y="600"/>
                  <a:pt x="1797" y="593"/>
                  <a:pt x="1794" y="587"/>
                </a:cubicBezTo>
                <a:cubicBezTo>
                  <a:pt x="1791" y="579"/>
                  <a:pt x="1789" y="570"/>
                  <a:pt x="1785" y="562"/>
                </a:cubicBezTo>
                <a:cubicBezTo>
                  <a:pt x="1781" y="552"/>
                  <a:pt x="1776" y="543"/>
                  <a:pt x="1772" y="533"/>
                </a:cubicBezTo>
                <a:cubicBezTo>
                  <a:pt x="1770" y="530"/>
                  <a:pt x="1769" y="528"/>
                  <a:pt x="1768" y="526"/>
                </a:cubicBezTo>
                <a:cubicBezTo>
                  <a:pt x="1765" y="519"/>
                  <a:pt x="1763" y="512"/>
                  <a:pt x="1760" y="505"/>
                </a:cubicBezTo>
                <a:cubicBezTo>
                  <a:pt x="1758" y="502"/>
                  <a:pt x="1758" y="497"/>
                  <a:pt x="1753" y="496"/>
                </a:cubicBezTo>
                <a:cubicBezTo>
                  <a:pt x="1752" y="496"/>
                  <a:pt x="1753" y="494"/>
                  <a:pt x="1752" y="493"/>
                </a:cubicBezTo>
                <a:cubicBezTo>
                  <a:pt x="1752" y="492"/>
                  <a:pt x="1751" y="492"/>
                  <a:pt x="1751" y="491"/>
                </a:cubicBezTo>
                <a:cubicBezTo>
                  <a:pt x="1750" y="492"/>
                  <a:pt x="1750" y="492"/>
                  <a:pt x="1750" y="493"/>
                </a:cubicBezTo>
                <a:cubicBezTo>
                  <a:pt x="1751" y="495"/>
                  <a:pt x="1750" y="496"/>
                  <a:pt x="1748" y="496"/>
                </a:cubicBezTo>
                <a:cubicBezTo>
                  <a:pt x="1741" y="497"/>
                  <a:pt x="1734" y="495"/>
                  <a:pt x="1728" y="493"/>
                </a:cubicBezTo>
                <a:cubicBezTo>
                  <a:pt x="1721" y="490"/>
                  <a:pt x="1713" y="486"/>
                  <a:pt x="1709" y="478"/>
                </a:cubicBezTo>
                <a:cubicBezTo>
                  <a:pt x="1708" y="475"/>
                  <a:pt x="1704" y="473"/>
                  <a:pt x="1703" y="470"/>
                </a:cubicBezTo>
                <a:cubicBezTo>
                  <a:pt x="1700" y="464"/>
                  <a:pt x="1697" y="457"/>
                  <a:pt x="1698" y="449"/>
                </a:cubicBezTo>
                <a:close/>
                <a:moveTo>
                  <a:pt x="35" y="1033"/>
                </a:moveTo>
                <a:cubicBezTo>
                  <a:pt x="34" y="1033"/>
                  <a:pt x="34" y="1033"/>
                  <a:pt x="34" y="1033"/>
                </a:cubicBezTo>
                <a:cubicBezTo>
                  <a:pt x="34" y="1037"/>
                  <a:pt x="34" y="1041"/>
                  <a:pt x="34" y="1045"/>
                </a:cubicBezTo>
                <a:cubicBezTo>
                  <a:pt x="34" y="1052"/>
                  <a:pt x="34" y="1060"/>
                  <a:pt x="34" y="1068"/>
                </a:cubicBezTo>
                <a:cubicBezTo>
                  <a:pt x="34" y="1074"/>
                  <a:pt x="35" y="1079"/>
                  <a:pt x="35" y="1085"/>
                </a:cubicBezTo>
                <a:cubicBezTo>
                  <a:pt x="35" y="1091"/>
                  <a:pt x="35" y="1097"/>
                  <a:pt x="36" y="1103"/>
                </a:cubicBezTo>
                <a:cubicBezTo>
                  <a:pt x="36" y="1108"/>
                  <a:pt x="35" y="1112"/>
                  <a:pt x="35" y="1116"/>
                </a:cubicBezTo>
                <a:cubicBezTo>
                  <a:pt x="36" y="1126"/>
                  <a:pt x="36" y="1136"/>
                  <a:pt x="37" y="1145"/>
                </a:cubicBezTo>
                <a:cubicBezTo>
                  <a:pt x="37" y="1151"/>
                  <a:pt x="37" y="1156"/>
                  <a:pt x="37" y="1161"/>
                </a:cubicBezTo>
                <a:cubicBezTo>
                  <a:pt x="37" y="1166"/>
                  <a:pt x="37" y="1171"/>
                  <a:pt x="37" y="1176"/>
                </a:cubicBezTo>
                <a:cubicBezTo>
                  <a:pt x="37" y="1179"/>
                  <a:pt x="37" y="1183"/>
                  <a:pt x="37" y="1187"/>
                </a:cubicBezTo>
                <a:cubicBezTo>
                  <a:pt x="38" y="1195"/>
                  <a:pt x="38" y="1204"/>
                  <a:pt x="38" y="1213"/>
                </a:cubicBezTo>
                <a:cubicBezTo>
                  <a:pt x="38" y="1215"/>
                  <a:pt x="40" y="1217"/>
                  <a:pt x="40" y="1220"/>
                </a:cubicBezTo>
                <a:cubicBezTo>
                  <a:pt x="41" y="1222"/>
                  <a:pt x="37" y="1224"/>
                  <a:pt x="39" y="1227"/>
                </a:cubicBezTo>
                <a:cubicBezTo>
                  <a:pt x="40" y="1227"/>
                  <a:pt x="40" y="1229"/>
                  <a:pt x="40" y="1230"/>
                </a:cubicBezTo>
                <a:cubicBezTo>
                  <a:pt x="39" y="1235"/>
                  <a:pt x="39" y="1241"/>
                  <a:pt x="39" y="1246"/>
                </a:cubicBezTo>
                <a:cubicBezTo>
                  <a:pt x="39" y="1255"/>
                  <a:pt x="40" y="1265"/>
                  <a:pt x="40" y="1274"/>
                </a:cubicBezTo>
                <a:cubicBezTo>
                  <a:pt x="40" y="1276"/>
                  <a:pt x="39" y="1277"/>
                  <a:pt x="39" y="1279"/>
                </a:cubicBezTo>
                <a:cubicBezTo>
                  <a:pt x="39" y="1286"/>
                  <a:pt x="40" y="1293"/>
                  <a:pt x="40" y="1300"/>
                </a:cubicBezTo>
                <a:cubicBezTo>
                  <a:pt x="40" y="1301"/>
                  <a:pt x="41" y="1301"/>
                  <a:pt x="42" y="1301"/>
                </a:cubicBezTo>
                <a:cubicBezTo>
                  <a:pt x="43" y="1301"/>
                  <a:pt x="44" y="1301"/>
                  <a:pt x="45" y="1301"/>
                </a:cubicBezTo>
                <a:cubicBezTo>
                  <a:pt x="47" y="1302"/>
                  <a:pt x="50" y="1303"/>
                  <a:pt x="52" y="1302"/>
                </a:cubicBezTo>
                <a:cubicBezTo>
                  <a:pt x="58" y="1301"/>
                  <a:pt x="63" y="1299"/>
                  <a:pt x="69" y="1297"/>
                </a:cubicBezTo>
                <a:cubicBezTo>
                  <a:pt x="74" y="1295"/>
                  <a:pt x="79" y="1293"/>
                  <a:pt x="84" y="1291"/>
                </a:cubicBezTo>
                <a:cubicBezTo>
                  <a:pt x="91" y="1287"/>
                  <a:pt x="98" y="1285"/>
                  <a:pt x="105" y="1283"/>
                </a:cubicBezTo>
                <a:cubicBezTo>
                  <a:pt x="107" y="1283"/>
                  <a:pt x="109" y="1283"/>
                  <a:pt x="111" y="1282"/>
                </a:cubicBezTo>
                <a:cubicBezTo>
                  <a:pt x="116" y="1279"/>
                  <a:pt x="122" y="1277"/>
                  <a:pt x="127" y="1274"/>
                </a:cubicBezTo>
                <a:cubicBezTo>
                  <a:pt x="133" y="1272"/>
                  <a:pt x="139" y="1270"/>
                  <a:pt x="144" y="1268"/>
                </a:cubicBezTo>
                <a:cubicBezTo>
                  <a:pt x="148" y="1267"/>
                  <a:pt x="151" y="1265"/>
                  <a:pt x="155" y="1264"/>
                </a:cubicBezTo>
                <a:cubicBezTo>
                  <a:pt x="159" y="1262"/>
                  <a:pt x="163" y="1260"/>
                  <a:pt x="167" y="1259"/>
                </a:cubicBezTo>
                <a:cubicBezTo>
                  <a:pt x="171" y="1258"/>
                  <a:pt x="175" y="1256"/>
                  <a:pt x="180" y="1255"/>
                </a:cubicBezTo>
                <a:cubicBezTo>
                  <a:pt x="184" y="1255"/>
                  <a:pt x="187" y="1252"/>
                  <a:pt x="191" y="1250"/>
                </a:cubicBezTo>
                <a:cubicBezTo>
                  <a:pt x="199" y="1248"/>
                  <a:pt x="208" y="1244"/>
                  <a:pt x="216" y="1241"/>
                </a:cubicBezTo>
                <a:cubicBezTo>
                  <a:pt x="225" y="1238"/>
                  <a:pt x="234" y="1235"/>
                  <a:pt x="242" y="1231"/>
                </a:cubicBezTo>
                <a:cubicBezTo>
                  <a:pt x="246" y="1230"/>
                  <a:pt x="251" y="1230"/>
                  <a:pt x="254" y="1227"/>
                </a:cubicBezTo>
                <a:cubicBezTo>
                  <a:pt x="258" y="1225"/>
                  <a:pt x="262" y="1225"/>
                  <a:pt x="265" y="1222"/>
                </a:cubicBezTo>
                <a:cubicBezTo>
                  <a:pt x="269" y="1219"/>
                  <a:pt x="276" y="1220"/>
                  <a:pt x="280" y="1216"/>
                </a:cubicBezTo>
                <a:cubicBezTo>
                  <a:pt x="280" y="1216"/>
                  <a:pt x="281" y="1216"/>
                  <a:pt x="282" y="1216"/>
                </a:cubicBezTo>
                <a:cubicBezTo>
                  <a:pt x="283" y="1215"/>
                  <a:pt x="285" y="1215"/>
                  <a:pt x="287" y="1214"/>
                </a:cubicBezTo>
                <a:cubicBezTo>
                  <a:pt x="291" y="1213"/>
                  <a:pt x="295" y="1211"/>
                  <a:pt x="299" y="1209"/>
                </a:cubicBezTo>
                <a:cubicBezTo>
                  <a:pt x="304" y="1206"/>
                  <a:pt x="311" y="1206"/>
                  <a:pt x="315" y="1202"/>
                </a:cubicBezTo>
                <a:cubicBezTo>
                  <a:pt x="316" y="1202"/>
                  <a:pt x="317" y="1202"/>
                  <a:pt x="318" y="1202"/>
                </a:cubicBezTo>
                <a:cubicBezTo>
                  <a:pt x="322" y="1201"/>
                  <a:pt x="326" y="1200"/>
                  <a:pt x="329" y="1199"/>
                </a:cubicBezTo>
                <a:cubicBezTo>
                  <a:pt x="333" y="1197"/>
                  <a:pt x="337" y="1194"/>
                  <a:pt x="341" y="1193"/>
                </a:cubicBezTo>
                <a:cubicBezTo>
                  <a:pt x="352" y="1189"/>
                  <a:pt x="362" y="1186"/>
                  <a:pt x="373" y="1182"/>
                </a:cubicBezTo>
                <a:cubicBezTo>
                  <a:pt x="374" y="1182"/>
                  <a:pt x="375" y="1181"/>
                  <a:pt x="376" y="1181"/>
                </a:cubicBezTo>
                <a:cubicBezTo>
                  <a:pt x="379" y="1179"/>
                  <a:pt x="381" y="1178"/>
                  <a:pt x="384" y="1177"/>
                </a:cubicBezTo>
                <a:cubicBezTo>
                  <a:pt x="393" y="1173"/>
                  <a:pt x="402" y="1170"/>
                  <a:pt x="411" y="1167"/>
                </a:cubicBezTo>
                <a:cubicBezTo>
                  <a:pt x="418" y="1164"/>
                  <a:pt x="424" y="1161"/>
                  <a:pt x="431" y="1158"/>
                </a:cubicBezTo>
                <a:cubicBezTo>
                  <a:pt x="439" y="1155"/>
                  <a:pt x="447" y="1152"/>
                  <a:pt x="454" y="1149"/>
                </a:cubicBezTo>
                <a:cubicBezTo>
                  <a:pt x="456" y="1148"/>
                  <a:pt x="458" y="1148"/>
                  <a:pt x="459" y="1147"/>
                </a:cubicBezTo>
                <a:cubicBezTo>
                  <a:pt x="461" y="1147"/>
                  <a:pt x="463" y="1146"/>
                  <a:pt x="465" y="1145"/>
                </a:cubicBezTo>
                <a:cubicBezTo>
                  <a:pt x="466" y="1145"/>
                  <a:pt x="468" y="1144"/>
                  <a:pt x="469" y="1144"/>
                </a:cubicBezTo>
                <a:cubicBezTo>
                  <a:pt x="471" y="1143"/>
                  <a:pt x="472" y="1142"/>
                  <a:pt x="473" y="1142"/>
                </a:cubicBezTo>
                <a:cubicBezTo>
                  <a:pt x="478" y="1140"/>
                  <a:pt x="483" y="1138"/>
                  <a:pt x="489" y="1136"/>
                </a:cubicBezTo>
                <a:cubicBezTo>
                  <a:pt x="497" y="1133"/>
                  <a:pt x="504" y="1130"/>
                  <a:pt x="513" y="1127"/>
                </a:cubicBezTo>
                <a:cubicBezTo>
                  <a:pt x="515" y="1126"/>
                  <a:pt x="516" y="1125"/>
                  <a:pt x="518" y="1123"/>
                </a:cubicBezTo>
                <a:cubicBezTo>
                  <a:pt x="521" y="1121"/>
                  <a:pt x="519" y="1119"/>
                  <a:pt x="518" y="1117"/>
                </a:cubicBezTo>
                <a:cubicBezTo>
                  <a:pt x="518" y="1116"/>
                  <a:pt x="518" y="1115"/>
                  <a:pt x="518" y="1115"/>
                </a:cubicBezTo>
                <a:cubicBezTo>
                  <a:pt x="521" y="1108"/>
                  <a:pt x="519" y="1102"/>
                  <a:pt x="519" y="1095"/>
                </a:cubicBezTo>
                <a:cubicBezTo>
                  <a:pt x="518" y="1092"/>
                  <a:pt x="518" y="1088"/>
                  <a:pt x="520" y="1085"/>
                </a:cubicBezTo>
                <a:cubicBezTo>
                  <a:pt x="520" y="1084"/>
                  <a:pt x="520" y="1083"/>
                  <a:pt x="520" y="1083"/>
                </a:cubicBezTo>
                <a:cubicBezTo>
                  <a:pt x="517" y="1081"/>
                  <a:pt x="519" y="1078"/>
                  <a:pt x="518" y="1075"/>
                </a:cubicBezTo>
                <a:cubicBezTo>
                  <a:pt x="518" y="1073"/>
                  <a:pt x="519" y="1071"/>
                  <a:pt x="519" y="1069"/>
                </a:cubicBezTo>
                <a:cubicBezTo>
                  <a:pt x="517" y="1061"/>
                  <a:pt x="517" y="1058"/>
                  <a:pt x="518" y="1051"/>
                </a:cubicBezTo>
                <a:cubicBezTo>
                  <a:pt x="519" y="1049"/>
                  <a:pt x="519" y="1046"/>
                  <a:pt x="518" y="1044"/>
                </a:cubicBezTo>
                <a:cubicBezTo>
                  <a:pt x="517" y="1036"/>
                  <a:pt x="517" y="1033"/>
                  <a:pt x="519" y="1024"/>
                </a:cubicBezTo>
                <a:cubicBezTo>
                  <a:pt x="519" y="1023"/>
                  <a:pt x="518" y="1022"/>
                  <a:pt x="518" y="1022"/>
                </a:cubicBezTo>
                <a:cubicBezTo>
                  <a:pt x="518" y="1017"/>
                  <a:pt x="517" y="1012"/>
                  <a:pt x="516" y="1007"/>
                </a:cubicBezTo>
                <a:cubicBezTo>
                  <a:pt x="516" y="1004"/>
                  <a:pt x="516" y="1001"/>
                  <a:pt x="515" y="999"/>
                </a:cubicBezTo>
                <a:cubicBezTo>
                  <a:pt x="513" y="996"/>
                  <a:pt x="513" y="993"/>
                  <a:pt x="514" y="991"/>
                </a:cubicBezTo>
                <a:cubicBezTo>
                  <a:pt x="515" y="985"/>
                  <a:pt x="516" y="980"/>
                  <a:pt x="515" y="975"/>
                </a:cubicBezTo>
                <a:cubicBezTo>
                  <a:pt x="515" y="972"/>
                  <a:pt x="515" y="968"/>
                  <a:pt x="515" y="965"/>
                </a:cubicBezTo>
                <a:cubicBezTo>
                  <a:pt x="515" y="964"/>
                  <a:pt x="515" y="962"/>
                  <a:pt x="515" y="961"/>
                </a:cubicBezTo>
                <a:cubicBezTo>
                  <a:pt x="515" y="958"/>
                  <a:pt x="517" y="956"/>
                  <a:pt x="516" y="952"/>
                </a:cubicBezTo>
                <a:cubicBezTo>
                  <a:pt x="514" y="946"/>
                  <a:pt x="516" y="940"/>
                  <a:pt x="516" y="934"/>
                </a:cubicBezTo>
                <a:cubicBezTo>
                  <a:pt x="517" y="924"/>
                  <a:pt x="513" y="914"/>
                  <a:pt x="515" y="904"/>
                </a:cubicBezTo>
                <a:cubicBezTo>
                  <a:pt x="515" y="900"/>
                  <a:pt x="513" y="896"/>
                  <a:pt x="513" y="892"/>
                </a:cubicBezTo>
                <a:cubicBezTo>
                  <a:pt x="513" y="885"/>
                  <a:pt x="514" y="879"/>
                  <a:pt x="514" y="872"/>
                </a:cubicBezTo>
                <a:cubicBezTo>
                  <a:pt x="514" y="866"/>
                  <a:pt x="517" y="859"/>
                  <a:pt x="515" y="853"/>
                </a:cubicBezTo>
                <a:cubicBezTo>
                  <a:pt x="514" y="850"/>
                  <a:pt x="516" y="847"/>
                  <a:pt x="514" y="844"/>
                </a:cubicBezTo>
                <a:cubicBezTo>
                  <a:pt x="514" y="843"/>
                  <a:pt x="515" y="842"/>
                  <a:pt x="515" y="842"/>
                </a:cubicBezTo>
                <a:cubicBezTo>
                  <a:pt x="515" y="840"/>
                  <a:pt x="516" y="838"/>
                  <a:pt x="515" y="838"/>
                </a:cubicBezTo>
                <a:cubicBezTo>
                  <a:pt x="513" y="835"/>
                  <a:pt x="514" y="832"/>
                  <a:pt x="515" y="830"/>
                </a:cubicBezTo>
                <a:cubicBezTo>
                  <a:pt x="516" y="826"/>
                  <a:pt x="517" y="822"/>
                  <a:pt x="515" y="818"/>
                </a:cubicBezTo>
                <a:cubicBezTo>
                  <a:pt x="514" y="817"/>
                  <a:pt x="515" y="815"/>
                  <a:pt x="515" y="813"/>
                </a:cubicBezTo>
                <a:cubicBezTo>
                  <a:pt x="515" y="810"/>
                  <a:pt x="514" y="809"/>
                  <a:pt x="512" y="810"/>
                </a:cubicBezTo>
                <a:cubicBezTo>
                  <a:pt x="505" y="812"/>
                  <a:pt x="499" y="814"/>
                  <a:pt x="493" y="817"/>
                </a:cubicBezTo>
                <a:cubicBezTo>
                  <a:pt x="477" y="823"/>
                  <a:pt x="461" y="829"/>
                  <a:pt x="445" y="836"/>
                </a:cubicBezTo>
                <a:cubicBezTo>
                  <a:pt x="429" y="842"/>
                  <a:pt x="414" y="848"/>
                  <a:pt x="398" y="854"/>
                </a:cubicBezTo>
                <a:cubicBezTo>
                  <a:pt x="395" y="855"/>
                  <a:pt x="393" y="856"/>
                  <a:pt x="394" y="860"/>
                </a:cubicBezTo>
                <a:cubicBezTo>
                  <a:pt x="396" y="873"/>
                  <a:pt x="392" y="885"/>
                  <a:pt x="386" y="897"/>
                </a:cubicBezTo>
                <a:cubicBezTo>
                  <a:pt x="386" y="898"/>
                  <a:pt x="385" y="900"/>
                  <a:pt x="385" y="900"/>
                </a:cubicBezTo>
                <a:cubicBezTo>
                  <a:pt x="377" y="908"/>
                  <a:pt x="369" y="915"/>
                  <a:pt x="357" y="912"/>
                </a:cubicBezTo>
                <a:cubicBezTo>
                  <a:pt x="355" y="911"/>
                  <a:pt x="354" y="911"/>
                  <a:pt x="353" y="911"/>
                </a:cubicBezTo>
                <a:cubicBezTo>
                  <a:pt x="348" y="910"/>
                  <a:pt x="348" y="910"/>
                  <a:pt x="347" y="915"/>
                </a:cubicBezTo>
                <a:cubicBezTo>
                  <a:pt x="344" y="926"/>
                  <a:pt x="342" y="936"/>
                  <a:pt x="339" y="947"/>
                </a:cubicBezTo>
                <a:cubicBezTo>
                  <a:pt x="337" y="953"/>
                  <a:pt x="335" y="959"/>
                  <a:pt x="333" y="965"/>
                </a:cubicBezTo>
                <a:cubicBezTo>
                  <a:pt x="329" y="976"/>
                  <a:pt x="326" y="987"/>
                  <a:pt x="322" y="998"/>
                </a:cubicBezTo>
                <a:cubicBezTo>
                  <a:pt x="319" y="1010"/>
                  <a:pt x="316" y="1021"/>
                  <a:pt x="312" y="1032"/>
                </a:cubicBezTo>
                <a:cubicBezTo>
                  <a:pt x="310" y="1037"/>
                  <a:pt x="308" y="1041"/>
                  <a:pt x="306" y="1046"/>
                </a:cubicBezTo>
                <a:cubicBezTo>
                  <a:pt x="305" y="1048"/>
                  <a:pt x="305" y="1049"/>
                  <a:pt x="308" y="1050"/>
                </a:cubicBezTo>
                <a:cubicBezTo>
                  <a:pt x="312" y="1052"/>
                  <a:pt x="315" y="1054"/>
                  <a:pt x="319" y="1056"/>
                </a:cubicBezTo>
                <a:cubicBezTo>
                  <a:pt x="323" y="1059"/>
                  <a:pt x="328" y="1062"/>
                  <a:pt x="330" y="1068"/>
                </a:cubicBezTo>
                <a:cubicBezTo>
                  <a:pt x="334" y="1076"/>
                  <a:pt x="334" y="1083"/>
                  <a:pt x="331" y="1091"/>
                </a:cubicBezTo>
                <a:cubicBezTo>
                  <a:pt x="329" y="1099"/>
                  <a:pt x="324" y="1105"/>
                  <a:pt x="317" y="1109"/>
                </a:cubicBezTo>
                <a:cubicBezTo>
                  <a:pt x="309" y="1114"/>
                  <a:pt x="301" y="1117"/>
                  <a:pt x="291" y="1117"/>
                </a:cubicBezTo>
                <a:cubicBezTo>
                  <a:pt x="282" y="1117"/>
                  <a:pt x="275" y="1114"/>
                  <a:pt x="269" y="1107"/>
                </a:cubicBezTo>
                <a:cubicBezTo>
                  <a:pt x="261" y="1100"/>
                  <a:pt x="254" y="1091"/>
                  <a:pt x="255" y="1079"/>
                </a:cubicBezTo>
                <a:cubicBezTo>
                  <a:pt x="256" y="1078"/>
                  <a:pt x="255" y="1077"/>
                  <a:pt x="255" y="1076"/>
                </a:cubicBezTo>
                <a:cubicBezTo>
                  <a:pt x="260" y="1060"/>
                  <a:pt x="270" y="1052"/>
                  <a:pt x="288" y="1050"/>
                </a:cubicBezTo>
                <a:cubicBezTo>
                  <a:pt x="290" y="1050"/>
                  <a:pt x="292" y="1051"/>
                  <a:pt x="293" y="1050"/>
                </a:cubicBezTo>
                <a:cubicBezTo>
                  <a:pt x="295" y="1050"/>
                  <a:pt x="297" y="1048"/>
                  <a:pt x="298" y="1047"/>
                </a:cubicBezTo>
                <a:cubicBezTo>
                  <a:pt x="299" y="1045"/>
                  <a:pt x="300" y="1042"/>
                  <a:pt x="301" y="1039"/>
                </a:cubicBezTo>
                <a:cubicBezTo>
                  <a:pt x="303" y="1034"/>
                  <a:pt x="305" y="1028"/>
                  <a:pt x="307" y="1023"/>
                </a:cubicBezTo>
                <a:cubicBezTo>
                  <a:pt x="308" y="1020"/>
                  <a:pt x="310" y="1017"/>
                  <a:pt x="311" y="1013"/>
                </a:cubicBezTo>
                <a:cubicBezTo>
                  <a:pt x="311" y="1012"/>
                  <a:pt x="310" y="1010"/>
                  <a:pt x="311" y="1009"/>
                </a:cubicBezTo>
                <a:cubicBezTo>
                  <a:pt x="313" y="1003"/>
                  <a:pt x="316" y="997"/>
                  <a:pt x="318" y="991"/>
                </a:cubicBezTo>
                <a:cubicBezTo>
                  <a:pt x="321" y="984"/>
                  <a:pt x="323" y="978"/>
                  <a:pt x="325" y="971"/>
                </a:cubicBezTo>
                <a:cubicBezTo>
                  <a:pt x="326" y="966"/>
                  <a:pt x="327" y="961"/>
                  <a:pt x="328" y="956"/>
                </a:cubicBezTo>
                <a:cubicBezTo>
                  <a:pt x="329" y="952"/>
                  <a:pt x="332" y="949"/>
                  <a:pt x="333" y="945"/>
                </a:cubicBezTo>
                <a:cubicBezTo>
                  <a:pt x="335" y="939"/>
                  <a:pt x="336" y="932"/>
                  <a:pt x="338" y="925"/>
                </a:cubicBezTo>
                <a:cubicBezTo>
                  <a:pt x="339" y="921"/>
                  <a:pt x="339" y="917"/>
                  <a:pt x="340" y="913"/>
                </a:cubicBezTo>
                <a:cubicBezTo>
                  <a:pt x="342" y="910"/>
                  <a:pt x="341" y="909"/>
                  <a:pt x="339" y="907"/>
                </a:cubicBezTo>
                <a:cubicBezTo>
                  <a:pt x="336" y="905"/>
                  <a:pt x="332" y="903"/>
                  <a:pt x="329" y="901"/>
                </a:cubicBezTo>
                <a:cubicBezTo>
                  <a:pt x="328" y="900"/>
                  <a:pt x="327" y="900"/>
                  <a:pt x="327" y="899"/>
                </a:cubicBezTo>
                <a:cubicBezTo>
                  <a:pt x="326" y="896"/>
                  <a:pt x="324" y="893"/>
                  <a:pt x="322" y="890"/>
                </a:cubicBezTo>
                <a:cubicBezTo>
                  <a:pt x="318" y="882"/>
                  <a:pt x="315" y="875"/>
                  <a:pt x="315" y="866"/>
                </a:cubicBezTo>
                <a:cubicBezTo>
                  <a:pt x="316" y="861"/>
                  <a:pt x="316" y="855"/>
                  <a:pt x="318" y="850"/>
                </a:cubicBezTo>
                <a:cubicBezTo>
                  <a:pt x="322" y="844"/>
                  <a:pt x="327" y="839"/>
                  <a:pt x="334" y="836"/>
                </a:cubicBezTo>
                <a:cubicBezTo>
                  <a:pt x="337" y="835"/>
                  <a:pt x="340" y="833"/>
                  <a:pt x="343" y="832"/>
                </a:cubicBezTo>
                <a:cubicBezTo>
                  <a:pt x="344" y="832"/>
                  <a:pt x="344" y="831"/>
                  <a:pt x="345" y="830"/>
                </a:cubicBezTo>
                <a:cubicBezTo>
                  <a:pt x="342" y="828"/>
                  <a:pt x="343" y="828"/>
                  <a:pt x="346" y="828"/>
                </a:cubicBezTo>
                <a:cubicBezTo>
                  <a:pt x="349" y="827"/>
                  <a:pt x="348" y="825"/>
                  <a:pt x="348" y="823"/>
                </a:cubicBezTo>
                <a:cubicBezTo>
                  <a:pt x="349" y="812"/>
                  <a:pt x="351" y="800"/>
                  <a:pt x="352" y="788"/>
                </a:cubicBezTo>
                <a:cubicBezTo>
                  <a:pt x="353" y="781"/>
                  <a:pt x="354" y="773"/>
                  <a:pt x="355" y="765"/>
                </a:cubicBezTo>
                <a:cubicBezTo>
                  <a:pt x="356" y="752"/>
                  <a:pt x="357" y="738"/>
                  <a:pt x="358" y="725"/>
                </a:cubicBezTo>
                <a:cubicBezTo>
                  <a:pt x="359" y="713"/>
                  <a:pt x="359" y="702"/>
                  <a:pt x="360" y="690"/>
                </a:cubicBezTo>
                <a:cubicBezTo>
                  <a:pt x="361" y="677"/>
                  <a:pt x="362" y="665"/>
                  <a:pt x="363" y="653"/>
                </a:cubicBezTo>
                <a:cubicBezTo>
                  <a:pt x="364" y="644"/>
                  <a:pt x="364" y="635"/>
                  <a:pt x="365" y="627"/>
                </a:cubicBezTo>
                <a:cubicBezTo>
                  <a:pt x="365" y="624"/>
                  <a:pt x="364" y="623"/>
                  <a:pt x="361" y="623"/>
                </a:cubicBezTo>
                <a:cubicBezTo>
                  <a:pt x="360" y="623"/>
                  <a:pt x="359" y="622"/>
                  <a:pt x="358" y="622"/>
                </a:cubicBezTo>
                <a:cubicBezTo>
                  <a:pt x="350" y="620"/>
                  <a:pt x="343" y="616"/>
                  <a:pt x="339" y="609"/>
                </a:cubicBezTo>
                <a:cubicBezTo>
                  <a:pt x="337" y="605"/>
                  <a:pt x="335" y="602"/>
                  <a:pt x="334" y="599"/>
                </a:cubicBezTo>
                <a:cubicBezTo>
                  <a:pt x="332" y="595"/>
                  <a:pt x="331" y="592"/>
                  <a:pt x="331" y="588"/>
                </a:cubicBezTo>
                <a:cubicBezTo>
                  <a:pt x="329" y="579"/>
                  <a:pt x="330" y="569"/>
                  <a:pt x="336" y="560"/>
                </a:cubicBezTo>
                <a:cubicBezTo>
                  <a:pt x="336" y="560"/>
                  <a:pt x="336" y="557"/>
                  <a:pt x="336" y="556"/>
                </a:cubicBezTo>
                <a:cubicBezTo>
                  <a:pt x="333" y="552"/>
                  <a:pt x="329" y="548"/>
                  <a:pt x="326" y="544"/>
                </a:cubicBezTo>
                <a:cubicBezTo>
                  <a:pt x="319" y="535"/>
                  <a:pt x="313" y="526"/>
                  <a:pt x="306" y="517"/>
                </a:cubicBezTo>
                <a:cubicBezTo>
                  <a:pt x="305" y="515"/>
                  <a:pt x="303" y="513"/>
                  <a:pt x="301" y="512"/>
                </a:cubicBezTo>
                <a:cubicBezTo>
                  <a:pt x="295" y="506"/>
                  <a:pt x="290" y="501"/>
                  <a:pt x="284" y="496"/>
                </a:cubicBezTo>
                <a:cubicBezTo>
                  <a:pt x="279" y="490"/>
                  <a:pt x="273" y="483"/>
                  <a:pt x="268" y="477"/>
                </a:cubicBezTo>
                <a:cubicBezTo>
                  <a:pt x="266" y="476"/>
                  <a:pt x="265" y="474"/>
                  <a:pt x="264" y="472"/>
                </a:cubicBezTo>
                <a:cubicBezTo>
                  <a:pt x="260" y="467"/>
                  <a:pt x="257" y="462"/>
                  <a:pt x="253" y="457"/>
                </a:cubicBezTo>
                <a:cubicBezTo>
                  <a:pt x="248" y="451"/>
                  <a:pt x="243" y="446"/>
                  <a:pt x="238" y="440"/>
                </a:cubicBezTo>
                <a:cubicBezTo>
                  <a:pt x="236" y="437"/>
                  <a:pt x="235" y="437"/>
                  <a:pt x="233" y="439"/>
                </a:cubicBezTo>
                <a:cubicBezTo>
                  <a:pt x="231" y="440"/>
                  <a:pt x="230" y="441"/>
                  <a:pt x="229" y="442"/>
                </a:cubicBezTo>
                <a:cubicBezTo>
                  <a:pt x="227" y="443"/>
                  <a:pt x="225" y="444"/>
                  <a:pt x="223" y="445"/>
                </a:cubicBezTo>
                <a:cubicBezTo>
                  <a:pt x="219" y="446"/>
                  <a:pt x="216" y="447"/>
                  <a:pt x="212" y="448"/>
                </a:cubicBezTo>
                <a:cubicBezTo>
                  <a:pt x="207" y="449"/>
                  <a:pt x="203" y="450"/>
                  <a:pt x="198" y="451"/>
                </a:cubicBezTo>
                <a:cubicBezTo>
                  <a:pt x="193" y="452"/>
                  <a:pt x="193" y="452"/>
                  <a:pt x="193" y="457"/>
                </a:cubicBezTo>
                <a:cubicBezTo>
                  <a:pt x="191" y="468"/>
                  <a:pt x="190" y="479"/>
                  <a:pt x="188" y="490"/>
                </a:cubicBezTo>
                <a:cubicBezTo>
                  <a:pt x="186" y="498"/>
                  <a:pt x="185" y="507"/>
                  <a:pt x="186" y="515"/>
                </a:cubicBezTo>
                <a:cubicBezTo>
                  <a:pt x="186" y="523"/>
                  <a:pt x="186" y="531"/>
                  <a:pt x="184" y="538"/>
                </a:cubicBezTo>
                <a:cubicBezTo>
                  <a:pt x="183" y="546"/>
                  <a:pt x="180" y="554"/>
                  <a:pt x="180" y="562"/>
                </a:cubicBezTo>
                <a:cubicBezTo>
                  <a:pt x="179" y="573"/>
                  <a:pt x="177" y="584"/>
                  <a:pt x="177" y="595"/>
                </a:cubicBezTo>
                <a:cubicBezTo>
                  <a:pt x="177" y="597"/>
                  <a:pt x="177" y="600"/>
                  <a:pt x="176" y="603"/>
                </a:cubicBezTo>
                <a:cubicBezTo>
                  <a:pt x="176" y="612"/>
                  <a:pt x="174" y="620"/>
                  <a:pt x="174" y="629"/>
                </a:cubicBezTo>
                <a:cubicBezTo>
                  <a:pt x="173" y="634"/>
                  <a:pt x="175" y="635"/>
                  <a:pt x="179" y="637"/>
                </a:cubicBezTo>
                <a:cubicBezTo>
                  <a:pt x="182" y="639"/>
                  <a:pt x="186" y="640"/>
                  <a:pt x="188" y="642"/>
                </a:cubicBezTo>
                <a:cubicBezTo>
                  <a:pt x="192" y="647"/>
                  <a:pt x="196" y="652"/>
                  <a:pt x="200" y="658"/>
                </a:cubicBezTo>
                <a:cubicBezTo>
                  <a:pt x="201" y="660"/>
                  <a:pt x="203" y="662"/>
                  <a:pt x="203" y="664"/>
                </a:cubicBezTo>
                <a:cubicBezTo>
                  <a:pt x="203" y="672"/>
                  <a:pt x="206" y="679"/>
                  <a:pt x="205" y="687"/>
                </a:cubicBezTo>
                <a:cubicBezTo>
                  <a:pt x="202" y="702"/>
                  <a:pt x="195" y="714"/>
                  <a:pt x="183" y="723"/>
                </a:cubicBezTo>
                <a:cubicBezTo>
                  <a:pt x="177" y="727"/>
                  <a:pt x="171" y="728"/>
                  <a:pt x="165" y="730"/>
                </a:cubicBezTo>
                <a:cubicBezTo>
                  <a:pt x="160" y="731"/>
                  <a:pt x="155" y="732"/>
                  <a:pt x="151" y="733"/>
                </a:cubicBezTo>
                <a:cubicBezTo>
                  <a:pt x="149" y="733"/>
                  <a:pt x="148" y="734"/>
                  <a:pt x="147" y="734"/>
                </a:cubicBezTo>
                <a:cubicBezTo>
                  <a:pt x="138" y="731"/>
                  <a:pt x="129" y="727"/>
                  <a:pt x="123" y="720"/>
                </a:cubicBezTo>
                <a:cubicBezTo>
                  <a:pt x="119" y="716"/>
                  <a:pt x="116" y="711"/>
                  <a:pt x="112" y="705"/>
                </a:cubicBezTo>
                <a:cubicBezTo>
                  <a:pt x="109" y="700"/>
                  <a:pt x="106" y="693"/>
                  <a:pt x="106" y="687"/>
                </a:cubicBezTo>
                <a:cubicBezTo>
                  <a:pt x="106" y="681"/>
                  <a:pt x="106" y="675"/>
                  <a:pt x="108" y="670"/>
                </a:cubicBezTo>
                <a:cubicBezTo>
                  <a:pt x="109" y="664"/>
                  <a:pt x="112" y="659"/>
                  <a:pt x="115" y="654"/>
                </a:cubicBezTo>
                <a:cubicBezTo>
                  <a:pt x="122" y="643"/>
                  <a:pt x="133" y="635"/>
                  <a:pt x="145" y="629"/>
                </a:cubicBezTo>
                <a:cubicBezTo>
                  <a:pt x="148" y="628"/>
                  <a:pt x="152" y="627"/>
                  <a:pt x="156" y="629"/>
                </a:cubicBezTo>
                <a:cubicBezTo>
                  <a:pt x="159" y="631"/>
                  <a:pt x="164" y="627"/>
                  <a:pt x="164" y="624"/>
                </a:cubicBezTo>
                <a:cubicBezTo>
                  <a:pt x="166" y="607"/>
                  <a:pt x="168" y="590"/>
                  <a:pt x="169" y="574"/>
                </a:cubicBezTo>
                <a:cubicBezTo>
                  <a:pt x="170" y="567"/>
                  <a:pt x="171" y="561"/>
                  <a:pt x="172" y="554"/>
                </a:cubicBezTo>
                <a:cubicBezTo>
                  <a:pt x="173" y="545"/>
                  <a:pt x="175" y="535"/>
                  <a:pt x="176" y="526"/>
                </a:cubicBezTo>
                <a:cubicBezTo>
                  <a:pt x="177" y="518"/>
                  <a:pt x="177" y="509"/>
                  <a:pt x="178" y="501"/>
                </a:cubicBezTo>
                <a:cubicBezTo>
                  <a:pt x="179" y="487"/>
                  <a:pt x="182" y="473"/>
                  <a:pt x="184" y="459"/>
                </a:cubicBezTo>
                <a:cubicBezTo>
                  <a:pt x="184" y="457"/>
                  <a:pt x="184" y="455"/>
                  <a:pt x="183" y="453"/>
                </a:cubicBezTo>
                <a:cubicBezTo>
                  <a:pt x="183" y="452"/>
                  <a:pt x="182" y="451"/>
                  <a:pt x="181" y="450"/>
                </a:cubicBezTo>
                <a:cubicBezTo>
                  <a:pt x="178" y="447"/>
                  <a:pt x="175" y="446"/>
                  <a:pt x="173" y="443"/>
                </a:cubicBezTo>
                <a:cubicBezTo>
                  <a:pt x="169" y="436"/>
                  <a:pt x="163" y="429"/>
                  <a:pt x="166" y="419"/>
                </a:cubicBezTo>
                <a:cubicBezTo>
                  <a:pt x="166" y="416"/>
                  <a:pt x="167" y="412"/>
                  <a:pt x="168" y="408"/>
                </a:cubicBezTo>
                <a:cubicBezTo>
                  <a:pt x="170" y="396"/>
                  <a:pt x="175" y="387"/>
                  <a:pt x="184" y="380"/>
                </a:cubicBezTo>
                <a:cubicBezTo>
                  <a:pt x="191" y="374"/>
                  <a:pt x="198" y="370"/>
                  <a:pt x="207" y="368"/>
                </a:cubicBezTo>
                <a:cubicBezTo>
                  <a:pt x="213" y="367"/>
                  <a:pt x="218" y="366"/>
                  <a:pt x="223" y="369"/>
                </a:cubicBezTo>
                <a:cubicBezTo>
                  <a:pt x="228" y="371"/>
                  <a:pt x="232" y="375"/>
                  <a:pt x="237" y="378"/>
                </a:cubicBezTo>
                <a:cubicBezTo>
                  <a:pt x="244" y="382"/>
                  <a:pt x="246" y="387"/>
                  <a:pt x="245" y="395"/>
                </a:cubicBezTo>
                <a:cubicBezTo>
                  <a:pt x="245" y="396"/>
                  <a:pt x="244" y="396"/>
                  <a:pt x="245" y="396"/>
                </a:cubicBezTo>
                <a:cubicBezTo>
                  <a:pt x="251" y="401"/>
                  <a:pt x="249" y="409"/>
                  <a:pt x="249" y="415"/>
                </a:cubicBezTo>
                <a:cubicBezTo>
                  <a:pt x="249" y="420"/>
                  <a:pt x="246" y="425"/>
                  <a:pt x="243" y="430"/>
                </a:cubicBezTo>
                <a:cubicBezTo>
                  <a:pt x="241" y="434"/>
                  <a:pt x="241" y="435"/>
                  <a:pt x="245" y="438"/>
                </a:cubicBezTo>
                <a:cubicBezTo>
                  <a:pt x="246" y="439"/>
                  <a:pt x="248" y="440"/>
                  <a:pt x="249" y="441"/>
                </a:cubicBezTo>
                <a:cubicBezTo>
                  <a:pt x="252" y="449"/>
                  <a:pt x="259" y="455"/>
                  <a:pt x="263" y="464"/>
                </a:cubicBezTo>
                <a:cubicBezTo>
                  <a:pt x="264" y="464"/>
                  <a:pt x="264" y="465"/>
                  <a:pt x="265" y="465"/>
                </a:cubicBezTo>
                <a:cubicBezTo>
                  <a:pt x="271" y="470"/>
                  <a:pt x="277" y="476"/>
                  <a:pt x="281" y="482"/>
                </a:cubicBezTo>
                <a:cubicBezTo>
                  <a:pt x="283" y="484"/>
                  <a:pt x="284" y="486"/>
                  <a:pt x="285" y="488"/>
                </a:cubicBezTo>
                <a:cubicBezTo>
                  <a:pt x="290" y="492"/>
                  <a:pt x="295" y="497"/>
                  <a:pt x="301" y="501"/>
                </a:cubicBezTo>
                <a:cubicBezTo>
                  <a:pt x="303" y="503"/>
                  <a:pt x="305" y="505"/>
                  <a:pt x="307" y="507"/>
                </a:cubicBezTo>
                <a:cubicBezTo>
                  <a:pt x="310" y="510"/>
                  <a:pt x="313" y="513"/>
                  <a:pt x="316" y="517"/>
                </a:cubicBezTo>
                <a:cubicBezTo>
                  <a:pt x="318" y="520"/>
                  <a:pt x="320" y="524"/>
                  <a:pt x="324" y="526"/>
                </a:cubicBezTo>
                <a:cubicBezTo>
                  <a:pt x="326" y="527"/>
                  <a:pt x="326" y="530"/>
                  <a:pt x="327" y="532"/>
                </a:cubicBezTo>
                <a:cubicBezTo>
                  <a:pt x="329" y="534"/>
                  <a:pt x="331" y="535"/>
                  <a:pt x="332" y="537"/>
                </a:cubicBezTo>
                <a:cubicBezTo>
                  <a:pt x="335" y="541"/>
                  <a:pt x="337" y="545"/>
                  <a:pt x="340" y="549"/>
                </a:cubicBezTo>
                <a:cubicBezTo>
                  <a:pt x="341" y="551"/>
                  <a:pt x="341" y="550"/>
                  <a:pt x="343" y="549"/>
                </a:cubicBezTo>
                <a:cubicBezTo>
                  <a:pt x="345" y="546"/>
                  <a:pt x="348" y="543"/>
                  <a:pt x="351" y="541"/>
                </a:cubicBezTo>
                <a:cubicBezTo>
                  <a:pt x="358" y="536"/>
                  <a:pt x="367" y="532"/>
                  <a:pt x="376" y="531"/>
                </a:cubicBezTo>
                <a:cubicBezTo>
                  <a:pt x="381" y="531"/>
                  <a:pt x="386" y="530"/>
                  <a:pt x="390" y="531"/>
                </a:cubicBezTo>
                <a:cubicBezTo>
                  <a:pt x="397" y="535"/>
                  <a:pt x="403" y="539"/>
                  <a:pt x="410" y="544"/>
                </a:cubicBezTo>
                <a:cubicBezTo>
                  <a:pt x="412" y="545"/>
                  <a:pt x="413" y="548"/>
                  <a:pt x="415" y="548"/>
                </a:cubicBezTo>
                <a:cubicBezTo>
                  <a:pt x="416" y="548"/>
                  <a:pt x="418" y="545"/>
                  <a:pt x="419" y="544"/>
                </a:cubicBezTo>
                <a:cubicBezTo>
                  <a:pt x="430" y="537"/>
                  <a:pt x="440" y="529"/>
                  <a:pt x="450" y="522"/>
                </a:cubicBezTo>
                <a:cubicBezTo>
                  <a:pt x="468" y="510"/>
                  <a:pt x="485" y="497"/>
                  <a:pt x="503" y="486"/>
                </a:cubicBezTo>
                <a:cubicBezTo>
                  <a:pt x="509" y="482"/>
                  <a:pt x="511" y="475"/>
                  <a:pt x="510" y="470"/>
                </a:cubicBezTo>
                <a:cubicBezTo>
                  <a:pt x="510" y="464"/>
                  <a:pt x="511" y="459"/>
                  <a:pt x="509" y="453"/>
                </a:cubicBezTo>
                <a:cubicBezTo>
                  <a:pt x="508" y="448"/>
                  <a:pt x="509" y="441"/>
                  <a:pt x="508" y="436"/>
                </a:cubicBezTo>
                <a:cubicBezTo>
                  <a:pt x="508" y="435"/>
                  <a:pt x="508" y="434"/>
                  <a:pt x="508" y="434"/>
                </a:cubicBezTo>
                <a:cubicBezTo>
                  <a:pt x="509" y="429"/>
                  <a:pt x="509" y="424"/>
                  <a:pt x="509" y="420"/>
                </a:cubicBezTo>
                <a:cubicBezTo>
                  <a:pt x="509" y="415"/>
                  <a:pt x="508" y="410"/>
                  <a:pt x="507" y="405"/>
                </a:cubicBezTo>
                <a:cubicBezTo>
                  <a:pt x="507" y="405"/>
                  <a:pt x="507" y="404"/>
                  <a:pt x="508" y="404"/>
                </a:cubicBezTo>
                <a:cubicBezTo>
                  <a:pt x="511" y="403"/>
                  <a:pt x="509" y="400"/>
                  <a:pt x="509" y="399"/>
                </a:cubicBezTo>
                <a:cubicBezTo>
                  <a:pt x="509" y="396"/>
                  <a:pt x="509" y="393"/>
                  <a:pt x="508" y="390"/>
                </a:cubicBezTo>
                <a:cubicBezTo>
                  <a:pt x="508" y="387"/>
                  <a:pt x="509" y="385"/>
                  <a:pt x="508" y="382"/>
                </a:cubicBezTo>
                <a:cubicBezTo>
                  <a:pt x="507" y="380"/>
                  <a:pt x="507" y="376"/>
                  <a:pt x="508" y="373"/>
                </a:cubicBezTo>
                <a:cubicBezTo>
                  <a:pt x="510" y="367"/>
                  <a:pt x="509" y="361"/>
                  <a:pt x="508" y="354"/>
                </a:cubicBezTo>
                <a:cubicBezTo>
                  <a:pt x="508" y="351"/>
                  <a:pt x="508" y="347"/>
                  <a:pt x="508" y="343"/>
                </a:cubicBezTo>
                <a:cubicBezTo>
                  <a:pt x="508" y="342"/>
                  <a:pt x="508" y="340"/>
                  <a:pt x="508" y="339"/>
                </a:cubicBezTo>
                <a:cubicBezTo>
                  <a:pt x="508" y="336"/>
                  <a:pt x="506" y="333"/>
                  <a:pt x="507" y="330"/>
                </a:cubicBezTo>
                <a:cubicBezTo>
                  <a:pt x="508" y="326"/>
                  <a:pt x="507" y="322"/>
                  <a:pt x="507" y="319"/>
                </a:cubicBezTo>
                <a:cubicBezTo>
                  <a:pt x="507" y="312"/>
                  <a:pt x="506" y="306"/>
                  <a:pt x="506" y="299"/>
                </a:cubicBezTo>
                <a:cubicBezTo>
                  <a:pt x="506" y="296"/>
                  <a:pt x="509" y="292"/>
                  <a:pt x="505" y="289"/>
                </a:cubicBezTo>
                <a:cubicBezTo>
                  <a:pt x="505" y="289"/>
                  <a:pt x="505" y="288"/>
                  <a:pt x="505" y="287"/>
                </a:cubicBezTo>
                <a:cubicBezTo>
                  <a:pt x="508" y="285"/>
                  <a:pt x="507" y="282"/>
                  <a:pt x="506" y="279"/>
                </a:cubicBezTo>
                <a:cubicBezTo>
                  <a:pt x="506" y="273"/>
                  <a:pt x="506" y="266"/>
                  <a:pt x="506" y="259"/>
                </a:cubicBezTo>
                <a:cubicBezTo>
                  <a:pt x="506" y="255"/>
                  <a:pt x="502" y="251"/>
                  <a:pt x="506" y="247"/>
                </a:cubicBezTo>
                <a:cubicBezTo>
                  <a:pt x="507" y="247"/>
                  <a:pt x="506" y="246"/>
                  <a:pt x="506" y="245"/>
                </a:cubicBezTo>
                <a:cubicBezTo>
                  <a:pt x="506" y="238"/>
                  <a:pt x="505" y="231"/>
                  <a:pt x="505" y="225"/>
                </a:cubicBezTo>
                <a:cubicBezTo>
                  <a:pt x="505" y="217"/>
                  <a:pt x="503" y="209"/>
                  <a:pt x="505" y="202"/>
                </a:cubicBezTo>
                <a:cubicBezTo>
                  <a:pt x="505" y="202"/>
                  <a:pt x="505" y="201"/>
                  <a:pt x="505" y="201"/>
                </a:cubicBezTo>
                <a:cubicBezTo>
                  <a:pt x="503" y="194"/>
                  <a:pt x="505" y="188"/>
                  <a:pt x="503" y="181"/>
                </a:cubicBezTo>
                <a:cubicBezTo>
                  <a:pt x="503" y="180"/>
                  <a:pt x="504" y="180"/>
                  <a:pt x="504" y="179"/>
                </a:cubicBezTo>
                <a:cubicBezTo>
                  <a:pt x="504" y="177"/>
                  <a:pt x="505" y="176"/>
                  <a:pt x="505" y="175"/>
                </a:cubicBezTo>
                <a:cubicBezTo>
                  <a:pt x="504" y="172"/>
                  <a:pt x="503" y="169"/>
                  <a:pt x="503" y="166"/>
                </a:cubicBezTo>
                <a:cubicBezTo>
                  <a:pt x="503" y="163"/>
                  <a:pt x="502" y="159"/>
                  <a:pt x="503" y="157"/>
                </a:cubicBezTo>
                <a:cubicBezTo>
                  <a:pt x="505" y="154"/>
                  <a:pt x="504" y="152"/>
                  <a:pt x="503" y="150"/>
                </a:cubicBezTo>
                <a:cubicBezTo>
                  <a:pt x="502" y="147"/>
                  <a:pt x="503" y="143"/>
                  <a:pt x="503" y="140"/>
                </a:cubicBezTo>
                <a:cubicBezTo>
                  <a:pt x="503" y="139"/>
                  <a:pt x="503" y="138"/>
                  <a:pt x="503" y="137"/>
                </a:cubicBezTo>
                <a:cubicBezTo>
                  <a:pt x="502" y="133"/>
                  <a:pt x="502" y="130"/>
                  <a:pt x="502" y="126"/>
                </a:cubicBezTo>
                <a:cubicBezTo>
                  <a:pt x="500" y="119"/>
                  <a:pt x="504" y="112"/>
                  <a:pt x="502" y="105"/>
                </a:cubicBezTo>
                <a:cubicBezTo>
                  <a:pt x="501" y="101"/>
                  <a:pt x="500" y="97"/>
                  <a:pt x="501" y="93"/>
                </a:cubicBezTo>
                <a:cubicBezTo>
                  <a:pt x="503" y="88"/>
                  <a:pt x="500" y="83"/>
                  <a:pt x="501" y="78"/>
                </a:cubicBezTo>
                <a:cubicBezTo>
                  <a:pt x="502" y="77"/>
                  <a:pt x="502" y="75"/>
                  <a:pt x="502" y="73"/>
                </a:cubicBezTo>
                <a:cubicBezTo>
                  <a:pt x="502" y="73"/>
                  <a:pt x="502" y="72"/>
                  <a:pt x="501" y="72"/>
                </a:cubicBezTo>
                <a:cubicBezTo>
                  <a:pt x="499" y="71"/>
                  <a:pt x="500" y="69"/>
                  <a:pt x="500" y="67"/>
                </a:cubicBezTo>
                <a:cubicBezTo>
                  <a:pt x="500" y="63"/>
                  <a:pt x="499" y="60"/>
                  <a:pt x="499" y="56"/>
                </a:cubicBezTo>
                <a:cubicBezTo>
                  <a:pt x="500" y="49"/>
                  <a:pt x="497" y="43"/>
                  <a:pt x="499" y="36"/>
                </a:cubicBezTo>
                <a:cubicBezTo>
                  <a:pt x="500" y="33"/>
                  <a:pt x="499" y="31"/>
                  <a:pt x="498" y="28"/>
                </a:cubicBezTo>
                <a:cubicBezTo>
                  <a:pt x="498" y="27"/>
                  <a:pt x="497" y="27"/>
                  <a:pt x="496" y="27"/>
                </a:cubicBezTo>
                <a:cubicBezTo>
                  <a:pt x="494" y="27"/>
                  <a:pt x="493" y="27"/>
                  <a:pt x="492" y="28"/>
                </a:cubicBezTo>
                <a:cubicBezTo>
                  <a:pt x="480" y="32"/>
                  <a:pt x="468" y="38"/>
                  <a:pt x="456" y="41"/>
                </a:cubicBezTo>
                <a:cubicBezTo>
                  <a:pt x="455" y="42"/>
                  <a:pt x="454" y="42"/>
                  <a:pt x="454" y="42"/>
                </a:cubicBezTo>
                <a:cubicBezTo>
                  <a:pt x="455" y="44"/>
                  <a:pt x="454" y="44"/>
                  <a:pt x="452" y="44"/>
                </a:cubicBezTo>
                <a:cubicBezTo>
                  <a:pt x="451" y="44"/>
                  <a:pt x="449" y="44"/>
                  <a:pt x="447" y="44"/>
                </a:cubicBezTo>
                <a:cubicBezTo>
                  <a:pt x="443" y="46"/>
                  <a:pt x="438" y="49"/>
                  <a:pt x="433" y="50"/>
                </a:cubicBezTo>
                <a:cubicBezTo>
                  <a:pt x="428" y="52"/>
                  <a:pt x="422" y="53"/>
                  <a:pt x="417" y="55"/>
                </a:cubicBezTo>
                <a:cubicBezTo>
                  <a:pt x="414" y="56"/>
                  <a:pt x="412" y="57"/>
                  <a:pt x="410" y="58"/>
                </a:cubicBezTo>
                <a:cubicBezTo>
                  <a:pt x="405" y="59"/>
                  <a:pt x="401" y="60"/>
                  <a:pt x="396" y="62"/>
                </a:cubicBezTo>
                <a:cubicBezTo>
                  <a:pt x="384" y="66"/>
                  <a:pt x="371" y="70"/>
                  <a:pt x="359" y="74"/>
                </a:cubicBezTo>
                <a:cubicBezTo>
                  <a:pt x="355" y="75"/>
                  <a:pt x="352" y="76"/>
                  <a:pt x="349" y="77"/>
                </a:cubicBezTo>
                <a:cubicBezTo>
                  <a:pt x="348" y="78"/>
                  <a:pt x="346" y="78"/>
                  <a:pt x="345" y="78"/>
                </a:cubicBezTo>
                <a:cubicBezTo>
                  <a:pt x="344" y="79"/>
                  <a:pt x="342" y="78"/>
                  <a:pt x="341" y="79"/>
                </a:cubicBezTo>
                <a:cubicBezTo>
                  <a:pt x="330" y="83"/>
                  <a:pt x="318" y="87"/>
                  <a:pt x="306" y="91"/>
                </a:cubicBezTo>
                <a:cubicBezTo>
                  <a:pt x="300" y="93"/>
                  <a:pt x="294" y="96"/>
                  <a:pt x="287" y="98"/>
                </a:cubicBezTo>
                <a:cubicBezTo>
                  <a:pt x="281" y="99"/>
                  <a:pt x="276" y="103"/>
                  <a:pt x="269" y="102"/>
                </a:cubicBezTo>
                <a:cubicBezTo>
                  <a:pt x="269" y="101"/>
                  <a:pt x="268" y="102"/>
                  <a:pt x="267" y="102"/>
                </a:cubicBezTo>
                <a:cubicBezTo>
                  <a:pt x="260" y="105"/>
                  <a:pt x="253" y="107"/>
                  <a:pt x="246" y="110"/>
                </a:cubicBezTo>
                <a:cubicBezTo>
                  <a:pt x="243" y="112"/>
                  <a:pt x="239" y="112"/>
                  <a:pt x="236" y="112"/>
                </a:cubicBezTo>
                <a:cubicBezTo>
                  <a:pt x="231" y="113"/>
                  <a:pt x="226" y="116"/>
                  <a:pt x="221" y="118"/>
                </a:cubicBezTo>
                <a:cubicBezTo>
                  <a:pt x="213" y="120"/>
                  <a:pt x="205" y="125"/>
                  <a:pt x="196" y="125"/>
                </a:cubicBezTo>
                <a:cubicBezTo>
                  <a:pt x="194" y="125"/>
                  <a:pt x="191" y="127"/>
                  <a:pt x="189" y="128"/>
                </a:cubicBezTo>
                <a:cubicBezTo>
                  <a:pt x="182" y="131"/>
                  <a:pt x="175" y="131"/>
                  <a:pt x="169" y="135"/>
                </a:cubicBezTo>
                <a:cubicBezTo>
                  <a:pt x="168" y="136"/>
                  <a:pt x="166" y="136"/>
                  <a:pt x="165" y="136"/>
                </a:cubicBezTo>
                <a:cubicBezTo>
                  <a:pt x="162" y="137"/>
                  <a:pt x="160" y="137"/>
                  <a:pt x="157" y="138"/>
                </a:cubicBezTo>
                <a:cubicBezTo>
                  <a:pt x="156" y="138"/>
                  <a:pt x="155" y="139"/>
                  <a:pt x="154" y="140"/>
                </a:cubicBezTo>
                <a:cubicBezTo>
                  <a:pt x="149" y="141"/>
                  <a:pt x="143" y="141"/>
                  <a:pt x="139" y="144"/>
                </a:cubicBezTo>
                <a:cubicBezTo>
                  <a:pt x="138" y="145"/>
                  <a:pt x="137" y="144"/>
                  <a:pt x="136" y="144"/>
                </a:cubicBezTo>
                <a:cubicBezTo>
                  <a:pt x="135" y="144"/>
                  <a:pt x="135" y="144"/>
                  <a:pt x="134" y="145"/>
                </a:cubicBezTo>
                <a:cubicBezTo>
                  <a:pt x="126" y="148"/>
                  <a:pt x="118" y="151"/>
                  <a:pt x="110" y="155"/>
                </a:cubicBezTo>
                <a:cubicBezTo>
                  <a:pt x="110" y="155"/>
                  <a:pt x="109" y="155"/>
                  <a:pt x="108" y="155"/>
                </a:cubicBezTo>
                <a:cubicBezTo>
                  <a:pt x="107" y="155"/>
                  <a:pt x="106" y="155"/>
                  <a:pt x="105" y="155"/>
                </a:cubicBezTo>
                <a:cubicBezTo>
                  <a:pt x="102" y="155"/>
                  <a:pt x="99" y="156"/>
                  <a:pt x="96" y="157"/>
                </a:cubicBezTo>
                <a:cubicBezTo>
                  <a:pt x="94" y="157"/>
                  <a:pt x="92" y="158"/>
                  <a:pt x="89" y="159"/>
                </a:cubicBezTo>
                <a:cubicBezTo>
                  <a:pt x="87" y="160"/>
                  <a:pt x="85" y="161"/>
                  <a:pt x="82" y="162"/>
                </a:cubicBezTo>
                <a:cubicBezTo>
                  <a:pt x="75" y="164"/>
                  <a:pt x="68" y="166"/>
                  <a:pt x="61" y="168"/>
                </a:cubicBezTo>
                <a:cubicBezTo>
                  <a:pt x="59" y="169"/>
                  <a:pt x="57" y="170"/>
                  <a:pt x="54" y="169"/>
                </a:cubicBezTo>
                <a:cubicBezTo>
                  <a:pt x="51" y="167"/>
                  <a:pt x="51" y="171"/>
                  <a:pt x="50" y="172"/>
                </a:cubicBezTo>
                <a:cubicBezTo>
                  <a:pt x="46" y="174"/>
                  <a:pt x="43" y="175"/>
                  <a:pt x="39" y="175"/>
                </a:cubicBezTo>
                <a:cubicBezTo>
                  <a:pt x="36" y="176"/>
                  <a:pt x="32" y="176"/>
                  <a:pt x="30" y="178"/>
                </a:cubicBezTo>
                <a:cubicBezTo>
                  <a:pt x="24" y="183"/>
                  <a:pt x="17" y="181"/>
                  <a:pt x="10" y="184"/>
                </a:cubicBezTo>
                <a:cubicBezTo>
                  <a:pt x="7" y="185"/>
                  <a:pt x="8" y="185"/>
                  <a:pt x="9" y="187"/>
                </a:cubicBezTo>
                <a:cubicBezTo>
                  <a:pt x="9" y="188"/>
                  <a:pt x="10" y="190"/>
                  <a:pt x="10" y="190"/>
                </a:cubicBezTo>
                <a:cubicBezTo>
                  <a:pt x="6" y="191"/>
                  <a:pt x="7" y="195"/>
                  <a:pt x="7" y="197"/>
                </a:cubicBezTo>
                <a:cubicBezTo>
                  <a:pt x="7" y="205"/>
                  <a:pt x="10" y="212"/>
                  <a:pt x="8" y="220"/>
                </a:cubicBezTo>
                <a:cubicBezTo>
                  <a:pt x="7" y="221"/>
                  <a:pt x="8" y="222"/>
                  <a:pt x="8" y="223"/>
                </a:cubicBezTo>
                <a:cubicBezTo>
                  <a:pt x="8" y="226"/>
                  <a:pt x="9" y="230"/>
                  <a:pt x="9" y="234"/>
                </a:cubicBezTo>
                <a:cubicBezTo>
                  <a:pt x="9" y="242"/>
                  <a:pt x="9" y="249"/>
                  <a:pt x="9" y="257"/>
                </a:cubicBezTo>
                <a:cubicBezTo>
                  <a:pt x="9" y="267"/>
                  <a:pt x="10" y="278"/>
                  <a:pt x="11" y="288"/>
                </a:cubicBezTo>
                <a:cubicBezTo>
                  <a:pt x="11" y="294"/>
                  <a:pt x="11" y="299"/>
                  <a:pt x="12" y="305"/>
                </a:cubicBezTo>
                <a:cubicBezTo>
                  <a:pt x="12" y="310"/>
                  <a:pt x="11" y="316"/>
                  <a:pt x="12" y="321"/>
                </a:cubicBezTo>
                <a:cubicBezTo>
                  <a:pt x="13" y="327"/>
                  <a:pt x="12" y="332"/>
                  <a:pt x="13" y="337"/>
                </a:cubicBezTo>
                <a:cubicBezTo>
                  <a:pt x="14" y="346"/>
                  <a:pt x="13" y="356"/>
                  <a:pt x="14" y="365"/>
                </a:cubicBezTo>
                <a:cubicBezTo>
                  <a:pt x="14" y="377"/>
                  <a:pt x="15" y="389"/>
                  <a:pt x="15" y="402"/>
                </a:cubicBezTo>
                <a:cubicBezTo>
                  <a:pt x="16" y="408"/>
                  <a:pt x="15" y="414"/>
                  <a:pt x="15" y="421"/>
                </a:cubicBezTo>
                <a:cubicBezTo>
                  <a:pt x="16" y="434"/>
                  <a:pt x="16" y="448"/>
                  <a:pt x="17" y="462"/>
                </a:cubicBezTo>
                <a:cubicBezTo>
                  <a:pt x="17" y="465"/>
                  <a:pt x="16" y="467"/>
                  <a:pt x="16" y="469"/>
                </a:cubicBezTo>
                <a:cubicBezTo>
                  <a:pt x="17" y="476"/>
                  <a:pt x="17" y="483"/>
                  <a:pt x="17" y="491"/>
                </a:cubicBezTo>
                <a:cubicBezTo>
                  <a:pt x="17" y="498"/>
                  <a:pt x="17" y="505"/>
                  <a:pt x="18" y="512"/>
                </a:cubicBezTo>
                <a:cubicBezTo>
                  <a:pt x="18" y="518"/>
                  <a:pt x="19" y="524"/>
                  <a:pt x="18" y="530"/>
                </a:cubicBezTo>
                <a:cubicBezTo>
                  <a:pt x="18" y="539"/>
                  <a:pt x="19" y="547"/>
                  <a:pt x="18" y="556"/>
                </a:cubicBezTo>
                <a:cubicBezTo>
                  <a:pt x="18" y="562"/>
                  <a:pt x="19" y="569"/>
                  <a:pt x="19" y="576"/>
                </a:cubicBezTo>
                <a:cubicBezTo>
                  <a:pt x="19" y="579"/>
                  <a:pt x="19" y="583"/>
                  <a:pt x="19" y="586"/>
                </a:cubicBezTo>
                <a:cubicBezTo>
                  <a:pt x="20" y="597"/>
                  <a:pt x="21" y="608"/>
                  <a:pt x="21" y="619"/>
                </a:cubicBezTo>
                <a:cubicBezTo>
                  <a:pt x="22" y="626"/>
                  <a:pt x="22" y="633"/>
                  <a:pt x="22" y="641"/>
                </a:cubicBezTo>
                <a:cubicBezTo>
                  <a:pt x="22" y="655"/>
                  <a:pt x="23" y="670"/>
                  <a:pt x="23" y="684"/>
                </a:cubicBezTo>
                <a:cubicBezTo>
                  <a:pt x="23" y="699"/>
                  <a:pt x="23" y="714"/>
                  <a:pt x="24" y="729"/>
                </a:cubicBezTo>
                <a:cubicBezTo>
                  <a:pt x="24" y="738"/>
                  <a:pt x="24" y="748"/>
                  <a:pt x="25" y="757"/>
                </a:cubicBezTo>
                <a:cubicBezTo>
                  <a:pt x="25" y="759"/>
                  <a:pt x="25" y="761"/>
                  <a:pt x="25" y="763"/>
                </a:cubicBezTo>
                <a:cubicBezTo>
                  <a:pt x="26" y="769"/>
                  <a:pt x="26" y="775"/>
                  <a:pt x="26" y="780"/>
                </a:cubicBezTo>
                <a:cubicBezTo>
                  <a:pt x="27" y="788"/>
                  <a:pt x="27" y="797"/>
                  <a:pt x="28" y="805"/>
                </a:cubicBezTo>
                <a:cubicBezTo>
                  <a:pt x="28" y="807"/>
                  <a:pt x="27" y="810"/>
                  <a:pt x="27" y="812"/>
                </a:cubicBezTo>
                <a:cubicBezTo>
                  <a:pt x="27" y="814"/>
                  <a:pt x="27" y="816"/>
                  <a:pt x="27" y="818"/>
                </a:cubicBezTo>
                <a:cubicBezTo>
                  <a:pt x="27" y="821"/>
                  <a:pt x="28" y="823"/>
                  <a:pt x="28" y="826"/>
                </a:cubicBezTo>
                <a:cubicBezTo>
                  <a:pt x="29" y="838"/>
                  <a:pt x="28" y="850"/>
                  <a:pt x="29" y="863"/>
                </a:cubicBezTo>
                <a:cubicBezTo>
                  <a:pt x="29" y="869"/>
                  <a:pt x="30" y="876"/>
                  <a:pt x="30" y="883"/>
                </a:cubicBezTo>
                <a:cubicBezTo>
                  <a:pt x="31" y="893"/>
                  <a:pt x="31" y="903"/>
                  <a:pt x="31" y="913"/>
                </a:cubicBezTo>
                <a:cubicBezTo>
                  <a:pt x="31" y="922"/>
                  <a:pt x="30" y="931"/>
                  <a:pt x="30" y="941"/>
                </a:cubicBezTo>
                <a:cubicBezTo>
                  <a:pt x="31" y="950"/>
                  <a:pt x="31" y="960"/>
                  <a:pt x="32" y="969"/>
                </a:cubicBezTo>
                <a:cubicBezTo>
                  <a:pt x="32" y="979"/>
                  <a:pt x="33" y="990"/>
                  <a:pt x="33" y="1000"/>
                </a:cubicBezTo>
                <a:cubicBezTo>
                  <a:pt x="33" y="1003"/>
                  <a:pt x="32" y="1006"/>
                  <a:pt x="33" y="1007"/>
                </a:cubicBezTo>
                <a:cubicBezTo>
                  <a:pt x="36" y="1010"/>
                  <a:pt x="31" y="1011"/>
                  <a:pt x="33" y="1013"/>
                </a:cubicBezTo>
                <a:cubicBezTo>
                  <a:pt x="33" y="1013"/>
                  <a:pt x="33" y="1013"/>
                  <a:pt x="33" y="1013"/>
                </a:cubicBezTo>
                <a:cubicBezTo>
                  <a:pt x="33" y="1020"/>
                  <a:pt x="34" y="1026"/>
                  <a:pt x="35" y="1033"/>
                </a:cubicBezTo>
                <a:close/>
                <a:moveTo>
                  <a:pt x="1052" y="742"/>
                </a:moveTo>
                <a:cubicBezTo>
                  <a:pt x="1053" y="737"/>
                  <a:pt x="1054" y="732"/>
                  <a:pt x="1054" y="726"/>
                </a:cubicBezTo>
                <a:cubicBezTo>
                  <a:pt x="1054" y="719"/>
                  <a:pt x="1058" y="715"/>
                  <a:pt x="1064" y="712"/>
                </a:cubicBezTo>
                <a:cubicBezTo>
                  <a:pt x="1065" y="711"/>
                  <a:pt x="1065" y="712"/>
                  <a:pt x="1066" y="710"/>
                </a:cubicBezTo>
                <a:cubicBezTo>
                  <a:pt x="1068" y="703"/>
                  <a:pt x="1075" y="701"/>
                  <a:pt x="1081" y="698"/>
                </a:cubicBezTo>
                <a:cubicBezTo>
                  <a:pt x="1085" y="696"/>
                  <a:pt x="1091" y="696"/>
                  <a:pt x="1097" y="696"/>
                </a:cubicBezTo>
                <a:cubicBezTo>
                  <a:pt x="1099" y="695"/>
                  <a:pt x="1101" y="695"/>
                  <a:pt x="1102" y="691"/>
                </a:cubicBezTo>
                <a:cubicBezTo>
                  <a:pt x="1102" y="689"/>
                  <a:pt x="1102" y="687"/>
                  <a:pt x="1103" y="685"/>
                </a:cubicBezTo>
                <a:cubicBezTo>
                  <a:pt x="1108" y="678"/>
                  <a:pt x="1110" y="669"/>
                  <a:pt x="1115" y="661"/>
                </a:cubicBezTo>
                <a:cubicBezTo>
                  <a:pt x="1115" y="661"/>
                  <a:pt x="1116" y="660"/>
                  <a:pt x="1116" y="659"/>
                </a:cubicBezTo>
                <a:cubicBezTo>
                  <a:pt x="1118" y="651"/>
                  <a:pt x="1120" y="644"/>
                  <a:pt x="1122" y="636"/>
                </a:cubicBezTo>
                <a:cubicBezTo>
                  <a:pt x="1123" y="633"/>
                  <a:pt x="1124" y="631"/>
                  <a:pt x="1125" y="628"/>
                </a:cubicBezTo>
                <a:cubicBezTo>
                  <a:pt x="1127" y="621"/>
                  <a:pt x="1128" y="613"/>
                  <a:pt x="1130" y="605"/>
                </a:cubicBezTo>
                <a:cubicBezTo>
                  <a:pt x="1131" y="603"/>
                  <a:pt x="1132" y="601"/>
                  <a:pt x="1133" y="599"/>
                </a:cubicBezTo>
                <a:cubicBezTo>
                  <a:pt x="1135" y="594"/>
                  <a:pt x="1134" y="588"/>
                  <a:pt x="1138" y="584"/>
                </a:cubicBezTo>
                <a:cubicBezTo>
                  <a:pt x="1139" y="582"/>
                  <a:pt x="1141" y="581"/>
                  <a:pt x="1138" y="579"/>
                </a:cubicBezTo>
                <a:cubicBezTo>
                  <a:pt x="1138" y="579"/>
                  <a:pt x="1139" y="578"/>
                  <a:pt x="1139" y="578"/>
                </a:cubicBezTo>
                <a:cubicBezTo>
                  <a:pt x="1142" y="577"/>
                  <a:pt x="1142" y="574"/>
                  <a:pt x="1143" y="572"/>
                </a:cubicBezTo>
                <a:cubicBezTo>
                  <a:pt x="1143" y="569"/>
                  <a:pt x="1143" y="567"/>
                  <a:pt x="1144" y="565"/>
                </a:cubicBezTo>
                <a:cubicBezTo>
                  <a:pt x="1146" y="561"/>
                  <a:pt x="1148" y="556"/>
                  <a:pt x="1151" y="552"/>
                </a:cubicBezTo>
                <a:cubicBezTo>
                  <a:pt x="1152" y="551"/>
                  <a:pt x="1151" y="550"/>
                  <a:pt x="1149" y="550"/>
                </a:cubicBezTo>
                <a:cubicBezTo>
                  <a:pt x="1146" y="549"/>
                  <a:pt x="1143" y="548"/>
                  <a:pt x="1139" y="547"/>
                </a:cubicBezTo>
                <a:cubicBezTo>
                  <a:pt x="1130" y="543"/>
                  <a:pt x="1122" y="537"/>
                  <a:pt x="1117" y="529"/>
                </a:cubicBezTo>
                <a:cubicBezTo>
                  <a:pt x="1114" y="525"/>
                  <a:pt x="1111" y="521"/>
                  <a:pt x="1110" y="517"/>
                </a:cubicBezTo>
                <a:cubicBezTo>
                  <a:pt x="1110" y="508"/>
                  <a:pt x="1110" y="499"/>
                  <a:pt x="1112" y="490"/>
                </a:cubicBezTo>
                <a:cubicBezTo>
                  <a:pt x="1113" y="489"/>
                  <a:pt x="1113" y="487"/>
                  <a:pt x="1111" y="487"/>
                </a:cubicBezTo>
                <a:cubicBezTo>
                  <a:pt x="1108" y="486"/>
                  <a:pt x="1105" y="484"/>
                  <a:pt x="1102" y="483"/>
                </a:cubicBezTo>
                <a:cubicBezTo>
                  <a:pt x="1092" y="479"/>
                  <a:pt x="1082" y="474"/>
                  <a:pt x="1072" y="470"/>
                </a:cubicBezTo>
                <a:cubicBezTo>
                  <a:pt x="1053" y="461"/>
                  <a:pt x="1034" y="452"/>
                  <a:pt x="1015" y="443"/>
                </a:cubicBezTo>
                <a:cubicBezTo>
                  <a:pt x="1008" y="440"/>
                  <a:pt x="999" y="437"/>
                  <a:pt x="992" y="434"/>
                </a:cubicBezTo>
                <a:cubicBezTo>
                  <a:pt x="978" y="428"/>
                  <a:pt x="965" y="422"/>
                  <a:pt x="952" y="416"/>
                </a:cubicBezTo>
                <a:cubicBezTo>
                  <a:pt x="949" y="415"/>
                  <a:pt x="948" y="416"/>
                  <a:pt x="948" y="418"/>
                </a:cubicBezTo>
                <a:cubicBezTo>
                  <a:pt x="947" y="420"/>
                  <a:pt x="947" y="422"/>
                  <a:pt x="947" y="423"/>
                </a:cubicBezTo>
                <a:cubicBezTo>
                  <a:pt x="948" y="429"/>
                  <a:pt x="948" y="435"/>
                  <a:pt x="948" y="441"/>
                </a:cubicBezTo>
                <a:cubicBezTo>
                  <a:pt x="948" y="451"/>
                  <a:pt x="948" y="462"/>
                  <a:pt x="948" y="472"/>
                </a:cubicBezTo>
                <a:cubicBezTo>
                  <a:pt x="948" y="481"/>
                  <a:pt x="948" y="490"/>
                  <a:pt x="948" y="499"/>
                </a:cubicBezTo>
                <a:cubicBezTo>
                  <a:pt x="948" y="504"/>
                  <a:pt x="949" y="509"/>
                  <a:pt x="948" y="515"/>
                </a:cubicBezTo>
                <a:cubicBezTo>
                  <a:pt x="945" y="522"/>
                  <a:pt x="950" y="530"/>
                  <a:pt x="947" y="538"/>
                </a:cubicBezTo>
                <a:cubicBezTo>
                  <a:pt x="947" y="538"/>
                  <a:pt x="947" y="539"/>
                  <a:pt x="947" y="539"/>
                </a:cubicBezTo>
                <a:cubicBezTo>
                  <a:pt x="949" y="544"/>
                  <a:pt x="947" y="550"/>
                  <a:pt x="948" y="555"/>
                </a:cubicBezTo>
                <a:cubicBezTo>
                  <a:pt x="948" y="567"/>
                  <a:pt x="948" y="579"/>
                  <a:pt x="948" y="590"/>
                </a:cubicBezTo>
                <a:cubicBezTo>
                  <a:pt x="949" y="598"/>
                  <a:pt x="949" y="605"/>
                  <a:pt x="949" y="612"/>
                </a:cubicBezTo>
                <a:cubicBezTo>
                  <a:pt x="949" y="614"/>
                  <a:pt x="947" y="617"/>
                  <a:pt x="948" y="618"/>
                </a:cubicBezTo>
                <a:cubicBezTo>
                  <a:pt x="950" y="622"/>
                  <a:pt x="949" y="627"/>
                  <a:pt x="948" y="631"/>
                </a:cubicBezTo>
                <a:cubicBezTo>
                  <a:pt x="948" y="632"/>
                  <a:pt x="948" y="633"/>
                  <a:pt x="948" y="634"/>
                </a:cubicBezTo>
                <a:cubicBezTo>
                  <a:pt x="948" y="639"/>
                  <a:pt x="948" y="644"/>
                  <a:pt x="948" y="648"/>
                </a:cubicBezTo>
                <a:cubicBezTo>
                  <a:pt x="948" y="650"/>
                  <a:pt x="949" y="653"/>
                  <a:pt x="948" y="655"/>
                </a:cubicBezTo>
                <a:cubicBezTo>
                  <a:pt x="945" y="658"/>
                  <a:pt x="947" y="660"/>
                  <a:pt x="947" y="663"/>
                </a:cubicBezTo>
                <a:cubicBezTo>
                  <a:pt x="947" y="666"/>
                  <a:pt x="948" y="670"/>
                  <a:pt x="948" y="673"/>
                </a:cubicBezTo>
                <a:cubicBezTo>
                  <a:pt x="948" y="681"/>
                  <a:pt x="947" y="688"/>
                  <a:pt x="947" y="696"/>
                </a:cubicBezTo>
                <a:cubicBezTo>
                  <a:pt x="947" y="702"/>
                  <a:pt x="948" y="709"/>
                  <a:pt x="949" y="715"/>
                </a:cubicBezTo>
                <a:cubicBezTo>
                  <a:pt x="949" y="728"/>
                  <a:pt x="949" y="740"/>
                  <a:pt x="949" y="753"/>
                </a:cubicBezTo>
                <a:cubicBezTo>
                  <a:pt x="949" y="755"/>
                  <a:pt x="948" y="756"/>
                  <a:pt x="948" y="758"/>
                </a:cubicBezTo>
                <a:cubicBezTo>
                  <a:pt x="951" y="764"/>
                  <a:pt x="950" y="771"/>
                  <a:pt x="950" y="778"/>
                </a:cubicBezTo>
                <a:cubicBezTo>
                  <a:pt x="950" y="783"/>
                  <a:pt x="949" y="788"/>
                  <a:pt x="949" y="794"/>
                </a:cubicBezTo>
                <a:cubicBezTo>
                  <a:pt x="950" y="801"/>
                  <a:pt x="950" y="808"/>
                  <a:pt x="950" y="815"/>
                </a:cubicBezTo>
                <a:cubicBezTo>
                  <a:pt x="951" y="827"/>
                  <a:pt x="950" y="839"/>
                  <a:pt x="949" y="851"/>
                </a:cubicBezTo>
                <a:cubicBezTo>
                  <a:pt x="949" y="858"/>
                  <a:pt x="949" y="865"/>
                  <a:pt x="949" y="872"/>
                </a:cubicBezTo>
                <a:cubicBezTo>
                  <a:pt x="949" y="878"/>
                  <a:pt x="950" y="885"/>
                  <a:pt x="950" y="891"/>
                </a:cubicBezTo>
                <a:cubicBezTo>
                  <a:pt x="950" y="895"/>
                  <a:pt x="948" y="899"/>
                  <a:pt x="949" y="903"/>
                </a:cubicBezTo>
                <a:cubicBezTo>
                  <a:pt x="952" y="914"/>
                  <a:pt x="950" y="926"/>
                  <a:pt x="950" y="937"/>
                </a:cubicBezTo>
                <a:cubicBezTo>
                  <a:pt x="950" y="948"/>
                  <a:pt x="950" y="958"/>
                  <a:pt x="952" y="969"/>
                </a:cubicBezTo>
                <a:cubicBezTo>
                  <a:pt x="952" y="969"/>
                  <a:pt x="952" y="970"/>
                  <a:pt x="952" y="971"/>
                </a:cubicBezTo>
                <a:cubicBezTo>
                  <a:pt x="952" y="977"/>
                  <a:pt x="952" y="983"/>
                  <a:pt x="952" y="989"/>
                </a:cubicBezTo>
                <a:cubicBezTo>
                  <a:pt x="951" y="998"/>
                  <a:pt x="950" y="1008"/>
                  <a:pt x="949" y="1017"/>
                </a:cubicBezTo>
                <a:cubicBezTo>
                  <a:pt x="949" y="1021"/>
                  <a:pt x="946" y="1025"/>
                  <a:pt x="950" y="1028"/>
                </a:cubicBezTo>
                <a:cubicBezTo>
                  <a:pt x="951" y="1029"/>
                  <a:pt x="950" y="1029"/>
                  <a:pt x="950" y="1030"/>
                </a:cubicBezTo>
                <a:cubicBezTo>
                  <a:pt x="951" y="1038"/>
                  <a:pt x="951" y="1047"/>
                  <a:pt x="951" y="1055"/>
                </a:cubicBezTo>
                <a:cubicBezTo>
                  <a:pt x="951" y="1058"/>
                  <a:pt x="951" y="1061"/>
                  <a:pt x="951" y="1064"/>
                </a:cubicBezTo>
                <a:cubicBezTo>
                  <a:pt x="952" y="1069"/>
                  <a:pt x="951" y="1073"/>
                  <a:pt x="952" y="1078"/>
                </a:cubicBezTo>
                <a:cubicBezTo>
                  <a:pt x="953" y="1085"/>
                  <a:pt x="951" y="1092"/>
                  <a:pt x="952" y="1099"/>
                </a:cubicBezTo>
                <a:cubicBezTo>
                  <a:pt x="953" y="1107"/>
                  <a:pt x="952" y="1116"/>
                  <a:pt x="951" y="1124"/>
                </a:cubicBezTo>
                <a:cubicBezTo>
                  <a:pt x="951" y="1130"/>
                  <a:pt x="951" y="1135"/>
                  <a:pt x="951" y="1141"/>
                </a:cubicBezTo>
                <a:cubicBezTo>
                  <a:pt x="950" y="1142"/>
                  <a:pt x="950" y="1143"/>
                  <a:pt x="951" y="1145"/>
                </a:cubicBezTo>
                <a:cubicBezTo>
                  <a:pt x="951" y="1152"/>
                  <a:pt x="952" y="1160"/>
                  <a:pt x="952" y="1167"/>
                </a:cubicBezTo>
                <a:cubicBezTo>
                  <a:pt x="953" y="1173"/>
                  <a:pt x="951" y="1178"/>
                  <a:pt x="951" y="1184"/>
                </a:cubicBezTo>
                <a:cubicBezTo>
                  <a:pt x="952" y="1188"/>
                  <a:pt x="952" y="1192"/>
                  <a:pt x="952" y="1197"/>
                </a:cubicBezTo>
                <a:cubicBezTo>
                  <a:pt x="953" y="1203"/>
                  <a:pt x="954" y="1208"/>
                  <a:pt x="954" y="1214"/>
                </a:cubicBezTo>
                <a:cubicBezTo>
                  <a:pt x="953" y="1217"/>
                  <a:pt x="954" y="1220"/>
                  <a:pt x="955" y="1223"/>
                </a:cubicBezTo>
                <a:cubicBezTo>
                  <a:pt x="956" y="1226"/>
                  <a:pt x="956" y="1229"/>
                  <a:pt x="955" y="1233"/>
                </a:cubicBezTo>
                <a:cubicBezTo>
                  <a:pt x="954" y="1234"/>
                  <a:pt x="954" y="1236"/>
                  <a:pt x="955" y="1238"/>
                </a:cubicBezTo>
                <a:cubicBezTo>
                  <a:pt x="955" y="1242"/>
                  <a:pt x="956" y="1246"/>
                  <a:pt x="956" y="1250"/>
                </a:cubicBezTo>
                <a:cubicBezTo>
                  <a:pt x="957" y="1254"/>
                  <a:pt x="956" y="1258"/>
                  <a:pt x="956" y="1262"/>
                </a:cubicBezTo>
                <a:cubicBezTo>
                  <a:pt x="956" y="1266"/>
                  <a:pt x="957" y="1271"/>
                  <a:pt x="957" y="1276"/>
                </a:cubicBezTo>
                <a:cubicBezTo>
                  <a:pt x="957" y="1278"/>
                  <a:pt x="957" y="1281"/>
                  <a:pt x="957" y="1283"/>
                </a:cubicBezTo>
                <a:cubicBezTo>
                  <a:pt x="957" y="1291"/>
                  <a:pt x="959" y="1298"/>
                  <a:pt x="957" y="1305"/>
                </a:cubicBezTo>
                <a:cubicBezTo>
                  <a:pt x="956" y="1314"/>
                  <a:pt x="958" y="1323"/>
                  <a:pt x="957" y="1332"/>
                </a:cubicBezTo>
                <a:cubicBezTo>
                  <a:pt x="957" y="1337"/>
                  <a:pt x="956" y="1342"/>
                  <a:pt x="956" y="1347"/>
                </a:cubicBezTo>
                <a:cubicBezTo>
                  <a:pt x="956" y="1351"/>
                  <a:pt x="952" y="1356"/>
                  <a:pt x="958" y="1359"/>
                </a:cubicBezTo>
                <a:cubicBezTo>
                  <a:pt x="959" y="1359"/>
                  <a:pt x="958" y="1360"/>
                  <a:pt x="959" y="1361"/>
                </a:cubicBezTo>
                <a:cubicBezTo>
                  <a:pt x="961" y="1366"/>
                  <a:pt x="962" y="1366"/>
                  <a:pt x="966" y="1363"/>
                </a:cubicBezTo>
                <a:cubicBezTo>
                  <a:pt x="976" y="1357"/>
                  <a:pt x="986" y="1351"/>
                  <a:pt x="995" y="1346"/>
                </a:cubicBezTo>
                <a:cubicBezTo>
                  <a:pt x="1005" y="1340"/>
                  <a:pt x="1015" y="1335"/>
                  <a:pt x="1024" y="1329"/>
                </a:cubicBezTo>
                <a:cubicBezTo>
                  <a:pt x="1031" y="1325"/>
                  <a:pt x="1037" y="1320"/>
                  <a:pt x="1044" y="1316"/>
                </a:cubicBezTo>
                <a:cubicBezTo>
                  <a:pt x="1047" y="1314"/>
                  <a:pt x="1051" y="1313"/>
                  <a:pt x="1054" y="1311"/>
                </a:cubicBezTo>
                <a:cubicBezTo>
                  <a:pt x="1055" y="1311"/>
                  <a:pt x="1056" y="1311"/>
                  <a:pt x="1056" y="1311"/>
                </a:cubicBezTo>
                <a:cubicBezTo>
                  <a:pt x="1064" y="1305"/>
                  <a:pt x="1072" y="1300"/>
                  <a:pt x="1081" y="1295"/>
                </a:cubicBezTo>
                <a:cubicBezTo>
                  <a:pt x="1085" y="1292"/>
                  <a:pt x="1090" y="1290"/>
                  <a:pt x="1095" y="1286"/>
                </a:cubicBezTo>
                <a:cubicBezTo>
                  <a:pt x="1101" y="1281"/>
                  <a:pt x="1109" y="1277"/>
                  <a:pt x="1116" y="1273"/>
                </a:cubicBezTo>
                <a:cubicBezTo>
                  <a:pt x="1122" y="1270"/>
                  <a:pt x="1128" y="1266"/>
                  <a:pt x="1133" y="1263"/>
                </a:cubicBezTo>
                <a:cubicBezTo>
                  <a:pt x="1137" y="1260"/>
                  <a:pt x="1141" y="1258"/>
                  <a:pt x="1145" y="1256"/>
                </a:cubicBezTo>
                <a:cubicBezTo>
                  <a:pt x="1151" y="1252"/>
                  <a:pt x="1158" y="1249"/>
                  <a:pt x="1164" y="1246"/>
                </a:cubicBezTo>
                <a:cubicBezTo>
                  <a:pt x="1170" y="1243"/>
                  <a:pt x="1176" y="1239"/>
                  <a:pt x="1181" y="1235"/>
                </a:cubicBezTo>
                <a:cubicBezTo>
                  <a:pt x="1183" y="1234"/>
                  <a:pt x="1186" y="1233"/>
                  <a:pt x="1188" y="1231"/>
                </a:cubicBezTo>
                <a:cubicBezTo>
                  <a:pt x="1196" y="1226"/>
                  <a:pt x="1203" y="1220"/>
                  <a:pt x="1213" y="1217"/>
                </a:cubicBezTo>
                <a:cubicBezTo>
                  <a:pt x="1215" y="1216"/>
                  <a:pt x="1217" y="1215"/>
                  <a:pt x="1218" y="1214"/>
                </a:cubicBezTo>
                <a:cubicBezTo>
                  <a:pt x="1229" y="1207"/>
                  <a:pt x="1239" y="1200"/>
                  <a:pt x="1250" y="1194"/>
                </a:cubicBezTo>
                <a:cubicBezTo>
                  <a:pt x="1253" y="1193"/>
                  <a:pt x="1256" y="1191"/>
                  <a:pt x="1258" y="1189"/>
                </a:cubicBezTo>
                <a:cubicBezTo>
                  <a:pt x="1262" y="1186"/>
                  <a:pt x="1266" y="1184"/>
                  <a:pt x="1269" y="1182"/>
                </a:cubicBezTo>
                <a:cubicBezTo>
                  <a:pt x="1271" y="1180"/>
                  <a:pt x="1273" y="1179"/>
                  <a:pt x="1275" y="1178"/>
                </a:cubicBezTo>
                <a:cubicBezTo>
                  <a:pt x="1278" y="1176"/>
                  <a:pt x="1280" y="1175"/>
                  <a:pt x="1282" y="1174"/>
                </a:cubicBezTo>
                <a:cubicBezTo>
                  <a:pt x="1286" y="1172"/>
                  <a:pt x="1290" y="1171"/>
                  <a:pt x="1294" y="1168"/>
                </a:cubicBezTo>
                <a:cubicBezTo>
                  <a:pt x="1298" y="1166"/>
                  <a:pt x="1301" y="1162"/>
                  <a:pt x="1305" y="1159"/>
                </a:cubicBezTo>
                <a:cubicBezTo>
                  <a:pt x="1310" y="1155"/>
                  <a:pt x="1314" y="1152"/>
                  <a:pt x="1319" y="1148"/>
                </a:cubicBezTo>
                <a:cubicBezTo>
                  <a:pt x="1320" y="1147"/>
                  <a:pt x="1321" y="1147"/>
                  <a:pt x="1322" y="1147"/>
                </a:cubicBezTo>
                <a:cubicBezTo>
                  <a:pt x="1323" y="1147"/>
                  <a:pt x="1326" y="1147"/>
                  <a:pt x="1325" y="1143"/>
                </a:cubicBezTo>
                <a:cubicBezTo>
                  <a:pt x="1324" y="1143"/>
                  <a:pt x="1325" y="1142"/>
                  <a:pt x="1325" y="1142"/>
                </a:cubicBezTo>
                <a:cubicBezTo>
                  <a:pt x="1330" y="1141"/>
                  <a:pt x="1335" y="1141"/>
                  <a:pt x="1338" y="1136"/>
                </a:cubicBezTo>
                <a:cubicBezTo>
                  <a:pt x="1338" y="1135"/>
                  <a:pt x="1340" y="1135"/>
                  <a:pt x="1341" y="1135"/>
                </a:cubicBezTo>
                <a:cubicBezTo>
                  <a:pt x="1346" y="1133"/>
                  <a:pt x="1349" y="1130"/>
                  <a:pt x="1352" y="1126"/>
                </a:cubicBezTo>
                <a:cubicBezTo>
                  <a:pt x="1353" y="1126"/>
                  <a:pt x="1354" y="1125"/>
                  <a:pt x="1355" y="1125"/>
                </a:cubicBezTo>
                <a:cubicBezTo>
                  <a:pt x="1360" y="1123"/>
                  <a:pt x="1365" y="1121"/>
                  <a:pt x="1370" y="1119"/>
                </a:cubicBezTo>
                <a:cubicBezTo>
                  <a:pt x="1372" y="1118"/>
                  <a:pt x="1374" y="1117"/>
                  <a:pt x="1375" y="1116"/>
                </a:cubicBezTo>
                <a:cubicBezTo>
                  <a:pt x="1376" y="1115"/>
                  <a:pt x="1376" y="1113"/>
                  <a:pt x="1377" y="1112"/>
                </a:cubicBezTo>
                <a:cubicBezTo>
                  <a:pt x="1379" y="1111"/>
                  <a:pt x="1382" y="1110"/>
                  <a:pt x="1384" y="1110"/>
                </a:cubicBezTo>
                <a:cubicBezTo>
                  <a:pt x="1385" y="1110"/>
                  <a:pt x="1387" y="1110"/>
                  <a:pt x="1387" y="1109"/>
                </a:cubicBezTo>
                <a:cubicBezTo>
                  <a:pt x="1388" y="1106"/>
                  <a:pt x="1392" y="1105"/>
                  <a:pt x="1395" y="1103"/>
                </a:cubicBezTo>
                <a:cubicBezTo>
                  <a:pt x="1397" y="1102"/>
                  <a:pt x="1400" y="1099"/>
                  <a:pt x="1404" y="1100"/>
                </a:cubicBezTo>
                <a:cubicBezTo>
                  <a:pt x="1404" y="1100"/>
                  <a:pt x="1405" y="1099"/>
                  <a:pt x="1405" y="1098"/>
                </a:cubicBezTo>
                <a:cubicBezTo>
                  <a:pt x="1404" y="1095"/>
                  <a:pt x="1406" y="1092"/>
                  <a:pt x="1406" y="1089"/>
                </a:cubicBezTo>
                <a:cubicBezTo>
                  <a:pt x="1406" y="1083"/>
                  <a:pt x="1406" y="1077"/>
                  <a:pt x="1406" y="1071"/>
                </a:cubicBezTo>
                <a:cubicBezTo>
                  <a:pt x="1405" y="1064"/>
                  <a:pt x="1405" y="1057"/>
                  <a:pt x="1405" y="1049"/>
                </a:cubicBezTo>
                <a:cubicBezTo>
                  <a:pt x="1405" y="1042"/>
                  <a:pt x="1405" y="1035"/>
                  <a:pt x="1405" y="1027"/>
                </a:cubicBezTo>
                <a:cubicBezTo>
                  <a:pt x="1405" y="1023"/>
                  <a:pt x="1405" y="1019"/>
                  <a:pt x="1405" y="1015"/>
                </a:cubicBezTo>
                <a:cubicBezTo>
                  <a:pt x="1405" y="1009"/>
                  <a:pt x="1405" y="1004"/>
                  <a:pt x="1405" y="999"/>
                </a:cubicBezTo>
                <a:cubicBezTo>
                  <a:pt x="1404" y="994"/>
                  <a:pt x="1404" y="990"/>
                  <a:pt x="1405" y="985"/>
                </a:cubicBezTo>
                <a:cubicBezTo>
                  <a:pt x="1406" y="983"/>
                  <a:pt x="1407" y="980"/>
                  <a:pt x="1406" y="978"/>
                </a:cubicBezTo>
                <a:cubicBezTo>
                  <a:pt x="1405" y="972"/>
                  <a:pt x="1404" y="967"/>
                  <a:pt x="1405" y="961"/>
                </a:cubicBezTo>
                <a:cubicBezTo>
                  <a:pt x="1405" y="957"/>
                  <a:pt x="1404" y="952"/>
                  <a:pt x="1404" y="948"/>
                </a:cubicBezTo>
                <a:cubicBezTo>
                  <a:pt x="1404" y="939"/>
                  <a:pt x="1404" y="930"/>
                  <a:pt x="1404" y="921"/>
                </a:cubicBezTo>
                <a:cubicBezTo>
                  <a:pt x="1404" y="919"/>
                  <a:pt x="1403" y="917"/>
                  <a:pt x="1403" y="915"/>
                </a:cubicBezTo>
                <a:cubicBezTo>
                  <a:pt x="1406" y="909"/>
                  <a:pt x="1403" y="903"/>
                  <a:pt x="1403" y="897"/>
                </a:cubicBezTo>
                <a:cubicBezTo>
                  <a:pt x="1403" y="892"/>
                  <a:pt x="1402" y="888"/>
                  <a:pt x="1403" y="884"/>
                </a:cubicBezTo>
                <a:cubicBezTo>
                  <a:pt x="1403" y="880"/>
                  <a:pt x="1405" y="876"/>
                  <a:pt x="1402" y="873"/>
                </a:cubicBezTo>
                <a:cubicBezTo>
                  <a:pt x="1401" y="872"/>
                  <a:pt x="1402" y="871"/>
                  <a:pt x="1402" y="870"/>
                </a:cubicBezTo>
                <a:cubicBezTo>
                  <a:pt x="1404" y="865"/>
                  <a:pt x="1403" y="860"/>
                  <a:pt x="1403" y="855"/>
                </a:cubicBezTo>
                <a:cubicBezTo>
                  <a:pt x="1403" y="850"/>
                  <a:pt x="1401" y="845"/>
                  <a:pt x="1403" y="841"/>
                </a:cubicBezTo>
                <a:cubicBezTo>
                  <a:pt x="1403" y="840"/>
                  <a:pt x="1403" y="839"/>
                  <a:pt x="1402" y="838"/>
                </a:cubicBezTo>
                <a:cubicBezTo>
                  <a:pt x="1401" y="833"/>
                  <a:pt x="1401" y="828"/>
                  <a:pt x="1402" y="823"/>
                </a:cubicBezTo>
                <a:cubicBezTo>
                  <a:pt x="1403" y="820"/>
                  <a:pt x="1403" y="816"/>
                  <a:pt x="1403" y="812"/>
                </a:cubicBezTo>
                <a:cubicBezTo>
                  <a:pt x="1402" y="808"/>
                  <a:pt x="1402" y="804"/>
                  <a:pt x="1402" y="799"/>
                </a:cubicBezTo>
                <a:cubicBezTo>
                  <a:pt x="1403" y="793"/>
                  <a:pt x="1403" y="787"/>
                  <a:pt x="1403" y="780"/>
                </a:cubicBezTo>
                <a:cubicBezTo>
                  <a:pt x="1403" y="777"/>
                  <a:pt x="1403" y="773"/>
                  <a:pt x="1403" y="770"/>
                </a:cubicBezTo>
                <a:cubicBezTo>
                  <a:pt x="1403" y="767"/>
                  <a:pt x="1402" y="764"/>
                  <a:pt x="1402" y="761"/>
                </a:cubicBezTo>
                <a:cubicBezTo>
                  <a:pt x="1403" y="758"/>
                  <a:pt x="1399" y="755"/>
                  <a:pt x="1402" y="752"/>
                </a:cubicBezTo>
                <a:cubicBezTo>
                  <a:pt x="1403" y="752"/>
                  <a:pt x="1402" y="750"/>
                  <a:pt x="1402" y="749"/>
                </a:cubicBezTo>
                <a:cubicBezTo>
                  <a:pt x="1401" y="746"/>
                  <a:pt x="1403" y="742"/>
                  <a:pt x="1400" y="739"/>
                </a:cubicBezTo>
                <a:cubicBezTo>
                  <a:pt x="1400" y="738"/>
                  <a:pt x="1400" y="737"/>
                  <a:pt x="1400" y="737"/>
                </a:cubicBezTo>
                <a:cubicBezTo>
                  <a:pt x="1401" y="731"/>
                  <a:pt x="1401" y="726"/>
                  <a:pt x="1401" y="721"/>
                </a:cubicBezTo>
                <a:cubicBezTo>
                  <a:pt x="1401" y="717"/>
                  <a:pt x="1400" y="712"/>
                  <a:pt x="1400" y="708"/>
                </a:cubicBezTo>
                <a:cubicBezTo>
                  <a:pt x="1400" y="705"/>
                  <a:pt x="1401" y="701"/>
                  <a:pt x="1401" y="698"/>
                </a:cubicBezTo>
                <a:cubicBezTo>
                  <a:pt x="1401" y="694"/>
                  <a:pt x="1401" y="689"/>
                  <a:pt x="1401" y="685"/>
                </a:cubicBezTo>
                <a:cubicBezTo>
                  <a:pt x="1401" y="683"/>
                  <a:pt x="1402" y="681"/>
                  <a:pt x="1401" y="680"/>
                </a:cubicBezTo>
                <a:cubicBezTo>
                  <a:pt x="1401" y="678"/>
                  <a:pt x="1400" y="677"/>
                  <a:pt x="1402" y="676"/>
                </a:cubicBezTo>
                <a:cubicBezTo>
                  <a:pt x="1405" y="675"/>
                  <a:pt x="1403" y="673"/>
                  <a:pt x="1402" y="671"/>
                </a:cubicBezTo>
                <a:cubicBezTo>
                  <a:pt x="1400" y="670"/>
                  <a:pt x="1399" y="672"/>
                  <a:pt x="1399" y="673"/>
                </a:cubicBezTo>
                <a:cubicBezTo>
                  <a:pt x="1392" y="682"/>
                  <a:pt x="1383" y="690"/>
                  <a:pt x="1372" y="693"/>
                </a:cubicBezTo>
                <a:cubicBezTo>
                  <a:pt x="1362" y="695"/>
                  <a:pt x="1351" y="695"/>
                  <a:pt x="1341" y="692"/>
                </a:cubicBezTo>
                <a:cubicBezTo>
                  <a:pt x="1332" y="689"/>
                  <a:pt x="1324" y="686"/>
                  <a:pt x="1318" y="681"/>
                </a:cubicBezTo>
                <a:cubicBezTo>
                  <a:pt x="1315" y="678"/>
                  <a:pt x="1312" y="676"/>
                  <a:pt x="1312" y="672"/>
                </a:cubicBezTo>
                <a:cubicBezTo>
                  <a:pt x="1312" y="668"/>
                  <a:pt x="1307" y="665"/>
                  <a:pt x="1303" y="667"/>
                </a:cubicBezTo>
                <a:cubicBezTo>
                  <a:pt x="1287" y="674"/>
                  <a:pt x="1272" y="681"/>
                  <a:pt x="1256" y="688"/>
                </a:cubicBezTo>
                <a:cubicBezTo>
                  <a:pt x="1251" y="691"/>
                  <a:pt x="1245" y="693"/>
                  <a:pt x="1239" y="695"/>
                </a:cubicBezTo>
                <a:cubicBezTo>
                  <a:pt x="1232" y="698"/>
                  <a:pt x="1224" y="701"/>
                  <a:pt x="1217" y="704"/>
                </a:cubicBezTo>
                <a:cubicBezTo>
                  <a:pt x="1204" y="710"/>
                  <a:pt x="1191" y="716"/>
                  <a:pt x="1177" y="722"/>
                </a:cubicBezTo>
                <a:cubicBezTo>
                  <a:pt x="1169" y="726"/>
                  <a:pt x="1160" y="729"/>
                  <a:pt x="1152" y="732"/>
                </a:cubicBezTo>
                <a:cubicBezTo>
                  <a:pt x="1148" y="734"/>
                  <a:pt x="1143" y="736"/>
                  <a:pt x="1144" y="742"/>
                </a:cubicBezTo>
                <a:cubicBezTo>
                  <a:pt x="1144" y="744"/>
                  <a:pt x="1144" y="747"/>
                  <a:pt x="1142" y="749"/>
                </a:cubicBezTo>
                <a:cubicBezTo>
                  <a:pt x="1139" y="757"/>
                  <a:pt x="1135" y="765"/>
                  <a:pt x="1126" y="768"/>
                </a:cubicBezTo>
                <a:cubicBezTo>
                  <a:pt x="1122" y="769"/>
                  <a:pt x="1117" y="771"/>
                  <a:pt x="1113" y="773"/>
                </a:cubicBezTo>
                <a:cubicBezTo>
                  <a:pt x="1109" y="774"/>
                  <a:pt x="1104" y="775"/>
                  <a:pt x="1100" y="775"/>
                </a:cubicBezTo>
                <a:cubicBezTo>
                  <a:pt x="1088" y="775"/>
                  <a:pt x="1077" y="771"/>
                  <a:pt x="1067" y="764"/>
                </a:cubicBezTo>
                <a:cubicBezTo>
                  <a:pt x="1060" y="759"/>
                  <a:pt x="1053" y="752"/>
                  <a:pt x="1052" y="742"/>
                </a:cubicBezTo>
                <a:close/>
                <a:moveTo>
                  <a:pt x="709" y="1017"/>
                </a:moveTo>
                <a:cubicBezTo>
                  <a:pt x="702" y="1019"/>
                  <a:pt x="696" y="1015"/>
                  <a:pt x="691" y="1010"/>
                </a:cubicBezTo>
                <a:cubicBezTo>
                  <a:pt x="688" y="1007"/>
                  <a:pt x="685" y="1003"/>
                  <a:pt x="682" y="1000"/>
                </a:cubicBezTo>
                <a:cubicBezTo>
                  <a:pt x="678" y="994"/>
                  <a:pt x="677" y="988"/>
                  <a:pt x="680" y="982"/>
                </a:cubicBezTo>
                <a:cubicBezTo>
                  <a:pt x="680" y="981"/>
                  <a:pt x="681" y="980"/>
                  <a:pt x="681" y="980"/>
                </a:cubicBezTo>
                <a:cubicBezTo>
                  <a:pt x="675" y="974"/>
                  <a:pt x="680" y="967"/>
                  <a:pt x="681" y="961"/>
                </a:cubicBezTo>
                <a:cubicBezTo>
                  <a:pt x="682" y="956"/>
                  <a:pt x="687" y="952"/>
                  <a:pt x="690" y="948"/>
                </a:cubicBezTo>
                <a:cubicBezTo>
                  <a:pt x="692" y="945"/>
                  <a:pt x="693" y="943"/>
                  <a:pt x="691" y="941"/>
                </a:cubicBezTo>
                <a:cubicBezTo>
                  <a:pt x="689" y="939"/>
                  <a:pt x="688" y="937"/>
                  <a:pt x="688" y="935"/>
                </a:cubicBezTo>
                <a:cubicBezTo>
                  <a:pt x="686" y="930"/>
                  <a:pt x="684" y="925"/>
                  <a:pt x="683" y="920"/>
                </a:cubicBezTo>
                <a:cubicBezTo>
                  <a:pt x="682" y="918"/>
                  <a:pt x="680" y="916"/>
                  <a:pt x="680" y="915"/>
                </a:cubicBezTo>
                <a:cubicBezTo>
                  <a:pt x="680" y="908"/>
                  <a:pt x="675" y="904"/>
                  <a:pt x="673" y="898"/>
                </a:cubicBezTo>
                <a:cubicBezTo>
                  <a:pt x="671" y="894"/>
                  <a:pt x="669" y="889"/>
                  <a:pt x="667" y="885"/>
                </a:cubicBezTo>
                <a:cubicBezTo>
                  <a:pt x="666" y="883"/>
                  <a:pt x="665" y="882"/>
                  <a:pt x="664" y="880"/>
                </a:cubicBezTo>
                <a:cubicBezTo>
                  <a:pt x="661" y="875"/>
                  <a:pt x="659" y="869"/>
                  <a:pt x="655" y="864"/>
                </a:cubicBezTo>
                <a:cubicBezTo>
                  <a:pt x="652" y="861"/>
                  <a:pt x="650" y="857"/>
                  <a:pt x="649" y="853"/>
                </a:cubicBezTo>
                <a:cubicBezTo>
                  <a:pt x="647" y="847"/>
                  <a:pt x="643" y="844"/>
                  <a:pt x="642" y="838"/>
                </a:cubicBezTo>
                <a:cubicBezTo>
                  <a:pt x="642" y="837"/>
                  <a:pt x="641" y="836"/>
                  <a:pt x="641" y="836"/>
                </a:cubicBezTo>
                <a:cubicBezTo>
                  <a:pt x="641" y="835"/>
                  <a:pt x="640" y="834"/>
                  <a:pt x="640" y="834"/>
                </a:cubicBezTo>
                <a:cubicBezTo>
                  <a:pt x="642" y="831"/>
                  <a:pt x="639" y="829"/>
                  <a:pt x="638" y="826"/>
                </a:cubicBezTo>
                <a:cubicBezTo>
                  <a:pt x="634" y="822"/>
                  <a:pt x="633" y="816"/>
                  <a:pt x="631" y="811"/>
                </a:cubicBezTo>
                <a:cubicBezTo>
                  <a:pt x="630" y="806"/>
                  <a:pt x="630" y="806"/>
                  <a:pt x="626" y="809"/>
                </a:cubicBezTo>
                <a:cubicBezTo>
                  <a:pt x="624" y="810"/>
                  <a:pt x="621" y="812"/>
                  <a:pt x="619" y="813"/>
                </a:cubicBezTo>
                <a:cubicBezTo>
                  <a:pt x="611" y="816"/>
                  <a:pt x="602" y="818"/>
                  <a:pt x="594" y="816"/>
                </a:cubicBezTo>
                <a:cubicBezTo>
                  <a:pt x="589" y="815"/>
                  <a:pt x="584" y="815"/>
                  <a:pt x="581" y="812"/>
                </a:cubicBezTo>
                <a:cubicBezTo>
                  <a:pt x="575" y="807"/>
                  <a:pt x="571" y="801"/>
                  <a:pt x="566" y="796"/>
                </a:cubicBezTo>
                <a:cubicBezTo>
                  <a:pt x="565" y="794"/>
                  <a:pt x="564" y="791"/>
                  <a:pt x="563" y="790"/>
                </a:cubicBezTo>
                <a:cubicBezTo>
                  <a:pt x="561" y="790"/>
                  <a:pt x="559" y="792"/>
                  <a:pt x="557" y="793"/>
                </a:cubicBezTo>
                <a:cubicBezTo>
                  <a:pt x="548" y="796"/>
                  <a:pt x="539" y="799"/>
                  <a:pt x="531" y="803"/>
                </a:cubicBezTo>
                <a:cubicBezTo>
                  <a:pt x="528" y="804"/>
                  <a:pt x="526" y="806"/>
                  <a:pt x="525" y="810"/>
                </a:cubicBezTo>
                <a:cubicBezTo>
                  <a:pt x="524" y="813"/>
                  <a:pt x="526" y="817"/>
                  <a:pt x="526" y="820"/>
                </a:cubicBezTo>
                <a:cubicBezTo>
                  <a:pt x="526" y="827"/>
                  <a:pt x="526" y="833"/>
                  <a:pt x="526" y="839"/>
                </a:cubicBezTo>
                <a:cubicBezTo>
                  <a:pt x="526" y="847"/>
                  <a:pt x="526" y="855"/>
                  <a:pt x="526" y="862"/>
                </a:cubicBezTo>
                <a:cubicBezTo>
                  <a:pt x="526" y="870"/>
                  <a:pt x="525" y="877"/>
                  <a:pt x="526" y="884"/>
                </a:cubicBezTo>
                <a:cubicBezTo>
                  <a:pt x="527" y="890"/>
                  <a:pt x="525" y="897"/>
                  <a:pt x="527" y="902"/>
                </a:cubicBezTo>
                <a:cubicBezTo>
                  <a:pt x="529" y="912"/>
                  <a:pt x="525" y="923"/>
                  <a:pt x="529" y="933"/>
                </a:cubicBezTo>
                <a:cubicBezTo>
                  <a:pt x="529" y="933"/>
                  <a:pt x="529" y="933"/>
                  <a:pt x="529" y="933"/>
                </a:cubicBezTo>
                <a:cubicBezTo>
                  <a:pt x="527" y="938"/>
                  <a:pt x="528" y="942"/>
                  <a:pt x="530" y="947"/>
                </a:cubicBezTo>
                <a:cubicBezTo>
                  <a:pt x="530" y="948"/>
                  <a:pt x="530" y="949"/>
                  <a:pt x="530" y="950"/>
                </a:cubicBezTo>
                <a:cubicBezTo>
                  <a:pt x="526" y="957"/>
                  <a:pt x="529" y="964"/>
                  <a:pt x="529" y="970"/>
                </a:cubicBezTo>
                <a:cubicBezTo>
                  <a:pt x="529" y="978"/>
                  <a:pt x="529" y="986"/>
                  <a:pt x="529" y="994"/>
                </a:cubicBezTo>
                <a:cubicBezTo>
                  <a:pt x="530" y="1000"/>
                  <a:pt x="530" y="1006"/>
                  <a:pt x="530" y="1012"/>
                </a:cubicBezTo>
                <a:cubicBezTo>
                  <a:pt x="530" y="1015"/>
                  <a:pt x="530" y="1019"/>
                  <a:pt x="530" y="1022"/>
                </a:cubicBezTo>
                <a:cubicBezTo>
                  <a:pt x="531" y="1026"/>
                  <a:pt x="531" y="1030"/>
                  <a:pt x="531" y="1034"/>
                </a:cubicBezTo>
                <a:cubicBezTo>
                  <a:pt x="531" y="1040"/>
                  <a:pt x="531" y="1045"/>
                  <a:pt x="531" y="1051"/>
                </a:cubicBezTo>
                <a:cubicBezTo>
                  <a:pt x="530" y="1055"/>
                  <a:pt x="529" y="1059"/>
                  <a:pt x="530" y="1063"/>
                </a:cubicBezTo>
                <a:cubicBezTo>
                  <a:pt x="530" y="1070"/>
                  <a:pt x="532" y="1076"/>
                  <a:pt x="531" y="1082"/>
                </a:cubicBezTo>
                <a:cubicBezTo>
                  <a:pt x="530" y="1091"/>
                  <a:pt x="533" y="1099"/>
                  <a:pt x="531" y="1107"/>
                </a:cubicBezTo>
                <a:cubicBezTo>
                  <a:pt x="531" y="1109"/>
                  <a:pt x="532" y="1112"/>
                  <a:pt x="532" y="1114"/>
                </a:cubicBezTo>
                <a:cubicBezTo>
                  <a:pt x="531" y="1117"/>
                  <a:pt x="533" y="1119"/>
                  <a:pt x="536" y="1119"/>
                </a:cubicBezTo>
                <a:cubicBezTo>
                  <a:pt x="539" y="1120"/>
                  <a:pt x="543" y="1121"/>
                  <a:pt x="544" y="1125"/>
                </a:cubicBezTo>
                <a:cubicBezTo>
                  <a:pt x="545" y="1128"/>
                  <a:pt x="548" y="1130"/>
                  <a:pt x="550" y="1131"/>
                </a:cubicBezTo>
                <a:cubicBezTo>
                  <a:pt x="553" y="1134"/>
                  <a:pt x="557" y="1136"/>
                  <a:pt x="560" y="1138"/>
                </a:cubicBezTo>
                <a:cubicBezTo>
                  <a:pt x="566" y="1141"/>
                  <a:pt x="571" y="1144"/>
                  <a:pt x="576" y="1148"/>
                </a:cubicBezTo>
                <a:cubicBezTo>
                  <a:pt x="581" y="1151"/>
                  <a:pt x="586" y="1153"/>
                  <a:pt x="590" y="1156"/>
                </a:cubicBezTo>
                <a:cubicBezTo>
                  <a:pt x="597" y="1161"/>
                  <a:pt x="604" y="1165"/>
                  <a:pt x="610" y="1169"/>
                </a:cubicBezTo>
                <a:cubicBezTo>
                  <a:pt x="617" y="1173"/>
                  <a:pt x="623" y="1177"/>
                  <a:pt x="630" y="1181"/>
                </a:cubicBezTo>
                <a:cubicBezTo>
                  <a:pt x="633" y="1183"/>
                  <a:pt x="635" y="1186"/>
                  <a:pt x="639" y="1187"/>
                </a:cubicBezTo>
                <a:cubicBezTo>
                  <a:pt x="643" y="1188"/>
                  <a:pt x="647" y="1191"/>
                  <a:pt x="651" y="1193"/>
                </a:cubicBezTo>
                <a:cubicBezTo>
                  <a:pt x="658" y="1196"/>
                  <a:pt x="664" y="1201"/>
                  <a:pt x="670" y="1205"/>
                </a:cubicBezTo>
                <a:cubicBezTo>
                  <a:pt x="678" y="1211"/>
                  <a:pt x="687" y="1216"/>
                  <a:pt x="696" y="1222"/>
                </a:cubicBezTo>
                <a:cubicBezTo>
                  <a:pt x="705" y="1227"/>
                  <a:pt x="713" y="1234"/>
                  <a:pt x="722" y="1238"/>
                </a:cubicBezTo>
                <a:cubicBezTo>
                  <a:pt x="729" y="1241"/>
                  <a:pt x="734" y="1246"/>
                  <a:pt x="741" y="1249"/>
                </a:cubicBezTo>
                <a:cubicBezTo>
                  <a:pt x="749" y="1253"/>
                  <a:pt x="756" y="1259"/>
                  <a:pt x="764" y="1264"/>
                </a:cubicBezTo>
                <a:cubicBezTo>
                  <a:pt x="775" y="1271"/>
                  <a:pt x="787" y="1279"/>
                  <a:pt x="799" y="1286"/>
                </a:cubicBezTo>
                <a:cubicBezTo>
                  <a:pt x="812" y="1294"/>
                  <a:pt x="825" y="1301"/>
                  <a:pt x="837" y="1310"/>
                </a:cubicBezTo>
                <a:cubicBezTo>
                  <a:pt x="840" y="1312"/>
                  <a:pt x="843" y="1314"/>
                  <a:pt x="846" y="1316"/>
                </a:cubicBezTo>
                <a:cubicBezTo>
                  <a:pt x="849" y="1318"/>
                  <a:pt x="852" y="1319"/>
                  <a:pt x="854" y="1321"/>
                </a:cubicBezTo>
                <a:cubicBezTo>
                  <a:pt x="859" y="1323"/>
                  <a:pt x="864" y="1326"/>
                  <a:pt x="869" y="1329"/>
                </a:cubicBezTo>
                <a:cubicBezTo>
                  <a:pt x="871" y="1331"/>
                  <a:pt x="874" y="1332"/>
                  <a:pt x="877" y="1334"/>
                </a:cubicBezTo>
                <a:cubicBezTo>
                  <a:pt x="885" y="1338"/>
                  <a:pt x="892" y="1343"/>
                  <a:pt x="900" y="1348"/>
                </a:cubicBezTo>
                <a:cubicBezTo>
                  <a:pt x="904" y="1350"/>
                  <a:pt x="908" y="1352"/>
                  <a:pt x="911" y="1355"/>
                </a:cubicBezTo>
                <a:cubicBezTo>
                  <a:pt x="912" y="1357"/>
                  <a:pt x="915" y="1357"/>
                  <a:pt x="917" y="1358"/>
                </a:cubicBezTo>
                <a:cubicBezTo>
                  <a:pt x="918" y="1358"/>
                  <a:pt x="919" y="1358"/>
                  <a:pt x="920" y="1359"/>
                </a:cubicBezTo>
                <a:cubicBezTo>
                  <a:pt x="924" y="1362"/>
                  <a:pt x="928" y="1365"/>
                  <a:pt x="932" y="1368"/>
                </a:cubicBezTo>
                <a:cubicBezTo>
                  <a:pt x="933" y="1369"/>
                  <a:pt x="935" y="1370"/>
                  <a:pt x="937" y="1371"/>
                </a:cubicBezTo>
                <a:cubicBezTo>
                  <a:pt x="937" y="1371"/>
                  <a:pt x="939" y="1370"/>
                  <a:pt x="939" y="1370"/>
                </a:cubicBezTo>
                <a:cubicBezTo>
                  <a:pt x="940" y="1364"/>
                  <a:pt x="942" y="1358"/>
                  <a:pt x="943" y="1352"/>
                </a:cubicBezTo>
                <a:cubicBezTo>
                  <a:pt x="943" y="1350"/>
                  <a:pt x="942" y="1348"/>
                  <a:pt x="943" y="1346"/>
                </a:cubicBezTo>
                <a:cubicBezTo>
                  <a:pt x="944" y="1344"/>
                  <a:pt x="945" y="1343"/>
                  <a:pt x="944" y="1340"/>
                </a:cubicBezTo>
                <a:cubicBezTo>
                  <a:pt x="943" y="1336"/>
                  <a:pt x="943" y="1332"/>
                  <a:pt x="945" y="1328"/>
                </a:cubicBezTo>
                <a:cubicBezTo>
                  <a:pt x="946" y="1327"/>
                  <a:pt x="946" y="1325"/>
                  <a:pt x="946" y="1324"/>
                </a:cubicBezTo>
                <a:cubicBezTo>
                  <a:pt x="946" y="1318"/>
                  <a:pt x="946" y="1311"/>
                  <a:pt x="945" y="1305"/>
                </a:cubicBezTo>
                <a:cubicBezTo>
                  <a:pt x="944" y="1297"/>
                  <a:pt x="944" y="1289"/>
                  <a:pt x="944" y="1282"/>
                </a:cubicBezTo>
                <a:cubicBezTo>
                  <a:pt x="943" y="1276"/>
                  <a:pt x="942" y="1270"/>
                  <a:pt x="944" y="1264"/>
                </a:cubicBezTo>
                <a:cubicBezTo>
                  <a:pt x="944" y="1261"/>
                  <a:pt x="944" y="1257"/>
                  <a:pt x="942" y="1256"/>
                </a:cubicBezTo>
                <a:cubicBezTo>
                  <a:pt x="939" y="1253"/>
                  <a:pt x="940" y="1251"/>
                  <a:pt x="942" y="1249"/>
                </a:cubicBezTo>
                <a:cubicBezTo>
                  <a:pt x="945" y="1245"/>
                  <a:pt x="942" y="1240"/>
                  <a:pt x="943" y="1236"/>
                </a:cubicBezTo>
                <a:cubicBezTo>
                  <a:pt x="939" y="1229"/>
                  <a:pt x="943" y="1221"/>
                  <a:pt x="939" y="1214"/>
                </a:cubicBezTo>
                <a:cubicBezTo>
                  <a:pt x="938" y="1214"/>
                  <a:pt x="939" y="1212"/>
                  <a:pt x="939" y="1211"/>
                </a:cubicBezTo>
                <a:cubicBezTo>
                  <a:pt x="939" y="1207"/>
                  <a:pt x="940" y="1203"/>
                  <a:pt x="940" y="1199"/>
                </a:cubicBezTo>
                <a:cubicBezTo>
                  <a:pt x="939" y="1196"/>
                  <a:pt x="938" y="1192"/>
                  <a:pt x="941" y="1189"/>
                </a:cubicBezTo>
                <a:cubicBezTo>
                  <a:pt x="942" y="1188"/>
                  <a:pt x="941" y="1185"/>
                  <a:pt x="940" y="1183"/>
                </a:cubicBezTo>
                <a:cubicBezTo>
                  <a:pt x="939" y="1179"/>
                  <a:pt x="938" y="1174"/>
                  <a:pt x="940" y="1170"/>
                </a:cubicBezTo>
                <a:cubicBezTo>
                  <a:pt x="941" y="1168"/>
                  <a:pt x="941" y="1167"/>
                  <a:pt x="940" y="1165"/>
                </a:cubicBezTo>
                <a:cubicBezTo>
                  <a:pt x="940" y="1164"/>
                  <a:pt x="939" y="1163"/>
                  <a:pt x="939" y="1162"/>
                </a:cubicBezTo>
                <a:cubicBezTo>
                  <a:pt x="939" y="1155"/>
                  <a:pt x="939" y="1147"/>
                  <a:pt x="939" y="1140"/>
                </a:cubicBezTo>
                <a:cubicBezTo>
                  <a:pt x="939" y="1138"/>
                  <a:pt x="938" y="1136"/>
                  <a:pt x="938" y="1135"/>
                </a:cubicBezTo>
                <a:cubicBezTo>
                  <a:pt x="939" y="1129"/>
                  <a:pt x="940" y="1123"/>
                  <a:pt x="940" y="1117"/>
                </a:cubicBezTo>
                <a:cubicBezTo>
                  <a:pt x="941" y="1109"/>
                  <a:pt x="941" y="1102"/>
                  <a:pt x="940" y="1094"/>
                </a:cubicBezTo>
                <a:cubicBezTo>
                  <a:pt x="940" y="1093"/>
                  <a:pt x="940" y="1091"/>
                  <a:pt x="940" y="1090"/>
                </a:cubicBezTo>
                <a:cubicBezTo>
                  <a:pt x="940" y="1086"/>
                  <a:pt x="939" y="1081"/>
                  <a:pt x="939" y="1076"/>
                </a:cubicBezTo>
                <a:cubicBezTo>
                  <a:pt x="939" y="1071"/>
                  <a:pt x="939" y="1065"/>
                  <a:pt x="939" y="1060"/>
                </a:cubicBezTo>
                <a:cubicBezTo>
                  <a:pt x="938" y="1052"/>
                  <a:pt x="935" y="1045"/>
                  <a:pt x="937" y="1037"/>
                </a:cubicBezTo>
                <a:cubicBezTo>
                  <a:pt x="938" y="1037"/>
                  <a:pt x="937" y="1036"/>
                  <a:pt x="937" y="1036"/>
                </a:cubicBezTo>
                <a:cubicBezTo>
                  <a:pt x="934" y="1033"/>
                  <a:pt x="935" y="1029"/>
                  <a:pt x="935" y="1026"/>
                </a:cubicBezTo>
                <a:cubicBezTo>
                  <a:pt x="935" y="1021"/>
                  <a:pt x="936" y="1016"/>
                  <a:pt x="936" y="1011"/>
                </a:cubicBezTo>
                <a:cubicBezTo>
                  <a:pt x="936" y="1007"/>
                  <a:pt x="936" y="1003"/>
                  <a:pt x="936" y="999"/>
                </a:cubicBezTo>
                <a:cubicBezTo>
                  <a:pt x="937" y="995"/>
                  <a:pt x="938" y="991"/>
                  <a:pt x="937" y="988"/>
                </a:cubicBezTo>
                <a:cubicBezTo>
                  <a:pt x="935" y="983"/>
                  <a:pt x="936" y="979"/>
                  <a:pt x="936" y="975"/>
                </a:cubicBezTo>
                <a:cubicBezTo>
                  <a:pt x="937" y="970"/>
                  <a:pt x="936" y="965"/>
                  <a:pt x="936" y="961"/>
                </a:cubicBezTo>
                <a:cubicBezTo>
                  <a:pt x="936" y="957"/>
                  <a:pt x="936" y="953"/>
                  <a:pt x="936" y="949"/>
                </a:cubicBezTo>
                <a:cubicBezTo>
                  <a:pt x="936" y="945"/>
                  <a:pt x="937" y="942"/>
                  <a:pt x="937" y="938"/>
                </a:cubicBezTo>
                <a:cubicBezTo>
                  <a:pt x="937" y="936"/>
                  <a:pt x="937" y="933"/>
                  <a:pt x="937" y="931"/>
                </a:cubicBezTo>
                <a:cubicBezTo>
                  <a:pt x="937" y="927"/>
                  <a:pt x="935" y="924"/>
                  <a:pt x="938" y="921"/>
                </a:cubicBezTo>
                <a:cubicBezTo>
                  <a:pt x="938" y="921"/>
                  <a:pt x="937" y="920"/>
                  <a:pt x="937" y="920"/>
                </a:cubicBezTo>
                <a:cubicBezTo>
                  <a:pt x="936" y="920"/>
                  <a:pt x="935" y="919"/>
                  <a:pt x="936" y="918"/>
                </a:cubicBezTo>
                <a:cubicBezTo>
                  <a:pt x="937" y="913"/>
                  <a:pt x="938" y="906"/>
                  <a:pt x="936" y="901"/>
                </a:cubicBezTo>
                <a:cubicBezTo>
                  <a:pt x="935" y="896"/>
                  <a:pt x="939" y="891"/>
                  <a:pt x="936" y="886"/>
                </a:cubicBezTo>
                <a:cubicBezTo>
                  <a:pt x="935" y="885"/>
                  <a:pt x="936" y="883"/>
                  <a:pt x="936" y="882"/>
                </a:cubicBezTo>
                <a:cubicBezTo>
                  <a:pt x="936" y="880"/>
                  <a:pt x="936" y="878"/>
                  <a:pt x="936" y="876"/>
                </a:cubicBezTo>
                <a:cubicBezTo>
                  <a:pt x="936" y="875"/>
                  <a:pt x="936" y="873"/>
                  <a:pt x="936" y="871"/>
                </a:cubicBezTo>
                <a:cubicBezTo>
                  <a:pt x="936" y="866"/>
                  <a:pt x="936" y="861"/>
                  <a:pt x="936" y="855"/>
                </a:cubicBezTo>
                <a:cubicBezTo>
                  <a:pt x="937" y="849"/>
                  <a:pt x="936" y="842"/>
                  <a:pt x="936" y="836"/>
                </a:cubicBezTo>
                <a:cubicBezTo>
                  <a:pt x="936" y="832"/>
                  <a:pt x="938" y="828"/>
                  <a:pt x="937" y="824"/>
                </a:cubicBezTo>
                <a:cubicBezTo>
                  <a:pt x="936" y="818"/>
                  <a:pt x="940" y="813"/>
                  <a:pt x="937" y="808"/>
                </a:cubicBezTo>
                <a:cubicBezTo>
                  <a:pt x="937" y="808"/>
                  <a:pt x="937" y="807"/>
                  <a:pt x="937" y="807"/>
                </a:cubicBezTo>
                <a:cubicBezTo>
                  <a:pt x="940" y="805"/>
                  <a:pt x="937" y="803"/>
                  <a:pt x="937" y="801"/>
                </a:cubicBezTo>
                <a:cubicBezTo>
                  <a:pt x="937" y="800"/>
                  <a:pt x="936" y="798"/>
                  <a:pt x="936" y="797"/>
                </a:cubicBezTo>
                <a:cubicBezTo>
                  <a:pt x="937" y="789"/>
                  <a:pt x="939" y="782"/>
                  <a:pt x="936" y="774"/>
                </a:cubicBezTo>
                <a:cubicBezTo>
                  <a:pt x="936" y="773"/>
                  <a:pt x="936" y="772"/>
                  <a:pt x="936" y="771"/>
                </a:cubicBezTo>
                <a:cubicBezTo>
                  <a:pt x="936" y="764"/>
                  <a:pt x="937" y="758"/>
                  <a:pt x="937" y="751"/>
                </a:cubicBezTo>
                <a:cubicBezTo>
                  <a:pt x="937" y="747"/>
                  <a:pt x="937" y="744"/>
                  <a:pt x="937" y="741"/>
                </a:cubicBezTo>
                <a:cubicBezTo>
                  <a:pt x="936" y="732"/>
                  <a:pt x="935" y="724"/>
                  <a:pt x="936" y="716"/>
                </a:cubicBezTo>
                <a:cubicBezTo>
                  <a:pt x="937" y="709"/>
                  <a:pt x="937" y="702"/>
                  <a:pt x="937" y="694"/>
                </a:cubicBezTo>
                <a:cubicBezTo>
                  <a:pt x="937" y="687"/>
                  <a:pt x="937" y="680"/>
                  <a:pt x="937" y="672"/>
                </a:cubicBezTo>
                <a:cubicBezTo>
                  <a:pt x="937" y="671"/>
                  <a:pt x="937" y="669"/>
                  <a:pt x="937" y="667"/>
                </a:cubicBezTo>
                <a:cubicBezTo>
                  <a:pt x="937" y="665"/>
                  <a:pt x="937" y="663"/>
                  <a:pt x="937" y="661"/>
                </a:cubicBezTo>
                <a:cubicBezTo>
                  <a:pt x="937" y="654"/>
                  <a:pt x="937" y="648"/>
                  <a:pt x="937" y="641"/>
                </a:cubicBezTo>
                <a:cubicBezTo>
                  <a:pt x="937" y="632"/>
                  <a:pt x="937" y="624"/>
                  <a:pt x="937" y="616"/>
                </a:cubicBezTo>
                <a:cubicBezTo>
                  <a:pt x="937" y="613"/>
                  <a:pt x="938" y="610"/>
                  <a:pt x="938" y="607"/>
                </a:cubicBezTo>
                <a:cubicBezTo>
                  <a:pt x="935" y="595"/>
                  <a:pt x="939" y="583"/>
                  <a:pt x="937" y="571"/>
                </a:cubicBezTo>
                <a:cubicBezTo>
                  <a:pt x="937" y="567"/>
                  <a:pt x="937" y="564"/>
                  <a:pt x="937" y="560"/>
                </a:cubicBezTo>
                <a:cubicBezTo>
                  <a:pt x="937" y="556"/>
                  <a:pt x="935" y="552"/>
                  <a:pt x="938" y="548"/>
                </a:cubicBezTo>
                <a:cubicBezTo>
                  <a:pt x="938" y="547"/>
                  <a:pt x="938" y="546"/>
                  <a:pt x="938" y="546"/>
                </a:cubicBezTo>
                <a:cubicBezTo>
                  <a:pt x="935" y="540"/>
                  <a:pt x="936" y="533"/>
                  <a:pt x="937" y="527"/>
                </a:cubicBezTo>
                <a:cubicBezTo>
                  <a:pt x="938" y="520"/>
                  <a:pt x="938" y="513"/>
                  <a:pt x="937" y="506"/>
                </a:cubicBezTo>
                <a:cubicBezTo>
                  <a:pt x="937" y="505"/>
                  <a:pt x="937" y="503"/>
                  <a:pt x="937" y="502"/>
                </a:cubicBezTo>
                <a:cubicBezTo>
                  <a:pt x="938" y="500"/>
                  <a:pt x="938" y="499"/>
                  <a:pt x="938" y="497"/>
                </a:cubicBezTo>
                <a:cubicBezTo>
                  <a:pt x="938" y="489"/>
                  <a:pt x="937" y="480"/>
                  <a:pt x="938" y="471"/>
                </a:cubicBezTo>
                <a:cubicBezTo>
                  <a:pt x="938" y="464"/>
                  <a:pt x="936" y="458"/>
                  <a:pt x="937" y="451"/>
                </a:cubicBezTo>
                <a:cubicBezTo>
                  <a:pt x="938" y="442"/>
                  <a:pt x="937" y="433"/>
                  <a:pt x="937" y="424"/>
                </a:cubicBezTo>
                <a:cubicBezTo>
                  <a:pt x="937" y="419"/>
                  <a:pt x="938" y="414"/>
                  <a:pt x="936" y="410"/>
                </a:cubicBezTo>
                <a:cubicBezTo>
                  <a:pt x="933" y="407"/>
                  <a:pt x="928" y="406"/>
                  <a:pt x="923" y="403"/>
                </a:cubicBezTo>
                <a:cubicBezTo>
                  <a:pt x="923" y="403"/>
                  <a:pt x="923" y="403"/>
                  <a:pt x="922" y="403"/>
                </a:cubicBezTo>
                <a:cubicBezTo>
                  <a:pt x="920" y="401"/>
                  <a:pt x="918" y="402"/>
                  <a:pt x="916" y="404"/>
                </a:cubicBezTo>
                <a:cubicBezTo>
                  <a:pt x="910" y="413"/>
                  <a:pt x="902" y="420"/>
                  <a:pt x="892" y="424"/>
                </a:cubicBezTo>
                <a:cubicBezTo>
                  <a:pt x="885" y="428"/>
                  <a:pt x="877" y="429"/>
                  <a:pt x="869" y="428"/>
                </a:cubicBezTo>
                <a:cubicBezTo>
                  <a:pt x="865" y="427"/>
                  <a:pt x="862" y="425"/>
                  <a:pt x="859" y="422"/>
                </a:cubicBezTo>
                <a:cubicBezTo>
                  <a:pt x="857" y="420"/>
                  <a:pt x="855" y="417"/>
                  <a:pt x="854" y="415"/>
                </a:cubicBezTo>
                <a:cubicBezTo>
                  <a:pt x="851" y="410"/>
                  <a:pt x="851" y="411"/>
                  <a:pt x="847" y="413"/>
                </a:cubicBezTo>
                <a:cubicBezTo>
                  <a:pt x="835" y="421"/>
                  <a:pt x="824" y="428"/>
                  <a:pt x="812" y="436"/>
                </a:cubicBezTo>
                <a:cubicBezTo>
                  <a:pt x="803" y="441"/>
                  <a:pt x="794" y="446"/>
                  <a:pt x="785" y="451"/>
                </a:cubicBezTo>
                <a:cubicBezTo>
                  <a:pt x="777" y="456"/>
                  <a:pt x="768" y="462"/>
                  <a:pt x="760" y="467"/>
                </a:cubicBezTo>
                <a:cubicBezTo>
                  <a:pt x="751" y="472"/>
                  <a:pt x="743" y="476"/>
                  <a:pt x="734" y="480"/>
                </a:cubicBezTo>
                <a:cubicBezTo>
                  <a:pt x="730" y="483"/>
                  <a:pt x="730" y="483"/>
                  <a:pt x="732" y="487"/>
                </a:cubicBezTo>
                <a:cubicBezTo>
                  <a:pt x="732" y="489"/>
                  <a:pt x="733" y="490"/>
                  <a:pt x="733" y="492"/>
                </a:cubicBezTo>
                <a:cubicBezTo>
                  <a:pt x="734" y="499"/>
                  <a:pt x="737" y="507"/>
                  <a:pt x="734" y="514"/>
                </a:cubicBezTo>
                <a:cubicBezTo>
                  <a:pt x="730" y="526"/>
                  <a:pt x="721" y="534"/>
                  <a:pt x="708" y="535"/>
                </a:cubicBezTo>
                <a:cubicBezTo>
                  <a:pt x="703" y="536"/>
                  <a:pt x="697" y="535"/>
                  <a:pt x="692" y="536"/>
                </a:cubicBezTo>
                <a:cubicBezTo>
                  <a:pt x="691" y="536"/>
                  <a:pt x="689" y="536"/>
                  <a:pt x="689" y="537"/>
                </a:cubicBezTo>
                <a:cubicBezTo>
                  <a:pt x="687" y="543"/>
                  <a:pt x="685" y="548"/>
                  <a:pt x="684" y="554"/>
                </a:cubicBezTo>
                <a:cubicBezTo>
                  <a:pt x="681" y="560"/>
                  <a:pt x="679" y="566"/>
                  <a:pt x="677" y="573"/>
                </a:cubicBezTo>
                <a:cubicBezTo>
                  <a:pt x="674" y="580"/>
                  <a:pt x="671" y="587"/>
                  <a:pt x="669" y="595"/>
                </a:cubicBezTo>
                <a:cubicBezTo>
                  <a:pt x="666" y="603"/>
                  <a:pt x="664" y="611"/>
                  <a:pt x="661" y="620"/>
                </a:cubicBezTo>
                <a:cubicBezTo>
                  <a:pt x="656" y="635"/>
                  <a:pt x="651" y="650"/>
                  <a:pt x="646" y="665"/>
                </a:cubicBezTo>
                <a:cubicBezTo>
                  <a:pt x="644" y="673"/>
                  <a:pt x="641" y="680"/>
                  <a:pt x="639" y="688"/>
                </a:cubicBezTo>
                <a:cubicBezTo>
                  <a:pt x="635" y="700"/>
                  <a:pt x="631" y="711"/>
                  <a:pt x="628" y="723"/>
                </a:cubicBezTo>
                <a:cubicBezTo>
                  <a:pt x="626" y="729"/>
                  <a:pt x="626" y="729"/>
                  <a:pt x="632" y="732"/>
                </a:cubicBezTo>
                <a:cubicBezTo>
                  <a:pt x="639" y="736"/>
                  <a:pt x="644" y="742"/>
                  <a:pt x="646" y="750"/>
                </a:cubicBezTo>
                <a:cubicBezTo>
                  <a:pt x="646" y="753"/>
                  <a:pt x="647" y="756"/>
                  <a:pt x="648" y="759"/>
                </a:cubicBezTo>
                <a:cubicBezTo>
                  <a:pt x="650" y="765"/>
                  <a:pt x="649" y="770"/>
                  <a:pt x="648" y="776"/>
                </a:cubicBezTo>
                <a:cubicBezTo>
                  <a:pt x="646" y="784"/>
                  <a:pt x="644" y="791"/>
                  <a:pt x="638" y="797"/>
                </a:cubicBezTo>
                <a:cubicBezTo>
                  <a:pt x="637" y="798"/>
                  <a:pt x="636" y="800"/>
                  <a:pt x="636" y="802"/>
                </a:cubicBezTo>
                <a:cubicBezTo>
                  <a:pt x="638" y="807"/>
                  <a:pt x="640" y="812"/>
                  <a:pt x="642" y="817"/>
                </a:cubicBezTo>
                <a:cubicBezTo>
                  <a:pt x="647" y="828"/>
                  <a:pt x="650" y="840"/>
                  <a:pt x="655" y="851"/>
                </a:cubicBezTo>
                <a:cubicBezTo>
                  <a:pt x="661" y="863"/>
                  <a:pt x="670" y="875"/>
                  <a:pt x="675" y="888"/>
                </a:cubicBezTo>
                <a:cubicBezTo>
                  <a:pt x="677" y="894"/>
                  <a:pt x="680" y="899"/>
                  <a:pt x="682" y="905"/>
                </a:cubicBezTo>
                <a:cubicBezTo>
                  <a:pt x="687" y="917"/>
                  <a:pt x="692" y="929"/>
                  <a:pt x="697" y="940"/>
                </a:cubicBezTo>
                <a:cubicBezTo>
                  <a:pt x="698" y="943"/>
                  <a:pt x="699" y="943"/>
                  <a:pt x="701" y="942"/>
                </a:cubicBezTo>
                <a:cubicBezTo>
                  <a:pt x="702" y="941"/>
                  <a:pt x="704" y="941"/>
                  <a:pt x="705" y="940"/>
                </a:cubicBezTo>
                <a:cubicBezTo>
                  <a:pt x="707" y="939"/>
                  <a:pt x="709" y="938"/>
                  <a:pt x="712" y="938"/>
                </a:cubicBezTo>
                <a:cubicBezTo>
                  <a:pt x="715" y="939"/>
                  <a:pt x="719" y="939"/>
                  <a:pt x="722" y="939"/>
                </a:cubicBezTo>
                <a:cubicBezTo>
                  <a:pt x="727" y="939"/>
                  <a:pt x="732" y="938"/>
                  <a:pt x="736" y="939"/>
                </a:cubicBezTo>
                <a:cubicBezTo>
                  <a:pt x="740" y="940"/>
                  <a:pt x="741" y="939"/>
                  <a:pt x="742" y="936"/>
                </a:cubicBezTo>
                <a:cubicBezTo>
                  <a:pt x="746" y="925"/>
                  <a:pt x="750" y="915"/>
                  <a:pt x="754" y="904"/>
                </a:cubicBezTo>
                <a:cubicBezTo>
                  <a:pt x="757" y="898"/>
                  <a:pt x="760" y="892"/>
                  <a:pt x="761" y="885"/>
                </a:cubicBezTo>
                <a:cubicBezTo>
                  <a:pt x="762" y="879"/>
                  <a:pt x="764" y="873"/>
                  <a:pt x="766" y="868"/>
                </a:cubicBezTo>
                <a:cubicBezTo>
                  <a:pt x="769" y="861"/>
                  <a:pt x="772" y="854"/>
                  <a:pt x="775" y="847"/>
                </a:cubicBezTo>
                <a:cubicBezTo>
                  <a:pt x="777" y="841"/>
                  <a:pt x="780" y="835"/>
                  <a:pt x="782" y="829"/>
                </a:cubicBezTo>
                <a:cubicBezTo>
                  <a:pt x="785" y="820"/>
                  <a:pt x="788" y="811"/>
                  <a:pt x="791" y="803"/>
                </a:cubicBezTo>
                <a:cubicBezTo>
                  <a:pt x="792" y="798"/>
                  <a:pt x="794" y="794"/>
                  <a:pt x="796" y="790"/>
                </a:cubicBezTo>
                <a:cubicBezTo>
                  <a:pt x="798" y="784"/>
                  <a:pt x="800" y="778"/>
                  <a:pt x="801" y="773"/>
                </a:cubicBezTo>
                <a:cubicBezTo>
                  <a:pt x="803" y="768"/>
                  <a:pt x="802" y="766"/>
                  <a:pt x="798" y="763"/>
                </a:cubicBezTo>
                <a:cubicBezTo>
                  <a:pt x="796" y="761"/>
                  <a:pt x="793" y="759"/>
                  <a:pt x="792" y="756"/>
                </a:cubicBezTo>
                <a:cubicBezTo>
                  <a:pt x="789" y="749"/>
                  <a:pt x="786" y="743"/>
                  <a:pt x="783" y="736"/>
                </a:cubicBezTo>
                <a:cubicBezTo>
                  <a:pt x="782" y="734"/>
                  <a:pt x="781" y="732"/>
                  <a:pt x="782" y="730"/>
                </a:cubicBezTo>
                <a:cubicBezTo>
                  <a:pt x="784" y="723"/>
                  <a:pt x="782" y="715"/>
                  <a:pt x="786" y="708"/>
                </a:cubicBezTo>
                <a:cubicBezTo>
                  <a:pt x="793" y="693"/>
                  <a:pt x="802" y="682"/>
                  <a:pt x="817" y="677"/>
                </a:cubicBezTo>
                <a:cubicBezTo>
                  <a:pt x="824" y="675"/>
                  <a:pt x="831" y="675"/>
                  <a:pt x="838" y="675"/>
                </a:cubicBezTo>
                <a:cubicBezTo>
                  <a:pt x="842" y="675"/>
                  <a:pt x="847" y="675"/>
                  <a:pt x="850" y="677"/>
                </a:cubicBezTo>
                <a:cubicBezTo>
                  <a:pt x="861" y="683"/>
                  <a:pt x="868" y="692"/>
                  <a:pt x="872" y="703"/>
                </a:cubicBezTo>
                <a:cubicBezTo>
                  <a:pt x="876" y="714"/>
                  <a:pt x="877" y="725"/>
                  <a:pt x="876" y="737"/>
                </a:cubicBezTo>
                <a:cubicBezTo>
                  <a:pt x="876" y="740"/>
                  <a:pt x="875" y="743"/>
                  <a:pt x="873" y="746"/>
                </a:cubicBezTo>
                <a:cubicBezTo>
                  <a:pt x="870" y="752"/>
                  <a:pt x="866" y="758"/>
                  <a:pt x="861" y="763"/>
                </a:cubicBezTo>
                <a:cubicBezTo>
                  <a:pt x="851" y="772"/>
                  <a:pt x="840" y="777"/>
                  <a:pt x="827" y="779"/>
                </a:cubicBezTo>
                <a:cubicBezTo>
                  <a:pt x="824" y="780"/>
                  <a:pt x="821" y="780"/>
                  <a:pt x="818" y="777"/>
                </a:cubicBezTo>
                <a:cubicBezTo>
                  <a:pt x="815" y="775"/>
                  <a:pt x="810" y="776"/>
                  <a:pt x="809" y="779"/>
                </a:cubicBezTo>
                <a:cubicBezTo>
                  <a:pt x="806" y="789"/>
                  <a:pt x="802" y="798"/>
                  <a:pt x="798" y="808"/>
                </a:cubicBezTo>
                <a:cubicBezTo>
                  <a:pt x="794" y="820"/>
                  <a:pt x="790" y="833"/>
                  <a:pt x="785" y="845"/>
                </a:cubicBezTo>
                <a:cubicBezTo>
                  <a:pt x="783" y="852"/>
                  <a:pt x="779" y="859"/>
                  <a:pt x="777" y="866"/>
                </a:cubicBezTo>
                <a:cubicBezTo>
                  <a:pt x="771" y="884"/>
                  <a:pt x="764" y="902"/>
                  <a:pt x="757" y="919"/>
                </a:cubicBezTo>
                <a:cubicBezTo>
                  <a:pt x="754" y="926"/>
                  <a:pt x="752" y="933"/>
                  <a:pt x="750" y="940"/>
                </a:cubicBezTo>
                <a:cubicBezTo>
                  <a:pt x="750" y="941"/>
                  <a:pt x="750" y="943"/>
                  <a:pt x="751" y="944"/>
                </a:cubicBezTo>
                <a:cubicBezTo>
                  <a:pt x="760" y="956"/>
                  <a:pt x="763" y="968"/>
                  <a:pt x="757" y="982"/>
                </a:cubicBezTo>
                <a:cubicBezTo>
                  <a:pt x="752" y="993"/>
                  <a:pt x="746" y="1004"/>
                  <a:pt x="734" y="1011"/>
                </a:cubicBezTo>
                <a:cubicBezTo>
                  <a:pt x="727" y="1015"/>
                  <a:pt x="719" y="1018"/>
                  <a:pt x="709" y="1017"/>
                </a:cubicBezTo>
                <a:close/>
                <a:moveTo>
                  <a:pt x="559" y="199"/>
                </a:moveTo>
                <a:cubicBezTo>
                  <a:pt x="559" y="196"/>
                  <a:pt x="559" y="193"/>
                  <a:pt x="560" y="190"/>
                </a:cubicBezTo>
                <a:cubicBezTo>
                  <a:pt x="562" y="178"/>
                  <a:pt x="570" y="169"/>
                  <a:pt x="581" y="163"/>
                </a:cubicBezTo>
                <a:cubicBezTo>
                  <a:pt x="593" y="157"/>
                  <a:pt x="605" y="156"/>
                  <a:pt x="616" y="165"/>
                </a:cubicBezTo>
                <a:cubicBezTo>
                  <a:pt x="618" y="167"/>
                  <a:pt x="619" y="169"/>
                  <a:pt x="621" y="170"/>
                </a:cubicBezTo>
                <a:cubicBezTo>
                  <a:pt x="629" y="174"/>
                  <a:pt x="628" y="182"/>
                  <a:pt x="631" y="188"/>
                </a:cubicBezTo>
                <a:cubicBezTo>
                  <a:pt x="631" y="204"/>
                  <a:pt x="624" y="217"/>
                  <a:pt x="608" y="223"/>
                </a:cubicBezTo>
                <a:cubicBezTo>
                  <a:pt x="606" y="223"/>
                  <a:pt x="604" y="224"/>
                  <a:pt x="603" y="225"/>
                </a:cubicBezTo>
                <a:cubicBezTo>
                  <a:pt x="602" y="225"/>
                  <a:pt x="600" y="227"/>
                  <a:pt x="600" y="228"/>
                </a:cubicBezTo>
                <a:cubicBezTo>
                  <a:pt x="599" y="231"/>
                  <a:pt x="599" y="234"/>
                  <a:pt x="599" y="237"/>
                </a:cubicBezTo>
                <a:cubicBezTo>
                  <a:pt x="599" y="242"/>
                  <a:pt x="598" y="247"/>
                  <a:pt x="598" y="253"/>
                </a:cubicBezTo>
                <a:cubicBezTo>
                  <a:pt x="598" y="256"/>
                  <a:pt x="597" y="260"/>
                  <a:pt x="597" y="264"/>
                </a:cubicBezTo>
                <a:cubicBezTo>
                  <a:pt x="597" y="266"/>
                  <a:pt x="598" y="267"/>
                  <a:pt x="598" y="269"/>
                </a:cubicBezTo>
                <a:cubicBezTo>
                  <a:pt x="597" y="276"/>
                  <a:pt x="596" y="282"/>
                  <a:pt x="595" y="289"/>
                </a:cubicBezTo>
                <a:cubicBezTo>
                  <a:pt x="595" y="295"/>
                  <a:pt x="594" y="302"/>
                  <a:pt x="594" y="308"/>
                </a:cubicBezTo>
                <a:cubicBezTo>
                  <a:pt x="595" y="317"/>
                  <a:pt x="595" y="325"/>
                  <a:pt x="594" y="334"/>
                </a:cubicBezTo>
                <a:cubicBezTo>
                  <a:pt x="593" y="344"/>
                  <a:pt x="594" y="354"/>
                  <a:pt x="594" y="364"/>
                </a:cubicBezTo>
                <a:cubicBezTo>
                  <a:pt x="594" y="366"/>
                  <a:pt x="595" y="368"/>
                  <a:pt x="595" y="369"/>
                </a:cubicBezTo>
                <a:cubicBezTo>
                  <a:pt x="593" y="372"/>
                  <a:pt x="595" y="373"/>
                  <a:pt x="597" y="375"/>
                </a:cubicBezTo>
                <a:cubicBezTo>
                  <a:pt x="602" y="377"/>
                  <a:pt x="608" y="378"/>
                  <a:pt x="613" y="382"/>
                </a:cubicBezTo>
                <a:cubicBezTo>
                  <a:pt x="615" y="383"/>
                  <a:pt x="615" y="386"/>
                  <a:pt x="617" y="388"/>
                </a:cubicBezTo>
                <a:cubicBezTo>
                  <a:pt x="623" y="393"/>
                  <a:pt x="627" y="400"/>
                  <a:pt x="628" y="408"/>
                </a:cubicBezTo>
                <a:cubicBezTo>
                  <a:pt x="629" y="413"/>
                  <a:pt x="631" y="418"/>
                  <a:pt x="630" y="423"/>
                </a:cubicBezTo>
                <a:cubicBezTo>
                  <a:pt x="628" y="430"/>
                  <a:pt x="625" y="436"/>
                  <a:pt x="620" y="440"/>
                </a:cubicBezTo>
                <a:cubicBezTo>
                  <a:pt x="617" y="444"/>
                  <a:pt x="613" y="447"/>
                  <a:pt x="609" y="450"/>
                </a:cubicBezTo>
                <a:cubicBezTo>
                  <a:pt x="604" y="455"/>
                  <a:pt x="598" y="457"/>
                  <a:pt x="592" y="456"/>
                </a:cubicBezTo>
                <a:cubicBezTo>
                  <a:pt x="584" y="454"/>
                  <a:pt x="577" y="452"/>
                  <a:pt x="570" y="449"/>
                </a:cubicBezTo>
                <a:cubicBezTo>
                  <a:pt x="567" y="448"/>
                  <a:pt x="566" y="448"/>
                  <a:pt x="563" y="449"/>
                </a:cubicBezTo>
                <a:cubicBezTo>
                  <a:pt x="554" y="455"/>
                  <a:pt x="545" y="460"/>
                  <a:pt x="536" y="467"/>
                </a:cubicBezTo>
                <a:cubicBezTo>
                  <a:pt x="530" y="471"/>
                  <a:pt x="525" y="476"/>
                  <a:pt x="519" y="481"/>
                </a:cubicBezTo>
                <a:cubicBezTo>
                  <a:pt x="519" y="482"/>
                  <a:pt x="518" y="483"/>
                  <a:pt x="518" y="483"/>
                </a:cubicBezTo>
                <a:cubicBezTo>
                  <a:pt x="518" y="487"/>
                  <a:pt x="519" y="491"/>
                  <a:pt x="519" y="495"/>
                </a:cubicBezTo>
                <a:cubicBezTo>
                  <a:pt x="519" y="503"/>
                  <a:pt x="519" y="510"/>
                  <a:pt x="519" y="518"/>
                </a:cubicBezTo>
                <a:cubicBezTo>
                  <a:pt x="520" y="528"/>
                  <a:pt x="520" y="538"/>
                  <a:pt x="521" y="547"/>
                </a:cubicBezTo>
                <a:cubicBezTo>
                  <a:pt x="521" y="552"/>
                  <a:pt x="521" y="555"/>
                  <a:pt x="520" y="560"/>
                </a:cubicBezTo>
                <a:cubicBezTo>
                  <a:pt x="520" y="563"/>
                  <a:pt x="520" y="566"/>
                  <a:pt x="520" y="570"/>
                </a:cubicBezTo>
                <a:cubicBezTo>
                  <a:pt x="520" y="577"/>
                  <a:pt x="521" y="584"/>
                  <a:pt x="521" y="591"/>
                </a:cubicBezTo>
                <a:cubicBezTo>
                  <a:pt x="521" y="596"/>
                  <a:pt x="521" y="602"/>
                  <a:pt x="522" y="608"/>
                </a:cubicBezTo>
                <a:cubicBezTo>
                  <a:pt x="523" y="613"/>
                  <a:pt x="523" y="617"/>
                  <a:pt x="523" y="622"/>
                </a:cubicBezTo>
                <a:cubicBezTo>
                  <a:pt x="523" y="626"/>
                  <a:pt x="522" y="629"/>
                  <a:pt x="522" y="632"/>
                </a:cubicBezTo>
                <a:cubicBezTo>
                  <a:pt x="524" y="639"/>
                  <a:pt x="521" y="646"/>
                  <a:pt x="523" y="653"/>
                </a:cubicBezTo>
                <a:cubicBezTo>
                  <a:pt x="524" y="657"/>
                  <a:pt x="524" y="662"/>
                  <a:pt x="524" y="666"/>
                </a:cubicBezTo>
                <a:cubicBezTo>
                  <a:pt x="523" y="670"/>
                  <a:pt x="523" y="675"/>
                  <a:pt x="523" y="679"/>
                </a:cubicBezTo>
                <a:cubicBezTo>
                  <a:pt x="524" y="690"/>
                  <a:pt x="522" y="701"/>
                  <a:pt x="524" y="712"/>
                </a:cubicBezTo>
                <a:cubicBezTo>
                  <a:pt x="525" y="716"/>
                  <a:pt x="525" y="721"/>
                  <a:pt x="525" y="726"/>
                </a:cubicBezTo>
                <a:cubicBezTo>
                  <a:pt x="524" y="732"/>
                  <a:pt x="524" y="738"/>
                  <a:pt x="525" y="744"/>
                </a:cubicBezTo>
                <a:cubicBezTo>
                  <a:pt x="526" y="745"/>
                  <a:pt x="526" y="745"/>
                  <a:pt x="526" y="746"/>
                </a:cubicBezTo>
                <a:cubicBezTo>
                  <a:pt x="525" y="750"/>
                  <a:pt x="527" y="754"/>
                  <a:pt x="525" y="758"/>
                </a:cubicBezTo>
                <a:cubicBezTo>
                  <a:pt x="524" y="763"/>
                  <a:pt x="524" y="768"/>
                  <a:pt x="524" y="773"/>
                </a:cubicBezTo>
                <a:cubicBezTo>
                  <a:pt x="524" y="776"/>
                  <a:pt x="524" y="780"/>
                  <a:pt x="524" y="783"/>
                </a:cubicBezTo>
                <a:cubicBezTo>
                  <a:pt x="525" y="786"/>
                  <a:pt x="523" y="789"/>
                  <a:pt x="525" y="792"/>
                </a:cubicBezTo>
                <a:cubicBezTo>
                  <a:pt x="525" y="793"/>
                  <a:pt x="525" y="793"/>
                  <a:pt x="525" y="794"/>
                </a:cubicBezTo>
                <a:cubicBezTo>
                  <a:pt x="524" y="795"/>
                  <a:pt x="524" y="795"/>
                  <a:pt x="524" y="796"/>
                </a:cubicBezTo>
                <a:cubicBezTo>
                  <a:pt x="525" y="796"/>
                  <a:pt x="526" y="797"/>
                  <a:pt x="527" y="796"/>
                </a:cubicBezTo>
                <a:cubicBezTo>
                  <a:pt x="531" y="795"/>
                  <a:pt x="534" y="793"/>
                  <a:pt x="538" y="792"/>
                </a:cubicBezTo>
                <a:cubicBezTo>
                  <a:pt x="544" y="789"/>
                  <a:pt x="551" y="786"/>
                  <a:pt x="558" y="783"/>
                </a:cubicBezTo>
                <a:cubicBezTo>
                  <a:pt x="560" y="783"/>
                  <a:pt x="561" y="781"/>
                  <a:pt x="561" y="780"/>
                </a:cubicBezTo>
                <a:cubicBezTo>
                  <a:pt x="562" y="776"/>
                  <a:pt x="563" y="773"/>
                  <a:pt x="563" y="770"/>
                </a:cubicBezTo>
                <a:cubicBezTo>
                  <a:pt x="562" y="761"/>
                  <a:pt x="566" y="755"/>
                  <a:pt x="568" y="748"/>
                </a:cubicBezTo>
                <a:cubicBezTo>
                  <a:pt x="571" y="741"/>
                  <a:pt x="577" y="738"/>
                  <a:pt x="582" y="733"/>
                </a:cubicBezTo>
                <a:cubicBezTo>
                  <a:pt x="587" y="729"/>
                  <a:pt x="592" y="727"/>
                  <a:pt x="599" y="726"/>
                </a:cubicBezTo>
                <a:cubicBezTo>
                  <a:pt x="603" y="726"/>
                  <a:pt x="608" y="726"/>
                  <a:pt x="613" y="726"/>
                </a:cubicBezTo>
                <a:cubicBezTo>
                  <a:pt x="616" y="726"/>
                  <a:pt x="617" y="726"/>
                  <a:pt x="618" y="723"/>
                </a:cubicBezTo>
                <a:cubicBezTo>
                  <a:pt x="619" y="720"/>
                  <a:pt x="621" y="716"/>
                  <a:pt x="622" y="713"/>
                </a:cubicBezTo>
                <a:cubicBezTo>
                  <a:pt x="625" y="705"/>
                  <a:pt x="628" y="696"/>
                  <a:pt x="631" y="688"/>
                </a:cubicBezTo>
                <a:cubicBezTo>
                  <a:pt x="632" y="684"/>
                  <a:pt x="634" y="679"/>
                  <a:pt x="635" y="674"/>
                </a:cubicBezTo>
                <a:cubicBezTo>
                  <a:pt x="636" y="669"/>
                  <a:pt x="639" y="666"/>
                  <a:pt x="640" y="660"/>
                </a:cubicBezTo>
                <a:cubicBezTo>
                  <a:pt x="641" y="654"/>
                  <a:pt x="644" y="647"/>
                  <a:pt x="646" y="641"/>
                </a:cubicBezTo>
                <a:cubicBezTo>
                  <a:pt x="648" y="635"/>
                  <a:pt x="650" y="628"/>
                  <a:pt x="652" y="622"/>
                </a:cubicBezTo>
                <a:cubicBezTo>
                  <a:pt x="654" y="615"/>
                  <a:pt x="656" y="608"/>
                  <a:pt x="657" y="602"/>
                </a:cubicBezTo>
                <a:cubicBezTo>
                  <a:pt x="659" y="598"/>
                  <a:pt x="660" y="594"/>
                  <a:pt x="661" y="590"/>
                </a:cubicBezTo>
                <a:cubicBezTo>
                  <a:pt x="662" y="587"/>
                  <a:pt x="663" y="583"/>
                  <a:pt x="665" y="580"/>
                </a:cubicBezTo>
                <a:cubicBezTo>
                  <a:pt x="668" y="572"/>
                  <a:pt x="671" y="564"/>
                  <a:pt x="673" y="557"/>
                </a:cubicBezTo>
                <a:cubicBezTo>
                  <a:pt x="675" y="553"/>
                  <a:pt x="676" y="548"/>
                  <a:pt x="678" y="545"/>
                </a:cubicBezTo>
                <a:cubicBezTo>
                  <a:pt x="681" y="540"/>
                  <a:pt x="680" y="536"/>
                  <a:pt x="681" y="531"/>
                </a:cubicBezTo>
                <a:cubicBezTo>
                  <a:pt x="682" y="530"/>
                  <a:pt x="681" y="529"/>
                  <a:pt x="681" y="528"/>
                </a:cubicBezTo>
                <a:cubicBezTo>
                  <a:pt x="678" y="528"/>
                  <a:pt x="678" y="524"/>
                  <a:pt x="676" y="522"/>
                </a:cubicBezTo>
                <a:cubicBezTo>
                  <a:pt x="670" y="515"/>
                  <a:pt x="666" y="506"/>
                  <a:pt x="668" y="496"/>
                </a:cubicBezTo>
                <a:cubicBezTo>
                  <a:pt x="669" y="492"/>
                  <a:pt x="669" y="487"/>
                  <a:pt x="669" y="483"/>
                </a:cubicBezTo>
                <a:cubicBezTo>
                  <a:pt x="670" y="481"/>
                  <a:pt x="671" y="479"/>
                  <a:pt x="672" y="478"/>
                </a:cubicBezTo>
                <a:cubicBezTo>
                  <a:pt x="673" y="476"/>
                  <a:pt x="675" y="474"/>
                  <a:pt x="676" y="473"/>
                </a:cubicBezTo>
                <a:cubicBezTo>
                  <a:pt x="682" y="465"/>
                  <a:pt x="690" y="462"/>
                  <a:pt x="700" y="463"/>
                </a:cubicBezTo>
                <a:cubicBezTo>
                  <a:pt x="707" y="464"/>
                  <a:pt x="713" y="466"/>
                  <a:pt x="718" y="473"/>
                </a:cubicBezTo>
                <a:cubicBezTo>
                  <a:pt x="719" y="474"/>
                  <a:pt x="721" y="475"/>
                  <a:pt x="722" y="476"/>
                </a:cubicBezTo>
                <a:cubicBezTo>
                  <a:pt x="723" y="477"/>
                  <a:pt x="725" y="477"/>
                  <a:pt x="726" y="476"/>
                </a:cubicBezTo>
                <a:cubicBezTo>
                  <a:pt x="730" y="475"/>
                  <a:pt x="733" y="473"/>
                  <a:pt x="737" y="471"/>
                </a:cubicBezTo>
                <a:cubicBezTo>
                  <a:pt x="741" y="469"/>
                  <a:pt x="745" y="467"/>
                  <a:pt x="749" y="465"/>
                </a:cubicBezTo>
                <a:cubicBezTo>
                  <a:pt x="752" y="463"/>
                  <a:pt x="755" y="462"/>
                  <a:pt x="757" y="460"/>
                </a:cubicBezTo>
                <a:cubicBezTo>
                  <a:pt x="760" y="456"/>
                  <a:pt x="764" y="456"/>
                  <a:pt x="768" y="453"/>
                </a:cubicBezTo>
                <a:cubicBezTo>
                  <a:pt x="770" y="452"/>
                  <a:pt x="772" y="452"/>
                  <a:pt x="773" y="451"/>
                </a:cubicBezTo>
                <a:cubicBezTo>
                  <a:pt x="778" y="448"/>
                  <a:pt x="783" y="444"/>
                  <a:pt x="788" y="442"/>
                </a:cubicBezTo>
                <a:cubicBezTo>
                  <a:pt x="794" y="439"/>
                  <a:pt x="799" y="435"/>
                  <a:pt x="804" y="431"/>
                </a:cubicBezTo>
                <a:cubicBezTo>
                  <a:pt x="806" y="430"/>
                  <a:pt x="809" y="429"/>
                  <a:pt x="811" y="428"/>
                </a:cubicBezTo>
                <a:cubicBezTo>
                  <a:pt x="813" y="427"/>
                  <a:pt x="816" y="427"/>
                  <a:pt x="817" y="426"/>
                </a:cubicBezTo>
                <a:cubicBezTo>
                  <a:pt x="827" y="419"/>
                  <a:pt x="836" y="413"/>
                  <a:pt x="845" y="406"/>
                </a:cubicBezTo>
                <a:cubicBezTo>
                  <a:pt x="846" y="406"/>
                  <a:pt x="846" y="404"/>
                  <a:pt x="846" y="403"/>
                </a:cubicBezTo>
                <a:cubicBezTo>
                  <a:pt x="846" y="399"/>
                  <a:pt x="845" y="395"/>
                  <a:pt x="844" y="391"/>
                </a:cubicBezTo>
                <a:cubicBezTo>
                  <a:pt x="844" y="390"/>
                  <a:pt x="844" y="389"/>
                  <a:pt x="844" y="388"/>
                </a:cubicBezTo>
                <a:cubicBezTo>
                  <a:pt x="845" y="384"/>
                  <a:pt x="846" y="381"/>
                  <a:pt x="847" y="378"/>
                </a:cubicBezTo>
                <a:cubicBezTo>
                  <a:pt x="849" y="369"/>
                  <a:pt x="852" y="361"/>
                  <a:pt x="858" y="355"/>
                </a:cubicBezTo>
                <a:cubicBezTo>
                  <a:pt x="862" y="351"/>
                  <a:pt x="866" y="346"/>
                  <a:pt x="871" y="345"/>
                </a:cubicBezTo>
                <a:cubicBezTo>
                  <a:pt x="877" y="343"/>
                  <a:pt x="884" y="343"/>
                  <a:pt x="890" y="345"/>
                </a:cubicBezTo>
                <a:cubicBezTo>
                  <a:pt x="894" y="347"/>
                  <a:pt x="898" y="348"/>
                  <a:pt x="902" y="350"/>
                </a:cubicBezTo>
                <a:cubicBezTo>
                  <a:pt x="910" y="352"/>
                  <a:pt x="914" y="357"/>
                  <a:pt x="916" y="364"/>
                </a:cubicBezTo>
                <a:cubicBezTo>
                  <a:pt x="919" y="371"/>
                  <a:pt x="920" y="379"/>
                  <a:pt x="922" y="387"/>
                </a:cubicBezTo>
                <a:cubicBezTo>
                  <a:pt x="922" y="389"/>
                  <a:pt x="922" y="391"/>
                  <a:pt x="923" y="392"/>
                </a:cubicBezTo>
                <a:cubicBezTo>
                  <a:pt x="927" y="395"/>
                  <a:pt x="932" y="397"/>
                  <a:pt x="936" y="400"/>
                </a:cubicBezTo>
                <a:cubicBezTo>
                  <a:pt x="936" y="400"/>
                  <a:pt x="938" y="399"/>
                  <a:pt x="938" y="399"/>
                </a:cubicBezTo>
                <a:cubicBezTo>
                  <a:pt x="938" y="392"/>
                  <a:pt x="937" y="386"/>
                  <a:pt x="937" y="379"/>
                </a:cubicBezTo>
                <a:cubicBezTo>
                  <a:pt x="937" y="372"/>
                  <a:pt x="937" y="364"/>
                  <a:pt x="937" y="357"/>
                </a:cubicBezTo>
                <a:cubicBezTo>
                  <a:pt x="938" y="350"/>
                  <a:pt x="937" y="344"/>
                  <a:pt x="938" y="338"/>
                </a:cubicBezTo>
                <a:cubicBezTo>
                  <a:pt x="938" y="336"/>
                  <a:pt x="937" y="335"/>
                  <a:pt x="937" y="333"/>
                </a:cubicBezTo>
                <a:cubicBezTo>
                  <a:pt x="937" y="332"/>
                  <a:pt x="936" y="332"/>
                  <a:pt x="937" y="331"/>
                </a:cubicBezTo>
                <a:cubicBezTo>
                  <a:pt x="938" y="327"/>
                  <a:pt x="937" y="323"/>
                  <a:pt x="937" y="318"/>
                </a:cubicBezTo>
                <a:cubicBezTo>
                  <a:pt x="937" y="306"/>
                  <a:pt x="938" y="295"/>
                  <a:pt x="938" y="283"/>
                </a:cubicBezTo>
                <a:cubicBezTo>
                  <a:pt x="938" y="282"/>
                  <a:pt x="937" y="280"/>
                  <a:pt x="937" y="279"/>
                </a:cubicBezTo>
                <a:cubicBezTo>
                  <a:pt x="938" y="273"/>
                  <a:pt x="937" y="269"/>
                  <a:pt x="932" y="267"/>
                </a:cubicBezTo>
                <a:cubicBezTo>
                  <a:pt x="929" y="265"/>
                  <a:pt x="926" y="264"/>
                  <a:pt x="924" y="262"/>
                </a:cubicBezTo>
                <a:cubicBezTo>
                  <a:pt x="920" y="260"/>
                  <a:pt x="917" y="258"/>
                  <a:pt x="914" y="255"/>
                </a:cubicBezTo>
                <a:cubicBezTo>
                  <a:pt x="910" y="253"/>
                  <a:pt x="907" y="250"/>
                  <a:pt x="903" y="249"/>
                </a:cubicBezTo>
                <a:cubicBezTo>
                  <a:pt x="896" y="245"/>
                  <a:pt x="888" y="244"/>
                  <a:pt x="882" y="238"/>
                </a:cubicBezTo>
                <a:cubicBezTo>
                  <a:pt x="879" y="235"/>
                  <a:pt x="873" y="234"/>
                  <a:pt x="869" y="232"/>
                </a:cubicBezTo>
                <a:cubicBezTo>
                  <a:pt x="859" y="225"/>
                  <a:pt x="850" y="219"/>
                  <a:pt x="839" y="215"/>
                </a:cubicBezTo>
                <a:cubicBezTo>
                  <a:pt x="838" y="215"/>
                  <a:pt x="838" y="214"/>
                  <a:pt x="837" y="214"/>
                </a:cubicBezTo>
                <a:cubicBezTo>
                  <a:pt x="832" y="211"/>
                  <a:pt x="827" y="207"/>
                  <a:pt x="822" y="204"/>
                </a:cubicBezTo>
                <a:cubicBezTo>
                  <a:pt x="817" y="201"/>
                  <a:pt x="812" y="199"/>
                  <a:pt x="807" y="197"/>
                </a:cubicBezTo>
                <a:cubicBezTo>
                  <a:pt x="804" y="195"/>
                  <a:pt x="801" y="193"/>
                  <a:pt x="797" y="192"/>
                </a:cubicBezTo>
                <a:cubicBezTo>
                  <a:pt x="792" y="189"/>
                  <a:pt x="787" y="187"/>
                  <a:pt x="782" y="184"/>
                </a:cubicBezTo>
                <a:cubicBezTo>
                  <a:pt x="780" y="183"/>
                  <a:pt x="779" y="181"/>
                  <a:pt x="777" y="180"/>
                </a:cubicBezTo>
                <a:cubicBezTo>
                  <a:pt x="774" y="178"/>
                  <a:pt x="771" y="177"/>
                  <a:pt x="768" y="175"/>
                </a:cubicBezTo>
                <a:cubicBezTo>
                  <a:pt x="763" y="173"/>
                  <a:pt x="759" y="171"/>
                  <a:pt x="755" y="167"/>
                </a:cubicBezTo>
                <a:cubicBezTo>
                  <a:pt x="753" y="165"/>
                  <a:pt x="748" y="165"/>
                  <a:pt x="746" y="161"/>
                </a:cubicBezTo>
                <a:cubicBezTo>
                  <a:pt x="746" y="161"/>
                  <a:pt x="746" y="161"/>
                  <a:pt x="745" y="161"/>
                </a:cubicBezTo>
                <a:cubicBezTo>
                  <a:pt x="744" y="160"/>
                  <a:pt x="741" y="160"/>
                  <a:pt x="740" y="159"/>
                </a:cubicBezTo>
                <a:cubicBezTo>
                  <a:pt x="733" y="153"/>
                  <a:pt x="724" y="150"/>
                  <a:pt x="716" y="145"/>
                </a:cubicBezTo>
                <a:cubicBezTo>
                  <a:pt x="715" y="144"/>
                  <a:pt x="713" y="142"/>
                  <a:pt x="711" y="142"/>
                </a:cubicBezTo>
                <a:cubicBezTo>
                  <a:pt x="709" y="142"/>
                  <a:pt x="708" y="140"/>
                  <a:pt x="706" y="139"/>
                </a:cubicBezTo>
                <a:cubicBezTo>
                  <a:pt x="703" y="137"/>
                  <a:pt x="699" y="136"/>
                  <a:pt x="696" y="134"/>
                </a:cubicBezTo>
                <a:cubicBezTo>
                  <a:pt x="692" y="132"/>
                  <a:pt x="689" y="129"/>
                  <a:pt x="685" y="127"/>
                </a:cubicBezTo>
                <a:cubicBezTo>
                  <a:pt x="678" y="125"/>
                  <a:pt x="674" y="117"/>
                  <a:pt x="665" y="117"/>
                </a:cubicBezTo>
                <a:cubicBezTo>
                  <a:pt x="662" y="117"/>
                  <a:pt x="659" y="114"/>
                  <a:pt x="656" y="112"/>
                </a:cubicBezTo>
                <a:cubicBezTo>
                  <a:pt x="651" y="108"/>
                  <a:pt x="646" y="105"/>
                  <a:pt x="640" y="103"/>
                </a:cubicBezTo>
                <a:cubicBezTo>
                  <a:pt x="635" y="101"/>
                  <a:pt x="631" y="98"/>
                  <a:pt x="626" y="95"/>
                </a:cubicBezTo>
                <a:cubicBezTo>
                  <a:pt x="623" y="93"/>
                  <a:pt x="621" y="91"/>
                  <a:pt x="618" y="89"/>
                </a:cubicBezTo>
                <a:cubicBezTo>
                  <a:pt x="613" y="87"/>
                  <a:pt x="607" y="85"/>
                  <a:pt x="602" y="82"/>
                </a:cubicBezTo>
                <a:cubicBezTo>
                  <a:pt x="598" y="80"/>
                  <a:pt x="595" y="78"/>
                  <a:pt x="591" y="76"/>
                </a:cubicBezTo>
                <a:cubicBezTo>
                  <a:pt x="588" y="74"/>
                  <a:pt x="583" y="73"/>
                  <a:pt x="583" y="68"/>
                </a:cubicBezTo>
                <a:cubicBezTo>
                  <a:pt x="583" y="68"/>
                  <a:pt x="582" y="67"/>
                  <a:pt x="581" y="67"/>
                </a:cubicBezTo>
                <a:cubicBezTo>
                  <a:pt x="580" y="67"/>
                  <a:pt x="579" y="67"/>
                  <a:pt x="578" y="66"/>
                </a:cubicBezTo>
                <a:cubicBezTo>
                  <a:pt x="573" y="63"/>
                  <a:pt x="569" y="60"/>
                  <a:pt x="565" y="58"/>
                </a:cubicBezTo>
                <a:cubicBezTo>
                  <a:pt x="556" y="54"/>
                  <a:pt x="547" y="49"/>
                  <a:pt x="539" y="44"/>
                </a:cubicBezTo>
                <a:cubicBezTo>
                  <a:pt x="531" y="39"/>
                  <a:pt x="521" y="35"/>
                  <a:pt x="512" y="31"/>
                </a:cubicBezTo>
                <a:cubicBezTo>
                  <a:pt x="509" y="29"/>
                  <a:pt x="508" y="30"/>
                  <a:pt x="508" y="33"/>
                </a:cubicBezTo>
                <a:cubicBezTo>
                  <a:pt x="508" y="38"/>
                  <a:pt x="508" y="43"/>
                  <a:pt x="509" y="48"/>
                </a:cubicBezTo>
                <a:cubicBezTo>
                  <a:pt x="512" y="58"/>
                  <a:pt x="507" y="69"/>
                  <a:pt x="510" y="79"/>
                </a:cubicBezTo>
                <a:cubicBezTo>
                  <a:pt x="511" y="82"/>
                  <a:pt x="511" y="85"/>
                  <a:pt x="510" y="88"/>
                </a:cubicBezTo>
                <a:cubicBezTo>
                  <a:pt x="509" y="96"/>
                  <a:pt x="510" y="104"/>
                  <a:pt x="510" y="112"/>
                </a:cubicBezTo>
                <a:cubicBezTo>
                  <a:pt x="511" y="123"/>
                  <a:pt x="511" y="134"/>
                  <a:pt x="511" y="145"/>
                </a:cubicBezTo>
                <a:cubicBezTo>
                  <a:pt x="511" y="149"/>
                  <a:pt x="512" y="152"/>
                  <a:pt x="512" y="156"/>
                </a:cubicBezTo>
                <a:cubicBezTo>
                  <a:pt x="512" y="163"/>
                  <a:pt x="510" y="170"/>
                  <a:pt x="511" y="176"/>
                </a:cubicBezTo>
                <a:cubicBezTo>
                  <a:pt x="513" y="184"/>
                  <a:pt x="512" y="193"/>
                  <a:pt x="512" y="201"/>
                </a:cubicBezTo>
                <a:cubicBezTo>
                  <a:pt x="513" y="210"/>
                  <a:pt x="512" y="219"/>
                  <a:pt x="513" y="228"/>
                </a:cubicBezTo>
                <a:cubicBezTo>
                  <a:pt x="513" y="236"/>
                  <a:pt x="513" y="244"/>
                  <a:pt x="514" y="253"/>
                </a:cubicBezTo>
                <a:cubicBezTo>
                  <a:pt x="514" y="254"/>
                  <a:pt x="514" y="256"/>
                  <a:pt x="514" y="257"/>
                </a:cubicBezTo>
                <a:cubicBezTo>
                  <a:pt x="514" y="262"/>
                  <a:pt x="514" y="266"/>
                  <a:pt x="514" y="270"/>
                </a:cubicBezTo>
                <a:cubicBezTo>
                  <a:pt x="514" y="277"/>
                  <a:pt x="514" y="283"/>
                  <a:pt x="515" y="289"/>
                </a:cubicBezTo>
                <a:cubicBezTo>
                  <a:pt x="515" y="295"/>
                  <a:pt x="515" y="300"/>
                  <a:pt x="515" y="306"/>
                </a:cubicBezTo>
                <a:cubicBezTo>
                  <a:pt x="515" y="312"/>
                  <a:pt x="515" y="317"/>
                  <a:pt x="515" y="322"/>
                </a:cubicBezTo>
                <a:cubicBezTo>
                  <a:pt x="515" y="329"/>
                  <a:pt x="516" y="336"/>
                  <a:pt x="516" y="343"/>
                </a:cubicBezTo>
                <a:cubicBezTo>
                  <a:pt x="516" y="347"/>
                  <a:pt x="516" y="351"/>
                  <a:pt x="516" y="354"/>
                </a:cubicBezTo>
                <a:cubicBezTo>
                  <a:pt x="516" y="363"/>
                  <a:pt x="517" y="372"/>
                  <a:pt x="517" y="380"/>
                </a:cubicBezTo>
                <a:cubicBezTo>
                  <a:pt x="517" y="383"/>
                  <a:pt x="516" y="386"/>
                  <a:pt x="516" y="389"/>
                </a:cubicBezTo>
                <a:cubicBezTo>
                  <a:pt x="517" y="393"/>
                  <a:pt x="517" y="396"/>
                  <a:pt x="517" y="399"/>
                </a:cubicBezTo>
                <a:cubicBezTo>
                  <a:pt x="517" y="404"/>
                  <a:pt x="517" y="410"/>
                  <a:pt x="517" y="416"/>
                </a:cubicBezTo>
                <a:cubicBezTo>
                  <a:pt x="518" y="422"/>
                  <a:pt x="518" y="428"/>
                  <a:pt x="518" y="434"/>
                </a:cubicBezTo>
                <a:cubicBezTo>
                  <a:pt x="518" y="439"/>
                  <a:pt x="519" y="444"/>
                  <a:pt x="519" y="450"/>
                </a:cubicBezTo>
                <a:cubicBezTo>
                  <a:pt x="519" y="456"/>
                  <a:pt x="518" y="462"/>
                  <a:pt x="518" y="469"/>
                </a:cubicBezTo>
                <a:cubicBezTo>
                  <a:pt x="518" y="470"/>
                  <a:pt x="519" y="471"/>
                  <a:pt x="519" y="472"/>
                </a:cubicBezTo>
                <a:cubicBezTo>
                  <a:pt x="520" y="471"/>
                  <a:pt x="521" y="471"/>
                  <a:pt x="521" y="470"/>
                </a:cubicBezTo>
                <a:cubicBezTo>
                  <a:pt x="524" y="468"/>
                  <a:pt x="528" y="465"/>
                  <a:pt x="531" y="462"/>
                </a:cubicBezTo>
                <a:cubicBezTo>
                  <a:pt x="539" y="455"/>
                  <a:pt x="548" y="449"/>
                  <a:pt x="557" y="442"/>
                </a:cubicBezTo>
                <a:cubicBezTo>
                  <a:pt x="559" y="440"/>
                  <a:pt x="560" y="439"/>
                  <a:pt x="559" y="436"/>
                </a:cubicBezTo>
                <a:cubicBezTo>
                  <a:pt x="554" y="424"/>
                  <a:pt x="554" y="412"/>
                  <a:pt x="556" y="399"/>
                </a:cubicBezTo>
                <a:cubicBezTo>
                  <a:pt x="559" y="387"/>
                  <a:pt x="566" y="376"/>
                  <a:pt x="580" y="375"/>
                </a:cubicBezTo>
                <a:cubicBezTo>
                  <a:pt x="581" y="375"/>
                  <a:pt x="582" y="375"/>
                  <a:pt x="583" y="375"/>
                </a:cubicBezTo>
                <a:cubicBezTo>
                  <a:pt x="588" y="374"/>
                  <a:pt x="588" y="374"/>
                  <a:pt x="588" y="370"/>
                </a:cubicBezTo>
                <a:cubicBezTo>
                  <a:pt x="587" y="360"/>
                  <a:pt x="587" y="351"/>
                  <a:pt x="587" y="342"/>
                </a:cubicBezTo>
                <a:cubicBezTo>
                  <a:pt x="587" y="331"/>
                  <a:pt x="588" y="321"/>
                  <a:pt x="588" y="311"/>
                </a:cubicBezTo>
                <a:cubicBezTo>
                  <a:pt x="589" y="309"/>
                  <a:pt x="588" y="306"/>
                  <a:pt x="588" y="304"/>
                </a:cubicBezTo>
                <a:cubicBezTo>
                  <a:pt x="589" y="293"/>
                  <a:pt x="590" y="283"/>
                  <a:pt x="590" y="273"/>
                </a:cubicBezTo>
                <a:cubicBezTo>
                  <a:pt x="590" y="261"/>
                  <a:pt x="590" y="249"/>
                  <a:pt x="593" y="237"/>
                </a:cubicBezTo>
                <a:cubicBezTo>
                  <a:pt x="594" y="230"/>
                  <a:pt x="594" y="229"/>
                  <a:pt x="587" y="228"/>
                </a:cubicBezTo>
                <a:cubicBezTo>
                  <a:pt x="586" y="228"/>
                  <a:pt x="585" y="227"/>
                  <a:pt x="584" y="227"/>
                </a:cubicBezTo>
                <a:cubicBezTo>
                  <a:pt x="577" y="225"/>
                  <a:pt x="569" y="223"/>
                  <a:pt x="564" y="216"/>
                </a:cubicBezTo>
                <a:cubicBezTo>
                  <a:pt x="561" y="211"/>
                  <a:pt x="559" y="205"/>
                  <a:pt x="559" y="199"/>
                </a:cubicBezTo>
                <a:close/>
                <a:moveTo>
                  <a:pt x="947" y="397"/>
                </a:moveTo>
                <a:cubicBezTo>
                  <a:pt x="947" y="397"/>
                  <a:pt x="947" y="397"/>
                  <a:pt x="948" y="397"/>
                </a:cubicBezTo>
                <a:cubicBezTo>
                  <a:pt x="947" y="398"/>
                  <a:pt x="947" y="400"/>
                  <a:pt x="947" y="402"/>
                </a:cubicBezTo>
                <a:cubicBezTo>
                  <a:pt x="948" y="405"/>
                  <a:pt x="949" y="408"/>
                  <a:pt x="953" y="410"/>
                </a:cubicBezTo>
                <a:cubicBezTo>
                  <a:pt x="965" y="415"/>
                  <a:pt x="978" y="420"/>
                  <a:pt x="990" y="425"/>
                </a:cubicBezTo>
                <a:cubicBezTo>
                  <a:pt x="1000" y="429"/>
                  <a:pt x="1010" y="434"/>
                  <a:pt x="1020" y="439"/>
                </a:cubicBezTo>
                <a:cubicBezTo>
                  <a:pt x="1030" y="443"/>
                  <a:pt x="1039" y="446"/>
                  <a:pt x="1048" y="450"/>
                </a:cubicBezTo>
                <a:cubicBezTo>
                  <a:pt x="1059" y="455"/>
                  <a:pt x="1069" y="460"/>
                  <a:pt x="1079" y="464"/>
                </a:cubicBezTo>
                <a:cubicBezTo>
                  <a:pt x="1084" y="467"/>
                  <a:pt x="1088" y="469"/>
                  <a:pt x="1093" y="471"/>
                </a:cubicBezTo>
                <a:cubicBezTo>
                  <a:pt x="1100" y="474"/>
                  <a:pt x="1108" y="477"/>
                  <a:pt x="1115" y="481"/>
                </a:cubicBezTo>
                <a:cubicBezTo>
                  <a:pt x="1116" y="481"/>
                  <a:pt x="1118" y="481"/>
                  <a:pt x="1119" y="480"/>
                </a:cubicBezTo>
                <a:cubicBezTo>
                  <a:pt x="1121" y="478"/>
                  <a:pt x="1124" y="477"/>
                  <a:pt x="1126" y="474"/>
                </a:cubicBezTo>
                <a:cubicBezTo>
                  <a:pt x="1132" y="468"/>
                  <a:pt x="1140" y="465"/>
                  <a:pt x="1147" y="462"/>
                </a:cubicBezTo>
                <a:cubicBezTo>
                  <a:pt x="1154" y="460"/>
                  <a:pt x="1160" y="462"/>
                  <a:pt x="1167" y="463"/>
                </a:cubicBezTo>
                <a:cubicBezTo>
                  <a:pt x="1174" y="463"/>
                  <a:pt x="1180" y="466"/>
                  <a:pt x="1185" y="471"/>
                </a:cubicBezTo>
                <a:cubicBezTo>
                  <a:pt x="1188" y="474"/>
                  <a:pt x="1192" y="478"/>
                  <a:pt x="1195" y="481"/>
                </a:cubicBezTo>
                <a:cubicBezTo>
                  <a:pt x="1197" y="484"/>
                  <a:pt x="1199" y="485"/>
                  <a:pt x="1202" y="483"/>
                </a:cubicBezTo>
                <a:cubicBezTo>
                  <a:pt x="1204" y="482"/>
                  <a:pt x="1206" y="481"/>
                  <a:pt x="1209" y="480"/>
                </a:cubicBezTo>
                <a:cubicBezTo>
                  <a:pt x="1213" y="478"/>
                  <a:pt x="1218" y="476"/>
                  <a:pt x="1223" y="474"/>
                </a:cubicBezTo>
                <a:cubicBezTo>
                  <a:pt x="1224" y="474"/>
                  <a:pt x="1225" y="473"/>
                  <a:pt x="1226" y="472"/>
                </a:cubicBezTo>
                <a:cubicBezTo>
                  <a:pt x="1231" y="470"/>
                  <a:pt x="1236" y="469"/>
                  <a:pt x="1241" y="467"/>
                </a:cubicBezTo>
                <a:cubicBezTo>
                  <a:pt x="1248" y="463"/>
                  <a:pt x="1255" y="459"/>
                  <a:pt x="1262" y="455"/>
                </a:cubicBezTo>
                <a:cubicBezTo>
                  <a:pt x="1267" y="452"/>
                  <a:pt x="1274" y="451"/>
                  <a:pt x="1279" y="447"/>
                </a:cubicBezTo>
                <a:cubicBezTo>
                  <a:pt x="1283" y="445"/>
                  <a:pt x="1287" y="444"/>
                  <a:pt x="1291" y="442"/>
                </a:cubicBezTo>
                <a:cubicBezTo>
                  <a:pt x="1303" y="436"/>
                  <a:pt x="1316" y="430"/>
                  <a:pt x="1328" y="424"/>
                </a:cubicBezTo>
                <a:cubicBezTo>
                  <a:pt x="1332" y="422"/>
                  <a:pt x="1336" y="421"/>
                  <a:pt x="1341" y="419"/>
                </a:cubicBezTo>
                <a:cubicBezTo>
                  <a:pt x="1349" y="415"/>
                  <a:pt x="1357" y="412"/>
                  <a:pt x="1365" y="408"/>
                </a:cubicBezTo>
                <a:cubicBezTo>
                  <a:pt x="1368" y="407"/>
                  <a:pt x="1370" y="406"/>
                  <a:pt x="1373" y="405"/>
                </a:cubicBezTo>
                <a:cubicBezTo>
                  <a:pt x="1378" y="403"/>
                  <a:pt x="1382" y="401"/>
                  <a:pt x="1387" y="399"/>
                </a:cubicBezTo>
                <a:cubicBezTo>
                  <a:pt x="1394" y="397"/>
                  <a:pt x="1396" y="395"/>
                  <a:pt x="1396" y="389"/>
                </a:cubicBezTo>
                <a:cubicBezTo>
                  <a:pt x="1396" y="387"/>
                  <a:pt x="1396" y="386"/>
                  <a:pt x="1396" y="384"/>
                </a:cubicBezTo>
                <a:cubicBezTo>
                  <a:pt x="1396" y="379"/>
                  <a:pt x="1396" y="373"/>
                  <a:pt x="1395" y="368"/>
                </a:cubicBezTo>
                <a:cubicBezTo>
                  <a:pt x="1395" y="357"/>
                  <a:pt x="1395" y="346"/>
                  <a:pt x="1395" y="335"/>
                </a:cubicBezTo>
                <a:cubicBezTo>
                  <a:pt x="1395" y="332"/>
                  <a:pt x="1396" y="328"/>
                  <a:pt x="1396" y="325"/>
                </a:cubicBezTo>
                <a:cubicBezTo>
                  <a:pt x="1395" y="319"/>
                  <a:pt x="1394" y="313"/>
                  <a:pt x="1394" y="307"/>
                </a:cubicBezTo>
                <a:cubicBezTo>
                  <a:pt x="1394" y="290"/>
                  <a:pt x="1395" y="274"/>
                  <a:pt x="1395" y="258"/>
                </a:cubicBezTo>
                <a:cubicBezTo>
                  <a:pt x="1395" y="247"/>
                  <a:pt x="1394" y="236"/>
                  <a:pt x="1393" y="225"/>
                </a:cubicBezTo>
                <a:cubicBezTo>
                  <a:pt x="1392" y="214"/>
                  <a:pt x="1396" y="203"/>
                  <a:pt x="1393" y="193"/>
                </a:cubicBezTo>
                <a:cubicBezTo>
                  <a:pt x="1393" y="192"/>
                  <a:pt x="1393" y="192"/>
                  <a:pt x="1393" y="191"/>
                </a:cubicBezTo>
                <a:cubicBezTo>
                  <a:pt x="1393" y="183"/>
                  <a:pt x="1394" y="176"/>
                  <a:pt x="1394" y="168"/>
                </a:cubicBezTo>
                <a:cubicBezTo>
                  <a:pt x="1394" y="163"/>
                  <a:pt x="1393" y="158"/>
                  <a:pt x="1393" y="154"/>
                </a:cubicBezTo>
                <a:cubicBezTo>
                  <a:pt x="1393" y="143"/>
                  <a:pt x="1393" y="131"/>
                  <a:pt x="1393" y="120"/>
                </a:cubicBezTo>
                <a:cubicBezTo>
                  <a:pt x="1393" y="110"/>
                  <a:pt x="1393" y="99"/>
                  <a:pt x="1392" y="89"/>
                </a:cubicBezTo>
                <a:cubicBezTo>
                  <a:pt x="1392" y="76"/>
                  <a:pt x="1392" y="64"/>
                  <a:pt x="1392" y="51"/>
                </a:cubicBezTo>
                <a:cubicBezTo>
                  <a:pt x="1392" y="43"/>
                  <a:pt x="1391" y="35"/>
                  <a:pt x="1391" y="27"/>
                </a:cubicBezTo>
                <a:cubicBezTo>
                  <a:pt x="1391" y="25"/>
                  <a:pt x="1390" y="23"/>
                  <a:pt x="1388" y="25"/>
                </a:cubicBezTo>
                <a:cubicBezTo>
                  <a:pt x="1387" y="26"/>
                  <a:pt x="1385" y="28"/>
                  <a:pt x="1384" y="26"/>
                </a:cubicBezTo>
                <a:cubicBezTo>
                  <a:pt x="1384" y="25"/>
                  <a:pt x="1382" y="25"/>
                  <a:pt x="1382" y="26"/>
                </a:cubicBezTo>
                <a:cubicBezTo>
                  <a:pt x="1380" y="32"/>
                  <a:pt x="1373" y="32"/>
                  <a:pt x="1369" y="35"/>
                </a:cubicBezTo>
                <a:cubicBezTo>
                  <a:pt x="1362" y="40"/>
                  <a:pt x="1355" y="43"/>
                  <a:pt x="1347" y="47"/>
                </a:cubicBezTo>
                <a:cubicBezTo>
                  <a:pt x="1340" y="52"/>
                  <a:pt x="1333" y="57"/>
                  <a:pt x="1325" y="61"/>
                </a:cubicBezTo>
                <a:cubicBezTo>
                  <a:pt x="1318" y="65"/>
                  <a:pt x="1310" y="69"/>
                  <a:pt x="1302" y="73"/>
                </a:cubicBezTo>
                <a:cubicBezTo>
                  <a:pt x="1301" y="74"/>
                  <a:pt x="1300" y="74"/>
                  <a:pt x="1299" y="75"/>
                </a:cubicBezTo>
                <a:cubicBezTo>
                  <a:pt x="1297" y="76"/>
                  <a:pt x="1295" y="78"/>
                  <a:pt x="1292" y="79"/>
                </a:cubicBezTo>
                <a:cubicBezTo>
                  <a:pt x="1288" y="81"/>
                  <a:pt x="1284" y="83"/>
                  <a:pt x="1280" y="85"/>
                </a:cubicBezTo>
                <a:cubicBezTo>
                  <a:pt x="1273" y="89"/>
                  <a:pt x="1267" y="93"/>
                  <a:pt x="1261" y="96"/>
                </a:cubicBezTo>
                <a:cubicBezTo>
                  <a:pt x="1256" y="100"/>
                  <a:pt x="1251" y="103"/>
                  <a:pt x="1245" y="106"/>
                </a:cubicBezTo>
                <a:cubicBezTo>
                  <a:pt x="1242" y="108"/>
                  <a:pt x="1238" y="110"/>
                  <a:pt x="1235" y="112"/>
                </a:cubicBezTo>
                <a:cubicBezTo>
                  <a:pt x="1232" y="113"/>
                  <a:pt x="1229" y="114"/>
                  <a:pt x="1227" y="115"/>
                </a:cubicBezTo>
                <a:cubicBezTo>
                  <a:pt x="1221" y="121"/>
                  <a:pt x="1212" y="123"/>
                  <a:pt x="1205" y="128"/>
                </a:cubicBezTo>
                <a:cubicBezTo>
                  <a:pt x="1205" y="129"/>
                  <a:pt x="1204" y="129"/>
                  <a:pt x="1204" y="129"/>
                </a:cubicBezTo>
                <a:cubicBezTo>
                  <a:pt x="1199" y="131"/>
                  <a:pt x="1194" y="133"/>
                  <a:pt x="1190" y="136"/>
                </a:cubicBezTo>
                <a:cubicBezTo>
                  <a:pt x="1183" y="139"/>
                  <a:pt x="1176" y="143"/>
                  <a:pt x="1169" y="147"/>
                </a:cubicBezTo>
                <a:cubicBezTo>
                  <a:pt x="1166" y="149"/>
                  <a:pt x="1164" y="152"/>
                  <a:pt x="1161" y="153"/>
                </a:cubicBezTo>
                <a:cubicBezTo>
                  <a:pt x="1156" y="154"/>
                  <a:pt x="1152" y="159"/>
                  <a:pt x="1146" y="161"/>
                </a:cubicBezTo>
                <a:cubicBezTo>
                  <a:pt x="1136" y="165"/>
                  <a:pt x="1127" y="173"/>
                  <a:pt x="1116" y="178"/>
                </a:cubicBezTo>
                <a:cubicBezTo>
                  <a:pt x="1103" y="184"/>
                  <a:pt x="1092" y="193"/>
                  <a:pt x="1078" y="199"/>
                </a:cubicBezTo>
                <a:cubicBezTo>
                  <a:pt x="1072" y="201"/>
                  <a:pt x="1066" y="205"/>
                  <a:pt x="1061" y="209"/>
                </a:cubicBezTo>
                <a:cubicBezTo>
                  <a:pt x="1054" y="212"/>
                  <a:pt x="1049" y="217"/>
                  <a:pt x="1041" y="219"/>
                </a:cubicBezTo>
                <a:cubicBezTo>
                  <a:pt x="1035" y="221"/>
                  <a:pt x="1029" y="225"/>
                  <a:pt x="1023" y="229"/>
                </a:cubicBezTo>
                <a:cubicBezTo>
                  <a:pt x="1011" y="236"/>
                  <a:pt x="998" y="244"/>
                  <a:pt x="986" y="251"/>
                </a:cubicBezTo>
                <a:cubicBezTo>
                  <a:pt x="975" y="257"/>
                  <a:pt x="964" y="264"/>
                  <a:pt x="954" y="270"/>
                </a:cubicBezTo>
                <a:cubicBezTo>
                  <a:pt x="951" y="272"/>
                  <a:pt x="948" y="275"/>
                  <a:pt x="948" y="278"/>
                </a:cubicBezTo>
                <a:cubicBezTo>
                  <a:pt x="947" y="284"/>
                  <a:pt x="947" y="290"/>
                  <a:pt x="947" y="297"/>
                </a:cubicBezTo>
                <a:cubicBezTo>
                  <a:pt x="947" y="306"/>
                  <a:pt x="947" y="316"/>
                  <a:pt x="947" y="325"/>
                </a:cubicBezTo>
                <a:cubicBezTo>
                  <a:pt x="947" y="329"/>
                  <a:pt x="947" y="332"/>
                  <a:pt x="947" y="335"/>
                </a:cubicBezTo>
                <a:cubicBezTo>
                  <a:pt x="948" y="345"/>
                  <a:pt x="950" y="355"/>
                  <a:pt x="947" y="364"/>
                </a:cubicBezTo>
                <a:cubicBezTo>
                  <a:pt x="946" y="366"/>
                  <a:pt x="946" y="369"/>
                  <a:pt x="947" y="371"/>
                </a:cubicBezTo>
                <a:cubicBezTo>
                  <a:pt x="947" y="379"/>
                  <a:pt x="947" y="388"/>
                  <a:pt x="947" y="397"/>
                </a:cubicBezTo>
                <a:close/>
                <a:moveTo>
                  <a:pt x="1167" y="550"/>
                </a:moveTo>
                <a:cubicBezTo>
                  <a:pt x="1165" y="550"/>
                  <a:pt x="1163" y="550"/>
                  <a:pt x="1161" y="550"/>
                </a:cubicBezTo>
                <a:cubicBezTo>
                  <a:pt x="1161" y="550"/>
                  <a:pt x="1160" y="551"/>
                  <a:pt x="1159" y="552"/>
                </a:cubicBezTo>
                <a:cubicBezTo>
                  <a:pt x="1157" y="557"/>
                  <a:pt x="1156" y="562"/>
                  <a:pt x="1153" y="567"/>
                </a:cubicBezTo>
                <a:cubicBezTo>
                  <a:pt x="1149" y="578"/>
                  <a:pt x="1144" y="588"/>
                  <a:pt x="1139" y="599"/>
                </a:cubicBezTo>
                <a:cubicBezTo>
                  <a:pt x="1139" y="600"/>
                  <a:pt x="1138" y="602"/>
                  <a:pt x="1138" y="603"/>
                </a:cubicBezTo>
                <a:cubicBezTo>
                  <a:pt x="1136" y="611"/>
                  <a:pt x="1135" y="619"/>
                  <a:pt x="1133" y="626"/>
                </a:cubicBezTo>
                <a:cubicBezTo>
                  <a:pt x="1130" y="635"/>
                  <a:pt x="1127" y="643"/>
                  <a:pt x="1124" y="652"/>
                </a:cubicBezTo>
                <a:cubicBezTo>
                  <a:pt x="1121" y="660"/>
                  <a:pt x="1117" y="669"/>
                  <a:pt x="1113" y="677"/>
                </a:cubicBezTo>
                <a:cubicBezTo>
                  <a:pt x="1111" y="683"/>
                  <a:pt x="1109" y="689"/>
                  <a:pt x="1107" y="695"/>
                </a:cubicBezTo>
                <a:cubicBezTo>
                  <a:pt x="1106" y="698"/>
                  <a:pt x="1106" y="699"/>
                  <a:pt x="1109" y="700"/>
                </a:cubicBezTo>
                <a:cubicBezTo>
                  <a:pt x="1111" y="701"/>
                  <a:pt x="1112" y="701"/>
                  <a:pt x="1114" y="702"/>
                </a:cubicBezTo>
                <a:cubicBezTo>
                  <a:pt x="1116" y="703"/>
                  <a:pt x="1117" y="704"/>
                  <a:pt x="1119" y="705"/>
                </a:cubicBezTo>
                <a:cubicBezTo>
                  <a:pt x="1122" y="708"/>
                  <a:pt x="1125" y="711"/>
                  <a:pt x="1127" y="714"/>
                </a:cubicBezTo>
                <a:cubicBezTo>
                  <a:pt x="1130" y="717"/>
                  <a:pt x="1134" y="720"/>
                  <a:pt x="1137" y="724"/>
                </a:cubicBezTo>
                <a:cubicBezTo>
                  <a:pt x="1140" y="728"/>
                  <a:pt x="1140" y="728"/>
                  <a:pt x="1145" y="726"/>
                </a:cubicBezTo>
                <a:cubicBezTo>
                  <a:pt x="1157" y="721"/>
                  <a:pt x="1168" y="716"/>
                  <a:pt x="1180" y="712"/>
                </a:cubicBezTo>
                <a:cubicBezTo>
                  <a:pt x="1186" y="709"/>
                  <a:pt x="1193" y="707"/>
                  <a:pt x="1199" y="703"/>
                </a:cubicBezTo>
                <a:cubicBezTo>
                  <a:pt x="1205" y="698"/>
                  <a:pt x="1212" y="695"/>
                  <a:pt x="1219" y="693"/>
                </a:cubicBezTo>
                <a:cubicBezTo>
                  <a:pt x="1227" y="689"/>
                  <a:pt x="1235" y="687"/>
                  <a:pt x="1243" y="683"/>
                </a:cubicBezTo>
                <a:cubicBezTo>
                  <a:pt x="1253" y="679"/>
                  <a:pt x="1263" y="676"/>
                  <a:pt x="1272" y="670"/>
                </a:cubicBezTo>
                <a:cubicBezTo>
                  <a:pt x="1275" y="668"/>
                  <a:pt x="1278" y="667"/>
                  <a:pt x="1281" y="666"/>
                </a:cubicBezTo>
                <a:cubicBezTo>
                  <a:pt x="1289" y="662"/>
                  <a:pt x="1297" y="659"/>
                  <a:pt x="1305" y="656"/>
                </a:cubicBezTo>
                <a:cubicBezTo>
                  <a:pt x="1307" y="655"/>
                  <a:pt x="1309" y="651"/>
                  <a:pt x="1308" y="649"/>
                </a:cubicBezTo>
                <a:cubicBezTo>
                  <a:pt x="1307" y="644"/>
                  <a:pt x="1308" y="639"/>
                  <a:pt x="1309" y="633"/>
                </a:cubicBezTo>
                <a:cubicBezTo>
                  <a:pt x="1312" y="624"/>
                  <a:pt x="1315" y="614"/>
                  <a:pt x="1325" y="609"/>
                </a:cubicBezTo>
                <a:cubicBezTo>
                  <a:pt x="1329" y="606"/>
                  <a:pt x="1333" y="602"/>
                  <a:pt x="1338" y="600"/>
                </a:cubicBezTo>
                <a:cubicBezTo>
                  <a:pt x="1353" y="595"/>
                  <a:pt x="1367" y="595"/>
                  <a:pt x="1381" y="602"/>
                </a:cubicBezTo>
                <a:cubicBezTo>
                  <a:pt x="1386" y="604"/>
                  <a:pt x="1390" y="609"/>
                  <a:pt x="1395" y="613"/>
                </a:cubicBezTo>
                <a:cubicBezTo>
                  <a:pt x="1395" y="614"/>
                  <a:pt x="1396" y="614"/>
                  <a:pt x="1397" y="615"/>
                </a:cubicBezTo>
                <a:cubicBezTo>
                  <a:pt x="1398" y="614"/>
                  <a:pt x="1398" y="612"/>
                  <a:pt x="1398" y="611"/>
                </a:cubicBezTo>
                <a:cubicBezTo>
                  <a:pt x="1398" y="607"/>
                  <a:pt x="1398" y="602"/>
                  <a:pt x="1398" y="597"/>
                </a:cubicBezTo>
                <a:cubicBezTo>
                  <a:pt x="1398" y="594"/>
                  <a:pt x="1398" y="592"/>
                  <a:pt x="1398" y="589"/>
                </a:cubicBezTo>
                <a:cubicBezTo>
                  <a:pt x="1398" y="585"/>
                  <a:pt x="1398" y="581"/>
                  <a:pt x="1398" y="576"/>
                </a:cubicBezTo>
                <a:cubicBezTo>
                  <a:pt x="1398" y="572"/>
                  <a:pt x="1398" y="568"/>
                  <a:pt x="1398" y="563"/>
                </a:cubicBezTo>
                <a:cubicBezTo>
                  <a:pt x="1398" y="553"/>
                  <a:pt x="1397" y="542"/>
                  <a:pt x="1397" y="532"/>
                </a:cubicBezTo>
                <a:cubicBezTo>
                  <a:pt x="1397" y="524"/>
                  <a:pt x="1397" y="516"/>
                  <a:pt x="1397" y="508"/>
                </a:cubicBezTo>
                <a:cubicBezTo>
                  <a:pt x="1397" y="504"/>
                  <a:pt x="1396" y="499"/>
                  <a:pt x="1397" y="494"/>
                </a:cubicBezTo>
                <a:cubicBezTo>
                  <a:pt x="1397" y="488"/>
                  <a:pt x="1397" y="482"/>
                  <a:pt x="1397" y="476"/>
                </a:cubicBezTo>
                <a:cubicBezTo>
                  <a:pt x="1397" y="463"/>
                  <a:pt x="1396" y="450"/>
                  <a:pt x="1396" y="438"/>
                </a:cubicBezTo>
                <a:cubicBezTo>
                  <a:pt x="1395" y="428"/>
                  <a:pt x="1396" y="418"/>
                  <a:pt x="1396" y="409"/>
                </a:cubicBezTo>
                <a:cubicBezTo>
                  <a:pt x="1396" y="405"/>
                  <a:pt x="1396" y="404"/>
                  <a:pt x="1392" y="406"/>
                </a:cubicBezTo>
                <a:cubicBezTo>
                  <a:pt x="1390" y="407"/>
                  <a:pt x="1388" y="409"/>
                  <a:pt x="1385" y="410"/>
                </a:cubicBezTo>
                <a:cubicBezTo>
                  <a:pt x="1370" y="416"/>
                  <a:pt x="1356" y="422"/>
                  <a:pt x="1341" y="428"/>
                </a:cubicBezTo>
                <a:cubicBezTo>
                  <a:pt x="1330" y="433"/>
                  <a:pt x="1320" y="439"/>
                  <a:pt x="1308" y="443"/>
                </a:cubicBezTo>
                <a:cubicBezTo>
                  <a:pt x="1303" y="444"/>
                  <a:pt x="1298" y="447"/>
                  <a:pt x="1294" y="449"/>
                </a:cubicBezTo>
                <a:cubicBezTo>
                  <a:pt x="1283" y="454"/>
                  <a:pt x="1273" y="459"/>
                  <a:pt x="1263" y="464"/>
                </a:cubicBezTo>
                <a:cubicBezTo>
                  <a:pt x="1256" y="467"/>
                  <a:pt x="1249" y="471"/>
                  <a:pt x="1242" y="474"/>
                </a:cubicBezTo>
                <a:cubicBezTo>
                  <a:pt x="1230" y="480"/>
                  <a:pt x="1218" y="486"/>
                  <a:pt x="1206" y="491"/>
                </a:cubicBezTo>
                <a:cubicBezTo>
                  <a:pt x="1203" y="493"/>
                  <a:pt x="1203" y="495"/>
                  <a:pt x="1204" y="498"/>
                </a:cubicBezTo>
                <a:cubicBezTo>
                  <a:pt x="1208" y="508"/>
                  <a:pt x="1208" y="517"/>
                  <a:pt x="1202" y="525"/>
                </a:cubicBezTo>
                <a:cubicBezTo>
                  <a:pt x="1201" y="526"/>
                  <a:pt x="1200" y="527"/>
                  <a:pt x="1200" y="528"/>
                </a:cubicBezTo>
                <a:cubicBezTo>
                  <a:pt x="1193" y="541"/>
                  <a:pt x="1181" y="548"/>
                  <a:pt x="1167" y="550"/>
                </a:cubicBezTo>
                <a:close/>
                <a:moveTo>
                  <a:pt x="357" y="820"/>
                </a:moveTo>
                <a:cubicBezTo>
                  <a:pt x="357" y="820"/>
                  <a:pt x="357" y="820"/>
                  <a:pt x="358" y="820"/>
                </a:cubicBezTo>
                <a:cubicBezTo>
                  <a:pt x="358" y="822"/>
                  <a:pt x="358" y="824"/>
                  <a:pt x="358" y="826"/>
                </a:cubicBezTo>
                <a:cubicBezTo>
                  <a:pt x="358" y="828"/>
                  <a:pt x="358" y="829"/>
                  <a:pt x="360" y="829"/>
                </a:cubicBezTo>
                <a:cubicBezTo>
                  <a:pt x="369" y="831"/>
                  <a:pt x="377" y="836"/>
                  <a:pt x="384" y="842"/>
                </a:cubicBezTo>
                <a:cubicBezTo>
                  <a:pt x="388" y="845"/>
                  <a:pt x="391" y="847"/>
                  <a:pt x="396" y="844"/>
                </a:cubicBezTo>
                <a:cubicBezTo>
                  <a:pt x="397" y="843"/>
                  <a:pt x="399" y="843"/>
                  <a:pt x="400" y="843"/>
                </a:cubicBezTo>
                <a:cubicBezTo>
                  <a:pt x="412" y="840"/>
                  <a:pt x="425" y="837"/>
                  <a:pt x="436" y="831"/>
                </a:cubicBezTo>
                <a:cubicBezTo>
                  <a:pt x="437" y="831"/>
                  <a:pt x="437" y="830"/>
                  <a:pt x="438" y="830"/>
                </a:cubicBezTo>
                <a:cubicBezTo>
                  <a:pt x="448" y="827"/>
                  <a:pt x="458" y="823"/>
                  <a:pt x="467" y="820"/>
                </a:cubicBezTo>
                <a:cubicBezTo>
                  <a:pt x="469" y="819"/>
                  <a:pt x="471" y="818"/>
                  <a:pt x="473" y="818"/>
                </a:cubicBezTo>
                <a:cubicBezTo>
                  <a:pt x="480" y="815"/>
                  <a:pt x="486" y="812"/>
                  <a:pt x="492" y="809"/>
                </a:cubicBezTo>
                <a:cubicBezTo>
                  <a:pt x="498" y="807"/>
                  <a:pt x="505" y="805"/>
                  <a:pt x="511" y="802"/>
                </a:cubicBezTo>
                <a:cubicBezTo>
                  <a:pt x="512" y="802"/>
                  <a:pt x="514" y="801"/>
                  <a:pt x="514" y="801"/>
                </a:cubicBezTo>
                <a:cubicBezTo>
                  <a:pt x="514" y="798"/>
                  <a:pt x="516" y="793"/>
                  <a:pt x="514" y="792"/>
                </a:cubicBezTo>
                <a:cubicBezTo>
                  <a:pt x="511" y="788"/>
                  <a:pt x="513" y="784"/>
                  <a:pt x="513" y="780"/>
                </a:cubicBezTo>
                <a:cubicBezTo>
                  <a:pt x="513" y="774"/>
                  <a:pt x="516" y="768"/>
                  <a:pt x="513" y="762"/>
                </a:cubicBezTo>
                <a:cubicBezTo>
                  <a:pt x="512" y="760"/>
                  <a:pt x="512" y="756"/>
                  <a:pt x="514" y="755"/>
                </a:cubicBezTo>
                <a:cubicBezTo>
                  <a:pt x="517" y="751"/>
                  <a:pt x="516" y="748"/>
                  <a:pt x="513" y="745"/>
                </a:cubicBezTo>
                <a:cubicBezTo>
                  <a:pt x="512" y="742"/>
                  <a:pt x="511" y="739"/>
                  <a:pt x="513" y="737"/>
                </a:cubicBezTo>
                <a:cubicBezTo>
                  <a:pt x="515" y="735"/>
                  <a:pt x="515" y="733"/>
                  <a:pt x="513" y="732"/>
                </a:cubicBezTo>
                <a:cubicBezTo>
                  <a:pt x="512" y="732"/>
                  <a:pt x="512" y="731"/>
                  <a:pt x="512" y="730"/>
                </a:cubicBezTo>
                <a:cubicBezTo>
                  <a:pt x="512" y="726"/>
                  <a:pt x="513" y="723"/>
                  <a:pt x="513" y="719"/>
                </a:cubicBezTo>
                <a:cubicBezTo>
                  <a:pt x="513" y="715"/>
                  <a:pt x="512" y="712"/>
                  <a:pt x="512" y="708"/>
                </a:cubicBezTo>
                <a:cubicBezTo>
                  <a:pt x="512" y="698"/>
                  <a:pt x="512" y="688"/>
                  <a:pt x="512" y="678"/>
                </a:cubicBezTo>
                <a:cubicBezTo>
                  <a:pt x="512" y="673"/>
                  <a:pt x="512" y="667"/>
                  <a:pt x="512" y="662"/>
                </a:cubicBezTo>
                <a:cubicBezTo>
                  <a:pt x="512" y="661"/>
                  <a:pt x="512" y="660"/>
                  <a:pt x="513" y="659"/>
                </a:cubicBezTo>
                <a:cubicBezTo>
                  <a:pt x="513" y="658"/>
                  <a:pt x="513" y="657"/>
                  <a:pt x="513" y="656"/>
                </a:cubicBezTo>
                <a:cubicBezTo>
                  <a:pt x="513" y="655"/>
                  <a:pt x="512" y="653"/>
                  <a:pt x="512" y="652"/>
                </a:cubicBezTo>
                <a:cubicBezTo>
                  <a:pt x="514" y="644"/>
                  <a:pt x="512" y="637"/>
                  <a:pt x="512" y="629"/>
                </a:cubicBezTo>
                <a:cubicBezTo>
                  <a:pt x="513" y="621"/>
                  <a:pt x="512" y="613"/>
                  <a:pt x="512" y="606"/>
                </a:cubicBezTo>
                <a:cubicBezTo>
                  <a:pt x="512" y="604"/>
                  <a:pt x="512" y="603"/>
                  <a:pt x="511" y="601"/>
                </a:cubicBezTo>
                <a:cubicBezTo>
                  <a:pt x="511" y="599"/>
                  <a:pt x="510" y="597"/>
                  <a:pt x="512" y="596"/>
                </a:cubicBezTo>
                <a:cubicBezTo>
                  <a:pt x="513" y="595"/>
                  <a:pt x="513" y="593"/>
                  <a:pt x="513" y="593"/>
                </a:cubicBezTo>
                <a:cubicBezTo>
                  <a:pt x="509" y="591"/>
                  <a:pt x="511" y="588"/>
                  <a:pt x="511" y="585"/>
                </a:cubicBezTo>
                <a:cubicBezTo>
                  <a:pt x="511" y="578"/>
                  <a:pt x="512" y="571"/>
                  <a:pt x="511" y="564"/>
                </a:cubicBezTo>
                <a:cubicBezTo>
                  <a:pt x="510" y="559"/>
                  <a:pt x="511" y="554"/>
                  <a:pt x="510" y="549"/>
                </a:cubicBezTo>
                <a:cubicBezTo>
                  <a:pt x="509" y="543"/>
                  <a:pt x="511" y="536"/>
                  <a:pt x="511" y="529"/>
                </a:cubicBezTo>
                <a:cubicBezTo>
                  <a:pt x="511" y="528"/>
                  <a:pt x="511" y="526"/>
                  <a:pt x="510" y="526"/>
                </a:cubicBezTo>
                <a:cubicBezTo>
                  <a:pt x="508" y="524"/>
                  <a:pt x="511" y="521"/>
                  <a:pt x="510" y="519"/>
                </a:cubicBezTo>
                <a:cubicBezTo>
                  <a:pt x="509" y="517"/>
                  <a:pt x="508" y="514"/>
                  <a:pt x="511" y="512"/>
                </a:cubicBezTo>
                <a:cubicBezTo>
                  <a:pt x="511" y="512"/>
                  <a:pt x="511" y="510"/>
                  <a:pt x="511" y="510"/>
                </a:cubicBezTo>
                <a:cubicBezTo>
                  <a:pt x="506" y="508"/>
                  <a:pt x="512" y="504"/>
                  <a:pt x="509" y="501"/>
                </a:cubicBezTo>
                <a:cubicBezTo>
                  <a:pt x="511" y="499"/>
                  <a:pt x="510" y="496"/>
                  <a:pt x="510" y="494"/>
                </a:cubicBezTo>
                <a:cubicBezTo>
                  <a:pt x="511" y="491"/>
                  <a:pt x="509" y="490"/>
                  <a:pt x="507" y="491"/>
                </a:cubicBezTo>
                <a:cubicBezTo>
                  <a:pt x="505" y="492"/>
                  <a:pt x="504" y="492"/>
                  <a:pt x="503" y="493"/>
                </a:cubicBezTo>
                <a:cubicBezTo>
                  <a:pt x="497" y="498"/>
                  <a:pt x="492" y="503"/>
                  <a:pt x="486" y="507"/>
                </a:cubicBezTo>
                <a:cubicBezTo>
                  <a:pt x="478" y="513"/>
                  <a:pt x="470" y="518"/>
                  <a:pt x="462" y="524"/>
                </a:cubicBezTo>
                <a:cubicBezTo>
                  <a:pt x="460" y="525"/>
                  <a:pt x="459" y="525"/>
                  <a:pt x="457" y="526"/>
                </a:cubicBezTo>
                <a:cubicBezTo>
                  <a:pt x="452" y="530"/>
                  <a:pt x="446" y="535"/>
                  <a:pt x="441" y="539"/>
                </a:cubicBezTo>
                <a:cubicBezTo>
                  <a:pt x="434" y="543"/>
                  <a:pt x="427" y="548"/>
                  <a:pt x="421" y="553"/>
                </a:cubicBezTo>
                <a:cubicBezTo>
                  <a:pt x="420" y="554"/>
                  <a:pt x="418" y="556"/>
                  <a:pt x="418" y="557"/>
                </a:cubicBezTo>
                <a:cubicBezTo>
                  <a:pt x="418" y="561"/>
                  <a:pt x="419" y="564"/>
                  <a:pt x="420" y="567"/>
                </a:cubicBezTo>
                <a:cubicBezTo>
                  <a:pt x="423" y="575"/>
                  <a:pt x="420" y="582"/>
                  <a:pt x="420" y="590"/>
                </a:cubicBezTo>
                <a:cubicBezTo>
                  <a:pt x="419" y="597"/>
                  <a:pt x="413" y="602"/>
                  <a:pt x="410" y="607"/>
                </a:cubicBezTo>
                <a:cubicBezTo>
                  <a:pt x="405" y="613"/>
                  <a:pt x="399" y="617"/>
                  <a:pt x="392" y="620"/>
                </a:cubicBezTo>
                <a:cubicBezTo>
                  <a:pt x="387" y="621"/>
                  <a:pt x="383" y="622"/>
                  <a:pt x="378" y="623"/>
                </a:cubicBezTo>
                <a:cubicBezTo>
                  <a:pt x="376" y="623"/>
                  <a:pt x="374" y="624"/>
                  <a:pt x="374" y="628"/>
                </a:cubicBezTo>
                <a:cubicBezTo>
                  <a:pt x="374" y="630"/>
                  <a:pt x="374" y="633"/>
                  <a:pt x="373" y="635"/>
                </a:cubicBezTo>
                <a:cubicBezTo>
                  <a:pt x="373" y="641"/>
                  <a:pt x="372" y="646"/>
                  <a:pt x="372" y="651"/>
                </a:cubicBezTo>
                <a:cubicBezTo>
                  <a:pt x="372" y="652"/>
                  <a:pt x="372" y="653"/>
                  <a:pt x="371" y="654"/>
                </a:cubicBezTo>
                <a:cubicBezTo>
                  <a:pt x="369" y="660"/>
                  <a:pt x="370" y="666"/>
                  <a:pt x="369" y="671"/>
                </a:cubicBezTo>
                <a:cubicBezTo>
                  <a:pt x="369" y="675"/>
                  <a:pt x="369" y="679"/>
                  <a:pt x="369" y="683"/>
                </a:cubicBezTo>
                <a:cubicBezTo>
                  <a:pt x="369" y="685"/>
                  <a:pt x="367" y="688"/>
                  <a:pt x="368" y="690"/>
                </a:cubicBezTo>
                <a:cubicBezTo>
                  <a:pt x="370" y="698"/>
                  <a:pt x="366" y="705"/>
                  <a:pt x="367" y="713"/>
                </a:cubicBezTo>
                <a:cubicBezTo>
                  <a:pt x="367" y="719"/>
                  <a:pt x="365" y="724"/>
                  <a:pt x="365" y="730"/>
                </a:cubicBezTo>
                <a:cubicBezTo>
                  <a:pt x="365" y="736"/>
                  <a:pt x="366" y="743"/>
                  <a:pt x="366" y="749"/>
                </a:cubicBezTo>
                <a:cubicBezTo>
                  <a:pt x="365" y="756"/>
                  <a:pt x="364" y="763"/>
                  <a:pt x="364" y="770"/>
                </a:cubicBezTo>
                <a:cubicBezTo>
                  <a:pt x="363" y="776"/>
                  <a:pt x="362" y="782"/>
                  <a:pt x="362" y="787"/>
                </a:cubicBezTo>
                <a:cubicBezTo>
                  <a:pt x="361" y="795"/>
                  <a:pt x="360" y="804"/>
                  <a:pt x="359" y="812"/>
                </a:cubicBezTo>
                <a:cubicBezTo>
                  <a:pt x="358" y="815"/>
                  <a:pt x="358" y="818"/>
                  <a:pt x="357" y="820"/>
                </a:cubicBezTo>
                <a:close/>
                <a:moveTo>
                  <a:pt x="1488" y="323"/>
                </a:moveTo>
                <a:cubicBezTo>
                  <a:pt x="1483" y="323"/>
                  <a:pt x="1479" y="323"/>
                  <a:pt x="1476" y="320"/>
                </a:cubicBezTo>
                <a:cubicBezTo>
                  <a:pt x="1475" y="319"/>
                  <a:pt x="1474" y="318"/>
                  <a:pt x="1473" y="320"/>
                </a:cubicBezTo>
                <a:cubicBezTo>
                  <a:pt x="1473" y="321"/>
                  <a:pt x="1472" y="322"/>
                  <a:pt x="1471" y="322"/>
                </a:cubicBezTo>
                <a:cubicBezTo>
                  <a:pt x="1470" y="322"/>
                  <a:pt x="1468" y="322"/>
                  <a:pt x="1466" y="321"/>
                </a:cubicBezTo>
                <a:cubicBezTo>
                  <a:pt x="1463" y="320"/>
                  <a:pt x="1462" y="323"/>
                  <a:pt x="1460" y="324"/>
                </a:cubicBezTo>
                <a:cubicBezTo>
                  <a:pt x="1460" y="324"/>
                  <a:pt x="1460" y="325"/>
                  <a:pt x="1461" y="326"/>
                </a:cubicBezTo>
                <a:cubicBezTo>
                  <a:pt x="1464" y="331"/>
                  <a:pt x="1464" y="332"/>
                  <a:pt x="1458" y="334"/>
                </a:cubicBezTo>
                <a:cubicBezTo>
                  <a:pt x="1450" y="336"/>
                  <a:pt x="1443" y="342"/>
                  <a:pt x="1440" y="350"/>
                </a:cubicBezTo>
                <a:cubicBezTo>
                  <a:pt x="1437" y="356"/>
                  <a:pt x="1436" y="364"/>
                  <a:pt x="1439" y="371"/>
                </a:cubicBezTo>
                <a:cubicBezTo>
                  <a:pt x="1440" y="372"/>
                  <a:pt x="1440" y="373"/>
                  <a:pt x="1439" y="374"/>
                </a:cubicBezTo>
                <a:cubicBezTo>
                  <a:pt x="1438" y="381"/>
                  <a:pt x="1442" y="386"/>
                  <a:pt x="1446" y="391"/>
                </a:cubicBezTo>
                <a:cubicBezTo>
                  <a:pt x="1456" y="401"/>
                  <a:pt x="1468" y="407"/>
                  <a:pt x="1483" y="409"/>
                </a:cubicBezTo>
                <a:cubicBezTo>
                  <a:pt x="1485" y="409"/>
                  <a:pt x="1488" y="409"/>
                  <a:pt x="1491" y="409"/>
                </a:cubicBezTo>
                <a:cubicBezTo>
                  <a:pt x="1496" y="410"/>
                  <a:pt x="1500" y="408"/>
                  <a:pt x="1503" y="405"/>
                </a:cubicBezTo>
                <a:cubicBezTo>
                  <a:pt x="1512" y="396"/>
                  <a:pt x="1516" y="384"/>
                  <a:pt x="1517" y="372"/>
                </a:cubicBezTo>
                <a:cubicBezTo>
                  <a:pt x="1517" y="366"/>
                  <a:pt x="1517" y="360"/>
                  <a:pt x="1517" y="354"/>
                </a:cubicBezTo>
                <a:cubicBezTo>
                  <a:pt x="1517" y="346"/>
                  <a:pt x="1513" y="341"/>
                  <a:pt x="1509" y="335"/>
                </a:cubicBezTo>
                <a:cubicBezTo>
                  <a:pt x="1508" y="334"/>
                  <a:pt x="1505" y="333"/>
                  <a:pt x="1504" y="332"/>
                </a:cubicBezTo>
                <a:cubicBezTo>
                  <a:pt x="1499" y="329"/>
                  <a:pt x="1493" y="328"/>
                  <a:pt x="1490" y="324"/>
                </a:cubicBezTo>
                <a:cubicBezTo>
                  <a:pt x="1489" y="321"/>
                  <a:pt x="1487" y="321"/>
                  <a:pt x="1485" y="321"/>
                </a:cubicBezTo>
                <a:cubicBezTo>
                  <a:pt x="1486" y="321"/>
                  <a:pt x="1486" y="322"/>
                  <a:pt x="1488" y="323"/>
                </a:cubicBezTo>
                <a:close/>
                <a:moveTo>
                  <a:pt x="1318" y="641"/>
                </a:moveTo>
                <a:cubicBezTo>
                  <a:pt x="1318" y="644"/>
                  <a:pt x="1318" y="646"/>
                  <a:pt x="1319" y="649"/>
                </a:cubicBezTo>
                <a:cubicBezTo>
                  <a:pt x="1320" y="653"/>
                  <a:pt x="1321" y="657"/>
                  <a:pt x="1322" y="661"/>
                </a:cubicBezTo>
                <a:cubicBezTo>
                  <a:pt x="1322" y="664"/>
                  <a:pt x="1322" y="668"/>
                  <a:pt x="1324" y="670"/>
                </a:cubicBezTo>
                <a:cubicBezTo>
                  <a:pt x="1328" y="676"/>
                  <a:pt x="1335" y="680"/>
                  <a:pt x="1342" y="681"/>
                </a:cubicBezTo>
                <a:cubicBezTo>
                  <a:pt x="1346" y="681"/>
                  <a:pt x="1349" y="681"/>
                  <a:pt x="1352" y="681"/>
                </a:cubicBezTo>
                <a:cubicBezTo>
                  <a:pt x="1360" y="682"/>
                  <a:pt x="1367" y="685"/>
                  <a:pt x="1375" y="680"/>
                </a:cubicBezTo>
                <a:cubicBezTo>
                  <a:pt x="1381" y="677"/>
                  <a:pt x="1386" y="672"/>
                  <a:pt x="1391" y="667"/>
                </a:cubicBezTo>
                <a:cubicBezTo>
                  <a:pt x="1394" y="665"/>
                  <a:pt x="1395" y="661"/>
                  <a:pt x="1396" y="657"/>
                </a:cubicBezTo>
                <a:cubicBezTo>
                  <a:pt x="1399" y="645"/>
                  <a:pt x="1397" y="634"/>
                  <a:pt x="1388" y="624"/>
                </a:cubicBezTo>
                <a:cubicBezTo>
                  <a:pt x="1381" y="615"/>
                  <a:pt x="1372" y="608"/>
                  <a:pt x="1360" y="608"/>
                </a:cubicBezTo>
                <a:cubicBezTo>
                  <a:pt x="1350" y="609"/>
                  <a:pt x="1341" y="609"/>
                  <a:pt x="1333" y="616"/>
                </a:cubicBezTo>
                <a:cubicBezTo>
                  <a:pt x="1325" y="622"/>
                  <a:pt x="1318" y="629"/>
                  <a:pt x="1318" y="641"/>
                </a:cubicBezTo>
                <a:close/>
                <a:moveTo>
                  <a:pt x="1742" y="486"/>
                </a:moveTo>
                <a:cubicBezTo>
                  <a:pt x="1745" y="486"/>
                  <a:pt x="1748" y="485"/>
                  <a:pt x="1751" y="485"/>
                </a:cubicBezTo>
                <a:cubicBezTo>
                  <a:pt x="1756" y="484"/>
                  <a:pt x="1762" y="483"/>
                  <a:pt x="1768" y="482"/>
                </a:cubicBezTo>
                <a:cubicBezTo>
                  <a:pt x="1769" y="481"/>
                  <a:pt x="1770" y="481"/>
                  <a:pt x="1771" y="480"/>
                </a:cubicBezTo>
                <a:cubicBezTo>
                  <a:pt x="1776" y="475"/>
                  <a:pt x="1781" y="470"/>
                  <a:pt x="1782" y="463"/>
                </a:cubicBezTo>
                <a:cubicBezTo>
                  <a:pt x="1782" y="459"/>
                  <a:pt x="1782" y="456"/>
                  <a:pt x="1782" y="452"/>
                </a:cubicBezTo>
                <a:cubicBezTo>
                  <a:pt x="1784" y="444"/>
                  <a:pt x="1786" y="436"/>
                  <a:pt x="1781" y="428"/>
                </a:cubicBezTo>
                <a:cubicBezTo>
                  <a:pt x="1777" y="422"/>
                  <a:pt x="1773" y="417"/>
                  <a:pt x="1768" y="412"/>
                </a:cubicBezTo>
                <a:cubicBezTo>
                  <a:pt x="1765" y="410"/>
                  <a:pt x="1761" y="408"/>
                  <a:pt x="1757" y="408"/>
                </a:cubicBezTo>
                <a:cubicBezTo>
                  <a:pt x="1745" y="406"/>
                  <a:pt x="1734" y="407"/>
                  <a:pt x="1725" y="415"/>
                </a:cubicBezTo>
                <a:cubicBezTo>
                  <a:pt x="1718" y="423"/>
                  <a:pt x="1710" y="430"/>
                  <a:pt x="1710" y="442"/>
                </a:cubicBezTo>
                <a:cubicBezTo>
                  <a:pt x="1709" y="454"/>
                  <a:pt x="1711" y="465"/>
                  <a:pt x="1720" y="474"/>
                </a:cubicBezTo>
                <a:cubicBezTo>
                  <a:pt x="1726" y="480"/>
                  <a:pt x="1732" y="486"/>
                  <a:pt x="1742" y="486"/>
                </a:cubicBezTo>
                <a:close/>
                <a:moveTo>
                  <a:pt x="154" y="720"/>
                </a:moveTo>
                <a:cubicBezTo>
                  <a:pt x="168" y="718"/>
                  <a:pt x="181" y="713"/>
                  <a:pt x="189" y="699"/>
                </a:cubicBezTo>
                <a:cubicBezTo>
                  <a:pt x="194" y="687"/>
                  <a:pt x="196" y="676"/>
                  <a:pt x="191" y="664"/>
                </a:cubicBezTo>
                <a:cubicBezTo>
                  <a:pt x="189" y="660"/>
                  <a:pt x="187" y="655"/>
                  <a:pt x="184" y="652"/>
                </a:cubicBezTo>
                <a:cubicBezTo>
                  <a:pt x="180" y="649"/>
                  <a:pt x="175" y="648"/>
                  <a:pt x="171" y="646"/>
                </a:cubicBezTo>
                <a:cubicBezTo>
                  <a:pt x="168" y="645"/>
                  <a:pt x="164" y="644"/>
                  <a:pt x="160" y="642"/>
                </a:cubicBezTo>
                <a:cubicBezTo>
                  <a:pt x="157" y="642"/>
                  <a:pt x="154" y="639"/>
                  <a:pt x="151" y="640"/>
                </a:cubicBezTo>
                <a:cubicBezTo>
                  <a:pt x="144" y="641"/>
                  <a:pt x="137" y="644"/>
                  <a:pt x="132" y="651"/>
                </a:cubicBezTo>
                <a:cubicBezTo>
                  <a:pt x="130" y="654"/>
                  <a:pt x="129" y="657"/>
                  <a:pt x="127" y="659"/>
                </a:cubicBezTo>
                <a:cubicBezTo>
                  <a:pt x="122" y="665"/>
                  <a:pt x="117" y="670"/>
                  <a:pt x="117" y="679"/>
                </a:cubicBezTo>
                <a:cubicBezTo>
                  <a:pt x="117" y="686"/>
                  <a:pt x="119" y="692"/>
                  <a:pt x="119" y="699"/>
                </a:cubicBezTo>
                <a:cubicBezTo>
                  <a:pt x="119" y="700"/>
                  <a:pt x="120" y="701"/>
                  <a:pt x="121" y="702"/>
                </a:cubicBezTo>
                <a:cubicBezTo>
                  <a:pt x="123" y="704"/>
                  <a:pt x="125" y="707"/>
                  <a:pt x="127" y="709"/>
                </a:cubicBezTo>
                <a:cubicBezTo>
                  <a:pt x="134" y="716"/>
                  <a:pt x="143" y="719"/>
                  <a:pt x="154" y="720"/>
                </a:cubicBezTo>
                <a:close/>
                <a:moveTo>
                  <a:pt x="793" y="732"/>
                </a:moveTo>
                <a:cubicBezTo>
                  <a:pt x="794" y="735"/>
                  <a:pt x="795" y="742"/>
                  <a:pt x="798" y="747"/>
                </a:cubicBezTo>
                <a:cubicBezTo>
                  <a:pt x="801" y="752"/>
                  <a:pt x="806" y="756"/>
                  <a:pt x="812" y="759"/>
                </a:cubicBezTo>
                <a:cubicBezTo>
                  <a:pt x="813" y="759"/>
                  <a:pt x="815" y="761"/>
                  <a:pt x="816" y="762"/>
                </a:cubicBezTo>
                <a:cubicBezTo>
                  <a:pt x="819" y="764"/>
                  <a:pt x="822" y="767"/>
                  <a:pt x="825" y="767"/>
                </a:cubicBezTo>
                <a:cubicBezTo>
                  <a:pt x="832" y="767"/>
                  <a:pt x="839" y="767"/>
                  <a:pt x="845" y="761"/>
                </a:cubicBezTo>
                <a:cubicBezTo>
                  <a:pt x="848" y="758"/>
                  <a:pt x="851" y="754"/>
                  <a:pt x="855" y="752"/>
                </a:cubicBezTo>
                <a:cubicBezTo>
                  <a:pt x="860" y="748"/>
                  <a:pt x="865" y="745"/>
                  <a:pt x="865" y="738"/>
                </a:cubicBezTo>
                <a:cubicBezTo>
                  <a:pt x="865" y="737"/>
                  <a:pt x="865" y="735"/>
                  <a:pt x="865" y="734"/>
                </a:cubicBezTo>
                <a:cubicBezTo>
                  <a:pt x="866" y="730"/>
                  <a:pt x="866" y="726"/>
                  <a:pt x="866" y="722"/>
                </a:cubicBezTo>
                <a:cubicBezTo>
                  <a:pt x="866" y="720"/>
                  <a:pt x="867" y="717"/>
                  <a:pt x="866" y="715"/>
                </a:cubicBezTo>
                <a:cubicBezTo>
                  <a:pt x="865" y="712"/>
                  <a:pt x="864" y="708"/>
                  <a:pt x="862" y="705"/>
                </a:cubicBezTo>
                <a:cubicBezTo>
                  <a:pt x="856" y="696"/>
                  <a:pt x="849" y="689"/>
                  <a:pt x="839" y="688"/>
                </a:cubicBezTo>
                <a:cubicBezTo>
                  <a:pt x="828" y="687"/>
                  <a:pt x="817" y="687"/>
                  <a:pt x="808" y="696"/>
                </a:cubicBezTo>
                <a:cubicBezTo>
                  <a:pt x="798" y="705"/>
                  <a:pt x="792" y="716"/>
                  <a:pt x="793" y="732"/>
                </a:cubicBezTo>
                <a:close/>
                <a:moveTo>
                  <a:pt x="1159" y="540"/>
                </a:moveTo>
                <a:cubicBezTo>
                  <a:pt x="1168" y="541"/>
                  <a:pt x="1176" y="538"/>
                  <a:pt x="1183" y="534"/>
                </a:cubicBezTo>
                <a:cubicBezTo>
                  <a:pt x="1188" y="530"/>
                  <a:pt x="1191" y="524"/>
                  <a:pt x="1194" y="518"/>
                </a:cubicBezTo>
                <a:cubicBezTo>
                  <a:pt x="1196" y="515"/>
                  <a:pt x="1198" y="512"/>
                  <a:pt x="1195" y="508"/>
                </a:cubicBezTo>
                <a:cubicBezTo>
                  <a:pt x="1195" y="507"/>
                  <a:pt x="1196" y="506"/>
                  <a:pt x="1196" y="506"/>
                </a:cubicBezTo>
                <a:cubicBezTo>
                  <a:pt x="1195" y="503"/>
                  <a:pt x="1196" y="501"/>
                  <a:pt x="1195" y="499"/>
                </a:cubicBezTo>
                <a:cubicBezTo>
                  <a:pt x="1192" y="494"/>
                  <a:pt x="1190" y="489"/>
                  <a:pt x="1187" y="485"/>
                </a:cubicBezTo>
                <a:cubicBezTo>
                  <a:pt x="1181" y="476"/>
                  <a:pt x="1173" y="472"/>
                  <a:pt x="1163" y="471"/>
                </a:cubicBezTo>
                <a:cubicBezTo>
                  <a:pt x="1159" y="470"/>
                  <a:pt x="1155" y="469"/>
                  <a:pt x="1151" y="470"/>
                </a:cubicBezTo>
                <a:cubicBezTo>
                  <a:pt x="1145" y="472"/>
                  <a:pt x="1139" y="475"/>
                  <a:pt x="1134" y="478"/>
                </a:cubicBezTo>
                <a:cubicBezTo>
                  <a:pt x="1125" y="483"/>
                  <a:pt x="1119" y="491"/>
                  <a:pt x="1119" y="502"/>
                </a:cubicBezTo>
                <a:cubicBezTo>
                  <a:pt x="1119" y="503"/>
                  <a:pt x="1119" y="504"/>
                  <a:pt x="1119" y="505"/>
                </a:cubicBezTo>
                <a:cubicBezTo>
                  <a:pt x="1117" y="518"/>
                  <a:pt x="1124" y="526"/>
                  <a:pt x="1133" y="533"/>
                </a:cubicBezTo>
                <a:cubicBezTo>
                  <a:pt x="1141" y="540"/>
                  <a:pt x="1150" y="540"/>
                  <a:pt x="1159" y="540"/>
                </a:cubicBezTo>
                <a:close/>
                <a:moveTo>
                  <a:pt x="340" y="581"/>
                </a:moveTo>
                <a:cubicBezTo>
                  <a:pt x="340" y="587"/>
                  <a:pt x="341" y="593"/>
                  <a:pt x="344" y="598"/>
                </a:cubicBezTo>
                <a:cubicBezTo>
                  <a:pt x="348" y="603"/>
                  <a:pt x="349" y="609"/>
                  <a:pt x="356" y="610"/>
                </a:cubicBezTo>
                <a:cubicBezTo>
                  <a:pt x="360" y="615"/>
                  <a:pt x="365" y="614"/>
                  <a:pt x="370" y="614"/>
                </a:cubicBezTo>
                <a:cubicBezTo>
                  <a:pt x="375" y="614"/>
                  <a:pt x="381" y="614"/>
                  <a:pt x="386" y="613"/>
                </a:cubicBezTo>
                <a:cubicBezTo>
                  <a:pt x="395" y="611"/>
                  <a:pt x="402" y="604"/>
                  <a:pt x="407" y="596"/>
                </a:cubicBezTo>
                <a:cubicBezTo>
                  <a:pt x="408" y="595"/>
                  <a:pt x="410" y="593"/>
                  <a:pt x="410" y="591"/>
                </a:cubicBezTo>
                <a:cubicBezTo>
                  <a:pt x="411" y="585"/>
                  <a:pt x="413" y="579"/>
                  <a:pt x="413" y="573"/>
                </a:cubicBezTo>
                <a:cubicBezTo>
                  <a:pt x="413" y="562"/>
                  <a:pt x="409" y="553"/>
                  <a:pt x="400" y="547"/>
                </a:cubicBezTo>
                <a:cubicBezTo>
                  <a:pt x="398" y="546"/>
                  <a:pt x="396" y="544"/>
                  <a:pt x="394" y="543"/>
                </a:cubicBezTo>
                <a:cubicBezTo>
                  <a:pt x="391" y="542"/>
                  <a:pt x="388" y="540"/>
                  <a:pt x="384" y="540"/>
                </a:cubicBezTo>
                <a:cubicBezTo>
                  <a:pt x="373" y="539"/>
                  <a:pt x="363" y="542"/>
                  <a:pt x="354" y="550"/>
                </a:cubicBezTo>
                <a:cubicBezTo>
                  <a:pt x="352" y="552"/>
                  <a:pt x="351" y="556"/>
                  <a:pt x="348" y="558"/>
                </a:cubicBezTo>
                <a:cubicBezTo>
                  <a:pt x="343" y="565"/>
                  <a:pt x="340" y="572"/>
                  <a:pt x="340" y="581"/>
                </a:cubicBezTo>
                <a:close/>
                <a:moveTo>
                  <a:pt x="1611" y="685"/>
                </a:moveTo>
                <a:cubicBezTo>
                  <a:pt x="1619" y="685"/>
                  <a:pt x="1625" y="681"/>
                  <a:pt x="1630" y="676"/>
                </a:cubicBezTo>
                <a:cubicBezTo>
                  <a:pt x="1636" y="670"/>
                  <a:pt x="1641" y="663"/>
                  <a:pt x="1641" y="655"/>
                </a:cubicBezTo>
                <a:cubicBezTo>
                  <a:pt x="1641" y="649"/>
                  <a:pt x="1642" y="643"/>
                  <a:pt x="1641" y="637"/>
                </a:cubicBezTo>
                <a:cubicBezTo>
                  <a:pt x="1640" y="627"/>
                  <a:pt x="1634" y="619"/>
                  <a:pt x="1626" y="613"/>
                </a:cubicBezTo>
                <a:cubicBezTo>
                  <a:pt x="1619" y="608"/>
                  <a:pt x="1612" y="607"/>
                  <a:pt x="1604" y="608"/>
                </a:cubicBezTo>
                <a:cubicBezTo>
                  <a:pt x="1602" y="608"/>
                  <a:pt x="1601" y="608"/>
                  <a:pt x="1600" y="609"/>
                </a:cubicBezTo>
                <a:cubicBezTo>
                  <a:pt x="1595" y="612"/>
                  <a:pt x="1591" y="614"/>
                  <a:pt x="1586" y="617"/>
                </a:cubicBezTo>
                <a:cubicBezTo>
                  <a:pt x="1577" y="623"/>
                  <a:pt x="1573" y="632"/>
                  <a:pt x="1572" y="643"/>
                </a:cubicBezTo>
                <a:cubicBezTo>
                  <a:pt x="1571" y="646"/>
                  <a:pt x="1571" y="650"/>
                  <a:pt x="1572" y="653"/>
                </a:cubicBezTo>
                <a:cubicBezTo>
                  <a:pt x="1573" y="658"/>
                  <a:pt x="1575" y="663"/>
                  <a:pt x="1578" y="668"/>
                </a:cubicBezTo>
                <a:cubicBezTo>
                  <a:pt x="1582" y="676"/>
                  <a:pt x="1588" y="682"/>
                  <a:pt x="1596" y="684"/>
                </a:cubicBezTo>
                <a:cubicBezTo>
                  <a:pt x="1601" y="685"/>
                  <a:pt x="1606" y="685"/>
                  <a:pt x="1611" y="685"/>
                </a:cubicBezTo>
                <a:close/>
                <a:moveTo>
                  <a:pt x="604" y="734"/>
                </a:moveTo>
                <a:cubicBezTo>
                  <a:pt x="595" y="734"/>
                  <a:pt x="588" y="739"/>
                  <a:pt x="581" y="745"/>
                </a:cubicBezTo>
                <a:cubicBezTo>
                  <a:pt x="580" y="746"/>
                  <a:pt x="578" y="748"/>
                  <a:pt x="577" y="750"/>
                </a:cubicBezTo>
                <a:cubicBezTo>
                  <a:pt x="574" y="756"/>
                  <a:pt x="572" y="761"/>
                  <a:pt x="570" y="767"/>
                </a:cubicBezTo>
                <a:cubicBezTo>
                  <a:pt x="568" y="778"/>
                  <a:pt x="569" y="789"/>
                  <a:pt x="578" y="797"/>
                </a:cubicBezTo>
                <a:cubicBezTo>
                  <a:pt x="579" y="797"/>
                  <a:pt x="579" y="797"/>
                  <a:pt x="579" y="798"/>
                </a:cubicBezTo>
                <a:cubicBezTo>
                  <a:pt x="585" y="807"/>
                  <a:pt x="594" y="809"/>
                  <a:pt x="604" y="807"/>
                </a:cubicBezTo>
                <a:cubicBezTo>
                  <a:pt x="612" y="806"/>
                  <a:pt x="619" y="803"/>
                  <a:pt x="625" y="797"/>
                </a:cubicBezTo>
                <a:cubicBezTo>
                  <a:pt x="638" y="785"/>
                  <a:pt x="643" y="772"/>
                  <a:pt x="637" y="755"/>
                </a:cubicBezTo>
                <a:cubicBezTo>
                  <a:pt x="636" y="751"/>
                  <a:pt x="634" y="748"/>
                  <a:pt x="631" y="744"/>
                </a:cubicBezTo>
                <a:cubicBezTo>
                  <a:pt x="627" y="740"/>
                  <a:pt x="623" y="739"/>
                  <a:pt x="618" y="737"/>
                </a:cubicBezTo>
                <a:cubicBezTo>
                  <a:pt x="616" y="736"/>
                  <a:pt x="614" y="736"/>
                  <a:pt x="612" y="735"/>
                </a:cubicBezTo>
                <a:cubicBezTo>
                  <a:pt x="610" y="734"/>
                  <a:pt x="607" y="734"/>
                  <a:pt x="604" y="734"/>
                </a:cubicBezTo>
                <a:close/>
                <a:moveTo>
                  <a:pt x="196" y="442"/>
                </a:moveTo>
                <a:cubicBezTo>
                  <a:pt x="206" y="440"/>
                  <a:pt x="217" y="440"/>
                  <a:pt x="225" y="431"/>
                </a:cubicBezTo>
                <a:cubicBezTo>
                  <a:pt x="236" y="422"/>
                  <a:pt x="241" y="411"/>
                  <a:pt x="240" y="397"/>
                </a:cubicBezTo>
                <a:cubicBezTo>
                  <a:pt x="239" y="385"/>
                  <a:pt x="226" y="377"/>
                  <a:pt x="218" y="376"/>
                </a:cubicBezTo>
                <a:cubicBezTo>
                  <a:pt x="201" y="375"/>
                  <a:pt x="191" y="386"/>
                  <a:pt x="181" y="398"/>
                </a:cubicBezTo>
                <a:cubicBezTo>
                  <a:pt x="181" y="398"/>
                  <a:pt x="181" y="399"/>
                  <a:pt x="181" y="399"/>
                </a:cubicBezTo>
                <a:cubicBezTo>
                  <a:pt x="179" y="405"/>
                  <a:pt x="178" y="410"/>
                  <a:pt x="176" y="415"/>
                </a:cubicBezTo>
                <a:cubicBezTo>
                  <a:pt x="171" y="429"/>
                  <a:pt x="183" y="441"/>
                  <a:pt x="196" y="442"/>
                </a:cubicBezTo>
                <a:close/>
                <a:moveTo>
                  <a:pt x="1060" y="737"/>
                </a:moveTo>
                <a:cubicBezTo>
                  <a:pt x="1061" y="739"/>
                  <a:pt x="1061" y="742"/>
                  <a:pt x="1063" y="745"/>
                </a:cubicBezTo>
                <a:cubicBezTo>
                  <a:pt x="1069" y="754"/>
                  <a:pt x="1077" y="761"/>
                  <a:pt x="1089" y="763"/>
                </a:cubicBezTo>
                <a:cubicBezTo>
                  <a:pt x="1092" y="763"/>
                  <a:pt x="1094" y="764"/>
                  <a:pt x="1097" y="764"/>
                </a:cubicBezTo>
                <a:cubicBezTo>
                  <a:pt x="1098" y="765"/>
                  <a:pt x="1100" y="765"/>
                  <a:pt x="1101" y="765"/>
                </a:cubicBezTo>
                <a:cubicBezTo>
                  <a:pt x="1106" y="763"/>
                  <a:pt x="1111" y="762"/>
                  <a:pt x="1116" y="761"/>
                </a:cubicBezTo>
                <a:cubicBezTo>
                  <a:pt x="1131" y="759"/>
                  <a:pt x="1137" y="741"/>
                  <a:pt x="1129" y="729"/>
                </a:cubicBezTo>
                <a:cubicBezTo>
                  <a:pt x="1126" y="725"/>
                  <a:pt x="1123" y="721"/>
                  <a:pt x="1120" y="717"/>
                </a:cubicBezTo>
                <a:cubicBezTo>
                  <a:pt x="1117" y="715"/>
                  <a:pt x="1114" y="713"/>
                  <a:pt x="1110" y="712"/>
                </a:cubicBezTo>
                <a:cubicBezTo>
                  <a:pt x="1109" y="711"/>
                  <a:pt x="1106" y="710"/>
                  <a:pt x="1105" y="709"/>
                </a:cubicBezTo>
                <a:cubicBezTo>
                  <a:pt x="1094" y="706"/>
                  <a:pt x="1084" y="707"/>
                  <a:pt x="1075" y="711"/>
                </a:cubicBezTo>
                <a:cubicBezTo>
                  <a:pt x="1065" y="716"/>
                  <a:pt x="1059" y="724"/>
                  <a:pt x="1060" y="737"/>
                </a:cubicBezTo>
                <a:close/>
                <a:moveTo>
                  <a:pt x="1837" y="744"/>
                </a:moveTo>
                <a:cubicBezTo>
                  <a:pt x="1838" y="744"/>
                  <a:pt x="1840" y="744"/>
                  <a:pt x="1842" y="743"/>
                </a:cubicBezTo>
                <a:cubicBezTo>
                  <a:pt x="1853" y="739"/>
                  <a:pt x="1860" y="731"/>
                  <a:pt x="1862" y="720"/>
                </a:cubicBezTo>
                <a:cubicBezTo>
                  <a:pt x="1864" y="713"/>
                  <a:pt x="1868" y="705"/>
                  <a:pt x="1864" y="697"/>
                </a:cubicBezTo>
                <a:cubicBezTo>
                  <a:pt x="1863" y="694"/>
                  <a:pt x="1863" y="690"/>
                  <a:pt x="1862" y="686"/>
                </a:cubicBezTo>
                <a:cubicBezTo>
                  <a:pt x="1858" y="672"/>
                  <a:pt x="1843" y="668"/>
                  <a:pt x="1833" y="674"/>
                </a:cubicBezTo>
                <a:cubicBezTo>
                  <a:pt x="1822" y="679"/>
                  <a:pt x="1814" y="687"/>
                  <a:pt x="1810" y="700"/>
                </a:cubicBezTo>
                <a:cubicBezTo>
                  <a:pt x="1808" y="710"/>
                  <a:pt x="1808" y="720"/>
                  <a:pt x="1812" y="729"/>
                </a:cubicBezTo>
                <a:cubicBezTo>
                  <a:pt x="1816" y="738"/>
                  <a:pt x="1824" y="745"/>
                  <a:pt x="1837" y="744"/>
                </a:cubicBezTo>
                <a:close/>
                <a:moveTo>
                  <a:pt x="355" y="903"/>
                </a:moveTo>
                <a:cubicBezTo>
                  <a:pt x="366" y="904"/>
                  <a:pt x="372" y="899"/>
                  <a:pt x="378" y="894"/>
                </a:cubicBezTo>
                <a:cubicBezTo>
                  <a:pt x="383" y="889"/>
                  <a:pt x="383" y="884"/>
                  <a:pt x="385" y="879"/>
                </a:cubicBezTo>
                <a:cubicBezTo>
                  <a:pt x="386" y="877"/>
                  <a:pt x="386" y="875"/>
                  <a:pt x="386" y="873"/>
                </a:cubicBezTo>
                <a:cubicBezTo>
                  <a:pt x="385" y="870"/>
                  <a:pt x="384" y="866"/>
                  <a:pt x="385" y="862"/>
                </a:cubicBezTo>
                <a:cubicBezTo>
                  <a:pt x="386" y="857"/>
                  <a:pt x="380" y="856"/>
                  <a:pt x="380" y="852"/>
                </a:cubicBezTo>
                <a:cubicBezTo>
                  <a:pt x="380" y="850"/>
                  <a:pt x="378" y="848"/>
                  <a:pt x="376" y="847"/>
                </a:cubicBezTo>
                <a:cubicBezTo>
                  <a:pt x="375" y="846"/>
                  <a:pt x="373" y="845"/>
                  <a:pt x="372" y="844"/>
                </a:cubicBezTo>
                <a:cubicBezTo>
                  <a:pt x="365" y="840"/>
                  <a:pt x="359" y="839"/>
                  <a:pt x="352" y="841"/>
                </a:cubicBezTo>
                <a:cubicBezTo>
                  <a:pt x="347" y="843"/>
                  <a:pt x="343" y="845"/>
                  <a:pt x="338" y="847"/>
                </a:cubicBezTo>
                <a:cubicBezTo>
                  <a:pt x="328" y="849"/>
                  <a:pt x="324" y="858"/>
                  <a:pt x="322" y="866"/>
                </a:cubicBezTo>
                <a:cubicBezTo>
                  <a:pt x="320" y="877"/>
                  <a:pt x="324" y="886"/>
                  <a:pt x="332" y="894"/>
                </a:cubicBezTo>
                <a:cubicBezTo>
                  <a:pt x="340" y="900"/>
                  <a:pt x="349" y="902"/>
                  <a:pt x="355" y="903"/>
                </a:cubicBezTo>
                <a:close/>
                <a:moveTo>
                  <a:pt x="1530" y="897"/>
                </a:moveTo>
                <a:cubicBezTo>
                  <a:pt x="1530" y="890"/>
                  <a:pt x="1525" y="885"/>
                  <a:pt x="1523" y="879"/>
                </a:cubicBezTo>
                <a:cubicBezTo>
                  <a:pt x="1523" y="879"/>
                  <a:pt x="1521" y="878"/>
                  <a:pt x="1520" y="877"/>
                </a:cubicBezTo>
                <a:cubicBezTo>
                  <a:pt x="1518" y="875"/>
                  <a:pt x="1514" y="873"/>
                  <a:pt x="1512" y="870"/>
                </a:cubicBezTo>
                <a:cubicBezTo>
                  <a:pt x="1509" y="866"/>
                  <a:pt x="1504" y="869"/>
                  <a:pt x="1501" y="866"/>
                </a:cubicBezTo>
                <a:cubicBezTo>
                  <a:pt x="1500" y="865"/>
                  <a:pt x="1497" y="865"/>
                  <a:pt x="1495" y="865"/>
                </a:cubicBezTo>
                <a:cubicBezTo>
                  <a:pt x="1493" y="866"/>
                  <a:pt x="1490" y="867"/>
                  <a:pt x="1488" y="868"/>
                </a:cubicBezTo>
                <a:cubicBezTo>
                  <a:pt x="1482" y="869"/>
                  <a:pt x="1477" y="873"/>
                  <a:pt x="1475" y="878"/>
                </a:cubicBezTo>
                <a:cubicBezTo>
                  <a:pt x="1472" y="884"/>
                  <a:pt x="1469" y="890"/>
                  <a:pt x="1466" y="896"/>
                </a:cubicBezTo>
                <a:cubicBezTo>
                  <a:pt x="1465" y="898"/>
                  <a:pt x="1465" y="900"/>
                  <a:pt x="1465" y="902"/>
                </a:cubicBezTo>
                <a:cubicBezTo>
                  <a:pt x="1467" y="915"/>
                  <a:pt x="1473" y="923"/>
                  <a:pt x="1484" y="927"/>
                </a:cubicBezTo>
                <a:cubicBezTo>
                  <a:pt x="1492" y="930"/>
                  <a:pt x="1500" y="931"/>
                  <a:pt x="1507" y="927"/>
                </a:cubicBezTo>
                <a:cubicBezTo>
                  <a:pt x="1510" y="926"/>
                  <a:pt x="1512" y="925"/>
                  <a:pt x="1514" y="924"/>
                </a:cubicBezTo>
                <a:cubicBezTo>
                  <a:pt x="1526" y="919"/>
                  <a:pt x="1530" y="909"/>
                  <a:pt x="1530" y="897"/>
                </a:cubicBezTo>
                <a:close/>
                <a:moveTo>
                  <a:pt x="851" y="388"/>
                </a:moveTo>
                <a:cubicBezTo>
                  <a:pt x="852" y="391"/>
                  <a:pt x="853" y="396"/>
                  <a:pt x="855" y="400"/>
                </a:cubicBezTo>
                <a:cubicBezTo>
                  <a:pt x="859" y="410"/>
                  <a:pt x="865" y="418"/>
                  <a:pt x="877" y="419"/>
                </a:cubicBezTo>
                <a:cubicBezTo>
                  <a:pt x="887" y="420"/>
                  <a:pt x="895" y="416"/>
                  <a:pt x="901" y="409"/>
                </a:cubicBezTo>
                <a:cubicBezTo>
                  <a:pt x="905" y="403"/>
                  <a:pt x="911" y="399"/>
                  <a:pt x="911" y="391"/>
                </a:cubicBezTo>
                <a:cubicBezTo>
                  <a:pt x="911" y="391"/>
                  <a:pt x="912" y="390"/>
                  <a:pt x="912" y="390"/>
                </a:cubicBezTo>
                <a:cubicBezTo>
                  <a:pt x="912" y="388"/>
                  <a:pt x="913" y="385"/>
                  <a:pt x="912" y="383"/>
                </a:cubicBezTo>
                <a:cubicBezTo>
                  <a:pt x="912" y="380"/>
                  <a:pt x="911" y="378"/>
                  <a:pt x="911" y="376"/>
                </a:cubicBezTo>
                <a:cubicBezTo>
                  <a:pt x="909" y="369"/>
                  <a:pt x="905" y="365"/>
                  <a:pt x="899" y="362"/>
                </a:cubicBezTo>
                <a:cubicBezTo>
                  <a:pt x="895" y="360"/>
                  <a:pt x="891" y="358"/>
                  <a:pt x="887" y="356"/>
                </a:cubicBezTo>
                <a:cubicBezTo>
                  <a:pt x="880" y="353"/>
                  <a:pt x="867" y="354"/>
                  <a:pt x="862" y="359"/>
                </a:cubicBezTo>
                <a:cubicBezTo>
                  <a:pt x="855" y="367"/>
                  <a:pt x="851" y="376"/>
                  <a:pt x="851" y="388"/>
                </a:cubicBezTo>
                <a:close/>
                <a:moveTo>
                  <a:pt x="710" y="1008"/>
                </a:moveTo>
                <a:cubicBezTo>
                  <a:pt x="717" y="1007"/>
                  <a:pt x="724" y="1006"/>
                  <a:pt x="730" y="1001"/>
                </a:cubicBezTo>
                <a:cubicBezTo>
                  <a:pt x="732" y="999"/>
                  <a:pt x="734" y="998"/>
                  <a:pt x="736" y="996"/>
                </a:cubicBezTo>
                <a:cubicBezTo>
                  <a:pt x="737" y="996"/>
                  <a:pt x="738" y="995"/>
                  <a:pt x="739" y="994"/>
                </a:cubicBezTo>
                <a:cubicBezTo>
                  <a:pt x="742" y="989"/>
                  <a:pt x="745" y="983"/>
                  <a:pt x="748" y="978"/>
                </a:cubicBezTo>
                <a:cubicBezTo>
                  <a:pt x="754" y="968"/>
                  <a:pt x="749" y="953"/>
                  <a:pt x="738" y="950"/>
                </a:cubicBezTo>
                <a:cubicBezTo>
                  <a:pt x="726" y="946"/>
                  <a:pt x="714" y="945"/>
                  <a:pt x="703" y="953"/>
                </a:cubicBezTo>
                <a:cubicBezTo>
                  <a:pt x="695" y="958"/>
                  <a:pt x="690" y="965"/>
                  <a:pt x="687" y="973"/>
                </a:cubicBezTo>
                <a:cubicBezTo>
                  <a:pt x="684" y="979"/>
                  <a:pt x="683" y="987"/>
                  <a:pt x="686" y="993"/>
                </a:cubicBezTo>
                <a:cubicBezTo>
                  <a:pt x="692" y="1003"/>
                  <a:pt x="696" y="1008"/>
                  <a:pt x="710" y="1008"/>
                </a:cubicBezTo>
                <a:close/>
                <a:moveTo>
                  <a:pt x="562" y="416"/>
                </a:moveTo>
                <a:cubicBezTo>
                  <a:pt x="562" y="417"/>
                  <a:pt x="562" y="417"/>
                  <a:pt x="562" y="417"/>
                </a:cubicBezTo>
                <a:cubicBezTo>
                  <a:pt x="564" y="423"/>
                  <a:pt x="567" y="427"/>
                  <a:pt x="567" y="433"/>
                </a:cubicBezTo>
                <a:cubicBezTo>
                  <a:pt x="567" y="434"/>
                  <a:pt x="569" y="434"/>
                  <a:pt x="569" y="435"/>
                </a:cubicBezTo>
                <a:cubicBezTo>
                  <a:pt x="571" y="436"/>
                  <a:pt x="572" y="438"/>
                  <a:pt x="573" y="440"/>
                </a:cubicBezTo>
                <a:cubicBezTo>
                  <a:pt x="575" y="441"/>
                  <a:pt x="577" y="442"/>
                  <a:pt x="579" y="443"/>
                </a:cubicBezTo>
                <a:cubicBezTo>
                  <a:pt x="580" y="444"/>
                  <a:pt x="582" y="444"/>
                  <a:pt x="584" y="444"/>
                </a:cubicBezTo>
                <a:cubicBezTo>
                  <a:pt x="590" y="447"/>
                  <a:pt x="596" y="446"/>
                  <a:pt x="601" y="442"/>
                </a:cubicBezTo>
                <a:cubicBezTo>
                  <a:pt x="606" y="438"/>
                  <a:pt x="611" y="434"/>
                  <a:pt x="616" y="430"/>
                </a:cubicBezTo>
                <a:cubicBezTo>
                  <a:pt x="618" y="429"/>
                  <a:pt x="619" y="427"/>
                  <a:pt x="620" y="425"/>
                </a:cubicBezTo>
                <a:cubicBezTo>
                  <a:pt x="624" y="414"/>
                  <a:pt x="623" y="404"/>
                  <a:pt x="616" y="394"/>
                </a:cubicBezTo>
                <a:cubicBezTo>
                  <a:pt x="611" y="388"/>
                  <a:pt x="606" y="384"/>
                  <a:pt x="598" y="383"/>
                </a:cubicBezTo>
                <a:cubicBezTo>
                  <a:pt x="596" y="383"/>
                  <a:pt x="593" y="383"/>
                  <a:pt x="590" y="383"/>
                </a:cubicBezTo>
                <a:cubicBezTo>
                  <a:pt x="578" y="382"/>
                  <a:pt x="570" y="388"/>
                  <a:pt x="565" y="397"/>
                </a:cubicBezTo>
                <a:cubicBezTo>
                  <a:pt x="562" y="403"/>
                  <a:pt x="563" y="410"/>
                  <a:pt x="562" y="416"/>
                </a:cubicBezTo>
                <a:close/>
                <a:moveTo>
                  <a:pt x="1602" y="1062"/>
                </a:moveTo>
                <a:cubicBezTo>
                  <a:pt x="1602" y="1062"/>
                  <a:pt x="1602" y="1062"/>
                  <a:pt x="1602" y="1062"/>
                </a:cubicBezTo>
                <a:cubicBezTo>
                  <a:pt x="1599" y="1063"/>
                  <a:pt x="1596" y="1063"/>
                  <a:pt x="1594" y="1065"/>
                </a:cubicBezTo>
                <a:cubicBezTo>
                  <a:pt x="1585" y="1071"/>
                  <a:pt x="1580" y="1080"/>
                  <a:pt x="1577" y="1090"/>
                </a:cubicBezTo>
                <a:cubicBezTo>
                  <a:pt x="1576" y="1095"/>
                  <a:pt x="1576" y="1101"/>
                  <a:pt x="1579" y="1106"/>
                </a:cubicBezTo>
                <a:cubicBezTo>
                  <a:pt x="1582" y="1111"/>
                  <a:pt x="1585" y="1115"/>
                  <a:pt x="1591" y="1115"/>
                </a:cubicBezTo>
                <a:cubicBezTo>
                  <a:pt x="1592" y="1115"/>
                  <a:pt x="1592" y="1115"/>
                  <a:pt x="1593" y="1115"/>
                </a:cubicBezTo>
                <a:cubicBezTo>
                  <a:pt x="1595" y="1119"/>
                  <a:pt x="1598" y="1118"/>
                  <a:pt x="1601" y="1118"/>
                </a:cubicBezTo>
                <a:cubicBezTo>
                  <a:pt x="1609" y="1118"/>
                  <a:pt x="1617" y="1116"/>
                  <a:pt x="1623" y="1110"/>
                </a:cubicBezTo>
                <a:cubicBezTo>
                  <a:pt x="1629" y="1104"/>
                  <a:pt x="1632" y="1096"/>
                  <a:pt x="1633" y="1087"/>
                </a:cubicBezTo>
                <a:cubicBezTo>
                  <a:pt x="1633" y="1086"/>
                  <a:pt x="1633" y="1085"/>
                  <a:pt x="1632" y="1084"/>
                </a:cubicBezTo>
                <a:cubicBezTo>
                  <a:pt x="1630" y="1076"/>
                  <a:pt x="1626" y="1070"/>
                  <a:pt x="1619" y="1065"/>
                </a:cubicBezTo>
                <a:cubicBezTo>
                  <a:pt x="1614" y="1062"/>
                  <a:pt x="1609" y="1061"/>
                  <a:pt x="1603" y="1062"/>
                </a:cubicBezTo>
                <a:cubicBezTo>
                  <a:pt x="1603" y="1062"/>
                  <a:pt x="1603" y="1062"/>
                  <a:pt x="1602" y="1062"/>
                </a:cubicBezTo>
                <a:close/>
                <a:moveTo>
                  <a:pt x="265" y="1084"/>
                </a:moveTo>
                <a:cubicBezTo>
                  <a:pt x="266" y="1088"/>
                  <a:pt x="267" y="1092"/>
                  <a:pt x="269" y="1096"/>
                </a:cubicBezTo>
                <a:cubicBezTo>
                  <a:pt x="272" y="1103"/>
                  <a:pt x="287" y="1111"/>
                  <a:pt x="294" y="1110"/>
                </a:cubicBezTo>
                <a:cubicBezTo>
                  <a:pt x="300" y="1109"/>
                  <a:pt x="307" y="1108"/>
                  <a:pt x="312" y="1104"/>
                </a:cubicBezTo>
                <a:cubicBezTo>
                  <a:pt x="317" y="1101"/>
                  <a:pt x="320" y="1096"/>
                  <a:pt x="322" y="1091"/>
                </a:cubicBezTo>
                <a:cubicBezTo>
                  <a:pt x="324" y="1085"/>
                  <a:pt x="323" y="1079"/>
                  <a:pt x="322" y="1073"/>
                </a:cubicBezTo>
                <a:cubicBezTo>
                  <a:pt x="321" y="1071"/>
                  <a:pt x="320" y="1068"/>
                  <a:pt x="319" y="1066"/>
                </a:cubicBezTo>
                <a:cubicBezTo>
                  <a:pt x="316" y="1064"/>
                  <a:pt x="313" y="1062"/>
                  <a:pt x="311" y="1060"/>
                </a:cubicBezTo>
                <a:cubicBezTo>
                  <a:pt x="309" y="1059"/>
                  <a:pt x="306" y="1058"/>
                  <a:pt x="304" y="1058"/>
                </a:cubicBezTo>
                <a:cubicBezTo>
                  <a:pt x="295" y="1056"/>
                  <a:pt x="287" y="1058"/>
                  <a:pt x="279" y="1062"/>
                </a:cubicBezTo>
                <a:cubicBezTo>
                  <a:pt x="270" y="1066"/>
                  <a:pt x="264" y="1073"/>
                  <a:pt x="265" y="1084"/>
                </a:cubicBezTo>
                <a:close/>
                <a:moveTo>
                  <a:pt x="567" y="196"/>
                </a:moveTo>
                <a:cubicBezTo>
                  <a:pt x="568" y="200"/>
                  <a:pt x="570" y="205"/>
                  <a:pt x="572" y="209"/>
                </a:cubicBezTo>
                <a:cubicBezTo>
                  <a:pt x="575" y="217"/>
                  <a:pt x="583" y="219"/>
                  <a:pt x="590" y="221"/>
                </a:cubicBezTo>
                <a:cubicBezTo>
                  <a:pt x="590" y="221"/>
                  <a:pt x="591" y="220"/>
                  <a:pt x="591" y="220"/>
                </a:cubicBezTo>
                <a:cubicBezTo>
                  <a:pt x="601" y="219"/>
                  <a:pt x="609" y="214"/>
                  <a:pt x="616" y="207"/>
                </a:cubicBezTo>
                <a:cubicBezTo>
                  <a:pt x="620" y="202"/>
                  <a:pt x="622" y="197"/>
                  <a:pt x="622" y="192"/>
                </a:cubicBezTo>
                <a:cubicBezTo>
                  <a:pt x="622" y="186"/>
                  <a:pt x="622" y="181"/>
                  <a:pt x="616" y="177"/>
                </a:cubicBezTo>
                <a:cubicBezTo>
                  <a:pt x="616" y="177"/>
                  <a:pt x="615" y="177"/>
                  <a:pt x="615" y="176"/>
                </a:cubicBezTo>
                <a:cubicBezTo>
                  <a:pt x="615" y="173"/>
                  <a:pt x="613" y="172"/>
                  <a:pt x="610" y="170"/>
                </a:cubicBezTo>
                <a:cubicBezTo>
                  <a:pt x="604" y="166"/>
                  <a:pt x="596" y="164"/>
                  <a:pt x="589" y="166"/>
                </a:cubicBezTo>
                <a:cubicBezTo>
                  <a:pt x="584" y="168"/>
                  <a:pt x="578" y="171"/>
                  <a:pt x="574" y="176"/>
                </a:cubicBezTo>
                <a:cubicBezTo>
                  <a:pt x="569" y="182"/>
                  <a:pt x="567" y="188"/>
                  <a:pt x="567" y="196"/>
                </a:cubicBezTo>
                <a:close/>
                <a:moveTo>
                  <a:pt x="675" y="499"/>
                </a:moveTo>
                <a:cubicBezTo>
                  <a:pt x="674" y="506"/>
                  <a:pt x="676" y="513"/>
                  <a:pt x="681" y="518"/>
                </a:cubicBezTo>
                <a:cubicBezTo>
                  <a:pt x="684" y="521"/>
                  <a:pt x="688" y="524"/>
                  <a:pt x="693" y="527"/>
                </a:cubicBezTo>
                <a:cubicBezTo>
                  <a:pt x="695" y="528"/>
                  <a:pt x="699" y="528"/>
                  <a:pt x="702" y="529"/>
                </a:cubicBezTo>
                <a:cubicBezTo>
                  <a:pt x="704" y="529"/>
                  <a:pt x="705" y="529"/>
                  <a:pt x="707" y="528"/>
                </a:cubicBezTo>
                <a:cubicBezTo>
                  <a:pt x="716" y="526"/>
                  <a:pt x="722" y="519"/>
                  <a:pt x="725" y="511"/>
                </a:cubicBezTo>
                <a:cubicBezTo>
                  <a:pt x="729" y="504"/>
                  <a:pt x="728" y="496"/>
                  <a:pt x="724" y="489"/>
                </a:cubicBezTo>
                <a:cubicBezTo>
                  <a:pt x="719" y="480"/>
                  <a:pt x="711" y="476"/>
                  <a:pt x="702" y="474"/>
                </a:cubicBezTo>
                <a:cubicBezTo>
                  <a:pt x="696" y="472"/>
                  <a:pt x="691" y="472"/>
                  <a:pt x="686" y="475"/>
                </a:cubicBezTo>
                <a:cubicBezTo>
                  <a:pt x="682" y="478"/>
                  <a:pt x="677" y="482"/>
                  <a:pt x="678" y="488"/>
                </a:cubicBezTo>
                <a:cubicBezTo>
                  <a:pt x="678" y="488"/>
                  <a:pt x="678" y="489"/>
                  <a:pt x="677" y="489"/>
                </a:cubicBezTo>
                <a:cubicBezTo>
                  <a:pt x="674" y="492"/>
                  <a:pt x="675" y="496"/>
                  <a:pt x="675" y="499"/>
                </a:cubicBezTo>
                <a:close/>
              </a:path>
            </a:pathLst>
          </a:custGeom>
          <a:solidFill>
            <a:srgbClr val="000000"/>
          </a:solidFill>
          <a:ln w="6350">
            <a:solidFill>
              <a:schemeClr val="tx1"/>
            </a:solidFill>
          </a:ln>
        </p:spPr>
        <p:txBody>
          <a:bodyPr vert="horz" wrap="square" lIns="68598" tIns="34299" rIns="68598" bIns="3429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25" b="0" i="0" u="none" strike="noStrike" kern="0" cap="none" spc="0" normalizeH="0" baseline="0" noProof="0" dirty="0">
              <a:ln>
                <a:noFill/>
              </a:ln>
              <a:solidFill>
                <a:srgbClr val="000000"/>
              </a:solidFill>
              <a:effectLst/>
              <a:uLnTx/>
              <a:uFillTx/>
              <a:ea typeface="+mn-ea"/>
              <a:cs typeface="+mn-cs"/>
            </a:endParaRPr>
          </a:p>
        </p:txBody>
      </p:sp>
      <p:graphicFrame>
        <p:nvGraphicFramePr>
          <p:cNvPr id="17" name="Table 16">
            <a:extLst>
              <a:ext uri="{FF2B5EF4-FFF2-40B4-BE49-F238E27FC236}">
                <a16:creationId xmlns:a16="http://schemas.microsoft.com/office/drawing/2014/main" id="{23CB83E8-2C3F-4535-8A30-FBB25E9F4CA4}"/>
              </a:ext>
            </a:extLst>
          </p:cNvPr>
          <p:cNvGraphicFramePr>
            <a:graphicFrameLocks noGrp="1"/>
          </p:cNvGraphicFramePr>
          <p:nvPr/>
        </p:nvGraphicFramePr>
        <p:xfrm>
          <a:off x="5516196" y="1709928"/>
          <a:ext cx="6375701" cy="365760"/>
        </p:xfrm>
        <a:graphic>
          <a:graphicData uri="http://schemas.openxmlformats.org/drawingml/2006/table">
            <a:tbl>
              <a:tblPr firstRow="1" bandRow="1"/>
              <a:tblGrid>
                <a:gridCol w="6375701">
                  <a:extLst>
                    <a:ext uri="{9D8B030D-6E8A-4147-A177-3AD203B41FA5}">
                      <a16:colId xmlns:a16="http://schemas.microsoft.com/office/drawing/2014/main" val="1320249938"/>
                    </a:ext>
                  </a:extLst>
                </a:gridCol>
              </a:tblGrid>
              <a:tr h="303493">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287338" lvl="1" indent="0" algn="l"/>
                      <a:r>
                        <a:rPr lang="en-US" sz="1800" cap="small" baseline="0" dirty="0">
                          <a:solidFill>
                            <a:schemeClr val="tx1"/>
                          </a:solidFill>
                          <a:latin typeface="+mn-lt"/>
                        </a:rPr>
                        <a:t>3.0 Execute</a:t>
                      </a:r>
                    </a:p>
                  </a:txBody>
                  <a:tcPr marL="75570" marR="18090">
                    <a:lnL w="12700" cmpd="sng">
                      <a:noFill/>
                    </a:lnL>
                    <a:lnR w="12700" cmpd="sng">
                      <a:noFill/>
                    </a:lnR>
                    <a:lnT w="28575" cap="flat" cmpd="sng" algn="ctr">
                      <a:noFill/>
                      <a:prstDash val="solid"/>
                      <a:round/>
                      <a:headEnd type="none" w="med" len="med"/>
                      <a:tailEnd type="none" w="med" len="med"/>
                    </a:lnT>
                    <a:lnB w="571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2733259"/>
                  </a:ext>
                </a:extLst>
              </a:tr>
            </a:tbl>
          </a:graphicData>
        </a:graphic>
      </p:graphicFrame>
      <p:sp>
        <p:nvSpPr>
          <p:cNvPr id="18" name="Rectangle 17">
            <a:extLst>
              <a:ext uri="{FF2B5EF4-FFF2-40B4-BE49-F238E27FC236}">
                <a16:creationId xmlns:a16="http://schemas.microsoft.com/office/drawing/2014/main" id="{F98E295C-A795-409C-A3F7-796E0FB2CD47}"/>
              </a:ext>
            </a:extLst>
          </p:cNvPr>
          <p:cNvSpPr/>
          <p:nvPr/>
        </p:nvSpPr>
        <p:spPr>
          <a:xfrm>
            <a:off x="659565" y="4811681"/>
            <a:ext cx="3182086" cy="246221"/>
          </a:xfrm>
          <a:prstGeom prst="rect">
            <a:avLst/>
          </a:prstGeom>
        </p:spPr>
        <p:txBody>
          <a:bodyPr wrap="square" lIns="0">
            <a:spAutoFit/>
          </a:bodyPr>
          <a:lstStyle/>
          <a:p>
            <a:pPr marL="0" marR="0" lvl="1" indent="0" algn="l" defTabSz="1120466" rtl="0" eaLnBrk="1" fontAlgn="auto" latinLnBrk="0" hangingPunct="1">
              <a:lnSpc>
                <a:spcPct val="100000"/>
              </a:lnSpc>
              <a:spcBef>
                <a:spcPts val="0"/>
              </a:spcBef>
              <a:spcAft>
                <a:spcPts val="300"/>
              </a:spcAft>
              <a:buClr>
                <a:srgbClr val="FFFFFF"/>
              </a:buClr>
              <a:buSzPct val="75000"/>
              <a:buFontTx/>
              <a:buNone/>
              <a:tabLst>
                <a:tab pos="7011214" algn="l"/>
              </a:tabLst>
              <a:defRPr/>
            </a:pPr>
            <a:r>
              <a:rPr kumimoji="0" lang="en-US" sz="1000" b="1" i="1" u="none" strike="noStrike" kern="1200" cap="none" spc="0" normalizeH="0" baseline="0" noProof="0" dirty="0">
                <a:ln>
                  <a:noFill/>
                </a:ln>
                <a:solidFill>
                  <a:srgbClr val="000000"/>
                </a:solidFill>
                <a:effectLst/>
                <a:uLnTx/>
                <a:uFillTx/>
                <a:ea typeface="+mn-ea"/>
                <a:cs typeface="Arial" pitchFamily="34" charset="0"/>
              </a:rPr>
              <a:t>Opportunity Planning Progress by Project Team</a:t>
            </a:r>
          </a:p>
        </p:txBody>
      </p:sp>
      <p:grpSp>
        <p:nvGrpSpPr>
          <p:cNvPr id="19" name="Group 18">
            <a:extLst>
              <a:ext uri="{FF2B5EF4-FFF2-40B4-BE49-F238E27FC236}">
                <a16:creationId xmlns:a16="http://schemas.microsoft.com/office/drawing/2014/main" id="{452AA7E9-B740-4BAB-8182-5B3D9C4A931E}"/>
              </a:ext>
            </a:extLst>
          </p:cNvPr>
          <p:cNvGrpSpPr/>
          <p:nvPr/>
        </p:nvGrpSpPr>
        <p:grpSpPr>
          <a:xfrm>
            <a:off x="672086" y="1724434"/>
            <a:ext cx="273180" cy="273959"/>
            <a:chOff x="355703" y="683299"/>
            <a:chExt cx="273180" cy="273959"/>
          </a:xfrm>
          <a:solidFill>
            <a:schemeClr val="tx1"/>
          </a:solidFill>
        </p:grpSpPr>
        <p:sp>
          <p:nvSpPr>
            <p:cNvPr id="20" name="Freeform 330">
              <a:extLst>
                <a:ext uri="{FF2B5EF4-FFF2-40B4-BE49-F238E27FC236}">
                  <a16:creationId xmlns:a16="http://schemas.microsoft.com/office/drawing/2014/main" id="{092A9A30-8D49-43F5-9031-A62A7B8F51E3}"/>
                </a:ext>
              </a:extLst>
            </p:cNvPr>
            <p:cNvSpPr>
              <a:spLocks noEditPoints="1"/>
            </p:cNvSpPr>
            <p:nvPr/>
          </p:nvSpPr>
          <p:spPr bwMode="auto">
            <a:xfrm>
              <a:off x="355703" y="683299"/>
              <a:ext cx="273180" cy="273959"/>
            </a:xfrm>
            <a:custGeom>
              <a:avLst/>
              <a:gdLst>
                <a:gd name="T0" fmla="*/ 229 w 229"/>
                <a:gd name="T1" fmla="*/ 51 h 229"/>
                <a:gd name="T2" fmla="*/ 225 w 229"/>
                <a:gd name="T3" fmla="*/ 42 h 229"/>
                <a:gd name="T4" fmla="*/ 188 w 229"/>
                <a:gd name="T5" fmla="*/ 5 h 229"/>
                <a:gd name="T6" fmla="*/ 170 w 229"/>
                <a:gd name="T7" fmla="*/ 5 h 229"/>
                <a:gd name="T8" fmla="*/ 30 w 229"/>
                <a:gd name="T9" fmla="*/ 145 h 229"/>
                <a:gd name="T10" fmla="*/ 30 w 229"/>
                <a:gd name="T11" fmla="*/ 145 h 229"/>
                <a:gd name="T12" fmla="*/ 30 w 229"/>
                <a:gd name="T13" fmla="*/ 145 h 229"/>
                <a:gd name="T14" fmla="*/ 30 w 229"/>
                <a:gd name="T15" fmla="*/ 145 h 229"/>
                <a:gd name="T16" fmla="*/ 27 w 229"/>
                <a:gd name="T17" fmla="*/ 149 h 229"/>
                <a:gd name="T18" fmla="*/ 2 w 229"/>
                <a:gd name="T19" fmla="*/ 213 h 229"/>
                <a:gd name="T20" fmla="*/ 4 w 229"/>
                <a:gd name="T21" fmla="*/ 226 h 229"/>
                <a:gd name="T22" fmla="*/ 13 w 229"/>
                <a:gd name="T23" fmla="*/ 229 h 229"/>
                <a:gd name="T24" fmla="*/ 13 w 229"/>
                <a:gd name="T25" fmla="*/ 229 h 229"/>
                <a:gd name="T26" fmla="*/ 17 w 229"/>
                <a:gd name="T27" fmla="*/ 228 h 229"/>
                <a:gd name="T28" fmla="*/ 81 w 229"/>
                <a:gd name="T29" fmla="*/ 203 h 229"/>
                <a:gd name="T30" fmla="*/ 85 w 229"/>
                <a:gd name="T31" fmla="*/ 200 h 229"/>
                <a:gd name="T32" fmla="*/ 225 w 229"/>
                <a:gd name="T33" fmla="*/ 60 h 229"/>
                <a:gd name="T34" fmla="*/ 229 w 229"/>
                <a:gd name="T35" fmla="*/ 51 h 229"/>
                <a:gd name="T36" fmla="*/ 34 w 229"/>
                <a:gd name="T37" fmla="*/ 156 h 229"/>
                <a:gd name="T38" fmla="*/ 74 w 229"/>
                <a:gd name="T39" fmla="*/ 196 h 229"/>
                <a:gd name="T40" fmla="*/ 28 w 229"/>
                <a:gd name="T41" fmla="*/ 214 h 229"/>
                <a:gd name="T42" fmla="*/ 16 w 229"/>
                <a:gd name="T43" fmla="*/ 202 h 229"/>
                <a:gd name="T44" fmla="*/ 34 w 229"/>
                <a:gd name="T45" fmla="*/ 156 h 229"/>
                <a:gd name="T46" fmla="*/ 219 w 229"/>
                <a:gd name="T47" fmla="*/ 53 h 229"/>
                <a:gd name="T48" fmla="*/ 81 w 229"/>
                <a:gd name="T49" fmla="*/ 190 h 229"/>
                <a:gd name="T50" fmla="*/ 70 w 229"/>
                <a:gd name="T51" fmla="*/ 179 h 229"/>
                <a:gd name="T52" fmla="*/ 71 w 229"/>
                <a:gd name="T53" fmla="*/ 179 h 229"/>
                <a:gd name="T54" fmla="*/ 193 w 229"/>
                <a:gd name="T55" fmla="*/ 57 h 229"/>
                <a:gd name="T56" fmla="*/ 193 w 229"/>
                <a:gd name="T57" fmla="*/ 51 h 229"/>
                <a:gd name="T58" fmla="*/ 186 w 229"/>
                <a:gd name="T59" fmla="*/ 51 h 229"/>
                <a:gd name="T60" fmla="*/ 65 w 229"/>
                <a:gd name="T61" fmla="*/ 172 h 229"/>
                <a:gd name="T62" fmla="*/ 64 w 229"/>
                <a:gd name="T63" fmla="*/ 173 h 229"/>
                <a:gd name="T64" fmla="*/ 40 w 229"/>
                <a:gd name="T65" fmla="*/ 149 h 229"/>
                <a:gd name="T66" fmla="*/ 177 w 229"/>
                <a:gd name="T67" fmla="*/ 11 h 229"/>
                <a:gd name="T68" fmla="*/ 179 w 229"/>
                <a:gd name="T69" fmla="*/ 10 h 229"/>
                <a:gd name="T70" fmla="*/ 181 w 229"/>
                <a:gd name="T71" fmla="*/ 11 h 229"/>
                <a:gd name="T72" fmla="*/ 219 w 229"/>
                <a:gd name="T73" fmla="*/ 49 h 229"/>
                <a:gd name="T74" fmla="*/ 220 w 229"/>
                <a:gd name="T75" fmla="*/ 51 h 229"/>
                <a:gd name="T76" fmla="*/ 219 w 229"/>
                <a:gd name="T77" fmla="*/ 53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9" h="229">
                  <a:moveTo>
                    <a:pt x="229" y="51"/>
                  </a:moveTo>
                  <a:cubicBezTo>
                    <a:pt x="229" y="48"/>
                    <a:pt x="228" y="45"/>
                    <a:pt x="225" y="42"/>
                  </a:cubicBezTo>
                  <a:cubicBezTo>
                    <a:pt x="188" y="5"/>
                    <a:pt x="188" y="5"/>
                    <a:pt x="188" y="5"/>
                  </a:cubicBezTo>
                  <a:cubicBezTo>
                    <a:pt x="183" y="0"/>
                    <a:pt x="175" y="0"/>
                    <a:pt x="170" y="5"/>
                  </a:cubicBezTo>
                  <a:cubicBezTo>
                    <a:pt x="30" y="145"/>
                    <a:pt x="30" y="145"/>
                    <a:pt x="30" y="145"/>
                  </a:cubicBezTo>
                  <a:cubicBezTo>
                    <a:pt x="30" y="145"/>
                    <a:pt x="30" y="145"/>
                    <a:pt x="30" y="145"/>
                  </a:cubicBezTo>
                  <a:cubicBezTo>
                    <a:pt x="30" y="145"/>
                    <a:pt x="30" y="145"/>
                    <a:pt x="30" y="145"/>
                  </a:cubicBezTo>
                  <a:cubicBezTo>
                    <a:pt x="30" y="145"/>
                    <a:pt x="30" y="145"/>
                    <a:pt x="30" y="145"/>
                  </a:cubicBezTo>
                  <a:cubicBezTo>
                    <a:pt x="29" y="146"/>
                    <a:pt x="28" y="148"/>
                    <a:pt x="27" y="149"/>
                  </a:cubicBezTo>
                  <a:cubicBezTo>
                    <a:pt x="2" y="213"/>
                    <a:pt x="2" y="213"/>
                    <a:pt x="2" y="213"/>
                  </a:cubicBezTo>
                  <a:cubicBezTo>
                    <a:pt x="0" y="217"/>
                    <a:pt x="1" y="222"/>
                    <a:pt x="4" y="226"/>
                  </a:cubicBezTo>
                  <a:cubicBezTo>
                    <a:pt x="7" y="228"/>
                    <a:pt x="10" y="229"/>
                    <a:pt x="13" y="229"/>
                  </a:cubicBezTo>
                  <a:cubicBezTo>
                    <a:pt x="13" y="229"/>
                    <a:pt x="13" y="229"/>
                    <a:pt x="13" y="229"/>
                  </a:cubicBezTo>
                  <a:cubicBezTo>
                    <a:pt x="14" y="229"/>
                    <a:pt x="16" y="229"/>
                    <a:pt x="17" y="228"/>
                  </a:cubicBezTo>
                  <a:cubicBezTo>
                    <a:pt x="81" y="203"/>
                    <a:pt x="81" y="203"/>
                    <a:pt x="81" y="203"/>
                  </a:cubicBezTo>
                  <a:cubicBezTo>
                    <a:pt x="82" y="202"/>
                    <a:pt x="84" y="201"/>
                    <a:pt x="85" y="200"/>
                  </a:cubicBezTo>
                  <a:cubicBezTo>
                    <a:pt x="225" y="60"/>
                    <a:pt x="225" y="60"/>
                    <a:pt x="225" y="60"/>
                  </a:cubicBezTo>
                  <a:cubicBezTo>
                    <a:pt x="228" y="57"/>
                    <a:pt x="229" y="54"/>
                    <a:pt x="229" y="51"/>
                  </a:cubicBezTo>
                  <a:close/>
                  <a:moveTo>
                    <a:pt x="34" y="156"/>
                  </a:moveTo>
                  <a:cubicBezTo>
                    <a:pt x="74" y="196"/>
                    <a:pt x="74" y="196"/>
                    <a:pt x="74" y="196"/>
                  </a:cubicBezTo>
                  <a:cubicBezTo>
                    <a:pt x="28" y="214"/>
                    <a:pt x="28" y="214"/>
                    <a:pt x="28" y="214"/>
                  </a:cubicBezTo>
                  <a:cubicBezTo>
                    <a:pt x="16" y="202"/>
                    <a:pt x="16" y="202"/>
                    <a:pt x="16" y="202"/>
                  </a:cubicBezTo>
                  <a:lnTo>
                    <a:pt x="34" y="156"/>
                  </a:lnTo>
                  <a:close/>
                  <a:moveTo>
                    <a:pt x="219" y="53"/>
                  </a:moveTo>
                  <a:cubicBezTo>
                    <a:pt x="81" y="190"/>
                    <a:pt x="81" y="190"/>
                    <a:pt x="81" y="190"/>
                  </a:cubicBezTo>
                  <a:cubicBezTo>
                    <a:pt x="70" y="179"/>
                    <a:pt x="70" y="179"/>
                    <a:pt x="70" y="179"/>
                  </a:cubicBezTo>
                  <a:cubicBezTo>
                    <a:pt x="71" y="179"/>
                    <a:pt x="71" y="179"/>
                    <a:pt x="71" y="179"/>
                  </a:cubicBezTo>
                  <a:cubicBezTo>
                    <a:pt x="193" y="57"/>
                    <a:pt x="193" y="57"/>
                    <a:pt x="193" y="57"/>
                  </a:cubicBezTo>
                  <a:cubicBezTo>
                    <a:pt x="195" y="55"/>
                    <a:pt x="195" y="52"/>
                    <a:pt x="193" y="51"/>
                  </a:cubicBezTo>
                  <a:cubicBezTo>
                    <a:pt x="191" y="49"/>
                    <a:pt x="188" y="49"/>
                    <a:pt x="186" y="51"/>
                  </a:cubicBezTo>
                  <a:cubicBezTo>
                    <a:pt x="65" y="172"/>
                    <a:pt x="65" y="172"/>
                    <a:pt x="65" y="172"/>
                  </a:cubicBezTo>
                  <a:cubicBezTo>
                    <a:pt x="65" y="172"/>
                    <a:pt x="64" y="173"/>
                    <a:pt x="64" y="173"/>
                  </a:cubicBezTo>
                  <a:cubicBezTo>
                    <a:pt x="40" y="149"/>
                    <a:pt x="40" y="149"/>
                    <a:pt x="40" y="149"/>
                  </a:cubicBezTo>
                  <a:cubicBezTo>
                    <a:pt x="177" y="11"/>
                    <a:pt x="177" y="11"/>
                    <a:pt x="177" y="11"/>
                  </a:cubicBezTo>
                  <a:cubicBezTo>
                    <a:pt x="178" y="11"/>
                    <a:pt x="178" y="10"/>
                    <a:pt x="179" y="10"/>
                  </a:cubicBezTo>
                  <a:cubicBezTo>
                    <a:pt x="180" y="10"/>
                    <a:pt x="180" y="11"/>
                    <a:pt x="181" y="11"/>
                  </a:cubicBezTo>
                  <a:cubicBezTo>
                    <a:pt x="219" y="49"/>
                    <a:pt x="219" y="49"/>
                    <a:pt x="219" y="49"/>
                  </a:cubicBezTo>
                  <a:cubicBezTo>
                    <a:pt x="219" y="50"/>
                    <a:pt x="220" y="50"/>
                    <a:pt x="220" y="51"/>
                  </a:cubicBezTo>
                  <a:cubicBezTo>
                    <a:pt x="220" y="52"/>
                    <a:pt x="219" y="52"/>
                    <a:pt x="219" y="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a typeface="+mn-ea"/>
                <a:cs typeface="+mn-cs"/>
              </a:endParaRPr>
            </a:p>
          </p:txBody>
        </p:sp>
        <p:sp>
          <p:nvSpPr>
            <p:cNvPr id="21" name="Freeform 331">
              <a:extLst>
                <a:ext uri="{FF2B5EF4-FFF2-40B4-BE49-F238E27FC236}">
                  <a16:creationId xmlns:a16="http://schemas.microsoft.com/office/drawing/2014/main" id="{F92C658C-8160-4B78-8834-07346BC33947}"/>
                </a:ext>
              </a:extLst>
            </p:cNvPr>
            <p:cNvSpPr>
              <a:spLocks/>
            </p:cNvSpPr>
            <p:nvPr/>
          </p:nvSpPr>
          <p:spPr bwMode="auto">
            <a:xfrm>
              <a:off x="358031" y="684856"/>
              <a:ext cx="133866" cy="133866"/>
            </a:xfrm>
            <a:custGeom>
              <a:avLst/>
              <a:gdLst>
                <a:gd name="T0" fmla="*/ 46 w 112"/>
                <a:gd name="T1" fmla="*/ 111 h 112"/>
                <a:gd name="T2" fmla="*/ 49 w 112"/>
                <a:gd name="T3" fmla="*/ 112 h 112"/>
                <a:gd name="T4" fmla="*/ 52 w 112"/>
                <a:gd name="T5" fmla="*/ 111 h 112"/>
                <a:gd name="T6" fmla="*/ 52 w 112"/>
                <a:gd name="T7" fmla="*/ 104 h 112"/>
                <a:gd name="T8" fmla="*/ 51 w 112"/>
                <a:gd name="T9" fmla="*/ 103 h 112"/>
                <a:gd name="T10" fmla="*/ 65 w 112"/>
                <a:gd name="T11" fmla="*/ 88 h 112"/>
                <a:gd name="T12" fmla="*/ 65 w 112"/>
                <a:gd name="T13" fmla="*/ 82 h 112"/>
                <a:gd name="T14" fmla="*/ 58 w 112"/>
                <a:gd name="T15" fmla="*/ 82 h 112"/>
                <a:gd name="T16" fmla="*/ 44 w 112"/>
                <a:gd name="T17" fmla="*/ 96 h 112"/>
                <a:gd name="T18" fmla="*/ 31 w 112"/>
                <a:gd name="T19" fmla="*/ 83 h 112"/>
                <a:gd name="T20" fmla="*/ 61 w 112"/>
                <a:gd name="T21" fmla="*/ 53 h 112"/>
                <a:gd name="T22" fmla="*/ 61 w 112"/>
                <a:gd name="T23" fmla="*/ 46 h 112"/>
                <a:gd name="T24" fmla="*/ 54 w 112"/>
                <a:gd name="T25" fmla="*/ 46 h 112"/>
                <a:gd name="T26" fmla="*/ 24 w 112"/>
                <a:gd name="T27" fmla="*/ 76 h 112"/>
                <a:gd name="T28" fmla="*/ 10 w 112"/>
                <a:gd name="T29" fmla="*/ 62 h 112"/>
                <a:gd name="T30" fmla="*/ 10 w 112"/>
                <a:gd name="T31" fmla="*/ 61 h 112"/>
                <a:gd name="T32" fmla="*/ 10 w 112"/>
                <a:gd name="T33" fmla="*/ 59 h 112"/>
                <a:gd name="T34" fmla="*/ 58 w 112"/>
                <a:gd name="T35" fmla="*/ 11 h 112"/>
                <a:gd name="T36" fmla="*/ 61 w 112"/>
                <a:gd name="T37" fmla="*/ 11 h 112"/>
                <a:gd name="T38" fmla="*/ 103 w 112"/>
                <a:gd name="T39" fmla="*/ 54 h 112"/>
                <a:gd name="T40" fmla="*/ 110 w 112"/>
                <a:gd name="T41" fmla="*/ 54 h 112"/>
                <a:gd name="T42" fmla="*/ 110 w 112"/>
                <a:gd name="T43" fmla="*/ 47 h 112"/>
                <a:gd name="T44" fmla="*/ 68 w 112"/>
                <a:gd name="T45" fmla="*/ 5 h 112"/>
                <a:gd name="T46" fmla="*/ 51 w 112"/>
                <a:gd name="T47" fmla="*/ 5 h 112"/>
                <a:gd name="T48" fmla="*/ 4 w 112"/>
                <a:gd name="T49" fmla="*/ 52 h 112"/>
                <a:gd name="T50" fmla="*/ 0 w 112"/>
                <a:gd name="T51" fmla="*/ 61 h 112"/>
                <a:gd name="T52" fmla="*/ 4 w 112"/>
                <a:gd name="T53" fmla="*/ 69 h 112"/>
                <a:gd name="T54" fmla="*/ 46 w 112"/>
                <a:gd name="T55"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2" h="112">
                  <a:moveTo>
                    <a:pt x="46" y="111"/>
                  </a:moveTo>
                  <a:cubicBezTo>
                    <a:pt x="47" y="112"/>
                    <a:pt x="48" y="112"/>
                    <a:pt x="49" y="112"/>
                  </a:cubicBezTo>
                  <a:cubicBezTo>
                    <a:pt x="50" y="112"/>
                    <a:pt x="52" y="112"/>
                    <a:pt x="52" y="111"/>
                  </a:cubicBezTo>
                  <a:cubicBezTo>
                    <a:pt x="54" y="109"/>
                    <a:pt x="54" y="106"/>
                    <a:pt x="52" y="104"/>
                  </a:cubicBezTo>
                  <a:cubicBezTo>
                    <a:pt x="51" y="103"/>
                    <a:pt x="51" y="103"/>
                    <a:pt x="51" y="103"/>
                  </a:cubicBezTo>
                  <a:cubicBezTo>
                    <a:pt x="65" y="88"/>
                    <a:pt x="65" y="88"/>
                    <a:pt x="65" y="88"/>
                  </a:cubicBezTo>
                  <a:cubicBezTo>
                    <a:pt x="66" y="87"/>
                    <a:pt x="66" y="84"/>
                    <a:pt x="65" y="82"/>
                  </a:cubicBezTo>
                  <a:cubicBezTo>
                    <a:pt x="63" y="80"/>
                    <a:pt x="60" y="80"/>
                    <a:pt x="58" y="82"/>
                  </a:cubicBezTo>
                  <a:cubicBezTo>
                    <a:pt x="44" y="96"/>
                    <a:pt x="44" y="96"/>
                    <a:pt x="44" y="96"/>
                  </a:cubicBezTo>
                  <a:cubicBezTo>
                    <a:pt x="31" y="83"/>
                    <a:pt x="31" y="83"/>
                    <a:pt x="31" y="83"/>
                  </a:cubicBezTo>
                  <a:cubicBezTo>
                    <a:pt x="61" y="53"/>
                    <a:pt x="61" y="53"/>
                    <a:pt x="61" y="53"/>
                  </a:cubicBezTo>
                  <a:cubicBezTo>
                    <a:pt x="63" y="51"/>
                    <a:pt x="63" y="48"/>
                    <a:pt x="61" y="46"/>
                  </a:cubicBezTo>
                  <a:cubicBezTo>
                    <a:pt x="59" y="44"/>
                    <a:pt x="56" y="44"/>
                    <a:pt x="54" y="46"/>
                  </a:cubicBezTo>
                  <a:cubicBezTo>
                    <a:pt x="24" y="76"/>
                    <a:pt x="24" y="76"/>
                    <a:pt x="24" y="76"/>
                  </a:cubicBezTo>
                  <a:cubicBezTo>
                    <a:pt x="10" y="62"/>
                    <a:pt x="10" y="62"/>
                    <a:pt x="10" y="62"/>
                  </a:cubicBezTo>
                  <a:cubicBezTo>
                    <a:pt x="10" y="62"/>
                    <a:pt x="10" y="61"/>
                    <a:pt x="10" y="61"/>
                  </a:cubicBezTo>
                  <a:cubicBezTo>
                    <a:pt x="10" y="60"/>
                    <a:pt x="10" y="60"/>
                    <a:pt x="10" y="59"/>
                  </a:cubicBezTo>
                  <a:cubicBezTo>
                    <a:pt x="58" y="11"/>
                    <a:pt x="58" y="11"/>
                    <a:pt x="58" y="11"/>
                  </a:cubicBezTo>
                  <a:cubicBezTo>
                    <a:pt x="58" y="11"/>
                    <a:pt x="60" y="11"/>
                    <a:pt x="61" y="11"/>
                  </a:cubicBezTo>
                  <a:cubicBezTo>
                    <a:pt x="103" y="54"/>
                    <a:pt x="103" y="54"/>
                    <a:pt x="103" y="54"/>
                  </a:cubicBezTo>
                  <a:cubicBezTo>
                    <a:pt x="105" y="56"/>
                    <a:pt x="108" y="56"/>
                    <a:pt x="110" y="54"/>
                  </a:cubicBezTo>
                  <a:cubicBezTo>
                    <a:pt x="112" y="52"/>
                    <a:pt x="112" y="49"/>
                    <a:pt x="110" y="47"/>
                  </a:cubicBezTo>
                  <a:cubicBezTo>
                    <a:pt x="68" y="5"/>
                    <a:pt x="68" y="5"/>
                    <a:pt x="68" y="5"/>
                  </a:cubicBezTo>
                  <a:cubicBezTo>
                    <a:pt x="63" y="0"/>
                    <a:pt x="56" y="0"/>
                    <a:pt x="51" y="5"/>
                  </a:cubicBezTo>
                  <a:cubicBezTo>
                    <a:pt x="4" y="52"/>
                    <a:pt x="4" y="52"/>
                    <a:pt x="4" y="52"/>
                  </a:cubicBezTo>
                  <a:cubicBezTo>
                    <a:pt x="1" y="55"/>
                    <a:pt x="0" y="57"/>
                    <a:pt x="0" y="61"/>
                  </a:cubicBezTo>
                  <a:cubicBezTo>
                    <a:pt x="0" y="64"/>
                    <a:pt x="1" y="67"/>
                    <a:pt x="4" y="69"/>
                  </a:cubicBezTo>
                  <a:lnTo>
                    <a:pt x="46" y="11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a typeface="+mn-ea"/>
                <a:cs typeface="+mn-cs"/>
              </a:endParaRPr>
            </a:p>
          </p:txBody>
        </p:sp>
        <p:sp>
          <p:nvSpPr>
            <p:cNvPr id="22" name="Freeform 332">
              <a:extLst>
                <a:ext uri="{FF2B5EF4-FFF2-40B4-BE49-F238E27FC236}">
                  <a16:creationId xmlns:a16="http://schemas.microsoft.com/office/drawing/2014/main" id="{1BD61781-4827-4CF6-A24E-5DB4412AC44F}"/>
                </a:ext>
              </a:extLst>
            </p:cNvPr>
            <p:cNvSpPr>
              <a:spLocks/>
            </p:cNvSpPr>
            <p:nvPr/>
          </p:nvSpPr>
          <p:spPr bwMode="auto">
            <a:xfrm>
              <a:off x="495010" y="823392"/>
              <a:ext cx="133866" cy="132310"/>
            </a:xfrm>
            <a:custGeom>
              <a:avLst/>
              <a:gdLst>
                <a:gd name="T0" fmla="*/ 65 w 112"/>
                <a:gd name="T1" fmla="*/ 2 h 111"/>
                <a:gd name="T2" fmla="*/ 59 w 112"/>
                <a:gd name="T3" fmla="*/ 2 h 111"/>
                <a:gd name="T4" fmla="*/ 59 w 112"/>
                <a:gd name="T5" fmla="*/ 8 h 111"/>
                <a:gd name="T6" fmla="*/ 100 w 112"/>
                <a:gd name="T7" fmla="*/ 50 h 111"/>
                <a:gd name="T8" fmla="*/ 100 w 112"/>
                <a:gd name="T9" fmla="*/ 53 h 111"/>
                <a:gd name="T10" fmla="*/ 53 w 112"/>
                <a:gd name="T11" fmla="*/ 101 h 111"/>
                <a:gd name="T12" fmla="*/ 50 w 112"/>
                <a:gd name="T13" fmla="*/ 101 h 111"/>
                <a:gd name="T14" fmla="*/ 34 w 112"/>
                <a:gd name="T15" fmla="*/ 85 h 111"/>
                <a:gd name="T16" fmla="*/ 64 w 112"/>
                <a:gd name="T17" fmla="*/ 55 h 111"/>
                <a:gd name="T18" fmla="*/ 64 w 112"/>
                <a:gd name="T19" fmla="*/ 49 h 111"/>
                <a:gd name="T20" fmla="*/ 58 w 112"/>
                <a:gd name="T21" fmla="*/ 49 h 111"/>
                <a:gd name="T22" fmla="*/ 28 w 112"/>
                <a:gd name="T23" fmla="*/ 79 h 111"/>
                <a:gd name="T24" fmla="*/ 15 w 112"/>
                <a:gd name="T25" fmla="*/ 65 h 111"/>
                <a:gd name="T26" fmla="*/ 29 w 112"/>
                <a:gd name="T27" fmla="*/ 51 h 111"/>
                <a:gd name="T28" fmla="*/ 29 w 112"/>
                <a:gd name="T29" fmla="*/ 45 h 111"/>
                <a:gd name="T30" fmla="*/ 22 w 112"/>
                <a:gd name="T31" fmla="*/ 45 h 111"/>
                <a:gd name="T32" fmla="*/ 8 w 112"/>
                <a:gd name="T33" fmla="*/ 59 h 111"/>
                <a:gd name="T34" fmla="*/ 8 w 112"/>
                <a:gd name="T35" fmla="*/ 59 h 111"/>
                <a:gd name="T36" fmla="*/ 2 w 112"/>
                <a:gd name="T37" fmla="*/ 60 h 111"/>
                <a:gd name="T38" fmla="*/ 2 w 112"/>
                <a:gd name="T39" fmla="*/ 66 h 111"/>
                <a:gd name="T40" fmla="*/ 26 w 112"/>
                <a:gd name="T41" fmla="*/ 90 h 111"/>
                <a:gd name="T42" fmla="*/ 26 w 112"/>
                <a:gd name="T43" fmla="*/ 90 h 111"/>
                <a:gd name="T44" fmla="*/ 43 w 112"/>
                <a:gd name="T45" fmla="*/ 107 h 111"/>
                <a:gd name="T46" fmla="*/ 51 w 112"/>
                <a:gd name="T47" fmla="*/ 111 h 111"/>
                <a:gd name="T48" fmla="*/ 60 w 112"/>
                <a:gd name="T49" fmla="*/ 107 h 111"/>
                <a:gd name="T50" fmla="*/ 107 w 112"/>
                <a:gd name="T51" fmla="*/ 60 h 111"/>
                <a:gd name="T52" fmla="*/ 107 w 112"/>
                <a:gd name="T53" fmla="*/ 43 h 111"/>
                <a:gd name="T54" fmla="*/ 65 w 112"/>
                <a:gd name="T55" fmla="*/ 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2" h="111">
                  <a:moveTo>
                    <a:pt x="65" y="2"/>
                  </a:moveTo>
                  <a:cubicBezTo>
                    <a:pt x="64" y="0"/>
                    <a:pt x="61" y="0"/>
                    <a:pt x="59" y="2"/>
                  </a:cubicBezTo>
                  <a:cubicBezTo>
                    <a:pt x="57" y="4"/>
                    <a:pt x="57" y="7"/>
                    <a:pt x="59" y="8"/>
                  </a:cubicBezTo>
                  <a:cubicBezTo>
                    <a:pt x="100" y="50"/>
                    <a:pt x="100" y="50"/>
                    <a:pt x="100" y="50"/>
                  </a:cubicBezTo>
                  <a:cubicBezTo>
                    <a:pt x="101" y="51"/>
                    <a:pt x="101" y="52"/>
                    <a:pt x="100" y="53"/>
                  </a:cubicBezTo>
                  <a:cubicBezTo>
                    <a:pt x="53" y="101"/>
                    <a:pt x="53" y="101"/>
                    <a:pt x="53" y="101"/>
                  </a:cubicBezTo>
                  <a:cubicBezTo>
                    <a:pt x="52" y="102"/>
                    <a:pt x="51" y="102"/>
                    <a:pt x="50" y="101"/>
                  </a:cubicBezTo>
                  <a:cubicBezTo>
                    <a:pt x="34" y="85"/>
                    <a:pt x="34" y="85"/>
                    <a:pt x="34" y="85"/>
                  </a:cubicBezTo>
                  <a:cubicBezTo>
                    <a:pt x="64" y="55"/>
                    <a:pt x="64" y="55"/>
                    <a:pt x="64" y="55"/>
                  </a:cubicBezTo>
                  <a:cubicBezTo>
                    <a:pt x="66" y="54"/>
                    <a:pt x="66" y="51"/>
                    <a:pt x="64" y="49"/>
                  </a:cubicBezTo>
                  <a:cubicBezTo>
                    <a:pt x="62" y="47"/>
                    <a:pt x="59" y="47"/>
                    <a:pt x="58" y="49"/>
                  </a:cubicBezTo>
                  <a:cubicBezTo>
                    <a:pt x="28" y="79"/>
                    <a:pt x="28" y="79"/>
                    <a:pt x="28" y="79"/>
                  </a:cubicBezTo>
                  <a:cubicBezTo>
                    <a:pt x="15" y="65"/>
                    <a:pt x="15" y="65"/>
                    <a:pt x="15" y="65"/>
                  </a:cubicBezTo>
                  <a:cubicBezTo>
                    <a:pt x="29" y="51"/>
                    <a:pt x="29" y="51"/>
                    <a:pt x="29" y="51"/>
                  </a:cubicBezTo>
                  <a:cubicBezTo>
                    <a:pt x="30" y="50"/>
                    <a:pt x="30" y="47"/>
                    <a:pt x="29" y="45"/>
                  </a:cubicBezTo>
                  <a:cubicBezTo>
                    <a:pt x="27" y="43"/>
                    <a:pt x="24" y="43"/>
                    <a:pt x="22" y="45"/>
                  </a:cubicBezTo>
                  <a:cubicBezTo>
                    <a:pt x="8" y="59"/>
                    <a:pt x="8" y="59"/>
                    <a:pt x="8" y="59"/>
                  </a:cubicBezTo>
                  <a:cubicBezTo>
                    <a:pt x="8" y="59"/>
                    <a:pt x="8" y="59"/>
                    <a:pt x="8" y="59"/>
                  </a:cubicBezTo>
                  <a:cubicBezTo>
                    <a:pt x="6" y="58"/>
                    <a:pt x="4" y="58"/>
                    <a:pt x="2" y="60"/>
                  </a:cubicBezTo>
                  <a:cubicBezTo>
                    <a:pt x="0" y="61"/>
                    <a:pt x="0" y="64"/>
                    <a:pt x="2" y="66"/>
                  </a:cubicBezTo>
                  <a:cubicBezTo>
                    <a:pt x="26" y="90"/>
                    <a:pt x="26" y="90"/>
                    <a:pt x="26" y="90"/>
                  </a:cubicBezTo>
                  <a:cubicBezTo>
                    <a:pt x="26" y="90"/>
                    <a:pt x="26" y="90"/>
                    <a:pt x="26" y="90"/>
                  </a:cubicBezTo>
                  <a:cubicBezTo>
                    <a:pt x="43" y="107"/>
                    <a:pt x="43" y="107"/>
                    <a:pt x="43" y="107"/>
                  </a:cubicBezTo>
                  <a:cubicBezTo>
                    <a:pt x="45" y="109"/>
                    <a:pt x="48" y="111"/>
                    <a:pt x="51" y="111"/>
                  </a:cubicBezTo>
                  <a:cubicBezTo>
                    <a:pt x="54" y="111"/>
                    <a:pt x="57" y="109"/>
                    <a:pt x="60" y="107"/>
                  </a:cubicBezTo>
                  <a:cubicBezTo>
                    <a:pt x="107" y="60"/>
                    <a:pt x="107" y="60"/>
                    <a:pt x="107" y="60"/>
                  </a:cubicBezTo>
                  <a:cubicBezTo>
                    <a:pt x="112" y="55"/>
                    <a:pt x="112" y="48"/>
                    <a:pt x="107" y="43"/>
                  </a:cubicBezTo>
                  <a:lnTo>
                    <a:pt x="65"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a typeface="+mn-ea"/>
                <a:cs typeface="+mn-cs"/>
              </a:endParaRPr>
            </a:p>
          </p:txBody>
        </p:sp>
      </p:grpSp>
      <p:grpSp>
        <p:nvGrpSpPr>
          <p:cNvPr id="23" name="Group 22">
            <a:extLst>
              <a:ext uri="{FF2B5EF4-FFF2-40B4-BE49-F238E27FC236}">
                <a16:creationId xmlns:a16="http://schemas.microsoft.com/office/drawing/2014/main" id="{BB1E974D-C9DB-4E26-81E9-3CF0236EB882}"/>
              </a:ext>
            </a:extLst>
          </p:cNvPr>
          <p:cNvGrpSpPr/>
          <p:nvPr/>
        </p:nvGrpSpPr>
        <p:grpSpPr>
          <a:xfrm>
            <a:off x="3532997" y="5454101"/>
            <a:ext cx="617307" cy="835867"/>
            <a:chOff x="3465881" y="4791853"/>
            <a:chExt cx="617307" cy="835867"/>
          </a:xfrm>
        </p:grpSpPr>
        <p:pic>
          <p:nvPicPr>
            <p:cNvPr id="24" name="Picture 23">
              <a:extLst>
                <a:ext uri="{FF2B5EF4-FFF2-40B4-BE49-F238E27FC236}">
                  <a16:creationId xmlns:a16="http://schemas.microsoft.com/office/drawing/2014/main" id="{CAFA258A-E822-4B9B-831D-A19E63613A79}"/>
                </a:ext>
              </a:extLst>
            </p:cNvPr>
            <p:cNvPicPr>
              <a:picLocks noChangeAspect="1"/>
            </p:cNvPicPr>
            <p:nvPr/>
          </p:nvPicPr>
          <p:blipFill rotWithShape="1">
            <a:blip r:embed="rId7">
              <a:extLst>
                <a:ext uri="{28A0092B-C50C-407E-A947-70E740481C1C}">
                  <a14:useLocalDpi xmlns:a14="http://schemas.microsoft.com/office/drawing/2010/main" val="0"/>
                </a:ext>
              </a:extLst>
            </a:blip>
            <a:srcRect b="19202"/>
            <a:stretch/>
          </p:blipFill>
          <p:spPr>
            <a:xfrm>
              <a:off x="3619852" y="4791853"/>
              <a:ext cx="463336" cy="694547"/>
            </a:xfrm>
            <a:prstGeom prst="rect">
              <a:avLst/>
            </a:prstGeom>
          </p:spPr>
        </p:pic>
        <p:sp>
          <p:nvSpPr>
            <p:cNvPr id="25" name="Rectangle 24">
              <a:extLst>
                <a:ext uri="{FF2B5EF4-FFF2-40B4-BE49-F238E27FC236}">
                  <a16:creationId xmlns:a16="http://schemas.microsoft.com/office/drawing/2014/main" id="{1E374462-8CC4-4099-8367-8F95C85AA06A}"/>
                </a:ext>
              </a:extLst>
            </p:cNvPr>
            <p:cNvSpPr/>
            <p:nvPr/>
          </p:nvSpPr>
          <p:spPr>
            <a:xfrm>
              <a:off x="3465881" y="5412276"/>
              <a:ext cx="453281" cy="215444"/>
            </a:xfrm>
            <a:prstGeom prst="rect">
              <a:avLst/>
            </a:prstGeom>
          </p:spPr>
          <p:txBody>
            <a:bodyPr wrap="square" lIns="0" rIns="0">
              <a:spAutoFit/>
            </a:bodyPr>
            <a:lstStyle/>
            <a:p>
              <a:pPr marL="0" marR="0" lvl="1" indent="0" algn="ctr" defTabSz="1120466" rtl="0" eaLnBrk="1" fontAlgn="auto" latinLnBrk="0" hangingPunct="1">
                <a:lnSpc>
                  <a:spcPct val="100000"/>
                </a:lnSpc>
                <a:spcBef>
                  <a:spcPts val="0"/>
                </a:spcBef>
                <a:spcAft>
                  <a:spcPts val="330"/>
                </a:spcAft>
                <a:buClr>
                  <a:srgbClr val="FFFFFF"/>
                </a:buClr>
                <a:buSzPct val="75000"/>
                <a:buFontTx/>
                <a:buNone/>
                <a:tabLst>
                  <a:tab pos="7011214" algn="l"/>
                </a:tabLst>
                <a:defRPr/>
              </a:pPr>
              <a:r>
                <a:rPr kumimoji="0" lang="en-US" sz="800" b="1" i="0" u="none" strike="noStrike" kern="1200" cap="none" spc="0" normalizeH="0" baseline="0" noProof="0" dirty="0">
                  <a:ln>
                    <a:noFill/>
                  </a:ln>
                  <a:solidFill>
                    <a:srgbClr val="38E2B2"/>
                  </a:solidFill>
                  <a:effectLst/>
                  <a:uLnTx/>
                  <a:uFillTx/>
                  <a:ea typeface="Open Sans" panose="020B0606030504020204" pitchFamily="34" charset="0"/>
                  <a:cs typeface="Open Sans" panose="020B0606030504020204" pitchFamily="34" charset="0"/>
                </a:rPr>
                <a:t>PC</a:t>
              </a:r>
            </a:p>
          </p:txBody>
        </p:sp>
      </p:grpSp>
      <p:graphicFrame>
        <p:nvGraphicFramePr>
          <p:cNvPr id="26" name="Table 25">
            <a:extLst>
              <a:ext uri="{FF2B5EF4-FFF2-40B4-BE49-F238E27FC236}">
                <a16:creationId xmlns:a16="http://schemas.microsoft.com/office/drawing/2014/main" id="{97081A3B-2D06-4AC3-9505-EA29D0D277F3}"/>
              </a:ext>
            </a:extLst>
          </p:cNvPr>
          <p:cNvGraphicFramePr>
            <a:graphicFrameLocks noGrp="1"/>
          </p:cNvGraphicFramePr>
          <p:nvPr/>
        </p:nvGraphicFramePr>
        <p:xfrm>
          <a:off x="631426" y="1709928"/>
          <a:ext cx="4310683" cy="365760"/>
        </p:xfrm>
        <a:graphic>
          <a:graphicData uri="http://schemas.openxmlformats.org/drawingml/2006/table">
            <a:tbl>
              <a:tblPr firstRow="1" bandRow="1">
                <a:tableStyleId>{5C22544A-7EE6-4342-B048-85BDC9FD1C3A}</a:tableStyleId>
              </a:tblPr>
              <a:tblGrid>
                <a:gridCol w="4310683">
                  <a:extLst>
                    <a:ext uri="{9D8B030D-6E8A-4147-A177-3AD203B41FA5}">
                      <a16:colId xmlns:a16="http://schemas.microsoft.com/office/drawing/2014/main" val="1320249938"/>
                    </a:ext>
                  </a:extLst>
                </a:gridCol>
              </a:tblGrid>
              <a:tr h="303493">
                <a:tc>
                  <a:txBody>
                    <a:bodyPr/>
                    <a:lstStyle/>
                    <a:p>
                      <a:pPr marL="287338" lvl="1" indent="0" algn="l"/>
                      <a:r>
                        <a:rPr lang="en-US" sz="1800" cap="small" baseline="0" dirty="0">
                          <a:solidFill>
                            <a:schemeClr val="tx1"/>
                          </a:solidFill>
                        </a:rPr>
                        <a:t>1.0 Design</a:t>
                      </a:r>
                      <a:endParaRPr lang="en-US" sz="1800" b="0" cap="small" baseline="0" dirty="0">
                        <a:solidFill>
                          <a:schemeClr val="tx1"/>
                        </a:solidFill>
                      </a:endParaRPr>
                    </a:p>
                  </a:txBody>
                  <a:tcPr marL="75570" marR="18090">
                    <a:lnL w="12700" cmpd="sng">
                      <a:noFill/>
                    </a:lnL>
                    <a:lnR w="12700" cmpd="sng">
                      <a:noFill/>
                    </a:lnR>
                    <a:lnT w="28575" cap="flat" cmpd="sng" algn="ctr">
                      <a:noFill/>
                      <a:prstDash val="solid"/>
                      <a:round/>
                      <a:headEnd type="none" w="med" len="med"/>
                      <a:tailEnd type="none" w="med" len="med"/>
                    </a:lnT>
                    <a:lnB w="571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2733259"/>
                  </a:ext>
                </a:extLst>
              </a:tr>
            </a:tbl>
          </a:graphicData>
        </a:graphic>
      </p:graphicFrame>
      <p:graphicFrame>
        <p:nvGraphicFramePr>
          <p:cNvPr id="27" name="Table 26">
            <a:extLst>
              <a:ext uri="{FF2B5EF4-FFF2-40B4-BE49-F238E27FC236}">
                <a16:creationId xmlns:a16="http://schemas.microsoft.com/office/drawing/2014/main" id="{8950D874-B400-45AA-8798-70AF536A4E4D}"/>
              </a:ext>
            </a:extLst>
          </p:cNvPr>
          <p:cNvGraphicFramePr>
            <a:graphicFrameLocks noGrp="1"/>
          </p:cNvGraphicFramePr>
          <p:nvPr/>
        </p:nvGraphicFramePr>
        <p:xfrm>
          <a:off x="631426" y="2158969"/>
          <a:ext cx="4281047" cy="2226272"/>
        </p:xfrm>
        <a:graphic>
          <a:graphicData uri="http://schemas.openxmlformats.org/drawingml/2006/table">
            <a:tbl>
              <a:tblPr firstRow="1" bandRow="1">
                <a:tableStyleId>{2D5ABB26-0587-4C30-8999-92F81FD0307C}</a:tableStyleId>
              </a:tblPr>
              <a:tblGrid>
                <a:gridCol w="214084">
                  <a:extLst>
                    <a:ext uri="{9D8B030D-6E8A-4147-A177-3AD203B41FA5}">
                      <a16:colId xmlns:a16="http://schemas.microsoft.com/office/drawing/2014/main" val="3132161375"/>
                    </a:ext>
                  </a:extLst>
                </a:gridCol>
                <a:gridCol w="572274">
                  <a:extLst>
                    <a:ext uri="{9D8B030D-6E8A-4147-A177-3AD203B41FA5}">
                      <a16:colId xmlns:a16="http://schemas.microsoft.com/office/drawing/2014/main" val="620098177"/>
                    </a:ext>
                  </a:extLst>
                </a:gridCol>
                <a:gridCol w="3494689">
                  <a:extLst>
                    <a:ext uri="{9D8B030D-6E8A-4147-A177-3AD203B41FA5}">
                      <a16:colId xmlns:a16="http://schemas.microsoft.com/office/drawing/2014/main" val="3225817365"/>
                    </a:ext>
                  </a:extLst>
                </a:gridCol>
              </a:tblGrid>
              <a:tr h="169416">
                <a:tc gridSpan="3">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900" u="none" strike="noStrike" kern="1200" cap="none" spc="0" normalizeH="0" baseline="0" noProof="0" dirty="0">
                          <a:ln>
                            <a:noFill/>
                          </a:ln>
                          <a:solidFill>
                            <a:schemeClr val="tx1"/>
                          </a:solidFill>
                          <a:effectLst/>
                          <a:uLnTx/>
                          <a:uFillTx/>
                        </a:rPr>
                        <a:t>38/50 Designs completed to date (+2 since 11/19)</a:t>
                      </a:r>
                      <a:endParaRPr kumimoji="0" lang="en-US" sz="800" b="0" i="1" u="none" strike="noStrike" kern="1200" cap="none" spc="0" normalizeH="0" baseline="0" noProof="0" dirty="0">
                        <a:ln>
                          <a:noFill/>
                        </a:ln>
                        <a:solidFill>
                          <a:schemeClr val="tx1"/>
                        </a:solidFill>
                        <a:effectLst/>
                        <a:uLnTx/>
                        <a:uFillTx/>
                        <a:latin typeface="Open Sans (Body)"/>
                        <a:ea typeface="+mn-ea"/>
                        <a:cs typeface="+mn-cs"/>
                      </a:endParaRPr>
                    </a:p>
                  </a:txBody>
                  <a:tcPr marL="182880" marR="6350" marT="0" marB="0" anchor="b"/>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964457712"/>
                  </a:ext>
                </a:extLst>
              </a:tr>
              <a:tr h="301185">
                <a:tc gridSpan="3">
                  <a:txBody>
                    <a:bodyPr/>
                    <a:lstStyle/>
                    <a:p>
                      <a:pPr algn="l" rtl="0" fontAlgn="ctr">
                        <a:spcBef>
                          <a:spcPts val="0"/>
                        </a:spcBef>
                        <a:spcAft>
                          <a:spcPts val="0"/>
                        </a:spcAft>
                      </a:pPr>
                      <a:r>
                        <a:rPr lang="en-US" sz="1000" b="1" i="1" u="none" strike="noStrike" dirty="0">
                          <a:solidFill>
                            <a:schemeClr val="tx1"/>
                          </a:solidFill>
                          <a:effectLst/>
                        </a:rPr>
                        <a:t>11 Designs in Progress</a:t>
                      </a:r>
                      <a:endParaRPr lang="en-US" sz="800" b="1" i="1" u="none" strike="noStrike" dirty="0">
                        <a:solidFill>
                          <a:schemeClr val="tx1"/>
                        </a:solidFill>
                        <a:effectLst/>
                        <a:latin typeface="Open Sans (Body)"/>
                      </a:endParaRPr>
                    </a:p>
                  </a:txBody>
                  <a:tcPr marL="6350" marR="6350" marT="91440" marB="0" anchor="ctr"/>
                </a:tc>
                <a:tc hMerge="1">
                  <a:txBody>
                    <a:bodyPr/>
                    <a:lstStyle/>
                    <a:p>
                      <a:pPr algn="l" rtl="0" fontAlgn="ctr"/>
                      <a:endParaRPr lang="en-US" sz="800" b="1" i="1" u="none" strike="noStrike" dirty="0">
                        <a:solidFill>
                          <a:schemeClr val="tx1"/>
                        </a:solidFill>
                        <a:effectLst/>
                        <a:latin typeface="+mn-lt"/>
                      </a:endParaRPr>
                    </a:p>
                  </a:txBody>
                  <a:tcPr marL="6350" marR="6350" marT="0" marB="0">
                    <a:lnL>
                      <a:noFill/>
                    </a:lnL>
                    <a:lnR>
                      <a:noFill/>
                    </a:lnR>
                    <a:lnT>
                      <a:noFill/>
                    </a:lnT>
                    <a:lnB>
                      <a:noFill/>
                    </a:lnB>
                    <a:lnTlToBr w="12700" cmpd="sng">
                      <a:noFill/>
                      <a:prstDash val="solid"/>
                    </a:lnTlToBr>
                    <a:lnBlToTr w="12700" cmpd="sng">
                      <a:noFill/>
                      <a:prstDash val="solid"/>
                    </a:lnBlToTr>
                  </a:tcPr>
                </a:tc>
                <a:tc hMerge="1">
                  <a:txBody>
                    <a:bodyPr/>
                    <a:lstStyle/>
                    <a:p>
                      <a:pPr marL="171450" marR="0" lvl="0" indent="-171450" algn="l" defTabSz="914400" rtl="0" eaLnBrk="1" fontAlgn="b" latinLnBrk="0" hangingPunct="1">
                        <a:lnSpc>
                          <a:spcPct val="100000"/>
                        </a:lnSpc>
                        <a:spcBef>
                          <a:spcPts val="0"/>
                        </a:spcBef>
                        <a:spcAft>
                          <a:spcPts val="0"/>
                        </a:spcAft>
                        <a:buClrTx/>
                        <a:buSzPct val="75000"/>
                        <a:buFont typeface="Wingdings" panose="05000000000000000000" pitchFamily="2" charset="2"/>
                        <a:buChar char="§"/>
                        <a:tabLst/>
                        <a:defRPr/>
                      </a:pPr>
                      <a:endParaRPr lang="en-US" sz="800" b="0" i="0" u="none" strike="noStrike" dirty="0">
                        <a:solidFill>
                          <a:schemeClr val="tx1"/>
                        </a:solidFill>
                        <a:effectLst/>
                        <a:latin typeface="+mn-lt"/>
                      </a:endParaRPr>
                    </a:p>
                  </a:txBody>
                  <a:tcPr marL="0" marR="0" marT="0">
                    <a:lnL>
                      <a:noFill/>
                    </a:lnL>
                    <a:lnR>
                      <a:noFill/>
                    </a:lnR>
                    <a:lnT>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78654962"/>
                  </a:ext>
                </a:extLst>
              </a:tr>
              <a:tr h="195771">
                <a:tc rowSpan="3">
                  <a:txBody>
                    <a:bodyPr/>
                    <a:lstStyle/>
                    <a:p>
                      <a:endParaRPr lang="en-US" dirty="0"/>
                    </a:p>
                  </a:txBody>
                  <a:tcPr/>
                </a:tc>
                <a:tc rowSpan="3">
                  <a:txBody>
                    <a:bodyPr/>
                    <a:lstStyle/>
                    <a:p>
                      <a:pPr algn="ctr"/>
                      <a:r>
                        <a:rPr lang="en-US" sz="800" b="1" u="none" strike="noStrike" kern="1200" dirty="0">
                          <a:solidFill>
                            <a:srgbClr val="85F100"/>
                          </a:solidFill>
                          <a:effectLst/>
                          <a:latin typeface="+mn-lt"/>
                          <a:ea typeface="+mn-ea"/>
                          <a:cs typeface="+mn-cs"/>
                        </a:rPr>
                        <a:t>RCA</a:t>
                      </a:r>
                    </a:p>
                  </a:txBody>
                  <a:tcPr/>
                </a:tc>
                <a:tc>
                  <a:txBody>
                    <a:bodyPr/>
                    <a:lstStyle/>
                    <a:p>
                      <a:pPr marL="171450" lvl="1" indent="-171450">
                        <a:spcBef>
                          <a:spcPts val="0"/>
                        </a:spcBef>
                        <a:spcAft>
                          <a:spcPts val="0"/>
                        </a:spcAft>
                        <a:buSzPct val="75000"/>
                        <a:buFont typeface="Wingdings" panose="05000000000000000000" pitchFamily="2" charset="2"/>
                        <a:buChar char="§"/>
                      </a:pPr>
                      <a:r>
                        <a:rPr lang="en-US" sz="800" b="0" u="none" strike="noStrike" kern="1200" dirty="0">
                          <a:solidFill>
                            <a:schemeClr val="tx1"/>
                          </a:solidFill>
                          <a:effectLst/>
                        </a:rPr>
                        <a:t>Adverse Action Accountability</a:t>
                      </a:r>
                      <a:endParaRPr lang="en-US" sz="800" b="0" i="0" u="none" strike="noStrike" kern="1200" dirty="0">
                        <a:solidFill>
                          <a:schemeClr val="tx1"/>
                        </a:solidFill>
                        <a:effectLst/>
                        <a:latin typeface="Open Sans (Body)"/>
                        <a:ea typeface="+mn-ea"/>
                        <a:cs typeface="+mn-cs"/>
                      </a:endParaRPr>
                    </a:p>
                  </a:txBody>
                  <a:tcPr marL="18288" marR="0" marT="18288" marB="18288"/>
                </a:tc>
                <a:extLst>
                  <a:ext uri="{0D108BD9-81ED-4DB2-BD59-A6C34878D82A}">
                    <a16:rowId xmlns:a16="http://schemas.microsoft.com/office/drawing/2014/main" val="3691479417"/>
                  </a:ext>
                </a:extLst>
              </a:tr>
              <a:tr h="195771">
                <a:tc vMerge="1">
                  <a:txBody>
                    <a:bodyPr/>
                    <a:lstStyle/>
                    <a:p>
                      <a:endParaRPr lang="en-US"/>
                    </a:p>
                  </a:txBody>
                  <a:tcPr/>
                </a:tc>
                <a:tc vMerge="1">
                  <a:txBody>
                    <a:bodyPr/>
                    <a:lstStyle/>
                    <a:p>
                      <a:endParaRPr lang="en-US"/>
                    </a:p>
                  </a:txBody>
                  <a:tcPr/>
                </a:tc>
                <a:tc>
                  <a:txBody>
                    <a:bodyPr/>
                    <a:lstStyle/>
                    <a:p>
                      <a:pPr marL="171450" lvl="1" indent="-171450">
                        <a:spcBef>
                          <a:spcPts val="0"/>
                        </a:spcBef>
                        <a:spcAft>
                          <a:spcPts val="0"/>
                        </a:spcAft>
                        <a:buSzPct val="75000"/>
                        <a:buFont typeface="Wingdings" panose="05000000000000000000" pitchFamily="2" charset="2"/>
                        <a:buChar char="§"/>
                      </a:pPr>
                      <a:r>
                        <a:rPr lang="en-US" sz="800" b="0" u="none" strike="noStrike" kern="1200" dirty="0">
                          <a:solidFill>
                            <a:schemeClr val="tx1"/>
                          </a:solidFill>
                          <a:effectLst/>
                        </a:rPr>
                        <a:t>Relationship Manager Level</a:t>
                      </a:r>
                      <a:endParaRPr lang="en-US" sz="800" b="0" i="0" u="none" strike="noStrike" kern="1200" dirty="0">
                        <a:solidFill>
                          <a:schemeClr val="tx1"/>
                        </a:solidFill>
                        <a:effectLst/>
                        <a:latin typeface="Open Sans (Body)"/>
                        <a:ea typeface="+mn-ea"/>
                        <a:cs typeface="+mn-cs"/>
                      </a:endParaRPr>
                    </a:p>
                  </a:txBody>
                  <a:tcPr marL="18288" marR="0" marT="18288" marB="18288"/>
                </a:tc>
                <a:extLst>
                  <a:ext uri="{0D108BD9-81ED-4DB2-BD59-A6C34878D82A}">
                    <a16:rowId xmlns:a16="http://schemas.microsoft.com/office/drawing/2014/main" val="715790349"/>
                  </a:ext>
                </a:extLst>
              </a:tr>
              <a:tr h="195771">
                <a:tc vMerge="1">
                  <a:txBody>
                    <a:bodyPr/>
                    <a:lstStyle/>
                    <a:p>
                      <a:endParaRPr lang="en-US"/>
                    </a:p>
                  </a:txBody>
                  <a:tcPr/>
                </a:tc>
                <a:tc vMerge="1">
                  <a:txBody>
                    <a:bodyPr/>
                    <a:lstStyle/>
                    <a:p>
                      <a:endParaRPr lang="en-US"/>
                    </a:p>
                  </a:txBody>
                  <a:tcPr/>
                </a:tc>
                <a:tc>
                  <a:txBody>
                    <a:bodyPr/>
                    <a:lstStyle/>
                    <a:p>
                      <a:pPr marL="171450" marR="0" lvl="1" indent="-171450" algn="l" defTabSz="914400" rtl="0" eaLnBrk="1" fontAlgn="auto" latinLnBrk="0" hangingPunct="1">
                        <a:lnSpc>
                          <a:spcPct val="100000"/>
                        </a:lnSpc>
                        <a:spcBef>
                          <a:spcPts val="0"/>
                        </a:spcBef>
                        <a:spcAft>
                          <a:spcPts val="0"/>
                        </a:spcAft>
                        <a:buClrTx/>
                        <a:buSzPct val="75000"/>
                        <a:buFont typeface="Wingdings" panose="05000000000000000000" pitchFamily="2" charset="2"/>
                        <a:buChar char="§"/>
                        <a:tabLst/>
                        <a:defRPr/>
                      </a:pPr>
                      <a:r>
                        <a:rPr lang="en-US" sz="800" b="0" u="none" strike="noStrike" kern="1200" dirty="0">
                          <a:solidFill>
                            <a:schemeClr val="tx1"/>
                          </a:solidFill>
                          <a:effectLst/>
                        </a:rPr>
                        <a:t>Market Research Team </a:t>
                      </a:r>
                      <a:endParaRPr lang="en-US" sz="800" b="0" i="0" u="none" strike="noStrike" kern="1200" dirty="0">
                        <a:solidFill>
                          <a:schemeClr val="tx1"/>
                        </a:solidFill>
                        <a:effectLst/>
                        <a:latin typeface="Open Sans (Body)"/>
                        <a:ea typeface="+mn-ea"/>
                        <a:cs typeface="+mn-cs"/>
                      </a:endParaRPr>
                    </a:p>
                  </a:txBody>
                  <a:tcPr marL="18288" marR="0" marT="18288" marB="18288"/>
                </a:tc>
                <a:extLst>
                  <a:ext uri="{0D108BD9-81ED-4DB2-BD59-A6C34878D82A}">
                    <a16:rowId xmlns:a16="http://schemas.microsoft.com/office/drawing/2014/main" val="59398939"/>
                  </a:ext>
                </a:extLst>
              </a:tr>
              <a:tr h="189503">
                <a:tc>
                  <a:txBody>
                    <a:bodyPr/>
                    <a:lstStyle/>
                    <a:p>
                      <a:pPr algn="ctr" rtl="0" fontAlgn="ctr"/>
                      <a:endParaRPr lang="en-US" sz="800" b="0" i="0" u="none" strike="noStrike" dirty="0">
                        <a:solidFill>
                          <a:schemeClr val="bg1"/>
                        </a:solidFill>
                        <a:effectLst/>
                        <a:latin typeface="Open Sans (Body)"/>
                      </a:endParaRPr>
                    </a:p>
                  </a:txBody>
                  <a:tcPr marL="6350" marR="6350" marT="0" marB="0"/>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800" b="1" u="none" strike="noStrike" dirty="0">
                          <a:solidFill>
                            <a:srgbClr val="3EF9C3"/>
                          </a:solidFill>
                          <a:effectLst/>
                        </a:rPr>
                        <a:t>PR</a:t>
                      </a:r>
                      <a:endParaRPr lang="en-US" sz="800" b="1" i="0" u="none" strike="noStrike" dirty="0">
                        <a:solidFill>
                          <a:srgbClr val="3EF9C3"/>
                        </a:solidFill>
                        <a:effectLst/>
                        <a:latin typeface="Open Sans (Body)"/>
                      </a:endParaRPr>
                    </a:p>
                  </a:txBody>
                  <a:tcPr marL="18288" marR="0" marT="18288" marB="18288"/>
                </a:tc>
                <a:tc>
                  <a:txBody>
                    <a:bodyPr/>
                    <a:lstStyle/>
                    <a:p>
                      <a:pPr marL="171450" lvl="1" indent="-171450">
                        <a:spcBef>
                          <a:spcPts val="0"/>
                        </a:spcBef>
                        <a:spcAft>
                          <a:spcPts val="0"/>
                        </a:spcAft>
                        <a:buSzPct val="75000"/>
                        <a:buFont typeface="Wingdings" panose="05000000000000000000" pitchFamily="2" charset="2"/>
                        <a:buChar char="§"/>
                      </a:pPr>
                      <a:r>
                        <a:rPr lang="en-US" sz="800" b="0" u="none" strike="noStrike" kern="1200" dirty="0">
                          <a:solidFill>
                            <a:schemeClr val="tx1"/>
                          </a:solidFill>
                          <a:effectLst/>
                        </a:rPr>
                        <a:t>Attorney Fee Reimbursement, shared Opportunity with RCA</a:t>
                      </a:r>
                      <a:endParaRPr lang="en-US" sz="800" b="0" i="0" u="none" strike="noStrike" kern="1200" dirty="0">
                        <a:solidFill>
                          <a:schemeClr val="tx1"/>
                        </a:solidFill>
                        <a:effectLst/>
                        <a:latin typeface="Open Sans (Body)"/>
                        <a:ea typeface="+mn-ea"/>
                        <a:cs typeface="+mn-cs"/>
                      </a:endParaRPr>
                    </a:p>
                  </a:txBody>
                  <a:tcPr marL="18288" marR="0" marT="18288" marB="18288"/>
                </a:tc>
                <a:extLst>
                  <a:ext uri="{0D108BD9-81ED-4DB2-BD59-A6C34878D82A}">
                    <a16:rowId xmlns:a16="http://schemas.microsoft.com/office/drawing/2014/main" val="2806767101"/>
                  </a:ext>
                </a:extLst>
              </a:tr>
              <a:tr h="195771">
                <a:tc>
                  <a:txBody>
                    <a:bodyPr/>
                    <a:lstStyle/>
                    <a:p>
                      <a:pPr algn="ctr" rtl="0" fontAlgn="ctr"/>
                      <a:endParaRPr lang="en-US" sz="800" b="0" i="0" u="none" strike="noStrike" dirty="0">
                        <a:solidFill>
                          <a:schemeClr val="bg1"/>
                        </a:solidFill>
                        <a:effectLst/>
                        <a:latin typeface="Open Sans (Body)"/>
                      </a:endParaRPr>
                    </a:p>
                  </a:txBody>
                  <a:tcPr marL="6350" marR="6350" marT="0" marB="0"/>
                </a:tc>
                <a:tc>
                  <a:txBody>
                    <a:bodyPr/>
                    <a:lstStyle/>
                    <a:p>
                      <a:pPr algn="ctr" rtl="0" fontAlgn="ctr"/>
                      <a:r>
                        <a:rPr lang="en-US" sz="800" b="1" u="none" strike="noStrike" dirty="0">
                          <a:solidFill>
                            <a:srgbClr val="3EF9C3"/>
                          </a:solidFill>
                          <a:effectLst/>
                        </a:rPr>
                        <a:t>PC</a:t>
                      </a:r>
                      <a:endParaRPr lang="en-US" sz="800" b="1" i="0" u="none" strike="noStrike" dirty="0">
                        <a:solidFill>
                          <a:srgbClr val="3EF9C3"/>
                        </a:solidFill>
                        <a:effectLst/>
                        <a:latin typeface="Open Sans (Body)"/>
                      </a:endParaRPr>
                    </a:p>
                  </a:txBody>
                  <a:tcPr marL="18288" marR="0" marT="18288" marB="18288"/>
                </a:tc>
                <a:tc>
                  <a:txBody>
                    <a:bodyPr/>
                    <a:lstStyle/>
                    <a:p>
                      <a:pPr marL="171450" marR="0" lvl="0" indent="-171450" algn="l" defTabSz="914400" rtl="0" eaLnBrk="1" fontAlgn="b" latinLnBrk="0" hangingPunct="1">
                        <a:lnSpc>
                          <a:spcPct val="100000"/>
                        </a:lnSpc>
                        <a:spcBef>
                          <a:spcPts val="0"/>
                        </a:spcBef>
                        <a:spcAft>
                          <a:spcPts val="0"/>
                        </a:spcAft>
                        <a:buClrTx/>
                        <a:buSzPct val="75000"/>
                        <a:buFont typeface="Wingdings" panose="05000000000000000000" pitchFamily="2" charset="2"/>
                        <a:buChar char="§"/>
                        <a:tabLst/>
                        <a:defRPr/>
                      </a:pPr>
                      <a:r>
                        <a:rPr lang="en-US" sz="800" b="0" u="none" strike="noStrike" kern="1200" dirty="0">
                          <a:solidFill>
                            <a:schemeClr val="tx1"/>
                          </a:solidFill>
                          <a:effectLst/>
                        </a:rPr>
                        <a:t>E-Signature</a:t>
                      </a:r>
                      <a:endParaRPr lang="en-US" sz="800" b="0" i="0" u="none" strike="noStrike" kern="1200" dirty="0">
                        <a:solidFill>
                          <a:schemeClr val="tx1"/>
                        </a:solidFill>
                        <a:effectLst/>
                        <a:latin typeface="Open Sans (Body)"/>
                        <a:ea typeface="+mn-ea"/>
                        <a:cs typeface="+mn-cs"/>
                      </a:endParaRPr>
                    </a:p>
                  </a:txBody>
                  <a:tcPr marL="18288" marR="0" marT="18288" marB="18288"/>
                </a:tc>
                <a:extLst>
                  <a:ext uri="{0D108BD9-81ED-4DB2-BD59-A6C34878D82A}">
                    <a16:rowId xmlns:a16="http://schemas.microsoft.com/office/drawing/2014/main" val="1694084882"/>
                  </a:ext>
                </a:extLst>
              </a:tr>
              <a:tr h="195771">
                <a:tc>
                  <a:txBody>
                    <a:bodyPr/>
                    <a:lstStyle/>
                    <a:p>
                      <a:pPr algn="ctr" rtl="0" fontAlgn="ctr"/>
                      <a:endParaRPr lang="en-US" sz="800" b="1" i="0" u="none" strike="noStrike" dirty="0">
                        <a:solidFill>
                          <a:schemeClr val="bg1"/>
                        </a:solidFill>
                        <a:effectLst/>
                        <a:latin typeface="Open Sans (Body)"/>
                      </a:endParaRPr>
                    </a:p>
                  </a:txBody>
                  <a:tcPr marL="6350" marR="6350" marT="0" marB="0"/>
                </a:tc>
                <a:tc>
                  <a:txBody>
                    <a:bodyPr/>
                    <a:lstStyle/>
                    <a:p>
                      <a:pPr algn="ctr" rtl="0" fontAlgn="ctr"/>
                      <a:r>
                        <a:rPr lang="en-US" sz="800" b="1" u="none" strike="noStrike" dirty="0">
                          <a:solidFill>
                            <a:srgbClr val="FBD100"/>
                          </a:solidFill>
                          <a:effectLst/>
                        </a:rPr>
                        <a:t>DS</a:t>
                      </a:r>
                      <a:endParaRPr lang="en-US" sz="800" b="1" i="0" u="none" strike="noStrike" dirty="0">
                        <a:solidFill>
                          <a:srgbClr val="FBD100"/>
                        </a:solidFill>
                        <a:effectLst/>
                        <a:latin typeface="Open Sans (Body)"/>
                      </a:endParaRPr>
                    </a:p>
                  </a:txBody>
                  <a:tcPr marL="18288" marR="0" marT="18288" marB="18288"/>
                </a:tc>
                <a:tc>
                  <a:txBody>
                    <a:bodyPr/>
                    <a:lstStyle/>
                    <a:p>
                      <a:pPr marL="171450" marR="0" lvl="1" indent="-171450" algn="l" defTabSz="914400" rtl="0" eaLnBrk="1" fontAlgn="auto" latinLnBrk="0" hangingPunct="1">
                        <a:lnSpc>
                          <a:spcPct val="100000"/>
                        </a:lnSpc>
                        <a:spcBef>
                          <a:spcPts val="0"/>
                        </a:spcBef>
                        <a:spcAft>
                          <a:spcPts val="0"/>
                        </a:spcAft>
                        <a:buClrTx/>
                        <a:buSzPct val="75000"/>
                        <a:buFont typeface="Wingdings" panose="05000000000000000000" pitchFamily="2" charset="2"/>
                        <a:buChar char="§"/>
                        <a:tabLst/>
                        <a:defRPr/>
                      </a:pPr>
                      <a:r>
                        <a:rPr lang="en-US" sz="800" b="0" dirty="0">
                          <a:solidFill>
                            <a:schemeClr val="tx1"/>
                          </a:solidFill>
                        </a:rPr>
                        <a:t>Closing Checklist; Dynamic Boarding Sheet</a:t>
                      </a:r>
                      <a:endParaRPr lang="en-US" sz="800" b="0" dirty="0">
                        <a:solidFill>
                          <a:schemeClr val="tx1"/>
                        </a:solidFill>
                        <a:latin typeface="Open Sans (Body)"/>
                      </a:endParaRPr>
                    </a:p>
                  </a:txBody>
                  <a:tcPr marL="18288" marR="0" marT="18288" marB="18288"/>
                </a:tc>
                <a:extLst>
                  <a:ext uri="{0D108BD9-81ED-4DB2-BD59-A6C34878D82A}">
                    <a16:rowId xmlns:a16="http://schemas.microsoft.com/office/drawing/2014/main" val="676360749"/>
                  </a:ext>
                </a:extLst>
              </a:tr>
              <a:tr h="195771">
                <a:tc rowSpan="3">
                  <a:txBody>
                    <a:bodyPr/>
                    <a:lstStyle/>
                    <a:p>
                      <a:pPr algn="ctr" rtl="0" fontAlgn="ctr"/>
                      <a:endParaRPr lang="en-US" sz="800" b="0" i="0" u="none" strike="noStrike" dirty="0">
                        <a:solidFill>
                          <a:schemeClr val="bg1"/>
                        </a:solidFill>
                        <a:effectLst/>
                        <a:latin typeface="Open Sans (Body)"/>
                      </a:endParaRPr>
                    </a:p>
                  </a:txBody>
                  <a:tcPr marL="6350" marR="6350" marT="0" marB="0"/>
                </a:tc>
                <a:tc rowSpan="3">
                  <a:txBody>
                    <a:bodyPr/>
                    <a:lstStyle/>
                    <a:p>
                      <a:pPr algn="ctr" rtl="0" fontAlgn="ctr"/>
                      <a:r>
                        <a:rPr lang="en-US" sz="800" b="1" u="none" strike="noStrike" dirty="0">
                          <a:solidFill>
                            <a:srgbClr val="7E7E7E"/>
                          </a:solidFill>
                          <a:effectLst/>
                        </a:rPr>
                        <a:t>TDG</a:t>
                      </a:r>
                      <a:endParaRPr lang="en-US" sz="800" b="1" i="0" u="none" strike="noStrike" dirty="0">
                        <a:solidFill>
                          <a:srgbClr val="7E7E7E"/>
                        </a:solidFill>
                        <a:effectLst/>
                        <a:latin typeface="Open Sans (Body)"/>
                      </a:endParaRPr>
                    </a:p>
                  </a:txBody>
                  <a:tcPr marL="18288" marR="0" marT="18288" marB="18288"/>
                </a:tc>
                <a:tc>
                  <a:txBody>
                    <a:bodyPr/>
                    <a:lstStyle/>
                    <a:p>
                      <a:pPr marL="171450" marR="0" lvl="1" indent="-171450" algn="l" defTabSz="914400" rtl="0" eaLnBrk="1" fontAlgn="auto" latinLnBrk="0" hangingPunct="1">
                        <a:lnSpc>
                          <a:spcPct val="100000"/>
                        </a:lnSpc>
                        <a:spcBef>
                          <a:spcPts val="0"/>
                        </a:spcBef>
                        <a:spcAft>
                          <a:spcPts val="0"/>
                        </a:spcAft>
                        <a:buClrTx/>
                        <a:buSzPct val="75000"/>
                        <a:buFont typeface="Wingdings" panose="05000000000000000000" pitchFamily="2" charset="2"/>
                        <a:buChar char="§"/>
                        <a:tabLst/>
                        <a:defRPr/>
                      </a:pPr>
                      <a:r>
                        <a:rPr lang="en-US" sz="800" b="0" u="none" strike="noStrike" kern="1200" dirty="0">
                          <a:solidFill>
                            <a:schemeClr val="tx1"/>
                          </a:solidFill>
                          <a:effectLst/>
                        </a:rPr>
                        <a:t>LOS Selection; LOS Implementation Resource Model</a:t>
                      </a:r>
                    </a:p>
                  </a:txBody>
                  <a:tcPr marL="18288" marR="0" marT="18288" marB="18288"/>
                </a:tc>
                <a:extLst>
                  <a:ext uri="{0D108BD9-81ED-4DB2-BD59-A6C34878D82A}">
                    <a16:rowId xmlns:a16="http://schemas.microsoft.com/office/drawing/2014/main" val="3603747183"/>
                  </a:ext>
                </a:extLst>
              </a:tr>
              <a:tr h="195771">
                <a:tc vMerge="1">
                  <a:txBody>
                    <a:bodyPr/>
                    <a:lstStyle/>
                    <a:p>
                      <a:endParaRPr lang="en-US"/>
                    </a:p>
                  </a:txBody>
                  <a:tcPr/>
                </a:tc>
                <a:tc vMerge="1">
                  <a:txBody>
                    <a:bodyPr/>
                    <a:lstStyle/>
                    <a:p>
                      <a:endParaRPr lang="en-US"/>
                    </a:p>
                  </a:txBody>
                  <a:tcPr/>
                </a:tc>
                <a:tc>
                  <a:txBody>
                    <a:bodyPr/>
                    <a:lstStyle/>
                    <a:p>
                      <a:pPr marL="171450" marR="0" lvl="1" indent="-171450" algn="l" defTabSz="914400" rtl="0" eaLnBrk="1" fontAlgn="auto" latinLnBrk="0" hangingPunct="1">
                        <a:lnSpc>
                          <a:spcPct val="100000"/>
                        </a:lnSpc>
                        <a:spcBef>
                          <a:spcPts val="0"/>
                        </a:spcBef>
                        <a:spcAft>
                          <a:spcPts val="0"/>
                        </a:spcAft>
                        <a:buClrTx/>
                        <a:buSzPct val="75000"/>
                        <a:buFont typeface="Wingdings" panose="05000000000000000000" pitchFamily="2" charset="2"/>
                        <a:buChar char="§"/>
                        <a:tabLst/>
                        <a:defRPr/>
                      </a:pPr>
                      <a:r>
                        <a:rPr lang="en-US" sz="800" b="0" u="none" strike="noStrike" kern="1200" dirty="0">
                          <a:solidFill>
                            <a:schemeClr val="tx1"/>
                          </a:solidFill>
                          <a:effectLst/>
                        </a:rPr>
                        <a:t>Loan Accounting System Update Decision</a:t>
                      </a:r>
                    </a:p>
                  </a:txBody>
                  <a:tcPr marL="18288" marR="0" marT="18288" marB="18288"/>
                </a:tc>
                <a:extLst>
                  <a:ext uri="{0D108BD9-81ED-4DB2-BD59-A6C34878D82A}">
                    <a16:rowId xmlns:a16="http://schemas.microsoft.com/office/drawing/2014/main" val="2649662117"/>
                  </a:ext>
                </a:extLst>
              </a:tr>
              <a:tr h="195771">
                <a:tc vMerge="1">
                  <a:txBody>
                    <a:bodyPr/>
                    <a:lstStyle/>
                    <a:p>
                      <a:endParaRPr lang="en-US"/>
                    </a:p>
                  </a:txBody>
                  <a:tcPr/>
                </a:tc>
                <a:tc vMerge="1">
                  <a:txBody>
                    <a:bodyPr/>
                    <a:lstStyle/>
                    <a:p>
                      <a:endParaRPr lang="en-US"/>
                    </a:p>
                  </a:txBody>
                  <a:tcPr/>
                </a:tc>
                <a:tc>
                  <a:txBody>
                    <a:bodyPr/>
                    <a:lstStyle/>
                    <a:p>
                      <a:pPr marL="171450" marR="0" lvl="1" indent="-171450" algn="l" defTabSz="914400" rtl="0" eaLnBrk="1" fontAlgn="auto" latinLnBrk="0" hangingPunct="1">
                        <a:lnSpc>
                          <a:spcPct val="100000"/>
                        </a:lnSpc>
                        <a:spcBef>
                          <a:spcPts val="0"/>
                        </a:spcBef>
                        <a:spcAft>
                          <a:spcPts val="0"/>
                        </a:spcAft>
                        <a:buClrTx/>
                        <a:buSzPct val="75000"/>
                        <a:buFont typeface="Wingdings" panose="05000000000000000000" pitchFamily="2" charset="2"/>
                        <a:buChar char="§"/>
                        <a:tabLst/>
                        <a:defRPr/>
                      </a:pPr>
                      <a:r>
                        <a:rPr lang="en-US" sz="800" b="0" u="none" strike="noStrike" kern="1200" dirty="0">
                          <a:solidFill>
                            <a:schemeClr val="tx1"/>
                          </a:solidFill>
                          <a:effectLst/>
                          <a:latin typeface="+mn-lt"/>
                          <a:ea typeface="+mn-ea"/>
                          <a:cs typeface="+mn-cs"/>
                        </a:rPr>
                        <a:t>Data Governance</a:t>
                      </a:r>
                    </a:p>
                  </a:txBody>
                  <a:tcPr marL="18288" marR="0" marT="18288" marB="18288"/>
                </a:tc>
                <a:extLst>
                  <a:ext uri="{0D108BD9-81ED-4DB2-BD59-A6C34878D82A}">
                    <a16:rowId xmlns:a16="http://schemas.microsoft.com/office/drawing/2014/main" val="3662349108"/>
                  </a:ext>
                </a:extLst>
              </a:tr>
            </a:tbl>
          </a:graphicData>
        </a:graphic>
      </p:graphicFrame>
      <p:graphicFrame>
        <p:nvGraphicFramePr>
          <p:cNvPr id="28" name="Table 27">
            <a:extLst>
              <a:ext uri="{FF2B5EF4-FFF2-40B4-BE49-F238E27FC236}">
                <a16:creationId xmlns:a16="http://schemas.microsoft.com/office/drawing/2014/main" id="{4CF21E1C-06B3-47BA-A233-9D229DFB29EF}"/>
              </a:ext>
            </a:extLst>
          </p:cNvPr>
          <p:cNvGraphicFramePr>
            <a:graphicFrameLocks noGrp="1"/>
          </p:cNvGraphicFramePr>
          <p:nvPr/>
        </p:nvGraphicFramePr>
        <p:xfrm>
          <a:off x="5516187" y="4485560"/>
          <a:ext cx="5884355" cy="2103120"/>
        </p:xfrm>
        <a:graphic>
          <a:graphicData uri="http://schemas.openxmlformats.org/drawingml/2006/table">
            <a:tbl>
              <a:tblPr firstRow="1" bandRow="1"/>
              <a:tblGrid>
                <a:gridCol w="284527">
                  <a:extLst>
                    <a:ext uri="{9D8B030D-6E8A-4147-A177-3AD203B41FA5}">
                      <a16:colId xmlns:a16="http://schemas.microsoft.com/office/drawing/2014/main" val="3132161375"/>
                    </a:ext>
                  </a:extLst>
                </a:gridCol>
                <a:gridCol w="365760">
                  <a:extLst>
                    <a:ext uri="{9D8B030D-6E8A-4147-A177-3AD203B41FA5}">
                      <a16:colId xmlns:a16="http://schemas.microsoft.com/office/drawing/2014/main" val="620098177"/>
                    </a:ext>
                  </a:extLst>
                </a:gridCol>
                <a:gridCol w="5234068">
                  <a:extLst>
                    <a:ext uri="{9D8B030D-6E8A-4147-A177-3AD203B41FA5}">
                      <a16:colId xmlns:a16="http://schemas.microsoft.com/office/drawing/2014/main" val="3225817365"/>
                    </a:ext>
                  </a:extLst>
                </a:gridCol>
              </a:tblGrid>
              <a:tr h="254681">
                <a:tc gridSpan="3">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sz="1000" b="1" i="1" u="none" strike="noStrike" kern="1200" cap="none" spc="0" normalizeH="0" baseline="0" noProof="0" dirty="0">
                        <a:ln>
                          <a:noFill/>
                        </a:ln>
                        <a:solidFill>
                          <a:schemeClr val="bg1"/>
                        </a:solidFill>
                        <a:effectLst/>
                        <a:uLnTx/>
                        <a:uFillTx/>
                        <a:latin typeface="+mn-lt"/>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000" b="1" i="1" u="none" strike="noStrike" kern="1200" cap="none" spc="0" normalizeH="0" baseline="0" noProof="0" dirty="0">
                          <a:ln>
                            <a:noFill/>
                          </a:ln>
                          <a:solidFill>
                            <a:schemeClr val="tx1"/>
                          </a:solidFill>
                          <a:effectLst/>
                          <a:uLnTx/>
                          <a:uFillTx/>
                          <a:latin typeface="+mn-lt"/>
                          <a:ea typeface="+mn-ea"/>
                          <a:cs typeface="+mn-cs"/>
                        </a:rPr>
                        <a:t>What has been Deployed?</a:t>
                      </a:r>
                      <a:endParaRPr kumimoji="0" lang="en-US" sz="800" b="1" i="1" u="none" strike="noStrike" kern="1200" cap="none" spc="0" normalizeH="0" baseline="0" noProof="0" dirty="0">
                        <a:ln>
                          <a:noFill/>
                        </a:ln>
                        <a:solidFill>
                          <a:schemeClr val="tx1"/>
                        </a:solidFill>
                        <a:effectLst/>
                        <a:uLnTx/>
                        <a:uFillTx/>
                        <a:latin typeface="+mn-lt"/>
                        <a:ea typeface="+mn-ea"/>
                        <a:cs typeface="+mn-cs"/>
                      </a:endParaRPr>
                    </a:p>
                  </a:txBody>
                  <a:tcPr marL="6350" marR="6350" marT="0" marB="0" anchor="b">
                    <a:lnL>
                      <a:noFill/>
                    </a:lnL>
                    <a:lnR>
                      <a:noFill/>
                    </a:lnR>
                    <a:lnT>
                      <a:noFill/>
                    </a:lnT>
                    <a:lnB w="12700" cap="flat" cmpd="sng" algn="ctr">
                      <a:solidFill>
                        <a:srgbClr val="ACF339"/>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lnL>
                      <a:noFill/>
                    </a:lnL>
                  </a:tcPr>
                </a:tc>
                <a:extLst>
                  <a:ext uri="{0D108BD9-81ED-4DB2-BD59-A6C34878D82A}">
                    <a16:rowId xmlns:a16="http://schemas.microsoft.com/office/drawing/2014/main" val="1874011197"/>
                  </a:ext>
                </a:extLst>
              </a:tr>
              <a:tr h="178276">
                <a:tc>
                  <a:txBody>
                    <a:bodyPr/>
                    <a:lstStyle/>
                    <a:p>
                      <a:pPr algn="l" rtl="0" fontAlgn="ctr"/>
                      <a:endParaRPr lang="en-US" sz="800" b="1" i="1" u="none" strike="noStrike" dirty="0">
                        <a:solidFill>
                          <a:schemeClr val="bg1"/>
                        </a:solidFill>
                        <a:effectLst/>
                        <a:latin typeface="+mn-lt"/>
                      </a:endParaRPr>
                    </a:p>
                  </a:txBody>
                  <a:tcPr marL="6350" marR="6350" marT="0" marB="0">
                    <a:lnL>
                      <a:noFill/>
                    </a:lnL>
                    <a:lnR>
                      <a:noFill/>
                    </a:lnR>
                    <a:lnT w="12700" cap="flat" cmpd="sng" algn="ctr">
                      <a:solidFill>
                        <a:srgbClr val="ACF33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l" rtl="0" fontAlgn="ctr"/>
                      <a:r>
                        <a:rPr lang="en-US" sz="800" b="0" i="1" u="none" strike="noStrike" dirty="0">
                          <a:solidFill>
                            <a:schemeClr val="tx1"/>
                          </a:solidFill>
                          <a:effectLst/>
                          <a:latin typeface="+mn-lt"/>
                        </a:rPr>
                        <a:t>+13 Opportunities deployed in November and December to date</a:t>
                      </a:r>
                    </a:p>
                  </a:txBody>
                  <a:tcPr marL="18288" marR="18288">
                    <a:lnL>
                      <a:noFill/>
                    </a:lnL>
                    <a:lnR>
                      <a:noFill/>
                    </a:lnR>
                    <a:lnT w="12700" cap="flat" cmpd="sng" algn="ctr">
                      <a:solidFill>
                        <a:srgbClr val="ACF33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71450" marR="0" lvl="0" indent="-171450" algn="l" defTabSz="914400" rtl="0" eaLnBrk="1" fontAlgn="b" latinLnBrk="0" hangingPunct="1">
                        <a:lnSpc>
                          <a:spcPct val="100000"/>
                        </a:lnSpc>
                        <a:spcBef>
                          <a:spcPts val="0"/>
                        </a:spcBef>
                        <a:spcAft>
                          <a:spcPts val="0"/>
                        </a:spcAft>
                        <a:buClrTx/>
                        <a:buSzPct val="75000"/>
                        <a:buFont typeface="Wingdings" panose="05000000000000000000" pitchFamily="2" charset="2"/>
                        <a:buChar char="§"/>
                        <a:tabLst/>
                        <a:defRPr/>
                      </a:pPr>
                      <a:endParaRPr lang="en-US" sz="800" b="0" i="0" u="none" strike="noStrike" dirty="0">
                        <a:solidFill>
                          <a:schemeClr val="bg1"/>
                        </a:solidFill>
                        <a:effectLst/>
                        <a:latin typeface="+mn-lt"/>
                      </a:endParaRPr>
                    </a:p>
                  </a:txBody>
                  <a:tcPr marL="18288" marR="18288">
                    <a:lnL>
                      <a:noFill/>
                    </a:lnL>
                    <a:lnR>
                      <a:noFill/>
                    </a:lnR>
                    <a:lnT w="12700" cap="flat" cmpd="sng" algn="ctr">
                      <a:solidFill>
                        <a:srgbClr val="ACF339"/>
                      </a:solidFill>
                      <a:prstDash val="solid"/>
                      <a:round/>
                      <a:headEnd type="none" w="med" len="med"/>
                      <a:tailEnd type="none" w="med" len="med"/>
                    </a:lnT>
                    <a:lnB w="12700" cap="flat" cmpd="sng" algn="ctr">
                      <a:solidFill>
                        <a:srgbClr val="ACF33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53057129"/>
                  </a:ext>
                </a:extLst>
              </a:tr>
              <a:tr h="0">
                <a:tc>
                  <a:txBody>
                    <a:bodyPr/>
                    <a:lstStyle/>
                    <a:p>
                      <a:pPr algn="l" rtl="0" fontAlgn="ctr"/>
                      <a:endParaRPr lang="en-US" sz="800" b="1" i="1" u="none" strike="noStrike" dirty="0">
                        <a:solidFill>
                          <a:schemeClr val="bg1"/>
                        </a:solidFill>
                        <a:effectLst/>
                        <a:latin typeface="+mn-lt"/>
                      </a:endParaRPr>
                    </a:p>
                  </a:txBody>
                  <a:tcPr marL="6350" marR="6350" marT="0" marB="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800" b="1" i="0" u="none" strike="noStrike" dirty="0">
                          <a:solidFill>
                            <a:schemeClr val="accent2"/>
                          </a:solidFill>
                          <a:effectLst/>
                          <a:latin typeface="+mn-lt"/>
                        </a:rPr>
                        <a:t>PR</a:t>
                      </a:r>
                    </a:p>
                  </a:txBody>
                  <a:tcPr marL="6350" marR="6350" marB="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b" latinLnBrk="0" hangingPunct="1">
                        <a:lnSpc>
                          <a:spcPct val="100000"/>
                        </a:lnSpc>
                        <a:spcBef>
                          <a:spcPts val="0"/>
                        </a:spcBef>
                        <a:spcAft>
                          <a:spcPts val="0"/>
                        </a:spcAft>
                        <a:buClrTx/>
                        <a:buSzPct val="75000"/>
                        <a:buFont typeface="Open Sans" panose="020B0606030504020204" pitchFamily="34" charset="0"/>
                        <a:buChar char="+"/>
                        <a:tabLst/>
                        <a:defRPr/>
                      </a:pPr>
                      <a:r>
                        <a:rPr lang="en-US" sz="800" b="0" i="0" u="none" strike="noStrike" dirty="0">
                          <a:solidFill>
                            <a:schemeClr val="tx1"/>
                          </a:solidFill>
                          <a:effectLst/>
                          <a:latin typeface="+mn-lt"/>
                        </a:rPr>
                        <a:t>Term Sheet process component expected (12/10)</a:t>
                      </a:r>
                    </a:p>
                    <a:p>
                      <a:pPr marL="171450" marR="0" lvl="0" indent="-171450" algn="l" defTabSz="914400" rtl="0" eaLnBrk="1" fontAlgn="b" latinLnBrk="0" hangingPunct="1">
                        <a:lnSpc>
                          <a:spcPct val="100000"/>
                        </a:lnSpc>
                        <a:spcBef>
                          <a:spcPts val="0"/>
                        </a:spcBef>
                        <a:spcAft>
                          <a:spcPts val="0"/>
                        </a:spcAft>
                        <a:buClrTx/>
                        <a:buSzPct val="75000"/>
                        <a:buFont typeface="Open Sans" panose="020B0606030504020204" pitchFamily="34" charset="0"/>
                        <a:buChar char="+"/>
                        <a:tabLst/>
                        <a:defRPr/>
                      </a:pPr>
                      <a:r>
                        <a:rPr lang="en-US" sz="800" b="0" i="0" u="none" strike="noStrike" dirty="0">
                          <a:solidFill>
                            <a:schemeClr val="tx1"/>
                          </a:solidFill>
                          <a:effectLst/>
                          <a:latin typeface="+mn-lt"/>
                        </a:rPr>
                        <a:t>New Pre-Screen process expected (12/10)</a:t>
                      </a:r>
                      <a:endParaRPr lang="en-US" sz="800" b="0" i="0" u="none" strike="noStrike" dirty="0">
                        <a:solidFill>
                          <a:srgbClr val="FDD300"/>
                        </a:solidFill>
                        <a:effectLst/>
                        <a:latin typeface="+mn-lt"/>
                      </a:endParaRPr>
                    </a:p>
                  </a:txBody>
                  <a:tcPr marL="0" marR="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31319687"/>
                  </a:ext>
                </a:extLst>
              </a:tr>
              <a:tr h="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endParaRPr lang="en-US" sz="800" b="1" i="1" u="none" strike="noStrike" dirty="0">
                        <a:solidFill>
                          <a:schemeClr val="bg1"/>
                        </a:solidFill>
                        <a:effectLst/>
                        <a:latin typeface="+mn-lt"/>
                      </a:endParaRPr>
                    </a:p>
                  </a:txBody>
                  <a:tcPr marL="6350" marR="6350" marT="0" marB="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800" b="1" i="0" u="none" strike="noStrike" dirty="0">
                          <a:solidFill>
                            <a:schemeClr val="accent1"/>
                          </a:solidFill>
                          <a:effectLst/>
                          <a:latin typeface="+mn-lt"/>
                        </a:rPr>
                        <a:t>RCA</a:t>
                      </a:r>
                    </a:p>
                  </a:txBody>
                  <a:tcPr marL="18288" marR="18288">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b" latinLnBrk="0" hangingPunct="1">
                        <a:lnSpc>
                          <a:spcPct val="100000"/>
                        </a:lnSpc>
                        <a:spcBef>
                          <a:spcPts val="0"/>
                        </a:spcBef>
                        <a:spcAft>
                          <a:spcPts val="0"/>
                        </a:spcAft>
                        <a:buClrTx/>
                        <a:buSzPct val="75000"/>
                        <a:buFont typeface="Wingdings" panose="05000000000000000000" pitchFamily="2" charset="2"/>
                        <a:buChar char="§"/>
                        <a:tabLst/>
                        <a:defRPr/>
                      </a:pPr>
                      <a:r>
                        <a:rPr lang="en-US" sz="800" b="0" i="0" u="none" strike="noStrike" dirty="0">
                          <a:solidFill>
                            <a:schemeClr val="tx1"/>
                          </a:solidFill>
                          <a:effectLst/>
                          <a:latin typeface="+mn-lt"/>
                        </a:rPr>
                        <a:t>Commercial Lending Product Owner recruitment and interviews underway</a:t>
                      </a:r>
                    </a:p>
                    <a:p>
                      <a:pPr marL="171450" marR="0" lvl="0" indent="-171450" algn="l" defTabSz="914400" rtl="0" eaLnBrk="1" fontAlgn="b" latinLnBrk="0" hangingPunct="1">
                        <a:lnSpc>
                          <a:spcPct val="100000"/>
                        </a:lnSpc>
                        <a:spcBef>
                          <a:spcPts val="0"/>
                        </a:spcBef>
                        <a:spcAft>
                          <a:spcPts val="0"/>
                        </a:spcAft>
                        <a:buClrTx/>
                        <a:buSzPct val="75000"/>
                        <a:buFont typeface="Wingdings" panose="05000000000000000000" pitchFamily="2" charset="2"/>
                        <a:buChar char="§"/>
                        <a:tabLst/>
                        <a:defRPr/>
                      </a:pPr>
                      <a:r>
                        <a:rPr lang="en-US" sz="800" b="0" i="0" u="none" strike="noStrike" dirty="0">
                          <a:solidFill>
                            <a:schemeClr val="tx1"/>
                          </a:solidFill>
                          <a:effectLst/>
                          <a:latin typeface="+mn-lt"/>
                        </a:rPr>
                        <a:t>Ownership of Updates to Deal Changes</a:t>
                      </a:r>
                    </a:p>
                  </a:txBody>
                  <a:tcPr marL="18288" marR="18288">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7964358"/>
                  </a:ext>
                </a:extLst>
              </a:tr>
              <a:tr h="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endParaRPr lang="en-US" sz="800" b="1" i="1" u="none" strike="noStrike" dirty="0">
                        <a:solidFill>
                          <a:schemeClr val="bg1"/>
                        </a:solidFill>
                        <a:effectLst/>
                        <a:latin typeface="+mn-lt"/>
                      </a:endParaRPr>
                    </a:p>
                  </a:txBody>
                  <a:tcPr marL="6350" marR="6350" marT="0" marB="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800" b="1" i="0" u="none" strike="noStrike" dirty="0">
                          <a:solidFill>
                            <a:srgbClr val="38E2B2"/>
                          </a:solidFill>
                          <a:effectLst/>
                          <a:latin typeface="+mn-lt"/>
                        </a:rPr>
                        <a:t>PC</a:t>
                      </a:r>
                    </a:p>
                  </a:txBody>
                  <a:tcPr marL="18288" marR="18288">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b" latinLnBrk="0" hangingPunct="1">
                        <a:lnSpc>
                          <a:spcPct val="100000"/>
                        </a:lnSpc>
                        <a:spcBef>
                          <a:spcPts val="0"/>
                        </a:spcBef>
                        <a:spcAft>
                          <a:spcPts val="0"/>
                        </a:spcAft>
                        <a:buClrTx/>
                        <a:buSzPct val="75000"/>
                        <a:buFont typeface="Wingdings" panose="05000000000000000000" pitchFamily="2" charset="2"/>
                        <a:buChar char="§"/>
                        <a:tabLst/>
                        <a:defRPr/>
                      </a:pPr>
                      <a:r>
                        <a:rPr lang="en-US" sz="800" b="0" i="0" u="none" strike="noStrike" dirty="0">
                          <a:solidFill>
                            <a:schemeClr val="tx1"/>
                          </a:solidFill>
                          <a:effectLst/>
                          <a:latin typeface="+mn-lt"/>
                        </a:rPr>
                        <a:t>Pricing Grid (Agent Loans) on (11/5), shared Opportunity with </a:t>
                      </a:r>
                      <a:r>
                        <a:rPr lang="en-US" sz="800" b="0" i="0" u="none" strike="noStrike" dirty="0">
                          <a:solidFill>
                            <a:srgbClr val="86F200"/>
                          </a:solidFill>
                          <a:effectLst/>
                          <a:latin typeface="+mn-lt"/>
                        </a:rPr>
                        <a:t>RCA</a:t>
                      </a:r>
                      <a:endParaRPr lang="en-US" sz="800" b="0" i="0" u="none" strike="noStrike" dirty="0">
                        <a:solidFill>
                          <a:schemeClr val="tx1"/>
                        </a:solidFill>
                        <a:effectLst/>
                        <a:latin typeface="+mn-lt"/>
                      </a:endParaRPr>
                    </a:p>
                    <a:p>
                      <a:pPr marL="171450" marR="0" lvl="0" indent="-171450" algn="l" defTabSz="914400" rtl="0" eaLnBrk="1" fontAlgn="b" latinLnBrk="0" hangingPunct="1">
                        <a:lnSpc>
                          <a:spcPct val="100000"/>
                        </a:lnSpc>
                        <a:spcBef>
                          <a:spcPts val="0"/>
                        </a:spcBef>
                        <a:spcAft>
                          <a:spcPts val="0"/>
                        </a:spcAft>
                        <a:buClrTx/>
                        <a:buSzPct val="75000"/>
                        <a:buFont typeface="Wingdings" panose="05000000000000000000" pitchFamily="2" charset="2"/>
                        <a:buChar char="§"/>
                        <a:tabLst/>
                        <a:defRPr/>
                      </a:pPr>
                      <a:r>
                        <a:rPr lang="en-US" sz="800" b="0" i="0" u="none" strike="noStrike" dirty="0">
                          <a:solidFill>
                            <a:schemeClr val="tx1"/>
                          </a:solidFill>
                          <a:effectLst/>
                          <a:latin typeface="+mn-lt"/>
                        </a:rPr>
                        <a:t>Committee Approval Requirements deliverable signed off (10/3) and scope satisfied; Lending Limits (11/30)</a:t>
                      </a:r>
                    </a:p>
                  </a:txBody>
                  <a:tcPr marL="18288" marR="18288">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3086182"/>
                  </a:ext>
                </a:extLst>
              </a:tr>
              <a:tr h="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endParaRPr lang="en-US" sz="800" b="1" i="1" u="none" strike="noStrike" dirty="0">
                        <a:solidFill>
                          <a:schemeClr val="bg1"/>
                        </a:solidFill>
                        <a:effectLst/>
                        <a:latin typeface="+mn-lt"/>
                      </a:endParaRPr>
                    </a:p>
                  </a:txBody>
                  <a:tcPr marL="6350" marR="6350" marT="0" marB="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800" b="1" i="0" u="none" strike="noStrike" dirty="0">
                          <a:solidFill>
                            <a:schemeClr val="accent3"/>
                          </a:solidFill>
                          <a:effectLst/>
                          <a:latin typeface="+mn-lt"/>
                        </a:rPr>
                        <a:t>DS</a:t>
                      </a:r>
                    </a:p>
                  </a:txBody>
                  <a:tcPr marL="18288" marR="18288">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b" latinLnBrk="0" hangingPunct="1">
                        <a:lnSpc>
                          <a:spcPct val="100000"/>
                        </a:lnSpc>
                        <a:spcBef>
                          <a:spcPts val="0"/>
                        </a:spcBef>
                        <a:spcAft>
                          <a:spcPts val="0"/>
                        </a:spcAft>
                        <a:buClrTx/>
                        <a:buSzPct val="75000"/>
                        <a:buFont typeface="Wingdings" panose="05000000000000000000" pitchFamily="2" charset="2"/>
                        <a:buChar char="§"/>
                        <a:tabLst/>
                        <a:defRPr/>
                      </a:pPr>
                      <a:r>
                        <a:rPr lang="en-US" sz="800" b="0" i="0" u="none" strike="noStrike" dirty="0">
                          <a:solidFill>
                            <a:schemeClr val="tx1"/>
                          </a:solidFill>
                          <a:effectLst/>
                          <a:latin typeface="+mn-lt"/>
                        </a:rPr>
                        <a:t>Compliance Certificate document and process on (11/13), shared Opportunity with </a:t>
                      </a:r>
                      <a:r>
                        <a:rPr lang="en-US" sz="800" b="0" i="0" u="none" strike="noStrike" dirty="0">
                          <a:solidFill>
                            <a:srgbClr val="38E2B2"/>
                          </a:solidFill>
                          <a:effectLst/>
                          <a:latin typeface="+mn-lt"/>
                        </a:rPr>
                        <a:t>PC</a:t>
                      </a:r>
                      <a:endParaRPr lang="en-US" sz="800" b="0" i="0" u="none" strike="noStrike" dirty="0">
                        <a:solidFill>
                          <a:schemeClr val="tx1"/>
                        </a:solidFill>
                        <a:effectLst/>
                        <a:latin typeface="+mn-lt"/>
                      </a:endParaRPr>
                    </a:p>
                    <a:p>
                      <a:pPr marL="171450" marR="0" lvl="0" indent="-171450" algn="l" defTabSz="914400" rtl="0" eaLnBrk="1" fontAlgn="b" latinLnBrk="0" hangingPunct="1">
                        <a:lnSpc>
                          <a:spcPct val="100000"/>
                        </a:lnSpc>
                        <a:spcBef>
                          <a:spcPts val="0"/>
                        </a:spcBef>
                        <a:spcAft>
                          <a:spcPts val="0"/>
                        </a:spcAft>
                        <a:buClrTx/>
                        <a:buSzPct val="75000"/>
                        <a:buFont typeface="Wingdings" panose="05000000000000000000" pitchFamily="2" charset="2"/>
                        <a:buChar char="§"/>
                        <a:tabLst/>
                        <a:defRPr/>
                      </a:pPr>
                      <a:r>
                        <a:rPr lang="en-US" sz="800" b="0" i="0" u="none" strike="noStrike" dirty="0">
                          <a:solidFill>
                            <a:schemeClr val="tx1"/>
                          </a:solidFill>
                          <a:effectLst/>
                          <a:latin typeface="+mn-lt"/>
                        </a:rPr>
                        <a:t>Pre-Screen Pilot underway for 14 users in 5 markets across 5 divisions</a:t>
                      </a:r>
                    </a:p>
                    <a:p>
                      <a:pPr marL="171450" marR="0" lvl="0" indent="-171450" algn="l" defTabSz="914400" rtl="0" eaLnBrk="1" fontAlgn="b" latinLnBrk="0" hangingPunct="1">
                        <a:lnSpc>
                          <a:spcPct val="100000"/>
                        </a:lnSpc>
                        <a:spcBef>
                          <a:spcPts val="0"/>
                        </a:spcBef>
                        <a:spcAft>
                          <a:spcPts val="0"/>
                        </a:spcAft>
                        <a:buClrTx/>
                        <a:buSzPct val="75000"/>
                        <a:buFont typeface="Wingdings" panose="05000000000000000000" pitchFamily="2" charset="2"/>
                        <a:buChar char="§"/>
                        <a:tabLst/>
                        <a:defRPr/>
                      </a:pPr>
                      <a:r>
                        <a:rPr lang="en-US" sz="800" b="0" i="0" u="none" strike="noStrike" dirty="0">
                          <a:solidFill>
                            <a:schemeClr val="tx1"/>
                          </a:solidFill>
                          <a:effectLst/>
                          <a:latin typeface="+mn-lt"/>
                        </a:rPr>
                        <a:t>Term Sheet document component expected (12/10)</a:t>
                      </a:r>
                    </a:p>
                  </a:txBody>
                  <a:tcPr marL="18288" marR="18288">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7520495"/>
                  </a:ext>
                </a:extLst>
              </a:tr>
            </a:tbl>
          </a:graphicData>
        </a:graphic>
      </p:graphicFrame>
      <p:graphicFrame>
        <p:nvGraphicFramePr>
          <p:cNvPr id="29" name="Chart 28">
            <a:extLst>
              <a:ext uri="{FF2B5EF4-FFF2-40B4-BE49-F238E27FC236}">
                <a16:creationId xmlns:a16="http://schemas.microsoft.com/office/drawing/2014/main" id="{A863BFED-76AA-4369-A8C1-9455E107B9E7}"/>
              </a:ext>
            </a:extLst>
          </p:cNvPr>
          <p:cNvGraphicFramePr/>
          <p:nvPr>
            <p:extLst>
              <p:ext uri="{D42A27DB-BD31-4B8C-83A1-F6EECF244321}">
                <p14:modId xmlns:p14="http://schemas.microsoft.com/office/powerpoint/2010/main" val="3383135996"/>
              </p:ext>
            </p:extLst>
          </p:nvPr>
        </p:nvGraphicFramePr>
        <p:xfrm>
          <a:off x="5516197" y="2127343"/>
          <a:ext cx="6375700" cy="2469346"/>
        </p:xfrm>
        <a:graphic>
          <a:graphicData uri="http://schemas.openxmlformats.org/drawingml/2006/chart">
            <c:chart xmlns:c="http://schemas.openxmlformats.org/drawingml/2006/chart" xmlns:r="http://schemas.openxmlformats.org/officeDocument/2006/relationships" r:id="rId8"/>
          </a:graphicData>
        </a:graphic>
      </p:graphicFrame>
      <p:cxnSp>
        <p:nvCxnSpPr>
          <p:cNvPr id="30" name="Straight Connector 29">
            <a:extLst>
              <a:ext uri="{FF2B5EF4-FFF2-40B4-BE49-F238E27FC236}">
                <a16:creationId xmlns:a16="http://schemas.microsoft.com/office/drawing/2014/main" id="{390195FF-8992-483C-AE65-F28520D41837}"/>
              </a:ext>
            </a:extLst>
          </p:cNvPr>
          <p:cNvCxnSpPr>
            <a:cxnSpLocks/>
          </p:cNvCxnSpPr>
          <p:nvPr/>
        </p:nvCxnSpPr>
        <p:spPr>
          <a:xfrm flipV="1">
            <a:off x="8195558" y="3132286"/>
            <a:ext cx="0" cy="1097280"/>
          </a:xfrm>
          <a:prstGeom prst="line">
            <a:avLst/>
          </a:prstGeom>
          <a:ln>
            <a:solidFill>
              <a:schemeClr val="bg1">
                <a:lumMod val="50000"/>
              </a:schemeClr>
            </a:solidFill>
            <a:tailEnd type="diamond" w="sm" len="sm"/>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DB6EF07A-5DE6-47BC-A069-AF0809EE3A89}"/>
              </a:ext>
            </a:extLst>
          </p:cNvPr>
          <p:cNvCxnSpPr>
            <a:cxnSpLocks/>
          </p:cNvCxnSpPr>
          <p:nvPr/>
        </p:nvCxnSpPr>
        <p:spPr>
          <a:xfrm flipV="1">
            <a:off x="11000123" y="2479651"/>
            <a:ext cx="0" cy="1737360"/>
          </a:xfrm>
          <a:prstGeom prst="line">
            <a:avLst/>
          </a:prstGeom>
          <a:ln>
            <a:solidFill>
              <a:schemeClr val="bg1">
                <a:lumMod val="50000"/>
              </a:schemeClr>
            </a:solidFill>
            <a:tailEnd type="diamond" w="sm" len="sm"/>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2989F4F1-A8F3-4D5F-AC28-DCE79A082BB8}"/>
              </a:ext>
            </a:extLst>
          </p:cNvPr>
          <p:cNvSpPr/>
          <p:nvPr/>
        </p:nvSpPr>
        <p:spPr>
          <a:xfrm>
            <a:off x="7193067" y="3528788"/>
            <a:ext cx="108512" cy="76944"/>
          </a:xfrm>
          <a:prstGeom prst="rect">
            <a:avLst/>
          </a:prstGeom>
          <a:solidFill>
            <a:srgbClr val="7030A0"/>
          </a:solidFill>
          <a:ln>
            <a:noFill/>
          </a:ln>
        </p:spPr>
        <p:txBody>
          <a:bodyPr wrap="square" lIns="0" tIns="0" rIns="0" bIns="0" anchor="ctr">
            <a:spAutoFit/>
          </a:bodyPr>
          <a:lstStyle/>
          <a:p>
            <a:pPr marL="0" marR="0" lvl="1" indent="0" algn="ctr" defTabSz="1120466" rtl="0" eaLnBrk="1" fontAlgn="auto" latinLnBrk="0" hangingPunct="1">
              <a:lnSpc>
                <a:spcPct val="100000"/>
              </a:lnSpc>
              <a:spcBef>
                <a:spcPts val="0"/>
              </a:spcBef>
              <a:spcAft>
                <a:spcPts val="330"/>
              </a:spcAft>
              <a:buClr>
                <a:srgbClr val="FFFFFF"/>
              </a:buClr>
              <a:buSzPct val="75000"/>
              <a:buFontTx/>
              <a:buNone/>
              <a:tabLst>
                <a:tab pos="7011214" algn="l"/>
              </a:tabLst>
              <a:defRPr/>
            </a:pPr>
            <a:r>
              <a:rPr kumimoji="0" lang="en-US" sz="500" b="1" i="0" u="none" strike="noStrike" kern="1200" cap="none" spc="0" normalizeH="0" baseline="0" noProof="0" dirty="0">
                <a:ln>
                  <a:noFill/>
                </a:ln>
                <a:solidFill>
                  <a:srgbClr val="FFFFFF"/>
                </a:solidFill>
                <a:effectLst/>
                <a:uLnTx/>
                <a:uFillTx/>
                <a:ea typeface="+mn-ea"/>
                <a:cs typeface="Arial" pitchFamily="34" charset="0"/>
              </a:rPr>
              <a:t>18</a:t>
            </a:r>
          </a:p>
        </p:txBody>
      </p:sp>
      <p:sp>
        <p:nvSpPr>
          <p:cNvPr id="33" name="Rectangle 32">
            <a:extLst>
              <a:ext uri="{FF2B5EF4-FFF2-40B4-BE49-F238E27FC236}">
                <a16:creationId xmlns:a16="http://schemas.microsoft.com/office/drawing/2014/main" id="{21BC9213-D4D5-4E0B-8CDA-1241D30BD33A}"/>
              </a:ext>
            </a:extLst>
          </p:cNvPr>
          <p:cNvSpPr/>
          <p:nvPr/>
        </p:nvSpPr>
        <p:spPr>
          <a:xfrm>
            <a:off x="8517483" y="3449476"/>
            <a:ext cx="108512" cy="76944"/>
          </a:xfrm>
          <a:prstGeom prst="rect">
            <a:avLst/>
          </a:prstGeom>
          <a:solidFill>
            <a:srgbClr val="7030A0"/>
          </a:solidFill>
          <a:ln>
            <a:noFill/>
          </a:ln>
        </p:spPr>
        <p:txBody>
          <a:bodyPr wrap="square" lIns="0" tIns="0" rIns="0" bIns="0" anchor="ctr">
            <a:spAutoFit/>
          </a:bodyPr>
          <a:lstStyle/>
          <a:p>
            <a:pPr marL="0" marR="0" lvl="1" indent="0" algn="ctr" defTabSz="1120466" rtl="0" eaLnBrk="1" fontAlgn="auto" latinLnBrk="0" hangingPunct="1">
              <a:lnSpc>
                <a:spcPct val="100000"/>
              </a:lnSpc>
              <a:spcBef>
                <a:spcPts val="0"/>
              </a:spcBef>
              <a:spcAft>
                <a:spcPts val="330"/>
              </a:spcAft>
              <a:buClr>
                <a:srgbClr val="FFFFFF"/>
              </a:buClr>
              <a:buSzPct val="75000"/>
              <a:buFontTx/>
              <a:buNone/>
              <a:tabLst>
                <a:tab pos="7011214" algn="l"/>
              </a:tabLst>
              <a:defRPr/>
            </a:pPr>
            <a:r>
              <a:rPr kumimoji="0" lang="en-US" sz="500" b="1" i="0" u="none" strike="noStrike" kern="1200" cap="none" spc="0" normalizeH="0" baseline="0" noProof="0" dirty="0">
                <a:ln>
                  <a:noFill/>
                </a:ln>
                <a:solidFill>
                  <a:srgbClr val="FFFFFF"/>
                </a:solidFill>
                <a:effectLst/>
                <a:uLnTx/>
                <a:uFillTx/>
                <a:ea typeface="+mn-ea"/>
                <a:cs typeface="Arial" pitchFamily="34" charset="0"/>
              </a:rPr>
              <a:t>20</a:t>
            </a:r>
          </a:p>
        </p:txBody>
      </p:sp>
      <p:sp>
        <p:nvSpPr>
          <p:cNvPr id="34" name="Rectangle 33">
            <a:extLst>
              <a:ext uri="{FF2B5EF4-FFF2-40B4-BE49-F238E27FC236}">
                <a16:creationId xmlns:a16="http://schemas.microsoft.com/office/drawing/2014/main" id="{18B6791B-72D8-4361-AE02-9EFC7425E263}"/>
              </a:ext>
            </a:extLst>
          </p:cNvPr>
          <p:cNvSpPr/>
          <p:nvPr/>
        </p:nvSpPr>
        <p:spPr>
          <a:xfrm>
            <a:off x="9604716" y="3669630"/>
            <a:ext cx="108512" cy="76944"/>
          </a:xfrm>
          <a:prstGeom prst="rect">
            <a:avLst/>
          </a:prstGeom>
          <a:solidFill>
            <a:srgbClr val="7030A0"/>
          </a:solidFill>
          <a:ln>
            <a:noFill/>
          </a:ln>
        </p:spPr>
        <p:txBody>
          <a:bodyPr wrap="square" lIns="0" tIns="0" rIns="0" bIns="0" anchor="ctr">
            <a:spAutoFit/>
          </a:bodyPr>
          <a:lstStyle/>
          <a:p>
            <a:pPr marL="0" marR="0" lvl="1" indent="0" algn="ctr" defTabSz="1120466" rtl="0" eaLnBrk="1" fontAlgn="auto" latinLnBrk="0" hangingPunct="1">
              <a:lnSpc>
                <a:spcPct val="100000"/>
              </a:lnSpc>
              <a:spcBef>
                <a:spcPts val="0"/>
              </a:spcBef>
              <a:spcAft>
                <a:spcPts val="330"/>
              </a:spcAft>
              <a:buClr>
                <a:srgbClr val="FFFFFF"/>
              </a:buClr>
              <a:buSzPct val="75000"/>
              <a:buFontTx/>
              <a:buNone/>
              <a:tabLst>
                <a:tab pos="7011214" algn="l"/>
              </a:tabLst>
              <a:defRPr/>
            </a:pPr>
            <a:r>
              <a:rPr kumimoji="0" lang="en-US" sz="500" b="1" i="0" u="none" strike="noStrike" kern="1200" cap="none" spc="0" normalizeH="0" baseline="0" noProof="0" dirty="0">
                <a:ln>
                  <a:noFill/>
                </a:ln>
                <a:solidFill>
                  <a:srgbClr val="FFFFFF"/>
                </a:solidFill>
                <a:effectLst/>
                <a:uLnTx/>
                <a:uFillTx/>
                <a:ea typeface="+mn-ea"/>
                <a:cs typeface="Arial" pitchFamily="34" charset="0"/>
              </a:rPr>
              <a:t>14</a:t>
            </a:r>
          </a:p>
        </p:txBody>
      </p:sp>
      <p:sp>
        <p:nvSpPr>
          <p:cNvPr id="35" name="Rectangle 34">
            <a:extLst>
              <a:ext uri="{FF2B5EF4-FFF2-40B4-BE49-F238E27FC236}">
                <a16:creationId xmlns:a16="http://schemas.microsoft.com/office/drawing/2014/main" id="{63F31530-BBCF-434E-93B5-8E8A79F028AA}"/>
              </a:ext>
            </a:extLst>
          </p:cNvPr>
          <p:cNvSpPr/>
          <p:nvPr/>
        </p:nvSpPr>
        <p:spPr>
          <a:xfrm>
            <a:off x="6077562" y="3538501"/>
            <a:ext cx="108512" cy="76944"/>
          </a:xfrm>
          <a:prstGeom prst="rect">
            <a:avLst/>
          </a:prstGeom>
          <a:solidFill>
            <a:srgbClr val="7030A0"/>
          </a:solidFill>
          <a:ln>
            <a:noFill/>
          </a:ln>
        </p:spPr>
        <p:txBody>
          <a:bodyPr wrap="square" lIns="0" tIns="0" rIns="0" bIns="0" anchor="ctr">
            <a:spAutoFit/>
          </a:bodyPr>
          <a:lstStyle/>
          <a:p>
            <a:pPr marL="0" marR="0" lvl="1" indent="0" algn="ctr" defTabSz="1120466" rtl="0" eaLnBrk="1" fontAlgn="auto" latinLnBrk="0" hangingPunct="1">
              <a:lnSpc>
                <a:spcPct val="100000"/>
              </a:lnSpc>
              <a:spcBef>
                <a:spcPts val="0"/>
              </a:spcBef>
              <a:spcAft>
                <a:spcPts val="330"/>
              </a:spcAft>
              <a:buClr>
                <a:srgbClr val="FFFFFF"/>
              </a:buClr>
              <a:buSzPct val="75000"/>
              <a:buFontTx/>
              <a:buNone/>
              <a:tabLst>
                <a:tab pos="7011214" algn="l"/>
              </a:tabLst>
              <a:defRPr/>
            </a:pPr>
            <a:r>
              <a:rPr kumimoji="0" lang="en-US" sz="500" b="1" i="0" u="none" strike="noStrike" kern="1200" cap="none" spc="0" normalizeH="0" baseline="0" noProof="0" dirty="0">
                <a:ln>
                  <a:noFill/>
                </a:ln>
                <a:solidFill>
                  <a:srgbClr val="FFFFFF"/>
                </a:solidFill>
                <a:effectLst/>
                <a:uLnTx/>
                <a:uFillTx/>
                <a:ea typeface="+mn-ea"/>
                <a:cs typeface="Arial" pitchFamily="34" charset="0"/>
              </a:rPr>
              <a:t>18</a:t>
            </a:r>
          </a:p>
        </p:txBody>
      </p:sp>
      <p:sp>
        <p:nvSpPr>
          <p:cNvPr id="36" name="Rectangle 35">
            <a:extLst>
              <a:ext uri="{FF2B5EF4-FFF2-40B4-BE49-F238E27FC236}">
                <a16:creationId xmlns:a16="http://schemas.microsoft.com/office/drawing/2014/main" id="{F87D995E-92AC-4D28-84E5-FF6319A22BAC}"/>
              </a:ext>
            </a:extLst>
          </p:cNvPr>
          <p:cNvSpPr/>
          <p:nvPr/>
        </p:nvSpPr>
        <p:spPr>
          <a:xfrm>
            <a:off x="5848911" y="3922766"/>
            <a:ext cx="108512" cy="76944"/>
          </a:xfrm>
          <a:prstGeom prst="rect">
            <a:avLst/>
          </a:prstGeom>
          <a:solidFill>
            <a:srgbClr val="7030A0"/>
          </a:solidFill>
          <a:ln>
            <a:noFill/>
          </a:ln>
        </p:spPr>
        <p:txBody>
          <a:bodyPr wrap="square" lIns="0" tIns="0" rIns="0" bIns="0" anchor="ctr">
            <a:spAutoFit/>
          </a:bodyPr>
          <a:lstStyle/>
          <a:p>
            <a:pPr marL="0" marR="0" lvl="1" indent="0" algn="ctr" defTabSz="1120466" rtl="0" eaLnBrk="1" fontAlgn="auto" latinLnBrk="0" hangingPunct="1">
              <a:lnSpc>
                <a:spcPct val="100000"/>
              </a:lnSpc>
              <a:spcBef>
                <a:spcPts val="0"/>
              </a:spcBef>
              <a:spcAft>
                <a:spcPts val="330"/>
              </a:spcAft>
              <a:buClr>
                <a:srgbClr val="FFFFFF"/>
              </a:buClr>
              <a:buSzPct val="75000"/>
              <a:buFontTx/>
              <a:buNone/>
              <a:tabLst>
                <a:tab pos="7011214" algn="l"/>
              </a:tabLst>
              <a:defRPr/>
            </a:pPr>
            <a:r>
              <a:rPr kumimoji="0" lang="en-US" sz="500" b="1" i="0" u="none" strike="noStrike" kern="1200" cap="none" spc="0" normalizeH="0" baseline="0" noProof="0" dirty="0">
                <a:ln>
                  <a:noFill/>
                </a:ln>
                <a:solidFill>
                  <a:srgbClr val="FFFFFF"/>
                </a:solidFill>
                <a:effectLst/>
                <a:uLnTx/>
                <a:uFillTx/>
                <a:ea typeface="+mn-ea"/>
                <a:cs typeface="Arial" pitchFamily="34" charset="0"/>
              </a:rPr>
              <a:t>6</a:t>
            </a:r>
          </a:p>
        </p:txBody>
      </p:sp>
      <p:sp>
        <p:nvSpPr>
          <p:cNvPr id="37" name="Rectangle 36">
            <a:extLst>
              <a:ext uri="{FF2B5EF4-FFF2-40B4-BE49-F238E27FC236}">
                <a16:creationId xmlns:a16="http://schemas.microsoft.com/office/drawing/2014/main" id="{BC1F8F8D-CEAD-4179-86EF-536B2B1967AA}"/>
              </a:ext>
            </a:extLst>
          </p:cNvPr>
          <p:cNvSpPr/>
          <p:nvPr/>
        </p:nvSpPr>
        <p:spPr>
          <a:xfrm>
            <a:off x="6498734" y="3648761"/>
            <a:ext cx="150200" cy="13253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ea typeface="+mn-ea"/>
                <a:cs typeface="+mn-cs"/>
              </a:rPr>
              <a:t>15</a:t>
            </a:r>
            <a:endParaRPr kumimoji="0" lang="en-US" sz="400" b="1" i="0" u="none" strike="noStrike" kern="1200" cap="none" spc="0" normalizeH="0" baseline="0" noProof="0" dirty="0">
              <a:ln>
                <a:noFill/>
              </a:ln>
              <a:solidFill>
                <a:srgbClr val="FFFFFF"/>
              </a:solidFill>
              <a:effectLst/>
              <a:uLnTx/>
              <a:uFillTx/>
              <a:ea typeface="+mn-ea"/>
              <a:cs typeface="+mn-cs"/>
            </a:endParaRPr>
          </a:p>
        </p:txBody>
      </p:sp>
      <p:sp>
        <p:nvSpPr>
          <p:cNvPr id="38" name="Rectangle 37">
            <a:extLst>
              <a:ext uri="{FF2B5EF4-FFF2-40B4-BE49-F238E27FC236}">
                <a16:creationId xmlns:a16="http://schemas.microsoft.com/office/drawing/2014/main" id="{09C35691-4532-4940-807B-C47D5D62B375}"/>
              </a:ext>
            </a:extLst>
          </p:cNvPr>
          <p:cNvSpPr/>
          <p:nvPr/>
        </p:nvSpPr>
        <p:spPr>
          <a:xfrm>
            <a:off x="8162470" y="2876666"/>
            <a:ext cx="927049" cy="276999"/>
          </a:xfrm>
          <a:prstGeom prst="rect">
            <a:avLst/>
          </a:prstGeom>
        </p:spPr>
        <p:txBody>
          <a:bodyPr wrap="square" lIns="0" anchor="ctr">
            <a:spAutoFit/>
          </a:bodyPr>
          <a:lstStyle/>
          <a:p>
            <a:pPr marL="0" marR="0" lvl="1" indent="0" algn="l" defTabSz="1120466" rtl="0" eaLnBrk="1" fontAlgn="auto" latinLnBrk="0" hangingPunct="1">
              <a:lnSpc>
                <a:spcPct val="100000"/>
              </a:lnSpc>
              <a:spcBef>
                <a:spcPts val="0"/>
              </a:spcBef>
              <a:spcAft>
                <a:spcPts val="300"/>
              </a:spcAft>
              <a:buClr>
                <a:srgbClr val="FFFFFF"/>
              </a:buClr>
              <a:buSzPct val="75000"/>
              <a:buFontTx/>
              <a:buNone/>
              <a:tabLst>
                <a:tab pos="7011214" algn="l"/>
              </a:tabLst>
              <a:defRPr/>
            </a:pPr>
            <a:r>
              <a:rPr kumimoji="0" lang="en-US" sz="600" b="0" i="0" u="none" strike="noStrike" kern="1200" cap="none" spc="0" normalizeH="0" baseline="0" noProof="0" dirty="0">
                <a:ln>
                  <a:noFill/>
                </a:ln>
                <a:solidFill>
                  <a:srgbClr val="000000"/>
                </a:solidFill>
                <a:effectLst/>
                <a:uLnTx/>
                <a:uFillTx/>
                <a:ea typeface="+mn-ea"/>
                <a:cs typeface="Arial" pitchFamily="34" charset="0"/>
              </a:rPr>
              <a:t>Deloitte support scheduled to conclude</a:t>
            </a:r>
            <a:endParaRPr kumimoji="0" lang="en-US" sz="800" b="0" i="0" u="none" strike="noStrike" kern="1200" cap="none" spc="0" normalizeH="0" baseline="0" noProof="0" dirty="0">
              <a:ln>
                <a:noFill/>
              </a:ln>
              <a:solidFill>
                <a:srgbClr val="000000"/>
              </a:solidFill>
              <a:effectLst/>
              <a:uLnTx/>
              <a:uFillTx/>
              <a:ea typeface="+mn-ea"/>
              <a:cs typeface="Arial" pitchFamily="34" charset="0"/>
            </a:endParaRPr>
          </a:p>
        </p:txBody>
      </p:sp>
      <p:sp>
        <p:nvSpPr>
          <p:cNvPr id="39" name="Rectangle 38">
            <a:extLst>
              <a:ext uri="{FF2B5EF4-FFF2-40B4-BE49-F238E27FC236}">
                <a16:creationId xmlns:a16="http://schemas.microsoft.com/office/drawing/2014/main" id="{6A908C68-725D-4A62-8BDF-079AA9E70CB5}"/>
              </a:ext>
            </a:extLst>
          </p:cNvPr>
          <p:cNvSpPr/>
          <p:nvPr/>
        </p:nvSpPr>
        <p:spPr>
          <a:xfrm>
            <a:off x="912726" y="5611834"/>
            <a:ext cx="971649" cy="600164"/>
          </a:xfrm>
          <a:prstGeom prst="rect">
            <a:avLst/>
          </a:prstGeom>
        </p:spPr>
        <p:txBody>
          <a:bodyPr wrap="square" lIns="0" rIns="0">
            <a:spAutoFit/>
          </a:bodyPr>
          <a:lstStyle/>
          <a:p>
            <a:pPr marL="0" marR="0" lvl="1" indent="0" algn="ctr" defTabSz="1120466" rtl="0" eaLnBrk="1" fontAlgn="auto" latinLnBrk="0" hangingPunct="1">
              <a:lnSpc>
                <a:spcPct val="100000"/>
              </a:lnSpc>
              <a:spcBef>
                <a:spcPts val="0"/>
              </a:spcBef>
              <a:spcAft>
                <a:spcPts val="330"/>
              </a:spcAft>
              <a:buClr>
                <a:srgbClr val="FFFFFF"/>
              </a:buClr>
              <a:buSzPct val="75000"/>
              <a:buFontTx/>
              <a:buNone/>
              <a:tabLst>
                <a:tab pos="7011214" algn="l"/>
              </a:tabLst>
              <a:defRPr/>
            </a:pPr>
            <a:r>
              <a:rPr kumimoji="0" lang="en-US" sz="1100" b="0" i="1" u="none" strike="noStrike" kern="1200" cap="none" spc="0" normalizeH="0" baseline="0" noProof="0" dirty="0">
                <a:ln>
                  <a:noFill/>
                </a:ln>
                <a:solidFill>
                  <a:srgbClr val="000000"/>
                </a:solidFill>
                <a:effectLst/>
                <a:uLnTx/>
                <a:uFillTx/>
                <a:ea typeface="+mn-ea"/>
                <a:cs typeface="Arial" pitchFamily="34" charset="0"/>
              </a:rPr>
              <a:t>3 Plans Incoming to SDO </a:t>
            </a:r>
          </a:p>
        </p:txBody>
      </p:sp>
      <p:graphicFrame>
        <p:nvGraphicFramePr>
          <p:cNvPr id="40" name="Chart 39">
            <a:extLst>
              <a:ext uri="{FF2B5EF4-FFF2-40B4-BE49-F238E27FC236}">
                <a16:creationId xmlns:a16="http://schemas.microsoft.com/office/drawing/2014/main" id="{4B982A73-1E86-499B-9D5F-31C79A131C2B}"/>
              </a:ext>
            </a:extLst>
          </p:cNvPr>
          <p:cNvGraphicFramePr>
            <a:graphicFrameLocks noChangeAspect="1"/>
          </p:cNvGraphicFramePr>
          <p:nvPr>
            <p:extLst>
              <p:ext uri="{D42A27DB-BD31-4B8C-83A1-F6EECF244321}">
                <p14:modId xmlns:p14="http://schemas.microsoft.com/office/powerpoint/2010/main" val="15515775"/>
              </p:ext>
            </p:extLst>
          </p:nvPr>
        </p:nvGraphicFramePr>
        <p:xfrm>
          <a:off x="1743342" y="4900418"/>
          <a:ext cx="1656582" cy="1633476"/>
        </p:xfrm>
        <a:graphic>
          <a:graphicData uri="http://schemas.openxmlformats.org/drawingml/2006/chart">
            <c:chart xmlns:c="http://schemas.openxmlformats.org/drawingml/2006/chart" xmlns:r="http://schemas.openxmlformats.org/officeDocument/2006/relationships" r:id="rId9"/>
          </a:graphicData>
        </a:graphic>
      </p:graphicFrame>
      <p:sp>
        <p:nvSpPr>
          <p:cNvPr id="41" name="Rectangle 40">
            <a:extLst>
              <a:ext uri="{FF2B5EF4-FFF2-40B4-BE49-F238E27FC236}">
                <a16:creationId xmlns:a16="http://schemas.microsoft.com/office/drawing/2014/main" id="{E7085496-47A8-4C81-B683-9E35F2A96559}"/>
              </a:ext>
            </a:extLst>
          </p:cNvPr>
          <p:cNvSpPr/>
          <p:nvPr/>
        </p:nvSpPr>
        <p:spPr>
          <a:xfrm>
            <a:off x="5633420" y="2118876"/>
            <a:ext cx="3004464" cy="246221"/>
          </a:xfrm>
          <a:prstGeom prst="rect">
            <a:avLst/>
          </a:prstGeom>
        </p:spPr>
        <p:txBody>
          <a:bodyPr wrap="square" lIns="0" anchor="ctr">
            <a:spAutoFit/>
          </a:bodyPr>
          <a:lstStyle/>
          <a:p>
            <a:pPr marL="0" marR="0" lvl="1" indent="0" algn="l" defTabSz="1120466" rtl="0" eaLnBrk="1" fontAlgn="auto" latinLnBrk="0" hangingPunct="1">
              <a:lnSpc>
                <a:spcPct val="100000"/>
              </a:lnSpc>
              <a:spcBef>
                <a:spcPts val="0"/>
              </a:spcBef>
              <a:spcAft>
                <a:spcPts val="300"/>
              </a:spcAft>
              <a:buClr>
                <a:srgbClr val="FFFFFF"/>
              </a:buClr>
              <a:buSzPct val="75000"/>
              <a:buFontTx/>
              <a:buNone/>
              <a:tabLst>
                <a:tab pos="7011214" algn="l"/>
              </a:tabLst>
              <a:defRPr/>
            </a:pPr>
            <a:r>
              <a:rPr kumimoji="0" lang="en-US" sz="1000" b="1" i="1" u="none" strike="noStrike" kern="1200" cap="none" spc="0" normalizeH="0" baseline="0" noProof="0" dirty="0">
                <a:ln>
                  <a:noFill/>
                </a:ln>
                <a:solidFill>
                  <a:srgbClr val="000000"/>
                </a:solidFill>
                <a:effectLst/>
                <a:uLnTx/>
                <a:uFillTx/>
                <a:ea typeface="+mn-ea"/>
                <a:cs typeface="Arial" pitchFamily="34" charset="0"/>
              </a:rPr>
              <a:t>Opportunities Deployed &amp; Execution Forecast</a:t>
            </a:r>
          </a:p>
        </p:txBody>
      </p:sp>
      <p:sp>
        <p:nvSpPr>
          <p:cNvPr id="42" name="Rectangle 41">
            <a:extLst>
              <a:ext uri="{FF2B5EF4-FFF2-40B4-BE49-F238E27FC236}">
                <a16:creationId xmlns:a16="http://schemas.microsoft.com/office/drawing/2014/main" id="{4550A0E6-3B38-48FA-94B6-4AC172CEB88C}"/>
              </a:ext>
            </a:extLst>
          </p:cNvPr>
          <p:cNvSpPr/>
          <p:nvPr/>
        </p:nvSpPr>
        <p:spPr>
          <a:xfrm>
            <a:off x="8972781" y="2275121"/>
            <a:ext cx="1987209" cy="276999"/>
          </a:xfrm>
          <a:prstGeom prst="rect">
            <a:avLst/>
          </a:prstGeom>
        </p:spPr>
        <p:txBody>
          <a:bodyPr wrap="square" lIns="0" rIns="0" anchor="ctr">
            <a:spAutoFit/>
          </a:bodyPr>
          <a:lstStyle/>
          <a:p>
            <a:pPr marL="0" marR="0" lvl="1" indent="0" algn="r" defTabSz="1120466" rtl="0" eaLnBrk="1" fontAlgn="auto" latinLnBrk="0" hangingPunct="1">
              <a:lnSpc>
                <a:spcPct val="100000"/>
              </a:lnSpc>
              <a:spcBef>
                <a:spcPts val="0"/>
              </a:spcBef>
              <a:spcAft>
                <a:spcPts val="300"/>
              </a:spcAft>
              <a:buClr>
                <a:srgbClr val="FFFFFF"/>
              </a:buClr>
              <a:buSzPct val="75000"/>
              <a:buFontTx/>
              <a:buNone/>
              <a:tabLst>
                <a:tab pos="7011214" algn="l"/>
              </a:tabLst>
              <a:defRPr/>
            </a:pPr>
            <a:r>
              <a:rPr kumimoji="0" lang="en-US" sz="600" b="0" i="0" u="none" strike="noStrike" kern="1200" cap="none" spc="0" normalizeH="0" baseline="0" noProof="0" dirty="0">
                <a:ln>
                  <a:noFill/>
                </a:ln>
                <a:solidFill>
                  <a:srgbClr val="000000"/>
                </a:solidFill>
                <a:effectLst/>
                <a:uLnTx/>
                <a:uFillTx/>
                <a:ea typeface="+mn-ea"/>
                <a:cs typeface="Arial" pitchFamily="34" charset="0"/>
              </a:rPr>
              <a:t>5 Opportunities to be considered deployed at the start of Discovery; Subset still under forecasting</a:t>
            </a:r>
          </a:p>
        </p:txBody>
      </p:sp>
      <p:sp>
        <p:nvSpPr>
          <p:cNvPr id="43" name="Rectangle 42">
            <a:extLst>
              <a:ext uri="{FF2B5EF4-FFF2-40B4-BE49-F238E27FC236}">
                <a16:creationId xmlns:a16="http://schemas.microsoft.com/office/drawing/2014/main" id="{342500B7-ED93-4CDE-87EF-C7A0A998C253}"/>
              </a:ext>
            </a:extLst>
          </p:cNvPr>
          <p:cNvSpPr/>
          <p:nvPr/>
        </p:nvSpPr>
        <p:spPr>
          <a:xfrm>
            <a:off x="10684948" y="2728551"/>
            <a:ext cx="108512" cy="76944"/>
          </a:xfrm>
          <a:prstGeom prst="rect">
            <a:avLst/>
          </a:prstGeom>
          <a:solidFill>
            <a:srgbClr val="7030A0"/>
          </a:solidFill>
          <a:ln>
            <a:noFill/>
          </a:ln>
        </p:spPr>
        <p:txBody>
          <a:bodyPr wrap="square" lIns="0" tIns="0" rIns="0" bIns="0" anchor="ctr">
            <a:spAutoFit/>
          </a:bodyPr>
          <a:lstStyle/>
          <a:p>
            <a:pPr marL="0" marR="0" lvl="1" indent="0" algn="ctr" defTabSz="1120466" rtl="0" eaLnBrk="1" fontAlgn="auto" latinLnBrk="0" hangingPunct="1">
              <a:lnSpc>
                <a:spcPct val="100000"/>
              </a:lnSpc>
              <a:spcBef>
                <a:spcPts val="0"/>
              </a:spcBef>
              <a:spcAft>
                <a:spcPts val="330"/>
              </a:spcAft>
              <a:buClr>
                <a:srgbClr val="FFFFFF"/>
              </a:buClr>
              <a:buSzPct val="75000"/>
              <a:buFontTx/>
              <a:buNone/>
              <a:tabLst>
                <a:tab pos="7011214" algn="l"/>
              </a:tabLst>
              <a:defRPr/>
            </a:pPr>
            <a:r>
              <a:rPr kumimoji="0" lang="en-US" sz="500" b="1" i="0" u="none" strike="noStrike" kern="1200" cap="none" spc="0" normalizeH="0" baseline="0" noProof="0" dirty="0">
                <a:ln>
                  <a:noFill/>
                </a:ln>
                <a:solidFill>
                  <a:srgbClr val="FFFFFF"/>
                </a:solidFill>
                <a:effectLst/>
                <a:uLnTx/>
                <a:uFillTx/>
                <a:ea typeface="+mn-ea"/>
                <a:cs typeface="Arial" pitchFamily="34" charset="0"/>
              </a:rPr>
              <a:t>41</a:t>
            </a:r>
          </a:p>
        </p:txBody>
      </p:sp>
      <p:sp>
        <p:nvSpPr>
          <p:cNvPr id="44" name="Rectangle 43">
            <a:extLst>
              <a:ext uri="{FF2B5EF4-FFF2-40B4-BE49-F238E27FC236}">
                <a16:creationId xmlns:a16="http://schemas.microsoft.com/office/drawing/2014/main" id="{06913DE0-1852-45D6-A6F0-48D0277DDF25}"/>
              </a:ext>
            </a:extLst>
          </p:cNvPr>
          <p:cNvSpPr/>
          <p:nvPr/>
        </p:nvSpPr>
        <p:spPr>
          <a:xfrm>
            <a:off x="6768423" y="3648761"/>
            <a:ext cx="150200" cy="13253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ea typeface="+mn-ea"/>
                <a:cs typeface="+mn-cs"/>
              </a:rPr>
              <a:t>15</a:t>
            </a:r>
            <a:endParaRPr kumimoji="0" lang="en-US" sz="400" b="1" i="0" u="none" strike="noStrike" kern="1200" cap="none" spc="0" normalizeH="0" baseline="0" noProof="0" dirty="0">
              <a:ln>
                <a:noFill/>
              </a:ln>
              <a:solidFill>
                <a:srgbClr val="FFFFFF"/>
              </a:solidFill>
              <a:effectLst/>
              <a:uLnTx/>
              <a:uFillTx/>
              <a:ea typeface="+mn-ea"/>
              <a:cs typeface="+mn-cs"/>
            </a:endParaRPr>
          </a:p>
        </p:txBody>
      </p:sp>
      <p:grpSp>
        <p:nvGrpSpPr>
          <p:cNvPr id="45" name="Group 44">
            <a:extLst>
              <a:ext uri="{FF2B5EF4-FFF2-40B4-BE49-F238E27FC236}">
                <a16:creationId xmlns:a16="http://schemas.microsoft.com/office/drawing/2014/main" id="{58DED72C-40F8-4207-8A0F-542EA01EF9DF}"/>
              </a:ext>
            </a:extLst>
          </p:cNvPr>
          <p:cNvGrpSpPr>
            <a:grpSpLocks noChangeAspect="1"/>
          </p:cNvGrpSpPr>
          <p:nvPr/>
        </p:nvGrpSpPr>
        <p:grpSpPr>
          <a:xfrm>
            <a:off x="5533258" y="1749835"/>
            <a:ext cx="283464" cy="283464"/>
            <a:chOff x="8452856" y="2002152"/>
            <a:chExt cx="376207" cy="376207"/>
          </a:xfrm>
          <a:effectLst/>
        </p:grpSpPr>
        <p:sp>
          <p:nvSpPr>
            <p:cNvPr id="46" name="Oval 45">
              <a:extLst>
                <a:ext uri="{FF2B5EF4-FFF2-40B4-BE49-F238E27FC236}">
                  <a16:creationId xmlns:a16="http://schemas.microsoft.com/office/drawing/2014/main" id="{3707B05F-1DB4-4F67-AE0F-65078B857AD8}"/>
                </a:ext>
              </a:extLst>
            </p:cNvPr>
            <p:cNvSpPr/>
            <p:nvPr/>
          </p:nvSpPr>
          <p:spPr>
            <a:xfrm>
              <a:off x="8452856" y="2002152"/>
              <a:ext cx="376207" cy="376207"/>
            </a:xfrm>
            <a:prstGeom prst="ellipse">
              <a:avLst/>
            </a:prstGeom>
            <a:noFill/>
            <a:ln w="12700" cap="flat" cmpd="sng" algn="ctr">
              <a:solidFill>
                <a:schemeClr val="tx1"/>
              </a:solidFill>
              <a:prstDash val="solid"/>
              <a:miter lim="800000"/>
              <a:tailEnd type="oval"/>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000000"/>
                </a:solidFill>
                <a:effectLst/>
                <a:uLnTx/>
                <a:uFillTx/>
                <a:ea typeface="+mn-ea"/>
                <a:cs typeface="Open Sans"/>
              </a:endParaRPr>
            </a:p>
          </p:txBody>
        </p:sp>
        <p:sp>
          <p:nvSpPr>
            <p:cNvPr id="55" name="Right Triangle 54">
              <a:extLst>
                <a:ext uri="{FF2B5EF4-FFF2-40B4-BE49-F238E27FC236}">
                  <a16:creationId xmlns:a16="http://schemas.microsoft.com/office/drawing/2014/main" id="{C0D5EB60-2607-434A-A1DC-539E18B150B2}"/>
                </a:ext>
              </a:extLst>
            </p:cNvPr>
            <p:cNvSpPr/>
            <p:nvPr/>
          </p:nvSpPr>
          <p:spPr>
            <a:xfrm rot="13464349">
              <a:off x="8530904" y="2121081"/>
              <a:ext cx="134792" cy="134792"/>
            </a:xfrm>
            <a:prstGeom prst="rtTriangle">
              <a:avLst/>
            </a:prstGeom>
            <a:solidFill>
              <a:srgbClr val="000000"/>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a typeface="+mn-ea"/>
                <a:cs typeface="+mn-cs"/>
              </a:endParaRPr>
            </a:p>
          </p:txBody>
        </p:sp>
      </p:grpSp>
      <p:sp>
        <p:nvSpPr>
          <p:cNvPr id="56" name="Rectangle 55">
            <a:extLst>
              <a:ext uri="{FF2B5EF4-FFF2-40B4-BE49-F238E27FC236}">
                <a16:creationId xmlns:a16="http://schemas.microsoft.com/office/drawing/2014/main" id="{2A1E23EA-6348-463C-9518-F7DA8B168CC3}"/>
              </a:ext>
            </a:extLst>
          </p:cNvPr>
          <p:cNvSpPr/>
          <p:nvPr/>
        </p:nvSpPr>
        <p:spPr>
          <a:xfrm>
            <a:off x="7042867" y="3558734"/>
            <a:ext cx="150200" cy="13253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ea typeface="+mn-ea"/>
                <a:cs typeface="+mn-cs"/>
              </a:rPr>
              <a:t>17</a:t>
            </a:r>
          </a:p>
        </p:txBody>
      </p:sp>
      <p:sp>
        <p:nvSpPr>
          <p:cNvPr id="57" name="Rectangle 56">
            <a:extLst>
              <a:ext uri="{FF2B5EF4-FFF2-40B4-BE49-F238E27FC236}">
                <a16:creationId xmlns:a16="http://schemas.microsoft.com/office/drawing/2014/main" id="{94582591-31DD-4CD5-A966-4FF0102C15F2}"/>
              </a:ext>
            </a:extLst>
          </p:cNvPr>
          <p:cNvSpPr/>
          <p:nvPr/>
        </p:nvSpPr>
        <p:spPr>
          <a:xfrm>
            <a:off x="7322710" y="3466309"/>
            <a:ext cx="150200" cy="13253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ea typeface="+mn-ea"/>
                <a:cs typeface="+mn-cs"/>
              </a:rPr>
              <a:t>20</a:t>
            </a:r>
          </a:p>
        </p:txBody>
      </p:sp>
    </p:spTree>
    <p:extLst>
      <p:ext uri="{BB962C8B-B14F-4D97-AF65-F5344CB8AC3E}">
        <p14:creationId xmlns:p14="http://schemas.microsoft.com/office/powerpoint/2010/main" val="744319639"/>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28"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What is crowdsourcing?</a:t>
            </a:r>
            <a:endParaRPr lang="en-US" dirty="0"/>
          </a:p>
        </p:txBody>
      </p:sp>
      <p:sp>
        <p:nvSpPr>
          <p:cNvPr id="3" name="Text Placeholder 2"/>
          <p:cNvSpPr>
            <a:spLocks noGrp="1"/>
          </p:cNvSpPr>
          <p:nvPr>
            <p:ph type="body" sz="quarter" idx="14"/>
          </p:nvPr>
        </p:nvSpPr>
        <p:spPr/>
        <p:txBody>
          <a:bodyPr/>
          <a:lstStyle/>
          <a:p>
            <a:pPr lvl="0">
              <a:buClr>
                <a:srgbClr val="787878"/>
              </a:buClr>
              <a:defRPr/>
            </a:pPr>
            <a:r>
              <a:rPr lang="en-US" spc="0" dirty="0">
                <a:solidFill>
                  <a:srgbClr val="000000"/>
                </a:solidFill>
              </a:rPr>
              <a:t> Crowdsourcing is the practice of engaging a 'crowd' for a common goal —often for innovation, problem solving, or efficiency </a:t>
            </a:r>
            <a:br>
              <a:rPr lang="en-US" spc="0" dirty="0">
                <a:solidFill>
                  <a:srgbClr val="000000"/>
                </a:solidFill>
              </a:rPr>
            </a:br>
            <a:endParaRPr lang="en-US" spc="0" dirty="0">
              <a:solidFill>
                <a:srgbClr val="000000"/>
              </a:solidFill>
            </a:endParaRPr>
          </a:p>
        </p:txBody>
      </p:sp>
      <p:sp>
        <p:nvSpPr>
          <p:cNvPr id="5" name="Text Placeholder 4"/>
          <p:cNvSpPr>
            <a:spLocks noGrp="1"/>
          </p:cNvSpPr>
          <p:nvPr>
            <p:ph type="body" sz="quarter" idx="15"/>
          </p:nvPr>
        </p:nvSpPr>
        <p:spPr/>
        <p:txBody>
          <a:bodyPr/>
          <a:lstStyle/>
          <a:p>
            <a:r>
              <a:rPr lang="en-US" dirty="0"/>
              <a:t>Data Visualization &amp; Infographics</a:t>
            </a:r>
          </a:p>
        </p:txBody>
      </p:sp>
      <p:grpSp>
        <p:nvGrpSpPr>
          <p:cNvPr id="47" name="Group 46"/>
          <p:cNvGrpSpPr/>
          <p:nvPr/>
        </p:nvGrpSpPr>
        <p:grpSpPr>
          <a:xfrm>
            <a:off x="1433032" y="1704364"/>
            <a:ext cx="9695859" cy="4669325"/>
            <a:chOff x="1320444" y="2606784"/>
            <a:chExt cx="13199386" cy="6356551"/>
          </a:xfrm>
        </p:grpSpPr>
        <p:sp>
          <p:nvSpPr>
            <p:cNvPr id="48" name="Freeform 9"/>
            <p:cNvSpPr>
              <a:spLocks noChangeAspect="1" noEditPoints="1"/>
            </p:cNvSpPr>
            <p:nvPr/>
          </p:nvSpPr>
          <p:spPr bwMode="auto">
            <a:xfrm>
              <a:off x="1320444"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9" name="Freeform 9"/>
            <p:cNvSpPr>
              <a:spLocks noChangeAspect="1" noEditPoints="1"/>
            </p:cNvSpPr>
            <p:nvPr/>
          </p:nvSpPr>
          <p:spPr bwMode="auto">
            <a:xfrm>
              <a:off x="1571670"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0" name="Freeform 9"/>
            <p:cNvSpPr>
              <a:spLocks noChangeAspect="1" noEditPoints="1"/>
            </p:cNvSpPr>
            <p:nvPr/>
          </p:nvSpPr>
          <p:spPr bwMode="auto">
            <a:xfrm>
              <a:off x="1817742"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1" name="Freeform 9"/>
            <p:cNvSpPr>
              <a:spLocks noChangeAspect="1" noEditPoints="1"/>
            </p:cNvSpPr>
            <p:nvPr/>
          </p:nvSpPr>
          <p:spPr bwMode="auto">
            <a:xfrm>
              <a:off x="2051168"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2" name="Freeform 9"/>
            <p:cNvSpPr>
              <a:spLocks noChangeAspect="1" noEditPoints="1"/>
            </p:cNvSpPr>
            <p:nvPr/>
          </p:nvSpPr>
          <p:spPr bwMode="auto">
            <a:xfrm>
              <a:off x="2284594"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3" name="Freeform 9"/>
            <p:cNvSpPr>
              <a:spLocks noChangeAspect="1" noEditPoints="1"/>
            </p:cNvSpPr>
            <p:nvPr/>
          </p:nvSpPr>
          <p:spPr bwMode="auto">
            <a:xfrm>
              <a:off x="2518020"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4" name="Freeform 53"/>
            <p:cNvSpPr>
              <a:spLocks noChangeAspect="1" noEditPoints="1"/>
            </p:cNvSpPr>
            <p:nvPr/>
          </p:nvSpPr>
          <p:spPr bwMode="auto">
            <a:xfrm>
              <a:off x="2751446"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8" name="Freeform 9"/>
            <p:cNvSpPr>
              <a:spLocks noChangeAspect="1" noEditPoints="1"/>
            </p:cNvSpPr>
            <p:nvPr/>
          </p:nvSpPr>
          <p:spPr bwMode="auto">
            <a:xfrm>
              <a:off x="2984872"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9" name="Freeform 9"/>
            <p:cNvSpPr>
              <a:spLocks noChangeAspect="1" noEditPoints="1"/>
            </p:cNvSpPr>
            <p:nvPr/>
          </p:nvSpPr>
          <p:spPr bwMode="auto">
            <a:xfrm>
              <a:off x="3218298"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60" name="Freeform 9"/>
            <p:cNvSpPr>
              <a:spLocks noChangeAspect="1" noEditPoints="1"/>
            </p:cNvSpPr>
            <p:nvPr/>
          </p:nvSpPr>
          <p:spPr bwMode="auto">
            <a:xfrm>
              <a:off x="3451722"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61" name="Freeform 9"/>
            <p:cNvSpPr>
              <a:spLocks noChangeAspect="1" noEditPoints="1"/>
            </p:cNvSpPr>
            <p:nvPr/>
          </p:nvSpPr>
          <p:spPr bwMode="auto">
            <a:xfrm>
              <a:off x="3685149"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62" name="Freeform 9"/>
            <p:cNvSpPr>
              <a:spLocks noChangeAspect="1" noEditPoints="1"/>
            </p:cNvSpPr>
            <p:nvPr/>
          </p:nvSpPr>
          <p:spPr bwMode="auto">
            <a:xfrm>
              <a:off x="3918575"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63" name="Freeform 9"/>
            <p:cNvSpPr>
              <a:spLocks noChangeAspect="1" noEditPoints="1"/>
            </p:cNvSpPr>
            <p:nvPr/>
          </p:nvSpPr>
          <p:spPr bwMode="auto">
            <a:xfrm>
              <a:off x="4152000"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64" name="Freeform 9"/>
            <p:cNvSpPr>
              <a:spLocks noChangeAspect="1" noEditPoints="1"/>
            </p:cNvSpPr>
            <p:nvPr/>
          </p:nvSpPr>
          <p:spPr bwMode="auto">
            <a:xfrm>
              <a:off x="4385427"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65" name="Freeform 9"/>
            <p:cNvSpPr>
              <a:spLocks noChangeAspect="1" noEditPoints="1"/>
            </p:cNvSpPr>
            <p:nvPr/>
          </p:nvSpPr>
          <p:spPr bwMode="auto">
            <a:xfrm>
              <a:off x="4618851"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66" name="Freeform 9"/>
            <p:cNvSpPr>
              <a:spLocks noChangeAspect="1" noEditPoints="1"/>
            </p:cNvSpPr>
            <p:nvPr/>
          </p:nvSpPr>
          <p:spPr bwMode="auto">
            <a:xfrm>
              <a:off x="4852277"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67" name="Freeform 9"/>
            <p:cNvSpPr>
              <a:spLocks noChangeAspect="1" noEditPoints="1"/>
            </p:cNvSpPr>
            <p:nvPr/>
          </p:nvSpPr>
          <p:spPr bwMode="auto">
            <a:xfrm>
              <a:off x="5085703"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68" name="Freeform 9"/>
            <p:cNvSpPr>
              <a:spLocks noChangeAspect="1" noEditPoints="1"/>
            </p:cNvSpPr>
            <p:nvPr/>
          </p:nvSpPr>
          <p:spPr bwMode="auto">
            <a:xfrm>
              <a:off x="5319129"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69" name="Freeform 9"/>
            <p:cNvSpPr>
              <a:spLocks noChangeAspect="1" noEditPoints="1"/>
            </p:cNvSpPr>
            <p:nvPr/>
          </p:nvSpPr>
          <p:spPr bwMode="auto">
            <a:xfrm>
              <a:off x="5552555"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70" name="Freeform 9"/>
            <p:cNvSpPr>
              <a:spLocks noChangeAspect="1" noEditPoints="1"/>
            </p:cNvSpPr>
            <p:nvPr/>
          </p:nvSpPr>
          <p:spPr bwMode="auto">
            <a:xfrm>
              <a:off x="5785980"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71" name="Freeform 9"/>
            <p:cNvSpPr>
              <a:spLocks noChangeAspect="1" noEditPoints="1"/>
            </p:cNvSpPr>
            <p:nvPr/>
          </p:nvSpPr>
          <p:spPr bwMode="auto">
            <a:xfrm>
              <a:off x="1320444"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72" name="Freeform 9"/>
            <p:cNvSpPr>
              <a:spLocks noChangeAspect="1" noEditPoints="1"/>
            </p:cNvSpPr>
            <p:nvPr/>
          </p:nvSpPr>
          <p:spPr bwMode="auto">
            <a:xfrm>
              <a:off x="1571670"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73" name="Freeform 9"/>
            <p:cNvSpPr>
              <a:spLocks noChangeAspect="1" noEditPoints="1"/>
            </p:cNvSpPr>
            <p:nvPr/>
          </p:nvSpPr>
          <p:spPr bwMode="auto">
            <a:xfrm>
              <a:off x="1817742"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74" name="Freeform 9"/>
            <p:cNvSpPr>
              <a:spLocks noChangeAspect="1" noEditPoints="1"/>
            </p:cNvSpPr>
            <p:nvPr/>
          </p:nvSpPr>
          <p:spPr bwMode="auto">
            <a:xfrm>
              <a:off x="2051168"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75" name="Freeform 9"/>
            <p:cNvSpPr>
              <a:spLocks noChangeAspect="1" noEditPoints="1"/>
            </p:cNvSpPr>
            <p:nvPr/>
          </p:nvSpPr>
          <p:spPr bwMode="auto">
            <a:xfrm>
              <a:off x="2284594"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76" name="Freeform 9"/>
            <p:cNvSpPr>
              <a:spLocks noChangeAspect="1" noEditPoints="1"/>
            </p:cNvSpPr>
            <p:nvPr/>
          </p:nvSpPr>
          <p:spPr bwMode="auto">
            <a:xfrm>
              <a:off x="2518020"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77" name="Freeform 9"/>
            <p:cNvSpPr>
              <a:spLocks noChangeAspect="1" noEditPoints="1"/>
            </p:cNvSpPr>
            <p:nvPr/>
          </p:nvSpPr>
          <p:spPr bwMode="auto">
            <a:xfrm>
              <a:off x="2751446"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78" name="Freeform 9"/>
            <p:cNvSpPr>
              <a:spLocks noChangeAspect="1" noEditPoints="1"/>
            </p:cNvSpPr>
            <p:nvPr/>
          </p:nvSpPr>
          <p:spPr bwMode="auto">
            <a:xfrm>
              <a:off x="2984872"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79" name="Freeform 9"/>
            <p:cNvSpPr>
              <a:spLocks noChangeAspect="1" noEditPoints="1"/>
            </p:cNvSpPr>
            <p:nvPr/>
          </p:nvSpPr>
          <p:spPr bwMode="auto">
            <a:xfrm>
              <a:off x="3218298"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80" name="Freeform 9"/>
            <p:cNvSpPr>
              <a:spLocks noChangeAspect="1" noEditPoints="1"/>
            </p:cNvSpPr>
            <p:nvPr/>
          </p:nvSpPr>
          <p:spPr bwMode="auto">
            <a:xfrm>
              <a:off x="3451722"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81" name="Freeform 9"/>
            <p:cNvSpPr>
              <a:spLocks noChangeAspect="1" noEditPoints="1"/>
            </p:cNvSpPr>
            <p:nvPr/>
          </p:nvSpPr>
          <p:spPr bwMode="auto">
            <a:xfrm>
              <a:off x="3685149"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82" name="Freeform 9"/>
            <p:cNvSpPr>
              <a:spLocks noChangeAspect="1" noEditPoints="1"/>
            </p:cNvSpPr>
            <p:nvPr/>
          </p:nvSpPr>
          <p:spPr bwMode="auto">
            <a:xfrm>
              <a:off x="3918575"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83" name="Freeform 9"/>
            <p:cNvSpPr>
              <a:spLocks noChangeAspect="1" noEditPoints="1"/>
            </p:cNvSpPr>
            <p:nvPr/>
          </p:nvSpPr>
          <p:spPr bwMode="auto">
            <a:xfrm>
              <a:off x="4152000"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84" name="Freeform 9"/>
            <p:cNvSpPr>
              <a:spLocks noChangeAspect="1" noEditPoints="1"/>
            </p:cNvSpPr>
            <p:nvPr/>
          </p:nvSpPr>
          <p:spPr bwMode="auto">
            <a:xfrm>
              <a:off x="4385427"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85" name="Freeform 9"/>
            <p:cNvSpPr>
              <a:spLocks noChangeAspect="1" noEditPoints="1"/>
            </p:cNvSpPr>
            <p:nvPr/>
          </p:nvSpPr>
          <p:spPr bwMode="auto">
            <a:xfrm>
              <a:off x="4618851"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86" name="Freeform 9"/>
            <p:cNvSpPr>
              <a:spLocks noChangeAspect="1" noEditPoints="1"/>
            </p:cNvSpPr>
            <p:nvPr/>
          </p:nvSpPr>
          <p:spPr bwMode="auto">
            <a:xfrm>
              <a:off x="4852277"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87" name="Freeform 9"/>
            <p:cNvSpPr>
              <a:spLocks noChangeAspect="1" noEditPoints="1"/>
            </p:cNvSpPr>
            <p:nvPr/>
          </p:nvSpPr>
          <p:spPr bwMode="auto">
            <a:xfrm>
              <a:off x="5085703"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88" name="Freeform 9"/>
            <p:cNvSpPr>
              <a:spLocks noChangeAspect="1" noEditPoints="1"/>
            </p:cNvSpPr>
            <p:nvPr/>
          </p:nvSpPr>
          <p:spPr bwMode="auto">
            <a:xfrm>
              <a:off x="5319129"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89" name="Freeform 9"/>
            <p:cNvSpPr>
              <a:spLocks noChangeAspect="1" noEditPoints="1"/>
            </p:cNvSpPr>
            <p:nvPr/>
          </p:nvSpPr>
          <p:spPr bwMode="auto">
            <a:xfrm>
              <a:off x="5552555"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90" name="Freeform 9"/>
            <p:cNvSpPr>
              <a:spLocks noChangeAspect="1" noEditPoints="1"/>
            </p:cNvSpPr>
            <p:nvPr/>
          </p:nvSpPr>
          <p:spPr bwMode="auto">
            <a:xfrm>
              <a:off x="5785980"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91" name="Freeform 9"/>
            <p:cNvSpPr>
              <a:spLocks noChangeAspect="1" noEditPoints="1"/>
            </p:cNvSpPr>
            <p:nvPr/>
          </p:nvSpPr>
          <p:spPr bwMode="auto">
            <a:xfrm>
              <a:off x="6019405"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92" name="Freeform 9"/>
            <p:cNvSpPr>
              <a:spLocks noChangeAspect="1" noEditPoints="1"/>
            </p:cNvSpPr>
            <p:nvPr/>
          </p:nvSpPr>
          <p:spPr bwMode="auto">
            <a:xfrm>
              <a:off x="6019405"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93" name="Freeform 9"/>
            <p:cNvSpPr>
              <a:spLocks noChangeAspect="1" noEditPoints="1"/>
            </p:cNvSpPr>
            <p:nvPr/>
          </p:nvSpPr>
          <p:spPr bwMode="auto">
            <a:xfrm>
              <a:off x="6252830"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94" name="Freeform 9"/>
            <p:cNvSpPr>
              <a:spLocks noChangeAspect="1" noEditPoints="1"/>
            </p:cNvSpPr>
            <p:nvPr/>
          </p:nvSpPr>
          <p:spPr bwMode="auto">
            <a:xfrm>
              <a:off x="6252830"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95" name="Freeform 9"/>
            <p:cNvSpPr>
              <a:spLocks noChangeAspect="1" noEditPoints="1"/>
            </p:cNvSpPr>
            <p:nvPr/>
          </p:nvSpPr>
          <p:spPr bwMode="auto">
            <a:xfrm>
              <a:off x="6486256"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96" name="Freeform 9"/>
            <p:cNvSpPr>
              <a:spLocks noChangeAspect="1" noEditPoints="1"/>
            </p:cNvSpPr>
            <p:nvPr/>
          </p:nvSpPr>
          <p:spPr bwMode="auto">
            <a:xfrm>
              <a:off x="6486256"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97" name="Freeform 9"/>
            <p:cNvSpPr>
              <a:spLocks noChangeAspect="1" noEditPoints="1"/>
            </p:cNvSpPr>
            <p:nvPr/>
          </p:nvSpPr>
          <p:spPr bwMode="auto">
            <a:xfrm>
              <a:off x="6719680"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98" name="Freeform 9"/>
            <p:cNvSpPr>
              <a:spLocks noChangeAspect="1" noEditPoints="1"/>
            </p:cNvSpPr>
            <p:nvPr/>
          </p:nvSpPr>
          <p:spPr bwMode="auto">
            <a:xfrm>
              <a:off x="6719680"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99" name="Freeform 9"/>
            <p:cNvSpPr>
              <a:spLocks noChangeAspect="1" noEditPoints="1"/>
            </p:cNvSpPr>
            <p:nvPr/>
          </p:nvSpPr>
          <p:spPr bwMode="auto">
            <a:xfrm>
              <a:off x="6953105"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00" name="Freeform 9"/>
            <p:cNvSpPr>
              <a:spLocks noChangeAspect="1" noEditPoints="1"/>
            </p:cNvSpPr>
            <p:nvPr/>
          </p:nvSpPr>
          <p:spPr bwMode="auto">
            <a:xfrm>
              <a:off x="6953105"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01" name="Freeform 9"/>
            <p:cNvSpPr>
              <a:spLocks noChangeAspect="1" noEditPoints="1"/>
            </p:cNvSpPr>
            <p:nvPr/>
          </p:nvSpPr>
          <p:spPr bwMode="auto">
            <a:xfrm>
              <a:off x="7186531"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02" name="Freeform 9"/>
            <p:cNvSpPr>
              <a:spLocks noChangeAspect="1" noEditPoints="1"/>
            </p:cNvSpPr>
            <p:nvPr/>
          </p:nvSpPr>
          <p:spPr bwMode="auto">
            <a:xfrm>
              <a:off x="7186531"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03" name="Freeform 9"/>
            <p:cNvSpPr>
              <a:spLocks noChangeAspect="1" noEditPoints="1"/>
            </p:cNvSpPr>
            <p:nvPr/>
          </p:nvSpPr>
          <p:spPr bwMode="auto">
            <a:xfrm>
              <a:off x="7419955"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04" name="Freeform 9"/>
            <p:cNvSpPr>
              <a:spLocks noChangeAspect="1" noEditPoints="1"/>
            </p:cNvSpPr>
            <p:nvPr/>
          </p:nvSpPr>
          <p:spPr bwMode="auto">
            <a:xfrm>
              <a:off x="7419955"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05" name="Freeform 9"/>
            <p:cNvSpPr>
              <a:spLocks noChangeAspect="1" noEditPoints="1"/>
            </p:cNvSpPr>
            <p:nvPr/>
          </p:nvSpPr>
          <p:spPr bwMode="auto">
            <a:xfrm>
              <a:off x="7663964"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06" name="Freeform 9"/>
            <p:cNvSpPr>
              <a:spLocks noChangeAspect="1" noEditPoints="1"/>
            </p:cNvSpPr>
            <p:nvPr/>
          </p:nvSpPr>
          <p:spPr bwMode="auto">
            <a:xfrm>
              <a:off x="7663964"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07" name="Freeform 9"/>
            <p:cNvSpPr>
              <a:spLocks noChangeAspect="1" noEditPoints="1"/>
            </p:cNvSpPr>
            <p:nvPr/>
          </p:nvSpPr>
          <p:spPr bwMode="auto">
            <a:xfrm>
              <a:off x="7907972"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08" name="Freeform 9"/>
            <p:cNvSpPr>
              <a:spLocks noChangeAspect="1" noEditPoints="1"/>
            </p:cNvSpPr>
            <p:nvPr/>
          </p:nvSpPr>
          <p:spPr bwMode="auto">
            <a:xfrm>
              <a:off x="7907972"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09" name="Freeform 9"/>
            <p:cNvSpPr>
              <a:spLocks noChangeAspect="1" noEditPoints="1"/>
            </p:cNvSpPr>
            <p:nvPr/>
          </p:nvSpPr>
          <p:spPr bwMode="auto">
            <a:xfrm>
              <a:off x="8151981"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10" name="Freeform 9"/>
            <p:cNvSpPr>
              <a:spLocks noChangeAspect="1" noEditPoints="1"/>
            </p:cNvSpPr>
            <p:nvPr/>
          </p:nvSpPr>
          <p:spPr bwMode="auto">
            <a:xfrm>
              <a:off x="8151981"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11" name="Freeform 9"/>
            <p:cNvSpPr>
              <a:spLocks noChangeAspect="1" noEditPoints="1"/>
            </p:cNvSpPr>
            <p:nvPr/>
          </p:nvSpPr>
          <p:spPr bwMode="auto">
            <a:xfrm>
              <a:off x="8395989"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12" name="Freeform 9"/>
            <p:cNvSpPr>
              <a:spLocks noChangeAspect="1" noEditPoints="1"/>
            </p:cNvSpPr>
            <p:nvPr/>
          </p:nvSpPr>
          <p:spPr bwMode="auto">
            <a:xfrm>
              <a:off x="8395989"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13" name="Freeform 9"/>
            <p:cNvSpPr>
              <a:spLocks noChangeAspect="1" noEditPoints="1"/>
            </p:cNvSpPr>
            <p:nvPr/>
          </p:nvSpPr>
          <p:spPr bwMode="auto">
            <a:xfrm>
              <a:off x="8639998"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14" name="Freeform 9"/>
            <p:cNvSpPr>
              <a:spLocks noChangeAspect="1" noEditPoints="1"/>
            </p:cNvSpPr>
            <p:nvPr/>
          </p:nvSpPr>
          <p:spPr bwMode="auto">
            <a:xfrm>
              <a:off x="8639998"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15" name="Freeform 9"/>
            <p:cNvSpPr>
              <a:spLocks noChangeAspect="1" noEditPoints="1"/>
            </p:cNvSpPr>
            <p:nvPr/>
          </p:nvSpPr>
          <p:spPr bwMode="auto">
            <a:xfrm>
              <a:off x="8884006"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16" name="Freeform 9"/>
            <p:cNvSpPr>
              <a:spLocks noChangeAspect="1" noEditPoints="1"/>
            </p:cNvSpPr>
            <p:nvPr/>
          </p:nvSpPr>
          <p:spPr bwMode="auto">
            <a:xfrm>
              <a:off x="8884006"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17" name="Freeform 9"/>
            <p:cNvSpPr>
              <a:spLocks noChangeAspect="1" noEditPoints="1"/>
            </p:cNvSpPr>
            <p:nvPr/>
          </p:nvSpPr>
          <p:spPr bwMode="auto">
            <a:xfrm>
              <a:off x="9128015"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18" name="Freeform 9"/>
            <p:cNvSpPr>
              <a:spLocks noChangeAspect="1" noEditPoints="1"/>
            </p:cNvSpPr>
            <p:nvPr/>
          </p:nvSpPr>
          <p:spPr bwMode="auto">
            <a:xfrm>
              <a:off x="9128015"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19" name="Freeform 9"/>
            <p:cNvSpPr>
              <a:spLocks noChangeAspect="1" noEditPoints="1"/>
            </p:cNvSpPr>
            <p:nvPr/>
          </p:nvSpPr>
          <p:spPr bwMode="auto">
            <a:xfrm>
              <a:off x="9372023"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20" name="Freeform 9"/>
            <p:cNvSpPr>
              <a:spLocks noChangeAspect="1" noEditPoints="1"/>
            </p:cNvSpPr>
            <p:nvPr/>
          </p:nvSpPr>
          <p:spPr bwMode="auto">
            <a:xfrm>
              <a:off x="9372023"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21" name="Freeform 9"/>
            <p:cNvSpPr>
              <a:spLocks noChangeAspect="1" noEditPoints="1"/>
            </p:cNvSpPr>
            <p:nvPr/>
          </p:nvSpPr>
          <p:spPr bwMode="auto">
            <a:xfrm>
              <a:off x="9616032"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22" name="Freeform 9"/>
            <p:cNvSpPr>
              <a:spLocks noChangeAspect="1" noEditPoints="1"/>
            </p:cNvSpPr>
            <p:nvPr/>
          </p:nvSpPr>
          <p:spPr bwMode="auto">
            <a:xfrm>
              <a:off x="9616032"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23" name="Freeform 9"/>
            <p:cNvSpPr>
              <a:spLocks noChangeAspect="1" noEditPoints="1"/>
            </p:cNvSpPr>
            <p:nvPr/>
          </p:nvSpPr>
          <p:spPr bwMode="auto">
            <a:xfrm>
              <a:off x="9860040"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24" name="Freeform 9"/>
            <p:cNvSpPr>
              <a:spLocks noChangeAspect="1" noEditPoints="1"/>
            </p:cNvSpPr>
            <p:nvPr/>
          </p:nvSpPr>
          <p:spPr bwMode="auto">
            <a:xfrm>
              <a:off x="9860040"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25" name="Freeform 9"/>
            <p:cNvSpPr>
              <a:spLocks noChangeAspect="1" noEditPoints="1"/>
            </p:cNvSpPr>
            <p:nvPr/>
          </p:nvSpPr>
          <p:spPr bwMode="auto">
            <a:xfrm>
              <a:off x="10104049"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26" name="Freeform 9"/>
            <p:cNvSpPr>
              <a:spLocks noChangeAspect="1" noEditPoints="1"/>
            </p:cNvSpPr>
            <p:nvPr/>
          </p:nvSpPr>
          <p:spPr bwMode="auto">
            <a:xfrm>
              <a:off x="10104049"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27" name="Freeform 9"/>
            <p:cNvSpPr>
              <a:spLocks noChangeAspect="1" noEditPoints="1"/>
            </p:cNvSpPr>
            <p:nvPr/>
          </p:nvSpPr>
          <p:spPr bwMode="auto">
            <a:xfrm>
              <a:off x="10348057"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28" name="Freeform 9"/>
            <p:cNvSpPr>
              <a:spLocks noChangeAspect="1" noEditPoints="1"/>
            </p:cNvSpPr>
            <p:nvPr/>
          </p:nvSpPr>
          <p:spPr bwMode="auto">
            <a:xfrm>
              <a:off x="10348057"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29" name="Freeform 9"/>
            <p:cNvSpPr>
              <a:spLocks noChangeAspect="1" noEditPoints="1"/>
            </p:cNvSpPr>
            <p:nvPr/>
          </p:nvSpPr>
          <p:spPr bwMode="auto">
            <a:xfrm>
              <a:off x="10592066"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30" name="Freeform 9"/>
            <p:cNvSpPr>
              <a:spLocks noChangeAspect="1" noEditPoints="1"/>
            </p:cNvSpPr>
            <p:nvPr/>
          </p:nvSpPr>
          <p:spPr bwMode="auto">
            <a:xfrm>
              <a:off x="10592066"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31" name="Freeform 9"/>
            <p:cNvSpPr>
              <a:spLocks noChangeAspect="1" noEditPoints="1"/>
            </p:cNvSpPr>
            <p:nvPr/>
          </p:nvSpPr>
          <p:spPr bwMode="auto">
            <a:xfrm>
              <a:off x="10836074"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32" name="Freeform 9"/>
            <p:cNvSpPr>
              <a:spLocks noChangeAspect="1" noEditPoints="1"/>
            </p:cNvSpPr>
            <p:nvPr/>
          </p:nvSpPr>
          <p:spPr bwMode="auto">
            <a:xfrm>
              <a:off x="10836074"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33" name="Freeform 9"/>
            <p:cNvSpPr>
              <a:spLocks noChangeAspect="1" noEditPoints="1"/>
            </p:cNvSpPr>
            <p:nvPr/>
          </p:nvSpPr>
          <p:spPr bwMode="auto">
            <a:xfrm>
              <a:off x="11080083"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34" name="Freeform 9"/>
            <p:cNvSpPr>
              <a:spLocks noChangeAspect="1" noEditPoints="1"/>
            </p:cNvSpPr>
            <p:nvPr/>
          </p:nvSpPr>
          <p:spPr bwMode="auto">
            <a:xfrm>
              <a:off x="11080083"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35" name="Freeform 9"/>
            <p:cNvSpPr>
              <a:spLocks noChangeAspect="1" noEditPoints="1"/>
            </p:cNvSpPr>
            <p:nvPr/>
          </p:nvSpPr>
          <p:spPr bwMode="auto">
            <a:xfrm>
              <a:off x="11324091"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36" name="Freeform 9"/>
            <p:cNvSpPr>
              <a:spLocks noChangeAspect="1" noEditPoints="1"/>
            </p:cNvSpPr>
            <p:nvPr/>
          </p:nvSpPr>
          <p:spPr bwMode="auto">
            <a:xfrm>
              <a:off x="11324091"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37" name="Freeform 9"/>
            <p:cNvSpPr>
              <a:spLocks noChangeAspect="1" noEditPoints="1"/>
            </p:cNvSpPr>
            <p:nvPr/>
          </p:nvSpPr>
          <p:spPr bwMode="auto">
            <a:xfrm>
              <a:off x="11592587"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38" name="Freeform 9"/>
            <p:cNvSpPr>
              <a:spLocks noChangeAspect="1" noEditPoints="1"/>
            </p:cNvSpPr>
            <p:nvPr/>
          </p:nvSpPr>
          <p:spPr bwMode="auto">
            <a:xfrm>
              <a:off x="11592587"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39" name="Freeform 9"/>
            <p:cNvSpPr>
              <a:spLocks noChangeAspect="1" noEditPoints="1"/>
            </p:cNvSpPr>
            <p:nvPr/>
          </p:nvSpPr>
          <p:spPr bwMode="auto">
            <a:xfrm>
              <a:off x="11861083"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40" name="Freeform 9"/>
            <p:cNvSpPr>
              <a:spLocks noChangeAspect="1" noEditPoints="1"/>
            </p:cNvSpPr>
            <p:nvPr/>
          </p:nvSpPr>
          <p:spPr bwMode="auto">
            <a:xfrm>
              <a:off x="11861083"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41" name="Freeform 9"/>
            <p:cNvSpPr>
              <a:spLocks noChangeAspect="1" noEditPoints="1"/>
            </p:cNvSpPr>
            <p:nvPr/>
          </p:nvSpPr>
          <p:spPr bwMode="auto">
            <a:xfrm>
              <a:off x="12129579"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42" name="Freeform 9"/>
            <p:cNvSpPr>
              <a:spLocks noChangeAspect="1" noEditPoints="1"/>
            </p:cNvSpPr>
            <p:nvPr/>
          </p:nvSpPr>
          <p:spPr bwMode="auto">
            <a:xfrm>
              <a:off x="12129579"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43" name="Freeform 9"/>
            <p:cNvSpPr>
              <a:spLocks noChangeAspect="1" noEditPoints="1"/>
            </p:cNvSpPr>
            <p:nvPr/>
          </p:nvSpPr>
          <p:spPr bwMode="auto">
            <a:xfrm>
              <a:off x="12398074"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44" name="Freeform 9"/>
            <p:cNvSpPr>
              <a:spLocks noChangeAspect="1" noEditPoints="1"/>
            </p:cNvSpPr>
            <p:nvPr/>
          </p:nvSpPr>
          <p:spPr bwMode="auto">
            <a:xfrm>
              <a:off x="12398074"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45" name="Freeform 9"/>
            <p:cNvSpPr>
              <a:spLocks noChangeAspect="1" noEditPoints="1"/>
            </p:cNvSpPr>
            <p:nvPr/>
          </p:nvSpPr>
          <p:spPr bwMode="auto">
            <a:xfrm>
              <a:off x="12666570"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46" name="Freeform 9"/>
            <p:cNvSpPr>
              <a:spLocks noChangeAspect="1" noEditPoints="1"/>
            </p:cNvSpPr>
            <p:nvPr/>
          </p:nvSpPr>
          <p:spPr bwMode="auto">
            <a:xfrm>
              <a:off x="12666570"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47" name="Freeform 9"/>
            <p:cNvSpPr>
              <a:spLocks noChangeAspect="1" noEditPoints="1"/>
            </p:cNvSpPr>
            <p:nvPr/>
          </p:nvSpPr>
          <p:spPr bwMode="auto">
            <a:xfrm>
              <a:off x="12935066"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48" name="Freeform 9"/>
            <p:cNvSpPr>
              <a:spLocks noChangeAspect="1" noEditPoints="1"/>
            </p:cNvSpPr>
            <p:nvPr/>
          </p:nvSpPr>
          <p:spPr bwMode="auto">
            <a:xfrm>
              <a:off x="12935066"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49" name="Freeform 9"/>
            <p:cNvSpPr>
              <a:spLocks noChangeAspect="1" noEditPoints="1"/>
            </p:cNvSpPr>
            <p:nvPr/>
          </p:nvSpPr>
          <p:spPr bwMode="auto">
            <a:xfrm>
              <a:off x="13203562"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50" name="Freeform 9"/>
            <p:cNvSpPr>
              <a:spLocks noChangeAspect="1" noEditPoints="1"/>
            </p:cNvSpPr>
            <p:nvPr/>
          </p:nvSpPr>
          <p:spPr bwMode="auto">
            <a:xfrm>
              <a:off x="13203562"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51" name="Freeform 9"/>
            <p:cNvSpPr>
              <a:spLocks noChangeAspect="1" noEditPoints="1"/>
            </p:cNvSpPr>
            <p:nvPr/>
          </p:nvSpPr>
          <p:spPr bwMode="auto">
            <a:xfrm>
              <a:off x="13472058"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52" name="Freeform 9"/>
            <p:cNvSpPr>
              <a:spLocks noChangeAspect="1" noEditPoints="1"/>
            </p:cNvSpPr>
            <p:nvPr/>
          </p:nvSpPr>
          <p:spPr bwMode="auto">
            <a:xfrm>
              <a:off x="13472058"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53" name="Freeform 9"/>
            <p:cNvSpPr>
              <a:spLocks noChangeAspect="1" noEditPoints="1"/>
            </p:cNvSpPr>
            <p:nvPr/>
          </p:nvSpPr>
          <p:spPr bwMode="auto">
            <a:xfrm>
              <a:off x="13740553"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54" name="Freeform 9"/>
            <p:cNvSpPr>
              <a:spLocks noChangeAspect="1" noEditPoints="1"/>
            </p:cNvSpPr>
            <p:nvPr/>
          </p:nvSpPr>
          <p:spPr bwMode="auto">
            <a:xfrm>
              <a:off x="13740553"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55" name="Freeform 9"/>
            <p:cNvSpPr>
              <a:spLocks noChangeAspect="1" noEditPoints="1"/>
            </p:cNvSpPr>
            <p:nvPr/>
          </p:nvSpPr>
          <p:spPr bwMode="auto">
            <a:xfrm>
              <a:off x="14009049" y="644985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56" name="Freeform 9"/>
            <p:cNvSpPr>
              <a:spLocks noChangeAspect="1" noEditPoints="1"/>
            </p:cNvSpPr>
            <p:nvPr/>
          </p:nvSpPr>
          <p:spPr bwMode="auto">
            <a:xfrm>
              <a:off x="14009049" y="7093596"/>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57" name="TextBox 156"/>
            <p:cNvSpPr txBox="1"/>
            <p:nvPr/>
          </p:nvSpPr>
          <p:spPr>
            <a:xfrm>
              <a:off x="2238499" y="2779359"/>
              <a:ext cx="4985536" cy="274875"/>
            </a:xfrm>
            <a:prstGeom prst="rect">
              <a:avLst/>
            </a:prstGeom>
            <a:noFill/>
          </p:spPr>
          <p:txBody>
            <a:bodyPr wrap="square" lIns="0" tIns="0" rIns="0" bIns="0" rtlCol="0" anchor="ctr">
              <a:spAutoFit/>
            </a:bodyPr>
            <a:lstStyle/>
            <a:p>
              <a:pPr marL="0" marR="0" lvl="0" indent="0" algn="l" defTabSz="1142609" rtl="0" eaLnBrk="1" fontAlgn="auto" latinLnBrk="0" hangingPunct="1">
                <a:lnSpc>
                  <a:spcPct val="100000"/>
                </a:lnSpc>
                <a:spcBef>
                  <a:spcPts val="1125"/>
                </a:spcBef>
                <a:spcAft>
                  <a:spcPts val="0"/>
                </a:spcAft>
                <a:buClrTx/>
                <a:buSzPct val="25000"/>
                <a:buFontTx/>
                <a:buNone/>
                <a:tabLst/>
                <a:defRPr/>
              </a:pPr>
              <a:r>
                <a:rPr kumimoji="0" lang="en-US" sz="1312" b="1" i="0" u="none" strike="noStrike" kern="1200" cap="none" spc="0" normalizeH="0" baseline="0" noProof="0" dirty="0">
                  <a:ln>
                    <a:noFill/>
                  </a:ln>
                  <a:solidFill>
                    <a:srgbClr val="86BC25"/>
                  </a:solidFill>
                  <a:effectLst/>
                  <a:uLnTx/>
                  <a:uFillTx/>
                  <a:ea typeface="ヒラギノ角ゴ ProN W3" charset="0"/>
                  <a:cs typeface="Segoe UI Semibold" panose="020B0702040204020203" pitchFamily="34" charset="0"/>
                  <a:sym typeface="Gotham Book" charset="0"/>
                </a:rPr>
                <a:t>Your team as a crowd</a:t>
              </a:r>
            </a:p>
          </p:txBody>
        </p:sp>
        <p:sp>
          <p:nvSpPr>
            <p:cNvPr id="158" name="TextBox 157"/>
            <p:cNvSpPr txBox="1"/>
            <p:nvPr/>
          </p:nvSpPr>
          <p:spPr>
            <a:xfrm>
              <a:off x="9484439" y="2736078"/>
              <a:ext cx="5035391" cy="274875"/>
            </a:xfrm>
            <a:prstGeom prst="rect">
              <a:avLst/>
            </a:prstGeom>
            <a:noFill/>
          </p:spPr>
          <p:txBody>
            <a:bodyPr wrap="square" lIns="0" tIns="0" rIns="0" bIns="0" rtlCol="0" anchor="ctr">
              <a:spAutoFit/>
            </a:bodyPr>
            <a:lstStyle/>
            <a:p>
              <a:pPr marL="0" marR="0" lvl="0" indent="0" algn="l" defTabSz="1142609" rtl="0" eaLnBrk="1" fontAlgn="auto" latinLnBrk="0" hangingPunct="1">
                <a:lnSpc>
                  <a:spcPct val="100000"/>
                </a:lnSpc>
                <a:spcBef>
                  <a:spcPts val="1125"/>
                </a:spcBef>
                <a:spcAft>
                  <a:spcPts val="0"/>
                </a:spcAft>
                <a:buClrTx/>
                <a:buSzPct val="25000"/>
                <a:buFontTx/>
                <a:buNone/>
                <a:tabLst/>
                <a:defRPr/>
              </a:pPr>
              <a:r>
                <a:rPr kumimoji="0" lang="en-US" sz="1312" b="1" i="0" u="none" strike="noStrike" kern="1200" cap="none" spc="0" normalizeH="0" baseline="0" noProof="0" dirty="0">
                  <a:ln>
                    <a:noFill/>
                  </a:ln>
                  <a:solidFill>
                    <a:srgbClr val="62B5E5"/>
                  </a:solidFill>
                  <a:effectLst/>
                  <a:uLnTx/>
                  <a:uFillTx/>
                  <a:ea typeface="ヒラギノ角ゴ ProN W3" charset="0"/>
                  <a:cs typeface="Segoe UI Semibold" panose="020B0702040204020203" pitchFamily="34" charset="0"/>
                  <a:sym typeface="Gotham Book" charset="0"/>
                </a:rPr>
                <a:t>Your company as a crowd</a:t>
              </a:r>
            </a:p>
          </p:txBody>
        </p:sp>
        <p:sp>
          <p:nvSpPr>
            <p:cNvPr id="159" name="Freeform 9"/>
            <p:cNvSpPr>
              <a:spLocks noChangeAspect="1" noEditPoints="1"/>
            </p:cNvSpPr>
            <p:nvPr/>
          </p:nvSpPr>
          <p:spPr bwMode="auto">
            <a:xfrm>
              <a:off x="1320444"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60" name="Freeform 9"/>
            <p:cNvSpPr>
              <a:spLocks noChangeAspect="1" noEditPoints="1"/>
            </p:cNvSpPr>
            <p:nvPr/>
          </p:nvSpPr>
          <p:spPr bwMode="auto">
            <a:xfrm>
              <a:off x="1571670"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61" name="Freeform 9"/>
            <p:cNvSpPr>
              <a:spLocks noChangeAspect="1" noEditPoints="1"/>
            </p:cNvSpPr>
            <p:nvPr/>
          </p:nvSpPr>
          <p:spPr bwMode="auto">
            <a:xfrm>
              <a:off x="1817742"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62" name="Freeform 9"/>
            <p:cNvSpPr>
              <a:spLocks noChangeAspect="1" noEditPoints="1"/>
            </p:cNvSpPr>
            <p:nvPr/>
          </p:nvSpPr>
          <p:spPr bwMode="auto">
            <a:xfrm>
              <a:off x="2051168"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63" name="Freeform 9"/>
            <p:cNvSpPr>
              <a:spLocks noChangeAspect="1" noEditPoints="1"/>
            </p:cNvSpPr>
            <p:nvPr/>
          </p:nvSpPr>
          <p:spPr bwMode="auto">
            <a:xfrm>
              <a:off x="2284594"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64" name="Freeform 9"/>
            <p:cNvSpPr>
              <a:spLocks noChangeAspect="1" noEditPoints="1"/>
            </p:cNvSpPr>
            <p:nvPr/>
          </p:nvSpPr>
          <p:spPr bwMode="auto">
            <a:xfrm>
              <a:off x="2518020"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65" name="Freeform 9"/>
            <p:cNvSpPr>
              <a:spLocks noChangeAspect="1" noEditPoints="1"/>
            </p:cNvSpPr>
            <p:nvPr/>
          </p:nvSpPr>
          <p:spPr bwMode="auto">
            <a:xfrm>
              <a:off x="2751446"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66" name="Freeform 9"/>
            <p:cNvSpPr>
              <a:spLocks noChangeAspect="1" noEditPoints="1"/>
            </p:cNvSpPr>
            <p:nvPr/>
          </p:nvSpPr>
          <p:spPr bwMode="auto">
            <a:xfrm>
              <a:off x="2984872"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67" name="Freeform 9"/>
            <p:cNvSpPr>
              <a:spLocks noChangeAspect="1" noEditPoints="1"/>
            </p:cNvSpPr>
            <p:nvPr/>
          </p:nvSpPr>
          <p:spPr bwMode="auto">
            <a:xfrm>
              <a:off x="3218298"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68" name="Freeform 9"/>
            <p:cNvSpPr>
              <a:spLocks noChangeAspect="1" noEditPoints="1"/>
            </p:cNvSpPr>
            <p:nvPr/>
          </p:nvSpPr>
          <p:spPr bwMode="auto">
            <a:xfrm>
              <a:off x="3451722"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69" name="Freeform 9"/>
            <p:cNvSpPr>
              <a:spLocks noChangeAspect="1" noEditPoints="1"/>
            </p:cNvSpPr>
            <p:nvPr/>
          </p:nvSpPr>
          <p:spPr bwMode="auto">
            <a:xfrm>
              <a:off x="3685149"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70" name="Freeform 9"/>
            <p:cNvSpPr>
              <a:spLocks noChangeAspect="1" noEditPoints="1"/>
            </p:cNvSpPr>
            <p:nvPr/>
          </p:nvSpPr>
          <p:spPr bwMode="auto">
            <a:xfrm>
              <a:off x="3918575"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71" name="Freeform 9"/>
            <p:cNvSpPr>
              <a:spLocks noChangeAspect="1" noEditPoints="1"/>
            </p:cNvSpPr>
            <p:nvPr/>
          </p:nvSpPr>
          <p:spPr bwMode="auto">
            <a:xfrm>
              <a:off x="4152000"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72" name="Freeform 9"/>
            <p:cNvSpPr>
              <a:spLocks noChangeAspect="1" noEditPoints="1"/>
            </p:cNvSpPr>
            <p:nvPr/>
          </p:nvSpPr>
          <p:spPr bwMode="auto">
            <a:xfrm>
              <a:off x="4385427"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73" name="Freeform 9"/>
            <p:cNvSpPr>
              <a:spLocks noChangeAspect="1" noEditPoints="1"/>
            </p:cNvSpPr>
            <p:nvPr/>
          </p:nvSpPr>
          <p:spPr bwMode="auto">
            <a:xfrm>
              <a:off x="4618851"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74" name="Freeform 9"/>
            <p:cNvSpPr>
              <a:spLocks noChangeAspect="1" noEditPoints="1"/>
            </p:cNvSpPr>
            <p:nvPr/>
          </p:nvSpPr>
          <p:spPr bwMode="auto">
            <a:xfrm>
              <a:off x="4852277"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75" name="Freeform 9"/>
            <p:cNvSpPr>
              <a:spLocks noChangeAspect="1" noEditPoints="1"/>
            </p:cNvSpPr>
            <p:nvPr/>
          </p:nvSpPr>
          <p:spPr bwMode="auto">
            <a:xfrm>
              <a:off x="5085703"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76" name="Freeform 9"/>
            <p:cNvSpPr>
              <a:spLocks noChangeAspect="1" noEditPoints="1"/>
            </p:cNvSpPr>
            <p:nvPr/>
          </p:nvSpPr>
          <p:spPr bwMode="auto">
            <a:xfrm>
              <a:off x="5319129"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77" name="Freeform 9"/>
            <p:cNvSpPr>
              <a:spLocks noChangeAspect="1" noEditPoints="1"/>
            </p:cNvSpPr>
            <p:nvPr/>
          </p:nvSpPr>
          <p:spPr bwMode="auto">
            <a:xfrm>
              <a:off x="5552555"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78" name="Freeform 9"/>
            <p:cNvSpPr>
              <a:spLocks noChangeAspect="1" noEditPoints="1"/>
            </p:cNvSpPr>
            <p:nvPr/>
          </p:nvSpPr>
          <p:spPr bwMode="auto">
            <a:xfrm>
              <a:off x="5785980"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79" name="Freeform 9"/>
            <p:cNvSpPr>
              <a:spLocks noChangeAspect="1" noEditPoints="1"/>
            </p:cNvSpPr>
            <p:nvPr/>
          </p:nvSpPr>
          <p:spPr bwMode="auto">
            <a:xfrm>
              <a:off x="1320444"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80" name="Freeform 9"/>
            <p:cNvSpPr>
              <a:spLocks noChangeAspect="1" noEditPoints="1"/>
            </p:cNvSpPr>
            <p:nvPr/>
          </p:nvSpPr>
          <p:spPr bwMode="auto">
            <a:xfrm>
              <a:off x="1571670"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81" name="Freeform 9"/>
            <p:cNvSpPr>
              <a:spLocks noChangeAspect="1" noEditPoints="1"/>
            </p:cNvSpPr>
            <p:nvPr/>
          </p:nvSpPr>
          <p:spPr bwMode="auto">
            <a:xfrm>
              <a:off x="1817742"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82" name="Freeform 9"/>
            <p:cNvSpPr>
              <a:spLocks noChangeAspect="1" noEditPoints="1"/>
            </p:cNvSpPr>
            <p:nvPr/>
          </p:nvSpPr>
          <p:spPr bwMode="auto">
            <a:xfrm>
              <a:off x="2051168"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83" name="Freeform 9"/>
            <p:cNvSpPr>
              <a:spLocks noChangeAspect="1" noEditPoints="1"/>
            </p:cNvSpPr>
            <p:nvPr/>
          </p:nvSpPr>
          <p:spPr bwMode="auto">
            <a:xfrm>
              <a:off x="2284594"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84" name="Freeform 9"/>
            <p:cNvSpPr>
              <a:spLocks noChangeAspect="1" noEditPoints="1"/>
            </p:cNvSpPr>
            <p:nvPr/>
          </p:nvSpPr>
          <p:spPr bwMode="auto">
            <a:xfrm>
              <a:off x="2518020"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85" name="Freeform 9"/>
            <p:cNvSpPr>
              <a:spLocks noChangeAspect="1" noEditPoints="1"/>
            </p:cNvSpPr>
            <p:nvPr/>
          </p:nvSpPr>
          <p:spPr bwMode="auto">
            <a:xfrm>
              <a:off x="2751446"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86" name="Freeform 9"/>
            <p:cNvSpPr>
              <a:spLocks noChangeAspect="1" noEditPoints="1"/>
            </p:cNvSpPr>
            <p:nvPr/>
          </p:nvSpPr>
          <p:spPr bwMode="auto">
            <a:xfrm>
              <a:off x="2984872"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87" name="Freeform 9"/>
            <p:cNvSpPr>
              <a:spLocks noChangeAspect="1" noEditPoints="1"/>
            </p:cNvSpPr>
            <p:nvPr/>
          </p:nvSpPr>
          <p:spPr bwMode="auto">
            <a:xfrm>
              <a:off x="3218298"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88" name="Freeform 9"/>
            <p:cNvSpPr>
              <a:spLocks noChangeAspect="1" noEditPoints="1"/>
            </p:cNvSpPr>
            <p:nvPr/>
          </p:nvSpPr>
          <p:spPr bwMode="auto">
            <a:xfrm>
              <a:off x="3451722"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89" name="Freeform 9"/>
            <p:cNvSpPr>
              <a:spLocks noChangeAspect="1" noEditPoints="1"/>
            </p:cNvSpPr>
            <p:nvPr/>
          </p:nvSpPr>
          <p:spPr bwMode="auto">
            <a:xfrm>
              <a:off x="3685149"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90" name="Freeform 9"/>
            <p:cNvSpPr>
              <a:spLocks noChangeAspect="1" noEditPoints="1"/>
            </p:cNvSpPr>
            <p:nvPr/>
          </p:nvSpPr>
          <p:spPr bwMode="auto">
            <a:xfrm>
              <a:off x="3918575"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91" name="Freeform 9"/>
            <p:cNvSpPr>
              <a:spLocks noChangeAspect="1" noEditPoints="1"/>
            </p:cNvSpPr>
            <p:nvPr/>
          </p:nvSpPr>
          <p:spPr bwMode="auto">
            <a:xfrm>
              <a:off x="4152000"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92" name="Freeform 9"/>
            <p:cNvSpPr>
              <a:spLocks noChangeAspect="1" noEditPoints="1"/>
            </p:cNvSpPr>
            <p:nvPr/>
          </p:nvSpPr>
          <p:spPr bwMode="auto">
            <a:xfrm>
              <a:off x="4385427"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93" name="Freeform 9"/>
            <p:cNvSpPr>
              <a:spLocks noChangeAspect="1" noEditPoints="1"/>
            </p:cNvSpPr>
            <p:nvPr/>
          </p:nvSpPr>
          <p:spPr bwMode="auto">
            <a:xfrm>
              <a:off x="4618851"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94" name="Freeform 9"/>
            <p:cNvSpPr>
              <a:spLocks noChangeAspect="1" noEditPoints="1"/>
            </p:cNvSpPr>
            <p:nvPr/>
          </p:nvSpPr>
          <p:spPr bwMode="auto">
            <a:xfrm>
              <a:off x="4852277"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95" name="Freeform 9"/>
            <p:cNvSpPr>
              <a:spLocks noChangeAspect="1" noEditPoints="1"/>
            </p:cNvSpPr>
            <p:nvPr/>
          </p:nvSpPr>
          <p:spPr bwMode="auto">
            <a:xfrm>
              <a:off x="5085703"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96" name="Freeform 9"/>
            <p:cNvSpPr>
              <a:spLocks noChangeAspect="1" noEditPoints="1"/>
            </p:cNvSpPr>
            <p:nvPr/>
          </p:nvSpPr>
          <p:spPr bwMode="auto">
            <a:xfrm>
              <a:off x="5319129"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97" name="Freeform 9"/>
            <p:cNvSpPr>
              <a:spLocks noChangeAspect="1" noEditPoints="1"/>
            </p:cNvSpPr>
            <p:nvPr/>
          </p:nvSpPr>
          <p:spPr bwMode="auto">
            <a:xfrm>
              <a:off x="5552555"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98" name="Freeform 9"/>
            <p:cNvSpPr>
              <a:spLocks noChangeAspect="1" noEditPoints="1"/>
            </p:cNvSpPr>
            <p:nvPr/>
          </p:nvSpPr>
          <p:spPr bwMode="auto">
            <a:xfrm>
              <a:off x="5785980"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199" name="Freeform 9"/>
            <p:cNvSpPr>
              <a:spLocks noChangeAspect="1" noEditPoints="1"/>
            </p:cNvSpPr>
            <p:nvPr/>
          </p:nvSpPr>
          <p:spPr bwMode="auto">
            <a:xfrm>
              <a:off x="1320444"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00" name="Freeform 9"/>
            <p:cNvSpPr>
              <a:spLocks noChangeAspect="1" noEditPoints="1"/>
            </p:cNvSpPr>
            <p:nvPr/>
          </p:nvSpPr>
          <p:spPr bwMode="auto">
            <a:xfrm>
              <a:off x="1571670"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01" name="Freeform 9"/>
            <p:cNvSpPr>
              <a:spLocks noChangeAspect="1" noEditPoints="1"/>
            </p:cNvSpPr>
            <p:nvPr/>
          </p:nvSpPr>
          <p:spPr bwMode="auto">
            <a:xfrm>
              <a:off x="1817742"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02" name="Freeform 9"/>
            <p:cNvSpPr>
              <a:spLocks noChangeAspect="1" noEditPoints="1"/>
            </p:cNvSpPr>
            <p:nvPr/>
          </p:nvSpPr>
          <p:spPr bwMode="auto">
            <a:xfrm>
              <a:off x="2051168"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03" name="Freeform 9"/>
            <p:cNvSpPr>
              <a:spLocks noChangeAspect="1" noEditPoints="1"/>
            </p:cNvSpPr>
            <p:nvPr/>
          </p:nvSpPr>
          <p:spPr bwMode="auto">
            <a:xfrm>
              <a:off x="2284594"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04" name="Freeform 9"/>
            <p:cNvSpPr>
              <a:spLocks noChangeAspect="1" noEditPoints="1"/>
            </p:cNvSpPr>
            <p:nvPr/>
          </p:nvSpPr>
          <p:spPr bwMode="auto">
            <a:xfrm>
              <a:off x="2518020"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05" name="Freeform 9"/>
            <p:cNvSpPr>
              <a:spLocks noChangeAspect="1" noEditPoints="1"/>
            </p:cNvSpPr>
            <p:nvPr/>
          </p:nvSpPr>
          <p:spPr bwMode="auto">
            <a:xfrm>
              <a:off x="2751446"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06" name="Freeform 9"/>
            <p:cNvSpPr>
              <a:spLocks noChangeAspect="1" noEditPoints="1"/>
            </p:cNvSpPr>
            <p:nvPr/>
          </p:nvSpPr>
          <p:spPr bwMode="auto">
            <a:xfrm>
              <a:off x="2984872"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07" name="Freeform 9"/>
            <p:cNvSpPr>
              <a:spLocks noChangeAspect="1" noEditPoints="1"/>
            </p:cNvSpPr>
            <p:nvPr/>
          </p:nvSpPr>
          <p:spPr bwMode="auto">
            <a:xfrm>
              <a:off x="3218298"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08" name="Freeform 9"/>
            <p:cNvSpPr>
              <a:spLocks noChangeAspect="1" noEditPoints="1"/>
            </p:cNvSpPr>
            <p:nvPr/>
          </p:nvSpPr>
          <p:spPr bwMode="auto">
            <a:xfrm>
              <a:off x="3451722"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09" name="Freeform 9"/>
            <p:cNvSpPr>
              <a:spLocks noChangeAspect="1" noEditPoints="1"/>
            </p:cNvSpPr>
            <p:nvPr/>
          </p:nvSpPr>
          <p:spPr bwMode="auto">
            <a:xfrm>
              <a:off x="3685149"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10" name="Freeform 9"/>
            <p:cNvSpPr>
              <a:spLocks noChangeAspect="1" noEditPoints="1"/>
            </p:cNvSpPr>
            <p:nvPr/>
          </p:nvSpPr>
          <p:spPr bwMode="auto">
            <a:xfrm>
              <a:off x="3918575"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11" name="Freeform 9"/>
            <p:cNvSpPr>
              <a:spLocks noChangeAspect="1" noEditPoints="1"/>
            </p:cNvSpPr>
            <p:nvPr/>
          </p:nvSpPr>
          <p:spPr bwMode="auto">
            <a:xfrm>
              <a:off x="4152000"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12" name="Freeform 9"/>
            <p:cNvSpPr>
              <a:spLocks noChangeAspect="1" noEditPoints="1"/>
            </p:cNvSpPr>
            <p:nvPr/>
          </p:nvSpPr>
          <p:spPr bwMode="auto">
            <a:xfrm>
              <a:off x="4385427"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13" name="Freeform 9"/>
            <p:cNvSpPr>
              <a:spLocks noChangeAspect="1" noEditPoints="1"/>
            </p:cNvSpPr>
            <p:nvPr/>
          </p:nvSpPr>
          <p:spPr bwMode="auto">
            <a:xfrm>
              <a:off x="4618851"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14" name="Freeform 9"/>
            <p:cNvSpPr>
              <a:spLocks noChangeAspect="1" noEditPoints="1"/>
            </p:cNvSpPr>
            <p:nvPr/>
          </p:nvSpPr>
          <p:spPr bwMode="auto">
            <a:xfrm>
              <a:off x="4852277"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15" name="Freeform 9"/>
            <p:cNvSpPr>
              <a:spLocks noChangeAspect="1" noEditPoints="1"/>
            </p:cNvSpPr>
            <p:nvPr/>
          </p:nvSpPr>
          <p:spPr bwMode="auto">
            <a:xfrm>
              <a:off x="5085703"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16" name="Freeform 9"/>
            <p:cNvSpPr>
              <a:spLocks noChangeAspect="1" noEditPoints="1"/>
            </p:cNvSpPr>
            <p:nvPr/>
          </p:nvSpPr>
          <p:spPr bwMode="auto">
            <a:xfrm>
              <a:off x="5319129"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17" name="Freeform 9"/>
            <p:cNvSpPr>
              <a:spLocks noChangeAspect="1" noEditPoints="1"/>
            </p:cNvSpPr>
            <p:nvPr/>
          </p:nvSpPr>
          <p:spPr bwMode="auto">
            <a:xfrm>
              <a:off x="5552555"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18" name="Freeform 9"/>
            <p:cNvSpPr>
              <a:spLocks noChangeAspect="1" noEditPoints="1"/>
            </p:cNvSpPr>
            <p:nvPr/>
          </p:nvSpPr>
          <p:spPr bwMode="auto">
            <a:xfrm>
              <a:off x="5785980"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19" name="Freeform 9"/>
            <p:cNvSpPr>
              <a:spLocks noChangeAspect="1" noEditPoints="1"/>
            </p:cNvSpPr>
            <p:nvPr/>
          </p:nvSpPr>
          <p:spPr bwMode="auto">
            <a:xfrm>
              <a:off x="1320444"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20" name="Freeform 9"/>
            <p:cNvSpPr>
              <a:spLocks noChangeAspect="1" noEditPoints="1"/>
            </p:cNvSpPr>
            <p:nvPr/>
          </p:nvSpPr>
          <p:spPr bwMode="auto">
            <a:xfrm>
              <a:off x="1571670"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21" name="Freeform 9"/>
            <p:cNvSpPr>
              <a:spLocks noChangeAspect="1" noEditPoints="1"/>
            </p:cNvSpPr>
            <p:nvPr/>
          </p:nvSpPr>
          <p:spPr bwMode="auto">
            <a:xfrm>
              <a:off x="1817742"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22" name="Freeform 9"/>
            <p:cNvSpPr>
              <a:spLocks noChangeAspect="1" noEditPoints="1"/>
            </p:cNvSpPr>
            <p:nvPr/>
          </p:nvSpPr>
          <p:spPr bwMode="auto">
            <a:xfrm>
              <a:off x="2051168"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23" name="Freeform 9"/>
            <p:cNvSpPr>
              <a:spLocks noChangeAspect="1" noEditPoints="1"/>
            </p:cNvSpPr>
            <p:nvPr/>
          </p:nvSpPr>
          <p:spPr bwMode="auto">
            <a:xfrm>
              <a:off x="2284594"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24" name="Freeform 9"/>
            <p:cNvSpPr>
              <a:spLocks noChangeAspect="1" noEditPoints="1"/>
            </p:cNvSpPr>
            <p:nvPr/>
          </p:nvSpPr>
          <p:spPr bwMode="auto">
            <a:xfrm>
              <a:off x="2518020"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25" name="Freeform 9"/>
            <p:cNvSpPr>
              <a:spLocks noChangeAspect="1" noEditPoints="1"/>
            </p:cNvSpPr>
            <p:nvPr/>
          </p:nvSpPr>
          <p:spPr bwMode="auto">
            <a:xfrm>
              <a:off x="2751446"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26" name="Freeform 9"/>
            <p:cNvSpPr>
              <a:spLocks noChangeAspect="1" noEditPoints="1"/>
            </p:cNvSpPr>
            <p:nvPr/>
          </p:nvSpPr>
          <p:spPr bwMode="auto">
            <a:xfrm>
              <a:off x="2984872"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27" name="Freeform 9"/>
            <p:cNvSpPr>
              <a:spLocks noChangeAspect="1" noEditPoints="1"/>
            </p:cNvSpPr>
            <p:nvPr/>
          </p:nvSpPr>
          <p:spPr bwMode="auto">
            <a:xfrm>
              <a:off x="3218298"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28" name="Freeform 9"/>
            <p:cNvSpPr>
              <a:spLocks noChangeAspect="1" noEditPoints="1"/>
            </p:cNvSpPr>
            <p:nvPr/>
          </p:nvSpPr>
          <p:spPr bwMode="auto">
            <a:xfrm>
              <a:off x="3451722"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29" name="Freeform 9"/>
            <p:cNvSpPr>
              <a:spLocks noChangeAspect="1" noEditPoints="1"/>
            </p:cNvSpPr>
            <p:nvPr/>
          </p:nvSpPr>
          <p:spPr bwMode="auto">
            <a:xfrm>
              <a:off x="3685149"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30" name="Freeform 9"/>
            <p:cNvSpPr>
              <a:spLocks noChangeAspect="1" noEditPoints="1"/>
            </p:cNvSpPr>
            <p:nvPr/>
          </p:nvSpPr>
          <p:spPr bwMode="auto">
            <a:xfrm>
              <a:off x="3918575"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31" name="Freeform 9"/>
            <p:cNvSpPr>
              <a:spLocks noChangeAspect="1" noEditPoints="1"/>
            </p:cNvSpPr>
            <p:nvPr/>
          </p:nvSpPr>
          <p:spPr bwMode="auto">
            <a:xfrm>
              <a:off x="4152000"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32" name="Freeform 9"/>
            <p:cNvSpPr>
              <a:spLocks noChangeAspect="1" noEditPoints="1"/>
            </p:cNvSpPr>
            <p:nvPr/>
          </p:nvSpPr>
          <p:spPr bwMode="auto">
            <a:xfrm>
              <a:off x="4385427"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33" name="Freeform 9"/>
            <p:cNvSpPr>
              <a:spLocks noChangeAspect="1" noEditPoints="1"/>
            </p:cNvSpPr>
            <p:nvPr/>
          </p:nvSpPr>
          <p:spPr bwMode="auto">
            <a:xfrm>
              <a:off x="4618851"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34" name="Freeform 9"/>
            <p:cNvSpPr>
              <a:spLocks noChangeAspect="1" noEditPoints="1"/>
            </p:cNvSpPr>
            <p:nvPr/>
          </p:nvSpPr>
          <p:spPr bwMode="auto">
            <a:xfrm>
              <a:off x="4852277"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35" name="Freeform 9"/>
            <p:cNvSpPr>
              <a:spLocks noChangeAspect="1" noEditPoints="1"/>
            </p:cNvSpPr>
            <p:nvPr/>
          </p:nvSpPr>
          <p:spPr bwMode="auto">
            <a:xfrm>
              <a:off x="5085703"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36" name="Freeform 9"/>
            <p:cNvSpPr>
              <a:spLocks noChangeAspect="1" noEditPoints="1"/>
            </p:cNvSpPr>
            <p:nvPr/>
          </p:nvSpPr>
          <p:spPr bwMode="auto">
            <a:xfrm>
              <a:off x="5319129"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37" name="Freeform 9"/>
            <p:cNvSpPr>
              <a:spLocks noChangeAspect="1" noEditPoints="1"/>
            </p:cNvSpPr>
            <p:nvPr/>
          </p:nvSpPr>
          <p:spPr bwMode="auto">
            <a:xfrm>
              <a:off x="5552555"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38" name="Freeform 9"/>
            <p:cNvSpPr>
              <a:spLocks noChangeAspect="1" noEditPoints="1"/>
            </p:cNvSpPr>
            <p:nvPr/>
          </p:nvSpPr>
          <p:spPr bwMode="auto">
            <a:xfrm>
              <a:off x="5785980"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39" name="Freeform 9"/>
            <p:cNvSpPr>
              <a:spLocks noChangeAspect="1" noEditPoints="1"/>
            </p:cNvSpPr>
            <p:nvPr/>
          </p:nvSpPr>
          <p:spPr bwMode="auto">
            <a:xfrm>
              <a:off x="1320444"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40" name="Freeform 9"/>
            <p:cNvSpPr>
              <a:spLocks noChangeAspect="1" noEditPoints="1"/>
            </p:cNvSpPr>
            <p:nvPr/>
          </p:nvSpPr>
          <p:spPr bwMode="auto">
            <a:xfrm>
              <a:off x="1571670"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41" name="Freeform 9"/>
            <p:cNvSpPr>
              <a:spLocks noChangeAspect="1" noEditPoints="1"/>
            </p:cNvSpPr>
            <p:nvPr/>
          </p:nvSpPr>
          <p:spPr bwMode="auto">
            <a:xfrm>
              <a:off x="1817742"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42" name="Freeform 9"/>
            <p:cNvSpPr>
              <a:spLocks noChangeAspect="1" noEditPoints="1"/>
            </p:cNvSpPr>
            <p:nvPr/>
          </p:nvSpPr>
          <p:spPr bwMode="auto">
            <a:xfrm>
              <a:off x="2051168"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43" name="Freeform 9"/>
            <p:cNvSpPr>
              <a:spLocks noChangeAspect="1" noEditPoints="1"/>
            </p:cNvSpPr>
            <p:nvPr/>
          </p:nvSpPr>
          <p:spPr bwMode="auto">
            <a:xfrm>
              <a:off x="2284594"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44" name="Freeform 9"/>
            <p:cNvSpPr>
              <a:spLocks noChangeAspect="1" noEditPoints="1"/>
            </p:cNvSpPr>
            <p:nvPr/>
          </p:nvSpPr>
          <p:spPr bwMode="auto">
            <a:xfrm>
              <a:off x="2518020"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45" name="Freeform 9"/>
            <p:cNvSpPr>
              <a:spLocks noChangeAspect="1" noEditPoints="1"/>
            </p:cNvSpPr>
            <p:nvPr/>
          </p:nvSpPr>
          <p:spPr bwMode="auto">
            <a:xfrm>
              <a:off x="2751446"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46" name="Freeform 9"/>
            <p:cNvSpPr>
              <a:spLocks noChangeAspect="1" noEditPoints="1"/>
            </p:cNvSpPr>
            <p:nvPr/>
          </p:nvSpPr>
          <p:spPr bwMode="auto">
            <a:xfrm>
              <a:off x="2984872"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47" name="Freeform 9"/>
            <p:cNvSpPr>
              <a:spLocks noChangeAspect="1" noEditPoints="1"/>
            </p:cNvSpPr>
            <p:nvPr/>
          </p:nvSpPr>
          <p:spPr bwMode="auto">
            <a:xfrm>
              <a:off x="3218298"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48" name="Freeform 9"/>
            <p:cNvSpPr>
              <a:spLocks noChangeAspect="1" noEditPoints="1"/>
            </p:cNvSpPr>
            <p:nvPr/>
          </p:nvSpPr>
          <p:spPr bwMode="auto">
            <a:xfrm>
              <a:off x="3451722"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49" name="Freeform 9"/>
            <p:cNvSpPr>
              <a:spLocks noChangeAspect="1" noEditPoints="1"/>
            </p:cNvSpPr>
            <p:nvPr/>
          </p:nvSpPr>
          <p:spPr bwMode="auto">
            <a:xfrm>
              <a:off x="3685149"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50" name="Freeform 9"/>
            <p:cNvSpPr>
              <a:spLocks noChangeAspect="1" noEditPoints="1"/>
            </p:cNvSpPr>
            <p:nvPr/>
          </p:nvSpPr>
          <p:spPr bwMode="auto">
            <a:xfrm>
              <a:off x="3918575"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51" name="Freeform 9"/>
            <p:cNvSpPr>
              <a:spLocks noChangeAspect="1" noEditPoints="1"/>
            </p:cNvSpPr>
            <p:nvPr/>
          </p:nvSpPr>
          <p:spPr bwMode="auto">
            <a:xfrm>
              <a:off x="4152000"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52" name="Freeform 9"/>
            <p:cNvSpPr>
              <a:spLocks noChangeAspect="1" noEditPoints="1"/>
            </p:cNvSpPr>
            <p:nvPr/>
          </p:nvSpPr>
          <p:spPr bwMode="auto">
            <a:xfrm>
              <a:off x="4385427"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53" name="Freeform 9"/>
            <p:cNvSpPr>
              <a:spLocks noChangeAspect="1" noEditPoints="1"/>
            </p:cNvSpPr>
            <p:nvPr/>
          </p:nvSpPr>
          <p:spPr bwMode="auto">
            <a:xfrm>
              <a:off x="4618851"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54" name="Freeform 9"/>
            <p:cNvSpPr>
              <a:spLocks noChangeAspect="1" noEditPoints="1"/>
            </p:cNvSpPr>
            <p:nvPr/>
          </p:nvSpPr>
          <p:spPr bwMode="auto">
            <a:xfrm>
              <a:off x="4852277"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55" name="Freeform 9"/>
            <p:cNvSpPr>
              <a:spLocks noChangeAspect="1" noEditPoints="1"/>
            </p:cNvSpPr>
            <p:nvPr/>
          </p:nvSpPr>
          <p:spPr bwMode="auto">
            <a:xfrm>
              <a:off x="5085703"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56" name="Freeform 9"/>
            <p:cNvSpPr>
              <a:spLocks noChangeAspect="1" noEditPoints="1"/>
            </p:cNvSpPr>
            <p:nvPr/>
          </p:nvSpPr>
          <p:spPr bwMode="auto">
            <a:xfrm>
              <a:off x="5319129"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57" name="Freeform 9"/>
            <p:cNvSpPr>
              <a:spLocks noChangeAspect="1" noEditPoints="1"/>
            </p:cNvSpPr>
            <p:nvPr/>
          </p:nvSpPr>
          <p:spPr bwMode="auto">
            <a:xfrm>
              <a:off x="5552555"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58" name="Freeform 9"/>
            <p:cNvSpPr>
              <a:spLocks noChangeAspect="1" noEditPoints="1"/>
            </p:cNvSpPr>
            <p:nvPr/>
          </p:nvSpPr>
          <p:spPr bwMode="auto">
            <a:xfrm>
              <a:off x="5785980"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59" name="Freeform 9"/>
            <p:cNvSpPr>
              <a:spLocks noChangeAspect="1" noEditPoints="1"/>
            </p:cNvSpPr>
            <p:nvPr/>
          </p:nvSpPr>
          <p:spPr bwMode="auto">
            <a:xfrm>
              <a:off x="6019405"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60" name="Freeform 9"/>
            <p:cNvSpPr>
              <a:spLocks noChangeAspect="1" noEditPoints="1"/>
            </p:cNvSpPr>
            <p:nvPr/>
          </p:nvSpPr>
          <p:spPr bwMode="auto">
            <a:xfrm>
              <a:off x="6019405"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61" name="Freeform 9"/>
            <p:cNvSpPr>
              <a:spLocks noChangeAspect="1" noEditPoints="1"/>
            </p:cNvSpPr>
            <p:nvPr/>
          </p:nvSpPr>
          <p:spPr bwMode="auto">
            <a:xfrm>
              <a:off x="6019405"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62" name="Freeform 9"/>
            <p:cNvSpPr>
              <a:spLocks noChangeAspect="1" noEditPoints="1"/>
            </p:cNvSpPr>
            <p:nvPr/>
          </p:nvSpPr>
          <p:spPr bwMode="auto">
            <a:xfrm>
              <a:off x="6019405"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63" name="Freeform 9"/>
            <p:cNvSpPr>
              <a:spLocks noChangeAspect="1" noEditPoints="1"/>
            </p:cNvSpPr>
            <p:nvPr/>
          </p:nvSpPr>
          <p:spPr bwMode="auto">
            <a:xfrm>
              <a:off x="6019405"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64" name="Freeform 9"/>
            <p:cNvSpPr>
              <a:spLocks noChangeAspect="1" noEditPoints="1"/>
            </p:cNvSpPr>
            <p:nvPr/>
          </p:nvSpPr>
          <p:spPr bwMode="auto">
            <a:xfrm>
              <a:off x="6252830"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65" name="Freeform 9"/>
            <p:cNvSpPr>
              <a:spLocks noChangeAspect="1" noEditPoints="1"/>
            </p:cNvSpPr>
            <p:nvPr/>
          </p:nvSpPr>
          <p:spPr bwMode="auto">
            <a:xfrm>
              <a:off x="6252830"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66" name="Freeform 9"/>
            <p:cNvSpPr>
              <a:spLocks noChangeAspect="1" noEditPoints="1"/>
            </p:cNvSpPr>
            <p:nvPr/>
          </p:nvSpPr>
          <p:spPr bwMode="auto">
            <a:xfrm>
              <a:off x="6252830"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67" name="Freeform 9"/>
            <p:cNvSpPr>
              <a:spLocks noChangeAspect="1" noEditPoints="1"/>
            </p:cNvSpPr>
            <p:nvPr/>
          </p:nvSpPr>
          <p:spPr bwMode="auto">
            <a:xfrm>
              <a:off x="6252830"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68" name="Freeform 9"/>
            <p:cNvSpPr>
              <a:spLocks noChangeAspect="1" noEditPoints="1"/>
            </p:cNvSpPr>
            <p:nvPr/>
          </p:nvSpPr>
          <p:spPr bwMode="auto">
            <a:xfrm>
              <a:off x="6252830"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69" name="Freeform 9"/>
            <p:cNvSpPr>
              <a:spLocks noChangeAspect="1" noEditPoints="1"/>
            </p:cNvSpPr>
            <p:nvPr/>
          </p:nvSpPr>
          <p:spPr bwMode="auto">
            <a:xfrm>
              <a:off x="6486256"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70" name="Freeform 9"/>
            <p:cNvSpPr>
              <a:spLocks noChangeAspect="1" noEditPoints="1"/>
            </p:cNvSpPr>
            <p:nvPr/>
          </p:nvSpPr>
          <p:spPr bwMode="auto">
            <a:xfrm>
              <a:off x="6486256"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71" name="Freeform 9"/>
            <p:cNvSpPr>
              <a:spLocks noChangeAspect="1" noEditPoints="1"/>
            </p:cNvSpPr>
            <p:nvPr/>
          </p:nvSpPr>
          <p:spPr bwMode="auto">
            <a:xfrm>
              <a:off x="6486256"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72" name="Freeform 9"/>
            <p:cNvSpPr>
              <a:spLocks noChangeAspect="1" noEditPoints="1"/>
            </p:cNvSpPr>
            <p:nvPr/>
          </p:nvSpPr>
          <p:spPr bwMode="auto">
            <a:xfrm>
              <a:off x="6486256"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73" name="Freeform 9"/>
            <p:cNvSpPr>
              <a:spLocks noChangeAspect="1" noEditPoints="1"/>
            </p:cNvSpPr>
            <p:nvPr/>
          </p:nvSpPr>
          <p:spPr bwMode="auto">
            <a:xfrm>
              <a:off x="6486256"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74" name="Freeform 9"/>
            <p:cNvSpPr>
              <a:spLocks noChangeAspect="1" noEditPoints="1"/>
            </p:cNvSpPr>
            <p:nvPr/>
          </p:nvSpPr>
          <p:spPr bwMode="auto">
            <a:xfrm>
              <a:off x="6719680"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75" name="Freeform 9"/>
            <p:cNvSpPr>
              <a:spLocks noChangeAspect="1" noEditPoints="1"/>
            </p:cNvSpPr>
            <p:nvPr/>
          </p:nvSpPr>
          <p:spPr bwMode="auto">
            <a:xfrm>
              <a:off x="6719680"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76" name="Freeform 9"/>
            <p:cNvSpPr>
              <a:spLocks noChangeAspect="1" noEditPoints="1"/>
            </p:cNvSpPr>
            <p:nvPr/>
          </p:nvSpPr>
          <p:spPr bwMode="auto">
            <a:xfrm>
              <a:off x="6719680"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77" name="Freeform 9"/>
            <p:cNvSpPr>
              <a:spLocks noChangeAspect="1" noEditPoints="1"/>
            </p:cNvSpPr>
            <p:nvPr/>
          </p:nvSpPr>
          <p:spPr bwMode="auto">
            <a:xfrm>
              <a:off x="6719680"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78" name="Freeform 9"/>
            <p:cNvSpPr>
              <a:spLocks noChangeAspect="1" noEditPoints="1"/>
            </p:cNvSpPr>
            <p:nvPr/>
          </p:nvSpPr>
          <p:spPr bwMode="auto">
            <a:xfrm>
              <a:off x="6719680"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79" name="Freeform 9"/>
            <p:cNvSpPr>
              <a:spLocks noChangeAspect="1" noEditPoints="1"/>
            </p:cNvSpPr>
            <p:nvPr/>
          </p:nvSpPr>
          <p:spPr bwMode="auto">
            <a:xfrm>
              <a:off x="6953105"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80" name="Freeform 9"/>
            <p:cNvSpPr>
              <a:spLocks noChangeAspect="1" noEditPoints="1"/>
            </p:cNvSpPr>
            <p:nvPr/>
          </p:nvSpPr>
          <p:spPr bwMode="auto">
            <a:xfrm>
              <a:off x="6953105"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81" name="Freeform 9"/>
            <p:cNvSpPr>
              <a:spLocks noChangeAspect="1" noEditPoints="1"/>
            </p:cNvSpPr>
            <p:nvPr/>
          </p:nvSpPr>
          <p:spPr bwMode="auto">
            <a:xfrm>
              <a:off x="6953105"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82" name="Freeform 9"/>
            <p:cNvSpPr>
              <a:spLocks noChangeAspect="1" noEditPoints="1"/>
            </p:cNvSpPr>
            <p:nvPr/>
          </p:nvSpPr>
          <p:spPr bwMode="auto">
            <a:xfrm>
              <a:off x="6953105"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83" name="Freeform 9"/>
            <p:cNvSpPr>
              <a:spLocks noChangeAspect="1" noEditPoints="1"/>
            </p:cNvSpPr>
            <p:nvPr/>
          </p:nvSpPr>
          <p:spPr bwMode="auto">
            <a:xfrm>
              <a:off x="6953105"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84" name="Freeform 9"/>
            <p:cNvSpPr>
              <a:spLocks noChangeAspect="1" noEditPoints="1"/>
            </p:cNvSpPr>
            <p:nvPr/>
          </p:nvSpPr>
          <p:spPr bwMode="auto">
            <a:xfrm>
              <a:off x="7186531"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85" name="Freeform 9"/>
            <p:cNvSpPr>
              <a:spLocks noChangeAspect="1" noEditPoints="1"/>
            </p:cNvSpPr>
            <p:nvPr/>
          </p:nvSpPr>
          <p:spPr bwMode="auto">
            <a:xfrm>
              <a:off x="7186531"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86" name="Freeform 9"/>
            <p:cNvSpPr>
              <a:spLocks noChangeAspect="1" noEditPoints="1"/>
            </p:cNvSpPr>
            <p:nvPr/>
          </p:nvSpPr>
          <p:spPr bwMode="auto">
            <a:xfrm>
              <a:off x="7186531"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87" name="Freeform 9"/>
            <p:cNvSpPr>
              <a:spLocks noChangeAspect="1" noEditPoints="1"/>
            </p:cNvSpPr>
            <p:nvPr/>
          </p:nvSpPr>
          <p:spPr bwMode="auto">
            <a:xfrm>
              <a:off x="7186531"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88" name="Freeform 9"/>
            <p:cNvSpPr>
              <a:spLocks noChangeAspect="1" noEditPoints="1"/>
            </p:cNvSpPr>
            <p:nvPr/>
          </p:nvSpPr>
          <p:spPr bwMode="auto">
            <a:xfrm>
              <a:off x="7186531"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89" name="Freeform 9"/>
            <p:cNvSpPr>
              <a:spLocks noChangeAspect="1" noEditPoints="1"/>
            </p:cNvSpPr>
            <p:nvPr/>
          </p:nvSpPr>
          <p:spPr bwMode="auto">
            <a:xfrm>
              <a:off x="7419955"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90" name="Freeform 9"/>
            <p:cNvSpPr>
              <a:spLocks noChangeAspect="1" noEditPoints="1"/>
            </p:cNvSpPr>
            <p:nvPr/>
          </p:nvSpPr>
          <p:spPr bwMode="auto">
            <a:xfrm>
              <a:off x="7419955"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91" name="Freeform 9"/>
            <p:cNvSpPr>
              <a:spLocks noChangeAspect="1" noEditPoints="1"/>
            </p:cNvSpPr>
            <p:nvPr/>
          </p:nvSpPr>
          <p:spPr bwMode="auto">
            <a:xfrm>
              <a:off x="7419955"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92" name="Freeform 9"/>
            <p:cNvSpPr>
              <a:spLocks noChangeAspect="1" noEditPoints="1"/>
            </p:cNvSpPr>
            <p:nvPr/>
          </p:nvSpPr>
          <p:spPr bwMode="auto">
            <a:xfrm>
              <a:off x="7419955"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93" name="Freeform 9"/>
            <p:cNvSpPr>
              <a:spLocks noChangeAspect="1" noEditPoints="1"/>
            </p:cNvSpPr>
            <p:nvPr/>
          </p:nvSpPr>
          <p:spPr bwMode="auto">
            <a:xfrm>
              <a:off x="7419955"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94" name="Freeform 9"/>
            <p:cNvSpPr>
              <a:spLocks noChangeAspect="1" noEditPoints="1"/>
            </p:cNvSpPr>
            <p:nvPr/>
          </p:nvSpPr>
          <p:spPr bwMode="auto">
            <a:xfrm>
              <a:off x="7663964"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95" name="Freeform 9"/>
            <p:cNvSpPr>
              <a:spLocks noChangeAspect="1" noEditPoints="1"/>
            </p:cNvSpPr>
            <p:nvPr/>
          </p:nvSpPr>
          <p:spPr bwMode="auto">
            <a:xfrm>
              <a:off x="7663964"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96" name="Freeform 9"/>
            <p:cNvSpPr>
              <a:spLocks noChangeAspect="1" noEditPoints="1"/>
            </p:cNvSpPr>
            <p:nvPr/>
          </p:nvSpPr>
          <p:spPr bwMode="auto">
            <a:xfrm>
              <a:off x="7663964"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97" name="Freeform 9"/>
            <p:cNvSpPr>
              <a:spLocks noChangeAspect="1" noEditPoints="1"/>
            </p:cNvSpPr>
            <p:nvPr/>
          </p:nvSpPr>
          <p:spPr bwMode="auto">
            <a:xfrm>
              <a:off x="7663964"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98" name="Freeform 9"/>
            <p:cNvSpPr>
              <a:spLocks noChangeAspect="1" noEditPoints="1"/>
            </p:cNvSpPr>
            <p:nvPr/>
          </p:nvSpPr>
          <p:spPr bwMode="auto">
            <a:xfrm>
              <a:off x="7663964"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299" name="Freeform 9"/>
            <p:cNvSpPr>
              <a:spLocks noChangeAspect="1" noEditPoints="1"/>
            </p:cNvSpPr>
            <p:nvPr/>
          </p:nvSpPr>
          <p:spPr bwMode="auto">
            <a:xfrm>
              <a:off x="7907972"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00" name="Freeform 9"/>
            <p:cNvSpPr>
              <a:spLocks noChangeAspect="1" noEditPoints="1"/>
            </p:cNvSpPr>
            <p:nvPr/>
          </p:nvSpPr>
          <p:spPr bwMode="auto">
            <a:xfrm>
              <a:off x="7907972"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01" name="Freeform 9"/>
            <p:cNvSpPr>
              <a:spLocks noChangeAspect="1" noEditPoints="1"/>
            </p:cNvSpPr>
            <p:nvPr/>
          </p:nvSpPr>
          <p:spPr bwMode="auto">
            <a:xfrm>
              <a:off x="7907972"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02" name="Freeform 9"/>
            <p:cNvSpPr>
              <a:spLocks noChangeAspect="1" noEditPoints="1"/>
            </p:cNvSpPr>
            <p:nvPr/>
          </p:nvSpPr>
          <p:spPr bwMode="auto">
            <a:xfrm>
              <a:off x="7907972"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03" name="Freeform 9"/>
            <p:cNvSpPr>
              <a:spLocks noChangeAspect="1" noEditPoints="1"/>
            </p:cNvSpPr>
            <p:nvPr/>
          </p:nvSpPr>
          <p:spPr bwMode="auto">
            <a:xfrm>
              <a:off x="7907972"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04" name="Freeform 9"/>
            <p:cNvSpPr>
              <a:spLocks noChangeAspect="1" noEditPoints="1"/>
            </p:cNvSpPr>
            <p:nvPr/>
          </p:nvSpPr>
          <p:spPr bwMode="auto">
            <a:xfrm>
              <a:off x="8151981"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05" name="Freeform 9"/>
            <p:cNvSpPr>
              <a:spLocks noChangeAspect="1" noEditPoints="1"/>
            </p:cNvSpPr>
            <p:nvPr/>
          </p:nvSpPr>
          <p:spPr bwMode="auto">
            <a:xfrm>
              <a:off x="8151981"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06" name="Freeform 9"/>
            <p:cNvSpPr>
              <a:spLocks noChangeAspect="1" noEditPoints="1"/>
            </p:cNvSpPr>
            <p:nvPr/>
          </p:nvSpPr>
          <p:spPr bwMode="auto">
            <a:xfrm>
              <a:off x="8151981"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07" name="Freeform 9"/>
            <p:cNvSpPr>
              <a:spLocks noChangeAspect="1" noEditPoints="1"/>
            </p:cNvSpPr>
            <p:nvPr/>
          </p:nvSpPr>
          <p:spPr bwMode="auto">
            <a:xfrm>
              <a:off x="8151981"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08" name="Freeform 9"/>
            <p:cNvSpPr>
              <a:spLocks noChangeAspect="1" noEditPoints="1"/>
            </p:cNvSpPr>
            <p:nvPr/>
          </p:nvSpPr>
          <p:spPr bwMode="auto">
            <a:xfrm>
              <a:off x="8151981"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09" name="Freeform 9"/>
            <p:cNvSpPr>
              <a:spLocks noChangeAspect="1" noEditPoints="1"/>
            </p:cNvSpPr>
            <p:nvPr/>
          </p:nvSpPr>
          <p:spPr bwMode="auto">
            <a:xfrm>
              <a:off x="8395989"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10" name="Freeform 9"/>
            <p:cNvSpPr>
              <a:spLocks noChangeAspect="1" noEditPoints="1"/>
            </p:cNvSpPr>
            <p:nvPr/>
          </p:nvSpPr>
          <p:spPr bwMode="auto">
            <a:xfrm>
              <a:off x="8395989"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11" name="Freeform 9"/>
            <p:cNvSpPr>
              <a:spLocks noChangeAspect="1" noEditPoints="1"/>
            </p:cNvSpPr>
            <p:nvPr/>
          </p:nvSpPr>
          <p:spPr bwMode="auto">
            <a:xfrm>
              <a:off x="8395989"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12" name="Freeform 9"/>
            <p:cNvSpPr>
              <a:spLocks noChangeAspect="1" noEditPoints="1"/>
            </p:cNvSpPr>
            <p:nvPr/>
          </p:nvSpPr>
          <p:spPr bwMode="auto">
            <a:xfrm>
              <a:off x="8395989"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13" name="Freeform 9"/>
            <p:cNvSpPr>
              <a:spLocks noChangeAspect="1" noEditPoints="1"/>
            </p:cNvSpPr>
            <p:nvPr/>
          </p:nvSpPr>
          <p:spPr bwMode="auto">
            <a:xfrm>
              <a:off x="8395989"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14" name="Freeform 9"/>
            <p:cNvSpPr>
              <a:spLocks noChangeAspect="1" noEditPoints="1"/>
            </p:cNvSpPr>
            <p:nvPr/>
          </p:nvSpPr>
          <p:spPr bwMode="auto">
            <a:xfrm>
              <a:off x="8639998"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15" name="Freeform 9"/>
            <p:cNvSpPr>
              <a:spLocks noChangeAspect="1" noEditPoints="1"/>
            </p:cNvSpPr>
            <p:nvPr/>
          </p:nvSpPr>
          <p:spPr bwMode="auto">
            <a:xfrm>
              <a:off x="8639998"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16" name="Freeform 9"/>
            <p:cNvSpPr>
              <a:spLocks noChangeAspect="1" noEditPoints="1"/>
            </p:cNvSpPr>
            <p:nvPr/>
          </p:nvSpPr>
          <p:spPr bwMode="auto">
            <a:xfrm>
              <a:off x="8639998"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17" name="Freeform 9"/>
            <p:cNvSpPr>
              <a:spLocks noChangeAspect="1" noEditPoints="1"/>
            </p:cNvSpPr>
            <p:nvPr/>
          </p:nvSpPr>
          <p:spPr bwMode="auto">
            <a:xfrm>
              <a:off x="8639998"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18" name="Freeform 9"/>
            <p:cNvSpPr>
              <a:spLocks noChangeAspect="1" noEditPoints="1"/>
            </p:cNvSpPr>
            <p:nvPr/>
          </p:nvSpPr>
          <p:spPr bwMode="auto">
            <a:xfrm>
              <a:off x="8639998"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19" name="Freeform 9"/>
            <p:cNvSpPr>
              <a:spLocks noChangeAspect="1" noEditPoints="1"/>
            </p:cNvSpPr>
            <p:nvPr/>
          </p:nvSpPr>
          <p:spPr bwMode="auto">
            <a:xfrm>
              <a:off x="8884006"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20" name="Freeform 9"/>
            <p:cNvSpPr>
              <a:spLocks noChangeAspect="1" noEditPoints="1"/>
            </p:cNvSpPr>
            <p:nvPr/>
          </p:nvSpPr>
          <p:spPr bwMode="auto">
            <a:xfrm>
              <a:off x="8884006"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21" name="Freeform 9"/>
            <p:cNvSpPr>
              <a:spLocks noChangeAspect="1" noEditPoints="1"/>
            </p:cNvSpPr>
            <p:nvPr/>
          </p:nvSpPr>
          <p:spPr bwMode="auto">
            <a:xfrm>
              <a:off x="8884006"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22" name="Freeform 9"/>
            <p:cNvSpPr>
              <a:spLocks noChangeAspect="1" noEditPoints="1"/>
            </p:cNvSpPr>
            <p:nvPr/>
          </p:nvSpPr>
          <p:spPr bwMode="auto">
            <a:xfrm>
              <a:off x="8884006"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23" name="Freeform 9"/>
            <p:cNvSpPr>
              <a:spLocks noChangeAspect="1" noEditPoints="1"/>
            </p:cNvSpPr>
            <p:nvPr/>
          </p:nvSpPr>
          <p:spPr bwMode="auto">
            <a:xfrm>
              <a:off x="8884006"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24" name="Freeform 9"/>
            <p:cNvSpPr>
              <a:spLocks noChangeAspect="1" noEditPoints="1"/>
            </p:cNvSpPr>
            <p:nvPr/>
          </p:nvSpPr>
          <p:spPr bwMode="auto">
            <a:xfrm>
              <a:off x="9128015"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25" name="Freeform 9"/>
            <p:cNvSpPr>
              <a:spLocks noChangeAspect="1" noEditPoints="1"/>
            </p:cNvSpPr>
            <p:nvPr/>
          </p:nvSpPr>
          <p:spPr bwMode="auto">
            <a:xfrm>
              <a:off x="9128015"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26" name="Freeform 9"/>
            <p:cNvSpPr>
              <a:spLocks noChangeAspect="1" noEditPoints="1"/>
            </p:cNvSpPr>
            <p:nvPr/>
          </p:nvSpPr>
          <p:spPr bwMode="auto">
            <a:xfrm>
              <a:off x="9128015"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27" name="Freeform 9"/>
            <p:cNvSpPr>
              <a:spLocks noChangeAspect="1" noEditPoints="1"/>
            </p:cNvSpPr>
            <p:nvPr/>
          </p:nvSpPr>
          <p:spPr bwMode="auto">
            <a:xfrm>
              <a:off x="9128015"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28" name="Freeform 9"/>
            <p:cNvSpPr>
              <a:spLocks noChangeAspect="1" noEditPoints="1"/>
            </p:cNvSpPr>
            <p:nvPr/>
          </p:nvSpPr>
          <p:spPr bwMode="auto">
            <a:xfrm>
              <a:off x="9128015"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29" name="Freeform 9"/>
            <p:cNvSpPr>
              <a:spLocks noChangeAspect="1" noEditPoints="1"/>
            </p:cNvSpPr>
            <p:nvPr/>
          </p:nvSpPr>
          <p:spPr bwMode="auto">
            <a:xfrm>
              <a:off x="9372023"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30" name="Freeform 9"/>
            <p:cNvSpPr>
              <a:spLocks noChangeAspect="1" noEditPoints="1"/>
            </p:cNvSpPr>
            <p:nvPr/>
          </p:nvSpPr>
          <p:spPr bwMode="auto">
            <a:xfrm>
              <a:off x="9372023"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31" name="Freeform 9"/>
            <p:cNvSpPr>
              <a:spLocks noChangeAspect="1" noEditPoints="1"/>
            </p:cNvSpPr>
            <p:nvPr/>
          </p:nvSpPr>
          <p:spPr bwMode="auto">
            <a:xfrm>
              <a:off x="9372023"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32" name="Freeform 9"/>
            <p:cNvSpPr>
              <a:spLocks noChangeAspect="1" noEditPoints="1"/>
            </p:cNvSpPr>
            <p:nvPr/>
          </p:nvSpPr>
          <p:spPr bwMode="auto">
            <a:xfrm>
              <a:off x="9372023"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33" name="Freeform 9"/>
            <p:cNvSpPr>
              <a:spLocks noChangeAspect="1" noEditPoints="1"/>
            </p:cNvSpPr>
            <p:nvPr/>
          </p:nvSpPr>
          <p:spPr bwMode="auto">
            <a:xfrm>
              <a:off x="9372023"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34" name="Freeform 9"/>
            <p:cNvSpPr>
              <a:spLocks noChangeAspect="1" noEditPoints="1"/>
            </p:cNvSpPr>
            <p:nvPr/>
          </p:nvSpPr>
          <p:spPr bwMode="auto">
            <a:xfrm>
              <a:off x="9616032"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35" name="Freeform 9"/>
            <p:cNvSpPr>
              <a:spLocks noChangeAspect="1" noEditPoints="1"/>
            </p:cNvSpPr>
            <p:nvPr/>
          </p:nvSpPr>
          <p:spPr bwMode="auto">
            <a:xfrm>
              <a:off x="9616032"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36" name="Freeform 9"/>
            <p:cNvSpPr>
              <a:spLocks noChangeAspect="1" noEditPoints="1"/>
            </p:cNvSpPr>
            <p:nvPr/>
          </p:nvSpPr>
          <p:spPr bwMode="auto">
            <a:xfrm>
              <a:off x="9616032"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37" name="Freeform 9"/>
            <p:cNvSpPr>
              <a:spLocks noChangeAspect="1" noEditPoints="1"/>
            </p:cNvSpPr>
            <p:nvPr/>
          </p:nvSpPr>
          <p:spPr bwMode="auto">
            <a:xfrm>
              <a:off x="9616032"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38" name="Freeform 9"/>
            <p:cNvSpPr>
              <a:spLocks noChangeAspect="1" noEditPoints="1"/>
            </p:cNvSpPr>
            <p:nvPr/>
          </p:nvSpPr>
          <p:spPr bwMode="auto">
            <a:xfrm>
              <a:off x="9616032"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39" name="Freeform 9"/>
            <p:cNvSpPr>
              <a:spLocks noChangeAspect="1" noEditPoints="1"/>
            </p:cNvSpPr>
            <p:nvPr/>
          </p:nvSpPr>
          <p:spPr bwMode="auto">
            <a:xfrm>
              <a:off x="9860040"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40" name="Freeform 9"/>
            <p:cNvSpPr>
              <a:spLocks noChangeAspect="1" noEditPoints="1"/>
            </p:cNvSpPr>
            <p:nvPr/>
          </p:nvSpPr>
          <p:spPr bwMode="auto">
            <a:xfrm>
              <a:off x="9860040"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41" name="Freeform 9"/>
            <p:cNvSpPr>
              <a:spLocks noChangeAspect="1" noEditPoints="1"/>
            </p:cNvSpPr>
            <p:nvPr/>
          </p:nvSpPr>
          <p:spPr bwMode="auto">
            <a:xfrm>
              <a:off x="9860040"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42" name="Freeform 9"/>
            <p:cNvSpPr>
              <a:spLocks noChangeAspect="1" noEditPoints="1"/>
            </p:cNvSpPr>
            <p:nvPr/>
          </p:nvSpPr>
          <p:spPr bwMode="auto">
            <a:xfrm>
              <a:off x="9860040"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43" name="Freeform 9"/>
            <p:cNvSpPr>
              <a:spLocks noChangeAspect="1" noEditPoints="1"/>
            </p:cNvSpPr>
            <p:nvPr/>
          </p:nvSpPr>
          <p:spPr bwMode="auto">
            <a:xfrm>
              <a:off x="9860040"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44" name="Freeform 9"/>
            <p:cNvSpPr>
              <a:spLocks noChangeAspect="1" noEditPoints="1"/>
            </p:cNvSpPr>
            <p:nvPr/>
          </p:nvSpPr>
          <p:spPr bwMode="auto">
            <a:xfrm>
              <a:off x="10104049"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45" name="Freeform 9"/>
            <p:cNvSpPr>
              <a:spLocks noChangeAspect="1" noEditPoints="1"/>
            </p:cNvSpPr>
            <p:nvPr/>
          </p:nvSpPr>
          <p:spPr bwMode="auto">
            <a:xfrm>
              <a:off x="10104049"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46" name="Freeform 9"/>
            <p:cNvSpPr>
              <a:spLocks noChangeAspect="1" noEditPoints="1"/>
            </p:cNvSpPr>
            <p:nvPr/>
          </p:nvSpPr>
          <p:spPr bwMode="auto">
            <a:xfrm>
              <a:off x="10104049"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47" name="Freeform 9"/>
            <p:cNvSpPr>
              <a:spLocks noChangeAspect="1" noEditPoints="1"/>
            </p:cNvSpPr>
            <p:nvPr/>
          </p:nvSpPr>
          <p:spPr bwMode="auto">
            <a:xfrm>
              <a:off x="10104049"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48" name="Freeform 9"/>
            <p:cNvSpPr>
              <a:spLocks noChangeAspect="1" noEditPoints="1"/>
            </p:cNvSpPr>
            <p:nvPr/>
          </p:nvSpPr>
          <p:spPr bwMode="auto">
            <a:xfrm>
              <a:off x="10104049"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49" name="Freeform 9"/>
            <p:cNvSpPr>
              <a:spLocks noChangeAspect="1" noEditPoints="1"/>
            </p:cNvSpPr>
            <p:nvPr/>
          </p:nvSpPr>
          <p:spPr bwMode="auto">
            <a:xfrm>
              <a:off x="10348057"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50" name="Freeform 9"/>
            <p:cNvSpPr>
              <a:spLocks noChangeAspect="1" noEditPoints="1"/>
            </p:cNvSpPr>
            <p:nvPr/>
          </p:nvSpPr>
          <p:spPr bwMode="auto">
            <a:xfrm>
              <a:off x="10348057"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51" name="Freeform 9"/>
            <p:cNvSpPr>
              <a:spLocks noChangeAspect="1" noEditPoints="1"/>
            </p:cNvSpPr>
            <p:nvPr/>
          </p:nvSpPr>
          <p:spPr bwMode="auto">
            <a:xfrm>
              <a:off x="10348057"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52" name="Freeform 9"/>
            <p:cNvSpPr>
              <a:spLocks noChangeAspect="1" noEditPoints="1"/>
            </p:cNvSpPr>
            <p:nvPr/>
          </p:nvSpPr>
          <p:spPr bwMode="auto">
            <a:xfrm>
              <a:off x="10348057"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53" name="Freeform 9"/>
            <p:cNvSpPr>
              <a:spLocks noChangeAspect="1" noEditPoints="1"/>
            </p:cNvSpPr>
            <p:nvPr/>
          </p:nvSpPr>
          <p:spPr bwMode="auto">
            <a:xfrm>
              <a:off x="10348057"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54" name="Freeform 9"/>
            <p:cNvSpPr>
              <a:spLocks noChangeAspect="1" noEditPoints="1"/>
            </p:cNvSpPr>
            <p:nvPr/>
          </p:nvSpPr>
          <p:spPr bwMode="auto">
            <a:xfrm>
              <a:off x="10592066"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55" name="Freeform 9"/>
            <p:cNvSpPr>
              <a:spLocks noChangeAspect="1" noEditPoints="1"/>
            </p:cNvSpPr>
            <p:nvPr/>
          </p:nvSpPr>
          <p:spPr bwMode="auto">
            <a:xfrm>
              <a:off x="10592066"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56" name="Freeform 9"/>
            <p:cNvSpPr>
              <a:spLocks noChangeAspect="1" noEditPoints="1"/>
            </p:cNvSpPr>
            <p:nvPr/>
          </p:nvSpPr>
          <p:spPr bwMode="auto">
            <a:xfrm>
              <a:off x="10592066"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57" name="Freeform 9"/>
            <p:cNvSpPr>
              <a:spLocks noChangeAspect="1" noEditPoints="1"/>
            </p:cNvSpPr>
            <p:nvPr/>
          </p:nvSpPr>
          <p:spPr bwMode="auto">
            <a:xfrm>
              <a:off x="10592066"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58" name="Freeform 9"/>
            <p:cNvSpPr>
              <a:spLocks noChangeAspect="1" noEditPoints="1"/>
            </p:cNvSpPr>
            <p:nvPr/>
          </p:nvSpPr>
          <p:spPr bwMode="auto">
            <a:xfrm>
              <a:off x="10592066"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59" name="Freeform 9"/>
            <p:cNvSpPr>
              <a:spLocks noChangeAspect="1" noEditPoints="1"/>
            </p:cNvSpPr>
            <p:nvPr/>
          </p:nvSpPr>
          <p:spPr bwMode="auto">
            <a:xfrm>
              <a:off x="10836074"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60" name="Freeform 9"/>
            <p:cNvSpPr>
              <a:spLocks noChangeAspect="1" noEditPoints="1"/>
            </p:cNvSpPr>
            <p:nvPr/>
          </p:nvSpPr>
          <p:spPr bwMode="auto">
            <a:xfrm>
              <a:off x="10836074"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61" name="Freeform 9"/>
            <p:cNvSpPr>
              <a:spLocks noChangeAspect="1" noEditPoints="1"/>
            </p:cNvSpPr>
            <p:nvPr/>
          </p:nvSpPr>
          <p:spPr bwMode="auto">
            <a:xfrm>
              <a:off x="10836074"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62" name="Freeform 9"/>
            <p:cNvSpPr>
              <a:spLocks noChangeAspect="1" noEditPoints="1"/>
            </p:cNvSpPr>
            <p:nvPr/>
          </p:nvSpPr>
          <p:spPr bwMode="auto">
            <a:xfrm>
              <a:off x="10836074"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63" name="Freeform 9"/>
            <p:cNvSpPr>
              <a:spLocks noChangeAspect="1" noEditPoints="1"/>
            </p:cNvSpPr>
            <p:nvPr/>
          </p:nvSpPr>
          <p:spPr bwMode="auto">
            <a:xfrm>
              <a:off x="10836074"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64" name="Freeform 9"/>
            <p:cNvSpPr>
              <a:spLocks noChangeAspect="1" noEditPoints="1"/>
            </p:cNvSpPr>
            <p:nvPr/>
          </p:nvSpPr>
          <p:spPr bwMode="auto">
            <a:xfrm>
              <a:off x="11080083"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65" name="Freeform 9"/>
            <p:cNvSpPr>
              <a:spLocks noChangeAspect="1" noEditPoints="1"/>
            </p:cNvSpPr>
            <p:nvPr/>
          </p:nvSpPr>
          <p:spPr bwMode="auto">
            <a:xfrm>
              <a:off x="11080083"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66" name="Freeform 9"/>
            <p:cNvSpPr>
              <a:spLocks noChangeAspect="1" noEditPoints="1"/>
            </p:cNvSpPr>
            <p:nvPr/>
          </p:nvSpPr>
          <p:spPr bwMode="auto">
            <a:xfrm>
              <a:off x="11080083"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67" name="Freeform 9"/>
            <p:cNvSpPr>
              <a:spLocks noChangeAspect="1" noEditPoints="1"/>
            </p:cNvSpPr>
            <p:nvPr/>
          </p:nvSpPr>
          <p:spPr bwMode="auto">
            <a:xfrm>
              <a:off x="11080083"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68" name="Freeform 9"/>
            <p:cNvSpPr>
              <a:spLocks noChangeAspect="1" noEditPoints="1"/>
            </p:cNvSpPr>
            <p:nvPr/>
          </p:nvSpPr>
          <p:spPr bwMode="auto">
            <a:xfrm>
              <a:off x="11080083"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69" name="Freeform 9"/>
            <p:cNvSpPr>
              <a:spLocks noChangeAspect="1" noEditPoints="1"/>
            </p:cNvSpPr>
            <p:nvPr/>
          </p:nvSpPr>
          <p:spPr bwMode="auto">
            <a:xfrm>
              <a:off x="11324091"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70" name="Freeform 9"/>
            <p:cNvSpPr>
              <a:spLocks noChangeAspect="1" noEditPoints="1"/>
            </p:cNvSpPr>
            <p:nvPr/>
          </p:nvSpPr>
          <p:spPr bwMode="auto">
            <a:xfrm>
              <a:off x="11324091"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71" name="Freeform 9"/>
            <p:cNvSpPr>
              <a:spLocks noChangeAspect="1" noEditPoints="1"/>
            </p:cNvSpPr>
            <p:nvPr/>
          </p:nvSpPr>
          <p:spPr bwMode="auto">
            <a:xfrm>
              <a:off x="11324091"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72" name="Freeform 9"/>
            <p:cNvSpPr>
              <a:spLocks noChangeAspect="1" noEditPoints="1"/>
            </p:cNvSpPr>
            <p:nvPr/>
          </p:nvSpPr>
          <p:spPr bwMode="auto">
            <a:xfrm>
              <a:off x="11324091"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73" name="Freeform 9"/>
            <p:cNvSpPr>
              <a:spLocks noChangeAspect="1" noEditPoints="1"/>
            </p:cNvSpPr>
            <p:nvPr/>
          </p:nvSpPr>
          <p:spPr bwMode="auto">
            <a:xfrm>
              <a:off x="11324091"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grpSp>
          <p:nvGrpSpPr>
            <p:cNvPr id="374" name="Group 373"/>
            <p:cNvGrpSpPr/>
            <p:nvPr/>
          </p:nvGrpSpPr>
          <p:grpSpPr>
            <a:xfrm>
              <a:off x="2701219" y="4215395"/>
              <a:ext cx="10489757" cy="2309313"/>
              <a:chOff x="896756" y="3536739"/>
              <a:chExt cx="8222222" cy="1810117"/>
            </a:xfrm>
          </p:grpSpPr>
          <p:sp>
            <p:nvSpPr>
              <p:cNvPr id="535" name="Rounded Rectangle 534"/>
              <p:cNvSpPr/>
              <p:nvPr/>
            </p:nvSpPr>
            <p:spPr bwMode="gray">
              <a:xfrm>
                <a:off x="896756" y="3536739"/>
                <a:ext cx="8222222" cy="1810117"/>
              </a:xfrm>
              <a:prstGeom prst="roundRect">
                <a:avLst>
                  <a:gd name="adj" fmla="val 50000"/>
                </a:avLst>
              </a:prstGeom>
              <a:gradFill flip="none" rotWithShape="1">
                <a:gsLst>
                  <a:gs pos="0">
                    <a:schemeClr val="tx1"/>
                  </a:gs>
                  <a:gs pos="45000">
                    <a:schemeClr val="tx1">
                      <a:alpha val="85000"/>
                    </a:schemeClr>
                  </a:gs>
                  <a:gs pos="93000">
                    <a:schemeClr val="tx1">
                      <a:alpha val="0"/>
                    </a:schemeClr>
                  </a:gs>
                  <a:gs pos="27000">
                    <a:schemeClr val="tx1"/>
                  </a:gs>
                </a:gsLst>
                <a:path path="shape">
                  <a:fillToRect l="50000" t="50000" r="50000" b="50000"/>
                </a:path>
                <a:tileRect/>
              </a:gradFill>
              <a:ln w="19050" algn="ctr">
                <a:noFill/>
                <a:miter lim="800000"/>
                <a:headEnd/>
                <a:tailEnd/>
              </a:ln>
            </p:spPr>
            <p:txBody>
              <a:bodyPr wrap="square" lIns="83313" tIns="83313" rIns="83313" bIns="83313" rtlCol="0" anchor="ctr"/>
              <a:lstStyle/>
              <a:p>
                <a:pPr marL="0" marR="0" lvl="0" indent="0" algn="ctr" defTabSz="1142609" rtl="0" eaLnBrk="1" fontAlgn="auto" latinLnBrk="0" hangingPunct="1">
                  <a:lnSpc>
                    <a:spcPct val="106000"/>
                  </a:lnSpc>
                  <a:spcBef>
                    <a:spcPts val="0"/>
                  </a:spcBef>
                  <a:spcAft>
                    <a:spcPts val="0"/>
                  </a:spcAft>
                  <a:buClrTx/>
                  <a:buSzTx/>
                  <a:buFontTx/>
                  <a:buNone/>
                  <a:tabLst/>
                  <a:defRPr/>
                </a:pPr>
                <a:endParaRPr kumimoji="0" lang="en-US" sz="1312" b="1" i="0" u="none" strike="noStrike" kern="1200" cap="none" spc="0" normalizeH="0" baseline="0" noProof="0" dirty="0">
                  <a:ln>
                    <a:noFill/>
                  </a:ln>
                  <a:solidFill>
                    <a:prstClr val="white"/>
                  </a:solidFill>
                  <a:effectLst/>
                  <a:uLnTx/>
                  <a:uFillTx/>
                  <a:ea typeface="ヒラギノ角ゴ ProN W3" charset="0"/>
                  <a:cs typeface="+mn-cs"/>
                  <a:sym typeface="Gotham Book" charset="0"/>
                </a:endParaRPr>
              </a:p>
            </p:txBody>
          </p:sp>
          <p:sp>
            <p:nvSpPr>
              <p:cNvPr id="536" name="TextBox 535"/>
              <p:cNvSpPr txBox="1"/>
              <p:nvPr/>
            </p:nvSpPr>
            <p:spPr>
              <a:xfrm>
                <a:off x="3570645" y="4128391"/>
                <a:ext cx="2237347" cy="554069"/>
              </a:xfrm>
              <a:prstGeom prst="rect">
                <a:avLst/>
              </a:prstGeom>
              <a:noFill/>
            </p:spPr>
            <p:txBody>
              <a:bodyPr wrap="none" lIns="0" tIns="0" rIns="0" bIns="0" rtlCol="0">
                <a:spAutoFit/>
              </a:bodyPr>
              <a:lstStyle/>
              <a:p>
                <a:pPr marL="0" marR="0" lvl="0" indent="0" algn="l" defTabSz="1142609" rtl="0" eaLnBrk="1" fontAlgn="auto" latinLnBrk="0" hangingPunct="1">
                  <a:lnSpc>
                    <a:spcPct val="100000"/>
                  </a:lnSpc>
                  <a:spcBef>
                    <a:spcPts val="1125"/>
                  </a:spcBef>
                  <a:spcAft>
                    <a:spcPts val="0"/>
                  </a:spcAft>
                  <a:buClrTx/>
                  <a:buSzPct val="25000"/>
                  <a:buFontTx/>
                  <a:buNone/>
                  <a:tabLst/>
                  <a:defRPr/>
                </a:pPr>
                <a:r>
                  <a:rPr kumimoji="0" lang="en-US" sz="3374" b="1" i="0" u="none" strike="noStrike" kern="1200" cap="none" spc="0" normalizeH="0" baseline="0" noProof="0" dirty="0">
                    <a:ln>
                      <a:noFill/>
                    </a:ln>
                    <a:solidFill>
                      <a:prstClr val="white"/>
                    </a:solidFill>
                    <a:effectLst/>
                    <a:uLnTx/>
                    <a:uFillTx/>
                    <a:ea typeface="Open Sans Semibold" panose="020B0706030804020204" pitchFamily="34" charset="0"/>
                    <a:cs typeface="Open Sans Semibold" panose="020B0706030804020204" pitchFamily="34" charset="0"/>
                    <a:sym typeface="Gotham Book" charset="0"/>
                  </a:rPr>
                  <a:t>3.4 Billion</a:t>
                </a:r>
              </a:p>
            </p:txBody>
          </p:sp>
        </p:grpSp>
        <p:sp>
          <p:nvSpPr>
            <p:cNvPr id="375" name="Freeform 374"/>
            <p:cNvSpPr/>
            <p:nvPr/>
          </p:nvSpPr>
          <p:spPr bwMode="gray">
            <a:xfrm rot="6711070" flipV="1">
              <a:off x="1658914" y="2843753"/>
              <a:ext cx="532265" cy="58327"/>
            </a:xfrm>
            <a:custGeom>
              <a:avLst/>
              <a:gdLst>
                <a:gd name="connsiteX0" fmla="*/ 0 w 3518116"/>
                <a:gd name="connsiteY0" fmla="*/ 44739 h 509688"/>
                <a:gd name="connsiteX1" fmla="*/ 1689316 w 3518116"/>
                <a:gd name="connsiteY1" fmla="*/ 44739 h 509688"/>
                <a:gd name="connsiteX2" fmla="*/ 3518116 w 3518116"/>
                <a:gd name="connsiteY2" fmla="*/ 509688 h 509688"/>
              </a:gdLst>
              <a:ahLst/>
              <a:cxnLst>
                <a:cxn ang="0">
                  <a:pos x="connsiteX0" y="connsiteY0"/>
                </a:cxn>
                <a:cxn ang="0">
                  <a:pos x="connsiteX1" y="connsiteY1"/>
                </a:cxn>
                <a:cxn ang="0">
                  <a:pos x="connsiteX2" y="connsiteY2"/>
                </a:cxn>
              </a:cxnLst>
              <a:rect l="l" t="t" r="r" b="b"/>
              <a:pathLst>
                <a:path w="3518116" h="509688">
                  <a:moveTo>
                    <a:pt x="0" y="44739"/>
                  </a:moveTo>
                  <a:cubicBezTo>
                    <a:pt x="551481" y="5993"/>
                    <a:pt x="1102963" y="-32752"/>
                    <a:pt x="1689316" y="44739"/>
                  </a:cubicBezTo>
                  <a:cubicBezTo>
                    <a:pt x="2275669" y="122230"/>
                    <a:pt x="2896892" y="315959"/>
                    <a:pt x="3518116" y="509688"/>
                  </a:cubicBezTo>
                </a:path>
              </a:pathLst>
            </a:custGeom>
            <a:noFill/>
            <a:ln w="38100" algn="ctr">
              <a:solidFill>
                <a:schemeClr val="accent1"/>
              </a:solidFill>
              <a:miter lim="800000"/>
              <a:headEnd type="none" w="med" len="med"/>
              <a:tailEnd type="arrow" w="med" len="med"/>
            </a:ln>
          </p:spPr>
          <p:txBody>
            <a:bodyPr rtlCol="0" anchor="ctr"/>
            <a:lstStyle/>
            <a:p>
              <a:pPr marL="0" marR="0" lvl="0" indent="0" algn="ctr" defTabSz="1142609" rtl="0" eaLnBrk="1" fontAlgn="auto" latinLnBrk="0" hangingPunct="1">
                <a:lnSpc>
                  <a:spcPct val="100000"/>
                </a:lnSpc>
                <a:spcBef>
                  <a:spcPts val="0"/>
                </a:spcBef>
                <a:spcAft>
                  <a:spcPts val="0"/>
                </a:spcAft>
                <a:buClrTx/>
                <a:buSzTx/>
                <a:buFontTx/>
                <a:buNone/>
                <a:tabLst/>
                <a:defRPr/>
              </a:pPr>
              <a:endParaRPr kumimoji="0" lang="en-US" sz="984"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76" name="Freeform 9"/>
            <p:cNvSpPr>
              <a:spLocks noChangeAspect="1" noEditPoints="1"/>
            </p:cNvSpPr>
            <p:nvPr/>
          </p:nvSpPr>
          <p:spPr bwMode="auto">
            <a:xfrm>
              <a:off x="11592587"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77" name="Freeform 9"/>
            <p:cNvSpPr>
              <a:spLocks noChangeAspect="1" noEditPoints="1"/>
            </p:cNvSpPr>
            <p:nvPr/>
          </p:nvSpPr>
          <p:spPr bwMode="auto">
            <a:xfrm>
              <a:off x="11592587"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78" name="Freeform 9"/>
            <p:cNvSpPr>
              <a:spLocks noChangeAspect="1" noEditPoints="1"/>
            </p:cNvSpPr>
            <p:nvPr/>
          </p:nvSpPr>
          <p:spPr bwMode="auto">
            <a:xfrm>
              <a:off x="11592587"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79" name="Freeform 9"/>
            <p:cNvSpPr>
              <a:spLocks noChangeAspect="1" noEditPoints="1"/>
            </p:cNvSpPr>
            <p:nvPr/>
          </p:nvSpPr>
          <p:spPr bwMode="auto">
            <a:xfrm>
              <a:off x="11592587"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80" name="Freeform 9"/>
            <p:cNvSpPr>
              <a:spLocks noChangeAspect="1" noEditPoints="1"/>
            </p:cNvSpPr>
            <p:nvPr/>
          </p:nvSpPr>
          <p:spPr bwMode="auto">
            <a:xfrm>
              <a:off x="11592587"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81" name="Freeform 9"/>
            <p:cNvSpPr>
              <a:spLocks noChangeAspect="1" noEditPoints="1"/>
            </p:cNvSpPr>
            <p:nvPr/>
          </p:nvSpPr>
          <p:spPr bwMode="auto">
            <a:xfrm>
              <a:off x="11861083"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82" name="Freeform 9"/>
            <p:cNvSpPr>
              <a:spLocks noChangeAspect="1" noEditPoints="1"/>
            </p:cNvSpPr>
            <p:nvPr/>
          </p:nvSpPr>
          <p:spPr bwMode="auto">
            <a:xfrm>
              <a:off x="11861083"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83" name="Freeform 9"/>
            <p:cNvSpPr>
              <a:spLocks noChangeAspect="1" noEditPoints="1"/>
            </p:cNvSpPr>
            <p:nvPr/>
          </p:nvSpPr>
          <p:spPr bwMode="auto">
            <a:xfrm>
              <a:off x="11861083"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84" name="Freeform 9"/>
            <p:cNvSpPr>
              <a:spLocks noChangeAspect="1" noEditPoints="1"/>
            </p:cNvSpPr>
            <p:nvPr/>
          </p:nvSpPr>
          <p:spPr bwMode="auto">
            <a:xfrm>
              <a:off x="11861083"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85" name="Freeform 9"/>
            <p:cNvSpPr>
              <a:spLocks noChangeAspect="1" noEditPoints="1"/>
            </p:cNvSpPr>
            <p:nvPr/>
          </p:nvSpPr>
          <p:spPr bwMode="auto">
            <a:xfrm>
              <a:off x="11861083"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86" name="Freeform 9"/>
            <p:cNvSpPr>
              <a:spLocks noChangeAspect="1" noEditPoints="1"/>
            </p:cNvSpPr>
            <p:nvPr/>
          </p:nvSpPr>
          <p:spPr bwMode="auto">
            <a:xfrm>
              <a:off x="12129579"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87" name="Freeform 9"/>
            <p:cNvSpPr>
              <a:spLocks noChangeAspect="1" noEditPoints="1"/>
            </p:cNvSpPr>
            <p:nvPr/>
          </p:nvSpPr>
          <p:spPr bwMode="auto">
            <a:xfrm>
              <a:off x="12129579"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88" name="Freeform 9"/>
            <p:cNvSpPr>
              <a:spLocks noChangeAspect="1" noEditPoints="1"/>
            </p:cNvSpPr>
            <p:nvPr/>
          </p:nvSpPr>
          <p:spPr bwMode="auto">
            <a:xfrm>
              <a:off x="12129579"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89" name="Freeform 9"/>
            <p:cNvSpPr>
              <a:spLocks noChangeAspect="1" noEditPoints="1"/>
            </p:cNvSpPr>
            <p:nvPr/>
          </p:nvSpPr>
          <p:spPr bwMode="auto">
            <a:xfrm>
              <a:off x="12129579"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90" name="Freeform 9"/>
            <p:cNvSpPr>
              <a:spLocks noChangeAspect="1" noEditPoints="1"/>
            </p:cNvSpPr>
            <p:nvPr/>
          </p:nvSpPr>
          <p:spPr bwMode="auto">
            <a:xfrm>
              <a:off x="12129579"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91" name="Freeform 9"/>
            <p:cNvSpPr>
              <a:spLocks noChangeAspect="1" noEditPoints="1"/>
            </p:cNvSpPr>
            <p:nvPr/>
          </p:nvSpPr>
          <p:spPr bwMode="auto">
            <a:xfrm>
              <a:off x="12398074"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92" name="Freeform 9"/>
            <p:cNvSpPr>
              <a:spLocks noChangeAspect="1" noEditPoints="1"/>
            </p:cNvSpPr>
            <p:nvPr/>
          </p:nvSpPr>
          <p:spPr bwMode="auto">
            <a:xfrm>
              <a:off x="12398074"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93" name="Freeform 9"/>
            <p:cNvSpPr>
              <a:spLocks noChangeAspect="1" noEditPoints="1"/>
            </p:cNvSpPr>
            <p:nvPr/>
          </p:nvSpPr>
          <p:spPr bwMode="auto">
            <a:xfrm>
              <a:off x="12398074"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94" name="Freeform 9"/>
            <p:cNvSpPr>
              <a:spLocks noChangeAspect="1" noEditPoints="1"/>
            </p:cNvSpPr>
            <p:nvPr/>
          </p:nvSpPr>
          <p:spPr bwMode="auto">
            <a:xfrm>
              <a:off x="12398074"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95" name="Freeform 9"/>
            <p:cNvSpPr>
              <a:spLocks noChangeAspect="1" noEditPoints="1"/>
            </p:cNvSpPr>
            <p:nvPr/>
          </p:nvSpPr>
          <p:spPr bwMode="auto">
            <a:xfrm>
              <a:off x="12398074"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96" name="Freeform 9"/>
            <p:cNvSpPr>
              <a:spLocks noChangeAspect="1" noEditPoints="1"/>
            </p:cNvSpPr>
            <p:nvPr/>
          </p:nvSpPr>
          <p:spPr bwMode="auto">
            <a:xfrm>
              <a:off x="12666570"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97" name="Freeform 9"/>
            <p:cNvSpPr>
              <a:spLocks noChangeAspect="1" noEditPoints="1"/>
            </p:cNvSpPr>
            <p:nvPr/>
          </p:nvSpPr>
          <p:spPr bwMode="auto">
            <a:xfrm>
              <a:off x="12666570"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98" name="Freeform 9"/>
            <p:cNvSpPr>
              <a:spLocks noChangeAspect="1" noEditPoints="1"/>
            </p:cNvSpPr>
            <p:nvPr/>
          </p:nvSpPr>
          <p:spPr bwMode="auto">
            <a:xfrm>
              <a:off x="12666570"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399" name="Freeform 9"/>
            <p:cNvSpPr>
              <a:spLocks noChangeAspect="1" noEditPoints="1"/>
            </p:cNvSpPr>
            <p:nvPr/>
          </p:nvSpPr>
          <p:spPr bwMode="auto">
            <a:xfrm>
              <a:off x="12666570"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00" name="Freeform 9"/>
            <p:cNvSpPr>
              <a:spLocks noChangeAspect="1" noEditPoints="1"/>
            </p:cNvSpPr>
            <p:nvPr/>
          </p:nvSpPr>
          <p:spPr bwMode="auto">
            <a:xfrm>
              <a:off x="12666570"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01" name="Freeform 9"/>
            <p:cNvSpPr>
              <a:spLocks noChangeAspect="1" noEditPoints="1"/>
            </p:cNvSpPr>
            <p:nvPr/>
          </p:nvSpPr>
          <p:spPr bwMode="auto">
            <a:xfrm>
              <a:off x="12935066"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02" name="Freeform 9"/>
            <p:cNvSpPr>
              <a:spLocks noChangeAspect="1" noEditPoints="1"/>
            </p:cNvSpPr>
            <p:nvPr/>
          </p:nvSpPr>
          <p:spPr bwMode="auto">
            <a:xfrm>
              <a:off x="12935066"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03" name="Freeform 9"/>
            <p:cNvSpPr>
              <a:spLocks noChangeAspect="1" noEditPoints="1"/>
            </p:cNvSpPr>
            <p:nvPr/>
          </p:nvSpPr>
          <p:spPr bwMode="auto">
            <a:xfrm>
              <a:off x="12935066"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04" name="Freeform 9"/>
            <p:cNvSpPr>
              <a:spLocks noChangeAspect="1" noEditPoints="1"/>
            </p:cNvSpPr>
            <p:nvPr/>
          </p:nvSpPr>
          <p:spPr bwMode="auto">
            <a:xfrm>
              <a:off x="12935066"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05" name="Freeform 9"/>
            <p:cNvSpPr>
              <a:spLocks noChangeAspect="1" noEditPoints="1"/>
            </p:cNvSpPr>
            <p:nvPr/>
          </p:nvSpPr>
          <p:spPr bwMode="auto">
            <a:xfrm>
              <a:off x="12935066"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06" name="Freeform 9"/>
            <p:cNvSpPr>
              <a:spLocks noChangeAspect="1" noEditPoints="1"/>
            </p:cNvSpPr>
            <p:nvPr/>
          </p:nvSpPr>
          <p:spPr bwMode="auto">
            <a:xfrm>
              <a:off x="13203562"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07" name="Freeform 9"/>
            <p:cNvSpPr>
              <a:spLocks noChangeAspect="1" noEditPoints="1"/>
            </p:cNvSpPr>
            <p:nvPr/>
          </p:nvSpPr>
          <p:spPr bwMode="auto">
            <a:xfrm>
              <a:off x="13203562"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08" name="Freeform 9"/>
            <p:cNvSpPr>
              <a:spLocks noChangeAspect="1" noEditPoints="1"/>
            </p:cNvSpPr>
            <p:nvPr/>
          </p:nvSpPr>
          <p:spPr bwMode="auto">
            <a:xfrm>
              <a:off x="13203562"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09" name="Freeform 9"/>
            <p:cNvSpPr>
              <a:spLocks noChangeAspect="1" noEditPoints="1"/>
            </p:cNvSpPr>
            <p:nvPr/>
          </p:nvSpPr>
          <p:spPr bwMode="auto">
            <a:xfrm>
              <a:off x="13203562"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10" name="Freeform 9"/>
            <p:cNvSpPr>
              <a:spLocks noChangeAspect="1" noEditPoints="1"/>
            </p:cNvSpPr>
            <p:nvPr/>
          </p:nvSpPr>
          <p:spPr bwMode="auto">
            <a:xfrm>
              <a:off x="13203562"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11" name="Freeform 9"/>
            <p:cNvSpPr>
              <a:spLocks noChangeAspect="1" noEditPoints="1"/>
            </p:cNvSpPr>
            <p:nvPr/>
          </p:nvSpPr>
          <p:spPr bwMode="auto">
            <a:xfrm>
              <a:off x="13472058"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12" name="Freeform 9"/>
            <p:cNvSpPr>
              <a:spLocks noChangeAspect="1" noEditPoints="1"/>
            </p:cNvSpPr>
            <p:nvPr/>
          </p:nvSpPr>
          <p:spPr bwMode="auto">
            <a:xfrm>
              <a:off x="13472058"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13" name="Freeform 9"/>
            <p:cNvSpPr>
              <a:spLocks noChangeAspect="1" noEditPoints="1"/>
            </p:cNvSpPr>
            <p:nvPr/>
          </p:nvSpPr>
          <p:spPr bwMode="auto">
            <a:xfrm>
              <a:off x="13472058"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14" name="Freeform 9"/>
            <p:cNvSpPr>
              <a:spLocks noChangeAspect="1" noEditPoints="1"/>
            </p:cNvSpPr>
            <p:nvPr/>
          </p:nvSpPr>
          <p:spPr bwMode="auto">
            <a:xfrm>
              <a:off x="13472058"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15" name="Freeform 9"/>
            <p:cNvSpPr>
              <a:spLocks noChangeAspect="1" noEditPoints="1"/>
            </p:cNvSpPr>
            <p:nvPr/>
          </p:nvSpPr>
          <p:spPr bwMode="auto">
            <a:xfrm>
              <a:off x="13472058"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16" name="Freeform 9"/>
            <p:cNvSpPr>
              <a:spLocks noChangeAspect="1" noEditPoints="1"/>
            </p:cNvSpPr>
            <p:nvPr/>
          </p:nvSpPr>
          <p:spPr bwMode="auto">
            <a:xfrm>
              <a:off x="13740553"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17" name="Freeform 9"/>
            <p:cNvSpPr>
              <a:spLocks noChangeAspect="1" noEditPoints="1"/>
            </p:cNvSpPr>
            <p:nvPr/>
          </p:nvSpPr>
          <p:spPr bwMode="auto">
            <a:xfrm>
              <a:off x="13740553"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18" name="Freeform 9"/>
            <p:cNvSpPr>
              <a:spLocks noChangeAspect="1" noEditPoints="1"/>
            </p:cNvSpPr>
            <p:nvPr/>
          </p:nvSpPr>
          <p:spPr bwMode="auto">
            <a:xfrm>
              <a:off x="13740553"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19" name="Freeform 9"/>
            <p:cNvSpPr>
              <a:spLocks noChangeAspect="1" noEditPoints="1"/>
            </p:cNvSpPr>
            <p:nvPr/>
          </p:nvSpPr>
          <p:spPr bwMode="auto">
            <a:xfrm>
              <a:off x="13740553"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20" name="Freeform 9"/>
            <p:cNvSpPr>
              <a:spLocks noChangeAspect="1" noEditPoints="1"/>
            </p:cNvSpPr>
            <p:nvPr/>
          </p:nvSpPr>
          <p:spPr bwMode="auto">
            <a:xfrm>
              <a:off x="13740553"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21" name="Freeform 9"/>
            <p:cNvSpPr>
              <a:spLocks noChangeAspect="1" noEditPoints="1"/>
            </p:cNvSpPr>
            <p:nvPr/>
          </p:nvSpPr>
          <p:spPr bwMode="auto">
            <a:xfrm>
              <a:off x="14009049" y="323111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3"/>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22" name="Freeform 9"/>
            <p:cNvSpPr>
              <a:spLocks noChangeAspect="1" noEditPoints="1"/>
            </p:cNvSpPr>
            <p:nvPr/>
          </p:nvSpPr>
          <p:spPr bwMode="auto">
            <a:xfrm>
              <a:off x="14009049" y="3874864"/>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23" name="Freeform 9"/>
            <p:cNvSpPr>
              <a:spLocks noChangeAspect="1" noEditPoints="1"/>
            </p:cNvSpPr>
            <p:nvPr/>
          </p:nvSpPr>
          <p:spPr bwMode="auto">
            <a:xfrm>
              <a:off x="14009049" y="4518610"/>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24" name="Freeform 9"/>
            <p:cNvSpPr>
              <a:spLocks noChangeAspect="1" noEditPoints="1"/>
            </p:cNvSpPr>
            <p:nvPr/>
          </p:nvSpPr>
          <p:spPr bwMode="auto">
            <a:xfrm>
              <a:off x="14009049" y="5162357"/>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25" name="Freeform 9"/>
            <p:cNvSpPr>
              <a:spLocks noChangeAspect="1" noEditPoints="1"/>
            </p:cNvSpPr>
            <p:nvPr/>
          </p:nvSpPr>
          <p:spPr bwMode="auto">
            <a:xfrm>
              <a:off x="14009049" y="5806103"/>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26" name="Freeform 9"/>
            <p:cNvSpPr>
              <a:spLocks noChangeAspect="1" noEditPoints="1"/>
            </p:cNvSpPr>
            <p:nvPr/>
          </p:nvSpPr>
          <p:spPr bwMode="auto">
            <a:xfrm>
              <a:off x="1320444"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27" name="Freeform 9"/>
            <p:cNvSpPr>
              <a:spLocks noChangeAspect="1" noEditPoints="1"/>
            </p:cNvSpPr>
            <p:nvPr/>
          </p:nvSpPr>
          <p:spPr bwMode="auto">
            <a:xfrm>
              <a:off x="1571670"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28" name="Freeform 9"/>
            <p:cNvSpPr>
              <a:spLocks noChangeAspect="1" noEditPoints="1"/>
            </p:cNvSpPr>
            <p:nvPr/>
          </p:nvSpPr>
          <p:spPr bwMode="auto">
            <a:xfrm>
              <a:off x="1817742"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29" name="Freeform 9"/>
            <p:cNvSpPr>
              <a:spLocks noChangeAspect="1" noEditPoints="1"/>
            </p:cNvSpPr>
            <p:nvPr/>
          </p:nvSpPr>
          <p:spPr bwMode="auto">
            <a:xfrm>
              <a:off x="2051168"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30" name="Freeform 9"/>
            <p:cNvSpPr>
              <a:spLocks noChangeAspect="1" noEditPoints="1"/>
            </p:cNvSpPr>
            <p:nvPr/>
          </p:nvSpPr>
          <p:spPr bwMode="auto">
            <a:xfrm>
              <a:off x="2284594"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31" name="Freeform 9"/>
            <p:cNvSpPr>
              <a:spLocks noChangeAspect="1" noEditPoints="1"/>
            </p:cNvSpPr>
            <p:nvPr/>
          </p:nvSpPr>
          <p:spPr bwMode="auto">
            <a:xfrm>
              <a:off x="2518020"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32" name="Freeform 9"/>
            <p:cNvSpPr>
              <a:spLocks noChangeAspect="1" noEditPoints="1"/>
            </p:cNvSpPr>
            <p:nvPr/>
          </p:nvSpPr>
          <p:spPr bwMode="auto">
            <a:xfrm>
              <a:off x="2751446"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33" name="Freeform 9"/>
            <p:cNvSpPr>
              <a:spLocks noChangeAspect="1" noEditPoints="1"/>
            </p:cNvSpPr>
            <p:nvPr/>
          </p:nvSpPr>
          <p:spPr bwMode="auto">
            <a:xfrm>
              <a:off x="2984872"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34" name="Freeform 9"/>
            <p:cNvSpPr>
              <a:spLocks noChangeAspect="1" noEditPoints="1"/>
            </p:cNvSpPr>
            <p:nvPr/>
          </p:nvSpPr>
          <p:spPr bwMode="auto">
            <a:xfrm>
              <a:off x="3218298"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35" name="Freeform 9"/>
            <p:cNvSpPr>
              <a:spLocks noChangeAspect="1" noEditPoints="1"/>
            </p:cNvSpPr>
            <p:nvPr/>
          </p:nvSpPr>
          <p:spPr bwMode="auto">
            <a:xfrm>
              <a:off x="3451722"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36" name="Freeform 9"/>
            <p:cNvSpPr>
              <a:spLocks noChangeAspect="1" noEditPoints="1"/>
            </p:cNvSpPr>
            <p:nvPr/>
          </p:nvSpPr>
          <p:spPr bwMode="auto">
            <a:xfrm>
              <a:off x="3685149"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37" name="Freeform 9"/>
            <p:cNvSpPr>
              <a:spLocks noChangeAspect="1" noEditPoints="1"/>
            </p:cNvSpPr>
            <p:nvPr/>
          </p:nvSpPr>
          <p:spPr bwMode="auto">
            <a:xfrm>
              <a:off x="3918575"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38" name="Freeform 9"/>
            <p:cNvSpPr>
              <a:spLocks noChangeAspect="1" noEditPoints="1"/>
            </p:cNvSpPr>
            <p:nvPr/>
          </p:nvSpPr>
          <p:spPr bwMode="auto">
            <a:xfrm>
              <a:off x="4152000"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39" name="Freeform 9"/>
            <p:cNvSpPr>
              <a:spLocks noChangeAspect="1" noEditPoints="1"/>
            </p:cNvSpPr>
            <p:nvPr/>
          </p:nvSpPr>
          <p:spPr bwMode="auto">
            <a:xfrm>
              <a:off x="4385427"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40" name="Freeform 9"/>
            <p:cNvSpPr>
              <a:spLocks noChangeAspect="1" noEditPoints="1"/>
            </p:cNvSpPr>
            <p:nvPr/>
          </p:nvSpPr>
          <p:spPr bwMode="auto">
            <a:xfrm>
              <a:off x="4618851"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41" name="Freeform 9"/>
            <p:cNvSpPr>
              <a:spLocks noChangeAspect="1" noEditPoints="1"/>
            </p:cNvSpPr>
            <p:nvPr/>
          </p:nvSpPr>
          <p:spPr bwMode="auto">
            <a:xfrm>
              <a:off x="4852277"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42" name="Freeform 9"/>
            <p:cNvSpPr>
              <a:spLocks noChangeAspect="1" noEditPoints="1"/>
            </p:cNvSpPr>
            <p:nvPr/>
          </p:nvSpPr>
          <p:spPr bwMode="auto">
            <a:xfrm>
              <a:off x="5085703"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43" name="Freeform 9"/>
            <p:cNvSpPr>
              <a:spLocks noChangeAspect="1" noEditPoints="1"/>
            </p:cNvSpPr>
            <p:nvPr/>
          </p:nvSpPr>
          <p:spPr bwMode="auto">
            <a:xfrm>
              <a:off x="5319129"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44" name="Freeform 9"/>
            <p:cNvSpPr>
              <a:spLocks noChangeAspect="1" noEditPoints="1"/>
            </p:cNvSpPr>
            <p:nvPr/>
          </p:nvSpPr>
          <p:spPr bwMode="auto">
            <a:xfrm>
              <a:off x="5552555"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45" name="Freeform 9"/>
            <p:cNvSpPr>
              <a:spLocks noChangeAspect="1" noEditPoints="1"/>
            </p:cNvSpPr>
            <p:nvPr/>
          </p:nvSpPr>
          <p:spPr bwMode="auto">
            <a:xfrm>
              <a:off x="5785980"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46" name="Freeform 9"/>
            <p:cNvSpPr>
              <a:spLocks noChangeAspect="1" noEditPoints="1"/>
            </p:cNvSpPr>
            <p:nvPr/>
          </p:nvSpPr>
          <p:spPr bwMode="auto">
            <a:xfrm>
              <a:off x="6019405"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47" name="Freeform 9"/>
            <p:cNvSpPr>
              <a:spLocks noChangeAspect="1" noEditPoints="1"/>
            </p:cNvSpPr>
            <p:nvPr/>
          </p:nvSpPr>
          <p:spPr bwMode="auto">
            <a:xfrm>
              <a:off x="6252830"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48" name="Freeform 9"/>
            <p:cNvSpPr>
              <a:spLocks noChangeAspect="1" noEditPoints="1"/>
            </p:cNvSpPr>
            <p:nvPr/>
          </p:nvSpPr>
          <p:spPr bwMode="auto">
            <a:xfrm>
              <a:off x="6486256"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49" name="Freeform 9"/>
            <p:cNvSpPr>
              <a:spLocks noChangeAspect="1" noEditPoints="1"/>
            </p:cNvSpPr>
            <p:nvPr/>
          </p:nvSpPr>
          <p:spPr bwMode="auto">
            <a:xfrm>
              <a:off x="6719680"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50" name="Freeform 9"/>
            <p:cNvSpPr>
              <a:spLocks noChangeAspect="1" noEditPoints="1"/>
            </p:cNvSpPr>
            <p:nvPr/>
          </p:nvSpPr>
          <p:spPr bwMode="auto">
            <a:xfrm>
              <a:off x="6953105"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51" name="Freeform 9"/>
            <p:cNvSpPr>
              <a:spLocks noChangeAspect="1" noEditPoints="1"/>
            </p:cNvSpPr>
            <p:nvPr/>
          </p:nvSpPr>
          <p:spPr bwMode="auto">
            <a:xfrm>
              <a:off x="7186531"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52" name="Freeform 9"/>
            <p:cNvSpPr>
              <a:spLocks noChangeAspect="1" noEditPoints="1"/>
            </p:cNvSpPr>
            <p:nvPr/>
          </p:nvSpPr>
          <p:spPr bwMode="auto">
            <a:xfrm>
              <a:off x="7419955"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53" name="Freeform 9"/>
            <p:cNvSpPr>
              <a:spLocks noChangeAspect="1" noEditPoints="1"/>
            </p:cNvSpPr>
            <p:nvPr/>
          </p:nvSpPr>
          <p:spPr bwMode="auto">
            <a:xfrm>
              <a:off x="7663964"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54" name="Freeform 9"/>
            <p:cNvSpPr>
              <a:spLocks noChangeAspect="1" noEditPoints="1"/>
            </p:cNvSpPr>
            <p:nvPr/>
          </p:nvSpPr>
          <p:spPr bwMode="auto">
            <a:xfrm>
              <a:off x="7907972"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55" name="Freeform 9"/>
            <p:cNvSpPr>
              <a:spLocks noChangeAspect="1" noEditPoints="1"/>
            </p:cNvSpPr>
            <p:nvPr/>
          </p:nvSpPr>
          <p:spPr bwMode="auto">
            <a:xfrm>
              <a:off x="8151981"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56" name="Freeform 9"/>
            <p:cNvSpPr>
              <a:spLocks noChangeAspect="1" noEditPoints="1"/>
            </p:cNvSpPr>
            <p:nvPr/>
          </p:nvSpPr>
          <p:spPr bwMode="auto">
            <a:xfrm>
              <a:off x="8395989"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57" name="Freeform 9"/>
            <p:cNvSpPr>
              <a:spLocks noChangeAspect="1" noEditPoints="1"/>
            </p:cNvSpPr>
            <p:nvPr/>
          </p:nvSpPr>
          <p:spPr bwMode="auto">
            <a:xfrm>
              <a:off x="8639998"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58" name="Freeform 9"/>
            <p:cNvSpPr>
              <a:spLocks noChangeAspect="1" noEditPoints="1"/>
            </p:cNvSpPr>
            <p:nvPr/>
          </p:nvSpPr>
          <p:spPr bwMode="auto">
            <a:xfrm>
              <a:off x="8884006"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59" name="Freeform 9"/>
            <p:cNvSpPr>
              <a:spLocks noChangeAspect="1" noEditPoints="1"/>
            </p:cNvSpPr>
            <p:nvPr/>
          </p:nvSpPr>
          <p:spPr bwMode="auto">
            <a:xfrm>
              <a:off x="9128015"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60" name="Freeform 9"/>
            <p:cNvSpPr>
              <a:spLocks noChangeAspect="1" noEditPoints="1"/>
            </p:cNvSpPr>
            <p:nvPr/>
          </p:nvSpPr>
          <p:spPr bwMode="auto">
            <a:xfrm>
              <a:off x="9372023"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61" name="Freeform 9"/>
            <p:cNvSpPr>
              <a:spLocks noChangeAspect="1" noEditPoints="1"/>
            </p:cNvSpPr>
            <p:nvPr/>
          </p:nvSpPr>
          <p:spPr bwMode="auto">
            <a:xfrm>
              <a:off x="9616032"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62" name="Freeform 9"/>
            <p:cNvSpPr>
              <a:spLocks noChangeAspect="1" noEditPoints="1"/>
            </p:cNvSpPr>
            <p:nvPr/>
          </p:nvSpPr>
          <p:spPr bwMode="auto">
            <a:xfrm>
              <a:off x="9860040"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63" name="Freeform 9"/>
            <p:cNvSpPr>
              <a:spLocks noChangeAspect="1" noEditPoints="1"/>
            </p:cNvSpPr>
            <p:nvPr/>
          </p:nvSpPr>
          <p:spPr bwMode="auto">
            <a:xfrm>
              <a:off x="10104049"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64" name="Freeform 9"/>
            <p:cNvSpPr>
              <a:spLocks noChangeAspect="1" noEditPoints="1"/>
            </p:cNvSpPr>
            <p:nvPr/>
          </p:nvSpPr>
          <p:spPr bwMode="auto">
            <a:xfrm>
              <a:off x="10348057"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65" name="Freeform 9"/>
            <p:cNvSpPr>
              <a:spLocks noChangeAspect="1" noEditPoints="1"/>
            </p:cNvSpPr>
            <p:nvPr/>
          </p:nvSpPr>
          <p:spPr bwMode="auto">
            <a:xfrm>
              <a:off x="10592066"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66" name="Freeform 9"/>
            <p:cNvSpPr>
              <a:spLocks noChangeAspect="1" noEditPoints="1"/>
            </p:cNvSpPr>
            <p:nvPr/>
          </p:nvSpPr>
          <p:spPr bwMode="auto">
            <a:xfrm>
              <a:off x="10836074"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67" name="Freeform 9"/>
            <p:cNvSpPr>
              <a:spLocks noChangeAspect="1" noEditPoints="1"/>
            </p:cNvSpPr>
            <p:nvPr/>
          </p:nvSpPr>
          <p:spPr bwMode="auto">
            <a:xfrm>
              <a:off x="11080083"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68" name="Freeform 9"/>
            <p:cNvSpPr>
              <a:spLocks noChangeAspect="1" noEditPoints="1"/>
            </p:cNvSpPr>
            <p:nvPr/>
          </p:nvSpPr>
          <p:spPr bwMode="auto">
            <a:xfrm>
              <a:off x="11324091"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69" name="Freeform 9"/>
            <p:cNvSpPr>
              <a:spLocks noChangeAspect="1" noEditPoints="1"/>
            </p:cNvSpPr>
            <p:nvPr/>
          </p:nvSpPr>
          <p:spPr bwMode="auto">
            <a:xfrm>
              <a:off x="11592587"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70" name="Freeform 9"/>
            <p:cNvSpPr>
              <a:spLocks noChangeAspect="1" noEditPoints="1"/>
            </p:cNvSpPr>
            <p:nvPr/>
          </p:nvSpPr>
          <p:spPr bwMode="auto">
            <a:xfrm>
              <a:off x="11861083"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71" name="Freeform 9"/>
            <p:cNvSpPr>
              <a:spLocks noChangeAspect="1" noEditPoints="1"/>
            </p:cNvSpPr>
            <p:nvPr/>
          </p:nvSpPr>
          <p:spPr bwMode="auto">
            <a:xfrm>
              <a:off x="12129579"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72" name="Freeform 9"/>
            <p:cNvSpPr>
              <a:spLocks noChangeAspect="1" noEditPoints="1"/>
            </p:cNvSpPr>
            <p:nvPr/>
          </p:nvSpPr>
          <p:spPr bwMode="auto">
            <a:xfrm>
              <a:off x="12398074"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73" name="Freeform 9"/>
            <p:cNvSpPr>
              <a:spLocks noChangeAspect="1" noEditPoints="1"/>
            </p:cNvSpPr>
            <p:nvPr/>
          </p:nvSpPr>
          <p:spPr bwMode="auto">
            <a:xfrm>
              <a:off x="12666570"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74" name="Freeform 9"/>
            <p:cNvSpPr>
              <a:spLocks noChangeAspect="1" noEditPoints="1"/>
            </p:cNvSpPr>
            <p:nvPr/>
          </p:nvSpPr>
          <p:spPr bwMode="auto">
            <a:xfrm>
              <a:off x="12935066"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75" name="Freeform 9"/>
            <p:cNvSpPr>
              <a:spLocks noChangeAspect="1" noEditPoints="1"/>
            </p:cNvSpPr>
            <p:nvPr/>
          </p:nvSpPr>
          <p:spPr bwMode="auto">
            <a:xfrm>
              <a:off x="13203562"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76" name="Freeform 9"/>
            <p:cNvSpPr>
              <a:spLocks noChangeAspect="1" noEditPoints="1"/>
            </p:cNvSpPr>
            <p:nvPr/>
          </p:nvSpPr>
          <p:spPr bwMode="auto">
            <a:xfrm>
              <a:off x="13472058"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77" name="Freeform 9"/>
            <p:cNvSpPr>
              <a:spLocks noChangeAspect="1" noEditPoints="1"/>
            </p:cNvSpPr>
            <p:nvPr/>
          </p:nvSpPr>
          <p:spPr bwMode="auto">
            <a:xfrm>
              <a:off x="13740553"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78" name="Freeform 9"/>
            <p:cNvSpPr>
              <a:spLocks noChangeAspect="1" noEditPoints="1"/>
            </p:cNvSpPr>
            <p:nvPr/>
          </p:nvSpPr>
          <p:spPr bwMode="auto">
            <a:xfrm>
              <a:off x="14009049" y="7740108"/>
              <a:ext cx="224832" cy="57948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grpSp>
          <p:nvGrpSpPr>
            <p:cNvPr id="479" name="Group 478"/>
            <p:cNvGrpSpPr/>
            <p:nvPr/>
          </p:nvGrpSpPr>
          <p:grpSpPr>
            <a:xfrm>
              <a:off x="1320444" y="8383855"/>
              <a:ext cx="12913437" cy="579480"/>
              <a:chOff x="1035008" y="6699943"/>
              <a:chExt cx="10121984" cy="454216"/>
            </a:xfrm>
            <a:solidFill>
              <a:schemeClr val="tx1"/>
            </a:solidFill>
          </p:grpSpPr>
          <p:sp>
            <p:nvSpPr>
              <p:cNvPr id="482" name="Freeform 9"/>
              <p:cNvSpPr>
                <a:spLocks noChangeAspect="1" noEditPoints="1"/>
              </p:cNvSpPr>
              <p:nvPr/>
            </p:nvSpPr>
            <p:spPr bwMode="auto">
              <a:xfrm>
                <a:off x="1035008"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83" name="Freeform 9"/>
              <p:cNvSpPr>
                <a:spLocks noChangeAspect="1" noEditPoints="1"/>
              </p:cNvSpPr>
              <p:nvPr/>
            </p:nvSpPr>
            <p:spPr bwMode="auto">
              <a:xfrm>
                <a:off x="1231927"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84" name="Freeform 9"/>
              <p:cNvSpPr>
                <a:spLocks noChangeAspect="1" noEditPoints="1"/>
              </p:cNvSpPr>
              <p:nvPr/>
            </p:nvSpPr>
            <p:spPr bwMode="auto">
              <a:xfrm>
                <a:off x="1424807"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85" name="Freeform 9"/>
              <p:cNvSpPr>
                <a:spLocks noChangeAspect="1" noEditPoints="1"/>
              </p:cNvSpPr>
              <p:nvPr/>
            </p:nvSpPr>
            <p:spPr bwMode="auto">
              <a:xfrm>
                <a:off x="1607774"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86" name="Freeform 9"/>
              <p:cNvSpPr>
                <a:spLocks noChangeAspect="1" noEditPoints="1"/>
              </p:cNvSpPr>
              <p:nvPr/>
            </p:nvSpPr>
            <p:spPr bwMode="auto">
              <a:xfrm>
                <a:off x="1790741"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87" name="Freeform 9"/>
              <p:cNvSpPr>
                <a:spLocks noChangeAspect="1" noEditPoints="1"/>
              </p:cNvSpPr>
              <p:nvPr/>
            </p:nvSpPr>
            <p:spPr bwMode="auto">
              <a:xfrm>
                <a:off x="1973708"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88" name="Freeform 9"/>
              <p:cNvSpPr>
                <a:spLocks noChangeAspect="1" noEditPoints="1"/>
              </p:cNvSpPr>
              <p:nvPr/>
            </p:nvSpPr>
            <p:spPr bwMode="auto">
              <a:xfrm>
                <a:off x="2156675"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89" name="Freeform 9"/>
              <p:cNvSpPr>
                <a:spLocks noChangeAspect="1" noEditPoints="1"/>
              </p:cNvSpPr>
              <p:nvPr/>
            </p:nvSpPr>
            <p:spPr bwMode="auto">
              <a:xfrm>
                <a:off x="2339642"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90" name="Freeform 9"/>
              <p:cNvSpPr>
                <a:spLocks noChangeAspect="1" noEditPoints="1"/>
              </p:cNvSpPr>
              <p:nvPr/>
            </p:nvSpPr>
            <p:spPr bwMode="auto">
              <a:xfrm>
                <a:off x="2522609"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91" name="Freeform 9"/>
              <p:cNvSpPr>
                <a:spLocks noChangeAspect="1" noEditPoints="1"/>
              </p:cNvSpPr>
              <p:nvPr/>
            </p:nvSpPr>
            <p:spPr bwMode="auto">
              <a:xfrm>
                <a:off x="2705575"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92" name="Freeform 9"/>
              <p:cNvSpPr>
                <a:spLocks noChangeAspect="1" noEditPoints="1"/>
              </p:cNvSpPr>
              <p:nvPr/>
            </p:nvSpPr>
            <p:spPr bwMode="auto">
              <a:xfrm>
                <a:off x="2888543"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93" name="Freeform 9"/>
              <p:cNvSpPr>
                <a:spLocks noChangeAspect="1" noEditPoints="1"/>
              </p:cNvSpPr>
              <p:nvPr/>
            </p:nvSpPr>
            <p:spPr bwMode="auto">
              <a:xfrm>
                <a:off x="3071510"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94" name="Freeform 9"/>
              <p:cNvSpPr>
                <a:spLocks noChangeAspect="1" noEditPoints="1"/>
              </p:cNvSpPr>
              <p:nvPr/>
            </p:nvSpPr>
            <p:spPr bwMode="auto">
              <a:xfrm>
                <a:off x="3254476"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95" name="Freeform 9"/>
              <p:cNvSpPr>
                <a:spLocks noChangeAspect="1" noEditPoints="1"/>
              </p:cNvSpPr>
              <p:nvPr/>
            </p:nvSpPr>
            <p:spPr bwMode="auto">
              <a:xfrm>
                <a:off x="3437444"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96" name="Freeform 9"/>
              <p:cNvSpPr>
                <a:spLocks noChangeAspect="1" noEditPoints="1"/>
              </p:cNvSpPr>
              <p:nvPr/>
            </p:nvSpPr>
            <p:spPr bwMode="auto">
              <a:xfrm>
                <a:off x="3620410"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97" name="Freeform 9"/>
              <p:cNvSpPr>
                <a:spLocks noChangeAspect="1" noEditPoints="1"/>
              </p:cNvSpPr>
              <p:nvPr/>
            </p:nvSpPr>
            <p:spPr bwMode="auto">
              <a:xfrm>
                <a:off x="3803377"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98" name="Freeform 9"/>
              <p:cNvSpPr>
                <a:spLocks noChangeAspect="1" noEditPoints="1"/>
              </p:cNvSpPr>
              <p:nvPr/>
            </p:nvSpPr>
            <p:spPr bwMode="auto">
              <a:xfrm>
                <a:off x="3986344"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99" name="Freeform 9"/>
              <p:cNvSpPr>
                <a:spLocks noChangeAspect="1" noEditPoints="1"/>
              </p:cNvSpPr>
              <p:nvPr/>
            </p:nvSpPr>
            <p:spPr bwMode="auto">
              <a:xfrm>
                <a:off x="4169311"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00" name="Freeform 9"/>
              <p:cNvSpPr>
                <a:spLocks noChangeAspect="1" noEditPoints="1"/>
              </p:cNvSpPr>
              <p:nvPr/>
            </p:nvSpPr>
            <p:spPr bwMode="auto">
              <a:xfrm>
                <a:off x="4352278"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01" name="Freeform 9"/>
              <p:cNvSpPr>
                <a:spLocks noChangeAspect="1" noEditPoints="1"/>
              </p:cNvSpPr>
              <p:nvPr/>
            </p:nvSpPr>
            <p:spPr bwMode="auto">
              <a:xfrm>
                <a:off x="4535244"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02" name="Freeform 9"/>
              <p:cNvSpPr>
                <a:spLocks noChangeAspect="1" noEditPoints="1"/>
              </p:cNvSpPr>
              <p:nvPr/>
            </p:nvSpPr>
            <p:spPr bwMode="auto">
              <a:xfrm>
                <a:off x="4718211"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03" name="Freeform 9"/>
              <p:cNvSpPr>
                <a:spLocks noChangeAspect="1" noEditPoints="1"/>
              </p:cNvSpPr>
              <p:nvPr/>
            </p:nvSpPr>
            <p:spPr bwMode="auto">
              <a:xfrm>
                <a:off x="4901177"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04" name="Freeform 9"/>
              <p:cNvSpPr>
                <a:spLocks noChangeAspect="1" noEditPoints="1"/>
              </p:cNvSpPr>
              <p:nvPr/>
            </p:nvSpPr>
            <p:spPr bwMode="auto">
              <a:xfrm>
                <a:off x="5084144"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05" name="Freeform 9"/>
              <p:cNvSpPr>
                <a:spLocks noChangeAspect="1" noEditPoints="1"/>
              </p:cNvSpPr>
              <p:nvPr/>
            </p:nvSpPr>
            <p:spPr bwMode="auto">
              <a:xfrm>
                <a:off x="5267110"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06" name="Freeform 9"/>
              <p:cNvSpPr>
                <a:spLocks noChangeAspect="1" noEditPoints="1"/>
              </p:cNvSpPr>
              <p:nvPr/>
            </p:nvSpPr>
            <p:spPr bwMode="auto">
              <a:xfrm>
                <a:off x="5450076"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07" name="Freeform 9"/>
              <p:cNvSpPr>
                <a:spLocks noChangeAspect="1" noEditPoints="1"/>
              </p:cNvSpPr>
              <p:nvPr/>
            </p:nvSpPr>
            <p:spPr bwMode="auto">
              <a:xfrm>
                <a:off x="5633043"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08" name="Freeform 9"/>
              <p:cNvSpPr>
                <a:spLocks noChangeAspect="1" noEditPoints="1"/>
              </p:cNvSpPr>
              <p:nvPr/>
            </p:nvSpPr>
            <p:spPr bwMode="auto">
              <a:xfrm>
                <a:off x="5816009"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09" name="Freeform 9"/>
              <p:cNvSpPr>
                <a:spLocks noChangeAspect="1" noEditPoints="1"/>
              </p:cNvSpPr>
              <p:nvPr/>
            </p:nvSpPr>
            <p:spPr bwMode="auto">
              <a:xfrm>
                <a:off x="6007271"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10" name="Freeform 9"/>
              <p:cNvSpPr>
                <a:spLocks noChangeAspect="1" noEditPoints="1"/>
              </p:cNvSpPr>
              <p:nvPr/>
            </p:nvSpPr>
            <p:spPr bwMode="auto">
              <a:xfrm>
                <a:off x="6198533"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11" name="Freeform 9"/>
              <p:cNvSpPr>
                <a:spLocks noChangeAspect="1" noEditPoints="1"/>
              </p:cNvSpPr>
              <p:nvPr/>
            </p:nvSpPr>
            <p:spPr bwMode="auto">
              <a:xfrm>
                <a:off x="6389795"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12" name="Freeform 9"/>
              <p:cNvSpPr>
                <a:spLocks noChangeAspect="1" noEditPoints="1"/>
              </p:cNvSpPr>
              <p:nvPr/>
            </p:nvSpPr>
            <p:spPr bwMode="auto">
              <a:xfrm>
                <a:off x="6581057"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13" name="Freeform 9"/>
              <p:cNvSpPr>
                <a:spLocks noChangeAspect="1" noEditPoints="1"/>
              </p:cNvSpPr>
              <p:nvPr/>
            </p:nvSpPr>
            <p:spPr bwMode="auto">
              <a:xfrm>
                <a:off x="6772319"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14" name="Freeform 9"/>
              <p:cNvSpPr>
                <a:spLocks noChangeAspect="1" noEditPoints="1"/>
              </p:cNvSpPr>
              <p:nvPr/>
            </p:nvSpPr>
            <p:spPr bwMode="auto">
              <a:xfrm>
                <a:off x="6963581"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15" name="Freeform 9"/>
              <p:cNvSpPr>
                <a:spLocks noChangeAspect="1" noEditPoints="1"/>
              </p:cNvSpPr>
              <p:nvPr/>
            </p:nvSpPr>
            <p:spPr bwMode="auto">
              <a:xfrm>
                <a:off x="7154843"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16" name="Freeform 9"/>
              <p:cNvSpPr>
                <a:spLocks noChangeAspect="1" noEditPoints="1"/>
              </p:cNvSpPr>
              <p:nvPr/>
            </p:nvSpPr>
            <p:spPr bwMode="auto">
              <a:xfrm>
                <a:off x="7346105"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17" name="Freeform 9"/>
              <p:cNvSpPr>
                <a:spLocks noChangeAspect="1" noEditPoints="1"/>
              </p:cNvSpPr>
              <p:nvPr/>
            </p:nvSpPr>
            <p:spPr bwMode="auto">
              <a:xfrm>
                <a:off x="7537367"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18" name="Freeform 9"/>
              <p:cNvSpPr>
                <a:spLocks noChangeAspect="1" noEditPoints="1"/>
              </p:cNvSpPr>
              <p:nvPr/>
            </p:nvSpPr>
            <p:spPr bwMode="auto">
              <a:xfrm>
                <a:off x="7728629"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19" name="Freeform 9"/>
              <p:cNvSpPr>
                <a:spLocks noChangeAspect="1" noEditPoints="1"/>
              </p:cNvSpPr>
              <p:nvPr/>
            </p:nvSpPr>
            <p:spPr bwMode="auto">
              <a:xfrm>
                <a:off x="7919891"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20" name="Freeform 9"/>
              <p:cNvSpPr>
                <a:spLocks noChangeAspect="1" noEditPoints="1"/>
              </p:cNvSpPr>
              <p:nvPr/>
            </p:nvSpPr>
            <p:spPr bwMode="auto">
              <a:xfrm>
                <a:off x="8111153"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21" name="Freeform 9"/>
              <p:cNvSpPr>
                <a:spLocks noChangeAspect="1" noEditPoints="1"/>
              </p:cNvSpPr>
              <p:nvPr/>
            </p:nvSpPr>
            <p:spPr bwMode="auto">
              <a:xfrm>
                <a:off x="8302415"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22" name="Freeform 9"/>
              <p:cNvSpPr>
                <a:spLocks noChangeAspect="1" noEditPoints="1"/>
              </p:cNvSpPr>
              <p:nvPr/>
            </p:nvSpPr>
            <p:spPr bwMode="auto">
              <a:xfrm>
                <a:off x="8493677"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23" name="Freeform 9"/>
              <p:cNvSpPr>
                <a:spLocks noChangeAspect="1" noEditPoints="1"/>
              </p:cNvSpPr>
              <p:nvPr/>
            </p:nvSpPr>
            <p:spPr bwMode="auto">
              <a:xfrm>
                <a:off x="8684939"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24" name="Freeform 9"/>
              <p:cNvSpPr>
                <a:spLocks noChangeAspect="1" noEditPoints="1"/>
              </p:cNvSpPr>
              <p:nvPr/>
            </p:nvSpPr>
            <p:spPr bwMode="auto">
              <a:xfrm>
                <a:off x="8876201"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25" name="Freeform 9"/>
              <p:cNvSpPr>
                <a:spLocks noChangeAspect="1" noEditPoints="1"/>
              </p:cNvSpPr>
              <p:nvPr/>
            </p:nvSpPr>
            <p:spPr bwMode="auto">
              <a:xfrm>
                <a:off x="9086657"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26" name="Freeform 9"/>
              <p:cNvSpPr>
                <a:spLocks noChangeAspect="1" noEditPoints="1"/>
              </p:cNvSpPr>
              <p:nvPr/>
            </p:nvSpPr>
            <p:spPr bwMode="auto">
              <a:xfrm>
                <a:off x="9297113"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27" name="Freeform 9"/>
              <p:cNvSpPr>
                <a:spLocks noChangeAspect="1" noEditPoints="1"/>
              </p:cNvSpPr>
              <p:nvPr/>
            </p:nvSpPr>
            <p:spPr bwMode="auto">
              <a:xfrm>
                <a:off x="9507569"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28" name="Freeform 9"/>
              <p:cNvSpPr>
                <a:spLocks noChangeAspect="1" noEditPoints="1"/>
              </p:cNvSpPr>
              <p:nvPr/>
            </p:nvSpPr>
            <p:spPr bwMode="auto">
              <a:xfrm>
                <a:off x="9718025"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29" name="Freeform 9"/>
              <p:cNvSpPr>
                <a:spLocks noChangeAspect="1" noEditPoints="1"/>
              </p:cNvSpPr>
              <p:nvPr/>
            </p:nvSpPr>
            <p:spPr bwMode="auto">
              <a:xfrm>
                <a:off x="9928481"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30" name="Freeform 9"/>
              <p:cNvSpPr>
                <a:spLocks noChangeAspect="1" noEditPoints="1"/>
              </p:cNvSpPr>
              <p:nvPr/>
            </p:nvSpPr>
            <p:spPr bwMode="auto">
              <a:xfrm>
                <a:off x="10138937"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31" name="Freeform 9"/>
              <p:cNvSpPr>
                <a:spLocks noChangeAspect="1" noEditPoints="1"/>
              </p:cNvSpPr>
              <p:nvPr/>
            </p:nvSpPr>
            <p:spPr bwMode="auto">
              <a:xfrm>
                <a:off x="10349393"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32" name="Freeform 9"/>
              <p:cNvSpPr>
                <a:spLocks noChangeAspect="1" noEditPoints="1"/>
              </p:cNvSpPr>
              <p:nvPr/>
            </p:nvSpPr>
            <p:spPr bwMode="auto">
              <a:xfrm>
                <a:off x="10559849"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33" name="Freeform 9"/>
              <p:cNvSpPr>
                <a:spLocks noChangeAspect="1" noEditPoints="1"/>
              </p:cNvSpPr>
              <p:nvPr/>
            </p:nvSpPr>
            <p:spPr bwMode="auto">
              <a:xfrm>
                <a:off x="10770305"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34" name="Freeform 9"/>
              <p:cNvSpPr>
                <a:spLocks noChangeAspect="1" noEditPoints="1"/>
              </p:cNvSpPr>
              <p:nvPr/>
            </p:nvSpPr>
            <p:spPr bwMode="auto">
              <a:xfrm>
                <a:off x="10980761" y="6699943"/>
                <a:ext cx="176231" cy="454216"/>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grpFill/>
              <a:ln w="0">
                <a:noFill/>
                <a:prstDash val="solid"/>
                <a:round/>
                <a:headEnd/>
                <a:tailEnd/>
              </a:ln>
            </p:spPr>
            <p:txBody>
              <a:bodyPr vert="horz" wrap="square" lIns="68554" tIns="34277" rIns="68554" bIns="34277" numCol="1" anchor="t" anchorCtr="0" compatLnSpc="1">
                <a:prstTxWarp prst="textNoShape">
                  <a:avLst/>
                </a:prstTxWarp>
              </a:bodyPr>
              <a:lstStyle/>
              <a:p>
                <a:pPr marL="0" marR="0" lvl="0" indent="0" algn="l" defTabSz="1142609" rtl="0" eaLnBrk="1" fontAlgn="auto" latinLnBrk="0" hangingPunct="1">
                  <a:lnSpc>
                    <a:spcPct val="100000"/>
                  </a:lnSpc>
                  <a:spcBef>
                    <a:spcPts val="0"/>
                  </a:spcBef>
                  <a:spcAft>
                    <a:spcPts val="0"/>
                  </a:spcAft>
                  <a:buClrTx/>
                  <a:buSzTx/>
                  <a:buFontTx/>
                  <a:buNone/>
                  <a:tabLst/>
                  <a:defRPr/>
                </a:pPr>
                <a:endParaRPr kumimoji="0" lang="en-US" sz="1312"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grpSp>
        <p:sp>
          <p:nvSpPr>
            <p:cNvPr id="480" name="TextBox 479"/>
            <p:cNvSpPr txBox="1"/>
            <p:nvPr/>
          </p:nvSpPr>
          <p:spPr>
            <a:xfrm>
              <a:off x="1971837" y="6683985"/>
              <a:ext cx="11610650" cy="1235909"/>
            </a:xfrm>
            <a:prstGeom prst="rect">
              <a:avLst/>
            </a:prstGeom>
            <a:solidFill>
              <a:schemeClr val="bg1">
                <a:alpha val="97000"/>
              </a:schemeClr>
            </a:solidFill>
          </p:spPr>
          <p:txBody>
            <a:bodyPr wrap="square" lIns="0" tIns="0" rIns="0" bIns="0" rtlCol="0" anchor="ctr">
              <a:noAutofit/>
            </a:bodyPr>
            <a:lstStyle/>
            <a:p>
              <a:pPr marL="0" marR="0" lvl="0" indent="0" algn="ctr" defTabSz="1142609" rtl="0" eaLnBrk="1" fontAlgn="auto" latinLnBrk="0" hangingPunct="1">
                <a:lnSpc>
                  <a:spcPct val="100000"/>
                </a:lnSpc>
                <a:spcBef>
                  <a:spcPts val="562"/>
                </a:spcBef>
                <a:spcAft>
                  <a:spcPts val="0"/>
                </a:spcAft>
                <a:buClrTx/>
                <a:buSzPct val="25000"/>
                <a:buFontTx/>
                <a:buNone/>
                <a:tabLst/>
                <a:defRPr/>
              </a:pPr>
              <a:r>
                <a:rPr kumimoji="0" lang="en-US" sz="1312" b="1" i="0" u="none" strike="noStrike" kern="1200" cap="none" spc="0" normalizeH="0" baseline="0" noProof="0" dirty="0">
                  <a:ln>
                    <a:noFill/>
                  </a:ln>
                  <a:solidFill>
                    <a:prstClr val="black"/>
                  </a:solidFill>
                  <a:effectLst/>
                  <a:uLnTx/>
                  <a:uFillTx/>
                  <a:ea typeface="ヒラギノ角ゴ ProN W3" charset="0"/>
                  <a:cs typeface="Segoe UI Semibold" panose="020B0702040204020203" pitchFamily="34" charset="0"/>
                  <a:sym typeface="Gotham Book" charset="0"/>
                </a:rPr>
                <a:t>The internet-connected population as a crowd</a:t>
              </a:r>
            </a:p>
            <a:p>
              <a:pPr marL="0" marR="0" lvl="0" indent="0" algn="ctr" defTabSz="1142609" rtl="0" eaLnBrk="1" fontAlgn="auto" latinLnBrk="0" hangingPunct="1">
                <a:lnSpc>
                  <a:spcPct val="100000"/>
                </a:lnSpc>
                <a:spcBef>
                  <a:spcPts val="562"/>
                </a:spcBef>
                <a:spcAft>
                  <a:spcPts val="0"/>
                </a:spcAft>
                <a:buClrTx/>
                <a:buSzPct val="25000"/>
                <a:buFont typeface="Arial" panose="020B0604020202020204" pitchFamily="34" charset="0"/>
                <a:buChar char="‏"/>
                <a:tabLst/>
                <a:defRPr/>
              </a:pPr>
              <a:r>
                <a:rPr kumimoji="0" lang="en-US" sz="1125" b="0" i="0" u="none" strike="noStrike" kern="1200" cap="none" spc="0" normalizeH="0" baseline="0" noProof="0" dirty="0">
                  <a:ln>
                    <a:noFill/>
                  </a:ln>
                  <a:solidFill>
                    <a:prstClr val="black">
                      <a:lumMod val="65000"/>
                      <a:lumOff val="35000"/>
                    </a:prstClr>
                  </a:solidFill>
                  <a:effectLst/>
                  <a:uLnTx/>
                  <a:uFillTx/>
                  <a:ea typeface="ヒラギノ角ゴ ProN W3" charset="0"/>
                  <a:cs typeface="Segoe UI" panose="020B0502040204020203" pitchFamily="34" charset="0"/>
                  <a:sym typeface="Gotham Book" charset="0"/>
                </a:rPr>
                <a:t>External crowds are often the scariest, but also can be the most impactful.  They are scalable, motivated by outcomes, and enable you to target exactly the right mix of people with the right skills – only when you need them</a:t>
              </a:r>
            </a:p>
          </p:txBody>
        </p:sp>
        <p:sp>
          <p:nvSpPr>
            <p:cNvPr id="481" name="Freeform 480"/>
            <p:cNvSpPr/>
            <p:nvPr/>
          </p:nvSpPr>
          <p:spPr bwMode="gray">
            <a:xfrm rot="6711070" flipV="1">
              <a:off x="8979769" y="2843753"/>
              <a:ext cx="532265" cy="58327"/>
            </a:xfrm>
            <a:custGeom>
              <a:avLst/>
              <a:gdLst>
                <a:gd name="connsiteX0" fmla="*/ 0 w 3518116"/>
                <a:gd name="connsiteY0" fmla="*/ 44739 h 509688"/>
                <a:gd name="connsiteX1" fmla="*/ 1689316 w 3518116"/>
                <a:gd name="connsiteY1" fmla="*/ 44739 h 509688"/>
                <a:gd name="connsiteX2" fmla="*/ 3518116 w 3518116"/>
                <a:gd name="connsiteY2" fmla="*/ 509688 h 509688"/>
              </a:gdLst>
              <a:ahLst/>
              <a:cxnLst>
                <a:cxn ang="0">
                  <a:pos x="connsiteX0" y="connsiteY0"/>
                </a:cxn>
                <a:cxn ang="0">
                  <a:pos x="connsiteX1" y="connsiteY1"/>
                </a:cxn>
                <a:cxn ang="0">
                  <a:pos x="connsiteX2" y="connsiteY2"/>
                </a:cxn>
              </a:cxnLst>
              <a:rect l="l" t="t" r="r" b="b"/>
              <a:pathLst>
                <a:path w="3518116" h="509688">
                  <a:moveTo>
                    <a:pt x="0" y="44739"/>
                  </a:moveTo>
                  <a:cubicBezTo>
                    <a:pt x="551481" y="5993"/>
                    <a:pt x="1102963" y="-32752"/>
                    <a:pt x="1689316" y="44739"/>
                  </a:cubicBezTo>
                  <a:cubicBezTo>
                    <a:pt x="2275669" y="122230"/>
                    <a:pt x="2896892" y="315959"/>
                    <a:pt x="3518116" y="509688"/>
                  </a:cubicBezTo>
                </a:path>
              </a:pathLst>
            </a:custGeom>
            <a:solidFill>
              <a:schemeClr val="accent2"/>
            </a:solidFill>
            <a:ln w="38100" algn="ctr">
              <a:solidFill>
                <a:schemeClr val="accent3"/>
              </a:solidFill>
              <a:miter lim="800000"/>
              <a:headEnd type="none" w="med" len="med"/>
              <a:tailEnd type="arrow" w="med" len="med"/>
            </a:ln>
          </p:spPr>
          <p:txBody>
            <a:bodyPr rtlCol="0" anchor="ctr"/>
            <a:lstStyle/>
            <a:p>
              <a:pPr marL="0" marR="0" lvl="0" indent="0" algn="ctr" defTabSz="1142609" rtl="0" eaLnBrk="1" fontAlgn="auto" latinLnBrk="0" hangingPunct="1">
                <a:lnSpc>
                  <a:spcPct val="100000"/>
                </a:lnSpc>
                <a:spcBef>
                  <a:spcPts val="0"/>
                </a:spcBef>
                <a:spcAft>
                  <a:spcPts val="0"/>
                </a:spcAft>
                <a:buClrTx/>
                <a:buSzTx/>
                <a:buFontTx/>
                <a:buNone/>
                <a:tabLst/>
                <a:defRPr/>
              </a:pPr>
              <a:endParaRPr kumimoji="0" lang="en-US" sz="984" b="0" i="0" u="none" strike="noStrike" kern="1200" cap="none" spc="0" normalizeH="0" baseline="0" noProof="0" dirty="0">
                <a:ln>
                  <a:noFill/>
                </a:ln>
                <a:solidFill>
                  <a:prstClr val="black"/>
                </a:solidFill>
                <a:effectLst/>
                <a:uLnTx/>
                <a:uFillTx/>
                <a:ea typeface="ヒラギノ角ゴ ProN W3" charset="0"/>
                <a:cs typeface="+mn-cs"/>
                <a:sym typeface="Gotham Book" charset="0"/>
              </a:endParaRPr>
            </a:p>
          </p:txBody>
        </p:sp>
      </p:grpSp>
    </p:spTree>
    <p:extLst>
      <p:ext uri="{BB962C8B-B14F-4D97-AF65-F5344CB8AC3E}">
        <p14:creationId xmlns:p14="http://schemas.microsoft.com/office/powerpoint/2010/main" val="4196888956"/>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052"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Finding more costs to take out is an uphill battle</a:t>
            </a:r>
            <a:endParaRPr lang="en-US" dirty="0"/>
          </a:p>
        </p:txBody>
      </p:sp>
      <p:sp>
        <p:nvSpPr>
          <p:cNvPr id="3" name="Text Placeholder 2"/>
          <p:cNvSpPr>
            <a:spLocks noGrp="1"/>
          </p:cNvSpPr>
          <p:nvPr>
            <p:ph type="body" sz="quarter" idx="14"/>
          </p:nvPr>
        </p:nvSpPr>
        <p:spPr/>
        <p:txBody>
          <a:bodyPr/>
          <a:lstStyle/>
          <a:p>
            <a:pPr lvl="0">
              <a:buClr>
                <a:srgbClr val="787878"/>
              </a:buClr>
              <a:defRPr/>
            </a:pPr>
            <a:r>
              <a:rPr lang="en-US" spc="0" dirty="0">
                <a:solidFill>
                  <a:srgbClr val="000000"/>
                </a:solidFill>
              </a:rPr>
              <a:t> Subtitle</a:t>
            </a:r>
          </a:p>
        </p:txBody>
      </p:sp>
      <p:sp>
        <p:nvSpPr>
          <p:cNvPr id="5" name="Text Placeholder 4"/>
          <p:cNvSpPr>
            <a:spLocks noGrp="1"/>
          </p:cNvSpPr>
          <p:nvPr>
            <p:ph type="body" sz="quarter" idx="15"/>
          </p:nvPr>
        </p:nvSpPr>
        <p:spPr/>
        <p:txBody>
          <a:bodyPr/>
          <a:lstStyle/>
          <a:p>
            <a:r>
              <a:rPr lang="en-US" dirty="0"/>
              <a:t>Data Visualization &amp; Infographics</a:t>
            </a:r>
          </a:p>
        </p:txBody>
      </p:sp>
      <p:cxnSp>
        <p:nvCxnSpPr>
          <p:cNvPr id="537" name="Straight Connector 536"/>
          <p:cNvCxnSpPr/>
          <p:nvPr/>
        </p:nvCxnSpPr>
        <p:spPr>
          <a:xfrm>
            <a:off x="9148800" y="2113198"/>
            <a:ext cx="2468880" cy="0"/>
          </a:xfrm>
          <a:prstGeom prst="line">
            <a:avLst/>
          </a:prstGeom>
          <a:ln w="68580" cmpd="sng">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538" name="object 4"/>
          <p:cNvSpPr txBox="1"/>
          <p:nvPr/>
        </p:nvSpPr>
        <p:spPr>
          <a:xfrm>
            <a:off x="9147138" y="1948543"/>
            <a:ext cx="2548824" cy="183705"/>
          </a:xfrm>
          <a:prstGeom prst="rect">
            <a:avLst/>
          </a:prstGeom>
        </p:spPr>
        <p:txBody>
          <a:bodyPr vert="horz" wrap="square" lIns="0" tIns="0" rIns="0" bIns="0" rtlCol="0">
            <a:spAutoFit/>
          </a:bodyPr>
          <a:lstStyle/>
          <a:p>
            <a:pPr marL="12700" marR="0" lvl="0" indent="0" algn="l" defTabSz="914400" rtl="0" eaLnBrk="1" fontAlgn="auto" latinLnBrk="0" hangingPunct="1">
              <a:lnSpc>
                <a:spcPct val="85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Chronicle Display Black" charset="0"/>
                <a:cs typeface="Chronicle Display Black" charset="0"/>
              </a:rPr>
              <a:t>MARGINS ARE SQUEEZED</a:t>
            </a:r>
          </a:p>
        </p:txBody>
      </p:sp>
      <p:sp>
        <p:nvSpPr>
          <p:cNvPr id="539" name="Rectangle 538"/>
          <p:cNvSpPr/>
          <p:nvPr/>
        </p:nvSpPr>
        <p:spPr>
          <a:xfrm>
            <a:off x="3552825" y="3849252"/>
            <a:ext cx="2743201" cy="7386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C5C5C"/>
                </a:solidFill>
                <a:effectLst/>
                <a:uLnTx/>
                <a:uFillTx/>
                <a:latin typeface="Open Sans"/>
                <a:ea typeface="+mn-ea"/>
                <a:cs typeface="+mn-cs"/>
              </a:rPr>
              <a:t>Only 74 of 20,000 product launches have been breakthroughs since 2008</a:t>
            </a:r>
          </a:p>
        </p:txBody>
      </p:sp>
      <p:sp>
        <p:nvSpPr>
          <p:cNvPr id="540" name="Freeform 29"/>
          <p:cNvSpPr>
            <a:spLocks noEditPoints="1"/>
          </p:cNvSpPr>
          <p:nvPr/>
        </p:nvSpPr>
        <p:spPr bwMode="auto">
          <a:xfrm>
            <a:off x="3859394" y="2356575"/>
            <a:ext cx="564103" cy="529831"/>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solidFill>
            <a:sysClr val="window" lastClr="FFFFFF">
              <a:lumMod val="85000"/>
            </a:sys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41" name="Freeform 29"/>
          <p:cNvSpPr>
            <a:spLocks noEditPoints="1"/>
          </p:cNvSpPr>
          <p:nvPr/>
        </p:nvSpPr>
        <p:spPr bwMode="auto">
          <a:xfrm>
            <a:off x="3859394" y="2334222"/>
            <a:ext cx="556856" cy="574537"/>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grpSp>
        <p:nvGrpSpPr>
          <p:cNvPr id="542" name="Group 541"/>
          <p:cNvGrpSpPr/>
          <p:nvPr/>
        </p:nvGrpSpPr>
        <p:grpSpPr>
          <a:xfrm>
            <a:off x="4579463" y="2411855"/>
            <a:ext cx="1418735" cy="1160782"/>
            <a:chOff x="6268711" y="2280671"/>
            <a:chExt cx="2305695" cy="1964093"/>
          </a:xfrm>
        </p:grpSpPr>
        <p:sp>
          <p:nvSpPr>
            <p:cNvPr id="543" name="Freeform 29"/>
            <p:cNvSpPr>
              <a:spLocks noEditPoints="1"/>
            </p:cNvSpPr>
            <p:nvPr/>
          </p:nvSpPr>
          <p:spPr bwMode="auto">
            <a:xfrm>
              <a:off x="6268711" y="2479764"/>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solidFill>
              <a:sysClr val="window" lastClr="FFFFFF">
                <a:lumMod val="75000"/>
              </a:sys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44" name="Freeform 29"/>
            <p:cNvSpPr>
              <a:spLocks noEditPoints="1"/>
            </p:cNvSpPr>
            <p:nvPr/>
          </p:nvSpPr>
          <p:spPr bwMode="auto">
            <a:xfrm>
              <a:off x="6268711" y="2678857"/>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solidFill>
              <a:sysClr val="window" lastClr="FFFFFF">
                <a:lumMod val="75000"/>
              </a:sys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45" name="Freeform 29"/>
            <p:cNvSpPr>
              <a:spLocks noEditPoints="1"/>
            </p:cNvSpPr>
            <p:nvPr/>
          </p:nvSpPr>
          <p:spPr bwMode="auto">
            <a:xfrm>
              <a:off x="6268711" y="2877950"/>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solidFill>
              <a:sysClr val="window" lastClr="FFFFFF">
                <a:lumMod val="75000"/>
              </a:sys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46" name="Freeform 545"/>
            <p:cNvSpPr>
              <a:spLocks noEditPoints="1"/>
            </p:cNvSpPr>
            <p:nvPr/>
          </p:nvSpPr>
          <p:spPr bwMode="auto">
            <a:xfrm>
              <a:off x="6268711" y="3077043"/>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solidFill>
              <a:sysClr val="window" lastClr="FFFFFF">
                <a:lumMod val="75000"/>
              </a:sys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47" name="Freeform 29"/>
            <p:cNvSpPr>
              <a:spLocks noEditPoints="1"/>
            </p:cNvSpPr>
            <p:nvPr/>
          </p:nvSpPr>
          <p:spPr bwMode="auto">
            <a:xfrm>
              <a:off x="6268711" y="3276136"/>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solidFill>
              <a:sysClr val="window" lastClr="FFFFFF">
                <a:lumMod val="75000"/>
              </a:sys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48" name="Freeform 29"/>
            <p:cNvSpPr>
              <a:spLocks noEditPoints="1"/>
            </p:cNvSpPr>
            <p:nvPr/>
          </p:nvSpPr>
          <p:spPr bwMode="auto">
            <a:xfrm>
              <a:off x="6268711" y="3475229"/>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solidFill>
              <a:sysClr val="window" lastClr="FFFFFF">
                <a:lumMod val="75000"/>
              </a:sys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49" name="Freeform 29"/>
            <p:cNvSpPr>
              <a:spLocks noEditPoints="1"/>
            </p:cNvSpPr>
            <p:nvPr/>
          </p:nvSpPr>
          <p:spPr bwMode="auto">
            <a:xfrm>
              <a:off x="6268711" y="367432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solidFill>
              <a:sysClr val="window" lastClr="FFFFFF">
                <a:lumMod val="75000"/>
              </a:sys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50" name="Freeform 29"/>
            <p:cNvSpPr>
              <a:spLocks noEditPoints="1"/>
            </p:cNvSpPr>
            <p:nvPr/>
          </p:nvSpPr>
          <p:spPr bwMode="auto">
            <a:xfrm>
              <a:off x="6268711" y="3873415"/>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solidFill>
              <a:sysClr val="window" lastClr="FFFFFF">
                <a:lumMod val="75000"/>
              </a:sys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51" name="Freeform 29"/>
            <p:cNvSpPr>
              <a:spLocks noEditPoints="1"/>
            </p:cNvSpPr>
            <p:nvPr/>
          </p:nvSpPr>
          <p:spPr bwMode="auto">
            <a:xfrm>
              <a:off x="6268711" y="407251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solidFill>
              <a:sysClr val="window" lastClr="FFFFFF">
                <a:lumMod val="75000"/>
              </a:sys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grpSp>
          <p:nvGrpSpPr>
            <p:cNvPr id="552" name="Group 551"/>
            <p:cNvGrpSpPr/>
            <p:nvPr/>
          </p:nvGrpSpPr>
          <p:grpSpPr>
            <a:xfrm>
              <a:off x="6505143" y="2280671"/>
              <a:ext cx="177809" cy="1964093"/>
              <a:chOff x="6268711" y="2280671"/>
              <a:chExt cx="177809" cy="1964093"/>
            </a:xfrm>
            <a:solidFill>
              <a:sysClr val="window" lastClr="FFFFFF">
                <a:lumMod val="75000"/>
              </a:sysClr>
            </a:solidFill>
          </p:grpSpPr>
          <p:sp>
            <p:nvSpPr>
              <p:cNvPr id="641" name="Freeform 29"/>
              <p:cNvSpPr>
                <a:spLocks noEditPoints="1"/>
              </p:cNvSpPr>
              <p:nvPr/>
            </p:nvSpPr>
            <p:spPr bwMode="auto">
              <a:xfrm>
                <a:off x="6268711" y="2280671"/>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42" name="Freeform 29"/>
              <p:cNvSpPr>
                <a:spLocks noEditPoints="1"/>
              </p:cNvSpPr>
              <p:nvPr/>
            </p:nvSpPr>
            <p:spPr bwMode="auto">
              <a:xfrm>
                <a:off x="6268711" y="2479764"/>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43" name="Freeform 29"/>
              <p:cNvSpPr>
                <a:spLocks noEditPoints="1"/>
              </p:cNvSpPr>
              <p:nvPr/>
            </p:nvSpPr>
            <p:spPr bwMode="auto">
              <a:xfrm>
                <a:off x="6268711" y="2678857"/>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44" name="Freeform 29"/>
              <p:cNvSpPr>
                <a:spLocks noEditPoints="1"/>
              </p:cNvSpPr>
              <p:nvPr/>
            </p:nvSpPr>
            <p:spPr bwMode="auto">
              <a:xfrm>
                <a:off x="6268711" y="2877950"/>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45" name="Freeform 29"/>
              <p:cNvSpPr>
                <a:spLocks noEditPoints="1"/>
              </p:cNvSpPr>
              <p:nvPr/>
            </p:nvSpPr>
            <p:spPr bwMode="auto">
              <a:xfrm>
                <a:off x="6268711" y="3077043"/>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46" name="Freeform 29"/>
              <p:cNvSpPr>
                <a:spLocks noEditPoints="1"/>
              </p:cNvSpPr>
              <p:nvPr/>
            </p:nvSpPr>
            <p:spPr bwMode="auto">
              <a:xfrm>
                <a:off x="6268711" y="3276136"/>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47" name="Freeform 29"/>
              <p:cNvSpPr>
                <a:spLocks noEditPoints="1"/>
              </p:cNvSpPr>
              <p:nvPr/>
            </p:nvSpPr>
            <p:spPr bwMode="auto">
              <a:xfrm>
                <a:off x="6268711" y="3475229"/>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48" name="Freeform 29"/>
              <p:cNvSpPr>
                <a:spLocks noEditPoints="1"/>
              </p:cNvSpPr>
              <p:nvPr/>
            </p:nvSpPr>
            <p:spPr bwMode="auto">
              <a:xfrm>
                <a:off x="6268711" y="367432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49" name="Freeform 29"/>
              <p:cNvSpPr>
                <a:spLocks noEditPoints="1"/>
              </p:cNvSpPr>
              <p:nvPr/>
            </p:nvSpPr>
            <p:spPr bwMode="auto">
              <a:xfrm>
                <a:off x="6268711" y="3873415"/>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50" name="Freeform 29"/>
              <p:cNvSpPr>
                <a:spLocks noEditPoints="1"/>
              </p:cNvSpPr>
              <p:nvPr/>
            </p:nvSpPr>
            <p:spPr bwMode="auto">
              <a:xfrm>
                <a:off x="6268711" y="407251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grpSp>
        <p:grpSp>
          <p:nvGrpSpPr>
            <p:cNvPr id="553" name="Group 552"/>
            <p:cNvGrpSpPr/>
            <p:nvPr/>
          </p:nvGrpSpPr>
          <p:grpSpPr>
            <a:xfrm>
              <a:off x="6741575" y="2280671"/>
              <a:ext cx="177809" cy="1964093"/>
              <a:chOff x="6268711" y="2280671"/>
              <a:chExt cx="177809" cy="1964093"/>
            </a:xfrm>
            <a:solidFill>
              <a:sysClr val="window" lastClr="FFFFFF">
                <a:lumMod val="75000"/>
              </a:sysClr>
            </a:solidFill>
          </p:grpSpPr>
          <p:sp>
            <p:nvSpPr>
              <p:cNvPr id="631" name="Freeform 29"/>
              <p:cNvSpPr>
                <a:spLocks noEditPoints="1"/>
              </p:cNvSpPr>
              <p:nvPr/>
            </p:nvSpPr>
            <p:spPr bwMode="auto">
              <a:xfrm>
                <a:off x="6268711" y="2280671"/>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32" name="Freeform 29"/>
              <p:cNvSpPr>
                <a:spLocks noEditPoints="1"/>
              </p:cNvSpPr>
              <p:nvPr/>
            </p:nvSpPr>
            <p:spPr bwMode="auto">
              <a:xfrm>
                <a:off x="6268711" y="2479764"/>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33" name="Freeform 29"/>
              <p:cNvSpPr>
                <a:spLocks noEditPoints="1"/>
              </p:cNvSpPr>
              <p:nvPr/>
            </p:nvSpPr>
            <p:spPr bwMode="auto">
              <a:xfrm>
                <a:off x="6268711" y="2678857"/>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34" name="Freeform 29"/>
              <p:cNvSpPr>
                <a:spLocks noEditPoints="1"/>
              </p:cNvSpPr>
              <p:nvPr/>
            </p:nvSpPr>
            <p:spPr bwMode="auto">
              <a:xfrm>
                <a:off x="6268711" y="2877950"/>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35" name="Freeform 29"/>
              <p:cNvSpPr>
                <a:spLocks noEditPoints="1"/>
              </p:cNvSpPr>
              <p:nvPr/>
            </p:nvSpPr>
            <p:spPr bwMode="auto">
              <a:xfrm>
                <a:off x="6268711" y="3077043"/>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36" name="Freeform 29"/>
              <p:cNvSpPr>
                <a:spLocks noEditPoints="1"/>
              </p:cNvSpPr>
              <p:nvPr/>
            </p:nvSpPr>
            <p:spPr bwMode="auto">
              <a:xfrm>
                <a:off x="6268711" y="3276136"/>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37" name="Freeform 29"/>
              <p:cNvSpPr>
                <a:spLocks noEditPoints="1"/>
              </p:cNvSpPr>
              <p:nvPr/>
            </p:nvSpPr>
            <p:spPr bwMode="auto">
              <a:xfrm>
                <a:off x="6268711" y="3475229"/>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38" name="Freeform 29"/>
              <p:cNvSpPr>
                <a:spLocks noEditPoints="1"/>
              </p:cNvSpPr>
              <p:nvPr/>
            </p:nvSpPr>
            <p:spPr bwMode="auto">
              <a:xfrm>
                <a:off x="6268711" y="367432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39" name="Freeform 29"/>
              <p:cNvSpPr>
                <a:spLocks noEditPoints="1"/>
              </p:cNvSpPr>
              <p:nvPr/>
            </p:nvSpPr>
            <p:spPr bwMode="auto">
              <a:xfrm>
                <a:off x="6268711" y="3873415"/>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40" name="Freeform 29"/>
              <p:cNvSpPr>
                <a:spLocks noEditPoints="1"/>
              </p:cNvSpPr>
              <p:nvPr/>
            </p:nvSpPr>
            <p:spPr bwMode="auto">
              <a:xfrm>
                <a:off x="6268711" y="407251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grpSp>
        <p:grpSp>
          <p:nvGrpSpPr>
            <p:cNvPr id="554" name="Group 553"/>
            <p:cNvGrpSpPr/>
            <p:nvPr/>
          </p:nvGrpSpPr>
          <p:grpSpPr>
            <a:xfrm>
              <a:off x="6978007" y="2280671"/>
              <a:ext cx="177809" cy="1964093"/>
              <a:chOff x="6268711" y="2280671"/>
              <a:chExt cx="177809" cy="1964093"/>
            </a:xfrm>
            <a:solidFill>
              <a:sysClr val="window" lastClr="FFFFFF">
                <a:lumMod val="75000"/>
              </a:sysClr>
            </a:solidFill>
          </p:grpSpPr>
          <p:sp>
            <p:nvSpPr>
              <p:cNvPr id="621" name="Freeform 29"/>
              <p:cNvSpPr>
                <a:spLocks noEditPoints="1"/>
              </p:cNvSpPr>
              <p:nvPr/>
            </p:nvSpPr>
            <p:spPr bwMode="auto">
              <a:xfrm>
                <a:off x="6268711" y="2280671"/>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22" name="Freeform 29"/>
              <p:cNvSpPr>
                <a:spLocks noEditPoints="1"/>
              </p:cNvSpPr>
              <p:nvPr/>
            </p:nvSpPr>
            <p:spPr bwMode="auto">
              <a:xfrm>
                <a:off x="6268711" y="2479764"/>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23" name="Freeform 29"/>
              <p:cNvSpPr>
                <a:spLocks noEditPoints="1"/>
              </p:cNvSpPr>
              <p:nvPr/>
            </p:nvSpPr>
            <p:spPr bwMode="auto">
              <a:xfrm>
                <a:off x="6268711" y="2678857"/>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24" name="Freeform 29"/>
              <p:cNvSpPr>
                <a:spLocks noEditPoints="1"/>
              </p:cNvSpPr>
              <p:nvPr/>
            </p:nvSpPr>
            <p:spPr bwMode="auto">
              <a:xfrm>
                <a:off x="6268711" y="2877950"/>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25" name="Freeform 29"/>
              <p:cNvSpPr>
                <a:spLocks noEditPoints="1"/>
              </p:cNvSpPr>
              <p:nvPr/>
            </p:nvSpPr>
            <p:spPr bwMode="auto">
              <a:xfrm>
                <a:off x="6268711" y="3077043"/>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26" name="Freeform 29"/>
              <p:cNvSpPr>
                <a:spLocks noEditPoints="1"/>
              </p:cNvSpPr>
              <p:nvPr/>
            </p:nvSpPr>
            <p:spPr bwMode="auto">
              <a:xfrm>
                <a:off x="6268711" y="3276136"/>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27" name="Freeform 29"/>
              <p:cNvSpPr>
                <a:spLocks noEditPoints="1"/>
              </p:cNvSpPr>
              <p:nvPr/>
            </p:nvSpPr>
            <p:spPr bwMode="auto">
              <a:xfrm>
                <a:off x="6268711" y="3475229"/>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28" name="Freeform 29"/>
              <p:cNvSpPr>
                <a:spLocks noEditPoints="1"/>
              </p:cNvSpPr>
              <p:nvPr/>
            </p:nvSpPr>
            <p:spPr bwMode="auto">
              <a:xfrm>
                <a:off x="6268711" y="367432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29" name="Freeform 29"/>
              <p:cNvSpPr>
                <a:spLocks noEditPoints="1"/>
              </p:cNvSpPr>
              <p:nvPr/>
            </p:nvSpPr>
            <p:spPr bwMode="auto">
              <a:xfrm>
                <a:off x="6268711" y="3873415"/>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30" name="Freeform 29"/>
              <p:cNvSpPr>
                <a:spLocks noEditPoints="1"/>
              </p:cNvSpPr>
              <p:nvPr/>
            </p:nvSpPr>
            <p:spPr bwMode="auto">
              <a:xfrm>
                <a:off x="6268711" y="407251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grpSp>
        <p:grpSp>
          <p:nvGrpSpPr>
            <p:cNvPr id="555" name="Group 554"/>
            <p:cNvGrpSpPr/>
            <p:nvPr/>
          </p:nvGrpSpPr>
          <p:grpSpPr>
            <a:xfrm>
              <a:off x="7214439" y="2280671"/>
              <a:ext cx="177809" cy="1964093"/>
              <a:chOff x="6268711" y="2280671"/>
              <a:chExt cx="177809" cy="1964093"/>
            </a:xfrm>
            <a:solidFill>
              <a:sysClr val="window" lastClr="FFFFFF">
                <a:lumMod val="75000"/>
              </a:sysClr>
            </a:solidFill>
          </p:grpSpPr>
          <p:sp>
            <p:nvSpPr>
              <p:cNvPr id="611" name="Freeform 29"/>
              <p:cNvSpPr>
                <a:spLocks noEditPoints="1"/>
              </p:cNvSpPr>
              <p:nvPr/>
            </p:nvSpPr>
            <p:spPr bwMode="auto">
              <a:xfrm>
                <a:off x="6268711" y="2280671"/>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12" name="Freeform 29"/>
              <p:cNvSpPr>
                <a:spLocks noEditPoints="1"/>
              </p:cNvSpPr>
              <p:nvPr/>
            </p:nvSpPr>
            <p:spPr bwMode="auto">
              <a:xfrm>
                <a:off x="6268711" y="2479764"/>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13" name="Freeform 29"/>
              <p:cNvSpPr>
                <a:spLocks noEditPoints="1"/>
              </p:cNvSpPr>
              <p:nvPr/>
            </p:nvSpPr>
            <p:spPr bwMode="auto">
              <a:xfrm>
                <a:off x="6268711" y="2678857"/>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14" name="Freeform 29"/>
              <p:cNvSpPr>
                <a:spLocks noEditPoints="1"/>
              </p:cNvSpPr>
              <p:nvPr/>
            </p:nvSpPr>
            <p:spPr bwMode="auto">
              <a:xfrm>
                <a:off x="6268711" y="2877950"/>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15" name="Freeform 29"/>
              <p:cNvSpPr>
                <a:spLocks noEditPoints="1"/>
              </p:cNvSpPr>
              <p:nvPr/>
            </p:nvSpPr>
            <p:spPr bwMode="auto">
              <a:xfrm>
                <a:off x="6268711" y="3077043"/>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16" name="Freeform 29"/>
              <p:cNvSpPr>
                <a:spLocks noEditPoints="1"/>
              </p:cNvSpPr>
              <p:nvPr/>
            </p:nvSpPr>
            <p:spPr bwMode="auto">
              <a:xfrm>
                <a:off x="6268711" y="3276136"/>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17" name="Freeform 29"/>
              <p:cNvSpPr>
                <a:spLocks noEditPoints="1"/>
              </p:cNvSpPr>
              <p:nvPr/>
            </p:nvSpPr>
            <p:spPr bwMode="auto">
              <a:xfrm>
                <a:off x="6268711" y="3475229"/>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18" name="Freeform 29"/>
              <p:cNvSpPr>
                <a:spLocks noEditPoints="1"/>
              </p:cNvSpPr>
              <p:nvPr/>
            </p:nvSpPr>
            <p:spPr bwMode="auto">
              <a:xfrm>
                <a:off x="6268711" y="367432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19" name="Freeform 29"/>
              <p:cNvSpPr>
                <a:spLocks noEditPoints="1"/>
              </p:cNvSpPr>
              <p:nvPr/>
            </p:nvSpPr>
            <p:spPr bwMode="auto">
              <a:xfrm>
                <a:off x="6268711" y="3873415"/>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20" name="Freeform 29"/>
              <p:cNvSpPr>
                <a:spLocks noEditPoints="1"/>
              </p:cNvSpPr>
              <p:nvPr/>
            </p:nvSpPr>
            <p:spPr bwMode="auto">
              <a:xfrm>
                <a:off x="6268711" y="407251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grpSp>
        <p:grpSp>
          <p:nvGrpSpPr>
            <p:cNvPr id="556" name="Group 555"/>
            <p:cNvGrpSpPr/>
            <p:nvPr/>
          </p:nvGrpSpPr>
          <p:grpSpPr>
            <a:xfrm>
              <a:off x="7450871" y="2280671"/>
              <a:ext cx="177809" cy="1964093"/>
              <a:chOff x="6268711" y="2280671"/>
              <a:chExt cx="177809" cy="1964093"/>
            </a:xfrm>
            <a:solidFill>
              <a:sysClr val="window" lastClr="FFFFFF">
                <a:lumMod val="75000"/>
              </a:sysClr>
            </a:solidFill>
          </p:grpSpPr>
          <p:sp>
            <p:nvSpPr>
              <p:cNvPr id="601" name="Freeform 29"/>
              <p:cNvSpPr>
                <a:spLocks noEditPoints="1"/>
              </p:cNvSpPr>
              <p:nvPr/>
            </p:nvSpPr>
            <p:spPr bwMode="auto">
              <a:xfrm>
                <a:off x="6268711" y="2280671"/>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02" name="Freeform 29"/>
              <p:cNvSpPr>
                <a:spLocks noEditPoints="1"/>
              </p:cNvSpPr>
              <p:nvPr/>
            </p:nvSpPr>
            <p:spPr bwMode="auto">
              <a:xfrm>
                <a:off x="6268711" y="2479764"/>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03" name="Freeform 29"/>
              <p:cNvSpPr>
                <a:spLocks noEditPoints="1"/>
              </p:cNvSpPr>
              <p:nvPr/>
            </p:nvSpPr>
            <p:spPr bwMode="auto">
              <a:xfrm>
                <a:off x="6268711" y="2678857"/>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04" name="Freeform 29"/>
              <p:cNvSpPr>
                <a:spLocks noEditPoints="1"/>
              </p:cNvSpPr>
              <p:nvPr/>
            </p:nvSpPr>
            <p:spPr bwMode="auto">
              <a:xfrm>
                <a:off x="6268711" y="2877950"/>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05" name="Freeform 29"/>
              <p:cNvSpPr>
                <a:spLocks noEditPoints="1"/>
              </p:cNvSpPr>
              <p:nvPr/>
            </p:nvSpPr>
            <p:spPr bwMode="auto">
              <a:xfrm>
                <a:off x="6268711" y="3077043"/>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06" name="Freeform 29"/>
              <p:cNvSpPr>
                <a:spLocks noEditPoints="1"/>
              </p:cNvSpPr>
              <p:nvPr/>
            </p:nvSpPr>
            <p:spPr bwMode="auto">
              <a:xfrm>
                <a:off x="6268711" y="3276136"/>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07" name="Freeform 29"/>
              <p:cNvSpPr>
                <a:spLocks noEditPoints="1"/>
              </p:cNvSpPr>
              <p:nvPr/>
            </p:nvSpPr>
            <p:spPr bwMode="auto">
              <a:xfrm>
                <a:off x="6268711" y="3475229"/>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08" name="Freeform 29"/>
              <p:cNvSpPr>
                <a:spLocks noEditPoints="1"/>
              </p:cNvSpPr>
              <p:nvPr/>
            </p:nvSpPr>
            <p:spPr bwMode="auto">
              <a:xfrm>
                <a:off x="6268711" y="367432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09" name="Freeform 29"/>
              <p:cNvSpPr>
                <a:spLocks noEditPoints="1"/>
              </p:cNvSpPr>
              <p:nvPr/>
            </p:nvSpPr>
            <p:spPr bwMode="auto">
              <a:xfrm>
                <a:off x="6268711" y="3873415"/>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10" name="Freeform 29"/>
              <p:cNvSpPr>
                <a:spLocks noEditPoints="1"/>
              </p:cNvSpPr>
              <p:nvPr/>
            </p:nvSpPr>
            <p:spPr bwMode="auto">
              <a:xfrm>
                <a:off x="6268711" y="407251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grpSp>
        <p:grpSp>
          <p:nvGrpSpPr>
            <p:cNvPr id="557" name="Group 556"/>
            <p:cNvGrpSpPr/>
            <p:nvPr/>
          </p:nvGrpSpPr>
          <p:grpSpPr>
            <a:xfrm>
              <a:off x="7687303" y="2280671"/>
              <a:ext cx="177809" cy="1964093"/>
              <a:chOff x="6268711" y="2280671"/>
              <a:chExt cx="177809" cy="1964093"/>
            </a:xfrm>
            <a:solidFill>
              <a:sysClr val="window" lastClr="FFFFFF">
                <a:lumMod val="75000"/>
              </a:sysClr>
            </a:solidFill>
          </p:grpSpPr>
          <p:sp>
            <p:nvSpPr>
              <p:cNvPr id="591" name="Freeform 29"/>
              <p:cNvSpPr>
                <a:spLocks noEditPoints="1"/>
              </p:cNvSpPr>
              <p:nvPr/>
            </p:nvSpPr>
            <p:spPr bwMode="auto">
              <a:xfrm>
                <a:off x="6268711" y="2280671"/>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92" name="Freeform 29"/>
              <p:cNvSpPr>
                <a:spLocks noEditPoints="1"/>
              </p:cNvSpPr>
              <p:nvPr/>
            </p:nvSpPr>
            <p:spPr bwMode="auto">
              <a:xfrm>
                <a:off x="6268711" y="2479764"/>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93" name="Freeform 29"/>
              <p:cNvSpPr>
                <a:spLocks noEditPoints="1"/>
              </p:cNvSpPr>
              <p:nvPr/>
            </p:nvSpPr>
            <p:spPr bwMode="auto">
              <a:xfrm>
                <a:off x="6268711" y="2678857"/>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94" name="Freeform 29"/>
              <p:cNvSpPr>
                <a:spLocks noEditPoints="1"/>
              </p:cNvSpPr>
              <p:nvPr/>
            </p:nvSpPr>
            <p:spPr bwMode="auto">
              <a:xfrm>
                <a:off x="6268711" y="2877950"/>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95" name="Freeform 29"/>
              <p:cNvSpPr>
                <a:spLocks noEditPoints="1"/>
              </p:cNvSpPr>
              <p:nvPr/>
            </p:nvSpPr>
            <p:spPr bwMode="auto">
              <a:xfrm>
                <a:off x="6268711" y="3077043"/>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96" name="Freeform 29"/>
              <p:cNvSpPr>
                <a:spLocks noEditPoints="1"/>
              </p:cNvSpPr>
              <p:nvPr/>
            </p:nvSpPr>
            <p:spPr bwMode="auto">
              <a:xfrm>
                <a:off x="6268711" y="3276136"/>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97" name="Freeform 29"/>
              <p:cNvSpPr>
                <a:spLocks noEditPoints="1"/>
              </p:cNvSpPr>
              <p:nvPr/>
            </p:nvSpPr>
            <p:spPr bwMode="auto">
              <a:xfrm>
                <a:off x="6268711" y="3475229"/>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98" name="Freeform 29"/>
              <p:cNvSpPr>
                <a:spLocks noEditPoints="1"/>
              </p:cNvSpPr>
              <p:nvPr/>
            </p:nvSpPr>
            <p:spPr bwMode="auto">
              <a:xfrm>
                <a:off x="6268711" y="367432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99" name="Freeform 29"/>
              <p:cNvSpPr>
                <a:spLocks noEditPoints="1"/>
              </p:cNvSpPr>
              <p:nvPr/>
            </p:nvSpPr>
            <p:spPr bwMode="auto">
              <a:xfrm>
                <a:off x="6268711" y="3873415"/>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600" name="Freeform 29"/>
              <p:cNvSpPr>
                <a:spLocks noEditPoints="1"/>
              </p:cNvSpPr>
              <p:nvPr/>
            </p:nvSpPr>
            <p:spPr bwMode="auto">
              <a:xfrm>
                <a:off x="6268711" y="407251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grpSp>
        <p:grpSp>
          <p:nvGrpSpPr>
            <p:cNvPr id="558" name="Group 557"/>
            <p:cNvGrpSpPr/>
            <p:nvPr/>
          </p:nvGrpSpPr>
          <p:grpSpPr>
            <a:xfrm>
              <a:off x="7923735" y="2280671"/>
              <a:ext cx="177809" cy="1964093"/>
              <a:chOff x="6268711" y="2280671"/>
              <a:chExt cx="177809" cy="1964093"/>
            </a:xfrm>
            <a:solidFill>
              <a:sysClr val="window" lastClr="FFFFFF">
                <a:lumMod val="75000"/>
              </a:sysClr>
            </a:solidFill>
          </p:grpSpPr>
          <p:sp>
            <p:nvSpPr>
              <p:cNvPr id="581" name="Freeform 29"/>
              <p:cNvSpPr>
                <a:spLocks noEditPoints="1"/>
              </p:cNvSpPr>
              <p:nvPr/>
            </p:nvSpPr>
            <p:spPr bwMode="auto">
              <a:xfrm>
                <a:off x="6268711" y="2280671"/>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82" name="Freeform 29"/>
              <p:cNvSpPr>
                <a:spLocks noEditPoints="1"/>
              </p:cNvSpPr>
              <p:nvPr/>
            </p:nvSpPr>
            <p:spPr bwMode="auto">
              <a:xfrm>
                <a:off x="6268711" y="2479764"/>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83" name="Freeform 29"/>
              <p:cNvSpPr>
                <a:spLocks noEditPoints="1"/>
              </p:cNvSpPr>
              <p:nvPr/>
            </p:nvSpPr>
            <p:spPr bwMode="auto">
              <a:xfrm>
                <a:off x="6268711" y="2678857"/>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84" name="Freeform 29"/>
              <p:cNvSpPr>
                <a:spLocks noEditPoints="1"/>
              </p:cNvSpPr>
              <p:nvPr/>
            </p:nvSpPr>
            <p:spPr bwMode="auto">
              <a:xfrm>
                <a:off x="6268711" y="2877950"/>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85" name="Freeform 29"/>
              <p:cNvSpPr>
                <a:spLocks noEditPoints="1"/>
              </p:cNvSpPr>
              <p:nvPr/>
            </p:nvSpPr>
            <p:spPr bwMode="auto">
              <a:xfrm>
                <a:off x="6268711" y="3077043"/>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86" name="Freeform 29"/>
              <p:cNvSpPr>
                <a:spLocks noEditPoints="1"/>
              </p:cNvSpPr>
              <p:nvPr/>
            </p:nvSpPr>
            <p:spPr bwMode="auto">
              <a:xfrm>
                <a:off x="6268711" y="3276136"/>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87" name="Freeform 29"/>
              <p:cNvSpPr>
                <a:spLocks noEditPoints="1"/>
              </p:cNvSpPr>
              <p:nvPr/>
            </p:nvSpPr>
            <p:spPr bwMode="auto">
              <a:xfrm>
                <a:off x="6268711" y="3475229"/>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88" name="Freeform 29"/>
              <p:cNvSpPr>
                <a:spLocks noEditPoints="1"/>
              </p:cNvSpPr>
              <p:nvPr/>
            </p:nvSpPr>
            <p:spPr bwMode="auto">
              <a:xfrm>
                <a:off x="6268711" y="367432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89" name="Freeform 29"/>
              <p:cNvSpPr>
                <a:spLocks noEditPoints="1"/>
              </p:cNvSpPr>
              <p:nvPr/>
            </p:nvSpPr>
            <p:spPr bwMode="auto">
              <a:xfrm>
                <a:off x="6268711" y="3873415"/>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90" name="Freeform 29"/>
              <p:cNvSpPr>
                <a:spLocks noEditPoints="1"/>
              </p:cNvSpPr>
              <p:nvPr/>
            </p:nvSpPr>
            <p:spPr bwMode="auto">
              <a:xfrm>
                <a:off x="6268711" y="407251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grpSp>
        <p:grpSp>
          <p:nvGrpSpPr>
            <p:cNvPr id="559" name="Group 558"/>
            <p:cNvGrpSpPr/>
            <p:nvPr/>
          </p:nvGrpSpPr>
          <p:grpSpPr>
            <a:xfrm>
              <a:off x="8160167" y="2280671"/>
              <a:ext cx="177809" cy="1964093"/>
              <a:chOff x="6268711" y="2280671"/>
              <a:chExt cx="177809" cy="1964093"/>
            </a:xfrm>
            <a:solidFill>
              <a:sysClr val="window" lastClr="FFFFFF">
                <a:lumMod val="75000"/>
              </a:sysClr>
            </a:solidFill>
          </p:grpSpPr>
          <p:sp>
            <p:nvSpPr>
              <p:cNvPr id="571" name="Freeform 29"/>
              <p:cNvSpPr>
                <a:spLocks noEditPoints="1"/>
              </p:cNvSpPr>
              <p:nvPr/>
            </p:nvSpPr>
            <p:spPr bwMode="auto">
              <a:xfrm>
                <a:off x="6268711" y="2280671"/>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72" name="Freeform 29"/>
              <p:cNvSpPr>
                <a:spLocks noEditPoints="1"/>
              </p:cNvSpPr>
              <p:nvPr/>
            </p:nvSpPr>
            <p:spPr bwMode="auto">
              <a:xfrm>
                <a:off x="6268711" y="2479764"/>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73" name="Freeform 29"/>
              <p:cNvSpPr>
                <a:spLocks noEditPoints="1"/>
              </p:cNvSpPr>
              <p:nvPr/>
            </p:nvSpPr>
            <p:spPr bwMode="auto">
              <a:xfrm>
                <a:off x="6268711" y="2678857"/>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74" name="Freeform 29"/>
              <p:cNvSpPr>
                <a:spLocks noEditPoints="1"/>
              </p:cNvSpPr>
              <p:nvPr/>
            </p:nvSpPr>
            <p:spPr bwMode="auto">
              <a:xfrm>
                <a:off x="6268711" y="2877950"/>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75" name="Freeform 29"/>
              <p:cNvSpPr>
                <a:spLocks noEditPoints="1"/>
              </p:cNvSpPr>
              <p:nvPr/>
            </p:nvSpPr>
            <p:spPr bwMode="auto">
              <a:xfrm>
                <a:off x="6268711" y="3077043"/>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76" name="Freeform 29"/>
              <p:cNvSpPr>
                <a:spLocks noEditPoints="1"/>
              </p:cNvSpPr>
              <p:nvPr/>
            </p:nvSpPr>
            <p:spPr bwMode="auto">
              <a:xfrm>
                <a:off x="6268711" y="3276136"/>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77" name="Freeform 29"/>
              <p:cNvSpPr>
                <a:spLocks noEditPoints="1"/>
              </p:cNvSpPr>
              <p:nvPr/>
            </p:nvSpPr>
            <p:spPr bwMode="auto">
              <a:xfrm>
                <a:off x="6268711" y="3475229"/>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78" name="Freeform 29"/>
              <p:cNvSpPr>
                <a:spLocks noEditPoints="1"/>
              </p:cNvSpPr>
              <p:nvPr/>
            </p:nvSpPr>
            <p:spPr bwMode="auto">
              <a:xfrm>
                <a:off x="6268711" y="367432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79" name="Freeform 29"/>
              <p:cNvSpPr>
                <a:spLocks noEditPoints="1"/>
              </p:cNvSpPr>
              <p:nvPr/>
            </p:nvSpPr>
            <p:spPr bwMode="auto">
              <a:xfrm>
                <a:off x="6268711" y="3873415"/>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80" name="Freeform 29"/>
              <p:cNvSpPr>
                <a:spLocks noEditPoints="1"/>
              </p:cNvSpPr>
              <p:nvPr/>
            </p:nvSpPr>
            <p:spPr bwMode="auto">
              <a:xfrm>
                <a:off x="6268711" y="407251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grpSp>
        <p:grpSp>
          <p:nvGrpSpPr>
            <p:cNvPr id="560" name="Group 559"/>
            <p:cNvGrpSpPr/>
            <p:nvPr/>
          </p:nvGrpSpPr>
          <p:grpSpPr>
            <a:xfrm>
              <a:off x="8396597" y="2280671"/>
              <a:ext cx="177809" cy="1964093"/>
              <a:chOff x="6268711" y="2280671"/>
              <a:chExt cx="177809" cy="1964093"/>
            </a:xfrm>
            <a:solidFill>
              <a:sysClr val="window" lastClr="FFFFFF">
                <a:lumMod val="75000"/>
              </a:sysClr>
            </a:solidFill>
          </p:grpSpPr>
          <p:sp>
            <p:nvSpPr>
              <p:cNvPr id="561" name="Freeform 29"/>
              <p:cNvSpPr>
                <a:spLocks noEditPoints="1"/>
              </p:cNvSpPr>
              <p:nvPr/>
            </p:nvSpPr>
            <p:spPr bwMode="auto">
              <a:xfrm>
                <a:off x="6268711" y="2280671"/>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62" name="Freeform 29"/>
              <p:cNvSpPr>
                <a:spLocks noEditPoints="1"/>
              </p:cNvSpPr>
              <p:nvPr/>
            </p:nvSpPr>
            <p:spPr bwMode="auto">
              <a:xfrm>
                <a:off x="6268711" y="2479764"/>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63" name="Freeform 29"/>
              <p:cNvSpPr>
                <a:spLocks noEditPoints="1"/>
              </p:cNvSpPr>
              <p:nvPr/>
            </p:nvSpPr>
            <p:spPr bwMode="auto">
              <a:xfrm>
                <a:off x="6268711" y="2678857"/>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64" name="Freeform 29"/>
              <p:cNvSpPr>
                <a:spLocks noEditPoints="1"/>
              </p:cNvSpPr>
              <p:nvPr/>
            </p:nvSpPr>
            <p:spPr bwMode="auto">
              <a:xfrm>
                <a:off x="6268711" y="2877950"/>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65" name="Freeform 29"/>
              <p:cNvSpPr>
                <a:spLocks noEditPoints="1"/>
              </p:cNvSpPr>
              <p:nvPr/>
            </p:nvSpPr>
            <p:spPr bwMode="auto">
              <a:xfrm>
                <a:off x="6268711" y="3077043"/>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66" name="Freeform 29"/>
              <p:cNvSpPr>
                <a:spLocks noEditPoints="1"/>
              </p:cNvSpPr>
              <p:nvPr/>
            </p:nvSpPr>
            <p:spPr bwMode="auto">
              <a:xfrm>
                <a:off x="6268711" y="3276136"/>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67" name="Freeform 29"/>
              <p:cNvSpPr>
                <a:spLocks noEditPoints="1"/>
              </p:cNvSpPr>
              <p:nvPr/>
            </p:nvSpPr>
            <p:spPr bwMode="auto">
              <a:xfrm>
                <a:off x="6268711" y="3475229"/>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68" name="Freeform 29"/>
              <p:cNvSpPr>
                <a:spLocks noEditPoints="1"/>
              </p:cNvSpPr>
              <p:nvPr/>
            </p:nvSpPr>
            <p:spPr bwMode="auto">
              <a:xfrm>
                <a:off x="6268711" y="367432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69" name="Freeform 29"/>
              <p:cNvSpPr>
                <a:spLocks noEditPoints="1"/>
              </p:cNvSpPr>
              <p:nvPr/>
            </p:nvSpPr>
            <p:spPr bwMode="auto">
              <a:xfrm>
                <a:off x="6268711" y="3873415"/>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sp>
            <p:nvSpPr>
              <p:cNvPr id="570" name="Freeform 29"/>
              <p:cNvSpPr>
                <a:spLocks noEditPoints="1"/>
              </p:cNvSpPr>
              <p:nvPr/>
            </p:nvSpPr>
            <p:spPr bwMode="auto">
              <a:xfrm>
                <a:off x="6268711" y="4072512"/>
                <a:ext cx="177809" cy="172252"/>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Open Sans"/>
                  <a:ea typeface="+mn-ea"/>
                  <a:cs typeface="+mn-cs"/>
                </a:endParaRPr>
              </a:p>
            </p:txBody>
          </p:sp>
        </p:grpSp>
      </p:grpSp>
      <p:sp>
        <p:nvSpPr>
          <p:cNvPr id="651" name="Content Placeholder 2"/>
          <p:cNvSpPr txBox="1">
            <a:spLocks/>
          </p:cNvSpPr>
          <p:nvPr/>
        </p:nvSpPr>
        <p:spPr>
          <a:xfrm>
            <a:off x="3704890" y="2589818"/>
            <a:ext cx="602416" cy="148009"/>
          </a:xfrm>
          <a:prstGeom prst="rect">
            <a:avLst/>
          </a:prstGeom>
        </p:spPr>
        <p:txBody>
          <a:bodyPr vert="horz" lIns="91440" tIns="45720" rIns="91440" bIns="45720" rtlCol="0" anchor="ctr">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200" b="0" i="0" u="none" strike="noStrike" kern="1200" cap="none" spc="0" normalizeH="0" baseline="0" noProof="0" dirty="0">
                <a:ln>
                  <a:noFill/>
                </a:ln>
                <a:solidFill>
                  <a:srgbClr val="53565A"/>
                </a:solidFill>
                <a:effectLst/>
                <a:uLnTx/>
                <a:uFillTx/>
                <a:latin typeface="Open Sans"/>
                <a:ea typeface="+mn-ea"/>
                <a:cs typeface="Arial"/>
              </a:rPr>
              <a:t>1%</a:t>
            </a:r>
          </a:p>
        </p:txBody>
      </p:sp>
      <p:sp>
        <p:nvSpPr>
          <p:cNvPr id="652" name="Content Placeholder 2"/>
          <p:cNvSpPr txBox="1">
            <a:spLocks/>
          </p:cNvSpPr>
          <p:nvPr/>
        </p:nvSpPr>
        <p:spPr>
          <a:xfrm>
            <a:off x="3450200" y="2411855"/>
            <a:ext cx="408059" cy="252932"/>
          </a:xfrm>
          <a:prstGeom prst="rect">
            <a:avLst/>
          </a:prstGeom>
        </p:spPr>
        <p:txBody>
          <a:bodyPr vert="horz" lIns="91440" tIns="45720" rIns="91440" bIns="45720" rtlCol="0" anchor="ctr">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rgbClr val="53565A"/>
                </a:solidFill>
                <a:effectLst/>
                <a:uLnTx/>
                <a:uFillTx/>
                <a:latin typeface="Open Sans"/>
                <a:ea typeface="+mn-ea"/>
                <a:cs typeface="Arial"/>
              </a:rPr>
              <a:t>less than</a:t>
            </a:r>
          </a:p>
        </p:txBody>
      </p:sp>
      <p:cxnSp>
        <p:nvCxnSpPr>
          <p:cNvPr id="653" name="Straight Connector 652"/>
          <p:cNvCxnSpPr/>
          <p:nvPr/>
        </p:nvCxnSpPr>
        <p:spPr>
          <a:xfrm>
            <a:off x="3552826" y="2113198"/>
            <a:ext cx="2743200" cy="0"/>
          </a:xfrm>
          <a:prstGeom prst="line">
            <a:avLst/>
          </a:prstGeom>
          <a:ln w="68580" cmpd="sng">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654" name="object 4"/>
          <p:cNvSpPr txBox="1"/>
          <p:nvPr/>
        </p:nvSpPr>
        <p:spPr>
          <a:xfrm>
            <a:off x="3540778" y="1948543"/>
            <a:ext cx="2702815" cy="183705"/>
          </a:xfrm>
          <a:prstGeom prst="rect">
            <a:avLst/>
          </a:prstGeom>
        </p:spPr>
        <p:txBody>
          <a:bodyPr vert="horz" wrap="square" lIns="0" tIns="0" rIns="0" bIns="0" rtlCol="0">
            <a:spAutoFit/>
          </a:bodyPr>
          <a:lstStyle/>
          <a:p>
            <a:pPr marL="12700" marR="0" lvl="0" indent="0" algn="l" defTabSz="914400" rtl="0" eaLnBrk="1" fontAlgn="auto" latinLnBrk="0" hangingPunct="1">
              <a:lnSpc>
                <a:spcPct val="85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Chronicle Display Black" charset="0"/>
                <a:cs typeface="Chronicle Display Black" charset="0"/>
              </a:rPr>
              <a:t>BREAKTHROUGHS ARE SCARCE</a:t>
            </a:r>
          </a:p>
        </p:txBody>
      </p:sp>
      <p:sp>
        <p:nvSpPr>
          <p:cNvPr id="655" name="TextBox 654"/>
          <p:cNvSpPr txBox="1"/>
          <p:nvPr/>
        </p:nvSpPr>
        <p:spPr>
          <a:xfrm>
            <a:off x="9292187" y="3849252"/>
            <a:ext cx="2325494"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CPGs under activist fund management have increased margins &gt;50% in one year</a:t>
            </a:r>
            <a:r>
              <a:rPr kumimoji="0" lang="en-US" sz="1400" b="0" i="0" u="none" strike="noStrike" kern="1200" cap="none" spc="0" normalizeH="0" baseline="30000" noProof="0" dirty="0">
                <a:ln>
                  <a:noFill/>
                </a:ln>
                <a:solidFill>
                  <a:srgbClr val="000000"/>
                </a:solidFill>
                <a:effectLst/>
                <a:uLnTx/>
                <a:uFillTx/>
                <a:latin typeface="Open Sans"/>
                <a:ea typeface="+mn-ea"/>
                <a:cs typeface="+mn-cs"/>
              </a:rPr>
              <a:t>1</a:t>
            </a:r>
          </a:p>
        </p:txBody>
      </p:sp>
      <p:cxnSp>
        <p:nvCxnSpPr>
          <p:cNvPr id="656" name="Straight Arrow Connector 655"/>
          <p:cNvCxnSpPr/>
          <p:nvPr/>
        </p:nvCxnSpPr>
        <p:spPr>
          <a:xfrm flipV="1">
            <a:off x="9511676" y="2467214"/>
            <a:ext cx="256034" cy="178327"/>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657" name="Chart 656"/>
          <p:cNvGraphicFramePr>
            <a:graphicFrameLocks/>
          </p:cNvGraphicFramePr>
          <p:nvPr>
            <p:extLst>
              <p:ext uri="{D42A27DB-BD31-4B8C-83A1-F6EECF244321}">
                <p14:modId xmlns:p14="http://schemas.microsoft.com/office/powerpoint/2010/main" val="3894312117"/>
              </p:ext>
            </p:extLst>
          </p:nvPr>
        </p:nvGraphicFramePr>
        <p:xfrm>
          <a:off x="9402105" y="2146070"/>
          <a:ext cx="2020316" cy="1308902"/>
        </p:xfrm>
        <a:graphic>
          <a:graphicData uri="http://schemas.openxmlformats.org/drawingml/2006/chart">
            <c:chart xmlns:c="http://schemas.openxmlformats.org/drawingml/2006/chart" xmlns:r="http://schemas.openxmlformats.org/officeDocument/2006/relationships" r:id="rId7"/>
          </a:graphicData>
        </a:graphic>
      </p:graphicFrame>
      <p:sp>
        <p:nvSpPr>
          <p:cNvPr id="658" name="TextBox 657"/>
          <p:cNvSpPr txBox="1"/>
          <p:nvPr/>
        </p:nvSpPr>
        <p:spPr>
          <a:xfrm>
            <a:off x="9463209" y="3450349"/>
            <a:ext cx="631511" cy="1692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136"/>
              </a:spcBef>
              <a:spcAft>
                <a:spcPts val="0"/>
              </a:spcAft>
              <a:buClrTx/>
              <a:buSzPct val="100000"/>
              <a:buFontTx/>
              <a:buNone/>
              <a:tabLst/>
              <a:defRPr/>
            </a:pPr>
            <a:r>
              <a:rPr kumimoji="0" lang="en-US" sz="1100" b="0" i="0" u="none" strike="noStrike" kern="1200" cap="none" spc="0" normalizeH="0" baseline="0" noProof="0" dirty="0">
                <a:ln>
                  <a:noFill/>
                </a:ln>
                <a:solidFill>
                  <a:srgbClr val="5A5A5A"/>
                </a:solidFill>
                <a:effectLst/>
                <a:uLnTx/>
                <a:uFillTx/>
                <a:latin typeface="Open Sans"/>
                <a:ea typeface="Verdana" charset="0"/>
                <a:cs typeface="Verdana" charset="0"/>
              </a:rPr>
              <a:t>AB InBev</a:t>
            </a:r>
          </a:p>
        </p:txBody>
      </p:sp>
      <p:sp>
        <p:nvSpPr>
          <p:cNvPr id="659" name="TextBox 658"/>
          <p:cNvSpPr txBox="1"/>
          <p:nvPr/>
        </p:nvSpPr>
        <p:spPr>
          <a:xfrm>
            <a:off x="10802498" y="3450349"/>
            <a:ext cx="651060" cy="1692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136"/>
              </a:spcBef>
              <a:spcAft>
                <a:spcPts val="0"/>
              </a:spcAft>
              <a:buClrTx/>
              <a:buSzPct val="100000"/>
              <a:buFontTx/>
              <a:buNone/>
              <a:tabLst/>
              <a:defRPr/>
            </a:pPr>
            <a:r>
              <a:rPr kumimoji="0" lang="en-US" sz="1100" b="0" i="0" u="none" strike="noStrike" kern="1200" cap="none" spc="0" normalizeH="0" baseline="0" noProof="0" dirty="0">
                <a:ln>
                  <a:noFill/>
                </a:ln>
                <a:solidFill>
                  <a:srgbClr val="5A5A5A"/>
                </a:solidFill>
                <a:effectLst/>
                <a:uLnTx/>
                <a:uFillTx/>
                <a:latin typeface="Open Sans"/>
                <a:ea typeface="Verdana" charset="0"/>
                <a:cs typeface="Verdana" charset="0"/>
              </a:rPr>
              <a:t>Heineken</a:t>
            </a:r>
          </a:p>
        </p:txBody>
      </p:sp>
      <p:sp>
        <p:nvSpPr>
          <p:cNvPr id="660" name="TextBox 659"/>
          <p:cNvSpPr txBox="1"/>
          <p:nvPr/>
        </p:nvSpPr>
        <p:spPr>
          <a:xfrm>
            <a:off x="10123079" y="3450349"/>
            <a:ext cx="651060" cy="1692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136"/>
              </a:spcBef>
              <a:spcAft>
                <a:spcPts val="0"/>
              </a:spcAft>
              <a:buClrTx/>
              <a:buSzPct val="100000"/>
              <a:buFontTx/>
              <a:buNone/>
              <a:tabLst/>
              <a:defRPr/>
            </a:pPr>
            <a:r>
              <a:rPr kumimoji="0" lang="en-US" sz="1100" b="0" i="0" u="none" strike="noStrike" kern="1200" cap="none" spc="0" normalizeH="0" baseline="0" noProof="0" dirty="0">
                <a:ln>
                  <a:noFill/>
                </a:ln>
                <a:solidFill>
                  <a:srgbClr val="5A5A5A"/>
                </a:solidFill>
                <a:effectLst/>
                <a:uLnTx/>
                <a:uFillTx/>
                <a:latin typeface="Open Sans"/>
                <a:ea typeface="Verdana" charset="0"/>
                <a:cs typeface="Verdana" charset="0"/>
              </a:rPr>
              <a:t>SABMiller</a:t>
            </a:r>
          </a:p>
        </p:txBody>
      </p:sp>
      <p:sp>
        <p:nvSpPr>
          <p:cNvPr id="661" name="Rectangle 660"/>
          <p:cNvSpPr/>
          <p:nvPr/>
        </p:nvSpPr>
        <p:spPr>
          <a:xfrm>
            <a:off x="3540779" y="5387011"/>
            <a:ext cx="2755248"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C5C5C"/>
                </a:solidFill>
                <a:effectLst/>
                <a:uLnTx/>
                <a:uFillTx/>
                <a:latin typeface="Open Sans"/>
                <a:ea typeface="+mn-ea"/>
                <a:cs typeface="+mn-cs"/>
              </a:rPr>
              <a:t>Innovation needs to be data-driven, with a pulse on what consumers want and an ability to act fast to deliver</a:t>
            </a:r>
            <a:endParaRPr kumimoji="0" lang="en-US" sz="1400" b="1" i="0" u="none" strike="noStrike" kern="1200" cap="none" spc="0" normalizeH="0" baseline="30000" noProof="0" dirty="0">
              <a:ln>
                <a:noFill/>
              </a:ln>
              <a:solidFill>
                <a:prstClr val="black"/>
              </a:solidFill>
              <a:effectLst/>
              <a:uLnTx/>
              <a:uFillTx/>
              <a:latin typeface="Open Sans"/>
              <a:ea typeface="+mn-ea"/>
              <a:cs typeface="+mn-cs"/>
            </a:endParaRPr>
          </a:p>
        </p:txBody>
      </p:sp>
      <p:sp>
        <p:nvSpPr>
          <p:cNvPr id="662" name="Rectangle 661"/>
          <p:cNvSpPr/>
          <p:nvPr/>
        </p:nvSpPr>
        <p:spPr>
          <a:xfrm>
            <a:off x="9147139" y="5387011"/>
            <a:ext cx="2470542"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C5C5C"/>
                </a:solidFill>
                <a:effectLst/>
                <a:uLnTx/>
                <a:uFillTx/>
                <a:latin typeface="Open Sans"/>
                <a:ea typeface="+mn-ea"/>
                <a:cs typeface="+mn-cs"/>
              </a:rPr>
              <a:t>ZBB is not enough – CPGs need to drive efficient operations based on detailed analysis</a:t>
            </a:r>
            <a:endParaRPr kumimoji="0" lang="en-US" sz="1400" b="1" i="0" u="none" strike="noStrike" kern="1200" cap="none" spc="0" normalizeH="0" baseline="30000" noProof="0" dirty="0">
              <a:ln>
                <a:noFill/>
              </a:ln>
              <a:solidFill>
                <a:prstClr val="black"/>
              </a:solidFill>
              <a:effectLst/>
              <a:uLnTx/>
              <a:uFillTx/>
              <a:latin typeface="Open Sans"/>
              <a:ea typeface="+mn-ea"/>
              <a:cs typeface="+mn-cs"/>
            </a:endParaRPr>
          </a:p>
        </p:txBody>
      </p:sp>
      <p:cxnSp>
        <p:nvCxnSpPr>
          <p:cNvPr id="663" name="Straight Connector 662"/>
          <p:cNvCxnSpPr/>
          <p:nvPr/>
        </p:nvCxnSpPr>
        <p:spPr>
          <a:xfrm>
            <a:off x="3540778" y="5004107"/>
            <a:ext cx="254690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64" name="Straight Connector 663"/>
          <p:cNvCxnSpPr/>
          <p:nvPr/>
        </p:nvCxnSpPr>
        <p:spPr>
          <a:xfrm>
            <a:off x="9147138" y="5004107"/>
            <a:ext cx="2344955"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65" name="Straight Connector 664"/>
          <p:cNvCxnSpPr/>
          <p:nvPr/>
        </p:nvCxnSpPr>
        <p:spPr>
          <a:xfrm>
            <a:off x="6447246" y="2113198"/>
            <a:ext cx="2468880" cy="0"/>
          </a:xfrm>
          <a:prstGeom prst="line">
            <a:avLst/>
          </a:prstGeom>
          <a:ln w="6858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666" name="TextBox 665"/>
          <p:cNvSpPr txBox="1"/>
          <p:nvPr/>
        </p:nvSpPr>
        <p:spPr>
          <a:xfrm>
            <a:off x="6590633" y="3849252"/>
            <a:ext cx="2325494" cy="738664"/>
          </a:xfrm>
          <a:prstGeom prst="rect">
            <a:avLst/>
          </a:prstGeom>
          <a:noFill/>
        </p:spPr>
        <p:txBody>
          <a:bodyPr wrap="square" rtlCol="0">
            <a:spAutoFit/>
          </a:bodyPr>
          <a:lstStyle>
            <a:defPPr>
              <a:defRPr lang="en-US"/>
            </a:defPPr>
            <a:lvl1pPr>
              <a:defRPr sz="14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High millennial turnover rates cost the U.S. economy $30.5B annually</a:t>
            </a:r>
          </a:p>
        </p:txBody>
      </p:sp>
      <p:sp>
        <p:nvSpPr>
          <p:cNvPr id="667" name="Rectangle 666"/>
          <p:cNvSpPr/>
          <p:nvPr/>
        </p:nvSpPr>
        <p:spPr>
          <a:xfrm>
            <a:off x="6445585" y="5387011"/>
            <a:ext cx="2470542"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C5C5C"/>
                </a:solidFill>
                <a:effectLst/>
                <a:uLnTx/>
                <a:uFillTx/>
                <a:latin typeface="Open Sans"/>
                <a:ea typeface="+mn-ea"/>
                <a:cs typeface="+mn-cs"/>
              </a:rPr>
              <a:t>The operating model needs to change to leverage a constantly shifting pool of talent</a:t>
            </a:r>
            <a:endParaRPr kumimoji="0" lang="en-US" sz="1400" b="1" i="0" u="none" strike="noStrike" kern="1200" cap="none" spc="0" normalizeH="0" baseline="30000" noProof="0" dirty="0">
              <a:ln>
                <a:noFill/>
              </a:ln>
              <a:solidFill>
                <a:prstClr val="black"/>
              </a:solidFill>
              <a:effectLst/>
              <a:uLnTx/>
              <a:uFillTx/>
              <a:latin typeface="Open Sans"/>
              <a:ea typeface="+mn-ea"/>
              <a:cs typeface="+mn-cs"/>
            </a:endParaRPr>
          </a:p>
        </p:txBody>
      </p:sp>
      <p:cxnSp>
        <p:nvCxnSpPr>
          <p:cNvPr id="668" name="Straight Connector 667"/>
          <p:cNvCxnSpPr/>
          <p:nvPr/>
        </p:nvCxnSpPr>
        <p:spPr>
          <a:xfrm>
            <a:off x="6445584" y="5004107"/>
            <a:ext cx="2344955"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669" name="Freeform 346"/>
          <p:cNvSpPr>
            <a:spLocks noEditPoints="1"/>
          </p:cNvSpPr>
          <p:nvPr/>
        </p:nvSpPr>
        <p:spPr bwMode="auto">
          <a:xfrm>
            <a:off x="7073622" y="2403834"/>
            <a:ext cx="1359515" cy="1068544"/>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70" name="TextBox 669"/>
          <p:cNvSpPr txBox="1"/>
          <p:nvPr/>
        </p:nvSpPr>
        <p:spPr>
          <a:xfrm>
            <a:off x="7117106" y="2833461"/>
            <a:ext cx="1173316" cy="276999"/>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136"/>
              </a:spcBef>
              <a:spcAft>
                <a:spcPts val="0"/>
              </a:spcAft>
              <a:buClrTx/>
              <a:buSzPct val="100000"/>
              <a:buFontTx/>
              <a:buNone/>
              <a:tabLst/>
              <a:defRPr/>
            </a:pPr>
            <a:r>
              <a:rPr kumimoji="0" lang="en-US" sz="1800" b="1" i="0" u="none" strike="noStrike" kern="1200" cap="none" spc="0" normalizeH="0" baseline="0" noProof="0" dirty="0">
                <a:ln>
                  <a:noFill/>
                </a:ln>
                <a:solidFill>
                  <a:srgbClr val="000000"/>
                </a:solidFill>
                <a:effectLst/>
                <a:uLnTx/>
                <a:uFillTx/>
                <a:latin typeface="Open Sans"/>
                <a:ea typeface="+mn-ea"/>
                <a:cs typeface="+mn-cs"/>
              </a:rPr>
              <a:t>$30.5B</a:t>
            </a:r>
            <a:endParaRPr kumimoji="0" lang="en-US" sz="1100" b="1" i="0" u="none" strike="noStrike" kern="1200" cap="none" spc="0" normalizeH="0" baseline="0" noProof="0" dirty="0">
              <a:ln>
                <a:noFill/>
              </a:ln>
              <a:solidFill>
                <a:srgbClr val="5A5A5A"/>
              </a:solidFill>
              <a:effectLst/>
              <a:uLnTx/>
              <a:uFillTx/>
              <a:latin typeface="Open Sans"/>
              <a:ea typeface="Verdana" charset="0"/>
              <a:cs typeface="Verdana" charset="0"/>
            </a:endParaRPr>
          </a:p>
        </p:txBody>
      </p:sp>
      <p:sp>
        <p:nvSpPr>
          <p:cNvPr id="671" name="object 4"/>
          <p:cNvSpPr txBox="1"/>
          <p:nvPr/>
        </p:nvSpPr>
        <p:spPr>
          <a:xfrm>
            <a:off x="6434365" y="1783967"/>
            <a:ext cx="2470543" cy="366832"/>
          </a:xfrm>
          <a:prstGeom prst="rect">
            <a:avLst/>
          </a:prstGeom>
        </p:spPr>
        <p:txBody>
          <a:bodyPr vert="horz" wrap="square" lIns="0" tIns="0" rIns="0" bIns="0" rtlCol="0">
            <a:spAutoFit/>
          </a:bodyPr>
          <a:lstStyle/>
          <a:p>
            <a:pPr marL="12700" marR="0" lvl="0" indent="0" algn="l" defTabSz="914400" rtl="0" eaLnBrk="1" fontAlgn="auto" latinLnBrk="0" hangingPunct="1">
              <a:lnSpc>
                <a:spcPct val="85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Chronicle Display Black" charset="0"/>
                <a:cs typeface="Chronicle Display Black" charset="0"/>
              </a:rPr>
              <a:t>WORKFORCE EXPECTATIONS ARE CHANGING</a:t>
            </a:r>
          </a:p>
        </p:txBody>
      </p:sp>
      <p:sp>
        <p:nvSpPr>
          <p:cNvPr id="672" name="Rectangle 671"/>
          <p:cNvSpPr/>
          <p:nvPr/>
        </p:nvSpPr>
        <p:spPr>
          <a:xfrm>
            <a:off x="617172" y="3847712"/>
            <a:ext cx="2534855"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C5C5C"/>
                </a:solidFill>
                <a:effectLst/>
                <a:uLnTx/>
                <a:uFillTx/>
                <a:latin typeface="Open Sans"/>
                <a:ea typeface="+mn-ea"/>
                <a:cs typeface="+mn-cs"/>
              </a:rPr>
              <a:t>Manufacturers lack agility: 53% spend more than 3 days consolidating data to support category insight</a:t>
            </a:r>
          </a:p>
        </p:txBody>
      </p:sp>
      <p:cxnSp>
        <p:nvCxnSpPr>
          <p:cNvPr id="673" name="Straight Connector 672"/>
          <p:cNvCxnSpPr/>
          <p:nvPr/>
        </p:nvCxnSpPr>
        <p:spPr>
          <a:xfrm>
            <a:off x="617173" y="2111658"/>
            <a:ext cx="2743200" cy="0"/>
          </a:xfrm>
          <a:prstGeom prst="line">
            <a:avLst/>
          </a:prstGeom>
          <a:ln w="6858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674" name="Rectangle 673"/>
          <p:cNvSpPr/>
          <p:nvPr/>
        </p:nvSpPr>
        <p:spPr>
          <a:xfrm>
            <a:off x="605126" y="5385471"/>
            <a:ext cx="2755248"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C5C5C"/>
                </a:solidFill>
                <a:effectLst/>
                <a:uLnTx/>
                <a:uFillTx/>
                <a:latin typeface="Open Sans"/>
                <a:ea typeface="+mn-ea"/>
                <a:cs typeface="+mn-cs"/>
              </a:rPr>
              <a:t>Supply chains built for scale must now be more agile to enable customization and personalization</a:t>
            </a:r>
          </a:p>
        </p:txBody>
      </p:sp>
      <p:cxnSp>
        <p:nvCxnSpPr>
          <p:cNvPr id="675" name="Straight Connector 674"/>
          <p:cNvCxnSpPr/>
          <p:nvPr/>
        </p:nvCxnSpPr>
        <p:spPr>
          <a:xfrm>
            <a:off x="605125" y="5002567"/>
            <a:ext cx="254690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aphicFrame>
        <p:nvGraphicFramePr>
          <p:cNvPr id="676" name="Chart 675"/>
          <p:cNvGraphicFramePr/>
          <p:nvPr/>
        </p:nvGraphicFramePr>
        <p:xfrm>
          <a:off x="984515" y="2439279"/>
          <a:ext cx="1621933" cy="1413302"/>
        </p:xfrm>
        <a:graphic>
          <a:graphicData uri="http://schemas.openxmlformats.org/drawingml/2006/chart">
            <c:chart xmlns:c="http://schemas.openxmlformats.org/drawingml/2006/chart" xmlns:r="http://schemas.openxmlformats.org/officeDocument/2006/relationships" r:id="rId8"/>
          </a:graphicData>
        </a:graphic>
      </p:graphicFrame>
      <p:sp>
        <p:nvSpPr>
          <p:cNvPr id="677" name="TextBox 676"/>
          <p:cNvSpPr txBox="1"/>
          <p:nvPr/>
        </p:nvSpPr>
        <p:spPr>
          <a:xfrm>
            <a:off x="1291918" y="2949329"/>
            <a:ext cx="1173316" cy="276999"/>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136"/>
              </a:spcBef>
              <a:spcAft>
                <a:spcPts val="0"/>
              </a:spcAft>
              <a:buClrTx/>
              <a:buSzPct val="100000"/>
              <a:buFontTx/>
              <a:buNone/>
              <a:tabLst/>
              <a:defRPr/>
            </a:pPr>
            <a:r>
              <a:rPr kumimoji="0" lang="en-US" sz="1800" b="1" i="0" u="none" strike="noStrike" kern="1200" cap="none" spc="0" normalizeH="0" baseline="0" noProof="0" dirty="0">
                <a:ln>
                  <a:noFill/>
                </a:ln>
                <a:solidFill>
                  <a:srgbClr val="000000"/>
                </a:solidFill>
                <a:effectLst/>
                <a:uLnTx/>
                <a:uFillTx/>
                <a:latin typeface="Open Sans"/>
                <a:ea typeface="+mn-ea"/>
                <a:cs typeface="+mn-cs"/>
              </a:rPr>
              <a:t>53%</a:t>
            </a:r>
            <a:endParaRPr kumimoji="0" lang="en-US" sz="1100" b="1" i="0" u="none" strike="noStrike" kern="1200" cap="none" spc="0" normalizeH="0" baseline="0" noProof="0" dirty="0">
              <a:ln>
                <a:noFill/>
              </a:ln>
              <a:solidFill>
                <a:srgbClr val="5A5A5A"/>
              </a:solidFill>
              <a:effectLst/>
              <a:uLnTx/>
              <a:uFillTx/>
              <a:latin typeface="Open Sans"/>
              <a:ea typeface="Verdana" charset="0"/>
              <a:cs typeface="Verdana" charset="0"/>
            </a:endParaRPr>
          </a:p>
        </p:txBody>
      </p:sp>
      <p:sp>
        <p:nvSpPr>
          <p:cNvPr id="678" name="object 4"/>
          <p:cNvSpPr txBox="1"/>
          <p:nvPr/>
        </p:nvSpPr>
        <p:spPr>
          <a:xfrm>
            <a:off x="669606" y="1776150"/>
            <a:ext cx="2702815" cy="366254"/>
          </a:xfrm>
          <a:prstGeom prst="rect">
            <a:avLst/>
          </a:prstGeom>
        </p:spPr>
        <p:txBody>
          <a:bodyPr vert="horz" wrap="square" lIns="0" tIns="0" rIns="0" bIns="0" rtlCol="0">
            <a:spAutoFit/>
          </a:bodyPr>
          <a:lstStyle/>
          <a:p>
            <a:pPr marL="12700" marR="0" lvl="0" indent="0" algn="l" defTabSz="914400" rtl="0" eaLnBrk="1" fontAlgn="auto" latinLnBrk="0" hangingPunct="1">
              <a:lnSpc>
                <a:spcPct val="85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Chronicle Display Black" charset="0"/>
                <a:cs typeface="Chronicle Display Black" charset="0"/>
              </a:rPr>
              <a:t>SUPPLY CHAINS ARE NOT RESPONSIVE</a:t>
            </a:r>
          </a:p>
        </p:txBody>
      </p:sp>
    </p:spTree>
    <p:extLst>
      <p:ext uri="{BB962C8B-B14F-4D97-AF65-F5344CB8AC3E}">
        <p14:creationId xmlns:p14="http://schemas.microsoft.com/office/powerpoint/2010/main" val="288673806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076"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6455" y="1046730"/>
            <a:ext cx="10363200" cy="594360"/>
          </a:xfrm>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br>
              <a:rPr lang="en-US" dirty="0">
                <a:solidFill>
                  <a:srgbClr val="000000"/>
                </a:solidFill>
                <a:latin typeface="Chronicle Display Semi" pitchFamily="50" charset="0"/>
              </a:rPr>
            </a:br>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Marketers are under scrutiny </a:t>
            </a:r>
            <a:br>
              <a:rPr lang="en-US" dirty="0">
                <a:solidFill>
                  <a:srgbClr val="000000"/>
                </a:solidFill>
                <a:latin typeface="Chronicle Display Semi" pitchFamily="50" charset="0"/>
              </a:rPr>
            </a:br>
            <a:r>
              <a:rPr lang="en-US" dirty="0">
                <a:solidFill>
                  <a:srgbClr val="000000"/>
                </a:solidFill>
                <a:latin typeface="Chronicle Display Semi" pitchFamily="50" charset="0"/>
              </a:rPr>
              <a:t>to deliver more with less</a:t>
            </a:r>
          </a:p>
        </p:txBody>
      </p:sp>
      <p:sp>
        <p:nvSpPr>
          <p:cNvPr id="5" name="Text Placeholder 4"/>
          <p:cNvSpPr>
            <a:spLocks noGrp="1"/>
          </p:cNvSpPr>
          <p:nvPr>
            <p:ph type="body" sz="quarter" idx="15"/>
          </p:nvPr>
        </p:nvSpPr>
        <p:spPr/>
        <p:txBody>
          <a:bodyPr/>
          <a:lstStyle/>
          <a:p>
            <a:r>
              <a:rPr lang="en-US" dirty="0"/>
              <a:t>Data Visualization &amp; Infographics</a:t>
            </a:r>
          </a:p>
        </p:txBody>
      </p:sp>
      <p:sp>
        <p:nvSpPr>
          <p:cNvPr id="6" name="Rectangle 5">
            <a:extLst>
              <a:ext uri="{FF2B5EF4-FFF2-40B4-BE49-F238E27FC236}">
                <a16:creationId xmlns:a16="http://schemas.microsoft.com/office/drawing/2014/main" id="{69D0CDAD-236A-45F5-BAFB-ACDF7B1D73BA}"/>
              </a:ext>
            </a:extLst>
          </p:cNvPr>
          <p:cNvSpPr/>
          <p:nvPr/>
        </p:nvSpPr>
        <p:spPr>
          <a:xfrm>
            <a:off x="6855953" y="228112"/>
            <a:ext cx="4121166" cy="33528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23438" rtl="0" eaLnBrk="1" fontAlgn="auto" latinLnBrk="0" hangingPunct="1">
              <a:lnSpc>
                <a:spcPct val="100000"/>
              </a:lnSpc>
              <a:spcBef>
                <a:spcPts val="0"/>
              </a:spcBef>
              <a:spcAft>
                <a:spcPts val="0"/>
              </a:spcAft>
              <a:buClrTx/>
              <a:buSzTx/>
              <a:buFontTx/>
              <a:buNone/>
              <a:tabLst/>
              <a:defRPr/>
            </a:pPr>
            <a:endParaRPr kumimoji="0" lang="en-US" sz="1227" b="0" i="0" u="none" strike="noStrike" kern="1200" cap="none" spc="0" normalizeH="0" baseline="0" noProof="0" dirty="0">
              <a:ln>
                <a:noFill/>
              </a:ln>
              <a:solidFill>
                <a:srgbClr val="FFFFFF"/>
              </a:solidFill>
              <a:effectLst/>
              <a:uLnTx/>
              <a:uFillTx/>
              <a:latin typeface="Open Sans"/>
              <a:ea typeface="+mn-ea"/>
              <a:cs typeface="+mn-cs"/>
            </a:endParaRPr>
          </a:p>
        </p:txBody>
      </p:sp>
      <p:sp>
        <p:nvSpPr>
          <p:cNvPr id="8" name="Rectangle 8">
            <a:extLst>
              <a:ext uri="{FF2B5EF4-FFF2-40B4-BE49-F238E27FC236}">
                <a16:creationId xmlns:a16="http://schemas.microsoft.com/office/drawing/2014/main" id="{BF5EDC62-FE9E-4356-838B-38EBA5624F32}"/>
              </a:ext>
            </a:extLst>
          </p:cNvPr>
          <p:cNvSpPr/>
          <p:nvPr/>
        </p:nvSpPr>
        <p:spPr>
          <a:xfrm>
            <a:off x="9679495" y="3362226"/>
            <a:ext cx="467464" cy="428075"/>
          </a:xfrm>
          <a:custGeom>
            <a:avLst/>
            <a:gdLst>
              <a:gd name="connsiteX0" fmla="*/ 0 w 661761"/>
              <a:gd name="connsiteY0" fmla="*/ 0 h 572185"/>
              <a:gd name="connsiteX1" fmla="*/ 661761 w 661761"/>
              <a:gd name="connsiteY1" fmla="*/ 0 h 572185"/>
              <a:gd name="connsiteX2" fmla="*/ 661761 w 661761"/>
              <a:gd name="connsiteY2" fmla="*/ 572185 h 572185"/>
              <a:gd name="connsiteX3" fmla="*/ 0 w 661761"/>
              <a:gd name="connsiteY3" fmla="*/ 572185 h 572185"/>
              <a:gd name="connsiteX4" fmla="*/ 0 w 661761"/>
              <a:gd name="connsiteY4" fmla="*/ 0 h 572185"/>
              <a:gd name="connsiteX0" fmla="*/ 0 w 661761"/>
              <a:gd name="connsiteY0" fmla="*/ 0 h 572185"/>
              <a:gd name="connsiteX1" fmla="*/ 606101 w 661761"/>
              <a:gd name="connsiteY1" fmla="*/ 127221 h 572185"/>
              <a:gd name="connsiteX2" fmla="*/ 661761 w 661761"/>
              <a:gd name="connsiteY2" fmla="*/ 572185 h 572185"/>
              <a:gd name="connsiteX3" fmla="*/ 0 w 661761"/>
              <a:gd name="connsiteY3" fmla="*/ 572185 h 572185"/>
              <a:gd name="connsiteX4" fmla="*/ 0 w 661761"/>
              <a:gd name="connsiteY4" fmla="*/ 0 h 572185"/>
              <a:gd name="connsiteX0" fmla="*/ 0 w 661761"/>
              <a:gd name="connsiteY0" fmla="*/ 0 h 572185"/>
              <a:gd name="connsiteX1" fmla="*/ 637906 w 661761"/>
              <a:gd name="connsiteY1" fmla="*/ 103367 h 572185"/>
              <a:gd name="connsiteX2" fmla="*/ 661761 w 661761"/>
              <a:gd name="connsiteY2" fmla="*/ 572185 h 572185"/>
              <a:gd name="connsiteX3" fmla="*/ 0 w 661761"/>
              <a:gd name="connsiteY3" fmla="*/ 572185 h 572185"/>
              <a:gd name="connsiteX4" fmla="*/ 0 w 661761"/>
              <a:gd name="connsiteY4" fmla="*/ 0 h 572185"/>
              <a:gd name="connsiteX0" fmla="*/ 0 w 685614"/>
              <a:gd name="connsiteY0" fmla="*/ 0 h 572185"/>
              <a:gd name="connsiteX1" fmla="*/ 685614 w 685614"/>
              <a:gd name="connsiteY1" fmla="*/ 159026 h 572185"/>
              <a:gd name="connsiteX2" fmla="*/ 661761 w 685614"/>
              <a:gd name="connsiteY2" fmla="*/ 572185 h 572185"/>
              <a:gd name="connsiteX3" fmla="*/ 0 w 685614"/>
              <a:gd name="connsiteY3" fmla="*/ 572185 h 572185"/>
              <a:gd name="connsiteX4" fmla="*/ 0 w 685614"/>
              <a:gd name="connsiteY4" fmla="*/ 0 h 572185"/>
              <a:gd name="connsiteX0" fmla="*/ 0 w 685614"/>
              <a:gd name="connsiteY0" fmla="*/ 0 h 572185"/>
              <a:gd name="connsiteX1" fmla="*/ 685614 w 685614"/>
              <a:gd name="connsiteY1" fmla="*/ 159026 h 572185"/>
              <a:gd name="connsiteX2" fmla="*/ 661761 w 685614"/>
              <a:gd name="connsiteY2" fmla="*/ 572185 h 572185"/>
              <a:gd name="connsiteX3" fmla="*/ 15903 w 685614"/>
              <a:gd name="connsiteY3" fmla="*/ 357500 h 572185"/>
              <a:gd name="connsiteX4" fmla="*/ 0 w 685614"/>
              <a:gd name="connsiteY4" fmla="*/ 0 h 572185"/>
              <a:gd name="connsiteX0" fmla="*/ 0 w 685614"/>
              <a:gd name="connsiteY0" fmla="*/ 0 h 572185"/>
              <a:gd name="connsiteX1" fmla="*/ 685614 w 685614"/>
              <a:gd name="connsiteY1" fmla="*/ 159026 h 572185"/>
              <a:gd name="connsiteX2" fmla="*/ 661761 w 685614"/>
              <a:gd name="connsiteY2" fmla="*/ 572185 h 572185"/>
              <a:gd name="connsiteX3" fmla="*/ 15903 w 685614"/>
              <a:gd name="connsiteY3" fmla="*/ 357500 h 572185"/>
              <a:gd name="connsiteX4" fmla="*/ 0 w 685614"/>
              <a:gd name="connsiteY4" fmla="*/ 0 h 572185"/>
              <a:gd name="connsiteX0" fmla="*/ 0 w 685614"/>
              <a:gd name="connsiteY0" fmla="*/ 0 h 627844"/>
              <a:gd name="connsiteX1" fmla="*/ 685614 w 685614"/>
              <a:gd name="connsiteY1" fmla="*/ 159026 h 627844"/>
              <a:gd name="connsiteX2" fmla="*/ 661761 w 685614"/>
              <a:gd name="connsiteY2" fmla="*/ 572185 h 627844"/>
              <a:gd name="connsiteX3" fmla="*/ 15903 w 685614"/>
              <a:gd name="connsiteY3" fmla="*/ 627844 h 627844"/>
              <a:gd name="connsiteX4" fmla="*/ 0 w 685614"/>
              <a:gd name="connsiteY4" fmla="*/ 0 h 627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614" h="627844">
                <a:moveTo>
                  <a:pt x="0" y="0"/>
                </a:moveTo>
                <a:lnTo>
                  <a:pt x="685614" y="159026"/>
                </a:lnTo>
                <a:lnTo>
                  <a:pt x="661761" y="572185"/>
                </a:lnTo>
                <a:lnTo>
                  <a:pt x="15903" y="627844"/>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23438" rtl="0" eaLnBrk="1" fontAlgn="auto" latinLnBrk="0" hangingPunct="1">
              <a:lnSpc>
                <a:spcPct val="100000"/>
              </a:lnSpc>
              <a:spcBef>
                <a:spcPts val="0"/>
              </a:spcBef>
              <a:spcAft>
                <a:spcPts val="0"/>
              </a:spcAft>
              <a:buClrTx/>
              <a:buSzTx/>
              <a:buFontTx/>
              <a:buNone/>
              <a:tabLst/>
              <a:defRPr/>
            </a:pPr>
            <a:endParaRPr kumimoji="0" lang="en-US" sz="1227" b="0" i="0" u="none" strike="noStrike" kern="1200" cap="none" spc="0" normalizeH="0" baseline="0" noProof="0" dirty="0">
              <a:ln>
                <a:noFill/>
              </a:ln>
              <a:solidFill>
                <a:srgbClr val="FFFFFF"/>
              </a:solidFill>
              <a:effectLst/>
              <a:uLnTx/>
              <a:uFillTx/>
              <a:latin typeface="Open Sans"/>
              <a:ea typeface="+mn-ea"/>
              <a:cs typeface="+mn-cs"/>
            </a:endParaRPr>
          </a:p>
        </p:txBody>
      </p:sp>
      <p:sp>
        <p:nvSpPr>
          <p:cNvPr id="9" name="Rectangle 8">
            <a:extLst>
              <a:ext uri="{FF2B5EF4-FFF2-40B4-BE49-F238E27FC236}">
                <a16:creationId xmlns:a16="http://schemas.microsoft.com/office/drawing/2014/main" id="{49AD3E5A-EF0B-4E34-A31E-8566B3EF7290}"/>
              </a:ext>
            </a:extLst>
          </p:cNvPr>
          <p:cNvSpPr/>
          <p:nvPr/>
        </p:nvSpPr>
        <p:spPr>
          <a:xfrm>
            <a:off x="906455" y="3681201"/>
            <a:ext cx="9943092" cy="595804"/>
          </a:xfrm>
          <a:prstGeom prst="rect">
            <a:avLst/>
          </a:prstGeom>
        </p:spPr>
        <p:txBody>
          <a:bodyPr wrap="square">
            <a:spAutoFit/>
          </a:bodyPr>
          <a:lstStyle/>
          <a:p>
            <a:pPr marL="0" marR="0" lvl="0" indent="0" algn="l" defTabSz="623438" rtl="0" eaLnBrk="1" fontAlgn="auto" latinLnBrk="0" hangingPunct="1">
              <a:lnSpc>
                <a:spcPct val="100000"/>
              </a:lnSpc>
              <a:spcBef>
                <a:spcPts val="0"/>
              </a:spcBef>
              <a:spcAft>
                <a:spcPts val="0"/>
              </a:spcAft>
              <a:buClrTx/>
              <a:buSzTx/>
              <a:buFontTx/>
              <a:buNone/>
              <a:tabLst/>
              <a:defRPr/>
            </a:pPr>
            <a:r>
              <a:rPr kumimoji="0" lang="en-US" sz="1636" b="0" i="0" u="none" strike="noStrike" kern="1200" cap="none" spc="-65" normalizeH="0" baseline="0" noProof="0" dirty="0">
                <a:ln>
                  <a:noFill/>
                </a:ln>
                <a:solidFill>
                  <a:srgbClr val="000000"/>
                </a:solidFill>
                <a:effectLst/>
                <a:uLnTx/>
                <a:uFillTx/>
                <a:latin typeface="Chronicle Display Light" pitchFamily="50" charset="0"/>
                <a:ea typeface="+mn-ea"/>
                <a:cs typeface="+mn-cs"/>
              </a:rPr>
              <a:t>Use key levers—such as portfolio reallocation, duplication removal, minimal thresholds, and cost optimization—to identify efficiencies and uncover savings</a:t>
            </a:r>
          </a:p>
        </p:txBody>
      </p:sp>
      <p:grpSp>
        <p:nvGrpSpPr>
          <p:cNvPr id="10" name="Group 9">
            <a:extLst>
              <a:ext uri="{FF2B5EF4-FFF2-40B4-BE49-F238E27FC236}">
                <a16:creationId xmlns:a16="http://schemas.microsoft.com/office/drawing/2014/main" id="{4AEF4CCE-F029-44C7-A695-48A11F5AA873}"/>
              </a:ext>
            </a:extLst>
          </p:cNvPr>
          <p:cNvGrpSpPr/>
          <p:nvPr/>
        </p:nvGrpSpPr>
        <p:grpSpPr>
          <a:xfrm>
            <a:off x="4524052" y="6473565"/>
            <a:ext cx="5301449" cy="186846"/>
            <a:chOff x="2026860" y="4318770"/>
            <a:chExt cx="7775458" cy="274040"/>
          </a:xfrm>
        </p:grpSpPr>
        <p:sp>
          <p:nvSpPr>
            <p:cNvPr id="11" name="TextBox 12">
              <a:extLst>
                <a:ext uri="{FF2B5EF4-FFF2-40B4-BE49-F238E27FC236}">
                  <a16:creationId xmlns:a16="http://schemas.microsoft.com/office/drawing/2014/main" id="{AD2D0D5B-1DE0-40B9-B9AC-889DE328CB9F}"/>
                </a:ext>
              </a:extLst>
            </p:cNvPr>
            <p:cNvSpPr txBox="1">
              <a:spLocks noChangeArrowheads="1"/>
            </p:cNvSpPr>
            <p:nvPr/>
          </p:nvSpPr>
          <p:spPr bwMode="auto">
            <a:xfrm>
              <a:off x="2347660" y="4318770"/>
              <a:ext cx="2024064" cy="274040"/>
            </a:xfrm>
            <a:prstGeom prst="rect">
              <a:avLst/>
            </a:prstGeom>
            <a:noFill/>
            <a:ln w="9525">
              <a:noFill/>
              <a:miter lim="800000"/>
              <a:headEnd/>
              <a:tailEnd/>
            </a:ln>
          </p:spPr>
          <p:txBody>
            <a:bodyPr wrap="square">
              <a:spAutoFit/>
            </a:bodyPr>
            <a:lstStyle/>
            <a:p>
              <a:pPr marL="0" marR="0" lvl="0" indent="0" algn="l" defTabSz="623438" rtl="0" eaLnBrk="0" fontAlgn="auto" latinLnBrk="0" hangingPunct="0">
                <a:lnSpc>
                  <a:spcPct val="100000"/>
                </a:lnSpc>
                <a:spcBef>
                  <a:spcPts val="0"/>
                </a:spcBef>
                <a:spcAft>
                  <a:spcPts val="0"/>
                </a:spcAft>
                <a:buClrTx/>
                <a:buSzTx/>
                <a:buFontTx/>
                <a:buNone/>
                <a:tabLst/>
                <a:defRPr/>
              </a:pPr>
              <a:r>
                <a:rPr kumimoji="0" lang="en-US" sz="614" b="0" i="0" u="none" strike="noStrike" kern="0" cap="none" spc="0" normalizeH="0" baseline="0" noProof="0" dirty="0">
                  <a:ln>
                    <a:noFill/>
                  </a:ln>
                  <a:solidFill>
                    <a:srgbClr val="000000"/>
                  </a:solidFill>
                  <a:effectLst/>
                  <a:uLnTx/>
                  <a:uFillTx/>
                  <a:latin typeface="Open Sans"/>
                  <a:ea typeface="+mn-ea"/>
                  <a:cs typeface="+mn-cs"/>
                </a:rPr>
                <a:t>Portfolio Reallocation</a:t>
              </a:r>
            </a:p>
          </p:txBody>
        </p:sp>
        <p:sp>
          <p:nvSpPr>
            <p:cNvPr id="12" name="Rectangle 11">
              <a:extLst>
                <a:ext uri="{FF2B5EF4-FFF2-40B4-BE49-F238E27FC236}">
                  <a16:creationId xmlns:a16="http://schemas.microsoft.com/office/drawing/2014/main" id="{522C4FFA-DB2D-4C47-BF64-2DA3B93ED628}"/>
                </a:ext>
              </a:extLst>
            </p:cNvPr>
            <p:cNvSpPr/>
            <p:nvPr/>
          </p:nvSpPr>
          <p:spPr bwMode="auto">
            <a:xfrm>
              <a:off x="2026860" y="4338069"/>
              <a:ext cx="307280" cy="186069"/>
            </a:xfrm>
            <a:prstGeom prst="rect">
              <a:avLst/>
            </a:prstGeom>
            <a:solidFill>
              <a:schemeClr val="accent2">
                <a:lumMod val="60000"/>
                <a:lumOff val="40000"/>
              </a:schemeClr>
            </a:solidFill>
            <a:ln w="25400" algn="ctr">
              <a:noFill/>
              <a:round/>
              <a:headEnd/>
              <a:tailEnd/>
            </a:ln>
          </p:spPr>
          <p:txBody>
            <a:bodyPr wrap="none" lIns="62323" tIns="0" rIns="62323" bIns="0" rtlCol="0" anchor="ctr"/>
            <a:lstStyle/>
            <a:p>
              <a:pPr marL="0" marR="0" lvl="0" indent="0" algn="ctr" defTabSz="622356" rtl="0" eaLnBrk="1" fontAlgn="auto" latinLnBrk="0" hangingPunct="1">
                <a:lnSpc>
                  <a:spcPct val="100000"/>
                </a:lnSpc>
                <a:spcBef>
                  <a:spcPts val="0"/>
                </a:spcBef>
                <a:spcAft>
                  <a:spcPts val="0"/>
                </a:spcAft>
                <a:buClrTx/>
                <a:buSzTx/>
                <a:buFontTx/>
                <a:buNone/>
                <a:tabLst/>
                <a:defRPr/>
              </a:pPr>
              <a:endParaRPr kumimoji="0" lang="en-US" sz="1227" b="0" i="0" u="none" strike="noStrike" kern="1200" cap="none" spc="0" normalizeH="0" baseline="0" noProof="0" dirty="0">
                <a:ln>
                  <a:noFill/>
                </a:ln>
                <a:solidFill>
                  <a:srgbClr val="000000"/>
                </a:solidFill>
                <a:effectLst/>
                <a:uLnTx/>
                <a:uFillTx/>
                <a:latin typeface="Calibri" pitchFamily="34" charset="0"/>
                <a:ea typeface="+mn-ea"/>
                <a:cs typeface="+mn-cs"/>
              </a:endParaRPr>
            </a:p>
          </p:txBody>
        </p:sp>
        <p:sp>
          <p:nvSpPr>
            <p:cNvPr id="13" name="TextBox 12">
              <a:extLst>
                <a:ext uri="{FF2B5EF4-FFF2-40B4-BE49-F238E27FC236}">
                  <a16:creationId xmlns:a16="http://schemas.microsoft.com/office/drawing/2014/main" id="{43D7BD90-B408-4544-A974-B7A6FAC0BF69}"/>
                </a:ext>
              </a:extLst>
            </p:cNvPr>
            <p:cNvSpPr txBox="1">
              <a:spLocks noChangeArrowheads="1"/>
            </p:cNvSpPr>
            <p:nvPr/>
          </p:nvSpPr>
          <p:spPr bwMode="auto">
            <a:xfrm>
              <a:off x="4364964" y="4318770"/>
              <a:ext cx="2024064" cy="274040"/>
            </a:xfrm>
            <a:prstGeom prst="rect">
              <a:avLst/>
            </a:prstGeom>
            <a:noFill/>
            <a:ln w="9525">
              <a:noFill/>
              <a:miter lim="800000"/>
              <a:headEnd/>
              <a:tailEnd/>
            </a:ln>
          </p:spPr>
          <p:txBody>
            <a:bodyPr wrap="square">
              <a:spAutoFit/>
            </a:bodyPr>
            <a:lstStyle/>
            <a:p>
              <a:pPr marL="0" marR="0" lvl="0" indent="0" algn="l" defTabSz="623438" rtl="0" eaLnBrk="0" fontAlgn="auto" latinLnBrk="0" hangingPunct="0">
                <a:lnSpc>
                  <a:spcPct val="100000"/>
                </a:lnSpc>
                <a:spcBef>
                  <a:spcPts val="0"/>
                </a:spcBef>
                <a:spcAft>
                  <a:spcPts val="0"/>
                </a:spcAft>
                <a:buClrTx/>
                <a:buSzTx/>
                <a:buFontTx/>
                <a:buNone/>
                <a:tabLst/>
                <a:defRPr/>
              </a:pPr>
              <a:r>
                <a:rPr kumimoji="0" lang="en-US" sz="614" b="0" i="0" u="none" strike="noStrike" kern="0" cap="none" spc="0" normalizeH="0" baseline="0" noProof="0" dirty="0">
                  <a:ln>
                    <a:noFill/>
                  </a:ln>
                  <a:solidFill>
                    <a:srgbClr val="000000"/>
                  </a:solidFill>
                  <a:effectLst/>
                  <a:uLnTx/>
                  <a:uFillTx/>
                  <a:latin typeface="Open Sans"/>
                  <a:ea typeface="+mn-ea"/>
                  <a:cs typeface="+mn-cs"/>
                </a:rPr>
                <a:t>Cost Optimization</a:t>
              </a:r>
            </a:p>
          </p:txBody>
        </p:sp>
        <p:sp>
          <p:nvSpPr>
            <p:cNvPr id="14" name="Rectangle 13">
              <a:extLst>
                <a:ext uri="{FF2B5EF4-FFF2-40B4-BE49-F238E27FC236}">
                  <a16:creationId xmlns:a16="http://schemas.microsoft.com/office/drawing/2014/main" id="{F5AD21BA-2774-4A04-B6AF-6D1CAE1D0B4F}"/>
                </a:ext>
              </a:extLst>
            </p:cNvPr>
            <p:cNvSpPr/>
            <p:nvPr/>
          </p:nvSpPr>
          <p:spPr bwMode="auto">
            <a:xfrm>
              <a:off x="4050925" y="4338069"/>
              <a:ext cx="307280" cy="186069"/>
            </a:xfrm>
            <a:prstGeom prst="rect">
              <a:avLst/>
            </a:prstGeom>
            <a:solidFill>
              <a:schemeClr val="accent1">
                <a:lumMod val="60000"/>
                <a:lumOff val="40000"/>
              </a:schemeClr>
            </a:solidFill>
            <a:ln w="25400" algn="ctr">
              <a:noFill/>
              <a:round/>
              <a:headEnd/>
              <a:tailEnd/>
            </a:ln>
          </p:spPr>
          <p:txBody>
            <a:bodyPr wrap="none" lIns="62323" tIns="0" rIns="62323" bIns="0" rtlCol="0" anchor="ctr"/>
            <a:lstStyle/>
            <a:p>
              <a:pPr marL="0" marR="0" lvl="0" indent="0" algn="ctr" defTabSz="622356" rtl="0" eaLnBrk="1" fontAlgn="auto" latinLnBrk="0" hangingPunct="1">
                <a:lnSpc>
                  <a:spcPct val="100000"/>
                </a:lnSpc>
                <a:spcBef>
                  <a:spcPts val="0"/>
                </a:spcBef>
                <a:spcAft>
                  <a:spcPts val="0"/>
                </a:spcAft>
                <a:buClrTx/>
                <a:buSzTx/>
                <a:buFontTx/>
                <a:buNone/>
                <a:tabLst/>
                <a:defRPr/>
              </a:pPr>
              <a:endParaRPr kumimoji="0" lang="en-US" sz="1227" b="0" i="0" u="none" strike="noStrike" kern="1200" cap="none" spc="0" normalizeH="0" baseline="0" noProof="0" dirty="0">
                <a:ln>
                  <a:noFill/>
                </a:ln>
                <a:solidFill>
                  <a:srgbClr val="000000"/>
                </a:solidFill>
                <a:effectLst/>
                <a:uLnTx/>
                <a:uFillTx/>
                <a:latin typeface="Calibri" pitchFamily="34" charset="0"/>
                <a:ea typeface="+mn-ea"/>
                <a:cs typeface="+mn-cs"/>
              </a:endParaRPr>
            </a:p>
          </p:txBody>
        </p:sp>
        <p:sp>
          <p:nvSpPr>
            <p:cNvPr id="15" name="TextBox 12">
              <a:extLst>
                <a:ext uri="{FF2B5EF4-FFF2-40B4-BE49-F238E27FC236}">
                  <a16:creationId xmlns:a16="http://schemas.microsoft.com/office/drawing/2014/main" id="{46F5EAE2-EA10-4C68-B34A-1A9E683D5945}"/>
                </a:ext>
              </a:extLst>
            </p:cNvPr>
            <p:cNvSpPr txBox="1">
              <a:spLocks noChangeArrowheads="1"/>
            </p:cNvSpPr>
            <p:nvPr/>
          </p:nvSpPr>
          <p:spPr bwMode="auto">
            <a:xfrm>
              <a:off x="6395788" y="4318770"/>
              <a:ext cx="1520710" cy="274040"/>
            </a:xfrm>
            <a:prstGeom prst="rect">
              <a:avLst/>
            </a:prstGeom>
            <a:noFill/>
            <a:ln w="9525">
              <a:noFill/>
              <a:miter lim="800000"/>
              <a:headEnd/>
              <a:tailEnd/>
            </a:ln>
          </p:spPr>
          <p:txBody>
            <a:bodyPr wrap="square">
              <a:spAutoFit/>
            </a:bodyPr>
            <a:lstStyle/>
            <a:p>
              <a:pPr marL="0" marR="0" lvl="0" indent="0" algn="l" defTabSz="623438" rtl="0" eaLnBrk="0" fontAlgn="auto" latinLnBrk="0" hangingPunct="0">
                <a:lnSpc>
                  <a:spcPct val="100000"/>
                </a:lnSpc>
                <a:spcBef>
                  <a:spcPts val="0"/>
                </a:spcBef>
                <a:spcAft>
                  <a:spcPts val="0"/>
                </a:spcAft>
                <a:buClrTx/>
                <a:buSzTx/>
                <a:buFontTx/>
                <a:buNone/>
                <a:tabLst/>
                <a:defRPr/>
              </a:pPr>
              <a:r>
                <a:rPr kumimoji="0" lang="en-US" sz="614" b="0" i="0" u="none" strike="noStrike" kern="0" cap="none" spc="0" normalizeH="0" baseline="0" noProof="0" dirty="0">
                  <a:ln>
                    <a:noFill/>
                  </a:ln>
                  <a:solidFill>
                    <a:srgbClr val="000000"/>
                  </a:solidFill>
                  <a:effectLst/>
                  <a:uLnTx/>
                  <a:uFillTx/>
                  <a:latin typeface="Open Sans"/>
                  <a:ea typeface="+mn-ea"/>
                  <a:cs typeface="+mn-cs"/>
                </a:rPr>
                <a:t>Duplicate Elimination</a:t>
              </a:r>
            </a:p>
          </p:txBody>
        </p:sp>
        <p:sp>
          <p:nvSpPr>
            <p:cNvPr id="16" name="Rectangle 15">
              <a:extLst>
                <a:ext uri="{FF2B5EF4-FFF2-40B4-BE49-F238E27FC236}">
                  <a16:creationId xmlns:a16="http://schemas.microsoft.com/office/drawing/2014/main" id="{D7EB066E-21EA-4BCE-88E1-85DBFC67A22C}"/>
                </a:ext>
              </a:extLst>
            </p:cNvPr>
            <p:cNvSpPr/>
            <p:nvPr/>
          </p:nvSpPr>
          <p:spPr bwMode="auto">
            <a:xfrm>
              <a:off x="6074990" y="4338069"/>
              <a:ext cx="307280" cy="186069"/>
            </a:xfrm>
            <a:prstGeom prst="rect">
              <a:avLst/>
            </a:prstGeom>
            <a:solidFill>
              <a:schemeClr val="accent3">
                <a:lumMod val="60000"/>
                <a:lumOff val="40000"/>
              </a:schemeClr>
            </a:solidFill>
            <a:ln w="25400" algn="ctr">
              <a:noFill/>
              <a:round/>
              <a:headEnd/>
              <a:tailEnd/>
            </a:ln>
          </p:spPr>
          <p:txBody>
            <a:bodyPr wrap="none" lIns="62323" tIns="0" rIns="62323" bIns="0" rtlCol="0" anchor="ctr"/>
            <a:lstStyle/>
            <a:p>
              <a:pPr marL="0" marR="0" lvl="0" indent="0" algn="ctr" defTabSz="622356" rtl="0" eaLnBrk="1" fontAlgn="auto" latinLnBrk="0" hangingPunct="1">
                <a:lnSpc>
                  <a:spcPct val="100000"/>
                </a:lnSpc>
                <a:spcBef>
                  <a:spcPts val="0"/>
                </a:spcBef>
                <a:spcAft>
                  <a:spcPts val="0"/>
                </a:spcAft>
                <a:buClrTx/>
                <a:buSzTx/>
                <a:buFontTx/>
                <a:buNone/>
                <a:tabLst/>
                <a:defRPr/>
              </a:pPr>
              <a:endParaRPr kumimoji="0" lang="en-US" sz="1227" b="0" i="0" u="none" strike="noStrike" kern="1200" cap="none" spc="0" normalizeH="0" baseline="0" noProof="0" dirty="0">
                <a:ln>
                  <a:noFill/>
                </a:ln>
                <a:solidFill>
                  <a:srgbClr val="000000"/>
                </a:solidFill>
                <a:effectLst/>
                <a:uLnTx/>
                <a:uFillTx/>
                <a:latin typeface="Calibri" pitchFamily="34" charset="0"/>
                <a:ea typeface="+mn-ea"/>
                <a:cs typeface="+mn-cs"/>
              </a:endParaRPr>
            </a:p>
          </p:txBody>
        </p:sp>
        <p:sp>
          <p:nvSpPr>
            <p:cNvPr id="17" name="TextBox 12">
              <a:extLst>
                <a:ext uri="{FF2B5EF4-FFF2-40B4-BE49-F238E27FC236}">
                  <a16:creationId xmlns:a16="http://schemas.microsoft.com/office/drawing/2014/main" id="{3E00ECC9-6C29-48BA-AF7D-8F5301D9A29A}"/>
                </a:ext>
              </a:extLst>
            </p:cNvPr>
            <p:cNvSpPr txBox="1">
              <a:spLocks noChangeArrowheads="1"/>
            </p:cNvSpPr>
            <p:nvPr/>
          </p:nvSpPr>
          <p:spPr bwMode="auto">
            <a:xfrm>
              <a:off x="8419854" y="4318770"/>
              <a:ext cx="1382464" cy="274040"/>
            </a:xfrm>
            <a:prstGeom prst="rect">
              <a:avLst/>
            </a:prstGeom>
            <a:noFill/>
            <a:ln w="9525">
              <a:noFill/>
              <a:miter lim="800000"/>
              <a:headEnd/>
              <a:tailEnd/>
            </a:ln>
          </p:spPr>
          <p:txBody>
            <a:bodyPr wrap="square">
              <a:spAutoFit/>
            </a:bodyPr>
            <a:lstStyle/>
            <a:p>
              <a:pPr marL="0" marR="0" lvl="0" indent="0" algn="l" defTabSz="623438" rtl="0" eaLnBrk="0" fontAlgn="auto" latinLnBrk="0" hangingPunct="0">
                <a:lnSpc>
                  <a:spcPct val="100000"/>
                </a:lnSpc>
                <a:spcBef>
                  <a:spcPts val="0"/>
                </a:spcBef>
                <a:spcAft>
                  <a:spcPts val="0"/>
                </a:spcAft>
                <a:buClrTx/>
                <a:buSzTx/>
                <a:buFontTx/>
                <a:buNone/>
                <a:tabLst/>
                <a:defRPr/>
              </a:pPr>
              <a:r>
                <a:rPr kumimoji="0" lang="en-US" sz="614" b="0" i="0" u="none" strike="noStrike" kern="0" cap="none" spc="0" normalizeH="0" baseline="0" noProof="0" dirty="0">
                  <a:ln>
                    <a:noFill/>
                  </a:ln>
                  <a:solidFill>
                    <a:srgbClr val="000000"/>
                  </a:solidFill>
                  <a:effectLst/>
                  <a:uLnTx/>
                  <a:uFillTx/>
                  <a:latin typeface="Open Sans"/>
                  <a:ea typeface="+mn-ea"/>
                  <a:cs typeface="+mn-cs"/>
                </a:rPr>
                <a:t>Minimal Thresholds</a:t>
              </a:r>
            </a:p>
          </p:txBody>
        </p:sp>
        <p:sp>
          <p:nvSpPr>
            <p:cNvPr id="18" name="Rectangle 17">
              <a:extLst>
                <a:ext uri="{FF2B5EF4-FFF2-40B4-BE49-F238E27FC236}">
                  <a16:creationId xmlns:a16="http://schemas.microsoft.com/office/drawing/2014/main" id="{96358C87-CFF6-42A9-8439-9DB6D35F2A56}"/>
                </a:ext>
              </a:extLst>
            </p:cNvPr>
            <p:cNvSpPr/>
            <p:nvPr/>
          </p:nvSpPr>
          <p:spPr bwMode="auto">
            <a:xfrm>
              <a:off x="8099055" y="4338069"/>
              <a:ext cx="307280" cy="186069"/>
            </a:xfrm>
            <a:prstGeom prst="rect">
              <a:avLst/>
            </a:prstGeom>
            <a:solidFill>
              <a:schemeClr val="accent5">
                <a:lumMod val="20000"/>
                <a:lumOff val="80000"/>
              </a:schemeClr>
            </a:solidFill>
            <a:ln w="25400" algn="ctr">
              <a:noFill/>
              <a:round/>
              <a:headEnd/>
              <a:tailEnd/>
            </a:ln>
          </p:spPr>
          <p:txBody>
            <a:bodyPr wrap="none" lIns="62323" tIns="0" rIns="62323" bIns="0" rtlCol="0" anchor="ctr"/>
            <a:lstStyle/>
            <a:p>
              <a:pPr marL="0" marR="0" lvl="0" indent="0" algn="ctr" defTabSz="622356" rtl="0" eaLnBrk="1" fontAlgn="auto" latinLnBrk="0" hangingPunct="1">
                <a:lnSpc>
                  <a:spcPct val="100000"/>
                </a:lnSpc>
                <a:spcBef>
                  <a:spcPts val="0"/>
                </a:spcBef>
                <a:spcAft>
                  <a:spcPts val="0"/>
                </a:spcAft>
                <a:buClrTx/>
                <a:buSzTx/>
                <a:buFontTx/>
                <a:buNone/>
                <a:tabLst/>
                <a:defRPr/>
              </a:pPr>
              <a:endParaRPr kumimoji="0" lang="en-US" sz="1227" b="0" i="0" u="none" strike="noStrike" kern="1200" cap="none" spc="0" normalizeH="0" baseline="0" noProof="0" dirty="0">
                <a:ln>
                  <a:noFill/>
                </a:ln>
                <a:solidFill>
                  <a:srgbClr val="000000"/>
                </a:solidFill>
                <a:effectLst/>
                <a:uLnTx/>
                <a:uFillTx/>
                <a:latin typeface="Calibri" pitchFamily="34" charset="0"/>
                <a:ea typeface="+mn-ea"/>
                <a:cs typeface="+mn-cs"/>
              </a:endParaRPr>
            </a:p>
          </p:txBody>
        </p:sp>
      </p:grpSp>
      <p:sp>
        <p:nvSpPr>
          <p:cNvPr id="19" name="TextBox 18">
            <a:extLst>
              <a:ext uri="{FF2B5EF4-FFF2-40B4-BE49-F238E27FC236}">
                <a16:creationId xmlns:a16="http://schemas.microsoft.com/office/drawing/2014/main" id="{904303A7-5EEE-434D-9727-DAA6BCC6F201}"/>
              </a:ext>
            </a:extLst>
          </p:cNvPr>
          <p:cNvSpPr txBox="1"/>
          <p:nvPr/>
        </p:nvSpPr>
        <p:spPr>
          <a:xfrm>
            <a:off x="7035243" y="301117"/>
            <a:ext cx="3762587" cy="218201"/>
          </a:xfrm>
          <a:prstGeom prst="rect">
            <a:avLst/>
          </a:prstGeom>
          <a:solidFill>
            <a:schemeClr val="bg1">
              <a:lumMod val="95000"/>
            </a:schemeClr>
          </a:solidFill>
        </p:spPr>
        <p:txBody>
          <a:bodyPr wrap="square" rtlCol="0">
            <a:spAutoFit/>
          </a:bodyPr>
          <a:lstStyle/>
          <a:p>
            <a:pPr marL="0" marR="0" lvl="0" indent="0" algn="ctr" defTabSz="831230" rtl="0" eaLnBrk="1" fontAlgn="auto" latinLnBrk="0" hangingPunct="1">
              <a:lnSpc>
                <a:spcPct val="100000"/>
              </a:lnSpc>
              <a:spcBef>
                <a:spcPts val="0"/>
              </a:spcBef>
              <a:spcAft>
                <a:spcPts val="0"/>
              </a:spcAft>
              <a:buClrTx/>
              <a:buSzTx/>
              <a:buFontTx/>
              <a:buNone/>
              <a:tabLst/>
              <a:defRPr/>
            </a:pPr>
            <a:r>
              <a:rPr kumimoji="0" lang="en-US" sz="818" b="1" i="0" u="none" strike="noStrike" kern="1200" cap="none" spc="0" normalizeH="0" baseline="0" noProof="0" dirty="0">
                <a:ln>
                  <a:noFill/>
                </a:ln>
                <a:solidFill>
                  <a:srgbClr val="000000"/>
                </a:solidFill>
                <a:effectLst/>
                <a:uLnTx/>
                <a:uFillTx/>
                <a:latin typeface="Open Sans"/>
                <a:ea typeface="+mn-ea"/>
                <a:cs typeface="+mn-cs"/>
              </a:rPr>
              <a:t>MARKETING SPEND BASELINE OF A SAMPLE CONSUMER COMPANY</a:t>
            </a:r>
          </a:p>
        </p:txBody>
      </p:sp>
      <p:grpSp>
        <p:nvGrpSpPr>
          <p:cNvPr id="20" name="Group 19">
            <a:extLst>
              <a:ext uri="{FF2B5EF4-FFF2-40B4-BE49-F238E27FC236}">
                <a16:creationId xmlns:a16="http://schemas.microsoft.com/office/drawing/2014/main" id="{8F6E943E-52CA-41E1-847E-0CAFD7FF1053}"/>
              </a:ext>
            </a:extLst>
          </p:cNvPr>
          <p:cNvGrpSpPr/>
          <p:nvPr/>
        </p:nvGrpSpPr>
        <p:grpSpPr>
          <a:xfrm>
            <a:off x="1372952" y="4318308"/>
            <a:ext cx="8857600" cy="1926298"/>
            <a:chOff x="809417" y="6081662"/>
            <a:chExt cx="12991146" cy="2825237"/>
          </a:xfrm>
        </p:grpSpPr>
        <p:grpSp>
          <p:nvGrpSpPr>
            <p:cNvPr id="21" name="Group 20">
              <a:extLst>
                <a:ext uri="{FF2B5EF4-FFF2-40B4-BE49-F238E27FC236}">
                  <a16:creationId xmlns:a16="http://schemas.microsoft.com/office/drawing/2014/main" id="{F4D04139-FC98-4C3B-83A2-29363FA7EC20}"/>
                </a:ext>
              </a:extLst>
            </p:cNvPr>
            <p:cNvGrpSpPr/>
            <p:nvPr/>
          </p:nvGrpSpPr>
          <p:grpSpPr>
            <a:xfrm>
              <a:off x="842894" y="6081662"/>
              <a:ext cx="7941363" cy="320029"/>
              <a:chOff x="86447" y="1473317"/>
              <a:chExt cx="6987309" cy="216189"/>
            </a:xfrm>
          </p:grpSpPr>
          <p:cxnSp>
            <p:nvCxnSpPr>
              <p:cNvPr id="40" name="Straight Connector 39">
                <a:extLst>
                  <a:ext uri="{FF2B5EF4-FFF2-40B4-BE49-F238E27FC236}">
                    <a16:creationId xmlns:a16="http://schemas.microsoft.com/office/drawing/2014/main" id="{81B66CA0-E61F-4FFF-A203-7216B42539E0}"/>
                  </a:ext>
                </a:extLst>
              </p:cNvPr>
              <p:cNvCxnSpPr/>
              <p:nvPr/>
            </p:nvCxnSpPr>
            <p:spPr>
              <a:xfrm>
                <a:off x="86447" y="1573786"/>
                <a:ext cx="6987309"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0056DCBA-971B-4F2E-B237-CB5E14C52F82}"/>
                  </a:ext>
                </a:extLst>
              </p:cNvPr>
              <p:cNvSpPr txBox="1"/>
              <p:nvPr/>
            </p:nvSpPr>
            <p:spPr>
              <a:xfrm>
                <a:off x="2403022" y="1473317"/>
                <a:ext cx="2354157" cy="216189"/>
              </a:xfrm>
              <a:prstGeom prst="rect">
                <a:avLst/>
              </a:prstGeom>
              <a:solidFill>
                <a:schemeClr val="bg1"/>
              </a:solidFill>
            </p:spPr>
            <p:txBody>
              <a:bodyPr wrap="square" rtlCol="0" anchor="ctr">
                <a:spAutoFit/>
              </a:bodyPr>
              <a:lstStyle/>
              <a:p>
                <a:pPr marL="0" marR="0" lvl="0" indent="0" algn="ctr" defTabSz="623438" rtl="0" eaLnBrk="1" fontAlgn="auto" latinLnBrk="0" hangingPunct="1">
                  <a:lnSpc>
                    <a:spcPct val="100000"/>
                  </a:lnSpc>
                  <a:spcBef>
                    <a:spcPts val="0"/>
                  </a:spcBef>
                  <a:spcAft>
                    <a:spcPts val="0"/>
                  </a:spcAft>
                  <a:buClrTx/>
                  <a:buSzTx/>
                  <a:buFontTx/>
                  <a:buNone/>
                  <a:tabLst/>
                  <a:defRPr/>
                </a:pPr>
                <a:r>
                  <a:rPr kumimoji="0" lang="en-US" sz="818" b="1" i="0" u="none" strike="noStrike" kern="1200" cap="none" spc="0" normalizeH="0" baseline="0" noProof="0" dirty="0">
                    <a:ln>
                      <a:noFill/>
                    </a:ln>
                    <a:solidFill>
                      <a:srgbClr val="000000"/>
                    </a:solidFill>
                    <a:effectLst/>
                    <a:uLnTx/>
                    <a:uFillTx/>
                    <a:latin typeface="Open Sans"/>
                    <a:ea typeface="+mn-ea"/>
                    <a:cs typeface="+mn-cs"/>
                  </a:rPr>
                  <a:t>MARKETING EFFICIENCY LEVERS</a:t>
                </a:r>
              </a:p>
            </p:txBody>
          </p:sp>
        </p:grpSp>
        <p:sp>
          <p:nvSpPr>
            <p:cNvPr id="22" name="Rectangle 21">
              <a:extLst>
                <a:ext uri="{FF2B5EF4-FFF2-40B4-BE49-F238E27FC236}">
                  <a16:creationId xmlns:a16="http://schemas.microsoft.com/office/drawing/2014/main" id="{32F927BA-C3C8-4C73-BBA6-1667F108DEAB}"/>
                </a:ext>
              </a:extLst>
            </p:cNvPr>
            <p:cNvSpPr/>
            <p:nvPr/>
          </p:nvSpPr>
          <p:spPr>
            <a:xfrm>
              <a:off x="9168800" y="6228979"/>
              <a:ext cx="4631763" cy="2636030"/>
            </a:xfrm>
            <a:prstGeom prst="rect">
              <a:avLst/>
            </a:prstGeom>
            <a:solidFill>
              <a:schemeClr val="bg1"/>
            </a:solidFill>
            <a:ln w="12700">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23438" rtl="0" eaLnBrk="1" fontAlgn="auto" latinLnBrk="0" hangingPunct="1">
                <a:lnSpc>
                  <a:spcPct val="100000"/>
                </a:lnSpc>
                <a:spcBef>
                  <a:spcPts val="0"/>
                </a:spcBef>
                <a:spcAft>
                  <a:spcPts val="0"/>
                </a:spcAft>
                <a:buClrTx/>
                <a:buSzTx/>
                <a:buFontTx/>
                <a:buNone/>
                <a:tabLst/>
                <a:defRPr/>
              </a:pPr>
              <a:endParaRPr kumimoji="0" lang="en-US" sz="1227" b="0" i="0" u="none" strike="noStrike" kern="1200" cap="none" spc="0" normalizeH="0" baseline="0" noProof="0" dirty="0">
                <a:ln>
                  <a:noFill/>
                </a:ln>
                <a:solidFill>
                  <a:srgbClr val="FFFFFF"/>
                </a:solidFill>
                <a:effectLst/>
                <a:uLnTx/>
                <a:uFillTx/>
                <a:latin typeface="Open Sans"/>
                <a:ea typeface="+mn-ea"/>
                <a:cs typeface="+mn-cs"/>
              </a:endParaRPr>
            </a:p>
          </p:txBody>
        </p:sp>
        <p:sp>
          <p:nvSpPr>
            <p:cNvPr id="23" name="TextBox 22">
              <a:extLst>
                <a:ext uri="{FF2B5EF4-FFF2-40B4-BE49-F238E27FC236}">
                  <a16:creationId xmlns:a16="http://schemas.microsoft.com/office/drawing/2014/main" id="{48E82C05-12A3-45A1-A21B-E8B208B8CC0E}"/>
                </a:ext>
              </a:extLst>
            </p:cNvPr>
            <p:cNvSpPr txBox="1"/>
            <p:nvPr/>
          </p:nvSpPr>
          <p:spPr>
            <a:xfrm>
              <a:off x="10157797" y="6091891"/>
              <a:ext cx="2653767" cy="320028"/>
            </a:xfrm>
            <a:prstGeom prst="rect">
              <a:avLst/>
            </a:prstGeom>
            <a:solidFill>
              <a:schemeClr val="bg1"/>
            </a:solidFill>
          </p:spPr>
          <p:txBody>
            <a:bodyPr wrap="square" rtlCol="0">
              <a:spAutoFit/>
            </a:bodyPr>
            <a:lstStyle/>
            <a:p>
              <a:pPr marL="0" marR="0" lvl="0" indent="0" algn="ctr" defTabSz="623438" rtl="0" eaLnBrk="1" fontAlgn="auto" latinLnBrk="0" hangingPunct="1">
                <a:lnSpc>
                  <a:spcPct val="100000"/>
                </a:lnSpc>
                <a:spcBef>
                  <a:spcPts val="0"/>
                </a:spcBef>
                <a:spcAft>
                  <a:spcPts val="0"/>
                </a:spcAft>
                <a:buClrTx/>
                <a:buSzTx/>
                <a:buFontTx/>
                <a:buNone/>
                <a:tabLst/>
                <a:defRPr/>
              </a:pPr>
              <a:r>
                <a:rPr kumimoji="0" lang="en-US" sz="818" b="1" i="0" u="none" strike="noStrike" kern="1200" cap="none" spc="0" normalizeH="0" baseline="0" noProof="0" dirty="0">
                  <a:ln>
                    <a:noFill/>
                  </a:ln>
                  <a:solidFill>
                    <a:srgbClr val="000000"/>
                  </a:solidFill>
                  <a:effectLst/>
                  <a:uLnTx/>
                  <a:uFillTx/>
                  <a:latin typeface="Open Sans"/>
                  <a:ea typeface="+mn-ea"/>
                  <a:cs typeface="+mn-cs"/>
                </a:rPr>
                <a:t>TYPICAL OPPORTUNITY AREAS</a:t>
              </a:r>
            </a:p>
          </p:txBody>
        </p:sp>
        <p:grpSp>
          <p:nvGrpSpPr>
            <p:cNvPr id="24" name="Group 23">
              <a:extLst>
                <a:ext uri="{FF2B5EF4-FFF2-40B4-BE49-F238E27FC236}">
                  <a16:creationId xmlns:a16="http://schemas.microsoft.com/office/drawing/2014/main" id="{448DF230-4DD8-467B-B903-5D273CE674A9}"/>
                </a:ext>
              </a:extLst>
            </p:cNvPr>
            <p:cNvGrpSpPr/>
            <p:nvPr/>
          </p:nvGrpSpPr>
          <p:grpSpPr>
            <a:xfrm>
              <a:off x="9315178" y="6464574"/>
              <a:ext cx="4357478" cy="2286692"/>
              <a:chOff x="7590726" y="1728219"/>
              <a:chExt cx="4357478" cy="2286692"/>
            </a:xfrm>
          </p:grpSpPr>
          <p:sp>
            <p:nvSpPr>
              <p:cNvPr id="31" name="Rectangle: Diagonal Corners Rounded 188">
                <a:extLst>
                  <a:ext uri="{FF2B5EF4-FFF2-40B4-BE49-F238E27FC236}">
                    <a16:creationId xmlns:a16="http://schemas.microsoft.com/office/drawing/2014/main" id="{D7167093-960D-4FD5-835C-3E8D9B02FB9E}"/>
                  </a:ext>
                </a:extLst>
              </p:cNvPr>
              <p:cNvSpPr/>
              <p:nvPr/>
            </p:nvSpPr>
            <p:spPr>
              <a:xfrm>
                <a:off x="7590726" y="1733946"/>
                <a:ext cx="1188426" cy="641691"/>
              </a:xfrm>
              <a:prstGeom prst="round2DiagRect">
                <a:avLst/>
              </a:prstGeom>
              <a:solidFill>
                <a:srgbClr val="AEF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23438" rtl="0" eaLnBrk="1" fontAlgn="auto" latinLnBrk="0" hangingPunct="1">
                  <a:lnSpc>
                    <a:spcPct val="100000"/>
                  </a:lnSpc>
                  <a:spcBef>
                    <a:spcPts val="0"/>
                  </a:spcBef>
                  <a:spcAft>
                    <a:spcPts val="0"/>
                  </a:spcAft>
                  <a:buClrTx/>
                  <a:buSzTx/>
                  <a:buFontTx/>
                  <a:buNone/>
                  <a:tabLst/>
                  <a:defRPr/>
                </a:pPr>
                <a:r>
                  <a:rPr kumimoji="0" lang="en-US" sz="716" b="1" i="0" u="none" strike="noStrike" kern="1200" cap="none" spc="0" normalizeH="0" baseline="0" noProof="0" dirty="0">
                    <a:ln>
                      <a:noFill/>
                    </a:ln>
                    <a:solidFill>
                      <a:srgbClr val="000000"/>
                    </a:solidFill>
                    <a:effectLst/>
                    <a:uLnTx/>
                    <a:uFillTx/>
                    <a:latin typeface="Open Sans"/>
                    <a:ea typeface="+mn-ea"/>
                    <a:cs typeface="+mn-cs"/>
                  </a:rPr>
                  <a:t>CAMPAIGN THRESHOLD</a:t>
                </a:r>
              </a:p>
            </p:txBody>
          </p:sp>
          <p:sp>
            <p:nvSpPr>
              <p:cNvPr id="32" name="Rectangle: Diagonal Corners Rounded 189">
                <a:extLst>
                  <a:ext uri="{FF2B5EF4-FFF2-40B4-BE49-F238E27FC236}">
                    <a16:creationId xmlns:a16="http://schemas.microsoft.com/office/drawing/2014/main" id="{BD6F4C27-A196-4404-8007-50AC09D66B62}"/>
                  </a:ext>
                </a:extLst>
              </p:cNvPr>
              <p:cNvSpPr/>
              <p:nvPr/>
            </p:nvSpPr>
            <p:spPr>
              <a:xfrm>
                <a:off x="7590726" y="2526514"/>
                <a:ext cx="1188426" cy="641691"/>
              </a:xfrm>
              <a:prstGeom prst="round2Diag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23438" rtl="0" eaLnBrk="1" fontAlgn="auto" latinLnBrk="0" hangingPunct="1">
                  <a:lnSpc>
                    <a:spcPct val="100000"/>
                  </a:lnSpc>
                  <a:spcBef>
                    <a:spcPts val="0"/>
                  </a:spcBef>
                  <a:spcAft>
                    <a:spcPts val="0"/>
                  </a:spcAft>
                  <a:buClrTx/>
                  <a:buSzTx/>
                  <a:buFontTx/>
                  <a:buNone/>
                  <a:tabLst/>
                  <a:defRPr/>
                </a:pPr>
                <a:r>
                  <a:rPr kumimoji="0" lang="en-US" sz="716" b="1" i="0" u="none" strike="noStrike" kern="1200" cap="none" spc="0" normalizeH="0" baseline="0" noProof="0" dirty="0">
                    <a:ln>
                      <a:noFill/>
                    </a:ln>
                    <a:solidFill>
                      <a:srgbClr val="000000"/>
                    </a:solidFill>
                    <a:effectLst/>
                    <a:uLnTx/>
                    <a:uFillTx/>
                    <a:latin typeface="Open Sans"/>
                    <a:ea typeface="+mn-ea"/>
                    <a:cs typeface="+mn-cs"/>
                  </a:rPr>
                  <a:t>DIGITAL ASSET MGMT.</a:t>
                </a:r>
              </a:p>
            </p:txBody>
          </p:sp>
          <p:sp>
            <p:nvSpPr>
              <p:cNvPr id="33" name="Rectangle: Diagonal Corners Rounded 190">
                <a:extLst>
                  <a:ext uri="{FF2B5EF4-FFF2-40B4-BE49-F238E27FC236}">
                    <a16:creationId xmlns:a16="http://schemas.microsoft.com/office/drawing/2014/main" id="{CF535DFB-2DDD-487A-8B41-3AEA6A762E6D}"/>
                  </a:ext>
                </a:extLst>
              </p:cNvPr>
              <p:cNvSpPr/>
              <p:nvPr/>
            </p:nvSpPr>
            <p:spPr>
              <a:xfrm>
                <a:off x="7590726" y="3319082"/>
                <a:ext cx="1188426" cy="641691"/>
              </a:xfrm>
              <a:prstGeom prst="round2DiagRect">
                <a:avLst/>
              </a:prstGeom>
              <a:solidFill>
                <a:srgbClr val="B7FF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23438" rtl="0" eaLnBrk="1" fontAlgn="auto" latinLnBrk="0" hangingPunct="1">
                  <a:lnSpc>
                    <a:spcPct val="100000"/>
                  </a:lnSpc>
                  <a:spcBef>
                    <a:spcPts val="0"/>
                  </a:spcBef>
                  <a:spcAft>
                    <a:spcPts val="0"/>
                  </a:spcAft>
                  <a:buClrTx/>
                  <a:buSzTx/>
                  <a:buFontTx/>
                  <a:buNone/>
                  <a:tabLst/>
                  <a:defRPr/>
                </a:pPr>
                <a:r>
                  <a:rPr kumimoji="0" lang="en-US" sz="716" b="1" i="0" u="none" strike="noStrike" kern="1200" cap="none" spc="0" normalizeH="0" baseline="0" noProof="0" dirty="0">
                    <a:ln>
                      <a:noFill/>
                    </a:ln>
                    <a:solidFill>
                      <a:srgbClr val="000000"/>
                    </a:solidFill>
                    <a:effectLst/>
                    <a:uLnTx/>
                    <a:uFillTx/>
                    <a:latin typeface="Open Sans"/>
                    <a:ea typeface="+mn-ea"/>
                    <a:cs typeface="+mn-cs"/>
                  </a:rPr>
                  <a:t>CONTRACT RECOVERIES</a:t>
                </a:r>
              </a:p>
            </p:txBody>
          </p:sp>
          <p:sp>
            <p:nvSpPr>
              <p:cNvPr id="34" name="TextBox 12">
                <a:extLst>
                  <a:ext uri="{FF2B5EF4-FFF2-40B4-BE49-F238E27FC236}">
                    <a16:creationId xmlns:a16="http://schemas.microsoft.com/office/drawing/2014/main" id="{7797D053-AC67-4E0F-BFD7-7CF12B7EBF62}"/>
                  </a:ext>
                </a:extLst>
              </p:cNvPr>
              <p:cNvSpPr txBox="1">
                <a:spLocks noChangeArrowheads="1"/>
              </p:cNvSpPr>
              <p:nvPr/>
            </p:nvSpPr>
            <p:spPr bwMode="auto">
              <a:xfrm>
                <a:off x="8850950" y="1728219"/>
                <a:ext cx="2247313" cy="866134"/>
              </a:xfrm>
              <a:prstGeom prst="rect">
                <a:avLst/>
              </a:prstGeom>
              <a:noFill/>
              <a:ln w="9525">
                <a:noFill/>
                <a:miter lim="800000"/>
                <a:headEnd/>
                <a:tailEnd/>
              </a:ln>
            </p:spPr>
            <p:txBody>
              <a:bodyPr wrap="square">
                <a:spAutoFit/>
              </a:bodyPr>
              <a:lstStyle/>
              <a:p>
                <a:pPr marL="116895" marR="0" lvl="0" indent="-116895" algn="l" defTabSz="623438" rtl="0" eaLnBrk="0" fontAlgn="auto" latinLnBrk="0" hangingPunct="0">
                  <a:lnSpc>
                    <a:spcPct val="100000"/>
                  </a:lnSpc>
                  <a:spcBef>
                    <a:spcPts val="0"/>
                  </a:spcBef>
                  <a:spcAft>
                    <a:spcPts val="205"/>
                  </a:spcAft>
                  <a:buClrTx/>
                  <a:buSzTx/>
                  <a:buFont typeface="Arial" panose="020B0604020202020204" pitchFamily="34" charset="0"/>
                  <a:buChar char="•"/>
                  <a:tabLst/>
                  <a:defRPr/>
                </a:pPr>
                <a:r>
                  <a:rPr kumimoji="0" lang="en-US" sz="614" b="0" i="0" u="none" strike="noStrike" kern="0" cap="none" spc="0" normalizeH="0" baseline="0" noProof="0" dirty="0">
                    <a:ln>
                      <a:noFill/>
                    </a:ln>
                    <a:solidFill>
                      <a:srgbClr val="000000"/>
                    </a:solidFill>
                    <a:effectLst/>
                    <a:uLnTx/>
                    <a:uFillTx/>
                    <a:latin typeface="Open Sans"/>
                    <a:ea typeface="+mn-ea"/>
                    <a:cs typeface="+mn-cs"/>
                  </a:rPr>
                  <a:t>Eliminate fragmented marketing spend on non-material campaigns</a:t>
                </a:r>
              </a:p>
              <a:p>
                <a:pPr marL="116895" marR="0" lvl="0" indent="-116895" algn="l" defTabSz="623438" rtl="0" eaLnBrk="0" fontAlgn="auto" latinLnBrk="0" hangingPunct="0">
                  <a:lnSpc>
                    <a:spcPct val="100000"/>
                  </a:lnSpc>
                  <a:spcBef>
                    <a:spcPts val="0"/>
                  </a:spcBef>
                  <a:spcAft>
                    <a:spcPts val="205"/>
                  </a:spcAft>
                  <a:buClrTx/>
                  <a:buSzTx/>
                  <a:buFont typeface="Arial" panose="020B0604020202020204" pitchFamily="34" charset="0"/>
                  <a:buChar char="•"/>
                  <a:tabLst/>
                  <a:defRPr/>
                </a:pPr>
                <a:r>
                  <a:rPr kumimoji="0" lang="en-US" sz="614" b="0" i="0" u="none" strike="noStrike" kern="0" cap="none" spc="0" normalizeH="0" baseline="0" noProof="0" dirty="0">
                    <a:ln>
                      <a:noFill/>
                    </a:ln>
                    <a:solidFill>
                      <a:srgbClr val="000000"/>
                    </a:solidFill>
                    <a:effectLst/>
                    <a:uLnTx/>
                    <a:uFillTx/>
                    <a:latin typeface="Open Sans"/>
                    <a:ea typeface="+mn-ea"/>
                    <a:cs typeface="+mn-cs"/>
                  </a:rPr>
                  <a:t>Eliminate pet projects, or projects not on strategic plan</a:t>
                </a:r>
              </a:p>
            </p:txBody>
          </p:sp>
          <p:sp>
            <p:nvSpPr>
              <p:cNvPr id="35" name="TextBox 12">
                <a:extLst>
                  <a:ext uri="{FF2B5EF4-FFF2-40B4-BE49-F238E27FC236}">
                    <a16:creationId xmlns:a16="http://schemas.microsoft.com/office/drawing/2014/main" id="{082452C5-D6D9-4566-97ED-7117E57EF049}"/>
                  </a:ext>
                </a:extLst>
              </p:cNvPr>
              <p:cNvSpPr txBox="1">
                <a:spLocks noChangeArrowheads="1"/>
              </p:cNvSpPr>
              <p:nvPr/>
            </p:nvSpPr>
            <p:spPr bwMode="auto">
              <a:xfrm>
                <a:off x="8850950" y="2502707"/>
                <a:ext cx="2416945" cy="866134"/>
              </a:xfrm>
              <a:prstGeom prst="rect">
                <a:avLst/>
              </a:prstGeom>
              <a:noFill/>
              <a:ln w="9525">
                <a:noFill/>
                <a:miter lim="800000"/>
                <a:headEnd/>
                <a:tailEnd/>
              </a:ln>
            </p:spPr>
            <p:txBody>
              <a:bodyPr wrap="square">
                <a:spAutoFit/>
              </a:bodyPr>
              <a:lstStyle/>
              <a:p>
                <a:pPr marL="116895" marR="0" lvl="0" indent="-116895" algn="l" defTabSz="623438" rtl="0" eaLnBrk="0" fontAlgn="auto" latinLnBrk="0" hangingPunct="0">
                  <a:lnSpc>
                    <a:spcPct val="100000"/>
                  </a:lnSpc>
                  <a:spcBef>
                    <a:spcPts val="0"/>
                  </a:spcBef>
                  <a:spcAft>
                    <a:spcPts val="205"/>
                  </a:spcAft>
                  <a:buClrTx/>
                  <a:buSzTx/>
                  <a:buFont typeface="Arial" panose="020B0604020202020204" pitchFamily="34" charset="0"/>
                  <a:buChar char="•"/>
                  <a:tabLst/>
                  <a:defRPr/>
                </a:pPr>
                <a:r>
                  <a:rPr kumimoji="0" lang="en-US" sz="614" b="0" i="0" u="none" strike="noStrike" kern="0" cap="none" spc="0" normalizeH="0" baseline="0" noProof="0" dirty="0">
                    <a:ln>
                      <a:noFill/>
                    </a:ln>
                    <a:solidFill>
                      <a:srgbClr val="000000"/>
                    </a:solidFill>
                    <a:effectLst/>
                    <a:uLnTx/>
                    <a:uFillTx/>
                    <a:latin typeface="Open Sans"/>
                    <a:ea typeface="+mn-ea"/>
                    <a:cs typeface="+mn-cs"/>
                  </a:rPr>
                  <a:t>Optimize workflows and asset reuse across campaigns to lower costs</a:t>
                </a:r>
              </a:p>
              <a:p>
                <a:pPr marL="116895" marR="0" lvl="0" indent="-116895" algn="l" defTabSz="623438" rtl="0" eaLnBrk="0" fontAlgn="auto" latinLnBrk="0" hangingPunct="0">
                  <a:lnSpc>
                    <a:spcPct val="100000"/>
                  </a:lnSpc>
                  <a:spcBef>
                    <a:spcPts val="0"/>
                  </a:spcBef>
                  <a:spcAft>
                    <a:spcPts val="205"/>
                  </a:spcAft>
                  <a:buClrTx/>
                  <a:buSzTx/>
                  <a:buFont typeface="Arial" panose="020B0604020202020204" pitchFamily="34" charset="0"/>
                  <a:buChar char="•"/>
                  <a:tabLst/>
                  <a:defRPr/>
                </a:pPr>
                <a:r>
                  <a:rPr kumimoji="0" lang="en-US" sz="614" b="0" i="0" u="none" strike="noStrike" kern="0" cap="none" spc="0" normalizeH="0" baseline="0" noProof="0" dirty="0">
                    <a:ln>
                      <a:noFill/>
                    </a:ln>
                    <a:solidFill>
                      <a:srgbClr val="000000"/>
                    </a:solidFill>
                    <a:effectLst/>
                    <a:uLnTx/>
                    <a:uFillTx/>
                    <a:latin typeface="Open Sans"/>
                    <a:ea typeface="+mn-ea"/>
                    <a:cs typeface="+mn-cs"/>
                  </a:rPr>
                  <a:t>Prevent recreation of assets that already exist with centralized platform</a:t>
                </a:r>
              </a:p>
            </p:txBody>
          </p:sp>
          <p:sp>
            <p:nvSpPr>
              <p:cNvPr id="36" name="TextBox 12">
                <a:extLst>
                  <a:ext uri="{FF2B5EF4-FFF2-40B4-BE49-F238E27FC236}">
                    <a16:creationId xmlns:a16="http://schemas.microsoft.com/office/drawing/2014/main" id="{98696B81-C75D-4769-8687-E1B33E76D795}"/>
                  </a:ext>
                </a:extLst>
              </p:cNvPr>
              <p:cNvSpPr txBox="1">
                <a:spLocks noChangeArrowheads="1"/>
              </p:cNvSpPr>
              <p:nvPr/>
            </p:nvSpPr>
            <p:spPr bwMode="auto">
              <a:xfrm>
                <a:off x="8850950" y="3287396"/>
                <a:ext cx="2364956" cy="727515"/>
              </a:xfrm>
              <a:prstGeom prst="rect">
                <a:avLst/>
              </a:prstGeom>
              <a:noFill/>
              <a:ln w="9525">
                <a:noFill/>
                <a:miter lim="800000"/>
                <a:headEnd/>
                <a:tailEnd/>
              </a:ln>
            </p:spPr>
            <p:txBody>
              <a:bodyPr wrap="square">
                <a:spAutoFit/>
              </a:bodyPr>
              <a:lstStyle/>
              <a:p>
                <a:pPr marL="116895" marR="0" lvl="0" indent="-116895" algn="l" defTabSz="623438" rtl="0" eaLnBrk="0" fontAlgn="auto" latinLnBrk="0" hangingPunct="0">
                  <a:lnSpc>
                    <a:spcPct val="100000"/>
                  </a:lnSpc>
                  <a:spcBef>
                    <a:spcPts val="0"/>
                  </a:spcBef>
                  <a:spcAft>
                    <a:spcPts val="205"/>
                  </a:spcAft>
                  <a:buClrTx/>
                  <a:buSzTx/>
                  <a:buFont typeface="Arial" panose="020B0604020202020204" pitchFamily="34" charset="0"/>
                  <a:buChar char="•"/>
                  <a:tabLst/>
                  <a:defRPr/>
                </a:pPr>
                <a:r>
                  <a:rPr kumimoji="0" lang="en-US" sz="614" b="0" i="0" u="none" strike="noStrike" kern="0" cap="none" spc="0" normalizeH="0" baseline="0" noProof="0" dirty="0">
                    <a:ln>
                      <a:noFill/>
                    </a:ln>
                    <a:solidFill>
                      <a:srgbClr val="000000"/>
                    </a:solidFill>
                    <a:effectLst/>
                    <a:uLnTx/>
                    <a:uFillTx/>
                    <a:latin typeface="Open Sans"/>
                    <a:ea typeface="+mn-ea"/>
                    <a:cs typeface="+mn-cs"/>
                  </a:rPr>
                  <a:t>Review invoicing to validate delivery of owed services / goods</a:t>
                </a:r>
              </a:p>
              <a:p>
                <a:pPr marL="116895" marR="0" lvl="0" indent="-116895" algn="l" defTabSz="623438" rtl="0" eaLnBrk="0" fontAlgn="auto" latinLnBrk="0" hangingPunct="0">
                  <a:lnSpc>
                    <a:spcPct val="100000"/>
                  </a:lnSpc>
                  <a:spcBef>
                    <a:spcPts val="0"/>
                  </a:spcBef>
                  <a:spcAft>
                    <a:spcPts val="205"/>
                  </a:spcAft>
                  <a:buClrTx/>
                  <a:buSzTx/>
                  <a:buFont typeface="Arial" panose="020B0604020202020204" pitchFamily="34" charset="0"/>
                  <a:buChar char="•"/>
                  <a:tabLst/>
                  <a:defRPr/>
                </a:pPr>
                <a:r>
                  <a:rPr kumimoji="0" lang="en-US" sz="614" b="0" i="0" u="none" strike="noStrike" kern="0" cap="none" spc="0" normalizeH="0" baseline="0" noProof="0" dirty="0">
                    <a:ln>
                      <a:noFill/>
                    </a:ln>
                    <a:solidFill>
                      <a:srgbClr val="000000"/>
                    </a:solidFill>
                    <a:effectLst/>
                    <a:uLnTx/>
                    <a:uFillTx/>
                    <a:latin typeface="Open Sans"/>
                    <a:ea typeface="+mn-ea"/>
                    <a:cs typeface="+mn-cs"/>
                  </a:rPr>
                  <a:t>Recover duplicate / non-contracted billing, out-of-policy expenses</a:t>
                </a:r>
              </a:p>
            </p:txBody>
          </p:sp>
          <p:sp>
            <p:nvSpPr>
              <p:cNvPr id="37" name="Down Arrow 123">
                <a:extLst>
                  <a:ext uri="{FF2B5EF4-FFF2-40B4-BE49-F238E27FC236}">
                    <a16:creationId xmlns:a16="http://schemas.microsoft.com/office/drawing/2014/main" id="{4320874D-0516-42AE-A585-271185B9AA75}"/>
                  </a:ext>
                </a:extLst>
              </p:cNvPr>
              <p:cNvSpPr/>
              <p:nvPr/>
            </p:nvSpPr>
            <p:spPr bwMode="auto">
              <a:xfrm>
                <a:off x="11206842" y="1747445"/>
                <a:ext cx="741362" cy="619481"/>
              </a:xfrm>
              <a:prstGeom prst="downArrow">
                <a:avLst>
                  <a:gd name="adj1" fmla="val 66868"/>
                  <a:gd name="adj2" fmla="val 45161"/>
                </a:avLst>
              </a:prstGeom>
              <a:solidFill>
                <a:schemeClr val="bg1">
                  <a:lumMod val="75000"/>
                </a:schemeClr>
              </a:solidFill>
              <a:ln w="12700" cap="flat" cmpd="sng" algn="ctr">
                <a:noFill/>
                <a:prstDash val="solid"/>
                <a:round/>
                <a:headEnd type="none" w="med" len="med"/>
                <a:tailEnd type="none" w="med" len="med"/>
              </a:ln>
              <a:effectLst/>
            </p:spPr>
            <p:txBody>
              <a:bodyPr lIns="49876" tIns="49876" rIns="49876" bIns="49876" anchor="ctr" anchorCtr="1"/>
              <a:lstStyle/>
              <a:p>
                <a:pPr marL="0" marR="0" lvl="0" indent="0" algn="ctr" defTabSz="623438" rtl="0" eaLnBrk="0" fontAlgn="auto" latinLnBrk="0" hangingPunct="0">
                  <a:lnSpc>
                    <a:spcPct val="106000"/>
                  </a:lnSpc>
                  <a:spcBef>
                    <a:spcPts val="0"/>
                  </a:spcBef>
                  <a:spcAft>
                    <a:spcPts val="0"/>
                  </a:spcAft>
                  <a:buClrTx/>
                  <a:buSzTx/>
                  <a:buFontTx/>
                  <a:buNone/>
                  <a:tabLst/>
                  <a:defRPr/>
                </a:pPr>
                <a:r>
                  <a:rPr kumimoji="0" lang="en-US" sz="716" b="1" i="0" u="none" strike="noStrike" kern="0" cap="none" spc="0" normalizeH="0" baseline="0" noProof="0" dirty="0">
                    <a:ln>
                      <a:noFill/>
                    </a:ln>
                    <a:solidFill>
                      <a:srgbClr val="000000"/>
                    </a:solidFill>
                    <a:effectLst/>
                    <a:uLnTx/>
                    <a:uFillTx/>
                    <a:latin typeface="Arial" charset="0"/>
                    <a:ea typeface="+mn-ea"/>
                    <a:cs typeface="+mn-cs"/>
                  </a:rPr>
                  <a:t>~30-50%</a:t>
                </a:r>
              </a:p>
            </p:txBody>
          </p:sp>
          <p:sp>
            <p:nvSpPr>
              <p:cNvPr id="38" name="Down Arrow 123">
                <a:extLst>
                  <a:ext uri="{FF2B5EF4-FFF2-40B4-BE49-F238E27FC236}">
                    <a16:creationId xmlns:a16="http://schemas.microsoft.com/office/drawing/2014/main" id="{C707DEF8-9394-4FA4-AAC2-70C9CEE6631F}"/>
                  </a:ext>
                </a:extLst>
              </p:cNvPr>
              <p:cNvSpPr/>
              <p:nvPr/>
            </p:nvSpPr>
            <p:spPr bwMode="auto">
              <a:xfrm>
                <a:off x="11206842" y="2539250"/>
                <a:ext cx="741362" cy="619481"/>
              </a:xfrm>
              <a:prstGeom prst="downArrow">
                <a:avLst>
                  <a:gd name="adj1" fmla="val 66868"/>
                  <a:gd name="adj2" fmla="val 45161"/>
                </a:avLst>
              </a:prstGeom>
              <a:solidFill>
                <a:schemeClr val="bg1">
                  <a:lumMod val="75000"/>
                </a:schemeClr>
              </a:solidFill>
              <a:ln w="12700" cap="flat" cmpd="sng" algn="ctr">
                <a:noFill/>
                <a:prstDash val="solid"/>
                <a:round/>
                <a:headEnd type="none" w="med" len="med"/>
                <a:tailEnd type="none" w="med" len="med"/>
              </a:ln>
              <a:effectLst/>
            </p:spPr>
            <p:txBody>
              <a:bodyPr lIns="49876" tIns="49876" rIns="49876" bIns="49876" anchor="ctr" anchorCtr="1"/>
              <a:lstStyle/>
              <a:p>
                <a:pPr marL="0" marR="0" lvl="0" indent="0" algn="ctr" defTabSz="623438" rtl="0" eaLnBrk="0" fontAlgn="auto" latinLnBrk="0" hangingPunct="0">
                  <a:lnSpc>
                    <a:spcPct val="106000"/>
                  </a:lnSpc>
                  <a:spcBef>
                    <a:spcPts val="0"/>
                  </a:spcBef>
                  <a:spcAft>
                    <a:spcPts val="0"/>
                  </a:spcAft>
                  <a:buClrTx/>
                  <a:buSzTx/>
                  <a:buFontTx/>
                  <a:buNone/>
                  <a:tabLst/>
                  <a:defRPr/>
                </a:pPr>
                <a:r>
                  <a:rPr kumimoji="0" lang="en-US" sz="716" b="1" i="0" u="none" strike="noStrike" kern="0" cap="none" spc="0" normalizeH="0" baseline="0" noProof="0" dirty="0">
                    <a:ln>
                      <a:noFill/>
                    </a:ln>
                    <a:solidFill>
                      <a:srgbClr val="000000"/>
                    </a:solidFill>
                    <a:effectLst/>
                    <a:uLnTx/>
                    <a:uFillTx/>
                    <a:latin typeface="Arial" charset="0"/>
                    <a:ea typeface="+mn-ea"/>
                    <a:cs typeface="+mn-cs"/>
                  </a:rPr>
                  <a:t>~10-20%</a:t>
                </a:r>
              </a:p>
            </p:txBody>
          </p:sp>
          <p:sp>
            <p:nvSpPr>
              <p:cNvPr id="39" name="Down Arrow 123">
                <a:extLst>
                  <a:ext uri="{FF2B5EF4-FFF2-40B4-BE49-F238E27FC236}">
                    <a16:creationId xmlns:a16="http://schemas.microsoft.com/office/drawing/2014/main" id="{BEFDA9FB-7287-4273-BF4A-E55A3038BC1A}"/>
                  </a:ext>
                </a:extLst>
              </p:cNvPr>
              <p:cNvSpPr/>
              <p:nvPr/>
            </p:nvSpPr>
            <p:spPr bwMode="auto">
              <a:xfrm>
                <a:off x="11206842" y="3352718"/>
                <a:ext cx="741362" cy="619481"/>
              </a:xfrm>
              <a:prstGeom prst="downArrow">
                <a:avLst>
                  <a:gd name="adj1" fmla="val 66868"/>
                  <a:gd name="adj2" fmla="val 45161"/>
                </a:avLst>
              </a:prstGeom>
              <a:solidFill>
                <a:schemeClr val="bg1">
                  <a:lumMod val="75000"/>
                </a:schemeClr>
              </a:solidFill>
              <a:ln w="12700" cap="flat" cmpd="sng" algn="ctr">
                <a:noFill/>
                <a:prstDash val="solid"/>
                <a:round/>
                <a:headEnd type="none" w="med" len="med"/>
                <a:tailEnd type="none" w="med" len="med"/>
              </a:ln>
              <a:effectLst/>
            </p:spPr>
            <p:txBody>
              <a:bodyPr lIns="49876" tIns="49876" rIns="49876" bIns="49876" anchor="ctr" anchorCtr="1"/>
              <a:lstStyle/>
              <a:p>
                <a:pPr marL="0" marR="0" lvl="0" indent="0" algn="ctr" defTabSz="623438" rtl="0" eaLnBrk="0" fontAlgn="auto" latinLnBrk="0" hangingPunct="0">
                  <a:lnSpc>
                    <a:spcPct val="106000"/>
                  </a:lnSpc>
                  <a:spcBef>
                    <a:spcPts val="0"/>
                  </a:spcBef>
                  <a:spcAft>
                    <a:spcPts val="0"/>
                  </a:spcAft>
                  <a:buClrTx/>
                  <a:buSzTx/>
                  <a:buFontTx/>
                  <a:buNone/>
                  <a:tabLst/>
                  <a:defRPr/>
                </a:pPr>
                <a:r>
                  <a:rPr kumimoji="0" lang="en-US" sz="716" b="1" i="0" u="none" strike="noStrike" kern="0" cap="none" spc="0" normalizeH="0" baseline="0" noProof="0" dirty="0">
                    <a:ln>
                      <a:noFill/>
                    </a:ln>
                    <a:solidFill>
                      <a:srgbClr val="000000"/>
                    </a:solidFill>
                    <a:effectLst/>
                    <a:uLnTx/>
                    <a:uFillTx/>
                    <a:latin typeface="Arial" charset="0"/>
                    <a:ea typeface="+mn-ea"/>
                    <a:cs typeface="+mn-cs"/>
                  </a:rPr>
                  <a:t>~1-3%</a:t>
                </a:r>
              </a:p>
            </p:txBody>
          </p:sp>
        </p:grpSp>
        <p:grpSp>
          <p:nvGrpSpPr>
            <p:cNvPr id="25" name="Group 24">
              <a:extLst>
                <a:ext uri="{FF2B5EF4-FFF2-40B4-BE49-F238E27FC236}">
                  <a16:creationId xmlns:a16="http://schemas.microsoft.com/office/drawing/2014/main" id="{606EB978-EDF1-4B91-BBDB-EE0376135E0A}"/>
                </a:ext>
              </a:extLst>
            </p:cNvPr>
            <p:cNvGrpSpPr/>
            <p:nvPr/>
          </p:nvGrpSpPr>
          <p:grpSpPr>
            <a:xfrm>
              <a:off x="809417" y="6462535"/>
              <a:ext cx="7974842" cy="2444364"/>
              <a:chOff x="2366375" y="2625206"/>
              <a:chExt cx="3494367" cy="2609228"/>
            </a:xfrm>
          </p:grpSpPr>
          <p:sp>
            <p:nvSpPr>
              <p:cNvPr id="26" name="Rounded Rectangle 13">
                <a:extLst>
                  <a:ext uri="{FF2B5EF4-FFF2-40B4-BE49-F238E27FC236}">
                    <a16:creationId xmlns:a16="http://schemas.microsoft.com/office/drawing/2014/main" id="{06AEF777-4452-4805-82A6-D18577899036}"/>
                  </a:ext>
                </a:extLst>
              </p:cNvPr>
              <p:cNvSpPr>
                <a:spLocks noChangeArrowheads="1"/>
              </p:cNvSpPr>
              <p:nvPr/>
            </p:nvSpPr>
            <p:spPr bwMode="auto">
              <a:xfrm>
                <a:off x="2366375" y="4498892"/>
                <a:ext cx="3494366" cy="735542"/>
              </a:xfrm>
              <a:prstGeom prst="roundRect">
                <a:avLst/>
              </a:prstGeom>
              <a:solidFill>
                <a:schemeClr val="accent5">
                  <a:lumMod val="20000"/>
                  <a:lumOff val="80000"/>
                </a:schemeClr>
              </a:solidFill>
              <a:ln w="38100">
                <a:solidFill>
                  <a:schemeClr val="accent5">
                    <a:lumMod val="20000"/>
                    <a:lumOff val="80000"/>
                  </a:schemeClr>
                </a:solidFill>
                <a:round/>
                <a:headEnd/>
                <a:tailEnd/>
              </a:ln>
            </p:spPr>
            <p:txBody>
              <a:bodyPr anchor="ctr"/>
              <a:lstStyle/>
              <a:p>
                <a:pPr marL="0" marR="0" lvl="0" indent="0" algn="ctr" defTabSz="623438" rtl="0" eaLnBrk="0" fontAlgn="auto" latinLnBrk="0" hangingPunct="0">
                  <a:lnSpc>
                    <a:spcPct val="100000"/>
                  </a:lnSpc>
                  <a:spcBef>
                    <a:spcPts val="0"/>
                  </a:spcBef>
                  <a:spcAft>
                    <a:spcPts val="409"/>
                  </a:spcAft>
                  <a:buClrTx/>
                  <a:buSzTx/>
                  <a:buFontTx/>
                  <a:buNone/>
                  <a:tabLst/>
                  <a:defRPr/>
                </a:pPr>
                <a:r>
                  <a:rPr kumimoji="0" lang="en-US" sz="750" b="1" i="0" u="none" strike="noStrike" kern="0" cap="none" spc="14" normalizeH="0" baseline="0" noProof="0" dirty="0">
                    <a:ln>
                      <a:noFill/>
                    </a:ln>
                    <a:solidFill>
                      <a:srgbClr val="000000"/>
                    </a:solidFill>
                    <a:effectLst/>
                    <a:uLnTx/>
                    <a:uFillTx/>
                    <a:latin typeface="Open Sans"/>
                    <a:ea typeface="+mn-ea"/>
                    <a:cs typeface="+mn-cs"/>
                  </a:rPr>
                  <a:t>5. MARKETING ORGANIZATION ALIGNMENT &amp; CAPABILITY EFFECTIVENESS</a:t>
                </a:r>
              </a:p>
              <a:p>
                <a:pPr marL="0" marR="0" lvl="0" indent="0" algn="ctr" defTabSz="623438" rtl="0" eaLnBrk="0" fontAlgn="auto" latinLnBrk="0" hangingPunct="0">
                  <a:lnSpc>
                    <a:spcPct val="100000"/>
                  </a:lnSpc>
                  <a:spcBef>
                    <a:spcPts val="0"/>
                  </a:spcBef>
                  <a:spcAft>
                    <a:spcPts val="0"/>
                  </a:spcAft>
                  <a:buClrTx/>
                  <a:buSzTx/>
                  <a:buFontTx/>
                  <a:buNone/>
                  <a:tabLst/>
                  <a:defRPr/>
                </a:pPr>
                <a:r>
                  <a:rPr kumimoji="0" lang="en-US" sz="682" b="0" i="1" u="none" strike="noStrike" kern="0" cap="none" spc="0" normalizeH="0" baseline="0" noProof="0" dirty="0">
                    <a:ln>
                      <a:noFill/>
                    </a:ln>
                    <a:solidFill>
                      <a:srgbClr val="000000"/>
                    </a:solidFill>
                    <a:effectLst/>
                    <a:uLnTx/>
                    <a:uFillTx/>
                    <a:latin typeface="Open Sans"/>
                    <a:ea typeface="+mn-ea"/>
                    <a:cs typeface="+mn-cs"/>
                  </a:rPr>
                  <a:t>Lower marketing organization cost while maximizing its impact</a:t>
                </a:r>
              </a:p>
            </p:txBody>
          </p:sp>
          <p:sp>
            <p:nvSpPr>
              <p:cNvPr id="27" name="AutoShape 47">
                <a:extLst>
                  <a:ext uri="{FF2B5EF4-FFF2-40B4-BE49-F238E27FC236}">
                    <a16:creationId xmlns:a16="http://schemas.microsoft.com/office/drawing/2014/main" id="{35B3FCEC-77CF-433F-91A3-A2D95842D91A}"/>
                  </a:ext>
                </a:extLst>
              </p:cNvPr>
              <p:cNvSpPr>
                <a:spLocks noChangeArrowheads="1"/>
              </p:cNvSpPr>
              <p:nvPr/>
            </p:nvSpPr>
            <p:spPr bwMode="auto">
              <a:xfrm>
                <a:off x="4150814" y="3558741"/>
                <a:ext cx="1709928" cy="852811"/>
              </a:xfrm>
              <a:prstGeom prst="roundRect">
                <a:avLst/>
              </a:prstGeom>
              <a:solidFill>
                <a:schemeClr val="accent2">
                  <a:lumMod val="40000"/>
                  <a:lumOff val="60000"/>
                </a:schemeClr>
              </a:solidFill>
              <a:ln w="38100">
                <a:solidFill>
                  <a:schemeClr val="accent2">
                    <a:lumMod val="40000"/>
                    <a:lumOff val="60000"/>
                  </a:schemeClr>
                </a:solidFill>
                <a:round/>
                <a:headEnd/>
                <a:tailEnd/>
              </a:ln>
            </p:spPr>
            <p:txBody>
              <a:bodyPr anchor="ctr"/>
              <a:lstStyle/>
              <a:p>
                <a:pPr marL="6494" marR="0" lvl="0" indent="-6494" algn="ctr" defTabSz="623438" rtl="0" eaLnBrk="0" fontAlgn="auto" latinLnBrk="0" hangingPunct="0">
                  <a:lnSpc>
                    <a:spcPct val="100000"/>
                  </a:lnSpc>
                  <a:spcBef>
                    <a:spcPts val="0"/>
                  </a:spcBef>
                  <a:spcAft>
                    <a:spcPts val="409"/>
                  </a:spcAft>
                  <a:buClrTx/>
                  <a:buSzTx/>
                  <a:buFontTx/>
                  <a:buNone/>
                  <a:tabLst/>
                  <a:defRPr/>
                </a:pPr>
                <a:r>
                  <a:rPr kumimoji="0" lang="en-GB" sz="750" b="1" i="0" u="none" strike="noStrike" kern="0" cap="none" spc="14" normalizeH="0" baseline="0" noProof="0" dirty="0">
                    <a:ln>
                      <a:noFill/>
                    </a:ln>
                    <a:solidFill>
                      <a:srgbClr val="000000"/>
                    </a:solidFill>
                    <a:effectLst/>
                    <a:uLnTx/>
                    <a:uFillTx/>
                    <a:latin typeface="Open Sans"/>
                    <a:ea typeface="+mn-ea"/>
                    <a:cs typeface="+mn-cs"/>
                  </a:rPr>
                  <a:t>MARKETING RESOURCE MGMT.</a:t>
                </a:r>
                <a:endParaRPr kumimoji="0" lang="en-GB" sz="750" b="0" i="0" u="none" strike="noStrike" kern="0" cap="none" spc="14" normalizeH="0" baseline="0" noProof="0" dirty="0">
                  <a:ln>
                    <a:noFill/>
                  </a:ln>
                  <a:solidFill>
                    <a:srgbClr val="000000"/>
                  </a:solidFill>
                  <a:effectLst/>
                  <a:uLnTx/>
                  <a:uFillTx/>
                  <a:latin typeface="Open Sans"/>
                  <a:ea typeface="+mn-ea"/>
                  <a:cs typeface="+mn-cs"/>
                </a:endParaRPr>
              </a:p>
              <a:p>
                <a:pPr marL="6494" marR="0" lvl="0" indent="-6494" algn="ctr" defTabSz="623438" rtl="0" eaLnBrk="0" fontAlgn="auto" latinLnBrk="0" hangingPunct="0">
                  <a:lnSpc>
                    <a:spcPct val="100000"/>
                  </a:lnSpc>
                  <a:spcBef>
                    <a:spcPts val="0"/>
                  </a:spcBef>
                  <a:spcAft>
                    <a:spcPts val="409"/>
                  </a:spcAft>
                  <a:buClrTx/>
                  <a:buSzTx/>
                  <a:buFontTx/>
                  <a:buNone/>
                  <a:tabLst/>
                  <a:defRPr/>
                </a:pPr>
                <a:r>
                  <a:rPr kumimoji="0" lang="en-US" sz="682" b="0" i="1" u="none" strike="noStrike" kern="0" cap="none" spc="0" normalizeH="0" baseline="0" noProof="0" dirty="0">
                    <a:ln>
                      <a:noFill/>
                    </a:ln>
                    <a:solidFill>
                      <a:srgbClr val="000000"/>
                    </a:solidFill>
                    <a:effectLst/>
                    <a:uLnTx/>
                    <a:uFillTx/>
                    <a:latin typeface="Open Sans"/>
                    <a:ea typeface="+mn-ea"/>
                    <a:cs typeface="+mn-cs"/>
                  </a:rPr>
                  <a:t>Optimize marketing resources through adopting technologies and improving accountability</a:t>
                </a:r>
              </a:p>
            </p:txBody>
          </p:sp>
          <p:sp>
            <p:nvSpPr>
              <p:cNvPr id="28" name="AutoShape 47">
                <a:extLst>
                  <a:ext uri="{FF2B5EF4-FFF2-40B4-BE49-F238E27FC236}">
                    <a16:creationId xmlns:a16="http://schemas.microsoft.com/office/drawing/2014/main" id="{88D637AD-A40C-4480-BBB2-B136E8E6B222}"/>
                  </a:ext>
                </a:extLst>
              </p:cNvPr>
              <p:cNvSpPr>
                <a:spLocks noChangeArrowheads="1"/>
              </p:cNvSpPr>
              <p:nvPr/>
            </p:nvSpPr>
            <p:spPr bwMode="auto">
              <a:xfrm>
                <a:off x="4150813" y="2625206"/>
                <a:ext cx="1709928" cy="852811"/>
              </a:xfrm>
              <a:prstGeom prst="roundRect">
                <a:avLst/>
              </a:prstGeom>
              <a:solidFill>
                <a:schemeClr val="accent1">
                  <a:lumMod val="60000"/>
                  <a:lumOff val="40000"/>
                </a:schemeClr>
              </a:solidFill>
              <a:ln w="38100">
                <a:solidFill>
                  <a:schemeClr val="accent1">
                    <a:lumMod val="60000"/>
                    <a:lumOff val="40000"/>
                  </a:schemeClr>
                </a:solidFill>
                <a:round/>
                <a:headEnd/>
                <a:tailEnd/>
              </a:ln>
            </p:spPr>
            <p:txBody>
              <a:bodyPr anchor="ctr"/>
              <a:lstStyle/>
              <a:p>
                <a:pPr marL="6494" marR="0" lvl="0" indent="-6494" algn="ctr" defTabSz="623438" rtl="0" eaLnBrk="0" fontAlgn="auto" latinLnBrk="0" hangingPunct="0">
                  <a:lnSpc>
                    <a:spcPct val="100000"/>
                  </a:lnSpc>
                  <a:spcBef>
                    <a:spcPts val="0"/>
                  </a:spcBef>
                  <a:spcAft>
                    <a:spcPts val="409"/>
                  </a:spcAft>
                  <a:buClrTx/>
                  <a:buSzTx/>
                  <a:buFontTx/>
                  <a:buNone/>
                  <a:tabLst/>
                  <a:defRPr/>
                </a:pPr>
                <a:r>
                  <a:rPr kumimoji="0" lang="en-GB" sz="750" b="1" i="0" u="none" strike="noStrike" kern="0" cap="none" spc="14" normalizeH="0" baseline="0" noProof="0" dirty="0">
                    <a:ln>
                      <a:noFill/>
                    </a:ln>
                    <a:solidFill>
                      <a:srgbClr val="000000"/>
                    </a:solidFill>
                    <a:effectLst/>
                    <a:uLnTx/>
                    <a:uFillTx/>
                    <a:latin typeface="Open Sans"/>
                    <a:ea typeface="+mn-ea"/>
                    <a:cs typeface="+mn-cs"/>
                  </a:rPr>
                  <a:t>MARKETING SPEND SOURCING</a:t>
                </a:r>
                <a:endParaRPr kumimoji="0" lang="en-GB" sz="750" b="0" i="0" u="none" strike="noStrike" kern="0" cap="none" spc="14" normalizeH="0" baseline="0" noProof="0" dirty="0">
                  <a:ln>
                    <a:noFill/>
                  </a:ln>
                  <a:solidFill>
                    <a:srgbClr val="000000"/>
                  </a:solidFill>
                  <a:effectLst/>
                  <a:uLnTx/>
                  <a:uFillTx/>
                  <a:latin typeface="Open Sans"/>
                  <a:ea typeface="+mn-ea"/>
                  <a:cs typeface="+mn-cs"/>
                </a:endParaRPr>
              </a:p>
              <a:p>
                <a:pPr marL="6494" marR="0" lvl="0" indent="-6494" algn="ctr" defTabSz="623438" rtl="0" eaLnBrk="0" fontAlgn="auto" latinLnBrk="0" hangingPunct="0">
                  <a:lnSpc>
                    <a:spcPct val="100000"/>
                  </a:lnSpc>
                  <a:spcBef>
                    <a:spcPts val="0"/>
                  </a:spcBef>
                  <a:spcAft>
                    <a:spcPts val="0"/>
                  </a:spcAft>
                  <a:buClrTx/>
                  <a:buSzTx/>
                  <a:buFontTx/>
                  <a:buNone/>
                  <a:tabLst/>
                  <a:defRPr/>
                </a:pPr>
                <a:r>
                  <a:rPr kumimoji="0" lang="en-US" sz="682" b="0" i="1" u="none" strike="noStrike" kern="0" cap="none" spc="0" normalizeH="0" baseline="0" noProof="0" dirty="0">
                    <a:ln>
                      <a:noFill/>
                    </a:ln>
                    <a:solidFill>
                      <a:srgbClr val="000000"/>
                    </a:solidFill>
                    <a:effectLst/>
                    <a:uLnTx/>
                    <a:uFillTx/>
                    <a:latin typeface="Open Sans"/>
                    <a:ea typeface="+mn-ea"/>
                    <a:cs typeface="+mn-cs"/>
                  </a:rPr>
                  <a:t>Leverage market competition, demand management, and strategic audits to optimize investments and eliminate waste</a:t>
                </a:r>
              </a:p>
            </p:txBody>
          </p:sp>
          <p:sp>
            <p:nvSpPr>
              <p:cNvPr id="29" name="AutoShape 47">
                <a:extLst>
                  <a:ext uri="{FF2B5EF4-FFF2-40B4-BE49-F238E27FC236}">
                    <a16:creationId xmlns:a16="http://schemas.microsoft.com/office/drawing/2014/main" id="{88E4FCB4-62D7-4C19-A007-CFF98946AB12}"/>
                  </a:ext>
                </a:extLst>
              </p:cNvPr>
              <p:cNvSpPr>
                <a:spLocks noChangeArrowheads="1"/>
              </p:cNvSpPr>
              <p:nvPr/>
            </p:nvSpPr>
            <p:spPr bwMode="auto">
              <a:xfrm>
                <a:off x="2366375" y="3562049"/>
                <a:ext cx="1709928" cy="852811"/>
              </a:xfrm>
              <a:prstGeom prst="roundRect">
                <a:avLst/>
              </a:prstGeom>
              <a:solidFill>
                <a:schemeClr val="accent3">
                  <a:lumMod val="60000"/>
                  <a:lumOff val="40000"/>
                </a:schemeClr>
              </a:solidFill>
              <a:ln w="38100">
                <a:solidFill>
                  <a:schemeClr val="accent3">
                    <a:lumMod val="60000"/>
                    <a:lumOff val="40000"/>
                  </a:schemeClr>
                </a:solidFill>
                <a:round/>
                <a:headEnd/>
                <a:tailEnd/>
              </a:ln>
            </p:spPr>
            <p:txBody>
              <a:bodyPr anchor="ctr"/>
              <a:lstStyle/>
              <a:p>
                <a:pPr marL="6494" marR="0" lvl="0" indent="-6494" algn="ctr" defTabSz="623438" rtl="0" eaLnBrk="0" fontAlgn="auto" latinLnBrk="0" hangingPunct="0">
                  <a:lnSpc>
                    <a:spcPct val="100000"/>
                  </a:lnSpc>
                  <a:spcBef>
                    <a:spcPts val="0"/>
                  </a:spcBef>
                  <a:spcAft>
                    <a:spcPts val="409"/>
                  </a:spcAft>
                  <a:buClrTx/>
                  <a:buSzTx/>
                  <a:buFontTx/>
                  <a:buNone/>
                  <a:tabLst/>
                  <a:defRPr/>
                </a:pPr>
                <a:r>
                  <a:rPr kumimoji="0" lang="en-GB" sz="750" b="1" i="0" u="none" strike="noStrike" kern="0" cap="none" spc="0" normalizeH="0" baseline="0" noProof="0" dirty="0">
                    <a:ln>
                      <a:noFill/>
                    </a:ln>
                    <a:solidFill>
                      <a:srgbClr val="000000"/>
                    </a:solidFill>
                    <a:effectLst/>
                    <a:uLnTx/>
                    <a:uFillTx/>
                    <a:latin typeface="Open Sans"/>
                    <a:ea typeface="+mn-ea"/>
                    <a:cs typeface="+mn-cs"/>
                  </a:rPr>
                  <a:t>PROMOTION &amp; CHANNEL PARTNER SPEND MGMT.</a:t>
                </a:r>
                <a:endParaRPr kumimoji="0" lang="en-GB" sz="750" b="0" i="0" u="none" strike="noStrike" kern="0" cap="none" spc="0" normalizeH="0" baseline="0" noProof="0" dirty="0">
                  <a:ln>
                    <a:noFill/>
                  </a:ln>
                  <a:solidFill>
                    <a:srgbClr val="000000"/>
                  </a:solidFill>
                  <a:effectLst/>
                  <a:uLnTx/>
                  <a:uFillTx/>
                  <a:latin typeface="Open Sans"/>
                  <a:ea typeface="+mn-ea"/>
                  <a:cs typeface="+mn-cs"/>
                </a:endParaRPr>
              </a:p>
              <a:p>
                <a:pPr marL="0" marR="0" lvl="0" indent="0" algn="ctr" defTabSz="623438" rtl="0" eaLnBrk="0" fontAlgn="auto" latinLnBrk="0" hangingPunct="0">
                  <a:lnSpc>
                    <a:spcPct val="100000"/>
                  </a:lnSpc>
                  <a:spcBef>
                    <a:spcPts val="0"/>
                  </a:spcBef>
                  <a:spcAft>
                    <a:spcPts val="0"/>
                  </a:spcAft>
                  <a:buClrTx/>
                  <a:buSzTx/>
                  <a:buFontTx/>
                  <a:buNone/>
                  <a:tabLst/>
                  <a:defRPr/>
                </a:pPr>
                <a:r>
                  <a:rPr kumimoji="0" lang="en-US" sz="682" b="0" i="1" u="none" strike="noStrike" kern="0" cap="none" spc="0" normalizeH="0" baseline="0" noProof="0" dirty="0">
                    <a:ln>
                      <a:noFill/>
                    </a:ln>
                    <a:solidFill>
                      <a:srgbClr val="000000"/>
                    </a:solidFill>
                    <a:effectLst/>
                    <a:uLnTx/>
                    <a:uFillTx/>
                    <a:latin typeface="Open Sans"/>
                    <a:ea typeface="+mn-ea"/>
                    <a:cs typeface="+mn-cs"/>
                  </a:rPr>
                  <a:t>Evaluate the effectiveness of total channel partner spend management (e.g., promotions, allowances, etc.) </a:t>
                </a:r>
              </a:p>
            </p:txBody>
          </p:sp>
          <p:sp>
            <p:nvSpPr>
              <p:cNvPr id="30" name="AutoShape 47">
                <a:extLst>
                  <a:ext uri="{FF2B5EF4-FFF2-40B4-BE49-F238E27FC236}">
                    <a16:creationId xmlns:a16="http://schemas.microsoft.com/office/drawing/2014/main" id="{FC6423AF-5A67-4FCC-A9DC-B47634D380CF}"/>
                  </a:ext>
                </a:extLst>
              </p:cNvPr>
              <p:cNvSpPr>
                <a:spLocks noChangeArrowheads="1"/>
              </p:cNvSpPr>
              <p:nvPr/>
            </p:nvSpPr>
            <p:spPr bwMode="auto">
              <a:xfrm>
                <a:off x="2366375" y="2625206"/>
                <a:ext cx="1709928" cy="852811"/>
              </a:xfrm>
              <a:prstGeom prst="roundRect">
                <a:avLst/>
              </a:prstGeom>
              <a:solidFill>
                <a:schemeClr val="accent5">
                  <a:lumMod val="20000"/>
                  <a:lumOff val="80000"/>
                </a:schemeClr>
              </a:solidFill>
              <a:ln w="38100">
                <a:solidFill>
                  <a:schemeClr val="accent5">
                    <a:lumMod val="20000"/>
                    <a:lumOff val="80000"/>
                  </a:schemeClr>
                </a:solidFill>
                <a:round/>
                <a:headEnd/>
                <a:tailEnd/>
              </a:ln>
            </p:spPr>
            <p:txBody>
              <a:bodyPr anchor="ctr"/>
              <a:lstStyle/>
              <a:p>
                <a:pPr marL="0" marR="0" lvl="0" indent="0" algn="ctr" defTabSz="623438" rtl="0" eaLnBrk="0" fontAlgn="auto" latinLnBrk="0" hangingPunct="0">
                  <a:lnSpc>
                    <a:spcPct val="100000"/>
                  </a:lnSpc>
                  <a:spcBef>
                    <a:spcPts val="0"/>
                  </a:spcBef>
                  <a:spcAft>
                    <a:spcPts val="409"/>
                  </a:spcAft>
                  <a:buClrTx/>
                  <a:buSzTx/>
                  <a:buFontTx/>
                  <a:buNone/>
                  <a:tabLst/>
                  <a:defRPr/>
                </a:pPr>
                <a:r>
                  <a:rPr kumimoji="0" lang="en-GB" sz="750" b="1" i="0" u="none" strike="noStrike" kern="0" cap="none" spc="14" normalizeH="0" baseline="0" noProof="0" dirty="0">
                    <a:ln>
                      <a:noFill/>
                    </a:ln>
                    <a:solidFill>
                      <a:srgbClr val="000000"/>
                    </a:solidFill>
                    <a:effectLst/>
                    <a:uLnTx/>
                    <a:uFillTx/>
                    <a:latin typeface="Open Sans"/>
                    <a:ea typeface="+mn-ea"/>
                    <a:cs typeface="+mn-cs"/>
                  </a:rPr>
                  <a:t>MARKETING MIX ALLOCATION</a:t>
                </a:r>
                <a:endParaRPr kumimoji="0" lang="en-GB" sz="750" b="0" i="0" u="none" strike="noStrike" kern="0" cap="none" spc="14" normalizeH="0" baseline="0" noProof="0" dirty="0">
                  <a:ln>
                    <a:noFill/>
                  </a:ln>
                  <a:solidFill>
                    <a:srgbClr val="000000"/>
                  </a:solidFill>
                  <a:effectLst/>
                  <a:uLnTx/>
                  <a:uFillTx/>
                  <a:latin typeface="Open Sans"/>
                  <a:ea typeface="+mn-ea"/>
                  <a:cs typeface="+mn-cs"/>
                </a:endParaRPr>
              </a:p>
              <a:p>
                <a:pPr marL="0" marR="0" lvl="0" indent="0" algn="ctr" defTabSz="623438" rtl="0" eaLnBrk="0" fontAlgn="auto" latinLnBrk="0" hangingPunct="0">
                  <a:lnSpc>
                    <a:spcPct val="100000"/>
                  </a:lnSpc>
                  <a:spcBef>
                    <a:spcPts val="0"/>
                  </a:spcBef>
                  <a:spcAft>
                    <a:spcPts val="409"/>
                  </a:spcAft>
                  <a:buClrTx/>
                  <a:buSzTx/>
                  <a:buFontTx/>
                  <a:buNone/>
                  <a:tabLst/>
                  <a:defRPr/>
                </a:pPr>
                <a:r>
                  <a:rPr kumimoji="0" lang="en-US" sz="682" b="0" i="1" u="none" strike="noStrike" kern="0" cap="none" spc="0" normalizeH="0" baseline="0" noProof="0" dirty="0">
                    <a:ln>
                      <a:noFill/>
                    </a:ln>
                    <a:solidFill>
                      <a:srgbClr val="000000"/>
                    </a:solidFill>
                    <a:effectLst/>
                    <a:uLnTx/>
                    <a:uFillTx/>
                    <a:latin typeface="Open Sans"/>
                    <a:ea typeface="+mn-ea"/>
                    <a:cs typeface="+mn-cs"/>
                  </a:rPr>
                  <a:t>Identify effective and ineffective marketing programs and media mix (by message, brands, etc.) via different analytical tools</a:t>
                </a:r>
              </a:p>
            </p:txBody>
          </p:sp>
        </p:grpSp>
      </p:grpSp>
      <p:sp>
        <p:nvSpPr>
          <p:cNvPr id="42" name="Rectangle 41">
            <a:extLst>
              <a:ext uri="{FF2B5EF4-FFF2-40B4-BE49-F238E27FC236}">
                <a16:creationId xmlns:a16="http://schemas.microsoft.com/office/drawing/2014/main" id="{09373EB0-6630-49E4-8723-616CD3378034}"/>
              </a:ext>
            </a:extLst>
          </p:cNvPr>
          <p:cNvSpPr/>
          <p:nvPr/>
        </p:nvSpPr>
        <p:spPr bwMode="gray">
          <a:xfrm>
            <a:off x="1707669" y="1962408"/>
            <a:ext cx="1844357" cy="663993"/>
          </a:xfrm>
          <a:prstGeom prst="rect">
            <a:avLst/>
          </a:prstGeom>
          <a:noFill/>
          <a:ln w="19050" algn="ctr">
            <a:noFill/>
            <a:miter lim="800000"/>
            <a:headEnd/>
            <a:tailEnd/>
          </a:ln>
        </p:spPr>
        <p:txBody>
          <a:bodyPr wrap="square" lIns="124691" tIns="60614" rIns="124691" bIns="60614" rtlCol="0" anchor="t" anchorCtr="0"/>
          <a:lstStyle/>
          <a:p>
            <a:pPr marL="0" marR="0" lvl="0" indent="0" algn="l" defTabSz="623438" rtl="0" eaLnBrk="1" fontAlgn="auto" latinLnBrk="0" hangingPunct="1">
              <a:lnSpc>
                <a:spcPct val="100000"/>
              </a:lnSpc>
              <a:spcBef>
                <a:spcPts val="0"/>
              </a:spcBef>
              <a:spcAft>
                <a:spcPts val="818"/>
              </a:spcAft>
              <a:buClrTx/>
              <a:buSzTx/>
              <a:buFontTx/>
              <a:buNone/>
              <a:tabLst/>
              <a:defRPr/>
            </a:pPr>
            <a:r>
              <a:rPr kumimoji="0" lang="en-US" sz="1909" b="1" i="0" u="none" strike="noStrike" kern="1200" cap="none" spc="0" normalizeH="0" baseline="0" noProof="0" dirty="0">
                <a:ln>
                  <a:noFill/>
                </a:ln>
                <a:solidFill>
                  <a:srgbClr val="000000"/>
                </a:solidFill>
                <a:effectLst/>
                <a:uLnTx/>
                <a:uFillTx/>
                <a:latin typeface="Chronicle Display Black"/>
                <a:ea typeface="+mn-ea"/>
                <a:cs typeface="+mn-cs"/>
              </a:rPr>
              <a:t>41% </a:t>
            </a:r>
            <a:br>
              <a:rPr kumimoji="0" lang="en-US" sz="1091" b="1" i="0" u="none" strike="noStrike" kern="1200" cap="none" spc="0" normalizeH="0" baseline="0" noProof="0" dirty="0">
                <a:ln>
                  <a:noFill/>
                </a:ln>
                <a:solidFill>
                  <a:srgbClr val="000000"/>
                </a:solidFill>
                <a:effectLst/>
                <a:uLnTx/>
                <a:uFillTx/>
                <a:latin typeface="Open Sans"/>
                <a:ea typeface="+mn-ea"/>
                <a:cs typeface="+mn-cs"/>
              </a:rPr>
            </a:br>
            <a:r>
              <a:rPr kumimoji="0" lang="en-US" sz="1091" b="0" i="0" u="none" strike="noStrike" kern="1200" cap="none" spc="0" normalizeH="0" baseline="0" noProof="0" dirty="0">
                <a:ln>
                  <a:noFill/>
                </a:ln>
                <a:solidFill>
                  <a:srgbClr val="000000"/>
                </a:solidFill>
                <a:effectLst/>
                <a:uLnTx/>
                <a:uFillTx/>
                <a:latin typeface="Open Sans"/>
                <a:ea typeface="+mn-ea"/>
                <a:cs typeface="+mn-cs"/>
              </a:rPr>
              <a:t>of the average </a:t>
            </a:r>
            <a:r>
              <a:rPr kumimoji="0" lang="en-US" sz="1091" b="1" i="0" u="none" strike="noStrike" kern="1200" cap="none" spc="0" normalizeH="0" baseline="0" noProof="0" dirty="0">
                <a:ln>
                  <a:noFill/>
                </a:ln>
                <a:solidFill>
                  <a:srgbClr val="000000"/>
                </a:solidFill>
                <a:effectLst/>
                <a:uLnTx/>
                <a:uFillTx/>
                <a:latin typeface="Open Sans"/>
                <a:ea typeface="+mn-ea"/>
                <a:cs typeface="+mn-cs"/>
              </a:rPr>
              <a:t>advertising</a:t>
            </a:r>
            <a:r>
              <a:rPr kumimoji="0" lang="en-US" sz="1091" b="0" i="0" u="none" strike="noStrike" kern="1200" cap="none" spc="0" normalizeH="0" baseline="0" noProof="0" dirty="0">
                <a:ln>
                  <a:noFill/>
                </a:ln>
                <a:solidFill>
                  <a:srgbClr val="000000"/>
                </a:solidFill>
                <a:effectLst/>
                <a:uLnTx/>
                <a:uFillTx/>
                <a:latin typeface="Open Sans"/>
                <a:ea typeface="+mn-ea"/>
                <a:cs typeface="+mn-cs"/>
              </a:rPr>
              <a:t> budget</a:t>
            </a:r>
          </a:p>
        </p:txBody>
      </p:sp>
      <p:sp>
        <p:nvSpPr>
          <p:cNvPr id="43" name="Rectangle 42">
            <a:extLst>
              <a:ext uri="{FF2B5EF4-FFF2-40B4-BE49-F238E27FC236}">
                <a16:creationId xmlns:a16="http://schemas.microsoft.com/office/drawing/2014/main" id="{753316A3-A713-4F97-BE79-ADED73A186E3}"/>
              </a:ext>
            </a:extLst>
          </p:cNvPr>
          <p:cNvSpPr/>
          <p:nvPr/>
        </p:nvSpPr>
        <p:spPr bwMode="gray">
          <a:xfrm>
            <a:off x="1802034" y="2785239"/>
            <a:ext cx="1844357" cy="663993"/>
          </a:xfrm>
          <a:prstGeom prst="rect">
            <a:avLst/>
          </a:prstGeom>
          <a:noFill/>
          <a:ln w="19050" algn="ctr">
            <a:noFill/>
            <a:miter lim="800000"/>
            <a:headEnd/>
            <a:tailEnd/>
          </a:ln>
        </p:spPr>
        <p:txBody>
          <a:bodyPr wrap="square" lIns="124691" tIns="60614" rIns="124691" bIns="60614" rtlCol="0" anchor="t" anchorCtr="0"/>
          <a:lstStyle/>
          <a:p>
            <a:pPr marL="0" marR="0" lvl="0" indent="0" algn="l" defTabSz="623438" rtl="0" eaLnBrk="1" fontAlgn="auto" latinLnBrk="0" hangingPunct="1">
              <a:lnSpc>
                <a:spcPct val="100000"/>
              </a:lnSpc>
              <a:spcBef>
                <a:spcPts val="0"/>
              </a:spcBef>
              <a:spcAft>
                <a:spcPts val="818"/>
              </a:spcAft>
              <a:buClrTx/>
              <a:buSzTx/>
              <a:buFontTx/>
              <a:buNone/>
              <a:tabLst/>
              <a:defRPr/>
            </a:pPr>
            <a:r>
              <a:rPr kumimoji="0" lang="en-US" sz="1909" b="1" i="0" u="none" strike="noStrike" kern="1200" cap="none" spc="0" normalizeH="0" baseline="0" noProof="0" dirty="0">
                <a:ln>
                  <a:noFill/>
                </a:ln>
                <a:solidFill>
                  <a:srgbClr val="000000"/>
                </a:solidFill>
                <a:effectLst/>
                <a:uLnTx/>
                <a:uFillTx/>
                <a:latin typeface="Chronicle Display Black"/>
                <a:ea typeface="+mn-ea"/>
                <a:cs typeface="+mn-cs"/>
              </a:rPr>
              <a:t>23% </a:t>
            </a:r>
            <a:br>
              <a:rPr kumimoji="0" lang="en-US" sz="1091" b="1" i="0" u="none" strike="noStrike" kern="1200" cap="none" spc="0" normalizeH="0" baseline="0" noProof="0" dirty="0">
                <a:ln>
                  <a:noFill/>
                </a:ln>
                <a:solidFill>
                  <a:srgbClr val="000000"/>
                </a:solidFill>
                <a:effectLst/>
                <a:uLnTx/>
                <a:uFillTx/>
                <a:latin typeface="Open Sans"/>
                <a:ea typeface="+mn-ea"/>
                <a:cs typeface="+mn-cs"/>
              </a:rPr>
            </a:br>
            <a:r>
              <a:rPr kumimoji="0" lang="en-US" sz="1091" b="0" i="0" u="none" strike="noStrike" kern="1200" cap="none" spc="0" normalizeH="0" baseline="0" noProof="0" dirty="0">
                <a:ln>
                  <a:noFill/>
                </a:ln>
                <a:solidFill>
                  <a:srgbClr val="000000"/>
                </a:solidFill>
                <a:effectLst/>
                <a:uLnTx/>
                <a:uFillTx/>
                <a:latin typeface="Open Sans"/>
                <a:ea typeface="+mn-ea"/>
                <a:cs typeface="+mn-cs"/>
              </a:rPr>
              <a:t>of the average </a:t>
            </a:r>
            <a:r>
              <a:rPr kumimoji="0" lang="en-US" sz="1091" b="1" i="0" u="none" strike="noStrike" kern="1200" cap="none" spc="0" normalizeH="0" baseline="0" noProof="0" dirty="0">
                <a:ln>
                  <a:noFill/>
                </a:ln>
                <a:solidFill>
                  <a:srgbClr val="000000"/>
                </a:solidFill>
                <a:effectLst/>
                <a:uLnTx/>
                <a:uFillTx/>
                <a:latin typeface="Open Sans"/>
                <a:ea typeface="+mn-ea"/>
                <a:cs typeface="+mn-cs"/>
              </a:rPr>
              <a:t>marketing</a:t>
            </a:r>
            <a:r>
              <a:rPr kumimoji="0" lang="en-US" sz="1091" b="0" i="0" u="none" strike="noStrike" kern="1200" cap="none" spc="0" normalizeH="0" baseline="0" noProof="0" dirty="0">
                <a:ln>
                  <a:noFill/>
                </a:ln>
                <a:solidFill>
                  <a:srgbClr val="000000"/>
                </a:solidFill>
                <a:effectLst/>
                <a:uLnTx/>
                <a:uFillTx/>
                <a:latin typeface="Open Sans"/>
                <a:ea typeface="+mn-ea"/>
                <a:cs typeface="+mn-cs"/>
              </a:rPr>
              <a:t> budget</a:t>
            </a:r>
          </a:p>
        </p:txBody>
      </p:sp>
      <p:graphicFrame>
        <p:nvGraphicFramePr>
          <p:cNvPr id="44" name="Chart 43">
            <a:extLst>
              <a:ext uri="{FF2B5EF4-FFF2-40B4-BE49-F238E27FC236}">
                <a16:creationId xmlns:a16="http://schemas.microsoft.com/office/drawing/2014/main" id="{306A124C-C717-4EE5-873C-092DD212FB88}"/>
              </a:ext>
            </a:extLst>
          </p:cNvPr>
          <p:cNvGraphicFramePr>
            <a:graphicFrameLocks noChangeAspect="1"/>
          </p:cNvGraphicFramePr>
          <p:nvPr/>
        </p:nvGraphicFramePr>
        <p:xfrm>
          <a:off x="999354" y="1925966"/>
          <a:ext cx="974968" cy="62345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5" name="Chart 44">
            <a:extLst>
              <a:ext uri="{FF2B5EF4-FFF2-40B4-BE49-F238E27FC236}">
                <a16:creationId xmlns:a16="http://schemas.microsoft.com/office/drawing/2014/main" id="{EDE8B8A7-CF50-4AE2-8D48-07BBF87FA5EA}"/>
              </a:ext>
            </a:extLst>
          </p:cNvPr>
          <p:cNvGraphicFramePr>
            <a:graphicFrameLocks noChangeAspect="1"/>
          </p:cNvGraphicFramePr>
          <p:nvPr/>
        </p:nvGraphicFramePr>
        <p:xfrm>
          <a:off x="999354" y="2755969"/>
          <a:ext cx="974968" cy="623455"/>
        </p:xfrm>
        <a:graphic>
          <a:graphicData uri="http://schemas.openxmlformats.org/drawingml/2006/chart">
            <c:chart xmlns:c="http://schemas.openxmlformats.org/drawingml/2006/chart" xmlns:r="http://schemas.openxmlformats.org/officeDocument/2006/relationships" r:id="rId8"/>
          </a:graphicData>
        </a:graphic>
      </p:graphicFrame>
      <p:sp>
        <p:nvSpPr>
          <p:cNvPr id="46" name="TextBox 45">
            <a:extLst>
              <a:ext uri="{FF2B5EF4-FFF2-40B4-BE49-F238E27FC236}">
                <a16:creationId xmlns:a16="http://schemas.microsoft.com/office/drawing/2014/main" id="{B3A7D433-3839-43E0-8247-567BB6F13C0D}"/>
              </a:ext>
            </a:extLst>
          </p:cNvPr>
          <p:cNvSpPr txBox="1"/>
          <p:nvPr/>
        </p:nvSpPr>
        <p:spPr>
          <a:xfrm>
            <a:off x="906455" y="1669534"/>
            <a:ext cx="2518874" cy="239296"/>
          </a:xfrm>
          <a:prstGeom prst="rect">
            <a:avLst/>
          </a:prstGeom>
          <a:noFill/>
        </p:spPr>
        <p:txBody>
          <a:bodyPr wrap="square" rtlCol="0">
            <a:spAutoFit/>
          </a:bodyPr>
          <a:lstStyle/>
          <a:p>
            <a:pPr marL="0" marR="0" lvl="0" indent="0" algn="l" defTabSz="831230" rtl="0" eaLnBrk="1" fontAlgn="auto" latinLnBrk="0" hangingPunct="1">
              <a:lnSpc>
                <a:spcPct val="100000"/>
              </a:lnSpc>
              <a:spcBef>
                <a:spcPts val="0"/>
              </a:spcBef>
              <a:spcAft>
                <a:spcPts val="0"/>
              </a:spcAft>
              <a:buClrTx/>
              <a:buSzTx/>
              <a:buFontTx/>
              <a:buNone/>
              <a:tabLst/>
              <a:defRPr/>
            </a:pPr>
            <a:r>
              <a:rPr kumimoji="0" lang="en-US" sz="955" b="1" i="0" u="none" strike="noStrike" kern="1200" cap="none" spc="0" normalizeH="0" baseline="0" noProof="0" dirty="0">
                <a:ln>
                  <a:noFill/>
                </a:ln>
                <a:solidFill>
                  <a:srgbClr val="000000"/>
                </a:solidFill>
                <a:effectLst/>
                <a:uLnTx/>
                <a:uFillTx/>
                <a:latin typeface="Open Sans"/>
                <a:ea typeface="+mn-ea"/>
                <a:cs typeface="+mn-cs"/>
              </a:rPr>
              <a:t>AVERAGE NON-WORKING SPEND IS… </a:t>
            </a:r>
          </a:p>
        </p:txBody>
      </p:sp>
      <p:sp>
        <p:nvSpPr>
          <p:cNvPr id="47" name="Rectangle 46">
            <a:extLst>
              <a:ext uri="{FF2B5EF4-FFF2-40B4-BE49-F238E27FC236}">
                <a16:creationId xmlns:a16="http://schemas.microsoft.com/office/drawing/2014/main" id="{B3F55B1E-7A57-40C8-A7EF-9095B34542C6}"/>
              </a:ext>
            </a:extLst>
          </p:cNvPr>
          <p:cNvSpPr/>
          <p:nvPr/>
        </p:nvSpPr>
        <p:spPr bwMode="gray">
          <a:xfrm>
            <a:off x="4217812" y="1936335"/>
            <a:ext cx="1844357" cy="663993"/>
          </a:xfrm>
          <a:prstGeom prst="rect">
            <a:avLst/>
          </a:prstGeom>
          <a:noFill/>
          <a:ln w="19050" algn="ctr">
            <a:noFill/>
            <a:miter lim="800000"/>
            <a:headEnd/>
            <a:tailEnd/>
          </a:ln>
        </p:spPr>
        <p:txBody>
          <a:bodyPr wrap="square" lIns="124691" tIns="60614" rIns="124691" bIns="60614" rtlCol="0" anchor="t" anchorCtr="0"/>
          <a:lstStyle/>
          <a:p>
            <a:pPr marL="0" marR="0" lvl="0" indent="0" algn="l" defTabSz="623438" rtl="0" eaLnBrk="1" fontAlgn="auto" latinLnBrk="0" hangingPunct="1">
              <a:lnSpc>
                <a:spcPct val="100000"/>
              </a:lnSpc>
              <a:spcBef>
                <a:spcPts val="0"/>
              </a:spcBef>
              <a:spcAft>
                <a:spcPts val="818"/>
              </a:spcAft>
              <a:buClrTx/>
              <a:buSzTx/>
              <a:buFontTx/>
              <a:buNone/>
              <a:tabLst/>
              <a:defRPr/>
            </a:pPr>
            <a:r>
              <a:rPr kumimoji="0" lang="en-US" sz="1909" b="1" i="0" u="none" strike="noStrike" kern="1200" cap="none" spc="0" normalizeH="0" baseline="0" noProof="0" dirty="0">
                <a:ln>
                  <a:noFill/>
                </a:ln>
                <a:solidFill>
                  <a:srgbClr val="000000"/>
                </a:solidFill>
                <a:effectLst/>
                <a:uLnTx/>
                <a:uFillTx/>
                <a:latin typeface="Chronicle Display Black"/>
                <a:ea typeface="+mn-ea"/>
                <a:cs typeface="+mn-cs"/>
              </a:rPr>
              <a:t>24% </a:t>
            </a:r>
            <a:br>
              <a:rPr kumimoji="0" lang="en-US" sz="1091" b="1" i="0" u="none" strike="noStrike" kern="1200" cap="none" spc="0" normalizeH="0" baseline="0" noProof="0" dirty="0">
                <a:ln>
                  <a:noFill/>
                </a:ln>
                <a:solidFill>
                  <a:srgbClr val="000000"/>
                </a:solidFill>
                <a:effectLst/>
                <a:uLnTx/>
                <a:uFillTx/>
                <a:latin typeface="Open Sans"/>
                <a:ea typeface="+mn-ea"/>
                <a:cs typeface="+mn-cs"/>
              </a:rPr>
            </a:br>
            <a:r>
              <a:rPr kumimoji="0" lang="en-US" sz="1091" b="0" i="0" u="none" strike="noStrike" kern="1200" cap="none" spc="0" normalizeH="0" baseline="0" noProof="0" dirty="0">
                <a:ln>
                  <a:noFill/>
                </a:ln>
                <a:solidFill>
                  <a:srgbClr val="000000"/>
                </a:solidFill>
                <a:effectLst/>
                <a:uLnTx/>
                <a:uFillTx/>
                <a:latin typeface="Open Sans"/>
                <a:ea typeface="+mn-ea"/>
                <a:cs typeface="+mn-cs"/>
              </a:rPr>
              <a:t>of the </a:t>
            </a:r>
            <a:r>
              <a:rPr kumimoji="0" lang="en-US" sz="1091" b="1" i="0" u="none" strike="noStrike" kern="1200" cap="none" spc="0" normalizeH="0" baseline="0" noProof="0" dirty="0">
                <a:ln>
                  <a:noFill/>
                </a:ln>
                <a:solidFill>
                  <a:srgbClr val="000000"/>
                </a:solidFill>
                <a:effectLst/>
                <a:uLnTx/>
                <a:uFillTx/>
                <a:latin typeface="Open Sans"/>
                <a:ea typeface="+mn-ea"/>
                <a:cs typeface="+mn-cs"/>
              </a:rPr>
              <a:t>advertising</a:t>
            </a:r>
            <a:r>
              <a:rPr kumimoji="0" lang="en-US" sz="1091" b="0" i="0" u="none" strike="noStrike" kern="1200" cap="none" spc="0" normalizeH="0" baseline="0" noProof="0" dirty="0">
                <a:ln>
                  <a:noFill/>
                </a:ln>
                <a:solidFill>
                  <a:srgbClr val="000000"/>
                </a:solidFill>
                <a:effectLst/>
                <a:uLnTx/>
                <a:uFillTx/>
                <a:latin typeface="Open Sans"/>
                <a:ea typeface="+mn-ea"/>
                <a:cs typeface="+mn-cs"/>
              </a:rPr>
              <a:t> budget</a:t>
            </a:r>
          </a:p>
        </p:txBody>
      </p:sp>
      <p:sp>
        <p:nvSpPr>
          <p:cNvPr id="48" name="Rectangle 47">
            <a:extLst>
              <a:ext uri="{FF2B5EF4-FFF2-40B4-BE49-F238E27FC236}">
                <a16:creationId xmlns:a16="http://schemas.microsoft.com/office/drawing/2014/main" id="{0E0F2F4A-2DDC-4C7E-BA2F-8F998902F01C}"/>
              </a:ext>
            </a:extLst>
          </p:cNvPr>
          <p:cNvSpPr/>
          <p:nvPr/>
        </p:nvSpPr>
        <p:spPr bwMode="gray">
          <a:xfrm>
            <a:off x="4279901" y="2765030"/>
            <a:ext cx="1844357" cy="663993"/>
          </a:xfrm>
          <a:prstGeom prst="rect">
            <a:avLst/>
          </a:prstGeom>
          <a:noFill/>
          <a:ln w="19050" algn="ctr">
            <a:noFill/>
            <a:miter lim="800000"/>
            <a:headEnd/>
            <a:tailEnd/>
          </a:ln>
        </p:spPr>
        <p:txBody>
          <a:bodyPr wrap="square" lIns="124691" tIns="60614" rIns="124691" bIns="60614" rtlCol="0" anchor="t" anchorCtr="0"/>
          <a:lstStyle/>
          <a:p>
            <a:pPr marL="0" marR="0" lvl="0" indent="0" algn="l" defTabSz="623438" rtl="0" eaLnBrk="1" fontAlgn="auto" latinLnBrk="0" hangingPunct="1">
              <a:lnSpc>
                <a:spcPct val="100000"/>
              </a:lnSpc>
              <a:spcBef>
                <a:spcPts val="0"/>
              </a:spcBef>
              <a:spcAft>
                <a:spcPts val="818"/>
              </a:spcAft>
              <a:buClrTx/>
              <a:buSzTx/>
              <a:buFontTx/>
              <a:buNone/>
              <a:tabLst/>
              <a:defRPr/>
            </a:pPr>
            <a:r>
              <a:rPr kumimoji="0" lang="en-US" sz="1909" b="1" i="0" u="none" strike="noStrike" kern="1200" cap="none" spc="0" normalizeH="0" baseline="0" noProof="0" dirty="0">
                <a:ln>
                  <a:noFill/>
                </a:ln>
                <a:solidFill>
                  <a:srgbClr val="000000"/>
                </a:solidFill>
                <a:effectLst/>
                <a:uLnTx/>
                <a:uFillTx/>
                <a:latin typeface="Chronicle Display Black"/>
                <a:ea typeface="+mn-ea"/>
                <a:cs typeface="+mn-cs"/>
              </a:rPr>
              <a:t>8% </a:t>
            </a:r>
            <a:br>
              <a:rPr kumimoji="0" lang="en-US" sz="1091" b="1" i="0" u="none" strike="noStrike" kern="1200" cap="none" spc="0" normalizeH="0" baseline="0" noProof="0" dirty="0">
                <a:ln>
                  <a:noFill/>
                </a:ln>
                <a:solidFill>
                  <a:srgbClr val="000000"/>
                </a:solidFill>
                <a:effectLst/>
                <a:uLnTx/>
                <a:uFillTx/>
                <a:latin typeface="Open Sans"/>
                <a:ea typeface="+mn-ea"/>
                <a:cs typeface="+mn-cs"/>
              </a:rPr>
            </a:br>
            <a:r>
              <a:rPr kumimoji="0" lang="en-US" sz="1091" b="0" i="0" u="none" strike="noStrike" kern="1200" cap="none" spc="0" normalizeH="0" baseline="0" noProof="0" dirty="0">
                <a:ln>
                  <a:noFill/>
                </a:ln>
                <a:solidFill>
                  <a:srgbClr val="000000"/>
                </a:solidFill>
                <a:effectLst/>
                <a:uLnTx/>
                <a:uFillTx/>
                <a:latin typeface="Open Sans"/>
                <a:ea typeface="+mn-ea"/>
                <a:cs typeface="+mn-cs"/>
              </a:rPr>
              <a:t>of the </a:t>
            </a:r>
            <a:r>
              <a:rPr kumimoji="0" lang="en-US" sz="1091" b="1" i="0" u="none" strike="noStrike" kern="1200" cap="none" spc="0" normalizeH="0" baseline="0" noProof="0" dirty="0">
                <a:ln>
                  <a:noFill/>
                </a:ln>
                <a:solidFill>
                  <a:srgbClr val="000000"/>
                </a:solidFill>
                <a:effectLst/>
                <a:uLnTx/>
                <a:uFillTx/>
                <a:latin typeface="Open Sans"/>
                <a:ea typeface="+mn-ea"/>
                <a:cs typeface="+mn-cs"/>
              </a:rPr>
              <a:t>marketing</a:t>
            </a:r>
            <a:r>
              <a:rPr kumimoji="0" lang="en-US" sz="1091" b="0" i="0" u="none" strike="noStrike" kern="1200" cap="none" spc="0" normalizeH="0" baseline="0" noProof="0" dirty="0">
                <a:ln>
                  <a:noFill/>
                </a:ln>
                <a:solidFill>
                  <a:srgbClr val="000000"/>
                </a:solidFill>
                <a:effectLst/>
                <a:uLnTx/>
                <a:uFillTx/>
                <a:latin typeface="Open Sans"/>
                <a:ea typeface="+mn-ea"/>
                <a:cs typeface="+mn-cs"/>
              </a:rPr>
              <a:t> budget</a:t>
            </a:r>
          </a:p>
        </p:txBody>
      </p:sp>
      <p:graphicFrame>
        <p:nvGraphicFramePr>
          <p:cNvPr id="49" name="Chart 48">
            <a:extLst>
              <a:ext uri="{FF2B5EF4-FFF2-40B4-BE49-F238E27FC236}">
                <a16:creationId xmlns:a16="http://schemas.microsoft.com/office/drawing/2014/main" id="{6D8B22C2-9D73-4FCE-8503-336F2CFA562C}"/>
              </a:ext>
            </a:extLst>
          </p:cNvPr>
          <p:cNvGraphicFramePr>
            <a:graphicFrameLocks noChangeAspect="1"/>
          </p:cNvGraphicFramePr>
          <p:nvPr>
            <p:extLst>
              <p:ext uri="{D42A27DB-BD31-4B8C-83A1-F6EECF244321}">
                <p14:modId xmlns:p14="http://schemas.microsoft.com/office/powerpoint/2010/main" val="3826900701"/>
              </p:ext>
            </p:extLst>
          </p:nvPr>
        </p:nvGraphicFramePr>
        <p:xfrm>
          <a:off x="3476309" y="1907065"/>
          <a:ext cx="974968" cy="623455"/>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0" name="Chart 49">
            <a:extLst>
              <a:ext uri="{FF2B5EF4-FFF2-40B4-BE49-F238E27FC236}">
                <a16:creationId xmlns:a16="http://schemas.microsoft.com/office/drawing/2014/main" id="{FAF013F8-2148-4576-A17B-DC993A37BB47}"/>
              </a:ext>
            </a:extLst>
          </p:cNvPr>
          <p:cNvGraphicFramePr>
            <a:graphicFrameLocks noChangeAspect="1"/>
          </p:cNvGraphicFramePr>
          <p:nvPr/>
        </p:nvGraphicFramePr>
        <p:xfrm>
          <a:off x="3477222" y="2735760"/>
          <a:ext cx="974968" cy="623455"/>
        </p:xfrm>
        <a:graphic>
          <a:graphicData uri="http://schemas.openxmlformats.org/drawingml/2006/chart">
            <c:chart xmlns:c="http://schemas.openxmlformats.org/drawingml/2006/chart" xmlns:r="http://schemas.openxmlformats.org/officeDocument/2006/relationships" r:id="rId10"/>
          </a:graphicData>
        </a:graphic>
      </p:graphicFrame>
      <p:sp>
        <p:nvSpPr>
          <p:cNvPr id="51" name="TextBox 50">
            <a:extLst>
              <a:ext uri="{FF2B5EF4-FFF2-40B4-BE49-F238E27FC236}">
                <a16:creationId xmlns:a16="http://schemas.microsoft.com/office/drawing/2014/main" id="{654D06A5-FE4D-464B-9742-596AD2261EBF}"/>
              </a:ext>
            </a:extLst>
          </p:cNvPr>
          <p:cNvSpPr txBox="1"/>
          <p:nvPr/>
        </p:nvSpPr>
        <p:spPr>
          <a:xfrm>
            <a:off x="3408135" y="1666641"/>
            <a:ext cx="3857146" cy="239296"/>
          </a:xfrm>
          <a:prstGeom prst="rect">
            <a:avLst/>
          </a:prstGeom>
          <a:noFill/>
        </p:spPr>
        <p:txBody>
          <a:bodyPr wrap="square" rtlCol="0">
            <a:spAutoFit/>
          </a:bodyPr>
          <a:lstStyle/>
          <a:p>
            <a:pPr marL="0" marR="0" lvl="0" indent="0" algn="l" defTabSz="831230" rtl="0" eaLnBrk="1" fontAlgn="auto" latinLnBrk="0" hangingPunct="1">
              <a:lnSpc>
                <a:spcPct val="100000"/>
              </a:lnSpc>
              <a:spcBef>
                <a:spcPts val="0"/>
              </a:spcBef>
              <a:spcAft>
                <a:spcPts val="0"/>
              </a:spcAft>
              <a:buClrTx/>
              <a:buSzTx/>
              <a:buFontTx/>
              <a:buNone/>
              <a:tabLst/>
              <a:defRPr/>
            </a:pPr>
            <a:r>
              <a:rPr kumimoji="0" lang="en-US" sz="955" b="1" i="0" u="none" strike="noStrike" kern="1200" cap="none" spc="0" normalizeH="0" baseline="0" noProof="0" dirty="0">
                <a:ln>
                  <a:noFill/>
                </a:ln>
                <a:solidFill>
                  <a:srgbClr val="000000"/>
                </a:solidFill>
                <a:effectLst/>
                <a:uLnTx/>
                <a:uFillTx/>
                <a:latin typeface="Open Sans"/>
                <a:ea typeface="+mn-ea"/>
                <a:cs typeface="+mn-cs"/>
              </a:rPr>
              <a:t>EFFICIENT MARKETERS NON-WORKING SPEND IS… </a:t>
            </a:r>
          </a:p>
        </p:txBody>
      </p:sp>
      <p:sp>
        <p:nvSpPr>
          <p:cNvPr id="52" name="Freeform 307">
            <a:extLst>
              <a:ext uri="{FF2B5EF4-FFF2-40B4-BE49-F238E27FC236}">
                <a16:creationId xmlns:a16="http://schemas.microsoft.com/office/drawing/2014/main" id="{3AA2895C-6A65-462F-97D3-3ABE1232E0ED}"/>
              </a:ext>
            </a:extLst>
          </p:cNvPr>
          <p:cNvSpPr>
            <a:spLocks noEditPoints="1"/>
          </p:cNvSpPr>
          <p:nvPr/>
        </p:nvSpPr>
        <p:spPr bwMode="auto">
          <a:xfrm>
            <a:off x="1440295" y="2142443"/>
            <a:ext cx="93085" cy="190500"/>
          </a:xfrm>
          <a:custGeom>
            <a:avLst/>
            <a:gdLst>
              <a:gd name="T0" fmla="*/ 145 w 172"/>
              <a:gd name="T1" fmla="*/ 120 h 353"/>
              <a:gd name="T2" fmla="*/ 158 w 172"/>
              <a:gd name="T3" fmla="*/ 128 h 353"/>
              <a:gd name="T4" fmla="*/ 168 w 172"/>
              <a:gd name="T5" fmla="*/ 124 h 353"/>
              <a:gd name="T6" fmla="*/ 172 w 172"/>
              <a:gd name="T7" fmla="*/ 114 h 353"/>
              <a:gd name="T8" fmla="*/ 160 w 172"/>
              <a:gd name="T9" fmla="*/ 71 h 353"/>
              <a:gd name="T10" fmla="*/ 129 w 172"/>
              <a:gd name="T11" fmla="*/ 43 h 353"/>
              <a:gd name="T12" fmla="*/ 101 w 172"/>
              <a:gd name="T13" fmla="*/ 15 h 353"/>
              <a:gd name="T14" fmla="*/ 97 w 172"/>
              <a:gd name="T15" fmla="*/ 4 h 353"/>
              <a:gd name="T16" fmla="*/ 86 w 172"/>
              <a:gd name="T17" fmla="*/ 0 h 353"/>
              <a:gd name="T18" fmla="*/ 72 w 172"/>
              <a:gd name="T19" fmla="*/ 10 h 353"/>
              <a:gd name="T20" fmla="*/ 71 w 172"/>
              <a:gd name="T21" fmla="*/ 36 h 353"/>
              <a:gd name="T22" fmla="*/ 31 w 172"/>
              <a:gd name="T23" fmla="*/ 51 h 353"/>
              <a:gd name="T24" fmla="*/ 5 w 172"/>
              <a:gd name="T25" fmla="*/ 85 h 353"/>
              <a:gd name="T26" fmla="*/ 0 w 172"/>
              <a:gd name="T27" fmla="*/ 114 h 353"/>
              <a:gd name="T28" fmla="*/ 4 w 172"/>
              <a:gd name="T29" fmla="*/ 140 h 353"/>
              <a:gd name="T30" fmla="*/ 15 w 172"/>
              <a:gd name="T31" fmla="*/ 159 h 353"/>
              <a:gd name="T32" fmla="*/ 48 w 172"/>
              <a:gd name="T33" fmla="*/ 181 h 353"/>
              <a:gd name="T34" fmla="*/ 71 w 172"/>
              <a:gd name="T35" fmla="*/ 289 h 353"/>
              <a:gd name="T36" fmla="*/ 55 w 172"/>
              <a:gd name="T37" fmla="*/ 284 h 353"/>
              <a:gd name="T38" fmla="*/ 36 w 172"/>
              <a:gd name="T39" fmla="*/ 266 h 353"/>
              <a:gd name="T40" fmla="*/ 28 w 172"/>
              <a:gd name="T41" fmla="*/ 239 h 353"/>
              <a:gd name="T42" fmla="*/ 24 w 172"/>
              <a:gd name="T43" fmla="*/ 230 h 353"/>
              <a:gd name="T44" fmla="*/ 13 w 172"/>
              <a:gd name="T45" fmla="*/ 226 h 353"/>
              <a:gd name="T46" fmla="*/ 1 w 172"/>
              <a:gd name="T47" fmla="*/ 234 h 353"/>
              <a:gd name="T48" fmla="*/ 1 w 172"/>
              <a:gd name="T49" fmla="*/ 255 h 353"/>
              <a:gd name="T50" fmla="*/ 20 w 172"/>
              <a:gd name="T51" fmla="*/ 293 h 353"/>
              <a:gd name="T52" fmla="*/ 56 w 172"/>
              <a:gd name="T53" fmla="*/ 314 h 353"/>
              <a:gd name="T54" fmla="*/ 71 w 172"/>
              <a:gd name="T55" fmla="*/ 339 h 353"/>
              <a:gd name="T56" fmla="*/ 80 w 172"/>
              <a:gd name="T57" fmla="*/ 352 h 353"/>
              <a:gd name="T58" fmla="*/ 91 w 172"/>
              <a:gd name="T59" fmla="*/ 352 h 353"/>
              <a:gd name="T60" fmla="*/ 101 w 172"/>
              <a:gd name="T61" fmla="*/ 339 h 353"/>
              <a:gd name="T62" fmla="*/ 115 w 172"/>
              <a:gd name="T63" fmla="*/ 314 h 353"/>
              <a:gd name="T64" fmla="*/ 152 w 172"/>
              <a:gd name="T65" fmla="*/ 293 h 353"/>
              <a:gd name="T66" fmla="*/ 170 w 172"/>
              <a:gd name="T67" fmla="*/ 255 h 353"/>
              <a:gd name="T68" fmla="*/ 172 w 172"/>
              <a:gd name="T69" fmla="*/ 231 h 353"/>
              <a:gd name="T70" fmla="*/ 165 w 172"/>
              <a:gd name="T71" fmla="*/ 207 h 353"/>
              <a:gd name="T72" fmla="*/ 148 w 172"/>
              <a:gd name="T73" fmla="*/ 187 h 353"/>
              <a:gd name="T74" fmla="*/ 111 w 172"/>
              <a:gd name="T75" fmla="*/ 169 h 353"/>
              <a:gd name="T76" fmla="*/ 101 w 172"/>
              <a:gd name="T77" fmla="*/ 66 h 353"/>
              <a:gd name="T78" fmla="*/ 125 w 172"/>
              <a:gd name="T79" fmla="*/ 74 h 353"/>
              <a:gd name="T80" fmla="*/ 140 w 172"/>
              <a:gd name="T81" fmla="*/ 95 h 353"/>
              <a:gd name="T82" fmla="*/ 144 w 172"/>
              <a:gd name="T83" fmla="*/ 114 h 353"/>
              <a:gd name="T84" fmla="*/ 101 w 172"/>
              <a:gd name="T85" fmla="*/ 196 h 353"/>
              <a:gd name="T86" fmla="*/ 133 w 172"/>
              <a:gd name="T87" fmla="*/ 212 h 353"/>
              <a:gd name="T88" fmla="*/ 142 w 172"/>
              <a:gd name="T89" fmla="*/ 231 h 353"/>
              <a:gd name="T90" fmla="*/ 142 w 172"/>
              <a:gd name="T91" fmla="*/ 249 h 353"/>
              <a:gd name="T92" fmla="*/ 130 w 172"/>
              <a:gd name="T93" fmla="*/ 273 h 353"/>
              <a:gd name="T94" fmla="*/ 109 w 172"/>
              <a:gd name="T95" fmla="*/ 286 h 353"/>
              <a:gd name="T96" fmla="*/ 28 w 172"/>
              <a:gd name="T97" fmla="*/ 114 h 353"/>
              <a:gd name="T98" fmla="*/ 32 w 172"/>
              <a:gd name="T99" fmla="*/ 95 h 353"/>
              <a:gd name="T100" fmla="*/ 47 w 172"/>
              <a:gd name="T101" fmla="*/ 74 h 353"/>
              <a:gd name="T102" fmla="*/ 71 w 172"/>
              <a:gd name="T103" fmla="*/ 66 h 353"/>
              <a:gd name="T104" fmla="*/ 52 w 172"/>
              <a:gd name="T105" fmla="*/ 151 h 353"/>
              <a:gd name="T106" fmla="*/ 33 w 172"/>
              <a:gd name="T107" fmla="*/ 137 h 353"/>
              <a:gd name="T108" fmla="*/ 28 w 172"/>
              <a:gd name="T109" fmla="*/ 114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2" h="353">
                <a:moveTo>
                  <a:pt x="144" y="114"/>
                </a:moveTo>
                <a:lnTo>
                  <a:pt x="144" y="114"/>
                </a:lnTo>
                <a:lnTo>
                  <a:pt x="145" y="120"/>
                </a:lnTo>
                <a:lnTo>
                  <a:pt x="148" y="124"/>
                </a:lnTo>
                <a:lnTo>
                  <a:pt x="152" y="128"/>
                </a:lnTo>
                <a:lnTo>
                  <a:pt x="158" y="128"/>
                </a:lnTo>
                <a:lnTo>
                  <a:pt x="158" y="128"/>
                </a:lnTo>
                <a:lnTo>
                  <a:pt x="164" y="128"/>
                </a:lnTo>
                <a:lnTo>
                  <a:pt x="168" y="124"/>
                </a:lnTo>
                <a:lnTo>
                  <a:pt x="170" y="120"/>
                </a:lnTo>
                <a:lnTo>
                  <a:pt x="172" y="114"/>
                </a:lnTo>
                <a:lnTo>
                  <a:pt x="172" y="114"/>
                </a:lnTo>
                <a:lnTo>
                  <a:pt x="170" y="98"/>
                </a:lnTo>
                <a:lnTo>
                  <a:pt x="166" y="85"/>
                </a:lnTo>
                <a:lnTo>
                  <a:pt x="160" y="71"/>
                </a:lnTo>
                <a:lnTo>
                  <a:pt x="152" y="61"/>
                </a:lnTo>
                <a:lnTo>
                  <a:pt x="141" y="51"/>
                </a:lnTo>
                <a:lnTo>
                  <a:pt x="129" y="43"/>
                </a:lnTo>
                <a:lnTo>
                  <a:pt x="115" y="39"/>
                </a:lnTo>
                <a:lnTo>
                  <a:pt x="101" y="36"/>
                </a:lnTo>
                <a:lnTo>
                  <a:pt x="101" y="15"/>
                </a:lnTo>
                <a:lnTo>
                  <a:pt x="101" y="15"/>
                </a:lnTo>
                <a:lnTo>
                  <a:pt x="99" y="10"/>
                </a:lnTo>
                <a:lnTo>
                  <a:pt x="97" y="4"/>
                </a:lnTo>
                <a:lnTo>
                  <a:pt x="91" y="1"/>
                </a:lnTo>
                <a:lnTo>
                  <a:pt x="86" y="0"/>
                </a:lnTo>
                <a:lnTo>
                  <a:pt x="86" y="0"/>
                </a:lnTo>
                <a:lnTo>
                  <a:pt x="80" y="1"/>
                </a:lnTo>
                <a:lnTo>
                  <a:pt x="75" y="4"/>
                </a:lnTo>
                <a:lnTo>
                  <a:pt x="72" y="10"/>
                </a:lnTo>
                <a:lnTo>
                  <a:pt x="71" y="15"/>
                </a:lnTo>
                <a:lnTo>
                  <a:pt x="71" y="36"/>
                </a:lnTo>
                <a:lnTo>
                  <a:pt x="71" y="36"/>
                </a:lnTo>
                <a:lnTo>
                  <a:pt x="56" y="39"/>
                </a:lnTo>
                <a:lnTo>
                  <a:pt x="43" y="43"/>
                </a:lnTo>
                <a:lnTo>
                  <a:pt x="31" y="51"/>
                </a:lnTo>
                <a:lnTo>
                  <a:pt x="20" y="61"/>
                </a:lnTo>
                <a:lnTo>
                  <a:pt x="12" y="71"/>
                </a:lnTo>
                <a:lnTo>
                  <a:pt x="5" y="85"/>
                </a:lnTo>
                <a:lnTo>
                  <a:pt x="1" y="98"/>
                </a:lnTo>
                <a:lnTo>
                  <a:pt x="0" y="114"/>
                </a:lnTo>
                <a:lnTo>
                  <a:pt x="0" y="114"/>
                </a:lnTo>
                <a:lnTo>
                  <a:pt x="0" y="124"/>
                </a:lnTo>
                <a:lnTo>
                  <a:pt x="1" y="132"/>
                </a:lnTo>
                <a:lnTo>
                  <a:pt x="4" y="140"/>
                </a:lnTo>
                <a:lnTo>
                  <a:pt x="7" y="147"/>
                </a:lnTo>
                <a:lnTo>
                  <a:pt x="11" y="153"/>
                </a:lnTo>
                <a:lnTo>
                  <a:pt x="15" y="159"/>
                </a:lnTo>
                <a:lnTo>
                  <a:pt x="25" y="168"/>
                </a:lnTo>
                <a:lnTo>
                  <a:pt x="36" y="176"/>
                </a:lnTo>
                <a:lnTo>
                  <a:pt x="48" y="181"/>
                </a:lnTo>
                <a:lnTo>
                  <a:pt x="60" y="185"/>
                </a:lnTo>
                <a:lnTo>
                  <a:pt x="71" y="188"/>
                </a:lnTo>
                <a:lnTo>
                  <a:pt x="71" y="289"/>
                </a:lnTo>
                <a:lnTo>
                  <a:pt x="71" y="289"/>
                </a:lnTo>
                <a:lnTo>
                  <a:pt x="63" y="286"/>
                </a:lnTo>
                <a:lnTo>
                  <a:pt x="55" y="284"/>
                </a:lnTo>
                <a:lnTo>
                  <a:pt x="47" y="279"/>
                </a:lnTo>
                <a:lnTo>
                  <a:pt x="41" y="273"/>
                </a:lnTo>
                <a:lnTo>
                  <a:pt x="36" y="266"/>
                </a:lnTo>
                <a:lnTo>
                  <a:pt x="32" y="258"/>
                </a:lnTo>
                <a:lnTo>
                  <a:pt x="29" y="249"/>
                </a:lnTo>
                <a:lnTo>
                  <a:pt x="28" y="239"/>
                </a:lnTo>
                <a:lnTo>
                  <a:pt x="28" y="239"/>
                </a:lnTo>
                <a:lnTo>
                  <a:pt x="27" y="234"/>
                </a:lnTo>
                <a:lnTo>
                  <a:pt x="24" y="230"/>
                </a:lnTo>
                <a:lnTo>
                  <a:pt x="20" y="227"/>
                </a:lnTo>
                <a:lnTo>
                  <a:pt x="13" y="226"/>
                </a:lnTo>
                <a:lnTo>
                  <a:pt x="13" y="226"/>
                </a:lnTo>
                <a:lnTo>
                  <a:pt x="8" y="227"/>
                </a:lnTo>
                <a:lnTo>
                  <a:pt x="4" y="230"/>
                </a:lnTo>
                <a:lnTo>
                  <a:pt x="1" y="234"/>
                </a:lnTo>
                <a:lnTo>
                  <a:pt x="0" y="239"/>
                </a:lnTo>
                <a:lnTo>
                  <a:pt x="0" y="239"/>
                </a:lnTo>
                <a:lnTo>
                  <a:pt x="1" y="255"/>
                </a:lnTo>
                <a:lnTo>
                  <a:pt x="5" y="269"/>
                </a:lnTo>
                <a:lnTo>
                  <a:pt x="12" y="282"/>
                </a:lnTo>
                <a:lnTo>
                  <a:pt x="20" y="293"/>
                </a:lnTo>
                <a:lnTo>
                  <a:pt x="31" y="302"/>
                </a:lnTo>
                <a:lnTo>
                  <a:pt x="43" y="310"/>
                </a:lnTo>
                <a:lnTo>
                  <a:pt x="56" y="314"/>
                </a:lnTo>
                <a:lnTo>
                  <a:pt x="71" y="317"/>
                </a:lnTo>
                <a:lnTo>
                  <a:pt x="71" y="339"/>
                </a:lnTo>
                <a:lnTo>
                  <a:pt x="71" y="339"/>
                </a:lnTo>
                <a:lnTo>
                  <a:pt x="72" y="344"/>
                </a:lnTo>
                <a:lnTo>
                  <a:pt x="75" y="349"/>
                </a:lnTo>
                <a:lnTo>
                  <a:pt x="80" y="352"/>
                </a:lnTo>
                <a:lnTo>
                  <a:pt x="86" y="353"/>
                </a:lnTo>
                <a:lnTo>
                  <a:pt x="86" y="353"/>
                </a:lnTo>
                <a:lnTo>
                  <a:pt x="91" y="352"/>
                </a:lnTo>
                <a:lnTo>
                  <a:pt x="97" y="349"/>
                </a:lnTo>
                <a:lnTo>
                  <a:pt x="99" y="344"/>
                </a:lnTo>
                <a:lnTo>
                  <a:pt x="101" y="339"/>
                </a:lnTo>
                <a:lnTo>
                  <a:pt x="101" y="317"/>
                </a:lnTo>
                <a:lnTo>
                  <a:pt x="101" y="317"/>
                </a:lnTo>
                <a:lnTo>
                  <a:pt x="115" y="314"/>
                </a:lnTo>
                <a:lnTo>
                  <a:pt x="129" y="310"/>
                </a:lnTo>
                <a:lnTo>
                  <a:pt x="141" y="302"/>
                </a:lnTo>
                <a:lnTo>
                  <a:pt x="152" y="293"/>
                </a:lnTo>
                <a:lnTo>
                  <a:pt x="160" y="282"/>
                </a:lnTo>
                <a:lnTo>
                  <a:pt x="166" y="269"/>
                </a:lnTo>
                <a:lnTo>
                  <a:pt x="170" y="255"/>
                </a:lnTo>
                <a:lnTo>
                  <a:pt x="172" y="239"/>
                </a:lnTo>
                <a:lnTo>
                  <a:pt x="172" y="239"/>
                </a:lnTo>
                <a:lnTo>
                  <a:pt x="172" y="231"/>
                </a:lnTo>
                <a:lnTo>
                  <a:pt x="170" y="222"/>
                </a:lnTo>
                <a:lnTo>
                  <a:pt x="168" y="215"/>
                </a:lnTo>
                <a:lnTo>
                  <a:pt x="165" y="207"/>
                </a:lnTo>
                <a:lnTo>
                  <a:pt x="161" y="202"/>
                </a:lnTo>
                <a:lnTo>
                  <a:pt x="157" y="196"/>
                </a:lnTo>
                <a:lnTo>
                  <a:pt x="148" y="187"/>
                </a:lnTo>
                <a:lnTo>
                  <a:pt x="135" y="179"/>
                </a:lnTo>
                <a:lnTo>
                  <a:pt x="123" y="173"/>
                </a:lnTo>
                <a:lnTo>
                  <a:pt x="111" y="169"/>
                </a:lnTo>
                <a:lnTo>
                  <a:pt x="101" y="165"/>
                </a:lnTo>
                <a:lnTo>
                  <a:pt x="101" y="66"/>
                </a:lnTo>
                <a:lnTo>
                  <a:pt x="101" y="66"/>
                </a:lnTo>
                <a:lnTo>
                  <a:pt x="109" y="67"/>
                </a:lnTo>
                <a:lnTo>
                  <a:pt x="117" y="70"/>
                </a:lnTo>
                <a:lnTo>
                  <a:pt x="125" y="74"/>
                </a:lnTo>
                <a:lnTo>
                  <a:pt x="130" y="81"/>
                </a:lnTo>
                <a:lnTo>
                  <a:pt x="135" y="87"/>
                </a:lnTo>
                <a:lnTo>
                  <a:pt x="140" y="95"/>
                </a:lnTo>
                <a:lnTo>
                  <a:pt x="142" y="105"/>
                </a:lnTo>
                <a:lnTo>
                  <a:pt x="144" y="114"/>
                </a:lnTo>
                <a:lnTo>
                  <a:pt x="144" y="114"/>
                </a:lnTo>
                <a:close/>
                <a:moveTo>
                  <a:pt x="101" y="289"/>
                </a:moveTo>
                <a:lnTo>
                  <a:pt x="101" y="196"/>
                </a:lnTo>
                <a:lnTo>
                  <a:pt x="101" y="196"/>
                </a:lnTo>
                <a:lnTo>
                  <a:pt x="119" y="203"/>
                </a:lnTo>
                <a:lnTo>
                  <a:pt x="127" y="207"/>
                </a:lnTo>
                <a:lnTo>
                  <a:pt x="133" y="212"/>
                </a:lnTo>
                <a:lnTo>
                  <a:pt x="138" y="218"/>
                </a:lnTo>
                <a:lnTo>
                  <a:pt x="141" y="223"/>
                </a:lnTo>
                <a:lnTo>
                  <a:pt x="142" y="231"/>
                </a:lnTo>
                <a:lnTo>
                  <a:pt x="144" y="239"/>
                </a:lnTo>
                <a:lnTo>
                  <a:pt x="144" y="239"/>
                </a:lnTo>
                <a:lnTo>
                  <a:pt x="142" y="249"/>
                </a:lnTo>
                <a:lnTo>
                  <a:pt x="140" y="258"/>
                </a:lnTo>
                <a:lnTo>
                  <a:pt x="135" y="266"/>
                </a:lnTo>
                <a:lnTo>
                  <a:pt x="130" y="273"/>
                </a:lnTo>
                <a:lnTo>
                  <a:pt x="125" y="279"/>
                </a:lnTo>
                <a:lnTo>
                  <a:pt x="117" y="284"/>
                </a:lnTo>
                <a:lnTo>
                  <a:pt x="109" y="286"/>
                </a:lnTo>
                <a:lnTo>
                  <a:pt x="101" y="289"/>
                </a:lnTo>
                <a:lnTo>
                  <a:pt x="101" y="289"/>
                </a:lnTo>
                <a:close/>
                <a:moveTo>
                  <a:pt x="28" y="114"/>
                </a:moveTo>
                <a:lnTo>
                  <a:pt x="28" y="114"/>
                </a:lnTo>
                <a:lnTo>
                  <a:pt x="29" y="105"/>
                </a:lnTo>
                <a:lnTo>
                  <a:pt x="32" y="95"/>
                </a:lnTo>
                <a:lnTo>
                  <a:pt x="36" y="87"/>
                </a:lnTo>
                <a:lnTo>
                  <a:pt x="41" y="81"/>
                </a:lnTo>
                <a:lnTo>
                  <a:pt x="47" y="74"/>
                </a:lnTo>
                <a:lnTo>
                  <a:pt x="55" y="70"/>
                </a:lnTo>
                <a:lnTo>
                  <a:pt x="63" y="67"/>
                </a:lnTo>
                <a:lnTo>
                  <a:pt x="71" y="66"/>
                </a:lnTo>
                <a:lnTo>
                  <a:pt x="71" y="159"/>
                </a:lnTo>
                <a:lnTo>
                  <a:pt x="71" y="159"/>
                </a:lnTo>
                <a:lnTo>
                  <a:pt x="52" y="151"/>
                </a:lnTo>
                <a:lnTo>
                  <a:pt x="44" y="147"/>
                </a:lnTo>
                <a:lnTo>
                  <a:pt x="39" y="142"/>
                </a:lnTo>
                <a:lnTo>
                  <a:pt x="33" y="137"/>
                </a:lnTo>
                <a:lnTo>
                  <a:pt x="31" y="130"/>
                </a:lnTo>
                <a:lnTo>
                  <a:pt x="29" y="122"/>
                </a:lnTo>
                <a:lnTo>
                  <a:pt x="28" y="114"/>
                </a:lnTo>
                <a:lnTo>
                  <a:pt x="28" y="1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pPr marL="0" marR="0" lvl="0" indent="0" algn="l" defTabSz="623438" rtl="0" eaLnBrk="1" fontAlgn="auto" latinLnBrk="0" hangingPunct="1">
              <a:lnSpc>
                <a:spcPct val="100000"/>
              </a:lnSpc>
              <a:spcBef>
                <a:spcPts val="0"/>
              </a:spcBef>
              <a:spcAft>
                <a:spcPts val="0"/>
              </a:spcAft>
              <a:buClrTx/>
              <a:buSzTx/>
              <a:buFontTx/>
              <a:buNone/>
              <a:tabLst/>
              <a:defRPr/>
            </a:pPr>
            <a:endParaRPr kumimoji="0" lang="en-US" sz="1227"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3" name="Freeform 307">
            <a:extLst>
              <a:ext uri="{FF2B5EF4-FFF2-40B4-BE49-F238E27FC236}">
                <a16:creationId xmlns:a16="http://schemas.microsoft.com/office/drawing/2014/main" id="{5CAA28C8-8D49-4124-9DBE-06A778A27BE7}"/>
              </a:ext>
            </a:extLst>
          </p:cNvPr>
          <p:cNvSpPr>
            <a:spLocks noEditPoints="1"/>
          </p:cNvSpPr>
          <p:nvPr/>
        </p:nvSpPr>
        <p:spPr bwMode="auto">
          <a:xfrm>
            <a:off x="3913420" y="2126839"/>
            <a:ext cx="93085" cy="190500"/>
          </a:xfrm>
          <a:custGeom>
            <a:avLst/>
            <a:gdLst>
              <a:gd name="T0" fmla="*/ 145 w 172"/>
              <a:gd name="T1" fmla="*/ 120 h 353"/>
              <a:gd name="T2" fmla="*/ 158 w 172"/>
              <a:gd name="T3" fmla="*/ 128 h 353"/>
              <a:gd name="T4" fmla="*/ 168 w 172"/>
              <a:gd name="T5" fmla="*/ 124 h 353"/>
              <a:gd name="T6" fmla="*/ 172 w 172"/>
              <a:gd name="T7" fmla="*/ 114 h 353"/>
              <a:gd name="T8" fmla="*/ 160 w 172"/>
              <a:gd name="T9" fmla="*/ 71 h 353"/>
              <a:gd name="T10" fmla="*/ 129 w 172"/>
              <a:gd name="T11" fmla="*/ 43 h 353"/>
              <a:gd name="T12" fmla="*/ 101 w 172"/>
              <a:gd name="T13" fmla="*/ 15 h 353"/>
              <a:gd name="T14" fmla="*/ 97 w 172"/>
              <a:gd name="T15" fmla="*/ 4 h 353"/>
              <a:gd name="T16" fmla="*/ 86 w 172"/>
              <a:gd name="T17" fmla="*/ 0 h 353"/>
              <a:gd name="T18" fmla="*/ 72 w 172"/>
              <a:gd name="T19" fmla="*/ 10 h 353"/>
              <a:gd name="T20" fmla="*/ 71 w 172"/>
              <a:gd name="T21" fmla="*/ 36 h 353"/>
              <a:gd name="T22" fmla="*/ 31 w 172"/>
              <a:gd name="T23" fmla="*/ 51 h 353"/>
              <a:gd name="T24" fmla="*/ 5 w 172"/>
              <a:gd name="T25" fmla="*/ 85 h 353"/>
              <a:gd name="T26" fmla="*/ 0 w 172"/>
              <a:gd name="T27" fmla="*/ 114 h 353"/>
              <a:gd name="T28" fmla="*/ 4 w 172"/>
              <a:gd name="T29" fmla="*/ 140 h 353"/>
              <a:gd name="T30" fmla="*/ 15 w 172"/>
              <a:gd name="T31" fmla="*/ 159 h 353"/>
              <a:gd name="T32" fmla="*/ 48 w 172"/>
              <a:gd name="T33" fmla="*/ 181 h 353"/>
              <a:gd name="T34" fmla="*/ 71 w 172"/>
              <a:gd name="T35" fmla="*/ 289 h 353"/>
              <a:gd name="T36" fmla="*/ 55 w 172"/>
              <a:gd name="T37" fmla="*/ 284 h 353"/>
              <a:gd name="T38" fmla="*/ 36 w 172"/>
              <a:gd name="T39" fmla="*/ 266 h 353"/>
              <a:gd name="T40" fmla="*/ 28 w 172"/>
              <a:gd name="T41" fmla="*/ 239 h 353"/>
              <a:gd name="T42" fmla="*/ 24 w 172"/>
              <a:gd name="T43" fmla="*/ 230 h 353"/>
              <a:gd name="T44" fmla="*/ 13 w 172"/>
              <a:gd name="T45" fmla="*/ 226 h 353"/>
              <a:gd name="T46" fmla="*/ 1 w 172"/>
              <a:gd name="T47" fmla="*/ 234 h 353"/>
              <a:gd name="T48" fmla="*/ 1 w 172"/>
              <a:gd name="T49" fmla="*/ 255 h 353"/>
              <a:gd name="T50" fmla="*/ 20 w 172"/>
              <a:gd name="T51" fmla="*/ 293 h 353"/>
              <a:gd name="T52" fmla="*/ 56 w 172"/>
              <a:gd name="T53" fmla="*/ 314 h 353"/>
              <a:gd name="T54" fmla="*/ 71 w 172"/>
              <a:gd name="T55" fmla="*/ 339 h 353"/>
              <a:gd name="T56" fmla="*/ 80 w 172"/>
              <a:gd name="T57" fmla="*/ 352 h 353"/>
              <a:gd name="T58" fmla="*/ 91 w 172"/>
              <a:gd name="T59" fmla="*/ 352 h 353"/>
              <a:gd name="T60" fmla="*/ 101 w 172"/>
              <a:gd name="T61" fmla="*/ 339 h 353"/>
              <a:gd name="T62" fmla="*/ 115 w 172"/>
              <a:gd name="T63" fmla="*/ 314 h 353"/>
              <a:gd name="T64" fmla="*/ 152 w 172"/>
              <a:gd name="T65" fmla="*/ 293 h 353"/>
              <a:gd name="T66" fmla="*/ 170 w 172"/>
              <a:gd name="T67" fmla="*/ 255 h 353"/>
              <a:gd name="T68" fmla="*/ 172 w 172"/>
              <a:gd name="T69" fmla="*/ 231 h 353"/>
              <a:gd name="T70" fmla="*/ 165 w 172"/>
              <a:gd name="T71" fmla="*/ 207 h 353"/>
              <a:gd name="T72" fmla="*/ 148 w 172"/>
              <a:gd name="T73" fmla="*/ 187 h 353"/>
              <a:gd name="T74" fmla="*/ 111 w 172"/>
              <a:gd name="T75" fmla="*/ 169 h 353"/>
              <a:gd name="T76" fmla="*/ 101 w 172"/>
              <a:gd name="T77" fmla="*/ 66 h 353"/>
              <a:gd name="T78" fmla="*/ 125 w 172"/>
              <a:gd name="T79" fmla="*/ 74 h 353"/>
              <a:gd name="T80" fmla="*/ 140 w 172"/>
              <a:gd name="T81" fmla="*/ 95 h 353"/>
              <a:gd name="T82" fmla="*/ 144 w 172"/>
              <a:gd name="T83" fmla="*/ 114 h 353"/>
              <a:gd name="T84" fmla="*/ 101 w 172"/>
              <a:gd name="T85" fmla="*/ 196 h 353"/>
              <a:gd name="T86" fmla="*/ 133 w 172"/>
              <a:gd name="T87" fmla="*/ 212 h 353"/>
              <a:gd name="T88" fmla="*/ 142 w 172"/>
              <a:gd name="T89" fmla="*/ 231 h 353"/>
              <a:gd name="T90" fmla="*/ 142 w 172"/>
              <a:gd name="T91" fmla="*/ 249 h 353"/>
              <a:gd name="T92" fmla="*/ 130 w 172"/>
              <a:gd name="T93" fmla="*/ 273 h 353"/>
              <a:gd name="T94" fmla="*/ 109 w 172"/>
              <a:gd name="T95" fmla="*/ 286 h 353"/>
              <a:gd name="T96" fmla="*/ 28 w 172"/>
              <a:gd name="T97" fmla="*/ 114 h 353"/>
              <a:gd name="T98" fmla="*/ 32 w 172"/>
              <a:gd name="T99" fmla="*/ 95 h 353"/>
              <a:gd name="T100" fmla="*/ 47 w 172"/>
              <a:gd name="T101" fmla="*/ 74 h 353"/>
              <a:gd name="T102" fmla="*/ 71 w 172"/>
              <a:gd name="T103" fmla="*/ 66 h 353"/>
              <a:gd name="T104" fmla="*/ 52 w 172"/>
              <a:gd name="T105" fmla="*/ 151 h 353"/>
              <a:gd name="T106" fmla="*/ 33 w 172"/>
              <a:gd name="T107" fmla="*/ 137 h 353"/>
              <a:gd name="T108" fmla="*/ 28 w 172"/>
              <a:gd name="T109" fmla="*/ 114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2" h="353">
                <a:moveTo>
                  <a:pt x="144" y="114"/>
                </a:moveTo>
                <a:lnTo>
                  <a:pt x="144" y="114"/>
                </a:lnTo>
                <a:lnTo>
                  <a:pt x="145" y="120"/>
                </a:lnTo>
                <a:lnTo>
                  <a:pt x="148" y="124"/>
                </a:lnTo>
                <a:lnTo>
                  <a:pt x="152" y="128"/>
                </a:lnTo>
                <a:lnTo>
                  <a:pt x="158" y="128"/>
                </a:lnTo>
                <a:lnTo>
                  <a:pt x="158" y="128"/>
                </a:lnTo>
                <a:lnTo>
                  <a:pt x="164" y="128"/>
                </a:lnTo>
                <a:lnTo>
                  <a:pt x="168" y="124"/>
                </a:lnTo>
                <a:lnTo>
                  <a:pt x="170" y="120"/>
                </a:lnTo>
                <a:lnTo>
                  <a:pt x="172" y="114"/>
                </a:lnTo>
                <a:lnTo>
                  <a:pt x="172" y="114"/>
                </a:lnTo>
                <a:lnTo>
                  <a:pt x="170" y="98"/>
                </a:lnTo>
                <a:lnTo>
                  <a:pt x="166" y="85"/>
                </a:lnTo>
                <a:lnTo>
                  <a:pt x="160" y="71"/>
                </a:lnTo>
                <a:lnTo>
                  <a:pt x="152" y="61"/>
                </a:lnTo>
                <a:lnTo>
                  <a:pt x="141" y="51"/>
                </a:lnTo>
                <a:lnTo>
                  <a:pt x="129" y="43"/>
                </a:lnTo>
                <a:lnTo>
                  <a:pt x="115" y="39"/>
                </a:lnTo>
                <a:lnTo>
                  <a:pt x="101" y="36"/>
                </a:lnTo>
                <a:lnTo>
                  <a:pt x="101" y="15"/>
                </a:lnTo>
                <a:lnTo>
                  <a:pt x="101" y="15"/>
                </a:lnTo>
                <a:lnTo>
                  <a:pt x="99" y="10"/>
                </a:lnTo>
                <a:lnTo>
                  <a:pt x="97" y="4"/>
                </a:lnTo>
                <a:lnTo>
                  <a:pt x="91" y="1"/>
                </a:lnTo>
                <a:lnTo>
                  <a:pt x="86" y="0"/>
                </a:lnTo>
                <a:lnTo>
                  <a:pt x="86" y="0"/>
                </a:lnTo>
                <a:lnTo>
                  <a:pt x="80" y="1"/>
                </a:lnTo>
                <a:lnTo>
                  <a:pt x="75" y="4"/>
                </a:lnTo>
                <a:lnTo>
                  <a:pt x="72" y="10"/>
                </a:lnTo>
                <a:lnTo>
                  <a:pt x="71" y="15"/>
                </a:lnTo>
                <a:lnTo>
                  <a:pt x="71" y="36"/>
                </a:lnTo>
                <a:lnTo>
                  <a:pt x="71" y="36"/>
                </a:lnTo>
                <a:lnTo>
                  <a:pt x="56" y="39"/>
                </a:lnTo>
                <a:lnTo>
                  <a:pt x="43" y="43"/>
                </a:lnTo>
                <a:lnTo>
                  <a:pt x="31" y="51"/>
                </a:lnTo>
                <a:lnTo>
                  <a:pt x="20" y="61"/>
                </a:lnTo>
                <a:lnTo>
                  <a:pt x="12" y="71"/>
                </a:lnTo>
                <a:lnTo>
                  <a:pt x="5" y="85"/>
                </a:lnTo>
                <a:lnTo>
                  <a:pt x="1" y="98"/>
                </a:lnTo>
                <a:lnTo>
                  <a:pt x="0" y="114"/>
                </a:lnTo>
                <a:lnTo>
                  <a:pt x="0" y="114"/>
                </a:lnTo>
                <a:lnTo>
                  <a:pt x="0" y="124"/>
                </a:lnTo>
                <a:lnTo>
                  <a:pt x="1" y="132"/>
                </a:lnTo>
                <a:lnTo>
                  <a:pt x="4" y="140"/>
                </a:lnTo>
                <a:lnTo>
                  <a:pt x="7" y="147"/>
                </a:lnTo>
                <a:lnTo>
                  <a:pt x="11" y="153"/>
                </a:lnTo>
                <a:lnTo>
                  <a:pt x="15" y="159"/>
                </a:lnTo>
                <a:lnTo>
                  <a:pt x="25" y="168"/>
                </a:lnTo>
                <a:lnTo>
                  <a:pt x="36" y="176"/>
                </a:lnTo>
                <a:lnTo>
                  <a:pt x="48" y="181"/>
                </a:lnTo>
                <a:lnTo>
                  <a:pt x="60" y="185"/>
                </a:lnTo>
                <a:lnTo>
                  <a:pt x="71" y="188"/>
                </a:lnTo>
                <a:lnTo>
                  <a:pt x="71" y="289"/>
                </a:lnTo>
                <a:lnTo>
                  <a:pt x="71" y="289"/>
                </a:lnTo>
                <a:lnTo>
                  <a:pt x="63" y="286"/>
                </a:lnTo>
                <a:lnTo>
                  <a:pt x="55" y="284"/>
                </a:lnTo>
                <a:lnTo>
                  <a:pt x="47" y="279"/>
                </a:lnTo>
                <a:lnTo>
                  <a:pt x="41" y="273"/>
                </a:lnTo>
                <a:lnTo>
                  <a:pt x="36" y="266"/>
                </a:lnTo>
                <a:lnTo>
                  <a:pt x="32" y="258"/>
                </a:lnTo>
                <a:lnTo>
                  <a:pt x="29" y="249"/>
                </a:lnTo>
                <a:lnTo>
                  <a:pt x="28" y="239"/>
                </a:lnTo>
                <a:lnTo>
                  <a:pt x="28" y="239"/>
                </a:lnTo>
                <a:lnTo>
                  <a:pt x="27" y="234"/>
                </a:lnTo>
                <a:lnTo>
                  <a:pt x="24" y="230"/>
                </a:lnTo>
                <a:lnTo>
                  <a:pt x="20" y="227"/>
                </a:lnTo>
                <a:lnTo>
                  <a:pt x="13" y="226"/>
                </a:lnTo>
                <a:lnTo>
                  <a:pt x="13" y="226"/>
                </a:lnTo>
                <a:lnTo>
                  <a:pt x="8" y="227"/>
                </a:lnTo>
                <a:lnTo>
                  <a:pt x="4" y="230"/>
                </a:lnTo>
                <a:lnTo>
                  <a:pt x="1" y="234"/>
                </a:lnTo>
                <a:lnTo>
                  <a:pt x="0" y="239"/>
                </a:lnTo>
                <a:lnTo>
                  <a:pt x="0" y="239"/>
                </a:lnTo>
                <a:lnTo>
                  <a:pt x="1" y="255"/>
                </a:lnTo>
                <a:lnTo>
                  <a:pt x="5" y="269"/>
                </a:lnTo>
                <a:lnTo>
                  <a:pt x="12" y="282"/>
                </a:lnTo>
                <a:lnTo>
                  <a:pt x="20" y="293"/>
                </a:lnTo>
                <a:lnTo>
                  <a:pt x="31" y="302"/>
                </a:lnTo>
                <a:lnTo>
                  <a:pt x="43" y="310"/>
                </a:lnTo>
                <a:lnTo>
                  <a:pt x="56" y="314"/>
                </a:lnTo>
                <a:lnTo>
                  <a:pt x="71" y="317"/>
                </a:lnTo>
                <a:lnTo>
                  <a:pt x="71" y="339"/>
                </a:lnTo>
                <a:lnTo>
                  <a:pt x="71" y="339"/>
                </a:lnTo>
                <a:lnTo>
                  <a:pt x="72" y="344"/>
                </a:lnTo>
                <a:lnTo>
                  <a:pt x="75" y="349"/>
                </a:lnTo>
                <a:lnTo>
                  <a:pt x="80" y="352"/>
                </a:lnTo>
                <a:lnTo>
                  <a:pt x="86" y="353"/>
                </a:lnTo>
                <a:lnTo>
                  <a:pt x="86" y="353"/>
                </a:lnTo>
                <a:lnTo>
                  <a:pt x="91" y="352"/>
                </a:lnTo>
                <a:lnTo>
                  <a:pt x="97" y="349"/>
                </a:lnTo>
                <a:lnTo>
                  <a:pt x="99" y="344"/>
                </a:lnTo>
                <a:lnTo>
                  <a:pt x="101" y="339"/>
                </a:lnTo>
                <a:lnTo>
                  <a:pt x="101" y="317"/>
                </a:lnTo>
                <a:lnTo>
                  <a:pt x="101" y="317"/>
                </a:lnTo>
                <a:lnTo>
                  <a:pt x="115" y="314"/>
                </a:lnTo>
                <a:lnTo>
                  <a:pt x="129" y="310"/>
                </a:lnTo>
                <a:lnTo>
                  <a:pt x="141" y="302"/>
                </a:lnTo>
                <a:lnTo>
                  <a:pt x="152" y="293"/>
                </a:lnTo>
                <a:lnTo>
                  <a:pt x="160" y="282"/>
                </a:lnTo>
                <a:lnTo>
                  <a:pt x="166" y="269"/>
                </a:lnTo>
                <a:lnTo>
                  <a:pt x="170" y="255"/>
                </a:lnTo>
                <a:lnTo>
                  <a:pt x="172" y="239"/>
                </a:lnTo>
                <a:lnTo>
                  <a:pt x="172" y="239"/>
                </a:lnTo>
                <a:lnTo>
                  <a:pt x="172" y="231"/>
                </a:lnTo>
                <a:lnTo>
                  <a:pt x="170" y="222"/>
                </a:lnTo>
                <a:lnTo>
                  <a:pt x="168" y="215"/>
                </a:lnTo>
                <a:lnTo>
                  <a:pt x="165" y="207"/>
                </a:lnTo>
                <a:lnTo>
                  <a:pt x="161" y="202"/>
                </a:lnTo>
                <a:lnTo>
                  <a:pt x="157" y="196"/>
                </a:lnTo>
                <a:lnTo>
                  <a:pt x="148" y="187"/>
                </a:lnTo>
                <a:lnTo>
                  <a:pt x="135" y="179"/>
                </a:lnTo>
                <a:lnTo>
                  <a:pt x="123" y="173"/>
                </a:lnTo>
                <a:lnTo>
                  <a:pt x="111" y="169"/>
                </a:lnTo>
                <a:lnTo>
                  <a:pt x="101" y="165"/>
                </a:lnTo>
                <a:lnTo>
                  <a:pt x="101" y="66"/>
                </a:lnTo>
                <a:lnTo>
                  <a:pt x="101" y="66"/>
                </a:lnTo>
                <a:lnTo>
                  <a:pt x="109" y="67"/>
                </a:lnTo>
                <a:lnTo>
                  <a:pt x="117" y="70"/>
                </a:lnTo>
                <a:lnTo>
                  <a:pt x="125" y="74"/>
                </a:lnTo>
                <a:lnTo>
                  <a:pt x="130" y="81"/>
                </a:lnTo>
                <a:lnTo>
                  <a:pt x="135" y="87"/>
                </a:lnTo>
                <a:lnTo>
                  <a:pt x="140" y="95"/>
                </a:lnTo>
                <a:lnTo>
                  <a:pt x="142" y="105"/>
                </a:lnTo>
                <a:lnTo>
                  <a:pt x="144" y="114"/>
                </a:lnTo>
                <a:lnTo>
                  <a:pt x="144" y="114"/>
                </a:lnTo>
                <a:close/>
                <a:moveTo>
                  <a:pt x="101" y="289"/>
                </a:moveTo>
                <a:lnTo>
                  <a:pt x="101" y="196"/>
                </a:lnTo>
                <a:lnTo>
                  <a:pt x="101" y="196"/>
                </a:lnTo>
                <a:lnTo>
                  <a:pt x="119" y="203"/>
                </a:lnTo>
                <a:lnTo>
                  <a:pt x="127" y="207"/>
                </a:lnTo>
                <a:lnTo>
                  <a:pt x="133" y="212"/>
                </a:lnTo>
                <a:lnTo>
                  <a:pt x="138" y="218"/>
                </a:lnTo>
                <a:lnTo>
                  <a:pt x="141" y="223"/>
                </a:lnTo>
                <a:lnTo>
                  <a:pt x="142" y="231"/>
                </a:lnTo>
                <a:lnTo>
                  <a:pt x="144" y="239"/>
                </a:lnTo>
                <a:lnTo>
                  <a:pt x="144" y="239"/>
                </a:lnTo>
                <a:lnTo>
                  <a:pt x="142" y="249"/>
                </a:lnTo>
                <a:lnTo>
                  <a:pt x="140" y="258"/>
                </a:lnTo>
                <a:lnTo>
                  <a:pt x="135" y="266"/>
                </a:lnTo>
                <a:lnTo>
                  <a:pt x="130" y="273"/>
                </a:lnTo>
                <a:lnTo>
                  <a:pt x="125" y="279"/>
                </a:lnTo>
                <a:lnTo>
                  <a:pt x="117" y="284"/>
                </a:lnTo>
                <a:lnTo>
                  <a:pt x="109" y="286"/>
                </a:lnTo>
                <a:lnTo>
                  <a:pt x="101" y="289"/>
                </a:lnTo>
                <a:lnTo>
                  <a:pt x="101" y="289"/>
                </a:lnTo>
                <a:close/>
                <a:moveTo>
                  <a:pt x="28" y="114"/>
                </a:moveTo>
                <a:lnTo>
                  <a:pt x="28" y="114"/>
                </a:lnTo>
                <a:lnTo>
                  <a:pt x="29" y="105"/>
                </a:lnTo>
                <a:lnTo>
                  <a:pt x="32" y="95"/>
                </a:lnTo>
                <a:lnTo>
                  <a:pt x="36" y="87"/>
                </a:lnTo>
                <a:lnTo>
                  <a:pt x="41" y="81"/>
                </a:lnTo>
                <a:lnTo>
                  <a:pt x="47" y="74"/>
                </a:lnTo>
                <a:lnTo>
                  <a:pt x="55" y="70"/>
                </a:lnTo>
                <a:lnTo>
                  <a:pt x="63" y="67"/>
                </a:lnTo>
                <a:lnTo>
                  <a:pt x="71" y="66"/>
                </a:lnTo>
                <a:lnTo>
                  <a:pt x="71" y="159"/>
                </a:lnTo>
                <a:lnTo>
                  <a:pt x="71" y="159"/>
                </a:lnTo>
                <a:lnTo>
                  <a:pt x="52" y="151"/>
                </a:lnTo>
                <a:lnTo>
                  <a:pt x="44" y="147"/>
                </a:lnTo>
                <a:lnTo>
                  <a:pt x="39" y="142"/>
                </a:lnTo>
                <a:lnTo>
                  <a:pt x="33" y="137"/>
                </a:lnTo>
                <a:lnTo>
                  <a:pt x="31" y="130"/>
                </a:lnTo>
                <a:lnTo>
                  <a:pt x="29" y="122"/>
                </a:lnTo>
                <a:lnTo>
                  <a:pt x="28" y="114"/>
                </a:lnTo>
                <a:lnTo>
                  <a:pt x="28" y="1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pPr marL="0" marR="0" lvl="0" indent="0" algn="l" defTabSz="623438" rtl="0" eaLnBrk="1" fontAlgn="auto" latinLnBrk="0" hangingPunct="1">
              <a:lnSpc>
                <a:spcPct val="100000"/>
              </a:lnSpc>
              <a:spcBef>
                <a:spcPts val="0"/>
              </a:spcBef>
              <a:spcAft>
                <a:spcPts val="0"/>
              </a:spcAft>
              <a:buClrTx/>
              <a:buSzTx/>
              <a:buFontTx/>
              <a:buNone/>
              <a:tabLst/>
              <a:defRPr/>
            </a:pPr>
            <a:endParaRPr kumimoji="0" lang="en-US" sz="1227"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4" name="Freeform 307">
            <a:extLst>
              <a:ext uri="{FF2B5EF4-FFF2-40B4-BE49-F238E27FC236}">
                <a16:creationId xmlns:a16="http://schemas.microsoft.com/office/drawing/2014/main" id="{B8350731-D660-48F5-974E-206D4B0A5D67}"/>
              </a:ext>
            </a:extLst>
          </p:cNvPr>
          <p:cNvSpPr>
            <a:spLocks noEditPoints="1"/>
          </p:cNvSpPr>
          <p:nvPr/>
        </p:nvSpPr>
        <p:spPr bwMode="auto">
          <a:xfrm>
            <a:off x="1440295" y="2960620"/>
            <a:ext cx="93085" cy="190500"/>
          </a:xfrm>
          <a:custGeom>
            <a:avLst/>
            <a:gdLst>
              <a:gd name="T0" fmla="*/ 145 w 172"/>
              <a:gd name="T1" fmla="*/ 120 h 353"/>
              <a:gd name="T2" fmla="*/ 158 w 172"/>
              <a:gd name="T3" fmla="*/ 128 h 353"/>
              <a:gd name="T4" fmla="*/ 168 w 172"/>
              <a:gd name="T5" fmla="*/ 124 h 353"/>
              <a:gd name="T6" fmla="*/ 172 w 172"/>
              <a:gd name="T7" fmla="*/ 114 h 353"/>
              <a:gd name="T8" fmla="*/ 160 w 172"/>
              <a:gd name="T9" fmla="*/ 71 h 353"/>
              <a:gd name="T10" fmla="*/ 129 w 172"/>
              <a:gd name="T11" fmla="*/ 43 h 353"/>
              <a:gd name="T12" fmla="*/ 101 w 172"/>
              <a:gd name="T13" fmla="*/ 15 h 353"/>
              <a:gd name="T14" fmla="*/ 97 w 172"/>
              <a:gd name="T15" fmla="*/ 4 h 353"/>
              <a:gd name="T16" fmla="*/ 86 w 172"/>
              <a:gd name="T17" fmla="*/ 0 h 353"/>
              <a:gd name="T18" fmla="*/ 72 w 172"/>
              <a:gd name="T19" fmla="*/ 10 h 353"/>
              <a:gd name="T20" fmla="*/ 71 w 172"/>
              <a:gd name="T21" fmla="*/ 36 h 353"/>
              <a:gd name="T22" fmla="*/ 31 w 172"/>
              <a:gd name="T23" fmla="*/ 51 h 353"/>
              <a:gd name="T24" fmla="*/ 5 w 172"/>
              <a:gd name="T25" fmla="*/ 85 h 353"/>
              <a:gd name="T26" fmla="*/ 0 w 172"/>
              <a:gd name="T27" fmla="*/ 114 h 353"/>
              <a:gd name="T28" fmla="*/ 4 w 172"/>
              <a:gd name="T29" fmla="*/ 140 h 353"/>
              <a:gd name="T30" fmla="*/ 15 w 172"/>
              <a:gd name="T31" fmla="*/ 159 h 353"/>
              <a:gd name="T32" fmla="*/ 48 w 172"/>
              <a:gd name="T33" fmla="*/ 181 h 353"/>
              <a:gd name="T34" fmla="*/ 71 w 172"/>
              <a:gd name="T35" fmla="*/ 289 h 353"/>
              <a:gd name="T36" fmla="*/ 55 w 172"/>
              <a:gd name="T37" fmla="*/ 284 h 353"/>
              <a:gd name="T38" fmla="*/ 36 w 172"/>
              <a:gd name="T39" fmla="*/ 266 h 353"/>
              <a:gd name="T40" fmla="*/ 28 w 172"/>
              <a:gd name="T41" fmla="*/ 239 h 353"/>
              <a:gd name="T42" fmla="*/ 24 w 172"/>
              <a:gd name="T43" fmla="*/ 230 h 353"/>
              <a:gd name="T44" fmla="*/ 13 w 172"/>
              <a:gd name="T45" fmla="*/ 226 h 353"/>
              <a:gd name="T46" fmla="*/ 1 w 172"/>
              <a:gd name="T47" fmla="*/ 234 h 353"/>
              <a:gd name="T48" fmla="*/ 1 w 172"/>
              <a:gd name="T49" fmla="*/ 255 h 353"/>
              <a:gd name="T50" fmla="*/ 20 w 172"/>
              <a:gd name="T51" fmla="*/ 293 h 353"/>
              <a:gd name="T52" fmla="*/ 56 w 172"/>
              <a:gd name="T53" fmla="*/ 314 h 353"/>
              <a:gd name="T54" fmla="*/ 71 w 172"/>
              <a:gd name="T55" fmla="*/ 339 h 353"/>
              <a:gd name="T56" fmla="*/ 80 w 172"/>
              <a:gd name="T57" fmla="*/ 352 h 353"/>
              <a:gd name="T58" fmla="*/ 91 w 172"/>
              <a:gd name="T59" fmla="*/ 352 h 353"/>
              <a:gd name="T60" fmla="*/ 101 w 172"/>
              <a:gd name="T61" fmla="*/ 339 h 353"/>
              <a:gd name="T62" fmla="*/ 115 w 172"/>
              <a:gd name="T63" fmla="*/ 314 h 353"/>
              <a:gd name="T64" fmla="*/ 152 w 172"/>
              <a:gd name="T65" fmla="*/ 293 h 353"/>
              <a:gd name="T66" fmla="*/ 170 w 172"/>
              <a:gd name="T67" fmla="*/ 255 h 353"/>
              <a:gd name="T68" fmla="*/ 172 w 172"/>
              <a:gd name="T69" fmla="*/ 231 h 353"/>
              <a:gd name="T70" fmla="*/ 165 w 172"/>
              <a:gd name="T71" fmla="*/ 207 h 353"/>
              <a:gd name="T72" fmla="*/ 148 w 172"/>
              <a:gd name="T73" fmla="*/ 187 h 353"/>
              <a:gd name="T74" fmla="*/ 111 w 172"/>
              <a:gd name="T75" fmla="*/ 169 h 353"/>
              <a:gd name="T76" fmla="*/ 101 w 172"/>
              <a:gd name="T77" fmla="*/ 66 h 353"/>
              <a:gd name="T78" fmla="*/ 125 w 172"/>
              <a:gd name="T79" fmla="*/ 74 h 353"/>
              <a:gd name="T80" fmla="*/ 140 w 172"/>
              <a:gd name="T81" fmla="*/ 95 h 353"/>
              <a:gd name="T82" fmla="*/ 144 w 172"/>
              <a:gd name="T83" fmla="*/ 114 h 353"/>
              <a:gd name="T84" fmla="*/ 101 w 172"/>
              <a:gd name="T85" fmla="*/ 196 h 353"/>
              <a:gd name="T86" fmla="*/ 133 w 172"/>
              <a:gd name="T87" fmla="*/ 212 h 353"/>
              <a:gd name="T88" fmla="*/ 142 w 172"/>
              <a:gd name="T89" fmla="*/ 231 h 353"/>
              <a:gd name="T90" fmla="*/ 142 w 172"/>
              <a:gd name="T91" fmla="*/ 249 h 353"/>
              <a:gd name="T92" fmla="*/ 130 w 172"/>
              <a:gd name="T93" fmla="*/ 273 h 353"/>
              <a:gd name="T94" fmla="*/ 109 w 172"/>
              <a:gd name="T95" fmla="*/ 286 h 353"/>
              <a:gd name="T96" fmla="*/ 28 w 172"/>
              <a:gd name="T97" fmla="*/ 114 h 353"/>
              <a:gd name="T98" fmla="*/ 32 w 172"/>
              <a:gd name="T99" fmla="*/ 95 h 353"/>
              <a:gd name="T100" fmla="*/ 47 w 172"/>
              <a:gd name="T101" fmla="*/ 74 h 353"/>
              <a:gd name="T102" fmla="*/ 71 w 172"/>
              <a:gd name="T103" fmla="*/ 66 h 353"/>
              <a:gd name="T104" fmla="*/ 52 w 172"/>
              <a:gd name="T105" fmla="*/ 151 h 353"/>
              <a:gd name="T106" fmla="*/ 33 w 172"/>
              <a:gd name="T107" fmla="*/ 137 h 353"/>
              <a:gd name="T108" fmla="*/ 28 w 172"/>
              <a:gd name="T109" fmla="*/ 114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2" h="353">
                <a:moveTo>
                  <a:pt x="144" y="114"/>
                </a:moveTo>
                <a:lnTo>
                  <a:pt x="144" y="114"/>
                </a:lnTo>
                <a:lnTo>
                  <a:pt x="145" y="120"/>
                </a:lnTo>
                <a:lnTo>
                  <a:pt x="148" y="124"/>
                </a:lnTo>
                <a:lnTo>
                  <a:pt x="152" y="128"/>
                </a:lnTo>
                <a:lnTo>
                  <a:pt x="158" y="128"/>
                </a:lnTo>
                <a:lnTo>
                  <a:pt x="158" y="128"/>
                </a:lnTo>
                <a:lnTo>
                  <a:pt x="164" y="128"/>
                </a:lnTo>
                <a:lnTo>
                  <a:pt x="168" y="124"/>
                </a:lnTo>
                <a:lnTo>
                  <a:pt x="170" y="120"/>
                </a:lnTo>
                <a:lnTo>
                  <a:pt x="172" y="114"/>
                </a:lnTo>
                <a:lnTo>
                  <a:pt x="172" y="114"/>
                </a:lnTo>
                <a:lnTo>
                  <a:pt x="170" y="98"/>
                </a:lnTo>
                <a:lnTo>
                  <a:pt x="166" y="85"/>
                </a:lnTo>
                <a:lnTo>
                  <a:pt x="160" y="71"/>
                </a:lnTo>
                <a:lnTo>
                  <a:pt x="152" y="61"/>
                </a:lnTo>
                <a:lnTo>
                  <a:pt x="141" y="51"/>
                </a:lnTo>
                <a:lnTo>
                  <a:pt x="129" y="43"/>
                </a:lnTo>
                <a:lnTo>
                  <a:pt x="115" y="39"/>
                </a:lnTo>
                <a:lnTo>
                  <a:pt x="101" y="36"/>
                </a:lnTo>
                <a:lnTo>
                  <a:pt x="101" y="15"/>
                </a:lnTo>
                <a:lnTo>
                  <a:pt x="101" y="15"/>
                </a:lnTo>
                <a:lnTo>
                  <a:pt x="99" y="10"/>
                </a:lnTo>
                <a:lnTo>
                  <a:pt x="97" y="4"/>
                </a:lnTo>
                <a:lnTo>
                  <a:pt x="91" y="1"/>
                </a:lnTo>
                <a:lnTo>
                  <a:pt x="86" y="0"/>
                </a:lnTo>
                <a:lnTo>
                  <a:pt x="86" y="0"/>
                </a:lnTo>
                <a:lnTo>
                  <a:pt x="80" y="1"/>
                </a:lnTo>
                <a:lnTo>
                  <a:pt x="75" y="4"/>
                </a:lnTo>
                <a:lnTo>
                  <a:pt x="72" y="10"/>
                </a:lnTo>
                <a:lnTo>
                  <a:pt x="71" y="15"/>
                </a:lnTo>
                <a:lnTo>
                  <a:pt x="71" y="36"/>
                </a:lnTo>
                <a:lnTo>
                  <a:pt x="71" y="36"/>
                </a:lnTo>
                <a:lnTo>
                  <a:pt x="56" y="39"/>
                </a:lnTo>
                <a:lnTo>
                  <a:pt x="43" y="43"/>
                </a:lnTo>
                <a:lnTo>
                  <a:pt x="31" y="51"/>
                </a:lnTo>
                <a:lnTo>
                  <a:pt x="20" y="61"/>
                </a:lnTo>
                <a:lnTo>
                  <a:pt x="12" y="71"/>
                </a:lnTo>
                <a:lnTo>
                  <a:pt x="5" y="85"/>
                </a:lnTo>
                <a:lnTo>
                  <a:pt x="1" y="98"/>
                </a:lnTo>
                <a:lnTo>
                  <a:pt x="0" y="114"/>
                </a:lnTo>
                <a:lnTo>
                  <a:pt x="0" y="114"/>
                </a:lnTo>
                <a:lnTo>
                  <a:pt x="0" y="124"/>
                </a:lnTo>
                <a:lnTo>
                  <a:pt x="1" y="132"/>
                </a:lnTo>
                <a:lnTo>
                  <a:pt x="4" y="140"/>
                </a:lnTo>
                <a:lnTo>
                  <a:pt x="7" y="147"/>
                </a:lnTo>
                <a:lnTo>
                  <a:pt x="11" y="153"/>
                </a:lnTo>
                <a:lnTo>
                  <a:pt x="15" y="159"/>
                </a:lnTo>
                <a:lnTo>
                  <a:pt x="25" y="168"/>
                </a:lnTo>
                <a:lnTo>
                  <a:pt x="36" y="176"/>
                </a:lnTo>
                <a:lnTo>
                  <a:pt x="48" y="181"/>
                </a:lnTo>
                <a:lnTo>
                  <a:pt x="60" y="185"/>
                </a:lnTo>
                <a:lnTo>
                  <a:pt x="71" y="188"/>
                </a:lnTo>
                <a:lnTo>
                  <a:pt x="71" y="289"/>
                </a:lnTo>
                <a:lnTo>
                  <a:pt x="71" y="289"/>
                </a:lnTo>
                <a:lnTo>
                  <a:pt x="63" y="286"/>
                </a:lnTo>
                <a:lnTo>
                  <a:pt x="55" y="284"/>
                </a:lnTo>
                <a:lnTo>
                  <a:pt x="47" y="279"/>
                </a:lnTo>
                <a:lnTo>
                  <a:pt x="41" y="273"/>
                </a:lnTo>
                <a:lnTo>
                  <a:pt x="36" y="266"/>
                </a:lnTo>
                <a:lnTo>
                  <a:pt x="32" y="258"/>
                </a:lnTo>
                <a:lnTo>
                  <a:pt x="29" y="249"/>
                </a:lnTo>
                <a:lnTo>
                  <a:pt x="28" y="239"/>
                </a:lnTo>
                <a:lnTo>
                  <a:pt x="28" y="239"/>
                </a:lnTo>
                <a:lnTo>
                  <a:pt x="27" y="234"/>
                </a:lnTo>
                <a:lnTo>
                  <a:pt x="24" y="230"/>
                </a:lnTo>
                <a:lnTo>
                  <a:pt x="20" y="227"/>
                </a:lnTo>
                <a:lnTo>
                  <a:pt x="13" y="226"/>
                </a:lnTo>
                <a:lnTo>
                  <a:pt x="13" y="226"/>
                </a:lnTo>
                <a:lnTo>
                  <a:pt x="8" y="227"/>
                </a:lnTo>
                <a:lnTo>
                  <a:pt x="4" y="230"/>
                </a:lnTo>
                <a:lnTo>
                  <a:pt x="1" y="234"/>
                </a:lnTo>
                <a:lnTo>
                  <a:pt x="0" y="239"/>
                </a:lnTo>
                <a:lnTo>
                  <a:pt x="0" y="239"/>
                </a:lnTo>
                <a:lnTo>
                  <a:pt x="1" y="255"/>
                </a:lnTo>
                <a:lnTo>
                  <a:pt x="5" y="269"/>
                </a:lnTo>
                <a:lnTo>
                  <a:pt x="12" y="282"/>
                </a:lnTo>
                <a:lnTo>
                  <a:pt x="20" y="293"/>
                </a:lnTo>
                <a:lnTo>
                  <a:pt x="31" y="302"/>
                </a:lnTo>
                <a:lnTo>
                  <a:pt x="43" y="310"/>
                </a:lnTo>
                <a:lnTo>
                  <a:pt x="56" y="314"/>
                </a:lnTo>
                <a:lnTo>
                  <a:pt x="71" y="317"/>
                </a:lnTo>
                <a:lnTo>
                  <a:pt x="71" y="339"/>
                </a:lnTo>
                <a:lnTo>
                  <a:pt x="71" y="339"/>
                </a:lnTo>
                <a:lnTo>
                  <a:pt x="72" y="344"/>
                </a:lnTo>
                <a:lnTo>
                  <a:pt x="75" y="349"/>
                </a:lnTo>
                <a:lnTo>
                  <a:pt x="80" y="352"/>
                </a:lnTo>
                <a:lnTo>
                  <a:pt x="86" y="353"/>
                </a:lnTo>
                <a:lnTo>
                  <a:pt x="86" y="353"/>
                </a:lnTo>
                <a:lnTo>
                  <a:pt x="91" y="352"/>
                </a:lnTo>
                <a:lnTo>
                  <a:pt x="97" y="349"/>
                </a:lnTo>
                <a:lnTo>
                  <a:pt x="99" y="344"/>
                </a:lnTo>
                <a:lnTo>
                  <a:pt x="101" y="339"/>
                </a:lnTo>
                <a:lnTo>
                  <a:pt x="101" y="317"/>
                </a:lnTo>
                <a:lnTo>
                  <a:pt x="101" y="317"/>
                </a:lnTo>
                <a:lnTo>
                  <a:pt x="115" y="314"/>
                </a:lnTo>
                <a:lnTo>
                  <a:pt x="129" y="310"/>
                </a:lnTo>
                <a:lnTo>
                  <a:pt x="141" y="302"/>
                </a:lnTo>
                <a:lnTo>
                  <a:pt x="152" y="293"/>
                </a:lnTo>
                <a:lnTo>
                  <a:pt x="160" y="282"/>
                </a:lnTo>
                <a:lnTo>
                  <a:pt x="166" y="269"/>
                </a:lnTo>
                <a:lnTo>
                  <a:pt x="170" y="255"/>
                </a:lnTo>
                <a:lnTo>
                  <a:pt x="172" y="239"/>
                </a:lnTo>
                <a:lnTo>
                  <a:pt x="172" y="239"/>
                </a:lnTo>
                <a:lnTo>
                  <a:pt x="172" y="231"/>
                </a:lnTo>
                <a:lnTo>
                  <a:pt x="170" y="222"/>
                </a:lnTo>
                <a:lnTo>
                  <a:pt x="168" y="215"/>
                </a:lnTo>
                <a:lnTo>
                  <a:pt x="165" y="207"/>
                </a:lnTo>
                <a:lnTo>
                  <a:pt x="161" y="202"/>
                </a:lnTo>
                <a:lnTo>
                  <a:pt x="157" y="196"/>
                </a:lnTo>
                <a:lnTo>
                  <a:pt x="148" y="187"/>
                </a:lnTo>
                <a:lnTo>
                  <a:pt x="135" y="179"/>
                </a:lnTo>
                <a:lnTo>
                  <a:pt x="123" y="173"/>
                </a:lnTo>
                <a:lnTo>
                  <a:pt x="111" y="169"/>
                </a:lnTo>
                <a:lnTo>
                  <a:pt x="101" y="165"/>
                </a:lnTo>
                <a:lnTo>
                  <a:pt x="101" y="66"/>
                </a:lnTo>
                <a:lnTo>
                  <a:pt x="101" y="66"/>
                </a:lnTo>
                <a:lnTo>
                  <a:pt x="109" y="67"/>
                </a:lnTo>
                <a:lnTo>
                  <a:pt x="117" y="70"/>
                </a:lnTo>
                <a:lnTo>
                  <a:pt x="125" y="74"/>
                </a:lnTo>
                <a:lnTo>
                  <a:pt x="130" y="81"/>
                </a:lnTo>
                <a:lnTo>
                  <a:pt x="135" y="87"/>
                </a:lnTo>
                <a:lnTo>
                  <a:pt x="140" y="95"/>
                </a:lnTo>
                <a:lnTo>
                  <a:pt x="142" y="105"/>
                </a:lnTo>
                <a:lnTo>
                  <a:pt x="144" y="114"/>
                </a:lnTo>
                <a:lnTo>
                  <a:pt x="144" y="114"/>
                </a:lnTo>
                <a:close/>
                <a:moveTo>
                  <a:pt x="101" y="289"/>
                </a:moveTo>
                <a:lnTo>
                  <a:pt x="101" y="196"/>
                </a:lnTo>
                <a:lnTo>
                  <a:pt x="101" y="196"/>
                </a:lnTo>
                <a:lnTo>
                  <a:pt x="119" y="203"/>
                </a:lnTo>
                <a:lnTo>
                  <a:pt x="127" y="207"/>
                </a:lnTo>
                <a:lnTo>
                  <a:pt x="133" y="212"/>
                </a:lnTo>
                <a:lnTo>
                  <a:pt x="138" y="218"/>
                </a:lnTo>
                <a:lnTo>
                  <a:pt x="141" y="223"/>
                </a:lnTo>
                <a:lnTo>
                  <a:pt x="142" y="231"/>
                </a:lnTo>
                <a:lnTo>
                  <a:pt x="144" y="239"/>
                </a:lnTo>
                <a:lnTo>
                  <a:pt x="144" y="239"/>
                </a:lnTo>
                <a:lnTo>
                  <a:pt x="142" y="249"/>
                </a:lnTo>
                <a:lnTo>
                  <a:pt x="140" y="258"/>
                </a:lnTo>
                <a:lnTo>
                  <a:pt x="135" y="266"/>
                </a:lnTo>
                <a:lnTo>
                  <a:pt x="130" y="273"/>
                </a:lnTo>
                <a:lnTo>
                  <a:pt x="125" y="279"/>
                </a:lnTo>
                <a:lnTo>
                  <a:pt x="117" y="284"/>
                </a:lnTo>
                <a:lnTo>
                  <a:pt x="109" y="286"/>
                </a:lnTo>
                <a:lnTo>
                  <a:pt x="101" y="289"/>
                </a:lnTo>
                <a:lnTo>
                  <a:pt x="101" y="289"/>
                </a:lnTo>
                <a:close/>
                <a:moveTo>
                  <a:pt x="28" y="114"/>
                </a:moveTo>
                <a:lnTo>
                  <a:pt x="28" y="114"/>
                </a:lnTo>
                <a:lnTo>
                  <a:pt x="29" y="105"/>
                </a:lnTo>
                <a:lnTo>
                  <a:pt x="32" y="95"/>
                </a:lnTo>
                <a:lnTo>
                  <a:pt x="36" y="87"/>
                </a:lnTo>
                <a:lnTo>
                  <a:pt x="41" y="81"/>
                </a:lnTo>
                <a:lnTo>
                  <a:pt x="47" y="74"/>
                </a:lnTo>
                <a:lnTo>
                  <a:pt x="55" y="70"/>
                </a:lnTo>
                <a:lnTo>
                  <a:pt x="63" y="67"/>
                </a:lnTo>
                <a:lnTo>
                  <a:pt x="71" y="66"/>
                </a:lnTo>
                <a:lnTo>
                  <a:pt x="71" y="159"/>
                </a:lnTo>
                <a:lnTo>
                  <a:pt x="71" y="159"/>
                </a:lnTo>
                <a:lnTo>
                  <a:pt x="52" y="151"/>
                </a:lnTo>
                <a:lnTo>
                  <a:pt x="44" y="147"/>
                </a:lnTo>
                <a:lnTo>
                  <a:pt x="39" y="142"/>
                </a:lnTo>
                <a:lnTo>
                  <a:pt x="33" y="137"/>
                </a:lnTo>
                <a:lnTo>
                  <a:pt x="31" y="130"/>
                </a:lnTo>
                <a:lnTo>
                  <a:pt x="29" y="122"/>
                </a:lnTo>
                <a:lnTo>
                  <a:pt x="28" y="114"/>
                </a:lnTo>
                <a:lnTo>
                  <a:pt x="28" y="1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pPr marL="0" marR="0" lvl="0" indent="0" algn="l" defTabSz="623438" rtl="0" eaLnBrk="1" fontAlgn="auto" latinLnBrk="0" hangingPunct="1">
              <a:lnSpc>
                <a:spcPct val="100000"/>
              </a:lnSpc>
              <a:spcBef>
                <a:spcPts val="0"/>
              </a:spcBef>
              <a:spcAft>
                <a:spcPts val="0"/>
              </a:spcAft>
              <a:buClrTx/>
              <a:buSzTx/>
              <a:buFontTx/>
              <a:buNone/>
              <a:tabLst/>
              <a:defRPr/>
            </a:pPr>
            <a:endParaRPr kumimoji="0" lang="en-US" sz="1227"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5" name="Freeform 307">
            <a:extLst>
              <a:ext uri="{FF2B5EF4-FFF2-40B4-BE49-F238E27FC236}">
                <a16:creationId xmlns:a16="http://schemas.microsoft.com/office/drawing/2014/main" id="{132B0C49-1CFE-4C1C-9EAA-AA5A14DCC68C}"/>
              </a:ext>
            </a:extLst>
          </p:cNvPr>
          <p:cNvSpPr>
            <a:spLocks noEditPoints="1"/>
          </p:cNvSpPr>
          <p:nvPr/>
        </p:nvSpPr>
        <p:spPr bwMode="auto">
          <a:xfrm>
            <a:off x="3914998" y="2960620"/>
            <a:ext cx="93085" cy="190500"/>
          </a:xfrm>
          <a:custGeom>
            <a:avLst/>
            <a:gdLst>
              <a:gd name="T0" fmla="*/ 145 w 172"/>
              <a:gd name="T1" fmla="*/ 120 h 353"/>
              <a:gd name="T2" fmla="*/ 158 w 172"/>
              <a:gd name="T3" fmla="*/ 128 h 353"/>
              <a:gd name="T4" fmla="*/ 168 w 172"/>
              <a:gd name="T5" fmla="*/ 124 h 353"/>
              <a:gd name="T6" fmla="*/ 172 w 172"/>
              <a:gd name="T7" fmla="*/ 114 h 353"/>
              <a:gd name="T8" fmla="*/ 160 w 172"/>
              <a:gd name="T9" fmla="*/ 71 h 353"/>
              <a:gd name="T10" fmla="*/ 129 w 172"/>
              <a:gd name="T11" fmla="*/ 43 h 353"/>
              <a:gd name="T12" fmla="*/ 101 w 172"/>
              <a:gd name="T13" fmla="*/ 15 h 353"/>
              <a:gd name="T14" fmla="*/ 97 w 172"/>
              <a:gd name="T15" fmla="*/ 4 h 353"/>
              <a:gd name="T16" fmla="*/ 86 w 172"/>
              <a:gd name="T17" fmla="*/ 0 h 353"/>
              <a:gd name="T18" fmla="*/ 72 w 172"/>
              <a:gd name="T19" fmla="*/ 10 h 353"/>
              <a:gd name="T20" fmla="*/ 71 w 172"/>
              <a:gd name="T21" fmla="*/ 36 h 353"/>
              <a:gd name="T22" fmla="*/ 31 w 172"/>
              <a:gd name="T23" fmla="*/ 51 h 353"/>
              <a:gd name="T24" fmla="*/ 5 w 172"/>
              <a:gd name="T25" fmla="*/ 85 h 353"/>
              <a:gd name="T26" fmla="*/ 0 w 172"/>
              <a:gd name="T27" fmla="*/ 114 h 353"/>
              <a:gd name="T28" fmla="*/ 4 w 172"/>
              <a:gd name="T29" fmla="*/ 140 h 353"/>
              <a:gd name="T30" fmla="*/ 15 w 172"/>
              <a:gd name="T31" fmla="*/ 159 h 353"/>
              <a:gd name="T32" fmla="*/ 48 w 172"/>
              <a:gd name="T33" fmla="*/ 181 h 353"/>
              <a:gd name="T34" fmla="*/ 71 w 172"/>
              <a:gd name="T35" fmla="*/ 289 h 353"/>
              <a:gd name="T36" fmla="*/ 55 w 172"/>
              <a:gd name="T37" fmla="*/ 284 h 353"/>
              <a:gd name="T38" fmla="*/ 36 w 172"/>
              <a:gd name="T39" fmla="*/ 266 h 353"/>
              <a:gd name="T40" fmla="*/ 28 w 172"/>
              <a:gd name="T41" fmla="*/ 239 h 353"/>
              <a:gd name="T42" fmla="*/ 24 w 172"/>
              <a:gd name="T43" fmla="*/ 230 h 353"/>
              <a:gd name="T44" fmla="*/ 13 w 172"/>
              <a:gd name="T45" fmla="*/ 226 h 353"/>
              <a:gd name="T46" fmla="*/ 1 w 172"/>
              <a:gd name="T47" fmla="*/ 234 h 353"/>
              <a:gd name="T48" fmla="*/ 1 w 172"/>
              <a:gd name="T49" fmla="*/ 255 h 353"/>
              <a:gd name="T50" fmla="*/ 20 w 172"/>
              <a:gd name="T51" fmla="*/ 293 h 353"/>
              <a:gd name="T52" fmla="*/ 56 w 172"/>
              <a:gd name="T53" fmla="*/ 314 h 353"/>
              <a:gd name="T54" fmla="*/ 71 w 172"/>
              <a:gd name="T55" fmla="*/ 339 h 353"/>
              <a:gd name="T56" fmla="*/ 80 w 172"/>
              <a:gd name="T57" fmla="*/ 352 h 353"/>
              <a:gd name="T58" fmla="*/ 91 w 172"/>
              <a:gd name="T59" fmla="*/ 352 h 353"/>
              <a:gd name="T60" fmla="*/ 101 w 172"/>
              <a:gd name="T61" fmla="*/ 339 h 353"/>
              <a:gd name="T62" fmla="*/ 115 w 172"/>
              <a:gd name="T63" fmla="*/ 314 h 353"/>
              <a:gd name="T64" fmla="*/ 152 w 172"/>
              <a:gd name="T65" fmla="*/ 293 h 353"/>
              <a:gd name="T66" fmla="*/ 170 w 172"/>
              <a:gd name="T67" fmla="*/ 255 h 353"/>
              <a:gd name="T68" fmla="*/ 172 w 172"/>
              <a:gd name="T69" fmla="*/ 231 h 353"/>
              <a:gd name="T70" fmla="*/ 165 w 172"/>
              <a:gd name="T71" fmla="*/ 207 h 353"/>
              <a:gd name="T72" fmla="*/ 148 w 172"/>
              <a:gd name="T73" fmla="*/ 187 h 353"/>
              <a:gd name="T74" fmla="*/ 111 w 172"/>
              <a:gd name="T75" fmla="*/ 169 h 353"/>
              <a:gd name="T76" fmla="*/ 101 w 172"/>
              <a:gd name="T77" fmla="*/ 66 h 353"/>
              <a:gd name="T78" fmla="*/ 125 w 172"/>
              <a:gd name="T79" fmla="*/ 74 h 353"/>
              <a:gd name="T80" fmla="*/ 140 w 172"/>
              <a:gd name="T81" fmla="*/ 95 h 353"/>
              <a:gd name="T82" fmla="*/ 144 w 172"/>
              <a:gd name="T83" fmla="*/ 114 h 353"/>
              <a:gd name="T84" fmla="*/ 101 w 172"/>
              <a:gd name="T85" fmla="*/ 196 h 353"/>
              <a:gd name="T86" fmla="*/ 133 w 172"/>
              <a:gd name="T87" fmla="*/ 212 h 353"/>
              <a:gd name="T88" fmla="*/ 142 w 172"/>
              <a:gd name="T89" fmla="*/ 231 h 353"/>
              <a:gd name="T90" fmla="*/ 142 w 172"/>
              <a:gd name="T91" fmla="*/ 249 h 353"/>
              <a:gd name="T92" fmla="*/ 130 w 172"/>
              <a:gd name="T93" fmla="*/ 273 h 353"/>
              <a:gd name="T94" fmla="*/ 109 w 172"/>
              <a:gd name="T95" fmla="*/ 286 h 353"/>
              <a:gd name="T96" fmla="*/ 28 w 172"/>
              <a:gd name="T97" fmla="*/ 114 h 353"/>
              <a:gd name="T98" fmla="*/ 32 w 172"/>
              <a:gd name="T99" fmla="*/ 95 h 353"/>
              <a:gd name="T100" fmla="*/ 47 w 172"/>
              <a:gd name="T101" fmla="*/ 74 h 353"/>
              <a:gd name="T102" fmla="*/ 71 w 172"/>
              <a:gd name="T103" fmla="*/ 66 h 353"/>
              <a:gd name="T104" fmla="*/ 52 w 172"/>
              <a:gd name="T105" fmla="*/ 151 h 353"/>
              <a:gd name="T106" fmla="*/ 33 w 172"/>
              <a:gd name="T107" fmla="*/ 137 h 353"/>
              <a:gd name="T108" fmla="*/ 28 w 172"/>
              <a:gd name="T109" fmla="*/ 114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2" h="353">
                <a:moveTo>
                  <a:pt x="144" y="114"/>
                </a:moveTo>
                <a:lnTo>
                  <a:pt x="144" y="114"/>
                </a:lnTo>
                <a:lnTo>
                  <a:pt x="145" y="120"/>
                </a:lnTo>
                <a:lnTo>
                  <a:pt x="148" y="124"/>
                </a:lnTo>
                <a:lnTo>
                  <a:pt x="152" y="128"/>
                </a:lnTo>
                <a:lnTo>
                  <a:pt x="158" y="128"/>
                </a:lnTo>
                <a:lnTo>
                  <a:pt x="158" y="128"/>
                </a:lnTo>
                <a:lnTo>
                  <a:pt x="164" y="128"/>
                </a:lnTo>
                <a:lnTo>
                  <a:pt x="168" y="124"/>
                </a:lnTo>
                <a:lnTo>
                  <a:pt x="170" y="120"/>
                </a:lnTo>
                <a:lnTo>
                  <a:pt x="172" y="114"/>
                </a:lnTo>
                <a:lnTo>
                  <a:pt x="172" y="114"/>
                </a:lnTo>
                <a:lnTo>
                  <a:pt x="170" y="98"/>
                </a:lnTo>
                <a:lnTo>
                  <a:pt x="166" y="85"/>
                </a:lnTo>
                <a:lnTo>
                  <a:pt x="160" y="71"/>
                </a:lnTo>
                <a:lnTo>
                  <a:pt x="152" y="61"/>
                </a:lnTo>
                <a:lnTo>
                  <a:pt x="141" y="51"/>
                </a:lnTo>
                <a:lnTo>
                  <a:pt x="129" y="43"/>
                </a:lnTo>
                <a:lnTo>
                  <a:pt x="115" y="39"/>
                </a:lnTo>
                <a:lnTo>
                  <a:pt x="101" y="36"/>
                </a:lnTo>
                <a:lnTo>
                  <a:pt x="101" y="15"/>
                </a:lnTo>
                <a:lnTo>
                  <a:pt x="101" y="15"/>
                </a:lnTo>
                <a:lnTo>
                  <a:pt x="99" y="10"/>
                </a:lnTo>
                <a:lnTo>
                  <a:pt x="97" y="4"/>
                </a:lnTo>
                <a:lnTo>
                  <a:pt x="91" y="1"/>
                </a:lnTo>
                <a:lnTo>
                  <a:pt x="86" y="0"/>
                </a:lnTo>
                <a:lnTo>
                  <a:pt x="86" y="0"/>
                </a:lnTo>
                <a:lnTo>
                  <a:pt x="80" y="1"/>
                </a:lnTo>
                <a:lnTo>
                  <a:pt x="75" y="4"/>
                </a:lnTo>
                <a:lnTo>
                  <a:pt x="72" y="10"/>
                </a:lnTo>
                <a:lnTo>
                  <a:pt x="71" y="15"/>
                </a:lnTo>
                <a:lnTo>
                  <a:pt x="71" y="36"/>
                </a:lnTo>
                <a:lnTo>
                  <a:pt x="71" y="36"/>
                </a:lnTo>
                <a:lnTo>
                  <a:pt x="56" y="39"/>
                </a:lnTo>
                <a:lnTo>
                  <a:pt x="43" y="43"/>
                </a:lnTo>
                <a:lnTo>
                  <a:pt x="31" y="51"/>
                </a:lnTo>
                <a:lnTo>
                  <a:pt x="20" y="61"/>
                </a:lnTo>
                <a:lnTo>
                  <a:pt x="12" y="71"/>
                </a:lnTo>
                <a:lnTo>
                  <a:pt x="5" y="85"/>
                </a:lnTo>
                <a:lnTo>
                  <a:pt x="1" y="98"/>
                </a:lnTo>
                <a:lnTo>
                  <a:pt x="0" y="114"/>
                </a:lnTo>
                <a:lnTo>
                  <a:pt x="0" y="114"/>
                </a:lnTo>
                <a:lnTo>
                  <a:pt x="0" y="124"/>
                </a:lnTo>
                <a:lnTo>
                  <a:pt x="1" y="132"/>
                </a:lnTo>
                <a:lnTo>
                  <a:pt x="4" y="140"/>
                </a:lnTo>
                <a:lnTo>
                  <a:pt x="7" y="147"/>
                </a:lnTo>
                <a:lnTo>
                  <a:pt x="11" y="153"/>
                </a:lnTo>
                <a:lnTo>
                  <a:pt x="15" y="159"/>
                </a:lnTo>
                <a:lnTo>
                  <a:pt x="25" y="168"/>
                </a:lnTo>
                <a:lnTo>
                  <a:pt x="36" y="176"/>
                </a:lnTo>
                <a:lnTo>
                  <a:pt x="48" y="181"/>
                </a:lnTo>
                <a:lnTo>
                  <a:pt x="60" y="185"/>
                </a:lnTo>
                <a:lnTo>
                  <a:pt x="71" y="188"/>
                </a:lnTo>
                <a:lnTo>
                  <a:pt x="71" y="289"/>
                </a:lnTo>
                <a:lnTo>
                  <a:pt x="71" y="289"/>
                </a:lnTo>
                <a:lnTo>
                  <a:pt x="63" y="286"/>
                </a:lnTo>
                <a:lnTo>
                  <a:pt x="55" y="284"/>
                </a:lnTo>
                <a:lnTo>
                  <a:pt x="47" y="279"/>
                </a:lnTo>
                <a:lnTo>
                  <a:pt x="41" y="273"/>
                </a:lnTo>
                <a:lnTo>
                  <a:pt x="36" y="266"/>
                </a:lnTo>
                <a:lnTo>
                  <a:pt x="32" y="258"/>
                </a:lnTo>
                <a:lnTo>
                  <a:pt x="29" y="249"/>
                </a:lnTo>
                <a:lnTo>
                  <a:pt x="28" y="239"/>
                </a:lnTo>
                <a:lnTo>
                  <a:pt x="28" y="239"/>
                </a:lnTo>
                <a:lnTo>
                  <a:pt x="27" y="234"/>
                </a:lnTo>
                <a:lnTo>
                  <a:pt x="24" y="230"/>
                </a:lnTo>
                <a:lnTo>
                  <a:pt x="20" y="227"/>
                </a:lnTo>
                <a:lnTo>
                  <a:pt x="13" y="226"/>
                </a:lnTo>
                <a:lnTo>
                  <a:pt x="13" y="226"/>
                </a:lnTo>
                <a:lnTo>
                  <a:pt x="8" y="227"/>
                </a:lnTo>
                <a:lnTo>
                  <a:pt x="4" y="230"/>
                </a:lnTo>
                <a:lnTo>
                  <a:pt x="1" y="234"/>
                </a:lnTo>
                <a:lnTo>
                  <a:pt x="0" y="239"/>
                </a:lnTo>
                <a:lnTo>
                  <a:pt x="0" y="239"/>
                </a:lnTo>
                <a:lnTo>
                  <a:pt x="1" y="255"/>
                </a:lnTo>
                <a:lnTo>
                  <a:pt x="5" y="269"/>
                </a:lnTo>
                <a:lnTo>
                  <a:pt x="12" y="282"/>
                </a:lnTo>
                <a:lnTo>
                  <a:pt x="20" y="293"/>
                </a:lnTo>
                <a:lnTo>
                  <a:pt x="31" y="302"/>
                </a:lnTo>
                <a:lnTo>
                  <a:pt x="43" y="310"/>
                </a:lnTo>
                <a:lnTo>
                  <a:pt x="56" y="314"/>
                </a:lnTo>
                <a:lnTo>
                  <a:pt x="71" y="317"/>
                </a:lnTo>
                <a:lnTo>
                  <a:pt x="71" y="339"/>
                </a:lnTo>
                <a:lnTo>
                  <a:pt x="71" y="339"/>
                </a:lnTo>
                <a:lnTo>
                  <a:pt x="72" y="344"/>
                </a:lnTo>
                <a:lnTo>
                  <a:pt x="75" y="349"/>
                </a:lnTo>
                <a:lnTo>
                  <a:pt x="80" y="352"/>
                </a:lnTo>
                <a:lnTo>
                  <a:pt x="86" y="353"/>
                </a:lnTo>
                <a:lnTo>
                  <a:pt x="86" y="353"/>
                </a:lnTo>
                <a:lnTo>
                  <a:pt x="91" y="352"/>
                </a:lnTo>
                <a:lnTo>
                  <a:pt x="97" y="349"/>
                </a:lnTo>
                <a:lnTo>
                  <a:pt x="99" y="344"/>
                </a:lnTo>
                <a:lnTo>
                  <a:pt x="101" y="339"/>
                </a:lnTo>
                <a:lnTo>
                  <a:pt x="101" y="317"/>
                </a:lnTo>
                <a:lnTo>
                  <a:pt x="101" y="317"/>
                </a:lnTo>
                <a:lnTo>
                  <a:pt x="115" y="314"/>
                </a:lnTo>
                <a:lnTo>
                  <a:pt x="129" y="310"/>
                </a:lnTo>
                <a:lnTo>
                  <a:pt x="141" y="302"/>
                </a:lnTo>
                <a:lnTo>
                  <a:pt x="152" y="293"/>
                </a:lnTo>
                <a:lnTo>
                  <a:pt x="160" y="282"/>
                </a:lnTo>
                <a:lnTo>
                  <a:pt x="166" y="269"/>
                </a:lnTo>
                <a:lnTo>
                  <a:pt x="170" y="255"/>
                </a:lnTo>
                <a:lnTo>
                  <a:pt x="172" y="239"/>
                </a:lnTo>
                <a:lnTo>
                  <a:pt x="172" y="239"/>
                </a:lnTo>
                <a:lnTo>
                  <a:pt x="172" y="231"/>
                </a:lnTo>
                <a:lnTo>
                  <a:pt x="170" y="222"/>
                </a:lnTo>
                <a:lnTo>
                  <a:pt x="168" y="215"/>
                </a:lnTo>
                <a:lnTo>
                  <a:pt x="165" y="207"/>
                </a:lnTo>
                <a:lnTo>
                  <a:pt x="161" y="202"/>
                </a:lnTo>
                <a:lnTo>
                  <a:pt x="157" y="196"/>
                </a:lnTo>
                <a:lnTo>
                  <a:pt x="148" y="187"/>
                </a:lnTo>
                <a:lnTo>
                  <a:pt x="135" y="179"/>
                </a:lnTo>
                <a:lnTo>
                  <a:pt x="123" y="173"/>
                </a:lnTo>
                <a:lnTo>
                  <a:pt x="111" y="169"/>
                </a:lnTo>
                <a:lnTo>
                  <a:pt x="101" y="165"/>
                </a:lnTo>
                <a:lnTo>
                  <a:pt x="101" y="66"/>
                </a:lnTo>
                <a:lnTo>
                  <a:pt x="101" y="66"/>
                </a:lnTo>
                <a:lnTo>
                  <a:pt x="109" y="67"/>
                </a:lnTo>
                <a:lnTo>
                  <a:pt x="117" y="70"/>
                </a:lnTo>
                <a:lnTo>
                  <a:pt x="125" y="74"/>
                </a:lnTo>
                <a:lnTo>
                  <a:pt x="130" y="81"/>
                </a:lnTo>
                <a:lnTo>
                  <a:pt x="135" y="87"/>
                </a:lnTo>
                <a:lnTo>
                  <a:pt x="140" y="95"/>
                </a:lnTo>
                <a:lnTo>
                  <a:pt x="142" y="105"/>
                </a:lnTo>
                <a:lnTo>
                  <a:pt x="144" y="114"/>
                </a:lnTo>
                <a:lnTo>
                  <a:pt x="144" y="114"/>
                </a:lnTo>
                <a:close/>
                <a:moveTo>
                  <a:pt x="101" y="289"/>
                </a:moveTo>
                <a:lnTo>
                  <a:pt x="101" y="196"/>
                </a:lnTo>
                <a:lnTo>
                  <a:pt x="101" y="196"/>
                </a:lnTo>
                <a:lnTo>
                  <a:pt x="119" y="203"/>
                </a:lnTo>
                <a:lnTo>
                  <a:pt x="127" y="207"/>
                </a:lnTo>
                <a:lnTo>
                  <a:pt x="133" y="212"/>
                </a:lnTo>
                <a:lnTo>
                  <a:pt x="138" y="218"/>
                </a:lnTo>
                <a:lnTo>
                  <a:pt x="141" y="223"/>
                </a:lnTo>
                <a:lnTo>
                  <a:pt x="142" y="231"/>
                </a:lnTo>
                <a:lnTo>
                  <a:pt x="144" y="239"/>
                </a:lnTo>
                <a:lnTo>
                  <a:pt x="144" y="239"/>
                </a:lnTo>
                <a:lnTo>
                  <a:pt x="142" y="249"/>
                </a:lnTo>
                <a:lnTo>
                  <a:pt x="140" y="258"/>
                </a:lnTo>
                <a:lnTo>
                  <a:pt x="135" y="266"/>
                </a:lnTo>
                <a:lnTo>
                  <a:pt x="130" y="273"/>
                </a:lnTo>
                <a:lnTo>
                  <a:pt x="125" y="279"/>
                </a:lnTo>
                <a:lnTo>
                  <a:pt x="117" y="284"/>
                </a:lnTo>
                <a:lnTo>
                  <a:pt x="109" y="286"/>
                </a:lnTo>
                <a:lnTo>
                  <a:pt x="101" y="289"/>
                </a:lnTo>
                <a:lnTo>
                  <a:pt x="101" y="289"/>
                </a:lnTo>
                <a:close/>
                <a:moveTo>
                  <a:pt x="28" y="114"/>
                </a:moveTo>
                <a:lnTo>
                  <a:pt x="28" y="114"/>
                </a:lnTo>
                <a:lnTo>
                  <a:pt x="29" y="105"/>
                </a:lnTo>
                <a:lnTo>
                  <a:pt x="32" y="95"/>
                </a:lnTo>
                <a:lnTo>
                  <a:pt x="36" y="87"/>
                </a:lnTo>
                <a:lnTo>
                  <a:pt x="41" y="81"/>
                </a:lnTo>
                <a:lnTo>
                  <a:pt x="47" y="74"/>
                </a:lnTo>
                <a:lnTo>
                  <a:pt x="55" y="70"/>
                </a:lnTo>
                <a:lnTo>
                  <a:pt x="63" y="67"/>
                </a:lnTo>
                <a:lnTo>
                  <a:pt x="71" y="66"/>
                </a:lnTo>
                <a:lnTo>
                  <a:pt x="71" y="159"/>
                </a:lnTo>
                <a:lnTo>
                  <a:pt x="71" y="159"/>
                </a:lnTo>
                <a:lnTo>
                  <a:pt x="52" y="151"/>
                </a:lnTo>
                <a:lnTo>
                  <a:pt x="44" y="147"/>
                </a:lnTo>
                <a:lnTo>
                  <a:pt x="39" y="142"/>
                </a:lnTo>
                <a:lnTo>
                  <a:pt x="33" y="137"/>
                </a:lnTo>
                <a:lnTo>
                  <a:pt x="31" y="130"/>
                </a:lnTo>
                <a:lnTo>
                  <a:pt x="29" y="122"/>
                </a:lnTo>
                <a:lnTo>
                  <a:pt x="28" y="114"/>
                </a:lnTo>
                <a:lnTo>
                  <a:pt x="28" y="1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pPr marL="0" marR="0" lvl="0" indent="0" algn="l" defTabSz="623438" rtl="0" eaLnBrk="1" fontAlgn="auto" latinLnBrk="0" hangingPunct="1">
              <a:lnSpc>
                <a:spcPct val="100000"/>
              </a:lnSpc>
              <a:spcBef>
                <a:spcPts val="0"/>
              </a:spcBef>
              <a:spcAft>
                <a:spcPts val="0"/>
              </a:spcAft>
              <a:buClrTx/>
              <a:buSzTx/>
              <a:buFontTx/>
              <a:buNone/>
              <a:tabLst/>
              <a:defRPr/>
            </a:pPr>
            <a:endParaRPr kumimoji="0" lang="en-US" sz="1227"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6" name="TextBox 55">
            <a:extLst>
              <a:ext uri="{FF2B5EF4-FFF2-40B4-BE49-F238E27FC236}">
                <a16:creationId xmlns:a16="http://schemas.microsoft.com/office/drawing/2014/main" id="{A2A6E4CD-E9FB-4649-8AA2-FA1207F7B99E}"/>
              </a:ext>
            </a:extLst>
          </p:cNvPr>
          <p:cNvSpPr txBox="1"/>
          <p:nvPr/>
        </p:nvSpPr>
        <p:spPr>
          <a:xfrm>
            <a:off x="6964766" y="453039"/>
            <a:ext cx="3903539" cy="207749"/>
          </a:xfrm>
          <a:prstGeom prst="rect">
            <a:avLst/>
          </a:prstGeom>
          <a:solidFill>
            <a:schemeClr val="bg1">
              <a:lumMod val="95000"/>
            </a:schemeClr>
          </a:solidFill>
        </p:spPr>
        <p:txBody>
          <a:bodyPr wrap="square">
            <a:spAutoFit/>
          </a:bodyPr>
          <a:lstStyle>
            <a:defPPr>
              <a:defRPr lang="en-US"/>
            </a:defPPr>
            <a:lvl1pPr>
              <a:defRPr sz="1600" b="1"/>
            </a:lvl1pPr>
          </a:lstStyle>
          <a:p>
            <a:pPr marL="0" marR="0" lvl="0" indent="0" algn="ctr" defTabSz="623438" rtl="0" eaLnBrk="1" fontAlgn="auto" latinLnBrk="0" hangingPunct="1">
              <a:lnSpc>
                <a:spcPct val="100000"/>
              </a:lnSpc>
              <a:spcBef>
                <a:spcPts val="0"/>
              </a:spcBef>
              <a:spcAft>
                <a:spcPts val="273"/>
              </a:spcAft>
              <a:buClrTx/>
              <a:buSzTx/>
              <a:buFontTx/>
              <a:buNone/>
              <a:tabLst/>
              <a:defRPr/>
            </a:pPr>
            <a:r>
              <a:rPr kumimoji="0" lang="en-US" sz="750" b="0" i="1" u="none" strike="noStrike" kern="1200" cap="none" spc="0" normalizeH="0" baseline="0" noProof="0" dirty="0">
                <a:ln>
                  <a:noFill/>
                </a:ln>
                <a:solidFill>
                  <a:srgbClr val="000000"/>
                </a:solidFill>
                <a:effectLst/>
                <a:uLnTx/>
                <a:uFillTx/>
                <a:latin typeface="Open Sans"/>
                <a:ea typeface="+mn-ea"/>
                <a:cs typeface="Frutiger Next Pro Medium"/>
                <a:sym typeface="Frutiger Next Pro Medium" charset="0"/>
              </a:rPr>
              <a:t>Typically marketing budgets are fairly complex with hidden pockets of inefficiency</a:t>
            </a:r>
          </a:p>
        </p:txBody>
      </p:sp>
      <p:sp>
        <p:nvSpPr>
          <p:cNvPr id="57" name="TextBox 56">
            <a:extLst>
              <a:ext uri="{FF2B5EF4-FFF2-40B4-BE49-F238E27FC236}">
                <a16:creationId xmlns:a16="http://schemas.microsoft.com/office/drawing/2014/main" id="{B9868C33-E33C-4872-B427-D922774E510C}"/>
              </a:ext>
            </a:extLst>
          </p:cNvPr>
          <p:cNvSpPr txBox="1"/>
          <p:nvPr/>
        </p:nvSpPr>
        <p:spPr>
          <a:xfrm>
            <a:off x="8709032" y="1428639"/>
            <a:ext cx="2016403" cy="407227"/>
          </a:xfrm>
          <a:prstGeom prst="rect">
            <a:avLst/>
          </a:prstGeom>
          <a:noFill/>
        </p:spPr>
        <p:txBody>
          <a:bodyPr wrap="square" rtlCol="0">
            <a:spAutoFit/>
          </a:bodyPr>
          <a:lstStyle/>
          <a:p>
            <a:pPr marL="0" marR="0" lvl="0" indent="0" algn="l" defTabSz="623438" rtl="0" eaLnBrk="1" fontAlgn="auto" latinLnBrk="0" hangingPunct="1">
              <a:lnSpc>
                <a:spcPct val="100000"/>
              </a:lnSpc>
              <a:spcBef>
                <a:spcPts val="0"/>
              </a:spcBef>
              <a:spcAft>
                <a:spcPts val="0"/>
              </a:spcAft>
              <a:buClrTx/>
              <a:buSzTx/>
              <a:buFontTx/>
              <a:buNone/>
              <a:tabLst/>
              <a:defRPr/>
            </a:pPr>
            <a:r>
              <a:rPr kumimoji="0" lang="en-US" sz="682" b="1" i="0" u="none" strike="noStrike" kern="1200" cap="none" spc="0" normalizeH="0" baseline="0" noProof="0" dirty="0">
                <a:ln>
                  <a:noFill/>
                </a:ln>
                <a:solidFill>
                  <a:srgbClr val="000000"/>
                </a:solidFill>
                <a:effectLst/>
                <a:uLnTx/>
                <a:uFillTx/>
                <a:latin typeface="Open Sans"/>
                <a:ea typeface="+mn-ea"/>
                <a:cs typeface="+mn-cs"/>
              </a:rPr>
              <a:t>Media agency fees represented 9% of total spend, offering savings opportunities</a:t>
            </a:r>
          </a:p>
        </p:txBody>
      </p:sp>
      <p:sp>
        <p:nvSpPr>
          <p:cNvPr id="58" name="TextBox 57">
            <a:extLst>
              <a:ext uri="{FF2B5EF4-FFF2-40B4-BE49-F238E27FC236}">
                <a16:creationId xmlns:a16="http://schemas.microsoft.com/office/drawing/2014/main" id="{F1CB082E-35A3-46DD-97C4-480EB92733DC}"/>
              </a:ext>
            </a:extLst>
          </p:cNvPr>
          <p:cNvSpPr txBox="1"/>
          <p:nvPr/>
        </p:nvSpPr>
        <p:spPr>
          <a:xfrm>
            <a:off x="9313115" y="1782485"/>
            <a:ext cx="1754204" cy="302262"/>
          </a:xfrm>
          <a:prstGeom prst="rect">
            <a:avLst/>
          </a:prstGeom>
          <a:noFill/>
        </p:spPr>
        <p:txBody>
          <a:bodyPr wrap="square" rtlCol="0">
            <a:spAutoFit/>
          </a:bodyPr>
          <a:lstStyle/>
          <a:p>
            <a:pPr marL="0" marR="0" lvl="0" indent="0" algn="l" defTabSz="623438" rtl="0" eaLnBrk="1" fontAlgn="auto" latinLnBrk="0" hangingPunct="1">
              <a:lnSpc>
                <a:spcPct val="100000"/>
              </a:lnSpc>
              <a:spcBef>
                <a:spcPts val="0"/>
              </a:spcBef>
              <a:spcAft>
                <a:spcPts val="0"/>
              </a:spcAft>
              <a:buClrTx/>
              <a:buSzTx/>
              <a:buFontTx/>
              <a:buNone/>
              <a:tabLst/>
              <a:defRPr/>
            </a:pPr>
            <a:r>
              <a:rPr kumimoji="0" lang="en-US" sz="682" b="1" i="0" u="none" strike="noStrike" kern="1200" cap="none" spc="0" normalizeH="0" baseline="0" noProof="0" dirty="0">
                <a:ln>
                  <a:noFill/>
                </a:ln>
                <a:solidFill>
                  <a:srgbClr val="000000"/>
                </a:solidFill>
                <a:effectLst/>
                <a:uLnTx/>
                <a:uFillTx/>
                <a:latin typeface="Open Sans"/>
                <a:ea typeface="+mn-ea"/>
                <a:cs typeface="+mn-cs"/>
              </a:rPr>
              <a:t>Promotions spend was highly fragmented across 400+ vendors, </a:t>
            </a:r>
          </a:p>
        </p:txBody>
      </p:sp>
      <p:sp>
        <p:nvSpPr>
          <p:cNvPr id="60" name="TextBox 59">
            <a:extLst>
              <a:ext uri="{FF2B5EF4-FFF2-40B4-BE49-F238E27FC236}">
                <a16:creationId xmlns:a16="http://schemas.microsoft.com/office/drawing/2014/main" id="{07DD2D5D-6F7A-4718-B57E-8FB16C4750A2}"/>
              </a:ext>
            </a:extLst>
          </p:cNvPr>
          <p:cNvSpPr txBox="1"/>
          <p:nvPr/>
        </p:nvSpPr>
        <p:spPr>
          <a:xfrm>
            <a:off x="7910395" y="719053"/>
            <a:ext cx="2336893" cy="302262"/>
          </a:xfrm>
          <a:prstGeom prst="rect">
            <a:avLst/>
          </a:prstGeom>
          <a:noFill/>
        </p:spPr>
        <p:txBody>
          <a:bodyPr wrap="square" rtlCol="0">
            <a:spAutoFit/>
          </a:bodyPr>
          <a:lstStyle/>
          <a:p>
            <a:pPr marL="0" marR="0" lvl="0" indent="0" algn="l" defTabSz="623438" rtl="0" eaLnBrk="1" fontAlgn="auto" latinLnBrk="0" hangingPunct="1">
              <a:lnSpc>
                <a:spcPct val="100000"/>
              </a:lnSpc>
              <a:spcBef>
                <a:spcPts val="0"/>
              </a:spcBef>
              <a:spcAft>
                <a:spcPts val="0"/>
              </a:spcAft>
              <a:buClrTx/>
              <a:buSzTx/>
              <a:buFontTx/>
              <a:buNone/>
              <a:tabLst/>
              <a:defRPr/>
            </a:pPr>
            <a:r>
              <a:rPr kumimoji="0" lang="en-US" sz="682" b="1" i="0" u="none" strike="noStrike" kern="1200" cap="none" spc="0" normalizeH="0" baseline="0" noProof="0" dirty="0">
                <a:ln>
                  <a:noFill/>
                </a:ln>
                <a:solidFill>
                  <a:srgbClr val="000000"/>
                </a:solidFill>
                <a:effectLst/>
                <a:uLnTx/>
                <a:uFillTx/>
                <a:latin typeface="Open Sans"/>
                <a:ea typeface="+mn-ea"/>
                <a:cs typeface="+mn-cs"/>
              </a:rPr>
              <a:t>Digital media represented +25% of total spend, heavily concentrated in digital advertising</a:t>
            </a:r>
          </a:p>
        </p:txBody>
      </p:sp>
      <p:cxnSp>
        <p:nvCxnSpPr>
          <p:cNvPr id="61" name="Straight Connector 60">
            <a:extLst>
              <a:ext uri="{FF2B5EF4-FFF2-40B4-BE49-F238E27FC236}">
                <a16:creationId xmlns:a16="http://schemas.microsoft.com/office/drawing/2014/main" id="{180F2320-343D-4AE3-8A21-C2A4CF47317E}"/>
              </a:ext>
            </a:extLst>
          </p:cNvPr>
          <p:cNvCxnSpPr>
            <a:cxnSpLocks/>
          </p:cNvCxnSpPr>
          <p:nvPr/>
        </p:nvCxnSpPr>
        <p:spPr>
          <a:xfrm flipV="1">
            <a:off x="893557" y="3646218"/>
            <a:ext cx="9565730" cy="0"/>
          </a:xfrm>
          <a:prstGeom prst="line">
            <a:avLst/>
          </a:prstGeom>
          <a:ln w="12700" cap="rnd">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D08DC27-941C-4347-8B4C-541A8CF29287}"/>
              </a:ext>
            </a:extLst>
          </p:cNvPr>
          <p:cNvCxnSpPr>
            <a:cxnSpLocks/>
          </p:cNvCxnSpPr>
          <p:nvPr/>
        </p:nvCxnSpPr>
        <p:spPr>
          <a:xfrm flipH="1">
            <a:off x="6810343" y="248873"/>
            <a:ext cx="1" cy="3397345"/>
          </a:xfrm>
          <a:prstGeom prst="line">
            <a:avLst/>
          </a:prstGeom>
          <a:ln w="12700" cap="rnd">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3" name="Rectangle 9">
            <a:extLst>
              <a:ext uri="{FF2B5EF4-FFF2-40B4-BE49-F238E27FC236}">
                <a16:creationId xmlns:a16="http://schemas.microsoft.com/office/drawing/2014/main" id="{877D7641-C1CC-4929-BCCE-68545AC41790}"/>
              </a:ext>
            </a:extLst>
          </p:cNvPr>
          <p:cNvSpPr/>
          <p:nvPr/>
        </p:nvSpPr>
        <p:spPr>
          <a:xfrm>
            <a:off x="9672432" y="3305416"/>
            <a:ext cx="470910" cy="231762"/>
          </a:xfrm>
          <a:custGeom>
            <a:avLst/>
            <a:gdLst>
              <a:gd name="connsiteX0" fmla="*/ 0 w 680310"/>
              <a:gd name="connsiteY0" fmla="*/ 0 h 176885"/>
              <a:gd name="connsiteX1" fmla="*/ 680310 w 680310"/>
              <a:gd name="connsiteY1" fmla="*/ 0 h 176885"/>
              <a:gd name="connsiteX2" fmla="*/ 680310 w 680310"/>
              <a:gd name="connsiteY2" fmla="*/ 176885 h 176885"/>
              <a:gd name="connsiteX3" fmla="*/ 0 w 680310"/>
              <a:gd name="connsiteY3" fmla="*/ 176885 h 176885"/>
              <a:gd name="connsiteX4" fmla="*/ 0 w 680310"/>
              <a:gd name="connsiteY4" fmla="*/ 0 h 176885"/>
              <a:gd name="connsiteX0" fmla="*/ 49619 w 680310"/>
              <a:gd name="connsiteY0" fmla="*/ 0 h 339918"/>
              <a:gd name="connsiteX1" fmla="*/ 680310 w 680310"/>
              <a:gd name="connsiteY1" fmla="*/ 163033 h 339918"/>
              <a:gd name="connsiteX2" fmla="*/ 680310 w 680310"/>
              <a:gd name="connsiteY2" fmla="*/ 339918 h 339918"/>
              <a:gd name="connsiteX3" fmla="*/ 0 w 680310"/>
              <a:gd name="connsiteY3" fmla="*/ 339918 h 339918"/>
              <a:gd name="connsiteX4" fmla="*/ 49619 w 680310"/>
              <a:gd name="connsiteY4" fmla="*/ 0 h 339918"/>
              <a:gd name="connsiteX0" fmla="*/ 59977 w 690668"/>
              <a:gd name="connsiteY0" fmla="*/ 0 h 339918"/>
              <a:gd name="connsiteX1" fmla="*/ 690668 w 690668"/>
              <a:gd name="connsiteY1" fmla="*/ 163033 h 339918"/>
              <a:gd name="connsiteX2" fmla="*/ 690668 w 690668"/>
              <a:gd name="connsiteY2" fmla="*/ 339918 h 339918"/>
              <a:gd name="connsiteX3" fmla="*/ 10358 w 690668"/>
              <a:gd name="connsiteY3" fmla="*/ 339918 h 339918"/>
              <a:gd name="connsiteX4" fmla="*/ 59977 w 690668"/>
              <a:gd name="connsiteY4" fmla="*/ 0 h 339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668" h="339918">
                <a:moveTo>
                  <a:pt x="59977" y="0"/>
                </a:moveTo>
                <a:lnTo>
                  <a:pt x="690668" y="163033"/>
                </a:lnTo>
                <a:lnTo>
                  <a:pt x="690668" y="339918"/>
                </a:lnTo>
                <a:lnTo>
                  <a:pt x="10358" y="339918"/>
                </a:lnTo>
                <a:cubicBezTo>
                  <a:pt x="26898" y="226612"/>
                  <a:pt x="-48711" y="99129"/>
                  <a:pt x="59977" y="0"/>
                </a:cubicBezTo>
                <a:close/>
              </a:path>
            </a:pathLst>
          </a:custGeom>
          <a:solidFill>
            <a:srgbClr val="F2F2F2"/>
          </a:solidFill>
          <a:ln>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23438" rtl="0" eaLnBrk="1" fontAlgn="auto" latinLnBrk="0" hangingPunct="1">
              <a:lnSpc>
                <a:spcPct val="100000"/>
              </a:lnSpc>
              <a:spcBef>
                <a:spcPts val="0"/>
              </a:spcBef>
              <a:spcAft>
                <a:spcPts val="0"/>
              </a:spcAft>
              <a:buClrTx/>
              <a:buSzTx/>
              <a:buFontTx/>
              <a:buNone/>
              <a:tabLst/>
              <a:defRPr/>
            </a:pPr>
            <a:endParaRPr kumimoji="0" lang="en-US" sz="1227" b="0" i="0" u="none" strike="noStrike" kern="1200" cap="none" spc="0" normalizeH="0" baseline="0" noProof="0" dirty="0">
              <a:ln>
                <a:noFill/>
              </a:ln>
              <a:solidFill>
                <a:srgbClr val="FFFFFF"/>
              </a:solidFill>
              <a:effectLst/>
              <a:uLnTx/>
              <a:uFillTx/>
              <a:latin typeface="Open Sans"/>
              <a:ea typeface="+mn-ea"/>
              <a:cs typeface="+mn-cs"/>
            </a:endParaRPr>
          </a:p>
        </p:txBody>
      </p:sp>
      <p:cxnSp>
        <p:nvCxnSpPr>
          <p:cNvPr id="65" name="Straight Connector 64">
            <a:extLst>
              <a:ext uri="{FF2B5EF4-FFF2-40B4-BE49-F238E27FC236}">
                <a16:creationId xmlns:a16="http://schemas.microsoft.com/office/drawing/2014/main" id="{1C819246-087F-403F-8DD3-3D6038067C7C}"/>
              </a:ext>
            </a:extLst>
          </p:cNvPr>
          <p:cNvCxnSpPr/>
          <p:nvPr/>
        </p:nvCxnSpPr>
        <p:spPr>
          <a:xfrm>
            <a:off x="7631677" y="803122"/>
            <a:ext cx="311727"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69" name="Chart 68">
            <a:extLst>
              <a:ext uri="{FF2B5EF4-FFF2-40B4-BE49-F238E27FC236}">
                <a16:creationId xmlns:a16="http://schemas.microsoft.com/office/drawing/2014/main" id="{33F15441-8FC3-4030-BF24-A6E2C3DE14CF}"/>
              </a:ext>
            </a:extLst>
          </p:cNvPr>
          <p:cNvGraphicFramePr/>
          <p:nvPr>
            <p:extLst>
              <p:ext uri="{D42A27DB-BD31-4B8C-83A1-F6EECF244321}">
                <p14:modId xmlns:p14="http://schemas.microsoft.com/office/powerpoint/2010/main" val="1988075147"/>
              </p:ext>
            </p:extLst>
          </p:nvPr>
        </p:nvGraphicFramePr>
        <p:xfrm>
          <a:off x="6892090" y="962428"/>
          <a:ext cx="4208786" cy="2670496"/>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53388828"/>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100"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Trade Policy Customer Segments</a:t>
            </a:r>
            <a:endParaRPr lang="en-US" dirty="0"/>
          </a:p>
        </p:txBody>
      </p:sp>
      <p:sp>
        <p:nvSpPr>
          <p:cNvPr id="3" name="Text Placeholder 2"/>
          <p:cNvSpPr>
            <a:spLocks noGrp="1"/>
          </p:cNvSpPr>
          <p:nvPr>
            <p:ph type="body" sz="quarter" idx="14"/>
          </p:nvPr>
        </p:nvSpPr>
        <p:spPr/>
        <p:txBody>
          <a:bodyPr/>
          <a:lstStyle/>
          <a:p>
            <a:pPr lvl="0">
              <a:buClr>
                <a:srgbClr val="787878"/>
              </a:buClr>
              <a:defRPr/>
            </a:pPr>
            <a:r>
              <a:rPr lang="en-US" spc="0" dirty="0">
                <a:solidFill>
                  <a:srgbClr val="000000"/>
                </a:solidFill>
              </a:rPr>
              <a:t>Priority customers see a varying range of impact from the new trade policy </a:t>
            </a:r>
          </a:p>
        </p:txBody>
      </p:sp>
      <p:sp>
        <p:nvSpPr>
          <p:cNvPr id="5" name="Text Placeholder 4"/>
          <p:cNvSpPr>
            <a:spLocks noGrp="1"/>
          </p:cNvSpPr>
          <p:nvPr>
            <p:ph type="body" sz="quarter" idx="15"/>
          </p:nvPr>
        </p:nvSpPr>
        <p:spPr/>
        <p:txBody>
          <a:bodyPr/>
          <a:lstStyle/>
          <a:p>
            <a:r>
              <a:rPr lang="en-US" dirty="0"/>
              <a:t>Data Visualization &amp; Infographics</a:t>
            </a:r>
          </a:p>
        </p:txBody>
      </p:sp>
      <p:sp>
        <p:nvSpPr>
          <p:cNvPr id="148" name="Up Arrow 147"/>
          <p:cNvSpPr/>
          <p:nvPr/>
        </p:nvSpPr>
        <p:spPr>
          <a:xfrm>
            <a:off x="1726254" y="2028435"/>
            <a:ext cx="302195" cy="4351602"/>
          </a:xfrm>
          <a:prstGeom prst="up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49" name="Up Arrow 148"/>
          <p:cNvSpPr/>
          <p:nvPr/>
        </p:nvSpPr>
        <p:spPr>
          <a:xfrm rot="5400000">
            <a:off x="6144952" y="1819154"/>
            <a:ext cx="311472" cy="8989360"/>
          </a:xfrm>
          <a:prstGeom prst="up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50" name="TextBox 149"/>
          <p:cNvSpPr txBox="1">
            <a:spLocks/>
          </p:cNvSpPr>
          <p:nvPr/>
        </p:nvSpPr>
        <p:spPr>
          <a:xfrm>
            <a:off x="3216082" y="6459940"/>
            <a:ext cx="1931490" cy="307848"/>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mn-cs"/>
              </a:rPr>
              <a:t>Non-Priority</a:t>
            </a:r>
          </a:p>
        </p:txBody>
      </p:sp>
      <p:sp>
        <p:nvSpPr>
          <p:cNvPr id="151" name="TextBox 150"/>
          <p:cNvSpPr txBox="1">
            <a:spLocks/>
          </p:cNvSpPr>
          <p:nvPr/>
        </p:nvSpPr>
        <p:spPr>
          <a:xfrm rot="16200000">
            <a:off x="283022" y="2968425"/>
            <a:ext cx="2032624" cy="307848"/>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mn-cs"/>
              </a:rPr>
              <a:t>Increase in </a:t>
            </a:r>
            <a:br>
              <a:rPr kumimoji="0" lang="en-US" sz="1400" b="1" i="0" u="none" strike="noStrike" kern="1200" cap="none" spc="0" normalizeH="0" baseline="0" noProof="0" dirty="0">
                <a:ln>
                  <a:noFill/>
                </a:ln>
                <a:solidFill>
                  <a:srgbClr val="000000"/>
                </a:solidFill>
                <a:effectLst/>
                <a:uLnTx/>
                <a:uFillTx/>
                <a:latin typeface="Open Sans"/>
                <a:ea typeface="+mn-ea"/>
                <a:cs typeface="+mn-cs"/>
              </a:rPr>
            </a:br>
            <a:r>
              <a:rPr kumimoji="0" lang="en-US" sz="1400" b="1" i="0" u="none" strike="noStrike" kern="1200" cap="none" spc="0" normalizeH="0" baseline="0" noProof="0" dirty="0">
                <a:ln>
                  <a:noFill/>
                </a:ln>
                <a:solidFill>
                  <a:srgbClr val="000000"/>
                </a:solidFill>
                <a:effectLst/>
                <a:uLnTx/>
                <a:uFillTx/>
                <a:latin typeface="Open Sans"/>
                <a:ea typeface="+mn-ea"/>
                <a:cs typeface="+mn-cs"/>
              </a:rPr>
              <a:t>discount potential</a:t>
            </a:r>
          </a:p>
        </p:txBody>
      </p:sp>
      <p:sp>
        <p:nvSpPr>
          <p:cNvPr id="152" name="TextBox 151"/>
          <p:cNvSpPr txBox="1">
            <a:spLocks/>
          </p:cNvSpPr>
          <p:nvPr/>
        </p:nvSpPr>
        <p:spPr>
          <a:xfrm>
            <a:off x="7492322" y="6459940"/>
            <a:ext cx="1931490" cy="307848"/>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mn-cs"/>
              </a:rPr>
              <a:t>Priority</a:t>
            </a:r>
          </a:p>
        </p:txBody>
      </p:sp>
      <p:sp>
        <p:nvSpPr>
          <p:cNvPr id="153" name="TextBox 152"/>
          <p:cNvSpPr txBox="1">
            <a:spLocks/>
          </p:cNvSpPr>
          <p:nvPr/>
        </p:nvSpPr>
        <p:spPr>
          <a:xfrm rot="16200000">
            <a:off x="283022" y="5017718"/>
            <a:ext cx="2032624" cy="307848"/>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mn-cs"/>
              </a:rPr>
              <a:t>Decrease in </a:t>
            </a:r>
            <a:br>
              <a:rPr kumimoji="0" lang="en-US" sz="1400" b="1" i="0" u="none" strike="noStrike" kern="1200" cap="none" spc="0" normalizeH="0" baseline="0" noProof="0" dirty="0">
                <a:ln>
                  <a:noFill/>
                </a:ln>
                <a:solidFill>
                  <a:srgbClr val="000000"/>
                </a:solidFill>
                <a:effectLst/>
                <a:uLnTx/>
                <a:uFillTx/>
                <a:latin typeface="Open Sans"/>
                <a:ea typeface="+mn-ea"/>
                <a:cs typeface="+mn-cs"/>
              </a:rPr>
            </a:br>
            <a:r>
              <a:rPr kumimoji="0" lang="en-US" sz="1400" b="1" i="0" u="none" strike="noStrike" kern="1200" cap="none" spc="0" normalizeH="0" baseline="0" noProof="0" dirty="0">
                <a:ln>
                  <a:noFill/>
                </a:ln>
                <a:solidFill>
                  <a:srgbClr val="000000"/>
                </a:solidFill>
                <a:effectLst/>
                <a:uLnTx/>
                <a:uFillTx/>
                <a:latin typeface="Open Sans"/>
                <a:ea typeface="+mn-ea"/>
                <a:cs typeface="+mn-cs"/>
              </a:rPr>
              <a:t>discount potential</a:t>
            </a:r>
          </a:p>
        </p:txBody>
      </p:sp>
      <p:cxnSp>
        <p:nvCxnSpPr>
          <p:cNvPr id="154" name="Straight Connector 153"/>
          <p:cNvCxnSpPr/>
          <p:nvPr/>
        </p:nvCxnSpPr>
        <p:spPr>
          <a:xfrm>
            <a:off x="2037028" y="4208422"/>
            <a:ext cx="8816893" cy="0"/>
          </a:xfrm>
          <a:prstGeom prst="line">
            <a:avLst/>
          </a:prstGeom>
          <a:ln w="38100" cap="flat" cmpd="sng" algn="ctr">
            <a:solidFill>
              <a:schemeClr val="bg1">
                <a:lumMod val="85000"/>
              </a:schemeClr>
            </a:solidFill>
            <a:prstDash val="dash"/>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155" name="Rectangle 154"/>
          <p:cNvSpPr/>
          <p:nvPr/>
        </p:nvSpPr>
        <p:spPr bwMode="gray">
          <a:xfrm>
            <a:off x="2200948" y="4731293"/>
            <a:ext cx="3449387" cy="577866"/>
          </a:xfrm>
          <a:prstGeom prst="rect">
            <a:avLst/>
          </a:prstGeom>
          <a:noFill/>
          <a:ln w="2857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Non-Priority Customers, </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Decrease in Trade Spend</a:t>
            </a: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1" u="none" strike="noStrike" kern="1200" cap="none" spc="0" normalizeH="0" baseline="0" noProof="0" dirty="0">
                <a:ln>
                  <a:noFill/>
                </a:ln>
                <a:solidFill>
                  <a:srgbClr val="000000"/>
                </a:solidFill>
                <a:effectLst/>
                <a:uLnTx/>
                <a:uFillTx/>
                <a:latin typeface="Open Sans"/>
                <a:ea typeface="+mn-ea"/>
                <a:cs typeface="+mn-cs"/>
              </a:rPr>
              <a:t>(111 Customers)</a:t>
            </a:r>
          </a:p>
        </p:txBody>
      </p:sp>
      <p:sp>
        <p:nvSpPr>
          <p:cNvPr id="156" name="Rectangle 155"/>
          <p:cNvSpPr/>
          <p:nvPr/>
        </p:nvSpPr>
        <p:spPr bwMode="gray">
          <a:xfrm>
            <a:off x="2289804" y="2722799"/>
            <a:ext cx="3353735" cy="784774"/>
          </a:xfrm>
          <a:prstGeom prst="rect">
            <a:avLst/>
          </a:prstGeom>
          <a:noFill/>
          <a:ln w="2857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Non-Priority Customers, </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Increase or No Change in Trade Spend</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1" u="none" strike="noStrike" kern="1200" cap="none" spc="0" normalizeH="0" baseline="0" noProof="0" dirty="0">
                <a:ln>
                  <a:noFill/>
                </a:ln>
                <a:solidFill>
                  <a:srgbClr val="000000"/>
                </a:solidFill>
                <a:effectLst/>
                <a:uLnTx/>
                <a:uFillTx/>
                <a:latin typeface="Open Sans"/>
                <a:ea typeface="+mn-ea"/>
                <a:cs typeface="+mn-cs"/>
              </a:rPr>
              <a:t>(172 Customers) </a:t>
            </a:r>
          </a:p>
        </p:txBody>
      </p:sp>
      <p:sp>
        <p:nvSpPr>
          <p:cNvPr id="157" name="TextBox 156">
            <a:extLst>
              <a:ext uri="{FF2B5EF4-FFF2-40B4-BE49-F238E27FC236}">
                <a16:creationId xmlns:a16="http://schemas.microsoft.com/office/drawing/2014/main" id="{485B4FDE-F166-4AAE-AB65-079B946A7D12}"/>
              </a:ext>
            </a:extLst>
          </p:cNvPr>
          <p:cNvSpPr txBox="1"/>
          <p:nvPr/>
        </p:nvSpPr>
        <p:spPr>
          <a:xfrm rot="16200000">
            <a:off x="4223367" y="3769784"/>
            <a:ext cx="3243132" cy="307777"/>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Trade Spend Change (% of Revenue) </a:t>
            </a:r>
          </a:p>
        </p:txBody>
      </p:sp>
      <p:sp>
        <p:nvSpPr>
          <p:cNvPr id="158" name="TextBox 157">
            <a:extLst>
              <a:ext uri="{FF2B5EF4-FFF2-40B4-BE49-F238E27FC236}">
                <a16:creationId xmlns:a16="http://schemas.microsoft.com/office/drawing/2014/main" id="{FEB5D4E6-E029-4663-A1D9-06A4FA32F38F}"/>
              </a:ext>
            </a:extLst>
          </p:cNvPr>
          <p:cNvSpPr txBox="1"/>
          <p:nvPr/>
        </p:nvSpPr>
        <p:spPr>
          <a:xfrm>
            <a:off x="9529331" y="3931421"/>
            <a:ext cx="131651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Net Revenue ($)</a:t>
            </a:r>
          </a:p>
        </p:txBody>
      </p:sp>
      <p:grpSp>
        <p:nvGrpSpPr>
          <p:cNvPr id="159" name="Group 158"/>
          <p:cNvGrpSpPr/>
          <p:nvPr/>
        </p:nvGrpSpPr>
        <p:grpSpPr>
          <a:xfrm>
            <a:off x="10159051" y="2447583"/>
            <a:ext cx="1148071" cy="830997"/>
            <a:chOff x="10068362" y="2085356"/>
            <a:chExt cx="1148071" cy="830997"/>
          </a:xfrm>
        </p:grpSpPr>
        <p:sp>
          <p:nvSpPr>
            <p:cNvPr id="160" name="TextBox 159">
              <a:extLst>
                <a:ext uri="{FF2B5EF4-FFF2-40B4-BE49-F238E27FC236}">
                  <a16:creationId xmlns:a16="http://schemas.microsoft.com/office/drawing/2014/main" id="{464BAEE6-B43A-44A1-A25D-8292E3CAFEA5}"/>
                </a:ext>
              </a:extLst>
            </p:cNvPr>
            <p:cNvSpPr txBox="1"/>
            <p:nvPr/>
          </p:nvSpPr>
          <p:spPr>
            <a:xfrm>
              <a:off x="10068362" y="2085356"/>
              <a:ext cx="1148071"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Lege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     Segment</a:t>
              </a:r>
              <a:r>
                <a:rPr kumimoji="0" lang="en-US" sz="1200" b="0" i="0" u="none" strike="noStrike" kern="1200" cap="none" spc="0" normalizeH="0" noProof="0" dirty="0">
                  <a:ln>
                    <a:noFill/>
                  </a:ln>
                  <a:solidFill>
                    <a:srgbClr val="000000"/>
                  </a:solidFill>
                  <a:effectLst/>
                  <a:uLnTx/>
                  <a:uFillTx/>
                  <a:latin typeface="Open Sans"/>
                  <a:ea typeface="+mn-ea"/>
                  <a:cs typeface="+mn-cs"/>
                </a:rPr>
                <a:t> 1</a:t>
              </a: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     Segment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     Segment 3</a:t>
              </a:r>
            </a:p>
          </p:txBody>
        </p:sp>
        <p:sp>
          <p:nvSpPr>
            <p:cNvPr id="161" name="Oval 160">
              <a:extLst>
                <a:ext uri="{FF2B5EF4-FFF2-40B4-BE49-F238E27FC236}">
                  <a16:creationId xmlns:a16="http://schemas.microsoft.com/office/drawing/2014/main" id="{DF325634-64F7-4219-A75C-27FB5E71C075}"/>
                </a:ext>
              </a:extLst>
            </p:cNvPr>
            <p:cNvSpPr/>
            <p:nvPr/>
          </p:nvSpPr>
          <p:spPr>
            <a:xfrm>
              <a:off x="10203063" y="2539347"/>
              <a:ext cx="108030" cy="11188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62" name="Oval 161">
              <a:extLst>
                <a:ext uri="{FF2B5EF4-FFF2-40B4-BE49-F238E27FC236}">
                  <a16:creationId xmlns:a16="http://schemas.microsoft.com/office/drawing/2014/main" id="{D6749191-5405-4BA5-9ADC-9C5ECBD3E51D}"/>
                </a:ext>
              </a:extLst>
            </p:cNvPr>
            <p:cNvSpPr/>
            <p:nvPr/>
          </p:nvSpPr>
          <p:spPr>
            <a:xfrm>
              <a:off x="10203063" y="2352577"/>
              <a:ext cx="108030" cy="111888"/>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63" name="Oval 162">
              <a:extLst>
                <a:ext uri="{FF2B5EF4-FFF2-40B4-BE49-F238E27FC236}">
                  <a16:creationId xmlns:a16="http://schemas.microsoft.com/office/drawing/2014/main" id="{DF325634-64F7-4219-A75C-27FB5E71C075}"/>
                </a:ext>
              </a:extLst>
            </p:cNvPr>
            <p:cNvSpPr>
              <a:spLocks/>
            </p:cNvSpPr>
            <p:nvPr/>
          </p:nvSpPr>
          <p:spPr>
            <a:xfrm>
              <a:off x="10195968" y="2723646"/>
              <a:ext cx="108030" cy="11188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cxnSp>
        <p:nvCxnSpPr>
          <p:cNvPr id="164" name="Straight Connector 163"/>
          <p:cNvCxnSpPr>
            <a:cxnSpLocks/>
          </p:cNvCxnSpPr>
          <p:nvPr/>
        </p:nvCxnSpPr>
        <p:spPr>
          <a:xfrm>
            <a:off x="2554041" y="3490891"/>
            <a:ext cx="274320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p:nvPr/>
        </p:nvCxnSpPr>
        <p:spPr>
          <a:xfrm>
            <a:off x="2554041" y="5396854"/>
            <a:ext cx="2743200"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a:off x="7415851" y="6052235"/>
            <a:ext cx="2743200"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a:cxnSpLocks/>
          </p:cNvCxnSpPr>
          <p:nvPr/>
        </p:nvCxnSpPr>
        <p:spPr>
          <a:xfrm>
            <a:off x="7415851" y="2375459"/>
            <a:ext cx="2743200" cy="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68" name="Rectangle 167"/>
          <p:cNvSpPr/>
          <p:nvPr/>
        </p:nvSpPr>
        <p:spPr bwMode="gray">
          <a:xfrm>
            <a:off x="7151562" y="1585803"/>
            <a:ext cx="3360584" cy="784774"/>
          </a:xfrm>
          <a:prstGeom prst="rect">
            <a:avLst/>
          </a:prstGeom>
          <a:noFill/>
          <a:ln w="2857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Priority Customers, </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Increase or No Change in Trade Spend</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1" u="none" strike="noStrike" kern="1200" cap="none" spc="0" normalizeH="0" baseline="0" noProof="0" dirty="0">
                <a:ln>
                  <a:noFill/>
                </a:ln>
                <a:solidFill>
                  <a:srgbClr val="000000"/>
                </a:solidFill>
                <a:effectLst/>
                <a:uLnTx/>
                <a:uFillTx/>
                <a:latin typeface="Open Sans"/>
                <a:ea typeface="+mn-ea"/>
                <a:cs typeface="+mn-cs"/>
              </a:rPr>
              <a:t>(19 Customers) </a:t>
            </a:r>
          </a:p>
        </p:txBody>
      </p:sp>
      <p:sp>
        <p:nvSpPr>
          <p:cNvPr id="169" name="Rectangle 168"/>
          <p:cNvSpPr/>
          <p:nvPr/>
        </p:nvSpPr>
        <p:spPr bwMode="gray">
          <a:xfrm>
            <a:off x="7062758" y="5386674"/>
            <a:ext cx="3449387" cy="577866"/>
          </a:xfrm>
          <a:prstGeom prst="rect">
            <a:avLst/>
          </a:prstGeom>
          <a:noFill/>
          <a:ln w="2857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Priority Customers, </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Decrease in Trade Spend</a:t>
            </a: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1" u="none" strike="noStrike" kern="1200" cap="none" spc="0" normalizeH="0" baseline="0" noProof="0" dirty="0">
                <a:ln>
                  <a:noFill/>
                </a:ln>
                <a:solidFill>
                  <a:srgbClr val="000000"/>
                </a:solidFill>
                <a:effectLst/>
                <a:uLnTx/>
                <a:uFillTx/>
                <a:latin typeface="Open Sans"/>
                <a:ea typeface="+mn-ea"/>
                <a:cs typeface="+mn-cs"/>
              </a:rPr>
              <a:t>(14 Customers)</a:t>
            </a:r>
          </a:p>
        </p:txBody>
      </p:sp>
      <p:cxnSp>
        <p:nvCxnSpPr>
          <p:cNvPr id="170" name="Straight Connector 169"/>
          <p:cNvCxnSpPr/>
          <p:nvPr/>
        </p:nvCxnSpPr>
        <p:spPr>
          <a:xfrm>
            <a:off x="6039234" y="2017811"/>
            <a:ext cx="0" cy="4206240"/>
          </a:xfrm>
          <a:prstGeom prst="line">
            <a:avLst/>
          </a:prstGeom>
          <a:ln w="3810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2083056" y="2375459"/>
            <a:ext cx="464189" cy="1652202"/>
          </a:xfrm>
          <a:prstGeom prst="line">
            <a:avLst/>
          </a:prstGeom>
          <a:ln w="12700">
            <a:prstDash val="dash"/>
          </a:ln>
        </p:spPr>
        <p:style>
          <a:lnRef idx="1">
            <a:schemeClr val="accent5"/>
          </a:lnRef>
          <a:fillRef idx="0">
            <a:schemeClr val="accent5"/>
          </a:fillRef>
          <a:effectRef idx="0">
            <a:schemeClr val="accent5"/>
          </a:effectRef>
          <a:fontRef idx="minor">
            <a:schemeClr val="tx1"/>
          </a:fontRef>
        </p:style>
      </p:cxnSp>
      <p:sp>
        <p:nvSpPr>
          <p:cNvPr id="172" name="TextBox 171"/>
          <p:cNvSpPr txBox="1"/>
          <p:nvPr/>
        </p:nvSpPr>
        <p:spPr>
          <a:xfrm>
            <a:off x="2083056" y="1648479"/>
            <a:ext cx="2465884" cy="738664"/>
          </a:xfrm>
          <a:prstGeom prst="rect">
            <a:avLst/>
          </a:prstGeom>
          <a:noFill/>
          <a:ln>
            <a:solidFill>
              <a:schemeClr val="bg1">
                <a:lumMod val="50000"/>
              </a:schemeClr>
            </a:solidFill>
            <a:prstDash val="sysDash"/>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lumMod val="50000"/>
                    <a:lumOff val="50000"/>
                  </a:srgbClr>
                </a:solidFill>
                <a:effectLst/>
                <a:uLnTx/>
                <a:uFillTx/>
                <a:latin typeface="Open Sans"/>
                <a:ea typeface="+mn-ea"/>
                <a:cs typeface="+mn-cs"/>
              </a:rPr>
              <a:t>Non-Strategic change based on standard discount for </a:t>
            </a:r>
            <a:r>
              <a:rPr kumimoji="0" lang="en-US" sz="1400" b="1" i="1" u="none" strike="noStrike" kern="1200" cap="none" spc="0" normalizeH="0" baseline="0" noProof="0" dirty="0">
                <a:ln>
                  <a:noFill/>
                </a:ln>
                <a:solidFill>
                  <a:srgbClr val="000000">
                    <a:lumMod val="50000"/>
                    <a:lumOff val="50000"/>
                  </a:srgbClr>
                </a:solidFill>
                <a:effectLst/>
                <a:uLnTx/>
                <a:uFillTx/>
                <a:latin typeface="Open Sans"/>
                <a:ea typeface="+mn-ea"/>
                <a:cs typeface="+mn-cs"/>
              </a:rPr>
              <a:t>fairness and equitability</a:t>
            </a:r>
          </a:p>
        </p:txBody>
      </p:sp>
      <p:graphicFrame>
        <p:nvGraphicFramePr>
          <p:cNvPr id="34" name="Chart 33">
            <a:extLst>
              <a:ext uri="{FF2B5EF4-FFF2-40B4-BE49-F238E27FC236}">
                <a16:creationId xmlns:a16="http://schemas.microsoft.com/office/drawing/2014/main" id="{0ED89EE4-330E-401D-B8C6-5652A34A6C57}"/>
              </a:ext>
            </a:extLst>
          </p:cNvPr>
          <p:cNvGraphicFramePr>
            <a:graphicFrameLocks/>
          </p:cNvGraphicFramePr>
          <p:nvPr>
            <p:extLst>
              <p:ext uri="{D42A27DB-BD31-4B8C-83A1-F6EECF244321}">
                <p14:modId xmlns:p14="http://schemas.microsoft.com/office/powerpoint/2010/main" val="2963761244"/>
              </p:ext>
            </p:extLst>
          </p:nvPr>
        </p:nvGraphicFramePr>
        <p:xfrm>
          <a:off x="6300688" y="2414255"/>
          <a:ext cx="3846368" cy="3445626"/>
        </p:xfrm>
        <a:graphic>
          <a:graphicData uri="http://schemas.openxmlformats.org/drawingml/2006/chart">
            <c:chart xmlns:c="http://schemas.openxmlformats.org/drawingml/2006/chart" xmlns:r="http://schemas.openxmlformats.org/officeDocument/2006/relationships" r:id="rId7"/>
          </a:graphicData>
        </a:graphic>
      </p:graphicFrame>
      <p:sp>
        <p:nvSpPr>
          <p:cNvPr id="35" name="TextBox 34">
            <a:extLst>
              <a:ext uri="{FF2B5EF4-FFF2-40B4-BE49-F238E27FC236}">
                <a16:creationId xmlns:a16="http://schemas.microsoft.com/office/drawing/2014/main" id="{6D5BB500-9C88-417A-B955-D8D26EAE8CCA}"/>
              </a:ext>
            </a:extLst>
          </p:cNvPr>
          <p:cNvSpPr txBox="1"/>
          <p:nvPr/>
        </p:nvSpPr>
        <p:spPr>
          <a:xfrm>
            <a:off x="6990930" y="2595070"/>
            <a:ext cx="1588294" cy="261610"/>
          </a:xfrm>
          <a:prstGeom prst="rect">
            <a:avLst/>
          </a:prstGeom>
          <a:noFill/>
          <a:ln>
            <a:solidFill>
              <a:schemeClr val="bg1">
                <a:lumMod val="50000"/>
              </a:schemeClr>
            </a:solidFill>
            <a:prstDash val="sysDash"/>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lumMod val="50000"/>
                    <a:lumOff val="50000"/>
                  </a:srgbClr>
                </a:solidFill>
                <a:effectLst/>
                <a:uLnTx/>
                <a:uFillTx/>
                <a:latin typeface="Open Sans"/>
                <a:ea typeface="+mn-ea"/>
                <a:cs typeface="+mn-cs"/>
              </a:rPr>
              <a:t>Company A: </a:t>
            </a:r>
            <a:r>
              <a:rPr kumimoji="0" lang="en-US" sz="1100" b="1" i="1" u="none" strike="noStrike" kern="1200" cap="none" spc="0" normalizeH="0" baseline="0" noProof="0" dirty="0">
                <a:ln>
                  <a:noFill/>
                </a:ln>
                <a:solidFill>
                  <a:srgbClr val="000000">
                    <a:lumMod val="50000"/>
                    <a:lumOff val="50000"/>
                  </a:srgbClr>
                </a:solidFill>
                <a:effectLst/>
                <a:uLnTx/>
                <a:uFillTx/>
                <a:latin typeface="Open Sans"/>
                <a:ea typeface="+mn-ea"/>
                <a:cs typeface="+mn-cs"/>
              </a:rPr>
              <a:t>7.8%</a:t>
            </a:r>
          </a:p>
        </p:txBody>
      </p:sp>
      <p:sp>
        <p:nvSpPr>
          <p:cNvPr id="36" name="TextBox 35">
            <a:extLst>
              <a:ext uri="{FF2B5EF4-FFF2-40B4-BE49-F238E27FC236}">
                <a16:creationId xmlns:a16="http://schemas.microsoft.com/office/drawing/2014/main" id="{86CD3F56-FEA2-40C7-99DE-B1FCB3B1AE76}"/>
              </a:ext>
            </a:extLst>
          </p:cNvPr>
          <p:cNvSpPr txBox="1"/>
          <p:nvPr/>
        </p:nvSpPr>
        <p:spPr>
          <a:xfrm>
            <a:off x="6990930" y="4701532"/>
            <a:ext cx="1588294" cy="261610"/>
          </a:xfrm>
          <a:prstGeom prst="rect">
            <a:avLst/>
          </a:prstGeom>
          <a:noFill/>
          <a:ln>
            <a:solidFill>
              <a:schemeClr val="bg1">
                <a:lumMod val="50000"/>
              </a:schemeClr>
            </a:solidFill>
            <a:prstDash val="sysDash"/>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lumMod val="50000"/>
                    <a:lumOff val="50000"/>
                  </a:srgbClr>
                </a:solidFill>
                <a:effectLst/>
                <a:uLnTx/>
                <a:uFillTx/>
                <a:latin typeface="Open Sans"/>
                <a:ea typeface="+mn-ea"/>
                <a:cs typeface="+mn-cs"/>
              </a:rPr>
              <a:t>Company B: </a:t>
            </a:r>
            <a:r>
              <a:rPr kumimoji="0" lang="en-US" sz="1100" b="1" i="1" u="none" strike="noStrike" kern="1200" cap="none" spc="0" normalizeH="0" baseline="0" noProof="0" dirty="0">
                <a:ln>
                  <a:noFill/>
                </a:ln>
                <a:solidFill>
                  <a:srgbClr val="000000">
                    <a:lumMod val="50000"/>
                    <a:lumOff val="50000"/>
                  </a:srgbClr>
                </a:solidFill>
                <a:effectLst/>
                <a:uLnTx/>
                <a:uFillTx/>
                <a:latin typeface="Open Sans"/>
                <a:ea typeface="+mn-ea"/>
                <a:cs typeface="+mn-cs"/>
              </a:rPr>
              <a:t>-6.2%</a:t>
            </a:r>
          </a:p>
        </p:txBody>
      </p:sp>
    </p:spTree>
    <p:extLst>
      <p:ext uri="{BB962C8B-B14F-4D97-AF65-F5344CB8AC3E}">
        <p14:creationId xmlns:p14="http://schemas.microsoft.com/office/powerpoint/2010/main" val="3210085205"/>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24"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Consumer intimacy is the new competitive advantage</a:t>
            </a:r>
            <a:endParaRPr lang="en-US" dirty="0"/>
          </a:p>
        </p:txBody>
      </p:sp>
      <p:sp>
        <p:nvSpPr>
          <p:cNvPr id="3" name="Text Placeholder 2"/>
          <p:cNvSpPr>
            <a:spLocks noGrp="1"/>
          </p:cNvSpPr>
          <p:nvPr>
            <p:ph type="body" sz="quarter" idx="14"/>
          </p:nvPr>
        </p:nvSpPr>
        <p:spPr/>
        <p:txBody>
          <a:bodyPr/>
          <a:lstStyle/>
          <a:p>
            <a:pPr lvl="0">
              <a:buClr>
                <a:srgbClr val="787878"/>
              </a:buClr>
              <a:defRPr/>
            </a:pPr>
            <a:r>
              <a:rPr lang="en-US" spc="0" dirty="0">
                <a:solidFill>
                  <a:srgbClr val="000000"/>
                </a:solidFill>
              </a:rPr>
              <a:t> Subtitle</a:t>
            </a:r>
          </a:p>
        </p:txBody>
      </p:sp>
      <p:sp>
        <p:nvSpPr>
          <p:cNvPr id="5" name="Text Placeholder 4"/>
          <p:cNvSpPr>
            <a:spLocks noGrp="1"/>
          </p:cNvSpPr>
          <p:nvPr>
            <p:ph type="body" sz="quarter" idx="15"/>
          </p:nvPr>
        </p:nvSpPr>
        <p:spPr/>
        <p:txBody>
          <a:bodyPr/>
          <a:lstStyle/>
          <a:p>
            <a:r>
              <a:rPr lang="en-US" dirty="0"/>
              <a:t>Data Visualization &amp; Infographics</a:t>
            </a:r>
          </a:p>
        </p:txBody>
      </p:sp>
      <p:cxnSp>
        <p:nvCxnSpPr>
          <p:cNvPr id="148" name="Straight Connector 147"/>
          <p:cNvCxnSpPr/>
          <p:nvPr/>
        </p:nvCxnSpPr>
        <p:spPr>
          <a:xfrm>
            <a:off x="1403689" y="2336799"/>
            <a:ext cx="842129" cy="0"/>
          </a:xfrm>
          <a:prstGeom prst="line">
            <a:avLst/>
          </a:prstGeom>
          <a:ln w="177800" cap="rnd"/>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a:off x="1403689" y="2946400"/>
            <a:ext cx="2137529" cy="0"/>
          </a:xfrm>
          <a:prstGeom prst="line">
            <a:avLst/>
          </a:prstGeom>
          <a:ln w="177800" cap="rnd"/>
        </p:spPr>
        <p:style>
          <a:lnRef idx="1">
            <a:schemeClr val="accent1"/>
          </a:lnRef>
          <a:fillRef idx="0">
            <a:schemeClr val="accent1"/>
          </a:fillRef>
          <a:effectRef idx="0">
            <a:schemeClr val="accent1"/>
          </a:effectRef>
          <a:fontRef idx="minor">
            <a:schemeClr val="tx1"/>
          </a:fontRef>
        </p:style>
      </p:cxnSp>
      <p:sp>
        <p:nvSpPr>
          <p:cNvPr id="150" name="Rectangle 149"/>
          <p:cNvSpPr/>
          <p:nvPr/>
        </p:nvSpPr>
        <p:spPr>
          <a:xfrm>
            <a:off x="1252992" y="2165938"/>
            <a:ext cx="150697" cy="9438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151" name="Oval 150"/>
          <p:cNvSpPr/>
          <p:nvPr/>
        </p:nvSpPr>
        <p:spPr>
          <a:xfrm>
            <a:off x="922865" y="2091266"/>
            <a:ext cx="491066" cy="491066"/>
          </a:xfrm>
          <a:prstGeom prst="ellipse">
            <a:avLst/>
          </a:prstGeom>
          <a:solidFill>
            <a:schemeClr val="bg1"/>
          </a:solidFill>
          <a:ln w="444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152" name="Oval 151"/>
          <p:cNvSpPr/>
          <p:nvPr/>
        </p:nvSpPr>
        <p:spPr>
          <a:xfrm>
            <a:off x="922865" y="2700867"/>
            <a:ext cx="491066" cy="491066"/>
          </a:xfrm>
          <a:prstGeom prst="ellipse">
            <a:avLst/>
          </a:prstGeom>
          <a:solidFill>
            <a:schemeClr val="bg1"/>
          </a:solidFill>
          <a:ln w="444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153" name="Rectangle 152"/>
          <p:cNvSpPr/>
          <p:nvPr/>
        </p:nvSpPr>
        <p:spPr>
          <a:xfrm>
            <a:off x="820270" y="1784834"/>
            <a:ext cx="3446930" cy="267958"/>
          </a:xfrm>
          <a:prstGeom prst="rect">
            <a:avLst/>
          </a:prstGeom>
        </p:spPr>
        <p:txBody>
          <a:bodyPr wrap="square" anchor="t">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1200" cap="none" spc="300" normalizeH="0" baseline="0" noProof="0" dirty="0">
                <a:ln>
                  <a:noFill/>
                </a:ln>
                <a:solidFill>
                  <a:srgbClr val="000000"/>
                </a:solidFill>
                <a:effectLst/>
                <a:uLnTx/>
                <a:uFillTx/>
                <a:ea typeface="Open Sans" charset="0"/>
                <a:cs typeface="Open Sans" charset="0"/>
              </a:rPr>
              <a:t>CREATE EXPERIENCES</a:t>
            </a:r>
          </a:p>
        </p:txBody>
      </p:sp>
      <p:sp>
        <p:nvSpPr>
          <p:cNvPr id="154" name="Rectangle 153"/>
          <p:cNvSpPr/>
          <p:nvPr/>
        </p:nvSpPr>
        <p:spPr>
          <a:xfrm>
            <a:off x="4340600" y="4485583"/>
            <a:ext cx="3763167" cy="286232"/>
          </a:xfrm>
          <a:prstGeom prst="rect">
            <a:avLst/>
          </a:prstGeom>
        </p:spPr>
        <p:txBody>
          <a:bodyPr wrap="square">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300" normalizeH="0" baseline="0" noProof="0" dirty="0">
                <a:ln>
                  <a:noFill/>
                </a:ln>
                <a:solidFill>
                  <a:srgbClr val="000000"/>
                </a:solidFill>
                <a:effectLst/>
                <a:uLnTx/>
                <a:uFillTx/>
                <a:ea typeface="Open Sans" charset="0"/>
                <a:cs typeface="Open Sans" charset="0"/>
              </a:rPr>
              <a:t>TAILOR COMMUNICATIONS</a:t>
            </a:r>
          </a:p>
        </p:txBody>
      </p:sp>
      <p:sp>
        <p:nvSpPr>
          <p:cNvPr id="155" name="Rectangle 154"/>
          <p:cNvSpPr/>
          <p:nvPr/>
        </p:nvSpPr>
        <p:spPr>
          <a:xfrm>
            <a:off x="7896018" y="1729414"/>
            <a:ext cx="3520127" cy="307777"/>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dirty="0">
                <a:ln>
                  <a:noFill/>
                </a:ln>
                <a:solidFill>
                  <a:srgbClr val="000000"/>
                </a:solidFill>
                <a:effectLst/>
                <a:uLnTx/>
                <a:uFillTx/>
                <a:ea typeface="Open Sans" charset="0"/>
                <a:cs typeface="Open Sans" charset="0"/>
              </a:rPr>
              <a:t>LEAD WITH CORE VALUES</a:t>
            </a:r>
          </a:p>
        </p:txBody>
      </p:sp>
      <p:sp>
        <p:nvSpPr>
          <p:cNvPr id="156" name="Rectangle 155"/>
          <p:cNvSpPr/>
          <p:nvPr/>
        </p:nvSpPr>
        <p:spPr>
          <a:xfrm>
            <a:off x="4361929" y="3332496"/>
            <a:ext cx="3493552" cy="757130"/>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Brands that are discoverable at moments </a:t>
            </a:r>
            <a:br>
              <a:rPr kumimoji="0" lang="en-US" sz="1200" b="0" i="0" u="none" strike="noStrike" kern="1200" cap="none" spc="0" normalizeH="0" baseline="0" noProof="0" dirty="0">
                <a:ln>
                  <a:noFill/>
                </a:ln>
                <a:solidFill>
                  <a:srgbClr val="000000"/>
                </a:solidFill>
                <a:effectLst/>
                <a:uLnTx/>
                <a:uFillTx/>
                <a:ea typeface="+mn-ea"/>
                <a:cs typeface="+mn-cs"/>
              </a:rPr>
            </a:br>
            <a:r>
              <a:rPr kumimoji="0" lang="en-US" sz="1200" b="0" i="0" u="none" strike="noStrike" kern="1200" cap="none" spc="0" normalizeH="0" baseline="0" noProof="0" dirty="0">
                <a:ln>
                  <a:noFill/>
                </a:ln>
                <a:solidFill>
                  <a:srgbClr val="000000"/>
                </a:solidFill>
                <a:effectLst/>
                <a:uLnTx/>
                <a:uFillTx/>
                <a:ea typeface="+mn-ea"/>
                <a:cs typeface="+mn-cs"/>
              </a:rPr>
              <a:t>of need win; Being discoverable online is </a:t>
            </a:r>
            <a:br>
              <a:rPr kumimoji="0" lang="en-US" sz="1200" b="0" i="0" u="none" strike="noStrike" kern="1200" cap="none" spc="0" normalizeH="0" baseline="0" noProof="0" dirty="0">
                <a:ln>
                  <a:noFill/>
                </a:ln>
                <a:solidFill>
                  <a:srgbClr val="000000"/>
                </a:solidFill>
                <a:effectLst/>
                <a:uLnTx/>
                <a:uFillTx/>
                <a:ea typeface="+mn-ea"/>
                <a:cs typeface="+mn-cs"/>
              </a:rPr>
            </a:br>
            <a:r>
              <a:rPr kumimoji="0" lang="en-US" sz="1200" b="0" i="0" u="none" strike="noStrike" kern="1200" cap="none" spc="0" normalizeH="0" baseline="0" noProof="0" dirty="0">
                <a:ln>
                  <a:noFill/>
                </a:ln>
                <a:solidFill>
                  <a:srgbClr val="000000"/>
                </a:solidFill>
                <a:effectLst/>
                <a:uLnTx/>
                <a:uFillTx/>
                <a:ea typeface="+mn-ea"/>
                <a:cs typeface="+mn-cs"/>
              </a:rPr>
              <a:t>key — even when a customer is in-store.</a:t>
            </a:r>
          </a:p>
        </p:txBody>
      </p:sp>
      <p:sp>
        <p:nvSpPr>
          <p:cNvPr id="157" name="Rectangle 156"/>
          <p:cNvSpPr/>
          <p:nvPr/>
        </p:nvSpPr>
        <p:spPr>
          <a:xfrm>
            <a:off x="9440851" y="5235052"/>
            <a:ext cx="1913953" cy="1107996"/>
          </a:xfrm>
          <a:prstGeom prst="rect">
            <a:avLst/>
          </a:prstGeom>
        </p:spPr>
        <p:txBody>
          <a:bodyPr wrap="square">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of consumers value Health, Wellness, and Sustainability more than Price, Taste, and Convenience</a:t>
            </a:r>
          </a:p>
        </p:txBody>
      </p:sp>
      <p:sp>
        <p:nvSpPr>
          <p:cNvPr id="158" name="Rectangle 157"/>
          <p:cNvSpPr/>
          <p:nvPr/>
        </p:nvSpPr>
        <p:spPr>
          <a:xfrm>
            <a:off x="5901960" y="5235052"/>
            <a:ext cx="1913450" cy="1107996"/>
          </a:xfrm>
          <a:prstGeom prst="rect">
            <a:avLst/>
          </a:prstGeom>
        </p:spPr>
        <p:txBody>
          <a:bodyPr wrap="square">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of mobile marketers report success with personalization —higher engagement, revenue, conversions</a:t>
            </a:r>
          </a:p>
        </p:txBody>
      </p:sp>
      <p:sp>
        <p:nvSpPr>
          <p:cNvPr id="159" name="Rectangle 158"/>
          <p:cNvSpPr/>
          <p:nvPr/>
        </p:nvSpPr>
        <p:spPr>
          <a:xfrm>
            <a:off x="9057083" y="2643456"/>
            <a:ext cx="2220518" cy="757130"/>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of Americans have a great deal or quite a lot of confidence in big business.</a:t>
            </a:r>
            <a:endParaRPr kumimoji="0" lang="en-US" sz="1200" b="0" i="0" u="none" strike="noStrike" kern="1200" cap="none" spc="0" normalizeH="0" baseline="0" noProof="0" dirty="0">
              <a:ln>
                <a:noFill/>
              </a:ln>
              <a:solidFill>
                <a:srgbClr val="000000"/>
              </a:solidFill>
              <a:effectLst/>
              <a:uLnTx/>
              <a:uFillTx/>
              <a:ea typeface="+mn-ea"/>
              <a:cs typeface="+mn-cs"/>
            </a:endParaRPr>
          </a:p>
        </p:txBody>
      </p:sp>
      <p:sp>
        <p:nvSpPr>
          <p:cNvPr id="160" name="Rectangle 159"/>
          <p:cNvSpPr/>
          <p:nvPr/>
        </p:nvSpPr>
        <p:spPr>
          <a:xfrm>
            <a:off x="832681" y="3351918"/>
            <a:ext cx="3370858" cy="535531"/>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ea typeface="+mn-ea"/>
                <a:cs typeface="+mn-cs"/>
              </a:rPr>
              <a:t>Consumers are 2x more </a:t>
            </a:r>
            <a:r>
              <a:rPr kumimoji="0" lang="en-US" sz="1200" b="1" i="0" u="none" strike="noStrike" kern="1200" cap="none" spc="0" normalizeH="0" baseline="0" noProof="0" dirty="0">
                <a:ln>
                  <a:noFill/>
                </a:ln>
                <a:solidFill>
                  <a:srgbClr val="000000"/>
                </a:solidFill>
                <a:effectLst/>
                <a:uLnTx/>
                <a:uFillTx/>
                <a:ea typeface="+mn-ea"/>
                <a:cs typeface="+mn-cs"/>
              </a:rPr>
              <a:t>likely to prefer to spend on experiences instead of products</a:t>
            </a:r>
          </a:p>
        </p:txBody>
      </p:sp>
      <p:sp>
        <p:nvSpPr>
          <p:cNvPr id="161" name="Rectangle 160"/>
          <p:cNvSpPr/>
          <p:nvPr/>
        </p:nvSpPr>
        <p:spPr>
          <a:xfrm>
            <a:off x="838269" y="5217957"/>
            <a:ext cx="3428931" cy="757130"/>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Increase in spend on experiences </a:t>
            </a:r>
            <a:br>
              <a:rPr kumimoji="0" lang="en-US" sz="1200" b="1" i="0" u="none" strike="noStrike" kern="1200" cap="none" spc="0" normalizeH="0" baseline="0" noProof="0" dirty="0">
                <a:ln>
                  <a:noFill/>
                </a:ln>
                <a:solidFill>
                  <a:srgbClr val="000000"/>
                </a:solidFill>
                <a:effectLst/>
                <a:uLnTx/>
                <a:uFillTx/>
                <a:ea typeface="+mn-ea"/>
                <a:cs typeface="+mn-cs"/>
              </a:rPr>
            </a:br>
            <a:r>
              <a:rPr kumimoji="0" lang="en-US" sz="1200" b="1" i="0" u="none" strike="noStrike" kern="1200" cap="none" spc="0" normalizeH="0" baseline="0" noProof="0" dirty="0">
                <a:ln>
                  <a:noFill/>
                </a:ln>
                <a:solidFill>
                  <a:srgbClr val="000000"/>
                </a:solidFill>
                <a:effectLst/>
                <a:uLnTx/>
                <a:uFillTx/>
                <a:ea typeface="+mn-ea"/>
                <a:cs typeface="+mn-cs"/>
              </a:rPr>
              <a:t>by 2030. </a:t>
            </a:r>
            <a:r>
              <a:rPr kumimoji="0" lang="en-US" sz="1200" b="0" i="0" u="none" strike="noStrike" kern="1200" cap="none" spc="-10" normalizeH="0" baseline="0" noProof="0" dirty="0">
                <a:ln>
                  <a:noFill/>
                </a:ln>
                <a:solidFill>
                  <a:srgbClr val="000000"/>
                </a:solidFill>
                <a:effectLst/>
                <a:uLnTx/>
                <a:uFillTx/>
                <a:ea typeface="+mn-ea"/>
                <a:cs typeface="+mn-cs"/>
              </a:rPr>
              <a:t>Bonds with brands are built </a:t>
            </a:r>
            <a:br>
              <a:rPr kumimoji="0" lang="en-US" sz="1200" b="0" i="0" u="none" strike="noStrike" kern="1200" cap="none" spc="-10" normalizeH="0" baseline="0" noProof="0" dirty="0">
                <a:ln>
                  <a:noFill/>
                </a:ln>
                <a:solidFill>
                  <a:srgbClr val="000000"/>
                </a:solidFill>
                <a:effectLst/>
                <a:uLnTx/>
                <a:uFillTx/>
                <a:ea typeface="+mn-ea"/>
                <a:cs typeface="+mn-cs"/>
              </a:rPr>
            </a:br>
            <a:r>
              <a:rPr kumimoji="0" lang="en-US" sz="1200" b="0" i="0" u="none" strike="noStrike" kern="1200" cap="none" spc="-10" normalizeH="0" baseline="0" noProof="0" dirty="0">
                <a:ln>
                  <a:noFill/>
                </a:ln>
                <a:solidFill>
                  <a:srgbClr val="000000"/>
                </a:solidFill>
                <a:effectLst/>
                <a:uLnTx/>
                <a:uFillTx/>
                <a:ea typeface="+mn-ea"/>
                <a:cs typeface="+mn-cs"/>
              </a:rPr>
              <a:t>over shared experiences</a:t>
            </a:r>
          </a:p>
        </p:txBody>
      </p:sp>
      <p:sp>
        <p:nvSpPr>
          <p:cNvPr id="162" name="Rectangle 161"/>
          <p:cNvSpPr/>
          <p:nvPr/>
        </p:nvSpPr>
        <p:spPr>
          <a:xfrm>
            <a:off x="838270" y="4780981"/>
            <a:ext cx="889987"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ea typeface="Chronicle Display Roman" charset="0"/>
                <a:cs typeface="Chronicle Display Roman" charset="0"/>
              </a:rPr>
              <a:t>38%</a:t>
            </a:r>
          </a:p>
        </p:txBody>
      </p:sp>
      <p:sp>
        <p:nvSpPr>
          <p:cNvPr id="163" name="Rectangle 162"/>
          <p:cNvSpPr/>
          <p:nvPr/>
        </p:nvSpPr>
        <p:spPr>
          <a:xfrm>
            <a:off x="4361929" y="3052200"/>
            <a:ext cx="3079455" cy="313932"/>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Of consumers shop on impulse </a:t>
            </a:r>
          </a:p>
        </p:txBody>
      </p:sp>
      <p:sp>
        <p:nvSpPr>
          <p:cNvPr id="164" name="Rectangle 163"/>
          <p:cNvSpPr/>
          <p:nvPr/>
        </p:nvSpPr>
        <p:spPr>
          <a:xfrm>
            <a:off x="4366722" y="2596643"/>
            <a:ext cx="888385"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ea typeface="Chronicle Display Roman" charset="0"/>
                <a:cs typeface="Chronicle Display Roman" charset="0"/>
              </a:rPr>
              <a:t>80%</a:t>
            </a:r>
          </a:p>
        </p:txBody>
      </p:sp>
      <p:sp>
        <p:nvSpPr>
          <p:cNvPr id="165" name="Rectangle 164"/>
          <p:cNvSpPr/>
          <p:nvPr/>
        </p:nvSpPr>
        <p:spPr>
          <a:xfrm>
            <a:off x="4366722" y="1784834"/>
            <a:ext cx="2039341" cy="276038"/>
          </a:xfrm>
          <a:prstGeom prst="rect">
            <a:avLst/>
          </a:prstGeom>
          <a:solidFill>
            <a:schemeClr val="bg1"/>
          </a:solidFill>
        </p:spPr>
        <p:txBody>
          <a:bodyPr wrap="none" anchor="t">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400" b="1" i="0" u="none" strike="noStrike" kern="1200" cap="none" spc="300" normalizeH="0" baseline="0" noProof="0" dirty="0">
                <a:ln>
                  <a:noFill/>
                </a:ln>
                <a:solidFill>
                  <a:srgbClr val="000000"/>
                </a:solidFill>
                <a:effectLst/>
                <a:uLnTx/>
                <a:uFillTx/>
                <a:ea typeface="Open Sans" charset="0"/>
                <a:cs typeface="Open Sans" charset="0"/>
              </a:rPr>
              <a:t>DRIVE IMPULSE</a:t>
            </a:r>
          </a:p>
        </p:txBody>
      </p:sp>
      <p:sp>
        <p:nvSpPr>
          <p:cNvPr id="166" name="Rectangle 165"/>
          <p:cNvSpPr/>
          <p:nvPr/>
        </p:nvSpPr>
        <p:spPr>
          <a:xfrm>
            <a:off x="9040095" y="2165938"/>
            <a:ext cx="889987"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ea typeface="Chronicle Display Roman" charset="0"/>
                <a:cs typeface="Chronicle Display Roman" charset="0"/>
              </a:rPr>
              <a:t>22%</a:t>
            </a:r>
          </a:p>
        </p:txBody>
      </p:sp>
      <p:sp>
        <p:nvSpPr>
          <p:cNvPr id="167" name="Rectangle 166"/>
          <p:cNvSpPr/>
          <p:nvPr/>
        </p:nvSpPr>
        <p:spPr>
          <a:xfrm>
            <a:off x="7891580" y="4485583"/>
            <a:ext cx="1971901" cy="297004"/>
          </a:xfrm>
          <a:prstGeom prst="rect">
            <a:avLst/>
          </a:prstGeom>
        </p:spPr>
        <p:txBody>
          <a:bodyPr wrap="square">
            <a:sp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400" b="1" i="0" u="none" strike="noStrike" kern="1200" cap="none" spc="300" normalizeH="0" baseline="0" noProof="0" dirty="0">
                <a:ln>
                  <a:noFill/>
                </a:ln>
                <a:solidFill>
                  <a:srgbClr val="000000"/>
                </a:solidFill>
                <a:effectLst/>
                <a:uLnTx/>
                <a:uFillTx/>
                <a:ea typeface="Open Sans" charset="0"/>
                <a:cs typeface="Open Sans" charset="0"/>
              </a:rPr>
              <a:t>BUILD TRUST</a:t>
            </a:r>
          </a:p>
        </p:txBody>
      </p:sp>
      <p:sp>
        <p:nvSpPr>
          <p:cNvPr id="168" name="Rectangle 167"/>
          <p:cNvSpPr/>
          <p:nvPr/>
        </p:nvSpPr>
        <p:spPr>
          <a:xfrm>
            <a:off x="9057081" y="3332496"/>
            <a:ext cx="2283687" cy="757130"/>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ea typeface="+mn-ea"/>
                <a:cs typeface="+mn-cs"/>
              </a:rPr>
              <a:t>When </a:t>
            </a:r>
            <a:r>
              <a:rPr kumimoji="0" lang="en-US" sz="1200" b="0" i="0" u="none" strike="noStrike" kern="1200" cap="none" spc="0" normalizeH="0" baseline="0" noProof="0" dirty="0">
                <a:ln>
                  <a:noFill/>
                </a:ln>
                <a:solidFill>
                  <a:srgbClr val="000000"/>
                </a:solidFill>
                <a:effectLst/>
                <a:uLnTx/>
                <a:uFillTx/>
                <a:ea typeface="+mn-ea"/>
                <a:cs typeface="+mn-cs"/>
              </a:rPr>
              <a:t>consumers are aligned with a brand, they give it twice as much share of wallet</a:t>
            </a:r>
          </a:p>
        </p:txBody>
      </p:sp>
      <p:sp>
        <p:nvSpPr>
          <p:cNvPr id="169" name="Rectangle 168"/>
          <p:cNvSpPr/>
          <p:nvPr/>
        </p:nvSpPr>
        <p:spPr>
          <a:xfrm>
            <a:off x="5872031" y="4769637"/>
            <a:ext cx="1095172"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ea typeface="Chronicle Display Roman" charset="0"/>
                <a:cs typeface="Chronicle Display Roman" charset="0"/>
              </a:rPr>
              <a:t>&gt;</a:t>
            </a:r>
            <a:r>
              <a:rPr kumimoji="0" lang="en-US" sz="2800" b="0" i="0" u="none" strike="noStrike" kern="1200" cap="none" spc="0" normalizeH="0" baseline="0" noProof="0" dirty="0">
                <a:ln>
                  <a:noFill/>
                </a:ln>
                <a:solidFill>
                  <a:srgbClr val="000000"/>
                </a:solidFill>
                <a:effectLst/>
                <a:uLnTx/>
                <a:uFillTx/>
                <a:ea typeface="Chronicle Display Roman" charset="0"/>
                <a:cs typeface="Chronicle Display Roman" charset="0"/>
              </a:rPr>
              <a:t>85%</a:t>
            </a:r>
          </a:p>
        </p:txBody>
      </p:sp>
      <p:grpSp>
        <p:nvGrpSpPr>
          <p:cNvPr id="170" name="Group 169"/>
          <p:cNvGrpSpPr/>
          <p:nvPr/>
        </p:nvGrpSpPr>
        <p:grpSpPr>
          <a:xfrm rot="16200000">
            <a:off x="7607509" y="2682512"/>
            <a:ext cx="1790398" cy="854494"/>
            <a:chOff x="7962900" y="2402209"/>
            <a:chExt cx="9144000" cy="388979"/>
          </a:xfrm>
        </p:grpSpPr>
        <p:sp>
          <p:nvSpPr>
            <p:cNvPr id="171" name="Rectangle 170"/>
            <p:cNvSpPr/>
            <p:nvPr/>
          </p:nvSpPr>
          <p:spPr>
            <a:xfrm>
              <a:off x="7962900" y="2402209"/>
              <a:ext cx="9144000" cy="388979"/>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172" name="Rectangle 171"/>
            <p:cNvSpPr/>
            <p:nvPr/>
          </p:nvSpPr>
          <p:spPr>
            <a:xfrm>
              <a:off x="7962900" y="2402209"/>
              <a:ext cx="2011680" cy="38897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grpSp>
      <p:graphicFrame>
        <p:nvGraphicFramePr>
          <p:cNvPr id="173" name="Chart 172"/>
          <p:cNvGraphicFramePr/>
          <p:nvPr>
            <p:extLst>
              <p:ext uri="{D42A27DB-BD31-4B8C-83A1-F6EECF244321}">
                <p14:modId xmlns:p14="http://schemas.microsoft.com/office/powerpoint/2010/main" val="1101614107"/>
              </p:ext>
            </p:extLst>
          </p:nvPr>
        </p:nvGraphicFramePr>
        <p:xfrm>
          <a:off x="3943900" y="4793804"/>
          <a:ext cx="2397426" cy="1598286"/>
        </p:xfrm>
        <a:graphic>
          <a:graphicData uri="http://schemas.openxmlformats.org/drawingml/2006/chart">
            <c:chart xmlns:c="http://schemas.openxmlformats.org/drawingml/2006/chart" xmlns:r="http://schemas.openxmlformats.org/officeDocument/2006/relationships" r:id="rId7"/>
          </a:graphicData>
        </a:graphic>
      </p:graphicFrame>
      <p:grpSp>
        <p:nvGrpSpPr>
          <p:cNvPr id="174" name="Group 173"/>
          <p:cNvGrpSpPr>
            <a:grpSpLocks noChangeAspect="1"/>
          </p:cNvGrpSpPr>
          <p:nvPr/>
        </p:nvGrpSpPr>
        <p:grpSpPr>
          <a:xfrm>
            <a:off x="4857330" y="5343645"/>
            <a:ext cx="584166" cy="445902"/>
            <a:chOff x="11261726" y="3526349"/>
            <a:chExt cx="252412" cy="157412"/>
          </a:xfrm>
        </p:grpSpPr>
        <p:sp>
          <p:nvSpPr>
            <p:cNvPr id="175" name="Freeform 307"/>
            <p:cNvSpPr>
              <a:spLocks noEditPoints="1"/>
            </p:cNvSpPr>
            <p:nvPr/>
          </p:nvSpPr>
          <p:spPr bwMode="auto">
            <a:xfrm>
              <a:off x="11261726" y="3526349"/>
              <a:ext cx="176213" cy="157412"/>
            </a:xfrm>
            <a:custGeom>
              <a:avLst/>
              <a:gdLst>
                <a:gd name="T0" fmla="*/ 215 w 222"/>
                <a:gd name="T1" fmla="*/ 0 h 239"/>
                <a:gd name="T2" fmla="*/ 3 w 222"/>
                <a:gd name="T3" fmla="*/ 71 h 239"/>
                <a:gd name="T4" fmla="*/ 3 w 222"/>
                <a:gd name="T5" fmla="*/ 71 h 239"/>
                <a:gd name="T6" fmla="*/ 1 w 222"/>
                <a:gd name="T7" fmla="*/ 72 h 239"/>
                <a:gd name="T8" fmla="*/ 0 w 222"/>
                <a:gd name="T9" fmla="*/ 75 h 239"/>
                <a:gd name="T10" fmla="*/ 0 w 222"/>
                <a:gd name="T11" fmla="*/ 156 h 239"/>
                <a:gd name="T12" fmla="*/ 0 w 222"/>
                <a:gd name="T13" fmla="*/ 156 h 239"/>
                <a:gd name="T14" fmla="*/ 1 w 222"/>
                <a:gd name="T15" fmla="*/ 160 h 239"/>
                <a:gd name="T16" fmla="*/ 3 w 222"/>
                <a:gd name="T17" fmla="*/ 161 h 239"/>
                <a:gd name="T18" fmla="*/ 29 w 222"/>
                <a:gd name="T19" fmla="*/ 170 h 239"/>
                <a:gd name="T20" fmla="*/ 29 w 222"/>
                <a:gd name="T21" fmla="*/ 234 h 239"/>
                <a:gd name="T22" fmla="*/ 29 w 222"/>
                <a:gd name="T23" fmla="*/ 234 h 239"/>
                <a:gd name="T24" fmla="*/ 31 w 222"/>
                <a:gd name="T25" fmla="*/ 238 h 239"/>
                <a:gd name="T26" fmla="*/ 35 w 222"/>
                <a:gd name="T27" fmla="*/ 239 h 239"/>
                <a:gd name="T28" fmla="*/ 116 w 222"/>
                <a:gd name="T29" fmla="*/ 239 h 239"/>
                <a:gd name="T30" fmla="*/ 116 w 222"/>
                <a:gd name="T31" fmla="*/ 239 h 239"/>
                <a:gd name="T32" fmla="*/ 120 w 222"/>
                <a:gd name="T33" fmla="*/ 238 h 239"/>
                <a:gd name="T34" fmla="*/ 121 w 222"/>
                <a:gd name="T35" fmla="*/ 234 h 239"/>
                <a:gd name="T36" fmla="*/ 121 w 222"/>
                <a:gd name="T37" fmla="*/ 200 h 239"/>
                <a:gd name="T38" fmla="*/ 215 w 222"/>
                <a:gd name="T39" fmla="*/ 232 h 239"/>
                <a:gd name="T40" fmla="*/ 215 w 222"/>
                <a:gd name="T41" fmla="*/ 232 h 239"/>
                <a:gd name="T42" fmla="*/ 216 w 222"/>
                <a:gd name="T43" fmla="*/ 232 h 239"/>
                <a:gd name="T44" fmla="*/ 216 w 222"/>
                <a:gd name="T45" fmla="*/ 232 h 239"/>
                <a:gd name="T46" fmla="*/ 220 w 222"/>
                <a:gd name="T47" fmla="*/ 231 h 239"/>
                <a:gd name="T48" fmla="*/ 220 w 222"/>
                <a:gd name="T49" fmla="*/ 231 h 239"/>
                <a:gd name="T50" fmla="*/ 222 w 222"/>
                <a:gd name="T51" fmla="*/ 230 h 239"/>
                <a:gd name="T52" fmla="*/ 222 w 222"/>
                <a:gd name="T53" fmla="*/ 227 h 239"/>
                <a:gd name="T54" fmla="*/ 222 w 222"/>
                <a:gd name="T55" fmla="*/ 5 h 239"/>
                <a:gd name="T56" fmla="*/ 222 w 222"/>
                <a:gd name="T57" fmla="*/ 5 h 239"/>
                <a:gd name="T58" fmla="*/ 222 w 222"/>
                <a:gd name="T59" fmla="*/ 2 h 239"/>
                <a:gd name="T60" fmla="*/ 220 w 222"/>
                <a:gd name="T61" fmla="*/ 1 h 239"/>
                <a:gd name="T62" fmla="*/ 220 w 222"/>
                <a:gd name="T63" fmla="*/ 1 h 239"/>
                <a:gd name="T64" fmla="*/ 218 w 222"/>
                <a:gd name="T65" fmla="*/ 0 h 239"/>
                <a:gd name="T66" fmla="*/ 215 w 222"/>
                <a:gd name="T67" fmla="*/ 0 h 239"/>
                <a:gd name="T68" fmla="*/ 215 w 222"/>
                <a:gd name="T69" fmla="*/ 0 h 239"/>
                <a:gd name="T70" fmla="*/ 101 w 222"/>
                <a:gd name="T71" fmla="*/ 219 h 239"/>
                <a:gd name="T72" fmla="*/ 51 w 222"/>
                <a:gd name="T73" fmla="*/ 219 h 239"/>
                <a:gd name="T74" fmla="*/ 51 w 222"/>
                <a:gd name="T75" fmla="*/ 177 h 239"/>
                <a:gd name="T76" fmla="*/ 101 w 222"/>
                <a:gd name="T77" fmla="*/ 193 h 239"/>
                <a:gd name="T78" fmla="*/ 101 w 222"/>
                <a:gd name="T79" fmla="*/ 21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2" h="239">
                  <a:moveTo>
                    <a:pt x="215" y="0"/>
                  </a:moveTo>
                  <a:lnTo>
                    <a:pt x="3" y="71"/>
                  </a:lnTo>
                  <a:lnTo>
                    <a:pt x="3" y="71"/>
                  </a:lnTo>
                  <a:lnTo>
                    <a:pt x="1" y="72"/>
                  </a:lnTo>
                  <a:lnTo>
                    <a:pt x="0" y="75"/>
                  </a:lnTo>
                  <a:lnTo>
                    <a:pt x="0" y="156"/>
                  </a:lnTo>
                  <a:lnTo>
                    <a:pt x="0" y="156"/>
                  </a:lnTo>
                  <a:lnTo>
                    <a:pt x="1" y="160"/>
                  </a:lnTo>
                  <a:lnTo>
                    <a:pt x="3" y="161"/>
                  </a:lnTo>
                  <a:lnTo>
                    <a:pt x="29" y="170"/>
                  </a:lnTo>
                  <a:lnTo>
                    <a:pt x="29" y="234"/>
                  </a:lnTo>
                  <a:lnTo>
                    <a:pt x="29" y="234"/>
                  </a:lnTo>
                  <a:lnTo>
                    <a:pt x="31" y="238"/>
                  </a:lnTo>
                  <a:lnTo>
                    <a:pt x="35" y="239"/>
                  </a:lnTo>
                  <a:lnTo>
                    <a:pt x="116" y="239"/>
                  </a:lnTo>
                  <a:lnTo>
                    <a:pt x="116" y="239"/>
                  </a:lnTo>
                  <a:lnTo>
                    <a:pt x="120" y="238"/>
                  </a:lnTo>
                  <a:lnTo>
                    <a:pt x="121" y="234"/>
                  </a:lnTo>
                  <a:lnTo>
                    <a:pt x="121" y="200"/>
                  </a:lnTo>
                  <a:lnTo>
                    <a:pt x="215" y="232"/>
                  </a:lnTo>
                  <a:lnTo>
                    <a:pt x="215" y="232"/>
                  </a:lnTo>
                  <a:lnTo>
                    <a:pt x="216" y="232"/>
                  </a:lnTo>
                  <a:lnTo>
                    <a:pt x="216" y="232"/>
                  </a:lnTo>
                  <a:lnTo>
                    <a:pt x="220" y="231"/>
                  </a:lnTo>
                  <a:lnTo>
                    <a:pt x="220" y="231"/>
                  </a:lnTo>
                  <a:lnTo>
                    <a:pt x="222" y="230"/>
                  </a:lnTo>
                  <a:lnTo>
                    <a:pt x="222" y="227"/>
                  </a:lnTo>
                  <a:lnTo>
                    <a:pt x="222" y="5"/>
                  </a:lnTo>
                  <a:lnTo>
                    <a:pt x="222" y="5"/>
                  </a:lnTo>
                  <a:lnTo>
                    <a:pt x="222" y="2"/>
                  </a:lnTo>
                  <a:lnTo>
                    <a:pt x="220" y="1"/>
                  </a:lnTo>
                  <a:lnTo>
                    <a:pt x="220" y="1"/>
                  </a:lnTo>
                  <a:lnTo>
                    <a:pt x="218" y="0"/>
                  </a:lnTo>
                  <a:lnTo>
                    <a:pt x="215" y="0"/>
                  </a:lnTo>
                  <a:lnTo>
                    <a:pt x="215" y="0"/>
                  </a:lnTo>
                  <a:close/>
                  <a:moveTo>
                    <a:pt x="101" y="219"/>
                  </a:moveTo>
                  <a:lnTo>
                    <a:pt x="51" y="219"/>
                  </a:lnTo>
                  <a:lnTo>
                    <a:pt x="51" y="177"/>
                  </a:lnTo>
                  <a:lnTo>
                    <a:pt x="101" y="193"/>
                  </a:lnTo>
                  <a:lnTo>
                    <a:pt x="101" y="2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76" name="Freeform 308"/>
            <p:cNvSpPr>
              <a:spLocks/>
            </p:cNvSpPr>
            <p:nvPr/>
          </p:nvSpPr>
          <p:spPr bwMode="auto">
            <a:xfrm>
              <a:off x="11476038" y="3596323"/>
              <a:ext cx="38100" cy="12700"/>
            </a:xfrm>
            <a:custGeom>
              <a:avLst/>
              <a:gdLst>
                <a:gd name="T0" fmla="*/ 39 w 48"/>
                <a:gd name="T1" fmla="*/ 0 h 18"/>
                <a:gd name="T2" fmla="*/ 9 w 48"/>
                <a:gd name="T3" fmla="*/ 0 h 18"/>
                <a:gd name="T4" fmla="*/ 9 w 48"/>
                <a:gd name="T5" fmla="*/ 0 h 18"/>
                <a:gd name="T6" fmla="*/ 5 w 48"/>
                <a:gd name="T7" fmla="*/ 0 h 18"/>
                <a:gd name="T8" fmla="*/ 2 w 48"/>
                <a:gd name="T9" fmla="*/ 2 h 18"/>
                <a:gd name="T10" fmla="*/ 0 w 48"/>
                <a:gd name="T11" fmla="*/ 6 h 18"/>
                <a:gd name="T12" fmla="*/ 0 w 48"/>
                <a:gd name="T13" fmla="*/ 8 h 18"/>
                <a:gd name="T14" fmla="*/ 0 w 48"/>
                <a:gd name="T15" fmla="*/ 8 h 18"/>
                <a:gd name="T16" fmla="*/ 0 w 48"/>
                <a:gd name="T17" fmla="*/ 12 h 18"/>
                <a:gd name="T18" fmla="*/ 2 w 48"/>
                <a:gd name="T19" fmla="*/ 15 h 18"/>
                <a:gd name="T20" fmla="*/ 5 w 48"/>
                <a:gd name="T21" fmla="*/ 16 h 18"/>
                <a:gd name="T22" fmla="*/ 9 w 48"/>
                <a:gd name="T23" fmla="*/ 18 h 18"/>
                <a:gd name="T24" fmla="*/ 39 w 48"/>
                <a:gd name="T25" fmla="*/ 18 h 18"/>
                <a:gd name="T26" fmla="*/ 39 w 48"/>
                <a:gd name="T27" fmla="*/ 18 h 18"/>
                <a:gd name="T28" fmla="*/ 43 w 48"/>
                <a:gd name="T29" fmla="*/ 16 h 18"/>
                <a:gd name="T30" fmla="*/ 45 w 48"/>
                <a:gd name="T31" fmla="*/ 15 h 18"/>
                <a:gd name="T32" fmla="*/ 47 w 48"/>
                <a:gd name="T33" fmla="*/ 12 h 18"/>
                <a:gd name="T34" fmla="*/ 48 w 48"/>
                <a:gd name="T35" fmla="*/ 8 h 18"/>
                <a:gd name="T36" fmla="*/ 48 w 48"/>
                <a:gd name="T37" fmla="*/ 8 h 18"/>
                <a:gd name="T38" fmla="*/ 47 w 48"/>
                <a:gd name="T39" fmla="*/ 6 h 18"/>
                <a:gd name="T40" fmla="*/ 45 w 48"/>
                <a:gd name="T41" fmla="*/ 2 h 18"/>
                <a:gd name="T42" fmla="*/ 43 w 48"/>
                <a:gd name="T43" fmla="*/ 0 h 18"/>
                <a:gd name="T44" fmla="*/ 39 w 48"/>
                <a:gd name="T45" fmla="*/ 0 h 18"/>
                <a:gd name="T46" fmla="*/ 39 w 48"/>
                <a:gd name="T4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8" h="18">
                  <a:moveTo>
                    <a:pt x="39" y="0"/>
                  </a:moveTo>
                  <a:lnTo>
                    <a:pt x="9" y="0"/>
                  </a:lnTo>
                  <a:lnTo>
                    <a:pt x="9" y="0"/>
                  </a:lnTo>
                  <a:lnTo>
                    <a:pt x="5" y="0"/>
                  </a:lnTo>
                  <a:lnTo>
                    <a:pt x="2" y="2"/>
                  </a:lnTo>
                  <a:lnTo>
                    <a:pt x="0" y="6"/>
                  </a:lnTo>
                  <a:lnTo>
                    <a:pt x="0" y="8"/>
                  </a:lnTo>
                  <a:lnTo>
                    <a:pt x="0" y="8"/>
                  </a:lnTo>
                  <a:lnTo>
                    <a:pt x="0" y="12"/>
                  </a:lnTo>
                  <a:lnTo>
                    <a:pt x="2" y="15"/>
                  </a:lnTo>
                  <a:lnTo>
                    <a:pt x="5" y="16"/>
                  </a:lnTo>
                  <a:lnTo>
                    <a:pt x="9" y="18"/>
                  </a:lnTo>
                  <a:lnTo>
                    <a:pt x="39" y="18"/>
                  </a:lnTo>
                  <a:lnTo>
                    <a:pt x="39" y="18"/>
                  </a:lnTo>
                  <a:lnTo>
                    <a:pt x="43" y="16"/>
                  </a:lnTo>
                  <a:lnTo>
                    <a:pt x="45" y="15"/>
                  </a:lnTo>
                  <a:lnTo>
                    <a:pt x="47" y="12"/>
                  </a:lnTo>
                  <a:lnTo>
                    <a:pt x="48" y="8"/>
                  </a:lnTo>
                  <a:lnTo>
                    <a:pt x="48" y="8"/>
                  </a:lnTo>
                  <a:lnTo>
                    <a:pt x="47" y="6"/>
                  </a:lnTo>
                  <a:lnTo>
                    <a:pt x="45" y="2"/>
                  </a:lnTo>
                  <a:lnTo>
                    <a:pt x="43" y="0"/>
                  </a:lnTo>
                  <a:lnTo>
                    <a:pt x="39" y="0"/>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77" name="Freeform 309"/>
            <p:cNvSpPr>
              <a:spLocks/>
            </p:cNvSpPr>
            <p:nvPr/>
          </p:nvSpPr>
          <p:spPr bwMode="auto">
            <a:xfrm>
              <a:off x="11464926" y="3534410"/>
              <a:ext cx="33338" cy="25400"/>
            </a:xfrm>
            <a:custGeom>
              <a:avLst/>
              <a:gdLst>
                <a:gd name="T0" fmla="*/ 8 w 42"/>
                <a:gd name="T1" fmla="*/ 32 h 32"/>
                <a:gd name="T2" fmla="*/ 8 w 42"/>
                <a:gd name="T3" fmla="*/ 32 h 32"/>
                <a:gd name="T4" fmla="*/ 14 w 42"/>
                <a:gd name="T5" fmla="*/ 31 h 32"/>
                <a:gd name="T6" fmla="*/ 37 w 42"/>
                <a:gd name="T7" fmla="*/ 17 h 32"/>
                <a:gd name="T8" fmla="*/ 37 w 42"/>
                <a:gd name="T9" fmla="*/ 17 h 32"/>
                <a:gd name="T10" fmla="*/ 39 w 42"/>
                <a:gd name="T11" fmla="*/ 14 h 32"/>
                <a:gd name="T12" fmla="*/ 42 w 42"/>
                <a:gd name="T13" fmla="*/ 12 h 32"/>
                <a:gd name="T14" fmla="*/ 42 w 42"/>
                <a:gd name="T15" fmla="*/ 8 h 32"/>
                <a:gd name="T16" fmla="*/ 41 w 42"/>
                <a:gd name="T17" fmla="*/ 4 h 32"/>
                <a:gd name="T18" fmla="*/ 41 w 42"/>
                <a:gd name="T19" fmla="*/ 4 h 32"/>
                <a:gd name="T20" fmla="*/ 38 w 42"/>
                <a:gd name="T21" fmla="*/ 2 h 32"/>
                <a:gd name="T22" fmla="*/ 35 w 42"/>
                <a:gd name="T23" fmla="*/ 0 h 32"/>
                <a:gd name="T24" fmla="*/ 35 w 42"/>
                <a:gd name="T25" fmla="*/ 0 h 32"/>
                <a:gd name="T26" fmla="*/ 31 w 42"/>
                <a:gd name="T27" fmla="*/ 0 h 32"/>
                <a:gd name="T28" fmla="*/ 28 w 42"/>
                <a:gd name="T29" fmla="*/ 1 h 32"/>
                <a:gd name="T30" fmla="*/ 4 w 42"/>
                <a:gd name="T31" fmla="*/ 14 h 32"/>
                <a:gd name="T32" fmla="*/ 4 w 42"/>
                <a:gd name="T33" fmla="*/ 14 h 32"/>
                <a:gd name="T34" fmla="*/ 2 w 42"/>
                <a:gd name="T35" fmla="*/ 17 h 32"/>
                <a:gd name="T36" fmla="*/ 0 w 42"/>
                <a:gd name="T37" fmla="*/ 20 h 32"/>
                <a:gd name="T38" fmla="*/ 0 w 42"/>
                <a:gd name="T39" fmla="*/ 24 h 32"/>
                <a:gd name="T40" fmla="*/ 0 w 42"/>
                <a:gd name="T41" fmla="*/ 28 h 32"/>
                <a:gd name="T42" fmla="*/ 0 w 42"/>
                <a:gd name="T43" fmla="*/ 28 h 32"/>
                <a:gd name="T44" fmla="*/ 4 w 42"/>
                <a:gd name="T45" fmla="*/ 31 h 32"/>
                <a:gd name="T46" fmla="*/ 8 w 42"/>
                <a:gd name="T47" fmla="*/ 32 h 32"/>
                <a:gd name="T48" fmla="*/ 8 w 42"/>
                <a:gd name="T4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 h="32">
                  <a:moveTo>
                    <a:pt x="8" y="32"/>
                  </a:moveTo>
                  <a:lnTo>
                    <a:pt x="8" y="32"/>
                  </a:lnTo>
                  <a:lnTo>
                    <a:pt x="14" y="31"/>
                  </a:lnTo>
                  <a:lnTo>
                    <a:pt x="37" y="17"/>
                  </a:lnTo>
                  <a:lnTo>
                    <a:pt x="37" y="17"/>
                  </a:lnTo>
                  <a:lnTo>
                    <a:pt x="39" y="14"/>
                  </a:lnTo>
                  <a:lnTo>
                    <a:pt x="42" y="12"/>
                  </a:lnTo>
                  <a:lnTo>
                    <a:pt x="42" y="8"/>
                  </a:lnTo>
                  <a:lnTo>
                    <a:pt x="41" y="4"/>
                  </a:lnTo>
                  <a:lnTo>
                    <a:pt x="41" y="4"/>
                  </a:lnTo>
                  <a:lnTo>
                    <a:pt x="38" y="2"/>
                  </a:lnTo>
                  <a:lnTo>
                    <a:pt x="35" y="0"/>
                  </a:lnTo>
                  <a:lnTo>
                    <a:pt x="35" y="0"/>
                  </a:lnTo>
                  <a:lnTo>
                    <a:pt x="31" y="0"/>
                  </a:lnTo>
                  <a:lnTo>
                    <a:pt x="28" y="1"/>
                  </a:lnTo>
                  <a:lnTo>
                    <a:pt x="4" y="14"/>
                  </a:lnTo>
                  <a:lnTo>
                    <a:pt x="4" y="14"/>
                  </a:lnTo>
                  <a:lnTo>
                    <a:pt x="2" y="17"/>
                  </a:lnTo>
                  <a:lnTo>
                    <a:pt x="0" y="20"/>
                  </a:lnTo>
                  <a:lnTo>
                    <a:pt x="0" y="24"/>
                  </a:lnTo>
                  <a:lnTo>
                    <a:pt x="0" y="28"/>
                  </a:lnTo>
                  <a:lnTo>
                    <a:pt x="0" y="28"/>
                  </a:lnTo>
                  <a:lnTo>
                    <a:pt x="4" y="31"/>
                  </a:lnTo>
                  <a:lnTo>
                    <a:pt x="8" y="32"/>
                  </a:lnTo>
                  <a:lnTo>
                    <a:pt x="8"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78" name="Freeform 310"/>
            <p:cNvSpPr>
              <a:spLocks/>
            </p:cNvSpPr>
            <p:nvPr/>
          </p:nvSpPr>
          <p:spPr bwMode="auto">
            <a:xfrm>
              <a:off x="11464926" y="3645535"/>
              <a:ext cx="33338" cy="23813"/>
            </a:xfrm>
            <a:custGeom>
              <a:avLst/>
              <a:gdLst>
                <a:gd name="T0" fmla="*/ 37 w 42"/>
                <a:gd name="T1" fmla="*/ 15 h 31"/>
                <a:gd name="T2" fmla="*/ 14 w 42"/>
                <a:gd name="T3" fmla="*/ 1 h 31"/>
                <a:gd name="T4" fmla="*/ 14 w 42"/>
                <a:gd name="T5" fmla="*/ 1 h 31"/>
                <a:gd name="T6" fmla="*/ 10 w 42"/>
                <a:gd name="T7" fmla="*/ 0 h 31"/>
                <a:gd name="T8" fmla="*/ 7 w 42"/>
                <a:gd name="T9" fmla="*/ 0 h 31"/>
                <a:gd name="T10" fmla="*/ 3 w 42"/>
                <a:gd name="T11" fmla="*/ 1 h 31"/>
                <a:gd name="T12" fmla="*/ 0 w 42"/>
                <a:gd name="T13" fmla="*/ 4 h 31"/>
                <a:gd name="T14" fmla="*/ 0 w 42"/>
                <a:gd name="T15" fmla="*/ 4 h 31"/>
                <a:gd name="T16" fmla="*/ 0 w 42"/>
                <a:gd name="T17" fmla="*/ 8 h 31"/>
                <a:gd name="T18" fmla="*/ 0 w 42"/>
                <a:gd name="T19" fmla="*/ 11 h 31"/>
                <a:gd name="T20" fmla="*/ 2 w 42"/>
                <a:gd name="T21" fmla="*/ 14 h 31"/>
                <a:gd name="T22" fmla="*/ 4 w 42"/>
                <a:gd name="T23" fmla="*/ 16 h 31"/>
                <a:gd name="T24" fmla="*/ 28 w 42"/>
                <a:gd name="T25" fmla="*/ 31 h 31"/>
                <a:gd name="T26" fmla="*/ 28 w 42"/>
                <a:gd name="T27" fmla="*/ 31 h 31"/>
                <a:gd name="T28" fmla="*/ 33 w 42"/>
                <a:gd name="T29" fmla="*/ 31 h 31"/>
                <a:gd name="T30" fmla="*/ 33 w 42"/>
                <a:gd name="T31" fmla="*/ 31 h 31"/>
                <a:gd name="T32" fmla="*/ 37 w 42"/>
                <a:gd name="T33" fmla="*/ 30 h 31"/>
                <a:gd name="T34" fmla="*/ 41 w 42"/>
                <a:gd name="T35" fmla="*/ 27 h 31"/>
                <a:gd name="T36" fmla="*/ 41 w 42"/>
                <a:gd name="T37" fmla="*/ 27 h 31"/>
                <a:gd name="T38" fmla="*/ 42 w 42"/>
                <a:gd name="T39" fmla="*/ 23 h 31"/>
                <a:gd name="T40" fmla="*/ 42 w 42"/>
                <a:gd name="T41" fmla="*/ 20 h 31"/>
                <a:gd name="T42" fmla="*/ 39 w 42"/>
                <a:gd name="T43" fmla="*/ 18 h 31"/>
                <a:gd name="T44" fmla="*/ 37 w 42"/>
                <a:gd name="T45" fmla="*/ 15 h 31"/>
                <a:gd name="T46" fmla="*/ 37 w 42"/>
                <a:gd name="T47"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31">
                  <a:moveTo>
                    <a:pt x="37" y="15"/>
                  </a:moveTo>
                  <a:lnTo>
                    <a:pt x="14" y="1"/>
                  </a:lnTo>
                  <a:lnTo>
                    <a:pt x="14" y="1"/>
                  </a:lnTo>
                  <a:lnTo>
                    <a:pt x="10" y="0"/>
                  </a:lnTo>
                  <a:lnTo>
                    <a:pt x="7" y="0"/>
                  </a:lnTo>
                  <a:lnTo>
                    <a:pt x="3" y="1"/>
                  </a:lnTo>
                  <a:lnTo>
                    <a:pt x="0" y="4"/>
                  </a:lnTo>
                  <a:lnTo>
                    <a:pt x="0" y="4"/>
                  </a:lnTo>
                  <a:lnTo>
                    <a:pt x="0" y="8"/>
                  </a:lnTo>
                  <a:lnTo>
                    <a:pt x="0" y="11"/>
                  </a:lnTo>
                  <a:lnTo>
                    <a:pt x="2" y="14"/>
                  </a:lnTo>
                  <a:lnTo>
                    <a:pt x="4" y="16"/>
                  </a:lnTo>
                  <a:lnTo>
                    <a:pt x="28" y="31"/>
                  </a:lnTo>
                  <a:lnTo>
                    <a:pt x="28" y="31"/>
                  </a:lnTo>
                  <a:lnTo>
                    <a:pt x="33" y="31"/>
                  </a:lnTo>
                  <a:lnTo>
                    <a:pt x="33" y="31"/>
                  </a:lnTo>
                  <a:lnTo>
                    <a:pt x="37" y="30"/>
                  </a:lnTo>
                  <a:lnTo>
                    <a:pt x="41" y="27"/>
                  </a:lnTo>
                  <a:lnTo>
                    <a:pt x="41" y="27"/>
                  </a:lnTo>
                  <a:lnTo>
                    <a:pt x="42" y="23"/>
                  </a:lnTo>
                  <a:lnTo>
                    <a:pt x="42" y="20"/>
                  </a:lnTo>
                  <a:lnTo>
                    <a:pt x="39" y="18"/>
                  </a:lnTo>
                  <a:lnTo>
                    <a:pt x="37" y="15"/>
                  </a:lnTo>
                  <a:lnTo>
                    <a:pt x="37"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sp>
        <p:nvSpPr>
          <p:cNvPr id="179" name="Rectangle 178"/>
          <p:cNvSpPr/>
          <p:nvPr/>
        </p:nvSpPr>
        <p:spPr>
          <a:xfrm>
            <a:off x="9419166" y="4769637"/>
            <a:ext cx="1085554"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ea typeface="Chronicle Display Roman" charset="0"/>
                <a:cs typeface="Chronicle Display Roman" charset="0"/>
              </a:rPr>
              <a:t>&gt;</a:t>
            </a:r>
            <a:r>
              <a:rPr kumimoji="0" lang="en-US" sz="2800" b="0" i="0" u="none" strike="noStrike" kern="1200" cap="none" spc="0" normalizeH="0" baseline="0" noProof="0" dirty="0">
                <a:ln>
                  <a:noFill/>
                </a:ln>
                <a:solidFill>
                  <a:srgbClr val="000000"/>
                </a:solidFill>
                <a:effectLst/>
                <a:uLnTx/>
                <a:uFillTx/>
                <a:ea typeface="Chronicle Display Roman" charset="0"/>
                <a:cs typeface="Chronicle Display Roman" charset="0"/>
              </a:rPr>
              <a:t>50%</a:t>
            </a:r>
          </a:p>
        </p:txBody>
      </p:sp>
      <p:sp>
        <p:nvSpPr>
          <p:cNvPr id="180" name="Right Triangle 179"/>
          <p:cNvSpPr/>
          <p:nvPr/>
        </p:nvSpPr>
        <p:spPr>
          <a:xfrm flipH="1">
            <a:off x="914397" y="4153233"/>
            <a:ext cx="3147538" cy="659268"/>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181" name="Freeform 191"/>
          <p:cNvSpPr>
            <a:spLocks noEditPoints="1"/>
          </p:cNvSpPr>
          <p:nvPr/>
        </p:nvSpPr>
        <p:spPr bwMode="auto">
          <a:xfrm>
            <a:off x="1026797" y="2850220"/>
            <a:ext cx="291858" cy="192361"/>
          </a:xfrm>
          <a:custGeom>
            <a:avLst/>
            <a:gdLst>
              <a:gd name="T0" fmla="*/ 352 w 354"/>
              <a:gd name="T1" fmla="*/ 111 h 231"/>
              <a:gd name="T2" fmla="*/ 320 w 354"/>
              <a:gd name="T3" fmla="*/ 75 h 231"/>
              <a:gd name="T4" fmla="*/ 286 w 354"/>
              <a:gd name="T5" fmla="*/ 44 h 231"/>
              <a:gd name="T6" fmla="*/ 260 w 354"/>
              <a:gd name="T7" fmla="*/ 25 h 231"/>
              <a:gd name="T8" fmla="*/ 229 w 354"/>
              <a:gd name="T9" fmla="*/ 9 h 231"/>
              <a:gd name="T10" fmla="*/ 195 w 354"/>
              <a:gd name="T11" fmla="*/ 1 h 231"/>
              <a:gd name="T12" fmla="*/ 176 w 354"/>
              <a:gd name="T13" fmla="*/ 0 h 231"/>
              <a:gd name="T14" fmla="*/ 143 w 354"/>
              <a:gd name="T15" fmla="*/ 4 h 231"/>
              <a:gd name="T16" fmla="*/ 109 w 354"/>
              <a:gd name="T17" fmla="*/ 17 h 231"/>
              <a:gd name="T18" fmla="*/ 81 w 354"/>
              <a:gd name="T19" fmla="*/ 34 h 231"/>
              <a:gd name="T20" fmla="*/ 54 w 354"/>
              <a:gd name="T21" fmla="*/ 54 h 231"/>
              <a:gd name="T22" fmla="*/ 16 w 354"/>
              <a:gd name="T23" fmla="*/ 93 h 231"/>
              <a:gd name="T24" fmla="*/ 1 w 354"/>
              <a:gd name="T25" fmla="*/ 111 h 231"/>
              <a:gd name="T26" fmla="*/ 1 w 354"/>
              <a:gd name="T27" fmla="*/ 120 h 231"/>
              <a:gd name="T28" fmla="*/ 16 w 354"/>
              <a:gd name="T29" fmla="*/ 138 h 231"/>
              <a:gd name="T30" fmla="*/ 55 w 354"/>
              <a:gd name="T31" fmla="*/ 177 h 231"/>
              <a:gd name="T32" fmla="*/ 81 w 354"/>
              <a:gd name="T33" fmla="*/ 197 h 231"/>
              <a:gd name="T34" fmla="*/ 110 w 354"/>
              <a:gd name="T35" fmla="*/ 215 h 231"/>
              <a:gd name="T36" fmla="*/ 143 w 354"/>
              <a:gd name="T37" fmla="*/ 227 h 231"/>
              <a:gd name="T38" fmla="*/ 176 w 354"/>
              <a:gd name="T39" fmla="*/ 231 h 231"/>
              <a:gd name="T40" fmla="*/ 195 w 354"/>
              <a:gd name="T41" fmla="*/ 230 h 231"/>
              <a:gd name="T42" fmla="*/ 227 w 354"/>
              <a:gd name="T43" fmla="*/ 222 h 231"/>
              <a:gd name="T44" fmla="*/ 258 w 354"/>
              <a:gd name="T45" fmla="*/ 206 h 231"/>
              <a:gd name="T46" fmla="*/ 286 w 354"/>
              <a:gd name="T47" fmla="*/ 187 h 231"/>
              <a:gd name="T48" fmla="*/ 320 w 354"/>
              <a:gd name="T49" fmla="*/ 157 h 231"/>
              <a:gd name="T50" fmla="*/ 352 w 354"/>
              <a:gd name="T51" fmla="*/ 120 h 231"/>
              <a:gd name="T52" fmla="*/ 354 w 354"/>
              <a:gd name="T53" fmla="*/ 115 h 231"/>
              <a:gd name="T54" fmla="*/ 352 w 354"/>
              <a:gd name="T55" fmla="*/ 111 h 231"/>
              <a:gd name="T56" fmla="*/ 176 w 354"/>
              <a:gd name="T57" fmla="*/ 183 h 231"/>
              <a:gd name="T58" fmla="*/ 151 w 354"/>
              <a:gd name="T59" fmla="*/ 177 h 231"/>
              <a:gd name="T60" fmla="*/ 129 w 354"/>
              <a:gd name="T61" fmla="*/ 163 h 231"/>
              <a:gd name="T62" fmla="*/ 116 w 354"/>
              <a:gd name="T63" fmla="*/ 141 h 231"/>
              <a:gd name="T64" fmla="*/ 110 w 354"/>
              <a:gd name="T65" fmla="*/ 115 h 231"/>
              <a:gd name="T66" fmla="*/ 112 w 354"/>
              <a:gd name="T67" fmla="*/ 102 h 231"/>
              <a:gd name="T68" fmla="*/ 121 w 354"/>
              <a:gd name="T69" fmla="*/ 78 h 231"/>
              <a:gd name="T70" fmla="*/ 140 w 354"/>
              <a:gd name="T71" fmla="*/ 60 h 231"/>
              <a:gd name="T72" fmla="*/ 163 w 354"/>
              <a:gd name="T73" fmla="*/ 50 h 231"/>
              <a:gd name="T74" fmla="*/ 176 w 354"/>
              <a:gd name="T75" fmla="*/ 48 h 231"/>
              <a:gd name="T76" fmla="*/ 203 w 354"/>
              <a:gd name="T77" fmla="*/ 54 h 231"/>
              <a:gd name="T78" fmla="*/ 225 w 354"/>
              <a:gd name="T79" fmla="*/ 68 h 231"/>
              <a:gd name="T80" fmla="*/ 238 w 354"/>
              <a:gd name="T81" fmla="*/ 90 h 231"/>
              <a:gd name="T82" fmla="*/ 243 w 354"/>
              <a:gd name="T83" fmla="*/ 115 h 231"/>
              <a:gd name="T84" fmla="*/ 242 w 354"/>
              <a:gd name="T85" fmla="*/ 129 h 231"/>
              <a:gd name="T86" fmla="*/ 233 w 354"/>
              <a:gd name="T87" fmla="*/ 153 h 231"/>
              <a:gd name="T88" fmla="*/ 214 w 354"/>
              <a:gd name="T89" fmla="*/ 171 h 231"/>
              <a:gd name="T90" fmla="*/ 191 w 354"/>
              <a:gd name="T91" fmla="*/ 181 h 231"/>
              <a:gd name="T92" fmla="*/ 176 w 354"/>
              <a:gd name="T93" fmla="*/ 183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4" h="231">
                <a:moveTo>
                  <a:pt x="352" y="111"/>
                </a:moveTo>
                <a:lnTo>
                  <a:pt x="352" y="111"/>
                </a:lnTo>
                <a:lnTo>
                  <a:pt x="337" y="93"/>
                </a:lnTo>
                <a:lnTo>
                  <a:pt x="320" y="75"/>
                </a:lnTo>
                <a:lnTo>
                  <a:pt x="298" y="54"/>
                </a:lnTo>
                <a:lnTo>
                  <a:pt x="286" y="44"/>
                </a:lnTo>
                <a:lnTo>
                  <a:pt x="273" y="34"/>
                </a:lnTo>
                <a:lnTo>
                  <a:pt x="260" y="25"/>
                </a:lnTo>
                <a:lnTo>
                  <a:pt x="243" y="17"/>
                </a:lnTo>
                <a:lnTo>
                  <a:pt x="229" y="9"/>
                </a:lnTo>
                <a:lnTo>
                  <a:pt x="211" y="4"/>
                </a:lnTo>
                <a:lnTo>
                  <a:pt x="195" y="1"/>
                </a:lnTo>
                <a:lnTo>
                  <a:pt x="176" y="0"/>
                </a:lnTo>
                <a:lnTo>
                  <a:pt x="176" y="0"/>
                </a:lnTo>
                <a:lnTo>
                  <a:pt x="159" y="1"/>
                </a:lnTo>
                <a:lnTo>
                  <a:pt x="143" y="4"/>
                </a:lnTo>
                <a:lnTo>
                  <a:pt x="125" y="9"/>
                </a:lnTo>
                <a:lnTo>
                  <a:pt x="109" y="17"/>
                </a:lnTo>
                <a:lnTo>
                  <a:pt x="94" y="25"/>
                </a:lnTo>
                <a:lnTo>
                  <a:pt x="81" y="34"/>
                </a:lnTo>
                <a:lnTo>
                  <a:pt x="67" y="44"/>
                </a:lnTo>
                <a:lnTo>
                  <a:pt x="54" y="54"/>
                </a:lnTo>
                <a:lnTo>
                  <a:pt x="34" y="75"/>
                </a:lnTo>
                <a:lnTo>
                  <a:pt x="16" y="93"/>
                </a:lnTo>
                <a:lnTo>
                  <a:pt x="1" y="111"/>
                </a:lnTo>
                <a:lnTo>
                  <a:pt x="1" y="111"/>
                </a:lnTo>
                <a:lnTo>
                  <a:pt x="0" y="115"/>
                </a:lnTo>
                <a:lnTo>
                  <a:pt x="1" y="120"/>
                </a:lnTo>
                <a:lnTo>
                  <a:pt x="1" y="120"/>
                </a:lnTo>
                <a:lnTo>
                  <a:pt x="16" y="138"/>
                </a:lnTo>
                <a:lnTo>
                  <a:pt x="34" y="157"/>
                </a:lnTo>
                <a:lnTo>
                  <a:pt x="55" y="177"/>
                </a:lnTo>
                <a:lnTo>
                  <a:pt x="67" y="187"/>
                </a:lnTo>
                <a:lnTo>
                  <a:pt x="81" y="197"/>
                </a:lnTo>
                <a:lnTo>
                  <a:pt x="94" y="206"/>
                </a:lnTo>
                <a:lnTo>
                  <a:pt x="110" y="215"/>
                </a:lnTo>
                <a:lnTo>
                  <a:pt x="125" y="222"/>
                </a:lnTo>
                <a:lnTo>
                  <a:pt x="143" y="227"/>
                </a:lnTo>
                <a:lnTo>
                  <a:pt x="159" y="230"/>
                </a:lnTo>
                <a:lnTo>
                  <a:pt x="176" y="231"/>
                </a:lnTo>
                <a:lnTo>
                  <a:pt x="176" y="231"/>
                </a:lnTo>
                <a:lnTo>
                  <a:pt x="195" y="230"/>
                </a:lnTo>
                <a:lnTo>
                  <a:pt x="211" y="227"/>
                </a:lnTo>
                <a:lnTo>
                  <a:pt x="227" y="222"/>
                </a:lnTo>
                <a:lnTo>
                  <a:pt x="243" y="215"/>
                </a:lnTo>
                <a:lnTo>
                  <a:pt x="258" y="206"/>
                </a:lnTo>
                <a:lnTo>
                  <a:pt x="273" y="197"/>
                </a:lnTo>
                <a:lnTo>
                  <a:pt x="286" y="187"/>
                </a:lnTo>
                <a:lnTo>
                  <a:pt x="298" y="177"/>
                </a:lnTo>
                <a:lnTo>
                  <a:pt x="320" y="157"/>
                </a:lnTo>
                <a:lnTo>
                  <a:pt x="336" y="138"/>
                </a:lnTo>
                <a:lnTo>
                  <a:pt x="352" y="120"/>
                </a:lnTo>
                <a:lnTo>
                  <a:pt x="352" y="120"/>
                </a:lnTo>
                <a:lnTo>
                  <a:pt x="354" y="115"/>
                </a:lnTo>
                <a:lnTo>
                  <a:pt x="352" y="111"/>
                </a:lnTo>
                <a:lnTo>
                  <a:pt x="352" y="111"/>
                </a:lnTo>
                <a:close/>
                <a:moveTo>
                  <a:pt x="176" y="183"/>
                </a:moveTo>
                <a:lnTo>
                  <a:pt x="176" y="183"/>
                </a:lnTo>
                <a:lnTo>
                  <a:pt x="163" y="181"/>
                </a:lnTo>
                <a:lnTo>
                  <a:pt x="151" y="177"/>
                </a:lnTo>
                <a:lnTo>
                  <a:pt x="140" y="171"/>
                </a:lnTo>
                <a:lnTo>
                  <a:pt x="129" y="163"/>
                </a:lnTo>
                <a:lnTo>
                  <a:pt x="121" y="153"/>
                </a:lnTo>
                <a:lnTo>
                  <a:pt x="116" y="141"/>
                </a:lnTo>
                <a:lnTo>
                  <a:pt x="112" y="129"/>
                </a:lnTo>
                <a:lnTo>
                  <a:pt x="110" y="115"/>
                </a:lnTo>
                <a:lnTo>
                  <a:pt x="110" y="115"/>
                </a:lnTo>
                <a:lnTo>
                  <a:pt x="112" y="102"/>
                </a:lnTo>
                <a:lnTo>
                  <a:pt x="116" y="90"/>
                </a:lnTo>
                <a:lnTo>
                  <a:pt x="121" y="78"/>
                </a:lnTo>
                <a:lnTo>
                  <a:pt x="129" y="68"/>
                </a:lnTo>
                <a:lnTo>
                  <a:pt x="140" y="60"/>
                </a:lnTo>
                <a:lnTo>
                  <a:pt x="151" y="54"/>
                </a:lnTo>
                <a:lnTo>
                  <a:pt x="163" y="50"/>
                </a:lnTo>
                <a:lnTo>
                  <a:pt x="176" y="48"/>
                </a:lnTo>
                <a:lnTo>
                  <a:pt x="176" y="48"/>
                </a:lnTo>
                <a:lnTo>
                  <a:pt x="191" y="50"/>
                </a:lnTo>
                <a:lnTo>
                  <a:pt x="203" y="54"/>
                </a:lnTo>
                <a:lnTo>
                  <a:pt x="214" y="60"/>
                </a:lnTo>
                <a:lnTo>
                  <a:pt x="225" y="68"/>
                </a:lnTo>
                <a:lnTo>
                  <a:pt x="233" y="78"/>
                </a:lnTo>
                <a:lnTo>
                  <a:pt x="238" y="90"/>
                </a:lnTo>
                <a:lnTo>
                  <a:pt x="242" y="102"/>
                </a:lnTo>
                <a:lnTo>
                  <a:pt x="243" y="115"/>
                </a:lnTo>
                <a:lnTo>
                  <a:pt x="243" y="115"/>
                </a:lnTo>
                <a:lnTo>
                  <a:pt x="242" y="129"/>
                </a:lnTo>
                <a:lnTo>
                  <a:pt x="238" y="141"/>
                </a:lnTo>
                <a:lnTo>
                  <a:pt x="233" y="153"/>
                </a:lnTo>
                <a:lnTo>
                  <a:pt x="225" y="163"/>
                </a:lnTo>
                <a:lnTo>
                  <a:pt x="214" y="171"/>
                </a:lnTo>
                <a:lnTo>
                  <a:pt x="203" y="177"/>
                </a:lnTo>
                <a:lnTo>
                  <a:pt x="191" y="181"/>
                </a:lnTo>
                <a:lnTo>
                  <a:pt x="176" y="183"/>
                </a:lnTo>
                <a:lnTo>
                  <a:pt x="176" y="18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nvGrpSpPr>
          <p:cNvPr id="182" name="Group 181"/>
          <p:cNvGrpSpPr>
            <a:grpSpLocks noChangeAspect="1"/>
          </p:cNvGrpSpPr>
          <p:nvPr/>
        </p:nvGrpSpPr>
        <p:grpSpPr>
          <a:xfrm>
            <a:off x="1062289" y="2214086"/>
            <a:ext cx="213920" cy="245426"/>
            <a:chOff x="723901" y="4322763"/>
            <a:chExt cx="204788" cy="234950"/>
          </a:xfrm>
        </p:grpSpPr>
        <p:sp>
          <p:nvSpPr>
            <p:cNvPr id="183" name="Freeform 161"/>
            <p:cNvSpPr>
              <a:spLocks/>
            </p:cNvSpPr>
            <p:nvPr/>
          </p:nvSpPr>
          <p:spPr bwMode="auto">
            <a:xfrm>
              <a:off x="723901" y="4322763"/>
              <a:ext cx="204788" cy="107950"/>
            </a:xfrm>
            <a:custGeom>
              <a:avLst/>
              <a:gdLst>
                <a:gd name="T0" fmla="*/ 35 w 256"/>
                <a:gd name="T1" fmla="*/ 137 h 137"/>
                <a:gd name="T2" fmla="*/ 35 w 256"/>
                <a:gd name="T3" fmla="*/ 137 h 137"/>
                <a:gd name="T4" fmla="*/ 44 w 256"/>
                <a:gd name="T5" fmla="*/ 135 h 137"/>
                <a:gd name="T6" fmla="*/ 54 w 256"/>
                <a:gd name="T7" fmla="*/ 133 h 137"/>
                <a:gd name="T8" fmla="*/ 60 w 256"/>
                <a:gd name="T9" fmla="*/ 127 h 137"/>
                <a:gd name="T10" fmla="*/ 66 w 256"/>
                <a:gd name="T11" fmla="*/ 121 h 137"/>
                <a:gd name="T12" fmla="*/ 66 w 256"/>
                <a:gd name="T13" fmla="*/ 121 h 137"/>
                <a:gd name="T14" fmla="*/ 72 w 256"/>
                <a:gd name="T15" fmla="*/ 127 h 137"/>
                <a:gd name="T16" fmla="*/ 79 w 256"/>
                <a:gd name="T17" fmla="*/ 133 h 137"/>
                <a:gd name="T18" fmla="*/ 89 w 256"/>
                <a:gd name="T19" fmla="*/ 135 h 137"/>
                <a:gd name="T20" fmla="*/ 98 w 256"/>
                <a:gd name="T21" fmla="*/ 137 h 137"/>
                <a:gd name="T22" fmla="*/ 98 w 256"/>
                <a:gd name="T23" fmla="*/ 137 h 137"/>
                <a:gd name="T24" fmla="*/ 107 w 256"/>
                <a:gd name="T25" fmla="*/ 135 h 137"/>
                <a:gd name="T26" fmla="*/ 115 w 256"/>
                <a:gd name="T27" fmla="*/ 133 h 137"/>
                <a:gd name="T28" fmla="*/ 122 w 256"/>
                <a:gd name="T29" fmla="*/ 127 h 137"/>
                <a:gd name="T30" fmla="*/ 127 w 256"/>
                <a:gd name="T31" fmla="*/ 122 h 137"/>
                <a:gd name="T32" fmla="*/ 127 w 256"/>
                <a:gd name="T33" fmla="*/ 122 h 137"/>
                <a:gd name="T34" fmla="*/ 133 w 256"/>
                <a:gd name="T35" fmla="*/ 127 h 137"/>
                <a:gd name="T36" fmla="*/ 140 w 256"/>
                <a:gd name="T37" fmla="*/ 133 h 137"/>
                <a:gd name="T38" fmla="*/ 149 w 256"/>
                <a:gd name="T39" fmla="*/ 135 h 137"/>
                <a:gd name="T40" fmla="*/ 158 w 256"/>
                <a:gd name="T41" fmla="*/ 137 h 137"/>
                <a:gd name="T42" fmla="*/ 158 w 256"/>
                <a:gd name="T43" fmla="*/ 137 h 137"/>
                <a:gd name="T44" fmla="*/ 168 w 256"/>
                <a:gd name="T45" fmla="*/ 135 h 137"/>
                <a:gd name="T46" fmla="*/ 176 w 256"/>
                <a:gd name="T47" fmla="*/ 133 h 137"/>
                <a:gd name="T48" fmla="*/ 184 w 256"/>
                <a:gd name="T49" fmla="*/ 127 h 137"/>
                <a:gd name="T50" fmla="*/ 191 w 256"/>
                <a:gd name="T51" fmla="*/ 121 h 137"/>
                <a:gd name="T52" fmla="*/ 191 w 256"/>
                <a:gd name="T53" fmla="*/ 121 h 137"/>
                <a:gd name="T54" fmla="*/ 195 w 256"/>
                <a:gd name="T55" fmla="*/ 127 h 137"/>
                <a:gd name="T56" fmla="*/ 203 w 256"/>
                <a:gd name="T57" fmla="*/ 133 h 137"/>
                <a:gd name="T58" fmla="*/ 211 w 256"/>
                <a:gd name="T59" fmla="*/ 135 h 137"/>
                <a:gd name="T60" fmla="*/ 221 w 256"/>
                <a:gd name="T61" fmla="*/ 137 h 137"/>
                <a:gd name="T62" fmla="*/ 221 w 256"/>
                <a:gd name="T63" fmla="*/ 137 h 137"/>
                <a:gd name="T64" fmla="*/ 228 w 256"/>
                <a:gd name="T65" fmla="*/ 137 h 137"/>
                <a:gd name="T66" fmla="*/ 234 w 256"/>
                <a:gd name="T67" fmla="*/ 134 h 137"/>
                <a:gd name="T68" fmla="*/ 240 w 256"/>
                <a:gd name="T69" fmla="*/ 131 h 137"/>
                <a:gd name="T70" fmla="*/ 246 w 256"/>
                <a:gd name="T71" fmla="*/ 127 h 137"/>
                <a:gd name="T72" fmla="*/ 250 w 256"/>
                <a:gd name="T73" fmla="*/ 122 h 137"/>
                <a:gd name="T74" fmla="*/ 254 w 256"/>
                <a:gd name="T75" fmla="*/ 115 h 137"/>
                <a:gd name="T76" fmla="*/ 255 w 256"/>
                <a:gd name="T77" fmla="*/ 106 h 137"/>
                <a:gd name="T78" fmla="*/ 256 w 256"/>
                <a:gd name="T79" fmla="*/ 96 h 137"/>
                <a:gd name="T80" fmla="*/ 256 w 256"/>
                <a:gd name="T81" fmla="*/ 96 h 137"/>
                <a:gd name="T82" fmla="*/ 256 w 256"/>
                <a:gd name="T83" fmla="*/ 95 h 137"/>
                <a:gd name="T84" fmla="*/ 203 w 256"/>
                <a:gd name="T85" fmla="*/ 1 h 137"/>
                <a:gd name="T86" fmla="*/ 203 w 256"/>
                <a:gd name="T87" fmla="*/ 1 h 137"/>
                <a:gd name="T88" fmla="*/ 201 w 256"/>
                <a:gd name="T89" fmla="*/ 0 h 137"/>
                <a:gd name="T90" fmla="*/ 199 w 256"/>
                <a:gd name="T91" fmla="*/ 0 h 137"/>
                <a:gd name="T92" fmla="*/ 56 w 256"/>
                <a:gd name="T93" fmla="*/ 0 h 137"/>
                <a:gd name="T94" fmla="*/ 56 w 256"/>
                <a:gd name="T95" fmla="*/ 0 h 137"/>
                <a:gd name="T96" fmla="*/ 55 w 256"/>
                <a:gd name="T97" fmla="*/ 0 h 137"/>
                <a:gd name="T98" fmla="*/ 54 w 256"/>
                <a:gd name="T99" fmla="*/ 1 h 137"/>
                <a:gd name="T100" fmla="*/ 0 w 256"/>
                <a:gd name="T101" fmla="*/ 95 h 137"/>
                <a:gd name="T102" fmla="*/ 0 w 256"/>
                <a:gd name="T103" fmla="*/ 95 h 137"/>
                <a:gd name="T104" fmla="*/ 0 w 256"/>
                <a:gd name="T105" fmla="*/ 96 h 137"/>
                <a:gd name="T106" fmla="*/ 0 w 256"/>
                <a:gd name="T107" fmla="*/ 96 h 137"/>
                <a:gd name="T108" fmla="*/ 0 w 256"/>
                <a:gd name="T109" fmla="*/ 106 h 137"/>
                <a:gd name="T110" fmla="*/ 3 w 256"/>
                <a:gd name="T111" fmla="*/ 115 h 137"/>
                <a:gd name="T112" fmla="*/ 5 w 256"/>
                <a:gd name="T113" fmla="*/ 122 h 137"/>
                <a:gd name="T114" fmla="*/ 11 w 256"/>
                <a:gd name="T115" fmla="*/ 127 h 137"/>
                <a:gd name="T116" fmla="*/ 16 w 256"/>
                <a:gd name="T117" fmla="*/ 131 h 137"/>
                <a:gd name="T118" fmla="*/ 21 w 256"/>
                <a:gd name="T119" fmla="*/ 134 h 137"/>
                <a:gd name="T120" fmla="*/ 28 w 256"/>
                <a:gd name="T121" fmla="*/ 137 h 137"/>
                <a:gd name="T122" fmla="*/ 35 w 256"/>
                <a:gd name="T123" fmla="*/ 137 h 137"/>
                <a:gd name="T124" fmla="*/ 35 w 256"/>
                <a:gd name="T12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6" h="137">
                  <a:moveTo>
                    <a:pt x="35" y="137"/>
                  </a:moveTo>
                  <a:lnTo>
                    <a:pt x="35" y="137"/>
                  </a:lnTo>
                  <a:lnTo>
                    <a:pt x="44" y="135"/>
                  </a:lnTo>
                  <a:lnTo>
                    <a:pt x="54" y="133"/>
                  </a:lnTo>
                  <a:lnTo>
                    <a:pt x="60" y="127"/>
                  </a:lnTo>
                  <a:lnTo>
                    <a:pt x="66" y="121"/>
                  </a:lnTo>
                  <a:lnTo>
                    <a:pt x="66" y="121"/>
                  </a:lnTo>
                  <a:lnTo>
                    <a:pt x="72" y="127"/>
                  </a:lnTo>
                  <a:lnTo>
                    <a:pt x="79" y="133"/>
                  </a:lnTo>
                  <a:lnTo>
                    <a:pt x="89" y="135"/>
                  </a:lnTo>
                  <a:lnTo>
                    <a:pt x="98" y="137"/>
                  </a:lnTo>
                  <a:lnTo>
                    <a:pt x="98" y="137"/>
                  </a:lnTo>
                  <a:lnTo>
                    <a:pt x="107" y="135"/>
                  </a:lnTo>
                  <a:lnTo>
                    <a:pt x="115" y="133"/>
                  </a:lnTo>
                  <a:lnTo>
                    <a:pt x="122" y="127"/>
                  </a:lnTo>
                  <a:lnTo>
                    <a:pt x="127" y="122"/>
                  </a:lnTo>
                  <a:lnTo>
                    <a:pt x="127" y="122"/>
                  </a:lnTo>
                  <a:lnTo>
                    <a:pt x="133" y="127"/>
                  </a:lnTo>
                  <a:lnTo>
                    <a:pt x="140" y="133"/>
                  </a:lnTo>
                  <a:lnTo>
                    <a:pt x="149" y="135"/>
                  </a:lnTo>
                  <a:lnTo>
                    <a:pt x="158" y="137"/>
                  </a:lnTo>
                  <a:lnTo>
                    <a:pt x="158" y="137"/>
                  </a:lnTo>
                  <a:lnTo>
                    <a:pt x="168" y="135"/>
                  </a:lnTo>
                  <a:lnTo>
                    <a:pt x="176" y="133"/>
                  </a:lnTo>
                  <a:lnTo>
                    <a:pt x="184" y="127"/>
                  </a:lnTo>
                  <a:lnTo>
                    <a:pt x="191" y="121"/>
                  </a:lnTo>
                  <a:lnTo>
                    <a:pt x="191" y="121"/>
                  </a:lnTo>
                  <a:lnTo>
                    <a:pt x="195" y="127"/>
                  </a:lnTo>
                  <a:lnTo>
                    <a:pt x="203" y="133"/>
                  </a:lnTo>
                  <a:lnTo>
                    <a:pt x="211" y="135"/>
                  </a:lnTo>
                  <a:lnTo>
                    <a:pt x="221" y="137"/>
                  </a:lnTo>
                  <a:lnTo>
                    <a:pt x="221" y="137"/>
                  </a:lnTo>
                  <a:lnTo>
                    <a:pt x="228" y="137"/>
                  </a:lnTo>
                  <a:lnTo>
                    <a:pt x="234" y="134"/>
                  </a:lnTo>
                  <a:lnTo>
                    <a:pt x="240" y="131"/>
                  </a:lnTo>
                  <a:lnTo>
                    <a:pt x="246" y="127"/>
                  </a:lnTo>
                  <a:lnTo>
                    <a:pt x="250" y="122"/>
                  </a:lnTo>
                  <a:lnTo>
                    <a:pt x="254" y="115"/>
                  </a:lnTo>
                  <a:lnTo>
                    <a:pt x="255" y="106"/>
                  </a:lnTo>
                  <a:lnTo>
                    <a:pt x="256" y="96"/>
                  </a:lnTo>
                  <a:lnTo>
                    <a:pt x="256" y="96"/>
                  </a:lnTo>
                  <a:lnTo>
                    <a:pt x="256" y="95"/>
                  </a:lnTo>
                  <a:lnTo>
                    <a:pt x="203" y="1"/>
                  </a:lnTo>
                  <a:lnTo>
                    <a:pt x="203" y="1"/>
                  </a:lnTo>
                  <a:lnTo>
                    <a:pt x="201" y="0"/>
                  </a:lnTo>
                  <a:lnTo>
                    <a:pt x="199" y="0"/>
                  </a:lnTo>
                  <a:lnTo>
                    <a:pt x="56" y="0"/>
                  </a:lnTo>
                  <a:lnTo>
                    <a:pt x="56" y="0"/>
                  </a:lnTo>
                  <a:lnTo>
                    <a:pt x="55" y="0"/>
                  </a:lnTo>
                  <a:lnTo>
                    <a:pt x="54" y="1"/>
                  </a:lnTo>
                  <a:lnTo>
                    <a:pt x="0" y="95"/>
                  </a:lnTo>
                  <a:lnTo>
                    <a:pt x="0" y="95"/>
                  </a:lnTo>
                  <a:lnTo>
                    <a:pt x="0" y="96"/>
                  </a:lnTo>
                  <a:lnTo>
                    <a:pt x="0" y="96"/>
                  </a:lnTo>
                  <a:lnTo>
                    <a:pt x="0" y="106"/>
                  </a:lnTo>
                  <a:lnTo>
                    <a:pt x="3" y="115"/>
                  </a:lnTo>
                  <a:lnTo>
                    <a:pt x="5" y="122"/>
                  </a:lnTo>
                  <a:lnTo>
                    <a:pt x="11" y="127"/>
                  </a:lnTo>
                  <a:lnTo>
                    <a:pt x="16" y="131"/>
                  </a:lnTo>
                  <a:lnTo>
                    <a:pt x="21" y="134"/>
                  </a:lnTo>
                  <a:lnTo>
                    <a:pt x="28" y="137"/>
                  </a:lnTo>
                  <a:lnTo>
                    <a:pt x="35" y="137"/>
                  </a:lnTo>
                  <a:lnTo>
                    <a:pt x="35"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84" name="Freeform 162"/>
            <p:cNvSpPr>
              <a:spLocks/>
            </p:cNvSpPr>
            <p:nvPr/>
          </p:nvSpPr>
          <p:spPr bwMode="auto">
            <a:xfrm>
              <a:off x="744538" y="4446588"/>
              <a:ext cx="161925" cy="111125"/>
            </a:xfrm>
            <a:custGeom>
              <a:avLst/>
              <a:gdLst>
                <a:gd name="T0" fmla="*/ 129 w 205"/>
                <a:gd name="T1" fmla="*/ 140 h 140"/>
                <a:gd name="T2" fmla="*/ 200 w 205"/>
                <a:gd name="T3" fmla="*/ 140 h 140"/>
                <a:gd name="T4" fmla="*/ 200 w 205"/>
                <a:gd name="T5" fmla="*/ 140 h 140"/>
                <a:gd name="T6" fmla="*/ 203 w 205"/>
                <a:gd name="T7" fmla="*/ 139 h 140"/>
                <a:gd name="T8" fmla="*/ 205 w 205"/>
                <a:gd name="T9" fmla="*/ 135 h 140"/>
                <a:gd name="T10" fmla="*/ 205 w 205"/>
                <a:gd name="T11" fmla="*/ 10 h 140"/>
                <a:gd name="T12" fmla="*/ 205 w 205"/>
                <a:gd name="T13" fmla="*/ 10 h 140"/>
                <a:gd name="T14" fmla="*/ 196 w 205"/>
                <a:gd name="T15" fmla="*/ 11 h 140"/>
                <a:gd name="T16" fmla="*/ 196 w 205"/>
                <a:gd name="T17" fmla="*/ 11 h 140"/>
                <a:gd name="T18" fmla="*/ 187 w 205"/>
                <a:gd name="T19" fmla="*/ 10 h 140"/>
                <a:gd name="T20" fmla="*/ 179 w 205"/>
                <a:gd name="T21" fmla="*/ 9 h 140"/>
                <a:gd name="T22" fmla="*/ 171 w 205"/>
                <a:gd name="T23" fmla="*/ 5 h 140"/>
                <a:gd name="T24" fmla="*/ 166 w 205"/>
                <a:gd name="T25" fmla="*/ 0 h 140"/>
                <a:gd name="T26" fmla="*/ 166 w 205"/>
                <a:gd name="T27" fmla="*/ 0 h 140"/>
                <a:gd name="T28" fmla="*/ 158 w 205"/>
                <a:gd name="T29" fmla="*/ 5 h 140"/>
                <a:gd name="T30" fmla="*/ 151 w 205"/>
                <a:gd name="T31" fmla="*/ 9 h 140"/>
                <a:gd name="T32" fmla="*/ 141 w 205"/>
                <a:gd name="T33" fmla="*/ 10 h 140"/>
                <a:gd name="T34" fmla="*/ 133 w 205"/>
                <a:gd name="T35" fmla="*/ 11 h 140"/>
                <a:gd name="T36" fmla="*/ 133 w 205"/>
                <a:gd name="T37" fmla="*/ 11 h 140"/>
                <a:gd name="T38" fmla="*/ 124 w 205"/>
                <a:gd name="T39" fmla="*/ 10 h 140"/>
                <a:gd name="T40" fmla="*/ 116 w 205"/>
                <a:gd name="T41" fmla="*/ 9 h 140"/>
                <a:gd name="T42" fmla="*/ 109 w 205"/>
                <a:gd name="T43" fmla="*/ 6 h 140"/>
                <a:gd name="T44" fmla="*/ 102 w 205"/>
                <a:gd name="T45" fmla="*/ 0 h 140"/>
                <a:gd name="T46" fmla="*/ 102 w 205"/>
                <a:gd name="T47" fmla="*/ 0 h 140"/>
                <a:gd name="T48" fmla="*/ 97 w 205"/>
                <a:gd name="T49" fmla="*/ 6 h 140"/>
                <a:gd name="T50" fmla="*/ 89 w 205"/>
                <a:gd name="T51" fmla="*/ 9 h 140"/>
                <a:gd name="T52" fmla="*/ 81 w 205"/>
                <a:gd name="T53" fmla="*/ 10 h 140"/>
                <a:gd name="T54" fmla="*/ 73 w 205"/>
                <a:gd name="T55" fmla="*/ 11 h 140"/>
                <a:gd name="T56" fmla="*/ 73 w 205"/>
                <a:gd name="T57" fmla="*/ 11 h 140"/>
                <a:gd name="T58" fmla="*/ 64 w 205"/>
                <a:gd name="T59" fmla="*/ 10 h 140"/>
                <a:gd name="T60" fmla="*/ 55 w 205"/>
                <a:gd name="T61" fmla="*/ 9 h 140"/>
                <a:gd name="T62" fmla="*/ 47 w 205"/>
                <a:gd name="T63" fmla="*/ 5 h 140"/>
                <a:gd name="T64" fmla="*/ 41 w 205"/>
                <a:gd name="T65" fmla="*/ 0 h 140"/>
                <a:gd name="T66" fmla="*/ 41 w 205"/>
                <a:gd name="T67" fmla="*/ 0 h 140"/>
                <a:gd name="T68" fmla="*/ 34 w 205"/>
                <a:gd name="T69" fmla="*/ 5 h 140"/>
                <a:gd name="T70" fmla="*/ 27 w 205"/>
                <a:gd name="T71" fmla="*/ 9 h 140"/>
                <a:gd name="T72" fmla="*/ 19 w 205"/>
                <a:gd name="T73" fmla="*/ 10 h 140"/>
                <a:gd name="T74" fmla="*/ 10 w 205"/>
                <a:gd name="T75" fmla="*/ 11 h 140"/>
                <a:gd name="T76" fmla="*/ 10 w 205"/>
                <a:gd name="T77" fmla="*/ 11 h 140"/>
                <a:gd name="T78" fmla="*/ 0 w 205"/>
                <a:gd name="T79" fmla="*/ 10 h 140"/>
                <a:gd name="T80" fmla="*/ 0 w 205"/>
                <a:gd name="T81" fmla="*/ 135 h 140"/>
                <a:gd name="T82" fmla="*/ 0 w 205"/>
                <a:gd name="T83" fmla="*/ 135 h 140"/>
                <a:gd name="T84" fmla="*/ 2 w 205"/>
                <a:gd name="T85" fmla="*/ 139 h 140"/>
                <a:gd name="T86" fmla="*/ 6 w 205"/>
                <a:gd name="T87" fmla="*/ 140 h 140"/>
                <a:gd name="T88" fmla="*/ 76 w 205"/>
                <a:gd name="T89" fmla="*/ 140 h 140"/>
                <a:gd name="T90" fmla="*/ 76 w 205"/>
                <a:gd name="T91" fmla="*/ 140 h 140"/>
                <a:gd name="T92" fmla="*/ 80 w 205"/>
                <a:gd name="T93" fmla="*/ 139 h 140"/>
                <a:gd name="T94" fmla="*/ 81 w 205"/>
                <a:gd name="T95" fmla="*/ 135 h 140"/>
                <a:gd name="T96" fmla="*/ 81 w 205"/>
                <a:gd name="T97" fmla="*/ 77 h 140"/>
                <a:gd name="T98" fmla="*/ 125 w 205"/>
                <a:gd name="T99" fmla="*/ 77 h 140"/>
                <a:gd name="T100" fmla="*/ 125 w 205"/>
                <a:gd name="T101" fmla="*/ 135 h 140"/>
                <a:gd name="T102" fmla="*/ 125 w 205"/>
                <a:gd name="T103" fmla="*/ 135 h 140"/>
                <a:gd name="T104" fmla="*/ 127 w 205"/>
                <a:gd name="T105" fmla="*/ 139 h 140"/>
                <a:gd name="T106" fmla="*/ 129 w 205"/>
                <a:gd name="T107" fmla="*/ 140 h 140"/>
                <a:gd name="T108" fmla="*/ 129 w 205"/>
                <a:gd name="T109"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5" h="140">
                  <a:moveTo>
                    <a:pt x="129" y="140"/>
                  </a:moveTo>
                  <a:lnTo>
                    <a:pt x="200" y="140"/>
                  </a:lnTo>
                  <a:lnTo>
                    <a:pt x="200" y="140"/>
                  </a:lnTo>
                  <a:lnTo>
                    <a:pt x="203" y="139"/>
                  </a:lnTo>
                  <a:lnTo>
                    <a:pt x="205" y="135"/>
                  </a:lnTo>
                  <a:lnTo>
                    <a:pt x="205" y="10"/>
                  </a:lnTo>
                  <a:lnTo>
                    <a:pt x="205" y="10"/>
                  </a:lnTo>
                  <a:lnTo>
                    <a:pt x="196" y="11"/>
                  </a:lnTo>
                  <a:lnTo>
                    <a:pt x="196" y="11"/>
                  </a:lnTo>
                  <a:lnTo>
                    <a:pt x="187" y="10"/>
                  </a:lnTo>
                  <a:lnTo>
                    <a:pt x="179" y="9"/>
                  </a:lnTo>
                  <a:lnTo>
                    <a:pt x="171" y="5"/>
                  </a:lnTo>
                  <a:lnTo>
                    <a:pt x="166" y="0"/>
                  </a:lnTo>
                  <a:lnTo>
                    <a:pt x="166" y="0"/>
                  </a:lnTo>
                  <a:lnTo>
                    <a:pt x="158" y="5"/>
                  </a:lnTo>
                  <a:lnTo>
                    <a:pt x="151" y="9"/>
                  </a:lnTo>
                  <a:lnTo>
                    <a:pt x="141" y="10"/>
                  </a:lnTo>
                  <a:lnTo>
                    <a:pt x="133" y="11"/>
                  </a:lnTo>
                  <a:lnTo>
                    <a:pt x="133" y="11"/>
                  </a:lnTo>
                  <a:lnTo>
                    <a:pt x="124" y="10"/>
                  </a:lnTo>
                  <a:lnTo>
                    <a:pt x="116" y="9"/>
                  </a:lnTo>
                  <a:lnTo>
                    <a:pt x="109" y="6"/>
                  </a:lnTo>
                  <a:lnTo>
                    <a:pt x="102" y="0"/>
                  </a:lnTo>
                  <a:lnTo>
                    <a:pt x="102" y="0"/>
                  </a:lnTo>
                  <a:lnTo>
                    <a:pt x="97" y="6"/>
                  </a:lnTo>
                  <a:lnTo>
                    <a:pt x="89" y="9"/>
                  </a:lnTo>
                  <a:lnTo>
                    <a:pt x="81" y="10"/>
                  </a:lnTo>
                  <a:lnTo>
                    <a:pt x="73" y="11"/>
                  </a:lnTo>
                  <a:lnTo>
                    <a:pt x="73" y="11"/>
                  </a:lnTo>
                  <a:lnTo>
                    <a:pt x="64" y="10"/>
                  </a:lnTo>
                  <a:lnTo>
                    <a:pt x="55" y="9"/>
                  </a:lnTo>
                  <a:lnTo>
                    <a:pt x="47" y="5"/>
                  </a:lnTo>
                  <a:lnTo>
                    <a:pt x="41" y="0"/>
                  </a:lnTo>
                  <a:lnTo>
                    <a:pt x="41" y="0"/>
                  </a:lnTo>
                  <a:lnTo>
                    <a:pt x="34" y="5"/>
                  </a:lnTo>
                  <a:lnTo>
                    <a:pt x="27" y="9"/>
                  </a:lnTo>
                  <a:lnTo>
                    <a:pt x="19" y="10"/>
                  </a:lnTo>
                  <a:lnTo>
                    <a:pt x="10" y="11"/>
                  </a:lnTo>
                  <a:lnTo>
                    <a:pt x="10" y="11"/>
                  </a:lnTo>
                  <a:lnTo>
                    <a:pt x="0" y="10"/>
                  </a:lnTo>
                  <a:lnTo>
                    <a:pt x="0" y="135"/>
                  </a:lnTo>
                  <a:lnTo>
                    <a:pt x="0" y="135"/>
                  </a:lnTo>
                  <a:lnTo>
                    <a:pt x="2" y="139"/>
                  </a:lnTo>
                  <a:lnTo>
                    <a:pt x="6" y="140"/>
                  </a:lnTo>
                  <a:lnTo>
                    <a:pt x="76" y="140"/>
                  </a:lnTo>
                  <a:lnTo>
                    <a:pt x="76" y="140"/>
                  </a:lnTo>
                  <a:lnTo>
                    <a:pt x="80" y="139"/>
                  </a:lnTo>
                  <a:lnTo>
                    <a:pt x="81" y="135"/>
                  </a:lnTo>
                  <a:lnTo>
                    <a:pt x="81" y="77"/>
                  </a:lnTo>
                  <a:lnTo>
                    <a:pt x="125" y="77"/>
                  </a:lnTo>
                  <a:lnTo>
                    <a:pt x="125" y="135"/>
                  </a:lnTo>
                  <a:lnTo>
                    <a:pt x="125" y="135"/>
                  </a:lnTo>
                  <a:lnTo>
                    <a:pt x="127" y="139"/>
                  </a:lnTo>
                  <a:lnTo>
                    <a:pt x="129" y="140"/>
                  </a:lnTo>
                  <a:lnTo>
                    <a:pt x="129" y="1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185" name="Group 184"/>
          <p:cNvGrpSpPr>
            <a:grpSpLocks noChangeAspect="1"/>
          </p:cNvGrpSpPr>
          <p:nvPr/>
        </p:nvGrpSpPr>
        <p:grpSpPr>
          <a:xfrm>
            <a:off x="8526201" y="5726624"/>
            <a:ext cx="292100" cy="285751"/>
            <a:chOff x="674688" y="3435350"/>
            <a:chExt cx="292100" cy="285751"/>
          </a:xfrm>
        </p:grpSpPr>
        <p:sp>
          <p:nvSpPr>
            <p:cNvPr id="186" name="Freeform 262"/>
            <p:cNvSpPr>
              <a:spLocks/>
            </p:cNvSpPr>
            <p:nvPr/>
          </p:nvSpPr>
          <p:spPr bwMode="auto">
            <a:xfrm>
              <a:off x="763588" y="3435350"/>
              <a:ext cx="114300" cy="215900"/>
            </a:xfrm>
            <a:custGeom>
              <a:avLst/>
              <a:gdLst>
                <a:gd name="T0" fmla="*/ 65 w 145"/>
                <a:gd name="T1" fmla="*/ 155 h 272"/>
                <a:gd name="T2" fmla="*/ 65 w 145"/>
                <a:gd name="T3" fmla="*/ 264 h 272"/>
                <a:gd name="T4" fmla="*/ 66 w 145"/>
                <a:gd name="T5" fmla="*/ 269 h 272"/>
                <a:gd name="T6" fmla="*/ 73 w 145"/>
                <a:gd name="T7" fmla="*/ 272 h 272"/>
                <a:gd name="T8" fmla="*/ 75 w 145"/>
                <a:gd name="T9" fmla="*/ 272 h 272"/>
                <a:gd name="T10" fmla="*/ 81 w 145"/>
                <a:gd name="T11" fmla="*/ 267 h 272"/>
                <a:gd name="T12" fmla="*/ 81 w 145"/>
                <a:gd name="T13" fmla="*/ 214 h 272"/>
                <a:gd name="T14" fmla="*/ 85 w 145"/>
                <a:gd name="T15" fmla="*/ 214 h 272"/>
                <a:gd name="T16" fmla="*/ 108 w 145"/>
                <a:gd name="T17" fmla="*/ 209 h 272"/>
                <a:gd name="T18" fmla="*/ 128 w 145"/>
                <a:gd name="T19" fmla="*/ 196 h 272"/>
                <a:gd name="T20" fmla="*/ 141 w 145"/>
                <a:gd name="T21" fmla="*/ 177 h 272"/>
                <a:gd name="T22" fmla="*/ 145 w 145"/>
                <a:gd name="T23" fmla="*/ 153 h 272"/>
                <a:gd name="T24" fmla="*/ 132 w 145"/>
                <a:gd name="T25" fmla="*/ 126 h 272"/>
                <a:gd name="T26" fmla="*/ 124 w 145"/>
                <a:gd name="T27" fmla="*/ 127 h 272"/>
                <a:gd name="T28" fmla="*/ 109 w 145"/>
                <a:gd name="T29" fmla="*/ 130 h 272"/>
                <a:gd name="T30" fmla="*/ 97 w 145"/>
                <a:gd name="T31" fmla="*/ 137 h 272"/>
                <a:gd name="T32" fmla="*/ 86 w 145"/>
                <a:gd name="T33" fmla="*/ 147 h 272"/>
                <a:gd name="T34" fmla="*/ 81 w 145"/>
                <a:gd name="T35" fmla="*/ 8 h 272"/>
                <a:gd name="T36" fmla="*/ 81 w 145"/>
                <a:gd name="T37" fmla="*/ 4 h 272"/>
                <a:gd name="T38" fmla="*/ 75 w 145"/>
                <a:gd name="T39" fmla="*/ 0 h 272"/>
                <a:gd name="T40" fmla="*/ 73 w 145"/>
                <a:gd name="T41" fmla="*/ 0 h 272"/>
                <a:gd name="T42" fmla="*/ 66 w 145"/>
                <a:gd name="T43" fmla="*/ 1 h 272"/>
                <a:gd name="T44" fmla="*/ 65 w 145"/>
                <a:gd name="T45" fmla="*/ 8 h 272"/>
                <a:gd name="T46" fmla="*/ 65 w 145"/>
                <a:gd name="T47" fmla="*/ 94 h 272"/>
                <a:gd name="T48" fmla="*/ 54 w 145"/>
                <a:gd name="T49" fmla="*/ 83 h 272"/>
                <a:gd name="T50" fmla="*/ 42 w 145"/>
                <a:gd name="T51" fmla="*/ 75 h 272"/>
                <a:gd name="T52" fmla="*/ 28 w 145"/>
                <a:gd name="T53" fmla="*/ 69 h 272"/>
                <a:gd name="T54" fmla="*/ 14 w 145"/>
                <a:gd name="T55" fmla="*/ 68 h 272"/>
                <a:gd name="T56" fmla="*/ 0 w 145"/>
                <a:gd name="T57" fmla="*/ 94 h 272"/>
                <a:gd name="T58" fmla="*/ 0 w 145"/>
                <a:gd name="T59" fmla="*/ 106 h 272"/>
                <a:gd name="T60" fmla="*/ 10 w 145"/>
                <a:gd name="T61" fmla="*/ 128 h 272"/>
                <a:gd name="T62" fmla="*/ 27 w 145"/>
                <a:gd name="T63" fmla="*/ 145 h 272"/>
                <a:gd name="T64" fmla="*/ 49 w 145"/>
                <a:gd name="T65" fmla="*/ 154 h 272"/>
                <a:gd name="T66" fmla="*/ 61 w 145"/>
                <a:gd name="T67" fmla="*/ 155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5" h="272">
                  <a:moveTo>
                    <a:pt x="61" y="155"/>
                  </a:moveTo>
                  <a:lnTo>
                    <a:pt x="65" y="155"/>
                  </a:lnTo>
                  <a:lnTo>
                    <a:pt x="65" y="264"/>
                  </a:lnTo>
                  <a:lnTo>
                    <a:pt x="65" y="264"/>
                  </a:lnTo>
                  <a:lnTo>
                    <a:pt x="65" y="267"/>
                  </a:lnTo>
                  <a:lnTo>
                    <a:pt x="66" y="269"/>
                  </a:lnTo>
                  <a:lnTo>
                    <a:pt x="69" y="272"/>
                  </a:lnTo>
                  <a:lnTo>
                    <a:pt x="73" y="272"/>
                  </a:lnTo>
                  <a:lnTo>
                    <a:pt x="73" y="272"/>
                  </a:lnTo>
                  <a:lnTo>
                    <a:pt x="75" y="272"/>
                  </a:lnTo>
                  <a:lnTo>
                    <a:pt x="78" y="269"/>
                  </a:lnTo>
                  <a:lnTo>
                    <a:pt x="81" y="267"/>
                  </a:lnTo>
                  <a:lnTo>
                    <a:pt x="81" y="264"/>
                  </a:lnTo>
                  <a:lnTo>
                    <a:pt x="81" y="214"/>
                  </a:lnTo>
                  <a:lnTo>
                    <a:pt x="85" y="214"/>
                  </a:lnTo>
                  <a:lnTo>
                    <a:pt x="85" y="214"/>
                  </a:lnTo>
                  <a:lnTo>
                    <a:pt x="97" y="213"/>
                  </a:lnTo>
                  <a:lnTo>
                    <a:pt x="108" y="209"/>
                  </a:lnTo>
                  <a:lnTo>
                    <a:pt x="118" y="204"/>
                  </a:lnTo>
                  <a:lnTo>
                    <a:pt x="128" y="196"/>
                  </a:lnTo>
                  <a:lnTo>
                    <a:pt x="136" y="186"/>
                  </a:lnTo>
                  <a:lnTo>
                    <a:pt x="141" y="177"/>
                  </a:lnTo>
                  <a:lnTo>
                    <a:pt x="144" y="165"/>
                  </a:lnTo>
                  <a:lnTo>
                    <a:pt x="145" y="153"/>
                  </a:lnTo>
                  <a:lnTo>
                    <a:pt x="145" y="126"/>
                  </a:lnTo>
                  <a:lnTo>
                    <a:pt x="132" y="126"/>
                  </a:lnTo>
                  <a:lnTo>
                    <a:pt x="132" y="126"/>
                  </a:lnTo>
                  <a:lnTo>
                    <a:pt x="124" y="127"/>
                  </a:lnTo>
                  <a:lnTo>
                    <a:pt x="117" y="128"/>
                  </a:lnTo>
                  <a:lnTo>
                    <a:pt x="109" y="130"/>
                  </a:lnTo>
                  <a:lnTo>
                    <a:pt x="102" y="134"/>
                  </a:lnTo>
                  <a:lnTo>
                    <a:pt x="97" y="137"/>
                  </a:lnTo>
                  <a:lnTo>
                    <a:pt x="91" y="142"/>
                  </a:lnTo>
                  <a:lnTo>
                    <a:pt x="86" y="147"/>
                  </a:lnTo>
                  <a:lnTo>
                    <a:pt x="81" y="153"/>
                  </a:lnTo>
                  <a:lnTo>
                    <a:pt x="81" y="8"/>
                  </a:lnTo>
                  <a:lnTo>
                    <a:pt x="81" y="8"/>
                  </a:lnTo>
                  <a:lnTo>
                    <a:pt x="81" y="4"/>
                  </a:lnTo>
                  <a:lnTo>
                    <a:pt x="78" y="1"/>
                  </a:lnTo>
                  <a:lnTo>
                    <a:pt x="75" y="0"/>
                  </a:lnTo>
                  <a:lnTo>
                    <a:pt x="73" y="0"/>
                  </a:lnTo>
                  <a:lnTo>
                    <a:pt x="73" y="0"/>
                  </a:lnTo>
                  <a:lnTo>
                    <a:pt x="69" y="0"/>
                  </a:lnTo>
                  <a:lnTo>
                    <a:pt x="66" y="1"/>
                  </a:lnTo>
                  <a:lnTo>
                    <a:pt x="65" y="4"/>
                  </a:lnTo>
                  <a:lnTo>
                    <a:pt x="65" y="8"/>
                  </a:lnTo>
                  <a:lnTo>
                    <a:pt x="65" y="94"/>
                  </a:lnTo>
                  <a:lnTo>
                    <a:pt x="65" y="94"/>
                  </a:lnTo>
                  <a:lnTo>
                    <a:pt x="59" y="88"/>
                  </a:lnTo>
                  <a:lnTo>
                    <a:pt x="54" y="83"/>
                  </a:lnTo>
                  <a:lnTo>
                    <a:pt x="49" y="79"/>
                  </a:lnTo>
                  <a:lnTo>
                    <a:pt x="42" y="75"/>
                  </a:lnTo>
                  <a:lnTo>
                    <a:pt x="35" y="72"/>
                  </a:lnTo>
                  <a:lnTo>
                    <a:pt x="28" y="69"/>
                  </a:lnTo>
                  <a:lnTo>
                    <a:pt x="22" y="68"/>
                  </a:lnTo>
                  <a:lnTo>
                    <a:pt x="14" y="68"/>
                  </a:lnTo>
                  <a:lnTo>
                    <a:pt x="0" y="68"/>
                  </a:lnTo>
                  <a:lnTo>
                    <a:pt x="0" y="94"/>
                  </a:lnTo>
                  <a:lnTo>
                    <a:pt x="0" y="94"/>
                  </a:lnTo>
                  <a:lnTo>
                    <a:pt x="0" y="106"/>
                  </a:lnTo>
                  <a:lnTo>
                    <a:pt x="4" y="118"/>
                  </a:lnTo>
                  <a:lnTo>
                    <a:pt x="10" y="128"/>
                  </a:lnTo>
                  <a:lnTo>
                    <a:pt x="18" y="138"/>
                  </a:lnTo>
                  <a:lnTo>
                    <a:pt x="27" y="145"/>
                  </a:lnTo>
                  <a:lnTo>
                    <a:pt x="36" y="150"/>
                  </a:lnTo>
                  <a:lnTo>
                    <a:pt x="49" y="154"/>
                  </a:lnTo>
                  <a:lnTo>
                    <a:pt x="61" y="155"/>
                  </a:lnTo>
                  <a:lnTo>
                    <a:pt x="61" y="1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87" name="Freeform 263"/>
            <p:cNvSpPr>
              <a:spLocks/>
            </p:cNvSpPr>
            <p:nvPr/>
          </p:nvSpPr>
          <p:spPr bwMode="auto">
            <a:xfrm>
              <a:off x="674688" y="3668713"/>
              <a:ext cx="292100" cy="52388"/>
            </a:xfrm>
            <a:custGeom>
              <a:avLst/>
              <a:gdLst>
                <a:gd name="T0" fmla="*/ 360 w 368"/>
                <a:gd name="T1" fmla="*/ 47 h 64"/>
                <a:gd name="T2" fmla="*/ 249 w 368"/>
                <a:gd name="T3" fmla="*/ 47 h 64"/>
                <a:gd name="T4" fmla="*/ 249 w 368"/>
                <a:gd name="T5" fmla="*/ 47 h 64"/>
                <a:gd name="T6" fmla="*/ 248 w 368"/>
                <a:gd name="T7" fmla="*/ 38 h 64"/>
                <a:gd name="T8" fmla="*/ 244 w 368"/>
                <a:gd name="T9" fmla="*/ 28 h 64"/>
                <a:gd name="T10" fmla="*/ 239 w 368"/>
                <a:gd name="T11" fmla="*/ 20 h 64"/>
                <a:gd name="T12" fmla="*/ 232 w 368"/>
                <a:gd name="T13" fmla="*/ 13 h 64"/>
                <a:gd name="T14" fmla="*/ 224 w 368"/>
                <a:gd name="T15" fmla="*/ 8 h 64"/>
                <a:gd name="T16" fmla="*/ 215 w 368"/>
                <a:gd name="T17" fmla="*/ 4 h 64"/>
                <a:gd name="T18" fmla="*/ 205 w 368"/>
                <a:gd name="T19" fmla="*/ 1 h 64"/>
                <a:gd name="T20" fmla="*/ 196 w 368"/>
                <a:gd name="T21" fmla="*/ 0 h 64"/>
                <a:gd name="T22" fmla="*/ 196 w 368"/>
                <a:gd name="T23" fmla="*/ 0 h 64"/>
                <a:gd name="T24" fmla="*/ 188 w 368"/>
                <a:gd name="T25" fmla="*/ 0 h 64"/>
                <a:gd name="T26" fmla="*/ 181 w 368"/>
                <a:gd name="T27" fmla="*/ 1 h 64"/>
                <a:gd name="T28" fmla="*/ 174 w 368"/>
                <a:gd name="T29" fmla="*/ 4 h 64"/>
                <a:gd name="T30" fmla="*/ 169 w 368"/>
                <a:gd name="T31" fmla="*/ 7 h 64"/>
                <a:gd name="T32" fmla="*/ 162 w 368"/>
                <a:gd name="T33" fmla="*/ 11 h 64"/>
                <a:gd name="T34" fmla="*/ 157 w 368"/>
                <a:gd name="T35" fmla="*/ 15 h 64"/>
                <a:gd name="T36" fmla="*/ 153 w 368"/>
                <a:gd name="T37" fmla="*/ 20 h 64"/>
                <a:gd name="T38" fmla="*/ 149 w 368"/>
                <a:gd name="T39" fmla="*/ 25 h 64"/>
                <a:gd name="T40" fmla="*/ 149 w 368"/>
                <a:gd name="T41" fmla="*/ 25 h 64"/>
                <a:gd name="T42" fmla="*/ 142 w 368"/>
                <a:gd name="T43" fmla="*/ 24 h 64"/>
                <a:gd name="T44" fmla="*/ 137 w 368"/>
                <a:gd name="T45" fmla="*/ 24 h 64"/>
                <a:gd name="T46" fmla="*/ 137 w 368"/>
                <a:gd name="T47" fmla="*/ 24 h 64"/>
                <a:gd name="T48" fmla="*/ 131 w 368"/>
                <a:gd name="T49" fmla="*/ 24 h 64"/>
                <a:gd name="T50" fmla="*/ 126 w 368"/>
                <a:gd name="T51" fmla="*/ 25 h 64"/>
                <a:gd name="T52" fmla="*/ 122 w 368"/>
                <a:gd name="T53" fmla="*/ 27 h 64"/>
                <a:gd name="T54" fmla="*/ 118 w 368"/>
                <a:gd name="T55" fmla="*/ 30 h 64"/>
                <a:gd name="T56" fmla="*/ 114 w 368"/>
                <a:gd name="T57" fmla="*/ 34 h 64"/>
                <a:gd name="T58" fmla="*/ 110 w 368"/>
                <a:gd name="T59" fmla="*/ 38 h 64"/>
                <a:gd name="T60" fmla="*/ 107 w 368"/>
                <a:gd name="T61" fmla="*/ 42 h 64"/>
                <a:gd name="T62" fmla="*/ 106 w 368"/>
                <a:gd name="T63" fmla="*/ 47 h 64"/>
                <a:gd name="T64" fmla="*/ 8 w 368"/>
                <a:gd name="T65" fmla="*/ 47 h 64"/>
                <a:gd name="T66" fmla="*/ 8 w 368"/>
                <a:gd name="T67" fmla="*/ 47 h 64"/>
                <a:gd name="T68" fmla="*/ 4 w 368"/>
                <a:gd name="T69" fmla="*/ 47 h 64"/>
                <a:gd name="T70" fmla="*/ 1 w 368"/>
                <a:gd name="T71" fmla="*/ 50 h 64"/>
                <a:gd name="T72" fmla="*/ 0 w 368"/>
                <a:gd name="T73" fmla="*/ 52 h 64"/>
                <a:gd name="T74" fmla="*/ 0 w 368"/>
                <a:gd name="T75" fmla="*/ 55 h 64"/>
                <a:gd name="T76" fmla="*/ 0 w 368"/>
                <a:gd name="T77" fmla="*/ 55 h 64"/>
                <a:gd name="T78" fmla="*/ 0 w 368"/>
                <a:gd name="T79" fmla="*/ 59 h 64"/>
                <a:gd name="T80" fmla="*/ 1 w 368"/>
                <a:gd name="T81" fmla="*/ 62 h 64"/>
                <a:gd name="T82" fmla="*/ 4 w 368"/>
                <a:gd name="T83" fmla="*/ 63 h 64"/>
                <a:gd name="T84" fmla="*/ 8 w 368"/>
                <a:gd name="T85" fmla="*/ 64 h 64"/>
                <a:gd name="T86" fmla="*/ 360 w 368"/>
                <a:gd name="T87" fmla="*/ 64 h 64"/>
                <a:gd name="T88" fmla="*/ 360 w 368"/>
                <a:gd name="T89" fmla="*/ 64 h 64"/>
                <a:gd name="T90" fmla="*/ 362 w 368"/>
                <a:gd name="T91" fmla="*/ 63 h 64"/>
                <a:gd name="T92" fmla="*/ 365 w 368"/>
                <a:gd name="T93" fmla="*/ 62 h 64"/>
                <a:gd name="T94" fmla="*/ 368 w 368"/>
                <a:gd name="T95" fmla="*/ 59 h 64"/>
                <a:gd name="T96" fmla="*/ 368 w 368"/>
                <a:gd name="T97" fmla="*/ 55 h 64"/>
                <a:gd name="T98" fmla="*/ 368 w 368"/>
                <a:gd name="T99" fmla="*/ 55 h 64"/>
                <a:gd name="T100" fmla="*/ 368 w 368"/>
                <a:gd name="T101" fmla="*/ 52 h 64"/>
                <a:gd name="T102" fmla="*/ 365 w 368"/>
                <a:gd name="T103" fmla="*/ 50 h 64"/>
                <a:gd name="T104" fmla="*/ 362 w 368"/>
                <a:gd name="T105" fmla="*/ 47 h 64"/>
                <a:gd name="T106" fmla="*/ 360 w 368"/>
                <a:gd name="T107" fmla="*/ 47 h 64"/>
                <a:gd name="T108" fmla="*/ 360 w 368"/>
                <a:gd name="T109" fmla="*/ 4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68" h="64">
                  <a:moveTo>
                    <a:pt x="360" y="47"/>
                  </a:moveTo>
                  <a:lnTo>
                    <a:pt x="249" y="47"/>
                  </a:lnTo>
                  <a:lnTo>
                    <a:pt x="249" y="47"/>
                  </a:lnTo>
                  <a:lnTo>
                    <a:pt x="248" y="38"/>
                  </a:lnTo>
                  <a:lnTo>
                    <a:pt x="244" y="28"/>
                  </a:lnTo>
                  <a:lnTo>
                    <a:pt x="239" y="20"/>
                  </a:lnTo>
                  <a:lnTo>
                    <a:pt x="232" y="13"/>
                  </a:lnTo>
                  <a:lnTo>
                    <a:pt x="224" y="8"/>
                  </a:lnTo>
                  <a:lnTo>
                    <a:pt x="215" y="4"/>
                  </a:lnTo>
                  <a:lnTo>
                    <a:pt x="205" y="1"/>
                  </a:lnTo>
                  <a:lnTo>
                    <a:pt x="196" y="0"/>
                  </a:lnTo>
                  <a:lnTo>
                    <a:pt x="196" y="0"/>
                  </a:lnTo>
                  <a:lnTo>
                    <a:pt x="188" y="0"/>
                  </a:lnTo>
                  <a:lnTo>
                    <a:pt x="181" y="1"/>
                  </a:lnTo>
                  <a:lnTo>
                    <a:pt x="174" y="4"/>
                  </a:lnTo>
                  <a:lnTo>
                    <a:pt x="169" y="7"/>
                  </a:lnTo>
                  <a:lnTo>
                    <a:pt x="162" y="11"/>
                  </a:lnTo>
                  <a:lnTo>
                    <a:pt x="157" y="15"/>
                  </a:lnTo>
                  <a:lnTo>
                    <a:pt x="153" y="20"/>
                  </a:lnTo>
                  <a:lnTo>
                    <a:pt x="149" y="25"/>
                  </a:lnTo>
                  <a:lnTo>
                    <a:pt x="149" y="25"/>
                  </a:lnTo>
                  <a:lnTo>
                    <a:pt x="142" y="24"/>
                  </a:lnTo>
                  <a:lnTo>
                    <a:pt x="137" y="24"/>
                  </a:lnTo>
                  <a:lnTo>
                    <a:pt x="137" y="24"/>
                  </a:lnTo>
                  <a:lnTo>
                    <a:pt x="131" y="24"/>
                  </a:lnTo>
                  <a:lnTo>
                    <a:pt x="126" y="25"/>
                  </a:lnTo>
                  <a:lnTo>
                    <a:pt x="122" y="27"/>
                  </a:lnTo>
                  <a:lnTo>
                    <a:pt x="118" y="30"/>
                  </a:lnTo>
                  <a:lnTo>
                    <a:pt x="114" y="34"/>
                  </a:lnTo>
                  <a:lnTo>
                    <a:pt x="110" y="38"/>
                  </a:lnTo>
                  <a:lnTo>
                    <a:pt x="107" y="42"/>
                  </a:lnTo>
                  <a:lnTo>
                    <a:pt x="106" y="47"/>
                  </a:lnTo>
                  <a:lnTo>
                    <a:pt x="8" y="47"/>
                  </a:lnTo>
                  <a:lnTo>
                    <a:pt x="8" y="47"/>
                  </a:lnTo>
                  <a:lnTo>
                    <a:pt x="4" y="47"/>
                  </a:lnTo>
                  <a:lnTo>
                    <a:pt x="1" y="50"/>
                  </a:lnTo>
                  <a:lnTo>
                    <a:pt x="0" y="52"/>
                  </a:lnTo>
                  <a:lnTo>
                    <a:pt x="0" y="55"/>
                  </a:lnTo>
                  <a:lnTo>
                    <a:pt x="0" y="55"/>
                  </a:lnTo>
                  <a:lnTo>
                    <a:pt x="0" y="59"/>
                  </a:lnTo>
                  <a:lnTo>
                    <a:pt x="1" y="62"/>
                  </a:lnTo>
                  <a:lnTo>
                    <a:pt x="4" y="63"/>
                  </a:lnTo>
                  <a:lnTo>
                    <a:pt x="8" y="64"/>
                  </a:lnTo>
                  <a:lnTo>
                    <a:pt x="360" y="64"/>
                  </a:lnTo>
                  <a:lnTo>
                    <a:pt x="360" y="64"/>
                  </a:lnTo>
                  <a:lnTo>
                    <a:pt x="362" y="63"/>
                  </a:lnTo>
                  <a:lnTo>
                    <a:pt x="365" y="62"/>
                  </a:lnTo>
                  <a:lnTo>
                    <a:pt x="368" y="59"/>
                  </a:lnTo>
                  <a:lnTo>
                    <a:pt x="368" y="55"/>
                  </a:lnTo>
                  <a:lnTo>
                    <a:pt x="368" y="55"/>
                  </a:lnTo>
                  <a:lnTo>
                    <a:pt x="368" y="52"/>
                  </a:lnTo>
                  <a:lnTo>
                    <a:pt x="365" y="50"/>
                  </a:lnTo>
                  <a:lnTo>
                    <a:pt x="362" y="47"/>
                  </a:lnTo>
                  <a:lnTo>
                    <a:pt x="360" y="47"/>
                  </a:lnTo>
                  <a:lnTo>
                    <a:pt x="360" y="4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sp>
        <p:nvSpPr>
          <p:cNvPr id="188" name="Oval 187"/>
          <p:cNvSpPr/>
          <p:nvPr/>
        </p:nvSpPr>
        <p:spPr>
          <a:xfrm>
            <a:off x="8341349" y="5522394"/>
            <a:ext cx="661804" cy="661804"/>
          </a:xfrm>
          <a:prstGeom prst="ellipse">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189" name="Freeform 283"/>
          <p:cNvSpPr>
            <a:spLocks/>
          </p:cNvSpPr>
          <p:nvPr/>
        </p:nvSpPr>
        <p:spPr bwMode="auto">
          <a:xfrm>
            <a:off x="8290552" y="5305445"/>
            <a:ext cx="254000" cy="225425"/>
          </a:xfrm>
          <a:custGeom>
            <a:avLst/>
            <a:gdLst>
              <a:gd name="T0" fmla="*/ 293 w 320"/>
              <a:gd name="T1" fmla="*/ 27 h 285"/>
              <a:gd name="T2" fmla="*/ 279 w 320"/>
              <a:gd name="T3" fmla="*/ 15 h 285"/>
              <a:gd name="T4" fmla="*/ 265 w 320"/>
              <a:gd name="T5" fmla="*/ 7 h 285"/>
              <a:gd name="T6" fmla="*/ 247 w 320"/>
              <a:gd name="T7" fmla="*/ 1 h 285"/>
              <a:gd name="T8" fmla="*/ 230 w 320"/>
              <a:gd name="T9" fmla="*/ 0 h 285"/>
              <a:gd name="T10" fmla="*/ 219 w 320"/>
              <a:gd name="T11" fmla="*/ 0 h 285"/>
              <a:gd name="T12" fmla="*/ 200 w 320"/>
              <a:gd name="T13" fmla="*/ 5 h 285"/>
              <a:gd name="T14" fmla="*/ 181 w 320"/>
              <a:gd name="T15" fmla="*/ 13 h 285"/>
              <a:gd name="T16" fmla="*/ 167 w 320"/>
              <a:gd name="T17" fmla="*/ 27 h 285"/>
              <a:gd name="T18" fmla="*/ 160 w 320"/>
              <a:gd name="T19" fmla="*/ 34 h 285"/>
              <a:gd name="T20" fmla="*/ 145 w 320"/>
              <a:gd name="T21" fmla="*/ 20 h 285"/>
              <a:gd name="T22" fmla="*/ 129 w 320"/>
              <a:gd name="T23" fmla="*/ 9 h 285"/>
              <a:gd name="T24" fmla="*/ 110 w 320"/>
              <a:gd name="T25" fmla="*/ 3 h 285"/>
              <a:gd name="T26" fmla="*/ 89 w 320"/>
              <a:gd name="T27" fmla="*/ 0 h 285"/>
              <a:gd name="T28" fmla="*/ 80 w 320"/>
              <a:gd name="T29" fmla="*/ 0 h 285"/>
              <a:gd name="T30" fmla="*/ 63 w 320"/>
              <a:gd name="T31" fmla="*/ 4 h 285"/>
              <a:gd name="T32" fmla="*/ 47 w 320"/>
              <a:gd name="T33" fmla="*/ 11 h 285"/>
              <a:gd name="T34" fmla="*/ 32 w 320"/>
              <a:gd name="T35" fmla="*/ 20 h 285"/>
              <a:gd name="T36" fmla="*/ 25 w 320"/>
              <a:gd name="T37" fmla="*/ 27 h 285"/>
              <a:gd name="T38" fmla="*/ 15 w 320"/>
              <a:gd name="T39" fmla="*/ 40 h 285"/>
              <a:gd name="T40" fmla="*/ 5 w 320"/>
              <a:gd name="T41" fmla="*/ 56 h 285"/>
              <a:gd name="T42" fmla="*/ 1 w 320"/>
              <a:gd name="T43" fmla="*/ 73 h 285"/>
              <a:gd name="T44" fmla="*/ 0 w 320"/>
              <a:gd name="T45" fmla="*/ 90 h 285"/>
              <a:gd name="T46" fmla="*/ 1 w 320"/>
              <a:gd name="T47" fmla="*/ 108 h 285"/>
              <a:gd name="T48" fmla="*/ 5 w 320"/>
              <a:gd name="T49" fmla="*/ 124 h 285"/>
              <a:gd name="T50" fmla="*/ 15 w 320"/>
              <a:gd name="T51" fmla="*/ 138 h 285"/>
              <a:gd name="T52" fmla="*/ 25 w 320"/>
              <a:gd name="T53" fmla="*/ 153 h 285"/>
              <a:gd name="T54" fmla="*/ 156 w 320"/>
              <a:gd name="T55" fmla="*/ 284 h 285"/>
              <a:gd name="T56" fmla="*/ 160 w 320"/>
              <a:gd name="T57" fmla="*/ 285 h 285"/>
              <a:gd name="T58" fmla="*/ 161 w 320"/>
              <a:gd name="T59" fmla="*/ 285 h 285"/>
              <a:gd name="T60" fmla="*/ 293 w 320"/>
              <a:gd name="T61" fmla="*/ 153 h 285"/>
              <a:gd name="T62" fmla="*/ 300 w 320"/>
              <a:gd name="T63" fmla="*/ 147 h 285"/>
              <a:gd name="T64" fmla="*/ 309 w 320"/>
              <a:gd name="T65" fmla="*/ 132 h 285"/>
              <a:gd name="T66" fmla="*/ 316 w 320"/>
              <a:gd name="T67" fmla="*/ 116 h 285"/>
              <a:gd name="T68" fmla="*/ 320 w 320"/>
              <a:gd name="T69" fmla="*/ 98 h 285"/>
              <a:gd name="T70" fmla="*/ 320 w 320"/>
              <a:gd name="T71" fmla="*/ 81 h 285"/>
              <a:gd name="T72" fmla="*/ 316 w 320"/>
              <a:gd name="T73" fmla="*/ 65 h 285"/>
              <a:gd name="T74" fmla="*/ 309 w 320"/>
              <a:gd name="T75" fmla="*/ 48 h 285"/>
              <a:gd name="T76" fmla="*/ 300 w 320"/>
              <a:gd name="T77" fmla="*/ 34 h 285"/>
              <a:gd name="T78" fmla="*/ 293 w 320"/>
              <a:gd name="T79" fmla="*/ 27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0" h="285">
                <a:moveTo>
                  <a:pt x="293" y="27"/>
                </a:moveTo>
                <a:lnTo>
                  <a:pt x="293" y="27"/>
                </a:lnTo>
                <a:lnTo>
                  <a:pt x="286" y="20"/>
                </a:lnTo>
                <a:lnTo>
                  <a:pt x="279" y="15"/>
                </a:lnTo>
                <a:lnTo>
                  <a:pt x="273" y="11"/>
                </a:lnTo>
                <a:lnTo>
                  <a:pt x="265" y="7"/>
                </a:lnTo>
                <a:lnTo>
                  <a:pt x="257" y="4"/>
                </a:lnTo>
                <a:lnTo>
                  <a:pt x="247" y="1"/>
                </a:lnTo>
                <a:lnTo>
                  <a:pt x="239" y="0"/>
                </a:lnTo>
                <a:lnTo>
                  <a:pt x="230" y="0"/>
                </a:lnTo>
                <a:lnTo>
                  <a:pt x="230" y="0"/>
                </a:lnTo>
                <a:lnTo>
                  <a:pt x="219" y="0"/>
                </a:lnTo>
                <a:lnTo>
                  <a:pt x="210" y="3"/>
                </a:lnTo>
                <a:lnTo>
                  <a:pt x="200" y="5"/>
                </a:lnTo>
                <a:lnTo>
                  <a:pt x="191" y="9"/>
                </a:lnTo>
                <a:lnTo>
                  <a:pt x="181" y="13"/>
                </a:lnTo>
                <a:lnTo>
                  <a:pt x="173" y="20"/>
                </a:lnTo>
                <a:lnTo>
                  <a:pt x="167" y="27"/>
                </a:lnTo>
                <a:lnTo>
                  <a:pt x="160" y="34"/>
                </a:lnTo>
                <a:lnTo>
                  <a:pt x="160" y="34"/>
                </a:lnTo>
                <a:lnTo>
                  <a:pt x="153" y="27"/>
                </a:lnTo>
                <a:lnTo>
                  <a:pt x="145" y="20"/>
                </a:lnTo>
                <a:lnTo>
                  <a:pt x="137" y="13"/>
                </a:lnTo>
                <a:lnTo>
                  <a:pt x="129" y="9"/>
                </a:lnTo>
                <a:lnTo>
                  <a:pt x="119" y="5"/>
                </a:lnTo>
                <a:lnTo>
                  <a:pt x="110" y="3"/>
                </a:lnTo>
                <a:lnTo>
                  <a:pt x="99" y="0"/>
                </a:lnTo>
                <a:lnTo>
                  <a:pt x="89" y="0"/>
                </a:lnTo>
                <a:lnTo>
                  <a:pt x="89" y="0"/>
                </a:lnTo>
                <a:lnTo>
                  <a:pt x="80" y="0"/>
                </a:lnTo>
                <a:lnTo>
                  <a:pt x="71" y="1"/>
                </a:lnTo>
                <a:lnTo>
                  <a:pt x="63" y="4"/>
                </a:lnTo>
                <a:lnTo>
                  <a:pt x="55" y="7"/>
                </a:lnTo>
                <a:lnTo>
                  <a:pt x="47" y="11"/>
                </a:lnTo>
                <a:lnTo>
                  <a:pt x="39" y="15"/>
                </a:lnTo>
                <a:lnTo>
                  <a:pt x="32" y="20"/>
                </a:lnTo>
                <a:lnTo>
                  <a:pt x="25" y="27"/>
                </a:lnTo>
                <a:lnTo>
                  <a:pt x="25" y="27"/>
                </a:lnTo>
                <a:lnTo>
                  <a:pt x="20" y="34"/>
                </a:lnTo>
                <a:lnTo>
                  <a:pt x="15" y="40"/>
                </a:lnTo>
                <a:lnTo>
                  <a:pt x="9" y="48"/>
                </a:lnTo>
                <a:lnTo>
                  <a:pt x="5" y="56"/>
                </a:lnTo>
                <a:lnTo>
                  <a:pt x="3" y="65"/>
                </a:lnTo>
                <a:lnTo>
                  <a:pt x="1" y="73"/>
                </a:lnTo>
                <a:lnTo>
                  <a:pt x="0" y="81"/>
                </a:lnTo>
                <a:lnTo>
                  <a:pt x="0" y="90"/>
                </a:lnTo>
                <a:lnTo>
                  <a:pt x="0" y="98"/>
                </a:lnTo>
                <a:lnTo>
                  <a:pt x="1" y="108"/>
                </a:lnTo>
                <a:lnTo>
                  <a:pt x="3" y="116"/>
                </a:lnTo>
                <a:lnTo>
                  <a:pt x="5" y="124"/>
                </a:lnTo>
                <a:lnTo>
                  <a:pt x="9" y="132"/>
                </a:lnTo>
                <a:lnTo>
                  <a:pt x="15" y="138"/>
                </a:lnTo>
                <a:lnTo>
                  <a:pt x="20" y="147"/>
                </a:lnTo>
                <a:lnTo>
                  <a:pt x="25" y="153"/>
                </a:lnTo>
                <a:lnTo>
                  <a:pt x="156" y="284"/>
                </a:lnTo>
                <a:lnTo>
                  <a:pt x="156" y="284"/>
                </a:lnTo>
                <a:lnTo>
                  <a:pt x="157" y="285"/>
                </a:lnTo>
                <a:lnTo>
                  <a:pt x="160" y="285"/>
                </a:lnTo>
                <a:lnTo>
                  <a:pt x="160" y="285"/>
                </a:lnTo>
                <a:lnTo>
                  <a:pt x="161" y="285"/>
                </a:lnTo>
                <a:lnTo>
                  <a:pt x="162" y="284"/>
                </a:lnTo>
                <a:lnTo>
                  <a:pt x="293" y="153"/>
                </a:lnTo>
                <a:lnTo>
                  <a:pt x="293" y="153"/>
                </a:lnTo>
                <a:lnTo>
                  <a:pt x="300" y="147"/>
                </a:lnTo>
                <a:lnTo>
                  <a:pt x="305" y="138"/>
                </a:lnTo>
                <a:lnTo>
                  <a:pt x="309" y="132"/>
                </a:lnTo>
                <a:lnTo>
                  <a:pt x="313" y="124"/>
                </a:lnTo>
                <a:lnTo>
                  <a:pt x="316" y="116"/>
                </a:lnTo>
                <a:lnTo>
                  <a:pt x="318" y="108"/>
                </a:lnTo>
                <a:lnTo>
                  <a:pt x="320" y="98"/>
                </a:lnTo>
                <a:lnTo>
                  <a:pt x="320" y="90"/>
                </a:lnTo>
                <a:lnTo>
                  <a:pt x="320" y="81"/>
                </a:lnTo>
                <a:lnTo>
                  <a:pt x="318" y="73"/>
                </a:lnTo>
                <a:lnTo>
                  <a:pt x="316" y="65"/>
                </a:lnTo>
                <a:lnTo>
                  <a:pt x="313" y="56"/>
                </a:lnTo>
                <a:lnTo>
                  <a:pt x="309" y="48"/>
                </a:lnTo>
                <a:lnTo>
                  <a:pt x="305" y="40"/>
                </a:lnTo>
                <a:lnTo>
                  <a:pt x="300" y="34"/>
                </a:lnTo>
                <a:lnTo>
                  <a:pt x="293" y="27"/>
                </a:lnTo>
                <a:lnTo>
                  <a:pt x="293"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90" name="Oval 189"/>
          <p:cNvSpPr/>
          <p:nvPr/>
        </p:nvSpPr>
        <p:spPr>
          <a:xfrm>
            <a:off x="8608754" y="5051296"/>
            <a:ext cx="661804" cy="661804"/>
          </a:xfrm>
          <a:prstGeom prst="ellipse">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191" name="Oval 190"/>
          <p:cNvSpPr/>
          <p:nvPr/>
        </p:nvSpPr>
        <p:spPr>
          <a:xfrm>
            <a:off x="8079643" y="5051296"/>
            <a:ext cx="661804" cy="661804"/>
          </a:xfrm>
          <a:prstGeom prst="ellipse">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grpSp>
        <p:nvGrpSpPr>
          <p:cNvPr id="192" name="Group 191"/>
          <p:cNvGrpSpPr>
            <a:grpSpLocks noChangeAspect="1"/>
          </p:cNvGrpSpPr>
          <p:nvPr/>
        </p:nvGrpSpPr>
        <p:grpSpPr>
          <a:xfrm>
            <a:off x="8812524" y="5266128"/>
            <a:ext cx="304800" cy="265113"/>
            <a:chOff x="9467851" y="977900"/>
            <a:chExt cx="304800" cy="265113"/>
          </a:xfrm>
        </p:grpSpPr>
        <p:sp>
          <p:nvSpPr>
            <p:cNvPr id="193" name="Freeform 192"/>
            <p:cNvSpPr>
              <a:spLocks/>
            </p:cNvSpPr>
            <p:nvPr/>
          </p:nvSpPr>
          <p:spPr bwMode="auto">
            <a:xfrm>
              <a:off x="9586913" y="977900"/>
              <a:ext cx="65088" cy="66675"/>
            </a:xfrm>
            <a:custGeom>
              <a:avLst/>
              <a:gdLst>
                <a:gd name="T0" fmla="*/ 40 w 82"/>
                <a:gd name="T1" fmla="*/ 83 h 83"/>
                <a:gd name="T2" fmla="*/ 40 w 82"/>
                <a:gd name="T3" fmla="*/ 83 h 83"/>
                <a:gd name="T4" fmla="*/ 48 w 82"/>
                <a:gd name="T5" fmla="*/ 82 h 83"/>
                <a:gd name="T6" fmla="*/ 56 w 82"/>
                <a:gd name="T7" fmla="*/ 79 h 83"/>
                <a:gd name="T8" fmla="*/ 63 w 82"/>
                <a:gd name="T9" fmla="*/ 75 h 83"/>
                <a:gd name="T10" fmla="*/ 70 w 82"/>
                <a:gd name="T11" fmla="*/ 71 h 83"/>
                <a:gd name="T12" fmla="*/ 75 w 82"/>
                <a:gd name="T13" fmla="*/ 65 h 83"/>
                <a:gd name="T14" fmla="*/ 78 w 82"/>
                <a:gd name="T15" fmla="*/ 58 h 83"/>
                <a:gd name="T16" fmla="*/ 80 w 82"/>
                <a:gd name="T17" fmla="*/ 50 h 83"/>
                <a:gd name="T18" fmla="*/ 82 w 82"/>
                <a:gd name="T19" fmla="*/ 42 h 83"/>
                <a:gd name="T20" fmla="*/ 82 w 82"/>
                <a:gd name="T21" fmla="*/ 42 h 83"/>
                <a:gd name="T22" fmla="*/ 80 w 82"/>
                <a:gd name="T23" fmla="*/ 34 h 83"/>
                <a:gd name="T24" fmla="*/ 78 w 82"/>
                <a:gd name="T25" fmla="*/ 26 h 83"/>
                <a:gd name="T26" fmla="*/ 75 w 82"/>
                <a:gd name="T27" fmla="*/ 19 h 83"/>
                <a:gd name="T28" fmla="*/ 70 w 82"/>
                <a:gd name="T29" fmla="*/ 12 h 83"/>
                <a:gd name="T30" fmla="*/ 63 w 82"/>
                <a:gd name="T31" fmla="*/ 8 h 83"/>
                <a:gd name="T32" fmla="*/ 56 w 82"/>
                <a:gd name="T33" fmla="*/ 4 h 83"/>
                <a:gd name="T34" fmla="*/ 48 w 82"/>
                <a:gd name="T35" fmla="*/ 2 h 83"/>
                <a:gd name="T36" fmla="*/ 40 w 82"/>
                <a:gd name="T37" fmla="*/ 0 h 83"/>
                <a:gd name="T38" fmla="*/ 40 w 82"/>
                <a:gd name="T39" fmla="*/ 0 h 83"/>
                <a:gd name="T40" fmla="*/ 32 w 82"/>
                <a:gd name="T41" fmla="*/ 2 h 83"/>
                <a:gd name="T42" fmla="*/ 24 w 82"/>
                <a:gd name="T43" fmla="*/ 4 h 83"/>
                <a:gd name="T44" fmla="*/ 17 w 82"/>
                <a:gd name="T45" fmla="*/ 8 h 83"/>
                <a:gd name="T46" fmla="*/ 12 w 82"/>
                <a:gd name="T47" fmla="*/ 12 h 83"/>
                <a:gd name="T48" fmla="*/ 6 w 82"/>
                <a:gd name="T49" fmla="*/ 19 h 83"/>
                <a:gd name="T50" fmla="*/ 2 w 82"/>
                <a:gd name="T51" fmla="*/ 26 h 83"/>
                <a:gd name="T52" fmla="*/ 0 w 82"/>
                <a:gd name="T53" fmla="*/ 34 h 83"/>
                <a:gd name="T54" fmla="*/ 0 w 82"/>
                <a:gd name="T55" fmla="*/ 42 h 83"/>
                <a:gd name="T56" fmla="*/ 0 w 82"/>
                <a:gd name="T57" fmla="*/ 42 h 83"/>
                <a:gd name="T58" fmla="*/ 0 w 82"/>
                <a:gd name="T59" fmla="*/ 50 h 83"/>
                <a:gd name="T60" fmla="*/ 2 w 82"/>
                <a:gd name="T61" fmla="*/ 58 h 83"/>
                <a:gd name="T62" fmla="*/ 6 w 82"/>
                <a:gd name="T63" fmla="*/ 65 h 83"/>
                <a:gd name="T64" fmla="*/ 12 w 82"/>
                <a:gd name="T65" fmla="*/ 71 h 83"/>
                <a:gd name="T66" fmla="*/ 17 w 82"/>
                <a:gd name="T67" fmla="*/ 75 h 83"/>
                <a:gd name="T68" fmla="*/ 24 w 82"/>
                <a:gd name="T69" fmla="*/ 79 h 83"/>
                <a:gd name="T70" fmla="*/ 32 w 82"/>
                <a:gd name="T71" fmla="*/ 82 h 83"/>
                <a:gd name="T72" fmla="*/ 40 w 82"/>
                <a:gd name="T73" fmla="*/ 83 h 83"/>
                <a:gd name="T74" fmla="*/ 40 w 82"/>
                <a:gd name="T75"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2" h="83">
                  <a:moveTo>
                    <a:pt x="40" y="83"/>
                  </a:moveTo>
                  <a:lnTo>
                    <a:pt x="40" y="83"/>
                  </a:lnTo>
                  <a:lnTo>
                    <a:pt x="48" y="82"/>
                  </a:lnTo>
                  <a:lnTo>
                    <a:pt x="56" y="79"/>
                  </a:lnTo>
                  <a:lnTo>
                    <a:pt x="63" y="75"/>
                  </a:lnTo>
                  <a:lnTo>
                    <a:pt x="70" y="71"/>
                  </a:lnTo>
                  <a:lnTo>
                    <a:pt x="75" y="65"/>
                  </a:lnTo>
                  <a:lnTo>
                    <a:pt x="78" y="58"/>
                  </a:lnTo>
                  <a:lnTo>
                    <a:pt x="80" y="50"/>
                  </a:lnTo>
                  <a:lnTo>
                    <a:pt x="82" y="42"/>
                  </a:lnTo>
                  <a:lnTo>
                    <a:pt x="82" y="42"/>
                  </a:lnTo>
                  <a:lnTo>
                    <a:pt x="80" y="34"/>
                  </a:lnTo>
                  <a:lnTo>
                    <a:pt x="78" y="26"/>
                  </a:lnTo>
                  <a:lnTo>
                    <a:pt x="75" y="19"/>
                  </a:lnTo>
                  <a:lnTo>
                    <a:pt x="70" y="12"/>
                  </a:lnTo>
                  <a:lnTo>
                    <a:pt x="63" y="8"/>
                  </a:lnTo>
                  <a:lnTo>
                    <a:pt x="56" y="4"/>
                  </a:lnTo>
                  <a:lnTo>
                    <a:pt x="48" y="2"/>
                  </a:lnTo>
                  <a:lnTo>
                    <a:pt x="40" y="0"/>
                  </a:lnTo>
                  <a:lnTo>
                    <a:pt x="40" y="0"/>
                  </a:lnTo>
                  <a:lnTo>
                    <a:pt x="32" y="2"/>
                  </a:lnTo>
                  <a:lnTo>
                    <a:pt x="24" y="4"/>
                  </a:lnTo>
                  <a:lnTo>
                    <a:pt x="17" y="8"/>
                  </a:lnTo>
                  <a:lnTo>
                    <a:pt x="12" y="12"/>
                  </a:lnTo>
                  <a:lnTo>
                    <a:pt x="6" y="19"/>
                  </a:lnTo>
                  <a:lnTo>
                    <a:pt x="2" y="26"/>
                  </a:lnTo>
                  <a:lnTo>
                    <a:pt x="0" y="34"/>
                  </a:lnTo>
                  <a:lnTo>
                    <a:pt x="0" y="42"/>
                  </a:lnTo>
                  <a:lnTo>
                    <a:pt x="0" y="42"/>
                  </a:lnTo>
                  <a:lnTo>
                    <a:pt x="0" y="50"/>
                  </a:lnTo>
                  <a:lnTo>
                    <a:pt x="2" y="58"/>
                  </a:lnTo>
                  <a:lnTo>
                    <a:pt x="6" y="65"/>
                  </a:lnTo>
                  <a:lnTo>
                    <a:pt x="12" y="71"/>
                  </a:lnTo>
                  <a:lnTo>
                    <a:pt x="17" y="75"/>
                  </a:lnTo>
                  <a:lnTo>
                    <a:pt x="24" y="79"/>
                  </a:lnTo>
                  <a:lnTo>
                    <a:pt x="32" y="82"/>
                  </a:lnTo>
                  <a:lnTo>
                    <a:pt x="40" y="83"/>
                  </a:lnTo>
                  <a:lnTo>
                    <a:pt x="40" y="8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94" name="Freeform 193"/>
            <p:cNvSpPr>
              <a:spLocks/>
            </p:cNvSpPr>
            <p:nvPr/>
          </p:nvSpPr>
          <p:spPr bwMode="auto">
            <a:xfrm>
              <a:off x="9499601" y="1063625"/>
              <a:ext cx="241300" cy="138113"/>
            </a:xfrm>
            <a:custGeom>
              <a:avLst/>
              <a:gdLst>
                <a:gd name="T0" fmla="*/ 43 w 305"/>
                <a:gd name="T1" fmla="*/ 75 h 174"/>
                <a:gd name="T2" fmla="*/ 53 w 305"/>
                <a:gd name="T3" fmla="*/ 80 h 174"/>
                <a:gd name="T4" fmla="*/ 65 w 305"/>
                <a:gd name="T5" fmla="*/ 79 h 174"/>
                <a:gd name="T6" fmla="*/ 135 w 305"/>
                <a:gd name="T7" fmla="*/ 139 h 174"/>
                <a:gd name="T8" fmla="*/ 47 w 305"/>
                <a:gd name="T9" fmla="*/ 139 h 174"/>
                <a:gd name="T10" fmla="*/ 34 w 305"/>
                <a:gd name="T11" fmla="*/ 145 h 174"/>
                <a:gd name="T12" fmla="*/ 28 w 305"/>
                <a:gd name="T13" fmla="*/ 157 h 174"/>
                <a:gd name="T14" fmla="*/ 31 w 305"/>
                <a:gd name="T15" fmla="*/ 164 h 174"/>
                <a:gd name="T16" fmla="*/ 39 w 305"/>
                <a:gd name="T17" fmla="*/ 173 h 174"/>
                <a:gd name="T18" fmla="*/ 258 w 305"/>
                <a:gd name="T19" fmla="*/ 174 h 174"/>
                <a:gd name="T20" fmla="*/ 265 w 305"/>
                <a:gd name="T21" fmla="*/ 173 h 174"/>
                <a:gd name="T22" fmla="*/ 274 w 305"/>
                <a:gd name="T23" fmla="*/ 164 h 174"/>
                <a:gd name="T24" fmla="*/ 276 w 305"/>
                <a:gd name="T25" fmla="*/ 157 h 174"/>
                <a:gd name="T26" fmla="*/ 270 w 305"/>
                <a:gd name="T27" fmla="*/ 145 h 174"/>
                <a:gd name="T28" fmla="*/ 258 w 305"/>
                <a:gd name="T29" fmla="*/ 139 h 174"/>
                <a:gd name="T30" fmla="*/ 170 w 305"/>
                <a:gd name="T31" fmla="*/ 44 h 174"/>
                <a:gd name="T32" fmla="*/ 241 w 305"/>
                <a:gd name="T33" fmla="*/ 79 h 174"/>
                <a:gd name="T34" fmla="*/ 249 w 305"/>
                <a:gd name="T35" fmla="*/ 80 h 174"/>
                <a:gd name="T36" fmla="*/ 255 w 305"/>
                <a:gd name="T37" fmla="*/ 79 h 174"/>
                <a:gd name="T38" fmla="*/ 300 w 305"/>
                <a:gd name="T39" fmla="*/ 35 h 174"/>
                <a:gd name="T40" fmla="*/ 304 w 305"/>
                <a:gd name="T41" fmla="*/ 28 h 174"/>
                <a:gd name="T42" fmla="*/ 304 w 305"/>
                <a:gd name="T43" fmla="*/ 14 h 174"/>
                <a:gd name="T44" fmla="*/ 300 w 305"/>
                <a:gd name="T45" fmla="*/ 9 h 174"/>
                <a:gd name="T46" fmla="*/ 286 w 305"/>
                <a:gd name="T47" fmla="*/ 4 h 174"/>
                <a:gd name="T48" fmla="*/ 274 w 305"/>
                <a:gd name="T49" fmla="*/ 9 h 174"/>
                <a:gd name="T50" fmla="*/ 167 w 305"/>
                <a:gd name="T51" fmla="*/ 2 h 174"/>
                <a:gd name="T52" fmla="*/ 160 w 305"/>
                <a:gd name="T53" fmla="*/ 0 h 174"/>
                <a:gd name="T54" fmla="*/ 144 w 305"/>
                <a:gd name="T55" fmla="*/ 0 h 174"/>
                <a:gd name="T56" fmla="*/ 61 w 305"/>
                <a:gd name="T57" fmla="*/ 41 h 174"/>
                <a:gd name="T58" fmla="*/ 30 w 305"/>
                <a:gd name="T59" fmla="*/ 9 h 174"/>
                <a:gd name="T60" fmla="*/ 18 w 305"/>
                <a:gd name="T61" fmla="*/ 4 h 174"/>
                <a:gd name="T62" fmla="*/ 6 w 305"/>
                <a:gd name="T63" fmla="*/ 9 h 174"/>
                <a:gd name="T64" fmla="*/ 2 w 305"/>
                <a:gd name="T65" fmla="*/ 14 h 174"/>
                <a:gd name="T66" fmla="*/ 0 w 305"/>
                <a:gd name="T67" fmla="*/ 28 h 174"/>
                <a:gd name="T68" fmla="*/ 43 w 305"/>
                <a:gd name="T69" fmla="*/ 75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5" h="174">
                  <a:moveTo>
                    <a:pt x="43" y="75"/>
                  </a:moveTo>
                  <a:lnTo>
                    <a:pt x="43" y="75"/>
                  </a:lnTo>
                  <a:lnTo>
                    <a:pt x="49" y="79"/>
                  </a:lnTo>
                  <a:lnTo>
                    <a:pt x="53" y="80"/>
                  </a:lnTo>
                  <a:lnTo>
                    <a:pt x="59" y="80"/>
                  </a:lnTo>
                  <a:lnTo>
                    <a:pt x="65" y="79"/>
                  </a:lnTo>
                  <a:lnTo>
                    <a:pt x="135" y="44"/>
                  </a:lnTo>
                  <a:lnTo>
                    <a:pt x="135" y="139"/>
                  </a:lnTo>
                  <a:lnTo>
                    <a:pt x="47" y="139"/>
                  </a:lnTo>
                  <a:lnTo>
                    <a:pt x="47" y="139"/>
                  </a:lnTo>
                  <a:lnTo>
                    <a:pt x="39" y="141"/>
                  </a:lnTo>
                  <a:lnTo>
                    <a:pt x="34" y="145"/>
                  </a:lnTo>
                  <a:lnTo>
                    <a:pt x="31" y="150"/>
                  </a:lnTo>
                  <a:lnTo>
                    <a:pt x="28" y="157"/>
                  </a:lnTo>
                  <a:lnTo>
                    <a:pt x="28" y="157"/>
                  </a:lnTo>
                  <a:lnTo>
                    <a:pt x="31" y="164"/>
                  </a:lnTo>
                  <a:lnTo>
                    <a:pt x="34" y="169"/>
                  </a:lnTo>
                  <a:lnTo>
                    <a:pt x="39" y="173"/>
                  </a:lnTo>
                  <a:lnTo>
                    <a:pt x="47" y="174"/>
                  </a:lnTo>
                  <a:lnTo>
                    <a:pt x="258" y="174"/>
                  </a:lnTo>
                  <a:lnTo>
                    <a:pt x="258" y="174"/>
                  </a:lnTo>
                  <a:lnTo>
                    <a:pt x="265" y="173"/>
                  </a:lnTo>
                  <a:lnTo>
                    <a:pt x="270" y="169"/>
                  </a:lnTo>
                  <a:lnTo>
                    <a:pt x="274" y="164"/>
                  </a:lnTo>
                  <a:lnTo>
                    <a:pt x="276" y="157"/>
                  </a:lnTo>
                  <a:lnTo>
                    <a:pt x="276" y="157"/>
                  </a:lnTo>
                  <a:lnTo>
                    <a:pt x="274" y="150"/>
                  </a:lnTo>
                  <a:lnTo>
                    <a:pt x="270" y="145"/>
                  </a:lnTo>
                  <a:lnTo>
                    <a:pt x="265" y="141"/>
                  </a:lnTo>
                  <a:lnTo>
                    <a:pt x="258" y="139"/>
                  </a:lnTo>
                  <a:lnTo>
                    <a:pt x="170" y="139"/>
                  </a:lnTo>
                  <a:lnTo>
                    <a:pt x="170" y="44"/>
                  </a:lnTo>
                  <a:lnTo>
                    <a:pt x="241" y="79"/>
                  </a:lnTo>
                  <a:lnTo>
                    <a:pt x="241" y="79"/>
                  </a:lnTo>
                  <a:lnTo>
                    <a:pt x="245" y="80"/>
                  </a:lnTo>
                  <a:lnTo>
                    <a:pt x="249" y="80"/>
                  </a:lnTo>
                  <a:lnTo>
                    <a:pt x="249" y="80"/>
                  </a:lnTo>
                  <a:lnTo>
                    <a:pt x="255" y="79"/>
                  </a:lnTo>
                  <a:lnTo>
                    <a:pt x="261" y="75"/>
                  </a:lnTo>
                  <a:lnTo>
                    <a:pt x="300" y="35"/>
                  </a:lnTo>
                  <a:lnTo>
                    <a:pt x="300" y="35"/>
                  </a:lnTo>
                  <a:lnTo>
                    <a:pt x="304" y="28"/>
                  </a:lnTo>
                  <a:lnTo>
                    <a:pt x="305" y="21"/>
                  </a:lnTo>
                  <a:lnTo>
                    <a:pt x="304" y="14"/>
                  </a:lnTo>
                  <a:lnTo>
                    <a:pt x="300" y="9"/>
                  </a:lnTo>
                  <a:lnTo>
                    <a:pt x="300" y="9"/>
                  </a:lnTo>
                  <a:lnTo>
                    <a:pt x="293" y="5"/>
                  </a:lnTo>
                  <a:lnTo>
                    <a:pt x="286" y="4"/>
                  </a:lnTo>
                  <a:lnTo>
                    <a:pt x="280" y="5"/>
                  </a:lnTo>
                  <a:lnTo>
                    <a:pt x="274" y="9"/>
                  </a:lnTo>
                  <a:lnTo>
                    <a:pt x="245" y="41"/>
                  </a:lnTo>
                  <a:lnTo>
                    <a:pt x="167" y="2"/>
                  </a:lnTo>
                  <a:lnTo>
                    <a:pt x="167" y="2"/>
                  </a:lnTo>
                  <a:lnTo>
                    <a:pt x="160" y="0"/>
                  </a:lnTo>
                  <a:lnTo>
                    <a:pt x="152" y="0"/>
                  </a:lnTo>
                  <a:lnTo>
                    <a:pt x="144" y="0"/>
                  </a:lnTo>
                  <a:lnTo>
                    <a:pt x="137" y="2"/>
                  </a:lnTo>
                  <a:lnTo>
                    <a:pt x="61" y="41"/>
                  </a:lnTo>
                  <a:lnTo>
                    <a:pt x="30" y="9"/>
                  </a:lnTo>
                  <a:lnTo>
                    <a:pt x="30" y="9"/>
                  </a:lnTo>
                  <a:lnTo>
                    <a:pt x="24" y="5"/>
                  </a:lnTo>
                  <a:lnTo>
                    <a:pt x="18" y="4"/>
                  </a:lnTo>
                  <a:lnTo>
                    <a:pt x="11" y="5"/>
                  </a:lnTo>
                  <a:lnTo>
                    <a:pt x="6" y="9"/>
                  </a:lnTo>
                  <a:lnTo>
                    <a:pt x="6" y="9"/>
                  </a:lnTo>
                  <a:lnTo>
                    <a:pt x="2" y="14"/>
                  </a:lnTo>
                  <a:lnTo>
                    <a:pt x="0" y="21"/>
                  </a:lnTo>
                  <a:lnTo>
                    <a:pt x="0" y="28"/>
                  </a:lnTo>
                  <a:lnTo>
                    <a:pt x="4" y="35"/>
                  </a:lnTo>
                  <a:lnTo>
                    <a:pt x="43" y="7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95" name="Freeform 194"/>
            <p:cNvSpPr>
              <a:spLocks/>
            </p:cNvSpPr>
            <p:nvPr/>
          </p:nvSpPr>
          <p:spPr bwMode="auto">
            <a:xfrm>
              <a:off x="9467851" y="1227138"/>
              <a:ext cx="304800" cy="15875"/>
            </a:xfrm>
            <a:custGeom>
              <a:avLst/>
              <a:gdLst>
                <a:gd name="T0" fmla="*/ 374 w 383"/>
                <a:gd name="T1" fmla="*/ 0 h 18"/>
                <a:gd name="T2" fmla="*/ 10 w 383"/>
                <a:gd name="T3" fmla="*/ 0 h 18"/>
                <a:gd name="T4" fmla="*/ 10 w 383"/>
                <a:gd name="T5" fmla="*/ 0 h 18"/>
                <a:gd name="T6" fmla="*/ 6 w 383"/>
                <a:gd name="T7" fmla="*/ 0 h 18"/>
                <a:gd name="T8" fmla="*/ 3 w 383"/>
                <a:gd name="T9" fmla="*/ 2 h 18"/>
                <a:gd name="T10" fmla="*/ 0 w 383"/>
                <a:gd name="T11" fmla="*/ 5 h 18"/>
                <a:gd name="T12" fmla="*/ 0 w 383"/>
                <a:gd name="T13" fmla="*/ 9 h 18"/>
                <a:gd name="T14" fmla="*/ 0 w 383"/>
                <a:gd name="T15" fmla="*/ 9 h 18"/>
                <a:gd name="T16" fmla="*/ 0 w 383"/>
                <a:gd name="T17" fmla="*/ 12 h 18"/>
                <a:gd name="T18" fmla="*/ 3 w 383"/>
                <a:gd name="T19" fmla="*/ 16 h 18"/>
                <a:gd name="T20" fmla="*/ 6 w 383"/>
                <a:gd name="T21" fmla="*/ 17 h 18"/>
                <a:gd name="T22" fmla="*/ 10 w 383"/>
                <a:gd name="T23" fmla="*/ 18 h 18"/>
                <a:gd name="T24" fmla="*/ 374 w 383"/>
                <a:gd name="T25" fmla="*/ 18 h 18"/>
                <a:gd name="T26" fmla="*/ 374 w 383"/>
                <a:gd name="T27" fmla="*/ 18 h 18"/>
                <a:gd name="T28" fmla="*/ 376 w 383"/>
                <a:gd name="T29" fmla="*/ 17 h 18"/>
                <a:gd name="T30" fmla="*/ 380 w 383"/>
                <a:gd name="T31" fmla="*/ 16 h 18"/>
                <a:gd name="T32" fmla="*/ 382 w 383"/>
                <a:gd name="T33" fmla="*/ 12 h 18"/>
                <a:gd name="T34" fmla="*/ 383 w 383"/>
                <a:gd name="T35" fmla="*/ 9 h 18"/>
                <a:gd name="T36" fmla="*/ 383 w 383"/>
                <a:gd name="T37" fmla="*/ 9 h 18"/>
                <a:gd name="T38" fmla="*/ 382 w 383"/>
                <a:gd name="T39" fmla="*/ 5 h 18"/>
                <a:gd name="T40" fmla="*/ 380 w 383"/>
                <a:gd name="T41" fmla="*/ 2 h 18"/>
                <a:gd name="T42" fmla="*/ 376 w 383"/>
                <a:gd name="T43" fmla="*/ 0 h 18"/>
                <a:gd name="T44" fmla="*/ 374 w 383"/>
                <a:gd name="T45" fmla="*/ 0 h 18"/>
                <a:gd name="T46" fmla="*/ 374 w 383"/>
                <a:gd name="T4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3" h="18">
                  <a:moveTo>
                    <a:pt x="374" y="0"/>
                  </a:moveTo>
                  <a:lnTo>
                    <a:pt x="10" y="0"/>
                  </a:lnTo>
                  <a:lnTo>
                    <a:pt x="10" y="0"/>
                  </a:lnTo>
                  <a:lnTo>
                    <a:pt x="6" y="0"/>
                  </a:lnTo>
                  <a:lnTo>
                    <a:pt x="3" y="2"/>
                  </a:lnTo>
                  <a:lnTo>
                    <a:pt x="0" y="5"/>
                  </a:lnTo>
                  <a:lnTo>
                    <a:pt x="0" y="9"/>
                  </a:lnTo>
                  <a:lnTo>
                    <a:pt x="0" y="9"/>
                  </a:lnTo>
                  <a:lnTo>
                    <a:pt x="0" y="12"/>
                  </a:lnTo>
                  <a:lnTo>
                    <a:pt x="3" y="16"/>
                  </a:lnTo>
                  <a:lnTo>
                    <a:pt x="6" y="17"/>
                  </a:lnTo>
                  <a:lnTo>
                    <a:pt x="10" y="18"/>
                  </a:lnTo>
                  <a:lnTo>
                    <a:pt x="374" y="18"/>
                  </a:lnTo>
                  <a:lnTo>
                    <a:pt x="374" y="18"/>
                  </a:lnTo>
                  <a:lnTo>
                    <a:pt x="376" y="17"/>
                  </a:lnTo>
                  <a:lnTo>
                    <a:pt x="380" y="16"/>
                  </a:lnTo>
                  <a:lnTo>
                    <a:pt x="382" y="12"/>
                  </a:lnTo>
                  <a:lnTo>
                    <a:pt x="383" y="9"/>
                  </a:lnTo>
                  <a:lnTo>
                    <a:pt x="383" y="9"/>
                  </a:lnTo>
                  <a:lnTo>
                    <a:pt x="382" y="5"/>
                  </a:lnTo>
                  <a:lnTo>
                    <a:pt x="380" y="2"/>
                  </a:lnTo>
                  <a:lnTo>
                    <a:pt x="376" y="0"/>
                  </a:lnTo>
                  <a:lnTo>
                    <a:pt x="374" y="0"/>
                  </a:lnTo>
                  <a:lnTo>
                    <a:pt x="37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196" name="Group 195"/>
          <p:cNvGrpSpPr/>
          <p:nvPr/>
        </p:nvGrpSpPr>
        <p:grpSpPr>
          <a:xfrm>
            <a:off x="4452735" y="2280314"/>
            <a:ext cx="3125338" cy="234282"/>
            <a:chOff x="4769583" y="1991213"/>
            <a:chExt cx="3113083" cy="233363"/>
          </a:xfrm>
        </p:grpSpPr>
        <p:grpSp>
          <p:nvGrpSpPr>
            <p:cNvPr id="197" name="Group 196"/>
            <p:cNvGrpSpPr>
              <a:grpSpLocks noChangeAspect="1"/>
            </p:cNvGrpSpPr>
            <p:nvPr/>
          </p:nvGrpSpPr>
          <p:grpSpPr>
            <a:xfrm>
              <a:off x="4769583" y="1991213"/>
              <a:ext cx="174625" cy="233363"/>
              <a:chOff x="1608138" y="5978525"/>
              <a:chExt cx="174625" cy="233363"/>
            </a:xfrm>
          </p:grpSpPr>
          <p:sp>
            <p:nvSpPr>
              <p:cNvPr id="225" name="Freeform 287"/>
              <p:cNvSpPr>
                <a:spLocks/>
              </p:cNvSpPr>
              <p:nvPr/>
            </p:nvSpPr>
            <p:spPr bwMode="auto">
              <a:xfrm>
                <a:off x="1608138" y="6022975"/>
                <a:ext cx="174625" cy="188913"/>
              </a:xfrm>
              <a:custGeom>
                <a:avLst/>
                <a:gdLst>
                  <a:gd name="T0" fmla="*/ 215 w 219"/>
                  <a:gd name="T1" fmla="*/ 0 h 238"/>
                  <a:gd name="T2" fmla="*/ 172 w 219"/>
                  <a:gd name="T3" fmla="*/ 0 h 238"/>
                  <a:gd name="T4" fmla="*/ 172 w 219"/>
                  <a:gd name="T5" fmla="*/ 34 h 238"/>
                  <a:gd name="T6" fmla="*/ 172 w 219"/>
                  <a:gd name="T7" fmla="*/ 34 h 238"/>
                  <a:gd name="T8" fmla="*/ 171 w 219"/>
                  <a:gd name="T9" fmla="*/ 39 h 238"/>
                  <a:gd name="T10" fmla="*/ 168 w 219"/>
                  <a:gd name="T11" fmla="*/ 44 h 238"/>
                  <a:gd name="T12" fmla="*/ 163 w 219"/>
                  <a:gd name="T13" fmla="*/ 47 h 238"/>
                  <a:gd name="T14" fmla="*/ 158 w 219"/>
                  <a:gd name="T15" fmla="*/ 48 h 238"/>
                  <a:gd name="T16" fmla="*/ 158 w 219"/>
                  <a:gd name="T17" fmla="*/ 48 h 238"/>
                  <a:gd name="T18" fmla="*/ 152 w 219"/>
                  <a:gd name="T19" fmla="*/ 47 h 238"/>
                  <a:gd name="T20" fmla="*/ 148 w 219"/>
                  <a:gd name="T21" fmla="*/ 44 h 238"/>
                  <a:gd name="T22" fmla="*/ 144 w 219"/>
                  <a:gd name="T23" fmla="*/ 39 h 238"/>
                  <a:gd name="T24" fmla="*/ 144 w 219"/>
                  <a:gd name="T25" fmla="*/ 34 h 238"/>
                  <a:gd name="T26" fmla="*/ 144 w 219"/>
                  <a:gd name="T27" fmla="*/ 0 h 238"/>
                  <a:gd name="T28" fmla="*/ 77 w 219"/>
                  <a:gd name="T29" fmla="*/ 0 h 238"/>
                  <a:gd name="T30" fmla="*/ 77 w 219"/>
                  <a:gd name="T31" fmla="*/ 34 h 238"/>
                  <a:gd name="T32" fmla="*/ 77 w 219"/>
                  <a:gd name="T33" fmla="*/ 34 h 238"/>
                  <a:gd name="T34" fmla="*/ 76 w 219"/>
                  <a:gd name="T35" fmla="*/ 39 h 238"/>
                  <a:gd name="T36" fmla="*/ 73 w 219"/>
                  <a:gd name="T37" fmla="*/ 44 h 238"/>
                  <a:gd name="T38" fmla="*/ 69 w 219"/>
                  <a:gd name="T39" fmla="*/ 47 h 238"/>
                  <a:gd name="T40" fmla="*/ 62 w 219"/>
                  <a:gd name="T41" fmla="*/ 48 h 238"/>
                  <a:gd name="T42" fmla="*/ 62 w 219"/>
                  <a:gd name="T43" fmla="*/ 48 h 238"/>
                  <a:gd name="T44" fmla="*/ 57 w 219"/>
                  <a:gd name="T45" fmla="*/ 47 h 238"/>
                  <a:gd name="T46" fmla="*/ 53 w 219"/>
                  <a:gd name="T47" fmla="*/ 44 h 238"/>
                  <a:gd name="T48" fmla="*/ 50 w 219"/>
                  <a:gd name="T49" fmla="*/ 39 h 238"/>
                  <a:gd name="T50" fmla="*/ 49 w 219"/>
                  <a:gd name="T51" fmla="*/ 34 h 238"/>
                  <a:gd name="T52" fmla="*/ 49 w 219"/>
                  <a:gd name="T53" fmla="*/ 0 h 238"/>
                  <a:gd name="T54" fmla="*/ 6 w 219"/>
                  <a:gd name="T55" fmla="*/ 0 h 238"/>
                  <a:gd name="T56" fmla="*/ 6 w 219"/>
                  <a:gd name="T57" fmla="*/ 0 h 238"/>
                  <a:gd name="T58" fmla="*/ 2 w 219"/>
                  <a:gd name="T59" fmla="*/ 1 h 238"/>
                  <a:gd name="T60" fmla="*/ 0 w 219"/>
                  <a:gd name="T61" fmla="*/ 5 h 238"/>
                  <a:gd name="T62" fmla="*/ 0 w 219"/>
                  <a:gd name="T63" fmla="*/ 234 h 238"/>
                  <a:gd name="T64" fmla="*/ 0 w 219"/>
                  <a:gd name="T65" fmla="*/ 234 h 238"/>
                  <a:gd name="T66" fmla="*/ 2 w 219"/>
                  <a:gd name="T67" fmla="*/ 236 h 238"/>
                  <a:gd name="T68" fmla="*/ 6 w 219"/>
                  <a:gd name="T69" fmla="*/ 238 h 238"/>
                  <a:gd name="T70" fmla="*/ 215 w 219"/>
                  <a:gd name="T71" fmla="*/ 238 h 238"/>
                  <a:gd name="T72" fmla="*/ 215 w 219"/>
                  <a:gd name="T73" fmla="*/ 238 h 238"/>
                  <a:gd name="T74" fmla="*/ 218 w 219"/>
                  <a:gd name="T75" fmla="*/ 236 h 238"/>
                  <a:gd name="T76" fmla="*/ 219 w 219"/>
                  <a:gd name="T77" fmla="*/ 234 h 238"/>
                  <a:gd name="T78" fmla="*/ 219 w 219"/>
                  <a:gd name="T79" fmla="*/ 5 h 238"/>
                  <a:gd name="T80" fmla="*/ 219 w 219"/>
                  <a:gd name="T81" fmla="*/ 5 h 238"/>
                  <a:gd name="T82" fmla="*/ 218 w 219"/>
                  <a:gd name="T83" fmla="*/ 1 h 238"/>
                  <a:gd name="T84" fmla="*/ 215 w 219"/>
                  <a:gd name="T85" fmla="*/ 0 h 238"/>
                  <a:gd name="T86" fmla="*/ 215 w 219"/>
                  <a:gd name="T87"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9" h="238">
                    <a:moveTo>
                      <a:pt x="215" y="0"/>
                    </a:moveTo>
                    <a:lnTo>
                      <a:pt x="172" y="0"/>
                    </a:lnTo>
                    <a:lnTo>
                      <a:pt x="172" y="34"/>
                    </a:lnTo>
                    <a:lnTo>
                      <a:pt x="172" y="34"/>
                    </a:lnTo>
                    <a:lnTo>
                      <a:pt x="171" y="39"/>
                    </a:lnTo>
                    <a:lnTo>
                      <a:pt x="168" y="44"/>
                    </a:lnTo>
                    <a:lnTo>
                      <a:pt x="163" y="47"/>
                    </a:lnTo>
                    <a:lnTo>
                      <a:pt x="158" y="48"/>
                    </a:lnTo>
                    <a:lnTo>
                      <a:pt x="158" y="48"/>
                    </a:lnTo>
                    <a:lnTo>
                      <a:pt x="152" y="47"/>
                    </a:lnTo>
                    <a:lnTo>
                      <a:pt x="148" y="44"/>
                    </a:lnTo>
                    <a:lnTo>
                      <a:pt x="144" y="39"/>
                    </a:lnTo>
                    <a:lnTo>
                      <a:pt x="144" y="34"/>
                    </a:lnTo>
                    <a:lnTo>
                      <a:pt x="144" y="0"/>
                    </a:lnTo>
                    <a:lnTo>
                      <a:pt x="77" y="0"/>
                    </a:lnTo>
                    <a:lnTo>
                      <a:pt x="77" y="34"/>
                    </a:lnTo>
                    <a:lnTo>
                      <a:pt x="77" y="34"/>
                    </a:lnTo>
                    <a:lnTo>
                      <a:pt x="76" y="39"/>
                    </a:lnTo>
                    <a:lnTo>
                      <a:pt x="73" y="44"/>
                    </a:lnTo>
                    <a:lnTo>
                      <a:pt x="69" y="47"/>
                    </a:lnTo>
                    <a:lnTo>
                      <a:pt x="62" y="48"/>
                    </a:lnTo>
                    <a:lnTo>
                      <a:pt x="62" y="48"/>
                    </a:lnTo>
                    <a:lnTo>
                      <a:pt x="57" y="47"/>
                    </a:lnTo>
                    <a:lnTo>
                      <a:pt x="53" y="44"/>
                    </a:lnTo>
                    <a:lnTo>
                      <a:pt x="50" y="39"/>
                    </a:lnTo>
                    <a:lnTo>
                      <a:pt x="49" y="34"/>
                    </a:lnTo>
                    <a:lnTo>
                      <a:pt x="49" y="0"/>
                    </a:lnTo>
                    <a:lnTo>
                      <a:pt x="6" y="0"/>
                    </a:lnTo>
                    <a:lnTo>
                      <a:pt x="6" y="0"/>
                    </a:lnTo>
                    <a:lnTo>
                      <a:pt x="2" y="1"/>
                    </a:lnTo>
                    <a:lnTo>
                      <a:pt x="0" y="5"/>
                    </a:lnTo>
                    <a:lnTo>
                      <a:pt x="0" y="234"/>
                    </a:lnTo>
                    <a:lnTo>
                      <a:pt x="0" y="234"/>
                    </a:lnTo>
                    <a:lnTo>
                      <a:pt x="2" y="236"/>
                    </a:lnTo>
                    <a:lnTo>
                      <a:pt x="6" y="238"/>
                    </a:lnTo>
                    <a:lnTo>
                      <a:pt x="215" y="238"/>
                    </a:lnTo>
                    <a:lnTo>
                      <a:pt x="215" y="238"/>
                    </a:lnTo>
                    <a:lnTo>
                      <a:pt x="218" y="236"/>
                    </a:lnTo>
                    <a:lnTo>
                      <a:pt x="219" y="234"/>
                    </a:lnTo>
                    <a:lnTo>
                      <a:pt x="219" y="5"/>
                    </a:lnTo>
                    <a:lnTo>
                      <a:pt x="219" y="5"/>
                    </a:lnTo>
                    <a:lnTo>
                      <a:pt x="218" y="1"/>
                    </a:lnTo>
                    <a:lnTo>
                      <a:pt x="215" y="0"/>
                    </a:lnTo>
                    <a:lnTo>
                      <a:pt x="21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26" name="Freeform 288"/>
              <p:cNvSpPr>
                <a:spLocks/>
              </p:cNvSpPr>
              <p:nvPr/>
            </p:nvSpPr>
            <p:spPr bwMode="auto">
              <a:xfrm>
                <a:off x="1654176" y="5978525"/>
                <a:ext cx="82550" cy="74613"/>
              </a:xfrm>
              <a:custGeom>
                <a:avLst/>
                <a:gdLst>
                  <a:gd name="T0" fmla="*/ 100 w 105"/>
                  <a:gd name="T1" fmla="*/ 95 h 95"/>
                  <a:gd name="T2" fmla="*/ 100 w 105"/>
                  <a:gd name="T3" fmla="*/ 95 h 95"/>
                  <a:gd name="T4" fmla="*/ 97 w 105"/>
                  <a:gd name="T5" fmla="*/ 94 h 95"/>
                  <a:gd name="T6" fmla="*/ 96 w 105"/>
                  <a:gd name="T7" fmla="*/ 90 h 95"/>
                  <a:gd name="T8" fmla="*/ 96 w 105"/>
                  <a:gd name="T9" fmla="*/ 52 h 95"/>
                  <a:gd name="T10" fmla="*/ 96 w 105"/>
                  <a:gd name="T11" fmla="*/ 52 h 95"/>
                  <a:gd name="T12" fmla="*/ 94 w 105"/>
                  <a:gd name="T13" fmla="*/ 43 h 95"/>
                  <a:gd name="T14" fmla="*/ 92 w 105"/>
                  <a:gd name="T15" fmla="*/ 35 h 95"/>
                  <a:gd name="T16" fmla="*/ 88 w 105"/>
                  <a:gd name="T17" fmla="*/ 28 h 95"/>
                  <a:gd name="T18" fmla="*/ 82 w 105"/>
                  <a:gd name="T19" fmla="*/ 21 h 95"/>
                  <a:gd name="T20" fmla="*/ 77 w 105"/>
                  <a:gd name="T21" fmla="*/ 16 h 95"/>
                  <a:gd name="T22" fmla="*/ 69 w 105"/>
                  <a:gd name="T23" fmla="*/ 12 h 95"/>
                  <a:gd name="T24" fmla="*/ 61 w 105"/>
                  <a:gd name="T25" fmla="*/ 9 h 95"/>
                  <a:gd name="T26" fmla="*/ 53 w 105"/>
                  <a:gd name="T27" fmla="*/ 9 h 95"/>
                  <a:gd name="T28" fmla="*/ 53 w 105"/>
                  <a:gd name="T29" fmla="*/ 9 h 95"/>
                  <a:gd name="T30" fmla="*/ 43 w 105"/>
                  <a:gd name="T31" fmla="*/ 9 h 95"/>
                  <a:gd name="T32" fmla="*/ 35 w 105"/>
                  <a:gd name="T33" fmla="*/ 12 h 95"/>
                  <a:gd name="T34" fmla="*/ 28 w 105"/>
                  <a:gd name="T35" fmla="*/ 16 h 95"/>
                  <a:gd name="T36" fmla="*/ 22 w 105"/>
                  <a:gd name="T37" fmla="*/ 21 h 95"/>
                  <a:gd name="T38" fmla="*/ 16 w 105"/>
                  <a:gd name="T39" fmla="*/ 28 h 95"/>
                  <a:gd name="T40" fmla="*/ 12 w 105"/>
                  <a:gd name="T41" fmla="*/ 35 h 95"/>
                  <a:gd name="T42" fmla="*/ 11 w 105"/>
                  <a:gd name="T43" fmla="*/ 43 h 95"/>
                  <a:gd name="T44" fmla="*/ 10 w 105"/>
                  <a:gd name="T45" fmla="*/ 52 h 95"/>
                  <a:gd name="T46" fmla="*/ 10 w 105"/>
                  <a:gd name="T47" fmla="*/ 90 h 95"/>
                  <a:gd name="T48" fmla="*/ 10 w 105"/>
                  <a:gd name="T49" fmla="*/ 90 h 95"/>
                  <a:gd name="T50" fmla="*/ 8 w 105"/>
                  <a:gd name="T51" fmla="*/ 94 h 95"/>
                  <a:gd name="T52" fmla="*/ 4 w 105"/>
                  <a:gd name="T53" fmla="*/ 95 h 95"/>
                  <a:gd name="T54" fmla="*/ 4 w 105"/>
                  <a:gd name="T55" fmla="*/ 95 h 95"/>
                  <a:gd name="T56" fmla="*/ 2 w 105"/>
                  <a:gd name="T57" fmla="*/ 94 h 95"/>
                  <a:gd name="T58" fmla="*/ 0 w 105"/>
                  <a:gd name="T59" fmla="*/ 90 h 95"/>
                  <a:gd name="T60" fmla="*/ 0 w 105"/>
                  <a:gd name="T61" fmla="*/ 52 h 95"/>
                  <a:gd name="T62" fmla="*/ 0 w 105"/>
                  <a:gd name="T63" fmla="*/ 52 h 95"/>
                  <a:gd name="T64" fmla="*/ 2 w 105"/>
                  <a:gd name="T65" fmla="*/ 41 h 95"/>
                  <a:gd name="T66" fmla="*/ 4 w 105"/>
                  <a:gd name="T67" fmla="*/ 31 h 95"/>
                  <a:gd name="T68" fmla="*/ 8 w 105"/>
                  <a:gd name="T69" fmla="*/ 22 h 95"/>
                  <a:gd name="T70" fmla="*/ 15 w 105"/>
                  <a:gd name="T71" fmla="*/ 14 h 95"/>
                  <a:gd name="T72" fmla="*/ 23 w 105"/>
                  <a:gd name="T73" fmla="*/ 8 h 95"/>
                  <a:gd name="T74" fmla="*/ 32 w 105"/>
                  <a:gd name="T75" fmla="*/ 4 h 95"/>
                  <a:gd name="T76" fmla="*/ 42 w 105"/>
                  <a:gd name="T77" fmla="*/ 1 h 95"/>
                  <a:gd name="T78" fmla="*/ 53 w 105"/>
                  <a:gd name="T79" fmla="*/ 0 h 95"/>
                  <a:gd name="T80" fmla="*/ 53 w 105"/>
                  <a:gd name="T81" fmla="*/ 0 h 95"/>
                  <a:gd name="T82" fmla="*/ 63 w 105"/>
                  <a:gd name="T83" fmla="*/ 1 h 95"/>
                  <a:gd name="T84" fmla="*/ 73 w 105"/>
                  <a:gd name="T85" fmla="*/ 4 h 95"/>
                  <a:gd name="T86" fmla="*/ 82 w 105"/>
                  <a:gd name="T87" fmla="*/ 8 h 95"/>
                  <a:gd name="T88" fmla="*/ 89 w 105"/>
                  <a:gd name="T89" fmla="*/ 14 h 95"/>
                  <a:gd name="T90" fmla="*/ 96 w 105"/>
                  <a:gd name="T91" fmla="*/ 22 h 95"/>
                  <a:gd name="T92" fmla="*/ 101 w 105"/>
                  <a:gd name="T93" fmla="*/ 31 h 95"/>
                  <a:gd name="T94" fmla="*/ 104 w 105"/>
                  <a:gd name="T95" fmla="*/ 41 h 95"/>
                  <a:gd name="T96" fmla="*/ 105 w 105"/>
                  <a:gd name="T97" fmla="*/ 52 h 95"/>
                  <a:gd name="T98" fmla="*/ 105 w 105"/>
                  <a:gd name="T99" fmla="*/ 90 h 95"/>
                  <a:gd name="T100" fmla="*/ 105 w 105"/>
                  <a:gd name="T101" fmla="*/ 90 h 95"/>
                  <a:gd name="T102" fmla="*/ 104 w 105"/>
                  <a:gd name="T103" fmla="*/ 94 h 95"/>
                  <a:gd name="T104" fmla="*/ 100 w 105"/>
                  <a:gd name="T105" fmla="*/ 95 h 95"/>
                  <a:gd name="T106" fmla="*/ 100 w 105"/>
                  <a:gd name="T107"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5" h="95">
                    <a:moveTo>
                      <a:pt x="100" y="95"/>
                    </a:moveTo>
                    <a:lnTo>
                      <a:pt x="100" y="95"/>
                    </a:lnTo>
                    <a:lnTo>
                      <a:pt x="97" y="94"/>
                    </a:lnTo>
                    <a:lnTo>
                      <a:pt x="96" y="90"/>
                    </a:lnTo>
                    <a:lnTo>
                      <a:pt x="96" y="52"/>
                    </a:lnTo>
                    <a:lnTo>
                      <a:pt x="96" y="52"/>
                    </a:lnTo>
                    <a:lnTo>
                      <a:pt x="94" y="43"/>
                    </a:lnTo>
                    <a:lnTo>
                      <a:pt x="92" y="35"/>
                    </a:lnTo>
                    <a:lnTo>
                      <a:pt x="88" y="28"/>
                    </a:lnTo>
                    <a:lnTo>
                      <a:pt x="82" y="21"/>
                    </a:lnTo>
                    <a:lnTo>
                      <a:pt x="77" y="16"/>
                    </a:lnTo>
                    <a:lnTo>
                      <a:pt x="69" y="12"/>
                    </a:lnTo>
                    <a:lnTo>
                      <a:pt x="61" y="9"/>
                    </a:lnTo>
                    <a:lnTo>
                      <a:pt x="53" y="9"/>
                    </a:lnTo>
                    <a:lnTo>
                      <a:pt x="53" y="9"/>
                    </a:lnTo>
                    <a:lnTo>
                      <a:pt x="43" y="9"/>
                    </a:lnTo>
                    <a:lnTo>
                      <a:pt x="35" y="12"/>
                    </a:lnTo>
                    <a:lnTo>
                      <a:pt x="28" y="16"/>
                    </a:lnTo>
                    <a:lnTo>
                      <a:pt x="22" y="21"/>
                    </a:lnTo>
                    <a:lnTo>
                      <a:pt x="16" y="28"/>
                    </a:lnTo>
                    <a:lnTo>
                      <a:pt x="12" y="35"/>
                    </a:lnTo>
                    <a:lnTo>
                      <a:pt x="11" y="43"/>
                    </a:lnTo>
                    <a:lnTo>
                      <a:pt x="10" y="52"/>
                    </a:lnTo>
                    <a:lnTo>
                      <a:pt x="10" y="90"/>
                    </a:lnTo>
                    <a:lnTo>
                      <a:pt x="10" y="90"/>
                    </a:lnTo>
                    <a:lnTo>
                      <a:pt x="8" y="94"/>
                    </a:lnTo>
                    <a:lnTo>
                      <a:pt x="4" y="95"/>
                    </a:lnTo>
                    <a:lnTo>
                      <a:pt x="4" y="95"/>
                    </a:lnTo>
                    <a:lnTo>
                      <a:pt x="2" y="94"/>
                    </a:lnTo>
                    <a:lnTo>
                      <a:pt x="0" y="90"/>
                    </a:lnTo>
                    <a:lnTo>
                      <a:pt x="0" y="52"/>
                    </a:lnTo>
                    <a:lnTo>
                      <a:pt x="0" y="52"/>
                    </a:lnTo>
                    <a:lnTo>
                      <a:pt x="2" y="41"/>
                    </a:lnTo>
                    <a:lnTo>
                      <a:pt x="4" y="31"/>
                    </a:lnTo>
                    <a:lnTo>
                      <a:pt x="8" y="22"/>
                    </a:lnTo>
                    <a:lnTo>
                      <a:pt x="15" y="14"/>
                    </a:lnTo>
                    <a:lnTo>
                      <a:pt x="23" y="8"/>
                    </a:lnTo>
                    <a:lnTo>
                      <a:pt x="32" y="4"/>
                    </a:lnTo>
                    <a:lnTo>
                      <a:pt x="42" y="1"/>
                    </a:lnTo>
                    <a:lnTo>
                      <a:pt x="53" y="0"/>
                    </a:lnTo>
                    <a:lnTo>
                      <a:pt x="53" y="0"/>
                    </a:lnTo>
                    <a:lnTo>
                      <a:pt x="63" y="1"/>
                    </a:lnTo>
                    <a:lnTo>
                      <a:pt x="73" y="4"/>
                    </a:lnTo>
                    <a:lnTo>
                      <a:pt x="82" y="8"/>
                    </a:lnTo>
                    <a:lnTo>
                      <a:pt x="89" y="14"/>
                    </a:lnTo>
                    <a:lnTo>
                      <a:pt x="96" y="22"/>
                    </a:lnTo>
                    <a:lnTo>
                      <a:pt x="101" y="31"/>
                    </a:lnTo>
                    <a:lnTo>
                      <a:pt x="104" y="41"/>
                    </a:lnTo>
                    <a:lnTo>
                      <a:pt x="105" y="52"/>
                    </a:lnTo>
                    <a:lnTo>
                      <a:pt x="105" y="90"/>
                    </a:lnTo>
                    <a:lnTo>
                      <a:pt x="105" y="90"/>
                    </a:lnTo>
                    <a:lnTo>
                      <a:pt x="104" y="94"/>
                    </a:lnTo>
                    <a:lnTo>
                      <a:pt x="100" y="95"/>
                    </a:lnTo>
                    <a:lnTo>
                      <a:pt x="100" y="9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198" name="Group 197"/>
            <p:cNvGrpSpPr>
              <a:grpSpLocks noChangeAspect="1"/>
            </p:cNvGrpSpPr>
            <p:nvPr/>
          </p:nvGrpSpPr>
          <p:grpSpPr>
            <a:xfrm>
              <a:off x="5096078" y="1991213"/>
              <a:ext cx="174625" cy="233363"/>
              <a:chOff x="1608138" y="5978525"/>
              <a:chExt cx="174625" cy="233363"/>
            </a:xfrm>
          </p:grpSpPr>
          <p:sp>
            <p:nvSpPr>
              <p:cNvPr id="223" name="Freeform 287"/>
              <p:cNvSpPr>
                <a:spLocks/>
              </p:cNvSpPr>
              <p:nvPr/>
            </p:nvSpPr>
            <p:spPr bwMode="auto">
              <a:xfrm>
                <a:off x="1608138" y="6022975"/>
                <a:ext cx="174625" cy="188913"/>
              </a:xfrm>
              <a:custGeom>
                <a:avLst/>
                <a:gdLst>
                  <a:gd name="T0" fmla="*/ 215 w 219"/>
                  <a:gd name="T1" fmla="*/ 0 h 238"/>
                  <a:gd name="T2" fmla="*/ 172 w 219"/>
                  <a:gd name="T3" fmla="*/ 0 h 238"/>
                  <a:gd name="T4" fmla="*/ 172 w 219"/>
                  <a:gd name="T5" fmla="*/ 34 h 238"/>
                  <a:gd name="T6" fmla="*/ 172 w 219"/>
                  <a:gd name="T7" fmla="*/ 34 h 238"/>
                  <a:gd name="T8" fmla="*/ 171 w 219"/>
                  <a:gd name="T9" fmla="*/ 39 h 238"/>
                  <a:gd name="T10" fmla="*/ 168 w 219"/>
                  <a:gd name="T11" fmla="*/ 44 h 238"/>
                  <a:gd name="T12" fmla="*/ 163 w 219"/>
                  <a:gd name="T13" fmla="*/ 47 h 238"/>
                  <a:gd name="T14" fmla="*/ 158 w 219"/>
                  <a:gd name="T15" fmla="*/ 48 h 238"/>
                  <a:gd name="T16" fmla="*/ 158 w 219"/>
                  <a:gd name="T17" fmla="*/ 48 h 238"/>
                  <a:gd name="T18" fmla="*/ 152 w 219"/>
                  <a:gd name="T19" fmla="*/ 47 h 238"/>
                  <a:gd name="T20" fmla="*/ 148 w 219"/>
                  <a:gd name="T21" fmla="*/ 44 h 238"/>
                  <a:gd name="T22" fmla="*/ 144 w 219"/>
                  <a:gd name="T23" fmla="*/ 39 h 238"/>
                  <a:gd name="T24" fmla="*/ 144 w 219"/>
                  <a:gd name="T25" fmla="*/ 34 h 238"/>
                  <a:gd name="T26" fmla="*/ 144 w 219"/>
                  <a:gd name="T27" fmla="*/ 0 h 238"/>
                  <a:gd name="T28" fmla="*/ 77 w 219"/>
                  <a:gd name="T29" fmla="*/ 0 h 238"/>
                  <a:gd name="T30" fmla="*/ 77 w 219"/>
                  <a:gd name="T31" fmla="*/ 34 h 238"/>
                  <a:gd name="T32" fmla="*/ 77 w 219"/>
                  <a:gd name="T33" fmla="*/ 34 h 238"/>
                  <a:gd name="T34" fmla="*/ 76 w 219"/>
                  <a:gd name="T35" fmla="*/ 39 h 238"/>
                  <a:gd name="T36" fmla="*/ 73 w 219"/>
                  <a:gd name="T37" fmla="*/ 44 h 238"/>
                  <a:gd name="T38" fmla="*/ 69 w 219"/>
                  <a:gd name="T39" fmla="*/ 47 h 238"/>
                  <a:gd name="T40" fmla="*/ 62 w 219"/>
                  <a:gd name="T41" fmla="*/ 48 h 238"/>
                  <a:gd name="T42" fmla="*/ 62 w 219"/>
                  <a:gd name="T43" fmla="*/ 48 h 238"/>
                  <a:gd name="T44" fmla="*/ 57 w 219"/>
                  <a:gd name="T45" fmla="*/ 47 h 238"/>
                  <a:gd name="T46" fmla="*/ 53 w 219"/>
                  <a:gd name="T47" fmla="*/ 44 h 238"/>
                  <a:gd name="T48" fmla="*/ 50 w 219"/>
                  <a:gd name="T49" fmla="*/ 39 h 238"/>
                  <a:gd name="T50" fmla="*/ 49 w 219"/>
                  <a:gd name="T51" fmla="*/ 34 h 238"/>
                  <a:gd name="T52" fmla="*/ 49 w 219"/>
                  <a:gd name="T53" fmla="*/ 0 h 238"/>
                  <a:gd name="T54" fmla="*/ 6 w 219"/>
                  <a:gd name="T55" fmla="*/ 0 h 238"/>
                  <a:gd name="T56" fmla="*/ 6 w 219"/>
                  <a:gd name="T57" fmla="*/ 0 h 238"/>
                  <a:gd name="T58" fmla="*/ 2 w 219"/>
                  <a:gd name="T59" fmla="*/ 1 h 238"/>
                  <a:gd name="T60" fmla="*/ 0 w 219"/>
                  <a:gd name="T61" fmla="*/ 5 h 238"/>
                  <a:gd name="T62" fmla="*/ 0 w 219"/>
                  <a:gd name="T63" fmla="*/ 234 h 238"/>
                  <a:gd name="T64" fmla="*/ 0 w 219"/>
                  <a:gd name="T65" fmla="*/ 234 h 238"/>
                  <a:gd name="T66" fmla="*/ 2 w 219"/>
                  <a:gd name="T67" fmla="*/ 236 h 238"/>
                  <a:gd name="T68" fmla="*/ 6 w 219"/>
                  <a:gd name="T69" fmla="*/ 238 h 238"/>
                  <a:gd name="T70" fmla="*/ 215 w 219"/>
                  <a:gd name="T71" fmla="*/ 238 h 238"/>
                  <a:gd name="T72" fmla="*/ 215 w 219"/>
                  <a:gd name="T73" fmla="*/ 238 h 238"/>
                  <a:gd name="T74" fmla="*/ 218 w 219"/>
                  <a:gd name="T75" fmla="*/ 236 h 238"/>
                  <a:gd name="T76" fmla="*/ 219 w 219"/>
                  <a:gd name="T77" fmla="*/ 234 h 238"/>
                  <a:gd name="T78" fmla="*/ 219 w 219"/>
                  <a:gd name="T79" fmla="*/ 5 h 238"/>
                  <a:gd name="T80" fmla="*/ 219 w 219"/>
                  <a:gd name="T81" fmla="*/ 5 h 238"/>
                  <a:gd name="T82" fmla="*/ 218 w 219"/>
                  <a:gd name="T83" fmla="*/ 1 h 238"/>
                  <a:gd name="T84" fmla="*/ 215 w 219"/>
                  <a:gd name="T85" fmla="*/ 0 h 238"/>
                  <a:gd name="T86" fmla="*/ 215 w 219"/>
                  <a:gd name="T87"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9" h="238">
                    <a:moveTo>
                      <a:pt x="215" y="0"/>
                    </a:moveTo>
                    <a:lnTo>
                      <a:pt x="172" y="0"/>
                    </a:lnTo>
                    <a:lnTo>
                      <a:pt x="172" y="34"/>
                    </a:lnTo>
                    <a:lnTo>
                      <a:pt x="172" y="34"/>
                    </a:lnTo>
                    <a:lnTo>
                      <a:pt x="171" y="39"/>
                    </a:lnTo>
                    <a:lnTo>
                      <a:pt x="168" y="44"/>
                    </a:lnTo>
                    <a:lnTo>
                      <a:pt x="163" y="47"/>
                    </a:lnTo>
                    <a:lnTo>
                      <a:pt x="158" y="48"/>
                    </a:lnTo>
                    <a:lnTo>
                      <a:pt x="158" y="48"/>
                    </a:lnTo>
                    <a:lnTo>
                      <a:pt x="152" y="47"/>
                    </a:lnTo>
                    <a:lnTo>
                      <a:pt x="148" y="44"/>
                    </a:lnTo>
                    <a:lnTo>
                      <a:pt x="144" y="39"/>
                    </a:lnTo>
                    <a:lnTo>
                      <a:pt x="144" y="34"/>
                    </a:lnTo>
                    <a:lnTo>
                      <a:pt x="144" y="0"/>
                    </a:lnTo>
                    <a:lnTo>
                      <a:pt x="77" y="0"/>
                    </a:lnTo>
                    <a:lnTo>
                      <a:pt x="77" y="34"/>
                    </a:lnTo>
                    <a:lnTo>
                      <a:pt x="77" y="34"/>
                    </a:lnTo>
                    <a:lnTo>
                      <a:pt x="76" y="39"/>
                    </a:lnTo>
                    <a:lnTo>
                      <a:pt x="73" y="44"/>
                    </a:lnTo>
                    <a:lnTo>
                      <a:pt x="69" y="47"/>
                    </a:lnTo>
                    <a:lnTo>
                      <a:pt x="62" y="48"/>
                    </a:lnTo>
                    <a:lnTo>
                      <a:pt x="62" y="48"/>
                    </a:lnTo>
                    <a:lnTo>
                      <a:pt x="57" y="47"/>
                    </a:lnTo>
                    <a:lnTo>
                      <a:pt x="53" y="44"/>
                    </a:lnTo>
                    <a:lnTo>
                      <a:pt x="50" y="39"/>
                    </a:lnTo>
                    <a:lnTo>
                      <a:pt x="49" y="34"/>
                    </a:lnTo>
                    <a:lnTo>
                      <a:pt x="49" y="0"/>
                    </a:lnTo>
                    <a:lnTo>
                      <a:pt x="6" y="0"/>
                    </a:lnTo>
                    <a:lnTo>
                      <a:pt x="6" y="0"/>
                    </a:lnTo>
                    <a:lnTo>
                      <a:pt x="2" y="1"/>
                    </a:lnTo>
                    <a:lnTo>
                      <a:pt x="0" y="5"/>
                    </a:lnTo>
                    <a:lnTo>
                      <a:pt x="0" y="234"/>
                    </a:lnTo>
                    <a:lnTo>
                      <a:pt x="0" y="234"/>
                    </a:lnTo>
                    <a:lnTo>
                      <a:pt x="2" y="236"/>
                    </a:lnTo>
                    <a:lnTo>
                      <a:pt x="6" y="238"/>
                    </a:lnTo>
                    <a:lnTo>
                      <a:pt x="215" y="238"/>
                    </a:lnTo>
                    <a:lnTo>
                      <a:pt x="215" y="238"/>
                    </a:lnTo>
                    <a:lnTo>
                      <a:pt x="218" y="236"/>
                    </a:lnTo>
                    <a:lnTo>
                      <a:pt x="219" y="234"/>
                    </a:lnTo>
                    <a:lnTo>
                      <a:pt x="219" y="5"/>
                    </a:lnTo>
                    <a:lnTo>
                      <a:pt x="219" y="5"/>
                    </a:lnTo>
                    <a:lnTo>
                      <a:pt x="218" y="1"/>
                    </a:lnTo>
                    <a:lnTo>
                      <a:pt x="215" y="0"/>
                    </a:lnTo>
                    <a:lnTo>
                      <a:pt x="21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24" name="Freeform 288"/>
              <p:cNvSpPr>
                <a:spLocks/>
              </p:cNvSpPr>
              <p:nvPr/>
            </p:nvSpPr>
            <p:spPr bwMode="auto">
              <a:xfrm>
                <a:off x="1654176" y="5978525"/>
                <a:ext cx="82550" cy="74613"/>
              </a:xfrm>
              <a:custGeom>
                <a:avLst/>
                <a:gdLst>
                  <a:gd name="T0" fmla="*/ 100 w 105"/>
                  <a:gd name="T1" fmla="*/ 95 h 95"/>
                  <a:gd name="T2" fmla="*/ 100 w 105"/>
                  <a:gd name="T3" fmla="*/ 95 h 95"/>
                  <a:gd name="T4" fmla="*/ 97 w 105"/>
                  <a:gd name="T5" fmla="*/ 94 h 95"/>
                  <a:gd name="T6" fmla="*/ 96 w 105"/>
                  <a:gd name="T7" fmla="*/ 90 h 95"/>
                  <a:gd name="T8" fmla="*/ 96 w 105"/>
                  <a:gd name="T9" fmla="*/ 52 h 95"/>
                  <a:gd name="T10" fmla="*/ 96 w 105"/>
                  <a:gd name="T11" fmla="*/ 52 h 95"/>
                  <a:gd name="T12" fmla="*/ 94 w 105"/>
                  <a:gd name="T13" fmla="*/ 43 h 95"/>
                  <a:gd name="T14" fmla="*/ 92 w 105"/>
                  <a:gd name="T15" fmla="*/ 35 h 95"/>
                  <a:gd name="T16" fmla="*/ 88 w 105"/>
                  <a:gd name="T17" fmla="*/ 28 h 95"/>
                  <a:gd name="T18" fmla="*/ 82 w 105"/>
                  <a:gd name="T19" fmla="*/ 21 h 95"/>
                  <a:gd name="T20" fmla="*/ 77 w 105"/>
                  <a:gd name="T21" fmla="*/ 16 h 95"/>
                  <a:gd name="T22" fmla="*/ 69 w 105"/>
                  <a:gd name="T23" fmla="*/ 12 h 95"/>
                  <a:gd name="T24" fmla="*/ 61 w 105"/>
                  <a:gd name="T25" fmla="*/ 9 h 95"/>
                  <a:gd name="T26" fmla="*/ 53 w 105"/>
                  <a:gd name="T27" fmla="*/ 9 h 95"/>
                  <a:gd name="T28" fmla="*/ 53 w 105"/>
                  <a:gd name="T29" fmla="*/ 9 h 95"/>
                  <a:gd name="T30" fmla="*/ 43 w 105"/>
                  <a:gd name="T31" fmla="*/ 9 h 95"/>
                  <a:gd name="T32" fmla="*/ 35 w 105"/>
                  <a:gd name="T33" fmla="*/ 12 h 95"/>
                  <a:gd name="T34" fmla="*/ 28 w 105"/>
                  <a:gd name="T35" fmla="*/ 16 h 95"/>
                  <a:gd name="T36" fmla="*/ 22 w 105"/>
                  <a:gd name="T37" fmla="*/ 21 h 95"/>
                  <a:gd name="T38" fmla="*/ 16 w 105"/>
                  <a:gd name="T39" fmla="*/ 28 h 95"/>
                  <a:gd name="T40" fmla="*/ 12 w 105"/>
                  <a:gd name="T41" fmla="*/ 35 h 95"/>
                  <a:gd name="T42" fmla="*/ 11 w 105"/>
                  <a:gd name="T43" fmla="*/ 43 h 95"/>
                  <a:gd name="T44" fmla="*/ 10 w 105"/>
                  <a:gd name="T45" fmla="*/ 52 h 95"/>
                  <a:gd name="T46" fmla="*/ 10 w 105"/>
                  <a:gd name="T47" fmla="*/ 90 h 95"/>
                  <a:gd name="T48" fmla="*/ 10 w 105"/>
                  <a:gd name="T49" fmla="*/ 90 h 95"/>
                  <a:gd name="T50" fmla="*/ 8 w 105"/>
                  <a:gd name="T51" fmla="*/ 94 h 95"/>
                  <a:gd name="T52" fmla="*/ 4 w 105"/>
                  <a:gd name="T53" fmla="*/ 95 h 95"/>
                  <a:gd name="T54" fmla="*/ 4 w 105"/>
                  <a:gd name="T55" fmla="*/ 95 h 95"/>
                  <a:gd name="T56" fmla="*/ 2 w 105"/>
                  <a:gd name="T57" fmla="*/ 94 h 95"/>
                  <a:gd name="T58" fmla="*/ 0 w 105"/>
                  <a:gd name="T59" fmla="*/ 90 h 95"/>
                  <a:gd name="T60" fmla="*/ 0 w 105"/>
                  <a:gd name="T61" fmla="*/ 52 h 95"/>
                  <a:gd name="T62" fmla="*/ 0 w 105"/>
                  <a:gd name="T63" fmla="*/ 52 h 95"/>
                  <a:gd name="T64" fmla="*/ 2 w 105"/>
                  <a:gd name="T65" fmla="*/ 41 h 95"/>
                  <a:gd name="T66" fmla="*/ 4 w 105"/>
                  <a:gd name="T67" fmla="*/ 31 h 95"/>
                  <a:gd name="T68" fmla="*/ 8 w 105"/>
                  <a:gd name="T69" fmla="*/ 22 h 95"/>
                  <a:gd name="T70" fmla="*/ 15 w 105"/>
                  <a:gd name="T71" fmla="*/ 14 h 95"/>
                  <a:gd name="T72" fmla="*/ 23 w 105"/>
                  <a:gd name="T73" fmla="*/ 8 h 95"/>
                  <a:gd name="T74" fmla="*/ 32 w 105"/>
                  <a:gd name="T75" fmla="*/ 4 h 95"/>
                  <a:gd name="T76" fmla="*/ 42 w 105"/>
                  <a:gd name="T77" fmla="*/ 1 h 95"/>
                  <a:gd name="T78" fmla="*/ 53 w 105"/>
                  <a:gd name="T79" fmla="*/ 0 h 95"/>
                  <a:gd name="T80" fmla="*/ 53 w 105"/>
                  <a:gd name="T81" fmla="*/ 0 h 95"/>
                  <a:gd name="T82" fmla="*/ 63 w 105"/>
                  <a:gd name="T83" fmla="*/ 1 h 95"/>
                  <a:gd name="T84" fmla="*/ 73 w 105"/>
                  <a:gd name="T85" fmla="*/ 4 h 95"/>
                  <a:gd name="T86" fmla="*/ 82 w 105"/>
                  <a:gd name="T87" fmla="*/ 8 h 95"/>
                  <a:gd name="T88" fmla="*/ 89 w 105"/>
                  <a:gd name="T89" fmla="*/ 14 h 95"/>
                  <a:gd name="T90" fmla="*/ 96 w 105"/>
                  <a:gd name="T91" fmla="*/ 22 h 95"/>
                  <a:gd name="T92" fmla="*/ 101 w 105"/>
                  <a:gd name="T93" fmla="*/ 31 h 95"/>
                  <a:gd name="T94" fmla="*/ 104 w 105"/>
                  <a:gd name="T95" fmla="*/ 41 h 95"/>
                  <a:gd name="T96" fmla="*/ 105 w 105"/>
                  <a:gd name="T97" fmla="*/ 52 h 95"/>
                  <a:gd name="T98" fmla="*/ 105 w 105"/>
                  <a:gd name="T99" fmla="*/ 90 h 95"/>
                  <a:gd name="T100" fmla="*/ 105 w 105"/>
                  <a:gd name="T101" fmla="*/ 90 h 95"/>
                  <a:gd name="T102" fmla="*/ 104 w 105"/>
                  <a:gd name="T103" fmla="*/ 94 h 95"/>
                  <a:gd name="T104" fmla="*/ 100 w 105"/>
                  <a:gd name="T105" fmla="*/ 95 h 95"/>
                  <a:gd name="T106" fmla="*/ 100 w 105"/>
                  <a:gd name="T107"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5" h="95">
                    <a:moveTo>
                      <a:pt x="100" y="95"/>
                    </a:moveTo>
                    <a:lnTo>
                      <a:pt x="100" y="95"/>
                    </a:lnTo>
                    <a:lnTo>
                      <a:pt x="97" y="94"/>
                    </a:lnTo>
                    <a:lnTo>
                      <a:pt x="96" y="90"/>
                    </a:lnTo>
                    <a:lnTo>
                      <a:pt x="96" y="52"/>
                    </a:lnTo>
                    <a:lnTo>
                      <a:pt x="96" y="52"/>
                    </a:lnTo>
                    <a:lnTo>
                      <a:pt x="94" y="43"/>
                    </a:lnTo>
                    <a:lnTo>
                      <a:pt x="92" y="35"/>
                    </a:lnTo>
                    <a:lnTo>
                      <a:pt x="88" y="28"/>
                    </a:lnTo>
                    <a:lnTo>
                      <a:pt x="82" y="21"/>
                    </a:lnTo>
                    <a:lnTo>
                      <a:pt x="77" y="16"/>
                    </a:lnTo>
                    <a:lnTo>
                      <a:pt x="69" y="12"/>
                    </a:lnTo>
                    <a:lnTo>
                      <a:pt x="61" y="9"/>
                    </a:lnTo>
                    <a:lnTo>
                      <a:pt x="53" y="9"/>
                    </a:lnTo>
                    <a:lnTo>
                      <a:pt x="53" y="9"/>
                    </a:lnTo>
                    <a:lnTo>
                      <a:pt x="43" y="9"/>
                    </a:lnTo>
                    <a:lnTo>
                      <a:pt x="35" y="12"/>
                    </a:lnTo>
                    <a:lnTo>
                      <a:pt x="28" y="16"/>
                    </a:lnTo>
                    <a:lnTo>
                      <a:pt x="22" y="21"/>
                    </a:lnTo>
                    <a:lnTo>
                      <a:pt x="16" y="28"/>
                    </a:lnTo>
                    <a:lnTo>
                      <a:pt x="12" y="35"/>
                    </a:lnTo>
                    <a:lnTo>
                      <a:pt x="11" y="43"/>
                    </a:lnTo>
                    <a:lnTo>
                      <a:pt x="10" y="52"/>
                    </a:lnTo>
                    <a:lnTo>
                      <a:pt x="10" y="90"/>
                    </a:lnTo>
                    <a:lnTo>
                      <a:pt x="10" y="90"/>
                    </a:lnTo>
                    <a:lnTo>
                      <a:pt x="8" y="94"/>
                    </a:lnTo>
                    <a:lnTo>
                      <a:pt x="4" y="95"/>
                    </a:lnTo>
                    <a:lnTo>
                      <a:pt x="4" y="95"/>
                    </a:lnTo>
                    <a:lnTo>
                      <a:pt x="2" y="94"/>
                    </a:lnTo>
                    <a:lnTo>
                      <a:pt x="0" y="90"/>
                    </a:lnTo>
                    <a:lnTo>
                      <a:pt x="0" y="52"/>
                    </a:lnTo>
                    <a:lnTo>
                      <a:pt x="0" y="52"/>
                    </a:lnTo>
                    <a:lnTo>
                      <a:pt x="2" y="41"/>
                    </a:lnTo>
                    <a:lnTo>
                      <a:pt x="4" y="31"/>
                    </a:lnTo>
                    <a:lnTo>
                      <a:pt x="8" y="22"/>
                    </a:lnTo>
                    <a:lnTo>
                      <a:pt x="15" y="14"/>
                    </a:lnTo>
                    <a:lnTo>
                      <a:pt x="23" y="8"/>
                    </a:lnTo>
                    <a:lnTo>
                      <a:pt x="32" y="4"/>
                    </a:lnTo>
                    <a:lnTo>
                      <a:pt x="42" y="1"/>
                    </a:lnTo>
                    <a:lnTo>
                      <a:pt x="53" y="0"/>
                    </a:lnTo>
                    <a:lnTo>
                      <a:pt x="53" y="0"/>
                    </a:lnTo>
                    <a:lnTo>
                      <a:pt x="63" y="1"/>
                    </a:lnTo>
                    <a:lnTo>
                      <a:pt x="73" y="4"/>
                    </a:lnTo>
                    <a:lnTo>
                      <a:pt x="82" y="8"/>
                    </a:lnTo>
                    <a:lnTo>
                      <a:pt x="89" y="14"/>
                    </a:lnTo>
                    <a:lnTo>
                      <a:pt x="96" y="22"/>
                    </a:lnTo>
                    <a:lnTo>
                      <a:pt x="101" y="31"/>
                    </a:lnTo>
                    <a:lnTo>
                      <a:pt x="104" y="41"/>
                    </a:lnTo>
                    <a:lnTo>
                      <a:pt x="105" y="52"/>
                    </a:lnTo>
                    <a:lnTo>
                      <a:pt x="105" y="90"/>
                    </a:lnTo>
                    <a:lnTo>
                      <a:pt x="105" y="90"/>
                    </a:lnTo>
                    <a:lnTo>
                      <a:pt x="104" y="94"/>
                    </a:lnTo>
                    <a:lnTo>
                      <a:pt x="100" y="95"/>
                    </a:lnTo>
                    <a:lnTo>
                      <a:pt x="100" y="9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199" name="Group 198"/>
            <p:cNvGrpSpPr>
              <a:grpSpLocks noChangeAspect="1"/>
            </p:cNvGrpSpPr>
            <p:nvPr/>
          </p:nvGrpSpPr>
          <p:grpSpPr>
            <a:xfrm>
              <a:off x="5422573" y="1991213"/>
              <a:ext cx="174625" cy="233363"/>
              <a:chOff x="1608138" y="5978525"/>
              <a:chExt cx="174625" cy="233363"/>
            </a:xfrm>
          </p:grpSpPr>
          <p:sp>
            <p:nvSpPr>
              <p:cNvPr id="221" name="Freeform 287"/>
              <p:cNvSpPr>
                <a:spLocks/>
              </p:cNvSpPr>
              <p:nvPr/>
            </p:nvSpPr>
            <p:spPr bwMode="auto">
              <a:xfrm>
                <a:off x="1608138" y="6022975"/>
                <a:ext cx="174625" cy="188913"/>
              </a:xfrm>
              <a:custGeom>
                <a:avLst/>
                <a:gdLst>
                  <a:gd name="T0" fmla="*/ 215 w 219"/>
                  <a:gd name="T1" fmla="*/ 0 h 238"/>
                  <a:gd name="T2" fmla="*/ 172 w 219"/>
                  <a:gd name="T3" fmla="*/ 0 h 238"/>
                  <a:gd name="T4" fmla="*/ 172 w 219"/>
                  <a:gd name="T5" fmla="*/ 34 h 238"/>
                  <a:gd name="T6" fmla="*/ 172 w 219"/>
                  <a:gd name="T7" fmla="*/ 34 h 238"/>
                  <a:gd name="T8" fmla="*/ 171 w 219"/>
                  <a:gd name="T9" fmla="*/ 39 h 238"/>
                  <a:gd name="T10" fmla="*/ 168 w 219"/>
                  <a:gd name="T11" fmla="*/ 44 h 238"/>
                  <a:gd name="T12" fmla="*/ 163 w 219"/>
                  <a:gd name="T13" fmla="*/ 47 h 238"/>
                  <a:gd name="T14" fmla="*/ 158 w 219"/>
                  <a:gd name="T15" fmla="*/ 48 h 238"/>
                  <a:gd name="T16" fmla="*/ 158 w 219"/>
                  <a:gd name="T17" fmla="*/ 48 h 238"/>
                  <a:gd name="T18" fmla="*/ 152 w 219"/>
                  <a:gd name="T19" fmla="*/ 47 h 238"/>
                  <a:gd name="T20" fmla="*/ 148 w 219"/>
                  <a:gd name="T21" fmla="*/ 44 h 238"/>
                  <a:gd name="T22" fmla="*/ 144 w 219"/>
                  <a:gd name="T23" fmla="*/ 39 h 238"/>
                  <a:gd name="T24" fmla="*/ 144 w 219"/>
                  <a:gd name="T25" fmla="*/ 34 h 238"/>
                  <a:gd name="T26" fmla="*/ 144 w 219"/>
                  <a:gd name="T27" fmla="*/ 0 h 238"/>
                  <a:gd name="T28" fmla="*/ 77 w 219"/>
                  <a:gd name="T29" fmla="*/ 0 h 238"/>
                  <a:gd name="T30" fmla="*/ 77 w 219"/>
                  <a:gd name="T31" fmla="*/ 34 h 238"/>
                  <a:gd name="T32" fmla="*/ 77 w 219"/>
                  <a:gd name="T33" fmla="*/ 34 h 238"/>
                  <a:gd name="T34" fmla="*/ 76 w 219"/>
                  <a:gd name="T35" fmla="*/ 39 h 238"/>
                  <a:gd name="T36" fmla="*/ 73 w 219"/>
                  <a:gd name="T37" fmla="*/ 44 h 238"/>
                  <a:gd name="T38" fmla="*/ 69 w 219"/>
                  <a:gd name="T39" fmla="*/ 47 h 238"/>
                  <a:gd name="T40" fmla="*/ 62 w 219"/>
                  <a:gd name="T41" fmla="*/ 48 h 238"/>
                  <a:gd name="T42" fmla="*/ 62 w 219"/>
                  <a:gd name="T43" fmla="*/ 48 h 238"/>
                  <a:gd name="T44" fmla="*/ 57 w 219"/>
                  <a:gd name="T45" fmla="*/ 47 h 238"/>
                  <a:gd name="T46" fmla="*/ 53 w 219"/>
                  <a:gd name="T47" fmla="*/ 44 h 238"/>
                  <a:gd name="T48" fmla="*/ 50 w 219"/>
                  <a:gd name="T49" fmla="*/ 39 h 238"/>
                  <a:gd name="T50" fmla="*/ 49 w 219"/>
                  <a:gd name="T51" fmla="*/ 34 h 238"/>
                  <a:gd name="T52" fmla="*/ 49 w 219"/>
                  <a:gd name="T53" fmla="*/ 0 h 238"/>
                  <a:gd name="T54" fmla="*/ 6 w 219"/>
                  <a:gd name="T55" fmla="*/ 0 h 238"/>
                  <a:gd name="T56" fmla="*/ 6 w 219"/>
                  <a:gd name="T57" fmla="*/ 0 h 238"/>
                  <a:gd name="T58" fmla="*/ 2 w 219"/>
                  <a:gd name="T59" fmla="*/ 1 h 238"/>
                  <a:gd name="T60" fmla="*/ 0 w 219"/>
                  <a:gd name="T61" fmla="*/ 5 h 238"/>
                  <a:gd name="T62" fmla="*/ 0 w 219"/>
                  <a:gd name="T63" fmla="*/ 234 h 238"/>
                  <a:gd name="T64" fmla="*/ 0 w 219"/>
                  <a:gd name="T65" fmla="*/ 234 h 238"/>
                  <a:gd name="T66" fmla="*/ 2 w 219"/>
                  <a:gd name="T67" fmla="*/ 236 h 238"/>
                  <a:gd name="T68" fmla="*/ 6 w 219"/>
                  <a:gd name="T69" fmla="*/ 238 h 238"/>
                  <a:gd name="T70" fmla="*/ 215 w 219"/>
                  <a:gd name="T71" fmla="*/ 238 h 238"/>
                  <a:gd name="T72" fmla="*/ 215 w 219"/>
                  <a:gd name="T73" fmla="*/ 238 h 238"/>
                  <a:gd name="T74" fmla="*/ 218 w 219"/>
                  <a:gd name="T75" fmla="*/ 236 h 238"/>
                  <a:gd name="T76" fmla="*/ 219 w 219"/>
                  <a:gd name="T77" fmla="*/ 234 h 238"/>
                  <a:gd name="T78" fmla="*/ 219 w 219"/>
                  <a:gd name="T79" fmla="*/ 5 h 238"/>
                  <a:gd name="T80" fmla="*/ 219 w 219"/>
                  <a:gd name="T81" fmla="*/ 5 h 238"/>
                  <a:gd name="T82" fmla="*/ 218 w 219"/>
                  <a:gd name="T83" fmla="*/ 1 h 238"/>
                  <a:gd name="T84" fmla="*/ 215 w 219"/>
                  <a:gd name="T85" fmla="*/ 0 h 238"/>
                  <a:gd name="T86" fmla="*/ 215 w 219"/>
                  <a:gd name="T87"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9" h="238">
                    <a:moveTo>
                      <a:pt x="215" y="0"/>
                    </a:moveTo>
                    <a:lnTo>
                      <a:pt x="172" y="0"/>
                    </a:lnTo>
                    <a:lnTo>
                      <a:pt x="172" y="34"/>
                    </a:lnTo>
                    <a:lnTo>
                      <a:pt x="172" y="34"/>
                    </a:lnTo>
                    <a:lnTo>
                      <a:pt x="171" y="39"/>
                    </a:lnTo>
                    <a:lnTo>
                      <a:pt x="168" y="44"/>
                    </a:lnTo>
                    <a:lnTo>
                      <a:pt x="163" y="47"/>
                    </a:lnTo>
                    <a:lnTo>
                      <a:pt x="158" y="48"/>
                    </a:lnTo>
                    <a:lnTo>
                      <a:pt x="158" y="48"/>
                    </a:lnTo>
                    <a:lnTo>
                      <a:pt x="152" y="47"/>
                    </a:lnTo>
                    <a:lnTo>
                      <a:pt x="148" y="44"/>
                    </a:lnTo>
                    <a:lnTo>
                      <a:pt x="144" y="39"/>
                    </a:lnTo>
                    <a:lnTo>
                      <a:pt x="144" y="34"/>
                    </a:lnTo>
                    <a:lnTo>
                      <a:pt x="144" y="0"/>
                    </a:lnTo>
                    <a:lnTo>
                      <a:pt x="77" y="0"/>
                    </a:lnTo>
                    <a:lnTo>
                      <a:pt x="77" y="34"/>
                    </a:lnTo>
                    <a:lnTo>
                      <a:pt x="77" y="34"/>
                    </a:lnTo>
                    <a:lnTo>
                      <a:pt x="76" y="39"/>
                    </a:lnTo>
                    <a:lnTo>
                      <a:pt x="73" y="44"/>
                    </a:lnTo>
                    <a:lnTo>
                      <a:pt x="69" y="47"/>
                    </a:lnTo>
                    <a:lnTo>
                      <a:pt x="62" y="48"/>
                    </a:lnTo>
                    <a:lnTo>
                      <a:pt x="62" y="48"/>
                    </a:lnTo>
                    <a:lnTo>
                      <a:pt x="57" y="47"/>
                    </a:lnTo>
                    <a:lnTo>
                      <a:pt x="53" y="44"/>
                    </a:lnTo>
                    <a:lnTo>
                      <a:pt x="50" y="39"/>
                    </a:lnTo>
                    <a:lnTo>
                      <a:pt x="49" y="34"/>
                    </a:lnTo>
                    <a:lnTo>
                      <a:pt x="49" y="0"/>
                    </a:lnTo>
                    <a:lnTo>
                      <a:pt x="6" y="0"/>
                    </a:lnTo>
                    <a:lnTo>
                      <a:pt x="6" y="0"/>
                    </a:lnTo>
                    <a:lnTo>
                      <a:pt x="2" y="1"/>
                    </a:lnTo>
                    <a:lnTo>
                      <a:pt x="0" y="5"/>
                    </a:lnTo>
                    <a:lnTo>
                      <a:pt x="0" y="234"/>
                    </a:lnTo>
                    <a:lnTo>
                      <a:pt x="0" y="234"/>
                    </a:lnTo>
                    <a:lnTo>
                      <a:pt x="2" y="236"/>
                    </a:lnTo>
                    <a:lnTo>
                      <a:pt x="6" y="238"/>
                    </a:lnTo>
                    <a:lnTo>
                      <a:pt x="215" y="238"/>
                    </a:lnTo>
                    <a:lnTo>
                      <a:pt x="215" y="238"/>
                    </a:lnTo>
                    <a:lnTo>
                      <a:pt x="218" y="236"/>
                    </a:lnTo>
                    <a:lnTo>
                      <a:pt x="219" y="234"/>
                    </a:lnTo>
                    <a:lnTo>
                      <a:pt x="219" y="5"/>
                    </a:lnTo>
                    <a:lnTo>
                      <a:pt x="219" y="5"/>
                    </a:lnTo>
                    <a:lnTo>
                      <a:pt x="218" y="1"/>
                    </a:lnTo>
                    <a:lnTo>
                      <a:pt x="215" y="0"/>
                    </a:lnTo>
                    <a:lnTo>
                      <a:pt x="21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22" name="Freeform 288"/>
              <p:cNvSpPr>
                <a:spLocks/>
              </p:cNvSpPr>
              <p:nvPr/>
            </p:nvSpPr>
            <p:spPr bwMode="auto">
              <a:xfrm>
                <a:off x="1654176" y="5978525"/>
                <a:ext cx="82550" cy="74613"/>
              </a:xfrm>
              <a:custGeom>
                <a:avLst/>
                <a:gdLst>
                  <a:gd name="T0" fmla="*/ 100 w 105"/>
                  <a:gd name="T1" fmla="*/ 95 h 95"/>
                  <a:gd name="T2" fmla="*/ 100 w 105"/>
                  <a:gd name="T3" fmla="*/ 95 h 95"/>
                  <a:gd name="T4" fmla="*/ 97 w 105"/>
                  <a:gd name="T5" fmla="*/ 94 h 95"/>
                  <a:gd name="T6" fmla="*/ 96 w 105"/>
                  <a:gd name="T7" fmla="*/ 90 h 95"/>
                  <a:gd name="T8" fmla="*/ 96 w 105"/>
                  <a:gd name="T9" fmla="*/ 52 h 95"/>
                  <a:gd name="T10" fmla="*/ 96 w 105"/>
                  <a:gd name="T11" fmla="*/ 52 h 95"/>
                  <a:gd name="T12" fmla="*/ 94 w 105"/>
                  <a:gd name="T13" fmla="*/ 43 h 95"/>
                  <a:gd name="T14" fmla="*/ 92 w 105"/>
                  <a:gd name="T15" fmla="*/ 35 h 95"/>
                  <a:gd name="T16" fmla="*/ 88 w 105"/>
                  <a:gd name="T17" fmla="*/ 28 h 95"/>
                  <a:gd name="T18" fmla="*/ 82 w 105"/>
                  <a:gd name="T19" fmla="*/ 21 h 95"/>
                  <a:gd name="T20" fmla="*/ 77 w 105"/>
                  <a:gd name="T21" fmla="*/ 16 h 95"/>
                  <a:gd name="T22" fmla="*/ 69 w 105"/>
                  <a:gd name="T23" fmla="*/ 12 h 95"/>
                  <a:gd name="T24" fmla="*/ 61 w 105"/>
                  <a:gd name="T25" fmla="*/ 9 h 95"/>
                  <a:gd name="T26" fmla="*/ 53 w 105"/>
                  <a:gd name="T27" fmla="*/ 9 h 95"/>
                  <a:gd name="T28" fmla="*/ 53 w 105"/>
                  <a:gd name="T29" fmla="*/ 9 h 95"/>
                  <a:gd name="T30" fmla="*/ 43 w 105"/>
                  <a:gd name="T31" fmla="*/ 9 h 95"/>
                  <a:gd name="T32" fmla="*/ 35 w 105"/>
                  <a:gd name="T33" fmla="*/ 12 h 95"/>
                  <a:gd name="T34" fmla="*/ 28 w 105"/>
                  <a:gd name="T35" fmla="*/ 16 h 95"/>
                  <a:gd name="T36" fmla="*/ 22 w 105"/>
                  <a:gd name="T37" fmla="*/ 21 h 95"/>
                  <a:gd name="T38" fmla="*/ 16 w 105"/>
                  <a:gd name="T39" fmla="*/ 28 h 95"/>
                  <a:gd name="T40" fmla="*/ 12 w 105"/>
                  <a:gd name="T41" fmla="*/ 35 h 95"/>
                  <a:gd name="T42" fmla="*/ 11 w 105"/>
                  <a:gd name="T43" fmla="*/ 43 h 95"/>
                  <a:gd name="T44" fmla="*/ 10 w 105"/>
                  <a:gd name="T45" fmla="*/ 52 h 95"/>
                  <a:gd name="T46" fmla="*/ 10 w 105"/>
                  <a:gd name="T47" fmla="*/ 90 h 95"/>
                  <a:gd name="T48" fmla="*/ 10 w 105"/>
                  <a:gd name="T49" fmla="*/ 90 h 95"/>
                  <a:gd name="T50" fmla="*/ 8 w 105"/>
                  <a:gd name="T51" fmla="*/ 94 h 95"/>
                  <a:gd name="T52" fmla="*/ 4 w 105"/>
                  <a:gd name="T53" fmla="*/ 95 h 95"/>
                  <a:gd name="T54" fmla="*/ 4 w 105"/>
                  <a:gd name="T55" fmla="*/ 95 h 95"/>
                  <a:gd name="T56" fmla="*/ 2 w 105"/>
                  <a:gd name="T57" fmla="*/ 94 h 95"/>
                  <a:gd name="T58" fmla="*/ 0 w 105"/>
                  <a:gd name="T59" fmla="*/ 90 h 95"/>
                  <a:gd name="T60" fmla="*/ 0 w 105"/>
                  <a:gd name="T61" fmla="*/ 52 h 95"/>
                  <a:gd name="T62" fmla="*/ 0 w 105"/>
                  <a:gd name="T63" fmla="*/ 52 h 95"/>
                  <a:gd name="T64" fmla="*/ 2 w 105"/>
                  <a:gd name="T65" fmla="*/ 41 h 95"/>
                  <a:gd name="T66" fmla="*/ 4 w 105"/>
                  <a:gd name="T67" fmla="*/ 31 h 95"/>
                  <a:gd name="T68" fmla="*/ 8 w 105"/>
                  <a:gd name="T69" fmla="*/ 22 h 95"/>
                  <a:gd name="T70" fmla="*/ 15 w 105"/>
                  <a:gd name="T71" fmla="*/ 14 h 95"/>
                  <a:gd name="T72" fmla="*/ 23 w 105"/>
                  <a:gd name="T73" fmla="*/ 8 h 95"/>
                  <a:gd name="T74" fmla="*/ 32 w 105"/>
                  <a:gd name="T75" fmla="*/ 4 h 95"/>
                  <a:gd name="T76" fmla="*/ 42 w 105"/>
                  <a:gd name="T77" fmla="*/ 1 h 95"/>
                  <a:gd name="T78" fmla="*/ 53 w 105"/>
                  <a:gd name="T79" fmla="*/ 0 h 95"/>
                  <a:gd name="T80" fmla="*/ 53 w 105"/>
                  <a:gd name="T81" fmla="*/ 0 h 95"/>
                  <a:gd name="T82" fmla="*/ 63 w 105"/>
                  <a:gd name="T83" fmla="*/ 1 h 95"/>
                  <a:gd name="T84" fmla="*/ 73 w 105"/>
                  <a:gd name="T85" fmla="*/ 4 h 95"/>
                  <a:gd name="T86" fmla="*/ 82 w 105"/>
                  <a:gd name="T87" fmla="*/ 8 h 95"/>
                  <a:gd name="T88" fmla="*/ 89 w 105"/>
                  <a:gd name="T89" fmla="*/ 14 h 95"/>
                  <a:gd name="T90" fmla="*/ 96 w 105"/>
                  <a:gd name="T91" fmla="*/ 22 h 95"/>
                  <a:gd name="T92" fmla="*/ 101 w 105"/>
                  <a:gd name="T93" fmla="*/ 31 h 95"/>
                  <a:gd name="T94" fmla="*/ 104 w 105"/>
                  <a:gd name="T95" fmla="*/ 41 h 95"/>
                  <a:gd name="T96" fmla="*/ 105 w 105"/>
                  <a:gd name="T97" fmla="*/ 52 h 95"/>
                  <a:gd name="T98" fmla="*/ 105 w 105"/>
                  <a:gd name="T99" fmla="*/ 90 h 95"/>
                  <a:gd name="T100" fmla="*/ 105 w 105"/>
                  <a:gd name="T101" fmla="*/ 90 h 95"/>
                  <a:gd name="T102" fmla="*/ 104 w 105"/>
                  <a:gd name="T103" fmla="*/ 94 h 95"/>
                  <a:gd name="T104" fmla="*/ 100 w 105"/>
                  <a:gd name="T105" fmla="*/ 95 h 95"/>
                  <a:gd name="T106" fmla="*/ 100 w 105"/>
                  <a:gd name="T107"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5" h="95">
                    <a:moveTo>
                      <a:pt x="100" y="95"/>
                    </a:moveTo>
                    <a:lnTo>
                      <a:pt x="100" y="95"/>
                    </a:lnTo>
                    <a:lnTo>
                      <a:pt x="97" y="94"/>
                    </a:lnTo>
                    <a:lnTo>
                      <a:pt x="96" y="90"/>
                    </a:lnTo>
                    <a:lnTo>
                      <a:pt x="96" y="52"/>
                    </a:lnTo>
                    <a:lnTo>
                      <a:pt x="96" y="52"/>
                    </a:lnTo>
                    <a:lnTo>
                      <a:pt x="94" y="43"/>
                    </a:lnTo>
                    <a:lnTo>
                      <a:pt x="92" y="35"/>
                    </a:lnTo>
                    <a:lnTo>
                      <a:pt x="88" y="28"/>
                    </a:lnTo>
                    <a:lnTo>
                      <a:pt x="82" y="21"/>
                    </a:lnTo>
                    <a:lnTo>
                      <a:pt x="77" y="16"/>
                    </a:lnTo>
                    <a:lnTo>
                      <a:pt x="69" y="12"/>
                    </a:lnTo>
                    <a:lnTo>
                      <a:pt x="61" y="9"/>
                    </a:lnTo>
                    <a:lnTo>
                      <a:pt x="53" y="9"/>
                    </a:lnTo>
                    <a:lnTo>
                      <a:pt x="53" y="9"/>
                    </a:lnTo>
                    <a:lnTo>
                      <a:pt x="43" y="9"/>
                    </a:lnTo>
                    <a:lnTo>
                      <a:pt x="35" y="12"/>
                    </a:lnTo>
                    <a:lnTo>
                      <a:pt x="28" y="16"/>
                    </a:lnTo>
                    <a:lnTo>
                      <a:pt x="22" y="21"/>
                    </a:lnTo>
                    <a:lnTo>
                      <a:pt x="16" y="28"/>
                    </a:lnTo>
                    <a:lnTo>
                      <a:pt x="12" y="35"/>
                    </a:lnTo>
                    <a:lnTo>
                      <a:pt x="11" y="43"/>
                    </a:lnTo>
                    <a:lnTo>
                      <a:pt x="10" y="52"/>
                    </a:lnTo>
                    <a:lnTo>
                      <a:pt x="10" y="90"/>
                    </a:lnTo>
                    <a:lnTo>
                      <a:pt x="10" y="90"/>
                    </a:lnTo>
                    <a:lnTo>
                      <a:pt x="8" y="94"/>
                    </a:lnTo>
                    <a:lnTo>
                      <a:pt x="4" y="95"/>
                    </a:lnTo>
                    <a:lnTo>
                      <a:pt x="4" y="95"/>
                    </a:lnTo>
                    <a:lnTo>
                      <a:pt x="2" y="94"/>
                    </a:lnTo>
                    <a:lnTo>
                      <a:pt x="0" y="90"/>
                    </a:lnTo>
                    <a:lnTo>
                      <a:pt x="0" y="52"/>
                    </a:lnTo>
                    <a:lnTo>
                      <a:pt x="0" y="52"/>
                    </a:lnTo>
                    <a:lnTo>
                      <a:pt x="2" y="41"/>
                    </a:lnTo>
                    <a:lnTo>
                      <a:pt x="4" y="31"/>
                    </a:lnTo>
                    <a:lnTo>
                      <a:pt x="8" y="22"/>
                    </a:lnTo>
                    <a:lnTo>
                      <a:pt x="15" y="14"/>
                    </a:lnTo>
                    <a:lnTo>
                      <a:pt x="23" y="8"/>
                    </a:lnTo>
                    <a:lnTo>
                      <a:pt x="32" y="4"/>
                    </a:lnTo>
                    <a:lnTo>
                      <a:pt x="42" y="1"/>
                    </a:lnTo>
                    <a:lnTo>
                      <a:pt x="53" y="0"/>
                    </a:lnTo>
                    <a:lnTo>
                      <a:pt x="53" y="0"/>
                    </a:lnTo>
                    <a:lnTo>
                      <a:pt x="63" y="1"/>
                    </a:lnTo>
                    <a:lnTo>
                      <a:pt x="73" y="4"/>
                    </a:lnTo>
                    <a:lnTo>
                      <a:pt x="82" y="8"/>
                    </a:lnTo>
                    <a:lnTo>
                      <a:pt x="89" y="14"/>
                    </a:lnTo>
                    <a:lnTo>
                      <a:pt x="96" y="22"/>
                    </a:lnTo>
                    <a:lnTo>
                      <a:pt x="101" y="31"/>
                    </a:lnTo>
                    <a:lnTo>
                      <a:pt x="104" y="41"/>
                    </a:lnTo>
                    <a:lnTo>
                      <a:pt x="105" y="52"/>
                    </a:lnTo>
                    <a:lnTo>
                      <a:pt x="105" y="90"/>
                    </a:lnTo>
                    <a:lnTo>
                      <a:pt x="105" y="90"/>
                    </a:lnTo>
                    <a:lnTo>
                      <a:pt x="104" y="94"/>
                    </a:lnTo>
                    <a:lnTo>
                      <a:pt x="100" y="95"/>
                    </a:lnTo>
                    <a:lnTo>
                      <a:pt x="100" y="9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200" name="Group 199"/>
            <p:cNvGrpSpPr>
              <a:grpSpLocks noChangeAspect="1"/>
            </p:cNvGrpSpPr>
            <p:nvPr/>
          </p:nvGrpSpPr>
          <p:grpSpPr>
            <a:xfrm>
              <a:off x="5749068" y="1991213"/>
              <a:ext cx="174625" cy="233363"/>
              <a:chOff x="1608138" y="5978525"/>
              <a:chExt cx="174625" cy="233363"/>
            </a:xfrm>
          </p:grpSpPr>
          <p:sp>
            <p:nvSpPr>
              <p:cNvPr id="219" name="Freeform 287"/>
              <p:cNvSpPr>
                <a:spLocks/>
              </p:cNvSpPr>
              <p:nvPr/>
            </p:nvSpPr>
            <p:spPr bwMode="auto">
              <a:xfrm>
                <a:off x="1608138" y="6022975"/>
                <a:ext cx="174625" cy="188913"/>
              </a:xfrm>
              <a:custGeom>
                <a:avLst/>
                <a:gdLst>
                  <a:gd name="T0" fmla="*/ 215 w 219"/>
                  <a:gd name="T1" fmla="*/ 0 h 238"/>
                  <a:gd name="T2" fmla="*/ 172 w 219"/>
                  <a:gd name="T3" fmla="*/ 0 h 238"/>
                  <a:gd name="T4" fmla="*/ 172 w 219"/>
                  <a:gd name="T5" fmla="*/ 34 h 238"/>
                  <a:gd name="T6" fmla="*/ 172 w 219"/>
                  <a:gd name="T7" fmla="*/ 34 h 238"/>
                  <a:gd name="T8" fmla="*/ 171 w 219"/>
                  <a:gd name="T9" fmla="*/ 39 h 238"/>
                  <a:gd name="T10" fmla="*/ 168 w 219"/>
                  <a:gd name="T11" fmla="*/ 44 h 238"/>
                  <a:gd name="T12" fmla="*/ 163 w 219"/>
                  <a:gd name="T13" fmla="*/ 47 h 238"/>
                  <a:gd name="T14" fmla="*/ 158 w 219"/>
                  <a:gd name="T15" fmla="*/ 48 h 238"/>
                  <a:gd name="T16" fmla="*/ 158 w 219"/>
                  <a:gd name="T17" fmla="*/ 48 h 238"/>
                  <a:gd name="T18" fmla="*/ 152 w 219"/>
                  <a:gd name="T19" fmla="*/ 47 h 238"/>
                  <a:gd name="T20" fmla="*/ 148 w 219"/>
                  <a:gd name="T21" fmla="*/ 44 h 238"/>
                  <a:gd name="T22" fmla="*/ 144 w 219"/>
                  <a:gd name="T23" fmla="*/ 39 h 238"/>
                  <a:gd name="T24" fmla="*/ 144 w 219"/>
                  <a:gd name="T25" fmla="*/ 34 h 238"/>
                  <a:gd name="T26" fmla="*/ 144 w 219"/>
                  <a:gd name="T27" fmla="*/ 0 h 238"/>
                  <a:gd name="T28" fmla="*/ 77 w 219"/>
                  <a:gd name="T29" fmla="*/ 0 h 238"/>
                  <a:gd name="T30" fmla="*/ 77 w 219"/>
                  <a:gd name="T31" fmla="*/ 34 h 238"/>
                  <a:gd name="T32" fmla="*/ 77 w 219"/>
                  <a:gd name="T33" fmla="*/ 34 h 238"/>
                  <a:gd name="T34" fmla="*/ 76 w 219"/>
                  <a:gd name="T35" fmla="*/ 39 h 238"/>
                  <a:gd name="T36" fmla="*/ 73 w 219"/>
                  <a:gd name="T37" fmla="*/ 44 h 238"/>
                  <a:gd name="T38" fmla="*/ 69 w 219"/>
                  <a:gd name="T39" fmla="*/ 47 h 238"/>
                  <a:gd name="T40" fmla="*/ 62 w 219"/>
                  <a:gd name="T41" fmla="*/ 48 h 238"/>
                  <a:gd name="T42" fmla="*/ 62 w 219"/>
                  <a:gd name="T43" fmla="*/ 48 h 238"/>
                  <a:gd name="T44" fmla="*/ 57 w 219"/>
                  <a:gd name="T45" fmla="*/ 47 h 238"/>
                  <a:gd name="T46" fmla="*/ 53 w 219"/>
                  <a:gd name="T47" fmla="*/ 44 h 238"/>
                  <a:gd name="T48" fmla="*/ 50 w 219"/>
                  <a:gd name="T49" fmla="*/ 39 h 238"/>
                  <a:gd name="T50" fmla="*/ 49 w 219"/>
                  <a:gd name="T51" fmla="*/ 34 h 238"/>
                  <a:gd name="T52" fmla="*/ 49 w 219"/>
                  <a:gd name="T53" fmla="*/ 0 h 238"/>
                  <a:gd name="T54" fmla="*/ 6 w 219"/>
                  <a:gd name="T55" fmla="*/ 0 h 238"/>
                  <a:gd name="T56" fmla="*/ 6 w 219"/>
                  <a:gd name="T57" fmla="*/ 0 h 238"/>
                  <a:gd name="T58" fmla="*/ 2 w 219"/>
                  <a:gd name="T59" fmla="*/ 1 h 238"/>
                  <a:gd name="T60" fmla="*/ 0 w 219"/>
                  <a:gd name="T61" fmla="*/ 5 h 238"/>
                  <a:gd name="T62" fmla="*/ 0 w 219"/>
                  <a:gd name="T63" fmla="*/ 234 h 238"/>
                  <a:gd name="T64" fmla="*/ 0 w 219"/>
                  <a:gd name="T65" fmla="*/ 234 h 238"/>
                  <a:gd name="T66" fmla="*/ 2 w 219"/>
                  <a:gd name="T67" fmla="*/ 236 h 238"/>
                  <a:gd name="T68" fmla="*/ 6 w 219"/>
                  <a:gd name="T69" fmla="*/ 238 h 238"/>
                  <a:gd name="T70" fmla="*/ 215 w 219"/>
                  <a:gd name="T71" fmla="*/ 238 h 238"/>
                  <a:gd name="T72" fmla="*/ 215 w 219"/>
                  <a:gd name="T73" fmla="*/ 238 h 238"/>
                  <a:gd name="T74" fmla="*/ 218 w 219"/>
                  <a:gd name="T75" fmla="*/ 236 h 238"/>
                  <a:gd name="T76" fmla="*/ 219 w 219"/>
                  <a:gd name="T77" fmla="*/ 234 h 238"/>
                  <a:gd name="T78" fmla="*/ 219 w 219"/>
                  <a:gd name="T79" fmla="*/ 5 h 238"/>
                  <a:gd name="T80" fmla="*/ 219 w 219"/>
                  <a:gd name="T81" fmla="*/ 5 h 238"/>
                  <a:gd name="T82" fmla="*/ 218 w 219"/>
                  <a:gd name="T83" fmla="*/ 1 h 238"/>
                  <a:gd name="T84" fmla="*/ 215 w 219"/>
                  <a:gd name="T85" fmla="*/ 0 h 238"/>
                  <a:gd name="T86" fmla="*/ 215 w 219"/>
                  <a:gd name="T87"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9" h="238">
                    <a:moveTo>
                      <a:pt x="215" y="0"/>
                    </a:moveTo>
                    <a:lnTo>
                      <a:pt x="172" y="0"/>
                    </a:lnTo>
                    <a:lnTo>
                      <a:pt x="172" y="34"/>
                    </a:lnTo>
                    <a:lnTo>
                      <a:pt x="172" y="34"/>
                    </a:lnTo>
                    <a:lnTo>
                      <a:pt x="171" y="39"/>
                    </a:lnTo>
                    <a:lnTo>
                      <a:pt x="168" y="44"/>
                    </a:lnTo>
                    <a:lnTo>
                      <a:pt x="163" y="47"/>
                    </a:lnTo>
                    <a:lnTo>
                      <a:pt x="158" y="48"/>
                    </a:lnTo>
                    <a:lnTo>
                      <a:pt x="158" y="48"/>
                    </a:lnTo>
                    <a:lnTo>
                      <a:pt x="152" y="47"/>
                    </a:lnTo>
                    <a:lnTo>
                      <a:pt x="148" y="44"/>
                    </a:lnTo>
                    <a:lnTo>
                      <a:pt x="144" y="39"/>
                    </a:lnTo>
                    <a:lnTo>
                      <a:pt x="144" y="34"/>
                    </a:lnTo>
                    <a:lnTo>
                      <a:pt x="144" y="0"/>
                    </a:lnTo>
                    <a:lnTo>
                      <a:pt x="77" y="0"/>
                    </a:lnTo>
                    <a:lnTo>
                      <a:pt x="77" y="34"/>
                    </a:lnTo>
                    <a:lnTo>
                      <a:pt x="77" y="34"/>
                    </a:lnTo>
                    <a:lnTo>
                      <a:pt x="76" y="39"/>
                    </a:lnTo>
                    <a:lnTo>
                      <a:pt x="73" y="44"/>
                    </a:lnTo>
                    <a:lnTo>
                      <a:pt x="69" y="47"/>
                    </a:lnTo>
                    <a:lnTo>
                      <a:pt x="62" y="48"/>
                    </a:lnTo>
                    <a:lnTo>
                      <a:pt x="62" y="48"/>
                    </a:lnTo>
                    <a:lnTo>
                      <a:pt x="57" y="47"/>
                    </a:lnTo>
                    <a:lnTo>
                      <a:pt x="53" y="44"/>
                    </a:lnTo>
                    <a:lnTo>
                      <a:pt x="50" y="39"/>
                    </a:lnTo>
                    <a:lnTo>
                      <a:pt x="49" y="34"/>
                    </a:lnTo>
                    <a:lnTo>
                      <a:pt x="49" y="0"/>
                    </a:lnTo>
                    <a:lnTo>
                      <a:pt x="6" y="0"/>
                    </a:lnTo>
                    <a:lnTo>
                      <a:pt x="6" y="0"/>
                    </a:lnTo>
                    <a:lnTo>
                      <a:pt x="2" y="1"/>
                    </a:lnTo>
                    <a:lnTo>
                      <a:pt x="0" y="5"/>
                    </a:lnTo>
                    <a:lnTo>
                      <a:pt x="0" y="234"/>
                    </a:lnTo>
                    <a:lnTo>
                      <a:pt x="0" y="234"/>
                    </a:lnTo>
                    <a:lnTo>
                      <a:pt x="2" y="236"/>
                    </a:lnTo>
                    <a:lnTo>
                      <a:pt x="6" y="238"/>
                    </a:lnTo>
                    <a:lnTo>
                      <a:pt x="215" y="238"/>
                    </a:lnTo>
                    <a:lnTo>
                      <a:pt x="215" y="238"/>
                    </a:lnTo>
                    <a:lnTo>
                      <a:pt x="218" y="236"/>
                    </a:lnTo>
                    <a:lnTo>
                      <a:pt x="219" y="234"/>
                    </a:lnTo>
                    <a:lnTo>
                      <a:pt x="219" y="5"/>
                    </a:lnTo>
                    <a:lnTo>
                      <a:pt x="219" y="5"/>
                    </a:lnTo>
                    <a:lnTo>
                      <a:pt x="218" y="1"/>
                    </a:lnTo>
                    <a:lnTo>
                      <a:pt x="215" y="0"/>
                    </a:lnTo>
                    <a:lnTo>
                      <a:pt x="21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20" name="Freeform 288"/>
              <p:cNvSpPr>
                <a:spLocks/>
              </p:cNvSpPr>
              <p:nvPr/>
            </p:nvSpPr>
            <p:spPr bwMode="auto">
              <a:xfrm>
                <a:off x="1654176" y="5978525"/>
                <a:ext cx="82550" cy="74613"/>
              </a:xfrm>
              <a:custGeom>
                <a:avLst/>
                <a:gdLst>
                  <a:gd name="T0" fmla="*/ 100 w 105"/>
                  <a:gd name="T1" fmla="*/ 95 h 95"/>
                  <a:gd name="T2" fmla="*/ 100 w 105"/>
                  <a:gd name="T3" fmla="*/ 95 h 95"/>
                  <a:gd name="T4" fmla="*/ 97 w 105"/>
                  <a:gd name="T5" fmla="*/ 94 h 95"/>
                  <a:gd name="T6" fmla="*/ 96 w 105"/>
                  <a:gd name="T7" fmla="*/ 90 h 95"/>
                  <a:gd name="T8" fmla="*/ 96 w 105"/>
                  <a:gd name="T9" fmla="*/ 52 h 95"/>
                  <a:gd name="T10" fmla="*/ 96 w 105"/>
                  <a:gd name="T11" fmla="*/ 52 h 95"/>
                  <a:gd name="T12" fmla="*/ 94 w 105"/>
                  <a:gd name="T13" fmla="*/ 43 h 95"/>
                  <a:gd name="T14" fmla="*/ 92 w 105"/>
                  <a:gd name="T15" fmla="*/ 35 h 95"/>
                  <a:gd name="T16" fmla="*/ 88 w 105"/>
                  <a:gd name="T17" fmla="*/ 28 h 95"/>
                  <a:gd name="T18" fmla="*/ 82 w 105"/>
                  <a:gd name="T19" fmla="*/ 21 h 95"/>
                  <a:gd name="T20" fmla="*/ 77 w 105"/>
                  <a:gd name="T21" fmla="*/ 16 h 95"/>
                  <a:gd name="T22" fmla="*/ 69 w 105"/>
                  <a:gd name="T23" fmla="*/ 12 h 95"/>
                  <a:gd name="T24" fmla="*/ 61 w 105"/>
                  <a:gd name="T25" fmla="*/ 9 h 95"/>
                  <a:gd name="T26" fmla="*/ 53 w 105"/>
                  <a:gd name="T27" fmla="*/ 9 h 95"/>
                  <a:gd name="T28" fmla="*/ 53 w 105"/>
                  <a:gd name="T29" fmla="*/ 9 h 95"/>
                  <a:gd name="T30" fmla="*/ 43 w 105"/>
                  <a:gd name="T31" fmla="*/ 9 h 95"/>
                  <a:gd name="T32" fmla="*/ 35 w 105"/>
                  <a:gd name="T33" fmla="*/ 12 h 95"/>
                  <a:gd name="T34" fmla="*/ 28 w 105"/>
                  <a:gd name="T35" fmla="*/ 16 h 95"/>
                  <a:gd name="T36" fmla="*/ 22 w 105"/>
                  <a:gd name="T37" fmla="*/ 21 h 95"/>
                  <a:gd name="T38" fmla="*/ 16 w 105"/>
                  <a:gd name="T39" fmla="*/ 28 h 95"/>
                  <a:gd name="T40" fmla="*/ 12 w 105"/>
                  <a:gd name="T41" fmla="*/ 35 h 95"/>
                  <a:gd name="T42" fmla="*/ 11 w 105"/>
                  <a:gd name="T43" fmla="*/ 43 h 95"/>
                  <a:gd name="T44" fmla="*/ 10 w 105"/>
                  <a:gd name="T45" fmla="*/ 52 h 95"/>
                  <a:gd name="T46" fmla="*/ 10 w 105"/>
                  <a:gd name="T47" fmla="*/ 90 h 95"/>
                  <a:gd name="T48" fmla="*/ 10 w 105"/>
                  <a:gd name="T49" fmla="*/ 90 h 95"/>
                  <a:gd name="T50" fmla="*/ 8 w 105"/>
                  <a:gd name="T51" fmla="*/ 94 h 95"/>
                  <a:gd name="T52" fmla="*/ 4 w 105"/>
                  <a:gd name="T53" fmla="*/ 95 h 95"/>
                  <a:gd name="T54" fmla="*/ 4 w 105"/>
                  <a:gd name="T55" fmla="*/ 95 h 95"/>
                  <a:gd name="T56" fmla="*/ 2 w 105"/>
                  <a:gd name="T57" fmla="*/ 94 h 95"/>
                  <a:gd name="T58" fmla="*/ 0 w 105"/>
                  <a:gd name="T59" fmla="*/ 90 h 95"/>
                  <a:gd name="T60" fmla="*/ 0 w 105"/>
                  <a:gd name="T61" fmla="*/ 52 h 95"/>
                  <a:gd name="T62" fmla="*/ 0 w 105"/>
                  <a:gd name="T63" fmla="*/ 52 h 95"/>
                  <a:gd name="T64" fmla="*/ 2 w 105"/>
                  <a:gd name="T65" fmla="*/ 41 h 95"/>
                  <a:gd name="T66" fmla="*/ 4 w 105"/>
                  <a:gd name="T67" fmla="*/ 31 h 95"/>
                  <a:gd name="T68" fmla="*/ 8 w 105"/>
                  <a:gd name="T69" fmla="*/ 22 h 95"/>
                  <a:gd name="T70" fmla="*/ 15 w 105"/>
                  <a:gd name="T71" fmla="*/ 14 h 95"/>
                  <a:gd name="T72" fmla="*/ 23 w 105"/>
                  <a:gd name="T73" fmla="*/ 8 h 95"/>
                  <a:gd name="T74" fmla="*/ 32 w 105"/>
                  <a:gd name="T75" fmla="*/ 4 h 95"/>
                  <a:gd name="T76" fmla="*/ 42 w 105"/>
                  <a:gd name="T77" fmla="*/ 1 h 95"/>
                  <a:gd name="T78" fmla="*/ 53 w 105"/>
                  <a:gd name="T79" fmla="*/ 0 h 95"/>
                  <a:gd name="T80" fmla="*/ 53 w 105"/>
                  <a:gd name="T81" fmla="*/ 0 h 95"/>
                  <a:gd name="T82" fmla="*/ 63 w 105"/>
                  <a:gd name="T83" fmla="*/ 1 h 95"/>
                  <a:gd name="T84" fmla="*/ 73 w 105"/>
                  <a:gd name="T85" fmla="*/ 4 h 95"/>
                  <a:gd name="T86" fmla="*/ 82 w 105"/>
                  <a:gd name="T87" fmla="*/ 8 h 95"/>
                  <a:gd name="T88" fmla="*/ 89 w 105"/>
                  <a:gd name="T89" fmla="*/ 14 h 95"/>
                  <a:gd name="T90" fmla="*/ 96 w 105"/>
                  <a:gd name="T91" fmla="*/ 22 h 95"/>
                  <a:gd name="T92" fmla="*/ 101 w 105"/>
                  <a:gd name="T93" fmla="*/ 31 h 95"/>
                  <a:gd name="T94" fmla="*/ 104 w 105"/>
                  <a:gd name="T95" fmla="*/ 41 h 95"/>
                  <a:gd name="T96" fmla="*/ 105 w 105"/>
                  <a:gd name="T97" fmla="*/ 52 h 95"/>
                  <a:gd name="T98" fmla="*/ 105 w 105"/>
                  <a:gd name="T99" fmla="*/ 90 h 95"/>
                  <a:gd name="T100" fmla="*/ 105 w 105"/>
                  <a:gd name="T101" fmla="*/ 90 h 95"/>
                  <a:gd name="T102" fmla="*/ 104 w 105"/>
                  <a:gd name="T103" fmla="*/ 94 h 95"/>
                  <a:gd name="T104" fmla="*/ 100 w 105"/>
                  <a:gd name="T105" fmla="*/ 95 h 95"/>
                  <a:gd name="T106" fmla="*/ 100 w 105"/>
                  <a:gd name="T107"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5" h="95">
                    <a:moveTo>
                      <a:pt x="100" y="95"/>
                    </a:moveTo>
                    <a:lnTo>
                      <a:pt x="100" y="95"/>
                    </a:lnTo>
                    <a:lnTo>
                      <a:pt x="97" y="94"/>
                    </a:lnTo>
                    <a:lnTo>
                      <a:pt x="96" y="90"/>
                    </a:lnTo>
                    <a:lnTo>
                      <a:pt x="96" y="52"/>
                    </a:lnTo>
                    <a:lnTo>
                      <a:pt x="96" y="52"/>
                    </a:lnTo>
                    <a:lnTo>
                      <a:pt x="94" y="43"/>
                    </a:lnTo>
                    <a:lnTo>
                      <a:pt x="92" y="35"/>
                    </a:lnTo>
                    <a:lnTo>
                      <a:pt x="88" y="28"/>
                    </a:lnTo>
                    <a:lnTo>
                      <a:pt x="82" y="21"/>
                    </a:lnTo>
                    <a:lnTo>
                      <a:pt x="77" y="16"/>
                    </a:lnTo>
                    <a:lnTo>
                      <a:pt x="69" y="12"/>
                    </a:lnTo>
                    <a:lnTo>
                      <a:pt x="61" y="9"/>
                    </a:lnTo>
                    <a:lnTo>
                      <a:pt x="53" y="9"/>
                    </a:lnTo>
                    <a:lnTo>
                      <a:pt x="53" y="9"/>
                    </a:lnTo>
                    <a:lnTo>
                      <a:pt x="43" y="9"/>
                    </a:lnTo>
                    <a:lnTo>
                      <a:pt x="35" y="12"/>
                    </a:lnTo>
                    <a:lnTo>
                      <a:pt x="28" y="16"/>
                    </a:lnTo>
                    <a:lnTo>
                      <a:pt x="22" y="21"/>
                    </a:lnTo>
                    <a:lnTo>
                      <a:pt x="16" y="28"/>
                    </a:lnTo>
                    <a:lnTo>
                      <a:pt x="12" y="35"/>
                    </a:lnTo>
                    <a:lnTo>
                      <a:pt x="11" y="43"/>
                    </a:lnTo>
                    <a:lnTo>
                      <a:pt x="10" y="52"/>
                    </a:lnTo>
                    <a:lnTo>
                      <a:pt x="10" y="90"/>
                    </a:lnTo>
                    <a:lnTo>
                      <a:pt x="10" y="90"/>
                    </a:lnTo>
                    <a:lnTo>
                      <a:pt x="8" y="94"/>
                    </a:lnTo>
                    <a:lnTo>
                      <a:pt x="4" y="95"/>
                    </a:lnTo>
                    <a:lnTo>
                      <a:pt x="4" y="95"/>
                    </a:lnTo>
                    <a:lnTo>
                      <a:pt x="2" y="94"/>
                    </a:lnTo>
                    <a:lnTo>
                      <a:pt x="0" y="90"/>
                    </a:lnTo>
                    <a:lnTo>
                      <a:pt x="0" y="52"/>
                    </a:lnTo>
                    <a:lnTo>
                      <a:pt x="0" y="52"/>
                    </a:lnTo>
                    <a:lnTo>
                      <a:pt x="2" y="41"/>
                    </a:lnTo>
                    <a:lnTo>
                      <a:pt x="4" y="31"/>
                    </a:lnTo>
                    <a:lnTo>
                      <a:pt x="8" y="22"/>
                    </a:lnTo>
                    <a:lnTo>
                      <a:pt x="15" y="14"/>
                    </a:lnTo>
                    <a:lnTo>
                      <a:pt x="23" y="8"/>
                    </a:lnTo>
                    <a:lnTo>
                      <a:pt x="32" y="4"/>
                    </a:lnTo>
                    <a:lnTo>
                      <a:pt x="42" y="1"/>
                    </a:lnTo>
                    <a:lnTo>
                      <a:pt x="53" y="0"/>
                    </a:lnTo>
                    <a:lnTo>
                      <a:pt x="53" y="0"/>
                    </a:lnTo>
                    <a:lnTo>
                      <a:pt x="63" y="1"/>
                    </a:lnTo>
                    <a:lnTo>
                      <a:pt x="73" y="4"/>
                    </a:lnTo>
                    <a:lnTo>
                      <a:pt x="82" y="8"/>
                    </a:lnTo>
                    <a:lnTo>
                      <a:pt x="89" y="14"/>
                    </a:lnTo>
                    <a:lnTo>
                      <a:pt x="96" y="22"/>
                    </a:lnTo>
                    <a:lnTo>
                      <a:pt x="101" y="31"/>
                    </a:lnTo>
                    <a:lnTo>
                      <a:pt x="104" y="41"/>
                    </a:lnTo>
                    <a:lnTo>
                      <a:pt x="105" y="52"/>
                    </a:lnTo>
                    <a:lnTo>
                      <a:pt x="105" y="90"/>
                    </a:lnTo>
                    <a:lnTo>
                      <a:pt x="105" y="90"/>
                    </a:lnTo>
                    <a:lnTo>
                      <a:pt x="104" y="94"/>
                    </a:lnTo>
                    <a:lnTo>
                      <a:pt x="100" y="95"/>
                    </a:lnTo>
                    <a:lnTo>
                      <a:pt x="100" y="9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201" name="Group 200"/>
            <p:cNvGrpSpPr>
              <a:grpSpLocks noChangeAspect="1"/>
            </p:cNvGrpSpPr>
            <p:nvPr/>
          </p:nvGrpSpPr>
          <p:grpSpPr>
            <a:xfrm>
              <a:off x="6075563" y="1991213"/>
              <a:ext cx="174625" cy="233363"/>
              <a:chOff x="1608138" y="5978525"/>
              <a:chExt cx="174625" cy="233363"/>
            </a:xfrm>
          </p:grpSpPr>
          <p:sp>
            <p:nvSpPr>
              <p:cNvPr id="217" name="Freeform 287"/>
              <p:cNvSpPr>
                <a:spLocks/>
              </p:cNvSpPr>
              <p:nvPr/>
            </p:nvSpPr>
            <p:spPr bwMode="auto">
              <a:xfrm>
                <a:off x="1608138" y="6022975"/>
                <a:ext cx="174625" cy="188913"/>
              </a:xfrm>
              <a:custGeom>
                <a:avLst/>
                <a:gdLst>
                  <a:gd name="T0" fmla="*/ 215 w 219"/>
                  <a:gd name="T1" fmla="*/ 0 h 238"/>
                  <a:gd name="T2" fmla="*/ 172 w 219"/>
                  <a:gd name="T3" fmla="*/ 0 h 238"/>
                  <a:gd name="T4" fmla="*/ 172 w 219"/>
                  <a:gd name="T5" fmla="*/ 34 h 238"/>
                  <a:gd name="T6" fmla="*/ 172 w 219"/>
                  <a:gd name="T7" fmla="*/ 34 h 238"/>
                  <a:gd name="T8" fmla="*/ 171 w 219"/>
                  <a:gd name="T9" fmla="*/ 39 h 238"/>
                  <a:gd name="T10" fmla="*/ 168 w 219"/>
                  <a:gd name="T11" fmla="*/ 44 h 238"/>
                  <a:gd name="T12" fmla="*/ 163 w 219"/>
                  <a:gd name="T13" fmla="*/ 47 h 238"/>
                  <a:gd name="T14" fmla="*/ 158 w 219"/>
                  <a:gd name="T15" fmla="*/ 48 h 238"/>
                  <a:gd name="T16" fmla="*/ 158 w 219"/>
                  <a:gd name="T17" fmla="*/ 48 h 238"/>
                  <a:gd name="T18" fmla="*/ 152 w 219"/>
                  <a:gd name="T19" fmla="*/ 47 h 238"/>
                  <a:gd name="T20" fmla="*/ 148 w 219"/>
                  <a:gd name="T21" fmla="*/ 44 h 238"/>
                  <a:gd name="T22" fmla="*/ 144 w 219"/>
                  <a:gd name="T23" fmla="*/ 39 h 238"/>
                  <a:gd name="T24" fmla="*/ 144 w 219"/>
                  <a:gd name="T25" fmla="*/ 34 h 238"/>
                  <a:gd name="T26" fmla="*/ 144 w 219"/>
                  <a:gd name="T27" fmla="*/ 0 h 238"/>
                  <a:gd name="T28" fmla="*/ 77 w 219"/>
                  <a:gd name="T29" fmla="*/ 0 h 238"/>
                  <a:gd name="T30" fmla="*/ 77 w 219"/>
                  <a:gd name="T31" fmla="*/ 34 h 238"/>
                  <a:gd name="T32" fmla="*/ 77 w 219"/>
                  <a:gd name="T33" fmla="*/ 34 h 238"/>
                  <a:gd name="T34" fmla="*/ 76 w 219"/>
                  <a:gd name="T35" fmla="*/ 39 h 238"/>
                  <a:gd name="T36" fmla="*/ 73 w 219"/>
                  <a:gd name="T37" fmla="*/ 44 h 238"/>
                  <a:gd name="T38" fmla="*/ 69 w 219"/>
                  <a:gd name="T39" fmla="*/ 47 h 238"/>
                  <a:gd name="T40" fmla="*/ 62 w 219"/>
                  <a:gd name="T41" fmla="*/ 48 h 238"/>
                  <a:gd name="T42" fmla="*/ 62 w 219"/>
                  <a:gd name="T43" fmla="*/ 48 h 238"/>
                  <a:gd name="T44" fmla="*/ 57 w 219"/>
                  <a:gd name="T45" fmla="*/ 47 h 238"/>
                  <a:gd name="T46" fmla="*/ 53 w 219"/>
                  <a:gd name="T47" fmla="*/ 44 h 238"/>
                  <a:gd name="T48" fmla="*/ 50 w 219"/>
                  <a:gd name="T49" fmla="*/ 39 h 238"/>
                  <a:gd name="T50" fmla="*/ 49 w 219"/>
                  <a:gd name="T51" fmla="*/ 34 h 238"/>
                  <a:gd name="T52" fmla="*/ 49 w 219"/>
                  <a:gd name="T53" fmla="*/ 0 h 238"/>
                  <a:gd name="T54" fmla="*/ 6 w 219"/>
                  <a:gd name="T55" fmla="*/ 0 h 238"/>
                  <a:gd name="T56" fmla="*/ 6 w 219"/>
                  <a:gd name="T57" fmla="*/ 0 h 238"/>
                  <a:gd name="T58" fmla="*/ 2 w 219"/>
                  <a:gd name="T59" fmla="*/ 1 h 238"/>
                  <a:gd name="T60" fmla="*/ 0 w 219"/>
                  <a:gd name="T61" fmla="*/ 5 h 238"/>
                  <a:gd name="T62" fmla="*/ 0 w 219"/>
                  <a:gd name="T63" fmla="*/ 234 h 238"/>
                  <a:gd name="T64" fmla="*/ 0 w 219"/>
                  <a:gd name="T65" fmla="*/ 234 h 238"/>
                  <a:gd name="T66" fmla="*/ 2 w 219"/>
                  <a:gd name="T67" fmla="*/ 236 h 238"/>
                  <a:gd name="T68" fmla="*/ 6 w 219"/>
                  <a:gd name="T69" fmla="*/ 238 h 238"/>
                  <a:gd name="T70" fmla="*/ 215 w 219"/>
                  <a:gd name="T71" fmla="*/ 238 h 238"/>
                  <a:gd name="T72" fmla="*/ 215 w 219"/>
                  <a:gd name="T73" fmla="*/ 238 h 238"/>
                  <a:gd name="T74" fmla="*/ 218 w 219"/>
                  <a:gd name="T75" fmla="*/ 236 h 238"/>
                  <a:gd name="T76" fmla="*/ 219 w 219"/>
                  <a:gd name="T77" fmla="*/ 234 h 238"/>
                  <a:gd name="T78" fmla="*/ 219 w 219"/>
                  <a:gd name="T79" fmla="*/ 5 h 238"/>
                  <a:gd name="T80" fmla="*/ 219 w 219"/>
                  <a:gd name="T81" fmla="*/ 5 h 238"/>
                  <a:gd name="T82" fmla="*/ 218 w 219"/>
                  <a:gd name="T83" fmla="*/ 1 h 238"/>
                  <a:gd name="T84" fmla="*/ 215 w 219"/>
                  <a:gd name="T85" fmla="*/ 0 h 238"/>
                  <a:gd name="T86" fmla="*/ 215 w 219"/>
                  <a:gd name="T87"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9" h="238">
                    <a:moveTo>
                      <a:pt x="215" y="0"/>
                    </a:moveTo>
                    <a:lnTo>
                      <a:pt x="172" y="0"/>
                    </a:lnTo>
                    <a:lnTo>
                      <a:pt x="172" y="34"/>
                    </a:lnTo>
                    <a:lnTo>
                      <a:pt x="172" y="34"/>
                    </a:lnTo>
                    <a:lnTo>
                      <a:pt x="171" y="39"/>
                    </a:lnTo>
                    <a:lnTo>
                      <a:pt x="168" y="44"/>
                    </a:lnTo>
                    <a:lnTo>
                      <a:pt x="163" y="47"/>
                    </a:lnTo>
                    <a:lnTo>
                      <a:pt x="158" y="48"/>
                    </a:lnTo>
                    <a:lnTo>
                      <a:pt x="158" y="48"/>
                    </a:lnTo>
                    <a:lnTo>
                      <a:pt x="152" y="47"/>
                    </a:lnTo>
                    <a:lnTo>
                      <a:pt x="148" y="44"/>
                    </a:lnTo>
                    <a:lnTo>
                      <a:pt x="144" y="39"/>
                    </a:lnTo>
                    <a:lnTo>
                      <a:pt x="144" y="34"/>
                    </a:lnTo>
                    <a:lnTo>
                      <a:pt x="144" y="0"/>
                    </a:lnTo>
                    <a:lnTo>
                      <a:pt x="77" y="0"/>
                    </a:lnTo>
                    <a:lnTo>
                      <a:pt x="77" y="34"/>
                    </a:lnTo>
                    <a:lnTo>
                      <a:pt x="77" y="34"/>
                    </a:lnTo>
                    <a:lnTo>
                      <a:pt x="76" y="39"/>
                    </a:lnTo>
                    <a:lnTo>
                      <a:pt x="73" y="44"/>
                    </a:lnTo>
                    <a:lnTo>
                      <a:pt x="69" y="47"/>
                    </a:lnTo>
                    <a:lnTo>
                      <a:pt x="62" y="48"/>
                    </a:lnTo>
                    <a:lnTo>
                      <a:pt x="62" y="48"/>
                    </a:lnTo>
                    <a:lnTo>
                      <a:pt x="57" y="47"/>
                    </a:lnTo>
                    <a:lnTo>
                      <a:pt x="53" y="44"/>
                    </a:lnTo>
                    <a:lnTo>
                      <a:pt x="50" y="39"/>
                    </a:lnTo>
                    <a:lnTo>
                      <a:pt x="49" y="34"/>
                    </a:lnTo>
                    <a:lnTo>
                      <a:pt x="49" y="0"/>
                    </a:lnTo>
                    <a:lnTo>
                      <a:pt x="6" y="0"/>
                    </a:lnTo>
                    <a:lnTo>
                      <a:pt x="6" y="0"/>
                    </a:lnTo>
                    <a:lnTo>
                      <a:pt x="2" y="1"/>
                    </a:lnTo>
                    <a:lnTo>
                      <a:pt x="0" y="5"/>
                    </a:lnTo>
                    <a:lnTo>
                      <a:pt x="0" y="234"/>
                    </a:lnTo>
                    <a:lnTo>
                      <a:pt x="0" y="234"/>
                    </a:lnTo>
                    <a:lnTo>
                      <a:pt x="2" y="236"/>
                    </a:lnTo>
                    <a:lnTo>
                      <a:pt x="6" y="238"/>
                    </a:lnTo>
                    <a:lnTo>
                      <a:pt x="215" y="238"/>
                    </a:lnTo>
                    <a:lnTo>
                      <a:pt x="215" y="238"/>
                    </a:lnTo>
                    <a:lnTo>
                      <a:pt x="218" y="236"/>
                    </a:lnTo>
                    <a:lnTo>
                      <a:pt x="219" y="234"/>
                    </a:lnTo>
                    <a:lnTo>
                      <a:pt x="219" y="5"/>
                    </a:lnTo>
                    <a:lnTo>
                      <a:pt x="219" y="5"/>
                    </a:lnTo>
                    <a:lnTo>
                      <a:pt x="218" y="1"/>
                    </a:lnTo>
                    <a:lnTo>
                      <a:pt x="215" y="0"/>
                    </a:lnTo>
                    <a:lnTo>
                      <a:pt x="21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18" name="Freeform 288"/>
              <p:cNvSpPr>
                <a:spLocks/>
              </p:cNvSpPr>
              <p:nvPr/>
            </p:nvSpPr>
            <p:spPr bwMode="auto">
              <a:xfrm>
                <a:off x="1654176" y="5978525"/>
                <a:ext cx="82550" cy="74613"/>
              </a:xfrm>
              <a:custGeom>
                <a:avLst/>
                <a:gdLst>
                  <a:gd name="T0" fmla="*/ 100 w 105"/>
                  <a:gd name="T1" fmla="*/ 95 h 95"/>
                  <a:gd name="T2" fmla="*/ 100 w 105"/>
                  <a:gd name="T3" fmla="*/ 95 h 95"/>
                  <a:gd name="T4" fmla="*/ 97 w 105"/>
                  <a:gd name="T5" fmla="*/ 94 h 95"/>
                  <a:gd name="T6" fmla="*/ 96 w 105"/>
                  <a:gd name="T7" fmla="*/ 90 h 95"/>
                  <a:gd name="T8" fmla="*/ 96 w 105"/>
                  <a:gd name="T9" fmla="*/ 52 h 95"/>
                  <a:gd name="T10" fmla="*/ 96 w 105"/>
                  <a:gd name="T11" fmla="*/ 52 h 95"/>
                  <a:gd name="T12" fmla="*/ 94 w 105"/>
                  <a:gd name="T13" fmla="*/ 43 h 95"/>
                  <a:gd name="T14" fmla="*/ 92 w 105"/>
                  <a:gd name="T15" fmla="*/ 35 h 95"/>
                  <a:gd name="T16" fmla="*/ 88 w 105"/>
                  <a:gd name="T17" fmla="*/ 28 h 95"/>
                  <a:gd name="T18" fmla="*/ 82 w 105"/>
                  <a:gd name="T19" fmla="*/ 21 h 95"/>
                  <a:gd name="T20" fmla="*/ 77 w 105"/>
                  <a:gd name="T21" fmla="*/ 16 h 95"/>
                  <a:gd name="T22" fmla="*/ 69 w 105"/>
                  <a:gd name="T23" fmla="*/ 12 h 95"/>
                  <a:gd name="T24" fmla="*/ 61 w 105"/>
                  <a:gd name="T25" fmla="*/ 9 h 95"/>
                  <a:gd name="T26" fmla="*/ 53 w 105"/>
                  <a:gd name="T27" fmla="*/ 9 h 95"/>
                  <a:gd name="T28" fmla="*/ 53 w 105"/>
                  <a:gd name="T29" fmla="*/ 9 h 95"/>
                  <a:gd name="T30" fmla="*/ 43 w 105"/>
                  <a:gd name="T31" fmla="*/ 9 h 95"/>
                  <a:gd name="T32" fmla="*/ 35 w 105"/>
                  <a:gd name="T33" fmla="*/ 12 h 95"/>
                  <a:gd name="T34" fmla="*/ 28 w 105"/>
                  <a:gd name="T35" fmla="*/ 16 h 95"/>
                  <a:gd name="T36" fmla="*/ 22 w 105"/>
                  <a:gd name="T37" fmla="*/ 21 h 95"/>
                  <a:gd name="T38" fmla="*/ 16 w 105"/>
                  <a:gd name="T39" fmla="*/ 28 h 95"/>
                  <a:gd name="T40" fmla="*/ 12 w 105"/>
                  <a:gd name="T41" fmla="*/ 35 h 95"/>
                  <a:gd name="T42" fmla="*/ 11 w 105"/>
                  <a:gd name="T43" fmla="*/ 43 h 95"/>
                  <a:gd name="T44" fmla="*/ 10 w 105"/>
                  <a:gd name="T45" fmla="*/ 52 h 95"/>
                  <a:gd name="T46" fmla="*/ 10 w 105"/>
                  <a:gd name="T47" fmla="*/ 90 h 95"/>
                  <a:gd name="T48" fmla="*/ 10 w 105"/>
                  <a:gd name="T49" fmla="*/ 90 h 95"/>
                  <a:gd name="T50" fmla="*/ 8 w 105"/>
                  <a:gd name="T51" fmla="*/ 94 h 95"/>
                  <a:gd name="T52" fmla="*/ 4 w 105"/>
                  <a:gd name="T53" fmla="*/ 95 h 95"/>
                  <a:gd name="T54" fmla="*/ 4 w 105"/>
                  <a:gd name="T55" fmla="*/ 95 h 95"/>
                  <a:gd name="T56" fmla="*/ 2 w 105"/>
                  <a:gd name="T57" fmla="*/ 94 h 95"/>
                  <a:gd name="T58" fmla="*/ 0 w 105"/>
                  <a:gd name="T59" fmla="*/ 90 h 95"/>
                  <a:gd name="T60" fmla="*/ 0 w 105"/>
                  <a:gd name="T61" fmla="*/ 52 h 95"/>
                  <a:gd name="T62" fmla="*/ 0 w 105"/>
                  <a:gd name="T63" fmla="*/ 52 h 95"/>
                  <a:gd name="T64" fmla="*/ 2 w 105"/>
                  <a:gd name="T65" fmla="*/ 41 h 95"/>
                  <a:gd name="T66" fmla="*/ 4 w 105"/>
                  <a:gd name="T67" fmla="*/ 31 h 95"/>
                  <a:gd name="T68" fmla="*/ 8 w 105"/>
                  <a:gd name="T69" fmla="*/ 22 h 95"/>
                  <a:gd name="T70" fmla="*/ 15 w 105"/>
                  <a:gd name="T71" fmla="*/ 14 h 95"/>
                  <a:gd name="T72" fmla="*/ 23 w 105"/>
                  <a:gd name="T73" fmla="*/ 8 h 95"/>
                  <a:gd name="T74" fmla="*/ 32 w 105"/>
                  <a:gd name="T75" fmla="*/ 4 h 95"/>
                  <a:gd name="T76" fmla="*/ 42 w 105"/>
                  <a:gd name="T77" fmla="*/ 1 h 95"/>
                  <a:gd name="T78" fmla="*/ 53 w 105"/>
                  <a:gd name="T79" fmla="*/ 0 h 95"/>
                  <a:gd name="T80" fmla="*/ 53 w 105"/>
                  <a:gd name="T81" fmla="*/ 0 h 95"/>
                  <a:gd name="T82" fmla="*/ 63 w 105"/>
                  <a:gd name="T83" fmla="*/ 1 h 95"/>
                  <a:gd name="T84" fmla="*/ 73 w 105"/>
                  <a:gd name="T85" fmla="*/ 4 h 95"/>
                  <a:gd name="T86" fmla="*/ 82 w 105"/>
                  <a:gd name="T87" fmla="*/ 8 h 95"/>
                  <a:gd name="T88" fmla="*/ 89 w 105"/>
                  <a:gd name="T89" fmla="*/ 14 h 95"/>
                  <a:gd name="T90" fmla="*/ 96 w 105"/>
                  <a:gd name="T91" fmla="*/ 22 h 95"/>
                  <a:gd name="T92" fmla="*/ 101 w 105"/>
                  <a:gd name="T93" fmla="*/ 31 h 95"/>
                  <a:gd name="T94" fmla="*/ 104 w 105"/>
                  <a:gd name="T95" fmla="*/ 41 h 95"/>
                  <a:gd name="T96" fmla="*/ 105 w 105"/>
                  <a:gd name="T97" fmla="*/ 52 h 95"/>
                  <a:gd name="T98" fmla="*/ 105 w 105"/>
                  <a:gd name="T99" fmla="*/ 90 h 95"/>
                  <a:gd name="T100" fmla="*/ 105 w 105"/>
                  <a:gd name="T101" fmla="*/ 90 h 95"/>
                  <a:gd name="T102" fmla="*/ 104 w 105"/>
                  <a:gd name="T103" fmla="*/ 94 h 95"/>
                  <a:gd name="T104" fmla="*/ 100 w 105"/>
                  <a:gd name="T105" fmla="*/ 95 h 95"/>
                  <a:gd name="T106" fmla="*/ 100 w 105"/>
                  <a:gd name="T107"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5" h="95">
                    <a:moveTo>
                      <a:pt x="100" y="95"/>
                    </a:moveTo>
                    <a:lnTo>
                      <a:pt x="100" y="95"/>
                    </a:lnTo>
                    <a:lnTo>
                      <a:pt x="97" y="94"/>
                    </a:lnTo>
                    <a:lnTo>
                      <a:pt x="96" y="90"/>
                    </a:lnTo>
                    <a:lnTo>
                      <a:pt x="96" y="52"/>
                    </a:lnTo>
                    <a:lnTo>
                      <a:pt x="96" y="52"/>
                    </a:lnTo>
                    <a:lnTo>
                      <a:pt x="94" y="43"/>
                    </a:lnTo>
                    <a:lnTo>
                      <a:pt x="92" y="35"/>
                    </a:lnTo>
                    <a:lnTo>
                      <a:pt x="88" y="28"/>
                    </a:lnTo>
                    <a:lnTo>
                      <a:pt x="82" y="21"/>
                    </a:lnTo>
                    <a:lnTo>
                      <a:pt x="77" y="16"/>
                    </a:lnTo>
                    <a:lnTo>
                      <a:pt x="69" y="12"/>
                    </a:lnTo>
                    <a:lnTo>
                      <a:pt x="61" y="9"/>
                    </a:lnTo>
                    <a:lnTo>
                      <a:pt x="53" y="9"/>
                    </a:lnTo>
                    <a:lnTo>
                      <a:pt x="53" y="9"/>
                    </a:lnTo>
                    <a:lnTo>
                      <a:pt x="43" y="9"/>
                    </a:lnTo>
                    <a:lnTo>
                      <a:pt x="35" y="12"/>
                    </a:lnTo>
                    <a:lnTo>
                      <a:pt x="28" y="16"/>
                    </a:lnTo>
                    <a:lnTo>
                      <a:pt x="22" y="21"/>
                    </a:lnTo>
                    <a:lnTo>
                      <a:pt x="16" y="28"/>
                    </a:lnTo>
                    <a:lnTo>
                      <a:pt x="12" y="35"/>
                    </a:lnTo>
                    <a:lnTo>
                      <a:pt x="11" y="43"/>
                    </a:lnTo>
                    <a:lnTo>
                      <a:pt x="10" y="52"/>
                    </a:lnTo>
                    <a:lnTo>
                      <a:pt x="10" y="90"/>
                    </a:lnTo>
                    <a:lnTo>
                      <a:pt x="10" y="90"/>
                    </a:lnTo>
                    <a:lnTo>
                      <a:pt x="8" y="94"/>
                    </a:lnTo>
                    <a:lnTo>
                      <a:pt x="4" y="95"/>
                    </a:lnTo>
                    <a:lnTo>
                      <a:pt x="4" y="95"/>
                    </a:lnTo>
                    <a:lnTo>
                      <a:pt x="2" y="94"/>
                    </a:lnTo>
                    <a:lnTo>
                      <a:pt x="0" y="90"/>
                    </a:lnTo>
                    <a:lnTo>
                      <a:pt x="0" y="52"/>
                    </a:lnTo>
                    <a:lnTo>
                      <a:pt x="0" y="52"/>
                    </a:lnTo>
                    <a:lnTo>
                      <a:pt x="2" y="41"/>
                    </a:lnTo>
                    <a:lnTo>
                      <a:pt x="4" y="31"/>
                    </a:lnTo>
                    <a:lnTo>
                      <a:pt x="8" y="22"/>
                    </a:lnTo>
                    <a:lnTo>
                      <a:pt x="15" y="14"/>
                    </a:lnTo>
                    <a:lnTo>
                      <a:pt x="23" y="8"/>
                    </a:lnTo>
                    <a:lnTo>
                      <a:pt x="32" y="4"/>
                    </a:lnTo>
                    <a:lnTo>
                      <a:pt x="42" y="1"/>
                    </a:lnTo>
                    <a:lnTo>
                      <a:pt x="53" y="0"/>
                    </a:lnTo>
                    <a:lnTo>
                      <a:pt x="53" y="0"/>
                    </a:lnTo>
                    <a:lnTo>
                      <a:pt x="63" y="1"/>
                    </a:lnTo>
                    <a:lnTo>
                      <a:pt x="73" y="4"/>
                    </a:lnTo>
                    <a:lnTo>
                      <a:pt x="82" y="8"/>
                    </a:lnTo>
                    <a:lnTo>
                      <a:pt x="89" y="14"/>
                    </a:lnTo>
                    <a:lnTo>
                      <a:pt x="96" y="22"/>
                    </a:lnTo>
                    <a:lnTo>
                      <a:pt x="101" y="31"/>
                    </a:lnTo>
                    <a:lnTo>
                      <a:pt x="104" y="41"/>
                    </a:lnTo>
                    <a:lnTo>
                      <a:pt x="105" y="52"/>
                    </a:lnTo>
                    <a:lnTo>
                      <a:pt x="105" y="90"/>
                    </a:lnTo>
                    <a:lnTo>
                      <a:pt x="105" y="90"/>
                    </a:lnTo>
                    <a:lnTo>
                      <a:pt x="104" y="94"/>
                    </a:lnTo>
                    <a:lnTo>
                      <a:pt x="100" y="95"/>
                    </a:lnTo>
                    <a:lnTo>
                      <a:pt x="100" y="9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202" name="Group 201"/>
            <p:cNvGrpSpPr>
              <a:grpSpLocks noChangeAspect="1"/>
            </p:cNvGrpSpPr>
            <p:nvPr/>
          </p:nvGrpSpPr>
          <p:grpSpPr>
            <a:xfrm>
              <a:off x="6402058" y="1991213"/>
              <a:ext cx="174625" cy="233363"/>
              <a:chOff x="1608138" y="5978525"/>
              <a:chExt cx="174625" cy="233363"/>
            </a:xfrm>
          </p:grpSpPr>
          <p:sp>
            <p:nvSpPr>
              <p:cNvPr id="215" name="Freeform 287"/>
              <p:cNvSpPr>
                <a:spLocks/>
              </p:cNvSpPr>
              <p:nvPr/>
            </p:nvSpPr>
            <p:spPr bwMode="auto">
              <a:xfrm>
                <a:off x="1608138" y="6022975"/>
                <a:ext cx="174625" cy="188913"/>
              </a:xfrm>
              <a:custGeom>
                <a:avLst/>
                <a:gdLst>
                  <a:gd name="T0" fmla="*/ 215 w 219"/>
                  <a:gd name="T1" fmla="*/ 0 h 238"/>
                  <a:gd name="T2" fmla="*/ 172 w 219"/>
                  <a:gd name="T3" fmla="*/ 0 h 238"/>
                  <a:gd name="T4" fmla="*/ 172 w 219"/>
                  <a:gd name="T5" fmla="*/ 34 h 238"/>
                  <a:gd name="T6" fmla="*/ 172 w 219"/>
                  <a:gd name="T7" fmla="*/ 34 h 238"/>
                  <a:gd name="T8" fmla="*/ 171 w 219"/>
                  <a:gd name="T9" fmla="*/ 39 h 238"/>
                  <a:gd name="T10" fmla="*/ 168 w 219"/>
                  <a:gd name="T11" fmla="*/ 44 h 238"/>
                  <a:gd name="T12" fmla="*/ 163 w 219"/>
                  <a:gd name="T13" fmla="*/ 47 h 238"/>
                  <a:gd name="T14" fmla="*/ 158 w 219"/>
                  <a:gd name="T15" fmla="*/ 48 h 238"/>
                  <a:gd name="T16" fmla="*/ 158 w 219"/>
                  <a:gd name="T17" fmla="*/ 48 h 238"/>
                  <a:gd name="T18" fmla="*/ 152 w 219"/>
                  <a:gd name="T19" fmla="*/ 47 h 238"/>
                  <a:gd name="T20" fmla="*/ 148 w 219"/>
                  <a:gd name="T21" fmla="*/ 44 h 238"/>
                  <a:gd name="T22" fmla="*/ 144 w 219"/>
                  <a:gd name="T23" fmla="*/ 39 h 238"/>
                  <a:gd name="T24" fmla="*/ 144 w 219"/>
                  <a:gd name="T25" fmla="*/ 34 h 238"/>
                  <a:gd name="T26" fmla="*/ 144 w 219"/>
                  <a:gd name="T27" fmla="*/ 0 h 238"/>
                  <a:gd name="T28" fmla="*/ 77 w 219"/>
                  <a:gd name="T29" fmla="*/ 0 h 238"/>
                  <a:gd name="T30" fmla="*/ 77 w 219"/>
                  <a:gd name="T31" fmla="*/ 34 h 238"/>
                  <a:gd name="T32" fmla="*/ 77 w 219"/>
                  <a:gd name="T33" fmla="*/ 34 h 238"/>
                  <a:gd name="T34" fmla="*/ 76 w 219"/>
                  <a:gd name="T35" fmla="*/ 39 h 238"/>
                  <a:gd name="T36" fmla="*/ 73 w 219"/>
                  <a:gd name="T37" fmla="*/ 44 h 238"/>
                  <a:gd name="T38" fmla="*/ 69 w 219"/>
                  <a:gd name="T39" fmla="*/ 47 h 238"/>
                  <a:gd name="T40" fmla="*/ 62 w 219"/>
                  <a:gd name="T41" fmla="*/ 48 h 238"/>
                  <a:gd name="T42" fmla="*/ 62 w 219"/>
                  <a:gd name="T43" fmla="*/ 48 h 238"/>
                  <a:gd name="T44" fmla="*/ 57 w 219"/>
                  <a:gd name="T45" fmla="*/ 47 h 238"/>
                  <a:gd name="T46" fmla="*/ 53 w 219"/>
                  <a:gd name="T47" fmla="*/ 44 h 238"/>
                  <a:gd name="T48" fmla="*/ 50 w 219"/>
                  <a:gd name="T49" fmla="*/ 39 h 238"/>
                  <a:gd name="T50" fmla="*/ 49 w 219"/>
                  <a:gd name="T51" fmla="*/ 34 h 238"/>
                  <a:gd name="T52" fmla="*/ 49 w 219"/>
                  <a:gd name="T53" fmla="*/ 0 h 238"/>
                  <a:gd name="T54" fmla="*/ 6 w 219"/>
                  <a:gd name="T55" fmla="*/ 0 h 238"/>
                  <a:gd name="T56" fmla="*/ 6 w 219"/>
                  <a:gd name="T57" fmla="*/ 0 h 238"/>
                  <a:gd name="T58" fmla="*/ 2 w 219"/>
                  <a:gd name="T59" fmla="*/ 1 h 238"/>
                  <a:gd name="T60" fmla="*/ 0 w 219"/>
                  <a:gd name="T61" fmla="*/ 5 h 238"/>
                  <a:gd name="T62" fmla="*/ 0 w 219"/>
                  <a:gd name="T63" fmla="*/ 234 h 238"/>
                  <a:gd name="T64" fmla="*/ 0 w 219"/>
                  <a:gd name="T65" fmla="*/ 234 h 238"/>
                  <a:gd name="T66" fmla="*/ 2 w 219"/>
                  <a:gd name="T67" fmla="*/ 236 h 238"/>
                  <a:gd name="T68" fmla="*/ 6 w 219"/>
                  <a:gd name="T69" fmla="*/ 238 h 238"/>
                  <a:gd name="T70" fmla="*/ 215 w 219"/>
                  <a:gd name="T71" fmla="*/ 238 h 238"/>
                  <a:gd name="T72" fmla="*/ 215 w 219"/>
                  <a:gd name="T73" fmla="*/ 238 h 238"/>
                  <a:gd name="T74" fmla="*/ 218 w 219"/>
                  <a:gd name="T75" fmla="*/ 236 h 238"/>
                  <a:gd name="T76" fmla="*/ 219 w 219"/>
                  <a:gd name="T77" fmla="*/ 234 h 238"/>
                  <a:gd name="T78" fmla="*/ 219 w 219"/>
                  <a:gd name="T79" fmla="*/ 5 h 238"/>
                  <a:gd name="T80" fmla="*/ 219 w 219"/>
                  <a:gd name="T81" fmla="*/ 5 h 238"/>
                  <a:gd name="T82" fmla="*/ 218 w 219"/>
                  <a:gd name="T83" fmla="*/ 1 h 238"/>
                  <a:gd name="T84" fmla="*/ 215 w 219"/>
                  <a:gd name="T85" fmla="*/ 0 h 238"/>
                  <a:gd name="T86" fmla="*/ 215 w 219"/>
                  <a:gd name="T87"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9" h="238">
                    <a:moveTo>
                      <a:pt x="215" y="0"/>
                    </a:moveTo>
                    <a:lnTo>
                      <a:pt x="172" y="0"/>
                    </a:lnTo>
                    <a:lnTo>
                      <a:pt x="172" y="34"/>
                    </a:lnTo>
                    <a:lnTo>
                      <a:pt x="172" y="34"/>
                    </a:lnTo>
                    <a:lnTo>
                      <a:pt x="171" y="39"/>
                    </a:lnTo>
                    <a:lnTo>
                      <a:pt x="168" y="44"/>
                    </a:lnTo>
                    <a:lnTo>
                      <a:pt x="163" y="47"/>
                    </a:lnTo>
                    <a:lnTo>
                      <a:pt x="158" y="48"/>
                    </a:lnTo>
                    <a:lnTo>
                      <a:pt x="158" y="48"/>
                    </a:lnTo>
                    <a:lnTo>
                      <a:pt x="152" y="47"/>
                    </a:lnTo>
                    <a:lnTo>
                      <a:pt x="148" y="44"/>
                    </a:lnTo>
                    <a:lnTo>
                      <a:pt x="144" y="39"/>
                    </a:lnTo>
                    <a:lnTo>
                      <a:pt x="144" y="34"/>
                    </a:lnTo>
                    <a:lnTo>
                      <a:pt x="144" y="0"/>
                    </a:lnTo>
                    <a:lnTo>
                      <a:pt x="77" y="0"/>
                    </a:lnTo>
                    <a:lnTo>
                      <a:pt x="77" y="34"/>
                    </a:lnTo>
                    <a:lnTo>
                      <a:pt x="77" y="34"/>
                    </a:lnTo>
                    <a:lnTo>
                      <a:pt x="76" y="39"/>
                    </a:lnTo>
                    <a:lnTo>
                      <a:pt x="73" y="44"/>
                    </a:lnTo>
                    <a:lnTo>
                      <a:pt x="69" y="47"/>
                    </a:lnTo>
                    <a:lnTo>
                      <a:pt x="62" y="48"/>
                    </a:lnTo>
                    <a:lnTo>
                      <a:pt x="62" y="48"/>
                    </a:lnTo>
                    <a:lnTo>
                      <a:pt x="57" y="47"/>
                    </a:lnTo>
                    <a:lnTo>
                      <a:pt x="53" y="44"/>
                    </a:lnTo>
                    <a:lnTo>
                      <a:pt x="50" y="39"/>
                    </a:lnTo>
                    <a:lnTo>
                      <a:pt x="49" y="34"/>
                    </a:lnTo>
                    <a:lnTo>
                      <a:pt x="49" y="0"/>
                    </a:lnTo>
                    <a:lnTo>
                      <a:pt x="6" y="0"/>
                    </a:lnTo>
                    <a:lnTo>
                      <a:pt x="6" y="0"/>
                    </a:lnTo>
                    <a:lnTo>
                      <a:pt x="2" y="1"/>
                    </a:lnTo>
                    <a:lnTo>
                      <a:pt x="0" y="5"/>
                    </a:lnTo>
                    <a:lnTo>
                      <a:pt x="0" y="234"/>
                    </a:lnTo>
                    <a:lnTo>
                      <a:pt x="0" y="234"/>
                    </a:lnTo>
                    <a:lnTo>
                      <a:pt x="2" y="236"/>
                    </a:lnTo>
                    <a:lnTo>
                      <a:pt x="6" y="238"/>
                    </a:lnTo>
                    <a:lnTo>
                      <a:pt x="215" y="238"/>
                    </a:lnTo>
                    <a:lnTo>
                      <a:pt x="215" y="238"/>
                    </a:lnTo>
                    <a:lnTo>
                      <a:pt x="218" y="236"/>
                    </a:lnTo>
                    <a:lnTo>
                      <a:pt x="219" y="234"/>
                    </a:lnTo>
                    <a:lnTo>
                      <a:pt x="219" y="5"/>
                    </a:lnTo>
                    <a:lnTo>
                      <a:pt x="219" y="5"/>
                    </a:lnTo>
                    <a:lnTo>
                      <a:pt x="218" y="1"/>
                    </a:lnTo>
                    <a:lnTo>
                      <a:pt x="215" y="0"/>
                    </a:lnTo>
                    <a:lnTo>
                      <a:pt x="21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16" name="Freeform 288"/>
              <p:cNvSpPr>
                <a:spLocks/>
              </p:cNvSpPr>
              <p:nvPr/>
            </p:nvSpPr>
            <p:spPr bwMode="auto">
              <a:xfrm>
                <a:off x="1654176" y="5978525"/>
                <a:ext cx="82550" cy="74613"/>
              </a:xfrm>
              <a:custGeom>
                <a:avLst/>
                <a:gdLst>
                  <a:gd name="T0" fmla="*/ 100 w 105"/>
                  <a:gd name="T1" fmla="*/ 95 h 95"/>
                  <a:gd name="T2" fmla="*/ 100 w 105"/>
                  <a:gd name="T3" fmla="*/ 95 h 95"/>
                  <a:gd name="T4" fmla="*/ 97 w 105"/>
                  <a:gd name="T5" fmla="*/ 94 h 95"/>
                  <a:gd name="T6" fmla="*/ 96 w 105"/>
                  <a:gd name="T7" fmla="*/ 90 h 95"/>
                  <a:gd name="T8" fmla="*/ 96 w 105"/>
                  <a:gd name="T9" fmla="*/ 52 h 95"/>
                  <a:gd name="T10" fmla="*/ 96 w 105"/>
                  <a:gd name="T11" fmla="*/ 52 h 95"/>
                  <a:gd name="T12" fmla="*/ 94 w 105"/>
                  <a:gd name="T13" fmla="*/ 43 h 95"/>
                  <a:gd name="T14" fmla="*/ 92 w 105"/>
                  <a:gd name="T15" fmla="*/ 35 h 95"/>
                  <a:gd name="T16" fmla="*/ 88 w 105"/>
                  <a:gd name="T17" fmla="*/ 28 h 95"/>
                  <a:gd name="T18" fmla="*/ 82 w 105"/>
                  <a:gd name="T19" fmla="*/ 21 h 95"/>
                  <a:gd name="T20" fmla="*/ 77 w 105"/>
                  <a:gd name="T21" fmla="*/ 16 h 95"/>
                  <a:gd name="T22" fmla="*/ 69 w 105"/>
                  <a:gd name="T23" fmla="*/ 12 h 95"/>
                  <a:gd name="T24" fmla="*/ 61 w 105"/>
                  <a:gd name="T25" fmla="*/ 9 h 95"/>
                  <a:gd name="T26" fmla="*/ 53 w 105"/>
                  <a:gd name="T27" fmla="*/ 9 h 95"/>
                  <a:gd name="T28" fmla="*/ 53 w 105"/>
                  <a:gd name="T29" fmla="*/ 9 h 95"/>
                  <a:gd name="T30" fmla="*/ 43 w 105"/>
                  <a:gd name="T31" fmla="*/ 9 h 95"/>
                  <a:gd name="T32" fmla="*/ 35 w 105"/>
                  <a:gd name="T33" fmla="*/ 12 h 95"/>
                  <a:gd name="T34" fmla="*/ 28 w 105"/>
                  <a:gd name="T35" fmla="*/ 16 h 95"/>
                  <a:gd name="T36" fmla="*/ 22 w 105"/>
                  <a:gd name="T37" fmla="*/ 21 h 95"/>
                  <a:gd name="T38" fmla="*/ 16 w 105"/>
                  <a:gd name="T39" fmla="*/ 28 h 95"/>
                  <a:gd name="T40" fmla="*/ 12 w 105"/>
                  <a:gd name="T41" fmla="*/ 35 h 95"/>
                  <a:gd name="T42" fmla="*/ 11 w 105"/>
                  <a:gd name="T43" fmla="*/ 43 h 95"/>
                  <a:gd name="T44" fmla="*/ 10 w 105"/>
                  <a:gd name="T45" fmla="*/ 52 h 95"/>
                  <a:gd name="T46" fmla="*/ 10 w 105"/>
                  <a:gd name="T47" fmla="*/ 90 h 95"/>
                  <a:gd name="T48" fmla="*/ 10 w 105"/>
                  <a:gd name="T49" fmla="*/ 90 h 95"/>
                  <a:gd name="T50" fmla="*/ 8 w 105"/>
                  <a:gd name="T51" fmla="*/ 94 h 95"/>
                  <a:gd name="T52" fmla="*/ 4 w 105"/>
                  <a:gd name="T53" fmla="*/ 95 h 95"/>
                  <a:gd name="T54" fmla="*/ 4 w 105"/>
                  <a:gd name="T55" fmla="*/ 95 h 95"/>
                  <a:gd name="T56" fmla="*/ 2 w 105"/>
                  <a:gd name="T57" fmla="*/ 94 h 95"/>
                  <a:gd name="T58" fmla="*/ 0 w 105"/>
                  <a:gd name="T59" fmla="*/ 90 h 95"/>
                  <a:gd name="T60" fmla="*/ 0 w 105"/>
                  <a:gd name="T61" fmla="*/ 52 h 95"/>
                  <a:gd name="T62" fmla="*/ 0 w 105"/>
                  <a:gd name="T63" fmla="*/ 52 h 95"/>
                  <a:gd name="T64" fmla="*/ 2 w 105"/>
                  <a:gd name="T65" fmla="*/ 41 h 95"/>
                  <a:gd name="T66" fmla="*/ 4 w 105"/>
                  <a:gd name="T67" fmla="*/ 31 h 95"/>
                  <a:gd name="T68" fmla="*/ 8 w 105"/>
                  <a:gd name="T69" fmla="*/ 22 h 95"/>
                  <a:gd name="T70" fmla="*/ 15 w 105"/>
                  <a:gd name="T71" fmla="*/ 14 h 95"/>
                  <a:gd name="T72" fmla="*/ 23 w 105"/>
                  <a:gd name="T73" fmla="*/ 8 h 95"/>
                  <a:gd name="T74" fmla="*/ 32 w 105"/>
                  <a:gd name="T75" fmla="*/ 4 h 95"/>
                  <a:gd name="T76" fmla="*/ 42 w 105"/>
                  <a:gd name="T77" fmla="*/ 1 h 95"/>
                  <a:gd name="T78" fmla="*/ 53 w 105"/>
                  <a:gd name="T79" fmla="*/ 0 h 95"/>
                  <a:gd name="T80" fmla="*/ 53 w 105"/>
                  <a:gd name="T81" fmla="*/ 0 h 95"/>
                  <a:gd name="T82" fmla="*/ 63 w 105"/>
                  <a:gd name="T83" fmla="*/ 1 h 95"/>
                  <a:gd name="T84" fmla="*/ 73 w 105"/>
                  <a:gd name="T85" fmla="*/ 4 h 95"/>
                  <a:gd name="T86" fmla="*/ 82 w 105"/>
                  <a:gd name="T87" fmla="*/ 8 h 95"/>
                  <a:gd name="T88" fmla="*/ 89 w 105"/>
                  <a:gd name="T89" fmla="*/ 14 h 95"/>
                  <a:gd name="T90" fmla="*/ 96 w 105"/>
                  <a:gd name="T91" fmla="*/ 22 h 95"/>
                  <a:gd name="T92" fmla="*/ 101 w 105"/>
                  <a:gd name="T93" fmla="*/ 31 h 95"/>
                  <a:gd name="T94" fmla="*/ 104 w 105"/>
                  <a:gd name="T95" fmla="*/ 41 h 95"/>
                  <a:gd name="T96" fmla="*/ 105 w 105"/>
                  <a:gd name="T97" fmla="*/ 52 h 95"/>
                  <a:gd name="T98" fmla="*/ 105 w 105"/>
                  <a:gd name="T99" fmla="*/ 90 h 95"/>
                  <a:gd name="T100" fmla="*/ 105 w 105"/>
                  <a:gd name="T101" fmla="*/ 90 h 95"/>
                  <a:gd name="T102" fmla="*/ 104 w 105"/>
                  <a:gd name="T103" fmla="*/ 94 h 95"/>
                  <a:gd name="T104" fmla="*/ 100 w 105"/>
                  <a:gd name="T105" fmla="*/ 95 h 95"/>
                  <a:gd name="T106" fmla="*/ 100 w 105"/>
                  <a:gd name="T107"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5" h="95">
                    <a:moveTo>
                      <a:pt x="100" y="95"/>
                    </a:moveTo>
                    <a:lnTo>
                      <a:pt x="100" y="95"/>
                    </a:lnTo>
                    <a:lnTo>
                      <a:pt x="97" y="94"/>
                    </a:lnTo>
                    <a:lnTo>
                      <a:pt x="96" y="90"/>
                    </a:lnTo>
                    <a:lnTo>
                      <a:pt x="96" y="52"/>
                    </a:lnTo>
                    <a:lnTo>
                      <a:pt x="96" y="52"/>
                    </a:lnTo>
                    <a:lnTo>
                      <a:pt x="94" y="43"/>
                    </a:lnTo>
                    <a:lnTo>
                      <a:pt x="92" y="35"/>
                    </a:lnTo>
                    <a:lnTo>
                      <a:pt x="88" y="28"/>
                    </a:lnTo>
                    <a:lnTo>
                      <a:pt x="82" y="21"/>
                    </a:lnTo>
                    <a:lnTo>
                      <a:pt x="77" y="16"/>
                    </a:lnTo>
                    <a:lnTo>
                      <a:pt x="69" y="12"/>
                    </a:lnTo>
                    <a:lnTo>
                      <a:pt x="61" y="9"/>
                    </a:lnTo>
                    <a:lnTo>
                      <a:pt x="53" y="9"/>
                    </a:lnTo>
                    <a:lnTo>
                      <a:pt x="53" y="9"/>
                    </a:lnTo>
                    <a:lnTo>
                      <a:pt x="43" y="9"/>
                    </a:lnTo>
                    <a:lnTo>
                      <a:pt x="35" y="12"/>
                    </a:lnTo>
                    <a:lnTo>
                      <a:pt x="28" y="16"/>
                    </a:lnTo>
                    <a:lnTo>
                      <a:pt x="22" y="21"/>
                    </a:lnTo>
                    <a:lnTo>
                      <a:pt x="16" y="28"/>
                    </a:lnTo>
                    <a:lnTo>
                      <a:pt x="12" y="35"/>
                    </a:lnTo>
                    <a:lnTo>
                      <a:pt x="11" y="43"/>
                    </a:lnTo>
                    <a:lnTo>
                      <a:pt x="10" y="52"/>
                    </a:lnTo>
                    <a:lnTo>
                      <a:pt x="10" y="90"/>
                    </a:lnTo>
                    <a:lnTo>
                      <a:pt x="10" y="90"/>
                    </a:lnTo>
                    <a:lnTo>
                      <a:pt x="8" y="94"/>
                    </a:lnTo>
                    <a:lnTo>
                      <a:pt x="4" y="95"/>
                    </a:lnTo>
                    <a:lnTo>
                      <a:pt x="4" y="95"/>
                    </a:lnTo>
                    <a:lnTo>
                      <a:pt x="2" y="94"/>
                    </a:lnTo>
                    <a:lnTo>
                      <a:pt x="0" y="90"/>
                    </a:lnTo>
                    <a:lnTo>
                      <a:pt x="0" y="52"/>
                    </a:lnTo>
                    <a:lnTo>
                      <a:pt x="0" y="52"/>
                    </a:lnTo>
                    <a:lnTo>
                      <a:pt x="2" y="41"/>
                    </a:lnTo>
                    <a:lnTo>
                      <a:pt x="4" y="31"/>
                    </a:lnTo>
                    <a:lnTo>
                      <a:pt x="8" y="22"/>
                    </a:lnTo>
                    <a:lnTo>
                      <a:pt x="15" y="14"/>
                    </a:lnTo>
                    <a:lnTo>
                      <a:pt x="23" y="8"/>
                    </a:lnTo>
                    <a:lnTo>
                      <a:pt x="32" y="4"/>
                    </a:lnTo>
                    <a:lnTo>
                      <a:pt x="42" y="1"/>
                    </a:lnTo>
                    <a:lnTo>
                      <a:pt x="53" y="0"/>
                    </a:lnTo>
                    <a:lnTo>
                      <a:pt x="53" y="0"/>
                    </a:lnTo>
                    <a:lnTo>
                      <a:pt x="63" y="1"/>
                    </a:lnTo>
                    <a:lnTo>
                      <a:pt x="73" y="4"/>
                    </a:lnTo>
                    <a:lnTo>
                      <a:pt x="82" y="8"/>
                    </a:lnTo>
                    <a:lnTo>
                      <a:pt x="89" y="14"/>
                    </a:lnTo>
                    <a:lnTo>
                      <a:pt x="96" y="22"/>
                    </a:lnTo>
                    <a:lnTo>
                      <a:pt x="101" y="31"/>
                    </a:lnTo>
                    <a:lnTo>
                      <a:pt x="104" y="41"/>
                    </a:lnTo>
                    <a:lnTo>
                      <a:pt x="105" y="52"/>
                    </a:lnTo>
                    <a:lnTo>
                      <a:pt x="105" y="90"/>
                    </a:lnTo>
                    <a:lnTo>
                      <a:pt x="105" y="90"/>
                    </a:lnTo>
                    <a:lnTo>
                      <a:pt x="104" y="94"/>
                    </a:lnTo>
                    <a:lnTo>
                      <a:pt x="100" y="95"/>
                    </a:lnTo>
                    <a:lnTo>
                      <a:pt x="100" y="9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203" name="Group 202"/>
            <p:cNvGrpSpPr>
              <a:grpSpLocks noChangeAspect="1"/>
            </p:cNvGrpSpPr>
            <p:nvPr/>
          </p:nvGrpSpPr>
          <p:grpSpPr>
            <a:xfrm>
              <a:off x="6728553" y="1991213"/>
              <a:ext cx="174625" cy="233363"/>
              <a:chOff x="1608138" y="5978525"/>
              <a:chExt cx="174625" cy="233363"/>
            </a:xfrm>
          </p:grpSpPr>
          <p:sp>
            <p:nvSpPr>
              <p:cNvPr id="213" name="Freeform 287"/>
              <p:cNvSpPr>
                <a:spLocks/>
              </p:cNvSpPr>
              <p:nvPr/>
            </p:nvSpPr>
            <p:spPr bwMode="auto">
              <a:xfrm>
                <a:off x="1608138" y="6022975"/>
                <a:ext cx="174625" cy="188913"/>
              </a:xfrm>
              <a:custGeom>
                <a:avLst/>
                <a:gdLst>
                  <a:gd name="T0" fmla="*/ 215 w 219"/>
                  <a:gd name="T1" fmla="*/ 0 h 238"/>
                  <a:gd name="T2" fmla="*/ 172 w 219"/>
                  <a:gd name="T3" fmla="*/ 0 h 238"/>
                  <a:gd name="T4" fmla="*/ 172 w 219"/>
                  <a:gd name="T5" fmla="*/ 34 h 238"/>
                  <a:gd name="T6" fmla="*/ 172 w 219"/>
                  <a:gd name="T7" fmla="*/ 34 h 238"/>
                  <a:gd name="T8" fmla="*/ 171 w 219"/>
                  <a:gd name="T9" fmla="*/ 39 h 238"/>
                  <a:gd name="T10" fmla="*/ 168 w 219"/>
                  <a:gd name="T11" fmla="*/ 44 h 238"/>
                  <a:gd name="T12" fmla="*/ 163 w 219"/>
                  <a:gd name="T13" fmla="*/ 47 h 238"/>
                  <a:gd name="T14" fmla="*/ 158 w 219"/>
                  <a:gd name="T15" fmla="*/ 48 h 238"/>
                  <a:gd name="T16" fmla="*/ 158 w 219"/>
                  <a:gd name="T17" fmla="*/ 48 h 238"/>
                  <a:gd name="T18" fmla="*/ 152 w 219"/>
                  <a:gd name="T19" fmla="*/ 47 h 238"/>
                  <a:gd name="T20" fmla="*/ 148 w 219"/>
                  <a:gd name="T21" fmla="*/ 44 h 238"/>
                  <a:gd name="T22" fmla="*/ 144 w 219"/>
                  <a:gd name="T23" fmla="*/ 39 h 238"/>
                  <a:gd name="T24" fmla="*/ 144 w 219"/>
                  <a:gd name="T25" fmla="*/ 34 h 238"/>
                  <a:gd name="T26" fmla="*/ 144 w 219"/>
                  <a:gd name="T27" fmla="*/ 0 h 238"/>
                  <a:gd name="T28" fmla="*/ 77 w 219"/>
                  <a:gd name="T29" fmla="*/ 0 h 238"/>
                  <a:gd name="T30" fmla="*/ 77 w 219"/>
                  <a:gd name="T31" fmla="*/ 34 h 238"/>
                  <a:gd name="T32" fmla="*/ 77 w 219"/>
                  <a:gd name="T33" fmla="*/ 34 h 238"/>
                  <a:gd name="T34" fmla="*/ 76 w 219"/>
                  <a:gd name="T35" fmla="*/ 39 h 238"/>
                  <a:gd name="T36" fmla="*/ 73 w 219"/>
                  <a:gd name="T37" fmla="*/ 44 h 238"/>
                  <a:gd name="T38" fmla="*/ 69 w 219"/>
                  <a:gd name="T39" fmla="*/ 47 h 238"/>
                  <a:gd name="T40" fmla="*/ 62 w 219"/>
                  <a:gd name="T41" fmla="*/ 48 h 238"/>
                  <a:gd name="T42" fmla="*/ 62 w 219"/>
                  <a:gd name="T43" fmla="*/ 48 h 238"/>
                  <a:gd name="T44" fmla="*/ 57 w 219"/>
                  <a:gd name="T45" fmla="*/ 47 h 238"/>
                  <a:gd name="T46" fmla="*/ 53 w 219"/>
                  <a:gd name="T47" fmla="*/ 44 h 238"/>
                  <a:gd name="T48" fmla="*/ 50 w 219"/>
                  <a:gd name="T49" fmla="*/ 39 h 238"/>
                  <a:gd name="T50" fmla="*/ 49 w 219"/>
                  <a:gd name="T51" fmla="*/ 34 h 238"/>
                  <a:gd name="T52" fmla="*/ 49 w 219"/>
                  <a:gd name="T53" fmla="*/ 0 h 238"/>
                  <a:gd name="T54" fmla="*/ 6 w 219"/>
                  <a:gd name="T55" fmla="*/ 0 h 238"/>
                  <a:gd name="T56" fmla="*/ 6 w 219"/>
                  <a:gd name="T57" fmla="*/ 0 h 238"/>
                  <a:gd name="T58" fmla="*/ 2 w 219"/>
                  <a:gd name="T59" fmla="*/ 1 h 238"/>
                  <a:gd name="T60" fmla="*/ 0 w 219"/>
                  <a:gd name="T61" fmla="*/ 5 h 238"/>
                  <a:gd name="T62" fmla="*/ 0 w 219"/>
                  <a:gd name="T63" fmla="*/ 234 h 238"/>
                  <a:gd name="T64" fmla="*/ 0 w 219"/>
                  <a:gd name="T65" fmla="*/ 234 h 238"/>
                  <a:gd name="T66" fmla="*/ 2 w 219"/>
                  <a:gd name="T67" fmla="*/ 236 h 238"/>
                  <a:gd name="T68" fmla="*/ 6 w 219"/>
                  <a:gd name="T69" fmla="*/ 238 h 238"/>
                  <a:gd name="T70" fmla="*/ 215 w 219"/>
                  <a:gd name="T71" fmla="*/ 238 h 238"/>
                  <a:gd name="T72" fmla="*/ 215 w 219"/>
                  <a:gd name="T73" fmla="*/ 238 h 238"/>
                  <a:gd name="T74" fmla="*/ 218 w 219"/>
                  <a:gd name="T75" fmla="*/ 236 h 238"/>
                  <a:gd name="T76" fmla="*/ 219 w 219"/>
                  <a:gd name="T77" fmla="*/ 234 h 238"/>
                  <a:gd name="T78" fmla="*/ 219 w 219"/>
                  <a:gd name="T79" fmla="*/ 5 h 238"/>
                  <a:gd name="T80" fmla="*/ 219 w 219"/>
                  <a:gd name="T81" fmla="*/ 5 h 238"/>
                  <a:gd name="T82" fmla="*/ 218 w 219"/>
                  <a:gd name="T83" fmla="*/ 1 h 238"/>
                  <a:gd name="T84" fmla="*/ 215 w 219"/>
                  <a:gd name="T85" fmla="*/ 0 h 238"/>
                  <a:gd name="T86" fmla="*/ 215 w 219"/>
                  <a:gd name="T87"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9" h="238">
                    <a:moveTo>
                      <a:pt x="215" y="0"/>
                    </a:moveTo>
                    <a:lnTo>
                      <a:pt x="172" y="0"/>
                    </a:lnTo>
                    <a:lnTo>
                      <a:pt x="172" y="34"/>
                    </a:lnTo>
                    <a:lnTo>
                      <a:pt x="172" y="34"/>
                    </a:lnTo>
                    <a:lnTo>
                      <a:pt x="171" y="39"/>
                    </a:lnTo>
                    <a:lnTo>
                      <a:pt x="168" y="44"/>
                    </a:lnTo>
                    <a:lnTo>
                      <a:pt x="163" y="47"/>
                    </a:lnTo>
                    <a:lnTo>
                      <a:pt x="158" y="48"/>
                    </a:lnTo>
                    <a:lnTo>
                      <a:pt x="158" y="48"/>
                    </a:lnTo>
                    <a:lnTo>
                      <a:pt x="152" y="47"/>
                    </a:lnTo>
                    <a:lnTo>
                      <a:pt x="148" y="44"/>
                    </a:lnTo>
                    <a:lnTo>
                      <a:pt x="144" y="39"/>
                    </a:lnTo>
                    <a:lnTo>
                      <a:pt x="144" y="34"/>
                    </a:lnTo>
                    <a:lnTo>
                      <a:pt x="144" y="0"/>
                    </a:lnTo>
                    <a:lnTo>
                      <a:pt x="77" y="0"/>
                    </a:lnTo>
                    <a:lnTo>
                      <a:pt x="77" y="34"/>
                    </a:lnTo>
                    <a:lnTo>
                      <a:pt x="77" y="34"/>
                    </a:lnTo>
                    <a:lnTo>
                      <a:pt x="76" y="39"/>
                    </a:lnTo>
                    <a:lnTo>
                      <a:pt x="73" y="44"/>
                    </a:lnTo>
                    <a:lnTo>
                      <a:pt x="69" y="47"/>
                    </a:lnTo>
                    <a:lnTo>
                      <a:pt x="62" y="48"/>
                    </a:lnTo>
                    <a:lnTo>
                      <a:pt x="62" y="48"/>
                    </a:lnTo>
                    <a:lnTo>
                      <a:pt x="57" y="47"/>
                    </a:lnTo>
                    <a:lnTo>
                      <a:pt x="53" y="44"/>
                    </a:lnTo>
                    <a:lnTo>
                      <a:pt x="50" y="39"/>
                    </a:lnTo>
                    <a:lnTo>
                      <a:pt x="49" y="34"/>
                    </a:lnTo>
                    <a:lnTo>
                      <a:pt x="49" y="0"/>
                    </a:lnTo>
                    <a:lnTo>
                      <a:pt x="6" y="0"/>
                    </a:lnTo>
                    <a:lnTo>
                      <a:pt x="6" y="0"/>
                    </a:lnTo>
                    <a:lnTo>
                      <a:pt x="2" y="1"/>
                    </a:lnTo>
                    <a:lnTo>
                      <a:pt x="0" y="5"/>
                    </a:lnTo>
                    <a:lnTo>
                      <a:pt x="0" y="234"/>
                    </a:lnTo>
                    <a:lnTo>
                      <a:pt x="0" y="234"/>
                    </a:lnTo>
                    <a:lnTo>
                      <a:pt x="2" y="236"/>
                    </a:lnTo>
                    <a:lnTo>
                      <a:pt x="6" y="238"/>
                    </a:lnTo>
                    <a:lnTo>
                      <a:pt x="215" y="238"/>
                    </a:lnTo>
                    <a:lnTo>
                      <a:pt x="215" y="238"/>
                    </a:lnTo>
                    <a:lnTo>
                      <a:pt x="218" y="236"/>
                    </a:lnTo>
                    <a:lnTo>
                      <a:pt x="219" y="234"/>
                    </a:lnTo>
                    <a:lnTo>
                      <a:pt x="219" y="5"/>
                    </a:lnTo>
                    <a:lnTo>
                      <a:pt x="219" y="5"/>
                    </a:lnTo>
                    <a:lnTo>
                      <a:pt x="218" y="1"/>
                    </a:lnTo>
                    <a:lnTo>
                      <a:pt x="215" y="0"/>
                    </a:lnTo>
                    <a:lnTo>
                      <a:pt x="21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14" name="Freeform 288"/>
              <p:cNvSpPr>
                <a:spLocks/>
              </p:cNvSpPr>
              <p:nvPr/>
            </p:nvSpPr>
            <p:spPr bwMode="auto">
              <a:xfrm>
                <a:off x="1654176" y="5978525"/>
                <a:ext cx="82550" cy="74613"/>
              </a:xfrm>
              <a:custGeom>
                <a:avLst/>
                <a:gdLst>
                  <a:gd name="T0" fmla="*/ 100 w 105"/>
                  <a:gd name="T1" fmla="*/ 95 h 95"/>
                  <a:gd name="T2" fmla="*/ 100 w 105"/>
                  <a:gd name="T3" fmla="*/ 95 h 95"/>
                  <a:gd name="T4" fmla="*/ 97 w 105"/>
                  <a:gd name="T5" fmla="*/ 94 h 95"/>
                  <a:gd name="T6" fmla="*/ 96 w 105"/>
                  <a:gd name="T7" fmla="*/ 90 h 95"/>
                  <a:gd name="T8" fmla="*/ 96 w 105"/>
                  <a:gd name="T9" fmla="*/ 52 h 95"/>
                  <a:gd name="T10" fmla="*/ 96 w 105"/>
                  <a:gd name="T11" fmla="*/ 52 h 95"/>
                  <a:gd name="T12" fmla="*/ 94 w 105"/>
                  <a:gd name="T13" fmla="*/ 43 h 95"/>
                  <a:gd name="T14" fmla="*/ 92 w 105"/>
                  <a:gd name="T15" fmla="*/ 35 h 95"/>
                  <a:gd name="T16" fmla="*/ 88 w 105"/>
                  <a:gd name="T17" fmla="*/ 28 h 95"/>
                  <a:gd name="T18" fmla="*/ 82 w 105"/>
                  <a:gd name="T19" fmla="*/ 21 h 95"/>
                  <a:gd name="T20" fmla="*/ 77 w 105"/>
                  <a:gd name="T21" fmla="*/ 16 h 95"/>
                  <a:gd name="T22" fmla="*/ 69 w 105"/>
                  <a:gd name="T23" fmla="*/ 12 h 95"/>
                  <a:gd name="T24" fmla="*/ 61 w 105"/>
                  <a:gd name="T25" fmla="*/ 9 h 95"/>
                  <a:gd name="T26" fmla="*/ 53 w 105"/>
                  <a:gd name="T27" fmla="*/ 9 h 95"/>
                  <a:gd name="T28" fmla="*/ 53 w 105"/>
                  <a:gd name="T29" fmla="*/ 9 h 95"/>
                  <a:gd name="T30" fmla="*/ 43 w 105"/>
                  <a:gd name="T31" fmla="*/ 9 h 95"/>
                  <a:gd name="T32" fmla="*/ 35 w 105"/>
                  <a:gd name="T33" fmla="*/ 12 h 95"/>
                  <a:gd name="T34" fmla="*/ 28 w 105"/>
                  <a:gd name="T35" fmla="*/ 16 h 95"/>
                  <a:gd name="T36" fmla="*/ 22 w 105"/>
                  <a:gd name="T37" fmla="*/ 21 h 95"/>
                  <a:gd name="T38" fmla="*/ 16 w 105"/>
                  <a:gd name="T39" fmla="*/ 28 h 95"/>
                  <a:gd name="T40" fmla="*/ 12 w 105"/>
                  <a:gd name="T41" fmla="*/ 35 h 95"/>
                  <a:gd name="T42" fmla="*/ 11 w 105"/>
                  <a:gd name="T43" fmla="*/ 43 h 95"/>
                  <a:gd name="T44" fmla="*/ 10 w 105"/>
                  <a:gd name="T45" fmla="*/ 52 h 95"/>
                  <a:gd name="T46" fmla="*/ 10 w 105"/>
                  <a:gd name="T47" fmla="*/ 90 h 95"/>
                  <a:gd name="T48" fmla="*/ 10 w 105"/>
                  <a:gd name="T49" fmla="*/ 90 h 95"/>
                  <a:gd name="T50" fmla="*/ 8 w 105"/>
                  <a:gd name="T51" fmla="*/ 94 h 95"/>
                  <a:gd name="T52" fmla="*/ 4 w 105"/>
                  <a:gd name="T53" fmla="*/ 95 h 95"/>
                  <a:gd name="T54" fmla="*/ 4 w 105"/>
                  <a:gd name="T55" fmla="*/ 95 h 95"/>
                  <a:gd name="T56" fmla="*/ 2 w 105"/>
                  <a:gd name="T57" fmla="*/ 94 h 95"/>
                  <a:gd name="T58" fmla="*/ 0 w 105"/>
                  <a:gd name="T59" fmla="*/ 90 h 95"/>
                  <a:gd name="T60" fmla="*/ 0 w 105"/>
                  <a:gd name="T61" fmla="*/ 52 h 95"/>
                  <a:gd name="T62" fmla="*/ 0 w 105"/>
                  <a:gd name="T63" fmla="*/ 52 h 95"/>
                  <a:gd name="T64" fmla="*/ 2 w 105"/>
                  <a:gd name="T65" fmla="*/ 41 h 95"/>
                  <a:gd name="T66" fmla="*/ 4 w 105"/>
                  <a:gd name="T67" fmla="*/ 31 h 95"/>
                  <a:gd name="T68" fmla="*/ 8 w 105"/>
                  <a:gd name="T69" fmla="*/ 22 h 95"/>
                  <a:gd name="T70" fmla="*/ 15 w 105"/>
                  <a:gd name="T71" fmla="*/ 14 h 95"/>
                  <a:gd name="T72" fmla="*/ 23 w 105"/>
                  <a:gd name="T73" fmla="*/ 8 h 95"/>
                  <a:gd name="T74" fmla="*/ 32 w 105"/>
                  <a:gd name="T75" fmla="*/ 4 h 95"/>
                  <a:gd name="T76" fmla="*/ 42 w 105"/>
                  <a:gd name="T77" fmla="*/ 1 h 95"/>
                  <a:gd name="T78" fmla="*/ 53 w 105"/>
                  <a:gd name="T79" fmla="*/ 0 h 95"/>
                  <a:gd name="T80" fmla="*/ 53 w 105"/>
                  <a:gd name="T81" fmla="*/ 0 h 95"/>
                  <a:gd name="T82" fmla="*/ 63 w 105"/>
                  <a:gd name="T83" fmla="*/ 1 h 95"/>
                  <a:gd name="T84" fmla="*/ 73 w 105"/>
                  <a:gd name="T85" fmla="*/ 4 h 95"/>
                  <a:gd name="T86" fmla="*/ 82 w 105"/>
                  <a:gd name="T87" fmla="*/ 8 h 95"/>
                  <a:gd name="T88" fmla="*/ 89 w 105"/>
                  <a:gd name="T89" fmla="*/ 14 h 95"/>
                  <a:gd name="T90" fmla="*/ 96 w 105"/>
                  <a:gd name="T91" fmla="*/ 22 h 95"/>
                  <a:gd name="T92" fmla="*/ 101 w 105"/>
                  <a:gd name="T93" fmla="*/ 31 h 95"/>
                  <a:gd name="T94" fmla="*/ 104 w 105"/>
                  <a:gd name="T95" fmla="*/ 41 h 95"/>
                  <a:gd name="T96" fmla="*/ 105 w 105"/>
                  <a:gd name="T97" fmla="*/ 52 h 95"/>
                  <a:gd name="T98" fmla="*/ 105 w 105"/>
                  <a:gd name="T99" fmla="*/ 90 h 95"/>
                  <a:gd name="T100" fmla="*/ 105 w 105"/>
                  <a:gd name="T101" fmla="*/ 90 h 95"/>
                  <a:gd name="T102" fmla="*/ 104 w 105"/>
                  <a:gd name="T103" fmla="*/ 94 h 95"/>
                  <a:gd name="T104" fmla="*/ 100 w 105"/>
                  <a:gd name="T105" fmla="*/ 95 h 95"/>
                  <a:gd name="T106" fmla="*/ 100 w 105"/>
                  <a:gd name="T107"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5" h="95">
                    <a:moveTo>
                      <a:pt x="100" y="95"/>
                    </a:moveTo>
                    <a:lnTo>
                      <a:pt x="100" y="95"/>
                    </a:lnTo>
                    <a:lnTo>
                      <a:pt x="97" y="94"/>
                    </a:lnTo>
                    <a:lnTo>
                      <a:pt x="96" y="90"/>
                    </a:lnTo>
                    <a:lnTo>
                      <a:pt x="96" y="52"/>
                    </a:lnTo>
                    <a:lnTo>
                      <a:pt x="96" y="52"/>
                    </a:lnTo>
                    <a:lnTo>
                      <a:pt x="94" y="43"/>
                    </a:lnTo>
                    <a:lnTo>
                      <a:pt x="92" y="35"/>
                    </a:lnTo>
                    <a:lnTo>
                      <a:pt x="88" y="28"/>
                    </a:lnTo>
                    <a:lnTo>
                      <a:pt x="82" y="21"/>
                    </a:lnTo>
                    <a:lnTo>
                      <a:pt x="77" y="16"/>
                    </a:lnTo>
                    <a:lnTo>
                      <a:pt x="69" y="12"/>
                    </a:lnTo>
                    <a:lnTo>
                      <a:pt x="61" y="9"/>
                    </a:lnTo>
                    <a:lnTo>
                      <a:pt x="53" y="9"/>
                    </a:lnTo>
                    <a:lnTo>
                      <a:pt x="53" y="9"/>
                    </a:lnTo>
                    <a:lnTo>
                      <a:pt x="43" y="9"/>
                    </a:lnTo>
                    <a:lnTo>
                      <a:pt x="35" y="12"/>
                    </a:lnTo>
                    <a:lnTo>
                      <a:pt x="28" y="16"/>
                    </a:lnTo>
                    <a:lnTo>
                      <a:pt x="22" y="21"/>
                    </a:lnTo>
                    <a:lnTo>
                      <a:pt x="16" y="28"/>
                    </a:lnTo>
                    <a:lnTo>
                      <a:pt x="12" y="35"/>
                    </a:lnTo>
                    <a:lnTo>
                      <a:pt x="11" y="43"/>
                    </a:lnTo>
                    <a:lnTo>
                      <a:pt x="10" y="52"/>
                    </a:lnTo>
                    <a:lnTo>
                      <a:pt x="10" y="90"/>
                    </a:lnTo>
                    <a:lnTo>
                      <a:pt x="10" y="90"/>
                    </a:lnTo>
                    <a:lnTo>
                      <a:pt x="8" y="94"/>
                    </a:lnTo>
                    <a:lnTo>
                      <a:pt x="4" y="95"/>
                    </a:lnTo>
                    <a:lnTo>
                      <a:pt x="4" y="95"/>
                    </a:lnTo>
                    <a:lnTo>
                      <a:pt x="2" y="94"/>
                    </a:lnTo>
                    <a:lnTo>
                      <a:pt x="0" y="90"/>
                    </a:lnTo>
                    <a:lnTo>
                      <a:pt x="0" y="52"/>
                    </a:lnTo>
                    <a:lnTo>
                      <a:pt x="0" y="52"/>
                    </a:lnTo>
                    <a:lnTo>
                      <a:pt x="2" y="41"/>
                    </a:lnTo>
                    <a:lnTo>
                      <a:pt x="4" y="31"/>
                    </a:lnTo>
                    <a:lnTo>
                      <a:pt x="8" y="22"/>
                    </a:lnTo>
                    <a:lnTo>
                      <a:pt x="15" y="14"/>
                    </a:lnTo>
                    <a:lnTo>
                      <a:pt x="23" y="8"/>
                    </a:lnTo>
                    <a:lnTo>
                      <a:pt x="32" y="4"/>
                    </a:lnTo>
                    <a:lnTo>
                      <a:pt x="42" y="1"/>
                    </a:lnTo>
                    <a:lnTo>
                      <a:pt x="53" y="0"/>
                    </a:lnTo>
                    <a:lnTo>
                      <a:pt x="53" y="0"/>
                    </a:lnTo>
                    <a:lnTo>
                      <a:pt x="63" y="1"/>
                    </a:lnTo>
                    <a:lnTo>
                      <a:pt x="73" y="4"/>
                    </a:lnTo>
                    <a:lnTo>
                      <a:pt x="82" y="8"/>
                    </a:lnTo>
                    <a:lnTo>
                      <a:pt x="89" y="14"/>
                    </a:lnTo>
                    <a:lnTo>
                      <a:pt x="96" y="22"/>
                    </a:lnTo>
                    <a:lnTo>
                      <a:pt x="101" y="31"/>
                    </a:lnTo>
                    <a:lnTo>
                      <a:pt x="104" y="41"/>
                    </a:lnTo>
                    <a:lnTo>
                      <a:pt x="105" y="52"/>
                    </a:lnTo>
                    <a:lnTo>
                      <a:pt x="105" y="90"/>
                    </a:lnTo>
                    <a:lnTo>
                      <a:pt x="105" y="90"/>
                    </a:lnTo>
                    <a:lnTo>
                      <a:pt x="104" y="94"/>
                    </a:lnTo>
                    <a:lnTo>
                      <a:pt x="100" y="95"/>
                    </a:lnTo>
                    <a:lnTo>
                      <a:pt x="100" y="9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204" name="Group 203"/>
            <p:cNvGrpSpPr>
              <a:grpSpLocks noChangeAspect="1"/>
            </p:cNvGrpSpPr>
            <p:nvPr/>
          </p:nvGrpSpPr>
          <p:grpSpPr>
            <a:xfrm>
              <a:off x="7055048" y="1991213"/>
              <a:ext cx="174625" cy="233363"/>
              <a:chOff x="1608138" y="5978525"/>
              <a:chExt cx="174625" cy="233363"/>
            </a:xfrm>
          </p:grpSpPr>
          <p:sp>
            <p:nvSpPr>
              <p:cNvPr id="211" name="Freeform 287"/>
              <p:cNvSpPr>
                <a:spLocks/>
              </p:cNvSpPr>
              <p:nvPr/>
            </p:nvSpPr>
            <p:spPr bwMode="auto">
              <a:xfrm>
                <a:off x="1608138" y="6022975"/>
                <a:ext cx="174625" cy="188913"/>
              </a:xfrm>
              <a:custGeom>
                <a:avLst/>
                <a:gdLst>
                  <a:gd name="T0" fmla="*/ 215 w 219"/>
                  <a:gd name="T1" fmla="*/ 0 h 238"/>
                  <a:gd name="T2" fmla="*/ 172 w 219"/>
                  <a:gd name="T3" fmla="*/ 0 h 238"/>
                  <a:gd name="T4" fmla="*/ 172 w 219"/>
                  <a:gd name="T5" fmla="*/ 34 h 238"/>
                  <a:gd name="T6" fmla="*/ 172 w 219"/>
                  <a:gd name="T7" fmla="*/ 34 h 238"/>
                  <a:gd name="T8" fmla="*/ 171 w 219"/>
                  <a:gd name="T9" fmla="*/ 39 h 238"/>
                  <a:gd name="T10" fmla="*/ 168 w 219"/>
                  <a:gd name="T11" fmla="*/ 44 h 238"/>
                  <a:gd name="T12" fmla="*/ 163 w 219"/>
                  <a:gd name="T13" fmla="*/ 47 h 238"/>
                  <a:gd name="T14" fmla="*/ 158 w 219"/>
                  <a:gd name="T15" fmla="*/ 48 h 238"/>
                  <a:gd name="T16" fmla="*/ 158 w 219"/>
                  <a:gd name="T17" fmla="*/ 48 h 238"/>
                  <a:gd name="T18" fmla="*/ 152 w 219"/>
                  <a:gd name="T19" fmla="*/ 47 h 238"/>
                  <a:gd name="T20" fmla="*/ 148 w 219"/>
                  <a:gd name="T21" fmla="*/ 44 h 238"/>
                  <a:gd name="T22" fmla="*/ 144 w 219"/>
                  <a:gd name="T23" fmla="*/ 39 h 238"/>
                  <a:gd name="T24" fmla="*/ 144 w 219"/>
                  <a:gd name="T25" fmla="*/ 34 h 238"/>
                  <a:gd name="T26" fmla="*/ 144 w 219"/>
                  <a:gd name="T27" fmla="*/ 0 h 238"/>
                  <a:gd name="T28" fmla="*/ 77 w 219"/>
                  <a:gd name="T29" fmla="*/ 0 h 238"/>
                  <a:gd name="T30" fmla="*/ 77 w 219"/>
                  <a:gd name="T31" fmla="*/ 34 h 238"/>
                  <a:gd name="T32" fmla="*/ 77 w 219"/>
                  <a:gd name="T33" fmla="*/ 34 h 238"/>
                  <a:gd name="T34" fmla="*/ 76 w 219"/>
                  <a:gd name="T35" fmla="*/ 39 h 238"/>
                  <a:gd name="T36" fmla="*/ 73 w 219"/>
                  <a:gd name="T37" fmla="*/ 44 h 238"/>
                  <a:gd name="T38" fmla="*/ 69 w 219"/>
                  <a:gd name="T39" fmla="*/ 47 h 238"/>
                  <a:gd name="T40" fmla="*/ 62 w 219"/>
                  <a:gd name="T41" fmla="*/ 48 h 238"/>
                  <a:gd name="T42" fmla="*/ 62 w 219"/>
                  <a:gd name="T43" fmla="*/ 48 h 238"/>
                  <a:gd name="T44" fmla="*/ 57 w 219"/>
                  <a:gd name="T45" fmla="*/ 47 h 238"/>
                  <a:gd name="T46" fmla="*/ 53 w 219"/>
                  <a:gd name="T47" fmla="*/ 44 h 238"/>
                  <a:gd name="T48" fmla="*/ 50 w 219"/>
                  <a:gd name="T49" fmla="*/ 39 h 238"/>
                  <a:gd name="T50" fmla="*/ 49 w 219"/>
                  <a:gd name="T51" fmla="*/ 34 h 238"/>
                  <a:gd name="T52" fmla="*/ 49 w 219"/>
                  <a:gd name="T53" fmla="*/ 0 h 238"/>
                  <a:gd name="T54" fmla="*/ 6 w 219"/>
                  <a:gd name="T55" fmla="*/ 0 h 238"/>
                  <a:gd name="T56" fmla="*/ 6 w 219"/>
                  <a:gd name="T57" fmla="*/ 0 h 238"/>
                  <a:gd name="T58" fmla="*/ 2 w 219"/>
                  <a:gd name="T59" fmla="*/ 1 h 238"/>
                  <a:gd name="T60" fmla="*/ 0 w 219"/>
                  <a:gd name="T61" fmla="*/ 5 h 238"/>
                  <a:gd name="T62" fmla="*/ 0 w 219"/>
                  <a:gd name="T63" fmla="*/ 234 h 238"/>
                  <a:gd name="T64" fmla="*/ 0 w 219"/>
                  <a:gd name="T65" fmla="*/ 234 h 238"/>
                  <a:gd name="T66" fmla="*/ 2 w 219"/>
                  <a:gd name="T67" fmla="*/ 236 h 238"/>
                  <a:gd name="T68" fmla="*/ 6 w 219"/>
                  <a:gd name="T69" fmla="*/ 238 h 238"/>
                  <a:gd name="T70" fmla="*/ 215 w 219"/>
                  <a:gd name="T71" fmla="*/ 238 h 238"/>
                  <a:gd name="T72" fmla="*/ 215 w 219"/>
                  <a:gd name="T73" fmla="*/ 238 h 238"/>
                  <a:gd name="T74" fmla="*/ 218 w 219"/>
                  <a:gd name="T75" fmla="*/ 236 h 238"/>
                  <a:gd name="T76" fmla="*/ 219 w 219"/>
                  <a:gd name="T77" fmla="*/ 234 h 238"/>
                  <a:gd name="T78" fmla="*/ 219 w 219"/>
                  <a:gd name="T79" fmla="*/ 5 h 238"/>
                  <a:gd name="T80" fmla="*/ 219 w 219"/>
                  <a:gd name="T81" fmla="*/ 5 h 238"/>
                  <a:gd name="T82" fmla="*/ 218 w 219"/>
                  <a:gd name="T83" fmla="*/ 1 h 238"/>
                  <a:gd name="T84" fmla="*/ 215 w 219"/>
                  <a:gd name="T85" fmla="*/ 0 h 238"/>
                  <a:gd name="T86" fmla="*/ 215 w 219"/>
                  <a:gd name="T87"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9" h="238">
                    <a:moveTo>
                      <a:pt x="215" y="0"/>
                    </a:moveTo>
                    <a:lnTo>
                      <a:pt x="172" y="0"/>
                    </a:lnTo>
                    <a:lnTo>
                      <a:pt x="172" y="34"/>
                    </a:lnTo>
                    <a:lnTo>
                      <a:pt x="172" y="34"/>
                    </a:lnTo>
                    <a:lnTo>
                      <a:pt x="171" y="39"/>
                    </a:lnTo>
                    <a:lnTo>
                      <a:pt x="168" y="44"/>
                    </a:lnTo>
                    <a:lnTo>
                      <a:pt x="163" y="47"/>
                    </a:lnTo>
                    <a:lnTo>
                      <a:pt x="158" y="48"/>
                    </a:lnTo>
                    <a:lnTo>
                      <a:pt x="158" y="48"/>
                    </a:lnTo>
                    <a:lnTo>
                      <a:pt x="152" y="47"/>
                    </a:lnTo>
                    <a:lnTo>
                      <a:pt x="148" y="44"/>
                    </a:lnTo>
                    <a:lnTo>
                      <a:pt x="144" y="39"/>
                    </a:lnTo>
                    <a:lnTo>
                      <a:pt x="144" y="34"/>
                    </a:lnTo>
                    <a:lnTo>
                      <a:pt x="144" y="0"/>
                    </a:lnTo>
                    <a:lnTo>
                      <a:pt x="77" y="0"/>
                    </a:lnTo>
                    <a:lnTo>
                      <a:pt x="77" y="34"/>
                    </a:lnTo>
                    <a:lnTo>
                      <a:pt x="77" y="34"/>
                    </a:lnTo>
                    <a:lnTo>
                      <a:pt x="76" y="39"/>
                    </a:lnTo>
                    <a:lnTo>
                      <a:pt x="73" y="44"/>
                    </a:lnTo>
                    <a:lnTo>
                      <a:pt x="69" y="47"/>
                    </a:lnTo>
                    <a:lnTo>
                      <a:pt x="62" y="48"/>
                    </a:lnTo>
                    <a:lnTo>
                      <a:pt x="62" y="48"/>
                    </a:lnTo>
                    <a:lnTo>
                      <a:pt x="57" y="47"/>
                    </a:lnTo>
                    <a:lnTo>
                      <a:pt x="53" y="44"/>
                    </a:lnTo>
                    <a:lnTo>
                      <a:pt x="50" y="39"/>
                    </a:lnTo>
                    <a:lnTo>
                      <a:pt x="49" y="34"/>
                    </a:lnTo>
                    <a:lnTo>
                      <a:pt x="49" y="0"/>
                    </a:lnTo>
                    <a:lnTo>
                      <a:pt x="6" y="0"/>
                    </a:lnTo>
                    <a:lnTo>
                      <a:pt x="6" y="0"/>
                    </a:lnTo>
                    <a:lnTo>
                      <a:pt x="2" y="1"/>
                    </a:lnTo>
                    <a:lnTo>
                      <a:pt x="0" y="5"/>
                    </a:lnTo>
                    <a:lnTo>
                      <a:pt x="0" y="234"/>
                    </a:lnTo>
                    <a:lnTo>
                      <a:pt x="0" y="234"/>
                    </a:lnTo>
                    <a:lnTo>
                      <a:pt x="2" y="236"/>
                    </a:lnTo>
                    <a:lnTo>
                      <a:pt x="6" y="238"/>
                    </a:lnTo>
                    <a:lnTo>
                      <a:pt x="215" y="238"/>
                    </a:lnTo>
                    <a:lnTo>
                      <a:pt x="215" y="238"/>
                    </a:lnTo>
                    <a:lnTo>
                      <a:pt x="218" y="236"/>
                    </a:lnTo>
                    <a:lnTo>
                      <a:pt x="219" y="234"/>
                    </a:lnTo>
                    <a:lnTo>
                      <a:pt x="219" y="5"/>
                    </a:lnTo>
                    <a:lnTo>
                      <a:pt x="219" y="5"/>
                    </a:lnTo>
                    <a:lnTo>
                      <a:pt x="218" y="1"/>
                    </a:lnTo>
                    <a:lnTo>
                      <a:pt x="215" y="0"/>
                    </a:lnTo>
                    <a:lnTo>
                      <a:pt x="21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12" name="Freeform 288"/>
              <p:cNvSpPr>
                <a:spLocks/>
              </p:cNvSpPr>
              <p:nvPr/>
            </p:nvSpPr>
            <p:spPr bwMode="auto">
              <a:xfrm>
                <a:off x="1654176" y="5978525"/>
                <a:ext cx="82550" cy="74613"/>
              </a:xfrm>
              <a:custGeom>
                <a:avLst/>
                <a:gdLst>
                  <a:gd name="T0" fmla="*/ 100 w 105"/>
                  <a:gd name="T1" fmla="*/ 95 h 95"/>
                  <a:gd name="T2" fmla="*/ 100 w 105"/>
                  <a:gd name="T3" fmla="*/ 95 h 95"/>
                  <a:gd name="T4" fmla="*/ 97 w 105"/>
                  <a:gd name="T5" fmla="*/ 94 h 95"/>
                  <a:gd name="T6" fmla="*/ 96 w 105"/>
                  <a:gd name="T7" fmla="*/ 90 h 95"/>
                  <a:gd name="T8" fmla="*/ 96 w 105"/>
                  <a:gd name="T9" fmla="*/ 52 h 95"/>
                  <a:gd name="T10" fmla="*/ 96 w 105"/>
                  <a:gd name="T11" fmla="*/ 52 h 95"/>
                  <a:gd name="T12" fmla="*/ 94 w 105"/>
                  <a:gd name="T13" fmla="*/ 43 h 95"/>
                  <a:gd name="T14" fmla="*/ 92 w 105"/>
                  <a:gd name="T15" fmla="*/ 35 h 95"/>
                  <a:gd name="T16" fmla="*/ 88 w 105"/>
                  <a:gd name="T17" fmla="*/ 28 h 95"/>
                  <a:gd name="T18" fmla="*/ 82 w 105"/>
                  <a:gd name="T19" fmla="*/ 21 h 95"/>
                  <a:gd name="T20" fmla="*/ 77 w 105"/>
                  <a:gd name="T21" fmla="*/ 16 h 95"/>
                  <a:gd name="T22" fmla="*/ 69 w 105"/>
                  <a:gd name="T23" fmla="*/ 12 h 95"/>
                  <a:gd name="T24" fmla="*/ 61 w 105"/>
                  <a:gd name="T25" fmla="*/ 9 h 95"/>
                  <a:gd name="T26" fmla="*/ 53 w 105"/>
                  <a:gd name="T27" fmla="*/ 9 h 95"/>
                  <a:gd name="T28" fmla="*/ 53 w 105"/>
                  <a:gd name="T29" fmla="*/ 9 h 95"/>
                  <a:gd name="T30" fmla="*/ 43 w 105"/>
                  <a:gd name="T31" fmla="*/ 9 h 95"/>
                  <a:gd name="T32" fmla="*/ 35 w 105"/>
                  <a:gd name="T33" fmla="*/ 12 h 95"/>
                  <a:gd name="T34" fmla="*/ 28 w 105"/>
                  <a:gd name="T35" fmla="*/ 16 h 95"/>
                  <a:gd name="T36" fmla="*/ 22 w 105"/>
                  <a:gd name="T37" fmla="*/ 21 h 95"/>
                  <a:gd name="T38" fmla="*/ 16 w 105"/>
                  <a:gd name="T39" fmla="*/ 28 h 95"/>
                  <a:gd name="T40" fmla="*/ 12 w 105"/>
                  <a:gd name="T41" fmla="*/ 35 h 95"/>
                  <a:gd name="T42" fmla="*/ 11 w 105"/>
                  <a:gd name="T43" fmla="*/ 43 h 95"/>
                  <a:gd name="T44" fmla="*/ 10 w 105"/>
                  <a:gd name="T45" fmla="*/ 52 h 95"/>
                  <a:gd name="T46" fmla="*/ 10 w 105"/>
                  <a:gd name="T47" fmla="*/ 90 h 95"/>
                  <a:gd name="T48" fmla="*/ 10 w 105"/>
                  <a:gd name="T49" fmla="*/ 90 h 95"/>
                  <a:gd name="T50" fmla="*/ 8 w 105"/>
                  <a:gd name="T51" fmla="*/ 94 h 95"/>
                  <a:gd name="T52" fmla="*/ 4 w 105"/>
                  <a:gd name="T53" fmla="*/ 95 h 95"/>
                  <a:gd name="T54" fmla="*/ 4 w 105"/>
                  <a:gd name="T55" fmla="*/ 95 h 95"/>
                  <a:gd name="T56" fmla="*/ 2 w 105"/>
                  <a:gd name="T57" fmla="*/ 94 h 95"/>
                  <a:gd name="T58" fmla="*/ 0 w 105"/>
                  <a:gd name="T59" fmla="*/ 90 h 95"/>
                  <a:gd name="T60" fmla="*/ 0 w 105"/>
                  <a:gd name="T61" fmla="*/ 52 h 95"/>
                  <a:gd name="T62" fmla="*/ 0 w 105"/>
                  <a:gd name="T63" fmla="*/ 52 h 95"/>
                  <a:gd name="T64" fmla="*/ 2 w 105"/>
                  <a:gd name="T65" fmla="*/ 41 h 95"/>
                  <a:gd name="T66" fmla="*/ 4 w 105"/>
                  <a:gd name="T67" fmla="*/ 31 h 95"/>
                  <a:gd name="T68" fmla="*/ 8 w 105"/>
                  <a:gd name="T69" fmla="*/ 22 h 95"/>
                  <a:gd name="T70" fmla="*/ 15 w 105"/>
                  <a:gd name="T71" fmla="*/ 14 h 95"/>
                  <a:gd name="T72" fmla="*/ 23 w 105"/>
                  <a:gd name="T73" fmla="*/ 8 h 95"/>
                  <a:gd name="T74" fmla="*/ 32 w 105"/>
                  <a:gd name="T75" fmla="*/ 4 h 95"/>
                  <a:gd name="T76" fmla="*/ 42 w 105"/>
                  <a:gd name="T77" fmla="*/ 1 h 95"/>
                  <a:gd name="T78" fmla="*/ 53 w 105"/>
                  <a:gd name="T79" fmla="*/ 0 h 95"/>
                  <a:gd name="T80" fmla="*/ 53 w 105"/>
                  <a:gd name="T81" fmla="*/ 0 h 95"/>
                  <a:gd name="T82" fmla="*/ 63 w 105"/>
                  <a:gd name="T83" fmla="*/ 1 h 95"/>
                  <a:gd name="T84" fmla="*/ 73 w 105"/>
                  <a:gd name="T85" fmla="*/ 4 h 95"/>
                  <a:gd name="T86" fmla="*/ 82 w 105"/>
                  <a:gd name="T87" fmla="*/ 8 h 95"/>
                  <a:gd name="T88" fmla="*/ 89 w 105"/>
                  <a:gd name="T89" fmla="*/ 14 h 95"/>
                  <a:gd name="T90" fmla="*/ 96 w 105"/>
                  <a:gd name="T91" fmla="*/ 22 h 95"/>
                  <a:gd name="T92" fmla="*/ 101 w 105"/>
                  <a:gd name="T93" fmla="*/ 31 h 95"/>
                  <a:gd name="T94" fmla="*/ 104 w 105"/>
                  <a:gd name="T95" fmla="*/ 41 h 95"/>
                  <a:gd name="T96" fmla="*/ 105 w 105"/>
                  <a:gd name="T97" fmla="*/ 52 h 95"/>
                  <a:gd name="T98" fmla="*/ 105 w 105"/>
                  <a:gd name="T99" fmla="*/ 90 h 95"/>
                  <a:gd name="T100" fmla="*/ 105 w 105"/>
                  <a:gd name="T101" fmla="*/ 90 h 95"/>
                  <a:gd name="T102" fmla="*/ 104 w 105"/>
                  <a:gd name="T103" fmla="*/ 94 h 95"/>
                  <a:gd name="T104" fmla="*/ 100 w 105"/>
                  <a:gd name="T105" fmla="*/ 95 h 95"/>
                  <a:gd name="T106" fmla="*/ 100 w 105"/>
                  <a:gd name="T107"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5" h="95">
                    <a:moveTo>
                      <a:pt x="100" y="95"/>
                    </a:moveTo>
                    <a:lnTo>
                      <a:pt x="100" y="95"/>
                    </a:lnTo>
                    <a:lnTo>
                      <a:pt x="97" y="94"/>
                    </a:lnTo>
                    <a:lnTo>
                      <a:pt x="96" y="90"/>
                    </a:lnTo>
                    <a:lnTo>
                      <a:pt x="96" y="52"/>
                    </a:lnTo>
                    <a:lnTo>
                      <a:pt x="96" y="52"/>
                    </a:lnTo>
                    <a:lnTo>
                      <a:pt x="94" y="43"/>
                    </a:lnTo>
                    <a:lnTo>
                      <a:pt x="92" y="35"/>
                    </a:lnTo>
                    <a:lnTo>
                      <a:pt x="88" y="28"/>
                    </a:lnTo>
                    <a:lnTo>
                      <a:pt x="82" y="21"/>
                    </a:lnTo>
                    <a:lnTo>
                      <a:pt x="77" y="16"/>
                    </a:lnTo>
                    <a:lnTo>
                      <a:pt x="69" y="12"/>
                    </a:lnTo>
                    <a:lnTo>
                      <a:pt x="61" y="9"/>
                    </a:lnTo>
                    <a:lnTo>
                      <a:pt x="53" y="9"/>
                    </a:lnTo>
                    <a:lnTo>
                      <a:pt x="53" y="9"/>
                    </a:lnTo>
                    <a:lnTo>
                      <a:pt x="43" y="9"/>
                    </a:lnTo>
                    <a:lnTo>
                      <a:pt x="35" y="12"/>
                    </a:lnTo>
                    <a:lnTo>
                      <a:pt x="28" y="16"/>
                    </a:lnTo>
                    <a:lnTo>
                      <a:pt x="22" y="21"/>
                    </a:lnTo>
                    <a:lnTo>
                      <a:pt x="16" y="28"/>
                    </a:lnTo>
                    <a:lnTo>
                      <a:pt x="12" y="35"/>
                    </a:lnTo>
                    <a:lnTo>
                      <a:pt x="11" y="43"/>
                    </a:lnTo>
                    <a:lnTo>
                      <a:pt x="10" y="52"/>
                    </a:lnTo>
                    <a:lnTo>
                      <a:pt x="10" y="90"/>
                    </a:lnTo>
                    <a:lnTo>
                      <a:pt x="10" y="90"/>
                    </a:lnTo>
                    <a:lnTo>
                      <a:pt x="8" y="94"/>
                    </a:lnTo>
                    <a:lnTo>
                      <a:pt x="4" y="95"/>
                    </a:lnTo>
                    <a:lnTo>
                      <a:pt x="4" y="95"/>
                    </a:lnTo>
                    <a:lnTo>
                      <a:pt x="2" y="94"/>
                    </a:lnTo>
                    <a:lnTo>
                      <a:pt x="0" y="90"/>
                    </a:lnTo>
                    <a:lnTo>
                      <a:pt x="0" y="52"/>
                    </a:lnTo>
                    <a:lnTo>
                      <a:pt x="0" y="52"/>
                    </a:lnTo>
                    <a:lnTo>
                      <a:pt x="2" y="41"/>
                    </a:lnTo>
                    <a:lnTo>
                      <a:pt x="4" y="31"/>
                    </a:lnTo>
                    <a:lnTo>
                      <a:pt x="8" y="22"/>
                    </a:lnTo>
                    <a:lnTo>
                      <a:pt x="15" y="14"/>
                    </a:lnTo>
                    <a:lnTo>
                      <a:pt x="23" y="8"/>
                    </a:lnTo>
                    <a:lnTo>
                      <a:pt x="32" y="4"/>
                    </a:lnTo>
                    <a:lnTo>
                      <a:pt x="42" y="1"/>
                    </a:lnTo>
                    <a:lnTo>
                      <a:pt x="53" y="0"/>
                    </a:lnTo>
                    <a:lnTo>
                      <a:pt x="53" y="0"/>
                    </a:lnTo>
                    <a:lnTo>
                      <a:pt x="63" y="1"/>
                    </a:lnTo>
                    <a:lnTo>
                      <a:pt x="73" y="4"/>
                    </a:lnTo>
                    <a:lnTo>
                      <a:pt x="82" y="8"/>
                    </a:lnTo>
                    <a:lnTo>
                      <a:pt x="89" y="14"/>
                    </a:lnTo>
                    <a:lnTo>
                      <a:pt x="96" y="22"/>
                    </a:lnTo>
                    <a:lnTo>
                      <a:pt x="101" y="31"/>
                    </a:lnTo>
                    <a:lnTo>
                      <a:pt x="104" y="41"/>
                    </a:lnTo>
                    <a:lnTo>
                      <a:pt x="105" y="52"/>
                    </a:lnTo>
                    <a:lnTo>
                      <a:pt x="105" y="90"/>
                    </a:lnTo>
                    <a:lnTo>
                      <a:pt x="105" y="90"/>
                    </a:lnTo>
                    <a:lnTo>
                      <a:pt x="104" y="94"/>
                    </a:lnTo>
                    <a:lnTo>
                      <a:pt x="100" y="95"/>
                    </a:lnTo>
                    <a:lnTo>
                      <a:pt x="100" y="9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205" name="Group 204"/>
            <p:cNvGrpSpPr>
              <a:grpSpLocks noChangeAspect="1"/>
            </p:cNvGrpSpPr>
            <p:nvPr/>
          </p:nvGrpSpPr>
          <p:grpSpPr>
            <a:xfrm>
              <a:off x="7381543" y="1991213"/>
              <a:ext cx="174625" cy="233363"/>
              <a:chOff x="1608138" y="5978525"/>
              <a:chExt cx="174625" cy="233363"/>
            </a:xfrm>
            <a:solidFill>
              <a:schemeClr val="bg1">
                <a:lumMod val="85000"/>
              </a:schemeClr>
            </a:solidFill>
          </p:grpSpPr>
          <p:sp>
            <p:nvSpPr>
              <p:cNvPr id="209" name="Freeform 287"/>
              <p:cNvSpPr>
                <a:spLocks/>
              </p:cNvSpPr>
              <p:nvPr/>
            </p:nvSpPr>
            <p:spPr bwMode="auto">
              <a:xfrm>
                <a:off x="1608138" y="6022975"/>
                <a:ext cx="174625" cy="188913"/>
              </a:xfrm>
              <a:custGeom>
                <a:avLst/>
                <a:gdLst>
                  <a:gd name="T0" fmla="*/ 215 w 219"/>
                  <a:gd name="T1" fmla="*/ 0 h 238"/>
                  <a:gd name="T2" fmla="*/ 172 w 219"/>
                  <a:gd name="T3" fmla="*/ 0 h 238"/>
                  <a:gd name="T4" fmla="*/ 172 w 219"/>
                  <a:gd name="T5" fmla="*/ 34 h 238"/>
                  <a:gd name="T6" fmla="*/ 172 w 219"/>
                  <a:gd name="T7" fmla="*/ 34 h 238"/>
                  <a:gd name="T8" fmla="*/ 171 w 219"/>
                  <a:gd name="T9" fmla="*/ 39 h 238"/>
                  <a:gd name="T10" fmla="*/ 168 w 219"/>
                  <a:gd name="T11" fmla="*/ 44 h 238"/>
                  <a:gd name="T12" fmla="*/ 163 w 219"/>
                  <a:gd name="T13" fmla="*/ 47 h 238"/>
                  <a:gd name="T14" fmla="*/ 158 w 219"/>
                  <a:gd name="T15" fmla="*/ 48 h 238"/>
                  <a:gd name="T16" fmla="*/ 158 w 219"/>
                  <a:gd name="T17" fmla="*/ 48 h 238"/>
                  <a:gd name="T18" fmla="*/ 152 w 219"/>
                  <a:gd name="T19" fmla="*/ 47 h 238"/>
                  <a:gd name="T20" fmla="*/ 148 w 219"/>
                  <a:gd name="T21" fmla="*/ 44 h 238"/>
                  <a:gd name="T22" fmla="*/ 144 w 219"/>
                  <a:gd name="T23" fmla="*/ 39 h 238"/>
                  <a:gd name="T24" fmla="*/ 144 w 219"/>
                  <a:gd name="T25" fmla="*/ 34 h 238"/>
                  <a:gd name="T26" fmla="*/ 144 w 219"/>
                  <a:gd name="T27" fmla="*/ 0 h 238"/>
                  <a:gd name="T28" fmla="*/ 77 w 219"/>
                  <a:gd name="T29" fmla="*/ 0 h 238"/>
                  <a:gd name="T30" fmla="*/ 77 w 219"/>
                  <a:gd name="T31" fmla="*/ 34 h 238"/>
                  <a:gd name="T32" fmla="*/ 77 w 219"/>
                  <a:gd name="T33" fmla="*/ 34 h 238"/>
                  <a:gd name="T34" fmla="*/ 76 w 219"/>
                  <a:gd name="T35" fmla="*/ 39 h 238"/>
                  <a:gd name="T36" fmla="*/ 73 w 219"/>
                  <a:gd name="T37" fmla="*/ 44 h 238"/>
                  <a:gd name="T38" fmla="*/ 69 w 219"/>
                  <a:gd name="T39" fmla="*/ 47 h 238"/>
                  <a:gd name="T40" fmla="*/ 62 w 219"/>
                  <a:gd name="T41" fmla="*/ 48 h 238"/>
                  <a:gd name="T42" fmla="*/ 62 w 219"/>
                  <a:gd name="T43" fmla="*/ 48 h 238"/>
                  <a:gd name="T44" fmla="*/ 57 w 219"/>
                  <a:gd name="T45" fmla="*/ 47 h 238"/>
                  <a:gd name="T46" fmla="*/ 53 w 219"/>
                  <a:gd name="T47" fmla="*/ 44 h 238"/>
                  <a:gd name="T48" fmla="*/ 50 w 219"/>
                  <a:gd name="T49" fmla="*/ 39 h 238"/>
                  <a:gd name="T50" fmla="*/ 49 w 219"/>
                  <a:gd name="T51" fmla="*/ 34 h 238"/>
                  <a:gd name="T52" fmla="*/ 49 w 219"/>
                  <a:gd name="T53" fmla="*/ 0 h 238"/>
                  <a:gd name="T54" fmla="*/ 6 w 219"/>
                  <a:gd name="T55" fmla="*/ 0 h 238"/>
                  <a:gd name="T56" fmla="*/ 6 w 219"/>
                  <a:gd name="T57" fmla="*/ 0 h 238"/>
                  <a:gd name="T58" fmla="*/ 2 w 219"/>
                  <a:gd name="T59" fmla="*/ 1 h 238"/>
                  <a:gd name="T60" fmla="*/ 0 w 219"/>
                  <a:gd name="T61" fmla="*/ 5 h 238"/>
                  <a:gd name="T62" fmla="*/ 0 w 219"/>
                  <a:gd name="T63" fmla="*/ 234 h 238"/>
                  <a:gd name="T64" fmla="*/ 0 w 219"/>
                  <a:gd name="T65" fmla="*/ 234 h 238"/>
                  <a:gd name="T66" fmla="*/ 2 w 219"/>
                  <a:gd name="T67" fmla="*/ 236 h 238"/>
                  <a:gd name="T68" fmla="*/ 6 w 219"/>
                  <a:gd name="T69" fmla="*/ 238 h 238"/>
                  <a:gd name="T70" fmla="*/ 215 w 219"/>
                  <a:gd name="T71" fmla="*/ 238 h 238"/>
                  <a:gd name="T72" fmla="*/ 215 w 219"/>
                  <a:gd name="T73" fmla="*/ 238 h 238"/>
                  <a:gd name="T74" fmla="*/ 218 w 219"/>
                  <a:gd name="T75" fmla="*/ 236 h 238"/>
                  <a:gd name="T76" fmla="*/ 219 w 219"/>
                  <a:gd name="T77" fmla="*/ 234 h 238"/>
                  <a:gd name="T78" fmla="*/ 219 w 219"/>
                  <a:gd name="T79" fmla="*/ 5 h 238"/>
                  <a:gd name="T80" fmla="*/ 219 w 219"/>
                  <a:gd name="T81" fmla="*/ 5 h 238"/>
                  <a:gd name="T82" fmla="*/ 218 w 219"/>
                  <a:gd name="T83" fmla="*/ 1 h 238"/>
                  <a:gd name="T84" fmla="*/ 215 w 219"/>
                  <a:gd name="T85" fmla="*/ 0 h 238"/>
                  <a:gd name="T86" fmla="*/ 215 w 219"/>
                  <a:gd name="T87"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9" h="238">
                    <a:moveTo>
                      <a:pt x="215" y="0"/>
                    </a:moveTo>
                    <a:lnTo>
                      <a:pt x="172" y="0"/>
                    </a:lnTo>
                    <a:lnTo>
                      <a:pt x="172" y="34"/>
                    </a:lnTo>
                    <a:lnTo>
                      <a:pt x="172" y="34"/>
                    </a:lnTo>
                    <a:lnTo>
                      <a:pt x="171" y="39"/>
                    </a:lnTo>
                    <a:lnTo>
                      <a:pt x="168" y="44"/>
                    </a:lnTo>
                    <a:lnTo>
                      <a:pt x="163" y="47"/>
                    </a:lnTo>
                    <a:lnTo>
                      <a:pt x="158" y="48"/>
                    </a:lnTo>
                    <a:lnTo>
                      <a:pt x="158" y="48"/>
                    </a:lnTo>
                    <a:lnTo>
                      <a:pt x="152" y="47"/>
                    </a:lnTo>
                    <a:lnTo>
                      <a:pt x="148" y="44"/>
                    </a:lnTo>
                    <a:lnTo>
                      <a:pt x="144" y="39"/>
                    </a:lnTo>
                    <a:lnTo>
                      <a:pt x="144" y="34"/>
                    </a:lnTo>
                    <a:lnTo>
                      <a:pt x="144" y="0"/>
                    </a:lnTo>
                    <a:lnTo>
                      <a:pt x="77" y="0"/>
                    </a:lnTo>
                    <a:lnTo>
                      <a:pt x="77" y="34"/>
                    </a:lnTo>
                    <a:lnTo>
                      <a:pt x="77" y="34"/>
                    </a:lnTo>
                    <a:lnTo>
                      <a:pt x="76" y="39"/>
                    </a:lnTo>
                    <a:lnTo>
                      <a:pt x="73" y="44"/>
                    </a:lnTo>
                    <a:lnTo>
                      <a:pt x="69" y="47"/>
                    </a:lnTo>
                    <a:lnTo>
                      <a:pt x="62" y="48"/>
                    </a:lnTo>
                    <a:lnTo>
                      <a:pt x="62" y="48"/>
                    </a:lnTo>
                    <a:lnTo>
                      <a:pt x="57" y="47"/>
                    </a:lnTo>
                    <a:lnTo>
                      <a:pt x="53" y="44"/>
                    </a:lnTo>
                    <a:lnTo>
                      <a:pt x="50" y="39"/>
                    </a:lnTo>
                    <a:lnTo>
                      <a:pt x="49" y="34"/>
                    </a:lnTo>
                    <a:lnTo>
                      <a:pt x="49" y="0"/>
                    </a:lnTo>
                    <a:lnTo>
                      <a:pt x="6" y="0"/>
                    </a:lnTo>
                    <a:lnTo>
                      <a:pt x="6" y="0"/>
                    </a:lnTo>
                    <a:lnTo>
                      <a:pt x="2" y="1"/>
                    </a:lnTo>
                    <a:lnTo>
                      <a:pt x="0" y="5"/>
                    </a:lnTo>
                    <a:lnTo>
                      <a:pt x="0" y="234"/>
                    </a:lnTo>
                    <a:lnTo>
                      <a:pt x="0" y="234"/>
                    </a:lnTo>
                    <a:lnTo>
                      <a:pt x="2" y="236"/>
                    </a:lnTo>
                    <a:lnTo>
                      <a:pt x="6" y="238"/>
                    </a:lnTo>
                    <a:lnTo>
                      <a:pt x="215" y="238"/>
                    </a:lnTo>
                    <a:lnTo>
                      <a:pt x="215" y="238"/>
                    </a:lnTo>
                    <a:lnTo>
                      <a:pt x="218" y="236"/>
                    </a:lnTo>
                    <a:lnTo>
                      <a:pt x="219" y="234"/>
                    </a:lnTo>
                    <a:lnTo>
                      <a:pt x="219" y="5"/>
                    </a:lnTo>
                    <a:lnTo>
                      <a:pt x="219" y="5"/>
                    </a:lnTo>
                    <a:lnTo>
                      <a:pt x="218" y="1"/>
                    </a:lnTo>
                    <a:lnTo>
                      <a:pt x="215" y="0"/>
                    </a:lnTo>
                    <a:lnTo>
                      <a:pt x="2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10" name="Freeform 288"/>
              <p:cNvSpPr>
                <a:spLocks/>
              </p:cNvSpPr>
              <p:nvPr/>
            </p:nvSpPr>
            <p:spPr bwMode="auto">
              <a:xfrm>
                <a:off x="1654176" y="5978525"/>
                <a:ext cx="82550" cy="74613"/>
              </a:xfrm>
              <a:custGeom>
                <a:avLst/>
                <a:gdLst>
                  <a:gd name="T0" fmla="*/ 100 w 105"/>
                  <a:gd name="T1" fmla="*/ 95 h 95"/>
                  <a:gd name="T2" fmla="*/ 100 w 105"/>
                  <a:gd name="T3" fmla="*/ 95 h 95"/>
                  <a:gd name="T4" fmla="*/ 97 w 105"/>
                  <a:gd name="T5" fmla="*/ 94 h 95"/>
                  <a:gd name="T6" fmla="*/ 96 w 105"/>
                  <a:gd name="T7" fmla="*/ 90 h 95"/>
                  <a:gd name="T8" fmla="*/ 96 w 105"/>
                  <a:gd name="T9" fmla="*/ 52 h 95"/>
                  <a:gd name="T10" fmla="*/ 96 w 105"/>
                  <a:gd name="T11" fmla="*/ 52 h 95"/>
                  <a:gd name="T12" fmla="*/ 94 w 105"/>
                  <a:gd name="T13" fmla="*/ 43 h 95"/>
                  <a:gd name="T14" fmla="*/ 92 w 105"/>
                  <a:gd name="T15" fmla="*/ 35 h 95"/>
                  <a:gd name="T16" fmla="*/ 88 w 105"/>
                  <a:gd name="T17" fmla="*/ 28 h 95"/>
                  <a:gd name="T18" fmla="*/ 82 w 105"/>
                  <a:gd name="T19" fmla="*/ 21 h 95"/>
                  <a:gd name="T20" fmla="*/ 77 w 105"/>
                  <a:gd name="T21" fmla="*/ 16 h 95"/>
                  <a:gd name="T22" fmla="*/ 69 w 105"/>
                  <a:gd name="T23" fmla="*/ 12 h 95"/>
                  <a:gd name="T24" fmla="*/ 61 w 105"/>
                  <a:gd name="T25" fmla="*/ 9 h 95"/>
                  <a:gd name="T26" fmla="*/ 53 w 105"/>
                  <a:gd name="T27" fmla="*/ 9 h 95"/>
                  <a:gd name="T28" fmla="*/ 53 w 105"/>
                  <a:gd name="T29" fmla="*/ 9 h 95"/>
                  <a:gd name="T30" fmla="*/ 43 w 105"/>
                  <a:gd name="T31" fmla="*/ 9 h 95"/>
                  <a:gd name="T32" fmla="*/ 35 w 105"/>
                  <a:gd name="T33" fmla="*/ 12 h 95"/>
                  <a:gd name="T34" fmla="*/ 28 w 105"/>
                  <a:gd name="T35" fmla="*/ 16 h 95"/>
                  <a:gd name="T36" fmla="*/ 22 w 105"/>
                  <a:gd name="T37" fmla="*/ 21 h 95"/>
                  <a:gd name="T38" fmla="*/ 16 w 105"/>
                  <a:gd name="T39" fmla="*/ 28 h 95"/>
                  <a:gd name="T40" fmla="*/ 12 w 105"/>
                  <a:gd name="T41" fmla="*/ 35 h 95"/>
                  <a:gd name="T42" fmla="*/ 11 w 105"/>
                  <a:gd name="T43" fmla="*/ 43 h 95"/>
                  <a:gd name="T44" fmla="*/ 10 w 105"/>
                  <a:gd name="T45" fmla="*/ 52 h 95"/>
                  <a:gd name="T46" fmla="*/ 10 w 105"/>
                  <a:gd name="T47" fmla="*/ 90 h 95"/>
                  <a:gd name="T48" fmla="*/ 10 w 105"/>
                  <a:gd name="T49" fmla="*/ 90 h 95"/>
                  <a:gd name="T50" fmla="*/ 8 w 105"/>
                  <a:gd name="T51" fmla="*/ 94 h 95"/>
                  <a:gd name="T52" fmla="*/ 4 w 105"/>
                  <a:gd name="T53" fmla="*/ 95 h 95"/>
                  <a:gd name="T54" fmla="*/ 4 w 105"/>
                  <a:gd name="T55" fmla="*/ 95 h 95"/>
                  <a:gd name="T56" fmla="*/ 2 w 105"/>
                  <a:gd name="T57" fmla="*/ 94 h 95"/>
                  <a:gd name="T58" fmla="*/ 0 w 105"/>
                  <a:gd name="T59" fmla="*/ 90 h 95"/>
                  <a:gd name="T60" fmla="*/ 0 w 105"/>
                  <a:gd name="T61" fmla="*/ 52 h 95"/>
                  <a:gd name="T62" fmla="*/ 0 w 105"/>
                  <a:gd name="T63" fmla="*/ 52 h 95"/>
                  <a:gd name="T64" fmla="*/ 2 w 105"/>
                  <a:gd name="T65" fmla="*/ 41 h 95"/>
                  <a:gd name="T66" fmla="*/ 4 w 105"/>
                  <a:gd name="T67" fmla="*/ 31 h 95"/>
                  <a:gd name="T68" fmla="*/ 8 w 105"/>
                  <a:gd name="T69" fmla="*/ 22 h 95"/>
                  <a:gd name="T70" fmla="*/ 15 w 105"/>
                  <a:gd name="T71" fmla="*/ 14 h 95"/>
                  <a:gd name="T72" fmla="*/ 23 w 105"/>
                  <a:gd name="T73" fmla="*/ 8 h 95"/>
                  <a:gd name="T74" fmla="*/ 32 w 105"/>
                  <a:gd name="T75" fmla="*/ 4 h 95"/>
                  <a:gd name="T76" fmla="*/ 42 w 105"/>
                  <a:gd name="T77" fmla="*/ 1 h 95"/>
                  <a:gd name="T78" fmla="*/ 53 w 105"/>
                  <a:gd name="T79" fmla="*/ 0 h 95"/>
                  <a:gd name="T80" fmla="*/ 53 w 105"/>
                  <a:gd name="T81" fmla="*/ 0 h 95"/>
                  <a:gd name="T82" fmla="*/ 63 w 105"/>
                  <a:gd name="T83" fmla="*/ 1 h 95"/>
                  <a:gd name="T84" fmla="*/ 73 w 105"/>
                  <a:gd name="T85" fmla="*/ 4 h 95"/>
                  <a:gd name="T86" fmla="*/ 82 w 105"/>
                  <a:gd name="T87" fmla="*/ 8 h 95"/>
                  <a:gd name="T88" fmla="*/ 89 w 105"/>
                  <a:gd name="T89" fmla="*/ 14 h 95"/>
                  <a:gd name="T90" fmla="*/ 96 w 105"/>
                  <a:gd name="T91" fmla="*/ 22 h 95"/>
                  <a:gd name="T92" fmla="*/ 101 w 105"/>
                  <a:gd name="T93" fmla="*/ 31 h 95"/>
                  <a:gd name="T94" fmla="*/ 104 w 105"/>
                  <a:gd name="T95" fmla="*/ 41 h 95"/>
                  <a:gd name="T96" fmla="*/ 105 w 105"/>
                  <a:gd name="T97" fmla="*/ 52 h 95"/>
                  <a:gd name="T98" fmla="*/ 105 w 105"/>
                  <a:gd name="T99" fmla="*/ 90 h 95"/>
                  <a:gd name="T100" fmla="*/ 105 w 105"/>
                  <a:gd name="T101" fmla="*/ 90 h 95"/>
                  <a:gd name="T102" fmla="*/ 104 w 105"/>
                  <a:gd name="T103" fmla="*/ 94 h 95"/>
                  <a:gd name="T104" fmla="*/ 100 w 105"/>
                  <a:gd name="T105" fmla="*/ 95 h 95"/>
                  <a:gd name="T106" fmla="*/ 100 w 105"/>
                  <a:gd name="T107"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5" h="95">
                    <a:moveTo>
                      <a:pt x="100" y="95"/>
                    </a:moveTo>
                    <a:lnTo>
                      <a:pt x="100" y="95"/>
                    </a:lnTo>
                    <a:lnTo>
                      <a:pt x="97" y="94"/>
                    </a:lnTo>
                    <a:lnTo>
                      <a:pt x="96" y="90"/>
                    </a:lnTo>
                    <a:lnTo>
                      <a:pt x="96" y="52"/>
                    </a:lnTo>
                    <a:lnTo>
                      <a:pt x="96" y="52"/>
                    </a:lnTo>
                    <a:lnTo>
                      <a:pt x="94" y="43"/>
                    </a:lnTo>
                    <a:lnTo>
                      <a:pt x="92" y="35"/>
                    </a:lnTo>
                    <a:lnTo>
                      <a:pt x="88" y="28"/>
                    </a:lnTo>
                    <a:lnTo>
                      <a:pt x="82" y="21"/>
                    </a:lnTo>
                    <a:lnTo>
                      <a:pt x="77" y="16"/>
                    </a:lnTo>
                    <a:lnTo>
                      <a:pt x="69" y="12"/>
                    </a:lnTo>
                    <a:lnTo>
                      <a:pt x="61" y="9"/>
                    </a:lnTo>
                    <a:lnTo>
                      <a:pt x="53" y="9"/>
                    </a:lnTo>
                    <a:lnTo>
                      <a:pt x="53" y="9"/>
                    </a:lnTo>
                    <a:lnTo>
                      <a:pt x="43" y="9"/>
                    </a:lnTo>
                    <a:lnTo>
                      <a:pt x="35" y="12"/>
                    </a:lnTo>
                    <a:lnTo>
                      <a:pt x="28" y="16"/>
                    </a:lnTo>
                    <a:lnTo>
                      <a:pt x="22" y="21"/>
                    </a:lnTo>
                    <a:lnTo>
                      <a:pt x="16" y="28"/>
                    </a:lnTo>
                    <a:lnTo>
                      <a:pt x="12" y="35"/>
                    </a:lnTo>
                    <a:lnTo>
                      <a:pt x="11" y="43"/>
                    </a:lnTo>
                    <a:lnTo>
                      <a:pt x="10" y="52"/>
                    </a:lnTo>
                    <a:lnTo>
                      <a:pt x="10" y="90"/>
                    </a:lnTo>
                    <a:lnTo>
                      <a:pt x="10" y="90"/>
                    </a:lnTo>
                    <a:lnTo>
                      <a:pt x="8" y="94"/>
                    </a:lnTo>
                    <a:lnTo>
                      <a:pt x="4" y="95"/>
                    </a:lnTo>
                    <a:lnTo>
                      <a:pt x="4" y="95"/>
                    </a:lnTo>
                    <a:lnTo>
                      <a:pt x="2" y="94"/>
                    </a:lnTo>
                    <a:lnTo>
                      <a:pt x="0" y="90"/>
                    </a:lnTo>
                    <a:lnTo>
                      <a:pt x="0" y="52"/>
                    </a:lnTo>
                    <a:lnTo>
                      <a:pt x="0" y="52"/>
                    </a:lnTo>
                    <a:lnTo>
                      <a:pt x="2" y="41"/>
                    </a:lnTo>
                    <a:lnTo>
                      <a:pt x="4" y="31"/>
                    </a:lnTo>
                    <a:lnTo>
                      <a:pt x="8" y="22"/>
                    </a:lnTo>
                    <a:lnTo>
                      <a:pt x="15" y="14"/>
                    </a:lnTo>
                    <a:lnTo>
                      <a:pt x="23" y="8"/>
                    </a:lnTo>
                    <a:lnTo>
                      <a:pt x="32" y="4"/>
                    </a:lnTo>
                    <a:lnTo>
                      <a:pt x="42" y="1"/>
                    </a:lnTo>
                    <a:lnTo>
                      <a:pt x="53" y="0"/>
                    </a:lnTo>
                    <a:lnTo>
                      <a:pt x="53" y="0"/>
                    </a:lnTo>
                    <a:lnTo>
                      <a:pt x="63" y="1"/>
                    </a:lnTo>
                    <a:lnTo>
                      <a:pt x="73" y="4"/>
                    </a:lnTo>
                    <a:lnTo>
                      <a:pt x="82" y="8"/>
                    </a:lnTo>
                    <a:lnTo>
                      <a:pt x="89" y="14"/>
                    </a:lnTo>
                    <a:lnTo>
                      <a:pt x="96" y="22"/>
                    </a:lnTo>
                    <a:lnTo>
                      <a:pt x="101" y="31"/>
                    </a:lnTo>
                    <a:lnTo>
                      <a:pt x="104" y="41"/>
                    </a:lnTo>
                    <a:lnTo>
                      <a:pt x="105" y="52"/>
                    </a:lnTo>
                    <a:lnTo>
                      <a:pt x="105" y="90"/>
                    </a:lnTo>
                    <a:lnTo>
                      <a:pt x="105" y="90"/>
                    </a:lnTo>
                    <a:lnTo>
                      <a:pt x="104" y="94"/>
                    </a:lnTo>
                    <a:lnTo>
                      <a:pt x="100" y="95"/>
                    </a:lnTo>
                    <a:lnTo>
                      <a:pt x="100" y="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206" name="Group 205"/>
            <p:cNvGrpSpPr>
              <a:grpSpLocks noChangeAspect="1"/>
            </p:cNvGrpSpPr>
            <p:nvPr/>
          </p:nvGrpSpPr>
          <p:grpSpPr>
            <a:xfrm>
              <a:off x="7708041" y="1991213"/>
              <a:ext cx="174625" cy="233363"/>
              <a:chOff x="1608138" y="5978525"/>
              <a:chExt cx="174625" cy="233363"/>
            </a:xfrm>
            <a:solidFill>
              <a:schemeClr val="bg1">
                <a:lumMod val="85000"/>
              </a:schemeClr>
            </a:solidFill>
          </p:grpSpPr>
          <p:sp>
            <p:nvSpPr>
              <p:cNvPr id="207" name="Freeform 287"/>
              <p:cNvSpPr>
                <a:spLocks/>
              </p:cNvSpPr>
              <p:nvPr/>
            </p:nvSpPr>
            <p:spPr bwMode="auto">
              <a:xfrm>
                <a:off x="1608138" y="6022975"/>
                <a:ext cx="174625" cy="188913"/>
              </a:xfrm>
              <a:custGeom>
                <a:avLst/>
                <a:gdLst>
                  <a:gd name="T0" fmla="*/ 215 w 219"/>
                  <a:gd name="T1" fmla="*/ 0 h 238"/>
                  <a:gd name="T2" fmla="*/ 172 w 219"/>
                  <a:gd name="T3" fmla="*/ 0 h 238"/>
                  <a:gd name="T4" fmla="*/ 172 w 219"/>
                  <a:gd name="T5" fmla="*/ 34 h 238"/>
                  <a:gd name="T6" fmla="*/ 172 w 219"/>
                  <a:gd name="T7" fmla="*/ 34 h 238"/>
                  <a:gd name="T8" fmla="*/ 171 w 219"/>
                  <a:gd name="T9" fmla="*/ 39 h 238"/>
                  <a:gd name="T10" fmla="*/ 168 w 219"/>
                  <a:gd name="T11" fmla="*/ 44 h 238"/>
                  <a:gd name="T12" fmla="*/ 163 w 219"/>
                  <a:gd name="T13" fmla="*/ 47 h 238"/>
                  <a:gd name="T14" fmla="*/ 158 w 219"/>
                  <a:gd name="T15" fmla="*/ 48 h 238"/>
                  <a:gd name="T16" fmla="*/ 158 w 219"/>
                  <a:gd name="T17" fmla="*/ 48 h 238"/>
                  <a:gd name="T18" fmla="*/ 152 w 219"/>
                  <a:gd name="T19" fmla="*/ 47 h 238"/>
                  <a:gd name="T20" fmla="*/ 148 w 219"/>
                  <a:gd name="T21" fmla="*/ 44 h 238"/>
                  <a:gd name="T22" fmla="*/ 144 w 219"/>
                  <a:gd name="T23" fmla="*/ 39 h 238"/>
                  <a:gd name="T24" fmla="*/ 144 w 219"/>
                  <a:gd name="T25" fmla="*/ 34 h 238"/>
                  <a:gd name="T26" fmla="*/ 144 w 219"/>
                  <a:gd name="T27" fmla="*/ 0 h 238"/>
                  <a:gd name="T28" fmla="*/ 77 w 219"/>
                  <a:gd name="T29" fmla="*/ 0 h 238"/>
                  <a:gd name="T30" fmla="*/ 77 w 219"/>
                  <a:gd name="T31" fmla="*/ 34 h 238"/>
                  <a:gd name="T32" fmla="*/ 77 w 219"/>
                  <a:gd name="T33" fmla="*/ 34 h 238"/>
                  <a:gd name="T34" fmla="*/ 76 w 219"/>
                  <a:gd name="T35" fmla="*/ 39 h 238"/>
                  <a:gd name="T36" fmla="*/ 73 w 219"/>
                  <a:gd name="T37" fmla="*/ 44 h 238"/>
                  <a:gd name="T38" fmla="*/ 69 w 219"/>
                  <a:gd name="T39" fmla="*/ 47 h 238"/>
                  <a:gd name="T40" fmla="*/ 62 w 219"/>
                  <a:gd name="T41" fmla="*/ 48 h 238"/>
                  <a:gd name="T42" fmla="*/ 62 w 219"/>
                  <a:gd name="T43" fmla="*/ 48 h 238"/>
                  <a:gd name="T44" fmla="*/ 57 w 219"/>
                  <a:gd name="T45" fmla="*/ 47 h 238"/>
                  <a:gd name="T46" fmla="*/ 53 w 219"/>
                  <a:gd name="T47" fmla="*/ 44 h 238"/>
                  <a:gd name="T48" fmla="*/ 50 w 219"/>
                  <a:gd name="T49" fmla="*/ 39 h 238"/>
                  <a:gd name="T50" fmla="*/ 49 w 219"/>
                  <a:gd name="T51" fmla="*/ 34 h 238"/>
                  <a:gd name="T52" fmla="*/ 49 w 219"/>
                  <a:gd name="T53" fmla="*/ 0 h 238"/>
                  <a:gd name="T54" fmla="*/ 6 w 219"/>
                  <a:gd name="T55" fmla="*/ 0 h 238"/>
                  <a:gd name="T56" fmla="*/ 6 w 219"/>
                  <a:gd name="T57" fmla="*/ 0 h 238"/>
                  <a:gd name="T58" fmla="*/ 2 w 219"/>
                  <a:gd name="T59" fmla="*/ 1 h 238"/>
                  <a:gd name="T60" fmla="*/ 0 w 219"/>
                  <a:gd name="T61" fmla="*/ 5 h 238"/>
                  <a:gd name="T62" fmla="*/ 0 w 219"/>
                  <a:gd name="T63" fmla="*/ 234 h 238"/>
                  <a:gd name="T64" fmla="*/ 0 w 219"/>
                  <a:gd name="T65" fmla="*/ 234 h 238"/>
                  <a:gd name="T66" fmla="*/ 2 w 219"/>
                  <a:gd name="T67" fmla="*/ 236 h 238"/>
                  <a:gd name="T68" fmla="*/ 6 w 219"/>
                  <a:gd name="T69" fmla="*/ 238 h 238"/>
                  <a:gd name="T70" fmla="*/ 215 w 219"/>
                  <a:gd name="T71" fmla="*/ 238 h 238"/>
                  <a:gd name="T72" fmla="*/ 215 w 219"/>
                  <a:gd name="T73" fmla="*/ 238 h 238"/>
                  <a:gd name="T74" fmla="*/ 218 w 219"/>
                  <a:gd name="T75" fmla="*/ 236 h 238"/>
                  <a:gd name="T76" fmla="*/ 219 w 219"/>
                  <a:gd name="T77" fmla="*/ 234 h 238"/>
                  <a:gd name="T78" fmla="*/ 219 w 219"/>
                  <a:gd name="T79" fmla="*/ 5 h 238"/>
                  <a:gd name="T80" fmla="*/ 219 w 219"/>
                  <a:gd name="T81" fmla="*/ 5 h 238"/>
                  <a:gd name="T82" fmla="*/ 218 w 219"/>
                  <a:gd name="T83" fmla="*/ 1 h 238"/>
                  <a:gd name="T84" fmla="*/ 215 w 219"/>
                  <a:gd name="T85" fmla="*/ 0 h 238"/>
                  <a:gd name="T86" fmla="*/ 215 w 219"/>
                  <a:gd name="T87"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9" h="238">
                    <a:moveTo>
                      <a:pt x="215" y="0"/>
                    </a:moveTo>
                    <a:lnTo>
                      <a:pt x="172" y="0"/>
                    </a:lnTo>
                    <a:lnTo>
                      <a:pt x="172" y="34"/>
                    </a:lnTo>
                    <a:lnTo>
                      <a:pt x="172" y="34"/>
                    </a:lnTo>
                    <a:lnTo>
                      <a:pt x="171" y="39"/>
                    </a:lnTo>
                    <a:lnTo>
                      <a:pt x="168" y="44"/>
                    </a:lnTo>
                    <a:lnTo>
                      <a:pt x="163" y="47"/>
                    </a:lnTo>
                    <a:lnTo>
                      <a:pt x="158" y="48"/>
                    </a:lnTo>
                    <a:lnTo>
                      <a:pt x="158" y="48"/>
                    </a:lnTo>
                    <a:lnTo>
                      <a:pt x="152" y="47"/>
                    </a:lnTo>
                    <a:lnTo>
                      <a:pt x="148" y="44"/>
                    </a:lnTo>
                    <a:lnTo>
                      <a:pt x="144" y="39"/>
                    </a:lnTo>
                    <a:lnTo>
                      <a:pt x="144" y="34"/>
                    </a:lnTo>
                    <a:lnTo>
                      <a:pt x="144" y="0"/>
                    </a:lnTo>
                    <a:lnTo>
                      <a:pt x="77" y="0"/>
                    </a:lnTo>
                    <a:lnTo>
                      <a:pt x="77" y="34"/>
                    </a:lnTo>
                    <a:lnTo>
                      <a:pt x="77" y="34"/>
                    </a:lnTo>
                    <a:lnTo>
                      <a:pt x="76" y="39"/>
                    </a:lnTo>
                    <a:lnTo>
                      <a:pt x="73" y="44"/>
                    </a:lnTo>
                    <a:lnTo>
                      <a:pt x="69" y="47"/>
                    </a:lnTo>
                    <a:lnTo>
                      <a:pt x="62" y="48"/>
                    </a:lnTo>
                    <a:lnTo>
                      <a:pt x="62" y="48"/>
                    </a:lnTo>
                    <a:lnTo>
                      <a:pt x="57" y="47"/>
                    </a:lnTo>
                    <a:lnTo>
                      <a:pt x="53" y="44"/>
                    </a:lnTo>
                    <a:lnTo>
                      <a:pt x="50" y="39"/>
                    </a:lnTo>
                    <a:lnTo>
                      <a:pt x="49" y="34"/>
                    </a:lnTo>
                    <a:lnTo>
                      <a:pt x="49" y="0"/>
                    </a:lnTo>
                    <a:lnTo>
                      <a:pt x="6" y="0"/>
                    </a:lnTo>
                    <a:lnTo>
                      <a:pt x="6" y="0"/>
                    </a:lnTo>
                    <a:lnTo>
                      <a:pt x="2" y="1"/>
                    </a:lnTo>
                    <a:lnTo>
                      <a:pt x="0" y="5"/>
                    </a:lnTo>
                    <a:lnTo>
                      <a:pt x="0" y="234"/>
                    </a:lnTo>
                    <a:lnTo>
                      <a:pt x="0" y="234"/>
                    </a:lnTo>
                    <a:lnTo>
                      <a:pt x="2" y="236"/>
                    </a:lnTo>
                    <a:lnTo>
                      <a:pt x="6" y="238"/>
                    </a:lnTo>
                    <a:lnTo>
                      <a:pt x="215" y="238"/>
                    </a:lnTo>
                    <a:lnTo>
                      <a:pt x="215" y="238"/>
                    </a:lnTo>
                    <a:lnTo>
                      <a:pt x="218" y="236"/>
                    </a:lnTo>
                    <a:lnTo>
                      <a:pt x="219" y="234"/>
                    </a:lnTo>
                    <a:lnTo>
                      <a:pt x="219" y="5"/>
                    </a:lnTo>
                    <a:lnTo>
                      <a:pt x="219" y="5"/>
                    </a:lnTo>
                    <a:lnTo>
                      <a:pt x="218" y="1"/>
                    </a:lnTo>
                    <a:lnTo>
                      <a:pt x="215" y="0"/>
                    </a:lnTo>
                    <a:lnTo>
                      <a:pt x="2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08" name="Freeform 288"/>
              <p:cNvSpPr>
                <a:spLocks/>
              </p:cNvSpPr>
              <p:nvPr/>
            </p:nvSpPr>
            <p:spPr bwMode="auto">
              <a:xfrm>
                <a:off x="1654176" y="5978525"/>
                <a:ext cx="82550" cy="74613"/>
              </a:xfrm>
              <a:custGeom>
                <a:avLst/>
                <a:gdLst>
                  <a:gd name="T0" fmla="*/ 100 w 105"/>
                  <a:gd name="T1" fmla="*/ 95 h 95"/>
                  <a:gd name="T2" fmla="*/ 100 w 105"/>
                  <a:gd name="T3" fmla="*/ 95 h 95"/>
                  <a:gd name="T4" fmla="*/ 97 w 105"/>
                  <a:gd name="T5" fmla="*/ 94 h 95"/>
                  <a:gd name="T6" fmla="*/ 96 w 105"/>
                  <a:gd name="T7" fmla="*/ 90 h 95"/>
                  <a:gd name="T8" fmla="*/ 96 w 105"/>
                  <a:gd name="T9" fmla="*/ 52 h 95"/>
                  <a:gd name="T10" fmla="*/ 96 w 105"/>
                  <a:gd name="T11" fmla="*/ 52 h 95"/>
                  <a:gd name="T12" fmla="*/ 94 w 105"/>
                  <a:gd name="T13" fmla="*/ 43 h 95"/>
                  <a:gd name="T14" fmla="*/ 92 w 105"/>
                  <a:gd name="T15" fmla="*/ 35 h 95"/>
                  <a:gd name="T16" fmla="*/ 88 w 105"/>
                  <a:gd name="T17" fmla="*/ 28 h 95"/>
                  <a:gd name="T18" fmla="*/ 82 w 105"/>
                  <a:gd name="T19" fmla="*/ 21 h 95"/>
                  <a:gd name="T20" fmla="*/ 77 w 105"/>
                  <a:gd name="T21" fmla="*/ 16 h 95"/>
                  <a:gd name="T22" fmla="*/ 69 w 105"/>
                  <a:gd name="T23" fmla="*/ 12 h 95"/>
                  <a:gd name="T24" fmla="*/ 61 w 105"/>
                  <a:gd name="T25" fmla="*/ 9 h 95"/>
                  <a:gd name="T26" fmla="*/ 53 w 105"/>
                  <a:gd name="T27" fmla="*/ 9 h 95"/>
                  <a:gd name="T28" fmla="*/ 53 w 105"/>
                  <a:gd name="T29" fmla="*/ 9 h 95"/>
                  <a:gd name="T30" fmla="*/ 43 w 105"/>
                  <a:gd name="T31" fmla="*/ 9 h 95"/>
                  <a:gd name="T32" fmla="*/ 35 w 105"/>
                  <a:gd name="T33" fmla="*/ 12 h 95"/>
                  <a:gd name="T34" fmla="*/ 28 w 105"/>
                  <a:gd name="T35" fmla="*/ 16 h 95"/>
                  <a:gd name="T36" fmla="*/ 22 w 105"/>
                  <a:gd name="T37" fmla="*/ 21 h 95"/>
                  <a:gd name="T38" fmla="*/ 16 w 105"/>
                  <a:gd name="T39" fmla="*/ 28 h 95"/>
                  <a:gd name="T40" fmla="*/ 12 w 105"/>
                  <a:gd name="T41" fmla="*/ 35 h 95"/>
                  <a:gd name="T42" fmla="*/ 11 w 105"/>
                  <a:gd name="T43" fmla="*/ 43 h 95"/>
                  <a:gd name="T44" fmla="*/ 10 w 105"/>
                  <a:gd name="T45" fmla="*/ 52 h 95"/>
                  <a:gd name="T46" fmla="*/ 10 w 105"/>
                  <a:gd name="T47" fmla="*/ 90 h 95"/>
                  <a:gd name="T48" fmla="*/ 10 w 105"/>
                  <a:gd name="T49" fmla="*/ 90 h 95"/>
                  <a:gd name="T50" fmla="*/ 8 w 105"/>
                  <a:gd name="T51" fmla="*/ 94 h 95"/>
                  <a:gd name="T52" fmla="*/ 4 w 105"/>
                  <a:gd name="T53" fmla="*/ 95 h 95"/>
                  <a:gd name="T54" fmla="*/ 4 w 105"/>
                  <a:gd name="T55" fmla="*/ 95 h 95"/>
                  <a:gd name="T56" fmla="*/ 2 w 105"/>
                  <a:gd name="T57" fmla="*/ 94 h 95"/>
                  <a:gd name="T58" fmla="*/ 0 w 105"/>
                  <a:gd name="T59" fmla="*/ 90 h 95"/>
                  <a:gd name="T60" fmla="*/ 0 w 105"/>
                  <a:gd name="T61" fmla="*/ 52 h 95"/>
                  <a:gd name="T62" fmla="*/ 0 w 105"/>
                  <a:gd name="T63" fmla="*/ 52 h 95"/>
                  <a:gd name="T64" fmla="*/ 2 w 105"/>
                  <a:gd name="T65" fmla="*/ 41 h 95"/>
                  <a:gd name="T66" fmla="*/ 4 w 105"/>
                  <a:gd name="T67" fmla="*/ 31 h 95"/>
                  <a:gd name="T68" fmla="*/ 8 w 105"/>
                  <a:gd name="T69" fmla="*/ 22 h 95"/>
                  <a:gd name="T70" fmla="*/ 15 w 105"/>
                  <a:gd name="T71" fmla="*/ 14 h 95"/>
                  <a:gd name="T72" fmla="*/ 23 w 105"/>
                  <a:gd name="T73" fmla="*/ 8 h 95"/>
                  <a:gd name="T74" fmla="*/ 32 w 105"/>
                  <a:gd name="T75" fmla="*/ 4 h 95"/>
                  <a:gd name="T76" fmla="*/ 42 w 105"/>
                  <a:gd name="T77" fmla="*/ 1 h 95"/>
                  <a:gd name="T78" fmla="*/ 53 w 105"/>
                  <a:gd name="T79" fmla="*/ 0 h 95"/>
                  <a:gd name="T80" fmla="*/ 53 w 105"/>
                  <a:gd name="T81" fmla="*/ 0 h 95"/>
                  <a:gd name="T82" fmla="*/ 63 w 105"/>
                  <a:gd name="T83" fmla="*/ 1 h 95"/>
                  <a:gd name="T84" fmla="*/ 73 w 105"/>
                  <a:gd name="T85" fmla="*/ 4 h 95"/>
                  <a:gd name="T86" fmla="*/ 82 w 105"/>
                  <a:gd name="T87" fmla="*/ 8 h 95"/>
                  <a:gd name="T88" fmla="*/ 89 w 105"/>
                  <a:gd name="T89" fmla="*/ 14 h 95"/>
                  <a:gd name="T90" fmla="*/ 96 w 105"/>
                  <a:gd name="T91" fmla="*/ 22 h 95"/>
                  <a:gd name="T92" fmla="*/ 101 w 105"/>
                  <a:gd name="T93" fmla="*/ 31 h 95"/>
                  <a:gd name="T94" fmla="*/ 104 w 105"/>
                  <a:gd name="T95" fmla="*/ 41 h 95"/>
                  <a:gd name="T96" fmla="*/ 105 w 105"/>
                  <a:gd name="T97" fmla="*/ 52 h 95"/>
                  <a:gd name="T98" fmla="*/ 105 w 105"/>
                  <a:gd name="T99" fmla="*/ 90 h 95"/>
                  <a:gd name="T100" fmla="*/ 105 w 105"/>
                  <a:gd name="T101" fmla="*/ 90 h 95"/>
                  <a:gd name="T102" fmla="*/ 104 w 105"/>
                  <a:gd name="T103" fmla="*/ 94 h 95"/>
                  <a:gd name="T104" fmla="*/ 100 w 105"/>
                  <a:gd name="T105" fmla="*/ 95 h 95"/>
                  <a:gd name="T106" fmla="*/ 100 w 105"/>
                  <a:gd name="T107"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5" h="95">
                    <a:moveTo>
                      <a:pt x="100" y="95"/>
                    </a:moveTo>
                    <a:lnTo>
                      <a:pt x="100" y="95"/>
                    </a:lnTo>
                    <a:lnTo>
                      <a:pt x="97" y="94"/>
                    </a:lnTo>
                    <a:lnTo>
                      <a:pt x="96" y="90"/>
                    </a:lnTo>
                    <a:lnTo>
                      <a:pt x="96" y="52"/>
                    </a:lnTo>
                    <a:lnTo>
                      <a:pt x="96" y="52"/>
                    </a:lnTo>
                    <a:lnTo>
                      <a:pt x="94" y="43"/>
                    </a:lnTo>
                    <a:lnTo>
                      <a:pt x="92" y="35"/>
                    </a:lnTo>
                    <a:lnTo>
                      <a:pt x="88" y="28"/>
                    </a:lnTo>
                    <a:lnTo>
                      <a:pt x="82" y="21"/>
                    </a:lnTo>
                    <a:lnTo>
                      <a:pt x="77" y="16"/>
                    </a:lnTo>
                    <a:lnTo>
                      <a:pt x="69" y="12"/>
                    </a:lnTo>
                    <a:lnTo>
                      <a:pt x="61" y="9"/>
                    </a:lnTo>
                    <a:lnTo>
                      <a:pt x="53" y="9"/>
                    </a:lnTo>
                    <a:lnTo>
                      <a:pt x="53" y="9"/>
                    </a:lnTo>
                    <a:lnTo>
                      <a:pt x="43" y="9"/>
                    </a:lnTo>
                    <a:lnTo>
                      <a:pt x="35" y="12"/>
                    </a:lnTo>
                    <a:lnTo>
                      <a:pt x="28" y="16"/>
                    </a:lnTo>
                    <a:lnTo>
                      <a:pt x="22" y="21"/>
                    </a:lnTo>
                    <a:lnTo>
                      <a:pt x="16" y="28"/>
                    </a:lnTo>
                    <a:lnTo>
                      <a:pt x="12" y="35"/>
                    </a:lnTo>
                    <a:lnTo>
                      <a:pt x="11" y="43"/>
                    </a:lnTo>
                    <a:lnTo>
                      <a:pt x="10" y="52"/>
                    </a:lnTo>
                    <a:lnTo>
                      <a:pt x="10" y="90"/>
                    </a:lnTo>
                    <a:lnTo>
                      <a:pt x="10" y="90"/>
                    </a:lnTo>
                    <a:lnTo>
                      <a:pt x="8" y="94"/>
                    </a:lnTo>
                    <a:lnTo>
                      <a:pt x="4" y="95"/>
                    </a:lnTo>
                    <a:lnTo>
                      <a:pt x="4" y="95"/>
                    </a:lnTo>
                    <a:lnTo>
                      <a:pt x="2" y="94"/>
                    </a:lnTo>
                    <a:lnTo>
                      <a:pt x="0" y="90"/>
                    </a:lnTo>
                    <a:lnTo>
                      <a:pt x="0" y="52"/>
                    </a:lnTo>
                    <a:lnTo>
                      <a:pt x="0" y="52"/>
                    </a:lnTo>
                    <a:lnTo>
                      <a:pt x="2" y="41"/>
                    </a:lnTo>
                    <a:lnTo>
                      <a:pt x="4" y="31"/>
                    </a:lnTo>
                    <a:lnTo>
                      <a:pt x="8" y="22"/>
                    </a:lnTo>
                    <a:lnTo>
                      <a:pt x="15" y="14"/>
                    </a:lnTo>
                    <a:lnTo>
                      <a:pt x="23" y="8"/>
                    </a:lnTo>
                    <a:lnTo>
                      <a:pt x="32" y="4"/>
                    </a:lnTo>
                    <a:lnTo>
                      <a:pt x="42" y="1"/>
                    </a:lnTo>
                    <a:lnTo>
                      <a:pt x="53" y="0"/>
                    </a:lnTo>
                    <a:lnTo>
                      <a:pt x="53" y="0"/>
                    </a:lnTo>
                    <a:lnTo>
                      <a:pt x="63" y="1"/>
                    </a:lnTo>
                    <a:lnTo>
                      <a:pt x="73" y="4"/>
                    </a:lnTo>
                    <a:lnTo>
                      <a:pt x="82" y="8"/>
                    </a:lnTo>
                    <a:lnTo>
                      <a:pt x="89" y="14"/>
                    </a:lnTo>
                    <a:lnTo>
                      <a:pt x="96" y="22"/>
                    </a:lnTo>
                    <a:lnTo>
                      <a:pt x="101" y="31"/>
                    </a:lnTo>
                    <a:lnTo>
                      <a:pt x="104" y="41"/>
                    </a:lnTo>
                    <a:lnTo>
                      <a:pt x="105" y="52"/>
                    </a:lnTo>
                    <a:lnTo>
                      <a:pt x="105" y="90"/>
                    </a:lnTo>
                    <a:lnTo>
                      <a:pt x="105" y="90"/>
                    </a:lnTo>
                    <a:lnTo>
                      <a:pt x="104" y="94"/>
                    </a:lnTo>
                    <a:lnTo>
                      <a:pt x="100" y="95"/>
                    </a:lnTo>
                    <a:lnTo>
                      <a:pt x="100" y="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grpSp>
        <p:nvGrpSpPr>
          <p:cNvPr id="227" name="Group 226"/>
          <p:cNvGrpSpPr/>
          <p:nvPr/>
        </p:nvGrpSpPr>
        <p:grpSpPr>
          <a:xfrm>
            <a:off x="4229102" y="1770546"/>
            <a:ext cx="3571875" cy="4558816"/>
            <a:chOff x="4229102" y="1799122"/>
            <a:chExt cx="3571875" cy="4592968"/>
          </a:xfrm>
        </p:grpSpPr>
        <p:cxnSp>
          <p:nvCxnSpPr>
            <p:cNvPr id="228" name="Straight Connector 227"/>
            <p:cNvCxnSpPr/>
            <p:nvPr/>
          </p:nvCxnSpPr>
          <p:spPr>
            <a:xfrm>
              <a:off x="7800977" y="1799122"/>
              <a:ext cx="0" cy="45929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p:cNvCxnSpPr/>
            <p:nvPr/>
          </p:nvCxnSpPr>
          <p:spPr>
            <a:xfrm>
              <a:off x="4229102" y="1799122"/>
              <a:ext cx="0" cy="45929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230" name="Freeform 230"/>
          <p:cNvSpPr>
            <a:spLocks noEditPoints="1"/>
          </p:cNvSpPr>
          <p:nvPr/>
        </p:nvSpPr>
        <p:spPr bwMode="auto">
          <a:xfrm>
            <a:off x="3694677" y="2815687"/>
            <a:ext cx="245866" cy="261427"/>
          </a:xfrm>
          <a:custGeom>
            <a:avLst/>
            <a:gdLst>
              <a:gd name="T0" fmla="*/ 67 w 314"/>
              <a:gd name="T1" fmla="*/ 249 h 336"/>
              <a:gd name="T2" fmla="*/ 90 w 314"/>
              <a:gd name="T3" fmla="*/ 296 h 336"/>
              <a:gd name="T4" fmla="*/ 131 w 314"/>
              <a:gd name="T5" fmla="*/ 327 h 336"/>
              <a:gd name="T6" fmla="*/ 173 w 314"/>
              <a:gd name="T7" fmla="*/ 336 h 336"/>
              <a:gd name="T8" fmla="*/ 225 w 314"/>
              <a:gd name="T9" fmla="*/ 322 h 336"/>
              <a:gd name="T10" fmla="*/ 263 w 314"/>
              <a:gd name="T11" fmla="*/ 288 h 336"/>
              <a:gd name="T12" fmla="*/ 281 w 314"/>
              <a:gd name="T13" fmla="*/ 238 h 336"/>
              <a:gd name="T14" fmla="*/ 313 w 314"/>
              <a:gd name="T15" fmla="*/ 226 h 336"/>
              <a:gd name="T16" fmla="*/ 314 w 314"/>
              <a:gd name="T17" fmla="*/ 79 h 336"/>
              <a:gd name="T18" fmla="*/ 250 w 314"/>
              <a:gd name="T19" fmla="*/ 38 h 336"/>
              <a:gd name="T20" fmla="*/ 242 w 314"/>
              <a:gd name="T21" fmla="*/ 19 h 336"/>
              <a:gd name="T22" fmla="*/ 221 w 314"/>
              <a:gd name="T23" fmla="*/ 11 h 336"/>
              <a:gd name="T24" fmla="*/ 204 w 314"/>
              <a:gd name="T25" fmla="*/ 18 h 336"/>
              <a:gd name="T26" fmla="*/ 178 w 314"/>
              <a:gd name="T27" fmla="*/ 0 h 336"/>
              <a:gd name="T28" fmla="*/ 153 w 314"/>
              <a:gd name="T29" fmla="*/ 18 h 336"/>
              <a:gd name="T30" fmla="*/ 135 w 314"/>
              <a:gd name="T31" fmla="*/ 11 h 336"/>
              <a:gd name="T32" fmla="*/ 110 w 314"/>
              <a:gd name="T33" fmla="*/ 28 h 336"/>
              <a:gd name="T34" fmla="*/ 93 w 314"/>
              <a:gd name="T35" fmla="*/ 22 h 336"/>
              <a:gd name="T36" fmla="*/ 70 w 314"/>
              <a:gd name="T37" fmla="*/ 34 h 336"/>
              <a:gd name="T38" fmla="*/ 5 w 314"/>
              <a:gd name="T39" fmla="*/ 75 h 336"/>
              <a:gd name="T40" fmla="*/ 0 w 314"/>
              <a:gd name="T41" fmla="*/ 81 h 336"/>
              <a:gd name="T42" fmla="*/ 4 w 314"/>
              <a:gd name="T43" fmla="*/ 227 h 336"/>
              <a:gd name="T44" fmla="*/ 207 w 314"/>
              <a:gd name="T45" fmla="*/ 31 h 336"/>
              <a:gd name="T46" fmla="*/ 228 w 314"/>
              <a:gd name="T47" fmla="*/ 23 h 336"/>
              <a:gd name="T48" fmla="*/ 205 w 314"/>
              <a:gd name="T49" fmla="*/ 75 h 336"/>
              <a:gd name="T50" fmla="*/ 164 w 314"/>
              <a:gd name="T51" fmla="*/ 20 h 336"/>
              <a:gd name="T52" fmla="*/ 185 w 314"/>
              <a:gd name="T53" fmla="*/ 12 h 336"/>
              <a:gd name="T54" fmla="*/ 195 w 314"/>
              <a:gd name="T55" fmla="*/ 75 h 336"/>
              <a:gd name="T56" fmla="*/ 164 w 314"/>
              <a:gd name="T57" fmla="*/ 120 h 336"/>
              <a:gd name="T58" fmla="*/ 187 w 314"/>
              <a:gd name="T59" fmla="*/ 138 h 336"/>
              <a:gd name="T60" fmla="*/ 187 w 314"/>
              <a:gd name="T61" fmla="*/ 164 h 336"/>
              <a:gd name="T62" fmla="*/ 164 w 314"/>
              <a:gd name="T63" fmla="*/ 183 h 336"/>
              <a:gd name="T64" fmla="*/ 140 w 314"/>
              <a:gd name="T65" fmla="*/ 179 h 336"/>
              <a:gd name="T66" fmla="*/ 125 w 314"/>
              <a:gd name="T67" fmla="*/ 152 h 336"/>
              <a:gd name="T68" fmla="*/ 134 w 314"/>
              <a:gd name="T69" fmla="*/ 128 h 336"/>
              <a:gd name="T70" fmla="*/ 157 w 314"/>
              <a:gd name="T71" fmla="*/ 118 h 336"/>
              <a:gd name="T72" fmla="*/ 123 w 314"/>
              <a:gd name="T73" fmla="*/ 26 h 336"/>
              <a:gd name="T74" fmla="*/ 148 w 314"/>
              <a:gd name="T75" fmla="*/ 26 h 336"/>
              <a:gd name="T76" fmla="*/ 119 w 314"/>
              <a:gd name="T77" fmla="*/ 48 h 336"/>
              <a:gd name="T78" fmla="*/ 164 w 314"/>
              <a:gd name="T79" fmla="*/ 247 h 336"/>
              <a:gd name="T80" fmla="*/ 166 w 314"/>
              <a:gd name="T81" fmla="*/ 259 h 336"/>
              <a:gd name="T82" fmla="*/ 173 w 314"/>
              <a:gd name="T83" fmla="*/ 257 h 336"/>
              <a:gd name="T84" fmla="*/ 180 w 314"/>
              <a:gd name="T85" fmla="*/ 233 h 336"/>
              <a:gd name="T86" fmla="*/ 195 w 314"/>
              <a:gd name="T87" fmla="*/ 218 h 336"/>
              <a:gd name="T88" fmla="*/ 235 w 314"/>
              <a:gd name="T89" fmla="*/ 206 h 336"/>
              <a:gd name="T90" fmla="*/ 239 w 314"/>
              <a:gd name="T91" fmla="*/ 168 h 336"/>
              <a:gd name="T92" fmla="*/ 252 w 314"/>
              <a:gd name="T93" fmla="*/ 137 h 336"/>
              <a:gd name="T94" fmla="*/ 271 w 314"/>
              <a:gd name="T95" fmla="*/ 227 h 336"/>
              <a:gd name="T96" fmla="*/ 259 w 314"/>
              <a:gd name="T97" fmla="*/ 274 h 336"/>
              <a:gd name="T98" fmla="*/ 228 w 314"/>
              <a:gd name="T99" fmla="*/ 308 h 336"/>
              <a:gd name="T100" fmla="*/ 184 w 314"/>
              <a:gd name="T101" fmla="*/ 324 h 336"/>
              <a:gd name="T102" fmla="*/ 145 w 314"/>
              <a:gd name="T103" fmla="*/ 320 h 336"/>
              <a:gd name="T104" fmla="*/ 105 w 314"/>
              <a:gd name="T105" fmla="*/ 296 h 336"/>
              <a:gd name="T106" fmla="*/ 80 w 314"/>
              <a:gd name="T107" fmla="*/ 257 h 336"/>
              <a:gd name="T108" fmla="*/ 76 w 314"/>
              <a:gd name="T109" fmla="*/ 48 h 336"/>
              <a:gd name="T110" fmla="*/ 93 w 314"/>
              <a:gd name="T111" fmla="*/ 32 h 336"/>
              <a:gd name="T112" fmla="*/ 109 w 314"/>
              <a:gd name="T113" fmla="*/ 48 h 336"/>
              <a:gd name="T114" fmla="*/ 93 w 314"/>
              <a:gd name="T115" fmla="*/ 118 h 336"/>
              <a:gd name="T116" fmla="*/ 98 w 314"/>
              <a:gd name="T117" fmla="*/ 124 h 336"/>
              <a:gd name="T118" fmla="*/ 93 w 314"/>
              <a:gd name="T119" fmla="*/ 129 h 336"/>
              <a:gd name="T120" fmla="*/ 44 w 314"/>
              <a:gd name="T121" fmla="*/ 126 h 336"/>
              <a:gd name="T122" fmla="*/ 47 w 314"/>
              <a:gd name="T123" fmla="*/ 12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4" h="336">
                <a:moveTo>
                  <a:pt x="5" y="227"/>
                </a:moveTo>
                <a:lnTo>
                  <a:pt x="66" y="227"/>
                </a:lnTo>
                <a:lnTo>
                  <a:pt x="66" y="227"/>
                </a:lnTo>
                <a:lnTo>
                  <a:pt x="66" y="238"/>
                </a:lnTo>
                <a:lnTo>
                  <a:pt x="67" y="249"/>
                </a:lnTo>
                <a:lnTo>
                  <a:pt x="70" y="259"/>
                </a:lnTo>
                <a:lnTo>
                  <a:pt x="74" y="269"/>
                </a:lnTo>
                <a:lnTo>
                  <a:pt x="78" y="278"/>
                </a:lnTo>
                <a:lnTo>
                  <a:pt x="83" y="288"/>
                </a:lnTo>
                <a:lnTo>
                  <a:pt x="90" y="296"/>
                </a:lnTo>
                <a:lnTo>
                  <a:pt x="97" y="304"/>
                </a:lnTo>
                <a:lnTo>
                  <a:pt x="105" y="310"/>
                </a:lnTo>
                <a:lnTo>
                  <a:pt x="113" y="317"/>
                </a:lnTo>
                <a:lnTo>
                  <a:pt x="122" y="322"/>
                </a:lnTo>
                <a:lnTo>
                  <a:pt x="131" y="327"/>
                </a:lnTo>
                <a:lnTo>
                  <a:pt x="141" y="331"/>
                </a:lnTo>
                <a:lnTo>
                  <a:pt x="152" y="333"/>
                </a:lnTo>
                <a:lnTo>
                  <a:pt x="162" y="335"/>
                </a:lnTo>
                <a:lnTo>
                  <a:pt x="173" y="336"/>
                </a:lnTo>
                <a:lnTo>
                  <a:pt x="173" y="336"/>
                </a:lnTo>
                <a:lnTo>
                  <a:pt x="184" y="335"/>
                </a:lnTo>
                <a:lnTo>
                  <a:pt x="195" y="333"/>
                </a:lnTo>
                <a:lnTo>
                  <a:pt x="205" y="331"/>
                </a:lnTo>
                <a:lnTo>
                  <a:pt x="216" y="327"/>
                </a:lnTo>
                <a:lnTo>
                  <a:pt x="225" y="322"/>
                </a:lnTo>
                <a:lnTo>
                  <a:pt x="234" y="317"/>
                </a:lnTo>
                <a:lnTo>
                  <a:pt x="242" y="310"/>
                </a:lnTo>
                <a:lnTo>
                  <a:pt x="250" y="304"/>
                </a:lnTo>
                <a:lnTo>
                  <a:pt x="256" y="296"/>
                </a:lnTo>
                <a:lnTo>
                  <a:pt x="263" y="288"/>
                </a:lnTo>
                <a:lnTo>
                  <a:pt x="268" y="278"/>
                </a:lnTo>
                <a:lnTo>
                  <a:pt x="274" y="269"/>
                </a:lnTo>
                <a:lnTo>
                  <a:pt x="277" y="259"/>
                </a:lnTo>
                <a:lnTo>
                  <a:pt x="279" y="249"/>
                </a:lnTo>
                <a:lnTo>
                  <a:pt x="281" y="238"/>
                </a:lnTo>
                <a:lnTo>
                  <a:pt x="282" y="227"/>
                </a:lnTo>
                <a:lnTo>
                  <a:pt x="309" y="227"/>
                </a:lnTo>
                <a:lnTo>
                  <a:pt x="309" y="227"/>
                </a:lnTo>
                <a:lnTo>
                  <a:pt x="311" y="227"/>
                </a:lnTo>
                <a:lnTo>
                  <a:pt x="313" y="226"/>
                </a:lnTo>
                <a:lnTo>
                  <a:pt x="314" y="224"/>
                </a:lnTo>
                <a:lnTo>
                  <a:pt x="314" y="222"/>
                </a:lnTo>
                <a:lnTo>
                  <a:pt x="314" y="81"/>
                </a:lnTo>
                <a:lnTo>
                  <a:pt x="314" y="81"/>
                </a:lnTo>
                <a:lnTo>
                  <a:pt x="314" y="79"/>
                </a:lnTo>
                <a:lnTo>
                  <a:pt x="313" y="77"/>
                </a:lnTo>
                <a:lnTo>
                  <a:pt x="311" y="75"/>
                </a:lnTo>
                <a:lnTo>
                  <a:pt x="309" y="75"/>
                </a:lnTo>
                <a:lnTo>
                  <a:pt x="250" y="75"/>
                </a:lnTo>
                <a:lnTo>
                  <a:pt x="250" y="38"/>
                </a:lnTo>
                <a:lnTo>
                  <a:pt x="250" y="38"/>
                </a:lnTo>
                <a:lnTo>
                  <a:pt x="248" y="32"/>
                </a:lnTo>
                <a:lnTo>
                  <a:pt x="247" y="27"/>
                </a:lnTo>
                <a:lnTo>
                  <a:pt x="244" y="23"/>
                </a:lnTo>
                <a:lnTo>
                  <a:pt x="242" y="19"/>
                </a:lnTo>
                <a:lnTo>
                  <a:pt x="238" y="15"/>
                </a:lnTo>
                <a:lnTo>
                  <a:pt x="232" y="12"/>
                </a:lnTo>
                <a:lnTo>
                  <a:pt x="228" y="11"/>
                </a:lnTo>
                <a:lnTo>
                  <a:pt x="221" y="11"/>
                </a:lnTo>
                <a:lnTo>
                  <a:pt x="221" y="11"/>
                </a:lnTo>
                <a:lnTo>
                  <a:pt x="217" y="11"/>
                </a:lnTo>
                <a:lnTo>
                  <a:pt x="212" y="12"/>
                </a:lnTo>
                <a:lnTo>
                  <a:pt x="208" y="15"/>
                </a:lnTo>
                <a:lnTo>
                  <a:pt x="204" y="18"/>
                </a:lnTo>
                <a:lnTo>
                  <a:pt x="204" y="18"/>
                </a:lnTo>
                <a:lnTo>
                  <a:pt x="200" y="11"/>
                </a:lnTo>
                <a:lnTo>
                  <a:pt x="195" y="4"/>
                </a:lnTo>
                <a:lnTo>
                  <a:pt x="187" y="1"/>
                </a:lnTo>
                <a:lnTo>
                  <a:pt x="178" y="0"/>
                </a:lnTo>
                <a:lnTo>
                  <a:pt x="178" y="0"/>
                </a:lnTo>
                <a:lnTo>
                  <a:pt x="170" y="1"/>
                </a:lnTo>
                <a:lnTo>
                  <a:pt x="164" y="4"/>
                </a:lnTo>
                <a:lnTo>
                  <a:pt x="157" y="11"/>
                </a:lnTo>
                <a:lnTo>
                  <a:pt x="153" y="18"/>
                </a:lnTo>
                <a:lnTo>
                  <a:pt x="153" y="18"/>
                </a:lnTo>
                <a:lnTo>
                  <a:pt x="150" y="15"/>
                </a:lnTo>
                <a:lnTo>
                  <a:pt x="145" y="12"/>
                </a:lnTo>
                <a:lnTo>
                  <a:pt x="141" y="11"/>
                </a:lnTo>
                <a:lnTo>
                  <a:pt x="135" y="11"/>
                </a:lnTo>
                <a:lnTo>
                  <a:pt x="135" y="11"/>
                </a:lnTo>
                <a:lnTo>
                  <a:pt x="127" y="12"/>
                </a:lnTo>
                <a:lnTo>
                  <a:pt x="119" y="15"/>
                </a:lnTo>
                <a:lnTo>
                  <a:pt x="114" y="22"/>
                </a:lnTo>
                <a:lnTo>
                  <a:pt x="110" y="28"/>
                </a:lnTo>
                <a:lnTo>
                  <a:pt x="110" y="28"/>
                </a:lnTo>
                <a:lnTo>
                  <a:pt x="106" y="26"/>
                </a:lnTo>
                <a:lnTo>
                  <a:pt x="102" y="23"/>
                </a:lnTo>
                <a:lnTo>
                  <a:pt x="97" y="22"/>
                </a:lnTo>
                <a:lnTo>
                  <a:pt x="93" y="22"/>
                </a:lnTo>
                <a:lnTo>
                  <a:pt x="93" y="22"/>
                </a:lnTo>
                <a:lnTo>
                  <a:pt x="87" y="22"/>
                </a:lnTo>
                <a:lnTo>
                  <a:pt x="82" y="23"/>
                </a:lnTo>
                <a:lnTo>
                  <a:pt x="76" y="26"/>
                </a:lnTo>
                <a:lnTo>
                  <a:pt x="72" y="30"/>
                </a:lnTo>
                <a:lnTo>
                  <a:pt x="70" y="34"/>
                </a:lnTo>
                <a:lnTo>
                  <a:pt x="67" y="38"/>
                </a:lnTo>
                <a:lnTo>
                  <a:pt x="66" y="43"/>
                </a:lnTo>
                <a:lnTo>
                  <a:pt x="66" y="48"/>
                </a:lnTo>
                <a:lnTo>
                  <a:pt x="66" y="75"/>
                </a:lnTo>
                <a:lnTo>
                  <a:pt x="5" y="75"/>
                </a:lnTo>
                <a:lnTo>
                  <a:pt x="5" y="75"/>
                </a:lnTo>
                <a:lnTo>
                  <a:pt x="4" y="75"/>
                </a:lnTo>
                <a:lnTo>
                  <a:pt x="1" y="77"/>
                </a:lnTo>
                <a:lnTo>
                  <a:pt x="1" y="79"/>
                </a:lnTo>
                <a:lnTo>
                  <a:pt x="0" y="81"/>
                </a:lnTo>
                <a:lnTo>
                  <a:pt x="0" y="222"/>
                </a:lnTo>
                <a:lnTo>
                  <a:pt x="0" y="222"/>
                </a:lnTo>
                <a:lnTo>
                  <a:pt x="1" y="224"/>
                </a:lnTo>
                <a:lnTo>
                  <a:pt x="1" y="226"/>
                </a:lnTo>
                <a:lnTo>
                  <a:pt x="4" y="227"/>
                </a:lnTo>
                <a:lnTo>
                  <a:pt x="5" y="227"/>
                </a:lnTo>
                <a:lnTo>
                  <a:pt x="5" y="227"/>
                </a:lnTo>
                <a:close/>
                <a:moveTo>
                  <a:pt x="205" y="38"/>
                </a:moveTo>
                <a:lnTo>
                  <a:pt x="205" y="38"/>
                </a:lnTo>
                <a:lnTo>
                  <a:pt x="207" y="31"/>
                </a:lnTo>
                <a:lnTo>
                  <a:pt x="211" y="26"/>
                </a:lnTo>
                <a:lnTo>
                  <a:pt x="216" y="23"/>
                </a:lnTo>
                <a:lnTo>
                  <a:pt x="221" y="22"/>
                </a:lnTo>
                <a:lnTo>
                  <a:pt x="221" y="22"/>
                </a:lnTo>
                <a:lnTo>
                  <a:pt x="228" y="23"/>
                </a:lnTo>
                <a:lnTo>
                  <a:pt x="234" y="26"/>
                </a:lnTo>
                <a:lnTo>
                  <a:pt x="238" y="31"/>
                </a:lnTo>
                <a:lnTo>
                  <a:pt x="239" y="38"/>
                </a:lnTo>
                <a:lnTo>
                  <a:pt x="239" y="75"/>
                </a:lnTo>
                <a:lnTo>
                  <a:pt x="205" y="75"/>
                </a:lnTo>
                <a:lnTo>
                  <a:pt x="205" y="38"/>
                </a:lnTo>
                <a:close/>
                <a:moveTo>
                  <a:pt x="162" y="38"/>
                </a:moveTo>
                <a:lnTo>
                  <a:pt x="162" y="27"/>
                </a:lnTo>
                <a:lnTo>
                  <a:pt x="162" y="27"/>
                </a:lnTo>
                <a:lnTo>
                  <a:pt x="164" y="20"/>
                </a:lnTo>
                <a:lnTo>
                  <a:pt x="168" y="15"/>
                </a:lnTo>
                <a:lnTo>
                  <a:pt x="173" y="12"/>
                </a:lnTo>
                <a:lnTo>
                  <a:pt x="178" y="11"/>
                </a:lnTo>
                <a:lnTo>
                  <a:pt x="178" y="11"/>
                </a:lnTo>
                <a:lnTo>
                  <a:pt x="185" y="12"/>
                </a:lnTo>
                <a:lnTo>
                  <a:pt x="191" y="15"/>
                </a:lnTo>
                <a:lnTo>
                  <a:pt x="193" y="20"/>
                </a:lnTo>
                <a:lnTo>
                  <a:pt x="195" y="27"/>
                </a:lnTo>
                <a:lnTo>
                  <a:pt x="195" y="38"/>
                </a:lnTo>
                <a:lnTo>
                  <a:pt x="195" y="75"/>
                </a:lnTo>
                <a:lnTo>
                  <a:pt x="162" y="75"/>
                </a:lnTo>
                <a:lnTo>
                  <a:pt x="162" y="38"/>
                </a:lnTo>
                <a:close/>
                <a:moveTo>
                  <a:pt x="157" y="118"/>
                </a:moveTo>
                <a:lnTo>
                  <a:pt x="157" y="118"/>
                </a:lnTo>
                <a:lnTo>
                  <a:pt x="164" y="120"/>
                </a:lnTo>
                <a:lnTo>
                  <a:pt x="170" y="121"/>
                </a:lnTo>
                <a:lnTo>
                  <a:pt x="176" y="124"/>
                </a:lnTo>
                <a:lnTo>
                  <a:pt x="180" y="128"/>
                </a:lnTo>
                <a:lnTo>
                  <a:pt x="184" y="133"/>
                </a:lnTo>
                <a:lnTo>
                  <a:pt x="187" y="138"/>
                </a:lnTo>
                <a:lnTo>
                  <a:pt x="189" y="145"/>
                </a:lnTo>
                <a:lnTo>
                  <a:pt x="189" y="152"/>
                </a:lnTo>
                <a:lnTo>
                  <a:pt x="189" y="152"/>
                </a:lnTo>
                <a:lnTo>
                  <a:pt x="189" y="157"/>
                </a:lnTo>
                <a:lnTo>
                  <a:pt x="187" y="164"/>
                </a:lnTo>
                <a:lnTo>
                  <a:pt x="184" y="169"/>
                </a:lnTo>
                <a:lnTo>
                  <a:pt x="180" y="175"/>
                </a:lnTo>
                <a:lnTo>
                  <a:pt x="176" y="179"/>
                </a:lnTo>
                <a:lnTo>
                  <a:pt x="170" y="181"/>
                </a:lnTo>
                <a:lnTo>
                  <a:pt x="164" y="183"/>
                </a:lnTo>
                <a:lnTo>
                  <a:pt x="157" y="184"/>
                </a:lnTo>
                <a:lnTo>
                  <a:pt x="157" y="184"/>
                </a:lnTo>
                <a:lnTo>
                  <a:pt x="150" y="183"/>
                </a:lnTo>
                <a:lnTo>
                  <a:pt x="145" y="181"/>
                </a:lnTo>
                <a:lnTo>
                  <a:pt x="140" y="179"/>
                </a:lnTo>
                <a:lnTo>
                  <a:pt x="134" y="175"/>
                </a:lnTo>
                <a:lnTo>
                  <a:pt x="130" y="169"/>
                </a:lnTo>
                <a:lnTo>
                  <a:pt x="127" y="164"/>
                </a:lnTo>
                <a:lnTo>
                  <a:pt x="125" y="157"/>
                </a:lnTo>
                <a:lnTo>
                  <a:pt x="125" y="152"/>
                </a:lnTo>
                <a:lnTo>
                  <a:pt x="125" y="152"/>
                </a:lnTo>
                <a:lnTo>
                  <a:pt x="125" y="145"/>
                </a:lnTo>
                <a:lnTo>
                  <a:pt x="127" y="138"/>
                </a:lnTo>
                <a:lnTo>
                  <a:pt x="130" y="133"/>
                </a:lnTo>
                <a:lnTo>
                  <a:pt x="134" y="128"/>
                </a:lnTo>
                <a:lnTo>
                  <a:pt x="140" y="124"/>
                </a:lnTo>
                <a:lnTo>
                  <a:pt x="145" y="121"/>
                </a:lnTo>
                <a:lnTo>
                  <a:pt x="150" y="120"/>
                </a:lnTo>
                <a:lnTo>
                  <a:pt x="157" y="118"/>
                </a:lnTo>
                <a:lnTo>
                  <a:pt x="157" y="118"/>
                </a:lnTo>
                <a:close/>
                <a:moveTo>
                  <a:pt x="119" y="48"/>
                </a:moveTo>
                <a:lnTo>
                  <a:pt x="119" y="38"/>
                </a:lnTo>
                <a:lnTo>
                  <a:pt x="119" y="38"/>
                </a:lnTo>
                <a:lnTo>
                  <a:pt x="121" y="31"/>
                </a:lnTo>
                <a:lnTo>
                  <a:pt x="123" y="26"/>
                </a:lnTo>
                <a:lnTo>
                  <a:pt x="129" y="23"/>
                </a:lnTo>
                <a:lnTo>
                  <a:pt x="135" y="22"/>
                </a:lnTo>
                <a:lnTo>
                  <a:pt x="135" y="22"/>
                </a:lnTo>
                <a:lnTo>
                  <a:pt x="142" y="23"/>
                </a:lnTo>
                <a:lnTo>
                  <a:pt x="148" y="26"/>
                </a:lnTo>
                <a:lnTo>
                  <a:pt x="150" y="31"/>
                </a:lnTo>
                <a:lnTo>
                  <a:pt x="152" y="38"/>
                </a:lnTo>
                <a:lnTo>
                  <a:pt x="152" y="75"/>
                </a:lnTo>
                <a:lnTo>
                  <a:pt x="119" y="75"/>
                </a:lnTo>
                <a:lnTo>
                  <a:pt x="119" y="48"/>
                </a:lnTo>
                <a:close/>
                <a:moveTo>
                  <a:pt x="170" y="227"/>
                </a:moveTo>
                <a:lnTo>
                  <a:pt x="170" y="227"/>
                </a:lnTo>
                <a:lnTo>
                  <a:pt x="168" y="234"/>
                </a:lnTo>
                <a:lnTo>
                  <a:pt x="165" y="241"/>
                </a:lnTo>
                <a:lnTo>
                  <a:pt x="164" y="247"/>
                </a:lnTo>
                <a:lnTo>
                  <a:pt x="162" y="254"/>
                </a:lnTo>
                <a:lnTo>
                  <a:pt x="162" y="254"/>
                </a:lnTo>
                <a:lnTo>
                  <a:pt x="162" y="257"/>
                </a:lnTo>
                <a:lnTo>
                  <a:pt x="164" y="258"/>
                </a:lnTo>
                <a:lnTo>
                  <a:pt x="166" y="259"/>
                </a:lnTo>
                <a:lnTo>
                  <a:pt x="168" y="259"/>
                </a:lnTo>
                <a:lnTo>
                  <a:pt x="168" y="259"/>
                </a:lnTo>
                <a:lnTo>
                  <a:pt x="170" y="259"/>
                </a:lnTo>
                <a:lnTo>
                  <a:pt x="172" y="258"/>
                </a:lnTo>
                <a:lnTo>
                  <a:pt x="173" y="257"/>
                </a:lnTo>
                <a:lnTo>
                  <a:pt x="173" y="254"/>
                </a:lnTo>
                <a:lnTo>
                  <a:pt x="173" y="254"/>
                </a:lnTo>
                <a:lnTo>
                  <a:pt x="174" y="246"/>
                </a:lnTo>
                <a:lnTo>
                  <a:pt x="177" y="239"/>
                </a:lnTo>
                <a:lnTo>
                  <a:pt x="180" y="233"/>
                </a:lnTo>
                <a:lnTo>
                  <a:pt x="185" y="226"/>
                </a:lnTo>
                <a:lnTo>
                  <a:pt x="185" y="226"/>
                </a:lnTo>
                <a:lnTo>
                  <a:pt x="185" y="226"/>
                </a:lnTo>
                <a:lnTo>
                  <a:pt x="185" y="226"/>
                </a:lnTo>
                <a:lnTo>
                  <a:pt x="195" y="218"/>
                </a:lnTo>
                <a:lnTo>
                  <a:pt x="207" y="211"/>
                </a:lnTo>
                <a:lnTo>
                  <a:pt x="219" y="207"/>
                </a:lnTo>
                <a:lnTo>
                  <a:pt x="234" y="206"/>
                </a:lnTo>
                <a:lnTo>
                  <a:pt x="234" y="206"/>
                </a:lnTo>
                <a:lnTo>
                  <a:pt x="235" y="206"/>
                </a:lnTo>
                <a:lnTo>
                  <a:pt x="236" y="204"/>
                </a:lnTo>
                <a:lnTo>
                  <a:pt x="238" y="202"/>
                </a:lnTo>
                <a:lnTo>
                  <a:pt x="239" y="200"/>
                </a:lnTo>
                <a:lnTo>
                  <a:pt x="239" y="168"/>
                </a:lnTo>
                <a:lnTo>
                  <a:pt x="239" y="168"/>
                </a:lnTo>
                <a:lnTo>
                  <a:pt x="239" y="160"/>
                </a:lnTo>
                <a:lnTo>
                  <a:pt x="240" y="153"/>
                </a:lnTo>
                <a:lnTo>
                  <a:pt x="244" y="148"/>
                </a:lnTo>
                <a:lnTo>
                  <a:pt x="247" y="143"/>
                </a:lnTo>
                <a:lnTo>
                  <a:pt x="252" y="137"/>
                </a:lnTo>
                <a:lnTo>
                  <a:pt x="258" y="134"/>
                </a:lnTo>
                <a:lnTo>
                  <a:pt x="264" y="132"/>
                </a:lnTo>
                <a:lnTo>
                  <a:pt x="271" y="130"/>
                </a:lnTo>
                <a:lnTo>
                  <a:pt x="271" y="227"/>
                </a:lnTo>
                <a:lnTo>
                  <a:pt x="271" y="227"/>
                </a:lnTo>
                <a:lnTo>
                  <a:pt x="270" y="237"/>
                </a:lnTo>
                <a:lnTo>
                  <a:pt x="268" y="247"/>
                </a:lnTo>
                <a:lnTo>
                  <a:pt x="267" y="257"/>
                </a:lnTo>
                <a:lnTo>
                  <a:pt x="263" y="265"/>
                </a:lnTo>
                <a:lnTo>
                  <a:pt x="259" y="274"/>
                </a:lnTo>
                <a:lnTo>
                  <a:pt x="254" y="282"/>
                </a:lnTo>
                <a:lnTo>
                  <a:pt x="248" y="289"/>
                </a:lnTo>
                <a:lnTo>
                  <a:pt x="243" y="296"/>
                </a:lnTo>
                <a:lnTo>
                  <a:pt x="235" y="302"/>
                </a:lnTo>
                <a:lnTo>
                  <a:pt x="228" y="308"/>
                </a:lnTo>
                <a:lnTo>
                  <a:pt x="220" y="313"/>
                </a:lnTo>
                <a:lnTo>
                  <a:pt x="211" y="317"/>
                </a:lnTo>
                <a:lnTo>
                  <a:pt x="203" y="320"/>
                </a:lnTo>
                <a:lnTo>
                  <a:pt x="193" y="322"/>
                </a:lnTo>
                <a:lnTo>
                  <a:pt x="184" y="324"/>
                </a:lnTo>
                <a:lnTo>
                  <a:pt x="173" y="325"/>
                </a:lnTo>
                <a:lnTo>
                  <a:pt x="173" y="325"/>
                </a:lnTo>
                <a:lnTo>
                  <a:pt x="164" y="324"/>
                </a:lnTo>
                <a:lnTo>
                  <a:pt x="154" y="322"/>
                </a:lnTo>
                <a:lnTo>
                  <a:pt x="145" y="320"/>
                </a:lnTo>
                <a:lnTo>
                  <a:pt x="135" y="317"/>
                </a:lnTo>
                <a:lnTo>
                  <a:pt x="127" y="313"/>
                </a:lnTo>
                <a:lnTo>
                  <a:pt x="119" y="308"/>
                </a:lnTo>
                <a:lnTo>
                  <a:pt x="111" y="302"/>
                </a:lnTo>
                <a:lnTo>
                  <a:pt x="105" y="296"/>
                </a:lnTo>
                <a:lnTo>
                  <a:pt x="98" y="289"/>
                </a:lnTo>
                <a:lnTo>
                  <a:pt x="93" y="282"/>
                </a:lnTo>
                <a:lnTo>
                  <a:pt x="87" y="274"/>
                </a:lnTo>
                <a:lnTo>
                  <a:pt x="83" y="265"/>
                </a:lnTo>
                <a:lnTo>
                  <a:pt x="80" y="257"/>
                </a:lnTo>
                <a:lnTo>
                  <a:pt x="78" y="247"/>
                </a:lnTo>
                <a:lnTo>
                  <a:pt x="76" y="237"/>
                </a:lnTo>
                <a:lnTo>
                  <a:pt x="76" y="227"/>
                </a:lnTo>
                <a:lnTo>
                  <a:pt x="170" y="227"/>
                </a:lnTo>
                <a:close/>
                <a:moveTo>
                  <a:pt x="76" y="48"/>
                </a:moveTo>
                <a:lnTo>
                  <a:pt x="76" y="48"/>
                </a:lnTo>
                <a:lnTo>
                  <a:pt x="78" y="42"/>
                </a:lnTo>
                <a:lnTo>
                  <a:pt x="80" y="36"/>
                </a:lnTo>
                <a:lnTo>
                  <a:pt x="86" y="34"/>
                </a:lnTo>
                <a:lnTo>
                  <a:pt x="93" y="32"/>
                </a:lnTo>
                <a:lnTo>
                  <a:pt x="93" y="32"/>
                </a:lnTo>
                <a:lnTo>
                  <a:pt x="98" y="34"/>
                </a:lnTo>
                <a:lnTo>
                  <a:pt x="103" y="36"/>
                </a:lnTo>
                <a:lnTo>
                  <a:pt x="107" y="42"/>
                </a:lnTo>
                <a:lnTo>
                  <a:pt x="109" y="48"/>
                </a:lnTo>
                <a:lnTo>
                  <a:pt x="109" y="75"/>
                </a:lnTo>
                <a:lnTo>
                  <a:pt x="76" y="75"/>
                </a:lnTo>
                <a:lnTo>
                  <a:pt x="76" y="48"/>
                </a:lnTo>
                <a:close/>
                <a:moveTo>
                  <a:pt x="48" y="118"/>
                </a:moveTo>
                <a:lnTo>
                  <a:pt x="93" y="118"/>
                </a:lnTo>
                <a:lnTo>
                  <a:pt x="93" y="118"/>
                </a:lnTo>
                <a:lnTo>
                  <a:pt x="94" y="120"/>
                </a:lnTo>
                <a:lnTo>
                  <a:pt x="97" y="121"/>
                </a:lnTo>
                <a:lnTo>
                  <a:pt x="97" y="122"/>
                </a:lnTo>
                <a:lnTo>
                  <a:pt x="98" y="124"/>
                </a:lnTo>
                <a:lnTo>
                  <a:pt x="98" y="124"/>
                </a:lnTo>
                <a:lnTo>
                  <a:pt x="97" y="126"/>
                </a:lnTo>
                <a:lnTo>
                  <a:pt x="97" y="128"/>
                </a:lnTo>
                <a:lnTo>
                  <a:pt x="94" y="129"/>
                </a:lnTo>
                <a:lnTo>
                  <a:pt x="93" y="129"/>
                </a:lnTo>
                <a:lnTo>
                  <a:pt x="48" y="129"/>
                </a:lnTo>
                <a:lnTo>
                  <a:pt x="48" y="129"/>
                </a:lnTo>
                <a:lnTo>
                  <a:pt x="47" y="129"/>
                </a:lnTo>
                <a:lnTo>
                  <a:pt x="45" y="128"/>
                </a:lnTo>
                <a:lnTo>
                  <a:pt x="44" y="126"/>
                </a:lnTo>
                <a:lnTo>
                  <a:pt x="43" y="124"/>
                </a:lnTo>
                <a:lnTo>
                  <a:pt x="43" y="124"/>
                </a:lnTo>
                <a:lnTo>
                  <a:pt x="44" y="122"/>
                </a:lnTo>
                <a:lnTo>
                  <a:pt x="45" y="121"/>
                </a:lnTo>
                <a:lnTo>
                  <a:pt x="47" y="120"/>
                </a:lnTo>
                <a:lnTo>
                  <a:pt x="48" y="118"/>
                </a:lnTo>
                <a:lnTo>
                  <a:pt x="48"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31" name="Freeform 230"/>
          <p:cNvSpPr>
            <a:spLocks noEditPoints="1"/>
          </p:cNvSpPr>
          <p:nvPr/>
        </p:nvSpPr>
        <p:spPr bwMode="auto">
          <a:xfrm>
            <a:off x="2399277" y="2206086"/>
            <a:ext cx="245866" cy="261427"/>
          </a:xfrm>
          <a:custGeom>
            <a:avLst/>
            <a:gdLst>
              <a:gd name="T0" fmla="*/ 67 w 314"/>
              <a:gd name="T1" fmla="*/ 249 h 336"/>
              <a:gd name="T2" fmla="*/ 90 w 314"/>
              <a:gd name="T3" fmla="*/ 296 h 336"/>
              <a:gd name="T4" fmla="*/ 131 w 314"/>
              <a:gd name="T5" fmla="*/ 327 h 336"/>
              <a:gd name="T6" fmla="*/ 173 w 314"/>
              <a:gd name="T7" fmla="*/ 336 h 336"/>
              <a:gd name="T8" fmla="*/ 225 w 314"/>
              <a:gd name="T9" fmla="*/ 322 h 336"/>
              <a:gd name="T10" fmla="*/ 263 w 314"/>
              <a:gd name="T11" fmla="*/ 288 h 336"/>
              <a:gd name="T12" fmla="*/ 281 w 314"/>
              <a:gd name="T13" fmla="*/ 238 h 336"/>
              <a:gd name="T14" fmla="*/ 313 w 314"/>
              <a:gd name="T15" fmla="*/ 226 h 336"/>
              <a:gd name="T16" fmla="*/ 314 w 314"/>
              <a:gd name="T17" fmla="*/ 79 h 336"/>
              <a:gd name="T18" fmla="*/ 250 w 314"/>
              <a:gd name="T19" fmla="*/ 38 h 336"/>
              <a:gd name="T20" fmla="*/ 242 w 314"/>
              <a:gd name="T21" fmla="*/ 19 h 336"/>
              <a:gd name="T22" fmla="*/ 221 w 314"/>
              <a:gd name="T23" fmla="*/ 11 h 336"/>
              <a:gd name="T24" fmla="*/ 204 w 314"/>
              <a:gd name="T25" fmla="*/ 18 h 336"/>
              <a:gd name="T26" fmla="*/ 178 w 314"/>
              <a:gd name="T27" fmla="*/ 0 h 336"/>
              <a:gd name="T28" fmla="*/ 153 w 314"/>
              <a:gd name="T29" fmla="*/ 18 h 336"/>
              <a:gd name="T30" fmla="*/ 135 w 314"/>
              <a:gd name="T31" fmla="*/ 11 h 336"/>
              <a:gd name="T32" fmla="*/ 110 w 314"/>
              <a:gd name="T33" fmla="*/ 28 h 336"/>
              <a:gd name="T34" fmla="*/ 93 w 314"/>
              <a:gd name="T35" fmla="*/ 22 h 336"/>
              <a:gd name="T36" fmla="*/ 70 w 314"/>
              <a:gd name="T37" fmla="*/ 34 h 336"/>
              <a:gd name="T38" fmla="*/ 5 w 314"/>
              <a:gd name="T39" fmla="*/ 75 h 336"/>
              <a:gd name="T40" fmla="*/ 0 w 314"/>
              <a:gd name="T41" fmla="*/ 81 h 336"/>
              <a:gd name="T42" fmla="*/ 4 w 314"/>
              <a:gd name="T43" fmla="*/ 227 h 336"/>
              <a:gd name="T44" fmla="*/ 207 w 314"/>
              <a:gd name="T45" fmla="*/ 31 h 336"/>
              <a:gd name="T46" fmla="*/ 228 w 314"/>
              <a:gd name="T47" fmla="*/ 23 h 336"/>
              <a:gd name="T48" fmla="*/ 205 w 314"/>
              <a:gd name="T49" fmla="*/ 75 h 336"/>
              <a:gd name="T50" fmla="*/ 164 w 314"/>
              <a:gd name="T51" fmla="*/ 20 h 336"/>
              <a:gd name="T52" fmla="*/ 185 w 314"/>
              <a:gd name="T53" fmla="*/ 12 h 336"/>
              <a:gd name="T54" fmla="*/ 195 w 314"/>
              <a:gd name="T55" fmla="*/ 75 h 336"/>
              <a:gd name="T56" fmla="*/ 164 w 314"/>
              <a:gd name="T57" fmla="*/ 120 h 336"/>
              <a:gd name="T58" fmla="*/ 187 w 314"/>
              <a:gd name="T59" fmla="*/ 138 h 336"/>
              <a:gd name="T60" fmla="*/ 187 w 314"/>
              <a:gd name="T61" fmla="*/ 164 h 336"/>
              <a:gd name="T62" fmla="*/ 164 w 314"/>
              <a:gd name="T63" fmla="*/ 183 h 336"/>
              <a:gd name="T64" fmla="*/ 140 w 314"/>
              <a:gd name="T65" fmla="*/ 179 h 336"/>
              <a:gd name="T66" fmla="*/ 125 w 314"/>
              <a:gd name="T67" fmla="*/ 152 h 336"/>
              <a:gd name="T68" fmla="*/ 134 w 314"/>
              <a:gd name="T69" fmla="*/ 128 h 336"/>
              <a:gd name="T70" fmla="*/ 157 w 314"/>
              <a:gd name="T71" fmla="*/ 118 h 336"/>
              <a:gd name="T72" fmla="*/ 123 w 314"/>
              <a:gd name="T73" fmla="*/ 26 h 336"/>
              <a:gd name="T74" fmla="*/ 148 w 314"/>
              <a:gd name="T75" fmla="*/ 26 h 336"/>
              <a:gd name="T76" fmla="*/ 119 w 314"/>
              <a:gd name="T77" fmla="*/ 48 h 336"/>
              <a:gd name="T78" fmla="*/ 164 w 314"/>
              <a:gd name="T79" fmla="*/ 247 h 336"/>
              <a:gd name="T80" fmla="*/ 166 w 314"/>
              <a:gd name="T81" fmla="*/ 259 h 336"/>
              <a:gd name="T82" fmla="*/ 173 w 314"/>
              <a:gd name="T83" fmla="*/ 257 h 336"/>
              <a:gd name="T84" fmla="*/ 180 w 314"/>
              <a:gd name="T85" fmla="*/ 233 h 336"/>
              <a:gd name="T86" fmla="*/ 195 w 314"/>
              <a:gd name="T87" fmla="*/ 218 h 336"/>
              <a:gd name="T88" fmla="*/ 235 w 314"/>
              <a:gd name="T89" fmla="*/ 206 h 336"/>
              <a:gd name="T90" fmla="*/ 239 w 314"/>
              <a:gd name="T91" fmla="*/ 168 h 336"/>
              <a:gd name="T92" fmla="*/ 252 w 314"/>
              <a:gd name="T93" fmla="*/ 137 h 336"/>
              <a:gd name="T94" fmla="*/ 271 w 314"/>
              <a:gd name="T95" fmla="*/ 227 h 336"/>
              <a:gd name="T96" fmla="*/ 259 w 314"/>
              <a:gd name="T97" fmla="*/ 274 h 336"/>
              <a:gd name="T98" fmla="*/ 228 w 314"/>
              <a:gd name="T99" fmla="*/ 308 h 336"/>
              <a:gd name="T100" fmla="*/ 184 w 314"/>
              <a:gd name="T101" fmla="*/ 324 h 336"/>
              <a:gd name="T102" fmla="*/ 145 w 314"/>
              <a:gd name="T103" fmla="*/ 320 h 336"/>
              <a:gd name="T104" fmla="*/ 105 w 314"/>
              <a:gd name="T105" fmla="*/ 296 h 336"/>
              <a:gd name="T106" fmla="*/ 80 w 314"/>
              <a:gd name="T107" fmla="*/ 257 h 336"/>
              <a:gd name="T108" fmla="*/ 76 w 314"/>
              <a:gd name="T109" fmla="*/ 48 h 336"/>
              <a:gd name="T110" fmla="*/ 93 w 314"/>
              <a:gd name="T111" fmla="*/ 32 h 336"/>
              <a:gd name="T112" fmla="*/ 109 w 314"/>
              <a:gd name="T113" fmla="*/ 48 h 336"/>
              <a:gd name="T114" fmla="*/ 93 w 314"/>
              <a:gd name="T115" fmla="*/ 118 h 336"/>
              <a:gd name="T116" fmla="*/ 98 w 314"/>
              <a:gd name="T117" fmla="*/ 124 h 336"/>
              <a:gd name="T118" fmla="*/ 93 w 314"/>
              <a:gd name="T119" fmla="*/ 129 h 336"/>
              <a:gd name="T120" fmla="*/ 44 w 314"/>
              <a:gd name="T121" fmla="*/ 126 h 336"/>
              <a:gd name="T122" fmla="*/ 47 w 314"/>
              <a:gd name="T123" fmla="*/ 12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4" h="336">
                <a:moveTo>
                  <a:pt x="5" y="227"/>
                </a:moveTo>
                <a:lnTo>
                  <a:pt x="66" y="227"/>
                </a:lnTo>
                <a:lnTo>
                  <a:pt x="66" y="227"/>
                </a:lnTo>
                <a:lnTo>
                  <a:pt x="66" y="238"/>
                </a:lnTo>
                <a:lnTo>
                  <a:pt x="67" y="249"/>
                </a:lnTo>
                <a:lnTo>
                  <a:pt x="70" y="259"/>
                </a:lnTo>
                <a:lnTo>
                  <a:pt x="74" y="269"/>
                </a:lnTo>
                <a:lnTo>
                  <a:pt x="78" y="278"/>
                </a:lnTo>
                <a:lnTo>
                  <a:pt x="83" y="288"/>
                </a:lnTo>
                <a:lnTo>
                  <a:pt x="90" y="296"/>
                </a:lnTo>
                <a:lnTo>
                  <a:pt x="97" y="304"/>
                </a:lnTo>
                <a:lnTo>
                  <a:pt x="105" y="310"/>
                </a:lnTo>
                <a:lnTo>
                  <a:pt x="113" y="317"/>
                </a:lnTo>
                <a:lnTo>
                  <a:pt x="122" y="322"/>
                </a:lnTo>
                <a:lnTo>
                  <a:pt x="131" y="327"/>
                </a:lnTo>
                <a:lnTo>
                  <a:pt x="141" y="331"/>
                </a:lnTo>
                <a:lnTo>
                  <a:pt x="152" y="333"/>
                </a:lnTo>
                <a:lnTo>
                  <a:pt x="162" y="335"/>
                </a:lnTo>
                <a:lnTo>
                  <a:pt x="173" y="336"/>
                </a:lnTo>
                <a:lnTo>
                  <a:pt x="173" y="336"/>
                </a:lnTo>
                <a:lnTo>
                  <a:pt x="184" y="335"/>
                </a:lnTo>
                <a:lnTo>
                  <a:pt x="195" y="333"/>
                </a:lnTo>
                <a:lnTo>
                  <a:pt x="205" y="331"/>
                </a:lnTo>
                <a:lnTo>
                  <a:pt x="216" y="327"/>
                </a:lnTo>
                <a:lnTo>
                  <a:pt x="225" y="322"/>
                </a:lnTo>
                <a:lnTo>
                  <a:pt x="234" y="317"/>
                </a:lnTo>
                <a:lnTo>
                  <a:pt x="242" y="310"/>
                </a:lnTo>
                <a:lnTo>
                  <a:pt x="250" y="304"/>
                </a:lnTo>
                <a:lnTo>
                  <a:pt x="256" y="296"/>
                </a:lnTo>
                <a:lnTo>
                  <a:pt x="263" y="288"/>
                </a:lnTo>
                <a:lnTo>
                  <a:pt x="268" y="278"/>
                </a:lnTo>
                <a:lnTo>
                  <a:pt x="274" y="269"/>
                </a:lnTo>
                <a:lnTo>
                  <a:pt x="277" y="259"/>
                </a:lnTo>
                <a:lnTo>
                  <a:pt x="279" y="249"/>
                </a:lnTo>
                <a:lnTo>
                  <a:pt x="281" y="238"/>
                </a:lnTo>
                <a:lnTo>
                  <a:pt x="282" y="227"/>
                </a:lnTo>
                <a:lnTo>
                  <a:pt x="309" y="227"/>
                </a:lnTo>
                <a:lnTo>
                  <a:pt x="309" y="227"/>
                </a:lnTo>
                <a:lnTo>
                  <a:pt x="311" y="227"/>
                </a:lnTo>
                <a:lnTo>
                  <a:pt x="313" y="226"/>
                </a:lnTo>
                <a:lnTo>
                  <a:pt x="314" y="224"/>
                </a:lnTo>
                <a:lnTo>
                  <a:pt x="314" y="222"/>
                </a:lnTo>
                <a:lnTo>
                  <a:pt x="314" y="81"/>
                </a:lnTo>
                <a:lnTo>
                  <a:pt x="314" y="81"/>
                </a:lnTo>
                <a:lnTo>
                  <a:pt x="314" y="79"/>
                </a:lnTo>
                <a:lnTo>
                  <a:pt x="313" y="77"/>
                </a:lnTo>
                <a:lnTo>
                  <a:pt x="311" y="75"/>
                </a:lnTo>
                <a:lnTo>
                  <a:pt x="309" y="75"/>
                </a:lnTo>
                <a:lnTo>
                  <a:pt x="250" y="75"/>
                </a:lnTo>
                <a:lnTo>
                  <a:pt x="250" y="38"/>
                </a:lnTo>
                <a:lnTo>
                  <a:pt x="250" y="38"/>
                </a:lnTo>
                <a:lnTo>
                  <a:pt x="248" y="32"/>
                </a:lnTo>
                <a:lnTo>
                  <a:pt x="247" y="27"/>
                </a:lnTo>
                <a:lnTo>
                  <a:pt x="244" y="23"/>
                </a:lnTo>
                <a:lnTo>
                  <a:pt x="242" y="19"/>
                </a:lnTo>
                <a:lnTo>
                  <a:pt x="238" y="15"/>
                </a:lnTo>
                <a:lnTo>
                  <a:pt x="232" y="12"/>
                </a:lnTo>
                <a:lnTo>
                  <a:pt x="228" y="11"/>
                </a:lnTo>
                <a:lnTo>
                  <a:pt x="221" y="11"/>
                </a:lnTo>
                <a:lnTo>
                  <a:pt x="221" y="11"/>
                </a:lnTo>
                <a:lnTo>
                  <a:pt x="217" y="11"/>
                </a:lnTo>
                <a:lnTo>
                  <a:pt x="212" y="12"/>
                </a:lnTo>
                <a:lnTo>
                  <a:pt x="208" y="15"/>
                </a:lnTo>
                <a:lnTo>
                  <a:pt x="204" y="18"/>
                </a:lnTo>
                <a:lnTo>
                  <a:pt x="204" y="18"/>
                </a:lnTo>
                <a:lnTo>
                  <a:pt x="200" y="11"/>
                </a:lnTo>
                <a:lnTo>
                  <a:pt x="195" y="4"/>
                </a:lnTo>
                <a:lnTo>
                  <a:pt x="187" y="1"/>
                </a:lnTo>
                <a:lnTo>
                  <a:pt x="178" y="0"/>
                </a:lnTo>
                <a:lnTo>
                  <a:pt x="178" y="0"/>
                </a:lnTo>
                <a:lnTo>
                  <a:pt x="170" y="1"/>
                </a:lnTo>
                <a:lnTo>
                  <a:pt x="164" y="4"/>
                </a:lnTo>
                <a:lnTo>
                  <a:pt x="157" y="11"/>
                </a:lnTo>
                <a:lnTo>
                  <a:pt x="153" y="18"/>
                </a:lnTo>
                <a:lnTo>
                  <a:pt x="153" y="18"/>
                </a:lnTo>
                <a:lnTo>
                  <a:pt x="150" y="15"/>
                </a:lnTo>
                <a:lnTo>
                  <a:pt x="145" y="12"/>
                </a:lnTo>
                <a:lnTo>
                  <a:pt x="141" y="11"/>
                </a:lnTo>
                <a:lnTo>
                  <a:pt x="135" y="11"/>
                </a:lnTo>
                <a:lnTo>
                  <a:pt x="135" y="11"/>
                </a:lnTo>
                <a:lnTo>
                  <a:pt x="127" y="12"/>
                </a:lnTo>
                <a:lnTo>
                  <a:pt x="119" y="15"/>
                </a:lnTo>
                <a:lnTo>
                  <a:pt x="114" y="22"/>
                </a:lnTo>
                <a:lnTo>
                  <a:pt x="110" y="28"/>
                </a:lnTo>
                <a:lnTo>
                  <a:pt x="110" y="28"/>
                </a:lnTo>
                <a:lnTo>
                  <a:pt x="106" y="26"/>
                </a:lnTo>
                <a:lnTo>
                  <a:pt x="102" y="23"/>
                </a:lnTo>
                <a:lnTo>
                  <a:pt x="97" y="22"/>
                </a:lnTo>
                <a:lnTo>
                  <a:pt x="93" y="22"/>
                </a:lnTo>
                <a:lnTo>
                  <a:pt x="93" y="22"/>
                </a:lnTo>
                <a:lnTo>
                  <a:pt x="87" y="22"/>
                </a:lnTo>
                <a:lnTo>
                  <a:pt x="82" y="23"/>
                </a:lnTo>
                <a:lnTo>
                  <a:pt x="76" y="26"/>
                </a:lnTo>
                <a:lnTo>
                  <a:pt x="72" y="30"/>
                </a:lnTo>
                <a:lnTo>
                  <a:pt x="70" y="34"/>
                </a:lnTo>
                <a:lnTo>
                  <a:pt x="67" y="38"/>
                </a:lnTo>
                <a:lnTo>
                  <a:pt x="66" y="43"/>
                </a:lnTo>
                <a:lnTo>
                  <a:pt x="66" y="48"/>
                </a:lnTo>
                <a:lnTo>
                  <a:pt x="66" y="75"/>
                </a:lnTo>
                <a:lnTo>
                  <a:pt x="5" y="75"/>
                </a:lnTo>
                <a:lnTo>
                  <a:pt x="5" y="75"/>
                </a:lnTo>
                <a:lnTo>
                  <a:pt x="4" y="75"/>
                </a:lnTo>
                <a:lnTo>
                  <a:pt x="1" y="77"/>
                </a:lnTo>
                <a:lnTo>
                  <a:pt x="1" y="79"/>
                </a:lnTo>
                <a:lnTo>
                  <a:pt x="0" y="81"/>
                </a:lnTo>
                <a:lnTo>
                  <a:pt x="0" y="222"/>
                </a:lnTo>
                <a:lnTo>
                  <a:pt x="0" y="222"/>
                </a:lnTo>
                <a:lnTo>
                  <a:pt x="1" y="224"/>
                </a:lnTo>
                <a:lnTo>
                  <a:pt x="1" y="226"/>
                </a:lnTo>
                <a:lnTo>
                  <a:pt x="4" y="227"/>
                </a:lnTo>
                <a:lnTo>
                  <a:pt x="5" y="227"/>
                </a:lnTo>
                <a:lnTo>
                  <a:pt x="5" y="227"/>
                </a:lnTo>
                <a:close/>
                <a:moveTo>
                  <a:pt x="205" y="38"/>
                </a:moveTo>
                <a:lnTo>
                  <a:pt x="205" y="38"/>
                </a:lnTo>
                <a:lnTo>
                  <a:pt x="207" y="31"/>
                </a:lnTo>
                <a:lnTo>
                  <a:pt x="211" y="26"/>
                </a:lnTo>
                <a:lnTo>
                  <a:pt x="216" y="23"/>
                </a:lnTo>
                <a:lnTo>
                  <a:pt x="221" y="22"/>
                </a:lnTo>
                <a:lnTo>
                  <a:pt x="221" y="22"/>
                </a:lnTo>
                <a:lnTo>
                  <a:pt x="228" y="23"/>
                </a:lnTo>
                <a:lnTo>
                  <a:pt x="234" y="26"/>
                </a:lnTo>
                <a:lnTo>
                  <a:pt x="238" y="31"/>
                </a:lnTo>
                <a:lnTo>
                  <a:pt x="239" y="38"/>
                </a:lnTo>
                <a:lnTo>
                  <a:pt x="239" y="75"/>
                </a:lnTo>
                <a:lnTo>
                  <a:pt x="205" y="75"/>
                </a:lnTo>
                <a:lnTo>
                  <a:pt x="205" y="38"/>
                </a:lnTo>
                <a:close/>
                <a:moveTo>
                  <a:pt x="162" y="38"/>
                </a:moveTo>
                <a:lnTo>
                  <a:pt x="162" y="27"/>
                </a:lnTo>
                <a:lnTo>
                  <a:pt x="162" y="27"/>
                </a:lnTo>
                <a:lnTo>
                  <a:pt x="164" y="20"/>
                </a:lnTo>
                <a:lnTo>
                  <a:pt x="168" y="15"/>
                </a:lnTo>
                <a:lnTo>
                  <a:pt x="173" y="12"/>
                </a:lnTo>
                <a:lnTo>
                  <a:pt x="178" y="11"/>
                </a:lnTo>
                <a:lnTo>
                  <a:pt x="178" y="11"/>
                </a:lnTo>
                <a:lnTo>
                  <a:pt x="185" y="12"/>
                </a:lnTo>
                <a:lnTo>
                  <a:pt x="191" y="15"/>
                </a:lnTo>
                <a:lnTo>
                  <a:pt x="193" y="20"/>
                </a:lnTo>
                <a:lnTo>
                  <a:pt x="195" y="27"/>
                </a:lnTo>
                <a:lnTo>
                  <a:pt x="195" y="38"/>
                </a:lnTo>
                <a:lnTo>
                  <a:pt x="195" y="75"/>
                </a:lnTo>
                <a:lnTo>
                  <a:pt x="162" y="75"/>
                </a:lnTo>
                <a:lnTo>
                  <a:pt x="162" y="38"/>
                </a:lnTo>
                <a:close/>
                <a:moveTo>
                  <a:pt x="157" y="118"/>
                </a:moveTo>
                <a:lnTo>
                  <a:pt x="157" y="118"/>
                </a:lnTo>
                <a:lnTo>
                  <a:pt x="164" y="120"/>
                </a:lnTo>
                <a:lnTo>
                  <a:pt x="170" y="121"/>
                </a:lnTo>
                <a:lnTo>
                  <a:pt x="176" y="124"/>
                </a:lnTo>
                <a:lnTo>
                  <a:pt x="180" y="128"/>
                </a:lnTo>
                <a:lnTo>
                  <a:pt x="184" y="133"/>
                </a:lnTo>
                <a:lnTo>
                  <a:pt x="187" y="138"/>
                </a:lnTo>
                <a:lnTo>
                  <a:pt x="189" y="145"/>
                </a:lnTo>
                <a:lnTo>
                  <a:pt x="189" y="152"/>
                </a:lnTo>
                <a:lnTo>
                  <a:pt x="189" y="152"/>
                </a:lnTo>
                <a:lnTo>
                  <a:pt x="189" y="157"/>
                </a:lnTo>
                <a:lnTo>
                  <a:pt x="187" y="164"/>
                </a:lnTo>
                <a:lnTo>
                  <a:pt x="184" y="169"/>
                </a:lnTo>
                <a:lnTo>
                  <a:pt x="180" y="175"/>
                </a:lnTo>
                <a:lnTo>
                  <a:pt x="176" y="179"/>
                </a:lnTo>
                <a:lnTo>
                  <a:pt x="170" y="181"/>
                </a:lnTo>
                <a:lnTo>
                  <a:pt x="164" y="183"/>
                </a:lnTo>
                <a:lnTo>
                  <a:pt x="157" y="184"/>
                </a:lnTo>
                <a:lnTo>
                  <a:pt x="157" y="184"/>
                </a:lnTo>
                <a:lnTo>
                  <a:pt x="150" y="183"/>
                </a:lnTo>
                <a:lnTo>
                  <a:pt x="145" y="181"/>
                </a:lnTo>
                <a:lnTo>
                  <a:pt x="140" y="179"/>
                </a:lnTo>
                <a:lnTo>
                  <a:pt x="134" y="175"/>
                </a:lnTo>
                <a:lnTo>
                  <a:pt x="130" y="169"/>
                </a:lnTo>
                <a:lnTo>
                  <a:pt x="127" y="164"/>
                </a:lnTo>
                <a:lnTo>
                  <a:pt x="125" y="157"/>
                </a:lnTo>
                <a:lnTo>
                  <a:pt x="125" y="152"/>
                </a:lnTo>
                <a:lnTo>
                  <a:pt x="125" y="152"/>
                </a:lnTo>
                <a:lnTo>
                  <a:pt x="125" y="145"/>
                </a:lnTo>
                <a:lnTo>
                  <a:pt x="127" y="138"/>
                </a:lnTo>
                <a:lnTo>
                  <a:pt x="130" y="133"/>
                </a:lnTo>
                <a:lnTo>
                  <a:pt x="134" y="128"/>
                </a:lnTo>
                <a:lnTo>
                  <a:pt x="140" y="124"/>
                </a:lnTo>
                <a:lnTo>
                  <a:pt x="145" y="121"/>
                </a:lnTo>
                <a:lnTo>
                  <a:pt x="150" y="120"/>
                </a:lnTo>
                <a:lnTo>
                  <a:pt x="157" y="118"/>
                </a:lnTo>
                <a:lnTo>
                  <a:pt x="157" y="118"/>
                </a:lnTo>
                <a:close/>
                <a:moveTo>
                  <a:pt x="119" y="48"/>
                </a:moveTo>
                <a:lnTo>
                  <a:pt x="119" y="38"/>
                </a:lnTo>
                <a:lnTo>
                  <a:pt x="119" y="38"/>
                </a:lnTo>
                <a:lnTo>
                  <a:pt x="121" y="31"/>
                </a:lnTo>
                <a:lnTo>
                  <a:pt x="123" y="26"/>
                </a:lnTo>
                <a:lnTo>
                  <a:pt x="129" y="23"/>
                </a:lnTo>
                <a:lnTo>
                  <a:pt x="135" y="22"/>
                </a:lnTo>
                <a:lnTo>
                  <a:pt x="135" y="22"/>
                </a:lnTo>
                <a:lnTo>
                  <a:pt x="142" y="23"/>
                </a:lnTo>
                <a:lnTo>
                  <a:pt x="148" y="26"/>
                </a:lnTo>
                <a:lnTo>
                  <a:pt x="150" y="31"/>
                </a:lnTo>
                <a:lnTo>
                  <a:pt x="152" y="38"/>
                </a:lnTo>
                <a:lnTo>
                  <a:pt x="152" y="75"/>
                </a:lnTo>
                <a:lnTo>
                  <a:pt x="119" y="75"/>
                </a:lnTo>
                <a:lnTo>
                  <a:pt x="119" y="48"/>
                </a:lnTo>
                <a:close/>
                <a:moveTo>
                  <a:pt x="170" y="227"/>
                </a:moveTo>
                <a:lnTo>
                  <a:pt x="170" y="227"/>
                </a:lnTo>
                <a:lnTo>
                  <a:pt x="168" y="234"/>
                </a:lnTo>
                <a:lnTo>
                  <a:pt x="165" y="241"/>
                </a:lnTo>
                <a:lnTo>
                  <a:pt x="164" y="247"/>
                </a:lnTo>
                <a:lnTo>
                  <a:pt x="162" y="254"/>
                </a:lnTo>
                <a:lnTo>
                  <a:pt x="162" y="254"/>
                </a:lnTo>
                <a:lnTo>
                  <a:pt x="162" y="257"/>
                </a:lnTo>
                <a:lnTo>
                  <a:pt x="164" y="258"/>
                </a:lnTo>
                <a:lnTo>
                  <a:pt x="166" y="259"/>
                </a:lnTo>
                <a:lnTo>
                  <a:pt x="168" y="259"/>
                </a:lnTo>
                <a:lnTo>
                  <a:pt x="168" y="259"/>
                </a:lnTo>
                <a:lnTo>
                  <a:pt x="170" y="259"/>
                </a:lnTo>
                <a:lnTo>
                  <a:pt x="172" y="258"/>
                </a:lnTo>
                <a:lnTo>
                  <a:pt x="173" y="257"/>
                </a:lnTo>
                <a:lnTo>
                  <a:pt x="173" y="254"/>
                </a:lnTo>
                <a:lnTo>
                  <a:pt x="173" y="254"/>
                </a:lnTo>
                <a:lnTo>
                  <a:pt x="174" y="246"/>
                </a:lnTo>
                <a:lnTo>
                  <a:pt x="177" y="239"/>
                </a:lnTo>
                <a:lnTo>
                  <a:pt x="180" y="233"/>
                </a:lnTo>
                <a:lnTo>
                  <a:pt x="185" y="226"/>
                </a:lnTo>
                <a:lnTo>
                  <a:pt x="185" y="226"/>
                </a:lnTo>
                <a:lnTo>
                  <a:pt x="185" y="226"/>
                </a:lnTo>
                <a:lnTo>
                  <a:pt x="185" y="226"/>
                </a:lnTo>
                <a:lnTo>
                  <a:pt x="195" y="218"/>
                </a:lnTo>
                <a:lnTo>
                  <a:pt x="207" y="211"/>
                </a:lnTo>
                <a:lnTo>
                  <a:pt x="219" y="207"/>
                </a:lnTo>
                <a:lnTo>
                  <a:pt x="234" y="206"/>
                </a:lnTo>
                <a:lnTo>
                  <a:pt x="234" y="206"/>
                </a:lnTo>
                <a:lnTo>
                  <a:pt x="235" y="206"/>
                </a:lnTo>
                <a:lnTo>
                  <a:pt x="236" y="204"/>
                </a:lnTo>
                <a:lnTo>
                  <a:pt x="238" y="202"/>
                </a:lnTo>
                <a:lnTo>
                  <a:pt x="239" y="200"/>
                </a:lnTo>
                <a:lnTo>
                  <a:pt x="239" y="168"/>
                </a:lnTo>
                <a:lnTo>
                  <a:pt x="239" y="168"/>
                </a:lnTo>
                <a:lnTo>
                  <a:pt x="239" y="160"/>
                </a:lnTo>
                <a:lnTo>
                  <a:pt x="240" y="153"/>
                </a:lnTo>
                <a:lnTo>
                  <a:pt x="244" y="148"/>
                </a:lnTo>
                <a:lnTo>
                  <a:pt x="247" y="143"/>
                </a:lnTo>
                <a:lnTo>
                  <a:pt x="252" y="137"/>
                </a:lnTo>
                <a:lnTo>
                  <a:pt x="258" y="134"/>
                </a:lnTo>
                <a:lnTo>
                  <a:pt x="264" y="132"/>
                </a:lnTo>
                <a:lnTo>
                  <a:pt x="271" y="130"/>
                </a:lnTo>
                <a:lnTo>
                  <a:pt x="271" y="227"/>
                </a:lnTo>
                <a:lnTo>
                  <a:pt x="271" y="227"/>
                </a:lnTo>
                <a:lnTo>
                  <a:pt x="270" y="237"/>
                </a:lnTo>
                <a:lnTo>
                  <a:pt x="268" y="247"/>
                </a:lnTo>
                <a:lnTo>
                  <a:pt x="267" y="257"/>
                </a:lnTo>
                <a:lnTo>
                  <a:pt x="263" y="265"/>
                </a:lnTo>
                <a:lnTo>
                  <a:pt x="259" y="274"/>
                </a:lnTo>
                <a:lnTo>
                  <a:pt x="254" y="282"/>
                </a:lnTo>
                <a:lnTo>
                  <a:pt x="248" y="289"/>
                </a:lnTo>
                <a:lnTo>
                  <a:pt x="243" y="296"/>
                </a:lnTo>
                <a:lnTo>
                  <a:pt x="235" y="302"/>
                </a:lnTo>
                <a:lnTo>
                  <a:pt x="228" y="308"/>
                </a:lnTo>
                <a:lnTo>
                  <a:pt x="220" y="313"/>
                </a:lnTo>
                <a:lnTo>
                  <a:pt x="211" y="317"/>
                </a:lnTo>
                <a:lnTo>
                  <a:pt x="203" y="320"/>
                </a:lnTo>
                <a:lnTo>
                  <a:pt x="193" y="322"/>
                </a:lnTo>
                <a:lnTo>
                  <a:pt x="184" y="324"/>
                </a:lnTo>
                <a:lnTo>
                  <a:pt x="173" y="325"/>
                </a:lnTo>
                <a:lnTo>
                  <a:pt x="173" y="325"/>
                </a:lnTo>
                <a:lnTo>
                  <a:pt x="164" y="324"/>
                </a:lnTo>
                <a:lnTo>
                  <a:pt x="154" y="322"/>
                </a:lnTo>
                <a:lnTo>
                  <a:pt x="145" y="320"/>
                </a:lnTo>
                <a:lnTo>
                  <a:pt x="135" y="317"/>
                </a:lnTo>
                <a:lnTo>
                  <a:pt x="127" y="313"/>
                </a:lnTo>
                <a:lnTo>
                  <a:pt x="119" y="308"/>
                </a:lnTo>
                <a:lnTo>
                  <a:pt x="111" y="302"/>
                </a:lnTo>
                <a:lnTo>
                  <a:pt x="105" y="296"/>
                </a:lnTo>
                <a:lnTo>
                  <a:pt x="98" y="289"/>
                </a:lnTo>
                <a:lnTo>
                  <a:pt x="93" y="282"/>
                </a:lnTo>
                <a:lnTo>
                  <a:pt x="87" y="274"/>
                </a:lnTo>
                <a:lnTo>
                  <a:pt x="83" y="265"/>
                </a:lnTo>
                <a:lnTo>
                  <a:pt x="80" y="257"/>
                </a:lnTo>
                <a:lnTo>
                  <a:pt x="78" y="247"/>
                </a:lnTo>
                <a:lnTo>
                  <a:pt x="76" y="237"/>
                </a:lnTo>
                <a:lnTo>
                  <a:pt x="76" y="227"/>
                </a:lnTo>
                <a:lnTo>
                  <a:pt x="170" y="227"/>
                </a:lnTo>
                <a:close/>
                <a:moveTo>
                  <a:pt x="76" y="48"/>
                </a:moveTo>
                <a:lnTo>
                  <a:pt x="76" y="48"/>
                </a:lnTo>
                <a:lnTo>
                  <a:pt x="78" y="42"/>
                </a:lnTo>
                <a:lnTo>
                  <a:pt x="80" y="36"/>
                </a:lnTo>
                <a:lnTo>
                  <a:pt x="86" y="34"/>
                </a:lnTo>
                <a:lnTo>
                  <a:pt x="93" y="32"/>
                </a:lnTo>
                <a:lnTo>
                  <a:pt x="93" y="32"/>
                </a:lnTo>
                <a:lnTo>
                  <a:pt x="98" y="34"/>
                </a:lnTo>
                <a:lnTo>
                  <a:pt x="103" y="36"/>
                </a:lnTo>
                <a:lnTo>
                  <a:pt x="107" y="42"/>
                </a:lnTo>
                <a:lnTo>
                  <a:pt x="109" y="48"/>
                </a:lnTo>
                <a:lnTo>
                  <a:pt x="109" y="75"/>
                </a:lnTo>
                <a:lnTo>
                  <a:pt x="76" y="75"/>
                </a:lnTo>
                <a:lnTo>
                  <a:pt x="76" y="48"/>
                </a:lnTo>
                <a:close/>
                <a:moveTo>
                  <a:pt x="48" y="118"/>
                </a:moveTo>
                <a:lnTo>
                  <a:pt x="93" y="118"/>
                </a:lnTo>
                <a:lnTo>
                  <a:pt x="93" y="118"/>
                </a:lnTo>
                <a:lnTo>
                  <a:pt x="94" y="120"/>
                </a:lnTo>
                <a:lnTo>
                  <a:pt x="97" y="121"/>
                </a:lnTo>
                <a:lnTo>
                  <a:pt x="97" y="122"/>
                </a:lnTo>
                <a:lnTo>
                  <a:pt x="98" y="124"/>
                </a:lnTo>
                <a:lnTo>
                  <a:pt x="98" y="124"/>
                </a:lnTo>
                <a:lnTo>
                  <a:pt x="97" y="126"/>
                </a:lnTo>
                <a:lnTo>
                  <a:pt x="97" y="128"/>
                </a:lnTo>
                <a:lnTo>
                  <a:pt x="94" y="129"/>
                </a:lnTo>
                <a:lnTo>
                  <a:pt x="93" y="129"/>
                </a:lnTo>
                <a:lnTo>
                  <a:pt x="48" y="129"/>
                </a:lnTo>
                <a:lnTo>
                  <a:pt x="48" y="129"/>
                </a:lnTo>
                <a:lnTo>
                  <a:pt x="47" y="129"/>
                </a:lnTo>
                <a:lnTo>
                  <a:pt x="45" y="128"/>
                </a:lnTo>
                <a:lnTo>
                  <a:pt x="44" y="126"/>
                </a:lnTo>
                <a:lnTo>
                  <a:pt x="43" y="124"/>
                </a:lnTo>
                <a:lnTo>
                  <a:pt x="43" y="124"/>
                </a:lnTo>
                <a:lnTo>
                  <a:pt x="44" y="122"/>
                </a:lnTo>
                <a:lnTo>
                  <a:pt x="45" y="121"/>
                </a:lnTo>
                <a:lnTo>
                  <a:pt x="47" y="120"/>
                </a:lnTo>
                <a:lnTo>
                  <a:pt x="48" y="118"/>
                </a:lnTo>
                <a:lnTo>
                  <a:pt x="48"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Tree>
    <p:extLst>
      <p:ext uri="{BB962C8B-B14F-4D97-AF65-F5344CB8AC3E}">
        <p14:creationId xmlns:p14="http://schemas.microsoft.com/office/powerpoint/2010/main" val="581936216"/>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148"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Gross to Net Price Industry Benchmark</a:t>
            </a:r>
            <a:endParaRPr lang="en-US" dirty="0"/>
          </a:p>
        </p:txBody>
      </p:sp>
      <p:sp>
        <p:nvSpPr>
          <p:cNvPr id="3" name="Text Placeholder 2"/>
          <p:cNvSpPr>
            <a:spLocks noGrp="1"/>
          </p:cNvSpPr>
          <p:nvPr>
            <p:ph type="body" sz="quarter" idx="14"/>
          </p:nvPr>
        </p:nvSpPr>
        <p:spPr/>
        <p:txBody>
          <a:bodyPr/>
          <a:lstStyle/>
          <a:p>
            <a:pPr lvl="0">
              <a:buClr>
                <a:srgbClr val="787878"/>
              </a:buClr>
              <a:defRPr/>
            </a:pPr>
            <a:r>
              <a:rPr lang="en-US" spc="0" dirty="0">
                <a:solidFill>
                  <a:srgbClr val="000000"/>
                </a:solidFill>
              </a:rPr>
              <a:t> Executing strategic pricing requires consideration of a customer’s full gross-to-net pricing</a:t>
            </a:r>
          </a:p>
        </p:txBody>
      </p:sp>
      <p:sp>
        <p:nvSpPr>
          <p:cNvPr id="5" name="Text Placeholder 4"/>
          <p:cNvSpPr>
            <a:spLocks noGrp="1"/>
          </p:cNvSpPr>
          <p:nvPr>
            <p:ph type="body" sz="quarter" idx="15"/>
          </p:nvPr>
        </p:nvSpPr>
        <p:spPr/>
        <p:txBody>
          <a:bodyPr/>
          <a:lstStyle/>
          <a:p>
            <a:r>
              <a:rPr lang="en-US" dirty="0"/>
              <a:t>Data Visualization &amp; Infographics</a:t>
            </a:r>
          </a:p>
        </p:txBody>
      </p:sp>
      <p:sp>
        <p:nvSpPr>
          <p:cNvPr id="99" name="Right Brace 98">
            <a:extLst>
              <a:ext uri="{FF2B5EF4-FFF2-40B4-BE49-F238E27FC236}">
                <a16:creationId xmlns:a16="http://schemas.microsoft.com/office/drawing/2014/main" id="{113650D7-8EEF-4274-9914-9874DCBA9754}"/>
              </a:ext>
            </a:extLst>
          </p:cNvPr>
          <p:cNvSpPr/>
          <p:nvPr/>
        </p:nvSpPr>
        <p:spPr>
          <a:xfrm rot="5400000" flipV="1">
            <a:off x="5243014" y="2680305"/>
            <a:ext cx="205731" cy="6435750"/>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0" name="Freeform 45">
            <a:extLst>
              <a:ext uri="{FF2B5EF4-FFF2-40B4-BE49-F238E27FC236}">
                <a16:creationId xmlns:a16="http://schemas.microsoft.com/office/drawing/2014/main" id="{2EEAF4ED-D529-4B09-A121-A37F48CD9AF5}"/>
              </a:ext>
            </a:extLst>
          </p:cNvPr>
          <p:cNvSpPr>
            <a:spLocks noChangeAspect="1" noEditPoints="1"/>
          </p:cNvSpPr>
          <p:nvPr/>
        </p:nvSpPr>
        <p:spPr bwMode="auto">
          <a:xfrm>
            <a:off x="4594465" y="6110098"/>
            <a:ext cx="401060" cy="367631"/>
          </a:xfrm>
          <a:custGeom>
            <a:avLst/>
            <a:gdLst>
              <a:gd name="T0" fmla="*/ 181 w 512"/>
              <a:gd name="T1" fmla="*/ 352 h 512"/>
              <a:gd name="T2" fmla="*/ 202 w 512"/>
              <a:gd name="T3" fmla="*/ 330 h 512"/>
              <a:gd name="T4" fmla="*/ 160 w 512"/>
              <a:gd name="T5" fmla="*/ 394 h 512"/>
              <a:gd name="T6" fmla="*/ 181 w 512"/>
              <a:gd name="T7" fmla="*/ 373 h 512"/>
              <a:gd name="T8" fmla="*/ 160 w 512"/>
              <a:gd name="T9" fmla="*/ 394 h 512"/>
              <a:gd name="T10" fmla="*/ 224 w 512"/>
              <a:gd name="T11" fmla="*/ 330 h 512"/>
              <a:gd name="T12" fmla="*/ 245 w 512"/>
              <a:gd name="T13" fmla="*/ 352 h 512"/>
              <a:gd name="T14" fmla="*/ 202 w 512"/>
              <a:gd name="T15" fmla="*/ 394 h 512"/>
              <a:gd name="T16" fmla="*/ 224 w 512"/>
              <a:gd name="T17" fmla="*/ 373 h 512"/>
              <a:gd name="T18" fmla="*/ 202 w 512"/>
              <a:gd name="T19" fmla="*/ 394 h 512"/>
              <a:gd name="T20" fmla="*/ 138 w 512"/>
              <a:gd name="T21" fmla="*/ 330 h 512"/>
              <a:gd name="T22" fmla="*/ 149 w 512"/>
              <a:gd name="T23" fmla="*/ 352 h 512"/>
              <a:gd name="T24" fmla="*/ 160 w 512"/>
              <a:gd name="T25" fmla="*/ 330 h 512"/>
              <a:gd name="T26" fmla="*/ 149 w 512"/>
              <a:gd name="T27" fmla="*/ 213 h 512"/>
              <a:gd name="T28" fmla="*/ 341 w 512"/>
              <a:gd name="T29" fmla="*/ 213 h 512"/>
              <a:gd name="T30" fmla="*/ 243 w 512"/>
              <a:gd name="T31" fmla="*/ 264 h 512"/>
              <a:gd name="T32" fmla="*/ 245 w 512"/>
              <a:gd name="T33" fmla="*/ 277 h 512"/>
              <a:gd name="T34" fmla="*/ 256 w 512"/>
              <a:gd name="T35" fmla="*/ 263 h 512"/>
              <a:gd name="T36" fmla="*/ 278 w 512"/>
              <a:gd name="T37" fmla="*/ 236 h 512"/>
              <a:gd name="T38" fmla="*/ 253 w 512"/>
              <a:gd name="T39" fmla="*/ 206 h 512"/>
              <a:gd name="T40" fmla="*/ 236 w 512"/>
              <a:gd name="T41" fmla="*/ 195 h 512"/>
              <a:gd name="T42" fmla="*/ 238 w 512"/>
              <a:gd name="T43" fmla="*/ 183 h 512"/>
              <a:gd name="T44" fmla="*/ 257 w 512"/>
              <a:gd name="T45" fmla="*/ 182 h 512"/>
              <a:gd name="T46" fmla="*/ 277 w 512"/>
              <a:gd name="T47" fmla="*/ 170 h 512"/>
              <a:gd name="T48" fmla="*/ 256 w 512"/>
              <a:gd name="T49" fmla="*/ 163 h 512"/>
              <a:gd name="T50" fmla="*/ 245 w 512"/>
              <a:gd name="T51" fmla="*/ 149 h 512"/>
              <a:gd name="T52" fmla="*/ 225 w 512"/>
              <a:gd name="T53" fmla="*/ 171 h 512"/>
              <a:gd name="T54" fmla="*/ 217 w 512"/>
              <a:gd name="T55" fmla="*/ 203 h 512"/>
              <a:gd name="T56" fmla="*/ 238 w 512"/>
              <a:gd name="T57" fmla="*/ 220 h 512"/>
              <a:gd name="T58" fmla="*/ 255 w 512"/>
              <a:gd name="T59" fmla="*/ 231 h 512"/>
              <a:gd name="T60" fmla="*/ 253 w 512"/>
              <a:gd name="T61" fmla="*/ 244 h 512"/>
              <a:gd name="T62" fmla="*/ 230 w 512"/>
              <a:gd name="T63" fmla="*/ 245 h 512"/>
              <a:gd name="T64" fmla="*/ 213 w 512"/>
              <a:gd name="T65" fmla="*/ 258 h 512"/>
              <a:gd name="T66" fmla="*/ 330 w 512"/>
              <a:gd name="T67" fmla="*/ 373 h 512"/>
              <a:gd name="T68" fmla="*/ 352 w 512"/>
              <a:gd name="T69" fmla="*/ 394 h 512"/>
              <a:gd name="T70" fmla="*/ 341 w 512"/>
              <a:gd name="T71" fmla="*/ 373 h 512"/>
              <a:gd name="T72" fmla="*/ 330 w 512"/>
              <a:gd name="T73" fmla="*/ 330 h 512"/>
              <a:gd name="T74" fmla="*/ 309 w 512"/>
              <a:gd name="T75" fmla="*/ 352 h 512"/>
              <a:gd name="T76" fmla="*/ 330 w 512"/>
              <a:gd name="T77" fmla="*/ 330 h 512"/>
              <a:gd name="T78" fmla="*/ 256 w 512"/>
              <a:gd name="T79" fmla="*/ 512 h 512"/>
              <a:gd name="T80" fmla="*/ 256 w 512"/>
              <a:gd name="T81" fmla="*/ 0 h 512"/>
              <a:gd name="T82" fmla="*/ 373 w 512"/>
              <a:gd name="T83" fmla="*/ 362 h 512"/>
              <a:gd name="T84" fmla="*/ 352 w 512"/>
              <a:gd name="T85" fmla="*/ 352 h 512"/>
              <a:gd name="T86" fmla="*/ 341 w 512"/>
              <a:gd name="T87" fmla="*/ 309 h 512"/>
              <a:gd name="T88" fmla="*/ 362 w 512"/>
              <a:gd name="T89" fmla="*/ 213 h 512"/>
              <a:gd name="T90" fmla="*/ 128 w 512"/>
              <a:gd name="T91" fmla="*/ 213 h 512"/>
              <a:gd name="T92" fmla="*/ 128 w 512"/>
              <a:gd name="T93" fmla="*/ 309 h 512"/>
              <a:gd name="T94" fmla="*/ 117 w 512"/>
              <a:gd name="T95" fmla="*/ 362 h 512"/>
              <a:gd name="T96" fmla="*/ 138 w 512"/>
              <a:gd name="T97" fmla="*/ 373 h 512"/>
              <a:gd name="T98" fmla="*/ 149 w 512"/>
              <a:gd name="T99" fmla="*/ 416 h 512"/>
              <a:gd name="T100" fmla="*/ 373 w 512"/>
              <a:gd name="T101" fmla="*/ 405 h 512"/>
              <a:gd name="T102" fmla="*/ 245 w 512"/>
              <a:gd name="T103" fmla="*/ 394 h 512"/>
              <a:gd name="T104" fmla="*/ 266 w 512"/>
              <a:gd name="T105" fmla="*/ 373 h 512"/>
              <a:gd name="T106" fmla="*/ 245 w 512"/>
              <a:gd name="T107" fmla="*/ 394 h 512"/>
              <a:gd name="T108" fmla="*/ 309 w 512"/>
              <a:gd name="T109" fmla="*/ 394 h 512"/>
              <a:gd name="T110" fmla="*/ 288 w 512"/>
              <a:gd name="T111" fmla="*/ 373 h 512"/>
              <a:gd name="T112" fmla="*/ 288 w 512"/>
              <a:gd name="T113" fmla="*/ 330 h 512"/>
              <a:gd name="T114" fmla="*/ 266 w 512"/>
              <a:gd name="T115" fmla="*/ 352 h 512"/>
              <a:gd name="T116" fmla="*/ 288 w 512"/>
              <a:gd name="T117"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202" y="352"/>
                </a:moveTo>
                <a:cubicBezTo>
                  <a:pt x="181" y="352"/>
                  <a:pt x="181" y="352"/>
                  <a:pt x="181" y="352"/>
                </a:cubicBezTo>
                <a:cubicBezTo>
                  <a:pt x="181" y="330"/>
                  <a:pt x="181" y="330"/>
                  <a:pt x="181" y="330"/>
                </a:cubicBezTo>
                <a:cubicBezTo>
                  <a:pt x="202" y="330"/>
                  <a:pt x="202" y="330"/>
                  <a:pt x="202" y="330"/>
                </a:cubicBezTo>
                <a:lnTo>
                  <a:pt x="202" y="352"/>
                </a:lnTo>
                <a:close/>
                <a:moveTo>
                  <a:pt x="160" y="394"/>
                </a:moveTo>
                <a:cubicBezTo>
                  <a:pt x="181" y="394"/>
                  <a:pt x="181" y="394"/>
                  <a:pt x="181" y="394"/>
                </a:cubicBezTo>
                <a:cubicBezTo>
                  <a:pt x="181" y="373"/>
                  <a:pt x="181" y="373"/>
                  <a:pt x="181" y="373"/>
                </a:cubicBezTo>
                <a:cubicBezTo>
                  <a:pt x="160" y="373"/>
                  <a:pt x="160" y="373"/>
                  <a:pt x="160" y="373"/>
                </a:cubicBezTo>
                <a:lnTo>
                  <a:pt x="160" y="394"/>
                </a:lnTo>
                <a:close/>
                <a:moveTo>
                  <a:pt x="245" y="330"/>
                </a:moveTo>
                <a:cubicBezTo>
                  <a:pt x="224" y="330"/>
                  <a:pt x="224" y="330"/>
                  <a:pt x="224" y="330"/>
                </a:cubicBezTo>
                <a:cubicBezTo>
                  <a:pt x="224" y="352"/>
                  <a:pt x="224" y="352"/>
                  <a:pt x="224" y="352"/>
                </a:cubicBezTo>
                <a:cubicBezTo>
                  <a:pt x="245" y="352"/>
                  <a:pt x="245" y="352"/>
                  <a:pt x="245" y="352"/>
                </a:cubicBezTo>
                <a:lnTo>
                  <a:pt x="245" y="330"/>
                </a:lnTo>
                <a:close/>
                <a:moveTo>
                  <a:pt x="202" y="394"/>
                </a:moveTo>
                <a:cubicBezTo>
                  <a:pt x="224" y="394"/>
                  <a:pt x="224" y="394"/>
                  <a:pt x="224" y="394"/>
                </a:cubicBezTo>
                <a:cubicBezTo>
                  <a:pt x="224" y="373"/>
                  <a:pt x="224" y="373"/>
                  <a:pt x="224" y="373"/>
                </a:cubicBezTo>
                <a:cubicBezTo>
                  <a:pt x="202" y="373"/>
                  <a:pt x="202" y="373"/>
                  <a:pt x="202" y="373"/>
                </a:cubicBezTo>
                <a:lnTo>
                  <a:pt x="202" y="394"/>
                </a:lnTo>
                <a:close/>
                <a:moveTo>
                  <a:pt x="160" y="330"/>
                </a:moveTo>
                <a:cubicBezTo>
                  <a:pt x="138" y="330"/>
                  <a:pt x="138" y="330"/>
                  <a:pt x="138" y="330"/>
                </a:cubicBezTo>
                <a:cubicBezTo>
                  <a:pt x="138" y="352"/>
                  <a:pt x="138" y="352"/>
                  <a:pt x="138" y="352"/>
                </a:cubicBezTo>
                <a:cubicBezTo>
                  <a:pt x="149" y="352"/>
                  <a:pt x="149" y="352"/>
                  <a:pt x="149" y="352"/>
                </a:cubicBezTo>
                <a:cubicBezTo>
                  <a:pt x="160" y="352"/>
                  <a:pt x="160" y="352"/>
                  <a:pt x="160" y="352"/>
                </a:cubicBezTo>
                <a:lnTo>
                  <a:pt x="160" y="330"/>
                </a:lnTo>
                <a:close/>
                <a:moveTo>
                  <a:pt x="245" y="309"/>
                </a:moveTo>
                <a:cubicBezTo>
                  <a:pt x="192" y="309"/>
                  <a:pt x="149" y="266"/>
                  <a:pt x="149" y="213"/>
                </a:cubicBezTo>
                <a:cubicBezTo>
                  <a:pt x="149" y="160"/>
                  <a:pt x="192" y="117"/>
                  <a:pt x="245" y="117"/>
                </a:cubicBezTo>
                <a:cubicBezTo>
                  <a:pt x="298" y="117"/>
                  <a:pt x="341" y="160"/>
                  <a:pt x="341" y="213"/>
                </a:cubicBezTo>
                <a:cubicBezTo>
                  <a:pt x="341" y="266"/>
                  <a:pt x="298" y="309"/>
                  <a:pt x="245" y="309"/>
                </a:cubicBezTo>
                <a:close/>
                <a:moveTo>
                  <a:pt x="243" y="264"/>
                </a:moveTo>
                <a:cubicBezTo>
                  <a:pt x="243" y="264"/>
                  <a:pt x="245" y="264"/>
                  <a:pt x="245" y="264"/>
                </a:cubicBezTo>
                <a:cubicBezTo>
                  <a:pt x="245" y="277"/>
                  <a:pt x="245" y="277"/>
                  <a:pt x="245" y="277"/>
                </a:cubicBezTo>
                <a:cubicBezTo>
                  <a:pt x="256" y="277"/>
                  <a:pt x="256" y="277"/>
                  <a:pt x="256" y="277"/>
                </a:cubicBezTo>
                <a:cubicBezTo>
                  <a:pt x="256" y="263"/>
                  <a:pt x="256" y="263"/>
                  <a:pt x="256" y="263"/>
                </a:cubicBezTo>
                <a:cubicBezTo>
                  <a:pt x="256" y="262"/>
                  <a:pt x="265" y="260"/>
                  <a:pt x="270" y="256"/>
                </a:cubicBezTo>
                <a:cubicBezTo>
                  <a:pt x="276" y="251"/>
                  <a:pt x="278" y="244"/>
                  <a:pt x="278" y="236"/>
                </a:cubicBezTo>
                <a:cubicBezTo>
                  <a:pt x="278" y="229"/>
                  <a:pt x="275" y="224"/>
                  <a:pt x="272" y="219"/>
                </a:cubicBezTo>
                <a:cubicBezTo>
                  <a:pt x="268" y="215"/>
                  <a:pt x="262" y="210"/>
                  <a:pt x="253" y="206"/>
                </a:cubicBezTo>
                <a:cubicBezTo>
                  <a:pt x="246" y="203"/>
                  <a:pt x="242" y="200"/>
                  <a:pt x="240" y="199"/>
                </a:cubicBezTo>
                <a:cubicBezTo>
                  <a:pt x="238" y="198"/>
                  <a:pt x="237" y="197"/>
                  <a:pt x="236" y="195"/>
                </a:cubicBezTo>
                <a:cubicBezTo>
                  <a:pt x="235" y="194"/>
                  <a:pt x="234" y="192"/>
                  <a:pt x="234" y="190"/>
                </a:cubicBezTo>
                <a:cubicBezTo>
                  <a:pt x="234" y="187"/>
                  <a:pt x="236" y="185"/>
                  <a:pt x="238" y="183"/>
                </a:cubicBezTo>
                <a:cubicBezTo>
                  <a:pt x="240" y="181"/>
                  <a:pt x="243" y="181"/>
                  <a:pt x="247" y="181"/>
                </a:cubicBezTo>
                <a:cubicBezTo>
                  <a:pt x="250" y="181"/>
                  <a:pt x="253" y="181"/>
                  <a:pt x="257" y="182"/>
                </a:cubicBezTo>
                <a:cubicBezTo>
                  <a:pt x="260" y="183"/>
                  <a:pt x="265" y="184"/>
                  <a:pt x="270" y="186"/>
                </a:cubicBezTo>
                <a:cubicBezTo>
                  <a:pt x="277" y="170"/>
                  <a:pt x="277" y="170"/>
                  <a:pt x="277" y="170"/>
                </a:cubicBezTo>
                <a:cubicBezTo>
                  <a:pt x="271" y="168"/>
                  <a:pt x="269" y="166"/>
                  <a:pt x="264" y="165"/>
                </a:cubicBezTo>
                <a:cubicBezTo>
                  <a:pt x="261" y="164"/>
                  <a:pt x="256" y="164"/>
                  <a:pt x="256" y="163"/>
                </a:cubicBezTo>
                <a:cubicBezTo>
                  <a:pt x="256" y="149"/>
                  <a:pt x="256" y="149"/>
                  <a:pt x="256" y="149"/>
                </a:cubicBezTo>
                <a:cubicBezTo>
                  <a:pt x="245" y="149"/>
                  <a:pt x="245" y="149"/>
                  <a:pt x="245" y="149"/>
                </a:cubicBezTo>
                <a:cubicBezTo>
                  <a:pt x="245" y="164"/>
                  <a:pt x="245" y="164"/>
                  <a:pt x="245" y="164"/>
                </a:cubicBezTo>
                <a:cubicBezTo>
                  <a:pt x="234" y="164"/>
                  <a:pt x="229" y="167"/>
                  <a:pt x="225" y="171"/>
                </a:cubicBezTo>
                <a:cubicBezTo>
                  <a:pt x="219" y="176"/>
                  <a:pt x="215" y="182"/>
                  <a:pt x="215" y="191"/>
                </a:cubicBezTo>
                <a:cubicBezTo>
                  <a:pt x="215" y="196"/>
                  <a:pt x="215" y="200"/>
                  <a:pt x="217" y="203"/>
                </a:cubicBezTo>
                <a:cubicBezTo>
                  <a:pt x="219" y="207"/>
                  <a:pt x="221" y="210"/>
                  <a:pt x="224" y="212"/>
                </a:cubicBezTo>
                <a:cubicBezTo>
                  <a:pt x="227" y="215"/>
                  <a:pt x="232" y="218"/>
                  <a:pt x="238" y="220"/>
                </a:cubicBezTo>
                <a:cubicBezTo>
                  <a:pt x="244" y="223"/>
                  <a:pt x="248" y="226"/>
                  <a:pt x="250" y="227"/>
                </a:cubicBezTo>
                <a:cubicBezTo>
                  <a:pt x="252" y="228"/>
                  <a:pt x="254" y="230"/>
                  <a:pt x="255" y="231"/>
                </a:cubicBezTo>
                <a:cubicBezTo>
                  <a:pt x="256" y="233"/>
                  <a:pt x="257" y="235"/>
                  <a:pt x="257" y="237"/>
                </a:cubicBezTo>
                <a:cubicBezTo>
                  <a:pt x="257" y="240"/>
                  <a:pt x="255" y="243"/>
                  <a:pt x="253" y="244"/>
                </a:cubicBezTo>
                <a:cubicBezTo>
                  <a:pt x="250" y="246"/>
                  <a:pt x="247" y="247"/>
                  <a:pt x="242" y="247"/>
                </a:cubicBezTo>
                <a:cubicBezTo>
                  <a:pt x="239" y="247"/>
                  <a:pt x="234" y="246"/>
                  <a:pt x="230" y="245"/>
                </a:cubicBezTo>
                <a:cubicBezTo>
                  <a:pt x="225" y="244"/>
                  <a:pt x="224" y="242"/>
                  <a:pt x="213" y="239"/>
                </a:cubicBezTo>
                <a:cubicBezTo>
                  <a:pt x="213" y="258"/>
                  <a:pt x="213" y="258"/>
                  <a:pt x="213" y="258"/>
                </a:cubicBezTo>
                <a:cubicBezTo>
                  <a:pt x="224" y="262"/>
                  <a:pt x="232" y="264"/>
                  <a:pt x="243" y="264"/>
                </a:cubicBezTo>
                <a:close/>
                <a:moveTo>
                  <a:pt x="330" y="373"/>
                </a:moveTo>
                <a:cubicBezTo>
                  <a:pt x="330" y="394"/>
                  <a:pt x="330" y="394"/>
                  <a:pt x="330" y="394"/>
                </a:cubicBezTo>
                <a:cubicBezTo>
                  <a:pt x="352" y="394"/>
                  <a:pt x="352" y="394"/>
                  <a:pt x="352" y="394"/>
                </a:cubicBezTo>
                <a:cubicBezTo>
                  <a:pt x="352" y="373"/>
                  <a:pt x="352" y="373"/>
                  <a:pt x="352" y="373"/>
                </a:cubicBezTo>
                <a:cubicBezTo>
                  <a:pt x="341" y="373"/>
                  <a:pt x="341" y="373"/>
                  <a:pt x="341" y="373"/>
                </a:cubicBezTo>
                <a:lnTo>
                  <a:pt x="330" y="373"/>
                </a:lnTo>
                <a:close/>
                <a:moveTo>
                  <a:pt x="330" y="330"/>
                </a:moveTo>
                <a:cubicBezTo>
                  <a:pt x="309" y="330"/>
                  <a:pt x="309" y="330"/>
                  <a:pt x="309" y="330"/>
                </a:cubicBezTo>
                <a:cubicBezTo>
                  <a:pt x="309" y="352"/>
                  <a:pt x="309" y="352"/>
                  <a:pt x="309" y="352"/>
                </a:cubicBezTo>
                <a:cubicBezTo>
                  <a:pt x="330" y="352"/>
                  <a:pt x="330" y="352"/>
                  <a:pt x="330" y="352"/>
                </a:cubicBezTo>
                <a:lnTo>
                  <a:pt x="330" y="33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362"/>
                </a:moveTo>
                <a:cubicBezTo>
                  <a:pt x="373" y="356"/>
                  <a:pt x="368" y="352"/>
                  <a:pt x="362" y="352"/>
                </a:cubicBezTo>
                <a:cubicBezTo>
                  <a:pt x="352" y="352"/>
                  <a:pt x="352" y="352"/>
                  <a:pt x="352" y="352"/>
                </a:cubicBezTo>
                <a:cubicBezTo>
                  <a:pt x="352" y="320"/>
                  <a:pt x="352" y="320"/>
                  <a:pt x="352" y="320"/>
                </a:cubicBezTo>
                <a:cubicBezTo>
                  <a:pt x="352" y="314"/>
                  <a:pt x="347" y="309"/>
                  <a:pt x="341" y="309"/>
                </a:cubicBezTo>
                <a:cubicBezTo>
                  <a:pt x="312" y="309"/>
                  <a:pt x="312" y="309"/>
                  <a:pt x="312" y="309"/>
                </a:cubicBezTo>
                <a:cubicBezTo>
                  <a:pt x="342" y="288"/>
                  <a:pt x="362" y="253"/>
                  <a:pt x="362" y="213"/>
                </a:cubicBezTo>
                <a:cubicBezTo>
                  <a:pt x="362" y="148"/>
                  <a:pt x="310" y="96"/>
                  <a:pt x="245" y="96"/>
                </a:cubicBezTo>
                <a:cubicBezTo>
                  <a:pt x="180" y="96"/>
                  <a:pt x="128" y="148"/>
                  <a:pt x="128" y="213"/>
                </a:cubicBezTo>
                <a:cubicBezTo>
                  <a:pt x="128" y="253"/>
                  <a:pt x="148" y="288"/>
                  <a:pt x="178" y="309"/>
                </a:cubicBezTo>
                <a:cubicBezTo>
                  <a:pt x="128" y="309"/>
                  <a:pt x="128" y="309"/>
                  <a:pt x="128" y="309"/>
                </a:cubicBezTo>
                <a:cubicBezTo>
                  <a:pt x="122" y="309"/>
                  <a:pt x="117" y="314"/>
                  <a:pt x="117" y="320"/>
                </a:cubicBezTo>
                <a:cubicBezTo>
                  <a:pt x="117" y="362"/>
                  <a:pt x="117" y="362"/>
                  <a:pt x="117" y="362"/>
                </a:cubicBezTo>
                <a:cubicBezTo>
                  <a:pt x="117" y="368"/>
                  <a:pt x="122" y="373"/>
                  <a:pt x="128" y="373"/>
                </a:cubicBezTo>
                <a:cubicBezTo>
                  <a:pt x="138" y="373"/>
                  <a:pt x="138" y="373"/>
                  <a:pt x="138" y="373"/>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362"/>
                </a:lnTo>
                <a:close/>
                <a:moveTo>
                  <a:pt x="245" y="394"/>
                </a:moveTo>
                <a:cubicBezTo>
                  <a:pt x="266" y="394"/>
                  <a:pt x="266" y="394"/>
                  <a:pt x="266" y="394"/>
                </a:cubicBezTo>
                <a:cubicBezTo>
                  <a:pt x="266" y="373"/>
                  <a:pt x="266" y="373"/>
                  <a:pt x="266" y="373"/>
                </a:cubicBezTo>
                <a:cubicBezTo>
                  <a:pt x="245" y="373"/>
                  <a:pt x="245" y="373"/>
                  <a:pt x="245" y="373"/>
                </a:cubicBezTo>
                <a:lnTo>
                  <a:pt x="245" y="394"/>
                </a:lnTo>
                <a:close/>
                <a:moveTo>
                  <a:pt x="288" y="394"/>
                </a:moveTo>
                <a:cubicBezTo>
                  <a:pt x="309" y="394"/>
                  <a:pt x="309" y="394"/>
                  <a:pt x="309" y="394"/>
                </a:cubicBezTo>
                <a:cubicBezTo>
                  <a:pt x="309" y="373"/>
                  <a:pt x="309" y="373"/>
                  <a:pt x="309" y="373"/>
                </a:cubicBezTo>
                <a:cubicBezTo>
                  <a:pt x="288" y="373"/>
                  <a:pt x="288" y="373"/>
                  <a:pt x="288" y="373"/>
                </a:cubicBezTo>
                <a:lnTo>
                  <a:pt x="288" y="394"/>
                </a:lnTo>
                <a:close/>
                <a:moveTo>
                  <a:pt x="288" y="330"/>
                </a:moveTo>
                <a:cubicBezTo>
                  <a:pt x="266" y="330"/>
                  <a:pt x="266" y="330"/>
                  <a:pt x="266" y="330"/>
                </a:cubicBezTo>
                <a:cubicBezTo>
                  <a:pt x="266" y="352"/>
                  <a:pt x="266" y="352"/>
                  <a:pt x="266" y="352"/>
                </a:cubicBezTo>
                <a:cubicBezTo>
                  <a:pt x="288" y="352"/>
                  <a:pt x="288" y="352"/>
                  <a:pt x="288" y="352"/>
                </a:cubicBezTo>
                <a:lnTo>
                  <a:pt x="288" y="330"/>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1" name="Rectangle 100">
            <a:extLst>
              <a:ext uri="{FF2B5EF4-FFF2-40B4-BE49-F238E27FC236}">
                <a16:creationId xmlns:a16="http://schemas.microsoft.com/office/drawing/2014/main" id="{C0D2ADC9-06A4-4926-AA43-1117C536AC86}"/>
              </a:ext>
            </a:extLst>
          </p:cNvPr>
          <p:cNvSpPr/>
          <p:nvPr/>
        </p:nvSpPr>
        <p:spPr>
          <a:xfrm>
            <a:off x="5021139" y="6102507"/>
            <a:ext cx="2380460"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dirty="0">
                <a:ln>
                  <a:noFill/>
                </a:ln>
                <a:solidFill>
                  <a:srgbClr val="5A5A5A"/>
                </a:solidFill>
                <a:effectLst/>
                <a:uLnTx/>
                <a:uFillTx/>
                <a:latin typeface="Open Sans"/>
                <a:ea typeface="+mn-ea"/>
                <a:cs typeface="+mn-cs"/>
              </a:rPr>
              <a:t>Customer Profitability</a:t>
            </a:r>
          </a:p>
        </p:txBody>
      </p:sp>
      <p:sp>
        <p:nvSpPr>
          <p:cNvPr id="103" name="Rectangle 102">
            <a:extLst>
              <a:ext uri="{FF2B5EF4-FFF2-40B4-BE49-F238E27FC236}">
                <a16:creationId xmlns:a16="http://schemas.microsoft.com/office/drawing/2014/main" id="{9F72D674-7516-46EF-A374-DF77485E34B6}"/>
              </a:ext>
            </a:extLst>
          </p:cNvPr>
          <p:cNvSpPr/>
          <p:nvPr/>
        </p:nvSpPr>
        <p:spPr>
          <a:xfrm>
            <a:off x="6500558" y="6534838"/>
            <a:ext cx="4893547" cy="2588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lumMod val="85000"/>
                    <a:lumOff val="15000"/>
                  </a:srgbClr>
                </a:solidFill>
                <a:effectLst/>
                <a:uLnTx/>
                <a:uFillTx/>
                <a:latin typeface="Open Sans"/>
                <a:ea typeface="+mn-ea"/>
                <a:cs typeface="+mn-cs"/>
              </a:rPr>
              <a:t>*Deloitte industry benchmark based on industry data collected since 2001</a:t>
            </a:r>
          </a:p>
        </p:txBody>
      </p:sp>
      <mc:AlternateContent xmlns:mc="http://schemas.openxmlformats.org/markup-compatibility/2006" xmlns:cx1="http://schemas.microsoft.com/office/drawing/2015/9/8/chartex">
        <mc:Choice Requires="cx1">
          <p:graphicFrame>
            <p:nvGraphicFramePr>
              <p:cNvPr id="20" name="Chart 19">
                <a:extLst>
                  <a:ext uri="{FF2B5EF4-FFF2-40B4-BE49-F238E27FC236}">
                    <a16:creationId xmlns:a16="http://schemas.microsoft.com/office/drawing/2014/main" id="{3AB39648-3379-4D80-94A0-C575A5E19C5A}"/>
                  </a:ext>
                </a:extLst>
              </p:cNvPr>
              <p:cNvGraphicFramePr/>
              <p:nvPr>
                <p:extLst>
                  <p:ext uri="{D42A27DB-BD31-4B8C-83A1-F6EECF244321}">
                    <p14:modId xmlns:p14="http://schemas.microsoft.com/office/powerpoint/2010/main" val="913425511"/>
                  </p:ext>
                </p:extLst>
              </p:nvPr>
            </p:nvGraphicFramePr>
            <p:xfrm>
              <a:off x="914720" y="1828801"/>
              <a:ext cx="10608685" cy="3697320"/>
            </p:xfrm>
            <a:graphic>
              <a:graphicData uri="http://schemas.microsoft.com/office/drawing/2014/chartex">
                <cx:chart xmlns:cx="http://schemas.microsoft.com/office/drawing/2014/chartex" xmlns:r="http://schemas.openxmlformats.org/officeDocument/2006/relationships" r:id="rId7"/>
              </a:graphicData>
            </a:graphic>
          </p:graphicFrame>
        </mc:Choice>
        <mc:Fallback xmlns="">
          <p:pic>
            <p:nvPicPr>
              <p:cNvPr id="20" name="Chart 19">
                <a:extLst>
                  <a:ext uri="{FF2B5EF4-FFF2-40B4-BE49-F238E27FC236}">
                    <a16:creationId xmlns:a16="http://schemas.microsoft.com/office/drawing/2014/main" id="{3AB39648-3379-4D80-94A0-C575A5E19C5A}"/>
                  </a:ext>
                </a:extLst>
              </p:cNvPr>
              <p:cNvPicPr>
                <a:picLocks noGrp="1" noRot="1" noChangeAspect="1" noMove="1" noResize="1" noEditPoints="1" noAdjustHandles="1" noChangeArrowheads="1" noChangeShapeType="1"/>
              </p:cNvPicPr>
              <p:nvPr/>
            </p:nvPicPr>
            <p:blipFill>
              <a:blip r:embed="rId8"/>
              <a:stretch>
                <a:fillRect/>
              </a:stretch>
            </p:blipFill>
            <p:spPr>
              <a:xfrm>
                <a:off x="914720" y="1828801"/>
                <a:ext cx="10608685" cy="3697320"/>
              </a:xfrm>
              <a:prstGeom prst="rect">
                <a:avLst/>
              </a:prstGeom>
            </p:spPr>
          </p:pic>
        </mc:Fallback>
      </mc:AlternateContent>
      <p:sp>
        <p:nvSpPr>
          <p:cNvPr id="19" name="Rectangle 18">
            <a:extLst>
              <a:ext uri="{FF2B5EF4-FFF2-40B4-BE49-F238E27FC236}">
                <a16:creationId xmlns:a16="http://schemas.microsoft.com/office/drawing/2014/main" id="{A64238EB-C845-4A5D-BFFA-DDD2E1C9C308}"/>
              </a:ext>
            </a:extLst>
          </p:cNvPr>
          <p:cNvSpPr/>
          <p:nvPr/>
        </p:nvSpPr>
        <p:spPr>
          <a:xfrm>
            <a:off x="1993663" y="2803403"/>
            <a:ext cx="3210790" cy="523220"/>
          </a:xfrm>
          <a:prstGeom prst="rect">
            <a:avLst/>
          </a:prstGeom>
          <a:solidFill>
            <a:schemeClr val="bg1"/>
          </a:solidFill>
          <a:ln w="38100">
            <a:solidFill>
              <a:schemeClr val="bg1">
                <a:lumMod val="75000"/>
              </a:schemeClr>
            </a:solidFill>
          </a:ln>
        </p:spPr>
        <p:txBody>
          <a:bodyPr wrap="square" lIns="91440" tIns="91440" rIns="91440" bIns="9144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latin typeface="Verdana"/>
                <a:ea typeface="+mn-ea"/>
                <a:cs typeface="+mn-cs"/>
              </a:rPr>
              <a:t>Almost 70% of total trade dollars are currently spent on </a:t>
            </a:r>
            <a:r>
              <a:rPr lang="en-US" sz="1100" b="1" dirty="0">
                <a:solidFill>
                  <a:schemeClr val="accent3"/>
                </a:solidFill>
                <a:latin typeface="Verdana"/>
              </a:rPr>
              <a:t>o</a:t>
            </a:r>
            <a:r>
              <a:rPr kumimoji="0" lang="en-US" sz="1100" b="1" i="0" u="none" strike="noStrike" kern="1200" cap="none" spc="0" normalizeH="0" baseline="0" noProof="0" dirty="0">
                <a:ln>
                  <a:noFill/>
                </a:ln>
                <a:solidFill>
                  <a:schemeClr val="accent3"/>
                </a:solidFill>
                <a:effectLst/>
                <a:uLnTx/>
                <a:uFillTx/>
                <a:latin typeface="Verdana"/>
                <a:ea typeface="+mn-ea"/>
                <a:cs typeface="+mn-cs"/>
              </a:rPr>
              <a:t>n-invoice discounts</a:t>
            </a:r>
          </a:p>
        </p:txBody>
      </p:sp>
      <p:cxnSp>
        <p:nvCxnSpPr>
          <p:cNvPr id="21" name="Straight Connector 20">
            <a:extLst>
              <a:ext uri="{FF2B5EF4-FFF2-40B4-BE49-F238E27FC236}">
                <a16:creationId xmlns:a16="http://schemas.microsoft.com/office/drawing/2014/main" id="{1A02AB28-5B3C-4B5D-9E48-177A0E154219}"/>
              </a:ext>
            </a:extLst>
          </p:cNvPr>
          <p:cNvCxnSpPr>
            <a:cxnSpLocks/>
          </p:cNvCxnSpPr>
          <p:nvPr/>
        </p:nvCxnSpPr>
        <p:spPr>
          <a:xfrm flipV="1">
            <a:off x="2313542" y="3352168"/>
            <a:ext cx="364355" cy="356989"/>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51336A9F-8C16-4C03-BBE2-8AE601B0F271}"/>
              </a:ext>
            </a:extLst>
          </p:cNvPr>
          <p:cNvSpPr/>
          <p:nvPr/>
        </p:nvSpPr>
        <p:spPr bwMode="gray">
          <a:xfrm>
            <a:off x="1417591" y="3461219"/>
            <a:ext cx="1105272" cy="1716709"/>
          </a:xfrm>
          <a:prstGeom prst="rect">
            <a:avLst/>
          </a:prstGeom>
          <a:noFill/>
          <a:ln w="19050" algn="ctr">
            <a:solidFill>
              <a:schemeClr val="bg1">
                <a:lumMod val="65000"/>
              </a:schemeClr>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1377603917"/>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172"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Industry Benchmarks</a:t>
            </a:r>
            <a:endParaRPr lang="en-US" dirty="0"/>
          </a:p>
        </p:txBody>
      </p:sp>
      <p:sp>
        <p:nvSpPr>
          <p:cNvPr id="3" name="Text Placeholder 2"/>
          <p:cNvSpPr>
            <a:spLocks noGrp="1"/>
          </p:cNvSpPr>
          <p:nvPr>
            <p:ph type="body" sz="quarter" idx="14"/>
          </p:nvPr>
        </p:nvSpPr>
        <p:spPr/>
        <p:txBody>
          <a:bodyPr/>
          <a:lstStyle/>
          <a:p>
            <a:pPr lvl="0">
              <a:buClr>
                <a:srgbClr val="787878"/>
              </a:buClr>
              <a:defRPr/>
            </a:pPr>
            <a:r>
              <a:rPr lang="en-US" spc="0" dirty="0">
                <a:solidFill>
                  <a:srgbClr val="000000"/>
                </a:solidFill>
              </a:rPr>
              <a:t> You were also searching for benchmarks on working vs. non-working media spend</a:t>
            </a:r>
          </a:p>
        </p:txBody>
      </p:sp>
      <p:sp>
        <p:nvSpPr>
          <p:cNvPr id="5" name="Text Placeholder 4"/>
          <p:cNvSpPr>
            <a:spLocks noGrp="1"/>
          </p:cNvSpPr>
          <p:nvPr>
            <p:ph type="body" sz="quarter" idx="15"/>
          </p:nvPr>
        </p:nvSpPr>
        <p:spPr/>
        <p:txBody>
          <a:bodyPr/>
          <a:lstStyle/>
          <a:p>
            <a:r>
              <a:rPr lang="en-US" dirty="0"/>
              <a:t>Data Visualization &amp; Infographics</a:t>
            </a:r>
          </a:p>
        </p:txBody>
      </p:sp>
      <p:graphicFrame>
        <p:nvGraphicFramePr>
          <p:cNvPr id="12" name="Chart 11"/>
          <p:cNvGraphicFramePr/>
          <p:nvPr>
            <p:extLst>
              <p:ext uri="{D42A27DB-BD31-4B8C-83A1-F6EECF244321}">
                <p14:modId xmlns:p14="http://schemas.microsoft.com/office/powerpoint/2010/main" val="3097014867"/>
              </p:ext>
            </p:extLst>
          </p:nvPr>
        </p:nvGraphicFramePr>
        <p:xfrm>
          <a:off x="158750" y="1696830"/>
          <a:ext cx="4340682" cy="2618759"/>
        </p:xfrm>
        <a:graphic>
          <a:graphicData uri="http://schemas.openxmlformats.org/drawingml/2006/chart">
            <c:chart xmlns:c="http://schemas.openxmlformats.org/drawingml/2006/chart" xmlns:r="http://schemas.openxmlformats.org/officeDocument/2006/relationships" r:id="rId7"/>
          </a:graphicData>
        </a:graphic>
      </p:graphicFrame>
      <p:sp>
        <p:nvSpPr>
          <p:cNvPr id="13" name="object 3"/>
          <p:cNvSpPr/>
          <p:nvPr/>
        </p:nvSpPr>
        <p:spPr>
          <a:xfrm>
            <a:off x="8049711" y="2049906"/>
            <a:ext cx="0" cy="4601845"/>
          </a:xfrm>
          <a:custGeom>
            <a:avLst/>
            <a:gdLst/>
            <a:ahLst/>
            <a:cxnLst/>
            <a:rect l="l" t="t" r="r" b="b"/>
            <a:pathLst>
              <a:path h="4601845">
                <a:moveTo>
                  <a:pt x="0" y="0"/>
                </a:moveTo>
                <a:lnTo>
                  <a:pt x="0" y="4601235"/>
                </a:lnTo>
              </a:path>
            </a:pathLst>
          </a:custGeom>
          <a:ln w="1270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4" name="TextBox 13">
            <a:extLst>
              <a:ext uri="{FF2B5EF4-FFF2-40B4-BE49-F238E27FC236}">
                <a16:creationId xmlns:a16="http://schemas.microsoft.com/office/drawing/2014/main" id="{69EECFC5-12F5-4D21-97B4-004BB837D2AD}"/>
              </a:ext>
            </a:extLst>
          </p:cNvPr>
          <p:cNvSpPr txBox="1"/>
          <p:nvPr/>
        </p:nvSpPr>
        <p:spPr>
          <a:xfrm>
            <a:off x="568832" y="1777512"/>
            <a:ext cx="3172968" cy="461665"/>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200" normalizeH="0" baseline="0" noProof="0" dirty="0">
                <a:ln>
                  <a:noFill/>
                </a:ln>
                <a:solidFill>
                  <a:srgbClr val="000000"/>
                </a:solidFill>
                <a:effectLst/>
                <a:uLnTx/>
                <a:uFillTx/>
                <a:latin typeface="Open Sans"/>
                <a:ea typeface="+mn-ea"/>
                <a:cs typeface="+mn-cs"/>
              </a:rPr>
              <a:t>CURRENT MARKETING SPEND BENCHMARKS</a:t>
            </a:r>
          </a:p>
        </p:txBody>
      </p:sp>
      <p:sp>
        <p:nvSpPr>
          <p:cNvPr id="15" name="TextBox 14">
            <a:extLst>
              <a:ext uri="{FF2B5EF4-FFF2-40B4-BE49-F238E27FC236}">
                <a16:creationId xmlns:a16="http://schemas.microsoft.com/office/drawing/2014/main" id="{69EECFC5-12F5-4D21-97B4-004BB837D2AD}"/>
              </a:ext>
            </a:extLst>
          </p:cNvPr>
          <p:cNvSpPr txBox="1"/>
          <p:nvPr/>
        </p:nvSpPr>
        <p:spPr>
          <a:xfrm>
            <a:off x="8251034" y="1777512"/>
            <a:ext cx="3600221" cy="461665"/>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200" normalizeH="0" baseline="0" noProof="0" dirty="0">
                <a:ln>
                  <a:noFill/>
                </a:ln>
                <a:solidFill>
                  <a:srgbClr val="000000"/>
                </a:solidFill>
                <a:effectLst/>
                <a:uLnTx/>
                <a:uFillTx/>
                <a:latin typeface="Open Sans"/>
                <a:ea typeface="+mn-ea"/>
                <a:cs typeface="+mn-cs"/>
              </a:rPr>
              <a:t>AND THIS SHIFT TO DIGITAL WILL INCREASE NON-WORKING SPEND </a:t>
            </a:r>
          </a:p>
        </p:txBody>
      </p:sp>
      <p:sp>
        <p:nvSpPr>
          <p:cNvPr id="16" name="TextBox 15">
            <a:extLst>
              <a:ext uri="{FF2B5EF4-FFF2-40B4-BE49-F238E27FC236}">
                <a16:creationId xmlns:a16="http://schemas.microsoft.com/office/drawing/2014/main" id="{69EECFC5-12F5-4D21-97B4-004BB837D2AD}"/>
              </a:ext>
            </a:extLst>
          </p:cNvPr>
          <p:cNvSpPr txBox="1"/>
          <p:nvPr/>
        </p:nvSpPr>
        <p:spPr>
          <a:xfrm>
            <a:off x="4277794" y="1777512"/>
            <a:ext cx="3169248" cy="461665"/>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200" normalizeH="0" baseline="0" noProof="0" dirty="0">
                <a:ln>
                  <a:noFill/>
                </a:ln>
                <a:solidFill>
                  <a:srgbClr val="000000"/>
                </a:solidFill>
                <a:effectLst/>
                <a:uLnTx/>
                <a:uFillTx/>
                <a:latin typeface="Open Sans"/>
                <a:ea typeface="+mn-ea"/>
                <a:cs typeface="+mn-cs"/>
              </a:rPr>
              <a:t>CONSUMER PREFERENCES DRIVE UP DIGITAL SPEND</a:t>
            </a:r>
          </a:p>
        </p:txBody>
      </p:sp>
      <p:sp>
        <p:nvSpPr>
          <p:cNvPr id="17" name="object 31"/>
          <p:cNvSpPr/>
          <p:nvPr/>
        </p:nvSpPr>
        <p:spPr>
          <a:xfrm>
            <a:off x="8317709" y="2250784"/>
            <a:ext cx="3257550" cy="0"/>
          </a:xfrm>
          <a:custGeom>
            <a:avLst/>
            <a:gdLst/>
            <a:ahLst/>
            <a:cxnLst/>
            <a:rect l="l" t="t" r="r" b="b"/>
            <a:pathLst>
              <a:path w="3257550">
                <a:moveTo>
                  <a:pt x="0" y="0"/>
                </a:moveTo>
                <a:lnTo>
                  <a:pt x="3257550" y="0"/>
                </a:lnTo>
              </a:path>
            </a:pathLst>
          </a:custGeom>
          <a:ln w="57912">
            <a:solidFill>
              <a:schemeClr val="accent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8" name="object 30"/>
          <p:cNvSpPr/>
          <p:nvPr/>
        </p:nvSpPr>
        <p:spPr>
          <a:xfrm>
            <a:off x="635507" y="2245955"/>
            <a:ext cx="3257550" cy="0"/>
          </a:xfrm>
          <a:custGeom>
            <a:avLst/>
            <a:gdLst/>
            <a:ahLst/>
            <a:cxnLst/>
            <a:rect l="l" t="t" r="r" b="b"/>
            <a:pathLst>
              <a:path w="3257550">
                <a:moveTo>
                  <a:pt x="0" y="0"/>
                </a:moveTo>
                <a:lnTo>
                  <a:pt x="3257550" y="0"/>
                </a:lnTo>
              </a:path>
            </a:pathLst>
          </a:custGeom>
          <a:ln w="57912">
            <a:solidFill>
              <a:schemeClr val="accent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0" name="object 30"/>
          <p:cNvSpPr/>
          <p:nvPr/>
        </p:nvSpPr>
        <p:spPr>
          <a:xfrm>
            <a:off x="4344469" y="2245955"/>
            <a:ext cx="3257550" cy="0"/>
          </a:xfrm>
          <a:custGeom>
            <a:avLst/>
            <a:gdLst/>
            <a:ahLst/>
            <a:cxnLst/>
            <a:rect l="l" t="t" r="r" b="b"/>
            <a:pathLst>
              <a:path w="3257550">
                <a:moveTo>
                  <a:pt x="0" y="0"/>
                </a:moveTo>
                <a:lnTo>
                  <a:pt x="3257550" y="0"/>
                </a:lnTo>
              </a:path>
            </a:pathLst>
          </a:custGeom>
          <a:ln w="57912">
            <a:solidFill>
              <a:schemeClr val="accent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p:cNvSpPr/>
          <p:nvPr/>
        </p:nvSpPr>
        <p:spPr>
          <a:xfrm>
            <a:off x="568832" y="3579268"/>
            <a:ext cx="3057595"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Non-working spend makes up 20-25% </a:t>
            </a:r>
            <a:r>
              <a:rPr kumimoji="0" lang="en-US" sz="1200" b="0" i="0" u="none" strike="noStrike" kern="1200" cap="none" spc="0" normalizeH="0" baseline="0" noProof="0" dirty="0">
                <a:ln>
                  <a:noFill/>
                </a:ln>
                <a:solidFill>
                  <a:srgbClr val="000000"/>
                </a:solidFill>
                <a:effectLst/>
                <a:uLnTx/>
                <a:uFillTx/>
                <a:latin typeface="Open Sans"/>
                <a:ea typeface="+mn-ea"/>
                <a:cs typeface="+mn-cs"/>
              </a:rPr>
              <a:t>of the average marketing budget</a:t>
            </a:r>
            <a:r>
              <a:rPr kumimoji="0" lang="en-US" sz="1200" b="0" i="0" u="none" strike="noStrike" kern="1200" cap="none" spc="0" normalizeH="0" baseline="30000" noProof="0" dirty="0">
                <a:ln>
                  <a:noFill/>
                </a:ln>
                <a:solidFill>
                  <a:srgbClr val="000000"/>
                </a:solidFill>
                <a:effectLst/>
                <a:uLnTx/>
                <a:uFillTx/>
                <a:latin typeface="Open Sans"/>
                <a:ea typeface="+mn-ea"/>
                <a:cs typeface="+mn-cs"/>
              </a:rPr>
              <a:t>1</a:t>
            </a:r>
            <a:endParaRPr kumimoji="0" lang="en-US" sz="1600" b="0" i="0" u="none" strike="noStrike" kern="1200" cap="none" spc="0" normalizeH="0" baseline="30000" noProof="0" dirty="0">
              <a:ln>
                <a:noFill/>
              </a:ln>
              <a:solidFill>
                <a:srgbClr val="000000"/>
              </a:solidFill>
              <a:effectLst/>
              <a:uLnTx/>
              <a:uFillTx/>
              <a:latin typeface="Open Sans"/>
              <a:ea typeface="+mn-ea"/>
              <a:cs typeface="+mn-cs"/>
            </a:endParaRPr>
          </a:p>
        </p:txBody>
      </p:sp>
      <p:graphicFrame>
        <p:nvGraphicFramePr>
          <p:cNvPr id="22" name="Chart 21"/>
          <p:cNvGraphicFramePr/>
          <p:nvPr>
            <p:extLst>
              <p:ext uri="{D42A27DB-BD31-4B8C-83A1-F6EECF244321}">
                <p14:modId xmlns:p14="http://schemas.microsoft.com/office/powerpoint/2010/main" val="3424125947"/>
              </p:ext>
            </p:extLst>
          </p:nvPr>
        </p:nvGraphicFramePr>
        <p:xfrm>
          <a:off x="1154250" y="4293253"/>
          <a:ext cx="1309732" cy="1327287"/>
        </p:xfrm>
        <a:graphic>
          <a:graphicData uri="http://schemas.openxmlformats.org/drawingml/2006/chart">
            <c:chart xmlns:c="http://schemas.openxmlformats.org/drawingml/2006/chart" xmlns:r="http://schemas.openxmlformats.org/officeDocument/2006/relationships" r:id="rId8"/>
          </a:graphicData>
        </a:graphic>
      </p:graphicFrame>
      <p:sp>
        <p:nvSpPr>
          <p:cNvPr id="23" name="Text Placeholder 5"/>
          <p:cNvSpPr txBox="1">
            <a:spLocks/>
          </p:cNvSpPr>
          <p:nvPr/>
        </p:nvSpPr>
        <p:spPr>
          <a:xfrm>
            <a:off x="1473375" y="4829574"/>
            <a:ext cx="671482" cy="254643"/>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1600" b="1" i="0" u="none" strike="noStrike" kern="1200" cap="none" spc="-30" normalizeH="0" baseline="0" noProof="0" dirty="0">
                <a:ln>
                  <a:noFill/>
                </a:ln>
                <a:solidFill>
                  <a:srgbClr val="000000"/>
                </a:solidFill>
                <a:effectLst/>
                <a:uLnTx/>
                <a:uFillTx/>
                <a:latin typeface="Open Sans"/>
                <a:ea typeface="Chronicle Display Black" charset="0"/>
                <a:cs typeface="Chronicle Display Black" charset="0"/>
              </a:rPr>
              <a:t>19.9%</a:t>
            </a:r>
            <a:endParaRPr kumimoji="0" lang="en-US" sz="2000" b="1" i="0" u="none" strike="noStrike" kern="1200" cap="none" spc="-30" normalizeH="0" baseline="0" noProof="0" dirty="0">
              <a:ln>
                <a:noFill/>
              </a:ln>
              <a:solidFill>
                <a:srgbClr val="000000"/>
              </a:solidFill>
              <a:effectLst/>
              <a:uLnTx/>
              <a:uFillTx/>
              <a:latin typeface="Open Sans"/>
              <a:ea typeface="Chronicle Display Black" charset="0"/>
              <a:cs typeface="Chronicle Display Black" charset="0"/>
            </a:endParaRPr>
          </a:p>
        </p:txBody>
      </p:sp>
      <p:sp>
        <p:nvSpPr>
          <p:cNvPr id="24" name="Rectangle 23"/>
          <p:cNvSpPr/>
          <p:nvPr/>
        </p:nvSpPr>
        <p:spPr>
          <a:xfrm>
            <a:off x="568832" y="5509934"/>
            <a:ext cx="2926843"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Of marketing spend </a:t>
            </a:r>
            <a:r>
              <a:rPr kumimoji="0" lang="en-US" sz="1200" b="0" i="0" u="none" strike="noStrike" kern="1200" cap="none" spc="0" normalizeH="0" baseline="0" noProof="0" dirty="0">
                <a:ln>
                  <a:noFill/>
                </a:ln>
                <a:solidFill>
                  <a:srgbClr val="000000"/>
                </a:solidFill>
                <a:effectLst/>
                <a:uLnTx/>
                <a:uFillTx/>
                <a:latin typeface="Open Sans"/>
                <a:ea typeface="+mn-ea"/>
                <a:cs typeface="+mn-cs"/>
              </a:rPr>
              <a:t>is spent on </a:t>
            </a:r>
            <a:r>
              <a:rPr kumimoji="0" lang="en-US" sz="1200" b="1" i="0" u="none" strike="noStrike" kern="1200" cap="none" spc="0" normalizeH="0" baseline="0" noProof="0" dirty="0">
                <a:ln>
                  <a:noFill/>
                </a:ln>
                <a:solidFill>
                  <a:srgbClr val="000000"/>
                </a:solidFill>
                <a:effectLst/>
                <a:uLnTx/>
                <a:uFillTx/>
                <a:latin typeface="Open Sans"/>
                <a:ea typeface="+mn-ea"/>
                <a:cs typeface="+mn-cs"/>
              </a:rPr>
              <a:t>digital media</a:t>
            </a:r>
            <a:r>
              <a:rPr kumimoji="0" lang="en-US" sz="1200" b="0" i="0" u="none" strike="noStrike" kern="1200" cap="none" spc="0" normalizeH="0" baseline="0" noProof="0" dirty="0">
                <a:ln>
                  <a:noFill/>
                </a:ln>
                <a:solidFill>
                  <a:srgbClr val="000000"/>
                </a:solidFill>
                <a:effectLst/>
                <a:uLnTx/>
                <a:uFillTx/>
                <a:latin typeface="Open Sans"/>
                <a:ea typeface="+mn-ea"/>
                <a:cs typeface="+mn-cs"/>
              </a:rPr>
              <a:t> for CPG peers</a:t>
            </a:r>
            <a:r>
              <a:rPr kumimoji="0" lang="en-US" sz="1200" b="0" i="0" u="none" strike="noStrike" kern="1200" cap="none" spc="0" normalizeH="0" baseline="30000" noProof="0" dirty="0">
                <a:ln>
                  <a:noFill/>
                </a:ln>
                <a:solidFill>
                  <a:srgbClr val="000000"/>
                </a:solidFill>
                <a:effectLst/>
                <a:uLnTx/>
                <a:uFillTx/>
                <a:latin typeface="Open Sans"/>
                <a:ea typeface="+mn-ea"/>
                <a:cs typeface="+mn-cs"/>
              </a:rPr>
              <a:t>2</a:t>
            </a:r>
            <a:r>
              <a:rPr kumimoji="0" lang="en-US" sz="1600" b="0" i="0" u="none" strike="noStrike" kern="1200" cap="none" spc="0" normalizeH="0" baseline="0" noProof="0" dirty="0">
                <a:ln>
                  <a:noFill/>
                </a:ln>
                <a:solidFill>
                  <a:srgbClr val="000000"/>
                </a:solidFill>
                <a:effectLst/>
                <a:uLnTx/>
                <a:uFillTx/>
                <a:latin typeface="Open Sans"/>
                <a:ea typeface="+mn-ea"/>
                <a:cs typeface="+mn-cs"/>
              </a:rPr>
              <a:t>  </a:t>
            </a:r>
          </a:p>
        </p:txBody>
      </p:sp>
      <p:sp>
        <p:nvSpPr>
          <p:cNvPr id="25" name="Rectangle 24"/>
          <p:cNvSpPr/>
          <p:nvPr/>
        </p:nvSpPr>
        <p:spPr>
          <a:xfrm>
            <a:off x="4891072" y="2591708"/>
            <a:ext cx="2537528"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Open Sans"/>
                <a:ea typeface="+mn-ea"/>
                <a:cs typeface="+mn-cs"/>
              </a:rPr>
              <a:t>19%</a:t>
            </a:r>
            <a:endParaRPr kumimoji="0" lang="en-US" sz="16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26" name="Rectangle 25"/>
          <p:cNvSpPr/>
          <p:nvPr/>
        </p:nvSpPr>
        <p:spPr>
          <a:xfrm>
            <a:off x="4362420" y="2990434"/>
            <a:ext cx="2926843"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Increase in digital spend </a:t>
            </a:r>
            <a:r>
              <a:rPr kumimoji="0" lang="en-US" sz="1200" b="0" i="0" u="none" strike="noStrike" kern="1200" cap="none" spc="0" normalizeH="0" baseline="0" noProof="0" dirty="0">
                <a:ln>
                  <a:noFill/>
                </a:ln>
                <a:solidFill>
                  <a:srgbClr val="000000"/>
                </a:solidFill>
                <a:effectLst/>
                <a:uLnTx/>
                <a:uFillTx/>
                <a:latin typeface="Open Sans"/>
                <a:ea typeface="+mn-ea"/>
                <a:cs typeface="+mn-cs"/>
              </a:rPr>
              <a:t>by B2C companies</a:t>
            </a:r>
            <a:r>
              <a:rPr kumimoji="0" lang="en-US" sz="1200" b="0" i="0" u="none" strike="noStrike" kern="1200" cap="none" spc="0" normalizeH="0" baseline="30000" noProof="0" dirty="0">
                <a:ln>
                  <a:noFill/>
                </a:ln>
                <a:solidFill>
                  <a:srgbClr val="000000"/>
                </a:solidFill>
                <a:effectLst/>
                <a:uLnTx/>
                <a:uFillTx/>
                <a:latin typeface="Open Sans"/>
                <a:ea typeface="+mn-ea"/>
                <a:cs typeface="+mn-cs"/>
              </a:rPr>
              <a:t>4</a:t>
            </a:r>
            <a:r>
              <a:rPr kumimoji="0" lang="en-US" sz="1200" b="0" i="0" u="none" strike="noStrike" kern="1200" cap="none" spc="0" normalizeH="0" baseline="0" noProof="0" dirty="0">
                <a:ln>
                  <a:noFill/>
                </a:ln>
                <a:solidFill>
                  <a:srgbClr val="000000"/>
                </a:solidFill>
                <a:effectLst/>
                <a:uLnTx/>
                <a:uFillTx/>
                <a:latin typeface="Open Sans"/>
                <a:ea typeface="+mn-ea"/>
                <a:cs typeface="+mn-cs"/>
              </a:rPr>
              <a:t> because…</a:t>
            </a:r>
            <a:endParaRPr kumimoji="0" lang="en-US" sz="16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27" name="Group 367"/>
          <p:cNvGrpSpPr>
            <a:grpSpLocks noChangeAspect="1"/>
          </p:cNvGrpSpPr>
          <p:nvPr/>
        </p:nvGrpSpPr>
        <p:grpSpPr bwMode="auto">
          <a:xfrm>
            <a:off x="4411184" y="2515480"/>
            <a:ext cx="508385" cy="509880"/>
            <a:chOff x="4383" y="2091"/>
            <a:chExt cx="340" cy="341"/>
          </a:xfrm>
          <a:solidFill>
            <a:schemeClr val="accent2"/>
          </a:solidFill>
        </p:grpSpPr>
        <p:sp>
          <p:nvSpPr>
            <p:cNvPr id="28" name="Freeform 27"/>
            <p:cNvSpPr>
              <a:spLocks noEditPoints="1"/>
            </p:cNvSpPr>
            <p:nvPr/>
          </p:nvSpPr>
          <p:spPr bwMode="auto">
            <a:xfrm>
              <a:off x="4445" y="2169"/>
              <a:ext cx="200" cy="170"/>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8"/>
            <p:cNvSpPr>
              <a:spLocks noEditPoints="1"/>
            </p:cNvSpPr>
            <p:nvPr/>
          </p:nvSpPr>
          <p:spPr bwMode="auto">
            <a:xfrm>
              <a:off x="4383" y="209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34" name="Rectangle 33"/>
          <p:cNvSpPr/>
          <p:nvPr/>
        </p:nvSpPr>
        <p:spPr>
          <a:xfrm>
            <a:off x="4891072" y="3796999"/>
            <a:ext cx="2537528"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Open Sans"/>
                <a:ea typeface="+mn-ea"/>
                <a:cs typeface="+mn-cs"/>
              </a:rPr>
              <a:t>63%</a:t>
            </a:r>
            <a:endParaRPr kumimoji="0" lang="en-US" sz="16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35" name="Rectangle 34"/>
          <p:cNvSpPr/>
          <p:nvPr/>
        </p:nvSpPr>
        <p:spPr>
          <a:xfrm>
            <a:off x="4362420" y="4186581"/>
            <a:ext cx="3066180"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of 19-25 yr old consumers buying decisions’ are </a:t>
            </a:r>
            <a:r>
              <a:rPr kumimoji="0" lang="en-US" sz="1200" b="1" i="0" u="none" strike="noStrike" kern="1200" cap="none" spc="0" normalizeH="0" baseline="0" noProof="0" dirty="0">
                <a:ln>
                  <a:noFill/>
                </a:ln>
                <a:solidFill>
                  <a:srgbClr val="000000"/>
                </a:solidFill>
                <a:effectLst/>
                <a:uLnTx/>
                <a:uFillTx/>
                <a:latin typeface="Open Sans"/>
                <a:ea typeface="+mn-ea"/>
                <a:cs typeface="+mn-cs"/>
              </a:rPr>
              <a:t>influenced by TV ads but that influence is rapidly declining</a:t>
            </a:r>
            <a:r>
              <a:rPr kumimoji="0" lang="en-US" sz="1200" b="0" i="0" u="none" strike="noStrike" kern="1200" cap="none" spc="0" normalizeH="0" baseline="30000" noProof="0" dirty="0">
                <a:ln>
                  <a:noFill/>
                </a:ln>
                <a:solidFill>
                  <a:srgbClr val="000000"/>
                </a:solidFill>
                <a:effectLst/>
                <a:uLnTx/>
                <a:uFillTx/>
                <a:latin typeface="Open Sans"/>
                <a:ea typeface="+mn-ea"/>
                <a:cs typeface="+mn-cs"/>
              </a:rPr>
              <a:t>3</a:t>
            </a:r>
            <a:endParaRPr kumimoji="0" lang="en-US" sz="1200" b="1"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36" name="Group 414"/>
          <p:cNvGrpSpPr>
            <a:grpSpLocks noChangeAspect="1"/>
          </p:cNvGrpSpPr>
          <p:nvPr/>
        </p:nvGrpSpPr>
        <p:grpSpPr bwMode="auto">
          <a:xfrm>
            <a:off x="4411184" y="3701434"/>
            <a:ext cx="512064" cy="513569"/>
            <a:chOff x="5060" y="1524"/>
            <a:chExt cx="340" cy="341"/>
          </a:xfrm>
          <a:solidFill>
            <a:schemeClr val="accent2"/>
          </a:solidFill>
        </p:grpSpPr>
        <p:sp>
          <p:nvSpPr>
            <p:cNvPr id="37" name="Freeform 415"/>
            <p:cNvSpPr>
              <a:spLocks noEditPoints="1"/>
            </p:cNvSpPr>
            <p:nvPr/>
          </p:nvSpPr>
          <p:spPr bwMode="auto">
            <a:xfrm>
              <a:off x="5124" y="1623"/>
              <a:ext cx="212" cy="157"/>
            </a:xfrm>
            <a:custGeom>
              <a:avLst/>
              <a:gdLst>
                <a:gd name="T0" fmla="*/ 309 w 320"/>
                <a:gd name="T1" fmla="*/ 0 h 235"/>
                <a:gd name="T2" fmla="*/ 10 w 320"/>
                <a:gd name="T3" fmla="*/ 0 h 235"/>
                <a:gd name="T4" fmla="*/ 0 w 320"/>
                <a:gd name="T5" fmla="*/ 11 h 235"/>
                <a:gd name="T6" fmla="*/ 0 w 320"/>
                <a:gd name="T7" fmla="*/ 203 h 235"/>
                <a:gd name="T8" fmla="*/ 10 w 320"/>
                <a:gd name="T9" fmla="*/ 213 h 235"/>
                <a:gd name="T10" fmla="*/ 96 w 320"/>
                <a:gd name="T11" fmla="*/ 213 h 235"/>
                <a:gd name="T12" fmla="*/ 85 w 320"/>
                <a:gd name="T13" fmla="*/ 224 h 235"/>
                <a:gd name="T14" fmla="*/ 96 w 320"/>
                <a:gd name="T15" fmla="*/ 235 h 235"/>
                <a:gd name="T16" fmla="*/ 224 w 320"/>
                <a:gd name="T17" fmla="*/ 235 h 235"/>
                <a:gd name="T18" fmla="*/ 234 w 320"/>
                <a:gd name="T19" fmla="*/ 224 h 235"/>
                <a:gd name="T20" fmla="*/ 224 w 320"/>
                <a:gd name="T21" fmla="*/ 213 h 235"/>
                <a:gd name="T22" fmla="*/ 309 w 320"/>
                <a:gd name="T23" fmla="*/ 213 h 235"/>
                <a:gd name="T24" fmla="*/ 320 w 320"/>
                <a:gd name="T25" fmla="*/ 203 h 235"/>
                <a:gd name="T26" fmla="*/ 320 w 320"/>
                <a:gd name="T27" fmla="*/ 11 h 235"/>
                <a:gd name="T28" fmla="*/ 309 w 320"/>
                <a:gd name="T29" fmla="*/ 0 h 235"/>
                <a:gd name="T30" fmla="*/ 298 w 320"/>
                <a:gd name="T31" fmla="*/ 192 h 235"/>
                <a:gd name="T32" fmla="*/ 21 w 320"/>
                <a:gd name="T33" fmla="*/ 192 h 235"/>
                <a:gd name="T34" fmla="*/ 21 w 320"/>
                <a:gd name="T35" fmla="*/ 21 h 235"/>
                <a:gd name="T36" fmla="*/ 298 w 320"/>
                <a:gd name="T37" fmla="*/ 21 h 235"/>
                <a:gd name="T38" fmla="*/ 298 w 320"/>
                <a:gd name="T39" fmla="*/ 19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235">
                  <a:moveTo>
                    <a:pt x="309" y="0"/>
                  </a:moveTo>
                  <a:cubicBezTo>
                    <a:pt x="10" y="0"/>
                    <a:pt x="10" y="0"/>
                    <a:pt x="10" y="0"/>
                  </a:cubicBezTo>
                  <a:cubicBezTo>
                    <a:pt x="4" y="0"/>
                    <a:pt x="0" y="5"/>
                    <a:pt x="0" y="11"/>
                  </a:cubicBezTo>
                  <a:cubicBezTo>
                    <a:pt x="0" y="203"/>
                    <a:pt x="0" y="203"/>
                    <a:pt x="0" y="203"/>
                  </a:cubicBezTo>
                  <a:cubicBezTo>
                    <a:pt x="0" y="209"/>
                    <a:pt x="4" y="213"/>
                    <a:pt x="10" y="213"/>
                  </a:cubicBezTo>
                  <a:cubicBezTo>
                    <a:pt x="96" y="213"/>
                    <a:pt x="96" y="213"/>
                    <a:pt x="96" y="213"/>
                  </a:cubicBezTo>
                  <a:cubicBezTo>
                    <a:pt x="90" y="213"/>
                    <a:pt x="85" y="218"/>
                    <a:pt x="85" y="224"/>
                  </a:cubicBezTo>
                  <a:cubicBezTo>
                    <a:pt x="85" y="230"/>
                    <a:pt x="90" y="235"/>
                    <a:pt x="96" y="235"/>
                  </a:cubicBezTo>
                  <a:cubicBezTo>
                    <a:pt x="224" y="235"/>
                    <a:pt x="224" y="235"/>
                    <a:pt x="224" y="235"/>
                  </a:cubicBezTo>
                  <a:cubicBezTo>
                    <a:pt x="230" y="235"/>
                    <a:pt x="234" y="230"/>
                    <a:pt x="234" y="224"/>
                  </a:cubicBezTo>
                  <a:cubicBezTo>
                    <a:pt x="234" y="218"/>
                    <a:pt x="230" y="213"/>
                    <a:pt x="224" y="213"/>
                  </a:cubicBezTo>
                  <a:cubicBezTo>
                    <a:pt x="309" y="213"/>
                    <a:pt x="309" y="213"/>
                    <a:pt x="309" y="213"/>
                  </a:cubicBezTo>
                  <a:cubicBezTo>
                    <a:pt x="315" y="213"/>
                    <a:pt x="320" y="209"/>
                    <a:pt x="320" y="203"/>
                  </a:cubicBezTo>
                  <a:cubicBezTo>
                    <a:pt x="320" y="11"/>
                    <a:pt x="320" y="11"/>
                    <a:pt x="320" y="11"/>
                  </a:cubicBezTo>
                  <a:cubicBezTo>
                    <a:pt x="320" y="5"/>
                    <a:pt x="315" y="0"/>
                    <a:pt x="309" y="0"/>
                  </a:cubicBezTo>
                  <a:close/>
                  <a:moveTo>
                    <a:pt x="298" y="192"/>
                  </a:moveTo>
                  <a:cubicBezTo>
                    <a:pt x="21" y="192"/>
                    <a:pt x="21" y="192"/>
                    <a:pt x="21" y="192"/>
                  </a:cubicBezTo>
                  <a:cubicBezTo>
                    <a:pt x="21" y="21"/>
                    <a:pt x="21" y="21"/>
                    <a:pt x="21" y="21"/>
                  </a:cubicBezTo>
                  <a:cubicBezTo>
                    <a:pt x="298" y="21"/>
                    <a:pt x="298" y="21"/>
                    <a:pt x="298" y="21"/>
                  </a:cubicBezTo>
                  <a:lnTo>
                    <a:pt x="298"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416"/>
            <p:cNvSpPr>
              <a:spLocks noEditPoints="1"/>
            </p:cNvSpPr>
            <p:nvPr/>
          </p:nvSpPr>
          <p:spPr bwMode="auto">
            <a:xfrm>
              <a:off x="5060" y="1524"/>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39" name="Rectangle 38"/>
          <p:cNvSpPr/>
          <p:nvPr/>
        </p:nvSpPr>
        <p:spPr>
          <a:xfrm>
            <a:off x="4891072" y="5154103"/>
            <a:ext cx="2537528"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Open Sans"/>
                <a:ea typeface="+mn-ea"/>
                <a:cs typeface="+mn-cs"/>
              </a:rPr>
              <a:t>72%</a:t>
            </a:r>
            <a:endParaRPr kumimoji="0" lang="en-US" sz="16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40" name="Rectangle 39"/>
          <p:cNvSpPr/>
          <p:nvPr/>
        </p:nvSpPr>
        <p:spPr>
          <a:xfrm>
            <a:off x="4362420" y="5534541"/>
            <a:ext cx="3203023"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consumers have buying decisions </a:t>
            </a:r>
            <a:r>
              <a:rPr kumimoji="0" lang="en-US" sz="1200" b="1" i="0" u="none" strike="noStrike" kern="1200" cap="none" spc="0" normalizeH="0" baseline="0" noProof="0" dirty="0">
                <a:ln>
                  <a:noFill/>
                </a:ln>
                <a:solidFill>
                  <a:srgbClr val="000000"/>
                </a:solidFill>
                <a:effectLst/>
                <a:uLnTx/>
                <a:uFillTx/>
                <a:latin typeface="Open Sans"/>
                <a:ea typeface="+mn-ea"/>
                <a:cs typeface="+mn-cs"/>
              </a:rPr>
              <a:t>influenced by social media and trending upwards</a:t>
            </a:r>
            <a:r>
              <a:rPr kumimoji="0" lang="en-US" sz="1200" b="0" i="0" u="none" strike="noStrike" kern="1200" cap="none" spc="0" normalizeH="0" baseline="30000" noProof="0" dirty="0">
                <a:ln>
                  <a:noFill/>
                </a:ln>
                <a:solidFill>
                  <a:srgbClr val="000000"/>
                </a:solidFill>
                <a:effectLst/>
                <a:uLnTx/>
                <a:uFillTx/>
                <a:latin typeface="Open Sans"/>
                <a:ea typeface="+mn-ea"/>
                <a:cs typeface="+mn-cs"/>
              </a:rPr>
              <a:t>3</a:t>
            </a:r>
            <a:endParaRPr kumimoji="0" lang="en-US" sz="1600" b="1"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41" name="Group 578"/>
          <p:cNvGrpSpPr>
            <a:grpSpLocks noChangeAspect="1"/>
          </p:cNvGrpSpPr>
          <p:nvPr/>
        </p:nvGrpSpPr>
        <p:grpSpPr bwMode="auto">
          <a:xfrm>
            <a:off x="4411184" y="5082247"/>
            <a:ext cx="512064" cy="512064"/>
            <a:chOff x="1932" y="2478"/>
            <a:chExt cx="340" cy="340"/>
          </a:xfrm>
          <a:solidFill>
            <a:schemeClr val="accent2"/>
          </a:solidFill>
        </p:grpSpPr>
        <p:sp>
          <p:nvSpPr>
            <p:cNvPr id="42" name="Freeform 579"/>
            <p:cNvSpPr>
              <a:spLocks noEditPoints="1"/>
            </p:cNvSpPr>
            <p:nvPr/>
          </p:nvSpPr>
          <p:spPr bwMode="auto">
            <a:xfrm>
              <a:off x="1996" y="2548"/>
              <a:ext cx="202" cy="185"/>
            </a:xfrm>
            <a:custGeom>
              <a:avLst/>
              <a:gdLst>
                <a:gd name="T0" fmla="*/ 298 w 304"/>
                <a:gd name="T1" fmla="*/ 160 h 278"/>
                <a:gd name="T2" fmla="*/ 234 w 304"/>
                <a:gd name="T3" fmla="*/ 96 h 278"/>
                <a:gd name="T4" fmla="*/ 196 w 304"/>
                <a:gd name="T5" fmla="*/ 96 h 278"/>
                <a:gd name="T6" fmla="*/ 213 w 304"/>
                <a:gd name="T7" fmla="*/ 46 h 278"/>
                <a:gd name="T8" fmla="*/ 199 w 304"/>
                <a:gd name="T9" fmla="*/ 3 h 278"/>
                <a:gd name="T10" fmla="*/ 191 w 304"/>
                <a:gd name="T11" fmla="*/ 0 h 278"/>
                <a:gd name="T12" fmla="*/ 184 w 304"/>
                <a:gd name="T13" fmla="*/ 4 h 278"/>
                <a:gd name="T14" fmla="*/ 89 w 304"/>
                <a:gd name="T15" fmla="*/ 112 h 278"/>
                <a:gd name="T16" fmla="*/ 88 w 304"/>
                <a:gd name="T17" fmla="*/ 114 h 278"/>
                <a:gd name="T18" fmla="*/ 79 w 304"/>
                <a:gd name="T19" fmla="*/ 128 h 278"/>
                <a:gd name="T20" fmla="*/ 10 w 304"/>
                <a:gd name="T21" fmla="*/ 128 h 278"/>
                <a:gd name="T22" fmla="*/ 0 w 304"/>
                <a:gd name="T23" fmla="*/ 139 h 278"/>
                <a:gd name="T24" fmla="*/ 0 w 304"/>
                <a:gd name="T25" fmla="*/ 256 h 278"/>
                <a:gd name="T26" fmla="*/ 10 w 304"/>
                <a:gd name="T27" fmla="*/ 267 h 278"/>
                <a:gd name="T28" fmla="*/ 95 w 304"/>
                <a:gd name="T29" fmla="*/ 267 h 278"/>
                <a:gd name="T30" fmla="*/ 128 w 304"/>
                <a:gd name="T31" fmla="*/ 278 h 278"/>
                <a:gd name="T32" fmla="*/ 224 w 304"/>
                <a:gd name="T33" fmla="*/ 278 h 278"/>
                <a:gd name="T34" fmla="*/ 274 w 304"/>
                <a:gd name="T35" fmla="*/ 256 h 278"/>
                <a:gd name="T36" fmla="*/ 298 w 304"/>
                <a:gd name="T37" fmla="*/ 160 h 278"/>
                <a:gd name="T38" fmla="*/ 21 w 304"/>
                <a:gd name="T39" fmla="*/ 150 h 278"/>
                <a:gd name="T40" fmla="*/ 74 w 304"/>
                <a:gd name="T41" fmla="*/ 150 h 278"/>
                <a:gd name="T42" fmla="*/ 74 w 304"/>
                <a:gd name="T43" fmla="*/ 150 h 278"/>
                <a:gd name="T44" fmla="*/ 74 w 304"/>
                <a:gd name="T45" fmla="*/ 224 h 278"/>
                <a:gd name="T46" fmla="*/ 78 w 304"/>
                <a:gd name="T47" fmla="*/ 246 h 278"/>
                <a:gd name="T48" fmla="*/ 21 w 304"/>
                <a:gd name="T49" fmla="*/ 246 h 278"/>
                <a:gd name="T50" fmla="*/ 21 w 304"/>
                <a:gd name="T51" fmla="*/ 150 h 278"/>
                <a:gd name="T52" fmla="*/ 258 w 304"/>
                <a:gd name="T53" fmla="*/ 242 h 278"/>
                <a:gd name="T54" fmla="*/ 224 w 304"/>
                <a:gd name="T55" fmla="*/ 256 h 278"/>
                <a:gd name="T56" fmla="*/ 128 w 304"/>
                <a:gd name="T57" fmla="*/ 256 h 278"/>
                <a:gd name="T58" fmla="*/ 96 w 304"/>
                <a:gd name="T59" fmla="*/ 224 h 278"/>
                <a:gd name="T60" fmla="*/ 96 w 304"/>
                <a:gd name="T61" fmla="*/ 150 h 278"/>
                <a:gd name="T62" fmla="*/ 104 w 304"/>
                <a:gd name="T63" fmla="*/ 127 h 278"/>
                <a:gd name="T64" fmla="*/ 105 w 304"/>
                <a:gd name="T65" fmla="*/ 127 h 278"/>
                <a:gd name="T66" fmla="*/ 191 w 304"/>
                <a:gd name="T67" fmla="*/ 28 h 278"/>
                <a:gd name="T68" fmla="*/ 192 w 304"/>
                <a:gd name="T69" fmla="*/ 40 h 278"/>
                <a:gd name="T70" fmla="*/ 171 w 304"/>
                <a:gd name="T71" fmla="*/ 104 h 278"/>
                <a:gd name="T72" fmla="*/ 171 w 304"/>
                <a:gd name="T73" fmla="*/ 104 h 278"/>
                <a:gd name="T74" fmla="*/ 170 w 304"/>
                <a:gd name="T75" fmla="*/ 107 h 278"/>
                <a:gd name="T76" fmla="*/ 181 w 304"/>
                <a:gd name="T77" fmla="*/ 118 h 278"/>
                <a:gd name="T78" fmla="*/ 234 w 304"/>
                <a:gd name="T79" fmla="*/ 118 h 278"/>
                <a:gd name="T80" fmla="*/ 277 w 304"/>
                <a:gd name="T81" fmla="*/ 161 h 278"/>
                <a:gd name="T82" fmla="*/ 258 w 304"/>
                <a:gd name="T83" fmla="*/ 24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 h="278">
                  <a:moveTo>
                    <a:pt x="298" y="160"/>
                  </a:moveTo>
                  <a:cubicBezTo>
                    <a:pt x="298" y="129"/>
                    <a:pt x="265" y="96"/>
                    <a:pt x="234" y="96"/>
                  </a:cubicBezTo>
                  <a:cubicBezTo>
                    <a:pt x="196" y="96"/>
                    <a:pt x="196" y="96"/>
                    <a:pt x="196" y="96"/>
                  </a:cubicBezTo>
                  <a:cubicBezTo>
                    <a:pt x="213" y="46"/>
                    <a:pt x="213" y="46"/>
                    <a:pt x="213" y="46"/>
                  </a:cubicBezTo>
                  <a:cubicBezTo>
                    <a:pt x="219" y="23"/>
                    <a:pt x="200" y="4"/>
                    <a:pt x="199" y="3"/>
                  </a:cubicBezTo>
                  <a:cubicBezTo>
                    <a:pt x="197" y="1"/>
                    <a:pt x="194" y="0"/>
                    <a:pt x="191" y="0"/>
                  </a:cubicBezTo>
                  <a:cubicBezTo>
                    <a:pt x="188" y="0"/>
                    <a:pt x="186" y="2"/>
                    <a:pt x="184" y="4"/>
                  </a:cubicBezTo>
                  <a:cubicBezTo>
                    <a:pt x="89" y="112"/>
                    <a:pt x="89" y="112"/>
                    <a:pt x="89" y="112"/>
                  </a:cubicBezTo>
                  <a:cubicBezTo>
                    <a:pt x="89" y="112"/>
                    <a:pt x="89" y="112"/>
                    <a:pt x="88" y="114"/>
                  </a:cubicBezTo>
                  <a:cubicBezTo>
                    <a:pt x="84" y="118"/>
                    <a:pt x="81" y="123"/>
                    <a:pt x="79" y="128"/>
                  </a:cubicBezTo>
                  <a:cubicBezTo>
                    <a:pt x="10" y="128"/>
                    <a:pt x="10" y="128"/>
                    <a:pt x="10" y="128"/>
                  </a:cubicBezTo>
                  <a:cubicBezTo>
                    <a:pt x="4" y="128"/>
                    <a:pt x="0" y="133"/>
                    <a:pt x="0" y="139"/>
                  </a:cubicBezTo>
                  <a:cubicBezTo>
                    <a:pt x="0" y="256"/>
                    <a:pt x="0" y="256"/>
                    <a:pt x="0" y="256"/>
                  </a:cubicBezTo>
                  <a:cubicBezTo>
                    <a:pt x="0" y="262"/>
                    <a:pt x="4" y="267"/>
                    <a:pt x="10" y="267"/>
                  </a:cubicBezTo>
                  <a:cubicBezTo>
                    <a:pt x="95" y="267"/>
                    <a:pt x="95" y="267"/>
                    <a:pt x="95" y="267"/>
                  </a:cubicBezTo>
                  <a:cubicBezTo>
                    <a:pt x="104" y="274"/>
                    <a:pt x="115" y="278"/>
                    <a:pt x="128" y="278"/>
                  </a:cubicBezTo>
                  <a:cubicBezTo>
                    <a:pt x="224" y="278"/>
                    <a:pt x="224" y="278"/>
                    <a:pt x="224" y="278"/>
                  </a:cubicBezTo>
                  <a:cubicBezTo>
                    <a:pt x="244" y="278"/>
                    <a:pt x="261" y="271"/>
                    <a:pt x="274" y="256"/>
                  </a:cubicBezTo>
                  <a:cubicBezTo>
                    <a:pt x="304" y="223"/>
                    <a:pt x="299" y="162"/>
                    <a:pt x="298" y="160"/>
                  </a:cubicBezTo>
                  <a:close/>
                  <a:moveTo>
                    <a:pt x="21" y="150"/>
                  </a:moveTo>
                  <a:cubicBezTo>
                    <a:pt x="74" y="150"/>
                    <a:pt x="74" y="150"/>
                    <a:pt x="74" y="150"/>
                  </a:cubicBezTo>
                  <a:cubicBezTo>
                    <a:pt x="74" y="150"/>
                    <a:pt x="74" y="150"/>
                    <a:pt x="74" y="150"/>
                  </a:cubicBezTo>
                  <a:cubicBezTo>
                    <a:pt x="74" y="224"/>
                    <a:pt x="74" y="224"/>
                    <a:pt x="74" y="224"/>
                  </a:cubicBezTo>
                  <a:cubicBezTo>
                    <a:pt x="74" y="232"/>
                    <a:pt x="76" y="239"/>
                    <a:pt x="78" y="246"/>
                  </a:cubicBezTo>
                  <a:cubicBezTo>
                    <a:pt x="21" y="246"/>
                    <a:pt x="21" y="246"/>
                    <a:pt x="21" y="246"/>
                  </a:cubicBezTo>
                  <a:lnTo>
                    <a:pt x="21" y="150"/>
                  </a:lnTo>
                  <a:close/>
                  <a:moveTo>
                    <a:pt x="258" y="242"/>
                  </a:moveTo>
                  <a:cubicBezTo>
                    <a:pt x="250" y="252"/>
                    <a:pt x="238" y="256"/>
                    <a:pt x="224" y="256"/>
                  </a:cubicBezTo>
                  <a:cubicBezTo>
                    <a:pt x="128" y="256"/>
                    <a:pt x="128" y="256"/>
                    <a:pt x="128" y="256"/>
                  </a:cubicBezTo>
                  <a:cubicBezTo>
                    <a:pt x="109" y="256"/>
                    <a:pt x="96" y="243"/>
                    <a:pt x="96" y="224"/>
                  </a:cubicBezTo>
                  <a:cubicBezTo>
                    <a:pt x="96" y="150"/>
                    <a:pt x="96" y="150"/>
                    <a:pt x="96" y="150"/>
                  </a:cubicBezTo>
                  <a:cubicBezTo>
                    <a:pt x="96" y="142"/>
                    <a:pt x="99" y="134"/>
                    <a:pt x="104" y="127"/>
                  </a:cubicBezTo>
                  <a:cubicBezTo>
                    <a:pt x="105" y="127"/>
                    <a:pt x="105" y="127"/>
                    <a:pt x="105" y="127"/>
                  </a:cubicBezTo>
                  <a:cubicBezTo>
                    <a:pt x="191" y="28"/>
                    <a:pt x="191" y="28"/>
                    <a:pt x="191" y="28"/>
                  </a:cubicBezTo>
                  <a:cubicBezTo>
                    <a:pt x="192" y="32"/>
                    <a:pt x="193" y="36"/>
                    <a:pt x="192" y="40"/>
                  </a:cubicBezTo>
                  <a:cubicBezTo>
                    <a:pt x="171" y="104"/>
                    <a:pt x="171" y="104"/>
                    <a:pt x="171" y="104"/>
                  </a:cubicBezTo>
                  <a:cubicBezTo>
                    <a:pt x="171" y="104"/>
                    <a:pt x="171" y="104"/>
                    <a:pt x="171" y="104"/>
                  </a:cubicBezTo>
                  <a:cubicBezTo>
                    <a:pt x="171" y="105"/>
                    <a:pt x="170" y="106"/>
                    <a:pt x="170" y="107"/>
                  </a:cubicBezTo>
                  <a:cubicBezTo>
                    <a:pt x="170" y="113"/>
                    <a:pt x="175" y="118"/>
                    <a:pt x="181" y="118"/>
                  </a:cubicBezTo>
                  <a:cubicBezTo>
                    <a:pt x="234" y="118"/>
                    <a:pt x="234" y="118"/>
                    <a:pt x="234" y="118"/>
                  </a:cubicBezTo>
                  <a:cubicBezTo>
                    <a:pt x="253" y="118"/>
                    <a:pt x="277" y="141"/>
                    <a:pt x="277" y="161"/>
                  </a:cubicBezTo>
                  <a:cubicBezTo>
                    <a:pt x="277" y="162"/>
                    <a:pt x="282" y="216"/>
                    <a:pt x="258" y="2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580"/>
            <p:cNvSpPr>
              <a:spLocks noEditPoints="1"/>
            </p:cNvSpPr>
            <p:nvPr/>
          </p:nvSpPr>
          <p:spPr bwMode="auto">
            <a:xfrm>
              <a:off x="1932" y="247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grpSp>
      <p:graphicFrame>
        <p:nvGraphicFramePr>
          <p:cNvPr id="44" name="Chart 43"/>
          <p:cNvGraphicFramePr/>
          <p:nvPr/>
        </p:nvGraphicFramePr>
        <p:xfrm>
          <a:off x="8026312" y="2573833"/>
          <a:ext cx="3675581" cy="2481934"/>
        </p:xfrm>
        <a:graphic>
          <a:graphicData uri="http://schemas.openxmlformats.org/drawingml/2006/chart">
            <c:chart xmlns:c="http://schemas.openxmlformats.org/drawingml/2006/chart" xmlns:r="http://schemas.openxmlformats.org/officeDocument/2006/relationships" r:id="rId9"/>
          </a:graphicData>
        </a:graphic>
      </p:graphicFrame>
      <p:sp>
        <p:nvSpPr>
          <p:cNvPr id="45" name="Rectangle 44"/>
          <p:cNvSpPr/>
          <p:nvPr/>
        </p:nvSpPr>
        <p:spPr>
          <a:xfrm>
            <a:off x="8245127" y="2387727"/>
            <a:ext cx="2926843"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Non-working spend by channel</a:t>
            </a:r>
            <a:r>
              <a:rPr kumimoji="0" lang="en-US" sz="1200" b="0" i="0" u="none" strike="noStrike" kern="1200" cap="none" spc="0" normalizeH="0" baseline="30000" noProof="0" dirty="0">
                <a:ln>
                  <a:noFill/>
                </a:ln>
                <a:solidFill>
                  <a:srgbClr val="000000"/>
                </a:solidFill>
                <a:effectLst/>
                <a:uLnTx/>
                <a:uFillTx/>
                <a:latin typeface="Open Sans"/>
                <a:ea typeface="+mn-ea"/>
                <a:cs typeface="+mn-cs"/>
              </a:rPr>
              <a:t>5</a:t>
            </a:r>
            <a:endParaRPr kumimoji="0" lang="en-US" sz="16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6" name="Rectangle 45"/>
          <p:cNvSpPr/>
          <p:nvPr/>
        </p:nvSpPr>
        <p:spPr>
          <a:xfrm>
            <a:off x="8413862" y="2711372"/>
            <a:ext cx="602004"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12%</a:t>
            </a:r>
            <a:endParaRPr kumimoji="0" lang="en-US" sz="1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7" name="Rectangle 46"/>
          <p:cNvSpPr/>
          <p:nvPr/>
        </p:nvSpPr>
        <p:spPr>
          <a:xfrm>
            <a:off x="9460404" y="2711372"/>
            <a:ext cx="787545"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15-20%</a:t>
            </a:r>
            <a:endParaRPr kumimoji="0" lang="en-US" sz="1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8" name="Rectangle 47"/>
          <p:cNvSpPr/>
          <p:nvPr/>
        </p:nvSpPr>
        <p:spPr>
          <a:xfrm>
            <a:off x="10581148" y="2711372"/>
            <a:ext cx="787545"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55-60%</a:t>
            </a:r>
            <a:endParaRPr kumimoji="0" lang="en-US" sz="1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9" name="Rectangular Callout 48"/>
          <p:cNvSpPr/>
          <p:nvPr/>
        </p:nvSpPr>
        <p:spPr>
          <a:xfrm>
            <a:off x="10100244" y="5072499"/>
            <a:ext cx="1751011" cy="1466787"/>
          </a:xfrm>
          <a:prstGeom prst="wedgeRectCallout">
            <a:avLst>
              <a:gd name="adj1" fmla="val 5746"/>
              <a:gd name="adj2" fmla="val -82502"/>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95000"/>
                    <a:lumOff val="5000"/>
                  </a:srgbClr>
                </a:solidFill>
                <a:effectLst/>
                <a:uLnTx/>
                <a:uFillTx/>
                <a:latin typeface="Open Sans"/>
                <a:ea typeface="+mn-ea"/>
                <a:cs typeface="+mn-cs"/>
              </a:rPr>
              <a:t>Shifting spend to digital results in increased non-working spend </a:t>
            </a:r>
            <a:r>
              <a:rPr kumimoji="0" lang="en-US" sz="1100" b="0" i="0" u="none" strike="noStrike" kern="1200" cap="none" spc="0" normalizeH="0" baseline="0" noProof="0" dirty="0">
                <a:ln>
                  <a:noFill/>
                </a:ln>
                <a:solidFill>
                  <a:srgbClr val="000000">
                    <a:lumMod val="95000"/>
                    <a:lumOff val="5000"/>
                  </a:srgbClr>
                </a:solidFill>
                <a:effectLst/>
                <a:uLnTx/>
                <a:uFillTx/>
                <a:latin typeface="Open Sans"/>
                <a:ea typeface="+mn-ea"/>
                <a:cs typeface="+mn-cs"/>
              </a:rPr>
              <a:t>driven in large by the need to support digital efforts with content, curation, and technology</a:t>
            </a:r>
          </a:p>
        </p:txBody>
      </p:sp>
      <p:sp>
        <p:nvSpPr>
          <p:cNvPr id="51" name="Rectangular Callout 50"/>
          <p:cNvSpPr/>
          <p:nvPr/>
        </p:nvSpPr>
        <p:spPr>
          <a:xfrm>
            <a:off x="8253169" y="5102413"/>
            <a:ext cx="1751011" cy="1021317"/>
          </a:xfrm>
          <a:prstGeom prst="wedgeRectCallout">
            <a:avLst>
              <a:gd name="adj1" fmla="val 42301"/>
              <a:gd name="adj2" fmla="val -98279"/>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95000"/>
                    <a:lumOff val="5000"/>
                  </a:srgbClr>
                </a:solidFill>
                <a:effectLst/>
                <a:uLnTx/>
                <a:uFillTx/>
                <a:latin typeface="Open Sans"/>
                <a:ea typeface="+mn-ea"/>
                <a:cs typeface="+mn-cs"/>
              </a:rPr>
              <a:t>89% </a:t>
            </a:r>
            <a:r>
              <a:rPr kumimoji="0" lang="en-US" sz="1100" b="0" i="0" u="none" strike="noStrike" kern="1200" cap="none" spc="0" normalizeH="0" baseline="0" noProof="0" dirty="0">
                <a:ln>
                  <a:noFill/>
                </a:ln>
                <a:solidFill>
                  <a:srgbClr val="000000">
                    <a:lumMod val="95000"/>
                    <a:lumOff val="5000"/>
                  </a:srgbClr>
                </a:solidFill>
                <a:effectLst/>
                <a:uLnTx/>
                <a:uFillTx/>
                <a:latin typeface="Open Sans"/>
                <a:ea typeface="+mn-ea"/>
                <a:cs typeface="+mn-cs"/>
              </a:rPr>
              <a:t>of CPG marketing professionals surveyed </a:t>
            </a:r>
            <a:r>
              <a:rPr kumimoji="0" lang="en-US" sz="1100" b="1" i="0" u="none" strike="noStrike" kern="1200" cap="none" spc="0" normalizeH="0" baseline="0" noProof="0" dirty="0">
                <a:ln>
                  <a:noFill/>
                </a:ln>
                <a:solidFill>
                  <a:srgbClr val="000000">
                    <a:lumMod val="95000"/>
                    <a:lumOff val="5000"/>
                  </a:srgbClr>
                </a:solidFill>
                <a:effectLst/>
                <a:uLnTx/>
                <a:uFillTx/>
                <a:latin typeface="Open Sans"/>
                <a:ea typeface="+mn-ea"/>
                <a:cs typeface="+mn-cs"/>
              </a:rPr>
              <a:t>agree that non-working spend will continue to increase</a:t>
            </a:r>
            <a:r>
              <a:rPr kumimoji="0" lang="en-US" sz="1100" b="0" i="0" u="none" strike="noStrike" kern="1200" cap="none" spc="0" normalizeH="0" baseline="30000" noProof="0" dirty="0">
                <a:ln>
                  <a:noFill/>
                </a:ln>
                <a:solidFill>
                  <a:srgbClr val="000000">
                    <a:lumMod val="95000"/>
                    <a:lumOff val="5000"/>
                  </a:srgbClr>
                </a:solidFill>
                <a:effectLst/>
                <a:uLnTx/>
                <a:uFillTx/>
                <a:latin typeface="Open Sans"/>
                <a:ea typeface="+mn-ea"/>
                <a:cs typeface="+mn-cs"/>
              </a:rPr>
              <a:t>1</a:t>
            </a:r>
            <a:endParaRPr kumimoji="0" lang="en-US" sz="1100" b="0" i="0" u="none" strike="noStrike" kern="1200" cap="none" spc="0" normalizeH="0" baseline="0" noProof="0" dirty="0">
              <a:ln>
                <a:noFill/>
              </a:ln>
              <a:solidFill>
                <a:srgbClr val="000000">
                  <a:lumMod val="95000"/>
                  <a:lumOff val="5000"/>
                </a:srgbClr>
              </a:solidFill>
              <a:effectLst/>
              <a:uLnTx/>
              <a:uFillTx/>
              <a:latin typeface="Open Sans"/>
              <a:ea typeface="+mn-ea"/>
              <a:cs typeface="+mn-cs"/>
            </a:endParaRPr>
          </a:p>
        </p:txBody>
      </p:sp>
    </p:spTree>
    <p:extLst>
      <p:ext uri="{BB962C8B-B14F-4D97-AF65-F5344CB8AC3E}">
        <p14:creationId xmlns:p14="http://schemas.microsoft.com/office/powerpoint/2010/main" val="24627921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D376C50F-3A75-46D5-B571-36E94F39070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8" name="think-cell Slide" r:id="rId5" imgW="395" imgH="396" progId="TCLayout.ActiveDocument.1">
                  <p:embed/>
                </p:oleObj>
              </mc:Choice>
              <mc:Fallback>
                <p:oleObj name="think-cell Slide" r:id="rId5" imgW="395" imgH="396" progId="TCLayout.ActiveDocument.1">
                  <p:embed/>
                  <p:pic>
                    <p:nvPicPr>
                      <p:cNvPr id="30" name="Object 29" hidden="1">
                        <a:extLst>
                          <a:ext uri="{FF2B5EF4-FFF2-40B4-BE49-F238E27FC236}">
                            <a16:creationId xmlns:a16="http://schemas.microsoft.com/office/drawing/2014/main" id="{D376C50F-3A75-46D5-B571-36E94F3907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90228F-83AF-4773-B936-9766B7C8AA19}"/>
              </a:ext>
            </a:extLst>
          </p:cNvPr>
          <p:cNvSpPr>
            <a:spLocks noGrp="1"/>
          </p:cNvSpPr>
          <p:nvPr>
            <p:ph type="title"/>
          </p:nvPr>
        </p:nvSpPr>
        <p:spPr/>
        <p:txBody>
          <a:bodyPr/>
          <a:lstStyle/>
          <a:p>
            <a:r>
              <a:rPr lang="en-US" dirty="0"/>
              <a:t>Agenda</a:t>
            </a:r>
          </a:p>
        </p:txBody>
      </p:sp>
      <p:sp>
        <p:nvSpPr>
          <p:cNvPr id="3" name="Text Placeholder 2">
            <a:extLst>
              <a:ext uri="{FF2B5EF4-FFF2-40B4-BE49-F238E27FC236}">
                <a16:creationId xmlns:a16="http://schemas.microsoft.com/office/drawing/2014/main" id="{B6737F45-DCF2-43A4-ABAE-1F3F66415319}"/>
              </a:ext>
            </a:extLst>
          </p:cNvPr>
          <p:cNvSpPr>
            <a:spLocks noGrp="1"/>
          </p:cNvSpPr>
          <p:nvPr>
            <p:ph type="body" sz="quarter" idx="15"/>
          </p:nvPr>
        </p:nvSpPr>
        <p:spPr/>
        <p:txBody>
          <a:bodyPr/>
          <a:lstStyle/>
          <a:p>
            <a:r>
              <a:rPr lang="en-US" dirty="0"/>
              <a:t>Agenda &amp; Table of Contents</a:t>
            </a:r>
          </a:p>
          <a:p>
            <a:endParaRPr lang="en-US" dirty="0"/>
          </a:p>
        </p:txBody>
      </p:sp>
      <p:grpSp>
        <p:nvGrpSpPr>
          <p:cNvPr id="5" name="Group 4">
            <a:extLst>
              <a:ext uri="{FF2B5EF4-FFF2-40B4-BE49-F238E27FC236}">
                <a16:creationId xmlns:a16="http://schemas.microsoft.com/office/drawing/2014/main" id="{5635B01F-59B1-4B0F-B6CE-465A8CC55542}"/>
              </a:ext>
            </a:extLst>
          </p:cNvPr>
          <p:cNvGrpSpPr/>
          <p:nvPr/>
        </p:nvGrpSpPr>
        <p:grpSpPr>
          <a:xfrm>
            <a:off x="911238" y="3471842"/>
            <a:ext cx="4991722" cy="652270"/>
            <a:chOff x="911238" y="3541016"/>
            <a:chExt cx="4991722" cy="652270"/>
          </a:xfrm>
        </p:grpSpPr>
        <p:cxnSp>
          <p:nvCxnSpPr>
            <p:cNvPr id="6" name="Straight Connector 5">
              <a:extLst>
                <a:ext uri="{FF2B5EF4-FFF2-40B4-BE49-F238E27FC236}">
                  <a16:creationId xmlns:a16="http://schemas.microsoft.com/office/drawing/2014/main" id="{95F1F253-22D0-44A8-B872-3F918A73BB80}"/>
                </a:ext>
              </a:extLst>
            </p:cNvPr>
            <p:cNvCxnSpPr>
              <a:cxnSpLocks/>
            </p:cNvCxnSpPr>
            <p:nvPr/>
          </p:nvCxnSpPr>
          <p:spPr>
            <a:xfrm>
              <a:off x="1581779" y="3925098"/>
              <a:ext cx="1009021" cy="0"/>
            </a:xfrm>
            <a:prstGeom prst="line">
              <a:avLst/>
            </a:prstGeom>
            <a:noFill/>
            <a:ln w="76200" cap="flat" cmpd="sng" algn="ctr">
              <a:solidFill>
                <a:srgbClr val="34F0FF"/>
              </a:solidFill>
              <a:prstDash val="solid"/>
              <a:miter lim="800000"/>
            </a:ln>
            <a:effectLst/>
          </p:spPr>
        </p:cxnSp>
        <p:sp>
          <p:nvSpPr>
            <p:cNvPr id="7" name="TextBox 6">
              <a:extLst>
                <a:ext uri="{FF2B5EF4-FFF2-40B4-BE49-F238E27FC236}">
                  <a16:creationId xmlns:a16="http://schemas.microsoft.com/office/drawing/2014/main" id="{92F6ECB2-3637-42A4-BAC3-C4D3285832E3}"/>
                </a:ext>
              </a:extLst>
            </p:cNvPr>
            <p:cNvSpPr txBox="1"/>
            <p:nvPr/>
          </p:nvSpPr>
          <p:spPr>
            <a:xfrm>
              <a:off x="911238" y="3541016"/>
              <a:ext cx="368101" cy="461665"/>
            </a:xfrm>
            <a:prstGeom prst="rect">
              <a:avLst/>
            </a:prstGeom>
            <a:noFill/>
          </p:spPr>
          <p:txBody>
            <a:bodyPr wrap="none"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ea typeface="Chronicle Display Black" charset="0"/>
                  <a:cs typeface="Chronicle Display Black" charset="0"/>
                </a:rPr>
                <a:t>3.</a:t>
              </a:r>
            </a:p>
          </p:txBody>
        </p:sp>
        <p:sp>
          <p:nvSpPr>
            <p:cNvPr id="8" name="TextBox 7">
              <a:extLst>
                <a:ext uri="{FF2B5EF4-FFF2-40B4-BE49-F238E27FC236}">
                  <a16:creationId xmlns:a16="http://schemas.microsoft.com/office/drawing/2014/main" id="{2BF0E89D-1A83-40F3-B63D-F1AAF5E75C30}"/>
                </a:ext>
              </a:extLst>
            </p:cNvPr>
            <p:cNvSpPr txBox="1"/>
            <p:nvPr/>
          </p:nvSpPr>
          <p:spPr>
            <a:xfrm>
              <a:off x="1472414" y="3602822"/>
              <a:ext cx="4430546" cy="590464"/>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50" normalizeH="0" baseline="0" noProof="0" dirty="0">
                  <a:ln>
                    <a:noFill/>
                  </a:ln>
                  <a:solidFill>
                    <a:srgbClr val="000000"/>
                  </a:solidFill>
                  <a:effectLst/>
                  <a:uLnTx/>
                  <a:uFillTx/>
                  <a:ea typeface="+mn-ea"/>
                  <a:cs typeface="Open Sans"/>
                </a:rPr>
                <a:t>Support during Onboarding</a:t>
              </a:r>
            </a:p>
          </p:txBody>
        </p:sp>
      </p:grpSp>
      <p:grpSp>
        <p:nvGrpSpPr>
          <p:cNvPr id="9" name="Group 8">
            <a:extLst>
              <a:ext uri="{FF2B5EF4-FFF2-40B4-BE49-F238E27FC236}">
                <a16:creationId xmlns:a16="http://schemas.microsoft.com/office/drawing/2014/main" id="{C793EB3B-D2D1-474B-8F88-E09F86CA813B}"/>
              </a:ext>
            </a:extLst>
          </p:cNvPr>
          <p:cNvGrpSpPr/>
          <p:nvPr/>
        </p:nvGrpSpPr>
        <p:grpSpPr>
          <a:xfrm>
            <a:off x="916933" y="1880524"/>
            <a:ext cx="5382267" cy="512495"/>
            <a:chOff x="916933" y="1880524"/>
            <a:chExt cx="5382267" cy="512495"/>
          </a:xfrm>
        </p:grpSpPr>
        <p:cxnSp>
          <p:nvCxnSpPr>
            <p:cNvPr id="10" name="Straight Connector 9">
              <a:extLst>
                <a:ext uri="{FF2B5EF4-FFF2-40B4-BE49-F238E27FC236}">
                  <a16:creationId xmlns:a16="http://schemas.microsoft.com/office/drawing/2014/main" id="{077734CE-5A08-44F1-BF70-14A7CAFBE5D8}"/>
                </a:ext>
              </a:extLst>
            </p:cNvPr>
            <p:cNvCxnSpPr>
              <a:cxnSpLocks/>
            </p:cNvCxnSpPr>
            <p:nvPr/>
          </p:nvCxnSpPr>
          <p:spPr>
            <a:xfrm>
              <a:off x="1543889" y="2232972"/>
              <a:ext cx="1887768" cy="0"/>
            </a:xfrm>
            <a:prstGeom prst="line">
              <a:avLst/>
            </a:prstGeom>
            <a:noFill/>
            <a:ln w="76200" cap="flat" cmpd="sng" algn="ctr">
              <a:solidFill>
                <a:srgbClr val="86F200"/>
              </a:solidFill>
              <a:prstDash val="solid"/>
              <a:miter lim="800000"/>
            </a:ln>
            <a:effectLst/>
          </p:spPr>
        </p:cxnSp>
        <p:sp>
          <p:nvSpPr>
            <p:cNvPr id="11" name="TextBox 10">
              <a:extLst>
                <a:ext uri="{FF2B5EF4-FFF2-40B4-BE49-F238E27FC236}">
                  <a16:creationId xmlns:a16="http://schemas.microsoft.com/office/drawing/2014/main" id="{C58828D3-11DC-4A8E-B899-D0C3F528D92A}"/>
                </a:ext>
              </a:extLst>
            </p:cNvPr>
            <p:cNvSpPr txBox="1"/>
            <p:nvPr/>
          </p:nvSpPr>
          <p:spPr>
            <a:xfrm>
              <a:off x="916933" y="1880524"/>
              <a:ext cx="356713" cy="461665"/>
            </a:xfrm>
            <a:prstGeom prst="rect">
              <a:avLst/>
            </a:prstGeom>
            <a:noFill/>
          </p:spPr>
          <p:txBody>
            <a:bodyPr wrap="none"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ea typeface="Chronicle Display Black" charset="0"/>
                  <a:cs typeface="Chronicle Display Black" charset="0"/>
                </a:rPr>
                <a:t>1.</a:t>
              </a:r>
            </a:p>
          </p:txBody>
        </p:sp>
        <p:sp>
          <p:nvSpPr>
            <p:cNvPr id="12" name="TextBox 11">
              <a:extLst>
                <a:ext uri="{FF2B5EF4-FFF2-40B4-BE49-F238E27FC236}">
                  <a16:creationId xmlns:a16="http://schemas.microsoft.com/office/drawing/2014/main" id="{C21EC311-A19D-4617-8C6B-91277B9BBE27}"/>
                </a:ext>
              </a:extLst>
            </p:cNvPr>
            <p:cNvSpPr txBox="1"/>
            <p:nvPr/>
          </p:nvSpPr>
          <p:spPr>
            <a:xfrm>
              <a:off x="1472414" y="1931354"/>
              <a:ext cx="4826786" cy="461665"/>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50" normalizeH="0" baseline="0" noProof="0" dirty="0">
                  <a:ln>
                    <a:noFill/>
                  </a:ln>
                  <a:solidFill>
                    <a:srgbClr val="000000"/>
                  </a:solidFill>
                  <a:effectLst/>
                  <a:uLnTx/>
                  <a:uFillTx/>
                  <a:cs typeface="Open Sans"/>
                </a:rPr>
                <a:t>Pricing Services Overview</a:t>
              </a:r>
              <a:endParaRPr kumimoji="0" lang="en-US" sz="2000" b="1" i="0" u="none" strike="noStrike" kern="1200" cap="none" spc="0" normalizeH="0" baseline="0" noProof="0" dirty="0">
                <a:ln>
                  <a:noFill/>
                </a:ln>
                <a:solidFill>
                  <a:srgbClr val="000000"/>
                </a:solidFill>
                <a:effectLst/>
                <a:uLnTx/>
                <a:uFillTx/>
                <a:ea typeface="Chronicle Display Black" charset="0"/>
                <a:cs typeface="Chronicle Display Black"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50" normalizeH="0" baseline="0" noProof="0" dirty="0">
                <a:ln>
                  <a:noFill/>
                </a:ln>
                <a:solidFill>
                  <a:srgbClr val="000000"/>
                </a:solidFill>
                <a:effectLst/>
                <a:uLnTx/>
                <a:uFillTx/>
                <a:cs typeface="Open Sans"/>
              </a:endParaRPr>
            </a:p>
          </p:txBody>
        </p:sp>
      </p:grpSp>
      <p:grpSp>
        <p:nvGrpSpPr>
          <p:cNvPr id="13" name="Group 12">
            <a:extLst>
              <a:ext uri="{FF2B5EF4-FFF2-40B4-BE49-F238E27FC236}">
                <a16:creationId xmlns:a16="http://schemas.microsoft.com/office/drawing/2014/main" id="{AA0B3698-8EC1-4FA4-9ECE-601B142A9A2D}"/>
              </a:ext>
            </a:extLst>
          </p:cNvPr>
          <p:cNvGrpSpPr/>
          <p:nvPr/>
        </p:nvGrpSpPr>
        <p:grpSpPr>
          <a:xfrm>
            <a:off x="1472411" y="2806270"/>
            <a:ext cx="6188229" cy="461665"/>
            <a:chOff x="1472411" y="2806270"/>
            <a:chExt cx="6188229" cy="461665"/>
          </a:xfrm>
        </p:grpSpPr>
        <p:cxnSp>
          <p:nvCxnSpPr>
            <p:cNvPr id="14" name="Straight Connector 13">
              <a:extLst>
                <a:ext uri="{FF2B5EF4-FFF2-40B4-BE49-F238E27FC236}">
                  <a16:creationId xmlns:a16="http://schemas.microsoft.com/office/drawing/2014/main" id="{9EFE7A89-FBE7-4804-982E-E1E095FE23E0}"/>
                </a:ext>
              </a:extLst>
            </p:cNvPr>
            <p:cNvCxnSpPr>
              <a:cxnSpLocks/>
            </p:cNvCxnSpPr>
            <p:nvPr/>
          </p:nvCxnSpPr>
          <p:spPr>
            <a:xfrm>
              <a:off x="1609431" y="3124790"/>
              <a:ext cx="1355037" cy="0"/>
            </a:xfrm>
            <a:prstGeom prst="line">
              <a:avLst/>
            </a:prstGeom>
            <a:noFill/>
            <a:ln w="76200" cap="flat" cmpd="sng" algn="ctr">
              <a:solidFill>
                <a:srgbClr val="FDD300"/>
              </a:solidFill>
              <a:prstDash val="solid"/>
              <a:miter lim="800000"/>
            </a:ln>
            <a:effectLst/>
          </p:spPr>
        </p:cxnSp>
        <p:sp>
          <p:nvSpPr>
            <p:cNvPr id="15" name="TextBox 14">
              <a:extLst>
                <a:ext uri="{FF2B5EF4-FFF2-40B4-BE49-F238E27FC236}">
                  <a16:creationId xmlns:a16="http://schemas.microsoft.com/office/drawing/2014/main" id="{F15B247F-1383-44B9-999B-02E16520180C}"/>
                </a:ext>
              </a:extLst>
            </p:cNvPr>
            <p:cNvSpPr txBox="1"/>
            <p:nvPr/>
          </p:nvSpPr>
          <p:spPr>
            <a:xfrm>
              <a:off x="1472411" y="2806270"/>
              <a:ext cx="6188229" cy="461665"/>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50" normalizeH="0" baseline="0" noProof="0" dirty="0">
                  <a:ln>
                    <a:noFill/>
                  </a:ln>
                  <a:solidFill>
                    <a:srgbClr val="000000"/>
                  </a:solidFill>
                  <a:effectLst/>
                  <a:uLnTx/>
                  <a:uFillTx/>
                  <a:ea typeface="+mn-ea"/>
                  <a:cs typeface="Open Sans"/>
                </a:rPr>
                <a:t>Onboarding Timeline + Demo</a:t>
              </a:r>
            </a:p>
          </p:txBody>
        </p:sp>
      </p:grpSp>
      <p:sp>
        <p:nvSpPr>
          <p:cNvPr id="16" name="TextBox 15">
            <a:extLst>
              <a:ext uri="{FF2B5EF4-FFF2-40B4-BE49-F238E27FC236}">
                <a16:creationId xmlns:a16="http://schemas.microsoft.com/office/drawing/2014/main" id="{DABE328C-8F71-45D9-A109-DC59715A77F3}"/>
              </a:ext>
            </a:extLst>
          </p:cNvPr>
          <p:cNvSpPr txBox="1"/>
          <p:nvPr/>
        </p:nvSpPr>
        <p:spPr>
          <a:xfrm>
            <a:off x="911238" y="2751840"/>
            <a:ext cx="368101" cy="461665"/>
          </a:xfrm>
          <a:prstGeom prst="rect">
            <a:avLst/>
          </a:prstGeom>
          <a:noFill/>
        </p:spPr>
        <p:txBody>
          <a:bodyPr wrap="none"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ea typeface="Chronicle Display Black" charset="0"/>
                <a:cs typeface="Chronicle Display Black" charset="0"/>
              </a:rPr>
              <a:t>2.</a:t>
            </a:r>
          </a:p>
        </p:txBody>
      </p:sp>
      <p:grpSp>
        <p:nvGrpSpPr>
          <p:cNvPr id="17" name="Group 16">
            <a:extLst>
              <a:ext uri="{FF2B5EF4-FFF2-40B4-BE49-F238E27FC236}">
                <a16:creationId xmlns:a16="http://schemas.microsoft.com/office/drawing/2014/main" id="{918B0441-DB0E-4886-AE2F-E95283F04D61}"/>
              </a:ext>
            </a:extLst>
          </p:cNvPr>
          <p:cNvGrpSpPr/>
          <p:nvPr/>
        </p:nvGrpSpPr>
        <p:grpSpPr>
          <a:xfrm>
            <a:off x="916933" y="5115225"/>
            <a:ext cx="5829641" cy="526981"/>
            <a:chOff x="916933" y="5115225"/>
            <a:chExt cx="5829641" cy="526981"/>
          </a:xfrm>
        </p:grpSpPr>
        <p:cxnSp>
          <p:nvCxnSpPr>
            <p:cNvPr id="18" name="Straight Connector 17">
              <a:extLst>
                <a:ext uri="{FF2B5EF4-FFF2-40B4-BE49-F238E27FC236}">
                  <a16:creationId xmlns:a16="http://schemas.microsoft.com/office/drawing/2014/main" id="{AFDDC025-F3DC-4C2E-A3DA-8E2F46D1FF68}"/>
                </a:ext>
              </a:extLst>
            </p:cNvPr>
            <p:cNvCxnSpPr>
              <a:cxnSpLocks/>
            </p:cNvCxnSpPr>
            <p:nvPr/>
          </p:nvCxnSpPr>
          <p:spPr>
            <a:xfrm>
              <a:off x="1581779" y="5488065"/>
              <a:ext cx="1354461" cy="0"/>
            </a:xfrm>
            <a:prstGeom prst="line">
              <a:avLst/>
            </a:prstGeom>
            <a:noFill/>
            <a:ln w="76200" cap="flat" cmpd="sng" algn="ctr">
              <a:solidFill>
                <a:srgbClr val="86F200"/>
              </a:solidFill>
              <a:prstDash val="solid"/>
              <a:miter lim="800000"/>
            </a:ln>
            <a:effectLst/>
          </p:spPr>
        </p:cxnSp>
        <p:sp>
          <p:nvSpPr>
            <p:cNvPr id="19" name="TextBox 18">
              <a:extLst>
                <a:ext uri="{FF2B5EF4-FFF2-40B4-BE49-F238E27FC236}">
                  <a16:creationId xmlns:a16="http://schemas.microsoft.com/office/drawing/2014/main" id="{8CFE93CD-720B-4CB4-BB17-54D474C1299E}"/>
                </a:ext>
              </a:extLst>
            </p:cNvPr>
            <p:cNvSpPr txBox="1"/>
            <p:nvPr/>
          </p:nvSpPr>
          <p:spPr>
            <a:xfrm>
              <a:off x="1472411" y="5180541"/>
              <a:ext cx="5274163" cy="461665"/>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ea typeface="+mn-ea"/>
                  <a:cs typeface="+mn-cs"/>
                </a:rPr>
                <a:t>Next Steps</a:t>
              </a:r>
            </a:p>
          </p:txBody>
        </p:sp>
        <p:sp>
          <p:nvSpPr>
            <p:cNvPr id="20" name="TextBox 19">
              <a:extLst>
                <a:ext uri="{FF2B5EF4-FFF2-40B4-BE49-F238E27FC236}">
                  <a16:creationId xmlns:a16="http://schemas.microsoft.com/office/drawing/2014/main" id="{2405763C-ACC3-4A93-8544-740E14D3AE63}"/>
                </a:ext>
              </a:extLst>
            </p:cNvPr>
            <p:cNvSpPr txBox="1"/>
            <p:nvPr/>
          </p:nvSpPr>
          <p:spPr>
            <a:xfrm>
              <a:off x="916933" y="5115225"/>
              <a:ext cx="368101" cy="461665"/>
            </a:xfrm>
            <a:prstGeom prst="rect">
              <a:avLst/>
            </a:prstGeom>
            <a:noFill/>
          </p:spPr>
          <p:txBody>
            <a:bodyPr wrap="none"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ea typeface="Chronicle Display Black" charset="0"/>
                  <a:cs typeface="Chronicle Display Black" charset="0"/>
                </a:rPr>
                <a:t>5.</a:t>
              </a:r>
            </a:p>
          </p:txBody>
        </p:sp>
      </p:grpSp>
      <p:grpSp>
        <p:nvGrpSpPr>
          <p:cNvPr id="21" name="Group 20">
            <a:extLst>
              <a:ext uri="{FF2B5EF4-FFF2-40B4-BE49-F238E27FC236}">
                <a16:creationId xmlns:a16="http://schemas.microsoft.com/office/drawing/2014/main" id="{87E08656-D38A-4DFF-B299-0B784FA87506}"/>
              </a:ext>
            </a:extLst>
          </p:cNvPr>
          <p:cNvGrpSpPr/>
          <p:nvPr/>
        </p:nvGrpSpPr>
        <p:grpSpPr>
          <a:xfrm>
            <a:off x="905545" y="4328020"/>
            <a:ext cx="3489302" cy="583298"/>
            <a:chOff x="905545" y="4284979"/>
            <a:chExt cx="3489302" cy="583298"/>
          </a:xfrm>
        </p:grpSpPr>
        <p:grpSp>
          <p:nvGrpSpPr>
            <p:cNvPr id="22" name="Group 21">
              <a:extLst>
                <a:ext uri="{FF2B5EF4-FFF2-40B4-BE49-F238E27FC236}">
                  <a16:creationId xmlns:a16="http://schemas.microsoft.com/office/drawing/2014/main" id="{FFF34147-6D03-42DA-92F3-A9FAA81FA6CE}"/>
                </a:ext>
              </a:extLst>
            </p:cNvPr>
            <p:cNvGrpSpPr/>
            <p:nvPr/>
          </p:nvGrpSpPr>
          <p:grpSpPr>
            <a:xfrm>
              <a:off x="905545" y="4284979"/>
              <a:ext cx="1309335" cy="461665"/>
              <a:chOff x="905545" y="4284979"/>
              <a:chExt cx="1309335" cy="461665"/>
            </a:xfrm>
          </p:grpSpPr>
          <p:cxnSp>
            <p:nvCxnSpPr>
              <p:cNvPr id="24" name="Straight Connector 23">
                <a:extLst>
                  <a:ext uri="{FF2B5EF4-FFF2-40B4-BE49-F238E27FC236}">
                    <a16:creationId xmlns:a16="http://schemas.microsoft.com/office/drawing/2014/main" id="{1CB17519-A249-40D9-B5EE-3F262B67E48F}"/>
                  </a:ext>
                </a:extLst>
              </p:cNvPr>
              <p:cNvCxnSpPr>
                <a:cxnSpLocks/>
              </p:cNvCxnSpPr>
              <p:nvPr/>
            </p:nvCxnSpPr>
            <p:spPr>
              <a:xfrm>
                <a:off x="1581779" y="4650554"/>
                <a:ext cx="633101" cy="4430"/>
              </a:xfrm>
              <a:prstGeom prst="line">
                <a:avLst/>
              </a:prstGeom>
              <a:noFill/>
              <a:ln w="76200" cap="flat" cmpd="sng" algn="ctr">
                <a:solidFill>
                  <a:srgbClr val="3EFAC5"/>
                </a:solidFill>
                <a:prstDash val="solid"/>
                <a:miter lim="800000"/>
              </a:ln>
              <a:effectLst/>
            </p:spPr>
          </p:cxnSp>
          <p:sp>
            <p:nvSpPr>
              <p:cNvPr id="25" name="TextBox 24">
                <a:extLst>
                  <a:ext uri="{FF2B5EF4-FFF2-40B4-BE49-F238E27FC236}">
                    <a16:creationId xmlns:a16="http://schemas.microsoft.com/office/drawing/2014/main" id="{A096AF95-4B12-4DD6-A5C9-F3BC644D0A8B}"/>
                  </a:ext>
                </a:extLst>
              </p:cNvPr>
              <p:cNvSpPr txBox="1"/>
              <p:nvPr/>
            </p:nvSpPr>
            <p:spPr>
              <a:xfrm>
                <a:off x="905545" y="4284979"/>
                <a:ext cx="368101" cy="461665"/>
              </a:xfrm>
              <a:prstGeom prst="rect">
                <a:avLst/>
              </a:prstGeom>
              <a:noFill/>
            </p:spPr>
            <p:txBody>
              <a:bodyPr wrap="none"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ea typeface="Chronicle Display Black" charset="0"/>
                    <a:cs typeface="Chronicle Display Black" charset="0"/>
                  </a:rPr>
                  <a:t>4.</a:t>
                </a:r>
              </a:p>
            </p:txBody>
          </p:sp>
        </p:grpSp>
        <p:sp>
          <p:nvSpPr>
            <p:cNvPr id="23" name="TextBox 22">
              <a:extLst>
                <a:ext uri="{FF2B5EF4-FFF2-40B4-BE49-F238E27FC236}">
                  <a16:creationId xmlns:a16="http://schemas.microsoft.com/office/drawing/2014/main" id="{09952312-8E9F-4735-870D-AAEC56EE78AD}"/>
                </a:ext>
              </a:extLst>
            </p:cNvPr>
            <p:cNvSpPr txBox="1"/>
            <p:nvPr/>
          </p:nvSpPr>
          <p:spPr>
            <a:xfrm>
              <a:off x="1472411" y="4406612"/>
              <a:ext cx="2922436" cy="461665"/>
            </a:xfrm>
            <a:prstGeom prst="rect">
              <a:avLst/>
            </a:prstGeom>
            <a:noFill/>
          </p:spPr>
          <p:txBody>
            <a:bodyPr wrap="square" rtlCol="0">
              <a:no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ea typeface="Chronicle Display Black" charset="0"/>
                  <a:cs typeface="Chronicle Display Black" charset="0"/>
                </a:rPr>
                <a:t>Q&amp;A</a:t>
              </a:r>
            </a:p>
          </p:txBody>
        </p:sp>
      </p:grpSp>
      <p:sp>
        <p:nvSpPr>
          <p:cNvPr id="26" name="Rectangle 25">
            <a:extLst>
              <a:ext uri="{FF2B5EF4-FFF2-40B4-BE49-F238E27FC236}">
                <a16:creationId xmlns:a16="http://schemas.microsoft.com/office/drawing/2014/main" id="{86B92B1E-0C30-4DF6-B9F6-A8FD6218F7DE}"/>
              </a:ext>
            </a:extLst>
          </p:cNvPr>
          <p:cNvSpPr/>
          <p:nvPr/>
        </p:nvSpPr>
        <p:spPr>
          <a:xfrm>
            <a:off x="9428479" y="0"/>
            <a:ext cx="2763521" cy="6858000"/>
          </a:xfrm>
          <a:prstGeom prst="rect">
            <a:avLst/>
          </a:prstGeom>
          <a:solidFill>
            <a:srgbClr val="DCFF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How to Ask Question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ll lines are mut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e will save time for Q&amp;A at the end of the presentation</a:t>
            </a:r>
          </a:p>
        </p:txBody>
      </p:sp>
    </p:spTree>
    <p:extLst>
      <p:ext uri="{BB962C8B-B14F-4D97-AF65-F5344CB8AC3E}">
        <p14:creationId xmlns:p14="http://schemas.microsoft.com/office/powerpoint/2010/main" val="351830413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196"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Survey Findings</a:t>
            </a:r>
            <a:endParaRPr lang="en-US" dirty="0"/>
          </a:p>
        </p:txBody>
      </p:sp>
      <p:sp>
        <p:nvSpPr>
          <p:cNvPr id="3" name="Text Placeholder 2"/>
          <p:cNvSpPr>
            <a:spLocks noGrp="1"/>
          </p:cNvSpPr>
          <p:nvPr>
            <p:ph type="body" sz="quarter" idx="14"/>
          </p:nvPr>
        </p:nvSpPr>
        <p:spPr/>
        <p:txBody>
          <a:bodyPr/>
          <a:lstStyle/>
          <a:p>
            <a:pPr lvl="0">
              <a:buClr>
                <a:srgbClr val="787878"/>
              </a:buClr>
              <a:defRPr/>
            </a:pPr>
            <a:r>
              <a:rPr lang="en-US" spc="0" dirty="0">
                <a:solidFill>
                  <a:srgbClr val="000000"/>
                </a:solidFill>
              </a:rPr>
              <a:t> Digital use is evident throughout the entire purchase decision; but many CPGs do not use a multi-touch model to drive brand connectivity</a:t>
            </a:r>
          </a:p>
        </p:txBody>
      </p:sp>
      <p:sp>
        <p:nvSpPr>
          <p:cNvPr id="5" name="Text Placeholder 4"/>
          <p:cNvSpPr>
            <a:spLocks noGrp="1"/>
          </p:cNvSpPr>
          <p:nvPr>
            <p:ph type="body" sz="quarter" idx="15"/>
          </p:nvPr>
        </p:nvSpPr>
        <p:spPr/>
        <p:txBody>
          <a:bodyPr/>
          <a:lstStyle/>
          <a:p>
            <a:r>
              <a:rPr lang="en-US" dirty="0"/>
              <a:t>Data Visualization &amp; Infographics</a:t>
            </a:r>
          </a:p>
        </p:txBody>
      </p:sp>
      <p:sp>
        <p:nvSpPr>
          <p:cNvPr id="50" name="Rectangle 49">
            <a:extLst>
              <a:ext uri="{FF2B5EF4-FFF2-40B4-BE49-F238E27FC236}">
                <a16:creationId xmlns:a16="http://schemas.microsoft.com/office/drawing/2014/main" id="{3566EBBF-57C5-43C9-A5CE-A8AFD123C8D3}"/>
              </a:ext>
            </a:extLst>
          </p:cNvPr>
          <p:cNvSpPr/>
          <p:nvPr/>
        </p:nvSpPr>
        <p:spPr>
          <a:xfrm>
            <a:off x="7468470" y="1734116"/>
            <a:ext cx="4723529" cy="473505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cxnSp>
        <p:nvCxnSpPr>
          <p:cNvPr id="52" name="Straight Connector 51">
            <a:extLst>
              <a:ext uri="{FF2B5EF4-FFF2-40B4-BE49-F238E27FC236}">
                <a16:creationId xmlns:a16="http://schemas.microsoft.com/office/drawing/2014/main" id="{EE57068E-0333-49EB-87DA-EE0ECB83EA8A}"/>
              </a:ext>
            </a:extLst>
          </p:cNvPr>
          <p:cNvCxnSpPr>
            <a:cxnSpLocks/>
          </p:cNvCxnSpPr>
          <p:nvPr/>
        </p:nvCxnSpPr>
        <p:spPr>
          <a:xfrm>
            <a:off x="9162334" y="4320865"/>
            <a:ext cx="89606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399DF4E8-1EC5-48DF-B4F4-1E16FA381DAA}"/>
              </a:ext>
            </a:extLst>
          </p:cNvPr>
          <p:cNvCxnSpPr>
            <a:cxnSpLocks/>
          </p:cNvCxnSpPr>
          <p:nvPr/>
        </p:nvCxnSpPr>
        <p:spPr>
          <a:xfrm>
            <a:off x="8850908" y="3393214"/>
            <a:ext cx="1833657"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54" name="Rounded Rectangle 37">
            <a:extLst>
              <a:ext uri="{FF2B5EF4-FFF2-40B4-BE49-F238E27FC236}">
                <a16:creationId xmlns:a16="http://schemas.microsoft.com/office/drawing/2014/main" id="{3C78B94A-BCA0-4F6F-9931-C8AE8CCB7315}"/>
              </a:ext>
            </a:extLst>
          </p:cNvPr>
          <p:cNvSpPr/>
          <p:nvPr/>
        </p:nvSpPr>
        <p:spPr>
          <a:xfrm>
            <a:off x="765312" y="5402839"/>
            <a:ext cx="6466496" cy="862487"/>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5" name="Rounded Rectangle 36">
            <a:extLst>
              <a:ext uri="{FF2B5EF4-FFF2-40B4-BE49-F238E27FC236}">
                <a16:creationId xmlns:a16="http://schemas.microsoft.com/office/drawing/2014/main" id="{25B377E9-F934-44C7-903D-BD4E3D00A929}"/>
              </a:ext>
            </a:extLst>
          </p:cNvPr>
          <p:cNvSpPr/>
          <p:nvPr/>
        </p:nvSpPr>
        <p:spPr>
          <a:xfrm>
            <a:off x="1560443" y="3831766"/>
            <a:ext cx="5736140" cy="862487"/>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6" name="Rounded Rectangle 3">
            <a:extLst>
              <a:ext uri="{FF2B5EF4-FFF2-40B4-BE49-F238E27FC236}">
                <a16:creationId xmlns:a16="http://schemas.microsoft.com/office/drawing/2014/main" id="{FF8CE09E-1EEF-4B65-8DE3-210B333E800B}"/>
              </a:ext>
            </a:extLst>
          </p:cNvPr>
          <p:cNvSpPr/>
          <p:nvPr/>
        </p:nvSpPr>
        <p:spPr>
          <a:xfrm>
            <a:off x="765312" y="2296170"/>
            <a:ext cx="6478301" cy="862487"/>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7" name="Rectangle 56">
            <a:extLst>
              <a:ext uri="{FF2B5EF4-FFF2-40B4-BE49-F238E27FC236}">
                <a16:creationId xmlns:a16="http://schemas.microsoft.com/office/drawing/2014/main" id="{4CE7133B-3A96-4895-A4D1-BF31DFB24417}"/>
              </a:ext>
            </a:extLst>
          </p:cNvPr>
          <p:cNvSpPr/>
          <p:nvPr/>
        </p:nvSpPr>
        <p:spPr>
          <a:xfrm>
            <a:off x="1275939" y="2506082"/>
            <a:ext cx="1480640" cy="430887"/>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150" normalizeH="0" baseline="0" noProof="0" dirty="0">
                <a:ln>
                  <a:noFill/>
                </a:ln>
                <a:solidFill>
                  <a:srgbClr val="FFFFFF">
                    <a:lumMod val="65000"/>
                  </a:srgbClr>
                </a:solidFill>
                <a:effectLst/>
                <a:uLnTx/>
                <a:uFillTx/>
                <a:latin typeface="Open Sans"/>
                <a:ea typeface="+mn-ea"/>
                <a:cs typeface="+mn-cs"/>
              </a:rPr>
              <a:t>FIND INSPIRATION</a:t>
            </a:r>
          </a:p>
        </p:txBody>
      </p:sp>
      <p:sp>
        <p:nvSpPr>
          <p:cNvPr id="58" name="Rectangle 57">
            <a:extLst>
              <a:ext uri="{FF2B5EF4-FFF2-40B4-BE49-F238E27FC236}">
                <a16:creationId xmlns:a16="http://schemas.microsoft.com/office/drawing/2014/main" id="{0CC25FD8-20FB-4761-BCF4-12B4F5E1E91A}"/>
              </a:ext>
            </a:extLst>
          </p:cNvPr>
          <p:cNvSpPr/>
          <p:nvPr/>
        </p:nvSpPr>
        <p:spPr>
          <a:xfrm>
            <a:off x="1935324" y="4047181"/>
            <a:ext cx="1480640" cy="430887"/>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150" normalizeH="0" baseline="0" noProof="0" dirty="0">
                <a:ln>
                  <a:noFill/>
                </a:ln>
                <a:solidFill>
                  <a:srgbClr val="FFFFFF">
                    <a:lumMod val="65000"/>
                  </a:srgbClr>
                </a:solidFill>
                <a:effectLst/>
                <a:uLnTx/>
                <a:uFillTx/>
                <a:latin typeface="Open Sans"/>
                <a:ea typeface="+mn-ea"/>
                <a:cs typeface="+mn-cs"/>
              </a:rPr>
              <a:t>BROWSE AND RESEARCH</a:t>
            </a:r>
          </a:p>
        </p:txBody>
      </p:sp>
      <p:sp>
        <p:nvSpPr>
          <p:cNvPr id="59" name="Rectangle 58">
            <a:extLst>
              <a:ext uri="{FF2B5EF4-FFF2-40B4-BE49-F238E27FC236}">
                <a16:creationId xmlns:a16="http://schemas.microsoft.com/office/drawing/2014/main" id="{7BB9B767-A074-4736-82AC-5505EA11FFA8}"/>
              </a:ext>
            </a:extLst>
          </p:cNvPr>
          <p:cNvSpPr/>
          <p:nvPr/>
        </p:nvSpPr>
        <p:spPr>
          <a:xfrm>
            <a:off x="1374734" y="5618639"/>
            <a:ext cx="1480640" cy="430887"/>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150" normalizeH="0" baseline="0" noProof="0" dirty="0">
                <a:ln>
                  <a:noFill/>
                </a:ln>
                <a:solidFill>
                  <a:srgbClr val="FFFFFF">
                    <a:lumMod val="65000"/>
                  </a:srgbClr>
                </a:solidFill>
                <a:effectLst/>
                <a:uLnTx/>
                <a:uFillTx/>
                <a:latin typeface="Open Sans"/>
                <a:ea typeface="+mn-ea"/>
                <a:cs typeface="+mn-cs"/>
              </a:rPr>
              <a:t>SELECT AND VALIDATE</a:t>
            </a:r>
          </a:p>
        </p:txBody>
      </p:sp>
      <p:sp>
        <p:nvSpPr>
          <p:cNvPr id="60" name="Rectangle 59">
            <a:extLst>
              <a:ext uri="{FF2B5EF4-FFF2-40B4-BE49-F238E27FC236}">
                <a16:creationId xmlns:a16="http://schemas.microsoft.com/office/drawing/2014/main" id="{A4546B43-CD8B-4F1A-BEDC-74B4FD4DD104}"/>
              </a:ext>
            </a:extLst>
          </p:cNvPr>
          <p:cNvSpPr/>
          <p:nvPr/>
        </p:nvSpPr>
        <p:spPr>
          <a:xfrm>
            <a:off x="3026413" y="2359888"/>
            <a:ext cx="1963830" cy="7232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7F5F3">
                    <a:lumMod val="50000"/>
                  </a:srgbClr>
                </a:solidFill>
                <a:effectLst/>
                <a:uLnTx/>
                <a:uFillTx/>
                <a:latin typeface="Chronicle Display Black"/>
                <a:ea typeface="+mn-ea"/>
                <a:cs typeface="+mn-cs"/>
              </a:rPr>
              <a:t>53%</a:t>
            </a:r>
            <a:r>
              <a:rPr kumimoji="0" lang="en-US" sz="1050" b="0" i="0" u="none" strike="noStrike" kern="1200" cap="none" spc="0" normalizeH="0" baseline="0" noProof="0" dirty="0">
                <a:ln>
                  <a:noFill/>
                </a:ln>
                <a:solidFill>
                  <a:srgbClr val="000000"/>
                </a:solidFill>
                <a:effectLst/>
                <a:uLnTx/>
                <a:uFillTx/>
                <a:latin typeface="Open Sans"/>
                <a:ea typeface="+mn-ea"/>
                <a:cs typeface="+mn-cs"/>
              </a:rPr>
              <a:t>consumers use digital to become aware of brands and products</a:t>
            </a:r>
          </a:p>
        </p:txBody>
      </p:sp>
      <p:sp>
        <p:nvSpPr>
          <p:cNvPr id="61" name="Rectangle 60">
            <a:extLst>
              <a:ext uri="{FF2B5EF4-FFF2-40B4-BE49-F238E27FC236}">
                <a16:creationId xmlns:a16="http://schemas.microsoft.com/office/drawing/2014/main" id="{F2DB538E-FFCB-443A-9247-A5B872D47185}"/>
              </a:ext>
            </a:extLst>
          </p:cNvPr>
          <p:cNvSpPr/>
          <p:nvPr/>
        </p:nvSpPr>
        <p:spPr>
          <a:xfrm>
            <a:off x="3542450" y="3900899"/>
            <a:ext cx="1631426" cy="7232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86F200"/>
                </a:solidFill>
                <a:effectLst/>
                <a:uLnTx/>
                <a:uFillTx/>
                <a:latin typeface="Chronicle Display Black"/>
                <a:ea typeface="+mn-ea"/>
                <a:cs typeface="+mn-cs"/>
              </a:rPr>
              <a:t>84% </a:t>
            </a:r>
            <a:r>
              <a:rPr kumimoji="0" lang="en-US" sz="1050" b="0" i="0" u="none" strike="noStrike" kern="1200" cap="none" spc="0" normalizeH="0" baseline="0" noProof="0" dirty="0">
                <a:ln>
                  <a:noFill/>
                </a:ln>
                <a:solidFill>
                  <a:srgbClr val="000000"/>
                </a:solidFill>
                <a:effectLst/>
                <a:uLnTx/>
                <a:uFillTx/>
                <a:latin typeface="Open Sans"/>
                <a:ea typeface="+mn-ea"/>
                <a:cs typeface="+mn-cs"/>
              </a:rPr>
              <a:t>consumers use digital to browse / research products</a:t>
            </a:r>
          </a:p>
        </p:txBody>
      </p:sp>
      <p:sp>
        <p:nvSpPr>
          <p:cNvPr id="62" name="Rectangle 61">
            <a:extLst>
              <a:ext uri="{FF2B5EF4-FFF2-40B4-BE49-F238E27FC236}">
                <a16:creationId xmlns:a16="http://schemas.microsoft.com/office/drawing/2014/main" id="{3F5D3E72-825E-4488-B81E-6287904F0F38}"/>
              </a:ext>
            </a:extLst>
          </p:cNvPr>
          <p:cNvSpPr/>
          <p:nvPr/>
        </p:nvSpPr>
        <p:spPr>
          <a:xfrm>
            <a:off x="2959739" y="5472445"/>
            <a:ext cx="1823414" cy="7232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4F0FF"/>
                </a:solidFill>
                <a:effectLst/>
                <a:uLnTx/>
                <a:uFillTx/>
                <a:latin typeface="Chronicle Display Black"/>
                <a:ea typeface="+mn-ea"/>
                <a:cs typeface="+mn-cs"/>
              </a:rPr>
              <a:t>64%</a:t>
            </a:r>
            <a:r>
              <a:rPr kumimoji="0" lang="en-US" sz="2000" b="0" i="1" u="none" strike="noStrike" kern="1200" cap="none" spc="0" normalizeH="0" baseline="0" noProof="0" dirty="0">
                <a:ln>
                  <a:noFill/>
                </a:ln>
                <a:solidFill>
                  <a:srgbClr val="34F0FF"/>
                </a:solidFill>
                <a:effectLst/>
                <a:uLnTx/>
                <a:uFillTx/>
                <a:latin typeface="Open Sans"/>
                <a:ea typeface="+mn-ea"/>
                <a:cs typeface="+mn-cs"/>
              </a:rPr>
              <a:t> </a:t>
            </a:r>
            <a:r>
              <a:rPr kumimoji="0" lang="en-US" sz="1050" b="0" i="0" u="none" strike="noStrike" kern="1200" cap="none" spc="0" normalizeH="0" baseline="0" noProof="0" dirty="0">
                <a:ln>
                  <a:noFill/>
                </a:ln>
                <a:solidFill>
                  <a:srgbClr val="000000"/>
                </a:solidFill>
                <a:effectLst/>
                <a:uLnTx/>
                <a:uFillTx/>
                <a:latin typeface="Open Sans"/>
                <a:ea typeface="+mn-ea"/>
                <a:cs typeface="+mn-cs"/>
              </a:rPr>
              <a:t>consumers use digital to seek product advice or input</a:t>
            </a:r>
          </a:p>
        </p:txBody>
      </p:sp>
      <p:sp>
        <p:nvSpPr>
          <p:cNvPr id="63" name="Rectangle 62">
            <a:extLst>
              <a:ext uri="{FF2B5EF4-FFF2-40B4-BE49-F238E27FC236}">
                <a16:creationId xmlns:a16="http://schemas.microsoft.com/office/drawing/2014/main" id="{501C7617-5ED3-433A-925D-9263A184080B}"/>
              </a:ext>
            </a:extLst>
          </p:cNvPr>
          <p:cNvSpPr/>
          <p:nvPr/>
        </p:nvSpPr>
        <p:spPr>
          <a:xfrm>
            <a:off x="5222645" y="2359888"/>
            <a:ext cx="2154828" cy="7232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F7F5F3">
                    <a:lumMod val="50000"/>
                  </a:srgbClr>
                </a:solidFill>
                <a:effectLst/>
                <a:uLnTx/>
                <a:uFillTx/>
                <a:latin typeface="Chronicle Display Black"/>
                <a:ea typeface="+mn-ea"/>
                <a:cs typeface="+mn-cs"/>
              </a:rPr>
              <a:t>62% </a:t>
            </a:r>
            <a:r>
              <a:rPr kumimoji="0" lang="en-US" sz="1050" b="0" i="0" u="none" strike="noStrike" kern="1200" cap="none" spc="0" normalizeH="0" baseline="0" noProof="0" dirty="0">
                <a:ln>
                  <a:noFill/>
                </a:ln>
                <a:solidFill>
                  <a:srgbClr val="000000"/>
                </a:solidFill>
                <a:effectLst/>
                <a:uLnTx/>
                <a:uFillTx/>
                <a:latin typeface="Open Sans"/>
                <a:ea typeface="+mn-ea"/>
                <a:cs typeface="+mn-cs"/>
              </a:rPr>
              <a:t>said digital made it easy to learn about the products</a:t>
            </a:r>
          </a:p>
        </p:txBody>
      </p:sp>
      <p:sp>
        <p:nvSpPr>
          <p:cNvPr id="64" name="Rectangle 63">
            <a:extLst>
              <a:ext uri="{FF2B5EF4-FFF2-40B4-BE49-F238E27FC236}">
                <a16:creationId xmlns:a16="http://schemas.microsoft.com/office/drawing/2014/main" id="{9B4BAF70-AEA0-4361-A72F-D20E7E9FD42E}"/>
              </a:ext>
            </a:extLst>
          </p:cNvPr>
          <p:cNvSpPr/>
          <p:nvPr/>
        </p:nvSpPr>
        <p:spPr>
          <a:xfrm>
            <a:off x="5173876" y="3872175"/>
            <a:ext cx="2140929" cy="7232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86F200"/>
                </a:solidFill>
                <a:effectLst/>
                <a:uLnTx/>
                <a:uFillTx/>
                <a:latin typeface="Chronicle Display Black"/>
                <a:ea typeface="+mn-ea"/>
                <a:cs typeface="+mn-cs"/>
              </a:rPr>
              <a:t>41% </a:t>
            </a:r>
            <a:r>
              <a:rPr kumimoji="0" lang="en-US" sz="1050" b="0" i="0" u="none" strike="noStrike" kern="1200" cap="none" spc="0" normalizeH="0" baseline="0" noProof="0" dirty="0">
                <a:ln>
                  <a:noFill/>
                </a:ln>
                <a:solidFill>
                  <a:srgbClr val="000000"/>
                </a:solidFill>
                <a:effectLst/>
                <a:uLnTx/>
                <a:uFillTx/>
                <a:latin typeface="Open Sans"/>
                <a:ea typeface="+mn-ea"/>
                <a:cs typeface="+mn-cs"/>
              </a:rPr>
              <a:t>said digital made it easy to compare product information</a:t>
            </a:r>
          </a:p>
        </p:txBody>
      </p:sp>
      <p:sp>
        <p:nvSpPr>
          <p:cNvPr id="65" name="Rectangle 64">
            <a:extLst>
              <a:ext uri="{FF2B5EF4-FFF2-40B4-BE49-F238E27FC236}">
                <a16:creationId xmlns:a16="http://schemas.microsoft.com/office/drawing/2014/main" id="{CA6958E1-635F-49DE-9C29-3C35B806BB3A}"/>
              </a:ext>
            </a:extLst>
          </p:cNvPr>
          <p:cNvSpPr/>
          <p:nvPr/>
        </p:nvSpPr>
        <p:spPr>
          <a:xfrm>
            <a:off x="4992534" y="5472445"/>
            <a:ext cx="2239274" cy="7232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34F0FF"/>
                </a:solidFill>
                <a:effectLst/>
                <a:uLnTx/>
                <a:uFillTx/>
                <a:latin typeface="Chronicle Display Black"/>
                <a:ea typeface="+mn-ea"/>
                <a:cs typeface="+mn-cs"/>
              </a:rPr>
              <a:t>45% </a:t>
            </a:r>
            <a:r>
              <a:rPr kumimoji="0" lang="en-US" sz="1050" b="0" i="0" u="none" strike="noStrike" kern="1200" cap="none" spc="0" normalizeH="0" baseline="0" noProof="0" dirty="0">
                <a:ln>
                  <a:noFill/>
                </a:ln>
                <a:solidFill>
                  <a:srgbClr val="000000"/>
                </a:solidFill>
                <a:effectLst/>
                <a:uLnTx/>
                <a:uFillTx/>
                <a:latin typeface="Open Sans"/>
                <a:ea typeface="+mn-ea"/>
                <a:cs typeface="+mn-cs"/>
              </a:rPr>
              <a:t>said digital helped them gain knowledge about the product</a:t>
            </a:r>
          </a:p>
        </p:txBody>
      </p:sp>
      <p:sp>
        <p:nvSpPr>
          <p:cNvPr id="66" name="Isosceles Triangle 65">
            <a:extLst>
              <a:ext uri="{FF2B5EF4-FFF2-40B4-BE49-F238E27FC236}">
                <a16:creationId xmlns:a16="http://schemas.microsoft.com/office/drawing/2014/main" id="{C7B1CA5C-545B-42D7-A7B6-6728E204A08D}"/>
              </a:ext>
            </a:extLst>
          </p:cNvPr>
          <p:cNvSpPr/>
          <p:nvPr/>
        </p:nvSpPr>
        <p:spPr>
          <a:xfrm rot="5400000">
            <a:off x="2623826" y="2645750"/>
            <a:ext cx="265505" cy="151551"/>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n-ea"/>
              <a:cs typeface="+mn-cs"/>
            </a:endParaRPr>
          </a:p>
        </p:txBody>
      </p:sp>
      <p:sp>
        <p:nvSpPr>
          <p:cNvPr id="67" name="Isosceles Triangle 66">
            <a:extLst>
              <a:ext uri="{FF2B5EF4-FFF2-40B4-BE49-F238E27FC236}">
                <a16:creationId xmlns:a16="http://schemas.microsoft.com/office/drawing/2014/main" id="{E88BBF21-00A3-4F89-8217-29C577349EFC}"/>
              </a:ext>
            </a:extLst>
          </p:cNvPr>
          <p:cNvSpPr/>
          <p:nvPr/>
        </p:nvSpPr>
        <p:spPr>
          <a:xfrm rot="5400000">
            <a:off x="3270235" y="4158037"/>
            <a:ext cx="265505" cy="151551"/>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n-ea"/>
              <a:cs typeface="+mn-cs"/>
            </a:endParaRPr>
          </a:p>
        </p:txBody>
      </p:sp>
      <p:sp>
        <p:nvSpPr>
          <p:cNvPr id="68" name="Isosceles Triangle 67">
            <a:extLst>
              <a:ext uri="{FF2B5EF4-FFF2-40B4-BE49-F238E27FC236}">
                <a16:creationId xmlns:a16="http://schemas.microsoft.com/office/drawing/2014/main" id="{DB18EC01-0834-455F-9F87-CD6D241AA82E}"/>
              </a:ext>
            </a:extLst>
          </p:cNvPr>
          <p:cNvSpPr/>
          <p:nvPr/>
        </p:nvSpPr>
        <p:spPr>
          <a:xfrm rot="5400000">
            <a:off x="2620345" y="5758307"/>
            <a:ext cx="265505" cy="151551"/>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n-ea"/>
              <a:cs typeface="+mn-cs"/>
            </a:endParaRPr>
          </a:p>
        </p:txBody>
      </p:sp>
      <p:sp>
        <p:nvSpPr>
          <p:cNvPr id="69" name="Title 1">
            <a:extLst>
              <a:ext uri="{FF2B5EF4-FFF2-40B4-BE49-F238E27FC236}">
                <a16:creationId xmlns:a16="http://schemas.microsoft.com/office/drawing/2014/main" id="{E7134B6E-C855-4D10-8E65-3470808459E3}"/>
              </a:ext>
            </a:extLst>
          </p:cNvPr>
          <p:cNvSpPr txBox="1">
            <a:spLocks/>
          </p:cNvSpPr>
          <p:nvPr/>
        </p:nvSpPr>
        <p:spPr>
          <a:xfrm>
            <a:off x="7727323" y="2218932"/>
            <a:ext cx="3874881" cy="656582"/>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120000"/>
              </a:lnSpc>
              <a:spcBef>
                <a:spcPct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a:rPr>
              <a:t>While individually, each stop on the path to purchase is valuable. . . </a:t>
            </a:r>
          </a:p>
        </p:txBody>
      </p:sp>
      <p:sp>
        <p:nvSpPr>
          <p:cNvPr id="70" name="Title 1">
            <a:extLst>
              <a:ext uri="{FF2B5EF4-FFF2-40B4-BE49-F238E27FC236}">
                <a16:creationId xmlns:a16="http://schemas.microsoft.com/office/drawing/2014/main" id="{05DEC5A1-D707-419A-8EF0-5C92AC47CC4D}"/>
              </a:ext>
            </a:extLst>
          </p:cNvPr>
          <p:cNvSpPr txBox="1">
            <a:spLocks/>
          </p:cNvSpPr>
          <p:nvPr/>
        </p:nvSpPr>
        <p:spPr>
          <a:xfrm>
            <a:off x="7733802" y="2721525"/>
            <a:ext cx="4122012" cy="1005840"/>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171450" marR="0" lvl="0" indent="-171450" algn="l" defTabSz="914400" rtl="0" eaLnBrk="1" fontAlgn="auto" latinLnBrk="0" hangingPunct="1">
              <a:lnSpc>
                <a:spcPct val="110000"/>
              </a:lnSpc>
              <a:spcBef>
                <a:spcPts val="0"/>
              </a:spcBef>
              <a:spcAft>
                <a:spcPts val="12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Digital engagement is around or above 50% across the three initial touchpoints of the path to purchase</a:t>
            </a:r>
          </a:p>
          <a:p>
            <a:pPr marL="0" marR="0" lvl="0" indent="0" algn="l" defTabSz="914400" rtl="0" eaLnBrk="1" fontAlgn="auto" latinLnBrk="0" hangingPunct="1">
              <a:lnSpc>
                <a:spcPct val="110000"/>
              </a:lnSpc>
              <a:spcBef>
                <a:spcPts val="0"/>
              </a:spcBef>
              <a:spcAft>
                <a:spcPts val="60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a:rPr>
              <a:t>. . . CPGs may be overlooking the importance and desire for digital engagement across multiple touchpoints. . . </a:t>
            </a:r>
          </a:p>
          <a:p>
            <a:pPr marL="171450" marR="0" lvl="0" indent="-171450" algn="l" defTabSz="914400" rtl="0" eaLnBrk="1" fontAlgn="auto" latinLnBrk="0" hangingPunct="1">
              <a:lnSpc>
                <a:spcPct val="110000"/>
              </a:lnSpc>
              <a:spcBef>
                <a:spcPts val="0"/>
              </a:spcBef>
              <a:spcAft>
                <a:spcPts val="12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Engagement across 3 touchpoints can drive a 36% lift in consumer transaction spend</a:t>
            </a:r>
            <a:r>
              <a:rPr kumimoji="0" lang="en-US" sz="1000" b="0" i="0" u="none" strike="noStrike" kern="1200" cap="none" spc="0" normalizeH="0" baseline="30000" noProof="0" dirty="0">
                <a:ln>
                  <a:noFill/>
                </a:ln>
                <a:solidFill>
                  <a:srgbClr val="000000"/>
                </a:solidFill>
                <a:effectLst/>
                <a:uLnTx/>
                <a:uFillTx/>
                <a:latin typeface="Open Sans"/>
                <a:ea typeface="+mn-ea"/>
                <a:cs typeface="+mn-cs"/>
              </a:rPr>
              <a:t>1</a:t>
            </a:r>
          </a:p>
          <a:p>
            <a:pPr marL="0" marR="0" lvl="0" indent="0" algn="l" defTabSz="914400" rtl="0" eaLnBrk="1" fontAlgn="auto" latinLnBrk="0" hangingPunct="1">
              <a:lnSpc>
                <a:spcPct val="11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 . . </a:t>
            </a:r>
            <a:r>
              <a:rPr kumimoji="0" lang="en-US" sz="1050" b="1" i="0" u="none" strike="noStrike" kern="1200" cap="none" spc="0" normalizeH="0" baseline="0" noProof="0" dirty="0">
                <a:ln>
                  <a:noFill/>
                </a:ln>
                <a:solidFill>
                  <a:srgbClr val="000000"/>
                </a:solidFill>
                <a:effectLst/>
                <a:uLnTx/>
                <a:uFillTx/>
                <a:latin typeface="Open Sans"/>
              </a:rPr>
              <a:t>evidenced by the siloed nature of how CPGs often organize to support these consumer interactions</a:t>
            </a:r>
          </a:p>
          <a:p>
            <a:pPr marL="171450" marR="0" lvl="0" indent="-171450"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Limited digital IQ and digital DNA across the organization stifle transformational leadership and cross-functional/BU transformation, which the tendency to isolate the role of digital to Sales &amp; Marketing</a:t>
            </a:r>
            <a:r>
              <a:rPr kumimoji="0" lang="en-US" sz="1000" b="0" i="0" u="none" strike="noStrike" kern="1200" cap="none" spc="0" normalizeH="0" baseline="30000" noProof="0" dirty="0">
                <a:ln>
                  <a:noFill/>
                </a:ln>
                <a:solidFill>
                  <a:srgbClr val="000000"/>
                </a:solidFill>
                <a:effectLst/>
                <a:uLnTx/>
                <a:uFillTx/>
                <a:latin typeface="Open Sans"/>
                <a:ea typeface="+mn-ea"/>
                <a:cs typeface="+mn-cs"/>
              </a:rPr>
              <a:t>2</a:t>
            </a:r>
          </a:p>
          <a:p>
            <a:pPr marL="171450" marR="0" lvl="0" indent="-171450"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In a Deloitte study, it was found that organizations that adopted a new team-centric model saw total revenue generation rise by more than 12 percent</a:t>
            </a:r>
            <a:r>
              <a:rPr kumimoji="0" lang="en-US" sz="1000" b="0" i="0" u="none" strike="noStrike" kern="1200" cap="none" spc="0" normalizeH="0" baseline="30000" noProof="0" dirty="0">
                <a:ln>
                  <a:noFill/>
                </a:ln>
                <a:solidFill>
                  <a:srgbClr val="000000"/>
                </a:solidFill>
                <a:effectLst/>
                <a:uLnTx/>
                <a:uFillTx/>
                <a:latin typeface="Open Sans"/>
                <a:ea typeface="+mn-ea"/>
                <a:cs typeface="+mn-cs"/>
              </a:rPr>
              <a:t>3</a:t>
            </a:r>
          </a:p>
          <a:p>
            <a:pPr marL="171450" marR="0" lvl="0" indent="-171450"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srgbClr val="000000"/>
              </a:solidFill>
              <a:effectLst/>
              <a:uLnTx/>
              <a:uFillTx/>
              <a:latin typeface="Open Sans"/>
              <a:ea typeface="+mn-ea"/>
              <a:cs typeface="+mn-cs"/>
            </a:endParaRPr>
          </a:p>
          <a:p>
            <a:pPr marL="171450" marR="0" lvl="0" indent="-171450"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endParaRPr kumimoji="0" lang="en-US" sz="800" b="0" i="0" u="none" strike="noStrike" kern="1200" cap="none" spc="0" normalizeH="0" baseline="30000" noProof="0" dirty="0">
              <a:ln>
                <a:noFill/>
              </a:ln>
              <a:solidFill>
                <a:srgbClr val="000000"/>
              </a:solidFill>
              <a:effectLst/>
              <a:uLnTx/>
              <a:uFillTx/>
              <a:latin typeface="Open Sans"/>
              <a:ea typeface="+mn-ea"/>
              <a:cs typeface="+mn-cs"/>
            </a:endParaRPr>
          </a:p>
          <a:p>
            <a:pPr marL="0" marR="0" lvl="0" indent="0" algn="l" defTabSz="914400" rtl="0" eaLnBrk="1" fontAlgn="auto" latinLnBrk="0" hangingPunct="1">
              <a:lnSpc>
                <a:spcPct val="110000"/>
              </a:lnSpc>
              <a:spcBef>
                <a:spcPts val="0"/>
              </a:spcBef>
              <a:spcAft>
                <a:spcPts val="600"/>
              </a:spcAft>
              <a:buClrTx/>
              <a:buSzTx/>
              <a:buFontTx/>
              <a:buNone/>
              <a:tabLst/>
              <a:defRPr/>
            </a:pPr>
            <a:endParaRPr kumimoji="0" lang="en-US" sz="1000" b="1" i="0" u="none" strike="noStrike" kern="1200" cap="none" spc="0" normalizeH="0" baseline="0" noProof="0" dirty="0">
              <a:ln>
                <a:noFill/>
              </a:ln>
              <a:solidFill>
                <a:srgbClr val="000000"/>
              </a:solidFill>
              <a:effectLst/>
              <a:uLnTx/>
              <a:uFillTx/>
              <a:latin typeface="Open Sans"/>
              <a:ea typeface="+mn-ea"/>
              <a:cs typeface="+mn-cs"/>
            </a:endParaRPr>
          </a:p>
          <a:p>
            <a:pPr marL="171450" marR="0" lvl="0" indent="-171450"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1" name="Title 1">
            <a:extLst>
              <a:ext uri="{FF2B5EF4-FFF2-40B4-BE49-F238E27FC236}">
                <a16:creationId xmlns:a16="http://schemas.microsoft.com/office/drawing/2014/main" id="{55E89062-9766-4338-9834-82195B9A79DD}"/>
              </a:ext>
            </a:extLst>
          </p:cNvPr>
          <p:cNvSpPr txBox="1">
            <a:spLocks/>
          </p:cNvSpPr>
          <p:nvPr/>
        </p:nvSpPr>
        <p:spPr>
          <a:xfrm>
            <a:off x="7724495" y="1854819"/>
            <a:ext cx="4286460" cy="210718"/>
          </a:xfrm>
          <a:prstGeom prst="rect">
            <a:avLst/>
          </a:prstGeom>
        </p:spPr>
        <p:txBody>
          <a:bodyPr vert="horz" lIns="0" tIns="45720" rIns="0" bIns="0" rtlCol="0" anchor="ctr"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en-US" sz="1050" b="0" i="0" u="none" strike="noStrike" kern="1200" cap="none" spc="300" normalizeH="0" baseline="0" noProof="0" dirty="0">
                <a:ln>
                  <a:noFill/>
                </a:ln>
                <a:solidFill>
                  <a:srgbClr val="787878"/>
                </a:solidFill>
                <a:effectLst/>
                <a:uLnTx/>
                <a:uFillTx/>
                <a:latin typeface="Open Sans"/>
              </a:rPr>
              <a:t>THE DISCONNECT</a:t>
            </a:r>
          </a:p>
        </p:txBody>
      </p:sp>
      <p:sp>
        <p:nvSpPr>
          <p:cNvPr id="72" name="Title 1">
            <a:extLst>
              <a:ext uri="{FF2B5EF4-FFF2-40B4-BE49-F238E27FC236}">
                <a16:creationId xmlns:a16="http://schemas.microsoft.com/office/drawing/2014/main" id="{35D46815-BBB0-4C3B-908E-CB07A3AD3C33}"/>
              </a:ext>
            </a:extLst>
          </p:cNvPr>
          <p:cNvSpPr txBox="1">
            <a:spLocks/>
          </p:cNvSpPr>
          <p:nvPr/>
        </p:nvSpPr>
        <p:spPr>
          <a:xfrm>
            <a:off x="914400" y="1854819"/>
            <a:ext cx="4286460" cy="210718"/>
          </a:xfrm>
          <a:prstGeom prst="rect">
            <a:avLst/>
          </a:prstGeom>
        </p:spPr>
        <p:txBody>
          <a:bodyPr vert="horz" lIns="0" tIns="45720" rIns="0" bIns="0" rtlCol="0" anchor="ctr"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en-US" sz="1050" b="0" i="0" u="none" strike="noStrike" kern="1200" cap="none" spc="300" normalizeH="0" baseline="0" noProof="0" dirty="0">
                <a:ln>
                  <a:noFill/>
                </a:ln>
                <a:solidFill>
                  <a:srgbClr val="787878"/>
                </a:solidFill>
                <a:effectLst/>
                <a:uLnTx/>
                <a:uFillTx/>
                <a:latin typeface="Open Sans"/>
              </a:rPr>
              <a:t>THE DATA</a:t>
            </a:r>
          </a:p>
        </p:txBody>
      </p:sp>
      <p:pic>
        <p:nvPicPr>
          <p:cNvPr id="73" name="Picture 72">
            <a:extLst>
              <a:ext uri="{FF2B5EF4-FFF2-40B4-BE49-F238E27FC236}">
                <a16:creationId xmlns:a16="http://schemas.microsoft.com/office/drawing/2014/main" id="{27AF3036-EBC1-45B9-BFD9-4684BC0CA191}"/>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8224" y="2218932"/>
            <a:ext cx="1793167" cy="3974337"/>
          </a:xfrm>
          <a:prstGeom prst="rect">
            <a:avLst/>
          </a:prstGeom>
        </p:spPr>
      </p:pic>
    </p:spTree>
    <p:extLst>
      <p:ext uri="{BB962C8B-B14F-4D97-AF65-F5344CB8AC3E}">
        <p14:creationId xmlns:p14="http://schemas.microsoft.com/office/powerpoint/2010/main" val="928537468"/>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20"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Impact Summary</a:t>
            </a:r>
            <a:endParaRPr lang="en-US" dirty="0"/>
          </a:p>
        </p:txBody>
      </p:sp>
      <p:sp>
        <p:nvSpPr>
          <p:cNvPr id="3" name="Text Placeholder 2"/>
          <p:cNvSpPr>
            <a:spLocks noGrp="1"/>
          </p:cNvSpPr>
          <p:nvPr>
            <p:ph type="body" sz="quarter" idx="14"/>
          </p:nvPr>
        </p:nvSpPr>
        <p:spPr/>
        <p:txBody>
          <a:bodyPr/>
          <a:lstStyle/>
          <a:p>
            <a:pPr lvl="0">
              <a:buClr>
                <a:srgbClr val="787878"/>
              </a:buClr>
              <a:defRPr/>
            </a:pPr>
            <a:r>
              <a:rPr lang="en-US" spc="0" dirty="0">
                <a:solidFill>
                  <a:srgbClr val="000000"/>
                </a:solidFill>
              </a:rPr>
              <a:t> At currently modelled rates, this policy will decrease total Trade Investment from $150M to $140M while reallocating $10M of standard spend into incentive spend</a:t>
            </a:r>
          </a:p>
        </p:txBody>
      </p:sp>
      <p:sp>
        <p:nvSpPr>
          <p:cNvPr id="5" name="Text Placeholder 4"/>
          <p:cNvSpPr>
            <a:spLocks noGrp="1"/>
          </p:cNvSpPr>
          <p:nvPr>
            <p:ph type="body" sz="quarter" idx="15"/>
          </p:nvPr>
        </p:nvSpPr>
        <p:spPr/>
        <p:txBody>
          <a:bodyPr/>
          <a:lstStyle/>
          <a:p>
            <a:r>
              <a:rPr lang="en-US" dirty="0"/>
              <a:t>Data Visualization &amp; Infographics</a:t>
            </a:r>
          </a:p>
        </p:txBody>
      </p:sp>
      <p:graphicFrame>
        <p:nvGraphicFramePr>
          <p:cNvPr id="29" name="Table 28"/>
          <p:cNvGraphicFramePr>
            <a:graphicFrameLocks noGrp="1"/>
          </p:cNvGraphicFramePr>
          <p:nvPr/>
        </p:nvGraphicFramePr>
        <p:xfrm>
          <a:off x="625543" y="1992263"/>
          <a:ext cx="10378839" cy="4209007"/>
        </p:xfrm>
        <a:graphic>
          <a:graphicData uri="http://schemas.openxmlformats.org/drawingml/2006/table">
            <a:tbl>
              <a:tblPr firstRow="1" bandRow="1">
                <a:tableStyleId>{6E25E649-3F16-4E02-A733-19D2CDBF48F0}</a:tableStyleId>
              </a:tblPr>
              <a:tblGrid>
                <a:gridCol w="1452360">
                  <a:extLst>
                    <a:ext uri="{9D8B030D-6E8A-4147-A177-3AD203B41FA5}">
                      <a16:colId xmlns:a16="http://schemas.microsoft.com/office/drawing/2014/main" val="990794574"/>
                    </a:ext>
                  </a:extLst>
                </a:gridCol>
                <a:gridCol w="1307124">
                  <a:extLst>
                    <a:ext uri="{9D8B030D-6E8A-4147-A177-3AD203B41FA5}">
                      <a16:colId xmlns:a16="http://schemas.microsoft.com/office/drawing/2014/main" val="631558067"/>
                    </a:ext>
                  </a:extLst>
                </a:gridCol>
                <a:gridCol w="216747">
                  <a:extLst>
                    <a:ext uri="{9D8B030D-6E8A-4147-A177-3AD203B41FA5}">
                      <a16:colId xmlns:a16="http://schemas.microsoft.com/office/drawing/2014/main" val="20002"/>
                    </a:ext>
                  </a:extLst>
                </a:gridCol>
                <a:gridCol w="1307124">
                  <a:extLst>
                    <a:ext uri="{9D8B030D-6E8A-4147-A177-3AD203B41FA5}">
                      <a16:colId xmlns:a16="http://schemas.microsoft.com/office/drawing/2014/main" val="3850320652"/>
                    </a:ext>
                  </a:extLst>
                </a:gridCol>
                <a:gridCol w="216747">
                  <a:extLst>
                    <a:ext uri="{9D8B030D-6E8A-4147-A177-3AD203B41FA5}">
                      <a16:colId xmlns:a16="http://schemas.microsoft.com/office/drawing/2014/main" val="20004"/>
                    </a:ext>
                  </a:extLst>
                </a:gridCol>
                <a:gridCol w="1307124">
                  <a:extLst>
                    <a:ext uri="{9D8B030D-6E8A-4147-A177-3AD203B41FA5}">
                      <a16:colId xmlns:a16="http://schemas.microsoft.com/office/drawing/2014/main" val="20000"/>
                    </a:ext>
                  </a:extLst>
                </a:gridCol>
                <a:gridCol w="216747">
                  <a:extLst>
                    <a:ext uri="{9D8B030D-6E8A-4147-A177-3AD203B41FA5}">
                      <a16:colId xmlns:a16="http://schemas.microsoft.com/office/drawing/2014/main" val="20006"/>
                    </a:ext>
                  </a:extLst>
                </a:gridCol>
                <a:gridCol w="1307124">
                  <a:extLst>
                    <a:ext uri="{9D8B030D-6E8A-4147-A177-3AD203B41FA5}">
                      <a16:colId xmlns:a16="http://schemas.microsoft.com/office/drawing/2014/main" val="20001"/>
                    </a:ext>
                  </a:extLst>
                </a:gridCol>
                <a:gridCol w="216747">
                  <a:extLst>
                    <a:ext uri="{9D8B030D-6E8A-4147-A177-3AD203B41FA5}">
                      <a16:colId xmlns:a16="http://schemas.microsoft.com/office/drawing/2014/main" val="20008"/>
                    </a:ext>
                  </a:extLst>
                </a:gridCol>
                <a:gridCol w="1307124">
                  <a:extLst>
                    <a:ext uri="{9D8B030D-6E8A-4147-A177-3AD203B41FA5}">
                      <a16:colId xmlns:a16="http://schemas.microsoft.com/office/drawing/2014/main" val="3657216970"/>
                    </a:ext>
                  </a:extLst>
                </a:gridCol>
                <a:gridCol w="216747">
                  <a:extLst>
                    <a:ext uri="{9D8B030D-6E8A-4147-A177-3AD203B41FA5}">
                      <a16:colId xmlns:a16="http://schemas.microsoft.com/office/drawing/2014/main" val="20010"/>
                    </a:ext>
                  </a:extLst>
                </a:gridCol>
                <a:gridCol w="1307124">
                  <a:extLst>
                    <a:ext uri="{9D8B030D-6E8A-4147-A177-3AD203B41FA5}">
                      <a16:colId xmlns:a16="http://schemas.microsoft.com/office/drawing/2014/main" val="20011"/>
                    </a:ext>
                  </a:extLst>
                </a:gridCol>
              </a:tblGrid>
              <a:tr h="365760">
                <a:tc>
                  <a:txBody>
                    <a:bodyPr/>
                    <a:lstStyle/>
                    <a:p>
                      <a:pPr algn="l" fontAlgn="b"/>
                      <a:endParaRPr lang="en-US" sz="1100" b="1" i="0" u="none" strike="noStrike" dirty="0">
                        <a:solidFill>
                          <a:schemeClr val="tx1"/>
                        </a:solidFill>
                        <a:effectLst/>
                        <a:latin typeface="+mn-lt"/>
                      </a:endParaRPr>
                    </a:p>
                  </a:txBody>
                  <a:tcPr marT="91440" marB="91440" anchor="ctr">
                    <a:lnL>
                      <a:noFill/>
                    </a:lnL>
                    <a:lnR>
                      <a:noFill/>
                    </a:lnR>
                    <a:lnT w="254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chemeClr val="tx1"/>
                          </a:solidFill>
                          <a:effectLst/>
                          <a:latin typeface="+mn-lt"/>
                        </a:rPr>
                        <a:t>Segment</a:t>
                      </a:r>
                      <a:r>
                        <a:rPr lang="en-US" sz="1200" b="1" i="0" u="none" strike="noStrike" baseline="0" dirty="0">
                          <a:solidFill>
                            <a:schemeClr val="tx1"/>
                          </a:solidFill>
                          <a:effectLst/>
                          <a:latin typeface="+mn-lt"/>
                        </a:rPr>
                        <a:t> A</a:t>
                      </a:r>
                      <a:endParaRPr lang="en-US" sz="1200" b="1" i="0" u="none" strike="noStrike" dirty="0">
                        <a:solidFill>
                          <a:schemeClr val="tx1"/>
                        </a:solidFill>
                        <a:effectLst/>
                        <a:latin typeface="+mn-lt"/>
                      </a:endParaRPr>
                    </a:p>
                  </a:txBody>
                  <a:tcPr marT="91440" marB="91440" anchor="ctr">
                    <a:lnL>
                      <a:noFill/>
                    </a:lnL>
                    <a:lnR>
                      <a:noFill/>
                    </a:lnR>
                    <a:lnT w="25400" cmpd="sng">
                      <a:noFill/>
                    </a:lnT>
                    <a:lnB w="381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200" b="1" i="0" u="none" strike="noStrike" dirty="0">
                        <a:solidFill>
                          <a:schemeClr val="tx1"/>
                        </a:solidFill>
                        <a:effectLst/>
                        <a:latin typeface="+mn-lt"/>
                      </a:endParaRPr>
                    </a:p>
                  </a:txBody>
                  <a:tcPr marT="91440" marB="91440" anchor="ctr">
                    <a:lnL>
                      <a:noFill/>
                    </a:lnL>
                    <a:lnR>
                      <a:noFill/>
                    </a:lnR>
                    <a:lnT w="254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chemeClr val="tx1"/>
                          </a:solidFill>
                          <a:effectLst/>
                          <a:latin typeface="+mn-lt"/>
                        </a:rPr>
                        <a:t>Segment</a:t>
                      </a:r>
                      <a:r>
                        <a:rPr lang="en-US" sz="1200" b="1" i="0" u="none" strike="noStrike" baseline="0" dirty="0">
                          <a:solidFill>
                            <a:schemeClr val="tx1"/>
                          </a:solidFill>
                          <a:effectLst/>
                          <a:latin typeface="+mn-lt"/>
                        </a:rPr>
                        <a:t> B</a:t>
                      </a:r>
                      <a:endParaRPr lang="en-US" sz="1200" b="1" i="0" u="none" strike="noStrike" dirty="0">
                        <a:solidFill>
                          <a:schemeClr val="tx1"/>
                        </a:solidFill>
                        <a:effectLst/>
                        <a:latin typeface="+mn-lt"/>
                      </a:endParaRPr>
                    </a:p>
                  </a:txBody>
                  <a:tcPr marT="91440" marB="91440" anchor="ctr">
                    <a:lnL>
                      <a:noFill/>
                    </a:lnL>
                    <a:lnR>
                      <a:noFill/>
                    </a:lnR>
                    <a:lnT w="25400" cmpd="sng">
                      <a:noFill/>
                    </a:lnT>
                    <a:lnB w="381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200" b="1" i="0" u="none" strike="noStrike" dirty="0">
                        <a:solidFill>
                          <a:schemeClr val="tx1"/>
                        </a:solidFill>
                        <a:effectLst/>
                        <a:latin typeface="+mn-lt"/>
                      </a:endParaRPr>
                    </a:p>
                  </a:txBody>
                  <a:tcPr marT="91440" marB="91440" anchor="ctr">
                    <a:lnL>
                      <a:noFill/>
                    </a:lnL>
                    <a:lnR>
                      <a:noFill/>
                    </a:lnR>
                    <a:lnT w="254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chemeClr val="tx1"/>
                          </a:solidFill>
                          <a:effectLst/>
                          <a:latin typeface="+mn-lt"/>
                        </a:rPr>
                        <a:t>Segment C</a:t>
                      </a:r>
                    </a:p>
                  </a:txBody>
                  <a:tcPr marT="91440" marB="91440" anchor="ctr">
                    <a:lnL>
                      <a:noFill/>
                    </a:lnL>
                    <a:lnR>
                      <a:noFill/>
                    </a:lnR>
                    <a:lnT w="25400" cmpd="sng">
                      <a:noFill/>
                    </a:lnT>
                    <a:lnB w="381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200" b="1" i="0" u="none" strike="noStrike" dirty="0">
                        <a:solidFill>
                          <a:schemeClr val="tx1"/>
                        </a:solidFill>
                        <a:effectLst/>
                        <a:latin typeface="+mn-lt"/>
                      </a:endParaRPr>
                    </a:p>
                  </a:txBody>
                  <a:tcPr marT="91440" marB="91440" anchor="ctr">
                    <a:lnL>
                      <a:noFill/>
                    </a:lnL>
                    <a:lnR>
                      <a:noFill/>
                    </a:lnR>
                    <a:lnT w="254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chemeClr val="tx1"/>
                          </a:solidFill>
                          <a:effectLst/>
                          <a:latin typeface="+mn-lt"/>
                        </a:rPr>
                        <a:t>Segment D</a:t>
                      </a:r>
                    </a:p>
                  </a:txBody>
                  <a:tcPr marT="91440" marB="91440" anchor="ctr">
                    <a:lnL>
                      <a:noFill/>
                    </a:lnL>
                    <a:lnR>
                      <a:noFill/>
                    </a:lnR>
                    <a:lnT w="25400" cmpd="sng">
                      <a:noFill/>
                    </a:lnT>
                    <a:lnB w="38100"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200" b="1" i="0" u="none" strike="noStrike" dirty="0">
                        <a:solidFill>
                          <a:schemeClr val="tx1"/>
                        </a:solidFill>
                        <a:effectLst/>
                        <a:latin typeface="+mn-lt"/>
                      </a:endParaRPr>
                    </a:p>
                  </a:txBody>
                  <a:tcPr marT="91440" marB="91440" anchor="ctr">
                    <a:lnL>
                      <a:noFill/>
                    </a:lnL>
                    <a:lnR>
                      <a:noFill/>
                    </a:lnR>
                    <a:lnT w="254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chemeClr val="tx1"/>
                          </a:solidFill>
                          <a:effectLst/>
                          <a:latin typeface="+mn-lt"/>
                        </a:rPr>
                        <a:t>Segment E</a:t>
                      </a:r>
                    </a:p>
                  </a:txBody>
                  <a:tcPr marT="91440" marB="91440" anchor="ctr">
                    <a:lnL>
                      <a:noFill/>
                    </a:lnL>
                    <a:lnR>
                      <a:noFill/>
                    </a:lnR>
                    <a:lnT w="25400" cmpd="sng">
                      <a:noFill/>
                    </a:lnT>
                    <a:lnB w="38100" cap="flat" cmpd="sng" algn="ctr">
                      <a:solidFill>
                        <a:srgbClr val="FFCD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200" b="1" i="0" u="none" strike="noStrike" dirty="0">
                        <a:solidFill>
                          <a:schemeClr val="tx1"/>
                        </a:solidFill>
                        <a:effectLst/>
                        <a:latin typeface="+mn-lt"/>
                      </a:endParaRPr>
                    </a:p>
                  </a:txBody>
                  <a:tcPr marT="91440" marB="91440" anchor="ctr">
                    <a:lnL>
                      <a:noFill/>
                    </a:lnL>
                    <a:lnR>
                      <a:noFill/>
                    </a:lnR>
                    <a:lnT w="254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chemeClr val="tx1"/>
                          </a:solidFill>
                          <a:effectLst/>
                          <a:latin typeface="+mn-lt"/>
                        </a:rPr>
                        <a:t>Total</a:t>
                      </a:r>
                    </a:p>
                  </a:txBody>
                  <a:tcPr marT="91440" marB="91440" anchor="ctr">
                    <a:lnL>
                      <a:noFill/>
                    </a:lnL>
                    <a:lnR>
                      <a:noFill/>
                    </a:lnR>
                    <a:lnT w="25400" cmpd="sng">
                      <a:noFill/>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548640">
                <a:tc>
                  <a:txBody>
                    <a:bodyPr/>
                    <a:lstStyle/>
                    <a:p>
                      <a:pPr algn="r" fontAlgn="b"/>
                      <a:r>
                        <a:rPr lang="en-US" sz="1200" b="0" i="0" u="none" strike="noStrike" dirty="0">
                          <a:solidFill>
                            <a:srgbClr val="000000"/>
                          </a:solidFill>
                          <a:effectLst/>
                          <a:latin typeface="+mn-lt"/>
                        </a:rPr>
                        <a:t>Total Effective Discount</a:t>
                      </a:r>
                    </a:p>
                  </a:txBody>
                  <a:tcPr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rgbClr val="000000"/>
                          </a:solidFill>
                          <a:effectLst/>
                          <a:latin typeface="+mn-lt"/>
                        </a:rPr>
                        <a:t>7% </a:t>
                      </a:r>
                      <a:r>
                        <a:rPr lang="en-US" sz="1200" b="1" i="0" u="none" strike="noStrike" dirty="0">
                          <a:solidFill>
                            <a:srgbClr val="000000"/>
                          </a:solidFill>
                          <a:effectLst/>
                          <a:latin typeface="+mn-lt"/>
                          <a:sym typeface="Wingdings" panose="05000000000000000000" pitchFamily="2" charset="2"/>
                        </a:rPr>
                        <a:t></a:t>
                      </a:r>
                      <a:r>
                        <a:rPr lang="en-US" sz="1200" b="1" i="0" u="none" strike="noStrike" baseline="0" dirty="0">
                          <a:solidFill>
                            <a:srgbClr val="000000"/>
                          </a:solidFill>
                          <a:effectLst/>
                          <a:latin typeface="+mn-lt"/>
                        </a:rPr>
                        <a:t> 25%</a:t>
                      </a:r>
                      <a:endParaRPr lang="en-US" sz="1200" b="1"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200" b="1"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rgbClr val="000000"/>
                          </a:solidFill>
                          <a:effectLst/>
                          <a:latin typeface="+mn-lt"/>
                        </a:rPr>
                        <a:t>18% </a:t>
                      </a:r>
                      <a:r>
                        <a:rPr lang="en-US" sz="1200" b="1" i="0" u="none" strike="noStrike" dirty="0">
                          <a:solidFill>
                            <a:srgbClr val="000000"/>
                          </a:solidFill>
                          <a:effectLst/>
                          <a:latin typeface="+mn-lt"/>
                          <a:sym typeface="Wingdings" panose="05000000000000000000" pitchFamily="2" charset="2"/>
                        </a:rPr>
                        <a:t></a:t>
                      </a:r>
                      <a:r>
                        <a:rPr lang="en-US" sz="1200" b="1" i="0" u="none" strike="noStrike" dirty="0">
                          <a:solidFill>
                            <a:srgbClr val="000000"/>
                          </a:solidFill>
                          <a:effectLst/>
                          <a:latin typeface="+mn-lt"/>
                        </a:rPr>
                        <a:t> 23%</a:t>
                      </a: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200" b="1"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rgbClr val="000000"/>
                          </a:solidFill>
                          <a:effectLst/>
                          <a:latin typeface="+mn-lt"/>
                        </a:rPr>
                        <a:t>26% </a:t>
                      </a:r>
                      <a:r>
                        <a:rPr lang="en-US" sz="1200" b="1" i="0" u="none" strike="noStrike" dirty="0">
                          <a:solidFill>
                            <a:srgbClr val="000000"/>
                          </a:solidFill>
                          <a:effectLst/>
                          <a:latin typeface="+mn-lt"/>
                          <a:sym typeface="Wingdings" panose="05000000000000000000" pitchFamily="2" charset="2"/>
                        </a:rPr>
                        <a:t></a:t>
                      </a:r>
                      <a:r>
                        <a:rPr lang="en-US" sz="1200" b="1" i="0" u="none" strike="noStrike" baseline="0" dirty="0">
                          <a:solidFill>
                            <a:srgbClr val="000000"/>
                          </a:solidFill>
                          <a:effectLst/>
                          <a:latin typeface="+mn-lt"/>
                        </a:rPr>
                        <a:t> 25%</a:t>
                      </a:r>
                      <a:endParaRPr lang="en-US" sz="1200" b="1" i="0" u="none" strike="noStrike" dirty="0">
                        <a:solidFill>
                          <a:srgbClr val="000000"/>
                        </a:solidFill>
                        <a:effectLst/>
                        <a:latin typeface="+mn-lt"/>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200" b="1"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rgbClr val="000000"/>
                          </a:solidFill>
                          <a:effectLst/>
                          <a:latin typeface="+mn-lt"/>
                        </a:rPr>
                        <a:t>20% </a:t>
                      </a:r>
                      <a:r>
                        <a:rPr lang="en-US" sz="1200" b="1" i="0" u="none" strike="noStrike" dirty="0">
                          <a:solidFill>
                            <a:srgbClr val="000000"/>
                          </a:solidFill>
                          <a:effectLst/>
                          <a:latin typeface="+mn-lt"/>
                          <a:sym typeface="Wingdings" panose="05000000000000000000" pitchFamily="2" charset="2"/>
                        </a:rPr>
                        <a:t></a:t>
                      </a:r>
                      <a:r>
                        <a:rPr lang="en-US" sz="1200" b="1" i="0" u="none" strike="noStrike" dirty="0">
                          <a:solidFill>
                            <a:srgbClr val="000000"/>
                          </a:solidFill>
                          <a:effectLst/>
                          <a:latin typeface="+mn-lt"/>
                        </a:rPr>
                        <a:t> 19%</a:t>
                      </a: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200" b="1"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rgbClr val="000000"/>
                          </a:solidFill>
                          <a:effectLst/>
                          <a:latin typeface="+mn-lt"/>
                        </a:rPr>
                        <a:t>44%</a:t>
                      </a:r>
                      <a:r>
                        <a:rPr lang="en-US" sz="1200" b="1" i="0" u="none" strike="noStrike" dirty="0">
                          <a:solidFill>
                            <a:srgbClr val="000000"/>
                          </a:solidFill>
                          <a:effectLst/>
                          <a:latin typeface="+mn-lt"/>
                          <a:sym typeface="Wingdings" panose="05000000000000000000" pitchFamily="2" charset="2"/>
                        </a:rPr>
                        <a:t>44%</a:t>
                      </a:r>
                      <a:endParaRPr lang="en-US" sz="1200" b="1"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rgbClr val="FFCD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1"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rgbClr val="000000"/>
                          </a:solidFill>
                          <a:effectLst/>
                          <a:latin typeface="+mn-lt"/>
                        </a:rPr>
                        <a:t>22% </a:t>
                      </a:r>
                      <a:r>
                        <a:rPr lang="en-US" sz="1200" b="1" i="0" u="none" strike="noStrike" dirty="0">
                          <a:solidFill>
                            <a:srgbClr val="000000"/>
                          </a:solidFill>
                          <a:effectLst/>
                          <a:latin typeface="+mn-lt"/>
                          <a:sym typeface="Wingdings" panose="05000000000000000000" pitchFamily="2" charset="2"/>
                        </a:rPr>
                        <a:t></a:t>
                      </a:r>
                      <a:r>
                        <a:rPr lang="en-US" sz="1200" b="1" i="0" u="none" strike="noStrike" baseline="0" dirty="0">
                          <a:solidFill>
                            <a:srgbClr val="000000"/>
                          </a:solidFill>
                          <a:effectLst/>
                          <a:latin typeface="+mn-lt"/>
                        </a:rPr>
                        <a:t> 21%</a:t>
                      </a:r>
                      <a:endParaRPr lang="en-US" sz="1200" b="1"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64160">
                <a:tc>
                  <a:txBody>
                    <a:bodyPr/>
                    <a:lstStyle/>
                    <a:p>
                      <a:pPr algn="r" fontAlgn="b"/>
                      <a:endParaRPr lang="en-US" sz="500" b="0" i="0" u="none" strike="noStrike" dirty="0">
                        <a:solidFill>
                          <a:srgbClr val="000000"/>
                        </a:solidFill>
                        <a:effectLst/>
                        <a:latin typeface="+mn-lt"/>
                      </a:endParaRPr>
                    </a:p>
                  </a:txBody>
                  <a:tcPr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500" b="1"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500" b="1"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500" b="1" i="0" u="none" strike="noStrike" dirty="0">
                        <a:solidFill>
                          <a:srgbClr val="000000"/>
                        </a:solidFill>
                        <a:effectLst/>
                        <a:latin typeface="+mn-lt"/>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500" b="1"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500" b="1" i="0" u="none" strike="noStrike" dirty="0">
                        <a:solidFill>
                          <a:srgbClr val="000000"/>
                        </a:solidFill>
                        <a:effectLst/>
                        <a:latin typeface="+mn-lt"/>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500" b="1"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500" b="1" i="0" u="none" strike="noStrike" dirty="0">
                        <a:solidFill>
                          <a:srgbClr val="000000"/>
                        </a:solidFill>
                        <a:effectLst/>
                        <a:latin typeface="+mn-lt"/>
                      </a:endParaRPr>
                    </a:p>
                  </a:txBody>
                  <a:tcPr marL="0" marR="0"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500" b="1"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500" b="1"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500" b="1"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500" b="1"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1841727">
                <a:tc>
                  <a:txBody>
                    <a:bodyPr/>
                    <a:lstStyle/>
                    <a:p>
                      <a:pPr algn="r" fontAlgn="b"/>
                      <a:r>
                        <a:rPr lang="en-US" sz="1200" b="0" i="0" u="none" strike="noStrike" dirty="0">
                          <a:solidFill>
                            <a:srgbClr val="000000"/>
                          </a:solidFill>
                          <a:effectLst/>
                          <a:latin typeface="+mn-lt"/>
                        </a:rPr>
                        <a:t>Discount Mix</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100" b="0"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100" b="0"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100" b="0"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100" b="0"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100" b="0"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100" b="0"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100" b="0"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100" b="0"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100" b="0"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100" b="0"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76234327"/>
                  </a:ext>
                </a:extLst>
              </a:tr>
              <a:tr h="1188720">
                <a:tc>
                  <a:txBody>
                    <a:bodyPr/>
                    <a:lstStyle/>
                    <a:p>
                      <a:pPr algn="r" fontAlgn="b"/>
                      <a:r>
                        <a:rPr lang="en-US" sz="1200" b="0" i="0" u="none" strike="noStrike" dirty="0">
                          <a:solidFill>
                            <a:srgbClr val="000000"/>
                          </a:solidFill>
                          <a:effectLst/>
                          <a:latin typeface="+mn-lt"/>
                        </a:rPr>
                        <a:t>Total Trade Investment</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100" b="0"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100" b="0"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100" b="0"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100" b="0"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100" b="0"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100" b="0"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100" b="0"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100" b="0"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100" b="0"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100" b="0" i="0" u="none" strike="noStrike" dirty="0">
                        <a:solidFill>
                          <a:srgbClr val="000000"/>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graphicFrame>
        <p:nvGraphicFramePr>
          <p:cNvPr id="30" name="Chart 29"/>
          <p:cNvGraphicFramePr/>
          <p:nvPr/>
        </p:nvGraphicFramePr>
        <p:xfrm>
          <a:off x="1928038" y="2816572"/>
          <a:ext cx="1601984" cy="204275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1" name="Chart 30"/>
          <p:cNvGraphicFramePr/>
          <p:nvPr/>
        </p:nvGraphicFramePr>
        <p:xfrm>
          <a:off x="3448222" y="2816572"/>
          <a:ext cx="1601984" cy="204275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2" name="Chart 31"/>
          <p:cNvGraphicFramePr/>
          <p:nvPr/>
        </p:nvGraphicFramePr>
        <p:xfrm>
          <a:off x="4968406" y="2816572"/>
          <a:ext cx="1601984" cy="2042755"/>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33" name="Chart 32"/>
          <p:cNvGraphicFramePr/>
          <p:nvPr/>
        </p:nvGraphicFramePr>
        <p:xfrm>
          <a:off x="6488590" y="2816572"/>
          <a:ext cx="1601984" cy="204275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4" name="Chart 33"/>
          <p:cNvGraphicFramePr/>
          <p:nvPr/>
        </p:nvGraphicFramePr>
        <p:xfrm>
          <a:off x="9528962" y="2816572"/>
          <a:ext cx="1601984" cy="2042755"/>
        </p:xfrm>
        <a:graphic>
          <a:graphicData uri="http://schemas.openxmlformats.org/drawingml/2006/chart">
            <c:chart xmlns:c="http://schemas.openxmlformats.org/drawingml/2006/chart" xmlns:r="http://schemas.openxmlformats.org/officeDocument/2006/relationships" r:id="rId11"/>
          </a:graphicData>
        </a:graphic>
      </p:graphicFrame>
      <p:cxnSp>
        <p:nvCxnSpPr>
          <p:cNvPr id="35" name="Straight Connector 34"/>
          <p:cNvCxnSpPr/>
          <p:nvPr/>
        </p:nvCxnSpPr>
        <p:spPr>
          <a:xfrm>
            <a:off x="6529490" y="2875027"/>
            <a:ext cx="0" cy="203110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5009306" y="2875027"/>
            <a:ext cx="0" cy="203110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3489122" y="2875027"/>
            <a:ext cx="0" cy="203110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8" name="Rounded Rectangle 37"/>
          <p:cNvSpPr/>
          <p:nvPr/>
        </p:nvSpPr>
        <p:spPr bwMode="gray">
          <a:xfrm>
            <a:off x="1004932" y="4209811"/>
            <a:ext cx="1028427" cy="347957"/>
          </a:xfrm>
          <a:prstGeom prst="roundRect">
            <a:avLst/>
          </a:prstGeom>
          <a:solidFill>
            <a:schemeClr val="bg1"/>
          </a:solidFill>
          <a:ln w="9525" algn="ctr">
            <a:solidFill>
              <a:schemeClr val="tx2"/>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39" name="Rounded Rectangle 38"/>
          <p:cNvSpPr/>
          <p:nvPr/>
        </p:nvSpPr>
        <p:spPr bwMode="gray">
          <a:xfrm>
            <a:off x="1061951" y="4262407"/>
            <a:ext cx="457195" cy="242763"/>
          </a:xfrm>
          <a:prstGeom prst="roundRect">
            <a:avLst/>
          </a:prstGeom>
          <a:solidFill>
            <a:schemeClr val="bg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500" b="1" i="0" u="none" strike="noStrike" kern="1200" cap="none" spc="0" normalizeH="0" baseline="0" noProof="0" dirty="0">
                <a:ln>
                  <a:noFill/>
                </a:ln>
                <a:solidFill>
                  <a:srgbClr val="53565A"/>
                </a:solidFill>
                <a:effectLst/>
                <a:uLnTx/>
                <a:uFillTx/>
                <a:latin typeface="Verdana"/>
                <a:ea typeface="+mn-ea"/>
                <a:cs typeface="+mn-cs"/>
              </a:rPr>
              <a:t>Std.</a:t>
            </a:r>
          </a:p>
        </p:txBody>
      </p:sp>
      <p:sp>
        <p:nvSpPr>
          <p:cNvPr id="40" name="Rounded Rectangle 39"/>
          <p:cNvSpPr/>
          <p:nvPr/>
        </p:nvSpPr>
        <p:spPr bwMode="gray">
          <a:xfrm>
            <a:off x="1537922" y="4262407"/>
            <a:ext cx="457195" cy="242763"/>
          </a:xfrm>
          <a:prstGeom prst="round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500" b="1" i="0" u="none" strike="noStrike" kern="1200" cap="none" spc="0" normalizeH="0" baseline="0" noProof="0" dirty="0">
                <a:ln>
                  <a:noFill/>
                </a:ln>
                <a:solidFill>
                  <a:prstClr val="white"/>
                </a:solidFill>
                <a:effectLst/>
                <a:uLnTx/>
                <a:uFillTx/>
                <a:latin typeface="Verdana"/>
                <a:ea typeface="+mn-ea"/>
                <a:cs typeface="+mn-cs"/>
              </a:rPr>
              <a:t>Perf. Based</a:t>
            </a:r>
          </a:p>
        </p:txBody>
      </p:sp>
      <p:sp>
        <p:nvSpPr>
          <p:cNvPr id="41" name="Up Arrow 40"/>
          <p:cNvSpPr/>
          <p:nvPr/>
        </p:nvSpPr>
        <p:spPr bwMode="gray">
          <a:xfrm>
            <a:off x="2142359" y="5118150"/>
            <a:ext cx="1173345" cy="687823"/>
          </a:xfrm>
          <a:prstGeom prst="upArrow">
            <a:avLst/>
          </a:prstGeom>
          <a:solidFill>
            <a:schemeClr val="accent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dirty="0">
                <a:ln>
                  <a:noFill/>
                </a:ln>
                <a:solidFill>
                  <a:prstClr val="white"/>
                </a:solidFill>
                <a:effectLst/>
                <a:uLnTx/>
                <a:uFillTx/>
                <a:latin typeface="Verdana"/>
                <a:ea typeface="+mn-ea"/>
                <a:cs typeface="+mn-cs"/>
              </a:rPr>
              <a:t>261%</a:t>
            </a:r>
          </a:p>
        </p:txBody>
      </p:sp>
      <p:sp>
        <p:nvSpPr>
          <p:cNvPr id="42" name="Up Arrow 41"/>
          <p:cNvSpPr/>
          <p:nvPr/>
        </p:nvSpPr>
        <p:spPr bwMode="gray">
          <a:xfrm>
            <a:off x="3654641" y="5118150"/>
            <a:ext cx="1173345" cy="687823"/>
          </a:xfrm>
          <a:prstGeom prst="upArrow">
            <a:avLst/>
          </a:prstGeom>
          <a:solidFill>
            <a:schemeClr val="accent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dirty="0">
                <a:ln>
                  <a:noFill/>
                </a:ln>
                <a:solidFill>
                  <a:prstClr val="white"/>
                </a:solidFill>
                <a:effectLst/>
                <a:uLnTx/>
                <a:uFillTx/>
                <a:latin typeface="Verdana"/>
                <a:ea typeface="+mn-ea"/>
                <a:cs typeface="+mn-cs"/>
              </a:rPr>
              <a:t>27%</a:t>
            </a:r>
          </a:p>
        </p:txBody>
      </p:sp>
      <p:sp>
        <p:nvSpPr>
          <p:cNvPr id="43" name="Down Arrow 42"/>
          <p:cNvSpPr/>
          <p:nvPr/>
        </p:nvSpPr>
        <p:spPr bwMode="gray">
          <a:xfrm>
            <a:off x="5166924" y="5118150"/>
            <a:ext cx="1190351" cy="687823"/>
          </a:xfrm>
          <a:prstGeom prst="downArrow">
            <a:avLst/>
          </a:prstGeom>
          <a:solidFill>
            <a:schemeClr val="accent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dirty="0">
                <a:ln>
                  <a:noFill/>
                </a:ln>
                <a:solidFill>
                  <a:prstClr val="white"/>
                </a:solidFill>
                <a:effectLst/>
                <a:uLnTx/>
                <a:uFillTx/>
                <a:latin typeface="Verdana"/>
                <a:ea typeface="+mn-ea"/>
                <a:cs typeface="+mn-cs"/>
              </a:rPr>
              <a:t>4%</a:t>
            </a:r>
          </a:p>
        </p:txBody>
      </p:sp>
      <p:sp>
        <p:nvSpPr>
          <p:cNvPr id="44" name="Down Arrow 43"/>
          <p:cNvSpPr/>
          <p:nvPr/>
        </p:nvSpPr>
        <p:spPr bwMode="gray">
          <a:xfrm>
            <a:off x="9734778" y="5118150"/>
            <a:ext cx="1190351" cy="687823"/>
          </a:xfrm>
          <a:prstGeom prst="downArrow">
            <a:avLst/>
          </a:prstGeom>
          <a:solidFill>
            <a:schemeClr val="accent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dirty="0">
                <a:ln>
                  <a:noFill/>
                </a:ln>
                <a:solidFill>
                  <a:prstClr val="white"/>
                </a:solidFill>
                <a:effectLst/>
                <a:uLnTx/>
                <a:uFillTx/>
                <a:latin typeface="Verdana"/>
                <a:ea typeface="+mn-ea"/>
                <a:cs typeface="+mn-cs"/>
              </a:rPr>
              <a:t>4%</a:t>
            </a:r>
          </a:p>
        </p:txBody>
      </p:sp>
      <p:sp>
        <p:nvSpPr>
          <p:cNvPr id="45" name="Down Arrow 44"/>
          <p:cNvSpPr/>
          <p:nvPr/>
        </p:nvSpPr>
        <p:spPr bwMode="gray">
          <a:xfrm>
            <a:off x="6696213" y="5118150"/>
            <a:ext cx="1190351" cy="687823"/>
          </a:xfrm>
          <a:prstGeom prst="downArrow">
            <a:avLst/>
          </a:prstGeom>
          <a:solidFill>
            <a:schemeClr val="accent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dirty="0">
                <a:ln>
                  <a:noFill/>
                </a:ln>
                <a:solidFill>
                  <a:prstClr val="white"/>
                </a:solidFill>
                <a:effectLst/>
                <a:uLnTx/>
                <a:uFillTx/>
                <a:latin typeface="Verdana"/>
                <a:ea typeface="+mn-ea"/>
                <a:cs typeface="+mn-cs"/>
              </a:rPr>
              <a:t>7%</a:t>
            </a:r>
          </a:p>
        </p:txBody>
      </p:sp>
      <p:sp>
        <p:nvSpPr>
          <p:cNvPr id="46" name="Rectangle 45"/>
          <p:cNvSpPr/>
          <p:nvPr/>
        </p:nvSpPr>
        <p:spPr bwMode="gray">
          <a:xfrm>
            <a:off x="2178459" y="5749822"/>
            <a:ext cx="1101142" cy="344038"/>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dirty="0">
                <a:ln>
                  <a:noFill/>
                </a:ln>
                <a:solidFill>
                  <a:srgbClr val="53565A"/>
                </a:solidFill>
                <a:effectLst/>
                <a:uLnTx/>
                <a:uFillTx/>
                <a:latin typeface="Verdana"/>
                <a:ea typeface="+mn-ea"/>
                <a:cs typeface="+mn-cs"/>
              </a:rPr>
              <a:t>$0.9M</a:t>
            </a:r>
          </a:p>
        </p:txBody>
      </p:sp>
      <p:sp>
        <p:nvSpPr>
          <p:cNvPr id="47" name="Rectangle 46"/>
          <p:cNvSpPr/>
          <p:nvPr/>
        </p:nvSpPr>
        <p:spPr bwMode="gray">
          <a:xfrm>
            <a:off x="3690742" y="5749822"/>
            <a:ext cx="1101142" cy="344038"/>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dirty="0">
                <a:ln>
                  <a:noFill/>
                </a:ln>
                <a:solidFill>
                  <a:srgbClr val="53565A"/>
                </a:solidFill>
                <a:effectLst/>
                <a:uLnTx/>
                <a:uFillTx/>
                <a:latin typeface="Verdana"/>
                <a:ea typeface="+mn-ea"/>
                <a:cs typeface="+mn-cs"/>
              </a:rPr>
              <a:t>$2.0M</a:t>
            </a:r>
          </a:p>
        </p:txBody>
      </p:sp>
      <p:sp>
        <p:nvSpPr>
          <p:cNvPr id="48" name="Rectangle 47"/>
          <p:cNvSpPr/>
          <p:nvPr/>
        </p:nvSpPr>
        <p:spPr bwMode="gray">
          <a:xfrm>
            <a:off x="5211528" y="5749822"/>
            <a:ext cx="1101142" cy="344038"/>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dirty="0">
                <a:ln>
                  <a:noFill/>
                </a:ln>
                <a:solidFill>
                  <a:srgbClr val="53565A"/>
                </a:solidFill>
                <a:effectLst/>
                <a:uLnTx/>
                <a:uFillTx/>
                <a:latin typeface="Verdana"/>
                <a:ea typeface="+mn-ea"/>
                <a:cs typeface="+mn-cs"/>
              </a:rPr>
              <a:t>($2.9M)</a:t>
            </a:r>
          </a:p>
        </p:txBody>
      </p:sp>
      <p:sp>
        <p:nvSpPr>
          <p:cNvPr id="49" name="Rectangle 48"/>
          <p:cNvSpPr/>
          <p:nvPr/>
        </p:nvSpPr>
        <p:spPr bwMode="gray">
          <a:xfrm>
            <a:off x="6740817" y="5749822"/>
            <a:ext cx="1101142" cy="344038"/>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dirty="0">
                <a:ln>
                  <a:noFill/>
                </a:ln>
                <a:solidFill>
                  <a:srgbClr val="53565A"/>
                </a:solidFill>
                <a:effectLst/>
                <a:uLnTx/>
                <a:uFillTx/>
                <a:latin typeface="Verdana"/>
                <a:ea typeface="+mn-ea"/>
                <a:cs typeface="+mn-cs"/>
              </a:rPr>
              <a:t>($6.3M)</a:t>
            </a:r>
          </a:p>
        </p:txBody>
      </p:sp>
      <p:sp>
        <p:nvSpPr>
          <p:cNvPr id="51" name="Rectangle 50"/>
          <p:cNvSpPr/>
          <p:nvPr/>
        </p:nvSpPr>
        <p:spPr bwMode="gray">
          <a:xfrm>
            <a:off x="9779382" y="5749822"/>
            <a:ext cx="1101142" cy="344038"/>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dirty="0">
                <a:ln>
                  <a:noFill/>
                </a:ln>
                <a:solidFill>
                  <a:srgbClr val="53565A"/>
                </a:solidFill>
                <a:effectLst/>
                <a:uLnTx/>
                <a:uFillTx/>
                <a:latin typeface="Verdana"/>
                <a:ea typeface="+mn-ea"/>
                <a:cs typeface="+mn-cs"/>
              </a:rPr>
              <a:t>($6.2M)</a:t>
            </a:r>
          </a:p>
        </p:txBody>
      </p:sp>
      <p:graphicFrame>
        <p:nvGraphicFramePr>
          <p:cNvPr id="74" name="Chart 73"/>
          <p:cNvGraphicFramePr/>
          <p:nvPr/>
        </p:nvGraphicFramePr>
        <p:xfrm>
          <a:off x="8008774" y="2816572"/>
          <a:ext cx="1601984" cy="2042755"/>
        </p:xfrm>
        <a:graphic>
          <a:graphicData uri="http://schemas.openxmlformats.org/drawingml/2006/chart">
            <c:chart xmlns:c="http://schemas.openxmlformats.org/drawingml/2006/chart" xmlns:r="http://schemas.openxmlformats.org/officeDocument/2006/relationships" r:id="rId12"/>
          </a:graphicData>
        </a:graphic>
      </p:graphicFrame>
      <p:cxnSp>
        <p:nvCxnSpPr>
          <p:cNvPr id="75" name="Straight Connector 74"/>
          <p:cNvCxnSpPr/>
          <p:nvPr/>
        </p:nvCxnSpPr>
        <p:spPr>
          <a:xfrm>
            <a:off x="8049674" y="2875027"/>
            <a:ext cx="0" cy="203110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9569858" y="2875027"/>
            <a:ext cx="0" cy="203110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77" name="Rectangle 76"/>
          <p:cNvSpPr/>
          <p:nvPr/>
        </p:nvSpPr>
        <p:spPr bwMode="gray">
          <a:xfrm>
            <a:off x="8387235" y="5473304"/>
            <a:ext cx="819119" cy="86813"/>
          </a:xfrm>
          <a:prstGeom prst="rect">
            <a:avLst/>
          </a:prstGeom>
          <a:solidFill>
            <a:schemeClr val="accent6">
              <a:lumMod val="60000"/>
              <a:lumOff val="4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78" name="Rectangle 77"/>
          <p:cNvSpPr/>
          <p:nvPr/>
        </p:nvSpPr>
        <p:spPr bwMode="gray">
          <a:xfrm>
            <a:off x="8246224" y="5732114"/>
            <a:ext cx="1101142" cy="344038"/>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dirty="0">
                <a:ln>
                  <a:noFill/>
                </a:ln>
                <a:solidFill>
                  <a:srgbClr val="53565A"/>
                </a:solidFill>
                <a:effectLst/>
                <a:uLnTx/>
                <a:uFillTx/>
                <a:latin typeface="Verdana"/>
                <a:ea typeface="+mn-ea"/>
                <a:cs typeface="+mn-cs"/>
              </a:rPr>
              <a:t>($0M)</a:t>
            </a:r>
          </a:p>
        </p:txBody>
      </p:sp>
    </p:spTree>
    <p:extLst>
      <p:ext uri="{BB962C8B-B14F-4D97-AF65-F5344CB8AC3E}">
        <p14:creationId xmlns:p14="http://schemas.microsoft.com/office/powerpoint/2010/main" val="2557598102"/>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244"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Survey Results</a:t>
            </a:r>
            <a:endParaRPr lang="en-US" dirty="0"/>
          </a:p>
        </p:txBody>
      </p:sp>
      <p:sp>
        <p:nvSpPr>
          <p:cNvPr id="3" name="Text Placeholder 2"/>
          <p:cNvSpPr>
            <a:spLocks noGrp="1"/>
          </p:cNvSpPr>
          <p:nvPr>
            <p:ph type="body" sz="quarter" idx="14"/>
          </p:nvPr>
        </p:nvSpPr>
        <p:spPr/>
        <p:txBody>
          <a:bodyPr/>
          <a:lstStyle/>
          <a:p>
            <a:pPr lvl="0">
              <a:buClr>
                <a:srgbClr val="787878"/>
              </a:buClr>
              <a:defRPr/>
            </a:pPr>
            <a:r>
              <a:rPr lang="en-US" spc="0" dirty="0">
                <a:solidFill>
                  <a:srgbClr val="000000"/>
                </a:solidFill>
              </a:rPr>
              <a:t> Consumers spend more per transaction when digitally influenced, but many CPGs still rely heavily on traditional in-store promotions and media</a:t>
            </a:r>
          </a:p>
        </p:txBody>
      </p:sp>
      <p:sp>
        <p:nvSpPr>
          <p:cNvPr id="5" name="Text Placeholder 4"/>
          <p:cNvSpPr>
            <a:spLocks noGrp="1"/>
          </p:cNvSpPr>
          <p:nvPr>
            <p:ph type="body" sz="quarter" idx="15"/>
          </p:nvPr>
        </p:nvSpPr>
        <p:spPr/>
        <p:txBody>
          <a:bodyPr/>
          <a:lstStyle/>
          <a:p>
            <a:r>
              <a:rPr lang="en-US" dirty="0"/>
              <a:t>Data Visualization &amp; Infographics</a:t>
            </a:r>
          </a:p>
        </p:txBody>
      </p:sp>
      <p:sp>
        <p:nvSpPr>
          <p:cNvPr id="50" name="Rectangle 49">
            <a:extLst>
              <a:ext uri="{FF2B5EF4-FFF2-40B4-BE49-F238E27FC236}">
                <a16:creationId xmlns:a16="http://schemas.microsoft.com/office/drawing/2014/main" id="{94AFD7B4-FBC1-4CD0-98B0-ACA993AA1A14}"/>
              </a:ext>
            </a:extLst>
          </p:cNvPr>
          <p:cNvSpPr/>
          <p:nvPr/>
        </p:nvSpPr>
        <p:spPr>
          <a:xfrm>
            <a:off x="7468470" y="1880027"/>
            <a:ext cx="4723529" cy="473505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cxnSp>
        <p:nvCxnSpPr>
          <p:cNvPr id="52" name="Straight Connector 51">
            <a:extLst>
              <a:ext uri="{FF2B5EF4-FFF2-40B4-BE49-F238E27FC236}">
                <a16:creationId xmlns:a16="http://schemas.microsoft.com/office/drawing/2014/main" id="{EC34E31B-B8CB-4D23-B820-984F18FC2414}"/>
              </a:ext>
            </a:extLst>
          </p:cNvPr>
          <p:cNvCxnSpPr>
            <a:cxnSpLocks/>
          </p:cNvCxnSpPr>
          <p:nvPr/>
        </p:nvCxnSpPr>
        <p:spPr>
          <a:xfrm>
            <a:off x="7724495" y="2558463"/>
            <a:ext cx="3596175"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53" name="Title 1">
            <a:extLst>
              <a:ext uri="{FF2B5EF4-FFF2-40B4-BE49-F238E27FC236}">
                <a16:creationId xmlns:a16="http://schemas.microsoft.com/office/drawing/2014/main" id="{E3F106A7-0DFD-4658-BA31-D39626882560}"/>
              </a:ext>
            </a:extLst>
          </p:cNvPr>
          <p:cNvSpPr txBox="1">
            <a:spLocks/>
          </p:cNvSpPr>
          <p:nvPr/>
        </p:nvSpPr>
        <p:spPr>
          <a:xfrm>
            <a:off x="7724495" y="2000730"/>
            <a:ext cx="4286460" cy="210718"/>
          </a:xfrm>
          <a:prstGeom prst="rect">
            <a:avLst/>
          </a:prstGeom>
        </p:spPr>
        <p:txBody>
          <a:bodyPr vert="horz" lIns="0" tIns="45720" rIns="0" bIns="0" rtlCol="0" anchor="ctr"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en-US" sz="1050" b="0" i="0" u="none" strike="noStrike" kern="1200" cap="none" spc="300" normalizeH="0" baseline="0" noProof="0" dirty="0">
                <a:ln>
                  <a:noFill/>
                </a:ln>
                <a:solidFill>
                  <a:srgbClr val="787878"/>
                </a:solidFill>
                <a:effectLst/>
                <a:uLnTx/>
                <a:uFillTx/>
                <a:latin typeface="Open Sans"/>
              </a:rPr>
              <a:t>THE DISCONNECT</a:t>
            </a:r>
          </a:p>
        </p:txBody>
      </p:sp>
      <p:sp>
        <p:nvSpPr>
          <p:cNvPr id="54" name="Title 1">
            <a:extLst>
              <a:ext uri="{FF2B5EF4-FFF2-40B4-BE49-F238E27FC236}">
                <a16:creationId xmlns:a16="http://schemas.microsoft.com/office/drawing/2014/main" id="{73E2BFF7-59D7-4A8F-8A54-D667709A5736}"/>
              </a:ext>
            </a:extLst>
          </p:cNvPr>
          <p:cNvSpPr txBox="1">
            <a:spLocks/>
          </p:cNvSpPr>
          <p:nvPr/>
        </p:nvSpPr>
        <p:spPr>
          <a:xfrm>
            <a:off x="914400" y="1699171"/>
            <a:ext cx="4286460" cy="210718"/>
          </a:xfrm>
          <a:prstGeom prst="rect">
            <a:avLst/>
          </a:prstGeom>
        </p:spPr>
        <p:txBody>
          <a:bodyPr vert="horz" lIns="0" tIns="45720" rIns="0" bIns="0" rtlCol="0" anchor="ctr"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en-US" sz="1050" b="0" i="0" u="none" strike="noStrike" kern="1200" cap="none" spc="300" normalizeH="0" baseline="0" noProof="0" dirty="0">
                <a:ln>
                  <a:noFill/>
                </a:ln>
                <a:solidFill>
                  <a:srgbClr val="787878"/>
                </a:solidFill>
                <a:effectLst/>
                <a:uLnTx/>
                <a:uFillTx/>
                <a:latin typeface="Open Sans"/>
              </a:rPr>
              <a:t>THE DATA</a:t>
            </a:r>
          </a:p>
        </p:txBody>
      </p:sp>
      <p:sp>
        <p:nvSpPr>
          <p:cNvPr id="55" name="Title 1">
            <a:extLst>
              <a:ext uri="{FF2B5EF4-FFF2-40B4-BE49-F238E27FC236}">
                <a16:creationId xmlns:a16="http://schemas.microsoft.com/office/drawing/2014/main" id="{BC388DC5-49B1-42B0-BCFE-8FF0250193C5}"/>
              </a:ext>
            </a:extLst>
          </p:cNvPr>
          <p:cNvSpPr txBox="1">
            <a:spLocks/>
          </p:cNvSpPr>
          <p:nvPr/>
        </p:nvSpPr>
        <p:spPr>
          <a:xfrm>
            <a:off x="7727323" y="2364843"/>
            <a:ext cx="4018475" cy="3715046"/>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120000"/>
              </a:lnSpc>
              <a:spcBef>
                <a:spcPct val="0"/>
              </a:spcBef>
              <a:spcAft>
                <a:spcPts val="30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a:rPr>
              <a:t>In-store promotion trade spend and traditional media remain the largest investments for most CPGs…</a:t>
            </a:r>
          </a:p>
          <a:p>
            <a:pPr marL="171450" marR="0" lvl="0" indent="-171450" algn="l" defTabSz="914400" rtl="0" eaLnBrk="1" fontAlgn="auto" latinLnBrk="0" hangingPunct="1">
              <a:lnSpc>
                <a:spcPct val="110000"/>
              </a:lnSpc>
              <a:spcBef>
                <a:spcPct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a:rPr>
              <a:t>Trade spend often ranges from 15-20% of net sales, primarily supporting in-store promotion</a:t>
            </a:r>
            <a:r>
              <a:rPr kumimoji="0" lang="en-US" sz="1000" b="0" i="0" u="none" strike="noStrike" kern="1200" cap="none" spc="0" normalizeH="0" baseline="30000" noProof="0" dirty="0">
                <a:ln>
                  <a:noFill/>
                </a:ln>
                <a:solidFill>
                  <a:srgbClr val="000000"/>
                </a:solidFill>
                <a:effectLst/>
                <a:uLnTx/>
                <a:uFillTx/>
                <a:latin typeface="Open Sans"/>
              </a:rPr>
              <a:t>2</a:t>
            </a:r>
            <a:endParaRPr kumimoji="0" lang="en-US" sz="1000" b="0" i="0" u="none" strike="noStrike" kern="1200" cap="none" spc="0" normalizeH="0" baseline="0" noProof="0" dirty="0">
              <a:ln>
                <a:noFill/>
              </a:ln>
              <a:solidFill>
                <a:srgbClr val="000000"/>
              </a:solidFill>
              <a:effectLst/>
              <a:uLnTx/>
              <a:uFillTx/>
              <a:latin typeface="Open Sans"/>
            </a:endParaRPr>
          </a:p>
          <a:p>
            <a:pPr marL="171450" marR="0" lvl="0" indent="-171450" algn="l" defTabSz="914400" rtl="0" eaLnBrk="1" fontAlgn="auto" latinLnBrk="0" hangingPunct="1">
              <a:lnSpc>
                <a:spcPct val="110000"/>
              </a:lnSpc>
              <a:spcBef>
                <a:spcPct val="0"/>
              </a:spcBef>
              <a:spcAft>
                <a:spcPts val="10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a:rPr>
              <a:t>Of marketing and advertising spend, less than 5% is directed towards digital</a:t>
            </a:r>
            <a:r>
              <a:rPr kumimoji="0" lang="en-US" sz="1000" b="0" i="0" u="none" strike="noStrike" kern="1200" cap="none" spc="0" normalizeH="0" baseline="30000" noProof="0" dirty="0">
                <a:ln>
                  <a:noFill/>
                </a:ln>
                <a:solidFill>
                  <a:srgbClr val="000000"/>
                </a:solidFill>
                <a:effectLst/>
                <a:uLnTx/>
                <a:uFillTx/>
                <a:latin typeface="Open Sans"/>
              </a:rPr>
              <a:t>3</a:t>
            </a:r>
            <a:endParaRPr kumimoji="0" lang="en-US" sz="1000" b="0" i="0" u="none" strike="noStrike" kern="1200" cap="none" spc="0" normalizeH="0" baseline="0" noProof="0" dirty="0">
              <a:ln>
                <a:noFill/>
              </a:ln>
              <a:solidFill>
                <a:srgbClr val="000000"/>
              </a:solidFill>
              <a:effectLst/>
              <a:uLnTx/>
              <a:uFillTx/>
              <a:latin typeface="Open Sans"/>
            </a:endParaRPr>
          </a:p>
          <a:p>
            <a:pPr marL="0" marR="0" lvl="0" indent="0" algn="l" defTabSz="914400" rtl="0" eaLnBrk="1" fontAlgn="auto" latinLnBrk="0" hangingPunct="1">
              <a:lnSpc>
                <a:spcPct val="110000"/>
              </a:lnSpc>
              <a:spcBef>
                <a:spcPct val="0"/>
              </a:spcBef>
              <a:spcAft>
                <a:spcPts val="30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a:rPr>
              <a:t>…however, returns from digital spend seem to outpace traditional activities…</a:t>
            </a:r>
          </a:p>
          <a:p>
            <a:pPr marL="171450" marR="0" lvl="0" indent="-171450" algn="l" defTabSz="914400" rtl="0" eaLnBrk="1" fontAlgn="auto" latinLnBrk="0" hangingPunct="1">
              <a:lnSpc>
                <a:spcPct val="110000"/>
              </a:lnSpc>
              <a:spcBef>
                <a:spcPct val="0"/>
              </a:spcBef>
              <a:spcAft>
                <a:spcPts val="10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a:rPr>
              <a:t>Consumer spend per digital transaction is up to 36% higher than consumer spend in-store</a:t>
            </a:r>
            <a:r>
              <a:rPr kumimoji="0" lang="en-US" sz="1000" b="0" i="0" u="none" strike="noStrike" kern="1200" cap="none" spc="0" normalizeH="0" baseline="30000" noProof="0" dirty="0">
                <a:ln>
                  <a:noFill/>
                </a:ln>
                <a:solidFill>
                  <a:srgbClr val="000000"/>
                </a:solidFill>
                <a:effectLst/>
                <a:uLnTx/>
                <a:uFillTx/>
                <a:latin typeface="Open Sans"/>
              </a:rPr>
              <a:t>1</a:t>
            </a:r>
            <a:endParaRPr kumimoji="0" lang="en-US" sz="1050" b="1" i="0" u="none" strike="noStrike" kern="1200" cap="none" spc="0" normalizeH="0" baseline="0" noProof="0" dirty="0">
              <a:ln>
                <a:noFill/>
              </a:ln>
              <a:solidFill>
                <a:srgbClr val="000000"/>
              </a:solidFill>
              <a:effectLst/>
              <a:uLnTx/>
              <a:uFillTx/>
              <a:latin typeface="Open Sans"/>
            </a:endParaRPr>
          </a:p>
          <a:p>
            <a:pPr marL="0" marR="0" lvl="0" indent="0" algn="l" defTabSz="914400" rtl="0" eaLnBrk="1" fontAlgn="auto" latinLnBrk="0" hangingPunct="1">
              <a:lnSpc>
                <a:spcPct val="110000"/>
              </a:lnSpc>
              <a:spcBef>
                <a:spcPct val="0"/>
              </a:spcBef>
              <a:spcAft>
                <a:spcPts val="30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a:rPr>
              <a:t>…and consumers are willing to experiment with services that are largely unimpacted by traditional investments</a:t>
            </a:r>
          </a:p>
          <a:p>
            <a:pPr marL="171450" marR="0" lvl="0" indent="-171450" algn="l" defTabSz="914400" rtl="0" eaLnBrk="1" fontAlgn="auto" latinLnBrk="0" hangingPunct="1">
              <a:lnSpc>
                <a:spcPct val="110000"/>
              </a:lnSpc>
              <a:spcBef>
                <a:spcPct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a:rPr>
              <a:t>82% of consumers are aware of replenishment subscription services; 23% expect to start using them in the next six months</a:t>
            </a:r>
            <a:r>
              <a:rPr kumimoji="0" lang="en-US" sz="1000" b="0" i="0" u="none" strike="noStrike" kern="1200" cap="none" spc="0" normalizeH="0" baseline="30000" noProof="0" dirty="0">
                <a:ln>
                  <a:noFill/>
                </a:ln>
                <a:solidFill>
                  <a:srgbClr val="000000"/>
                </a:solidFill>
                <a:effectLst/>
                <a:uLnTx/>
                <a:uFillTx/>
                <a:latin typeface="Open Sans"/>
              </a:rPr>
              <a:t>1</a:t>
            </a:r>
            <a:endParaRPr kumimoji="0" lang="en-US" sz="1000" b="0" i="0" u="none" strike="noStrike" kern="1200" cap="none" spc="0" normalizeH="0" baseline="0" noProof="0" dirty="0">
              <a:ln>
                <a:noFill/>
              </a:ln>
              <a:solidFill>
                <a:srgbClr val="000000"/>
              </a:solidFill>
              <a:effectLst/>
              <a:uLnTx/>
              <a:uFillTx/>
              <a:latin typeface="Open Sans"/>
            </a:endParaRPr>
          </a:p>
          <a:p>
            <a:pPr marL="171450" marR="0" lvl="0" indent="-171450" algn="l" defTabSz="914400" rtl="0" eaLnBrk="1" fontAlgn="auto" latinLnBrk="0" hangingPunct="1">
              <a:lnSpc>
                <a:spcPct val="110000"/>
              </a:lnSpc>
              <a:spcBef>
                <a:spcPct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a:rPr>
              <a:t>More than 50% of consumers are willing to pay for home delivery or last mile services; half of these would pay $10 or more for same day delivery</a:t>
            </a:r>
            <a:r>
              <a:rPr kumimoji="0" lang="en-US" sz="1000" b="0" i="0" u="none" strike="noStrike" kern="1200" cap="none" spc="0" normalizeH="0" baseline="30000" noProof="0" dirty="0">
                <a:ln>
                  <a:noFill/>
                </a:ln>
                <a:solidFill>
                  <a:srgbClr val="000000"/>
                </a:solidFill>
                <a:effectLst/>
                <a:uLnTx/>
                <a:uFillTx/>
                <a:latin typeface="Open Sans"/>
              </a:rPr>
              <a:t>1</a:t>
            </a:r>
            <a:endParaRPr kumimoji="0" lang="en-US" sz="1000" b="0" i="0" u="none" strike="noStrike" kern="1200" cap="none" spc="0" normalizeH="0" baseline="0" noProof="0" dirty="0">
              <a:ln>
                <a:noFill/>
              </a:ln>
              <a:solidFill>
                <a:srgbClr val="000000"/>
              </a:solidFill>
              <a:effectLst/>
              <a:uLnTx/>
              <a:uFillTx/>
              <a:latin typeface="Open Sans"/>
            </a:endParaRPr>
          </a:p>
          <a:p>
            <a:pPr marL="0" marR="0" lvl="0" indent="0" algn="l" defTabSz="914400" rtl="0" eaLnBrk="1" fontAlgn="auto" latinLnBrk="0" hangingPunct="1">
              <a:lnSpc>
                <a:spcPct val="110000"/>
              </a:lnSpc>
              <a:spcBef>
                <a:spcPct val="0"/>
              </a:spcBef>
              <a:spcAft>
                <a:spcPts val="300"/>
              </a:spcAft>
              <a:buClrTx/>
              <a:buSzTx/>
              <a:buFontTx/>
              <a:buNone/>
              <a:tabLst/>
              <a:defRPr/>
            </a:pPr>
            <a:endParaRPr kumimoji="0" lang="en-US" sz="1100" b="1" i="0" u="none" strike="noStrike" kern="1200" cap="none" spc="0" normalizeH="0" baseline="0" noProof="0" dirty="0">
              <a:ln>
                <a:noFill/>
              </a:ln>
              <a:solidFill>
                <a:srgbClr val="000000"/>
              </a:solidFill>
              <a:effectLst/>
              <a:uLnTx/>
              <a:uFillTx/>
              <a:latin typeface="Chronicle Display Black"/>
            </a:endParaRPr>
          </a:p>
          <a:p>
            <a:pPr marL="0" marR="0" lvl="0" indent="0" algn="l" defTabSz="914400" rtl="0" eaLnBrk="1" fontAlgn="auto" latinLnBrk="0" hangingPunct="1">
              <a:lnSpc>
                <a:spcPct val="110000"/>
              </a:lnSpc>
              <a:spcBef>
                <a:spcPct val="0"/>
              </a:spcBef>
              <a:spcAft>
                <a:spcPts val="300"/>
              </a:spcAft>
              <a:buClrTx/>
              <a:buSzTx/>
              <a:buFontTx/>
              <a:buNone/>
              <a:tabLst/>
              <a:defRPr/>
            </a:pPr>
            <a:endParaRPr kumimoji="0" lang="en-US" sz="1100" b="1" i="0" u="none" strike="noStrike" kern="1200" cap="none" spc="0" normalizeH="0" baseline="0" noProof="0" dirty="0">
              <a:ln>
                <a:noFill/>
              </a:ln>
              <a:solidFill>
                <a:srgbClr val="000000"/>
              </a:solidFill>
              <a:effectLst/>
              <a:uLnTx/>
              <a:uFillTx/>
              <a:latin typeface="Chronicle Display Black"/>
            </a:endParaRPr>
          </a:p>
          <a:p>
            <a:pPr marL="0" marR="0" lvl="0" indent="0" algn="l" defTabSz="914400" rtl="0" eaLnBrk="1" fontAlgn="auto" latinLnBrk="0" hangingPunct="1">
              <a:lnSpc>
                <a:spcPct val="110000"/>
              </a:lnSpc>
              <a:spcBef>
                <a:spcPct val="0"/>
              </a:spcBef>
              <a:spcAft>
                <a:spcPts val="300"/>
              </a:spcAft>
              <a:buClrTx/>
              <a:buSzTx/>
              <a:buFontTx/>
              <a:buNone/>
              <a:tabLst/>
              <a:defRPr/>
            </a:pPr>
            <a:endParaRPr kumimoji="0" lang="en-US" sz="1100" b="1" i="0" u="none" strike="noStrike" kern="1200" cap="none" spc="0" normalizeH="0" baseline="0" noProof="0" dirty="0">
              <a:ln>
                <a:noFill/>
              </a:ln>
              <a:solidFill>
                <a:srgbClr val="000000"/>
              </a:solidFill>
              <a:effectLst/>
              <a:uLnTx/>
              <a:uFillTx/>
              <a:latin typeface="Chronicle Display Black"/>
            </a:endParaRPr>
          </a:p>
          <a:p>
            <a:pPr marL="0" marR="0" lvl="0" indent="0" algn="l" defTabSz="914400" rtl="0" eaLnBrk="1" fontAlgn="auto" latinLnBrk="0" hangingPunct="1">
              <a:lnSpc>
                <a:spcPct val="110000"/>
              </a:lnSpc>
              <a:spcBef>
                <a:spcPct val="0"/>
              </a:spcBef>
              <a:spcAft>
                <a:spcPts val="300"/>
              </a:spcAft>
              <a:buClrTx/>
              <a:buSzTx/>
              <a:buFontTx/>
              <a:buNone/>
              <a:tabLst/>
              <a:defRPr/>
            </a:pPr>
            <a:endParaRPr kumimoji="0" lang="en-US" sz="1100" b="1" i="0" u="none" strike="noStrike" kern="1200" cap="none" spc="0" normalizeH="0" baseline="0" noProof="0" dirty="0">
              <a:ln>
                <a:noFill/>
              </a:ln>
              <a:solidFill>
                <a:srgbClr val="000000"/>
              </a:solidFill>
              <a:effectLst/>
              <a:uLnTx/>
              <a:uFillTx/>
              <a:latin typeface="Chronicle Display Black"/>
            </a:endParaRPr>
          </a:p>
          <a:p>
            <a:pPr marL="0" marR="0" lvl="0" indent="0" algn="l" defTabSz="914400" rtl="0" eaLnBrk="1" fontAlgn="auto" latinLnBrk="0" hangingPunct="1">
              <a:lnSpc>
                <a:spcPct val="110000"/>
              </a:lnSpc>
              <a:spcBef>
                <a:spcPts val="0"/>
              </a:spcBef>
              <a:spcAft>
                <a:spcPts val="300"/>
              </a:spcAft>
              <a:buClrTx/>
              <a:buSzTx/>
              <a:buFontTx/>
              <a:buNone/>
              <a:tabLst/>
              <a:defRPr/>
            </a:pPr>
            <a:endParaRPr kumimoji="0" lang="en-US" sz="1100" b="1" i="0" u="none" strike="noStrike" kern="1200" cap="none" spc="0" normalizeH="0" baseline="0" noProof="0" dirty="0">
              <a:ln>
                <a:noFill/>
              </a:ln>
              <a:solidFill>
                <a:srgbClr val="000000"/>
              </a:solidFill>
              <a:effectLst/>
              <a:uLnTx/>
              <a:uFillTx/>
              <a:latin typeface="Chronicle Display Black"/>
            </a:endParaRPr>
          </a:p>
          <a:p>
            <a:pPr marL="0" marR="0" lvl="0" indent="0" algn="l" defTabSz="914400" rtl="0" eaLnBrk="1" fontAlgn="auto" latinLnBrk="0" hangingPunct="1">
              <a:lnSpc>
                <a:spcPct val="120000"/>
              </a:lnSpc>
              <a:spcBef>
                <a:spcPct val="0"/>
              </a:spcBef>
              <a:spcAft>
                <a:spcPts val="0"/>
              </a:spcAft>
              <a:buClrTx/>
              <a:buSzTx/>
              <a:buFontTx/>
              <a:buNone/>
              <a:tabLst/>
              <a:defRPr/>
            </a:pPr>
            <a:endParaRPr kumimoji="0" lang="en-US" sz="1050" b="1" i="0" u="none" strike="noStrike" kern="1200" cap="none" spc="0" normalizeH="0" baseline="0" noProof="0" dirty="0">
              <a:ln>
                <a:noFill/>
              </a:ln>
              <a:solidFill>
                <a:srgbClr val="000000"/>
              </a:solidFill>
              <a:effectLst/>
              <a:uLnTx/>
              <a:uFillTx/>
              <a:latin typeface="Open Sans"/>
            </a:endParaRPr>
          </a:p>
        </p:txBody>
      </p:sp>
      <p:sp>
        <p:nvSpPr>
          <p:cNvPr id="56" name="TextBox 53">
            <a:extLst>
              <a:ext uri="{FF2B5EF4-FFF2-40B4-BE49-F238E27FC236}">
                <a16:creationId xmlns:a16="http://schemas.microsoft.com/office/drawing/2014/main" id="{F69C7A09-EC9D-4E07-A442-3F544A801A8F}"/>
              </a:ext>
            </a:extLst>
          </p:cNvPr>
          <p:cNvSpPr txBox="1"/>
          <p:nvPr/>
        </p:nvSpPr>
        <p:spPr>
          <a:xfrm>
            <a:off x="892953" y="2063284"/>
            <a:ext cx="3566160" cy="323165"/>
          </a:xfrm>
          <a:prstGeom prst="rect">
            <a:avLst/>
          </a:prstGeom>
          <a:noFill/>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05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Consumers who engage digitally prior to purchase also increase average spend per transaction…</a:t>
            </a:r>
            <a:r>
              <a:rPr kumimoji="0" lang="en-US" sz="1050" b="1" i="0" u="none" strike="noStrike" kern="1200" cap="none" spc="0" normalizeH="0" baseline="30000" noProof="0" dirty="0">
                <a:ln>
                  <a:noFill/>
                </a:ln>
                <a:solidFill>
                  <a:srgbClr val="000000"/>
                </a:solidFill>
                <a:effectLst/>
                <a:uLnTx/>
                <a:uFillTx/>
                <a:latin typeface="Open Sans"/>
                <a:ea typeface="Verdana" panose="020B0604030504040204" pitchFamily="34" charset="0"/>
                <a:cs typeface="Verdana" panose="020B0604030504040204" pitchFamily="34" charset="0"/>
              </a:rPr>
              <a:t>1</a:t>
            </a:r>
            <a:endParaRPr kumimoji="0" lang="en-US" sz="105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p:txBody>
      </p:sp>
      <p:grpSp>
        <p:nvGrpSpPr>
          <p:cNvPr id="57" name="Group 56">
            <a:extLst>
              <a:ext uri="{FF2B5EF4-FFF2-40B4-BE49-F238E27FC236}">
                <a16:creationId xmlns:a16="http://schemas.microsoft.com/office/drawing/2014/main" id="{4C49651A-B509-475B-ADAD-6CBD09D966D1}"/>
              </a:ext>
            </a:extLst>
          </p:cNvPr>
          <p:cNvGrpSpPr/>
          <p:nvPr/>
        </p:nvGrpSpPr>
        <p:grpSpPr>
          <a:xfrm>
            <a:off x="838026" y="2459349"/>
            <a:ext cx="3893000" cy="1819057"/>
            <a:chOff x="838026" y="2469077"/>
            <a:chExt cx="3621087" cy="1819057"/>
          </a:xfrm>
        </p:grpSpPr>
        <p:sp>
          <p:nvSpPr>
            <p:cNvPr id="58" name="TextBox 136">
              <a:extLst>
                <a:ext uri="{FF2B5EF4-FFF2-40B4-BE49-F238E27FC236}">
                  <a16:creationId xmlns:a16="http://schemas.microsoft.com/office/drawing/2014/main" id="{985DD252-E654-4ACE-848B-6DC810D9D5DF}"/>
                </a:ext>
              </a:extLst>
            </p:cNvPr>
            <p:cNvSpPr txBox="1"/>
            <p:nvPr/>
          </p:nvSpPr>
          <p:spPr>
            <a:xfrm>
              <a:off x="1475115" y="2469077"/>
              <a:ext cx="917872" cy="32478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a:ea typeface="+mn-ea"/>
                  <a:cs typeface="+mn-cs"/>
                </a:rPr>
                <a:t>Browse &amp; Research</a:t>
              </a:r>
            </a:p>
          </p:txBody>
        </p:sp>
        <p:sp>
          <p:nvSpPr>
            <p:cNvPr id="59" name="TextBox 135">
              <a:extLst>
                <a:ext uri="{FF2B5EF4-FFF2-40B4-BE49-F238E27FC236}">
                  <a16:creationId xmlns:a16="http://schemas.microsoft.com/office/drawing/2014/main" id="{E825EDAD-8839-4FD2-B3BA-77A6500127D6}"/>
                </a:ext>
              </a:extLst>
            </p:cNvPr>
            <p:cNvSpPr txBox="1"/>
            <p:nvPr/>
          </p:nvSpPr>
          <p:spPr>
            <a:xfrm>
              <a:off x="838026" y="2469077"/>
              <a:ext cx="844808" cy="36983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a:ea typeface="+mn-ea"/>
                  <a:cs typeface="+mn-cs"/>
                </a:rPr>
                <a:t>Find Inspiration</a:t>
              </a:r>
            </a:p>
          </p:txBody>
        </p:sp>
        <p:grpSp>
          <p:nvGrpSpPr>
            <p:cNvPr id="60" name="Group 59">
              <a:extLst>
                <a:ext uri="{FF2B5EF4-FFF2-40B4-BE49-F238E27FC236}">
                  <a16:creationId xmlns:a16="http://schemas.microsoft.com/office/drawing/2014/main" id="{1F614C68-2FD6-434F-8479-5617821C3970}"/>
                </a:ext>
              </a:extLst>
            </p:cNvPr>
            <p:cNvGrpSpPr/>
            <p:nvPr/>
          </p:nvGrpSpPr>
          <p:grpSpPr>
            <a:xfrm>
              <a:off x="1450004" y="2840642"/>
              <a:ext cx="242135" cy="1206596"/>
              <a:chOff x="1639361" y="2601618"/>
              <a:chExt cx="232184" cy="1206596"/>
            </a:xfrm>
          </p:grpSpPr>
          <p:sp>
            <p:nvSpPr>
              <p:cNvPr id="143" name="TextBox 131">
                <a:extLst>
                  <a:ext uri="{FF2B5EF4-FFF2-40B4-BE49-F238E27FC236}">
                    <a16:creationId xmlns:a16="http://schemas.microsoft.com/office/drawing/2014/main" id="{0716211E-CD3D-4C99-AE36-F35DB866F74F}"/>
                  </a:ext>
                </a:extLst>
              </p:cNvPr>
              <p:cNvSpPr txBox="1"/>
              <p:nvPr/>
            </p:nvSpPr>
            <p:spPr>
              <a:xfrm>
                <a:off x="1639361" y="2601618"/>
                <a:ext cx="232184" cy="25093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lumMod val="65000"/>
                      </a:srgbClr>
                    </a:solidFill>
                    <a:effectLst/>
                    <a:uLnTx/>
                    <a:uFillTx/>
                    <a:latin typeface="Open Sans"/>
                    <a:ea typeface="+mn-ea"/>
                    <a:cs typeface="+mn-cs"/>
                  </a:rPr>
                  <a:t>+</a:t>
                </a:r>
              </a:p>
            </p:txBody>
          </p:sp>
          <p:sp>
            <p:nvSpPr>
              <p:cNvPr id="144" name="TextBox 154">
                <a:extLst>
                  <a:ext uri="{FF2B5EF4-FFF2-40B4-BE49-F238E27FC236}">
                    <a16:creationId xmlns:a16="http://schemas.microsoft.com/office/drawing/2014/main" id="{4DDE762F-B2D0-4CB4-8DA3-A993A47A4E83}"/>
                  </a:ext>
                </a:extLst>
              </p:cNvPr>
              <p:cNvSpPr txBox="1"/>
              <p:nvPr/>
            </p:nvSpPr>
            <p:spPr>
              <a:xfrm>
                <a:off x="1639361" y="2907099"/>
                <a:ext cx="232184" cy="25093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lumMod val="65000"/>
                      </a:srgbClr>
                    </a:solidFill>
                    <a:effectLst/>
                    <a:uLnTx/>
                    <a:uFillTx/>
                    <a:latin typeface="Open Sans"/>
                    <a:ea typeface="+mn-ea"/>
                    <a:cs typeface="+mn-cs"/>
                  </a:rPr>
                  <a:t>+</a:t>
                </a:r>
              </a:p>
            </p:txBody>
          </p:sp>
          <p:sp>
            <p:nvSpPr>
              <p:cNvPr id="145" name="TextBox 152">
                <a:extLst>
                  <a:ext uri="{FF2B5EF4-FFF2-40B4-BE49-F238E27FC236}">
                    <a16:creationId xmlns:a16="http://schemas.microsoft.com/office/drawing/2014/main" id="{82E9CCC1-0DE8-4874-B63D-63083C99B8BA}"/>
                  </a:ext>
                </a:extLst>
              </p:cNvPr>
              <p:cNvSpPr txBox="1"/>
              <p:nvPr/>
            </p:nvSpPr>
            <p:spPr>
              <a:xfrm>
                <a:off x="1639361" y="3232190"/>
                <a:ext cx="232184" cy="25093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lumMod val="65000"/>
                      </a:srgbClr>
                    </a:solidFill>
                    <a:effectLst/>
                    <a:uLnTx/>
                    <a:uFillTx/>
                    <a:latin typeface="Open Sans"/>
                    <a:ea typeface="+mn-ea"/>
                    <a:cs typeface="+mn-cs"/>
                  </a:rPr>
                  <a:t>+</a:t>
                </a:r>
              </a:p>
            </p:txBody>
          </p:sp>
          <p:sp>
            <p:nvSpPr>
              <p:cNvPr id="146" name="TextBox 133">
                <a:extLst>
                  <a:ext uri="{FF2B5EF4-FFF2-40B4-BE49-F238E27FC236}">
                    <a16:creationId xmlns:a16="http://schemas.microsoft.com/office/drawing/2014/main" id="{318F7A14-B2B6-4DE4-93D0-BAD01F06AF28}"/>
                  </a:ext>
                </a:extLst>
              </p:cNvPr>
              <p:cNvSpPr txBox="1"/>
              <p:nvPr/>
            </p:nvSpPr>
            <p:spPr>
              <a:xfrm>
                <a:off x="1639361" y="3557280"/>
                <a:ext cx="232184" cy="25093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lumMod val="65000"/>
                      </a:srgbClr>
                    </a:solidFill>
                    <a:effectLst/>
                    <a:uLnTx/>
                    <a:uFillTx/>
                    <a:latin typeface="Open Sans"/>
                    <a:ea typeface="+mn-ea"/>
                    <a:cs typeface="+mn-cs"/>
                  </a:rPr>
                  <a:t>+</a:t>
                </a:r>
              </a:p>
            </p:txBody>
          </p:sp>
        </p:grpSp>
        <p:grpSp>
          <p:nvGrpSpPr>
            <p:cNvPr id="61" name="Group 60">
              <a:extLst>
                <a:ext uri="{FF2B5EF4-FFF2-40B4-BE49-F238E27FC236}">
                  <a16:creationId xmlns:a16="http://schemas.microsoft.com/office/drawing/2014/main" id="{ACE25634-1D0A-4746-90C5-81F05233FEE0}"/>
                </a:ext>
              </a:extLst>
            </p:cNvPr>
            <p:cNvGrpSpPr/>
            <p:nvPr/>
          </p:nvGrpSpPr>
          <p:grpSpPr>
            <a:xfrm>
              <a:off x="2166448" y="2840642"/>
              <a:ext cx="242135" cy="1206596"/>
              <a:chOff x="3064181" y="2601618"/>
              <a:chExt cx="232184" cy="1206596"/>
            </a:xfrm>
          </p:grpSpPr>
          <p:sp>
            <p:nvSpPr>
              <p:cNvPr id="139" name="TextBox 132">
                <a:extLst>
                  <a:ext uri="{FF2B5EF4-FFF2-40B4-BE49-F238E27FC236}">
                    <a16:creationId xmlns:a16="http://schemas.microsoft.com/office/drawing/2014/main" id="{EC06C66D-690F-4C8D-BAAB-2E2544515FFE}"/>
                  </a:ext>
                </a:extLst>
              </p:cNvPr>
              <p:cNvSpPr txBox="1"/>
              <p:nvPr/>
            </p:nvSpPr>
            <p:spPr>
              <a:xfrm>
                <a:off x="3064181" y="2601618"/>
                <a:ext cx="232184" cy="25093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lumMod val="65000"/>
                      </a:srgbClr>
                    </a:solidFill>
                    <a:effectLst/>
                    <a:uLnTx/>
                    <a:uFillTx/>
                    <a:latin typeface="Open Sans"/>
                    <a:ea typeface="+mn-ea"/>
                    <a:cs typeface="+mn-cs"/>
                  </a:rPr>
                  <a:t>+</a:t>
                </a:r>
              </a:p>
            </p:txBody>
          </p:sp>
          <p:sp>
            <p:nvSpPr>
              <p:cNvPr id="140" name="TextBox 155">
                <a:extLst>
                  <a:ext uri="{FF2B5EF4-FFF2-40B4-BE49-F238E27FC236}">
                    <a16:creationId xmlns:a16="http://schemas.microsoft.com/office/drawing/2014/main" id="{5788A363-0DC7-4EA8-8DFD-5ECF6CE276CB}"/>
                  </a:ext>
                </a:extLst>
              </p:cNvPr>
              <p:cNvSpPr txBox="1"/>
              <p:nvPr/>
            </p:nvSpPr>
            <p:spPr>
              <a:xfrm>
                <a:off x="3064181" y="2907099"/>
                <a:ext cx="232184" cy="25093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lumMod val="65000"/>
                      </a:srgbClr>
                    </a:solidFill>
                    <a:effectLst/>
                    <a:uLnTx/>
                    <a:uFillTx/>
                    <a:latin typeface="Open Sans"/>
                    <a:ea typeface="+mn-ea"/>
                    <a:cs typeface="+mn-cs"/>
                  </a:rPr>
                  <a:t>+</a:t>
                </a:r>
              </a:p>
            </p:txBody>
          </p:sp>
          <p:sp>
            <p:nvSpPr>
              <p:cNvPr id="141" name="TextBox 153">
                <a:extLst>
                  <a:ext uri="{FF2B5EF4-FFF2-40B4-BE49-F238E27FC236}">
                    <a16:creationId xmlns:a16="http://schemas.microsoft.com/office/drawing/2014/main" id="{6EE2E653-BB8B-44A1-9DD4-FA178DBFE5F5}"/>
                  </a:ext>
                </a:extLst>
              </p:cNvPr>
              <p:cNvSpPr txBox="1"/>
              <p:nvPr/>
            </p:nvSpPr>
            <p:spPr>
              <a:xfrm>
                <a:off x="3064181" y="3232190"/>
                <a:ext cx="232184" cy="25093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lumMod val="65000"/>
                      </a:srgbClr>
                    </a:solidFill>
                    <a:effectLst/>
                    <a:uLnTx/>
                    <a:uFillTx/>
                    <a:latin typeface="Open Sans"/>
                    <a:ea typeface="+mn-ea"/>
                    <a:cs typeface="+mn-cs"/>
                  </a:rPr>
                  <a:t>+</a:t>
                </a:r>
              </a:p>
            </p:txBody>
          </p:sp>
          <p:sp>
            <p:nvSpPr>
              <p:cNvPr id="142" name="TextBox 134">
                <a:extLst>
                  <a:ext uri="{FF2B5EF4-FFF2-40B4-BE49-F238E27FC236}">
                    <a16:creationId xmlns:a16="http://schemas.microsoft.com/office/drawing/2014/main" id="{DB275281-42E9-4A2F-9CBB-80070AA16235}"/>
                  </a:ext>
                </a:extLst>
              </p:cNvPr>
              <p:cNvSpPr txBox="1"/>
              <p:nvPr/>
            </p:nvSpPr>
            <p:spPr>
              <a:xfrm>
                <a:off x="3064181" y="3557280"/>
                <a:ext cx="232184" cy="25093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lumMod val="65000"/>
                      </a:srgbClr>
                    </a:solidFill>
                    <a:effectLst/>
                    <a:uLnTx/>
                    <a:uFillTx/>
                    <a:latin typeface="Open Sans"/>
                    <a:ea typeface="+mn-ea"/>
                    <a:cs typeface="+mn-cs"/>
                  </a:rPr>
                  <a:t>+</a:t>
                </a:r>
              </a:p>
            </p:txBody>
          </p:sp>
        </p:grpSp>
        <p:grpSp>
          <p:nvGrpSpPr>
            <p:cNvPr id="62" name="Group 61">
              <a:extLst>
                <a:ext uri="{FF2B5EF4-FFF2-40B4-BE49-F238E27FC236}">
                  <a16:creationId xmlns:a16="http://schemas.microsoft.com/office/drawing/2014/main" id="{FF47E83D-3C5C-4471-9058-881DE3960F67}"/>
                </a:ext>
              </a:extLst>
            </p:cNvPr>
            <p:cNvGrpSpPr/>
            <p:nvPr/>
          </p:nvGrpSpPr>
          <p:grpSpPr>
            <a:xfrm>
              <a:off x="2922278" y="2840643"/>
              <a:ext cx="242135" cy="1206596"/>
              <a:chOff x="4210005" y="2601618"/>
              <a:chExt cx="232184" cy="1206596"/>
            </a:xfrm>
          </p:grpSpPr>
          <p:sp>
            <p:nvSpPr>
              <p:cNvPr id="135" name="TextBox 141">
                <a:extLst>
                  <a:ext uri="{FF2B5EF4-FFF2-40B4-BE49-F238E27FC236}">
                    <a16:creationId xmlns:a16="http://schemas.microsoft.com/office/drawing/2014/main" id="{9867D9AD-589D-469B-B1FB-A902A9B5C3CA}"/>
                  </a:ext>
                </a:extLst>
              </p:cNvPr>
              <p:cNvSpPr txBox="1"/>
              <p:nvPr/>
            </p:nvSpPr>
            <p:spPr>
              <a:xfrm>
                <a:off x="4210005" y="2601618"/>
                <a:ext cx="232184" cy="25093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lumMod val="65000"/>
                      </a:srgbClr>
                    </a:solidFill>
                    <a:effectLst/>
                    <a:uLnTx/>
                    <a:uFillTx/>
                    <a:latin typeface="Open Sans"/>
                    <a:ea typeface="+mn-ea"/>
                    <a:cs typeface="+mn-cs"/>
                  </a:rPr>
                  <a:t>=</a:t>
                </a:r>
              </a:p>
            </p:txBody>
          </p:sp>
          <p:sp>
            <p:nvSpPr>
              <p:cNvPr id="136" name="TextBox 156">
                <a:extLst>
                  <a:ext uri="{FF2B5EF4-FFF2-40B4-BE49-F238E27FC236}">
                    <a16:creationId xmlns:a16="http://schemas.microsoft.com/office/drawing/2014/main" id="{13233D34-8F28-4EDF-9AE1-998B1AD1FD23}"/>
                  </a:ext>
                </a:extLst>
              </p:cNvPr>
              <p:cNvSpPr txBox="1"/>
              <p:nvPr/>
            </p:nvSpPr>
            <p:spPr>
              <a:xfrm>
                <a:off x="4210005" y="2907099"/>
                <a:ext cx="232184" cy="25093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lumMod val="65000"/>
                      </a:srgbClr>
                    </a:solidFill>
                    <a:effectLst/>
                    <a:uLnTx/>
                    <a:uFillTx/>
                    <a:latin typeface="Open Sans"/>
                    <a:ea typeface="+mn-ea"/>
                    <a:cs typeface="+mn-cs"/>
                  </a:rPr>
                  <a:t>=</a:t>
                </a:r>
              </a:p>
            </p:txBody>
          </p:sp>
          <p:sp>
            <p:nvSpPr>
              <p:cNvPr id="137" name="TextBox 157">
                <a:extLst>
                  <a:ext uri="{FF2B5EF4-FFF2-40B4-BE49-F238E27FC236}">
                    <a16:creationId xmlns:a16="http://schemas.microsoft.com/office/drawing/2014/main" id="{B26DDE7F-6314-4D12-A6A7-3BC6DA36FDDD}"/>
                  </a:ext>
                </a:extLst>
              </p:cNvPr>
              <p:cNvSpPr txBox="1"/>
              <p:nvPr/>
            </p:nvSpPr>
            <p:spPr>
              <a:xfrm>
                <a:off x="4210005" y="3232190"/>
                <a:ext cx="232184" cy="25093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lumMod val="65000"/>
                      </a:srgbClr>
                    </a:solidFill>
                    <a:effectLst/>
                    <a:uLnTx/>
                    <a:uFillTx/>
                    <a:latin typeface="Open Sans"/>
                    <a:ea typeface="+mn-ea"/>
                    <a:cs typeface="+mn-cs"/>
                  </a:rPr>
                  <a:t>=</a:t>
                </a:r>
              </a:p>
            </p:txBody>
          </p:sp>
          <p:sp>
            <p:nvSpPr>
              <p:cNvPr id="138" name="TextBox 142">
                <a:extLst>
                  <a:ext uri="{FF2B5EF4-FFF2-40B4-BE49-F238E27FC236}">
                    <a16:creationId xmlns:a16="http://schemas.microsoft.com/office/drawing/2014/main" id="{C78FE110-6E9C-44F0-8915-73260C79246C}"/>
                  </a:ext>
                </a:extLst>
              </p:cNvPr>
              <p:cNvSpPr txBox="1"/>
              <p:nvPr/>
            </p:nvSpPr>
            <p:spPr>
              <a:xfrm>
                <a:off x="4210005" y="3557280"/>
                <a:ext cx="232184" cy="25093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lumMod val="65000"/>
                      </a:srgbClr>
                    </a:solidFill>
                    <a:effectLst/>
                    <a:uLnTx/>
                    <a:uFillTx/>
                    <a:latin typeface="Open Sans"/>
                    <a:ea typeface="+mn-ea"/>
                    <a:cs typeface="+mn-cs"/>
                  </a:rPr>
                  <a:t>=</a:t>
                </a:r>
              </a:p>
            </p:txBody>
          </p:sp>
        </p:grpSp>
        <p:sp>
          <p:nvSpPr>
            <p:cNvPr id="63" name="TextBox 138">
              <a:extLst>
                <a:ext uri="{FF2B5EF4-FFF2-40B4-BE49-F238E27FC236}">
                  <a16:creationId xmlns:a16="http://schemas.microsoft.com/office/drawing/2014/main" id="{3468E801-C781-4670-A74C-AD1BF37E33B3}"/>
                </a:ext>
              </a:extLst>
            </p:cNvPr>
            <p:cNvSpPr txBox="1"/>
            <p:nvPr/>
          </p:nvSpPr>
          <p:spPr>
            <a:xfrm>
              <a:off x="3041081" y="2469077"/>
              <a:ext cx="917872" cy="32478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a:ea typeface="+mn-ea"/>
                  <a:cs typeface="+mn-cs"/>
                </a:rPr>
                <a:t>Spend per Transaction</a:t>
              </a:r>
            </a:p>
          </p:txBody>
        </p:sp>
        <p:sp>
          <p:nvSpPr>
            <p:cNvPr id="64" name="TextBox 139">
              <a:extLst>
                <a:ext uri="{FF2B5EF4-FFF2-40B4-BE49-F238E27FC236}">
                  <a16:creationId xmlns:a16="http://schemas.microsoft.com/office/drawing/2014/main" id="{A176C13E-4C98-479E-B777-CAB90156BE4F}"/>
                </a:ext>
              </a:extLst>
            </p:cNvPr>
            <p:cNvSpPr txBox="1"/>
            <p:nvPr/>
          </p:nvSpPr>
          <p:spPr>
            <a:xfrm>
              <a:off x="3196929" y="2842745"/>
              <a:ext cx="572494" cy="22812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hronicle Display Black"/>
                  <a:ea typeface="+mn-ea"/>
                  <a:cs typeface="+mn-cs"/>
                </a:rPr>
                <a:t>$64</a:t>
              </a:r>
            </a:p>
          </p:txBody>
        </p:sp>
        <p:sp>
          <p:nvSpPr>
            <p:cNvPr id="65" name="TextBox 158">
              <a:extLst>
                <a:ext uri="{FF2B5EF4-FFF2-40B4-BE49-F238E27FC236}">
                  <a16:creationId xmlns:a16="http://schemas.microsoft.com/office/drawing/2014/main" id="{89CE1786-674A-4FD0-A193-FEDEEECC061C}"/>
                </a:ext>
              </a:extLst>
            </p:cNvPr>
            <p:cNvSpPr txBox="1"/>
            <p:nvPr/>
          </p:nvSpPr>
          <p:spPr>
            <a:xfrm>
              <a:off x="3196929" y="3148226"/>
              <a:ext cx="572494" cy="22812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hronicle Display Black"/>
                  <a:ea typeface="+mn-ea"/>
                  <a:cs typeface="+mn-cs"/>
                </a:rPr>
                <a:t>$68</a:t>
              </a:r>
            </a:p>
          </p:txBody>
        </p:sp>
        <p:sp>
          <p:nvSpPr>
            <p:cNvPr id="66" name="TextBox 159">
              <a:extLst>
                <a:ext uri="{FF2B5EF4-FFF2-40B4-BE49-F238E27FC236}">
                  <a16:creationId xmlns:a16="http://schemas.microsoft.com/office/drawing/2014/main" id="{AF82DF51-129A-483D-A5C8-05BA0DCB254D}"/>
                </a:ext>
              </a:extLst>
            </p:cNvPr>
            <p:cNvSpPr txBox="1"/>
            <p:nvPr/>
          </p:nvSpPr>
          <p:spPr>
            <a:xfrm>
              <a:off x="3196930" y="3473317"/>
              <a:ext cx="572494" cy="22812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hronicle Display Black"/>
                  <a:ea typeface="+mn-ea"/>
                  <a:cs typeface="+mn-cs"/>
                </a:rPr>
                <a:t>$82</a:t>
              </a:r>
            </a:p>
          </p:txBody>
        </p:sp>
        <p:sp>
          <p:nvSpPr>
            <p:cNvPr id="67" name="TextBox 140">
              <a:extLst>
                <a:ext uri="{FF2B5EF4-FFF2-40B4-BE49-F238E27FC236}">
                  <a16:creationId xmlns:a16="http://schemas.microsoft.com/office/drawing/2014/main" id="{6CC73D6D-34D8-4355-A5EB-74005E0DC350}"/>
                </a:ext>
              </a:extLst>
            </p:cNvPr>
            <p:cNvSpPr txBox="1"/>
            <p:nvPr/>
          </p:nvSpPr>
          <p:spPr>
            <a:xfrm>
              <a:off x="3196929" y="3798407"/>
              <a:ext cx="572494" cy="22812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hronicle Display Black"/>
                  <a:ea typeface="+mn-ea"/>
                  <a:cs typeface="+mn-cs"/>
                </a:rPr>
                <a:t>$87</a:t>
              </a:r>
            </a:p>
          </p:txBody>
        </p:sp>
        <p:sp>
          <p:nvSpPr>
            <p:cNvPr id="68" name="TextBox 143">
              <a:extLst>
                <a:ext uri="{FF2B5EF4-FFF2-40B4-BE49-F238E27FC236}">
                  <a16:creationId xmlns:a16="http://schemas.microsoft.com/office/drawing/2014/main" id="{A8DE6C16-F6D6-49E8-B08E-59375EB537B6}"/>
                </a:ext>
              </a:extLst>
            </p:cNvPr>
            <p:cNvSpPr txBox="1"/>
            <p:nvPr/>
          </p:nvSpPr>
          <p:spPr>
            <a:xfrm>
              <a:off x="3808294" y="2552502"/>
              <a:ext cx="650819" cy="20298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a:ea typeface="+mn-ea"/>
                  <a:cs typeface="+mn-cs"/>
                </a:rPr>
                <a:t>Lift %</a:t>
              </a:r>
            </a:p>
          </p:txBody>
        </p:sp>
        <p:sp>
          <p:nvSpPr>
            <p:cNvPr id="69" name="TextBox 144">
              <a:extLst>
                <a:ext uri="{FF2B5EF4-FFF2-40B4-BE49-F238E27FC236}">
                  <a16:creationId xmlns:a16="http://schemas.microsoft.com/office/drawing/2014/main" id="{0EF083E0-E3DA-476F-B4D1-6F0CBB1004B7}"/>
                </a:ext>
              </a:extLst>
            </p:cNvPr>
            <p:cNvSpPr txBox="1"/>
            <p:nvPr/>
          </p:nvSpPr>
          <p:spPr>
            <a:xfrm>
              <a:off x="3774039" y="2862168"/>
              <a:ext cx="673274" cy="22812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hronicle Display Black"/>
                  <a:ea typeface="+mn-ea"/>
                  <a:cs typeface="+mn-cs"/>
                </a:rPr>
                <a:t>--</a:t>
              </a:r>
            </a:p>
          </p:txBody>
        </p:sp>
        <p:sp>
          <p:nvSpPr>
            <p:cNvPr id="70" name="TextBox 160">
              <a:extLst>
                <a:ext uri="{FF2B5EF4-FFF2-40B4-BE49-F238E27FC236}">
                  <a16:creationId xmlns:a16="http://schemas.microsoft.com/office/drawing/2014/main" id="{4A92F6F9-93C4-4AEF-9E84-2ACB540415CB}"/>
                </a:ext>
              </a:extLst>
            </p:cNvPr>
            <p:cNvSpPr txBox="1"/>
            <p:nvPr/>
          </p:nvSpPr>
          <p:spPr>
            <a:xfrm>
              <a:off x="3774039" y="3167649"/>
              <a:ext cx="673274" cy="27065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DD300"/>
                  </a:solidFill>
                  <a:effectLst/>
                  <a:uLnTx/>
                  <a:uFillTx/>
                  <a:latin typeface="Chronicle Display Black"/>
                  <a:ea typeface="+mn-ea"/>
                  <a:cs typeface="+mn-cs"/>
                </a:rPr>
                <a:t>6%</a:t>
              </a:r>
            </a:p>
          </p:txBody>
        </p:sp>
        <p:sp>
          <p:nvSpPr>
            <p:cNvPr id="71" name="TextBox 161">
              <a:extLst>
                <a:ext uri="{FF2B5EF4-FFF2-40B4-BE49-F238E27FC236}">
                  <a16:creationId xmlns:a16="http://schemas.microsoft.com/office/drawing/2014/main" id="{F4399770-ED1D-40A8-BB15-C3F1129B55B8}"/>
                </a:ext>
              </a:extLst>
            </p:cNvPr>
            <p:cNvSpPr txBox="1"/>
            <p:nvPr/>
          </p:nvSpPr>
          <p:spPr>
            <a:xfrm>
              <a:off x="3774039" y="3492740"/>
              <a:ext cx="673274" cy="27065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DD300"/>
                  </a:solidFill>
                  <a:effectLst/>
                  <a:uLnTx/>
                  <a:uFillTx/>
                  <a:latin typeface="Chronicle Display Black"/>
                  <a:ea typeface="+mn-ea"/>
                  <a:cs typeface="+mn-cs"/>
                </a:rPr>
                <a:t>28%</a:t>
              </a:r>
            </a:p>
          </p:txBody>
        </p:sp>
        <p:sp>
          <p:nvSpPr>
            <p:cNvPr id="72" name="TextBox 145">
              <a:extLst>
                <a:ext uri="{FF2B5EF4-FFF2-40B4-BE49-F238E27FC236}">
                  <a16:creationId xmlns:a16="http://schemas.microsoft.com/office/drawing/2014/main" id="{F1C686C2-96DC-4E3F-8683-FE58E9447CDC}"/>
                </a:ext>
              </a:extLst>
            </p:cNvPr>
            <p:cNvSpPr txBox="1"/>
            <p:nvPr/>
          </p:nvSpPr>
          <p:spPr>
            <a:xfrm>
              <a:off x="3774039" y="3817830"/>
              <a:ext cx="673274" cy="27065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DD300"/>
                  </a:solidFill>
                  <a:effectLst/>
                  <a:uLnTx/>
                  <a:uFillTx/>
                  <a:latin typeface="Chronicle Display Black"/>
                  <a:ea typeface="+mn-ea"/>
                  <a:cs typeface="+mn-cs"/>
                </a:rPr>
                <a:t>36%</a:t>
              </a:r>
            </a:p>
          </p:txBody>
        </p:sp>
        <p:grpSp>
          <p:nvGrpSpPr>
            <p:cNvPr id="73" name="Group 72">
              <a:extLst>
                <a:ext uri="{FF2B5EF4-FFF2-40B4-BE49-F238E27FC236}">
                  <a16:creationId xmlns:a16="http://schemas.microsoft.com/office/drawing/2014/main" id="{8154C1E3-CB90-4306-8558-1F4816AC318E}"/>
                </a:ext>
              </a:extLst>
            </p:cNvPr>
            <p:cNvGrpSpPr/>
            <p:nvPr/>
          </p:nvGrpSpPr>
          <p:grpSpPr>
            <a:xfrm>
              <a:off x="1068440" y="2829129"/>
              <a:ext cx="298337" cy="1229623"/>
              <a:chOff x="1039500" y="2590104"/>
              <a:chExt cx="286077" cy="1229623"/>
            </a:xfrm>
          </p:grpSpPr>
          <p:grpSp>
            <p:nvGrpSpPr>
              <p:cNvPr id="111" name="Group 110">
                <a:extLst>
                  <a:ext uri="{FF2B5EF4-FFF2-40B4-BE49-F238E27FC236}">
                    <a16:creationId xmlns:a16="http://schemas.microsoft.com/office/drawing/2014/main" id="{590C0204-2544-499F-A4EE-1BA42512937C}"/>
                  </a:ext>
                </a:extLst>
              </p:cNvPr>
              <p:cNvGrpSpPr/>
              <p:nvPr/>
            </p:nvGrpSpPr>
            <p:grpSpPr>
              <a:xfrm>
                <a:off x="1039500" y="2590104"/>
                <a:ext cx="286077" cy="273961"/>
                <a:chOff x="914400" y="2150639"/>
                <a:chExt cx="437429" cy="418902"/>
              </a:xfrm>
              <a:solidFill>
                <a:schemeClr val="bg1">
                  <a:lumMod val="85000"/>
                </a:schemeClr>
              </a:solidFill>
            </p:grpSpPr>
            <p:grpSp>
              <p:nvGrpSpPr>
                <p:cNvPr id="130" name="Group 129">
                  <a:extLst>
                    <a:ext uri="{FF2B5EF4-FFF2-40B4-BE49-F238E27FC236}">
                      <a16:creationId xmlns:a16="http://schemas.microsoft.com/office/drawing/2014/main" id="{E968F2FE-9632-4291-89F4-1F39480121B4}"/>
                    </a:ext>
                  </a:extLst>
                </p:cNvPr>
                <p:cNvGrpSpPr/>
                <p:nvPr/>
              </p:nvGrpSpPr>
              <p:grpSpPr>
                <a:xfrm>
                  <a:off x="1058432" y="2263959"/>
                  <a:ext cx="149366" cy="196082"/>
                  <a:chOff x="1058432" y="2263959"/>
                  <a:chExt cx="149366" cy="196082"/>
                </a:xfrm>
                <a:grpFill/>
              </p:grpSpPr>
              <p:sp>
                <p:nvSpPr>
                  <p:cNvPr id="132" name="Freeform 345">
                    <a:extLst>
                      <a:ext uri="{FF2B5EF4-FFF2-40B4-BE49-F238E27FC236}">
                        <a16:creationId xmlns:a16="http://schemas.microsoft.com/office/drawing/2014/main" id="{3DE6C9BE-FE81-4EE3-A2CD-485EBB06496F}"/>
                      </a:ext>
                    </a:extLst>
                  </p:cNvPr>
                  <p:cNvSpPr>
                    <a:spLocks/>
                  </p:cNvSpPr>
                  <p:nvPr/>
                </p:nvSpPr>
                <p:spPr bwMode="auto">
                  <a:xfrm>
                    <a:off x="1098440" y="2438395"/>
                    <a:ext cx="70683" cy="6367"/>
                  </a:xfrm>
                  <a:custGeom>
                    <a:avLst/>
                    <a:gdLst>
                      <a:gd name="T0" fmla="*/ 103 w 108"/>
                      <a:gd name="T1" fmla="*/ 0 h 9"/>
                      <a:gd name="T2" fmla="*/ 4 w 108"/>
                      <a:gd name="T3" fmla="*/ 0 h 9"/>
                      <a:gd name="T4" fmla="*/ 4 w 108"/>
                      <a:gd name="T5" fmla="*/ 0 h 9"/>
                      <a:gd name="T6" fmla="*/ 2 w 108"/>
                      <a:gd name="T7" fmla="*/ 1 h 9"/>
                      <a:gd name="T8" fmla="*/ 0 w 108"/>
                      <a:gd name="T9" fmla="*/ 4 h 9"/>
                      <a:gd name="T10" fmla="*/ 0 w 108"/>
                      <a:gd name="T11" fmla="*/ 4 h 9"/>
                      <a:gd name="T12" fmla="*/ 2 w 108"/>
                      <a:gd name="T13" fmla="*/ 8 h 9"/>
                      <a:gd name="T14" fmla="*/ 4 w 108"/>
                      <a:gd name="T15" fmla="*/ 9 h 9"/>
                      <a:gd name="T16" fmla="*/ 103 w 108"/>
                      <a:gd name="T17" fmla="*/ 9 h 9"/>
                      <a:gd name="T18" fmla="*/ 103 w 108"/>
                      <a:gd name="T19" fmla="*/ 9 h 9"/>
                      <a:gd name="T20" fmla="*/ 105 w 108"/>
                      <a:gd name="T21" fmla="*/ 8 h 9"/>
                      <a:gd name="T22" fmla="*/ 108 w 108"/>
                      <a:gd name="T23" fmla="*/ 4 h 9"/>
                      <a:gd name="T24" fmla="*/ 108 w 108"/>
                      <a:gd name="T25" fmla="*/ 4 h 9"/>
                      <a:gd name="T26" fmla="*/ 105 w 108"/>
                      <a:gd name="T27" fmla="*/ 1 h 9"/>
                      <a:gd name="T28" fmla="*/ 103 w 108"/>
                      <a:gd name="T29" fmla="*/ 0 h 9"/>
                      <a:gd name="T30" fmla="*/ 103 w 108"/>
                      <a:gd name="T3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9">
                        <a:moveTo>
                          <a:pt x="103" y="0"/>
                        </a:moveTo>
                        <a:lnTo>
                          <a:pt x="4" y="0"/>
                        </a:lnTo>
                        <a:lnTo>
                          <a:pt x="4" y="0"/>
                        </a:lnTo>
                        <a:lnTo>
                          <a:pt x="2" y="1"/>
                        </a:lnTo>
                        <a:lnTo>
                          <a:pt x="0" y="4"/>
                        </a:lnTo>
                        <a:lnTo>
                          <a:pt x="0" y="4"/>
                        </a:lnTo>
                        <a:lnTo>
                          <a:pt x="2" y="8"/>
                        </a:lnTo>
                        <a:lnTo>
                          <a:pt x="4" y="9"/>
                        </a:lnTo>
                        <a:lnTo>
                          <a:pt x="103" y="9"/>
                        </a:lnTo>
                        <a:lnTo>
                          <a:pt x="103" y="9"/>
                        </a:lnTo>
                        <a:lnTo>
                          <a:pt x="105" y="8"/>
                        </a:lnTo>
                        <a:lnTo>
                          <a:pt x="108" y="4"/>
                        </a:lnTo>
                        <a:lnTo>
                          <a:pt x="108" y="4"/>
                        </a:lnTo>
                        <a:lnTo>
                          <a:pt x="105" y="1"/>
                        </a:lnTo>
                        <a:lnTo>
                          <a:pt x="103" y="0"/>
                        </a:lnTo>
                        <a:lnTo>
                          <a:pt x="1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3" name="Freeform 346">
                    <a:extLst>
                      <a:ext uri="{FF2B5EF4-FFF2-40B4-BE49-F238E27FC236}">
                        <a16:creationId xmlns:a16="http://schemas.microsoft.com/office/drawing/2014/main" id="{B28459D0-1423-4B34-809F-8903DB85640C}"/>
                      </a:ext>
                    </a:extLst>
                  </p:cNvPr>
                  <p:cNvSpPr>
                    <a:spLocks/>
                  </p:cNvSpPr>
                  <p:nvPr/>
                </p:nvSpPr>
                <p:spPr bwMode="auto">
                  <a:xfrm>
                    <a:off x="1117111" y="2454948"/>
                    <a:ext cx="33341" cy="5093"/>
                  </a:xfrm>
                  <a:custGeom>
                    <a:avLst/>
                    <a:gdLst>
                      <a:gd name="T0" fmla="*/ 44 w 49"/>
                      <a:gd name="T1" fmla="*/ 0 h 10"/>
                      <a:gd name="T2" fmla="*/ 5 w 49"/>
                      <a:gd name="T3" fmla="*/ 0 h 10"/>
                      <a:gd name="T4" fmla="*/ 5 w 49"/>
                      <a:gd name="T5" fmla="*/ 0 h 10"/>
                      <a:gd name="T6" fmla="*/ 2 w 49"/>
                      <a:gd name="T7" fmla="*/ 1 h 10"/>
                      <a:gd name="T8" fmla="*/ 0 w 49"/>
                      <a:gd name="T9" fmla="*/ 6 h 10"/>
                      <a:gd name="T10" fmla="*/ 0 w 49"/>
                      <a:gd name="T11" fmla="*/ 6 h 10"/>
                      <a:gd name="T12" fmla="*/ 2 w 49"/>
                      <a:gd name="T13" fmla="*/ 8 h 10"/>
                      <a:gd name="T14" fmla="*/ 5 w 49"/>
                      <a:gd name="T15" fmla="*/ 10 h 10"/>
                      <a:gd name="T16" fmla="*/ 44 w 49"/>
                      <a:gd name="T17" fmla="*/ 10 h 10"/>
                      <a:gd name="T18" fmla="*/ 44 w 49"/>
                      <a:gd name="T19" fmla="*/ 10 h 10"/>
                      <a:gd name="T20" fmla="*/ 48 w 49"/>
                      <a:gd name="T21" fmla="*/ 8 h 10"/>
                      <a:gd name="T22" fmla="*/ 49 w 49"/>
                      <a:gd name="T23" fmla="*/ 6 h 10"/>
                      <a:gd name="T24" fmla="*/ 49 w 49"/>
                      <a:gd name="T25" fmla="*/ 6 h 10"/>
                      <a:gd name="T26" fmla="*/ 48 w 49"/>
                      <a:gd name="T27" fmla="*/ 1 h 10"/>
                      <a:gd name="T28" fmla="*/ 44 w 49"/>
                      <a:gd name="T29" fmla="*/ 0 h 10"/>
                      <a:gd name="T30" fmla="*/ 44 w 49"/>
                      <a:gd name="T3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9" h="10">
                        <a:moveTo>
                          <a:pt x="44" y="0"/>
                        </a:moveTo>
                        <a:lnTo>
                          <a:pt x="5" y="0"/>
                        </a:lnTo>
                        <a:lnTo>
                          <a:pt x="5" y="0"/>
                        </a:lnTo>
                        <a:lnTo>
                          <a:pt x="2" y="1"/>
                        </a:lnTo>
                        <a:lnTo>
                          <a:pt x="0" y="6"/>
                        </a:lnTo>
                        <a:lnTo>
                          <a:pt x="0" y="6"/>
                        </a:lnTo>
                        <a:lnTo>
                          <a:pt x="2" y="8"/>
                        </a:lnTo>
                        <a:lnTo>
                          <a:pt x="5" y="10"/>
                        </a:lnTo>
                        <a:lnTo>
                          <a:pt x="44" y="10"/>
                        </a:lnTo>
                        <a:lnTo>
                          <a:pt x="44" y="10"/>
                        </a:lnTo>
                        <a:lnTo>
                          <a:pt x="48" y="8"/>
                        </a:lnTo>
                        <a:lnTo>
                          <a:pt x="49" y="6"/>
                        </a:lnTo>
                        <a:lnTo>
                          <a:pt x="49" y="6"/>
                        </a:lnTo>
                        <a:lnTo>
                          <a:pt x="48" y="1"/>
                        </a:lnTo>
                        <a:lnTo>
                          <a:pt x="44" y="0"/>
                        </a:ln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4" name="Freeform 347">
                    <a:extLst>
                      <a:ext uri="{FF2B5EF4-FFF2-40B4-BE49-F238E27FC236}">
                        <a16:creationId xmlns:a16="http://schemas.microsoft.com/office/drawing/2014/main" id="{0F0ED0F5-F7CD-455B-BA79-C962517997EA}"/>
                      </a:ext>
                    </a:extLst>
                  </p:cNvPr>
                  <p:cNvSpPr>
                    <a:spLocks noEditPoints="1"/>
                  </p:cNvSpPr>
                  <p:nvPr/>
                </p:nvSpPr>
                <p:spPr bwMode="auto">
                  <a:xfrm>
                    <a:off x="1058432" y="2263959"/>
                    <a:ext cx="149366" cy="161704"/>
                  </a:xfrm>
                  <a:custGeom>
                    <a:avLst/>
                    <a:gdLst>
                      <a:gd name="T0" fmla="*/ 113 w 225"/>
                      <a:gd name="T1" fmla="*/ 0 h 252"/>
                      <a:gd name="T2" fmla="*/ 90 w 225"/>
                      <a:gd name="T3" fmla="*/ 1 h 252"/>
                      <a:gd name="T4" fmla="*/ 69 w 225"/>
                      <a:gd name="T5" fmla="*/ 8 h 252"/>
                      <a:gd name="T6" fmla="*/ 50 w 225"/>
                      <a:gd name="T7" fmla="*/ 19 h 252"/>
                      <a:gd name="T8" fmla="*/ 34 w 225"/>
                      <a:gd name="T9" fmla="*/ 32 h 252"/>
                      <a:gd name="T10" fmla="*/ 19 w 225"/>
                      <a:gd name="T11" fmla="*/ 48 h 252"/>
                      <a:gd name="T12" fmla="*/ 10 w 225"/>
                      <a:gd name="T13" fmla="*/ 68 h 252"/>
                      <a:gd name="T14" fmla="*/ 3 w 225"/>
                      <a:gd name="T15" fmla="*/ 89 h 252"/>
                      <a:gd name="T16" fmla="*/ 0 w 225"/>
                      <a:gd name="T17" fmla="*/ 111 h 252"/>
                      <a:gd name="T18" fmla="*/ 2 w 225"/>
                      <a:gd name="T19" fmla="*/ 126 h 252"/>
                      <a:gd name="T20" fmla="*/ 10 w 225"/>
                      <a:gd name="T21" fmla="*/ 156 h 252"/>
                      <a:gd name="T22" fmla="*/ 25 w 225"/>
                      <a:gd name="T23" fmla="*/ 181 h 252"/>
                      <a:gd name="T24" fmla="*/ 46 w 225"/>
                      <a:gd name="T25" fmla="*/ 201 h 252"/>
                      <a:gd name="T26" fmla="*/ 59 w 225"/>
                      <a:gd name="T27" fmla="*/ 248 h 252"/>
                      <a:gd name="T28" fmla="*/ 61 w 225"/>
                      <a:gd name="T29" fmla="*/ 251 h 252"/>
                      <a:gd name="T30" fmla="*/ 162 w 225"/>
                      <a:gd name="T31" fmla="*/ 252 h 252"/>
                      <a:gd name="T32" fmla="*/ 164 w 225"/>
                      <a:gd name="T33" fmla="*/ 251 h 252"/>
                      <a:gd name="T34" fmla="*/ 167 w 225"/>
                      <a:gd name="T35" fmla="*/ 209 h 252"/>
                      <a:gd name="T36" fmla="*/ 179 w 225"/>
                      <a:gd name="T37" fmla="*/ 201 h 252"/>
                      <a:gd name="T38" fmla="*/ 200 w 225"/>
                      <a:gd name="T39" fmla="*/ 181 h 252"/>
                      <a:gd name="T40" fmla="*/ 215 w 225"/>
                      <a:gd name="T41" fmla="*/ 156 h 252"/>
                      <a:gd name="T42" fmla="*/ 223 w 225"/>
                      <a:gd name="T43" fmla="*/ 126 h 252"/>
                      <a:gd name="T44" fmla="*/ 225 w 225"/>
                      <a:gd name="T45" fmla="*/ 111 h 252"/>
                      <a:gd name="T46" fmla="*/ 222 w 225"/>
                      <a:gd name="T47" fmla="*/ 89 h 252"/>
                      <a:gd name="T48" fmla="*/ 215 w 225"/>
                      <a:gd name="T49" fmla="*/ 68 h 252"/>
                      <a:gd name="T50" fmla="*/ 206 w 225"/>
                      <a:gd name="T51" fmla="*/ 48 h 252"/>
                      <a:gd name="T52" fmla="*/ 192 w 225"/>
                      <a:gd name="T53" fmla="*/ 32 h 252"/>
                      <a:gd name="T54" fmla="*/ 175 w 225"/>
                      <a:gd name="T55" fmla="*/ 19 h 252"/>
                      <a:gd name="T56" fmla="*/ 156 w 225"/>
                      <a:gd name="T57" fmla="*/ 8 h 252"/>
                      <a:gd name="T58" fmla="*/ 135 w 225"/>
                      <a:gd name="T59" fmla="*/ 1 h 252"/>
                      <a:gd name="T60" fmla="*/ 113 w 225"/>
                      <a:gd name="T61" fmla="*/ 0 h 252"/>
                      <a:gd name="T62" fmla="*/ 167 w 225"/>
                      <a:gd name="T63" fmla="*/ 136 h 252"/>
                      <a:gd name="T64" fmla="*/ 112 w 225"/>
                      <a:gd name="T65" fmla="*/ 152 h 252"/>
                      <a:gd name="T66" fmla="*/ 58 w 225"/>
                      <a:gd name="T67" fmla="*/ 136 h 252"/>
                      <a:gd name="T68" fmla="*/ 55 w 225"/>
                      <a:gd name="T69" fmla="*/ 133 h 252"/>
                      <a:gd name="T70" fmla="*/ 55 w 225"/>
                      <a:gd name="T71" fmla="*/ 128 h 252"/>
                      <a:gd name="T72" fmla="*/ 58 w 225"/>
                      <a:gd name="T73" fmla="*/ 125 h 252"/>
                      <a:gd name="T74" fmla="*/ 63 w 225"/>
                      <a:gd name="T75" fmla="*/ 122 h 252"/>
                      <a:gd name="T76" fmla="*/ 69 w 225"/>
                      <a:gd name="T77" fmla="*/ 125 h 252"/>
                      <a:gd name="T78" fmla="*/ 106 w 225"/>
                      <a:gd name="T79" fmla="*/ 136 h 252"/>
                      <a:gd name="T80" fmla="*/ 109 w 225"/>
                      <a:gd name="T81" fmla="*/ 134 h 252"/>
                      <a:gd name="T82" fmla="*/ 112 w 225"/>
                      <a:gd name="T83" fmla="*/ 133 h 252"/>
                      <a:gd name="T84" fmla="*/ 119 w 225"/>
                      <a:gd name="T85" fmla="*/ 136 h 252"/>
                      <a:gd name="T86" fmla="*/ 156 w 225"/>
                      <a:gd name="T87" fmla="*/ 125 h 252"/>
                      <a:gd name="T88" fmla="*/ 159 w 225"/>
                      <a:gd name="T89" fmla="*/ 122 h 252"/>
                      <a:gd name="T90" fmla="*/ 164 w 225"/>
                      <a:gd name="T91" fmla="*/ 122 h 252"/>
                      <a:gd name="T92" fmla="*/ 167 w 225"/>
                      <a:gd name="T93" fmla="*/ 125 h 252"/>
                      <a:gd name="T94" fmla="*/ 170 w 225"/>
                      <a:gd name="T95" fmla="*/ 130 h 252"/>
                      <a:gd name="T96" fmla="*/ 167 w 225"/>
                      <a:gd name="T97" fmla="*/ 136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5" h="252">
                        <a:moveTo>
                          <a:pt x="113" y="0"/>
                        </a:moveTo>
                        <a:lnTo>
                          <a:pt x="113" y="0"/>
                        </a:lnTo>
                        <a:lnTo>
                          <a:pt x="101" y="0"/>
                        </a:lnTo>
                        <a:lnTo>
                          <a:pt x="90" y="1"/>
                        </a:lnTo>
                        <a:lnTo>
                          <a:pt x="80" y="4"/>
                        </a:lnTo>
                        <a:lnTo>
                          <a:pt x="69" y="8"/>
                        </a:lnTo>
                        <a:lnTo>
                          <a:pt x="59" y="13"/>
                        </a:lnTo>
                        <a:lnTo>
                          <a:pt x="50" y="19"/>
                        </a:lnTo>
                        <a:lnTo>
                          <a:pt x="42" y="25"/>
                        </a:lnTo>
                        <a:lnTo>
                          <a:pt x="34" y="32"/>
                        </a:lnTo>
                        <a:lnTo>
                          <a:pt x="26" y="40"/>
                        </a:lnTo>
                        <a:lnTo>
                          <a:pt x="19" y="48"/>
                        </a:lnTo>
                        <a:lnTo>
                          <a:pt x="14" y="58"/>
                        </a:lnTo>
                        <a:lnTo>
                          <a:pt x="10" y="68"/>
                        </a:lnTo>
                        <a:lnTo>
                          <a:pt x="6" y="78"/>
                        </a:lnTo>
                        <a:lnTo>
                          <a:pt x="3" y="89"/>
                        </a:lnTo>
                        <a:lnTo>
                          <a:pt x="2" y="101"/>
                        </a:lnTo>
                        <a:lnTo>
                          <a:pt x="0" y="111"/>
                        </a:lnTo>
                        <a:lnTo>
                          <a:pt x="0" y="111"/>
                        </a:lnTo>
                        <a:lnTo>
                          <a:pt x="2" y="126"/>
                        </a:lnTo>
                        <a:lnTo>
                          <a:pt x="4" y="141"/>
                        </a:lnTo>
                        <a:lnTo>
                          <a:pt x="10" y="156"/>
                        </a:lnTo>
                        <a:lnTo>
                          <a:pt x="16" y="169"/>
                        </a:lnTo>
                        <a:lnTo>
                          <a:pt x="25" y="181"/>
                        </a:lnTo>
                        <a:lnTo>
                          <a:pt x="35" y="192"/>
                        </a:lnTo>
                        <a:lnTo>
                          <a:pt x="46" y="201"/>
                        </a:lnTo>
                        <a:lnTo>
                          <a:pt x="59" y="209"/>
                        </a:lnTo>
                        <a:lnTo>
                          <a:pt x="59" y="248"/>
                        </a:lnTo>
                        <a:lnTo>
                          <a:pt x="59" y="248"/>
                        </a:lnTo>
                        <a:lnTo>
                          <a:pt x="61" y="251"/>
                        </a:lnTo>
                        <a:lnTo>
                          <a:pt x="63" y="252"/>
                        </a:lnTo>
                        <a:lnTo>
                          <a:pt x="162" y="252"/>
                        </a:lnTo>
                        <a:lnTo>
                          <a:pt x="162" y="252"/>
                        </a:lnTo>
                        <a:lnTo>
                          <a:pt x="164" y="251"/>
                        </a:lnTo>
                        <a:lnTo>
                          <a:pt x="167" y="248"/>
                        </a:lnTo>
                        <a:lnTo>
                          <a:pt x="167" y="209"/>
                        </a:lnTo>
                        <a:lnTo>
                          <a:pt x="167" y="209"/>
                        </a:lnTo>
                        <a:lnTo>
                          <a:pt x="179" y="201"/>
                        </a:lnTo>
                        <a:lnTo>
                          <a:pt x="191" y="192"/>
                        </a:lnTo>
                        <a:lnTo>
                          <a:pt x="200" y="181"/>
                        </a:lnTo>
                        <a:lnTo>
                          <a:pt x="209" y="169"/>
                        </a:lnTo>
                        <a:lnTo>
                          <a:pt x="215" y="156"/>
                        </a:lnTo>
                        <a:lnTo>
                          <a:pt x="221" y="141"/>
                        </a:lnTo>
                        <a:lnTo>
                          <a:pt x="223" y="126"/>
                        </a:lnTo>
                        <a:lnTo>
                          <a:pt x="225" y="111"/>
                        </a:lnTo>
                        <a:lnTo>
                          <a:pt x="225" y="111"/>
                        </a:lnTo>
                        <a:lnTo>
                          <a:pt x="225" y="101"/>
                        </a:lnTo>
                        <a:lnTo>
                          <a:pt x="222" y="89"/>
                        </a:lnTo>
                        <a:lnTo>
                          <a:pt x="219" y="78"/>
                        </a:lnTo>
                        <a:lnTo>
                          <a:pt x="215" y="68"/>
                        </a:lnTo>
                        <a:lnTo>
                          <a:pt x="211" y="58"/>
                        </a:lnTo>
                        <a:lnTo>
                          <a:pt x="206" y="48"/>
                        </a:lnTo>
                        <a:lnTo>
                          <a:pt x="199" y="40"/>
                        </a:lnTo>
                        <a:lnTo>
                          <a:pt x="192" y="32"/>
                        </a:lnTo>
                        <a:lnTo>
                          <a:pt x="184" y="25"/>
                        </a:lnTo>
                        <a:lnTo>
                          <a:pt x="175" y="19"/>
                        </a:lnTo>
                        <a:lnTo>
                          <a:pt x="166" y="13"/>
                        </a:lnTo>
                        <a:lnTo>
                          <a:pt x="156" y="8"/>
                        </a:lnTo>
                        <a:lnTo>
                          <a:pt x="145" y="4"/>
                        </a:lnTo>
                        <a:lnTo>
                          <a:pt x="135" y="1"/>
                        </a:lnTo>
                        <a:lnTo>
                          <a:pt x="124" y="0"/>
                        </a:lnTo>
                        <a:lnTo>
                          <a:pt x="113" y="0"/>
                        </a:lnTo>
                        <a:lnTo>
                          <a:pt x="113" y="0"/>
                        </a:lnTo>
                        <a:close/>
                        <a:moveTo>
                          <a:pt x="167" y="136"/>
                        </a:moveTo>
                        <a:lnTo>
                          <a:pt x="132" y="172"/>
                        </a:lnTo>
                        <a:lnTo>
                          <a:pt x="112" y="152"/>
                        </a:lnTo>
                        <a:lnTo>
                          <a:pt x="93" y="172"/>
                        </a:lnTo>
                        <a:lnTo>
                          <a:pt x="58" y="136"/>
                        </a:lnTo>
                        <a:lnTo>
                          <a:pt x="58" y="136"/>
                        </a:lnTo>
                        <a:lnTo>
                          <a:pt x="55" y="133"/>
                        </a:lnTo>
                        <a:lnTo>
                          <a:pt x="55" y="130"/>
                        </a:lnTo>
                        <a:lnTo>
                          <a:pt x="55" y="128"/>
                        </a:lnTo>
                        <a:lnTo>
                          <a:pt x="58" y="125"/>
                        </a:lnTo>
                        <a:lnTo>
                          <a:pt x="58" y="125"/>
                        </a:lnTo>
                        <a:lnTo>
                          <a:pt x="61" y="122"/>
                        </a:lnTo>
                        <a:lnTo>
                          <a:pt x="63" y="122"/>
                        </a:lnTo>
                        <a:lnTo>
                          <a:pt x="66" y="122"/>
                        </a:lnTo>
                        <a:lnTo>
                          <a:pt x="69" y="125"/>
                        </a:lnTo>
                        <a:lnTo>
                          <a:pt x="93" y="149"/>
                        </a:lnTo>
                        <a:lnTo>
                          <a:pt x="106" y="136"/>
                        </a:lnTo>
                        <a:lnTo>
                          <a:pt x="106" y="136"/>
                        </a:lnTo>
                        <a:lnTo>
                          <a:pt x="109" y="134"/>
                        </a:lnTo>
                        <a:lnTo>
                          <a:pt x="112" y="133"/>
                        </a:lnTo>
                        <a:lnTo>
                          <a:pt x="112" y="133"/>
                        </a:lnTo>
                        <a:lnTo>
                          <a:pt x="116" y="134"/>
                        </a:lnTo>
                        <a:lnTo>
                          <a:pt x="119" y="136"/>
                        </a:lnTo>
                        <a:lnTo>
                          <a:pt x="132" y="149"/>
                        </a:lnTo>
                        <a:lnTo>
                          <a:pt x="156" y="125"/>
                        </a:lnTo>
                        <a:lnTo>
                          <a:pt x="156" y="125"/>
                        </a:lnTo>
                        <a:lnTo>
                          <a:pt x="159" y="122"/>
                        </a:lnTo>
                        <a:lnTo>
                          <a:pt x="162" y="122"/>
                        </a:lnTo>
                        <a:lnTo>
                          <a:pt x="164" y="122"/>
                        </a:lnTo>
                        <a:lnTo>
                          <a:pt x="167" y="125"/>
                        </a:lnTo>
                        <a:lnTo>
                          <a:pt x="167" y="125"/>
                        </a:lnTo>
                        <a:lnTo>
                          <a:pt x="168" y="128"/>
                        </a:lnTo>
                        <a:lnTo>
                          <a:pt x="170" y="130"/>
                        </a:lnTo>
                        <a:lnTo>
                          <a:pt x="168" y="133"/>
                        </a:lnTo>
                        <a:lnTo>
                          <a:pt x="167" y="136"/>
                        </a:lnTo>
                        <a:lnTo>
                          <a:pt x="167"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131" name="Freeform 37">
                  <a:extLst>
                    <a:ext uri="{FF2B5EF4-FFF2-40B4-BE49-F238E27FC236}">
                      <a16:creationId xmlns:a16="http://schemas.microsoft.com/office/drawing/2014/main" id="{A1300EAA-7A9A-41D9-8144-C683B9402BB9}"/>
                    </a:ext>
                  </a:extLst>
                </p:cNvPr>
                <p:cNvSpPr>
                  <a:spLocks noEditPoints="1"/>
                </p:cNvSpPr>
                <p:nvPr/>
              </p:nvSpPr>
              <p:spPr bwMode="auto">
                <a:xfrm>
                  <a:off x="914400" y="2150639"/>
                  <a:ext cx="437429" cy="418902"/>
                </a:xfrm>
                <a:custGeom>
                  <a:avLst/>
                  <a:gdLst>
                    <a:gd name="T0" fmla="*/ 312 w 657"/>
                    <a:gd name="T1" fmla="*/ 657 h 657"/>
                    <a:gd name="T2" fmla="*/ 262 w 657"/>
                    <a:gd name="T3" fmla="*/ 650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9 h 657"/>
                    <a:gd name="T16" fmla="*/ 1 w 657"/>
                    <a:gd name="T17" fmla="*/ 296 h 657"/>
                    <a:gd name="T18" fmla="*/ 11 w 657"/>
                    <a:gd name="T19" fmla="*/ 246 h 657"/>
                    <a:gd name="T20" fmla="*/ 39 w 657"/>
                    <a:gd name="T21" fmla="*/ 172 h 657"/>
                    <a:gd name="T22" fmla="*/ 97 w 657"/>
                    <a:gd name="T23" fmla="*/ 97 h 657"/>
                    <a:gd name="T24" fmla="*/ 172 w 657"/>
                    <a:gd name="T25" fmla="*/ 39 h 657"/>
                    <a:gd name="T26" fmla="*/ 247 w 657"/>
                    <a:gd name="T27" fmla="*/ 10 h 657"/>
                    <a:gd name="T28" fmla="*/ 296 w 657"/>
                    <a:gd name="T29" fmla="*/ 2 h 657"/>
                    <a:gd name="T30" fmla="*/ 329 w 657"/>
                    <a:gd name="T31" fmla="*/ 0 h 657"/>
                    <a:gd name="T32" fmla="*/ 379 w 657"/>
                    <a:gd name="T33" fmla="*/ 4 h 657"/>
                    <a:gd name="T34" fmla="*/ 426 w 657"/>
                    <a:gd name="T35" fmla="*/ 15 h 657"/>
                    <a:gd name="T36" fmla="*/ 512 w 657"/>
                    <a:gd name="T37" fmla="*/ 57 h 657"/>
                    <a:gd name="T38" fmla="*/ 582 w 657"/>
                    <a:gd name="T39" fmla="*/ 120 h 657"/>
                    <a:gd name="T40" fmla="*/ 631 w 657"/>
                    <a:gd name="T41" fmla="*/ 200 h 657"/>
                    <a:gd name="T42" fmla="*/ 650 w 657"/>
                    <a:gd name="T43" fmla="*/ 262 h 657"/>
                    <a:gd name="T44" fmla="*/ 657 w 657"/>
                    <a:gd name="T45" fmla="*/ 312 h 657"/>
                    <a:gd name="T46" fmla="*/ 657 w 657"/>
                    <a:gd name="T47" fmla="*/ 346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9 w 657"/>
                    <a:gd name="T59" fmla="*/ 653 h 657"/>
                    <a:gd name="T60" fmla="*/ 329 w 657"/>
                    <a:gd name="T61" fmla="*/ 657 h 657"/>
                    <a:gd name="T62" fmla="*/ 329 w 657"/>
                    <a:gd name="T63" fmla="*/ 38 h 657"/>
                    <a:gd name="T64" fmla="*/ 242 w 657"/>
                    <a:gd name="T65" fmla="*/ 51 h 657"/>
                    <a:gd name="T66" fmla="*/ 165 w 657"/>
                    <a:gd name="T67" fmla="*/ 88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5 w 657"/>
                    <a:gd name="T81" fmla="*/ 570 h 657"/>
                    <a:gd name="T82" fmla="*/ 242 w 657"/>
                    <a:gd name="T83" fmla="*/ 607 h 657"/>
                    <a:gd name="T84" fmla="*/ 329 w 657"/>
                    <a:gd name="T85" fmla="*/ 620 h 657"/>
                    <a:gd name="T86" fmla="*/ 387 w 657"/>
                    <a:gd name="T87" fmla="*/ 614 h 657"/>
                    <a:gd name="T88" fmla="*/ 468 w 657"/>
                    <a:gd name="T89" fmla="*/ 585 h 657"/>
                    <a:gd name="T90" fmla="*/ 535 w 657"/>
                    <a:gd name="T91" fmla="*/ 535 h 657"/>
                    <a:gd name="T92" fmla="*/ 584 w 657"/>
                    <a:gd name="T93" fmla="*/ 468 h 657"/>
                    <a:gd name="T94" fmla="*/ 614 w 657"/>
                    <a:gd name="T95" fmla="*/ 387 h 657"/>
                    <a:gd name="T96" fmla="*/ 619 w 657"/>
                    <a:gd name="T97" fmla="*/ 329 h 657"/>
                    <a:gd name="T98" fmla="*/ 607 w 657"/>
                    <a:gd name="T99" fmla="*/ 242 h 657"/>
                    <a:gd name="T100" fmla="*/ 570 w 657"/>
                    <a:gd name="T101" fmla="*/ 166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6"/>
                      </a:lnTo>
                      <a:lnTo>
                        <a:pt x="278" y="653"/>
                      </a:lnTo>
                      <a:lnTo>
                        <a:pt x="262" y="650"/>
                      </a:lnTo>
                      <a:lnTo>
                        <a:pt x="247" y="648"/>
                      </a:lnTo>
                      <a:lnTo>
                        <a:pt x="231" y="642"/>
                      </a:lnTo>
                      <a:lnTo>
                        <a:pt x="200" y="632"/>
                      </a:lnTo>
                      <a:lnTo>
                        <a:pt x="172" y="618"/>
                      </a:lnTo>
                      <a:lnTo>
                        <a:pt x="145" y="601"/>
                      </a:lnTo>
                      <a:lnTo>
                        <a:pt x="120" y="582"/>
                      </a:lnTo>
                      <a:lnTo>
                        <a:pt x="97" y="562"/>
                      </a:lnTo>
                      <a:lnTo>
                        <a:pt x="75" y="538"/>
                      </a:lnTo>
                      <a:lnTo>
                        <a:pt x="57" y="512"/>
                      </a:lnTo>
                      <a:lnTo>
                        <a:pt x="39" y="485"/>
                      </a:lnTo>
                      <a:lnTo>
                        <a:pt x="26" y="457"/>
                      </a:lnTo>
                      <a:lnTo>
                        <a:pt x="15" y="426"/>
                      </a:lnTo>
                      <a:lnTo>
                        <a:pt x="11" y="411"/>
                      </a:lnTo>
                      <a:lnTo>
                        <a:pt x="7" y="395"/>
                      </a:lnTo>
                      <a:lnTo>
                        <a:pt x="4" y="379"/>
                      </a:lnTo>
                      <a:lnTo>
                        <a:pt x="1" y="362"/>
                      </a:lnTo>
                      <a:lnTo>
                        <a:pt x="0" y="346"/>
                      </a:lnTo>
                      <a:lnTo>
                        <a:pt x="0" y="329"/>
                      </a:lnTo>
                      <a:lnTo>
                        <a:pt x="0" y="329"/>
                      </a:lnTo>
                      <a:lnTo>
                        <a:pt x="0" y="312"/>
                      </a:lnTo>
                      <a:lnTo>
                        <a:pt x="1" y="296"/>
                      </a:lnTo>
                      <a:lnTo>
                        <a:pt x="4" y="278"/>
                      </a:lnTo>
                      <a:lnTo>
                        <a:pt x="7" y="262"/>
                      </a:lnTo>
                      <a:lnTo>
                        <a:pt x="11" y="246"/>
                      </a:lnTo>
                      <a:lnTo>
                        <a:pt x="15" y="231"/>
                      </a:lnTo>
                      <a:lnTo>
                        <a:pt x="26" y="200"/>
                      </a:lnTo>
                      <a:lnTo>
                        <a:pt x="39" y="172"/>
                      </a:lnTo>
                      <a:lnTo>
                        <a:pt x="57" y="145"/>
                      </a:lnTo>
                      <a:lnTo>
                        <a:pt x="75" y="120"/>
                      </a:lnTo>
                      <a:lnTo>
                        <a:pt x="97" y="97"/>
                      </a:lnTo>
                      <a:lnTo>
                        <a:pt x="120" y="76"/>
                      </a:lnTo>
                      <a:lnTo>
                        <a:pt x="145" y="57"/>
                      </a:lnTo>
                      <a:lnTo>
                        <a:pt x="172" y="39"/>
                      </a:lnTo>
                      <a:lnTo>
                        <a:pt x="200" y="26"/>
                      </a:lnTo>
                      <a:lnTo>
                        <a:pt x="231" y="15"/>
                      </a:lnTo>
                      <a:lnTo>
                        <a:pt x="247" y="10"/>
                      </a:lnTo>
                      <a:lnTo>
                        <a:pt x="262" y="7"/>
                      </a:lnTo>
                      <a:lnTo>
                        <a:pt x="278" y="4"/>
                      </a:lnTo>
                      <a:lnTo>
                        <a:pt x="296" y="2"/>
                      </a:lnTo>
                      <a:lnTo>
                        <a:pt x="312" y="0"/>
                      </a:lnTo>
                      <a:lnTo>
                        <a:pt x="329" y="0"/>
                      </a:lnTo>
                      <a:lnTo>
                        <a:pt x="329" y="0"/>
                      </a:lnTo>
                      <a:lnTo>
                        <a:pt x="345" y="0"/>
                      </a:lnTo>
                      <a:lnTo>
                        <a:pt x="363" y="2"/>
                      </a:lnTo>
                      <a:lnTo>
                        <a:pt x="379" y="4"/>
                      </a:lnTo>
                      <a:lnTo>
                        <a:pt x="395" y="7"/>
                      </a:lnTo>
                      <a:lnTo>
                        <a:pt x="411" y="10"/>
                      </a:lnTo>
                      <a:lnTo>
                        <a:pt x="426" y="15"/>
                      </a:lnTo>
                      <a:lnTo>
                        <a:pt x="457" y="26"/>
                      </a:lnTo>
                      <a:lnTo>
                        <a:pt x="485" y="39"/>
                      </a:lnTo>
                      <a:lnTo>
                        <a:pt x="512" y="57"/>
                      </a:lnTo>
                      <a:lnTo>
                        <a:pt x="537" y="76"/>
                      </a:lnTo>
                      <a:lnTo>
                        <a:pt x="562" y="97"/>
                      </a:lnTo>
                      <a:lnTo>
                        <a:pt x="582" y="120"/>
                      </a:lnTo>
                      <a:lnTo>
                        <a:pt x="602" y="145"/>
                      </a:lnTo>
                      <a:lnTo>
                        <a:pt x="618" y="172"/>
                      </a:lnTo>
                      <a:lnTo>
                        <a:pt x="631" y="200"/>
                      </a:lnTo>
                      <a:lnTo>
                        <a:pt x="642" y="231"/>
                      </a:lnTo>
                      <a:lnTo>
                        <a:pt x="648" y="246"/>
                      </a:lnTo>
                      <a:lnTo>
                        <a:pt x="650" y="262"/>
                      </a:lnTo>
                      <a:lnTo>
                        <a:pt x="654" y="278"/>
                      </a:lnTo>
                      <a:lnTo>
                        <a:pt x="656" y="296"/>
                      </a:lnTo>
                      <a:lnTo>
                        <a:pt x="657" y="312"/>
                      </a:lnTo>
                      <a:lnTo>
                        <a:pt x="657" y="329"/>
                      </a:lnTo>
                      <a:lnTo>
                        <a:pt x="657" y="329"/>
                      </a:lnTo>
                      <a:lnTo>
                        <a:pt x="657" y="346"/>
                      </a:lnTo>
                      <a:lnTo>
                        <a:pt x="656" y="362"/>
                      </a:lnTo>
                      <a:lnTo>
                        <a:pt x="654" y="379"/>
                      </a:lnTo>
                      <a:lnTo>
                        <a:pt x="650" y="395"/>
                      </a:lnTo>
                      <a:lnTo>
                        <a:pt x="648" y="411"/>
                      </a:lnTo>
                      <a:lnTo>
                        <a:pt x="642" y="426"/>
                      </a:lnTo>
                      <a:lnTo>
                        <a:pt x="631" y="457"/>
                      </a:lnTo>
                      <a:lnTo>
                        <a:pt x="618" y="485"/>
                      </a:lnTo>
                      <a:lnTo>
                        <a:pt x="602" y="512"/>
                      </a:lnTo>
                      <a:lnTo>
                        <a:pt x="582" y="538"/>
                      </a:lnTo>
                      <a:lnTo>
                        <a:pt x="562" y="562"/>
                      </a:lnTo>
                      <a:lnTo>
                        <a:pt x="537" y="582"/>
                      </a:lnTo>
                      <a:lnTo>
                        <a:pt x="512" y="601"/>
                      </a:lnTo>
                      <a:lnTo>
                        <a:pt x="485" y="618"/>
                      </a:lnTo>
                      <a:lnTo>
                        <a:pt x="457" y="632"/>
                      </a:lnTo>
                      <a:lnTo>
                        <a:pt x="426" y="642"/>
                      </a:lnTo>
                      <a:lnTo>
                        <a:pt x="411" y="648"/>
                      </a:lnTo>
                      <a:lnTo>
                        <a:pt x="395" y="650"/>
                      </a:lnTo>
                      <a:lnTo>
                        <a:pt x="379" y="653"/>
                      </a:lnTo>
                      <a:lnTo>
                        <a:pt x="363" y="656"/>
                      </a:lnTo>
                      <a:lnTo>
                        <a:pt x="345" y="657"/>
                      </a:lnTo>
                      <a:lnTo>
                        <a:pt x="329" y="657"/>
                      </a:lnTo>
                      <a:lnTo>
                        <a:pt x="329" y="657"/>
                      </a:lnTo>
                      <a:close/>
                      <a:moveTo>
                        <a:pt x="329" y="38"/>
                      </a:moveTo>
                      <a:lnTo>
                        <a:pt x="329" y="38"/>
                      </a:lnTo>
                      <a:lnTo>
                        <a:pt x="298" y="39"/>
                      </a:lnTo>
                      <a:lnTo>
                        <a:pt x="270" y="43"/>
                      </a:lnTo>
                      <a:lnTo>
                        <a:pt x="242" y="51"/>
                      </a:lnTo>
                      <a:lnTo>
                        <a:pt x="215" y="61"/>
                      </a:lnTo>
                      <a:lnTo>
                        <a:pt x="189" y="73"/>
                      </a:lnTo>
                      <a:lnTo>
                        <a:pt x="165" y="88"/>
                      </a:lnTo>
                      <a:lnTo>
                        <a:pt x="144" y="104"/>
                      </a:lnTo>
                      <a:lnTo>
                        <a:pt x="122" y="123"/>
                      </a:lnTo>
                      <a:lnTo>
                        <a:pt x="104" y="144"/>
                      </a:lnTo>
                      <a:lnTo>
                        <a:pt x="87" y="166"/>
                      </a:lnTo>
                      <a:lnTo>
                        <a:pt x="73" y="190"/>
                      </a:lnTo>
                      <a:lnTo>
                        <a:pt x="61" y="215"/>
                      </a:lnTo>
                      <a:lnTo>
                        <a:pt x="51" y="242"/>
                      </a:lnTo>
                      <a:lnTo>
                        <a:pt x="43" y="270"/>
                      </a:lnTo>
                      <a:lnTo>
                        <a:pt x="39" y="298"/>
                      </a:lnTo>
                      <a:lnTo>
                        <a:pt x="38" y="329"/>
                      </a:lnTo>
                      <a:lnTo>
                        <a:pt x="38" y="329"/>
                      </a:lnTo>
                      <a:lnTo>
                        <a:pt x="39" y="359"/>
                      </a:lnTo>
                      <a:lnTo>
                        <a:pt x="43" y="387"/>
                      </a:lnTo>
                      <a:lnTo>
                        <a:pt x="51" y="415"/>
                      </a:lnTo>
                      <a:lnTo>
                        <a:pt x="61" y="442"/>
                      </a:lnTo>
                      <a:lnTo>
                        <a:pt x="73" y="468"/>
                      </a:lnTo>
                      <a:lnTo>
                        <a:pt x="87" y="492"/>
                      </a:lnTo>
                      <a:lnTo>
                        <a:pt x="104" y="513"/>
                      </a:lnTo>
                      <a:lnTo>
                        <a:pt x="122" y="535"/>
                      </a:lnTo>
                      <a:lnTo>
                        <a:pt x="144" y="554"/>
                      </a:lnTo>
                      <a:lnTo>
                        <a:pt x="165" y="570"/>
                      </a:lnTo>
                      <a:lnTo>
                        <a:pt x="189" y="585"/>
                      </a:lnTo>
                      <a:lnTo>
                        <a:pt x="215" y="597"/>
                      </a:lnTo>
                      <a:lnTo>
                        <a:pt x="242" y="607"/>
                      </a:lnTo>
                      <a:lnTo>
                        <a:pt x="270" y="614"/>
                      </a:lnTo>
                      <a:lnTo>
                        <a:pt x="298" y="618"/>
                      </a:lnTo>
                      <a:lnTo>
                        <a:pt x="329" y="620"/>
                      </a:lnTo>
                      <a:lnTo>
                        <a:pt x="329" y="620"/>
                      </a:lnTo>
                      <a:lnTo>
                        <a:pt x="359" y="618"/>
                      </a:lnTo>
                      <a:lnTo>
                        <a:pt x="387" y="614"/>
                      </a:lnTo>
                      <a:lnTo>
                        <a:pt x="415" y="607"/>
                      </a:lnTo>
                      <a:lnTo>
                        <a:pt x="442" y="597"/>
                      </a:lnTo>
                      <a:lnTo>
                        <a:pt x="468" y="585"/>
                      </a:lnTo>
                      <a:lnTo>
                        <a:pt x="492" y="570"/>
                      </a:lnTo>
                      <a:lnTo>
                        <a:pt x="513" y="554"/>
                      </a:lnTo>
                      <a:lnTo>
                        <a:pt x="535" y="535"/>
                      </a:lnTo>
                      <a:lnTo>
                        <a:pt x="553" y="513"/>
                      </a:lnTo>
                      <a:lnTo>
                        <a:pt x="570" y="492"/>
                      </a:lnTo>
                      <a:lnTo>
                        <a:pt x="584" y="468"/>
                      </a:lnTo>
                      <a:lnTo>
                        <a:pt x="596" y="442"/>
                      </a:lnTo>
                      <a:lnTo>
                        <a:pt x="607" y="415"/>
                      </a:lnTo>
                      <a:lnTo>
                        <a:pt x="614" y="387"/>
                      </a:lnTo>
                      <a:lnTo>
                        <a:pt x="618" y="359"/>
                      </a:lnTo>
                      <a:lnTo>
                        <a:pt x="619" y="329"/>
                      </a:lnTo>
                      <a:lnTo>
                        <a:pt x="619" y="329"/>
                      </a:lnTo>
                      <a:lnTo>
                        <a:pt x="618" y="298"/>
                      </a:lnTo>
                      <a:lnTo>
                        <a:pt x="614" y="270"/>
                      </a:lnTo>
                      <a:lnTo>
                        <a:pt x="607" y="242"/>
                      </a:lnTo>
                      <a:lnTo>
                        <a:pt x="596" y="215"/>
                      </a:lnTo>
                      <a:lnTo>
                        <a:pt x="584" y="190"/>
                      </a:lnTo>
                      <a:lnTo>
                        <a:pt x="570" y="166"/>
                      </a:lnTo>
                      <a:lnTo>
                        <a:pt x="553" y="144"/>
                      </a:lnTo>
                      <a:lnTo>
                        <a:pt x="535" y="123"/>
                      </a:lnTo>
                      <a:lnTo>
                        <a:pt x="513" y="104"/>
                      </a:lnTo>
                      <a:lnTo>
                        <a:pt x="492" y="88"/>
                      </a:lnTo>
                      <a:lnTo>
                        <a:pt x="468" y="73"/>
                      </a:lnTo>
                      <a:lnTo>
                        <a:pt x="442" y="61"/>
                      </a:lnTo>
                      <a:lnTo>
                        <a:pt x="415" y="51"/>
                      </a:lnTo>
                      <a:lnTo>
                        <a:pt x="387" y="43"/>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12" name="Group 111">
                <a:extLst>
                  <a:ext uri="{FF2B5EF4-FFF2-40B4-BE49-F238E27FC236}">
                    <a16:creationId xmlns:a16="http://schemas.microsoft.com/office/drawing/2014/main" id="{A9446F99-02B5-4330-8ECD-81887AD7B5AD}"/>
                  </a:ext>
                </a:extLst>
              </p:cNvPr>
              <p:cNvGrpSpPr/>
              <p:nvPr/>
            </p:nvGrpSpPr>
            <p:grpSpPr>
              <a:xfrm>
                <a:off x="1039500" y="2895585"/>
                <a:ext cx="286077" cy="273961"/>
                <a:chOff x="914400" y="2150639"/>
                <a:chExt cx="437429" cy="418902"/>
              </a:xfrm>
              <a:solidFill>
                <a:schemeClr val="bg1">
                  <a:lumMod val="85000"/>
                </a:schemeClr>
              </a:solidFill>
            </p:grpSpPr>
            <p:grpSp>
              <p:nvGrpSpPr>
                <p:cNvPr id="125" name="Group 124">
                  <a:extLst>
                    <a:ext uri="{FF2B5EF4-FFF2-40B4-BE49-F238E27FC236}">
                      <a16:creationId xmlns:a16="http://schemas.microsoft.com/office/drawing/2014/main" id="{EDEA1CBD-982C-4B14-B754-FED89324FF8E}"/>
                    </a:ext>
                  </a:extLst>
                </p:cNvPr>
                <p:cNvGrpSpPr/>
                <p:nvPr/>
              </p:nvGrpSpPr>
              <p:grpSpPr>
                <a:xfrm>
                  <a:off x="1058432" y="2263959"/>
                  <a:ext cx="149366" cy="196082"/>
                  <a:chOff x="1058432" y="2263959"/>
                  <a:chExt cx="149366" cy="196082"/>
                </a:xfrm>
                <a:grpFill/>
              </p:grpSpPr>
              <p:sp>
                <p:nvSpPr>
                  <p:cNvPr id="127" name="Freeform 345">
                    <a:extLst>
                      <a:ext uri="{FF2B5EF4-FFF2-40B4-BE49-F238E27FC236}">
                        <a16:creationId xmlns:a16="http://schemas.microsoft.com/office/drawing/2014/main" id="{C847F0E0-15F3-4444-ABD5-6138F1954899}"/>
                      </a:ext>
                    </a:extLst>
                  </p:cNvPr>
                  <p:cNvSpPr>
                    <a:spLocks/>
                  </p:cNvSpPr>
                  <p:nvPr/>
                </p:nvSpPr>
                <p:spPr bwMode="auto">
                  <a:xfrm>
                    <a:off x="1098440" y="2438395"/>
                    <a:ext cx="70683" cy="6367"/>
                  </a:xfrm>
                  <a:custGeom>
                    <a:avLst/>
                    <a:gdLst>
                      <a:gd name="T0" fmla="*/ 103 w 108"/>
                      <a:gd name="T1" fmla="*/ 0 h 9"/>
                      <a:gd name="T2" fmla="*/ 4 w 108"/>
                      <a:gd name="T3" fmla="*/ 0 h 9"/>
                      <a:gd name="T4" fmla="*/ 4 w 108"/>
                      <a:gd name="T5" fmla="*/ 0 h 9"/>
                      <a:gd name="T6" fmla="*/ 2 w 108"/>
                      <a:gd name="T7" fmla="*/ 1 h 9"/>
                      <a:gd name="T8" fmla="*/ 0 w 108"/>
                      <a:gd name="T9" fmla="*/ 4 h 9"/>
                      <a:gd name="T10" fmla="*/ 0 w 108"/>
                      <a:gd name="T11" fmla="*/ 4 h 9"/>
                      <a:gd name="T12" fmla="*/ 2 w 108"/>
                      <a:gd name="T13" fmla="*/ 8 h 9"/>
                      <a:gd name="T14" fmla="*/ 4 w 108"/>
                      <a:gd name="T15" fmla="*/ 9 h 9"/>
                      <a:gd name="T16" fmla="*/ 103 w 108"/>
                      <a:gd name="T17" fmla="*/ 9 h 9"/>
                      <a:gd name="T18" fmla="*/ 103 w 108"/>
                      <a:gd name="T19" fmla="*/ 9 h 9"/>
                      <a:gd name="T20" fmla="*/ 105 w 108"/>
                      <a:gd name="T21" fmla="*/ 8 h 9"/>
                      <a:gd name="T22" fmla="*/ 108 w 108"/>
                      <a:gd name="T23" fmla="*/ 4 h 9"/>
                      <a:gd name="T24" fmla="*/ 108 w 108"/>
                      <a:gd name="T25" fmla="*/ 4 h 9"/>
                      <a:gd name="T26" fmla="*/ 105 w 108"/>
                      <a:gd name="T27" fmla="*/ 1 h 9"/>
                      <a:gd name="T28" fmla="*/ 103 w 108"/>
                      <a:gd name="T29" fmla="*/ 0 h 9"/>
                      <a:gd name="T30" fmla="*/ 103 w 108"/>
                      <a:gd name="T3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9">
                        <a:moveTo>
                          <a:pt x="103" y="0"/>
                        </a:moveTo>
                        <a:lnTo>
                          <a:pt x="4" y="0"/>
                        </a:lnTo>
                        <a:lnTo>
                          <a:pt x="4" y="0"/>
                        </a:lnTo>
                        <a:lnTo>
                          <a:pt x="2" y="1"/>
                        </a:lnTo>
                        <a:lnTo>
                          <a:pt x="0" y="4"/>
                        </a:lnTo>
                        <a:lnTo>
                          <a:pt x="0" y="4"/>
                        </a:lnTo>
                        <a:lnTo>
                          <a:pt x="2" y="8"/>
                        </a:lnTo>
                        <a:lnTo>
                          <a:pt x="4" y="9"/>
                        </a:lnTo>
                        <a:lnTo>
                          <a:pt x="103" y="9"/>
                        </a:lnTo>
                        <a:lnTo>
                          <a:pt x="103" y="9"/>
                        </a:lnTo>
                        <a:lnTo>
                          <a:pt x="105" y="8"/>
                        </a:lnTo>
                        <a:lnTo>
                          <a:pt x="108" y="4"/>
                        </a:lnTo>
                        <a:lnTo>
                          <a:pt x="108" y="4"/>
                        </a:lnTo>
                        <a:lnTo>
                          <a:pt x="105" y="1"/>
                        </a:lnTo>
                        <a:lnTo>
                          <a:pt x="103" y="0"/>
                        </a:lnTo>
                        <a:lnTo>
                          <a:pt x="1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8" name="Freeform 346">
                    <a:extLst>
                      <a:ext uri="{FF2B5EF4-FFF2-40B4-BE49-F238E27FC236}">
                        <a16:creationId xmlns:a16="http://schemas.microsoft.com/office/drawing/2014/main" id="{2A257AC1-CD5D-4187-8189-C69F420EC7FF}"/>
                      </a:ext>
                    </a:extLst>
                  </p:cNvPr>
                  <p:cNvSpPr>
                    <a:spLocks/>
                  </p:cNvSpPr>
                  <p:nvPr/>
                </p:nvSpPr>
                <p:spPr bwMode="auto">
                  <a:xfrm>
                    <a:off x="1117111" y="2454948"/>
                    <a:ext cx="33341" cy="5093"/>
                  </a:xfrm>
                  <a:custGeom>
                    <a:avLst/>
                    <a:gdLst>
                      <a:gd name="T0" fmla="*/ 44 w 49"/>
                      <a:gd name="T1" fmla="*/ 0 h 10"/>
                      <a:gd name="T2" fmla="*/ 5 w 49"/>
                      <a:gd name="T3" fmla="*/ 0 h 10"/>
                      <a:gd name="T4" fmla="*/ 5 w 49"/>
                      <a:gd name="T5" fmla="*/ 0 h 10"/>
                      <a:gd name="T6" fmla="*/ 2 w 49"/>
                      <a:gd name="T7" fmla="*/ 1 h 10"/>
                      <a:gd name="T8" fmla="*/ 0 w 49"/>
                      <a:gd name="T9" fmla="*/ 6 h 10"/>
                      <a:gd name="T10" fmla="*/ 0 w 49"/>
                      <a:gd name="T11" fmla="*/ 6 h 10"/>
                      <a:gd name="T12" fmla="*/ 2 w 49"/>
                      <a:gd name="T13" fmla="*/ 8 h 10"/>
                      <a:gd name="T14" fmla="*/ 5 w 49"/>
                      <a:gd name="T15" fmla="*/ 10 h 10"/>
                      <a:gd name="T16" fmla="*/ 44 w 49"/>
                      <a:gd name="T17" fmla="*/ 10 h 10"/>
                      <a:gd name="T18" fmla="*/ 44 w 49"/>
                      <a:gd name="T19" fmla="*/ 10 h 10"/>
                      <a:gd name="T20" fmla="*/ 48 w 49"/>
                      <a:gd name="T21" fmla="*/ 8 h 10"/>
                      <a:gd name="T22" fmla="*/ 49 w 49"/>
                      <a:gd name="T23" fmla="*/ 6 h 10"/>
                      <a:gd name="T24" fmla="*/ 49 w 49"/>
                      <a:gd name="T25" fmla="*/ 6 h 10"/>
                      <a:gd name="T26" fmla="*/ 48 w 49"/>
                      <a:gd name="T27" fmla="*/ 1 h 10"/>
                      <a:gd name="T28" fmla="*/ 44 w 49"/>
                      <a:gd name="T29" fmla="*/ 0 h 10"/>
                      <a:gd name="T30" fmla="*/ 44 w 49"/>
                      <a:gd name="T3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9" h="10">
                        <a:moveTo>
                          <a:pt x="44" y="0"/>
                        </a:moveTo>
                        <a:lnTo>
                          <a:pt x="5" y="0"/>
                        </a:lnTo>
                        <a:lnTo>
                          <a:pt x="5" y="0"/>
                        </a:lnTo>
                        <a:lnTo>
                          <a:pt x="2" y="1"/>
                        </a:lnTo>
                        <a:lnTo>
                          <a:pt x="0" y="6"/>
                        </a:lnTo>
                        <a:lnTo>
                          <a:pt x="0" y="6"/>
                        </a:lnTo>
                        <a:lnTo>
                          <a:pt x="2" y="8"/>
                        </a:lnTo>
                        <a:lnTo>
                          <a:pt x="5" y="10"/>
                        </a:lnTo>
                        <a:lnTo>
                          <a:pt x="44" y="10"/>
                        </a:lnTo>
                        <a:lnTo>
                          <a:pt x="44" y="10"/>
                        </a:lnTo>
                        <a:lnTo>
                          <a:pt x="48" y="8"/>
                        </a:lnTo>
                        <a:lnTo>
                          <a:pt x="49" y="6"/>
                        </a:lnTo>
                        <a:lnTo>
                          <a:pt x="49" y="6"/>
                        </a:lnTo>
                        <a:lnTo>
                          <a:pt x="48" y="1"/>
                        </a:lnTo>
                        <a:lnTo>
                          <a:pt x="44" y="0"/>
                        </a:ln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9" name="Freeform 347">
                    <a:extLst>
                      <a:ext uri="{FF2B5EF4-FFF2-40B4-BE49-F238E27FC236}">
                        <a16:creationId xmlns:a16="http://schemas.microsoft.com/office/drawing/2014/main" id="{283FFA25-EB5C-4E3F-98EC-608594B81C22}"/>
                      </a:ext>
                    </a:extLst>
                  </p:cNvPr>
                  <p:cNvSpPr>
                    <a:spLocks noEditPoints="1"/>
                  </p:cNvSpPr>
                  <p:nvPr/>
                </p:nvSpPr>
                <p:spPr bwMode="auto">
                  <a:xfrm>
                    <a:off x="1058432" y="2263959"/>
                    <a:ext cx="149366" cy="161704"/>
                  </a:xfrm>
                  <a:custGeom>
                    <a:avLst/>
                    <a:gdLst>
                      <a:gd name="T0" fmla="*/ 113 w 225"/>
                      <a:gd name="T1" fmla="*/ 0 h 252"/>
                      <a:gd name="T2" fmla="*/ 90 w 225"/>
                      <a:gd name="T3" fmla="*/ 1 h 252"/>
                      <a:gd name="T4" fmla="*/ 69 w 225"/>
                      <a:gd name="T5" fmla="*/ 8 h 252"/>
                      <a:gd name="T6" fmla="*/ 50 w 225"/>
                      <a:gd name="T7" fmla="*/ 19 h 252"/>
                      <a:gd name="T8" fmla="*/ 34 w 225"/>
                      <a:gd name="T9" fmla="*/ 32 h 252"/>
                      <a:gd name="T10" fmla="*/ 19 w 225"/>
                      <a:gd name="T11" fmla="*/ 48 h 252"/>
                      <a:gd name="T12" fmla="*/ 10 w 225"/>
                      <a:gd name="T13" fmla="*/ 68 h 252"/>
                      <a:gd name="T14" fmla="*/ 3 w 225"/>
                      <a:gd name="T15" fmla="*/ 89 h 252"/>
                      <a:gd name="T16" fmla="*/ 0 w 225"/>
                      <a:gd name="T17" fmla="*/ 111 h 252"/>
                      <a:gd name="T18" fmla="*/ 2 w 225"/>
                      <a:gd name="T19" fmla="*/ 126 h 252"/>
                      <a:gd name="T20" fmla="*/ 10 w 225"/>
                      <a:gd name="T21" fmla="*/ 156 h 252"/>
                      <a:gd name="T22" fmla="*/ 25 w 225"/>
                      <a:gd name="T23" fmla="*/ 181 h 252"/>
                      <a:gd name="T24" fmla="*/ 46 w 225"/>
                      <a:gd name="T25" fmla="*/ 201 h 252"/>
                      <a:gd name="T26" fmla="*/ 59 w 225"/>
                      <a:gd name="T27" fmla="*/ 248 h 252"/>
                      <a:gd name="T28" fmla="*/ 61 w 225"/>
                      <a:gd name="T29" fmla="*/ 251 h 252"/>
                      <a:gd name="T30" fmla="*/ 162 w 225"/>
                      <a:gd name="T31" fmla="*/ 252 h 252"/>
                      <a:gd name="T32" fmla="*/ 164 w 225"/>
                      <a:gd name="T33" fmla="*/ 251 h 252"/>
                      <a:gd name="T34" fmla="*/ 167 w 225"/>
                      <a:gd name="T35" fmla="*/ 209 h 252"/>
                      <a:gd name="T36" fmla="*/ 179 w 225"/>
                      <a:gd name="T37" fmla="*/ 201 h 252"/>
                      <a:gd name="T38" fmla="*/ 200 w 225"/>
                      <a:gd name="T39" fmla="*/ 181 h 252"/>
                      <a:gd name="T40" fmla="*/ 215 w 225"/>
                      <a:gd name="T41" fmla="*/ 156 h 252"/>
                      <a:gd name="T42" fmla="*/ 223 w 225"/>
                      <a:gd name="T43" fmla="*/ 126 h 252"/>
                      <a:gd name="T44" fmla="*/ 225 w 225"/>
                      <a:gd name="T45" fmla="*/ 111 h 252"/>
                      <a:gd name="T46" fmla="*/ 222 w 225"/>
                      <a:gd name="T47" fmla="*/ 89 h 252"/>
                      <a:gd name="T48" fmla="*/ 215 w 225"/>
                      <a:gd name="T49" fmla="*/ 68 h 252"/>
                      <a:gd name="T50" fmla="*/ 206 w 225"/>
                      <a:gd name="T51" fmla="*/ 48 h 252"/>
                      <a:gd name="T52" fmla="*/ 192 w 225"/>
                      <a:gd name="T53" fmla="*/ 32 h 252"/>
                      <a:gd name="T54" fmla="*/ 175 w 225"/>
                      <a:gd name="T55" fmla="*/ 19 h 252"/>
                      <a:gd name="T56" fmla="*/ 156 w 225"/>
                      <a:gd name="T57" fmla="*/ 8 h 252"/>
                      <a:gd name="T58" fmla="*/ 135 w 225"/>
                      <a:gd name="T59" fmla="*/ 1 h 252"/>
                      <a:gd name="T60" fmla="*/ 113 w 225"/>
                      <a:gd name="T61" fmla="*/ 0 h 252"/>
                      <a:gd name="T62" fmla="*/ 167 w 225"/>
                      <a:gd name="T63" fmla="*/ 136 h 252"/>
                      <a:gd name="T64" fmla="*/ 112 w 225"/>
                      <a:gd name="T65" fmla="*/ 152 h 252"/>
                      <a:gd name="T66" fmla="*/ 58 w 225"/>
                      <a:gd name="T67" fmla="*/ 136 h 252"/>
                      <a:gd name="T68" fmla="*/ 55 w 225"/>
                      <a:gd name="T69" fmla="*/ 133 h 252"/>
                      <a:gd name="T70" fmla="*/ 55 w 225"/>
                      <a:gd name="T71" fmla="*/ 128 h 252"/>
                      <a:gd name="T72" fmla="*/ 58 w 225"/>
                      <a:gd name="T73" fmla="*/ 125 h 252"/>
                      <a:gd name="T74" fmla="*/ 63 w 225"/>
                      <a:gd name="T75" fmla="*/ 122 h 252"/>
                      <a:gd name="T76" fmla="*/ 69 w 225"/>
                      <a:gd name="T77" fmla="*/ 125 h 252"/>
                      <a:gd name="T78" fmla="*/ 106 w 225"/>
                      <a:gd name="T79" fmla="*/ 136 h 252"/>
                      <a:gd name="T80" fmla="*/ 109 w 225"/>
                      <a:gd name="T81" fmla="*/ 134 h 252"/>
                      <a:gd name="T82" fmla="*/ 112 w 225"/>
                      <a:gd name="T83" fmla="*/ 133 h 252"/>
                      <a:gd name="T84" fmla="*/ 119 w 225"/>
                      <a:gd name="T85" fmla="*/ 136 h 252"/>
                      <a:gd name="T86" fmla="*/ 156 w 225"/>
                      <a:gd name="T87" fmla="*/ 125 h 252"/>
                      <a:gd name="T88" fmla="*/ 159 w 225"/>
                      <a:gd name="T89" fmla="*/ 122 h 252"/>
                      <a:gd name="T90" fmla="*/ 164 w 225"/>
                      <a:gd name="T91" fmla="*/ 122 h 252"/>
                      <a:gd name="T92" fmla="*/ 167 w 225"/>
                      <a:gd name="T93" fmla="*/ 125 h 252"/>
                      <a:gd name="T94" fmla="*/ 170 w 225"/>
                      <a:gd name="T95" fmla="*/ 130 h 252"/>
                      <a:gd name="T96" fmla="*/ 167 w 225"/>
                      <a:gd name="T97" fmla="*/ 136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5" h="252">
                        <a:moveTo>
                          <a:pt x="113" y="0"/>
                        </a:moveTo>
                        <a:lnTo>
                          <a:pt x="113" y="0"/>
                        </a:lnTo>
                        <a:lnTo>
                          <a:pt x="101" y="0"/>
                        </a:lnTo>
                        <a:lnTo>
                          <a:pt x="90" y="1"/>
                        </a:lnTo>
                        <a:lnTo>
                          <a:pt x="80" y="4"/>
                        </a:lnTo>
                        <a:lnTo>
                          <a:pt x="69" y="8"/>
                        </a:lnTo>
                        <a:lnTo>
                          <a:pt x="59" y="13"/>
                        </a:lnTo>
                        <a:lnTo>
                          <a:pt x="50" y="19"/>
                        </a:lnTo>
                        <a:lnTo>
                          <a:pt x="42" y="25"/>
                        </a:lnTo>
                        <a:lnTo>
                          <a:pt x="34" y="32"/>
                        </a:lnTo>
                        <a:lnTo>
                          <a:pt x="26" y="40"/>
                        </a:lnTo>
                        <a:lnTo>
                          <a:pt x="19" y="48"/>
                        </a:lnTo>
                        <a:lnTo>
                          <a:pt x="14" y="58"/>
                        </a:lnTo>
                        <a:lnTo>
                          <a:pt x="10" y="68"/>
                        </a:lnTo>
                        <a:lnTo>
                          <a:pt x="6" y="78"/>
                        </a:lnTo>
                        <a:lnTo>
                          <a:pt x="3" y="89"/>
                        </a:lnTo>
                        <a:lnTo>
                          <a:pt x="2" y="101"/>
                        </a:lnTo>
                        <a:lnTo>
                          <a:pt x="0" y="111"/>
                        </a:lnTo>
                        <a:lnTo>
                          <a:pt x="0" y="111"/>
                        </a:lnTo>
                        <a:lnTo>
                          <a:pt x="2" y="126"/>
                        </a:lnTo>
                        <a:lnTo>
                          <a:pt x="4" y="141"/>
                        </a:lnTo>
                        <a:lnTo>
                          <a:pt x="10" y="156"/>
                        </a:lnTo>
                        <a:lnTo>
                          <a:pt x="16" y="169"/>
                        </a:lnTo>
                        <a:lnTo>
                          <a:pt x="25" y="181"/>
                        </a:lnTo>
                        <a:lnTo>
                          <a:pt x="35" y="192"/>
                        </a:lnTo>
                        <a:lnTo>
                          <a:pt x="46" y="201"/>
                        </a:lnTo>
                        <a:lnTo>
                          <a:pt x="59" y="209"/>
                        </a:lnTo>
                        <a:lnTo>
                          <a:pt x="59" y="248"/>
                        </a:lnTo>
                        <a:lnTo>
                          <a:pt x="59" y="248"/>
                        </a:lnTo>
                        <a:lnTo>
                          <a:pt x="61" y="251"/>
                        </a:lnTo>
                        <a:lnTo>
                          <a:pt x="63" y="252"/>
                        </a:lnTo>
                        <a:lnTo>
                          <a:pt x="162" y="252"/>
                        </a:lnTo>
                        <a:lnTo>
                          <a:pt x="162" y="252"/>
                        </a:lnTo>
                        <a:lnTo>
                          <a:pt x="164" y="251"/>
                        </a:lnTo>
                        <a:lnTo>
                          <a:pt x="167" y="248"/>
                        </a:lnTo>
                        <a:lnTo>
                          <a:pt x="167" y="209"/>
                        </a:lnTo>
                        <a:lnTo>
                          <a:pt x="167" y="209"/>
                        </a:lnTo>
                        <a:lnTo>
                          <a:pt x="179" y="201"/>
                        </a:lnTo>
                        <a:lnTo>
                          <a:pt x="191" y="192"/>
                        </a:lnTo>
                        <a:lnTo>
                          <a:pt x="200" y="181"/>
                        </a:lnTo>
                        <a:lnTo>
                          <a:pt x="209" y="169"/>
                        </a:lnTo>
                        <a:lnTo>
                          <a:pt x="215" y="156"/>
                        </a:lnTo>
                        <a:lnTo>
                          <a:pt x="221" y="141"/>
                        </a:lnTo>
                        <a:lnTo>
                          <a:pt x="223" y="126"/>
                        </a:lnTo>
                        <a:lnTo>
                          <a:pt x="225" y="111"/>
                        </a:lnTo>
                        <a:lnTo>
                          <a:pt x="225" y="111"/>
                        </a:lnTo>
                        <a:lnTo>
                          <a:pt x="225" y="101"/>
                        </a:lnTo>
                        <a:lnTo>
                          <a:pt x="222" y="89"/>
                        </a:lnTo>
                        <a:lnTo>
                          <a:pt x="219" y="78"/>
                        </a:lnTo>
                        <a:lnTo>
                          <a:pt x="215" y="68"/>
                        </a:lnTo>
                        <a:lnTo>
                          <a:pt x="211" y="58"/>
                        </a:lnTo>
                        <a:lnTo>
                          <a:pt x="206" y="48"/>
                        </a:lnTo>
                        <a:lnTo>
                          <a:pt x="199" y="40"/>
                        </a:lnTo>
                        <a:lnTo>
                          <a:pt x="192" y="32"/>
                        </a:lnTo>
                        <a:lnTo>
                          <a:pt x="184" y="25"/>
                        </a:lnTo>
                        <a:lnTo>
                          <a:pt x="175" y="19"/>
                        </a:lnTo>
                        <a:lnTo>
                          <a:pt x="166" y="13"/>
                        </a:lnTo>
                        <a:lnTo>
                          <a:pt x="156" y="8"/>
                        </a:lnTo>
                        <a:lnTo>
                          <a:pt x="145" y="4"/>
                        </a:lnTo>
                        <a:lnTo>
                          <a:pt x="135" y="1"/>
                        </a:lnTo>
                        <a:lnTo>
                          <a:pt x="124" y="0"/>
                        </a:lnTo>
                        <a:lnTo>
                          <a:pt x="113" y="0"/>
                        </a:lnTo>
                        <a:lnTo>
                          <a:pt x="113" y="0"/>
                        </a:lnTo>
                        <a:close/>
                        <a:moveTo>
                          <a:pt x="167" y="136"/>
                        </a:moveTo>
                        <a:lnTo>
                          <a:pt x="132" y="172"/>
                        </a:lnTo>
                        <a:lnTo>
                          <a:pt x="112" y="152"/>
                        </a:lnTo>
                        <a:lnTo>
                          <a:pt x="93" y="172"/>
                        </a:lnTo>
                        <a:lnTo>
                          <a:pt x="58" y="136"/>
                        </a:lnTo>
                        <a:lnTo>
                          <a:pt x="58" y="136"/>
                        </a:lnTo>
                        <a:lnTo>
                          <a:pt x="55" y="133"/>
                        </a:lnTo>
                        <a:lnTo>
                          <a:pt x="55" y="130"/>
                        </a:lnTo>
                        <a:lnTo>
                          <a:pt x="55" y="128"/>
                        </a:lnTo>
                        <a:lnTo>
                          <a:pt x="58" y="125"/>
                        </a:lnTo>
                        <a:lnTo>
                          <a:pt x="58" y="125"/>
                        </a:lnTo>
                        <a:lnTo>
                          <a:pt x="61" y="122"/>
                        </a:lnTo>
                        <a:lnTo>
                          <a:pt x="63" y="122"/>
                        </a:lnTo>
                        <a:lnTo>
                          <a:pt x="66" y="122"/>
                        </a:lnTo>
                        <a:lnTo>
                          <a:pt x="69" y="125"/>
                        </a:lnTo>
                        <a:lnTo>
                          <a:pt x="93" y="149"/>
                        </a:lnTo>
                        <a:lnTo>
                          <a:pt x="106" y="136"/>
                        </a:lnTo>
                        <a:lnTo>
                          <a:pt x="106" y="136"/>
                        </a:lnTo>
                        <a:lnTo>
                          <a:pt x="109" y="134"/>
                        </a:lnTo>
                        <a:lnTo>
                          <a:pt x="112" y="133"/>
                        </a:lnTo>
                        <a:lnTo>
                          <a:pt x="112" y="133"/>
                        </a:lnTo>
                        <a:lnTo>
                          <a:pt x="116" y="134"/>
                        </a:lnTo>
                        <a:lnTo>
                          <a:pt x="119" y="136"/>
                        </a:lnTo>
                        <a:lnTo>
                          <a:pt x="132" y="149"/>
                        </a:lnTo>
                        <a:lnTo>
                          <a:pt x="156" y="125"/>
                        </a:lnTo>
                        <a:lnTo>
                          <a:pt x="156" y="125"/>
                        </a:lnTo>
                        <a:lnTo>
                          <a:pt x="159" y="122"/>
                        </a:lnTo>
                        <a:lnTo>
                          <a:pt x="162" y="122"/>
                        </a:lnTo>
                        <a:lnTo>
                          <a:pt x="164" y="122"/>
                        </a:lnTo>
                        <a:lnTo>
                          <a:pt x="167" y="125"/>
                        </a:lnTo>
                        <a:lnTo>
                          <a:pt x="167" y="125"/>
                        </a:lnTo>
                        <a:lnTo>
                          <a:pt x="168" y="128"/>
                        </a:lnTo>
                        <a:lnTo>
                          <a:pt x="170" y="130"/>
                        </a:lnTo>
                        <a:lnTo>
                          <a:pt x="168" y="133"/>
                        </a:lnTo>
                        <a:lnTo>
                          <a:pt x="167" y="136"/>
                        </a:lnTo>
                        <a:lnTo>
                          <a:pt x="167"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126" name="Freeform 37">
                  <a:extLst>
                    <a:ext uri="{FF2B5EF4-FFF2-40B4-BE49-F238E27FC236}">
                      <a16:creationId xmlns:a16="http://schemas.microsoft.com/office/drawing/2014/main" id="{8B24ACF2-C407-470E-9C2F-0CA5C5D88BFE}"/>
                    </a:ext>
                  </a:extLst>
                </p:cNvPr>
                <p:cNvSpPr>
                  <a:spLocks noEditPoints="1"/>
                </p:cNvSpPr>
                <p:nvPr/>
              </p:nvSpPr>
              <p:spPr bwMode="auto">
                <a:xfrm>
                  <a:off x="914400" y="2150639"/>
                  <a:ext cx="437429" cy="418902"/>
                </a:xfrm>
                <a:custGeom>
                  <a:avLst/>
                  <a:gdLst>
                    <a:gd name="T0" fmla="*/ 312 w 657"/>
                    <a:gd name="T1" fmla="*/ 657 h 657"/>
                    <a:gd name="T2" fmla="*/ 262 w 657"/>
                    <a:gd name="T3" fmla="*/ 650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9 h 657"/>
                    <a:gd name="T16" fmla="*/ 1 w 657"/>
                    <a:gd name="T17" fmla="*/ 296 h 657"/>
                    <a:gd name="T18" fmla="*/ 11 w 657"/>
                    <a:gd name="T19" fmla="*/ 246 h 657"/>
                    <a:gd name="T20" fmla="*/ 39 w 657"/>
                    <a:gd name="T21" fmla="*/ 172 h 657"/>
                    <a:gd name="T22" fmla="*/ 97 w 657"/>
                    <a:gd name="T23" fmla="*/ 97 h 657"/>
                    <a:gd name="T24" fmla="*/ 172 w 657"/>
                    <a:gd name="T25" fmla="*/ 39 h 657"/>
                    <a:gd name="T26" fmla="*/ 247 w 657"/>
                    <a:gd name="T27" fmla="*/ 10 h 657"/>
                    <a:gd name="T28" fmla="*/ 296 w 657"/>
                    <a:gd name="T29" fmla="*/ 2 h 657"/>
                    <a:gd name="T30" fmla="*/ 329 w 657"/>
                    <a:gd name="T31" fmla="*/ 0 h 657"/>
                    <a:gd name="T32" fmla="*/ 379 w 657"/>
                    <a:gd name="T33" fmla="*/ 4 h 657"/>
                    <a:gd name="T34" fmla="*/ 426 w 657"/>
                    <a:gd name="T35" fmla="*/ 15 h 657"/>
                    <a:gd name="T36" fmla="*/ 512 w 657"/>
                    <a:gd name="T37" fmla="*/ 57 h 657"/>
                    <a:gd name="T38" fmla="*/ 582 w 657"/>
                    <a:gd name="T39" fmla="*/ 120 h 657"/>
                    <a:gd name="T40" fmla="*/ 631 w 657"/>
                    <a:gd name="T41" fmla="*/ 200 h 657"/>
                    <a:gd name="T42" fmla="*/ 650 w 657"/>
                    <a:gd name="T43" fmla="*/ 262 h 657"/>
                    <a:gd name="T44" fmla="*/ 657 w 657"/>
                    <a:gd name="T45" fmla="*/ 312 h 657"/>
                    <a:gd name="T46" fmla="*/ 657 w 657"/>
                    <a:gd name="T47" fmla="*/ 346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9 w 657"/>
                    <a:gd name="T59" fmla="*/ 653 h 657"/>
                    <a:gd name="T60" fmla="*/ 329 w 657"/>
                    <a:gd name="T61" fmla="*/ 657 h 657"/>
                    <a:gd name="T62" fmla="*/ 329 w 657"/>
                    <a:gd name="T63" fmla="*/ 38 h 657"/>
                    <a:gd name="T64" fmla="*/ 242 w 657"/>
                    <a:gd name="T65" fmla="*/ 51 h 657"/>
                    <a:gd name="T66" fmla="*/ 165 w 657"/>
                    <a:gd name="T67" fmla="*/ 88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5 w 657"/>
                    <a:gd name="T81" fmla="*/ 570 h 657"/>
                    <a:gd name="T82" fmla="*/ 242 w 657"/>
                    <a:gd name="T83" fmla="*/ 607 h 657"/>
                    <a:gd name="T84" fmla="*/ 329 w 657"/>
                    <a:gd name="T85" fmla="*/ 620 h 657"/>
                    <a:gd name="T86" fmla="*/ 387 w 657"/>
                    <a:gd name="T87" fmla="*/ 614 h 657"/>
                    <a:gd name="T88" fmla="*/ 468 w 657"/>
                    <a:gd name="T89" fmla="*/ 585 h 657"/>
                    <a:gd name="T90" fmla="*/ 535 w 657"/>
                    <a:gd name="T91" fmla="*/ 535 h 657"/>
                    <a:gd name="T92" fmla="*/ 584 w 657"/>
                    <a:gd name="T93" fmla="*/ 468 h 657"/>
                    <a:gd name="T94" fmla="*/ 614 w 657"/>
                    <a:gd name="T95" fmla="*/ 387 h 657"/>
                    <a:gd name="T96" fmla="*/ 619 w 657"/>
                    <a:gd name="T97" fmla="*/ 329 h 657"/>
                    <a:gd name="T98" fmla="*/ 607 w 657"/>
                    <a:gd name="T99" fmla="*/ 242 h 657"/>
                    <a:gd name="T100" fmla="*/ 570 w 657"/>
                    <a:gd name="T101" fmla="*/ 166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6"/>
                      </a:lnTo>
                      <a:lnTo>
                        <a:pt x="278" y="653"/>
                      </a:lnTo>
                      <a:lnTo>
                        <a:pt x="262" y="650"/>
                      </a:lnTo>
                      <a:lnTo>
                        <a:pt x="247" y="648"/>
                      </a:lnTo>
                      <a:lnTo>
                        <a:pt x="231" y="642"/>
                      </a:lnTo>
                      <a:lnTo>
                        <a:pt x="200" y="632"/>
                      </a:lnTo>
                      <a:lnTo>
                        <a:pt x="172" y="618"/>
                      </a:lnTo>
                      <a:lnTo>
                        <a:pt x="145" y="601"/>
                      </a:lnTo>
                      <a:lnTo>
                        <a:pt x="120" y="582"/>
                      </a:lnTo>
                      <a:lnTo>
                        <a:pt x="97" y="562"/>
                      </a:lnTo>
                      <a:lnTo>
                        <a:pt x="75" y="538"/>
                      </a:lnTo>
                      <a:lnTo>
                        <a:pt x="57" y="512"/>
                      </a:lnTo>
                      <a:lnTo>
                        <a:pt x="39" y="485"/>
                      </a:lnTo>
                      <a:lnTo>
                        <a:pt x="26" y="457"/>
                      </a:lnTo>
                      <a:lnTo>
                        <a:pt x="15" y="426"/>
                      </a:lnTo>
                      <a:lnTo>
                        <a:pt x="11" y="411"/>
                      </a:lnTo>
                      <a:lnTo>
                        <a:pt x="7" y="395"/>
                      </a:lnTo>
                      <a:lnTo>
                        <a:pt x="4" y="379"/>
                      </a:lnTo>
                      <a:lnTo>
                        <a:pt x="1" y="362"/>
                      </a:lnTo>
                      <a:lnTo>
                        <a:pt x="0" y="346"/>
                      </a:lnTo>
                      <a:lnTo>
                        <a:pt x="0" y="329"/>
                      </a:lnTo>
                      <a:lnTo>
                        <a:pt x="0" y="329"/>
                      </a:lnTo>
                      <a:lnTo>
                        <a:pt x="0" y="312"/>
                      </a:lnTo>
                      <a:lnTo>
                        <a:pt x="1" y="296"/>
                      </a:lnTo>
                      <a:lnTo>
                        <a:pt x="4" y="278"/>
                      </a:lnTo>
                      <a:lnTo>
                        <a:pt x="7" y="262"/>
                      </a:lnTo>
                      <a:lnTo>
                        <a:pt x="11" y="246"/>
                      </a:lnTo>
                      <a:lnTo>
                        <a:pt x="15" y="231"/>
                      </a:lnTo>
                      <a:lnTo>
                        <a:pt x="26" y="200"/>
                      </a:lnTo>
                      <a:lnTo>
                        <a:pt x="39" y="172"/>
                      </a:lnTo>
                      <a:lnTo>
                        <a:pt x="57" y="145"/>
                      </a:lnTo>
                      <a:lnTo>
                        <a:pt x="75" y="120"/>
                      </a:lnTo>
                      <a:lnTo>
                        <a:pt x="97" y="97"/>
                      </a:lnTo>
                      <a:lnTo>
                        <a:pt x="120" y="76"/>
                      </a:lnTo>
                      <a:lnTo>
                        <a:pt x="145" y="57"/>
                      </a:lnTo>
                      <a:lnTo>
                        <a:pt x="172" y="39"/>
                      </a:lnTo>
                      <a:lnTo>
                        <a:pt x="200" y="26"/>
                      </a:lnTo>
                      <a:lnTo>
                        <a:pt x="231" y="15"/>
                      </a:lnTo>
                      <a:lnTo>
                        <a:pt x="247" y="10"/>
                      </a:lnTo>
                      <a:lnTo>
                        <a:pt x="262" y="7"/>
                      </a:lnTo>
                      <a:lnTo>
                        <a:pt x="278" y="4"/>
                      </a:lnTo>
                      <a:lnTo>
                        <a:pt x="296" y="2"/>
                      </a:lnTo>
                      <a:lnTo>
                        <a:pt x="312" y="0"/>
                      </a:lnTo>
                      <a:lnTo>
                        <a:pt x="329" y="0"/>
                      </a:lnTo>
                      <a:lnTo>
                        <a:pt x="329" y="0"/>
                      </a:lnTo>
                      <a:lnTo>
                        <a:pt x="345" y="0"/>
                      </a:lnTo>
                      <a:lnTo>
                        <a:pt x="363" y="2"/>
                      </a:lnTo>
                      <a:lnTo>
                        <a:pt x="379" y="4"/>
                      </a:lnTo>
                      <a:lnTo>
                        <a:pt x="395" y="7"/>
                      </a:lnTo>
                      <a:lnTo>
                        <a:pt x="411" y="10"/>
                      </a:lnTo>
                      <a:lnTo>
                        <a:pt x="426" y="15"/>
                      </a:lnTo>
                      <a:lnTo>
                        <a:pt x="457" y="26"/>
                      </a:lnTo>
                      <a:lnTo>
                        <a:pt x="485" y="39"/>
                      </a:lnTo>
                      <a:lnTo>
                        <a:pt x="512" y="57"/>
                      </a:lnTo>
                      <a:lnTo>
                        <a:pt x="537" y="76"/>
                      </a:lnTo>
                      <a:lnTo>
                        <a:pt x="562" y="97"/>
                      </a:lnTo>
                      <a:lnTo>
                        <a:pt x="582" y="120"/>
                      </a:lnTo>
                      <a:lnTo>
                        <a:pt x="602" y="145"/>
                      </a:lnTo>
                      <a:lnTo>
                        <a:pt x="618" y="172"/>
                      </a:lnTo>
                      <a:lnTo>
                        <a:pt x="631" y="200"/>
                      </a:lnTo>
                      <a:lnTo>
                        <a:pt x="642" y="231"/>
                      </a:lnTo>
                      <a:lnTo>
                        <a:pt x="648" y="246"/>
                      </a:lnTo>
                      <a:lnTo>
                        <a:pt x="650" y="262"/>
                      </a:lnTo>
                      <a:lnTo>
                        <a:pt x="654" y="278"/>
                      </a:lnTo>
                      <a:lnTo>
                        <a:pt x="656" y="296"/>
                      </a:lnTo>
                      <a:lnTo>
                        <a:pt x="657" y="312"/>
                      </a:lnTo>
                      <a:lnTo>
                        <a:pt x="657" y="329"/>
                      </a:lnTo>
                      <a:lnTo>
                        <a:pt x="657" y="329"/>
                      </a:lnTo>
                      <a:lnTo>
                        <a:pt x="657" y="346"/>
                      </a:lnTo>
                      <a:lnTo>
                        <a:pt x="656" y="362"/>
                      </a:lnTo>
                      <a:lnTo>
                        <a:pt x="654" y="379"/>
                      </a:lnTo>
                      <a:lnTo>
                        <a:pt x="650" y="395"/>
                      </a:lnTo>
                      <a:lnTo>
                        <a:pt x="648" y="411"/>
                      </a:lnTo>
                      <a:lnTo>
                        <a:pt x="642" y="426"/>
                      </a:lnTo>
                      <a:lnTo>
                        <a:pt x="631" y="457"/>
                      </a:lnTo>
                      <a:lnTo>
                        <a:pt x="618" y="485"/>
                      </a:lnTo>
                      <a:lnTo>
                        <a:pt x="602" y="512"/>
                      </a:lnTo>
                      <a:lnTo>
                        <a:pt x="582" y="538"/>
                      </a:lnTo>
                      <a:lnTo>
                        <a:pt x="562" y="562"/>
                      </a:lnTo>
                      <a:lnTo>
                        <a:pt x="537" y="582"/>
                      </a:lnTo>
                      <a:lnTo>
                        <a:pt x="512" y="601"/>
                      </a:lnTo>
                      <a:lnTo>
                        <a:pt x="485" y="618"/>
                      </a:lnTo>
                      <a:lnTo>
                        <a:pt x="457" y="632"/>
                      </a:lnTo>
                      <a:lnTo>
                        <a:pt x="426" y="642"/>
                      </a:lnTo>
                      <a:lnTo>
                        <a:pt x="411" y="648"/>
                      </a:lnTo>
                      <a:lnTo>
                        <a:pt x="395" y="650"/>
                      </a:lnTo>
                      <a:lnTo>
                        <a:pt x="379" y="653"/>
                      </a:lnTo>
                      <a:lnTo>
                        <a:pt x="363" y="656"/>
                      </a:lnTo>
                      <a:lnTo>
                        <a:pt x="345" y="657"/>
                      </a:lnTo>
                      <a:lnTo>
                        <a:pt x="329" y="657"/>
                      </a:lnTo>
                      <a:lnTo>
                        <a:pt x="329" y="657"/>
                      </a:lnTo>
                      <a:close/>
                      <a:moveTo>
                        <a:pt x="329" y="38"/>
                      </a:moveTo>
                      <a:lnTo>
                        <a:pt x="329" y="38"/>
                      </a:lnTo>
                      <a:lnTo>
                        <a:pt x="298" y="39"/>
                      </a:lnTo>
                      <a:lnTo>
                        <a:pt x="270" y="43"/>
                      </a:lnTo>
                      <a:lnTo>
                        <a:pt x="242" y="51"/>
                      </a:lnTo>
                      <a:lnTo>
                        <a:pt x="215" y="61"/>
                      </a:lnTo>
                      <a:lnTo>
                        <a:pt x="189" y="73"/>
                      </a:lnTo>
                      <a:lnTo>
                        <a:pt x="165" y="88"/>
                      </a:lnTo>
                      <a:lnTo>
                        <a:pt x="144" y="104"/>
                      </a:lnTo>
                      <a:lnTo>
                        <a:pt x="122" y="123"/>
                      </a:lnTo>
                      <a:lnTo>
                        <a:pt x="104" y="144"/>
                      </a:lnTo>
                      <a:lnTo>
                        <a:pt x="87" y="166"/>
                      </a:lnTo>
                      <a:lnTo>
                        <a:pt x="73" y="190"/>
                      </a:lnTo>
                      <a:lnTo>
                        <a:pt x="61" y="215"/>
                      </a:lnTo>
                      <a:lnTo>
                        <a:pt x="51" y="242"/>
                      </a:lnTo>
                      <a:lnTo>
                        <a:pt x="43" y="270"/>
                      </a:lnTo>
                      <a:lnTo>
                        <a:pt x="39" y="298"/>
                      </a:lnTo>
                      <a:lnTo>
                        <a:pt x="38" y="329"/>
                      </a:lnTo>
                      <a:lnTo>
                        <a:pt x="38" y="329"/>
                      </a:lnTo>
                      <a:lnTo>
                        <a:pt x="39" y="359"/>
                      </a:lnTo>
                      <a:lnTo>
                        <a:pt x="43" y="387"/>
                      </a:lnTo>
                      <a:lnTo>
                        <a:pt x="51" y="415"/>
                      </a:lnTo>
                      <a:lnTo>
                        <a:pt x="61" y="442"/>
                      </a:lnTo>
                      <a:lnTo>
                        <a:pt x="73" y="468"/>
                      </a:lnTo>
                      <a:lnTo>
                        <a:pt x="87" y="492"/>
                      </a:lnTo>
                      <a:lnTo>
                        <a:pt x="104" y="513"/>
                      </a:lnTo>
                      <a:lnTo>
                        <a:pt x="122" y="535"/>
                      </a:lnTo>
                      <a:lnTo>
                        <a:pt x="144" y="554"/>
                      </a:lnTo>
                      <a:lnTo>
                        <a:pt x="165" y="570"/>
                      </a:lnTo>
                      <a:lnTo>
                        <a:pt x="189" y="585"/>
                      </a:lnTo>
                      <a:lnTo>
                        <a:pt x="215" y="597"/>
                      </a:lnTo>
                      <a:lnTo>
                        <a:pt x="242" y="607"/>
                      </a:lnTo>
                      <a:lnTo>
                        <a:pt x="270" y="614"/>
                      </a:lnTo>
                      <a:lnTo>
                        <a:pt x="298" y="618"/>
                      </a:lnTo>
                      <a:lnTo>
                        <a:pt x="329" y="620"/>
                      </a:lnTo>
                      <a:lnTo>
                        <a:pt x="329" y="620"/>
                      </a:lnTo>
                      <a:lnTo>
                        <a:pt x="359" y="618"/>
                      </a:lnTo>
                      <a:lnTo>
                        <a:pt x="387" y="614"/>
                      </a:lnTo>
                      <a:lnTo>
                        <a:pt x="415" y="607"/>
                      </a:lnTo>
                      <a:lnTo>
                        <a:pt x="442" y="597"/>
                      </a:lnTo>
                      <a:lnTo>
                        <a:pt x="468" y="585"/>
                      </a:lnTo>
                      <a:lnTo>
                        <a:pt x="492" y="570"/>
                      </a:lnTo>
                      <a:lnTo>
                        <a:pt x="513" y="554"/>
                      </a:lnTo>
                      <a:lnTo>
                        <a:pt x="535" y="535"/>
                      </a:lnTo>
                      <a:lnTo>
                        <a:pt x="553" y="513"/>
                      </a:lnTo>
                      <a:lnTo>
                        <a:pt x="570" y="492"/>
                      </a:lnTo>
                      <a:lnTo>
                        <a:pt x="584" y="468"/>
                      </a:lnTo>
                      <a:lnTo>
                        <a:pt x="596" y="442"/>
                      </a:lnTo>
                      <a:lnTo>
                        <a:pt x="607" y="415"/>
                      </a:lnTo>
                      <a:lnTo>
                        <a:pt x="614" y="387"/>
                      </a:lnTo>
                      <a:lnTo>
                        <a:pt x="618" y="359"/>
                      </a:lnTo>
                      <a:lnTo>
                        <a:pt x="619" y="329"/>
                      </a:lnTo>
                      <a:lnTo>
                        <a:pt x="619" y="329"/>
                      </a:lnTo>
                      <a:lnTo>
                        <a:pt x="618" y="298"/>
                      </a:lnTo>
                      <a:lnTo>
                        <a:pt x="614" y="270"/>
                      </a:lnTo>
                      <a:lnTo>
                        <a:pt x="607" y="242"/>
                      </a:lnTo>
                      <a:lnTo>
                        <a:pt x="596" y="215"/>
                      </a:lnTo>
                      <a:lnTo>
                        <a:pt x="584" y="190"/>
                      </a:lnTo>
                      <a:lnTo>
                        <a:pt x="570" y="166"/>
                      </a:lnTo>
                      <a:lnTo>
                        <a:pt x="553" y="144"/>
                      </a:lnTo>
                      <a:lnTo>
                        <a:pt x="535" y="123"/>
                      </a:lnTo>
                      <a:lnTo>
                        <a:pt x="513" y="104"/>
                      </a:lnTo>
                      <a:lnTo>
                        <a:pt x="492" y="88"/>
                      </a:lnTo>
                      <a:lnTo>
                        <a:pt x="468" y="73"/>
                      </a:lnTo>
                      <a:lnTo>
                        <a:pt x="442" y="61"/>
                      </a:lnTo>
                      <a:lnTo>
                        <a:pt x="415" y="51"/>
                      </a:lnTo>
                      <a:lnTo>
                        <a:pt x="387" y="43"/>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13" name="Group 112">
                <a:extLst>
                  <a:ext uri="{FF2B5EF4-FFF2-40B4-BE49-F238E27FC236}">
                    <a16:creationId xmlns:a16="http://schemas.microsoft.com/office/drawing/2014/main" id="{2C8A4C9A-74ED-45C7-9709-1B1E50D5A626}"/>
                  </a:ext>
                </a:extLst>
              </p:cNvPr>
              <p:cNvGrpSpPr/>
              <p:nvPr/>
            </p:nvGrpSpPr>
            <p:grpSpPr>
              <a:xfrm>
                <a:off x="1039500" y="3220676"/>
                <a:ext cx="286077" cy="273961"/>
                <a:chOff x="914400" y="2150639"/>
                <a:chExt cx="437429" cy="418902"/>
              </a:xfrm>
              <a:solidFill>
                <a:schemeClr val="bg1">
                  <a:lumMod val="85000"/>
                </a:schemeClr>
              </a:solidFill>
            </p:grpSpPr>
            <p:grpSp>
              <p:nvGrpSpPr>
                <p:cNvPr id="120" name="Group 119">
                  <a:extLst>
                    <a:ext uri="{FF2B5EF4-FFF2-40B4-BE49-F238E27FC236}">
                      <a16:creationId xmlns:a16="http://schemas.microsoft.com/office/drawing/2014/main" id="{085B9B72-D146-4F41-865A-966C44A7D419}"/>
                    </a:ext>
                  </a:extLst>
                </p:cNvPr>
                <p:cNvGrpSpPr/>
                <p:nvPr/>
              </p:nvGrpSpPr>
              <p:grpSpPr>
                <a:xfrm>
                  <a:off x="1058432" y="2263959"/>
                  <a:ext cx="149366" cy="196082"/>
                  <a:chOff x="1058432" y="2263959"/>
                  <a:chExt cx="149366" cy="196082"/>
                </a:xfrm>
                <a:grpFill/>
              </p:grpSpPr>
              <p:sp>
                <p:nvSpPr>
                  <p:cNvPr id="122" name="Freeform 345">
                    <a:extLst>
                      <a:ext uri="{FF2B5EF4-FFF2-40B4-BE49-F238E27FC236}">
                        <a16:creationId xmlns:a16="http://schemas.microsoft.com/office/drawing/2014/main" id="{F8DDD637-FF12-499B-917A-E98B36C3F65E}"/>
                      </a:ext>
                    </a:extLst>
                  </p:cNvPr>
                  <p:cNvSpPr>
                    <a:spLocks/>
                  </p:cNvSpPr>
                  <p:nvPr/>
                </p:nvSpPr>
                <p:spPr bwMode="auto">
                  <a:xfrm>
                    <a:off x="1098440" y="2438395"/>
                    <a:ext cx="70683" cy="6367"/>
                  </a:xfrm>
                  <a:custGeom>
                    <a:avLst/>
                    <a:gdLst>
                      <a:gd name="T0" fmla="*/ 103 w 108"/>
                      <a:gd name="T1" fmla="*/ 0 h 9"/>
                      <a:gd name="T2" fmla="*/ 4 w 108"/>
                      <a:gd name="T3" fmla="*/ 0 h 9"/>
                      <a:gd name="T4" fmla="*/ 4 w 108"/>
                      <a:gd name="T5" fmla="*/ 0 h 9"/>
                      <a:gd name="T6" fmla="*/ 2 w 108"/>
                      <a:gd name="T7" fmla="*/ 1 h 9"/>
                      <a:gd name="T8" fmla="*/ 0 w 108"/>
                      <a:gd name="T9" fmla="*/ 4 h 9"/>
                      <a:gd name="T10" fmla="*/ 0 w 108"/>
                      <a:gd name="T11" fmla="*/ 4 h 9"/>
                      <a:gd name="T12" fmla="*/ 2 w 108"/>
                      <a:gd name="T13" fmla="*/ 8 h 9"/>
                      <a:gd name="T14" fmla="*/ 4 w 108"/>
                      <a:gd name="T15" fmla="*/ 9 h 9"/>
                      <a:gd name="T16" fmla="*/ 103 w 108"/>
                      <a:gd name="T17" fmla="*/ 9 h 9"/>
                      <a:gd name="T18" fmla="*/ 103 w 108"/>
                      <a:gd name="T19" fmla="*/ 9 h 9"/>
                      <a:gd name="T20" fmla="*/ 105 w 108"/>
                      <a:gd name="T21" fmla="*/ 8 h 9"/>
                      <a:gd name="T22" fmla="*/ 108 w 108"/>
                      <a:gd name="T23" fmla="*/ 4 h 9"/>
                      <a:gd name="T24" fmla="*/ 108 w 108"/>
                      <a:gd name="T25" fmla="*/ 4 h 9"/>
                      <a:gd name="T26" fmla="*/ 105 w 108"/>
                      <a:gd name="T27" fmla="*/ 1 h 9"/>
                      <a:gd name="T28" fmla="*/ 103 w 108"/>
                      <a:gd name="T29" fmla="*/ 0 h 9"/>
                      <a:gd name="T30" fmla="*/ 103 w 108"/>
                      <a:gd name="T3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9">
                        <a:moveTo>
                          <a:pt x="103" y="0"/>
                        </a:moveTo>
                        <a:lnTo>
                          <a:pt x="4" y="0"/>
                        </a:lnTo>
                        <a:lnTo>
                          <a:pt x="4" y="0"/>
                        </a:lnTo>
                        <a:lnTo>
                          <a:pt x="2" y="1"/>
                        </a:lnTo>
                        <a:lnTo>
                          <a:pt x="0" y="4"/>
                        </a:lnTo>
                        <a:lnTo>
                          <a:pt x="0" y="4"/>
                        </a:lnTo>
                        <a:lnTo>
                          <a:pt x="2" y="8"/>
                        </a:lnTo>
                        <a:lnTo>
                          <a:pt x="4" y="9"/>
                        </a:lnTo>
                        <a:lnTo>
                          <a:pt x="103" y="9"/>
                        </a:lnTo>
                        <a:lnTo>
                          <a:pt x="103" y="9"/>
                        </a:lnTo>
                        <a:lnTo>
                          <a:pt x="105" y="8"/>
                        </a:lnTo>
                        <a:lnTo>
                          <a:pt x="108" y="4"/>
                        </a:lnTo>
                        <a:lnTo>
                          <a:pt x="108" y="4"/>
                        </a:lnTo>
                        <a:lnTo>
                          <a:pt x="105" y="1"/>
                        </a:lnTo>
                        <a:lnTo>
                          <a:pt x="103" y="0"/>
                        </a:lnTo>
                        <a:lnTo>
                          <a:pt x="1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3" name="Freeform 346">
                    <a:extLst>
                      <a:ext uri="{FF2B5EF4-FFF2-40B4-BE49-F238E27FC236}">
                        <a16:creationId xmlns:a16="http://schemas.microsoft.com/office/drawing/2014/main" id="{888C3AC6-1815-4B06-B351-CBDCF9E9EB91}"/>
                      </a:ext>
                    </a:extLst>
                  </p:cNvPr>
                  <p:cNvSpPr>
                    <a:spLocks/>
                  </p:cNvSpPr>
                  <p:nvPr/>
                </p:nvSpPr>
                <p:spPr bwMode="auto">
                  <a:xfrm>
                    <a:off x="1117111" y="2454948"/>
                    <a:ext cx="33341" cy="5093"/>
                  </a:xfrm>
                  <a:custGeom>
                    <a:avLst/>
                    <a:gdLst>
                      <a:gd name="T0" fmla="*/ 44 w 49"/>
                      <a:gd name="T1" fmla="*/ 0 h 10"/>
                      <a:gd name="T2" fmla="*/ 5 w 49"/>
                      <a:gd name="T3" fmla="*/ 0 h 10"/>
                      <a:gd name="T4" fmla="*/ 5 w 49"/>
                      <a:gd name="T5" fmla="*/ 0 h 10"/>
                      <a:gd name="T6" fmla="*/ 2 w 49"/>
                      <a:gd name="T7" fmla="*/ 1 h 10"/>
                      <a:gd name="T8" fmla="*/ 0 w 49"/>
                      <a:gd name="T9" fmla="*/ 6 h 10"/>
                      <a:gd name="T10" fmla="*/ 0 w 49"/>
                      <a:gd name="T11" fmla="*/ 6 h 10"/>
                      <a:gd name="T12" fmla="*/ 2 w 49"/>
                      <a:gd name="T13" fmla="*/ 8 h 10"/>
                      <a:gd name="T14" fmla="*/ 5 w 49"/>
                      <a:gd name="T15" fmla="*/ 10 h 10"/>
                      <a:gd name="T16" fmla="*/ 44 w 49"/>
                      <a:gd name="T17" fmla="*/ 10 h 10"/>
                      <a:gd name="T18" fmla="*/ 44 w 49"/>
                      <a:gd name="T19" fmla="*/ 10 h 10"/>
                      <a:gd name="T20" fmla="*/ 48 w 49"/>
                      <a:gd name="T21" fmla="*/ 8 h 10"/>
                      <a:gd name="T22" fmla="*/ 49 w 49"/>
                      <a:gd name="T23" fmla="*/ 6 h 10"/>
                      <a:gd name="T24" fmla="*/ 49 w 49"/>
                      <a:gd name="T25" fmla="*/ 6 h 10"/>
                      <a:gd name="T26" fmla="*/ 48 w 49"/>
                      <a:gd name="T27" fmla="*/ 1 h 10"/>
                      <a:gd name="T28" fmla="*/ 44 w 49"/>
                      <a:gd name="T29" fmla="*/ 0 h 10"/>
                      <a:gd name="T30" fmla="*/ 44 w 49"/>
                      <a:gd name="T3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9" h="10">
                        <a:moveTo>
                          <a:pt x="44" y="0"/>
                        </a:moveTo>
                        <a:lnTo>
                          <a:pt x="5" y="0"/>
                        </a:lnTo>
                        <a:lnTo>
                          <a:pt x="5" y="0"/>
                        </a:lnTo>
                        <a:lnTo>
                          <a:pt x="2" y="1"/>
                        </a:lnTo>
                        <a:lnTo>
                          <a:pt x="0" y="6"/>
                        </a:lnTo>
                        <a:lnTo>
                          <a:pt x="0" y="6"/>
                        </a:lnTo>
                        <a:lnTo>
                          <a:pt x="2" y="8"/>
                        </a:lnTo>
                        <a:lnTo>
                          <a:pt x="5" y="10"/>
                        </a:lnTo>
                        <a:lnTo>
                          <a:pt x="44" y="10"/>
                        </a:lnTo>
                        <a:lnTo>
                          <a:pt x="44" y="10"/>
                        </a:lnTo>
                        <a:lnTo>
                          <a:pt x="48" y="8"/>
                        </a:lnTo>
                        <a:lnTo>
                          <a:pt x="49" y="6"/>
                        </a:lnTo>
                        <a:lnTo>
                          <a:pt x="49" y="6"/>
                        </a:lnTo>
                        <a:lnTo>
                          <a:pt x="48" y="1"/>
                        </a:lnTo>
                        <a:lnTo>
                          <a:pt x="44" y="0"/>
                        </a:ln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4" name="Freeform 347">
                    <a:extLst>
                      <a:ext uri="{FF2B5EF4-FFF2-40B4-BE49-F238E27FC236}">
                        <a16:creationId xmlns:a16="http://schemas.microsoft.com/office/drawing/2014/main" id="{1CEFF30C-4D82-4A2C-97BF-7084E922F58E}"/>
                      </a:ext>
                    </a:extLst>
                  </p:cNvPr>
                  <p:cNvSpPr>
                    <a:spLocks noEditPoints="1"/>
                  </p:cNvSpPr>
                  <p:nvPr/>
                </p:nvSpPr>
                <p:spPr bwMode="auto">
                  <a:xfrm>
                    <a:off x="1058432" y="2263959"/>
                    <a:ext cx="149366" cy="161704"/>
                  </a:xfrm>
                  <a:custGeom>
                    <a:avLst/>
                    <a:gdLst>
                      <a:gd name="T0" fmla="*/ 113 w 225"/>
                      <a:gd name="T1" fmla="*/ 0 h 252"/>
                      <a:gd name="T2" fmla="*/ 90 w 225"/>
                      <a:gd name="T3" fmla="*/ 1 h 252"/>
                      <a:gd name="T4" fmla="*/ 69 w 225"/>
                      <a:gd name="T5" fmla="*/ 8 h 252"/>
                      <a:gd name="T6" fmla="*/ 50 w 225"/>
                      <a:gd name="T7" fmla="*/ 19 h 252"/>
                      <a:gd name="T8" fmla="*/ 34 w 225"/>
                      <a:gd name="T9" fmla="*/ 32 h 252"/>
                      <a:gd name="T10" fmla="*/ 19 w 225"/>
                      <a:gd name="T11" fmla="*/ 48 h 252"/>
                      <a:gd name="T12" fmla="*/ 10 w 225"/>
                      <a:gd name="T13" fmla="*/ 68 h 252"/>
                      <a:gd name="T14" fmla="*/ 3 w 225"/>
                      <a:gd name="T15" fmla="*/ 89 h 252"/>
                      <a:gd name="T16" fmla="*/ 0 w 225"/>
                      <a:gd name="T17" fmla="*/ 111 h 252"/>
                      <a:gd name="T18" fmla="*/ 2 w 225"/>
                      <a:gd name="T19" fmla="*/ 126 h 252"/>
                      <a:gd name="T20" fmla="*/ 10 w 225"/>
                      <a:gd name="T21" fmla="*/ 156 h 252"/>
                      <a:gd name="T22" fmla="*/ 25 w 225"/>
                      <a:gd name="T23" fmla="*/ 181 h 252"/>
                      <a:gd name="T24" fmla="*/ 46 w 225"/>
                      <a:gd name="T25" fmla="*/ 201 h 252"/>
                      <a:gd name="T26" fmla="*/ 59 w 225"/>
                      <a:gd name="T27" fmla="*/ 248 h 252"/>
                      <a:gd name="T28" fmla="*/ 61 w 225"/>
                      <a:gd name="T29" fmla="*/ 251 h 252"/>
                      <a:gd name="T30" fmla="*/ 162 w 225"/>
                      <a:gd name="T31" fmla="*/ 252 h 252"/>
                      <a:gd name="T32" fmla="*/ 164 w 225"/>
                      <a:gd name="T33" fmla="*/ 251 h 252"/>
                      <a:gd name="T34" fmla="*/ 167 w 225"/>
                      <a:gd name="T35" fmla="*/ 209 h 252"/>
                      <a:gd name="T36" fmla="*/ 179 w 225"/>
                      <a:gd name="T37" fmla="*/ 201 h 252"/>
                      <a:gd name="T38" fmla="*/ 200 w 225"/>
                      <a:gd name="T39" fmla="*/ 181 h 252"/>
                      <a:gd name="T40" fmla="*/ 215 w 225"/>
                      <a:gd name="T41" fmla="*/ 156 h 252"/>
                      <a:gd name="T42" fmla="*/ 223 w 225"/>
                      <a:gd name="T43" fmla="*/ 126 h 252"/>
                      <a:gd name="T44" fmla="*/ 225 w 225"/>
                      <a:gd name="T45" fmla="*/ 111 h 252"/>
                      <a:gd name="T46" fmla="*/ 222 w 225"/>
                      <a:gd name="T47" fmla="*/ 89 h 252"/>
                      <a:gd name="T48" fmla="*/ 215 w 225"/>
                      <a:gd name="T49" fmla="*/ 68 h 252"/>
                      <a:gd name="T50" fmla="*/ 206 w 225"/>
                      <a:gd name="T51" fmla="*/ 48 h 252"/>
                      <a:gd name="T52" fmla="*/ 192 w 225"/>
                      <a:gd name="T53" fmla="*/ 32 h 252"/>
                      <a:gd name="T54" fmla="*/ 175 w 225"/>
                      <a:gd name="T55" fmla="*/ 19 h 252"/>
                      <a:gd name="T56" fmla="*/ 156 w 225"/>
                      <a:gd name="T57" fmla="*/ 8 h 252"/>
                      <a:gd name="T58" fmla="*/ 135 w 225"/>
                      <a:gd name="T59" fmla="*/ 1 h 252"/>
                      <a:gd name="T60" fmla="*/ 113 w 225"/>
                      <a:gd name="T61" fmla="*/ 0 h 252"/>
                      <a:gd name="T62" fmla="*/ 167 w 225"/>
                      <a:gd name="T63" fmla="*/ 136 h 252"/>
                      <a:gd name="T64" fmla="*/ 112 w 225"/>
                      <a:gd name="T65" fmla="*/ 152 h 252"/>
                      <a:gd name="T66" fmla="*/ 58 w 225"/>
                      <a:gd name="T67" fmla="*/ 136 h 252"/>
                      <a:gd name="T68" fmla="*/ 55 w 225"/>
                      <a:gd name="T69" fmla="*/ 133 h 252"/>
                      <a:gd name="T70" fmla="*/ 55 w 225"/>
                      <a:gd name="T71" fmla="*/ 128 h 252"/>
                      <a:gd name="T72" fmla="*/ 58 w 225"/>
                      <a:gd name="T73" fmla="*/ 125 h 252"/>
                      <a:gd name="T74" fmla="*/ 63 w 225"/>
                      <a:gd name="T75" fmla="*/ 122 h 252"/>
                      <a:gd name="T76" fmla="*/ 69 w 225"/>
                      <a:gd name="T77" fmla="*/ 125 h 252"/>
                      <a:gd name="T78" fmla="*/ 106 w 225"/>
                      <a:gd name="T79" fmla="*/ 136 h 252"/>
                      <a:gd name="T80" fmla="*/ 109 w 225"/>
                      <a:gd name="T81" fmla="*/ 134 h 252"/>
                      <a:gd name="T82" fmla="*/ 112 w 225"/>
                      <a:gd name="T83" fmla="*/ 133 h 252"/>
                      <a:gd name="T84" fmla="*/ 119 w 225"/>
                      <a:gd name="T85" fmla="*/ 136 h 252"/>
                      <a:gd name="T86" fmla="*/ 156 w 225"/>
                      <a:gd name="T87" fmla="*/ 125 h 252"/>
                      <a:gd name="T88" fmla="*/ 159 w 225"/>
                      <a:gd name="T89" fmla="*/ 122 h 252"/>
                      <a:gd name="T90" fmla="*/ 164 w 225"/>
                      <a:gd name="T91" fmla="*/ 122 h 252"/>
                      <a:gd name="T92" fmla="*/ 167 w 225"/>
                      <a:gd name="T93" fmla="*/ 125 h 252"/>
                      <a:gd name="T94" fmla="*/ 170 w 225"/>
                      <a:gd name="T95" fmla="*/ 130 h 252"/>
                      <a:gd name="T96" fmla="*/ 167 w 225"/>
                      <a:gd name="T97" fmla="*/ 136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5" h="252">
                        <a:moveTo>
                          <a:pt x="113" y="0"/>
                        </a:moveTo>
                        <a:lnTo>
                          <a:pt x="113" y="0"/>
                        </a:lnTo>
                        <a:lnTo>
                          <a:pt x="101" y="0"/>
                        </a:lnTo>
                        <a:lnTo>
                          <a:pt x="90" y="1"/>
                        </a:lnTo>
                        <a:lnTo>
                          <a:pt x="80" y="4"/>
                        </a:lnTo>
                        <a:lnTo>
                          <a:pt x="69" y="8"/>
                        </a:lnTo>
                        <a:lnTo>
                          <a:pt x="59" y="13"/>
                        </a:lnTo>
                        <a:lnTo>
                          <a:pt x="50" y="19"/>
                        </a:lnTo>
                        <a:lnTo>
                          <a:pt x="42" y="25"/>
                        </a:lnTo>
                        <a:lnTo>
                          <a:pt x="34" y="32"/>
                        </a:lnTo>
                        <a:lnTo>
                          <a:pt x="26" y="40"/>
                        </a:lnTo>
                        <a:lnTo>
                          <a:pt x="19" y="48"/>
                        </a:lnTo>
                        <a:lnTo>
                          <a:pt x="14" y="58"/>
                        </a:lnTo>
                        <a:lnTo>
                          <a:pt x="10" y="68"/>
                        </a:lnTo>
                        <a:lnTo>
                          <a:pt x="6" y="78"/>
                        </a:lnTo>
                        <a:lnTo>
                          <a:pt x="3" y="89"/>
                        </a:lnTo>
                        <a:lnTo>
                          <a:pt x="2" y="101"/>
                        </a:lnTo>
                        <a:lnTo>
                          <a:pt x="0" y="111"/>
                        </a:lnTo>
                        <a:lnTo>
                          <a:pt x="0" y="111"/>
                        </a:lnTo>
                        <a:lnTo>
                          <a:pt x="2" y="126"/>
                        </a:lnTo>
                        <a:lnTo>
                          <a:pt x="4" y="141"/>
                        </a:lnTo>
                        <a:lnTo>
                          <a:pt x="10" y="156"/>
                        </a:lnTo>
                        <a:lnTo>
                          <a:pt x="16" y="169"/>
                        </a:lnTo>
                        <a:lnTo>
                          <a:pt x="25" y="181"/>
                        </a:lnTo>
                        <a:lnTo>
                          <a:pt x="35" y="192"/>
                        </a:lnTo>
                        <a:lnTo>
                          <a:pt x="46" y="201"/>
                        </a:lnTo>
                        <a:lnTo>
                          <a:pt x="59" y="209"/>
                        </a:lnTo>
                        <a:lnTo>
                          <a:pt x="59" y="248"/>
                        </a:lnTo>
                        <a:lnTo>
                          <a:pt x="59" y="248"/>
                        </a:lnTo>
                        <a:lnTo>
                          <a:pt x="61" y="251"/>
                        </a:lnTo>
                        <a:lnTo>
                          <a:pt x="63" y="252"/>
                        </a:lnTo>
                        <a:lnTo>
                          <a:pt x="162" y="252"/>
                        </a:lnTo>
                        <a:lnTo>
                          <a:pt x="162" y="252"/>
                        </a:lnTo>
                        <a:lnTo>
                          <a:pt x="164" y="251"/>
                        </a:lnTo>
                        <a:lnTo>
                          <a:pt x="167" y="248"/>
                        </a:lnTo>
                        <a:lnTo>
                          <a:pt x="167" y="209"/>
                        </a:lnTo>
                        <a:lnTo>
                          <a:pt x="167" y="209"/>
                        </a:lnTo>
                        <a:lnTo>
                          <a:pt x="179" y="201"/>
                        </a:lnTo>
                        <a:lnTo>
                          <a:pt x="191" y="192"/>
                        </a:lnTo>
                        <a:lnTo>
                          <a:pt x="200" y="181"/>
                        </a:lnTo>
                        <a:lnTo>
                          <a:pt x="209" y="169"/>
                        </a:lnTo>
                        <a:lnTo>
                          <a:pt x="215" y="156"/>
                        </a:lnTo>
                        <a:lnTo>
                          <a:pt x="221" y="141"/>
                        </a:lnTo>
                        <a:lnTo>
                          <a:pt x="223" y="126"/>
                        </a:lnTo>
                        <a:lnTo>
                          <a:pt x="225" y="111"/>
                        </a:lnTo>
                        <a:lnTo>
                          <a:pt x="225" y="111"/>
                        </a:lnTo>
                        <a:lnTo>
                          <a:pt x="225" y="101"/>
                        </a:lnTo>
                        <a:lnTo>
                          <a:pt x="222" y="89"/>
                        </a:lnTo>
                        <a:lnTo>
                          <a:pt x="219" y="78"/>
                        </a:lnTo>
                        <a:lnTo>
                          <a:pt x="215" y="68"/>
                        </a:lnTo>
                        <a:lnTo>
                          <a:pt x="211" y="58"/>
                        </a:lnTo>
                        <a:lnTo>
                          <a:pt x="206" y="48"/>
                        </a:lnTo>
                        <a:lnTo>
                          <a:pt x="199" y="40"/>
                        </a:lnTo>
                        <a:lnTo>
                          <a:pt x="192" y="32"/>
                        </a:lnTo>
                        <a:lnTo>
                          <a:pt x="184" y="25"/>
                        </a:lnTo>
                        <a:lnTo>
                          <a:pt x="175" y="19"/>
                        </a:lnTo>
                        <a:lnTo>
                          <a:pt x="166" y="13"/>
                        </a:lnTo>
                        <a:lnTo>
                          <a:pt x="156" y="8"/>
                        </a:lnTo>
                        <a:lnTo>
                          <a:pt x="145" y="4"/>
                        </a:lnTo>
                        <a:lnTo>
                          <a:pt x="135" y="1"/>
                        </a:lnTo>
                        <a:lnTo>
                          <a:pt x="124" y="0"/>
                        </a:lnTo>
                        <a:lnTo>
                          <a:pt x="113" y="0"/>
                        </a:lnTo>
                        <a:lnTo>
                          <a:pt x="113" y="0"/>
                        </a:lnTo>
                        <a:close/>
                        <a:moveTo>
                          <a:pt x="167" y="136"/>
                        </a:moveTo>
                        <a:lnTo>
                          <a:pt x="132" y="172"/>
                        </a:lnTo>
                        <a:lnTo>
                          <a:pt x="112" y="152"/>
                        </a:lnTo>
                        <a:lnTo>
                          <a:pt x="93" y="172"/>
                        </a:lnTo>
                        <a:lnTo>
                          <a:pt x="58" y="136"/>
                        </a:lnTo>
                        <a:lnTo>
                          <a:pt x="58" y="136"/>
                        </a:lnTo>
                        <a:lnTo>
                          <a:pt x="55" y="133"/>
                        </a:lnTo>
                        <a:lnTo>
                          <a:pt x="55" y="130"/>
                        </a:lnTo>
                        <a:lnTo>
                          <a:pt x="55" y="128"/>
                        </a:lnTo>
                        <a:lnTo>
                          <a:pt x="58" y="125"/>
                        </a:lnTo>
                        <a:lnTo>
                          <a:pt x="58" y="125"/>
                        </a:lnTo>
                        <a:lnTo>
                          <a:pt x="61" y="122"/>
                        </a:lnTo>
                        <a:lnTo>
                          <a:pt x="63" y="122"/>
                        </a:lnTo>
                        <a:lnTo>
                          <a:pt x="66" y="122"/>
                        </a:lnTo>
                        <a:lnTo>
                          <a:pt x="69" y="125"/>
                        </a:lnTo>
                        <a:lnTo>
                          <a:pt x="93" y="149"/>
                        </a:lnTo>
                        <a:lnTo>
                          <a:pt x="106" y="136"/>
                        </a:lnTo>
                        <a:lnTo>
                          <a:pt x="106" y="136"/>
                        </a:lnTo>
                        <a:lnTo>
                          <a:pt x="109" y="134"/>
                        </a:lnTo>
                        <a:lnTo>
                          <a:pt x="112" y="133"/>
                        </a:lnTo>
                        <a:lnTo>
                          <a:pt x="112" y="133"/>
                        </a:lnTo>
                        <a:lnTo>
                          <a:pt x="116" y="134"/>
                        </a:lnTo>
                        <a:lnTo>
                          <a:pt x="119" y="136"/>
                        </a:lnTo>
                        <a:lnTo>
                          <a:pt x="132" y="149"/>
                        </a:lnTo>
                        <a:lnTo>
                          <a:pt x="156" y="125"/>
                        </a:lnTo>
                        <a:lnTo>
                          <a:pt x="156" y="125"/>
                        </a:lnTo>
                        <a:lnTo>
                          <a:pt x="159" y="122"/>
                        </a:lnTo>
                        <a:lnTo>
                          <a:pt x="162" y="122"/>
                        </a:lnTo>
                        <a:lnTo>
                          <a:pt x="164" y="122"/>
                        </a:lnTo>
                        <a:lnTo>
                          <a:pt x="167" y="125"/>
                        </a:lnTo>
                        <a:lnTo>
                          <a:pt x="167" y="125"/>
                        </a:lnTo>
                        <a:lnTo>
                          <a:pt x="168" y="128"/>
                        </a:lnTo>
                        <a:lnTo>
                          <a:pt x="170" y="130"/>
                        </a:lnTo>
                        <a:lnTo>
                          <a:pt x="168" y="133"/>
                        </a:lnTo>
                        <a:lnTo>
                          <a:pt x="167" y="136"/>
                        </a:lnTo>
                        <a:lnTo>
                          <a:pt x="167"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121" name="Freeform 37">
                  <a:extLst>
                    <a:ext uri="{FF2B5EF4-FFF2-40B4-BE49-F238E27FC236}">
                      <a16:creationId xmlns:a16="http://schemas.microsoft.com/office/drawing/2014/main" id="{B12172EB-7DD4-420C-BD06-3644C2C8BF63}"/>
                    </a:ext>
                  </a:extLst>
                </p:cNvPr>
                <p:cNvSpPr>
                  <a:spLocks noEditPoints="1"/>
                </p:cNvSpPr>
                <p:nvPr/>
              </p:nvSpPr>
              <p:spPr bwMode="auto">
                <a:xfrm>
                  <a:off x="914400" y="2150639"/>
                  <a:ext cx="437429" cy="418902"/>
                </a:xfrm>
                <a:custGeom>
                  <a:avLst/>
                  <a:gdLst>
                    <a:gd name="T0" fmla="*/ 312 w 657"/>
                    <a:gd name="T1" fmla="*/ 657 h 657"/>
                    <a:gd name="T2" fmla="*/ 262 w 657"/>
                    <a:gd name="T3" fmla="*/ 650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9 h 657"/>
                    <a:gd name="T16" fmla="*/ 1 w 657"/>
                    <a:gd name="T17" fmla="*/ 296 h 657"/>
                    <a:gd name="T18" fmla="*/ 11 w 657"/>
                    <a:gd name="T19" fmla="*/ 246 h 657"/>
                    <a:gd name="T20" fmla="*/ 39 w 657"/>
                    <a:gd name="T21" fmla="*/ 172 h 657"/>
                    <a:gd name="T22" fmla="*/ 97 w 657"/>
                    <a:gd name="T23" fmla="*/ 97 h 657"/>
                    <a:gd name="T24" fmla="*/ 172 w 657"/>
                    <a:gd name="T25" fmla="*/ 39 h 657"/>
                    <a:gd name="T26" fmla="*/ 247 w 657"/>
                    <a:gd name="T27" fmla="*/ 10 h 657"/>
                    <a:gd name="T28" fmla="*/ 296 w 657"/>
                    <a:gd name="T29" fmla="*/ 2 h 657"/>
                    <a:gd name="T30" fmla="*/ 329 w 657"/>
                    <a:gd name="T31" fmla="*/ 0 h 657"/>
                    <a:gd name="T32" fmla="*/ 379 w 657"/>
                    <a:gd name="T33" fmla="*/ 4 h 657"/>
                    <a:gd name="T34" fmla="*/ 426 w 657"/>
                    <a:gd name="T35" fmla="*/ 15 h 657"/>
                    <a:gd name="T36" fmla="*/ 512 w 657"/>
                    <a:gd name="T37" fmla="*/ 57 h 657"/>
                    <a:gd name="T38" fmla="*/ 582 w 657"/>
                    <a:gd name="T39" fmla="*/ 120 h 657"/>
                    <a:gd name="T40" fmla="*/ 631 w 657"/>
                    <a:gd name="T41" fmla="*/ 200 h 657"/>
                    <a:gd name="T42" fmla="*/ 650 w 657"/>
                    <a:gd name="T43" fmla="*/ 262 h 657"/>
                    <a:gd name="T44" fmla="*/ 657 w 657"/>
                    <a:gd name="T45" fmla="*/ 312 h 657"/>
                    <a:gd name="T46" fmla="*/ 657 w 657"/>
                    <a:gd name="T47" fmla="*/ 346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9 w 657"/>
                    <a:gd name="T59" fmla="*/ 653 h 657"/>
                    <a:gd name="T60" fmla="*/ 329 w 657"/>
                    <a:gd name="T61" fmla="*/ 657 h 657"/>
                    <a:gd name="T62" fmla="*/ 329 w 657"/>
                    <a:gd name="T63" fmla="*/ 38 h 657"/>
                    <a:gd name="T64" fmla="*/ 242 w 657"/>
                    <a:gd name="T65" fmla="*/ 51 h 657"/>
                    <a:gd name="T66" fmla="*/ 165 w 657"/>
                    <a:gd name="T67" fmla="*/ 88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5 w 657"/>
                    <a:gd name="T81" fmla="*/ 570 h 657"/>
                    <a:gd name="T82" fmla="*/ 242 w 657"/>
                    <a:gd name="T83" fmla="*/ 607 h 657"/>
                    <a:gd name="T84" fmla="*/ 329 w 657"/>
                    <a:gd name="T85" fmla="*/ 620 h 657"/>
                    <a:gd name="T86" fmla="*/ 387 w 657"/>
                    <a:gd name="T87" fmla="*/ 614 h 657"/>
                    <a:gd name="T88" fmla="*/ 468 w 657"/>
                    <a:gd name="T89" fmla="*/ 585 h 657"/>
                    <a:gd name="T90" fmla="*/ 535 w 657"/>
                    <a:gd name="T91" fmla="*/ 535 h 657"/>
                    <a:gd name="T92" fmla="*/ 584 w 657"/>
                    <a:gd name="T93" fmla="*/ 468 h 657"/>
                    <a:gd name="T94" fmla="*/ 614 w 657"/>
                    <a:gd name="T95" fmla="*/ 387 h 657"/>
                    <a:gd name="T96" fmla="*/ 619 w 657"/>
                    <a:gd name="T97" fmla="*/ 329 h 657"/>
                    <a:gd name="T98" fmla="*/ 607 w 657"/>
                    <a:gd name="T99" fmla="*/ 242 h 657"/>
                    <a:gd name="T100" fmla="*/ 570 w 657"/>
                    <a:gd name="T101" fmla="*/ 166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6"/>
                      </a:lnTo>
                      <a:lnTo>
                        <a:pt x="278" y="653"/>
                      </a:lnTo>
                      <a:lnTo>
                        <a:pt x="262" y="650"/>
                      </a:lnTo>
                      <a:lnTo>
                        <a:pt x="247" y="648"/>
                      </a:lnTo>
                      <a:lnTo>
                        <a:pt x="231" y="642"/>
                      </a:lnTo>
                      <a:lnTo>
                        <a:pt x="200" y="632"/>
                      </a:lnTo>
                      <a:lnTo>
                        <a:pt x="172" y="618"/>
                      </a:lnTo>
                      <a:lnTo>
                        <a:pt x="145" y="601"/>
                      </a:lnTo>
                      <a:lnTo>
                        <a:pt x="120" y="582"/>
                      </a:lnTo>
                      <a:lnTo>
                        <a:pt x="97" y="562"/>
                      </a:lnTo>
                      <a:lnTo>
                        <a:pt x="75" y="538"/>
                      </a:lnTo>
                      <a:lnTo>
                        <a:pt x="57" y="512"/>
                      </a:lnTo>
                      <a:lnTo>
                        <a:pt x="39" y="485"/>
                      </a:lnTo>
                      <a:lnTo>
                        <a:pt x="26" y="457"/>
                      </a:lnTo>
                      <a:lnTo>
                        <a:pt x="15" y="426"/>
                      </a:lnTo>
                      <a:lnTo>
                        <a:pt x="11" y="411"/>
                      </a:lnTo>
                      <a:lnTo>
                        <a:pt x="7" y="395"/>
                      </a:lnTo>
                      <a:lnTo>
                        <a:pt x="4" y="379"/>
                      </a:lnTo>
                      <a:lnTo>
                        <a:pt x="1" y="362"/>
                      </a:lnTo>
                      <a:lnTo>
                        <a:pt x="0" y="346"/>
                      </a:lnTo>
                      <a:lnTo>
                        <a:pt x="0" y="329"/>
                      </a:lnTo>
                      <a:lnTo>
                        <a:pt x="0" y="329"/>
                      </a:lnTo>
                      <a:lnTo>
                        <a:pt x="0" y="312"/>
                      </a:lnTo>
                      <a:lnTo>
                        <a:pt x="1" y="296"/>
                      </a:lnTo>
                      <a:lnTo>
                        <a:pt x="4" y="278"/>
                      </a:lnTo>
                      <a:lnTo>
                        <a:pt x="7" y="262"/>
                      </a:lnTo>
                      <a:lnTo>
                        <a:pt x="11" y="246"/>
                      </a:lnTo>
                      <a:lnTo>
                        <a:pt x="15" y="231"/>
                      </a:lnTo>
                      <a:lnTo>
                        <a:pt x="26" y="200"/>
                      </a:lnTo>
                      <a:lnTo>
                        <a:pt x="39" y="172"/>
                      </a:lnTo>
                      <a:lnTo>
                        <a:pt x="57" y="145"/>
                      </a:lnTo>
                      <a:lnTo>
                        <a:pt x="75" y="120"/>
                      </a:lnTo>
                      <a:lnTo>
                        <a:pt x="97" y="97"/>
                      </a:lnTo>
                      <a:lnTo>
                        <a:pt x="120" y="76"/>
                      </a:lnTo>
                      <a:lnTo>
                        <a:pt x="145" y="57"/>
                      </a:lnTo>
                      <a:lnTo>
                        <a:pt x="172" y="39"/>
                      </a:lnTo>
                      <a:lnTo>
                        <a:pt x="200" y="26"/>
                      </a:lnTo>
                      <a:lnTo>
                        <a:pt x="231" y="15"/>
                      </a:lnTo>
                      <a:lnTo>
                        <a:pt x="247" y="10"/>
                      </a:lnTo>
                      <a:lnTo>
                        <a:pt x="262" y="7"/>
                      </a:lnTo>
                      <a:lnTo>
                        <a:pt x="278" y="4"/>
                      </a:lnTo>
                      <a:lnTo>
                        <a:pt x="296" y="2"/>
                      </a:lnTo>
                      <a:lnTo>
                        <a:pt x="312" y="0"/>
                      </a:lnTo>
                      <a:lnTo>
                        <a:pt x="329" y="0"/>
                      </a:lnTo>
                      <a:lnTo>
                        <a:pt x="329" y="0"/>
                      </a:lnTo>
                      <a:lnTo>
                        <a:pt x="345" y="0"/>
                      </a:lnTo>
                      <a:lnTo>
                        <a:pt x="363" y="2"/>
                      </a:lnTo>
                      <a:lnTo>
                        <a:pt x="379" y="4"/>
                      </a:lnTo>
                      <a:lnTo>
                        <a:pt x="395" y="7"/>
                      </a:lnTo>
                      <a:lnTo>
                        <a:pt x="411" y="10"/>
                      </a:lnTo>
                      <a:lnTo>
                        <a:pt x="426" y="15"/>
                      </a:lnTo>
                      <a:lnTo>
                        <a:pt x="457" y="26"/>
                      </a:lnTo>
                      <a:lnTo>
                        <a:pt x="485" y="39"/>
                      </a:lnTo>
                      <a:lnTo>
                        <a:pt x="512" y="57"/>
                      </a:lnTo>
                      <a:lnTo>
                        <a:pt x="537" y="76"/>
                      </a:lnTo>
                      <a:lnTo>
                        <a:pt x="562" y="97"/>
                      </a:lnTo>
                      <a:lnTo>
                        <a:pt x="582" y="120"/>
                      </a:lnTo>
                      <a:lnTo>
                        <a:pt x="602" y="145"/>
                      </a:lnTo>
                      <a:lnTo>
                        <a:pt x="618" y="172"/>
                      </a:lnTo>
                      <a:lnTo>
                        <a:pt x="631" y="200"/>
                      </a:lnTo>
                      <a:lnTo>
                        <a:pt x="642" y="231"/>
                      </a:lnTo>
                      <a:lnTo>
                        <a:pt x="648" y="246"/>
                      </a:lnTo>
                      <a:lnTo>
                        <a:pt x="650" y="262"/>
                      </a:lnTo>
                      <a:lnTo>
                        <a:pt x="654" y="278"/>
                      </a:lnTo>
                      <a:lnTo>
                        <a:pt x="656" y="296"/>
                      </a:lnTo>
                      <a:lnTo>
                        <a:pt x="657" y="312"/>
                      </a:lnTo>
                      <a:lnTo>
                        <a:pt x="657" y="329"/>
                      </a:lnTo>
                      <a:lnTo>
                        <a:pt x="657" y="329"/>
                      </a:lnTo>
                      <a:lnTo>
                        <a:pt x="657" y="346"/>
                      </a:lnTo>
                      <a:lnTo>
                        <a:pt x="656" y="362"/>
                      </a:lnTo>
                      <a:lnTo>
                        <a:pt x="654" y="379"/>
                      </a:lnTo>
                      <a:lnTo>
                        <a:pt x="650" y="395"/>
                      </a:lnTo>
                      <a:lnTo>
                        <a:pt x="648" y="411"/>
                      </a:lnTo>
                      <a:lnTo>
                        <a:pt x="642" y="426"/>
                      </a:lnTo>
                      <a:lnTo>
                        <a:pt x="631" y="457"/>
                      </a:lnTo>
                      <a:lnTo>
                        <a:pt x="618" y="485"/>
                      </a:lnTo>
                      <a:lnTo>
                        <a:pt x="602" y="512"/>
                      </a:lnTo>
                      <a:lnTo>
                        <a:pt x="582" y="538"/>
                      </a:lnTo>
                      <a:lnTo>
                        <a:pt x="562" y="562"/>
                      </a:lnTo>
                      <a:lnTo>
                        <a:pt x="537" y="582"/>
                      </a:lnTo>
                      <a:lnTo>
                        <a:pt x="512" y="601"/>
                      </a:lnTo>
                      <a:lnTo>
                        <a:pt x="485" y="618"/>
                      </a:lnTo>
                      <a:lnTo>
                        <a:pt x="457" y="632"/>
                      </a:lnTo>
                      <a:lnTo>
                        <a:pt x="426" y="642"/>
                      </a:lnTo>
                      <a:lnTo>
                        <a:pt x="411" y="648"/>
                      </a:lnTo>
                      <a:lnTo>
                        <a:pt x="395" y="650"/>
                      </a:lnTo>
                      <a:lnTo>
                        <a:pt x="379" y="653"/>
                      </a:lnTo>
                      <a:lnTo>
                        <a:pt x="363" y="656"/>
                      </a:lnTo>
                      <a:lnTo>
                        <a:pt x="345" y="657"/>
                      </a:lnTo>
                      <a:lnTo>
                        <a:pt x="329" y="657"/>
                      </a:lnTo>
                      <a:lnTo>
                        <a:pt x="329" y="657"/>
                      </a:lnTo>
                      <a:close/>
                      <a:moveTo>
                        <a:pt x="329" y="38"/>
                      </a:moveTo>
                      <a:lnTo>
                        <a:pt x="329" y="38"/>
                      </a:lnTo>
                      <a:lnTo>
                        <a:pt x="298" y="39"/>
                      </a:lnTo>
                      <a:lnTo>
                        <a:pt x="270" y="43"/>
                      </a:lnTo>
                      <a:lnTo>
                        <a:pt x="242" y="51"/>
                      </a:lnTo>
                      <a:lnTo>
                        <a:pt x="215" y="61"/>
                      </a:lnTo>
                      <a:lnTo>
                        <a:pt x="189" y="73"/>
                      </a:lnTo>
                      <a:lnTo>
                        <a:pt x="165" y="88"/>
                      </a:lnTo>
                      <a:lnTo>
                        <a:pt x="144" y="104"/>
                      </a:lnTo>
                      <a:lnTo>
                        <a:pt x="122" y="123"/>
                      </a:lnTo>
                      <a:lnTo>
                        <a:pt x="104" y="144"/>
                      </a:lnTo>
                      <a:lnTo>
                        <a:pt x="87" y="166"/>
                      </a:lnTo>
                      <a:lnTo>
                        <a:pt x="73" y="190"/>
                      </a:lnTo>
                      <a:lnTo>
                        <a:pt x="61" y="215"/>
                      </a:lnTo>
                      <a:lnTo>
                        <a:pt x="51" y="242"/>
                      </a:lnTo>
                      <a:lnTo>
                        <a:pt x="43" y="270"/>
                      </a:lnTo>
                      <a:lnTo>
                        <a:pt x="39" y="298"/>
                      </a:lnTo>
                      <a:lnTo>
                        <a:pt x="38" y="329"/>
                      </a:lnTo>
                      <a:lnTo>
                        <a:pt x="38" y="329"/>
                      </a:lnTo>
                      <a:lnTo>
                        <a:pt x="39" y="359"/>
                      </a:lnTo>
                      <a:lnTo>
                        <a:pt x="43" y="387"/>
                      </a:lnTo>
                      <a:lnTo>
                        <a:pt x="51" y="415"/>
                      </a:lnTo>
                      <a:lnTo>
                        <a:pt x="61" y="442"/>
                      </a:lnTo>
                      <a:lnTo>
                        <a:pt x="73" y="468"/>
                      </a:lnTo>
                      <a:lnTo>
                        <a:pt x="87" y="492"/>
                      </a:lnTo>
                      <a:lnTo>
                        <a:pt x="104" y="513"/>
                      </a:lnTo>
                      <a:lnTo>
                        <a:pt x="122" y="535"/>
                      </a:lnTo>
                      <a:lnTo>
                        <a:pt x="144" y="554"/>
                      </a:lnTo>
                      <a:lnTo>
                        <a:pt x="165" y="570"/>
                      </a:lnTo>
                      <a:lnTo>
                        <a:pt x="189" y="585"/>
                      </a:lnTo>
                      <a:lnTo>
                        <a:pt x="215" y="597"/>
                      </a:lnTo>
                      <a:lnTo>
                        <a:pt x="242" y="607"/>
                      </a:lnTo>
                      <a:lnTo>
                        <a:pt x="270" y="614"/>
                      </a:lnTo>
                      <a:lnTo>
                        <a:pt x="298" y="618"/>
                      </a:lnTo>
                      <a:lnTo>
                        <a:pt x="329" y="620"/>
                      </a:lnTo>
                      <a:lnTo>
                        <a:pt x="329" y="620"/>
                      </a:lnTo>
                      <a:lnTo>
                        <a:pt x="359" y="618"/>
                      </a:lnTo>
                      <a:lnTo>
                        <a:pt x="387" y="614"/>
                      </a:lnTo>
                      <a:lnTo>
                        <a:pt x="415" y="607"/>
                      </a:lnTo>
                      <a:lnTo>
                        <a:pt x="442" y="597"/>
                      </a:lnTo>
                      <a:lnTo>
                        <a:pt x="468" y="585"/>
                      </a:lnTo>
                      <a:lnTo>
                        <a:pt x="492" y="570"/>
                      </a:lnTo>
                      <a:lnTo>
                        <a:pt x="513" y="554"/>
                      </a:lnTo>
                      <a:lnTo>
                        <a:pt x="535" y="535"/>
                      </a:lnTo>
                      <a:lnTo>
                        <a:pt x="553" y="513"/>
                      </a:lnTo>
                      <a:lnTo>
                        <a:pt x="570" y="492"/>
                      </a:lnTo>
                      <a:lnTo>
                        <a:pt x="584" y="468"/>
                      </a:lnTo>
                      <a:lnTo>
                        <a:pt x="596" y="442"/>
                      </a:lnTo>
                      <a:lnTo>
                        <a:pt x="607" y="415"/>
                      </a:lnTo>
                      <a:lnTo>
                        <a:pt x="614" y="387"/>
                      </a:lnTo>
                      <a:lnTo>
                        <a:pt x="618" y="359"/>
                      </a:lnTo>
                      <a:lnTo>
                        <a:pt x="619" y="329"/>
                      </a:lnTo>
                      <a:lnTo>
                        <a:pt x="619" y="329"/>
                      </a:lnTo>
                      <a:lnTo>
                        <a:pt x="618" y="298"/>
                      </a:lnTo>
                      <a:lnTo>
                        <a:pt x="614" y="270"/>
                      </a:lnTo>
                      <a:lnTo>
                        <a:pt x="607" y="242"/>
                      </a:lnTo>
                      <a:lnTo>
                        <a:pt x="596" y="215"/>
                      </a:lnTo>
                      <a:lnTo>
                        <a:pt x="584" y="190"/>
                      </a:lnTo>
                      <a:lnTo>
                        <a:pt x="570" y="166"/>
                      </a:lnTo>
                      <a:lnTo>
                        <a:pt x="553" y="144"/>
                      </a:lnTo>
                      <a:lnTo>
                        <a:pt x="535" y="123"/>
                      </a:lnTo>
                      <a:lnTo>
                        <a:pt x="513" y="104"/>
                      </a:lnTo>
                      <a:lnTo>
                        <a:pt x="492" y="88"/>
                      </a:lnTo>
                      <a:lnTo>
                        <a:pt x="468" y="73"/>
                      </a:lnTo>
                      <a:lnTo>
                        <a:pt x="442" y="61"/>
                      </a:lnTo>
                      <a:lnTo>
                        <a:pt x="415" y="51"/>
                      </a:lnTo>
                      <a:lnTo>
                        <a:pt x="387" y="43"/>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14" name="Group 113">
                <a:extLst>
                  <a:ext uri="{FF2B5EF4-FFF2-40B4-BE49-F238E27FC236}">
                    <a16:creationId xmlns:a16="http://schemas.microsoft.com/office/drawing/2014/main" id="{7175FC63-D0A1-4B50-8F41-699E0D3FDFB7}"/>
                  </a:ext>
                </a:extLst>
              </p:cNvPr>
              <p:cNvGrpSpPr/>
              <p:nvPr/>
            </p:nvGrpSpPr>
            <p:grpSpPr>
              <a:xfrm>
                <a:off x="1039500" y="3545766"/>
                <a:ext cx="286077" cy="273961"/>
                <a:chOff x="914400" y="2150639"/>
                <a:chExt cx="437429" cy="418902"/>
              </a:xfrm>
              <a:solidFill>
                <a:schemeClr val="accent3"/>
              </a:solidFill>
            </p:grpSpPr>
            <p:grpSp>
              <p:nvGrpSpPr>
                <p:cNvPr id="115" name="Group 114">
                  <a:extLst>
                    <a:ext uri="{FF2B5EF4-FFF2-40B4-BE49-F238E27FC236}">
                      <a16:creationId xmlns:a16="http://schemas.microsoft.com/office/drawing/2014/main" id="{506309AA-E27B-402E-BC34-9D706933F427}"/>
                    </a:ext>
                  </a:extLst>
                </p:cNvPr>
                <p:cNvGrpSpPr/>
                <p:nvPr/>
              </p:nvGrpSpPr>
              <p:grpSpPr>
                <a:xfrm>
                  <a:off x="1058432" y="2263959"/>
                  <a:ext cx="149366" cy="196082"/>
                  <a:chOff x="1058432" y="2263959"/>
                  <a:chExt cx="149366" cy="196082"/>
                </a:xfrm>
                <a:grpFill/>
              </p:grpSpPr>
              <p:sp>
                <p:nvSpPr>
                  <p:cNvPr id="117" name="Freeform 345">
                    <a:extLst>
                      <a:ext uri="{FF2B5EF4-FFF2-40B4-BE49-F238E27FC236}">
                        <a16:creationId xmlns:a16="http://schemas.microsoft.com/office/drawing/2014/main" id="{A557B69A-D667-45F7-B3D8-F83F1409BB67}"/>
                      </a:ext>
                    </a:extLst>
                  </p:cNvPr>
                  <p:cNvSpPr>
                    <a:spLocks/>
                  </p:cNvSpPr>
                  <p:nvPr/>
                </p:nvSpPr>
                <p:spPr bwMode="auto">
                  <a:xfrm>
                    <a:off x="1098440" y="2438395"/>
                    <a:ext cx="70683" cy="6367"/>
                  </a:xfrm>
                  <a:custGeom>
                    <a:avLst/>
                    <a:gdLst>
                      <a:gd name="T0" fmla="*/ 103 w 108"/>
                      <a:gd name="T1" fmla="*/ 0 h 9"/>
                      <a:gd name="T2" fmla="*/ 4 w 108"/>
                      <a:gd name="T3" fmla="*/ 0 h 9"/>
                      <a:gd name="T4" fmla="*/ 4 w 108"/>
                      <a:gd name="T5" fmla="*/ 0 h 9"/>
                      <a:gd name="T6" fmla="*/ 2 w 108"/>
                      <a:gd name="T7" fmla="*/ 1 h 9"/>
                      <a:gd name="T8" fmla="*/ 0 w 108"/>
                      <a:gd name="T9" fmla="*/ 4 h 9"/>
                      <a:gd name="T10" fmla="*/ 0 w 108"/>
                      <a:gd name="T11" fmla="*/ 4 h 9"/>
                      <a:gd name="T12" fmla="*/ 2 w 108"/>
                      <a:gd name="T13" fmla="*/ 8 h 9"/>
                      <a:gd name="T14" fmla="*/ 4 w 108"/>
                      <a:gd name="T15" fmla="*/ 9 h 9"/>
                      <a:gd name="T16" fmla="*/ 103 w 108"/>
                      <a:gd name="T17" fmla="*/ 9 h 9"/>
                      <a:gd name="T18" fmla="*/ 103 w 108"/>
                      <a:gd name="T19" fmla="*/ 9 h 9"/>
                      <a:gd name="T20" fmla="*/ 105 w 108"/>
                      <a:gd name="T21" fmla="*/ 8 h 9"/>
                      <a:gd name="T22" fmla="*/ 108 w 108"/>
                      <a:gd name="T23" fmla="*/ 4 h 9"/>
                      <a:gd name="T24" fmla="*/ 108 w 108"/>
                      <a:gd name="T25" fmla="*/ 4 h 9"/>
                      <a:gd name="T26" fmla="*/ 105 w 108"/>
                      <a:gd name="T27" fmla="*/ 1 h 9"/>
                      <a:gd name="T28" fmla="*/ 103 w 108"/>
                      <a:gd name="T29" fmla="*/ 0 h 9"/>
                      <a:gd name="T30" fmla="*/ 103 w 108"/>
                      <a:gd name="T3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9">
                        <a:moveTo>
                          <a:pt x="103" y="0"/>
                        </a:moveTo>
                        <a:lnTo>
                          <a:pt x="4" y="0"/>
                        </a:lnTo>
                        <a:lnTo>
                          <a:pt x="4" y="0"/>
                        </a:lnTo>
                        <a:lnTo>
                          <a:pt x="2" y="1"/>
                        </a:lnTo>
                        <a:lnTo>
                          <a:pt x="0" y="4"/>
                        </a:lnTo>
                        <a:lnTo>
                          <a:pt x="0" y="4"/>
                        </a:lnTo>
                        <a:lnTo>
                          <a:pt x="2" y="8"/>
                        </a:lnTo>
                        <a:lnTo>
                          <a:pt x="4" y="9"/>
                        </a:lnTo>
                        <a:lnTo>
                          <a:pt x="103" y="9"/>
                        </a:lnTo>
                        <a:lnTo>
                          <a:pt x="103" y="9"/>
                        </a:lnTo>
                        <a:lnTo>
                          <a:pt x="105" y="8"/>
                        </a:lnTo>
                        <a:lnTo>
                          <a:pt x="108" y="4"/>
                        </a:lnTo>
                        <a:lnTo>
                          <a:pt x="108" y="4"/>
                        </a:lnTo>
                        <a:lnTo>
                          <a:pt x="105" y="1"/>
                        </a:lnTo>
                        <a:lnTo>
                          <a:pt x="103" y="0"/>
                        </a:lnTo>
                        <a:lnTo>
                          <a:pt x="1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8" name="Freeform 346">
                    <a:extLst>
                      <a:ext uri="{FF2B5EF4-FFF2-40B4-BE49-F238E27FC236}">
                        <a16:creationId xmlns:a16="http://schemas.microsoft.com/office/drawing/2014/main" id="{1E53CF40-8138-4095-81D7-A6734B54D241}"/>
                      </a:ext>
                    </a:extLst>
                  </p:cNvPr>
                  <p:cNvSpPr>
                    <a:spLocks/>
                  </p:cNvSpPr>
                  <p:nvPr/>
                </p:nvSpPr>
                <p:spPr bwMode="auto">
                  <a:xfrm>
                    <a:off x="1117111" y="2454948"/>
                    <a:ext cx="33341" cy="5093"/>
                  </a:xfrm>
                  <a:custGeom>
                    <a:avLst/>
                    <a:gdLst>
                      <a:gd name="T0" fmla="*/ 44 w 49"/>
                      <a:gd name="T1" fmla="*/ 0 h 10"/>
                      <a:gd name="T2" fmla="*/ 5 w 49"/>
                      <a:gd name="T3" fmla="*/ 0 h 10"/>
                      <a:gd name="T4" fmla="*/ 5 w 49"/>
                      <a:gd name="T5" fmla="*/ 0 h 10"/>
                      <a:gd name="T6" fmla="*/ 2 w 49"/>
                      <a:gd name="T7" fmla="*/ 1 h 10"/>
                      <a:gd name="T8" fmla="*/ 0 w 49"/>
                      <a:gd name="T9" fmla="*/ 6 h 10"/>
                      <a:gd name="T10" fmla="*/ 0 w 49"/>
                      <a:gd name="T11" fmla="*/ 6 h 10"/>
                      <a:gd name="T12" fmla="*/ 2 w 49"/>
                      <a:gd name="T13" fmla="*/ 8 h 10"/>
                      <a:gd name="T14" fmla="*/ 5 w 49"/>
                      <a:gd name="T15" fmla="*/ 10 h 10"/>
                      <a:gd name="T16" fmla="*/ 44 w 49"/>
                      <a:gd name="T17" fmla="*/ 10 h 10"/>
                      <a:gd name="T18" fmla="*/ 44 w 49"/>
                      <a:gd name="T19" fmla="*/ 10 h 10"/>
                      <a:gd name="T20" fmla="*/ 48 w 49"/>
                      <a:gd name="T21" fmla="*/ 8 h 10"/>
                      <a:gd name="T22" fmla="*/ 49 w 49"/>
                      <a:gd name="T23" fmla="*/ 6 h 10"/>
                      <a:gd name="T24" fmla="*/ 49 w 49"/>
                      <a:gd name="T25" fmla="*/ 6 h 10"/>
                      <a:gd name="T26" fmla="*/ 48 w 49"/>
                      <a:gd name="T27" fmla="*/ 1 h 10"/>
                      <a:gd name="T28" fmla="*/ 44 w 49"/>
                      <a:gd name="T29" fmla="*/ 0 h 10"/>
                      <a:gd name="T30" fmla="*/ 44 w 49"/>
                      <a:gd name="T3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9" h="10">
                        <a:moveTo>
                          <a:pt x="44" y="0"/>
                        </a:moveTo>
                        <a:lnTo>
                          <a:pt x="5" y="0"/>
                        </a:lnTo>
                        <a:lnTo>
                          <a:pt x="5" y="0"/>
                        </a:lnTo>
                        <a:lnTo>
                          <a:pt x="2" y="1"/>
                        </a:lnTo>
                        <a:lnTo>
                          <a:pt x="0" y="6"/>
                        </a:lnTo>
                        <a:lnTo>
                          <a:pt x="0" y="6"/>
                        </a:lnTo>
                        <a:lnTo>
                          <a:pt x="2" y="8"/>
                        </a:lnTo>
                        <a:lnTo>
                          <a:pt x="5" y="10"/>
                        </a:lnTo>
                        <a:lnTo>
                          <a:pt x="44" y="10"/>
                        </a:lnTo>
                        <a:lnTo>
                          <a:pt x="44" y="10"/>
                        </a:lnTo>
                        <a:lnTo>
                          <a:pt x="48" y="8"/>
                        </a:lnTo>
                        <a:lnTo>
                          <a:pt x="49" y="6"/>
                        </a:lnTo>
                        <a:lnTo>
                          <a:pt x="49" y="6"/>
                        </a:lnTo>
                        <a:lnTo>
                          <a:pt x="48" y="1"/>
                        </a:lnTo>
                        <a:lnTo>
                          <a:pt x="44" y="0"/>
                        </a:ln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9" name="Freeform 347">
                    <a:extLst>
                      <a:ext uri="{FF2B5EF4-FFF2-40B4-BE49-F238E27FC236}">
                        <a16:creationId xmlns:a16="http://schemas.microsoft.com/office/drawing/2014/main" id="{5AB3F4CD-5220-47F4-98D0-93B686B890DF}"/>
                      </a:ext>
                    </a:extLst>
                  </p:cNvPr>
                  <p:cNvSpPr>
                    <a:spLocks noEditPoints="1"/>
                  </p:cNvSpPr>
                  <p:nvPr/>
                </p:nvSpPr>
                <p:spPr bwMode="auto">
                  <a:xfrm>
                    <a:off x="1058432" y="2263959"/>
                    <a:ext cx="149366" cy="161704"/>
                  </a:xfrm>
                  <a:custGeom>
                    <a:avLst/>
                    <a:gdLst>
                      <a:gd name="T0" fmla="*/ 113 w 225"/>
                      <a:gd name="T1" fmla="*/ 0 h 252"/>
                      <a:gd name="T2" fmla="*/ 90 w 225"/>
                      <a:gd name="T3" fmla="*/ 1 h 252"/>
                      <a:gd name="T4" fmla="*/ 69 w 225"/>
                      <a:gd name="T5" fmla="*/ 8 h 252"/>
                      <a:gd name="T6" fmla="*/ 50 w 225"/>
                      <a:gd name="T7" fmla="*/ 19 h 252"/>
                      <a:gd name="T8" fmla="*/ 34 w 225"/>
                      <a:gd name="T9" fmla="*/ 32 h 252"/>
                      <a:gd name="T10" fmla="*/ 19 w 225"/>
                      <a:gd name="T11" fmla="*/ 48 h 252"/>
                      <a:gd name="T12" fmla="*/ 10 w 225"/>
                      <a:gd name="T13" fmla="*/ 68 h 252"/>
                      <a:gd name="T14" fmla="*/ 3 w 225"/>
                      <a:gd name="T15" fmla="*/ 89 h 252"/>
                      <a:gd name="T16" fmla="*/ 0 w 225"/>
                      <a:gd name="T17" fmla="*/ 111 h 252"/>
                      <a:gd name="T18" fmla="*/ 2 w 225"/>
                      <a:gd name="T19" fmla="*/ 126 h 252"/>
                      <a:gd name="T20" fmla="*/ 10 w 225"/>
                      <a:gd name="T21" fmla="*/ 156 h 252"/>
                      <a:gd name="T22" fmla="*/ 25 w 225"/>
                      <a:gd name="T23" fmla="*/ 181 h 252"/>
                      <a:gd name="T24" fmla="*/ 46 w 225"/>
                      <a:gd name="T25" fmla="*/ 201 h 252"/>
                      <a:gd name="T26" fmla="*/ 59 w 225"/>
                      <a:gd name="T27" fmla="*/ 248 h 252"/>
                      <a:gd name="T28" fmla="*/ 61 w 225"/>
                      <a:gd name="T29" fmla="*/ 251 h 252"/>
                      <a:gd name="T30" fmla="*/ 162 w 225"/>
                      <a:gd name="T31" fmla="*/ 252 h 252"/>
                      <a:gd name="T32" fmla="*/ 164 w 225"/>
                      <a:gd name="T33" fmla="*/ 251 h 252"/>
                      <a:gd name="T34" fmla="*/ 167 w 225"/>
                      <a:gd name="T35" fmla="*/ 209 h 252"/>
                      <a:gd name="T36" fmla="*/ 179 w 225"/>
                      <a:gd name="T37" fmla="*/ 201 h 252"/>
                      <a:gd name="T38" fmla="*/ 200 w 225"/>
                      <a:gd name="T39" fmla="*/ 181 h 252"/>
                      <a:gd name="T40" fmla="*/ 215 w 225"/>
                      <a:gd name="T41" fmla="*/ 156 h 252"/>
                      <a:gd name="T42" fmla="*/ 223 w 225"/>
                      <a:gd name="T43" fmla="*/ 126 h 252"/>
                      <a:gd name="T44" fmla="*/ 225 w 225"/>
                      <a:gd name="T45" fmla="*/ 111 h 252"/>
                      <a:gd name="T46" fmla="*/ 222 w 225"/>
                      <a:gd name="T47" fmla="*/ 89 h 252"/>
                      <a:gd name="T48" fmla="*/ 215 w 225"/>
                      <a:gd name="T49" fmla="*/ 68 h 252"/>
                      <a:gd name="T50" fmla="*/ 206 w 225"/>
                      <a:gd name="T51" fmla="*/ 48 h 252"/>
                      <a:gd name="T52" fmla="*/ 192 w 225"/>
                      <a:gd name="T53" fmla="*/ 32 h 252"/>
                      <a:gd name="T54" fmla="*/ 175 w 225"/>
                      <a:gd name="T55" fmla="*/ 19 h 252"/>
                      <a:gd name="T56" fmla="*/ 156 w 225"/>
                      <a:gd name="T57" fmla="*/ 8 h 252"/>
                      <a:gd name="T58" fmla="*/ 135 w 225"/>
                      <a:gd name="T59" fmla="*/ 1 h 252"/>
                      <a:gd name="T60" fmla="*/ 113 w 225"/>
                      <a:gd name="T61" fmla="*/ 0 h 252"/>
                      <a:gd name="T62" fmla="*/ 167 w 225"/>
                      <a:gd name="T63" fmla="*/ 136 h 252"/>
                      <a:gd name="T64" fmla="*/ 112 w 225"/>
                      <a:gd name="T65" fmla="*/ 152 h 252"/>
                      <a:gd name="T66" fmla="*/ 58 w 225"/>
                      <a:gd name="T67" fmla="*/ 136 h 252"/>
                      <a:gd name="T68" fmla="*/ 55 w 225"/>
                      <a:gd name="T69" fmla="*/ 133 h 252"/>
                      <a:gd name="T70" fmla="*/ 55 w 225"/>
                      <a:gd name="T71" fmla="*/ 128 h 252"/>
                      <a:gd name="T72" fmla="*/ 58 w 225"/>
                      <a:gd name="T73" fmla="*/ 125 h 252"/>
                      <a:gd name="T74" fmla="*/ 63 w 225"/>
                      <a:gd name="T75" fmla="*/ 122 h 252"/>
                      <a:gd name="T76" fmla="*/ 69 w 225"/>
                      <a:gd name="T77" fmla="*/ 125 h 252"/>
                      <a:gd name="T78" fmla="*/ 106 w 225"/>
                      <a:gd name="T79" fmla="*/ 136 h 252"/>
                      <a:gd name="T80" fmla="*/ 109 w 225"/>
                      <a:gd name="T81" fmla="*/ 134 h 252"/>
                      <a:gd name="T82" fmla="*/ 112 w 225"/>
                      <a:gd name="T83" fmla="*/ 133 h 252"/>
                      <a:gd name="T84" fmla="*/ 119 w 225"/>
                      <a:gd name="T85" fmla="*/ 136 h 252"/>
                      <a:gd name="T86" fmla="*/ 156 w 225"/>
                      <a:gd name="T87" fmla="*/ 125 h 252"/>
                      <a:gd name="T88" fmla="*/ 159 w 225"/>
                      <a:gd name="T89" fmla="*/ 122 h 252"/>
                      <a:gd name="T90" fmla="*/ 164 w 225"/>
                      <a:gd name="T91" fmla="*/ 122 h 252"/>
                      <a:gd name="T92" fmla="*/ 167 w 225"/>
                      <a:gd name="T93" fmla="*/ 125 h 252"/>
                      <a:gd name="T94" fmla="*/ 170 w 225"/>
                      <a:gd name="T95" fmla="*/ 130 h 252"/>
                      <a:gd name="T96" fmla="*/ 167 w 225"/>
                      <a:gd name="T97" fmla="*/ 136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5" h="252">
                        <a:moveTo>
                          <a:pt x="113" y="0"/>
                        </a:moveTo>
                        <a:lnTo>
                          <a:pt x="113" y="0"/>
                        </a:lnTo>
                        <a:lnTo>
                          <a:pt x="101" y="0"/>
                        </a:lnTo>
                        <a:lnTo>
                          <a:pt x="90" y="1"/>
                        </a:lnTo>
                        <a:lnTo>
                          <a:pt x="80" y="4"/>
                        </a:lnTo>
                        <a:lnTo>
                          <a:pt x="69" y="8"/>
                        </a:lnTo>
                        <a:lnTo>
                          <a:pt x="59" y="13"/>
                        </a:lnTo>
                        <a:lnTo>
                          <a:pt x="50" y="19"/>
                        </a:lnTo>
                        <a:lnTo>
                          <a:pt x="42" y="25"/>
                        </a:lnTo>
                        <a:lnTo>
                          <a:pt x="34" y="32"/>
                        </a:lnTo>
                        <a:lnTo>
                          <a:pt x="26" y="40"/>
                        </a:lnTo>
                        <a:lnTo>
                          <a:pt x="19" y="48"/>
                        </a:lnTo>
                        <a:lnTo>
                          <a:pt x="14" y="58"/>
                        </a:lnTo>
                        <a:lnTo>
                          <a:pt x="10" y="68"/>
                        </a:lnTo>
                        <a:lnTo>
                          <a:pt x="6" y="78"/>
                        </a:lnTo>
                        <a:lnTo>
                          <a:pt x="3" y="89"/>
                        </a:lnTo>
                        <a:lnTo>
                          <a:pt x="2" y="101"/>
                        </a:lnTo>
                        <a:lnTo>
                          <a:pt x="0" y="111"/>
                        </a:lnTo>
                        <a:lnTo>
                          <a:pt x="0" y="111"/>
                        </a:lnTo>
                        <a:lnTo>
                          <a:pt x="2" y="126"/>
                        </a:lnTo>
                        <a:lnTo>
                          <a:pt x="4" y="141"/>
                        </a:lnTo>
                        <a:lnTo>
                          <a:pt x="10" y="156"/>
                        </a:lnTo>
                        <a:lnTo>
                          <a:pt x="16" y="169"/>
                        </a:lnTo>
                        <a:lnTo>
                          <a:pt x="25" y="181"/>
                        </a:lnTo>
                        <a:lnTo>
                          <a:pt x="35" y="192"/>
                        </a:lnTo>
                        <a:lnTo>
                          <a:pt x="46" y="201"/>
                        </a:lnTo>
                        <a:lnTo>
                          <a:pt x="59" y="209"/>
                        </a:lnTo>
                        <a:lnTo>
                          <a:pt x="59" y="248"/>
                        </a:lnTo>
                        <a:lnTo>
                          <a:pt x="59" y="248"/>
                        </a:lnTo>
                        <a:lnTo>
                          <a:pt x="61" y="251"/>
                        </a:lnTo>
                        <a:lnTo>
                          <a:pt x="63" y="252"/>
                        </a:lnTo>
                        <a:lnTo>
                          <a:pt x="162" y="252"/>
                        </a:lnTo>
                        <a:lnTo>
                          <a:pt x="162" y="252"/>
                        </a:lnTo>
                        <a:lnTo>
                          <a:pt x="164" y="251"/>
                        </a:lnTo>
                        <a:lnTo>
                          <a:pt x="167" y="248"/>
                        </a:lnTo>
                        <a:lnTo>
                          <a:pt x="167" y="209"/>
                        </a:lnTo>
                        <a:lnTo>
                          <a:pt x="167" y="209"/>
                        </a:lnTo>
                        <a:lnTo>
                          <a:pt x="179" y="201"/>
                        </a:lnTo>
                        <a:lnTo>
                          <a:pt x="191" y="192"/>
                        </a:lnTo>
                        <a:lnTo>
                          <a:pt x="200" y="181"/>
                        </a:lnTo>
                        <a:lnTo>
                          <a:pt x="209" y="169"/>
                        </a:lnTo>
                        <a:lnTo>
                          <a:pt x="215" y="156"/>
                        </a:lnTo>
                        <a:lnTo>
                          <a:pt x="221" y="141"/>
                        </a:lnTo>
                        <a:lnTo>
                          <a:pt x="223" y="126"/>
                        </a:lnTo>
                        <a:lnTo>
                          <a:pt x="225" y="111"/>
                        </a:lnTo>
                        <a:lnTo>
                          <a:pt x="225" y="111"/>
                        </a:lnTo>
                        <a:lnTo>
                          <a:pt x="225" y="101"/>
                        </a:lnTo>
                        <a:lnTo>
                          <a:pt x="222" y="89"/>
                        </a:lnTo>
                        <a:lnTo>
                          <a:pt x="219" y="78"/>
                        </a:lnTo>
                        <a:lnTo>
                          <a:pt x="215" y="68"/>
                        </a:lnTo>
                        <a:lnTo>
                          <a:pt x="211" y="58"/>
                        </a:lnTo>
                        <a:lnTo>
                          <a:pt x="206" y="48"/>
                        </a:lnTo>
                        <a:lnTo>
                          <a:pt x="199" y="40"/>
                        </a:lnTo>
                        <a:lnTo>
                          <a:pt x="192" y="32"/>
                        </a:lnTo>
                        <a:lnTo>
                          <a:pt x="184" y="25"/>
                        </a:lnTo>
                        <a:lnTo>
                          <a:pt x="175" y="19"/>
                        </a:lnTo>
                        <a:lnTo>
                          <a:pt x="166" y="13"/>
                        </a:lnTo>
                        <a:lnTo>
                          <a:pt x="156" y="8"/>
                        </a:lnTo>
                        <a:lnTo>
                          <a:pt x="145" y="4"/>
                        </a:lnTo>
                        <a:lnTo>
                          <a:pt x="135" y="1"/>
                        </a:lnTo>
                        <a:lnTo>
                          <a:pt x="124" y="0"/>
                        </a:lnTo>
                        <a:lnTo>
                          <a:pt x="113" y="0"/>
                        </a:lnTo>
                        <a:lnTo>
                          <a:pt x="113" y="0"/>
                        </a:lnTo>
                        <a:close/>
                        <a:moveTo>
                          <a:pt x="167" y="136"/>
                        </a:moveTo>
                        <a:lnTo>
                          <a:pt x="132" y="172"/>
                        </a:lnTo>
                        <a:lnTo>
                          <a:pt x="112" y="152"/>
                        </a:lnTo>
                        <a:lnTo>
                          <a:pt x="93" y="172"/>
                        </a:lnTo>
                        <a:lnTo>
                          <a:pt x="58" y="136"/>
                        </a:lnTo>
                        <a:lnTo>
                          <a:pt x="58" y="136"/>
                        </a:lnTo>
                        <a:lnTo>
                          <a:pt x="55" y="133"/>
                        </a:lnTo>
                        <a:lnTo>
                          <a:pt x="55" y="130"/>
                        </a:lnTo>
                        <a:lnTo>
                          <a:pt x="55" y="128"/>
                        </a:lnTo>
                        <a:lnTo>
                          <a:pt x="58" y="125"/>
                        </a:lnTo>
                        <a:lnTo>
                          <a:pt x="58" y="125"/>
                        </a:lnTo>
                        <a:lnTo>
                          <a:pt x="61" y="122"/>
                        </a:lnTo>
                        <a:lnTo>
                          <a:pt x="63" y="122"/>
                        </a:lnTo>
                        <a:lnTo>
                          <a:pt x="66" y="122"/>
                        </a:lnTo>
                        <a:lnTo>
                          <a:pt x="69" y="125"/>
                        </a:lnTo>
                        <a:lnTo>
                          <a:pt x="93" y="149"/>
                        </a:lnTo>
                        <a:lnTo>
                          <a:pt x="106" y="136"/>
                        </a:lnTo>
                        <a:lnTo>
                          <a:pt x="106" y="136"/>
                        </a:lnTo>
                        <a:lnTo>
                          <a:pt x="109" y="134"/>
                        </a:lnTo>
                        <a:lnTo>
                          <a:pt x="112" y="133"/>
                        </a:lnTo>
                        <a:lnTo>
                          <a:pt x="112" y="133"/>
                        </a:lnTo>
                        <a:lnTo>
                          <a:pt x="116" y="134"/>
                        </a:lnTo>
                        <a:lnTo>
                          <a:pt x="119" y="136"/>
                        </a:lnTo>
                        <a:lnTo>
                          <a:pt x="132" y="149"/>
                        </a:lnTo>
                        <a:lnTo>
                          <a:pt x="156" y="125"/>
                        </a:lnTo>
                        <a:lnTo>
                          <a:pt x="156" y="125"/>
                        </a:lnTo>
                        <a:lnTo>
                          <a:pt x="159" y="122"/>
                        </a:lnTo>
                        <a:lnTo>
                          <a:pt x="162" y="122"/>
                        </a:lnTo>
                        <a:lnTo>
                          <a:pt x="164" y="122"/>
                        </a:lnTo>
                        <a:lnTo>
                          <a:pt x="167" y="125"/>
                        </a:lnTo>
                        <a:lnTo>
                          <a:pt x="167" y="125"/>
                        </a:lnTo>
                        <a:lnTo>
                          <a:pt x="168" y="128"/>
                        </a:lnTo>
                        <a:lnTo>
                          <a:pt x="170" y="130"/>
                        </a:lnTo>
                        <a:lnTo>
                          <a:pt x="168" y="133"/>
                        </a:lnTo>
                        <a:lnTo>
                          <a:pt x="167" y="136"/>
                        </a:lnTo>
                        <a:lnTo>
                          <a:pt x="167"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116" name="Freeform 37">
                  <a:extLst>
                    <a:ext uri="{FF2B5EF4-FFF2-40B4-BE49-F238E27FC236}">
                      <a16:creationId xmlns:a16="http://schemas.microsoft.com/office/drawing/2014/main" id="{9B2B8A1B-53BF-4673-89DB-0DD172F37104}"/>
                    </a:ext>
                  </a:extLst>
                </p:cNvPr>
                <p:cNvSpPr>
                  <a:spLocks noEditPoints="1"/>
                </p:cNvSpPr>
                <p:nvPr/>
              </p:nvSpPr>
              <p:spPr bwMode="auto">
                <a:xfrm>
                  <a:off x="914400" y="2150639"/>
                  <a:ext cx="437429" cy="418902"/>
                </a:xfrm>
                <a:custGeom>
                  <a:avLst/>
                  <a:gdLst>
                    <a:gd name="T0" fmla="*/ 312 w 657"/>
                    <a:gd name="T1" fmla="*/ 657 h 657"/>
                    <a:gd name="T2" fmla="*/ 262 w 657"/>
                    <a:gd name="T3" fmla="*/ 650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9 h 657"/>
                    <a:gd name="T16" fmla="*/ 1 w 657"/>
                    <a:gd name="T17" fmla="*/ 296 h 657"/>
                    <a:gd name="T18" fmla="*/ 11 w 657"/>
                    <a:gd name="T19" fmla="*/ 246 h 657"/>
                    <a:gd name="T20" fmla="*/ 39 w 657"/>
                    <a:gd name="T21" fmla="*/ 172 h 657"/>
                    <a:gd name="T22" fmla="*/ 97 w 657"/>
                    <a:gd name="T23" fmla="*/ 97 h 657"/>
                    <a:gd name="T24" fmla="*/ 172 w 657"/>
                    <a:gd name="T25" fmla="*/ 39 h 657"/>
                    <a:gd name="T26" fmla="*/ 247 w 657"/>
                    <a:gd name="T27" fmla="*/ 10 h 657"/>
                    <a:gd name="T28" fmla="*/ 296 w 657"/>
                    <a:gd name="T29" fmla="*/ 2 h 657"/>
                    <a:gd name="T30" fmla="*/ 329 w 657"/>
                    <a:gd name="T31" fmla="*/ 0 h 657"/>
                    <a:gd name="T32" fmla="*/ 379 w 657"/>
                    <a:gd name="T33" fmla="*/ 4 h 657"/>
                    <a:gd name="T34" fmla="*/ 426 w 657"/>
                    <a:gd name="T35" fmla="*/ 15 h 657"/>
                    <a:gd name="T36" fmla="*/ 512 w 657"/>
                    <a:gd name="T37" fmla="*/ 57 h 657"/>
                    <a:gd name="T38" fmla="*/ 582 w 657"/>
                    <a:gd name="T39" fmla="*/ 120 h 657"/>
                    <a:gd name="T40" fmla="*/ 631 w 657"/>
                    <a:gd name="T41" fmla="*/ 200 h 657"/>
                    <a:gd name="T42" fmla="*/ 650 w 657"/>
                    <a:gd name="T43" fmla="*/ 262 h 657"/>
                    <a:gd name="T44" fmla="*/ 657 w 657"/>
                    <a:gd name="T45" fmla="*/ 312 h 657"/>
                    <a:gd name="T46" fmla="*/ 657 w 657"/>
                    <a:gd name="T47" fmla="*/ 346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9 w 657"/>
                    <a:gd name="T59" fmla="*/ 653 h 657"/>
                    <a:gd name="T60" fmla="*/ 329 w 657"/>
                    <a:gd name="T61" fmla="*/ 657 h 657"/>
                    <a:gd name="T62" fmla="*/ 329 w 657"/>
                    <a:gd name="T63" fmla="*/ 38 h 657"/>
                    <a:gd name="T64" fmla="*/ 242 w 657"/>
                    <a:gd name="T65" fmla="*/ 51 h 657"/>
                    <a:gd name="T66" fmla="*/ 165 w 657"/>
                    <a:gd name="T67" fmla="*/ 88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5 w 657"/>
                    <a:gd name="T81" fmla="*/ 570 h 657"/>
                    <a:gd name="T82" fmla="*/ 242 w 657"/>
                    <a:gd name="T83" fmla="*/ 607 h 657"/>
                    <a:gd name="T84" fmla="*/ 329 w 657"/>
                    <a:gd name="T85" fmla="*/ 620 h 657"/>
                    <a:gd name="T86" fmla="*/ 387 w 657"/>
                    <a:gd name="T87" fmla="*/ 614 h 657"/>
                    <a:gd name="T88" fmla="*/ 468 w 657"/>
                    <a:gd name="T89" fmla="*/ 585 h 657"/>
                    <a:gd name="T90" fmla="*/ 535 w 657"/>
                    <a:gd name="T91" fmla="*/ 535 h 657"/>
                    <a:gd name="T92" fmla="*/ 584 w 657"/>
                    <a:gd name="T93" fmla="*/ 468 h 657"/>
                    <a:gd name="T94" fmla="*/ 614 w 657"/>
                    <a:gd name="T95" fmla="*/ 387 h 657"/>
                    <a:gd name="T96" fmla="*/ 619 w 657"/>
                    <a:gd name="T97" fmla="*/ 329 h 657"/>
                    <a:gd name="T98" fmla="*/ 607 w 657"/>
                    <a:gd name="T99" fmla="*/ 242 h 657"/>
                    <a:gd name="T100" fmla="*/ 570 w 657"/>
                    <a:gd name="T101" fmla="*/ 166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6"/>
                      </a:lnTo>
                      <a:lnTo>
                        <a:pt x="278" y="653"/>
                      </a:lnTo>
                      <a:lnTo>
                        <a:pt x="262" y="650"/>
                      </a:lnTo>
                      <a:lnTo>
                        <a:pt x="247" y="648"/>
                      </a:lnTo>
                      <a:lnTo>
                        <a:pt x="231" y="642"/>
                      </a:lnTo>
                      <a:lnTo>
                        <a:pt x="200" y="632"/>
                      </a:lnTo>
                      <a:lnTo>
                        <a:pt x="172" y="618"/>
                      </a:lnTo>
                      <a:lnTo>
                        <a:pt x="145" y="601"/>
                      </a:lnTo>
                      <a:lnTo>
                        <a:pt x="120" y="582"/>
                      </a:lnTo>
                      <a:lnTo>
                        <a:pt x="97" y="562"/>
                      </a:lnTo>
                      <a:lnTo>
                        <a:pt x="75" y="538"/>
                      </a:lnTo>
                      <a:lnTo>
                        <a:pt x="57" y="512"/>
                      </a:lnTo>
                      <a:lnTo>
                        <a:pt x="39" y="485"/>
                      </a:lnTo>
                      <a:lnTo>
                        <a:pt x="26" y="457"/>
                      </a:lnTo>
                      <a:lnTo>
                        <a:pt x="15" y="426"/>
                      </a:lnTo>
                      <a:lnTo>
                        <a:pt x="11" y="411"/>
                      </a:lnTo>
                      <a:lnTo>
                        <a:pt x="7" y="395"/>
                      </a:lnTo>
                      <a:lnTo>
                        <a:pt x="4" y="379"/>
                      </a:lnTo>
                      <a:lnTo>
                        <a:pt x="1" y="362"/>
                      </a:lnTo>
                      <a:lnTo>
                        <a:pt x="0" y="346"/>
                      </a:lnTo>
                      <a:lnTo>
                        <a:pt x="0" y="329"/>
                      </a:lnTo>
                      <a:lnTo>
                        <a:pt x="0" y="329"/>
                      </a:lnTo>
                      <a:lnTo>
                        <a:pt x="0" y="312"/>
                      </a:lnTo>
                      <a:lnTo>
                        <a:pt x="1" y="296"/>
                      </a:lnTo>
                      <a:lnTo>
                        <a:pt x="4" y="278"/>
                      </a:lnTo>
                      <a:lnTo>
                        <a:pt x="7" y="262"/>
                      </a:lnTo>
                      <a:lnTo>
                        <a:pt x="11" y="246"/>
                      </a:lnTo>
                      <a:lnTo>
                        <a:pt x="15" y="231"/>
                      </a:lnTo>
                      <a:lnTo>
                        <a:pt x="26" y="200"/>
                      </a:lnTo>
                      <a:lnTo>
                        <a:pt x="39" y="172"/>
                      </a:lnTo>
                      <a:lnTo>
                        <a:pt x="57" y="145"/>
                      </a:lnTo>
                      <a:lnTo>
                        <a:pt x="75" y="120"/>
                      </a:lnTo>
                      <a:lnTo>
                        <a:pt x="97" y="97"/>
                      </a:lnTo>
                      <a:lnTo>
                        <a:pt x="120" y="76"/>
                      </a:lnTo>
                      <a:lnTo>
                        <a:pt x="145" y="57"/>
                      </a:lnTo>
                      <a:lnTo>
                        <a:pt x="172" y="39"/>
                      </a:lnTo>
                      <a:lnTo>
                        <a:pt x="200" y="26"/>
                      </a:lnTo>
                      <a:lnTo>
                        <a:pt x="231" y="15"/>
                      </a:lnTo>
                      <a:lnTo>
                        <a:pt x="247" y="10"/>
                      </a:lnTo>
                      <a:lnTo>
                        <a:pt x="262" y="7"/>
                      </a:lnTo>
                      <a:lnTo>
                        <a:pt x="278" y="4"/>
                      </a:lnTo>
                      <a:lnTo>
                        <a:pt x="296" y="2"/>
                      </a:lnTo>
                      <a:lnTo>
                        <a:pt x="312" y="0"/>
                      </a:lnTo>
                      <a:lnTo>
                        <a:pt x="329" y="0"/>
                      </a:lnTo>
                      <a:lnTo>
                        <a:pt x="329" y="0"/>
                      </a:lnTo>
                      <a:lnTo>
                        <a:pt x="345" y="0"/>
                      </a:lnTo>
                      <a:lnTo>
                        <a:pt x="363" y="2"/>
                      </a:lnTo>
                      <a:lnTo>
                        <a:pt x="379" y="4"/>
                      </a:lnTo>
                      <a:lnTo>
                        <a:pt x="395" y="7"/>
                      </a:lnTo>
                      <a:lnTo>
                        <a:pt x="411" y="10"/>
                      </a:lnTo>
                      <a:lnTo>
                        <a:pt x="426" y="15"/>
                      </a:lnTo>
                      <a:lnTo>
                        <a:pt x="457" y="26"/>
                      </a:lnTo>
                      <a:lnTo>
                        <a:pt x="485" y="39"/>
                      </a:lnTo>
                      <a:lnTo>
                        <a:pt x="512" y="57"/>
                      </a:lnTo>
                      <a:lnTo>
                        <a:pt x="537" y="76"/>
                      </a:lnTo>
                      <a:lnTo>
                        <a:pt x="562" y="97"/>
                      </a:lnTo>
                      <a:lnTo>
                        <a:pt x="582" y="120"/>
                      </a:lnTo>
                      <a:lnTo>
                        <a:pt x="602" y="145"/>
                      </a:lnTo>
                      <a:lnTo>
                        <a:pt x="618" y="172"/>
                      </a:lnTo>
                      <a:lnTo>
                        <a:pt x="631" y="200"/>
                      </a:lnTo>
                      <a:lnTo>
                        <a:pt x="642" y="231"/>
                      </a:lnTo>
                      <a:lnTo>
                        <a:pt x="648" y="246"/>
                      </a:lnTo>
                      <a:lnTo>
                        <a:pt x="650" y="262"/>
                      </a:lnTo>
                      <a:lnTo>
                        <a:pt x="654" y="278"/>
                      </a:lnTo>
                      <a:lnTo>
                        <a:pt x="656" y="296"/>
                      </a:lnTo>
                      <a:lnTo>
                        <a:pt x="657" y="312"/>
                      </a:lnTo>
                      <a:lnTo>
                        <a:pt x="657" y="329"/>
                      </a:lnTo>
                      <a:lnTo>
                        <a:pt x="657" y="329"/>
                      </a:lnTo>
                      <a:lnTo>
                        <a:pt x="657" y="346"/>
                      </a:lnTo>
                      <a:lnTo>
                        <a:pt x="656" y="362"/>
                      </a:lnTo>
                      <a:lnTo>
                        <a:pt x="654" y="379"/>
                      </a:lnTo>
                      <a:lnTo>
                        <a:pt x="650" y="395"/>
                      </a:lnTo>
                      <a:lnTo>
                        <a:pt x="648" y="411"/>
                      </a:lnTo>
                      <a:lnTo>
                        <a:pt x="642" y="426"/>
                      </a:lnTo>
                      <a:lnTo>
                        <a:pt x="631" y="457"/>
                      </a:lnTo>
                      <a:lnTo>
                        <a:pt x="618" y="485"/>
                      </a:lnTo>
                      <a:lnTo>
                        <a:pt x="602" y="512"/>
                      </a:lnTo>
                      <a:lnTo>
                        <a:pt x="582" y="538"/>
                      </a:lnTo>
                      <a:lnTo>
                        <a:pt x="562" y="562"/>
                      </a:lnTo>
                      <a:lnTo>
                        <a:pt x="537" y="582"/>
                      </a:lnTo>
                      <a:lnTo>
                        <a:pt x="512" y="601"/>
                      </a:lnTo>
                      <a:lnTo>
                        <a:pt x="485" y="618"/>
                      </a:lnTo>
                      <a:lnTo>
                        <a:pt x="457" y="632"/>
                      </a:lnTo>
                      <a:lnTo>
                        <a:pt x="426" y="642"/>
                      </a:lnTo>
                      <a:lnTo>
                        <a:pt x="411" y="648"/>
                      </a:lnTo>
                      <a:lnTo>
                        <a:pt x="395" y="650"/>
                      </a:lnTo>
                      <a:lnTo>
                        <a:pt x="379" y="653"/>
                      </a:lnTo>
                      <a:lnTo>
                        <a:pt x="363" y="656"/>
                      </a:lnTo>
                      <a:lnTo>
                        <a:pt x="345" y="657"/>
                      </a:lnTo>
                      <a:lnTo>
                        <a:pt x="329" y="657"/>
                      </a:lnTo>
                      <a:lnTo>
                        <a:pt x="329" y="657"/>
                      </a:lnTo>
                      <a:close/>
                      <a:moveTo>
                        <a:pt x="329" y="38"/>
                      </a:moveTo>
                      <a:lnTo>
                        <a:pt x="329" y="38"/>
                      </a:lnTo>
                      <a:lnTo>
                        <a:pt x="298" y="39"/>
                      </a:lnTo>
                      <a:lnTo>
                        <a:pt x="270" y="43"/>
                      </a:lnTo>
                      <a:lnTo>
                        <a:pt x="242" y="51"/>
                      </a:lnTo>
                      <a:lnTo>
                        <a:pt x="215" y="61"/>
                      </a:lnTo>
                      <a:lnTo>
                        <a:pt x="189" y="73"/>
                      </a:lnTo>
                      <a:lnTo>
                        <a:pt x="165" y="88"/>
                      </a:lnTo>
                      <a:lnTo>
                        <a:pt x="144" y="104"/>
                      </a:lnTo>
                      <a:lnTo>
                        <a:pt x="122" y="123"/>
                      </a:lnTo>
                      <a:lnTo>
                        <a:pt x="104" y="144"/>
                      </a:lnTo>
                      <a:lnTo>
                        <a:pt x="87" y="166"/>
                      </a:lnTo>
                      <a:lnTo>
                        <a:pt x="73" y="190"/>
                      </a:lnTo>
                      <a:lnTo>
                        <a:pt x="61" y="215"/>
                      </a:lnTo>
                      <a:lnTo>
                        <a:pt x="51" y="242"/>
                      </a:lnTo>
                      <a:lnTo>
                        <a:pt x="43" y="270"/>
                      </a:lnTo>
                      <a:lnTo>
                        <a:pt x="39" y="298"/>
                      </a:lnTo>
                      <a:lnTo>
                        <a:pt x="38" y="329"/>
                      </a:lnTo>
                      <a:lnTo>
                        <a:pt x="38" y="329"/>
                      </a:lnTo>
                      <a:lnTo>
                        <a:pt x="39" y="359"/>
                      </a:lnTo>
                      <a:lnTo>
                        <a:pt x="43" y="387"/>
                      </a:lnTo>
                      <a:lnTo>
                        <a:pt x="51" y="415"/>
                      </a:lnTo>
                      <a:lnTo>
                        <a:pt x="61" y="442"/>
                      </a:lnTo>
                      <a:lnTo>
                        <a:pt x="73" y="468"/>
                      </a:lnTo>
                      <a:lnTo>
                        <a:pt x="87" y="492"/>
                      </a:lnTo>
                      <a:lnTo>
                        <a:pt x="104" y="513"/>
                      </a:lnTo>
                      <a:lnTo>
                        <a:pt x="122" y="535"/>
                      </a:lnTo>
                      <a:lnTo>
                        <a:pt x="144" y="554"/>
                      </a:lnTo>
                      <a:lnTo>
                        <a:pt x="165" y="570"/>
                      </a:lnTo>
                      <a:lnTo>
                        <a:pt x="189" y="585"/>
                      </a:lnTo>
                      <a:lnTo>
                        <a:pt x="215" y="597"/>
                      </a:lnTo>
                      <a:lnTo>
                        <a:pt x="242" y="607"/>
                      </a:lnTo>
                      <a:lnTo>
                        <a:pt x="270" y="614"/>
                      </a:lnTo>
                      <a:lnTo>
                        <a:pt x="298" y="618"/>
                      </a:lnTo>
                      <a:lnTo>
                        <a:pt x="329" y="620"/>
                      </a:lnTo>
                      <a:lnTo>
                        <a:pt x="329" y="620"/>
                      </a:lnTo>
                      <a:lnTo>
                        <a:pt x="359" y="618"/>
                      </a:lnTo>
                      <a:lnTo>
                        <a:pt x="387" y="614"/>
                      </a:lnTo>
                      <a:lnTo>
                        <a:pt x="415" y="607"/>
                      </a:lnTo>
                      <a:lnTo>
                        <a:pt x="442" y="597"/>
                      </a:lnTo>
                      <a:lnTo>
                        <a:pt x="468" y="585"/>
                      </a:lnTo>
                      <a:lnTo>
                        <a:pt x="492" y="570"/>
                      </a:lnTo>
                      <a:lnTo>
                        <a:pt x="513" y="554"/>
                      </a:lnTo>
                      <a:lnTo>
                        <a:pt x="535" y="535"/>
                      </a:lnTo>
                      <a:lnTo>
                        <a:pt x="553" y="513"/>
                      </a:lnTo>
                      <a:lnTo>
                        <a:pt x="570" y="492"/>
                      </a:lnTo>
                      <a:lnTo>
                        <a:pt x="584" y="468"/>
                      </a:lnTo>
                      <a:lnTo>
                        <a:pt x="596" y="442"/>
                      </a:lnTo>
                      <a:lnTo>
                        <a:pt x="607" y="415"/>
                      </a:lnTo>
                      <a:lnTo>
                        <a:pt x="614" y="387"/>
                      </a:lnTo>
                      <a:lnTo>
                        <a:pt x="618" y="359"/>
                      </a:lnTo>
                      <a:lnTo>
                        <a:pt x="619" y="329"/>
                      </a:lnTo>
                      <a:lnTo>
                        <a:pt x="619" y="329"/>
                      </a:lnTo>
                      <a:lnTo>
                        <a:pt x="618" y="298"/>
                      </a:lnTo>
                      <a:lnTo>
                        <a:pt x="614" y="270"/>
                      </a:lnTo>
                      <a:lnTo>
                        <a:pt x="607" y="242"/>
                      </a:lnTo>
                      <a:lnTo>
                        <a:pt x="596" y="215"/>
                      </a:lnTo>
                      <a:lnTo>
                        <a:pt x="584" y="190"/>
                      </a:lnTo>
                      <a:lnTo>
                        <a:pt x="570" y="166"/>
                      </a:lnTo>
                      <a:lnTo>
                        <a:pt x="553" y="144"/>
                      </a:lnTo>
                      <a:lnTo>
                        <a:pt x="535" y="123"/>
                      </a:lnTo>
                      <a:lnTo>
                        <a:pt x="513" y="104"/>
                      </a:lnTo>
                      <a:lnTo>
                        <a:pt x="492" y="88"/>
                      </a:lnTo>
                      <a:lnTo>
                        <a:pt x="468" y="73"/>
                      </a:lnTo>
                      <a:lnTo>
                        <a:pt x="442" y="61"/>
                      </a:lnTo>
                      <a:lnTo>
                        <a:pt x="415" y="51"/>
                      </a:lnTo>
                      <a:lnTo>
                        <a:pt x="387" y="43"/>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79" name="Group 78">
              <a:extLst>
                <a:ext uri="{FF2B5EF4-FFF2-40B4-BE49-F238E27FC236}">
                  <a16:creationId xmlns:a16="http://schemas.microsoft.com/office/drawing/2014/main" id="{BA54376E-E7AA-416E-A490-79055619EC6E}"/>
                </a:ext>
              </a:extLst>
            </p:cNvPr>
            <p:cNvGrpSpPr/>
            <p:nvPr/>
          </p:nvGrpSpPr>
          <p:grpSpPr>
            <a:xfrm>
              <a:off x="1775365" y="2829129"/>
              <a:ext cx="307857" cy="1229623"/>
              <a:chOff x="2334396" y="2590104"/>
              <a:chExt cx="295205" cy="1229623"/>
            </a:xfrm>
          </p:grpSpPr>
          <p:grpSp>
            <p:nvGrpSpPr>
              <p:cNvPr id="99" name="Group 98">
                <a:extLst>
                  <a:ext uri="{FF2B5EF4-FFF2-40B4-BE49-F238E27FC236}">
                    <a16:creationId xmlns:a16="http://schemas.microsoft.com/office/drawing/2014/main" id="{03FA822D-437D-4237-9EFF-6BE0396CFE59}"/>
                  </a:ext>
                </a:extLst>
              </p:cNvPr>
              <p:cNvGrpSpPr/>
              <p:nvPr/>
            </p:nvGrpSpPr>
            <p:grpSpPr>
              <a:xfrm>
                <a:off x="2334396" y="2590104"/>
                <a:ext cx="286077" cy="273961"/>
                <a:chOff x="2674744" y="4180622"/>
                <a:chExt cx="437429" cy="418902"/>
              </a:xfrm>
              <a:solidFill>
                <a:schemeClr val="bg1">
                  <a:lumMod val="85000"/>
                </a:schemeClr>
              </a:solidFill>
            </p:grpSpPr>
            <p:sp>
              <p:nvSpPr>
                <p:cNvPr id="109" name="Freeform 37">
                  <a:extLst>
                    <a:ext uri="{FF2B5EF4-FFF2-40B4-BE49-F238E27FC236}">
                      <a16:creationId xmlns:a16="http://schemas.microsoft.com/office/drawing/2014/main" id="{B842DEDB-836F-413D-82F7-4CA3E258BD0F}"/>
                    </a:ext>
                  </a:extLst>
                </p:cNvPr>
                <p:cNvSpPr>
                  <a:spLocks noEditPoints="1"/>
                </p:cNvSpPr>
                <p:nvPr/>
              </p:nvSpPr>
              <p:spPr bwMode="auto">
                <a:xfrm>
                  <a:off x="2674744" y="4180622"/>
                  <a:ext cx="437429" cy="418902"/>
                </a:xfrm>
                <a:custGeom>
                  <a:avLst/>
                  <a:gdLst>
                    <a:gd name="T0" fmla="*/ 312 w 657"/>
                    <a:gd name="T1" fmla="*/ 657 h 657"/>
                    <a:gd name="T2" fmla="*/ 262 w 657"/>
                    <a:gd name="T3" fmla="*/ 650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9 h 657"/>
                    <a:gd name="T16" fmla="*/ 1 w 657"/>
                    <a:gd name="T17" fmla="*/ 296 h 657"/>
                    <a:gd name="T18" fmla="*/ 11 w 657"/>
                    <a:gd name="T19" fmla="*/ 246 h 657"/>
                    <a:gd name="T20" fmla="*/ 39 w 657"/>
                    <a:gd name="T21" fmla="*/ 172 h 657"/>
                    <a:gd name="T22" fmla="*/ 97 w 657"/>
                    <a:gd name="T23" fmla="*/ 97 h 657"/>
                    <a:gd name="T24" fmla="*/ 172 w 657"/>
                    <a:gd name="T25" fmla="*/ 39 h 657"/>
                    <a:gd name="T26" fmla="*/ 247 w 657"/>
                    <a:gd name="T27" fmla="*/ 10 h 657"/>
                    <a:gd name="T28" fmla="*/ 296 w 657"/>
                    <a:gd name="T29" fmla="*/ 2 h 657"/>
                    <a:gd name="T30" fmla="*/ 329 w 657"/>
                    <a:gd name="T31" fmla="*/ 0 h 657"/>
                    <a:gd name="T32" fmla="*/ 379 w 657"/>
                    <a:gd name="T33" fmla="*/ 4 h 657"/>
                    <a:gd name="T34" fmla="*/ 426 w 657"/>
                    <a:gd name="T35" fmla="*/ 15 h 657"/>
                    <a:gd name="T36" fmla="*/ 512 w 657"/>
                    <a:gd name="T37" fmla="*/ 57 h 657"/>
                    <a:gd name="T38" fmla="*/ 582 w 657"/>
                    <a:gd name="T39" fmla="*/ 120 h 657"/>
                    <a:gd name="T40" fmla="*/ 631 w 657"/>
                    <a:gd name="T41" fmla="*/ 200 h 657"/>
                    <a:gd name="T42" fmla="*/ 650 w 657"/>
                    <a:gd name="T43" fmla="*/ 262 h 657"/>
                    <a:gd name="T44" fmla="*/ 657 w 657"/>
                    <a:gd name="T45" fmla="*/ 312 h 657"/>
                    <a:gd name="T46" fmla="*/ 657 w 657"/>
                    <a:gd name="T47" fmla="*/ 346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9 w 657"/>
                    <a:gd name="T59" fmla="*/ 653 h 657"/>
                    <a:gd name="T60" fmla="*/ 329 w 657"/>
                    <a:gd name="T61" fmla="*/ 657 h 657"/>
                    <a:gd name="T62" fmla="*/ 329 w 657"/>
                    <a:gd name="T63" fmla="*/ 38 h 657"/>
                    <a:gd name="T64" fmla="*/ 242 w 657"/>
                    <a:gd name="T65" fmla="*/ 51 h 657"/>
                    <a:gd name="T66" fmla="*/ 165 w 657"/>
                    <a:gd name="T67" fmla="*/ 88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5 w 657"/>
                    <a:gd name="T81" fmla="*/ 570 h 657"/>
                    <a:gd name="T82" fmla="*/ 242 w 657"/>
                    <a:gd name="T83" fmla="*/ 607 h 657"/>
                    <a:gd name="T84" fmla="*/ 329 w 657"/>
                    <a:gd name="T85" fmla="*/ 620 h 657"/>
                    <a:gd name="T86" fmla="*/ 387 w 657"/>
                    <a:gd name="T87" fmla="*/ 614 h 657"/>
                    <a:gd name="T88" fmla="*/ 468 w 657"/>
                    <a:gd name="T89" fmla="*/ 585 h 657"/>
                    <a:gd name="T90" fmla="*/ 535 w 657"/>
                    <a:gd name="T91" fmla="*/ 535 h 657"/>
                    <a:gd name="T92" fmla="*/ 584 w 657"/>
                    <a:gd name="T93" fmla="*/ 468 h 657"/>
                    <a:gd name="T94" fmla="*/ 614 w 657"/>
                    <a:gd name="T95" fmla="*/ 387 h 657"/>
                    <a:gd name="T96" fmla="*/ 619 w 657"/>
                    <a:gd name="T97" fmla="*/ 329 h 657"/>
                    <a:gd name="T98" fmla="*/ 607 w 657"/>
                    <a:gd name="T99" fmla="*/ 242 h 657"/>
                    <a:gd name="T100" fmla="*/ 570 w 657"/>
                    <a:gd name="T101" fmla="*/ 166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6"/>
                      </a:lnTo>
                      <a:lnTo>
                        <a:pt x="278" y="653"/>
                      </a:lnTo>
                      <a:lnTo>
                        <a:pt x="262" y="650"/>
                      </a:lnTo>
                      <a:lnTo>
                        <a:pt x="247" y="648"/>
                      </a:lnTo>
                      <a:lnTo>
                        <a:pt x="231" y="642"/>
                      </a:lnTo>
                      <a:lnTo>
                        <a:pt x="200" y="632"/>
                      </a:lnTo>
                      <a:lnTo>
                        <a:pt x="172" y="618"/>
                      </a:lnTo>
                      <a:lnTo>
                        <a:pt x="145" y="601"/>
                      </a:lnTo>
                      <a:lnTo>
                        <a:pt x="120" y="582"/>
                      </a:lnTo>
                      <a:lnTo>
                        <a:pt x="97" y="562"/>
                      </a:lnTo>
                      <a:lnTo>
                        <a:pt x="75" y="538"/>
                      </a:lnTo>
                      <a:lnTo>
                        <a:pt x="57" y="512"/>
                      </a:lnTo>
                      <a:lnTo>
                        <a:pt x="39" y="485"/>
                      </a:lnTo>
                      <a:lnTo>
                        <a:pt x="26" y="457"/>
                      </a:lnTo>
                      <a:lnTo>
                        <a:pt x="15" y="426"/>
                      </a:lnTo>
                      <a:lnTo>
                        <a:pt x="11" y="411"/>
                      </a:lnTo>
                      <a:lnTo>
                        <a:pt x="7" y="395"/>
                      </a:lnTo>
                      <a:lnTo>
                        <a:pt x="4" y="379"/>
                      </a:lnTo>
                      <a:lnTo>
                        <a:pt x="1" y="362"/>
                      </a:lnTo>
                      <a:lnTo>
                        <a:pt x="0" y="346"/>
                      </a:lnTo>
                      <a:lnTo>
                        <a:pt x="0" y="329"/>
                      </a:lnTo>
                      <a:lnTo>
                        <a:pt x="0" y="329"/>
                      </a:lnTo>
                      <a:lnTo>
                        <a:pt x="0" y="312"/>
                      </a:lnTo>
                      <a:lnTo>
                        <a:pt x="1" y="296"/>
                      </a:lnTo>
                      <a:lnTo>
                        <a:pt x="4" y="278"/>
                      </a:lnTo>
                      <a:lnTo>
                        <a:pt x="7" y="262"/>
                      </a:lnTo>
                      <a:lnTo>
                        <a:pt x="11" y="246"/>
                      </a:lnTo>
                      <a:lnTo>
                        <a:pt x="15" y="231"/>
                      </a:lnTo>
                      <a:lnTo>
                        <a:pt x="26" y="200"/>
                      </a:lnTo>
                      <a:lnTo>
                        <a:pt x="39" y="172"/>
                      </a:lnTo>
                      <a:lnTo>
                        <a:pt x="57" y="145"/>
                      </a:lnTo>
                      <a:lnTo>
                        <a:pt x="75" y="120"/>
                      </a:lnTo>
                      <a:lnTo>
                        <a:pt x="97" y="97"/>
                      </a:lnTo>
                      <a:lnTo>
                        <a:pt x="120" y="76"/>
                      </a:lnTo>
                      <a:lnTo>
                        <a:pt x="145" y="57"/>
                      </a:lnTo>
                      <a:lnTo>
                        <a:pt x="172" y="39"/>
                      </a:lnTo>
                      <a:lnTo>
                        <a:pt x="200" y="26"/>
                      </a:lnTo>
                      <a:lnTo>
                        <a:pt x="231" y="15"/>
                      </a:lnTo>
                      <a:lnTo>
                        <a:pt x="247" y="10"/>
                      </a:lnTo>
                      <a:lnTo>
                        <a:pt x="262" y="7"/>
                      </a:lnTo>
                      <a:lnTo>
                        <a:pt x="278" y="4"/>
                      </a:lnTo>
                      <a:lnTo>
                        <a:pt x="296" y="2"/>
                      </a:lnTo>
                      <a:lnTo>
                        <a:pt x="312" y="0"/>
                      </a:lnTo>
                      <a:lnTo>
                        <a:pt x="329" y="0"/>
                      </a:lnTo>
                      <a:lnTo>
                        <a:pt x="329" y="0"/>
                      </a:lnTo>
                      <a:lnTo>
                        <a:pt x="345" y="0"/>
                      </a:lnTo>
                      <a:lnTo>
                        <a:pt x="363" y="2"/>
                      </a:lnTo>
                      <a:lnTo>
                        <a:pt x="379" y="4"/>
                      </a:lnTo>
                      <a:lnTo>
                        <a:pt x="395" y="7"/>
                      </a:lnTo>
                      <a:lnTo>
                        <a:pt x="411" y="10"/>
                      </a:lnTo>
                      <a:lnTo>
                        <a:pt x="426" y="15"/>
                      </a:lnTo>
                      <a:lnTo>
                        <a:pt x="457" y="26"/>
                      </a:lnTo>
                      <a:lnTo>
                        <a:pt x="485" y="39"/>
                      </a:lnTo>
                      <a:lnTo>
                        <a:pt x="512" y="57"/>
                      </a:lnTo>
                      <a:lnTo>
                        <a:pt x="537" y="76"/>
                      </a:lnTo>
                      <a:lnTo>
                        <a:pt x="562" y="97"/>
                      </a:lnTo>
                      <a:lnTo>
                        <a:pt x="582" y="120"/>
                      </a:lnTo>
                      <a:lnTo>
                        <a:pt x="602" y="145"/>
                      </a:lnTo>
                      <a:lnTo>
                        <a:pt x="618" y="172"/>
                      </a:lnTo>
                      <a:lnTo>
                        <a:pt x="631" y="200"/>
                      </a:lnTo>
                      <a:lnTo>
                        <a:pt x="642" y="231"/>
                      </a:lnTo>
                      <a:lnTo>
                        <a:pt x="648" y="246"/>
                      </a:lnTo>
                      <a:lnTo>
                        <a:pt x="650" y="262"/>
                      </a:lnTo>
                      <a:lnTo>
                        <a:pt x="654" y="278"/>
                      </a:lnTo>
                      <a:lnTo>
                        <a:pt x="656" y="296"/>
                      </a:lnTo>
                      <a:lnTo>
                        <a:pt x="657" y="312"/>
                      </a:lnTo>
                      <a:lnTo>
                        <a:pt x="657" y="329"/>
                      </a:lnTo>
                      <a:lnTo>
                        <a:pt x="657" y="329"/>
                      </a:lnTo>
                      <a:lnTo>
                        <a:pt x="657" y="346"/>
                      </a:lnTo>
                      <a:lnTo>
                        <a:pt x="656" y="362"/>
                      </a:lnTo>
                      <a:lnTo>
                        <a:pt x="654" y="379"/>
                      </a:lnTo>
                      <a:lnTo>
                        <a:pt x="650" y="395"/>
                      </a:lnTo>
                      <a:lnTo>
                        <a:pt x="648" y="411"/>
                      </a:lnTo>
                      <a:lnTo>
                        <a:pt x="642" y="426"/>
                      </a:lnTo>
                      <a:lnTo>
                        <a:pt x="631" y="457"/>
                      </a:lnTo>
                      <a:lnTo>
                        <a:pt x="618" y="485"/>
                      </a:lnTo>
                      <a:lnTo>
                        <a:pt x="602" y="512"/>
                      </a:lnTo>
                      <a:lnTo>
                        <a:pt x="582" y="538"/>
                      </a:lnTo>
                      <a:lnTo>
                        <a:pt x="562" y="562"/>
                      </a:lnTo>
                      <a:lnTo>
                        <a:pt x="537" y="582"/>
                      </a:lnTo>
                      <a:lnTo>
                        <a:pt x="512" y="601"/>
                      </a:lnTo>
                      <a:lnTo>
                        <a:pt x="485" y="618"/>
                      </a:lnTo>
                      <a:lnTo>
                        <a:pt x="457" y="632"/>
                      </a:lnTo>
                      <a:lnTo>
                        <a:pt x="426" y="642"/>
                      </a:lnTo>
                      <a:lnTo>
                        <a:pt x="411" y="648"/>
                      </a:lnTo>
                      <a:lnTo>
                        <a:pt x="395" y="650"/>
                      </a:lnTo>
                      <a:lnTo>
                        <a:pt x="379" y="653"/>
                      </a:lnTo>
                      <a:lnTo>
                        <a:pt x="363" y="656"/>
                      </a:lnTo>
                      <a:lnTo>
                        <a:pt x="345" y="657"/>
                      </a:lnTo>
                      <a:lnTo>
                        <a:pt x="329" y="657"/>
                      </a:lnTo>
                      <a:lnTo>
                        <a:pt x="329" y="657"/>
                      </a:lnTo>
                      <a:close/>
                      <a:moveTo>
                        <a:pt x="329" y="38"/>
                      </a:moveTo>
                      <a:lnTo>
                        <a:pt x="329" y="38"/>
                      </a:lnTo>
                      <a:lnTo>
                        <a:pt x="298" y="39"/>
                      </a:lnTo>
                      <a:lnTo>
                        <a:pt x="270" y="43"/>
                      </a:lnTo>
                      <a:lnTo>
                        <a:pt x="242" y="51"/>
                      </a:lnTo>
                      <a:lnTo>
                        <a:pt x="215" y="61"/>
                      </a:lnTo>
                      <a:lnTo>
                        <a:pt x="189" y="73"/>
                      </a:lnTo>
                      <a:lnTo>
                        <a:pt x="165" y="88"/>
                      </a:lnTo>
                      <a:lnTo>
                        <a:pt x="144" y="104"/>
                      </a:lnTo>
                      <a:lnTo>
                        <a:pt x="122" y="123"/>
                      </a:lnTo>
                      <a:lnTo>
                        <a:pt x="104" y="144"/>
                      </a:lnTo>
                      <a:lnTo>
                        <a:pt x="87" y="166"/>
                      </a:lnTo>
                      <a:lnTo>
                        <a:pt x="73" y="190"/>
                      </a:lnTo>
                      <a:lnTo>
                        <a:pt x="61" y="215"/>
                      </a:lnTo>
                      <a:lnTo>
                        <a:pt x="51" y="242"/>
                      </a:lnTo>
                      <a:lnTo>
                        <a:pt x="43" y="270"/>
                      </a:lnTo>
                      <a:lnTo>
                        <a:pt x="39" y="298"/>
                      </a:lnTo>
                      <a:lnTo>
                        <a:pt x="38" y="329"/>
                      </a:lnTo>
                      <a:lnTo>
                        <a:pt x="38" y="329"/>
                      </a:lnTo>
                      <a:lnTo>
                        <a:pt x="39" y="359"/>
                      </a:lnTo>
                      <a:lnTo>
                        <a:pt x="43" y="387"/>
                      </a:lnTo>
                      <a:lnTo>
                        <a:pt x="51" y="415"/>
                      </a:lnTo>
                      <a:lnTo>
                        <a:pt x="61" y="442"/>
                      </a:lnTo>
                      <a:lnTo>
                        <a:pt x="73" y="468"/>
                      </a:lnTo>
                      <a:lnTo>
                        <a:pt x="87" y="492"/>
                      </a:lnTo>
                      <a:lnTo>
                        <a:pt x="104" y="513"/>
                      </a:lnTo>
                      <a:lnTo>
                        <a:pt x="122" y="535"/>
                      </a:lnTo>
                      <a:lnTo>
                        <a:pt x="144" y="554"/>
                      </a:lnTo>
                      <a:lnTo>
                        <a:pt x="165" y="570"/>
                      </a:lnTo>
                      <a:lnTo>
                        <a:pt x="189" y="585"/>
                      </a:lnTo>
                      <a:lnTo>
                        <a:pt x="215" y="597"/>
                      </a:lnTo>
                      <a:lnTo>
                        <a:pt x="242" y="607"/>
                      </a:lnTo>
                      <a:lnTo>
                        <a:pt x="270" y="614"/>
                      </a:lnTo>
                      <a:lnTo>
                        <a:pt x="298" y="618"/>
                      </a:lnTo>
                      <a:lnTo>
                        <a:pt x="329" y="620"/>
                      </a:lnTo>
                      <a:lnTo>
                        <a:pt x="329" y="620"/>
                      </a:lnTo>
                      <a:lnTo>
                        <a:pt x="359" y="618"/>
                      </a:lnTo>
                      <a:lnTo>
                        <a:pt x="387" y="614"/>
                      </a:lnTo>
                      <a:lnTo>
                        <a:pt x="415" y="607"/>
                      </a:lnTo>
                      <a:lnTo>
                        <a:pt x="442" y="597"/>
                      </a:lnTo>
                      <a:lnTo>
                        <a:pt x="468" y="585"/>
                      </a:lnTo>
                      <a:lnTo>
                        <a:pt x="492" y="570"/>
                      </a:lnTo>
                      <a:lnTo>
                        <a:pt x="513" y="554"/>
                      </a:lnTo>
                      <a:lnTo>
                        <a:pt x="535" y="535"/>
                      </a:lnTo>
                      <a:lnTo>
                        <a:pt x="553" y="513"/>
                      </a:lnTo>
                      <a:lnTo>
                        <a:pt x="570" y="492"/>
                      </a:lnTo>
                      <a:lnTo>
                        <a:pt x="584" y="468"/>
                      </a:lnTo>
                      <a:lnTo>
                        <a:pt x="596" y="442"/>
                      </a:lnTo>
                      <a:lnTo>
                        <a:pt x="607" y="415"/>
                      </a:lnTo>
                      <a:lnTo>
                        <a:pt x="614" y="387"/>
                      </a:lnTo>
                      <a:lnTo>
                        <a:pt x="618" y="359"/>
                      </a:lnTo>
                      <a:lnTo>
                        <a:pt x="619" y="329"/>
                      </a:lnTo>
                      <a:lnTo>
                        <a:pt x="619" y="329"/>
                      </a:lnTo>
                      <a:lnTo>
                        <a:pt x="618" y="298"/>
                      </a:lnTo>
                      <a:lnTo>
                        <a:pt x="614" y="270"/>
                      </a:lnTo>
                      <a:lnTo>
                        <a:pt x="607" y="242"/>
                      </a:lnTo>
                      <a:lnTo>
                        <a:pt x="596" y="215"/>
                      </a:lnTo>
                      <a:lnTo>
                        <a:pt x="584" y="190"/>
                      </a:lnTo>
                      <a:lnTo>
                        <a:pt x="570" y="166"/>
                      </a:lnTo>
                      <a:lnTo>
                        <a:pt x="553" y="144"/>
                      </a:lnTo>
                      <a:lnTo>
                        <a:pt x="535" y="123"/>
                      </a:lnTo>
                      <a:lnTo>
                        <a:pt x="513" y="104"/>
                      </a:lnTo>
                      <a:lnTo>
                        <a:pt x="492" y="88"/>
                      </a:lnTo>
                      <a:lnTo>
                        <a:pt x="468" y="73"/>
                      </a:lnTo>
                      <a:lnTo>
                        <a:pt x="442" y="61"/>
                      </a:lnTo>
                      <a:lnTo>
                        <a:pt x="415" y="51"/>
                      </a:lnTo>
                      <a:lnTo>
                        <a:pt x="387" y="43"/>
                      </a:lnTo>
                      <a:lnTo>
                        <a:pt x="359" y="39"/>
                      </a:lnTo>
                      <a:lnTo>
                        <a:pt x="329" y="38"/>
                      </a:lnTo>
                      <a:lnTo>
                        <a:pt x="329"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0" name="Freeform 893">
                  <a:extLst>
                    <a:ext uri="{FF2B5EF4-FFF2-40B4-BE49-F238E27FC236}">
                      <a16:creationId xmlns:a16="http://schemas.microsoft.com/office/drawing/2014/main" id="{AE0466BC-9EBD-4C58-9A20-13407E9F53B9}"/>
                    </a:ext>
                  </a:extLst>
                </p:cNvPr>
                <p:cNvSpPr>
                  <a:spLocks noEditPoints="1"/>
                </p:cNvSpPr>
                <p:nvPr/>
              </p:nvSpPr>
              <p:spPr bwMode="auto">
                <a:xfrm>
                  <a:off x="2781389" y="4278004"/>
                  <a:ext cx="224138" cy="224139"/>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100" name="Group 99">
                <a:extLst>
                  <a:ext uri="{FF2B5EF4-FFF2-40B4-BE49-F238E27FC236}">
                    <a16:creationId xmlns:a16="http://schemas.microsoft.com/office/drawing/2014/main" id="{B9F52E15-D78A-442A-A440-1BD98F3FD00D}"/>
                  </a:ext>
                </a:extLst>
              </p:cNvPr>
              <p:cNvGrpSpPr/>
              <p:nvPr/>
            </p:nvGrpSpPr>
            <p:grpSpPr>
              <a:xfrm>
                <a:off x="2337439" y="2895585"/>
                <a:ext cx="286077" cy="273961"/>
                <a:chOff x="2674744" y="4180622"/>
                <a:chExt cx="437429" cy="418902"/>
              </a:xfrm>
              <a:solidFill>
                <a:schemeClr val="accent3"/>
              </a:solidFill>
            </p:grpSpPr>
            <p:sp>
              <p:nvSpPr>
                <p:cNvPr id="107" name="Freeform 37">
                  <a:extLst>
                    <a:ext uri="{FF2B5EF4-FFF2-40B4-BE49-F238E27FC236}">
                      <a16:creationId xmlns:a16="http://schemas.microsoft.com/office/drawing/2014/main" id="{9C590A4C-0F92-466B-9850-34C69C20E9CA}"/>
                    </a:ext>
                  </a:extLst>
                </p:cNvPr>
                <p:cNvSpPr>
                  <a:spLocks noEditPoints="1"/>
                </p:cNvSpPr>
                <p:nvPr/>
              </p:nvSpPr>
              <p:spPr bwMode="auto">
                <a:xfrm>
                  <a:off x="2674744" y="4180622"/>
                  <a:ext cx="437429" cy="418902"/>
                </a:xfrm>
                <a:custGeom>
                  <a:avLst/>
                  <a:gdLst>
                    <a:gd name="T0" fmla="*/ 312 w 657"/>
                    <a:gd name="T1" fmla="*/ 657 h 657"/>
                    <a:gd name="T2" fmla="*/ 262 w 657"/>
                    <a:gd name="T3" fmla="*/ 650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9 h 657"/>
                    <a:gd name="T16" fmla="*/ 1 w 657"/>
                    <a:gd name="T17" fmla="*/ 296 h 657"/>
                    <a:gd name="T18" fmla="*/ 11 w 657"/>
                    <a:gd name="T19" fmla="*/ 246 h 657"/>
                    <a:gd name="T20" fmla="*/ 39 w 657"/>
                    <a:gd name="T21" fmla="*/ 172 h 657"/>
                    <a:gd name="T22" fmla="*/ 97 w 657"/>
                    <a:gd name="T23" fmla="*/ 97 h 657"/>
                    <a:gd name="T24" fmla="*/ 172 w 657"/>
                    <a:gd name="T25" fmla="*/ 39 h 657"/>
                    <a:gd name="T26" fmla="*/ 247 w 657"/>
                    <a:gd name="T27" fmla="*/ 10 h 657"/>
                    <a:gd name="T28" fmla="*/ 296 w 657"/>
                    <a:gd name="T29" fmla="*/ 2 h 657"/>
                    <a:gd name="T30" fmla="*/ 329 w 657"/>
                    <a:gd name="T31" fmla="*/ 0 h 657"/>
                    <a:gd name="T32" fmla="*/ 379 w 657"/>
                    <a:gd name="T33" fmla="*/ 4 h 657"/>
                    <a:gd name="T34" fmla="*/ 426 w 657"/>
                    <a:gd name="T35" fmla="*/ 15 h 657"/>
                    <a:gd name="T36" fmla="*/ 512 w 657"/>
                    <a:gd name="T37" fmla="*/ 57 h 657"/>
                    <a:gd name="T38" fmla="*/ 582 w 657"/>
                    <a:gd name="T39" fmla="*/ 120 h 657"/>
                    <a:gd name="T40" fmla="*/ 631 w 657"/>
                    <a:gd name="T41" fmla="*/ 200 h 657"/>
                    <a:gd name="T42" fmla="*/ 650 w 657"/>
                    <a:gd name="T43" fmla="*/ 262 h 657"/>
                    <a:gd name="T44" fmla="*/ 657 w 657"/>
                    <a:gd name="T45" fmla="*/ 312 h 657"/>
                    <a:gd name="T46" fmla="*/ 657 w 657"/>
                    <a:gd name="T47" fmla="*/ 346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9 w 657"/>
                    <a:gd name="T59" fmla="*/ 653 h 657"/>
                    <a:gd name="T60" fmla="*/ 329 w 657"/>
                    <a:gd name="T61" fmla="*/ 657 h 657"/>
                    <a:gd name="T62" fmla="*/ 329 w 657"/>
                    <a:gd name="T63" fmla="*/ 38 h 657"/>
                    <a:gd name="T64" fmla="*/ 242 w 657"/>
                    <a:gd name="T65" fmla="*/ 51 h 657"/>
                    <a:gd name="T66" fmla="*/ 165 w 657"/>
                    <a:gd name="T67" fmla="*/ 88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5 w 657"/>
                    <a:gd name="T81" fmla="*/ 570 h 657"/>
                    <a:gd name="T82" fmla="*/ 242 w 657"/>
                    <a:gd name="T83" fmla="*/ 607 h 657"/>
                    <a:gd name="T84" fmla="*/ 329 w 657"/>
                    <a:gd name="T85" fmla="*/ 620 h 657"/>
                    <a:gd name="T86" fmla="*/ 387 w 657"/>
                    <a:gd name="T87" fmla="*/ 614 h 657"/>
                    <a:gd name="T88" fmla="*/ 468 w 657"/>
                    <a:gd name="T89" fmla="*/ 585 h 657"/>
                    <a:gd name="T90" fmla="*/ 535 w 657"/>
                    <a:gd name="T91" fmla="*/ 535 h 657"/>
                    <a:gd name="T92" fmla="*/ 584 w 657"/>
                    <a:gd name="T93" fmla="*/ 468 h 657"/>
                    <a:gd name="T94" fmla="*/ 614 w 657"/>
                    <a:gd name="T95" fmla="*/ 387 h 657"/>
                    <a:gd name="T96" fmla="*/ 619 w 657"/>
                    <a:gd name="T97" fmla="*/ 329 h 657"/>
                    <a:gd name="T98" fmla="*/ 607 w 657"/>
                    <a:gd name="T99" fmla="*/ 242 h 657"/>
                    <a:gd name="T100" fmla="*/ 570 w 657"/>
                    <a:gd name="T101" fmla="*/ 166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6"/>
                      </a:lnTo>
                      <a:lnTo>
                        <a:pt x="278" y="653"/>
                      </a:lnTo>
                      <a:lnTo>
                        <a:pt x="262" y="650"/>
                      </a:lnTo>
                      <a:lnTo>
                        <a:pt x="247" y="648"/>
                      </a:lnTo>
                      <a:lnTo>
                        <a:pt x="231" y="642"/>
                      </a:lnTo>
                      <a:lnTo>
                        <a:pt x="200" y="632"/>
                      </a:lnTo>
                      <a:lnTo>
                        <a:pt x="172" y="618"/>
                      </a:lnTo>
                      <a:lnTo>
                        <a:pt x="145" y="601"/>
                      </a:lnTo>
                      <a:lnTo>
                        <a:pt x="120" y="582"/>
                      </a:lnTo>
                      <a:lnTo>
                        <a:pt x="97" y="562"/>
                      </a:lnTo>
                      <a:lnTo>
                        <a:pt x="75" y="538"/>
                      </a:lnTo>
                      <a:lnTo>
                        <a:pt x="57" y="512"/>
                      </a:lnTo>
                      <a:lnTo>
                        <a:pt x="39" y="485"/>
                      </a:lnTo>
                      <a:lnTo>
                        <a:pt x="26" y="457"/>
                      </a:lnTo>
                      <a:lnTo>
                        <a:pt x="15" y="426"/>
                      </a:lnTo>
                      <a:lnTo>
                        <a:pt x="11" y="411"/>
                      </a:lnTo>
                      <a:lnTo>
                        <a:pt x="7" y="395"/>
                      </a:lnTo>
                      <a:lnTo>
                        <a:pt x="4" y="379"/>
                      </a:lnTo>
                      <a:lnTo>
                        <a:pt x="1" y="362"/>
                      </a:lnTo>
                      <a:lnTo>
                        <a:pt x="0" y="346"/>
                      </a:lnTo>
                      <a:lnTo>
                        <a:pt x="0" y="329"/>
                      </a:lnTo>
                      <a:lnTo>
                        <a:pt x="0" y="329"/>
                      </a:lnTo>
                      <a:lnTo>
                        <a:pt x="0" y="312"/>
                      </a:lnTo>
                      <a:lnTo>
                        <a:pt x="1" y="296"/>
                      </a:lnTo>
                      <a:lnTo>
                        <a:pt x="4" y="278"/>
                      </a:lnTo>
                      <a:lnTo>
                        <a:pt x="7" y="262"/>
                      </a:lnTo>
                      <a:lnTo>
                        <a:pt x="11" y="246"/>
                      </a:lnTo>
                      <a:lnTo>
                        <a:pt x="15" y="231"/>
                      </a:lnTo>
                      <a:lnTo>
                        <a:pt x="26" y="200"/>
                      </a:lnTo>
                      <a:lnTo>
                        <a:pt x="39" y="172"/>
                      </a:lnTo>
                      <a:lnTo>
                        <a:pt x="57" y="145"/>
                      </a:lnTo>
                      <a:lnTo>
                        <a:pt x="75" y="120"/>
                      </a:lnTo>
                      <a:lnTo>
                        <a:pt x="97" y="97"/>
                      </a:lnTo>
                      <a:lnTo>
                        <a:pt x="120" y="76"/>
                      </a:lnTo>
                      <a:lnTo>
                        <a:pt x="145" y="57"/>
                      </a:lnTo>
                      <a:lnTo>
                        <a:pt x="172" y="39"/>
                      </a:lnTo>
                      <a:lnTo>
                        <a:pt x="200" y="26"/>
                      </a:lnTo>
                      <a:lnTo>
                        <a:pt x="231" y="15"/>
                      </a:lnTo>
                      <a:lnTo>
                        <a:pt x="247" y="10"/>
                      </a:lnTo>
                      <a:lnTo>
                        <a:pt x="262" y="7"/>
                      </a:lnTo>
                      <a:lnTo>
                        <a:pt x="278" y="4"/>
                      </a:lnTo>
                      <a:lnTo>
                        <a:pt x="296" y="2"/>
                      </a:lnTo>
                      <a:lnTo>
                        <a:pt x="312" y="0"/>
                      </a:lnTo>
                      <a:lnTo>
                        <a:pt x="329" y="0"/>
                      </a:lnTo>
                      <a:lnTo>
                        <a:pt x="329" y="0"/>
                      </a:lnTo>
                      <a:lnTo>
                        <a:pt x="345" y="0"/>
                      </a:lnTo>
                      <a:lnTo>
                        <a:pt x="363" y="2"/>
                      </a:lnTo>
                      <a:lnTo>
                        <a:pt x="379" y="4"/>
                      </a:lnTo>
                      <a:lnTo>
                        <a:pt x="395" y="7"/>
                      </a:lnTo>
                      <a:lnTo>
                        <a:pt x="411" y="10"/>
                      </a:lnTo>
                      <a:lnTo>
                        <a:pt x="426" y="15"/>
                      </a:lnTo>
                      <a:lnTo>
                        <a:pt x="457" y="26"/>
                      </a:lnTo>
                      <a:lnTo>
                        <a:pt x="485" y="39"/>
                      </a:lnTo>
                      <a:lnTo>
                        <a:pt x="512" y="57"/>
                      </a:lnTo>
                      <a:lnTo>
                        <a:pt x="537" y="76"/>
                      </a:lnTo>
                      <a:lnTo>
                        <a:pt x="562" y="97"/>
                      </a:lnTo>
                      <a:lnTo>
                        <a:pt x="582" y="120"/>
                      </a:lnTo>
                      <a:lnTo>
                        <a:pt x="602" y="145"/>
                      </a:lnTo>
                      <a:lnTo>
                        <a:pt x="618" y="172"/>
                      </a:lnTo>
                      <a:lnTo>
                        <a:pt x="631" y="200"/>
                      </a:lnTo>
                      <a:lnTo>
                        <a:pt x="642" y="231"/>
                      </a:lnTo>
                      <a:lnTo>
                        <a:pt x="648" y="246"/>
                      </a:lnTo>
                      <a:lnTo>
                        <a:pt x="650" y="262"/>
                      </a:lnTo>
                      <a:lnTo>
                        <a:pt x="654" y="278"/>
                      </a:lnTo>
                      <a:lnTo>
                        <a:pt x="656" y="296"/>
                      </a:lnTo>
                      <a:lnTo>
                        <a:pt x="657" y="312"/>
                      </a:lnTo>
                      <a:lnTo>
                        <a:pt x="657" y="329"/>
                      </a:lnTo>
                      <a:lnTo>
                        <a:pt x="657" y="329"/>
                      </a:lnTo>
                      <a:lnTo>
                        <a:pt x="657" y="346"/>
                      </a:lnTo>
                      <a:lnTo>
                        <a:pt x="656" y="362"/>
                      </a:lnTo>
                      <a:lnTo>
                        <a:pt x="654" y="379"/>
                      </a:lnTo>
                      <a:lnTo>
                        <a:pt x="650" y="395"/>
                      </a:lnTo>
                      <a:lnTo>
                        <a:pt x="648" y="411"/>
                      </a:lnTo>
                      <a:lnTo>
                        <a:pt x="642" y="426"/>
                      </a:lnTo>
                      <a:lnTo>
                        <a:pt x="631" y="457"/>
                      </a:lnTo>
                      <a:lnTo>
                        <a:pt x="618" y="485"/>
                      </a:lnTo>
                      <a:lnTo>
                        <a:pt x="602" y="512"/>
                      </a:lnTo>
                      <a:lnTo>
                        <a:pt x="582" y="538"/>
                      </a:lnTo>
                      <a:lnTo>
                        <a:pt x="562" y="562"/>
                      </a:lnTo>
                      <a:lnTo>
                        <a:pt x="537" y="582"/>
                      </a:lnTo>
                      <a:lnTo>
                        <a:pt x="512" y="601"/>
                      </a:lnTo>
                      <a:lnTo>
                        <a:pt x="485" y="618"/>
                      </a:lnTo>
                      <a:lnTo>
                        <a:pt x="457" y="632"/>
                      </a:lnTo>
                      <a:lnTo>
                        <a:pt x="426" y="642"/>
                      </a:lnTo>
                      <a:lnTo>
                        <a:pt x="411" y="648"/>
                      </a:lnTo>
                      <a:lnTo>
                        <a:pt x="395" y="650"/>
                      </a:lnTo>
                      <a:lnTo>
                        <a:pt x="379" y="653"/>
                      </a:lnTo>
                      <a:lnTo>
                        <a:pt x="363" y="656"/>
                      </a:lnTo>
                      <a:lnTo>
                        <a:pt x="345" y="657"/>
                      </a:lnTo>
                      <a:lnTo>
                        <a:pt x="329" y="657"/>
                      </a:lnTo>
                      <a:lnTo>
                        <a:pt x="329" y="657"/>
                      </a:lnTo>
                      <a:close/>
                      <a:moveTo>
                        <a:pt x="329" y="38"/>
                      </a:moveTo>
                      <a:lnTo>
                        <a:pt x="329" y="38"/>
                      </a:lnTo>
                      <a:lnTo>
                        <a:pt x="298" y="39"/>
                      </a:lnTo>
                      <a:lnTo>
                        <a:pt x="270" y="43"/>
                      </a:lnTo>
                      <a:lnTo>
                        <a:pt x="242" y="51"/>
                      </a:lnTo>
                      <a:lnTo>
                        <a:pt x="215" y="61"/>
                      </a:lnTo>
                      <a:lnTo>
                        <a:pt x="189" y="73"/>
                      </a:lnTo>
                      <a:lnTo>
                        <a:pt x="165" y="88"/>
                      </a:lnTo>
                      <a:lnTo>
                        <a:pt x="144" y="104"/>
                      </a:lnTo>
                      <a:lnTo>
                        <a:pt x="122" y="123"/>
                      </a:lnTo>
                      <a:lnTo>
                        <a:pt x="104" y="144"/>
                      </a:lnTo>
                      <a:lnTo>
                        <a:pt x="87" y="166"/>
                      </a:lnTo>
                      <a:lnTo>
                        <a:pt x="73" y="190"/>
                      </a:lnTo>
                      <a:lnTo>
                        <a:pt x="61" y="215"/>
                      </a:lnTo>
                      <a:lnTo>
                        <a:pt x="51" y="242"/>
                      </a:lnTo>
                      <a:lnTo>
                        <a:pt x="43" y="270"/>
                      </a:lnTo>
                      <a:lnTo>
                        <a:pt x="39" y="298"/>
                      </a:lnTo>
                      <a:lnTo>
                        <a:pt x="38" y="329"/>
                      </a:lnTo>
                      <a:lnTo>
                        <a:pt x="38" y="329"/>
                      </a:lnTo>
                      <a:lnTo>
                        <a:pt x="39" y="359"/>
                      </a:lnTo>
                      <a:lnTo>
                        <a:pt x="43" y="387"/>
                      </a:lnTo>
                      <a:lnTo>
                        <a:pt x="51" y="415"/>
                      </a:lnTo>
                      <a:lnTo>
                        <a:pt x="61" y="442"/>
                      </a:lnTo>
                      <a:lnTo>
                        <a:pt x="73" y="468"/>
                      </a:lnTo>
                      <a:lnTo>
                        <a:pt x="87" y="492"/>
                      </a:lnTo>
                      <a:lnTo>
                        <a:pt x="104" y="513"/>
                      </a:lnTo>
                      <a:lnTo>
                        <a:pt x="122" y="535"/>
                      </a:lnTo>
                      <a:lnTo>
                        <a:pt x="144" y="554"/>
                      </a:lnTo>
                      <a:lnTo>
                        <a:pt x="165" y="570"/>
                      </a:lnTo>
                      <a:lnTo>
                        <a:pt x="189" y="585"/>
                      </a:lnTo>
                      <a:lnTo>
                        <a:pt x="215" y="597"/>
                      </a:lnTo>
                      <a:lnTo>
                        <a:pt x="242" y="607"/>
                      </a:lnTo>
                      <a:lnTo>
                        <a:pt x="270" y="614"/>
                      </a:lnTo>
                      <a:lnTo>
                        <a:pt x="298" y="618"/>
                      </a:lnTo>
                      <a:lnTo>
                        <a:pt x="329" y="620"/>
                      </a:lnTo>
                      <a:lnTo>
                        <a:pt x="329" y="620"/>
                      </a:lnTo>
                      <a:lnTo>
                        <a:pt x="359" y="618"/>
                      </a:lnTo>
                      <a:lnTo>
                        <a:pt x="387" y="614"/>
                      </a:lnTo>
                      <a:lnTo>
                        <a:pt x="415" y="607"/>
                      </a:lnTo>
                      <a:lnTo>
                        <a:pt x="442" y="597"/>
                      </a:lnTo>
                      <a:lnTo>
                        <a:pt x="468" y="585"/>
                      </a:lnTo>
                      <a:lnTo>
                        <a:pt x="492" y="570"/>
                      </a:lnTo>
                      <a:lnTo>
                        <a:pt x="513" y="554"/>
                      </a:lnTo>
                      <a:lnTo>
                        <a:pt x="535" y="535"/>
                      </a:lnTo>
                      <a:lnTo>
                        <a:pt x="553" y="513"/>
                      </a:lnTo>
                      <a:lnTo>
                        <a:pt x="570" y="492"/>
                      </a:lnTo>
                      <a:lnTo>
                        <a:pt x="584" y="468"/>
                      </a:lnTo>
                      <a:lnTo>
                        <a:pt x="596" y="442"/>
                      </a:lnTo>
                      <a:lnTo>
                        <a:pt x="607" y="415"/>
                      </a:lnTo>
                      <a:lnTo>
                        <a:pt x="614" y="387"/>
                      </a:lnTo>
                      <a:lnTo>
                        <a:pt x="618" y="359"/>
                      </a:lnTo>
                      <a:lnTo>
                        <a:pt x="619" y="329"/>
                      </a:lnTo>
                      <a:lnTo>
                        <a:pt x="619" y="329"/>
                      </a:lnTo>
                      <a:lnTo>
                        <a:pt x="618" y="298"/>
                      </a:lnTo>
                      <a:lnTo>
                        <a:pt x="614" y="270"/>
                      </a:lnTo>
                      <a:lnTo>
                        <a:pt x="607" y="242"/>
                      </a:lnTo>
                      <a:lnTo>
                        <a:pt x="596" y="215"/>
                      </a:lnTo>
                      <a:lnTo>
                        <a:pt x="584" y="190"/>
                      </a:lnTo>
                      <a:lnTo>
                        <a:pt x="570" y="166"/>
                      </a:lnTo>
                      <a:lnTo>
                        <a:pt x="553" y="144"/>
                      </a:lnTo>
                      <a:lnTo>
                        <a:pt x="535" y="123"/>
                      </a:lnTo>
                      <a:lnTo>
                        <a:pt x="513" y="104"/>
                      </a:lnTo>
                      <a:lnTo>
                        <a:pt x="492" y="88"/>
                      </a:lnTo>
                      <a:lnTo>
                        <a:pt x="468" y="73"/>
                      </a:lnTo>
                      <a:lnTo>
                        <a:pt x="442" y="61"/>
                      </a:lnTo>
                      <a:lnTo>
                        <a:pt x="415" y="51"/>
                      </a:lnTo>
                      <a:lnTo>
                        <a:pt x="387" y="43"/>
                      </a:lnTo>
                      <a:lnTo>
                        <a:pt x="359" y="39"/>
                      </a:lnTo>
                      <a:lnTo>
                        <a:pt x="329" y="38"/>
                      </a:lnTo>
                      <a:lnTo>
                        <a:pt x="329"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8" name="Freeform 893">
                  <a:extLst>
                    <a:ext uri="{FF2B5EF4-FFF2-40B4-BE49-F238E27FC236}">
                      <a16:creationId xmlns:a16="http://schemas.microsoft.com/office/drawing/2014/main" id="{CD2C3ACB-42FB-403C-B6EE-7967CC2155D6}"/>
                    </a:ext>
                  </a:extLst>
                </p:cNvPr>
                <p:cNvSpPr>
                  <a:spLocks noEditPoints="1"/>
                </p:cNvSpPr>
                <p:nvPr/>
              </p:nvSpPr>
              <p:spPr bwMode="auto">
                <a:xfrm>
                  <a:off x="2781389" y="4278004"/>
                  <a:ext cx="224138" cy="224139"/>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101" name="Group 100">
                <a:extLst>
                  <a:ext uri="{FF2B5EF4-FFF2-40B4-BE49-F238E27FC236}">
                    <a16:creationId xmlns:a16="http://schemas.microsoft.com/office/drawing/2014/main" id="{7E0D4138-E73F-4A22-A116-4B0837FCD118}"/>
                  </a:ext>
                </a:extLst>
              </p:cNvPr>
              <p:cNvGrpSpPr/>
              <p:nvPr/>
            </p:nvGrpSpPr>
            <p:grpSpPr>
              <a:xfrm>
                <a:off x="2340482" y="3220676"/>
                <a:ext cx="286077" cy="273961"/>
                <a:chOff x="2674744" y="4180622"/>
                <a:chExt cx="437429" cy="418902"/>
              </a:xfrm>
              <a:solidFill>
                <a:schemeClr val="bg1">
                  <a:lumMod val="85000"/>
                </a:schemeClr>
              </a:solidFill>
            </p:grpSpPr>
            <p:sp>
              <p:nvSpPr>
                <p:cNvPr id="105" name="Freeform 37">
                  <a:extLst>
                    <a:ext uri="{FF2B5EF4-FFF2-40B4-BE49-F238E27FC236}">
                      <a16:creationId xmlns:a16="http://schemas.microsoft.com/office/drawing/2014/main" id="{20ADE455-BC60-40DE-8D91-BFCDB5800E71}"/>
                    </a:ext>
                  </a:extLst>
                </p:cNvPr>
                <p:cNvSpPr>
                  <a:spLocks noEditPoints="1"/>
                </p:cNvSpPr>
                <p:nvPr/>
              </p:nvSpPr>
              <p:spPr bwMode="auto">
                <a:xfrm>
                  <a:off x="2674744" y="4180622"/>
                  <a:ext cx="437429" cy="418902"/>
                </a:xfrm>
                <a:custGeom>
                  <a:avLst/>
                  <a:gdLst>
                    <a:gd name="T0" fmla="*/ 312 w 657"/>
                    <a:gd name="T1" fmla="*/ 657 h 657"/>
                    <a:gd name="T2" fmla="*/ 262 w 657"/>
                    <a:gd name="T3" fmla="*/ 650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9 h 657"/>
                    <a:gd name="T16" fmla="*/ 1 w 657"/>
                    <a:gd name="T17" fmla="*/ 296 h 657"/>
                    <a:gd name="T18" fmla="*/ 11 w 657"/>
                    <a:gd name="T19" fmla="*/ 246 h 657"/>
                    <a:gd name="T20" fmla="*/ 39 w 657"/>
                    <a:gd name="T21" fmla="*/ 172 h 657"/>
                    <a:gd name="T22" fmla="*/ 97 w 657"/>
                    <a:gd name="T23" fmla="*/ 97 h 657"/>
                    <a:gd name="T24" fmla="*/ 172 w 657"/>
                    <a:gd name="T25" fmla="*/ 39 h 657"/>
                    <a:gd name="T26" fmla="*/ 247 w 657"/>
                    <a:gd name="T27" fmla="*/ 10 h 657"/>
                    <a:gd name="T28" fmla="*/ 296 w 657"/>
                    <a:gd name="T29" fmla="*/ 2 h 657"/>
                    <a:gd name="T30" fmla="*/ 329 w 657"/>
                    <a:gd name="T31" fmla="*/ 0 h 657"/>
                    <a:gd name="T32" fmla="*/ 379 w 657"/>
                    <a:gd name="T33" fmla="*/ 4 h 657"/>
                    <a:gd name="T34" fmla="*/ 426 w 657"/>
                    <a:gd name="T35" fmla="*/ 15 h 657"/>
                    <a:gd name="T36" fmla="*/ 512 w 657"/>
                    <a:gd name="T37" fmla="*/ 57 h 657"/>
                    <a:gd name="T38" fmla="*/ 582 w 657"/>
                    <a:gd name="T39" fmla="*/ 120 h 657"/>
                    <a:gd name="T40" fmla="*/ 631 w 657"/>
                    <a:gd name="T41" fmla="*/ 200 h 657"/>
                    <a:gd name="T42" fmla="*/ 650 w 657"/>
                    <a:gd name="T43" fmla="*/ 262 h 657"/>
                    <a:gd name="T44" fmla="*/ 657 w 657"/>
                    <a:gd name="T45" fmla="*/ 312 h 657"/>
                    <a:gd name="T46" fmla="*/ 657 w 657"/>
                    <a:gd name="T47" fmla="*/ 346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9 w 657"/>
                    <a:gd name="T59" fmla="*/ 653 h 657"/>
                    <a:gd name="T60" fmla="*/ 329 w 657"/>
                    <a:gd name="T61" fmla="*/ 657 h 657"/>
                    <a:gd name="T62" fmla="*/ 329 w 657"/>
                    <a:gd name="T63" fmla="*/ 38 h 657"/>
                    <a:gd name="T64" fmla="*/ 242 w 657"/>
                    <a:gd name="T65" fmla="*/ 51 h 657"/>
                    <a:gd name="T66" fmla="*/ 165 w 657"/>
                    <a:gd name="T67" fmla="*/ 88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5 w 657"/>
                    <a:gd name="T81" fmla="*/ 570 h 657"/>
                    <a:gd name="T82" fmla="*/ 242 w 657"/>
                    <a:gd name="T83" fmla="*/ 607 h 657"/>
                    <a:gd name="T84" fmla="*/ 329 w 657"/>
                    <a:gd name="T85" fmla="*/ 620 h 657"/>
                    <a:gd name="T86" fmla="*/ 387 w 657"/>
                    <a:gd name="T87" fmla="*/ 614 h 657"/>
                    <a:gd name="T88" fmla="*/ 468 w 657"/>
                    <a:gd name="T89" fmla="*/ 585 h 657"/>
                    <a:gd name="T90" fmla="*/ 535 w 657"/>
                    <a:gd name="T91" fmla="*/ 535 h 657"/>
                    <a:gd name="T92" fmla="*/ 584 w 657"/>
                    <a:gd name="T93" fmla="*/ 468 h 657"/>
                    <a:gd name="T94" fmla="*/ 614 w 657"/>
                    <a:gd name="T95" fmla="*/ 387 h 657"/>
                    <a:gd name="T96" fmla="*/ 619 w 657"/>
                    <a:gd name="T97" fmla="*/ 329 h 657"/>
                    <a:gd name="T98" fmla="*/ 607 w 657"/>
                    <a:gd name="T99" fmla="*/ 242 h 657"/>
                    <a:gd name="T100" fmla="*/ 570 w 657"/>
                    <a:gd name="T101" fmla="*/ 166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6"/>
                      </a:lnTo>
                      <a:lnTo>
                        <a:pt x="278" y="653"/>
                      </a:lnTo>
                      <a:lnTo>
                        <a:pt x="262" y="650"/>
                      </a:lnTo>
                      <a:lnTo>
                        <a:pt x="247" y="648"/>
                      </a:lnTo>
                      <a:lnTo>
                        <a:pt x="231" y="642"/>
                      </a:lnTo>
                      <a:lnTo>
                        <a:pt x="200" y="632"/>
                      </a:lnTo>
                      <a:lnTo>
                        <a:pt x="172" y="618"/>
                      </a:lnTo>
                      <a:lnTo>
                        <a:pt x="145" y="601"/>
                      </a:lnTo>
                      <a:lnTo>
                        <a:pt x="120" y="582"/>
                      </a:lnTo>
                      <a:lnTo>
                        <a:pt x="97" y="562"/>
                      </a:lnTo>
                      <a:lnTo>
                        <a:pt x="75" y="538"/>
                      </a:lnTo>
                      <a:lnTo>
                        <a:pt x="57" y="512"/>
                      </a:lnTo>
                      <a:lnTo>
                        <a:pt x="39" y="485"/>
                      </a:lnTo>
                      <a:lnTo>
                        <a:pt x="26" y="457"/>
                      </a:lnTo>
                      <a:lnTo>
                        <a:pt x="15" y="426"/>
                      </a:lnTo>
                      <a:lnTo>
                        <a:pt x="11" y="411"/>
                      </a:lnTo>
                      <a:lnTo>
                        <a:pt x="7" y="395"/>
                      </a:lnTo>
                      <a:lnTo>
                        <a:pt x="4" y="379"/>
                      </a:lnTo>
                      <a:lnTo>
                        <a:pt x="1" y="362"/>
                      </a:lnTo>
                      <a:lnTo>
                        <a:pt x="0" y="346"/>
                      </a:lnTo>
                      <a:lnTo>
                        <a:pt x="0" y="329"/>
                      </a:lnTo>
                      <a:lnTo>
                        <a:pt x="0" y="329"/>
                      </a:lnTo>
                      <a:lnTo>
                        <a:pt x="0" y="312"/>
                      </a:lnTo>
                      <a:lnTo>
                        <a:pt x="1" y="296"/>
                      </a:lnTo>
                      <a:lnTo>
                        <a:pt x="4" y="278"/>
                      </a:lnTo>
                      <a:lnTo>
                        <a:pt x="7" y="262"/>
                      </a:lnTo>
                      <a:lnTo>
                        <a:pt x="11" y="246"/>
                      </a:lnTo>
                      <a:lnTo>
                        <a:pt x="15" y="231"/>
                      </a:lnTo>
                      <a:lnTo>
                        <a:pt x="26" y="200"/>
                      </a:lnTo>
                      <a:lnTo>
                        <a:pt x="39" y="172"/>
                      </a:lnTo>
                      <a:lnTo>
                        <a:pt x="57" y="145"/>
                      </a:lnTo>
                      <a:lnTo>
                        <a:pt x="75" y="120"/>
                      </a:lnTo>
                      <a:lnTo>
                        <a:pt x="97" y="97"/>
                      </a:lnTo>
                      <a:lnTo>
                        <a:pt x="120" y="76"/>
                      </a:lnTo>
                      <a:lnTo>
                        <a:pt x="145" y="57"/>
                      </a:lnTo>
                      <a:lnTo>
                        <a:pt x="172" y="39"/>
                      </a:lnTo>
                      <a:lnTo>
                        <a:pt x="200" y="26"/>
                      </a:lnTo>
                      <a:lnTo>
                        <a:pt x="231" y="15"/>
                      </a:lnTo>
                      <a:lnTo>
                        <a:pt x="247" y="10"/>
                      </a:lnTo>
                      <a:lnTo>
                        <a:pt x="262" y="7"/>
                      </a:lnTo>
                      <a:lnTo>
                        <a:pt x="278" y="4"/>
                      </a:lnTo>
                      <a:lnTo>
                        <a:pt x="296" y="2"/>
                      </a:lnTo>
                      <a:lnTo>
                        <a:pt x="312" y="0"/>
                      </a:lnTo>
                      <a:lnTo>
                        <a:pt x="329" y="0"/>
                      </a:lnTo>
                      <a:lnTo>
                        <a:pt x="329" y="0"/>
                      </a:lnTo>
                      <a:lnTo>
                        <a:pt x="345" y="0"/>
                      </a:lnTo>
                      <a:lnTo>
                        <a:pt x="363" y="2"/>
                      </a:lnTo>
                      <a:lnTo>
                        <a:pt x="379" y="4"/>
                      </a:lnTo>
                      <a:lnTo>
                        <a:pt x="395" y="7"/>
                      </a:lnTo>
                      <a:lnTo>
                        <a:pt x="411" y="10"/>
                      </a:lnTo>
                      <a:lnTo>
                        <a:pt x="426" y="15"/>
                      </a:lnTo>
                      <a:lnTo>
                        <a:pt x="457" y="26"/>
                      </a:lnTo>
                      <a:lnTo>
                        <a:pt x="485" y="39"/>
                      </a:lnTo>
                      <a:lnTo>
                        <a:pt x="512" y="57"/>
                      </a:lnTo>
                      <a:lnTo>
                        <a:pt x="537" y="76"/>
                      </a:lnTo>
                      <a:lnTo>
                        <a:pt x="562" y="97"/>
                      </a:lnTo>
                      <a:lnTo>
                        <a:pt x="582" y="120"/>
                      </a:lnTo>
                      <a:lnTo>
                        <a:pt x="602" y="145"/>
                      </a:lnTo>
                      <a:lnTo>
                        <a:pt x="618" y="172"/>
                      </a:lnTo>
                      <a:lnTo>
                        <a:pt x="631" y="200"/>
                      </a:lnTo>
                      <a:lnTo>
                        <a:pt x="642" y="231"/>
                      </a:lnTo>
                      <a:lnTo>
                        <a:pt x="648" y="246"/>
                      </a:lnTo>
                      <a:lnTo>
                        <a:pt x="650" y="262"/>
                      </a:lnTo>
                      <a:lnTo>
                        <a:pt x="654" y="278"/>
                      </a:lnTo>
                      <a:lnTo>
                        <a:pt x="656" y="296"/>
                      </a:lnTo>
                      <a:lnTo>
                        <a:pt x="657" y="312"/>
                      </a:lnTo>
                      <a:lnTo>
                        <a:pt x="657" y="329"/>
                      </a:lnTo>
                      <a:lnTo>
                        <a:pt x="657" y="329"/>
                      </a:lnTo>
                      <a:lnTo>
                        <a:pt x="657" y="346"/>
                      </a:lnTo>
                      <a:lnTo>
                        <a:pt x="656" y="362"/>
                      </a:lnTo>
                      <a:lnTo>
                        <a:pt x="654" y="379"/>
                      </a:lnTo>
                      <a:lnTo>
                        <a:pt x="650" y="395"/>
                      </a:lnTo>
                      <a:lnTo>
                        <a:pt x="648" y="411"/>
                      </a:lnTo>
                      <a:lnTo>
                        <a:pt x="642" y="426"/>
                      </a:lnTo>
                      <a:lnTo>
                        <a:pt x="631" y="457"/>
                      </a:lnTo>
                      <a:lnTo>
                        <a:pt x="618" y="485"/>
                      </a:lnTo>
                      <a:lnTo>
                        <a:pt x="602" y="512"/>
                      </a:lnTo>
                      <a:lnTo>
                        <a:pt x="582" y="538"/>
                      </a:lnTo>
                      <a:lnTo>
                        <a:pt x="562" y="562"/>
                      </a:lnTo>
                      <a:lnTo>
                        <a:pt x="537" y="582"/>
                      </a:lnTo>
                      <a:lnTo>
                        <a:pt x="512" y="601"/>
                      </a:lnTo>
                      <a:lnTo>
                        <a:pt x="485" y="618"/>
                      </a:lnTo>
                      <a:lnTo>
                        <a:pt x="457" y="632"/>
                      </a:lnTo>
                      <a:lnTo>
                        <a:pt x="426" y="642"/>
                      </a:lnTo>
                      <a:lnTo>
                        <a:pt x="411" y="648"/>
                      </a:lnTo>
                      <a:lnTo>
                        <a:pt x="395" y="650"/>
                      </a:lnTo>
                      <a:lnTo>
                        <a:pt x="379" y="653"/>
                      </a:lnTo>
                      <a:lnTo>
                        <a:pt x="363" y="656"/>
                      </a:lnTo>
                      <a:lnTo>
                        <a:pt x="345" y="657"/>
                      </a:lnTo>
                      <a:lnTo>
                        <a:pt x="329" y="657"/>
                      </a:lnTo>
                      <a:lnTo>
                        <a:pt x="329" y="657"/>
                      </a:lnTo>
                      <a:close/>
                      <a:moveTo>
                        <a:pt x="329" y="38"/>
                      </a:moveTo>
                      <a:lnTo>
                        <a:pt x="329" y="38"/>
                      </a:lnTo>
                      <a:lnTo>
                        <a:pt x="298" y="39"/>
                      </a:lnTo>
                      <a:lnTo>
                        <a:pt x="270" y="43"/>
                      </a:lnTo>
                      <a:lnTo>
                        <a:pt x="242" y="51"/>
                      </a:lnTo>
                      <a:lnTo>
                        <a:pt x="215" y="61"/>
                      </a:lnTo>
                      <a:lnTo>
                        <a:pt x="189" y="73"/>
                      </a:lnTo>
                      <a:lnTo>
                        <a:pt x="165" y="88"/>
                      </a:lnTo>
                      <a:lnTo>
                        <a:pt x="144" y="104"/>
                      </a:lnTo>
                      <a:lnTo>
                        <a:pt x="122" y="123"/>
                      </a:lnTo>
                      <a:lnTo>
                        <a:pt x="104" y="144"/>
                      </a:lnTo>
                      <a:lnTo>
                        <a:pt x="87" y="166"/>
                      </a:lnTo>
                      <a:lnTo>
                        <a:pt x="73" y="190"/>
                      </a:lnTo>
                      <a:lnTo>
                        <a:pt x="61" y="215"/>
                      </a:lnTo>
                      <a:lnTo>
                        <a:pt x="51" y="242"/>
                      </a:lnTo>
                      <a:lnTo>
                        <a:pt x="43" y="270"/>
                      </a:lnTo>
                      <a:lnTo>
                        <a:pt x="39" y="298"/>
                      </a:lnTo>
                      <a:lnTo>
                        <a:pt x="38" y="329"/>
                      </a:lnTo>
                      <a:lnTo>
                        <a:pt x="38" y="329"/>
                      </a:lnTo>
                      <a:lnTo>
                        <a:pt x="39" y="359"/>
                      </a:lnTo>
                      <a:lnTo>
                        <a:pt x="43" y="387"/>
                      </a:lnTo>
                      <a:lnTo>
                        <a:pt x="51" y="415"/>
                      </a:lnTo>
                      <a:lnTo>
                        <a:pt x="61" y="442"/>
                      </a:lnTo>
                      <a:lnTo>
                        <a:pt x="73" y="468"/>
                      </a:lnTo>
                      <a:lnTo>
                        <a:pt x="87" y="492"/>
                      </a:lnTo>
                      <a:lnTo>
                        <a:pt x="104" y="513"/>
                      </a:lnTo>
                      <a:lnTo>
                        <a:pt x="122" y="535"/>
                      </a:lnTo>
                      <a:lnTo>
                        <a:pt x="144" y="554"/>
                      </a:lnTo>
                      <a:lnTo>
                        <a:pt x="165" y="570"/>
                      </a:lnTo>
                      <a:lnTo>
                        <a:pt x="189" y="585"/>
                      </a:lnTo>
                      <a:lnTo>
                        <a:pt x="215" y="597"/>
                      </a:lnTo>
                      <a:lnTo>
                        <a:pt x="242" y="607"/>
                      </a:lnTo>
                      <a:lnTo>
                        <a:pt x="270" y="614"/>
                      </a:lnTo>
                      <a:lnTo>
                        <a:pt x="298" y="618"/>
                      </a:lnTo>
                      <a:lnTo>
                        <a:pt x="329" y="620"/>
                      </a:lnTo>
                      <a:lnTo>
                        <a:pt x="329" y="620"/>
                      </a:lnTo>
                      <a:lnTo>
                        <a:pt x="359" y="618"/>
                      </a:lnTo>
                      <a:lnTo>
                        <a:pt x="387" y="614"/>
                      </a:lnTo>
                      <a:lnTo>
                        <a:pt x="415" y="607"/>
                      </a:lnTo>
                      <a:lnTo>
                        <a:pt x="442" y="597"/>
                      </a:lnTo>
                      <a:lnTo>
                        <a:pt x="468" y="585"/>
                      </a:lnTo>
                      <a:lnTo>
                        <a:pt x="492" y="570"/>
                      </a:lnTo>
                      <a:lnTo>
                        <a:pt x="513" y="554"/>
                      </a:lnTo>
                      <a:lnTo>
                        <a:pt x="535" y="535"/>
                      </a:lnTo>
                      <a:lnTo>
                        <a:pt x="553" y="513"/>
                      </a:lnTo>
                      <a:lnTo>
                        <a:pt x="570" y="492"/>
                      </a:lnTo>
                      <a:lnTo>
                        <a:pt x="584" y="468"/>
                      </a:lnTo>
                      <a:lnTo>
                        <a:pt x="596" y="442"/>
                      </a:lnTo>
                      <a:lnTo>
                        <a:pt x="607" y="415"/>
                      </a:lnTo>
                      <a:lnTo>
                        <a:pt x="614" y="387"/>
                      </a:lnTo>
                      <a:lnTo>
                        <a:pt x="618" y="359"/>
                      </a:lnTo>
                      <a:lnTo>
                        <a:pt x="619" y="329"/>
                      </a:lnTo>
                      <a:lnTo>
                        <a:pt x="619" y="329"/>
                      </a:lnTo>
                      <a:lnTo>
                        <a:pt x="618" y="298"/>
                      </a:lnTo>
                      <a:lnTo>
                        <a:pt x="614" y="270"/>
                      </a:lnTo>
                      <a:lnTo>
                        <a:pt x="607" y="242"/>
                      </a:lnTo>
                      <a:lnTo>
                        <a:pt x="596" y="215"/>
                      </a:lnTo>
                      <a:lnTo>
                        <a:pt x="584" y="190"/>
                      </a:lnTo>
                      <a:lnTo>
                        <a:pt x="570" y="166"/>
                      </a:lnTo>
                      <a:lnTo>
                        <a:pt x="553" y="144"/>
                      </a:lnTo>
                      <a:lnTo>
                        <a:pt x="535" y="123"/>
                      </a:lnTo>
                      <a:lnTo>
                        <a:pt x="513" y="104"/>
                      </a:lnTo>
                      <a:lnTo>
                        <a:pt x="492" y="88"/>
                      </a:lnTo>
                      <a:lnTo>
                        <a:pt x="468" y="73"/>
                      </a:lnTo>
                      <a:lnTo>
                        <a:pt x="442" y="61"/>
                      </a:lnTo>
                      <a:lnTo>
                        <a:pt x="415" y="51"/>
                      </a:lnTo>
                      <a:lnTo>
                        <a:pt x="387" y="43"/>
                      </a:lnTo>
                      <a:lnTo>
                        <a:pt x="359" y="39"/>
                      </a:lnTo>
                      <a:lnTo>
                        <a:pt x="329" y="38"/>
                      </a:lnTo>
                      <a:lnTo>
                        <a:pt x="329"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6" name="Freeform 893">
                  <a:extLst>
                    <a:ext uri="{FF2B5EF4-FFF2-40B4-BE49-F238E27FC236}">
                      <a16:creationId xmlns:a16="http://schemas.microsoft.com/office/drawing/2014/main" id="{438A76A2-AECF-42B6-BC49-A8440C5CEF86}"/>
                    </a:ext>
                  </a:extLst>
                </p:cNvPr>
                <p:cNvSpPr>
                  <a:spLocks noEditPoints="1"/>
                </p:cNvSpPr>
                <p:nvPr/>
              </p:nvSpPr>
              <p:spPr bwMode="auto">
                <a:xfrm>
                  <a:off x="2781389" y="4278004"/>
                  <a:ext cx="224138" cy="224139"/>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102" name="Group 101">
                <a:extLst>
                  <a:ext uri="{FF2B5EF4-FFF2-40B4-BE49-F238E27FC236}">
                    <a16:creationId xmlns:a16="http://schemas.microsoft.com/office/drawing/2014/main" id="{7FE56DA1-3B2D-420F-83D6-CDFC79146530}"/>
                  </a:ext>
                </a:extLst>
              </p:cNvPr>
              <p:cNvGrpSpPr/>
              <p:nvPr/>
            </p:nvGrpSpPr>
            <p:grpSpPr>
              <a:xfrm>
                <a:off x="2343524" y="3545766"/>
                <a:ext cx="286077" cy="273961"/>
                <a:chOff x="2674744" y="4180622"/>
                <a:chExt cx="437429" cy="418902"/>
              </a:xfrm>
              <a:solidFill>
                <a:schemeClr val="accent3"/>
              </a:solidFill>
            </p:grpSpPr>
            <p:sp>
              <p:nvSpPr>
                <p:cNvPr id="103" name="Freeform 37">
                  <a:extLst>
                    <a:ext uri="{FF2B5EF4-FFF2-40B4-BE49-F238E27FC236}">
                      <a16:creationId xmlns:a16="http://schemas.microsoft.com/office/drawing/2014/main" id="{8B5E8D48-DA23-4BFA-9067-43FAC08088FA}"/>
                    </a:ext>
                  </a:extLst>
                </p:cNvPr>
                <p:cNvSpPr>
                  <a:spLocks noEditPoints="1"/>
                </p:cNvSpPr>
                <p:nvPr/>
              </p:nvSpPr>
              <p:spPr bwMode="auto">
                <a:xfrm>
                  <a:off x="2674744" y="4180622"/>
                  <a:ext cx="437429" cy="418902"/>
                </a:xfrm>
                <a:custGeom>
                  <a:avLst/>
                  <a:gdLst>
                    <a:gd name="T0" fmla="*/ 312 w 657"/>
                    <a:gd name="T1" fmla="*/ 657 h 657"/>
                    <a:gd name="T2" fmla="*/ 262 w 657"/>
                    <a:gd name="T3" fmla="*/ 650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9 h 657"/>
                    <a:gd name="T16" fmla="*/ 1 w 657"/>
                    <a:gd name="T17" fmla="*/ 296 h 657"/>
                    <a:gd name="T18" fmla="*/ 11 w 657"/>
                    <a:gd name="T19" fmla="*/ 246 h 657"/>
                    <a:gd name="T20" fmla="*/ 39 w 657"/>
                    <a:gd name="T21" fmla="*/ 172 h 657"/>
                    <a:gd name="T22" fmla="*/ 97 w 657"/>
                    <a:gd name="T23" fmla="*/ 97 h 657"/>
                    <a:gd name="T24" fmla="*/ 172 w 657"/>
                    <a:gd name="T25" fmla="*/ 39 h 657"/>
                    <a:gd name="T26" fmla="*/ 247 w 657"/>
                    <a:gd name="T27" fmla="*/ 10 h 657"/>
                    <a:gd name="T28" fmla="*/ 296 w 657"/>
                    <a:gd name="T29" fmla="*/ 2 h 657"/>
                    <a:gd name="T30" fmla="*/ 329 w 657"/>
                    <a:gd name="T31" fmla="*/ 0 h 657"/>
                    <a:gd name="T32" fmla="*/ 379 w 657"/>
                    <a:gd name="T33" fmla="*/ 4 h 657"/>
                    <a:gd name="T34" fmla="*/ 426 w 657"/>
                    <a:gd name="T35" fmla="*/ 15 h 657"/>
                    <a:gd name="T36" fmla="*/ 512 w 657"/>
                    <a:gd name="T37" fmla="*/ 57 h 657"/>
                    <a:gd name="T38" fmla="*/ 582 w 657"/>
                    <a:gd name="T39" fmla="*/ 120 h 657"/>
                    <a:gd name="T40" fmla="*/ 631 w 657"/>
                    <a:gd name="T41" fmla="*/ 200 h 657"/>
                    <a:gd name="T42" fmla="*/ 650 w 657"/>
                    <a:gd name="T43" fmla="*/ 262 h 657"/>
                    <a:gd name="T44" fmla="*/ 657 w 657"/>
                    <a:gd name="T45" fmla="*/ 312 h 657"/>
                    <a:gd name="T46" fmla="*/ 657 w 657"/>
                    <a:gd name="T47" fmla="*/ 346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9 w 657"/>
                    <a:gd name="T59" fmla="*/ 653 h 657"/>
                    <a:gd name="T60" fmla="*/ 329 w 657"/>
                    <a:gd name="T61" fmla="*/ 657 h 657"/>
                    <a:gd name="T62" fmla="*/ 329 w 657"/>
                    <a:gd name="T63" fmla="*/ 38 h 657"/>
                    <a:gd name="T64" fmla="*/ 242 w 657"/>
                    <a:gd name="T65" fmla="*/ 51 h 657"/>
                    <a:gd name="T66" fmla="*/ 165 w 657"/>
                    <a:gd name="T67" fmla="*/ 88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5 w 657"/>
                    <a:gd name="T81" fmla="*/ 570 h 657"/>
                    <a:gd name="T82" fmla="*/ 242 w 657"/>
                    <a:gd name="T83" fmla="*/ 607 h 657"/>
                    <a:gd name="T84" fmla="*/ 329 w 657"/>
                    <a:gd name="T85" fmla="*/ 620 h 657"/>
                    <a:gd name="T86" fmla="*/ 387 w 657"/>
                    <a:gd name="T87" fmla="*/ 614 h 657"/>
                    <a:gd name="T88" fmla="*/ 468 w 657"/>
                    <a:gd name="T89" fmla="*/ 585 h 657"/>
                    <a:gd name="T90" fmla="*/ 535 w 657"/>
                    <a:gd name="T91" fmla="*/ 535 h 657"/>
                    <a:gd name="T92" fmla="*/ 584 w 657"/>
                    <a:gd name="T93" fmla="*/ 468 h 657"/>
                    <a:gd name="T94" fmla="*/ 614 w 657"/>
                    <a:gd name="T95" fmla="*/ 387 h 657"/>
                    <a:gd name="T96" fmla="*/ 619 w 657"/>
                    <a:gd name="T97" fmla="*/ 329 h 657"/>
                    <a:gd name="T98" fmla="*/ 607 w 657"/>
                    <a:gd name="T99" fmla="*/ 242 h 657"/>
                    <a:gd name="T100" fmla="*/ 570 w 657"/>
                    <a:gd name="T101" fmla="*/ 166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6"/>
                      </a:lnTo>
                      <a:lnTo>
                        <a:pt x="278" y="653"/>
                      </a:lnTo>
                      <a:lnTo>
                        <a:pt x="262" y="650"/>
                      </a:lnTo>
                      <a:lnTo>
                        <a:pt x="247" y="648"/>
                      </a:lnTo>
                      <a:lnTo>
                        <a:pt x="231" y="642"/>
                      </a:lnTo>
                      <a:lnTo>
                        <a:pt x="200" y="632"/>
                      </a:lnTo>
                      <a:lnTo>
                        <a:pt x="172" y="618"/>
                      </a:lnTo>
                      <a:lnTo>
                        <a:pt x="145" y="601"/>
                      </a:lnTo>
                      <a:lnTo>
                        <a:pt x="120" y="582"/>
                      </a:lnTo>
                      <a:lnTo>
                        <a:pt x="97" y="562"/>
                      </a:lnTo>
                      <a:lnTo>
                        <a:pt x="75" y="538"/>
                      </a:lnTo>
                      <a:lnTo>
                        <a:pt x="57" y="512"/>
                      </a:lnTo>
                      <a:lnTo>
                        <a:pt x="39" y="485"/>
                      </a:lnTo>
                      <a:lnTo>
                        <a:pt x="26" y="457"/>
                      </a:lnTo>
                      <a:lnTo>
                        <a:pt x="15" y="426"/>
                      </a:lnTo>
                      <a:lnTo>
                        <a:pt x="11" y="411"/>
                      </a:lnTo>
                      <a:lnTo>
                        <a:pt x="7" y="395"/>
                      </a:lnTo>
                      <a:lnTo>
                        <a:pt x="4" y="379"/>
                      </a:lnTo>
                      <a:lnTo>
                        <a:pt x="1" y="362"/>
                      </a:lnTo>
                      <a:lnTo>
                        <a:pt x="0" y="346"/>
                      </a:lnTo>
                      <a:lnTo>
                        <a:pt x="0" y="329"/>
                      </a:lnTo>
                      <a:lnTo>
                        <a:pt x="0" y="329"/>
                      </a:lnTo>
                      <a:lnTo>
                        <a:pt x="0" y="312"/>
                      </a:lnTo>
                      <a:lnTo>
                        <a:pt x="1" y="296"/>
                      </a:lnTo>
                      <a:lnTo>
                        <a:pt x="4" y="278"/>
                      </a:lnTo>
                      <a:lnTo>
                        <a:pt x="7" y="262"/>
                      </a:lnTo>
                      <a:lnTo>
                        <a:pt x="11" y="246"/>
                      </a:lnTo>
                      <a:lnTo>
                        <a:pt x="15" y="231"/>
                      </a:lnTo>
                      <a:lnTo>
                        <a:pt x="26" y="200"/>
                      </a:lnTo>
                      <a:lnTo>
                        <a:pt x="39" y="172"/>
                      </a:lnTo>
                      <a:lnTo>
                        <a:pt x="57" y="145"/>
                      </a:lnTo>
                      <a:lnTo>
                        <a:pt x="75" y="120"/>
                      </a:lnTo>
                      <a:lnTo>
                        <a:pt x="97" y="97"/>
                      </a:lnTo>
                      <a:lnTo>
                        <a:pt x="120" y="76"/>
                      </a:lnTo>
                      <a:lnTo>
                        <a:pt x="145" y="57"/>
                      </a:lnTo>
                      <a:lnTo>
                        <a:pt x="172" y="39"/>
                      </a:lnTo>
                      <a:lnTo>
                        <a:pt x="200" y="26"/>
                      </a:lnTo>
                      <a:lnTo>
                        <a:pt x="231" y="15"/>
                      </a:lnTo>
                      <a:lnTo>
                        <a:pt x="247" y="10"/>
                      </a:lnTo>
                      <a:lnTo>
                        <a:pt x="262" y="7"/>
                      </a:lnTo>
                      <a:lnTo>
                        <a:pt x="278" y="4"/>
                      </a:lnTo>
                      <a:lnTo>
                        <a:pt x="296" y="2"/>
                      </a:lnTo>
                      <a:lnTo>
                        <a:pt x="312" y="0"/>
                      </a:lnTo>
                      <a:lnTo>
                        <a:pt x="329" y="0"/>
                      </a:lnTo>
                      <a:lnTo>
                        <a:pt x="329" y="0"/>
                      </a:lnTo>
                      <a:lnTo>
                        <a:pt x="345" y="0"/>
                      </a:lnTo>
                      <a:lnTo>
                        <a:pt x="363" y="2"/>
                      </a:lnTo>
                      <a:lnTo>
                        <a:pt x="379" y="4"/>
                      </a:lnTo>
                      <a:lnTo>
                        <a:pt x="395" y="7"/>
                      </a:lnTo>
                      <a:lnTo>
                        <a:pt x="411" y="10"/>
                      </a:lnTo>
                      <a:lnTo>
                        <a:pt x="426" y="15"/>
                      </a:lnTo>
                      <a:lnTo>
                        <a:pt x="457" y="26"/>
                      </a:lnTo>
                      <a:lnTo>
                        <a:pt x="485" y="39"/>
                      </a:lnTo>
                      <a:lnTo>
                        <a:pt x="512" y="57"/>
                      </a:lnTo>
                      <a:lnTo>
                        <a:pt x="537" y="76"/>
                      </a:lnTo>
                      <a:lnTo>
                        <a:pt x="562" y="97"/>
                      </a:lnTo>
                      <a:lnTo>
                        <a:pt x="582" y="120"/>
                      </a:lnTo>
                      <a:lnTo>
                        <a:pt x="602" y="145"/>
                      </a:lnTo>
                      <a:lnTo>
                        <a:pt x="618" y="172"/>
                      </a:lnTo>
                      <a:lnTo>
                        <a:pt x="631" y="200"/>
                      </a:lnTo>
                      <a:lnTo>
                        <a:pt x="642" y="231"/>
                      </a:lnTo>
                      <a:lnTo>
                        <a:pt x="648" y="246"/>
                      </a:lnTo>
                      <a:lnTo>
                        <a:pt x="650" y="262"/>
                      </a:lnTo>
                      <a:lnTo>
                        <a:pt x="654" y="278"/>
                      </a:lnTo>
                      <a:lnTo>
                        <a:pt x="656" y="296"/>
                      </a:lnTo>
                      <a:lnTo>
                        <a:pt x="657" y="312"/>
                      </a:lnTo>
                      <a:lnTo>
                        <a:pt x="657" y="329"/>
                      </a:lnTo>
                      <a:lnTo>
                        <a:pt x="657" y="329"/>
                      </a:lnTo>
                      <a:lnTo>
                        <a:pt x="657" y="346"/>
                      </a:lnTo>
                      <a:lnTo>
                        <a:pt x="656" y="362"/>
                      </a:lnTo>
                      <a:lnTo>
                        <a:pt x="654" y="379"/>
                      </a:lnTo>
                      <a:lnTo>
                        <a:pt x="650" y="395"/>
                      </a:lnTo>
                      <a:lnTo>
                        <a:pt x="648" y="411"/>
                      </a:lnTo>
                      <a:lnTo>
                        <a:pt x="642" y="426"/>
                      </a:lnTo>
                      <a:lnTo>
                        <a:pt x="631" y="457"/>
                      </a:lnTo>
                      <a:lnTo>
                        <a:pt x="618" y="485"/>
                      </a:lnTo>
                      <a:lnTo>
                        <a:pt x="602" y="512"/>
                      </a:lnTo>
                      <a:lnTo>
                        <a:pt x="582" y="538"/>
                      </a:lnTo>
                      <a:lnTo>
                        <a:pt x="562" y="562"/>
                      </a:lnTo>
                      <a:lnTo>
                        <a:pt x="537" y="582"/>
                      </a:lnTo>
                      <a:lnTo>
                        <a:pt x="512" y="601"/>
                      </a:lnTo>
                      <a:lnTo>
                        <a:pt x="485" y="618"/>
                      </a:lnTo>
                      <a:lnTo>
                        <a:pt x="457" y="632"/>
                      </a:lnTo>
                      <a:lnTo>
                        <a:pt x="426" y="642"/>
                      </a:lnTo>
                      <a:lnTo>
                        <a:pt x="411" y="648"/>
                      </a:lnTo>
                      <a:lnTo>
                        <a:pt x="395" y="650"/>
                      </a:lnTo>
                      <a:lnTo>
                        <a:pt x="379" y="653"/>
                      </a:lnTo>
                      <a:lnTo>
                        <a:pt x="363" y="656"/>
                      </a:lnTo>
                      <a:lnTo>
                        <a:pt x="345" y="657"/>
                      </a:lnTo>
                      <a:lnTo>
                        <a:pt x="329" y="657"/>
                      </a:lnTo>
                      <a:lnTo>
                        <a:pt x="329" y="657"/>
                      </a:lnTo>
                      <a:close/>
                      <a:moveTo>
                        <a:pt x="329" y="38"/>
                      </a:moveTo>
                      <a:lnTo>
                        <a:pt x="329" y="38"/>
                      </a:lnTo>
                      <a:lnTo>
                        <a:pt x="298" y="39"/>
                      </a:lnTo>
                      <a:lnTo>
                        <a:pt x="270" y="43"/>
                      </a:lnTo>
                      <a:lnTo>
                        <a:pt x="242" y="51"/>
                      </a:lnTo>
                      <a:lnTo>
                        <a:pt x="215" y="61"/>
                      </a:lnTo>
                      <a:lnTo>
                        <a:pt x="189" y="73"/>
                      </a:lnTo>
                      <a:lnTo>
                        <a:pt x="165" y="88"/>
                      </a:lnTo>
                      <a:lnTo>
                        <a:pt x="144" y="104"/>
                      </a:lnTo>
                      <a:lnTo>
                        <a:pt x="122" y="123"/>
                      </a:lnTo>
                      <a:lnTo>
                        <a:pt x="104" y="144"/>
                      </a:lnTo>
                      <a:lnTo>
                        <a:pt x="87" y="166"/>
                      </a:lnTo>
                      <a:lnTo>
                        <a:pt x="73" y="190"/>
                      </a:lnTo>
                      <a:lnTo>
                        <a:pt x="61" y="215"/>
                      </a:lnTo>
                      <a:lnTo>
                        <a:pt x="51" y="242"/>
                      </a:lnTo>
                      <a:lnTo>
                        <a:pt x="43" y="270"/>
                      </a:lnTo>
                      <a:lnTo>
                        <a:pt x="39" y="298"/>
                      </a:lnTo>
                      <a:lnTo>
                        <a:pt x="38" y="329"/>
                      </a:lnTo>
                      <a:lnTo>
                        <a:pt x="38" y="329"/>
                      </a:lnTo>
                      <a:lnTo>
                        <a:pt x="39" y="359"/>
                      </a:lnTo>
                      <a:lnTo>
                        <a:pt x="43" y="387"/>
                      </a:lnTo>
                      <a:lnTo>
                        <a:pt x="51" y="415"/>
                      </a:lnTo>
                      <a:lnTo>
                        <a:pt x="61" y="442"/>
                      </a:lnTo>
                      <a:lnTo>
                        <a:pt x="73" y="468"/>
                      </a:lnTo>
                      <a:lnTo>
                        <a:pt x="87" y="492"/>
                      </a:lnTo>
                      <a:lnTo>
                        <a:pt x="104" y="513"/>
                      </a:lnTo>
                      <a:lnTo>
                        <a:pt x="122" y="535"/>
                      </a:lnTo>
                      <a:lnTo>
                        <a:pt x="144" y="554"/>
                      </a:lnTo>
                      <a:lnTo>
                        <a:pt x="165" y="570"/>
                      </a:lnTo>
                      <a:lnTo>
                        <a:pt x="189" y="585"/>
                      </a:lnTo>
                      <a:lnTo>
                        <a:pt x="215" y="597"/>
                      </a:lnTo>
                      <a:lnTo>
                        <a:pt x="242" y="607"/>
                      </a:lnTo>
                      <a:lnTo>
                        <a:pt x="270" y="614"/>
                      </a:lnTo>
                      <a:lnTo>
                        <a:pt x="298" y="618"/>
                      </a:lnTo>
                      <a:lnTo>
                        <a:pt x="329" y="620"/>
                      </a:lnTo>
                      <a:lnTo>
                        <a:pt x="329" y="620"/>
                      </a:lnTo>
                      <a:lnTo>
                        <a:pt x="359" y="618"/>
                      </a:lnTo>
                      <a:lnTo>
                        <a:pt x="387" y="614"/>
                      </a:lnTo>
                      <a:lnTo>
                        <a:pt x="415" y="607"/>
                      </a:lnTo>
                      <a:lnTo>
                        <a:pt x="442" y="597"/>
                      </a:lnTo>
                      <a:lnTo>
                        <a:pt x="468" y="585"/>
                      </a:lnTo>
                      <a:lnTo>
                        <a:pt x="492" y="570"/>
                      </a:lnTo>
                      <a:lnTo>
                        <a:pt x="513" y="554"/>
                      </a:lnTo>
                      <a:lnTo>
                        <a:pt x="535" y="535"/>
                      </a:lnTo>
                      <a:lnTo>
                        <a:pt x="553" y="513"/>
                      </a:lnTo>
                      <a:lnTo>
                        <a:pt x="570" y="492"/>
                      </a:lnTo>
                      <a:lnTo>
                        <a:pt x="584" y="468"/>
                      </a:lnTo>
                      <a:lnTo>
                        <a:pt x="596" y="442"/>
                      </a:lnTo>
                      <a:lnTo>
                        <a:pt x="607" y="415"/>
                      </a:lnTo>
                      <a:lnTo>
                        <a:pt x="614" y="387"/>
                      </a:lnTo>
                      <a:lnTo>
                        <a:pt x="618" y="359"/>
                      </a:lnTo>
                      <a:lnTo>
                        <a:pt x="619" y="329"/>
                      </a:lnTo>
                      <a:lnTo>
                        <a:pt x="619" y="329"/>
                      </a:lnTo>
                      <a:lnTo>
                        <a:pt x="618" y="298"/>
                      </a:lnTo>
                      <a:lnTo>
                        <a:pt x="614" y="270"/>
                      </a:lnTo>
                      <a:lnTo>
                        <a:pt x="607" y="242"/>
                      </a:lnTo>
                      <a:lnTo>
                        <a:pt x="596" y="215"/>
                      </a:lnTo>
                      <a:lnTo>
                        <a:pt x="584" y="190"/>
                      </a:lnTo>
                      <a:lnTo>
                        <a:pt x="570" y="166"/>
                      </a:lnTo>
                      <a:lnTo>
                        <a:pt x="553" y="144"/>
                      </a:lnTo>
                      <a:lnTo>
                        <a:pt x="535" y="123"/>
                      </a:lnTo>
                      <a:lnTo>
                        <a:pt x="513" y="104"/>
                      </a:lnTo>
                      <a:lnTo>
                        <a:pt x="492" y="88"/>
                      </a:lnTo>
                      <a:lnTo>
                        <a:pt x="468" y="73"/>
                      </a:lnTo>
                      <a:lnTo>
                        <a:pt x="442" y="61"/>
                      </a:lnTo>
                      <a:lnTo>
                        <a:pt x="415" y="51"/>
                      </a:lnTo>
                      <a:lnTo>
                        <a:pt x="387" y="43"/>
                      </a:lnTo>
                      <a:lnTo>
                        <a:pt x="359" y="39"/>
                      </a:lnTo>
                      <a:lnTo>
                        <a:pt x="329" y="38"/>
                      </a:lnTo>
                      <a:lnTo>
                        <a:pt x="329"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4" name="Freeform 893">
                  <a:extLst>
                    <a:ext uri="{FF2B5EF4-FFF2-40B4-BE49-F238E27FC236}">
                      <a16:creationId xmlns:a16="http://schemas.microsoft.com/office/drawing/2014/main" id="{A4B5D1F1-8160-406D-823E-600DB9F50EDC}"/>
                    </a:ext>
                  </a:extLst>
                </p:cNvPr>
                <p:cNvSpPr>
                  <a:spLocks noEditPoints="1"/>
                </p:cNvSpPr>
                <p:nvPr/>
              </p:nvSpPr>
              <p:spPr bwMode="auto">
                <a:xfrm>
                  <a:off x="2781389" y="4278004"/>
                  <a:ext cx="224138" cy="224139"/>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80" name="TextBox 137">
              <a:extLst>
                <a:ext uri="{FF2B5EF4-FFF2-40B4-BE49-F238E27FC236}">
                  <a16:creationId xmlns:a16="http://schemas.microsoft.com/office/drawing/2014/main" id="{928266F9-E19F-4749-8BBC-385613D8CFB3}"/>
                </a:ext>
              </a:extLst>
            </p:cNvPr>
            <p:cNvSpPr txBox="1"/>
            <p:nvPr/>
          </p:nvSpPr>
          <p:spPr>
            <a:xfrm>
              <a:off x="2331213" y="2469077"/>
              <a:ext cx="626919" cy="32478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a:ea typeface="+mn-ea"/>
                  <a:cs typeface="+mn-cs"/>
                </a:rPr>
                <a:t>Select &amp; Validate</a:t>
              </a:r>
            </a:p>
          </p:txBody>
        </p:sp>
        <p:grpSp>
          <p:nvGrpSpPr>
            <p:cNvPr id="81" name="Group 80">
              <a:extLst>
                <a:ext uri="{FF2B5EF4-FFF2-40B4-BE49-F238E27FC236}">
                  <a16:creationId xmlns:a16="http://schemas.microsoft.com/office/drawing/2014/main" id="{6D20B313-A677-439A-AD94-E31A6DF95EB1}"/>
                </a:ext>
              </a:extLst>
            </p:cNvPr>
            <p:cNvGrpSpPr/>
            <p:nvPr/>
          </p:nvGrpSpPr>
          <p:grpSpPr>
            <a:xfrm>
              <a:off x="2491809" y="2829961"/>
              <a:ext cx="309419" cy="1227959"/>
              <a:chOff x="2404374" y="2590936"/>
              <a:chExt cx="296703" cy="1227959"/>
            </a:xfrm>
          </p:grpSpPr>
          <p:grpSp>
            <p:nvGrpSpPr>
              <p:cNvPr id="87" name="Group 86">
                <a:extLst>
                  <a:ext uri="{FF2B5EF4-FFF2-40B4-BE49-F238E27FC236}">
                    <a16:creationId xmlns:a16="http://schemas.microsoft.com/office/drawing/2014/main" id="{4AD82B33-1BE1-4E33-B813-CBBBE18A1FC9}"/>
                  </a:ext>
                </a:extLst>
              </p:cNvPr>
              <p:cNvGrpSpPr>
                <a:grpSpLocks noChangeAspect="1"/>
              </p:cNvGrpSpPr>
              <p:nvPr/>
            </p:nvGrpSpPr>
            <p:grpSpPr>
              <a:xfrm>
                <a:off x="2404374" y="2590936"/>
                <a:ext cx="286077" cy="272297"/>
                <a:chOff x="2324101" y="823913"/>
                <a:chExt cx="522288" cy="520700"/>
              </a:xfrm>
              <a:solidFill>
                <a:schemeClr val="bg1">
                  <a:lumMod val="85000"/>
                </a:schemeClr>
              </a:solidFill>
            </p:grpSpPr>
            <p:sp>
              <p:nvSpPr>
                <p:cNvPr id="97" name="Freeform 7">
                  <a:extLst>
                    <a:ext uri="{FF2B5EF4-FFF2-40B4-BE49-F238E27FC236}">
                      <a16:creationId xmlns:a16="http://schemas.microsoft.com/office/drawing/2014/main" id="{6B82FD85-AFBE-47C5-9E1E-B2342C36300E}"/>
                    </a:ext>
                  </a:extLst>
                </p:cNvPr>
                <p:cNvSpPr>
                  <a:spLocks noEditPoints="1"/>
                </p:cNvSpPr>
                <p:nvPr/>
              </p:nvSpPr>
              <p:spPr bwMode="auto">
                <a:xfrm>
                  <a:off x="2324101" y="823913"/>
                  <a:ext cx="522288" cy="520700"/>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5 w 658"/>
                    <a:gd name="T11" fmla="*/ 426 h 657"/>
                    <a:gd name="T12" fmla="*/ 4 w 658"/>
                    <a:gd name="T13" fmla="*/ 379 h 657"/>
                    <a:gd name="T14" fmla="*/ 0 w 658"/>
                    <a:gd name="T15" fmla="*/ 329 h 657"/>
                    <a:gd name="T16" fmla="*/ 3 w 658"/>
                    <a:gd name="T17" fmla="*/ 296 h 657"/>
                    <a:gd name="T18" fmla="*/ 11 w 658"/>
                    <a:gd name="T19" fmla="*/ 246 h 657"/>
                    <a:gd name="T20" fmla="*/ 40 w 658"/>
                    <a:gd name="T21" fmla="*/ 172 h 657"/>
                    <a:gd name="T22" fmla="*/ 97 w 658"/>
                    <a:gd name="T23" fmla="*/ 97 h 657"/>
                    <a:gd name="T24" fmla="*/ 172 w 658"/>
                    <a:gd name="T25" fmla="*/ 39 h 657"/>
                    <a:gd name="T26" fmla="*/ 247 w 658"/>
                    <a:gd name="T27" fmla="*/ 10 h 657"/>
                    <a:gd name="T28" fmla="*/ 295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2 w 658"/>
                    <a:gd name="T41" fmla="*/ 200 h 657"/>
                    <a:gd name="T42" fmla="*/ 651 w 658"/>
                    <a:gd name="T43" fmla="*/ 262 h 657"/>
                    <a:gd name="T44" fmla="*/ 657 w 658"/>
                    <a:gd name="T45" fmla="*/ 312 h 657"/>
                    <a:gd name="T46" fmla="*/ 657 w 658"/>
                    <a:gd name="T47" fmla="*/ 345 h 657"/>
                    <a:gd name="T48" fmla="*/ 651 w 658"/>
                    <a:gd name="T49" fmla="*/ 395 h 657"/>
                    <a:gd name="T50" fmla="*/ 632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6 w 658"/>
                    <a:gd name="T67" fmla="*/ 88 h 657"/>
                    <a:gd name="T68" fmla="*/ 105 w 658"/>
                    <a:gd name="T69" fmla="*/ 144 h 657"/>
                    <a:gd name="T70" fmla="*/ 60 w 658"/>
                    <a:gd name="T71" fmla="*/ 215 h 657"/>
                    <a:gd name="T72" fmla="*/ 39 w 658"/>
                    <a:gd name="T73" fmla="*/ 298 h 657"/>
                    <a:gd name="T74" fmla="*/ 39 w 658"/>
                    <a:gd name="T75" fmla="*/ 359 h 657"/>
                    <a:gd name="T76" fmla="*/ 60 w 658"/>
                    <a:gd name="T77" fmla="*/ 442 h 657"/>
                    <a:gd name="T78" fmla="*/ 105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5 w 658"/>
                    <a:gd name="T93" fmla="*/ 468 h 657"/>
                    <a:gd name="T94" fmla="*/ 614 w 658"/>
                    <a:gd name="T95" fmla="*/ 387 h 657"/>
                    <a:gd name="T96" fmla="*/ 620 w 658"/>
                    <a:gd name="T97" fmla="*/ 329 h 657"/>
                    <a:gd name="T98" fmla="*/ 607 w 658"/>
                    <a:gd name="T99" fmla="*/ 242 h 657"/>
                    <a:gd name="T100" fmla="*/ 571 w 658"/>
                    <a:gd name="T101" fmla="*/ 165 h 657"/>
                    <a:gd name="T102" fmla="*/ 514 w 658"/>
                    <a:gd name="T103" fmla="*/ 104 h 657"/>
                    <a:gd name="T104" fmla="*/ 442 w 658"/>
                    <a:gd name="T105" fmla="*/ 61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6"/>
                      </a:lnTo>
                      <a:lnTo>
                        <a:pt x="279" y="653"/>
                      </a:lnTo>
                      <a:lnTo>
                        <a:pt x="263" y="650"/>
                      </a:lnTo>
                      <a:lnTo>
                        <a:pt x="247" y="647"/>
                      </a:lnTo>
                      <a:lnTo>
                        <a:pt x="231" y="642"/>
                      </a:lnTo>
                      <a:lnTo>
                        <a:pt x="201" y="631"/>
                      </a:lnTo>
                      <a:lnTo>
                        <a:pt x="172" y="618"/>
                      </a:lnTo>
                      <a:lnTo>
                        <a:pt x="145" y="600"/>
                      </a:lnTo>
                      <a:lnTo>
                        <a:pt x="119" y="582"/>
                      </a:lnTo>
                      <a:lnTo>
                        <a:pt x="97" y="562"/>
                      </a:lnTo>
                      <a:lnTo>
                        <a:pt x="75" y="537"/>
                      </a:lnTo>
                      <a:lnTo>
                        <a:pt x="56"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6"/>
                      </a:lnTo>
                      <a:lnTo>
                        <a:pt x="4" y="278"/>
                      </a:lnTo>
                      <a:lnTo>
                        <a:pt x="7" y="262"/>
                      </a:lnTo>
                      <a:lnTo>
                        <a:pt x="11" y="246"/>
                      </a:lnTo>
                      <a:lnTo>
                        <a:pt x="15" y="231"/>
                      </a:lnTo>
                      <a:lnTo>
                        <a:pt x="27" y="200"/>
                      </a:lnTo>
                      <a:lnTo>
                        <a:pt x="40" y="172"/>
                      </a:lnTo>
                      <a:lnTo>
                        <a:pt x="56" y="145"/>
                      </a:lnTo>
                      <a:lnTo>
                        <a:pt x="75" y="120"/>
                      </a:lnTo>
                      <a:lnTo>
                        <a:pt x="97" y="97"/>
                      </a:lnTo>
                      <a:lnTo>
                        <a:pt x="119" y="76"/>
                      </a:lnTo>
                      <a:lnTo>
                        <a:pt x="145" y="57"/>
                      </a:lnTo>
                      <a:lnTo>
                        <a:pt x="172" y="39"/>
                      </a:lnTo>
                      <a:lnTo>
                        <a:pt x="201" y="26"/>
                      </a:lnTo>
                      <a:lnTo>
                        <a:pt x="231" y="15"/>
                      </a:lnTo>
                      <a:lnTo>
                        <a:pt x="247" y="10"/>
                      </a:lnTo>
                      <a:lnTo>
                        <a:pt x="263" y="7"/>
                      </a:lnTo>
                      <a:lnTo>
                        <a:pt x="279" y="4"/>
                      </a:lnTo>
                      <a:lnTo>
                        <a:pt x="295" y="2"/>
                      </a:lnTo>
                      <a:lnTo>
                        <a:pt x="311" y="0"/>
                      </a:lnTo>
                      <a:lnTo>
                        <a:pt x="329" y="0"/>
                      </a:lnTo>
                      <a:lnTo>
                        <a:pt x="329" y="0"/>
                      </a:lnTo>
                      <a:lnTo>
                        <a:pt x="346" y="0"/>
                      </a:lnTo>
                      <a:lnTo>
                        <a:pt x="362" y="2"/>
                      </a:lnTo>
                      <a:lnTo>
                        <a:pt x="379" y="4"/>
                      </a:lnTo>
                      <a:lnTo>
                        <a:pt x="395" y="7"/>
                      </a:lnTo>
                      <a:lnTo>
                        <a:pt x="411" y="10"/>
                      </a:lnTo>
                      <a:lnTo>
                        <a:pt x="427" y="15"/>
                      </a:lnTo>
                      <a:lnTo>
                        <a:pt x="456" y="26"/>
                      </a:lnTo>
                      <a:lnTo>
                        <a:pt x="486" y="39"/>
                      </a:lnTo>
                      <a:lnTo>
                        <a:pt x="513" y="57"/>
                      </a:lnTo>
                      <a:lnTo>
                        <a:pt x="538" y="76"/>
                      </a:lnTo>
                      <a:lnTo>
                        <a:pt x="561" y="97"/>
                      </a:lnTo>
                      <a:lnTo>
                        <a:pt x="583" y="120"/>
                      </a:lnTo>
                      <a:lnTo>
                        <a:pt x="601" y="145"/>
                      </a:lnTo>
                      <a:lnTo>
                        <a:pt x="618" y="172"/>
                      </a:lnTo>
                      <a:lnTo>
                        <a:pt x="632" y="200"/>
                      </a:lnTo>
                      <a:lnTo>
                        <a:pt x="643" y="231"/>
                      </a:lnTo>
                      <a:lnTo>
                        <a:pt x="647" y="246"/>
                      </a:lnTo>
                      <a:lnTo>
                        <a:pt x="651" y="262"/>
                      </a:lnTo>
                      <a:lnTo>
                        <a:pt x="654" y="278"/>
                      </a:lnTo>
                      <a:lnTo>
                        <a:pt x="655" y="296"/>
                      </a:lnTo>
                      <a:lnTo>
                        <a:pt x="657" y="312"/>
                      </a:lnTo>
                      <a:lnTo>
                        <a:pt x="658" y="329"/>
                      </a:lnTo>
                      <a:lnTo>
                        <a:pt x="658" y="329"/>
                      </a:lnTo>
                      <a:lnTo>
                        <a:pt x="657" y="345"/>
                      </a:lnTo>
                      <a:lnTo>
                        <a:pt x="655" y="363"/>
                      </a:lnTo>
                      <a:lnTo>
                        <a:pt x="654" y="379"/>
                      </a:lnTo>
                      <a:lnTo>
                        <a:pt x="651" y="395"/>
                      </a:lnTo>
                      <a:lnTo>
                        <a:pt x="647" y="411"/>
                      </a:lnTo>
                      <a:lnTo>
                        <a:pt x="643" y="426"/>
                      </a:lnTo>
                      <a:lnTo>
                        <a:pt x="632" y="457"/>
                      </a:lnTo>
                      <a:lnTo>
                        <a:pt x="618" y="485"/>
                      </a:lnTo>
                      <a:lnTo>
                        <a:pt x="601" y="512"/>
                      </a:lnTo>
                      <a:lnTo>
                        <a:pt x="583" y="537"/>
                      </a:lnTo>
                      <a:lnTo>
                        <a:pt x="561" y="562"/>
                      </a:lnTo>
                      <a:lnTo>
                        <a:pt x="538" y="582"/>
                      </a:lnTo>
                      <a:lnTo>
                        <a:pt x="513" y="600"/>
                      </a:lnTo>
                      <a:lnTo>
                        <a:pt x="486" y="618"/>
                      </a:lnTo>
                      <a:lnTo>
                        <a:pt x="456" y="631"/>
                      </a:lnTo>
                      <a:lnTo>
                        <a:pt x="427" y="642"/>
                      </a:lnTo>
                      <a:lnTo>
                        <a:pt x="411" y="647"/>
                      </a:lnTo>
                      <a:lnTo>
                        <a:pt x="395" y="650"/>
                      </a:lnTo>
                      <a:lnTo>
                        <a:pt x="379" y="653"/>
                      </a:lnTo>
                      <a:lnTo>
                        <a:pt x="362" y="656"/>
                      </a:lnTo>
                      <a:lnTo>
                        <a:pt x="346" y="657"/>
                      </a:lnTo>
                      <a:lnTo>
                        <a:pt x="329" y="657"/>
                      </a:lnTo>
                      <a:lnTo>
                        <a:pt x="329" y="657"/>
                      </a:lnTo>
                      <a:close/>
                      <a:moveTo>
                        <a:pt x="329" y="38"/>
                      </a:moveTo>
                      <a:lnTo>
                        <a:pt x="329" y="38"/>
                      </a:lnTo>
                      <a:lnTo>
                        <a:pt x="299" y="39"/>
                      </a:lnTo>
                      <a:lnTo>
                        <a:pt x="270" y="43"/>
                      </a:lnTo>
                      <a:lnTo>
                        <a:pt x="243" y="51"/>
                      </a:lnTo>
                      <a:lnTo>
                        <a:pt x="216" y="61"/>
                      </a:lnTo>
                      <a:lnTo>
                        <a:pt x="191" y="73"/>
                      </a:lnTo>
                      <a:lnTo>
                        <a:pt x="166" y="88"/>
                      </a:lnTo>
                      <a:lnTo>
                        <a:pt x="144" y="104"/>
                      </a:lnTo>
                      <a:lnTo>
                        <a:pt x="124" y="123"/>
                      </a:lnTo>
                      <a:lnTo>
                        <a:pt x="105" y="144"/>
                      </a:lnTo>
                      <a:lnTo>
                        <a:pt x="87" y="165"/>
                      </a:lnTo>
                      <a:lnTo>
                        <a:pt x="72" y="190"/>
                      </a:lnTo>
                      <a:lnTo>
                        <a:pt x="60" y="215"/>
                      </a:lnTo>
                      <a:lnTo>
                        <a:pt x="51" y="242"/>
                      </a:lnTo>
                      <a:lnTo>
                        <a:pt x="44" y="270"/>
                      </a:lnTo>
                      <a:lnTo>
                        <a:pt x="39" y="298"/>
                      </a:lnTo>
                      <a:lnTo>
                        <a:pt x="38" y="329"/>
                      </a:lnTo>
                      <a:lnTo>
                        <a:pt x="38" y="329"/>
                      </a:lnTo>
                      <a:lnTo>
                        <a:pt x="39" y="359"/>
                      </a:lnTo>
                      <a:lnTo>
                        <a:pt x="44" y="387"/>
                      </a:lnTo>
                      <a:lnTo>
                        <a:pt x="51" y="415"/>
                      </a:lnTo>
                      <a:lnTo>
                        <a:pt x="60" y="442"/>
                      </a:lnTo>
                      <a:lnTo>
                        <a:pt x="72" y="468"/>
                      </a:lnTo>
                      <a:lnTo>
                        <a:pt x="87" y="492"/>
                      </a:lnTo>
                      <a:lnTo>
                        <a:pt x="105" y="513"/>
                      </a:lnTo>
                      <a:lnTo>
                        <a:pt x="124" y="535"/>
                      </a:lnTo>
                      <a:lnTo>
                        <a:pt x="144" y="553"/>
                      </a:lnTo>
                      <a:lnTo>
                        <a:pt x="166" y="570"/>
                      </a:lnTo>
                      <a:lnTo>
                        <a:pt x="191" y="584"/>
                      </a:lnTo>
                      <a:lnTo>
                        <a:pt x="216" y="596"/>
                      </a:lnTo>
                      <a:lnTo>
                        <a:pt x="243" y="607"/>
                      </a:lnTo>
                      <a:lnTo>
                        <a:pt x="270" y="614"/>
                      </a:lnTo>
                      <a:lnTo>
                        <a:pt x="299" y="618"/>
                      </a:lnTo>
                      <a:lnTo>
                        <a:pt x="329" y="619"/>
                      </a:lnTo>
                      <a:lnTo>
                        <a:pt x="329" y="619"/>
                      </a:lnTo>
                      <a:lnTo>
                        <a:pt x="358" y="618"/>
                      </a:lnTo>
                      <a:lnTo>
                        <a:pt x="388" y="614"/>
                      </a:lnTo>
                      <a:lnTo>
                        <a:pt x="415" y="607"/>
                      </a:lnTo>
                      <a:lnTo>
                        <a:pt x="442" y="596"/>
                      </a:lnTo>
                      <a:lnTo>
                        <a:pt x="467" y="584"/>
                      </a:lnTo>
                      <a:lnTo>
                        <a:pt x="491" y="570"/>
                      </a:lnTo>
                      <a:lnTo>
                        <a:pt x="514" y="553"/>
                      </a:lnTo>
                      <a:lnTo>
                        <a:pt x="534" y="535"/>
                      </a:lnTo>
                      <a:lnTo>
                        <a:pt x="553" y="513"/>
                      </a:lnTo>
                      <a:lnTo>
                        <a:pt x="571" y="492"/>
                      </a:lnTo>
                      <a:lnTo>
                        <a:pt x="585" y="468"/>
                      </a:lnTo>
                      <a:lnTo>
                        <a:pt x="597" y="442"/>
                      </a:lnTo>
                      <a:lnTo>
                        <a:pt x="607" y="415"/>
                      </a:lnTo>
                      <a:lnTo>
                        <a:pt x="614" y="387"/>
                      </a:lnTo>
                      <a:lnTo>
                        <a:pt x="619" y="359"/>
                      </a:lnTo>
                      <a:lnTo>
                        <a:pt x="620" y="329"/>
                      </a:lnTo>
                      <a:lnTo>
                        <a:pt x="620" y="329"/>
                      </a:lnTo>
                      <a:lnTo>
                        <a:pt x="619" y="298"/>
                      </a:lnTo>
                      <a:lnTo>
                        <a:pt x="614" y="270"/>
                      </a:lnTo>
                      <a:lnTo>
                        <a:pt x="607" y="242"/>
                      </a:lnTo>
                      <a:lnTo>
                        <a:pt x="597" y="215"/>
                      </a:lnTo>
                      <a:lnTo>
                        <a:pt x="585" y="190"/>
                      </a:lnTo>
                      <a:lnTo>
                        <a:pt x="571" y="165"/>
                      </a:lnTo>
                      <a:lnTo>
                        <a:pt x="553" y="144"/>
                      </a:lnTo>
                      <a:lnTo>
                        <a:pt x="534" y="123"/>
                      </a:lnTo>
                      <a:lnTo>
                        <a:pt x="514" y="104"/>
                      </a:lnTo>
                      <a:lnTo>
                        <a:pt x="491" y="88"/>
                      </a:lnTo>
                      <a:lnTo>
                        <a:pt x="467" y="73"/>
                      </a:lnTo>
                      <a:lnTo>
                        <a:pt x="442" y="61"/>
                      </a:lnTo>
                      <a:lnTo>
                        <a:pt x="415" y="51"/>
                      </a:lnTo>
                      <a:lnTo>
                        <a:pt x="388" y="43"/>
                      </a:lnTo>
                      <a:lnTo>
                        <a:pt x="358"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8" name="Freeform 89">
                  <a:extLst>
                    <a:ext uri="{FF2B5EF4-FFF2-40B4-BE49-F238E27FC236}">
                      <a16:creationId xmlns:a16="http://schemas.microsoft.com/office/drawing/2014/main" id="{095F9A36-B341-43D6-9691-0E9B5F6FA6AE}"/>
                    </a:ext>
                  </a:extLst>
                </p:cNvPr>
                <p:cNvSpPr>
                  <a:spLocks/>
                </p:cNvSpPr>
                <p:nvPr/>
              </p:nvSpPr>
              <p:spPr bwMode="auto">
                <a:xfrm>
                  <a:off x="2459038" y="944563"/>
                  <a:ext cx="228600" cy="247650"/>
                </a:xfrm>
                <a:custGeom>
                  <a:avLst/>
                  <a:gdLst>
                    <a:gd name="T0" fmla="*/ 268 w 287"/>
                    <a:gd name="T1" fmla="*/ 141 h 313"/>
                    <a:gd name="T2" fmla="*/ 255 w 287"/>
                    <a:gd name="T3" fmla="*/ 142 h 313"/>
                    <a:gd name="T4" fmla="*/ 248 w 287"/>
                    <a:gd name="T5" fmla="*/ 146 h 313"/>
                    <a:gd name="T6" fmla="*/ 245 w 287"/>
                    <a:gd name="T7" fmla="*/ 148 h 313"/>
                    <a:gd name="T8" fmla="*/ 243 w 287"/>
                    <a:gd name="T9" fmla="*/ 146 h 313"/>
                    <a:gd name="T10" fmla="*/ 240 w 287"/>
                    <a:gd name="T11" fmla="*/ 138 h 313"/>
                    <a:gd name="T12" fmla="*/ 229 w 287"/>
                    <a:gd name="T13" fmla="*/ 129 h 313"/>
                    <a:gd name="T14" fmla="*/ 222 w 287"/>
                    <a:gd name="T15" fmla="*/ 128 h 313"/>
                    <a:gd name="T16" fmla="*/ 209 w 287"/>
                    <a:gd name="T17" fmla="*/ 130 h 313"/>
                    <a:gd name="T18" fmla="*/ 200 w 287"/>
                    <a:gd name="T19" fmla="*/ 137 h 313"/>
                    <a:gd name="T20" fmla="*/ 197 w 287"/>
                    <a:gd name="T21" fmla="*/ 137 h 313"/>
                    <a:gd name="T22" fmla="*/ 196 w 287"/>
                    <a:gd name="T23" fmla="*/ 136 h 313"/>
                    <a:gd name="T24" fmla="*/ 193 w 287"/>
                    <a:gd name="T25" fmla="*/ 129 h 313"/>
                    <a:gd name="T26" fmla="*/ 182 w 287"/>
                    <a:gd name="T27" fmla="*/ 120 h 313"/>
                    <a:gd name="T28" fmla="*/ 174 w 287"/>
                    <a:gd name="T29" fmla="*/ 117 h 313"/>
                    <a:gd name="T30" fmla="*/ 161 w 287"/>
                    <a:gd name="T31" fmla="*/ 120 h 313"/>
                    <a:gd name="T32" fmla="*/ 151 w 287"/>
                    <a:gd name="T33" fmla="*/ 129 h 313"/>
                    <a:gd name="T34" fmla="*/ 150 w 287"/>
                    <a:gd name="T35" fmla="*/ 130 h 313"/>
                    <a:gd name="T36" fmla="*/ 149 w 287"/>
                    <a:gd name="T37" fmla="*/ 26 h 313"/>
                    <a:gd name="T38" fmla="*/ 149 w 287"/>
                    <a:gd name="T39" fmla="*/ 20 h 313"/>
                    <a:gd name="T40" fmla="*/ 142 w 287"/>
                    <a:gd name="T41" fmla="*/ 8 h 313"/>
                    <a:gd name="T42" fmla="*/ 135 w 287"/>
                    <a:gd name="T43" fmla="*/ 3 h 313"/>
                    <a:gd name="T44" fmla="*/ 127 w 287"/>
                    <a:gd name="T45" fmla="*/ 0 h 313"/>
                    <a:gd name="T46" fmla="*/ 122 w 287"/>
                    <a:gd name="T47" fmla="*/ 0 h 313"/>
                    <a:gd name="T48" fmla="*/ 112 w 287"/>
                    <a:gd name="T49" fmla="*/ 4 h 313"/>
                    <a:gd name="T50" fmla="*/ 106 w 287"/>
                    <a:gd name="T51" fmla="*/ 9 h 313"/>
                    <a:gd name="T52" fmla="*/ 102 w 287"/>
                    <a:gd name="T53" fmla="*/ 19 h 313"/>
                    <a:gd name="T54" fmla="*/ 100 w 287"/>
                    <a:gd name="T55" fmla="*/ 192 h 313"/>
                    <a:gd name="T56" fmla="*/ 100 w 287"/>
                    <a:gd name="T57" fmla="*/ 197 h 313"/>
                    <a:gd name="T58" fmla="*/ 93 w 287"/>
                    <a:gd name="T59" fmla="*/ 204 h 313"/>
                    <a:gd name="T60" fmla="*/ 84 w 287"/>
                    <a:gd name="T61" fmla="*/ 208 h 313"/>
                    <a:gd name="T62" fmla="*/ 75 w 287"/>
                    <a:gd name="T63" fmla="*/ 204 h 313"/>
                    <a:gd name="T64" fmla="*/ 53 w 287"/>
                    <a:gd name="T65" fmla="*/ 173 h 313"/>
                    <a:gd name="T66" fmla="*/ 49 w 287"/>
                    <a:gd name="T67" fmla="*/ 168 h 313"/>
                    <a:gd name="T68" fmla="*/ 40 w 287"/>
                    <a:gd name="T69" fmla="*/ 161 h 313"/>
                    <a:gd name="T70" fmla="*/ 28 w 287"/>
                    <a:gd name="T71" fmla="*/ 157 h 313"/>
                    <a:gd name="T72" fmla="*/ 16 w 287"/>
                    <a:gd name="T73" fmla="*/ 157 h 313"/>
                    <a:gd name="T74" fmla="*/ 9 w 287"/>
                    <a:gd name="T75" fmla="*/ 158 h 313"/>
                    <a:gd name="T76" fmla="*/ 1 w 287"/>
                    <a:gd name="T77" fmla="*/ 168 h 313"/>
                    <a:gd name="T78" fmla="*/ 2 w 287"/>
                    <a:gd name="T79" fmla="*/ 179 h 313"/>
                    <a:gd name="T80" fmla="*/ 255 w 287"/>
                    <a:gd name="T81" fmla="*/ 313 h 313"/>
                    <a:gd name="T82" fmla="*/ 260 w 287"/>
                    <a:gd name="T83" fmla="*/ 302 h 313"/>
                    <a:gd name="T84" fmla="*/ 271 w 287"/>
                    <a:gd name="T85" fmla="*/ 270 h 313"/>
                    <a:gd name="T86" fmla="*/ 281 w 287"/>
                    <a:gd name="T87" fmla="*/ 223 h 313"/>
                    <a:gd name="T88" fmla="*/ 287 w 287"/>
                    <a:gd name="T89" fmla="*/ 165 h 313"/>
                    <a:gd name="T90" fmla="*/ 285 w 287"/>
                    <a:gd name="T91" fmla="*/ 160 h 313"/>
                    <a:gd name="T92" fmla="*/ 280 w 287"/>
                    <a:gd name="T93" fmla="*/ 149 h 313"/>
                    <a:gd name="T94" fmla="*/ 268 w 287"/>
                    <a:gd name="T95" fmla="*/ 141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7" h="313">
                      <a:moveTo>
                        <a:pt x="268" y="141"/>
                      </a:moveTo>
                      <a:lnTo>
                        <a:pt x="268" y="141"/>
                      </a:lnTo>
                      <a:lnTo>
                        <a:pt x="260" y="141"/>
                      </a:lnTo>
                      <a:lnTo>
                        <a:pt x="255" y="142"/>
                      </a:lnTo>
                      <a:lnTo>
                        <a:pt x="251" y="144"/>
                      </a:lnTo>
                      <a:lnTo>
                        <a:pt x="248" y="146"/>
                      </a:lnTo>
                      <a:lnTo>
                        <a:pt x="248" y="146"/>
                      </a:lnTo>
                      <a:lnTo>
                        <a:pt x="245" y="148"/>
                      </a:lnTo>
                      <a:lnTo>
                        <a:pt x="244" y="146"/>
                      </a:lnTo>
                      <a:lnTo>
                        <a:pt x="243" y="146"/>
                      </a:lnTo>
                      <a:lnTo>
                        <a:pt x="243" y="146"/>
                      </a:lnTo>
                      <a:lnTo>
                        <a:pt x="240" y="138"/>
                      </a:lnTo>
                      <a:lnTo>
                        <a:pt x="236" y="133"/>
                      </a:lnTo>
                      <a:lnTo>
                        <a:pt x="229" y="129"/>
                      </a:lnTo>
                      <a:lnTo>
                        <a:pt x="222" y="128"/>
                      </a:lnTo>
                      <a:lnTo>
                        <a:pt x="222" y="128"/>
                      </a:lnTo>
                      <a:lnTo>
                        <a:pt x="214" y="128"/>
                      </a:lnTo>
                      <a:lnTo>
                        <a:pt x="209" y="130"/>
                      </a:lnTo>
                      <a:lnTo>
                        <a:pt x="204" y="133"/>
                      </a:lnTo>
                      <a:lnTo>
                        <a:pt x="200" y="137"/>
                      </a:lnTo>
                      <a:lnTo>
                        <a:pt x="200" y="137"/>
                      </a:lnTo>
                      <a:lnTo>
                        <a:pt x="197" y="137"/>
                      </a:lnTo>
                      <a:lnTo>
                        <a:pt x="196" y="137"/>
                      </a:lnTo>
                      <a:lnTo>
                        <a:pt x="196" y="136"/>
                      </a:lnTo>
                      <a:lnTo>
                        <a:pt x="196" y="136"/>
                      </a:lnTo>
                      <a:lnTo>
                        <a:pt x="193" y="129"/>
                      </a:lnTo>
                      <a:lnTo>
                        <a:pt x="187" y="124"/>
                      </a:lnTo>
                      <a:lnTo>
                        <a:pt x="182" y="120"/>
                      </a:lnTo>
                      <a:lnTo>
                        <a:pt x="174" y="117"/>
                      </a:lnTo>
                      <a:lnTo>
                        <a:pt x="174" y="117"/>
                      </a:lnTo>
                      <a:lnTo>
                        <a:pt x="167" y="117"/>
                      </a:lnTo>
                      <a:lnTo>
                        <a:pt x="161" y="120"/>
                      </a:lnTo>
                      <a:lnTo>
                        <a:pt x="155" y="124"/>
                      </a:lnTo>
                      <a:lnTo>
                        <a:pt x="151" y="129"/>
                      </a:lnTo>
                      <a:lnTo>
                        <a:pt x="151" y="129"/>
                      </a:lnTo>
                      <a:lnTo>
                        <a:pt x="150" y="130"/>
                      </a:lnTo>
                      <a:lnTo>
                        <a:pt x="149" y="129"/>
                      </a:lnTo>
                      <a:lnTo>
                        <a:pt x="149" y="26"/>
                      </a:lnTo>
                      <a:lnTo>
                        <a:pt x="149" y="26"/>
                      </a:lnTo>
                      <a:lnTo>
                        <a:pt x="149" y="20"/>
                      </a:lnTo>
                      <a:lnTo>
                        <a:pt x="147" y="16"/>
                      </a:lnTo>
                      <a:lnTo>
                        <a:pt x="142" y="8"/>
                      </a:lnTo>
                      <a:lnTo>
                        <a:pt x="139" y="5"/>
                      </a:lnTo>
                      <a:lnTo>
                        <a:pt x="135" y="3"/>
                      </a:lnTo>
                      <a:lnTo>
                        <a:pt x="131" y="1"/>
                      </a:lnTo>
                      <a:lnTo>
                        <a:pt x="127" y="0"/>
                      </a:lnTo>
                      <a:lnTo>
                        <a:pt x="127" y="0"/>
                      </a:lnTo>
                      <a:lnTo>
                        <a:pt x="122" y="0"/>
                      </a:lnTo>
                      <a:lnTo>
                        <a:pt x="116" y="1"/>
                      </a:lnTo>
                      <a:lnTo>
                        <a:pt x="112" y="4"/>
                      </a:lnTo>
                      <a:lnTo>
                        <a:pt x="108" y="7"/>
                      </a:lnTo>
                      <a:lnTo>
                        <a:pt x="106" y="9"/>
                      </a:lnTo>
                      <a:lnTo>
                        <a:pt x="103" y="15"/>
                      </a:lnTo>
                      <a:lnTo>
                        <a:pt x="102" y="19"/>
                      </a:lnTo>
                      <a:lnTo>
                        <a:pt x="100" y="24"/>
                      </a:lnTo>
                      <a:lnTo>
                        <a:pt x="100" y="192"/>
                      </a:lnTo>
                      <a:lnTo>
                        <a:pt x="100" y="192"/>
                      </a:lnTo>
                      <a:lnTo>
                        <a:pt x="100" y="197"/>
                      </a:lnTo>
                      <a:lnTo>
                        <a:pt x="98" y="201"/>
                      </a:lnTo>
                      <a:lnTo>
                        <a:pt x="93" y="204"/>
                      </a:lnTo>
                      <a:lnTo>
                        <a:pt x="89" y="207"/>
                      </a:lnTo>
                      <a:lnTo>
                        <a:pt x="84" y="208"/>
                      </a:lnTo>
                      <a:lnTo>
                        <a:pt x="80" y="207"/>
                      </a:lnTo>
                      <a:lnTo>
                        <a:pt x="75" y="204"/>
                      </a:lnTo>
                      <a:lnTo>
                        <a:pt x="72" y="200"/>
                      </a:lnTo>
                      <a:lnTo>
                        <a:pt x="53" y="173"/>
                      </a:lnTo>
                      <a:lnTo>
                        <a:pt x="53" y="173"/>
                      </a:lnTo>
                      <a:lnTo>
                        <a:pt x="49" y="168"/>
                      </a:lnTo>
                      <a:lnTo>
                        <a:pt x="45" y="164"/>
                      </a:lnTo>
                      <a:lnTo>
                        <a:pt x="40" y="161"/>
                      </a:lnTo>
                      <a:lnTo>
                        <a:pt x="34" y="158"/>
                      </a:lnTo>
                      <a:lnTo>
                        <a:pt x="28" y="157"/>
                      </a:lnTo>
                      <a:lnTo>
                        <a:pt x="22" y="157"/>
                      </a:lnTo>
                      <a:lnTo>
                        <a:pt x="16" y="157"/>
                      </a:lnTo>
                      <a:lnTo>
                        <a:pt x="9" y="158"/>
                      </a:lnTo>
                      <a:lnTo>
                        <a:pt x="9" y="158"/>
                      </a:lnTo>
                      <a:lnTo>
                        <a:pt x="5" y="162"/>
                      </a:lnTo>
                      <a:lnTo>
                        <a:pt x="1" y="168"/>
                      </a:lnTo>
                      <a:lnTo>
                        <a:pt x="0" y="173"/>
                      </a:lnTo>
                      <a:lnTo>
                        <a:pt x="2" y="179"/>
                      </a:lnTo>
                      <a:lnTo>
                        <a:pt x="69" y="313"/>
                      </a:lnTo>
                      <a:lnTo>
                        <a:pt x="255" y="313"/>
                      </a:lnTo>
                      <a:lnTo>
                        <a:pt x="255" y="313"/>
                      </a:lnTo>
                      <a:lnTo>
                        <a:pt x="260" y="302"/>
                      </a:lnTo>
                      <a:lnTo>
                        <a:pt x="264" y="289"/>
                      </a:lnTo>
                      <a:lnTo>
                        <a:pt x="271" y="270"/>
                      </a:lnTo>
                      <a:lnTo>
                        <a:pt x="276" y="248"/>
                      </a:lnTo>
                      <a:lnTo>
                        <a:pt x="281" y="223"/>
                      </a:lnTo>
                      <a:lnTo>
                        <a:pt x="285" y="195"/>
                      </a:lnTo>
                      <a:lnTo>
                        <a:pt x="287" y="165"/>
                      </a:lnTo>
                      <a:lnTo>
                        <a:pt x="287" y="165"/>
                      </a:lnTo>
                      <a:lnTo>
                        <a:pt x="285" y="160"/>
                      </a:lnTo>
                      <a:lnTo>
                        <a:pt x="284" y="156"/>
                      </a:lnTo>
                      <a:lnTo>
                        <a:pt x="280" y="149"/>
                      </a:lnTo>
                      <a:lnTo>
                        <a:pt x="275" y="144"/>
                      </a:lnTo>
                      <a:lnTo>
                        <a:pt x="268" y="141"/>
                      </a:lnTo>
                      <a:lnTo>
                        <a:pt x="268"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88" name="Group 87">
                <a:extLst>
                  <a:ext uri="{FF2B5EF4-FFF2-40B4-BE49-F238E27FC236}">
                    <a16:creationId xmlns:a16="http://schemas.microsoft.com/office/drawing/2014/main" id="{F57E62CC-C01F-4A8C-9DFB-B0C2424C53C5}"/>
                  </a:ext>
                </a:extLst>
              </p:cNvPr>
              <p:cNvGrpSpPr>
                <a:grpSpLocks noChangeAspect="1"/>
              </p:cNvGrpSpPr>
              <p:nvPr/>
            </p:nvGrpSpPr>
            <p:grpSpPr>
              <a:xfrm>
                <a:off x="2407916" y="2896417"/>
                <a:ext cx="286077" cy="272297"/>
                <a:chOff x="2324101" y="823913"/>
                <a:chExt cx="522288" cy="520700"/>
              </a:xfrm>
              <a:solidFill>
                <a:schemeClr val="bg1">
                  <a:lumMod val="85000"/>
                </a:schemeClr>
              </a:solidFill>
            </p:grpSpPr>
            <p:sp>
              <p:nvSpPr>
                <p:cNvPr id="95" name="Freeform 7">
                  <a:extLst>
                    <a:ext uri="{FF2B5EF4-FFF2-40B4-BE49-F238E27FC236}">
                      <a16:creationId xmlns:a16="http://schemas.microsoft.com/office/drawing/2014/main" id="{92A77584-F8DD-4912-892B-858BA3CDDFDF}"/>
                    </a:ext>
                  </a:extLst>
                </p:cNvPr>
                <p:cNvSpPr>
                  <a:spLocks noEditPoints="1"/>
                </p:cNvSpPr>
                <p:nvPr/>
              </p:nvSpPr>
              <p:spPr bwMode="auto">
                <a:xfrm>
                  <a:off x="2324101" y="823913"/>
                  <a:ext cx="522288" cy="520700"/>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5 w 658"/>
                    <a:gd name="T11" fmla="*/ 426 h 657"/>
                    <a:gd name="T12" fmla="*/ 4 w 658"/>
                    <a:gd name="T13" fmla="*/ 379 h 657"/>
                    <a:gd name="T14" fmla="*/ 0 w 658"/>
                    <a:gd name="T15" fmla="*/ 329 h 657"/>
                    <a:gd name="T16" fmla="*/ 3 w 658"/>
                    <a:gd name="T17" fmla="*/ 296 h 657"/>
                    <a:gd name="T18" fmla="*/ 11 w 658"/>
                    <a:gd name="T19" fmla="*/ 246 h 657"/>
                    <a:gd name="T20" fmla="*/ 40 w 658"/>
                    <a:gd name="T21" fmla="*/ 172 h 657"/>
                    <a:gd name="T22" fmla="*/ 97 w 658"/>
                    <a:gd name="T23" fmla="*/ 97 h 657"/>
                    <a:gd name="T24" fmla="*/ 172 w 658"/>
                    <a:gd name="T25" fmla="*/ 39 h 657"/>
                    <a:gd name="T26" fmla="*/ 247 w 658"/>
                    <a:gd name="T27" fmla="*/ 10 h 657"/>
                    <a:gd name="T28" fmla="*/ 295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2 w 658"/>
                    <a:gd name="T41" fmla="*/ 200 h 657"/>
                    <a:gd name="T42" fmla="*/ 651 w 658"/>
                    <a:gd name="T43" fmla="*/ 262 h 657"/>
                    <a:gd name="T44" fmla="*/ 657 w 658"/>
                    <a:gd name="T45" fmla="*/ 312 h 657"/>
                    <a:gd name="T46" fmla="*/ 657 w 658"/>
                    <a:gd name="T47" fmla="*/ 345 h 657"/>
                    <a:gd name="T48" fmla="*/ 651 w 658"/>
                    <a:gd name="T49" fmla="*/ 395 h 657"/>
                    <a:gd name="T50" fmla="*/ 632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6 w 658"/>
                    <a:gd name="T67" fmla="*/ 88 h 657"/>
                    <a:gd name="T68" fmla="*/ 105 w 658"/>
                    <a:gd name="T69" fmla="*/ 144 h 657"/>
                    <a:gd name="T70" fmla="*/ 60 w 658"/>
                    <a:gd name="T71" fmla="*/ 215 h 657"/>
                    <a:gd name="T72" fmla="*/ 39 w 658"/>
                    <a:gd name="T73" fmla="*/ 298 h 657"/>
                    <a:gd name="T74" fmla="*/ 39 w 658"/>
                    <a:gd name="T75" fmla="*/ 359 h 657"/>
                    <a:gd name="T76" fmla="*/ 60 w 658"/>
                    <a:gd name="T77" fmla="*/ 442 h 657"/>
                    <a:gd name="T78" fmla="*/ 105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5 w 658"/>
                    <a:gd name="T93" fmla="*/ 468 h 657"/>
                    <a:gd name="T94" fmla="*/ 614 w 658"/>
                    <a:gd name="T95" fmla="*/ 387 h 657"/>
                    <a:gd name="T96" fmla="*/ 620 w 658"/>
                    <a:gd name="T97" fmla="*/ 329 h 657"/>
                    <a:gd name="T98" fmla="*/ 607 w 658"/>
                    <a:gd name="T99" fmla="*/ 242 h 657"/>
                    <a:gd name="T100" fmla="*/ 571 w 658"/>
                    <a:gd name="T101" fmla="*/ 165 h 657"/>
                    <a:gd name="T102" fmla="*/ 514 w 658"/>
                    <a:gd name="T103" fmla="*/ 104 h 657"/>
                    <a:gd name="T104" fmla="*/ 442 w 658"/>
                    <a:gd name="T105" fmla="*/ 61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6"/>
                      </a:lnTo>
                      <a:lnTo>
                        <a:pt x="279" y="653"/>
                      </a:lnTo>
                      <a:lnTo>
                        <a:pt x="263" y="650"/>
                      </a:lnTo>
                      <a:lnTo>
                        <a:pt x="247" y="647"/>
                      </a:lnTo>
                      <a:lnTo>
                        <a:pt x="231" y="642"/>
                      </a:lnTo>
                      <a:lnTo>
                        <a:pt x="201" y="631"/>
                      </a:lnTo>
                      <a:lnTo>
                        <a:pt x="172" y="618"/>
                      </a:lnTo>
                      <a:lnTo>
                        <a:pt x="145" y="600"/>
                      </a:lnTo>
                      <a:lnTo>
                        <a:pt x="119" y="582"/>
                      </a:lnTo>
                      <a:lnTo>
                        <a:pt x="97" y="562"/>
                      </a:lnTo>
                      <a:lnTo>
                        <a:pt x="75" y="537"/>
                      </a:lnTo>
                      <a:lnTo>
                        <a:pt x="56"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6"/>
                      </a:lnTo>
                      <a:lnTo>
                        <a:pt x="4" y="278"/>
                      </a:lnTo>
                      <a:lnTo>
                        <a:pt x="7" y="262"/>
                      </a:lnTo>
                      <a:lnTo>
                        <a:pt x="11" y="246"/>
                      </a:lnTo>
                      <a:lnTo>
                        <a:pt x="15" y="231"/>
                      </a:lnTo>
                      <a:lnTo>
                        <a:pt x="27" y="200"/>
                      </a:lnTo>
                      <a:lnTo>
                        <a:pt x="40" y="172"/>
                      </a:lnTo>
                      <a:lnTo>
                        <a:pt x="56" y="145"/>
                      </a:lnTo>
                      <a:lnTo>
                        <a:pt x="75" y="120"/>
                      </a:lnTo>
                      <a:lnTo>
                        <a:pt x="97" y="97"/>
                      </a:lnTo>
                      <a:lnTo>
                        <a:pt x="119" y="76"/>
                      </a:lnTo>
                      <a:lnTo>
                        <a:pt x="145" y="57"/>
                      </a:lnTo>
                      <a:lnTo>
                        <a:pt x="172" y="39"/>
                      </a:lnTo>
                      <a:lnTo>
                        <a:pt x="201" y="26"/>
                      </a:lnTo>
                      <a:lnTo>
                        <a:pt x="231" y="15"/>
                      </a:lnTo>
                      <a:lnTo>
                        <a:pt x="247" y="10"/>
                      </a:lnTo>
                      <a:lnTo>
                        <a:pt x="263" y="7"/>
                      </a:lnTo>
                      <a:lnTo>
                        <a:pt x="279" y="4"/>
                      </a:lnTo>
                      <a:lnTo>
                        <a:pt x="295" y="2"/>
                      </a:lnTo>
                      <a:lnTo>
                        <a:pt x="311" y="0"/>
                      </a:lnTo>
                      <a:lnTo>
                        <a:pt x="329" y="0"/>
                      </a:lnTo>
                      <a:lnTo>
                        <a:pt x="329" y="0"/>
                      </a:lnTo>
                      <a:lnTo>
                        <a:pt x="346" y="0"/>
                      </a:lnTo>
                      <a:lnTo>
                        <a:pt x="362" y="2"/>
                      </a:lnTo>
                      <a:lnTo>
                        <a:pt x="379" y="4"/>
                      </a:lnTo>
                      <a:lnTo>
                        <a:pt x="395" y="7"/>
                      </a:lnTo>
                      <a:lnTo>
                        <a:pt x="411" y="10"/>
                      </a:lnTo>
                      <a:lnTo>
                        <a:pt x="427" y="15"/>
                      </a:lnTo>
                      <a:lnTo>
                        <a:pt x="456" y="26"/>
                      </a:lnTo>
                      <a:lnTo>
                        <a:pt x="486" y="39"/>
                      </a:lnTo>
                      <a:lnTo>
                        <a:pt x="513" y="57"/>
                      </a:lnTo>
                      <a:lnTo>
                        <a:pt x="538" y="76"/>
                      </a:lnTo>
                      <a:lnTo>
                        <a:pt x="561" y="97"/>
                      </a:lnTo>
                      <a:lnTo>
                        <a:pt x="583" y="120"/>
                      </a:lnTo>
                      <a:lnTo>
                        <a:pt x="601" y="145"/>
                      </a:lnTo>
                      <a:lnTo>
                        <a:pt x="618" y="172"/>
                      </a:lnTo>
                      <a:lnTo>
                        <a:pt x="632" y="200"/>
                      </a:lnTo>
                      <a:lnTo>
                        <a:pt x="643" y="231"/>
                      </a:lnTo>
                      <a:lnTo>
                        <a:pt x="647" y="246"/>
                      </a:lnTo>
                      <a:lnTo>
                        <a:pt x="651" y="262"/>
                      </a:lnTo>
                      <a:lnTo>
                        <a:pt x="654" y="278"/>
                      </a:lnTo>
                      <a:lnTo>
                        <a:pt x="655" y="296"/>
                      </a:lnTo>
                      <a:lnTo>
                        <a:pt x="657" y="312"/>
                      </a:lnTo>
                      <a:lnTo>
                        <a:pt x="658" y="329"/>
                      </a:lnTo>
                      <a:lnTo>
                        <a:pt x="658" y="329"/>
                      </a:lnTo>
                      <a:lnTo>
                        <a:pt x="657" y="345"/>
                      </a:lnTo>
                      <a:lnTo>
                        <a:pt x="655" y="363"/>
                      </a:lnTo>
                      <a:lnTo>
                        <a:pt x="654" y="379"/>
                      </a:lnTo>
                      <a:lnTo>
                        <a:pt x="651" y="395"/>
                      </a:lnTo>
                      <a:lnTo>
                        <a:pt x="647" y="411"/>
                      </a:lnTo>
                      <a:lnTo>
                        <a:pt x="643" y="426"/>
                      </a:lnTo>
                      <a:lnTo>
                        <a:pt x="632" y="457"/>
                      </a:lnTo>
                      <a:lnTo>
                        <a:pt x="618" y="485"/>
                      </a:lnTo>
                      <a:lnTo>
                        <a:pt x="601" y="512"/>
                      </a:lnTo>
                      <a:lnTo>
                        <a:pt x="583" y="537"/>
                      </a:lnTo>
                      <a:lnTo>
                        <a:pt x="561" y="562"/>
                      </a:lnTo>
                      <a:lnTo>
                        <a:pt x="538" y="582"/>
                      </a:lnTo>
                      <a:lnTo>
                        <a:pt x="513" y="600"/>
                      </a:lnTo>
                      <a:lnTo>
                        <a:pt x="486" y="618"/>
                      </a:lnTo>
                      <a:lnTo>
                        <a:pt x="456" y="631"/>
                      </a:lnTo>
                      <a:lnTo>
                        <a:pt x="427" y="642"/>
                      </a:lnTo>
                      <a:lnTo>
                        <a:pt x="411" y="647"/>
                      </a:lnTo>
                      <a:lnTo>
                        <a:pt x="395" y="650"/>
                      </a:lnTo>
                      <a:lnTo>
                        <a:pt x="379" y="653"/>
                      </a:lnTo>
                      <a:lnTo>
                        <a:pt x="362" y="656"/>
                      </a:lnTo>
                      <a:lnTo>
                        <a:pt x="346" y="657"/>
                      </a:lnTo>
                      <a:lnTo>
                        <a:pt x="329" y="657"/>
                      </a:lnTo>
                      <a:lnTo>
                        <a:pt x="329" y="657"/>
                      </a:lnTo>
                      <a:close/>
                      <a:moveTo>
                        <a:pt x="329" y="38"/>
                      </a:moveTo>
                      <a:lnTo>
                        <a:pt x="329" y="38"/>
                      </a:lnTo>
                      <a:lnTo>
                        <a:pt x="299" y="39"/>
                      </a:lnTo>
                      <a:lnTo>
                        <a:pt x="270" y="43"/>
                      </a:lnTo>
                      <a:lnTo>
                        <a:pt x="243" y="51"/>
                      </a:lnTo>
                      <a:lnTo>
                        <a:pt x="216" y="61"/>
                      </a:lnTo>
                      <a:lnTo>
                        <a:pt x="191" y="73"/>
                      </a:lnTo>
                      <a:lnTo>
                        <a:pt x="166" y="88"/>
                      </a:lnTo>
                      <a:lnTo>
                        <a:pt x="144" y="104"/>
                      </a:lnTo>
                      <a:lnTo>
                        <a:pt x="124" y="123"/>
                      </a:lnTo>
                      <a:lnTo>
                        <a:pt x="105" y="144"/>
                      </a:lnTo>
                      <a:lnTo>
                        <a:pt x="87" y="165"/>
                      </a:lnTo>
                      <a:lnTo>
                        <a:pt x="72" y="190"/>
                      </a:lnTo>
                      <a:lnTo>
                        <a:pt x="60" y="215"/>
                      </a:lnTo>
                      <a:lnTo>
                        <a:pt x="51" y="242"/>
                      </a:lnTo>
                      <a:lnTo>
                        <a:pt x="44" y="270"/>
                      </a:lnTo>
                      <a:lnTo>
                        <a:pt x="39" y="298"/>
                      </a:lnTo>
                      <a:lnTo>
                        <a:pt x="38" y="329"/>
                      </a:lnTo>
                      <a:lnTo>
                        <a:pt x="38" y="329"/>
                      </a:lnTo>
                      <a:lnTo>
                        <a:pt x="39" y="359"/>
                      </a:lnTo>
                      <a:lnTo>
                        <a:pt x="44" y="387"/>
                      </a:lnTo>
                      <a:lnTo>
                        <a:pt x="51" y="415"/>
                      </a:lnTo>
                      <a:lnTo>
                        <a:pt x="60" y="442"/>
                      </a:lnTo>
                      <a:lnTo>
                        <a:pt x="72" y="468"/>
                      </a:lnTo>
                      <a:lnTo>
                        <a:pt x="87" y="492"/>
                      </a:lnTo>
                      <a:lnTo>
                        <a:pt x="105" y="513"/>
                      </a:lnTo>
                      <a:lnTo>
                        <a:pt x="124" y="535"/>
                      </a:lnTo>
                      <a:lnTo>
                        <a:pt x="144" y="553"/>
                      </a:lnTo>
                      <a:lnTo>
                        <a:pt x="166" y="570"/>
                      </a:lnTo>
                      <a:lnTo>
                        <a:pt x="191" y="584"/>
                      </a:lnTo>
                      <a:lnTo>
                        <a:pt x="216" y="596"/>
                      </a:lnTo>
                      <a:lnTo>
                        <a:pt x="243" y="607"/>
                      </a:lnTo>
                      <a:lnTo>
                        <a:pt x="270" y="614"/>
                      </a:lnTo>
                      <a:lnTo>
                        <a:pt x="299" y="618"/>
                      </a:lnTo>
                      <a:lnTo>
                        <a:pt x="329" y="619"/>
                      </a:lnTo>
                      <a:lnTo>
                        <a:pt x="329" y="619"/>
                      </a:lnTo>
                      <a:lnTo>
                        <a:pt x="358" y="618"/>
                      </a:lnTo>
                      <a:lnTo>
                        <a:pt x="388" y="614"/>
                      </a:lnTo>
                      <a:lnTo>
                        <a:pt x="415" y="607"/>
                      </a:lnTo>
                      <a:lnTo>
                        <a:pt x="442" y="596"/>
                      </a:lnTo>
                      <a:lnTo>
                        <a:pt x="467" y="584"/>
                      </a:lnTo>
                      <a:lnTo>
                        <a:pt x="491" y="570"/>
                      </a:lnTo>
                      <a:lnTo>
                        <a:pt x="514" y="553"/>
                      </a:lnTo>
                      <a:lnTo>
                        <a:pt x="534" y="535"/>
                      </a:lnTo>
                      <a:lnTo>
                        <a:pt x="553" y="513"/>
                      </a:lnTo>
                      <a:lnTo>
                        <a:pt x="571" y="492"/>
                      </a:lnTo>
                      <a:lnTo>
                        <a:pt x="585" y="468"/>
                      </a:lnTo>
                      <a:lnTo>
                        <a:pt x="597" y="442"/>
                      </a:lnTo>
                      <a:lnTo>
                        <a:pt x="607" y="415"/>
                      </a:lnTo>
                      <a:lnTo>
                        <a:pt x="614" y="387"/>
                      </a:lnTo>
                      <a:lnTo>
                        <a:pt x="619" y="359"/>
                      </a:lnTo>
                      <a:lnTo>
                        <a:pt x="620" y="329"/>
                      </a:lnTo>
                      <a:lnTo>
                        <a:pt x="620" y="329"/>
                      </a:lnTo>
                      <a:lnTo>
                        <a:pt x="619" y="298"/>
                      </a:lnTo>
                      <a:lnTo>
                        <a:pt x="614" y="270"/>
                      </a:lnTo>
                      <a:lnTo>
                        <a:pt x="607" y="242"/>
                      </a:lnTo>
                      <a:lnTo>
                        <a:pt x="597" y="215"/>
                      </a:lnTo>
                      <a:lnTo>
                        <a:pt x="585" y="190"/>
                      </a:lnTo>
                      <a:lnTo>
                        <a:pt x="571" y="165"/>
                      </a:lnTo>
                      <a:lnTo>
                        <a:pt x="553" y="144"/>
                      </a:lnTo>
                      <a:lnTo>
                        <a:pt x="534" y="123"/>
                      </a:lnTo>
                      <a:lnTo>
                        <a:pt x="514" y="104"/>
                      </a:lnTo>
                      <a:lnTo>
                        <a:pt x="491" y="88"/>
                      </a:lnTo>
                      <a:lnTo>
                        <a:pt x="467" y="73"/>
                      </a:lnTo>
                      <a:lnTo>
                        <a:pt x="442" y="61"/>
                      </a:lnTo>
                      <a:lnTo>
                        <a:pt x="415" y="51"/>
                      </a:lnTo>
                      <a:lnTo>
                        <a:pt x="388" y="43"/>
                      </a:lnTo>
                      <a:lnTo>
                        <a:pt x="358"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6" name="Freeform 89">
                  <a:extLst>
                    <a:ext uri="{FF2B5EF4-FFF2-40B4-BE49-F238E27FC236}">
                      <a16:creationId xmlns:a16="http://schemas.microsoft.com/office/drawing/2014/main" id="{2CB8AE01-98D4-455D-B106-A17861A218AB}"/>
                    </a:ext>
                  </a:extLst>
                </p:cNvPr>
                <p:cNvSpPr>
                  <a:spLocks/>
                </p:cNvSpPr>
                <p:nvPr/>
              </p:nvSpPr>
              <p:spPr bwMode="auto">
                <a:xfrm>
                  <a:off x="2459038" y="944563"/>
                  <a:ext cx="228600" cy="247650"/>
                </a:xfrm>
                <a:custGeom>
                  <a:avLst/>
                  <a:gdLst>
                    <a:gd name="T0" fmla="*/ 268 w 287"/>
                    <a:gd name="T1" fmla="*/ 141 h 313"/>
                    <a:gd name="T2" fmla="*/ 255 w 287"/>
                    <a:gd name="T3" fmla="*/ 142 h 313"/>
                    <a:gd name="T4" fmla="*/ 248 w 287"/>
                    <a:gd name="T5" fmla="*/ 146 h 313"/>
                    <a:gd name="T6" fmla="*/ 245 w 287"/>
                    <a:gd name="T7" fmla="*/ 148 h 313"/>
                    <a:gd name="T8" fmla="*/ 243 w 287"/>
                    <a:gd name="T9" fmla="*/ 146 h 313"/>
                    <a:gd name="T10" fmla="*/ 240 w 287"/>
                    <a:gd name="T11" fmla="*/ 138 h 313"/>
                    <a:gd name="T12" fmla="*/ 229 w 287"/>
                    <a:gd name="T13" fmla="*/ 129 h 313"/>
                    <a:gd name="T14" fmla="*/ 222 w 287"/>
                    <a:gd name="T15" fmla="*/ 128 h 313"/>
                    <a:gd name="T16" fmla="*/ 209 w 287"/>
                    <a:gd name="T17" fmla="*/ 130 h 313"/>
                    <a:gd name="T18" fmla="*/ 200 w 287"/>
                    <a:gd name="T19" fmla="*/ 137 h 313"/>
                    <a:gd name="T20" fmla="*/ 197 w 287"/>
                    <a:gd name="T21" fmla="*/ 137 h 313"/>
                    <a:gd name="T22" fmla="*/ 196 w 287"/>
                    <a:gd name="T23" fmla="*/ 136 h 313"/>
                    <a:gd name="T24" fmla="*/ 193 w 287"/>
                    <a:gd name="T25" fmla="*/ 129 h 313"/>
                    <a:gd name="T26" fmla="*/ 182 w 287"/>
                    <a:gd name="T27" fmla="*/ 120 h 313"/>
                    <a:gd name="T28" fmla="*/ 174 w 287"/>
                    <a:gd name="T29" fmla="*/ 117 h 313"/>
                    <a:gd name="T30" fmla="*/ 161 w 287"/>
                    <a:gd name="T31" fmla="*/ 120 h 313"/>
                    <a:gd name="T32" fmla="*/ 151 w 287"/>
                    <a:gd name="T33" fmla="*/ 129 h 313"/>
                    <a:gd name="T34" fmla="*/ 150 w 287"/>
                    <a:gd name="T35" fmla="*/ 130 h 313"/>
                    <a:gd name="T36" fmla="*/ 149 w 287"/>
                    <a:gd name="T37" fmla="*/ 26 h 313"/>
                    <a:gd name="T38" fmla="*/ 149 w 287"/>
                    <a:gd name="T39" fmla="*/ 20 h 313"/>
                    <a:gd name="T40" fmla="*/ 142 w 287"/>
                    <a:gd name="T41" fmla="*/ 8 h 313"/>
                    <a:gd name="T42" fmla="*/ 135 w 287"/>
                    <a:gd name="T43" fmla="*/ 3 h 313"/>
                    <a:gd name="T44" fmla="*/ 127 w 287"/>
                    <a:gd name="T45" fmla="*/ 0 h 313"/>
                    <a:gd name="T46" fmla="*/ 122 w 287"/>
                    <a:gd name="T47" fmla="*/ 0 h 313"/>
                    <a:gd name="T48" fmla="*/ 112 w 287"/>
                    <a:gd name="T49" fmla="*/ 4 h 313"/>
                    <a:gd name="T50" fmla="*/ 106 w 287"/>
                    <a:gd name="T51" fmla="*/ 9 h 313"/>
                    <a:gd name="T52" fmla="*/ 102 w 287"/>
                    <a:gd name="T53" fmla="*/ 19 h 313"/>
                    <a:gd name="T54" fmla="*/ 100 w 287"/>
                    <a:gd name="T55" fmla="*/ 192 h 313"/>
                    <a:gd name="T56" fmla="*/ 100 w 287"/>
                    <a:gd name="T57" fmla="*/ 197 h 313"/>
                    <a:gd name="T58" fmla="*/ 93 w 287"/>
                    <a:gd name="T59" fmla="*/ 204 h 313"/>
                    <a:gd name="T60" fmla="*/ 84 w 287"/>
                    <a:gd name="T61" fmla="*/ 208 h 313"/>
                    <a:gd name="T62" fmla="*/ 75 w 287"/>
                    <a:gd name="T63" fmla="*/ 204 h 313"/>
                    <a:gd name="T64" fmla="*/ 53 w 287"/>
                    <a:gd name="T65" fmla="*/ 173 h 313"/>
                    <a:gd name="T66" fmla="*/ 49 w 287"/>
                    <a:gd name="T67" fmla="*/ 168 h 313"/>
                    <a:gd name="T68" fmla="*/ 40 w 287"/>
                    <a:gd name="T69" fmla="*/ 161 h 313"/>
                    <a:gd name="T70" fmla="*/ 28 w 287"/>
                    <a:gd name="T71" fmla="*/ 157 h 313"/>
                    <a:gd name="T72" fmla="*/ 16 w 287"/>
                    <a:gd name="T73" fmla="*/ 157 h 313"/>
                    <a:gd name="T74" fmla="*/ 9 w 287"/>
                    <a:gd name="T75" fmla="*/ 158 h 313"/>
                    <a:gd name="T76" fmla="*/ 1 w 287"/>
                    <a:gd name="T77" fmla="*/ 168 h 313"/>
                    <a:gd name="T78" fmla="*/ 2 w 287"/>
                    <a:gd name="T79" fmla="*/ 179 h 313"/>
                    <a:gd name="T80" fmla="*/ 255 w 287"/>
                    <a:gd name="T81" fmla="*/ 313 h 313"/>
                    <a:gd name="T82" fmla="*/ 260 w 287"/>
                    <a:gd name="T83" fmla="*/ 302 h 313"/>
                    <a:gd name="T84" fmla="*/ 271 w 287"/>
                    <a:gd name="T85" fmla="*/ 270 h 313"/>
                    <a:gd name="T86" fmla="*/ 281 w 287"/>
                    <a:gd name="T87" fmla="*/ 223 h 313"/>
                    <a:gd name="T88" fmla="*/ 287 w 287"/>
                    <a:gd name="T89" fmla="*/ 165 h 313"/>
                    <a:gd name="T90" fmla="*/ 285 w 287"/>
                    <a:gd name="T91" fmla="*/ 160 h 313"/>
                    <a:gd name="T92" fmla="*/ 280 w 287"/>
                    <a:gd name="T93" fmla="*/ 149 h 313"/>
                    <a:gd name="T94" fmla="*/ 268 w 287"/>
                    <a:gd name="T95" fmla="*/ 141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7" h="313">
                      <a:moveTo>
                        <a:pt x="268" y="141"/>
                      </a:moveTo>
                      <a:lnTo>
                        <a:pt x="268" y="141"/>
                      </a:lnTo>
                      <a:lnTo>
                        <a:pt x="260" y="141"/>
                      </a:lnTo>
                      <a:lnTo>
                        <a:pt x="255" y="142"/>
                      </a:lnTo>
                      <a:lnTo>
                        <a:pt x="251" y="144"/>
                      </a:lnTo>
                      <a:lnTo>
                        <a:pt x="248" y="146"/>
                      </a:lnTo>
                      <a:lnTo>
                        <a:pt x="248" y="146"/>
                      </a:lnTo>
                      <a:lnTo>
                        <a:pt x="245" y="148"/>
                      </a:lnTo>
                      <a:lnTo>
                        <a:pt x="244" y="146"/>
                      </a:lnTo>
                      <a:lnTo>
                        <a:pt x="243" y="146"/>
                      </a:lnTo>
                      <a:lnTo>
                        <a:pt x="243" y="146"/>
                      </a:lnTo>
                      <a:lnTo>
                        <a:pt x="240" y="138"/>
                      </a:lnTo>
                      <a:lnTo>
                        <a:pt x="236" y="133"/>
                      </a:lnTo>
                      <a:lnTo>
                        <a:pt x="229" y="129"/>
                      </a:lnTo>
                      <a:lnTo>
                        <a:pt x="222" y="128"/>
                      </a:lnTo>
                      <a:lnTo>
                        <a:pt x="222" y="128"/>
                      </a:lnTo>
                      <a:lnTo>
                        <a:pt x="214" y="128"/>
                      </a:lnTo>
                      <a:lnTo>
                        <a:pt x="209" y="130"/>
                      </a:lnTo>
                      <a:lnTo>
                        <a:pt x="204" y="133"/>
                      </a:lnTo>
                      <a:lnTo>
                        <a:pt x="200" y="137"/>
                      </a:lnTo>
                      <a:lnTo>
                        <a:pt x="200" y="137"/>
                      </a:lnTo>
                      <a:lnTo>
                        <a:pt x="197" y="137"/>
                      </a:lnTo>
                      <a:lnTo>
                        <a:pt x="196" y="137"/>
                      </a:lnTo>
                      <a:lnTo>
                        <a:pt x="196" y="136"/>
                      </a:lnTo>
                      <a:lnTo>
                        <a:pt x="196" y="136"/>
                      </a:lnTo>
                      <a:lnTo>
                        <a:pt x="193" y="129"/>
                      </a:lnTo>
                      <a:lnTo>
                        <a:pt x="187" y="124"/>
                      </a:lnTo>
                      <a:lnTo>
                        <a:pt x="182" y="120"/>
                      </a:lnTo>
                      <a:lnTo>
                        <a:pt x="174" y="117"/>
                      </a:lnTo>
                      <a:lnTo>
                        <a:pt x="174" y="117"/>
                      </a:lnTo>
                      <a:lnTo>
                        <a:pt x="167" y="117"/>
                      </a:lnTo>
                      <a:lnTo>
                        <a:pt x="161" y="120"/>
                      </a:lnTo>
                      <a:lnTo>
                        <a:pt x="155" y="124"/>
                      </a:lnTo>
                      <a:lnTo>
                        <a:pt x="151" y="129"/>
                      </a:lnTo>
                      <a:lnTo>
                        <a:pt x="151" y="129"/>
                      </a:lnTo>
                      <a:lnTo>
                        <a:pt x="150" y="130"/>
                      </a:lnTo>
                      <a:lnTo>
                        <a:pt x="149" y="129"/>
                      </a:lnTo>
                      <a:lnTo>
                        <a:pt x="149" y="26"/>
                      </a:lnTo>
                      <a:lnTo>
                        <a:pt x="149" y="26"/>
                      </a:lnTo>
                      <a:lnTo>
                        <a:pt x="149" y="20"/>
                      </a:lnTo>
                      <a:lnTo>
                        <a:pt x="147" y="16"/>
                      </a:lnTo>
                      <a:lnTo>
                        <a:pt x="142" y="8"/>
                      </a:lnTo>
                      <a:lnTo>
                        <a:pt x="139" y="5"/>
                      </a:lnTo>
                      <a:lnTo>
                        <a:pt x="135" y="3"/>
                      </a:lnTo>
                      <a:lnTo>
                        <a:pt x="131" y="1"/>
                      </a:lnTo>
                      <a:lnTo>
                        <a:pt x="127" y="0"/>
                      </a:lnTo>
                      <a:lnTo>
                        <a:pt x="127" y="0"/>
                      </a:lnTo>
                      <a:lnTo>
                        <a:pt x="122" y="0"/>
                      </a:lnTo>
                      <a:lnTo>
                        <a:pt x="116" y="1"/>
                      </a:lnTo>
                      <a:lnTo>
                        <a:pt x="112" y="4"/>
                      </a:lnTo>
                      <a:lnTo>
                        <a:pt x="108" y="7"/>
                      </a:lnTo>
                      <a:lnTo>
                        <a:pt x="106" y="9"/>
                      </a:lnTo>
                      <a:lnTo>
                        <a:pt x="103" y="15"/>
                      </a:lnTo>
                      <a:lnTo>
                        <a:pt x="102" y="19"/>
                      </a:lnTo>
                      <a:lnTo>
                        <a:pt x="100" y="24"/>
                      </a:lnTo>
                      <a:lnTo>
                        <a:pt x="100" y="192"/>
                      </a:lnTo>
                      <a:lnTo>
                        <a:pt x="100" y="192"/>
                      </a:lnTo>
                      <a:lnTo>
                        <a:pt x="100" y="197"/>
                      </a:lnTo>
                      <a:lnTo>
                        <a:pt x="98" y="201"/>
                      </a:lnTo>
                      <a:lnTo>
                        <a:pt x="93" y="204"/>
                      </a:lnTo>
                      <a:lnTo>
                        <a:pt x="89" y="207"/>
                      </a:lnTo>
                      <a:lnTo>
                        <a:pt x="84" y="208"/>
                      </a:lnTo>
                      <a:lnTo>
                        <a:pt x="80" y="207"/>
                      </a:lnTo>
                      <a:lnTo>
                        <a:pt x="75" y="204"/>
                      </a:lnTo>
                      <a:lnTo>
                        <a:pt x="72" y="200"/>
                      </a:lnTo>
                      <a:lnTo>
                        <a:pt x="53" y="173"/>
                      </a:lnTo>
                      <a:lnTo>
                        <a:pt x="53" y="173"/>
                      </a:lnTo>
                      <a:lnTo>
                        <a:pt x="49" y="168"/>
                      </a:lnTo>
                      <a:lnTo>
                        <a:pt x="45" y="164"/>
                      </a:lnTo>
                      <a:lnTo>
                        <a:pt x="40" y="161"/>
                      </a:lnTo>
                      <a:lnTo>
                        <a:pt x="34" y="158"/>
                      </a:lnTo>
                      <a:lnTo>
                        <a:pt x="28" y="157"/>
                      </a:lnTo>
                      <a:lnTo>
                        <a:pt x="22" y="157"/>
                      </a:lnTo>
                      <a:lnTo>
                        <a:pt x="16" y="157"/>
                      </a:lnTo>
                      <a:lnTo>
                        <a:pt x="9" y="158"/>
                      </a:lnTo>
                      <a:lnTo>
                        <a:pt x="9" y="158"/>
                      </a:lnTo>
                      <a:lnTo>
                        <a:pt x="5" y="162"/>
                      </a:lnTo>
                      <a:lnTo>
                        <a:pt x="1" y="168"/>
                      </a:lnTo>
                      <a:lnTo>
                        <a:pt x="0" y="173"/>
                      </a:lnTo>
                      <a:lnTo>
                        <a:pt x="2" y="179"/>
                      </a:lnTo>
                      <a:lnTo>
                        <a:pt x="69" y="313"/>
                      </a:lnTo>
                      <a:lnTo>
                        <a:pt x="255" y="313"/>
                      </a:lnTo>
                      <a:lnTo>
                        <a:pt x="255" y="313"/>
                      </a:lnTo>
                      <a:lnTo>
                        <a:pt x="260" y="302"/>
                      </a:lnTo>
                      <a:lnTo>
                        <a:pt x="264" y="289"/>
                      </a:lnTo>
                      <a:lnTo>
                        <a:pt x="271" y="270"/>
                      </a:lnTo>
                      <a:lnTo>
                        <a:pt x="276" y="248"/>
                      </a:lnTo>
                      <a:lnTo>
                        <a:pt x="281" y="223"/>
                      </a:lnTo>
                      <a:lnTo>
                        <a:pt x="285" y="195"/>
                      </a:lnTo>
                      <a:lnTo>
                        <a:pt x="287" y="165"/>
                      </a:lnTo>
                      <a:lnTo>
                        <a:pt x="287" y="165"/>
                      </a:lnTo>
                      <a:lnTo>
                        <a:pt x="285" y="160"/>
                      </a:lnTo>
                      <a:lnTo>
                        <a:pt x="284" y="156"/>
                      </a:lnTo>
                      <a:lnTo>
                        <a:pt x="280" y="149"/>
                      </a:lnTo>
                      <a:lnTo>
                        <a:pt x="275" y="144"/>
                      </a:lnTo>
                      <a:lnTo>
                        <a:pt x="268" y="141"/>
                      </a:lnTo>
                      <a:lnTo>
                        <a:pt x="268"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89" name="Group 88">
                <a:extLst>
                  <a:ext uri="{FF2B5EF4-FFF2-40B4-BE49-F238E27FC236}">
                    <a16:creationId xmlns:a16="http://schemas.microsoft.com/office/drawing/2014/main" id="{2F275BAF-4AF0-4D0F-8CB8-2B3F71FB802D}"/>
                  </a:ext>
                </a:extLst>
              </p:cNvPr>
              <p:cNvGrpSpPr>
                <a:grpSpLocks noChangeAspect="1"/>
              </p:cNvGrpSpPr>
              <p:nvPr/>
            </p:nvGrpSpPr>
            <p:grpSpPr>
              <a:xfrm>
                <a:off x="2411458" y="3221508"/>
                <a:ext cx="286077" cy="272297"/>
                <a:chOff x="2324101" y="823913"/>
                <a:chExt cx="522288" cy="520700"/>
              </a:xfrm>
              <a:solidFill>
                <a:schemeClr val="accent3"/>
              </a:solidFill>
            </p:grpSpPr>
            <p:sp>
              <p:nvSpPr>
                <p:cNvPr id="93" name="Freeform 7">
                  <a:extLst>
                    <a:ext uri="{FF2B5EF4-FFF2-40B4-BE49-F238E27FC236}">
                      <a16:creationId xmlns:a16="http://schemas.microsoft.com/office/drawing/2014/main" id="{71384940-CAE2-40EE-8879-527A212127DA}"/>
                    </a:ext>
                  </a:extLst>
                </p:cNvPr>
                <p:cNvSpPr>
                  <a:spLocks noEditPoints="1"/>
                </p:cNvSpPr>
                <p:nvPr/>
              </p:nvSpPr>
              <p:spPr bwMode="auto">
                <a:xfrm>
                  <a:off x="2324101" y="823913"/>
                  <a:ext cx="522288" cy="520700"/>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5 w 658"/>
                    <a:gd name="T11" fmla="*/ 426 h 657"/>
                    <a:gd name="T12" fmla="*/ 4 w 658"/>
                    <a:gd name="T13" fmla="*/ 379 h 657"/>
                    <a:gd name="T14" fmla="*/ 0 w 658"/>
                    <a:gd name="T15" fmla="*/ 329 h 657"/>
                    <a:gd name="T16" fmla="*/ 3 w 658"/>
                    <a:gd name="T17" fmla="*/ 296 h 657"/>
                    <a:gd name="T18" fmla="*/ 11 w 658"/>
                    <a:gd name="T19" fmla="*/ 246 h 657"/>
                    <a:gd name="T20" fmla="*/ 40 w 658"/>
                    <a:gd name="T21" fmla="*/ 172 h 657"/>
                    <a:gd name="T22" fmla="*/ 97 w 658"/>
                    <a:gd name="T23" fmla="*/ 97 h 657"/>
                    <a:gd name="T24" fmla="*/ 172 w 658"/>
                    <a:gd name="T25" fmla="*/ 39 h 657"/>
                    <a:gd name="T26" fmla="*/ 247 w 658"/>
                    <a:gd name="T27" fmla="*/ 10 h 657"/>
                    <a:gd name="T28" fmla="*/ 295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2 w 658"/>
                    <a:gd name="T41" fmla="*/ 200 h 657"/>
                    <a:gd name="T42" fmla="*/ 651 w 658"/>
                    <a:gd name="T43" fmla="*/ 262 h 657"/>
                    <a:gd name="T44" fmla="*/ 657 w 658"/>
                    <a:gd name="T45" fmla="*/ 312 h 657"/>
                    <a:gd name="T46" fmla="*/ 657 w 658"/>
                    <a:gd name="T47" fmla="*/ 345 h 657"/>
                    <a:gd name="T48" fmla="*/ 651 w 658"/>
                    <a:gd name="T49" fmla="*/ 395 h 657"/>
                    <a:gd name="T50" fmla="*/ 632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6 w 658"/>
                    <a:gd name="T67" fmla="*/ 88 h 657"/>
                    <a:gd name="T68" fmla="*/ 105 w 658"/>
                    <a:gd name="T69" fmla="*/ 144 h 657"/>
                    <a:gd name="T70" fmla="*/ 60 w 658"/>
                    <a:gd name="T71" fmla="*/ 215 h 657"/>
                    <a:gd name="T72" fmla="*/ 39 w 658"/>
                    <a:gd name="T73" fmla="*/ 298 h 657"/>
                    <a:gd name="T74" fmla="*/ 39 w 658"/>
                    <a:gd name="T75" fmla="*/ 359 h 657"/>
                    <a:gd name="T76" fmla="*/ 60 w 658"/>
                    <a:gd name="T77" fmla="*/ 442 h 657"/>
                    <a:gd name="T78" fmla="*/ 105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5 w 658"/>
                    <a:gd name="T93" fmla="*/ 468 h 657"/>
                    <a:gd name="T94" fmla="*/ 614 w 658"/>
                    <a:gd name="T95" fmla="*/ 387 h 657"/>
                    <a:gd name="T96" fmla="*/ 620 w 658"/>
                    <a:gd name="T97" fmla="*/ 329 h 657"/>
                    <a:gd name="T98" fmla="*/ 607 w 658"/>
                    <a:gd name="T99" fmla="*/ 242 h 657"/>
                    <a:gd name="T100" fmla="*/ 571 w 658"/>
                    <a:gd name="T101" fmla="*/ 165 h 657"/>
                    <a:gd name="T102" fmla="*/ 514 w 658"/>
                    <a:gd name="T103" fmla="*/ 104 h 657"/>
                    <a:gd name="T104" fmla="*/ 442 w 658"/>
                    <a:gd name="T105" fmla="*/ 61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6"/>
                      </a:lnTo>
                      <a:lnTo>
                        <a:pt x="279" y="653"/>
                      </a:lnTo>
                      <a:lnTo>
                        <a:pt x="263" y="650"/>
                      </a:lnTo>
                      <a:lnTo>
                        <a:pt x="247" y="647"/>
                      </a:lnTo>
                      <a:lnTo>
                        <a:pt x="231" y="642"/>
                      </a:lnTo>
                      <a:lnTo>
                        <a:pt x="201" y="631"/>
                      </a:lnTo>
                      <a:lnTo>
                        <a:pt x="172" y="618"/>
                      </a:lnTo>
                      <a:lnTo>
                        <a:pt x="145" y="600"/>
                      </a:lnTo>
                      <a:lnTo>
                        <a:pt x="119" y="582"/>
                      </a:lnTo>
                      <a:lnTo>
                        <a:pt x="97" y="562"/>
                      </a:lnTo>
                      <a:lnTo>
                        <a:pt x="75" y="537"/>
                      </a:lnTo>
                      <a:lnTo>
                        <a:pt x="56"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6"/>
                      </a:lnTo>
                      <a:lnTo>
                        <a:pt x="4" y="278"/>
                      </a:lnTo>
                      <a:lnTo>
                        <a:pt x="7" y="262"/>
                      </a:lnTo>
                      <a:lnTo>
                        <a:pt x="11" y="246"/>
                      </a:lnTo>
                      <a:lnTo>
                        <a:pt x="15" y="231"/>
                      </a:lnTo>
                      <a:lnTo>
                        <a:pt x="27" y="200"/>
                      </a:lnTo>
                      <a:lnTo>
                        <a:pt x="40" y="172"/>
                      </a:lnTo>
                      <a:lnTo>
                        <a:pt x="56" y="145"/>
                      </a:lnTo>
                      <a:lnTo>
                        <a:pt x="75" y="120"/>
                      </a:lnTo>
                      <a:lnTo>
                        <a:pt x="97" y="97"/>
                      </a:lnTo>
                      <a:lnTo>
                        <a:pt x="119" y="76"/>
                      </a:lnTo>
                      <a:lnTo>
                        <a:pt x="145" y="57"/>
                      </a:lnTo>
                      <a:lnTo>
                        <a:pt x="172" y="39"/>
                      </a:lnTo>
                      <a:lnTo>
                        <a:pt x="201" y="26"/>
                      </a:lnTo>
                      <a:lnTo>
                        <a:pt x="231" y="15"/>
                      </a:lnTo>
                      <a:lnTo>
                        <a:pt x="247" y="10"/>
                      </a:lnTo>
                      <a:lnTo>
                        <a:pt x="263" y="7"/>
                      </a:lnTo>
                      <a:lnTo>
                        <a:pt x="279" y="4"/>
                      </a:lnTo>
                      <a:lnTo>
                        <a:pt x="295" y="2"/>
                      </a:lnTo>
                      <a:lnTo>
                        <a:pt x="311" y="0"/>
                      </a:lnTo>
                      <a:lnTo>
                        <a:pt x="329" y="0"/>
                      </a:lnTo>
                      <a:lnTo>
                        <a:pt x="329" y="0"/>
                      </a:lnTo>
                      <a:lnTo>
                        <a:pt x="346" y="0"/>
                      </a:lnTo>
                      <a:lnTo>
                        <a:pt x="362" y="2"/>
                      </a:lnTo>
                      <a:lnTo>
                        <a:pt x="379" y="4"/>
                      </a:lnTo>
                      <a:lnTo>
                        <a:pt x="395" y="7"/>
                      </a:lnTo>
                      <a:lnTo>
                        <a:pt x="411" y="10"/>
                      </a:lnTo>
                      <a:lnTo>
                        <a:pt x="427" y="15"/>
                      </a:lnTo>
                      <a:lnTo>
                        <a:pt x="456" y="26"/>
                      </a:lnTo>
                      <a:lnTo>
                        <a:pt x="486" y="39"/>
                      </a:lnTo>
                      <a:lnTo>
                        <a:pt x="513" y="57"/>
                      </a:lnTo>
                      <a:lnTo>
                        <a:pt x="538" y="76"/>
                      </a:lnTo>
                      <a:lnTo>
                        <a:pt x="561" y="97"/>
                      </a:lnTo>
                      <a:lnTo>
                        <a:pt x="583" y="120"/>
                      </a:lnTo>
                      <a:lnTo>
                        <a:pt x="601" y="145"/>
                      </a:lnTo>
                      <a:lnTo>
                        <a:pt x="618" y="172"/>
                      </a:lnTo>
                      <a:lnTo>
                        <a:pt x="632" y="200"/>
                      </a:lnTo>
                      <a:lnTo>
                        <a:pt x="643" y="231"/>
                      </a:lnTo>
                      <a:lnTo>
                        <a:pt x="647" y="246"/>
                      </a:lnTo>
                      <a:lnTo>
                        <a:pt x="651" y="262"/>
                      </a:lnTo>
                      <a:lnTo>
                        <a:pt x="654" y="278"/>
                      </a:lnTo>
                      <a:lnTo>
                        <a:pt x="655" y="296"/>
                      </a:lnTo>
                      <a:lnTo>
                        <a:pt x="657" y="312"/>
                      </a:lnTo>
                      <a:lnTo>
                        <a:pt x="658" y="329"/>
                      </a:lnTo>
                      <a:lnTo>
                        <a:pt x="658" y="329"/>
                      </a:lnTo>
                      <a:lnTo>
                        <a:pt x="657" y="345"/>
                      </a:lnTo>
                      <a:lnTo>
                        <a:pt x="655" y="363"/>
                      </a:lnTo>
                      <a:lnTo>
                        <a:pt x="654" y="379"/>
                      </a:lnTo>
                      <a:lnTo>
                        <a:pt x="651" y="395"/>
                      </a:lnTo>
                      <a:lnTo>
                        <a:pt x="647" y="411"/>
                      </a:lnTo>
                      <a:lnTo>
                        <a:pt x="643" y="426"/>
                      </a:lnTo>
                      <a:lnTo>
                        <a:pt x="632" y="457"/>
                      </a:lnTo>
                      <a:lnTo>
                        <a:pt x="618" y="485"/>
                      </a:lnTo>
                      <a:lnTo>
                        <a:pt x="601" y="512"/>
                      </a:lnTo>
                      <a:lnTo>
                        <a:pt x="583" y="537"/>
                      </a:lnTo>
                      <a:lnTo>
                        <a:pt x="561" y="562"/>
                      </a:lnTo>
                      <a:lnTo>
                        <a:pt x="538" y="582"/>
                      </a:lnTo>
                      <a:lnTo>
                        <a:pt x="513" y="600"/>
                      </a:lnTo>
                      <a:lnTo>
                        <a:pt x="486" y="618"/>
                      </a:lnTo>
                      <a:lnTo>
                        <a:pt x="456" y="631"/>
                      </a:lnTo>
                      <a:lnTo>
                        <a:pt x="427" y="642"/>
                      </a:lnTo>
                      <a:lnTo>
                        <a:pt x="411" y="647"/>
                      </a:lnTo>
                      <a:lnTo>
                        <a:pt x="395" y="650"/>
                      </a:lnTo>
                      <a:lnTo>
                        <a:pt x="379" y="653"/>
                      </a:lnTo>
                      <a:lnTo>
                        <a:pt x="362" y="656"/>
                      </a:lnTo>
                      <a:lnTo>
                        <a:pt x="346" y="657"/>
                      </a:lnTo>
                      <a:lnTo>
                        <a:pt x="329" y="657"/>
                      </a:lnTo>
                      <a:lnTo>
                        <a:pt x="329" y="657"/>
                      </a:lnTo>
                      <a:close/>
                      <a:moveTo>
                        <a:pt x="329" y="38"/>
                      </a:moveTo>
                      <a:lnTo>
                        <a:pt x="329" y="38"/>
                      </a:lnTo>
                      <a:lnTo>
                        <a:pt x="299" y="39"/>
                      </a:lnTo>
                      <a:lnTo>
                        <a:pt x="270" y="43"/>
                      </a:lnTo>
                      <a:lnTo>
                        <a:pt x="243" y="51"/>
                      </a:lnTo>
                      <a:lnTo>
                        <a:pt x="216" y="61"/>
                      </a:lnTo>
                      <a:lnTo>
                        <a:pt x="191" y="73"/>
                      </a:lnTo>
                      <a:lnTo>
                        <a:pt x="166" y="88"/>
                      </a:lnTo>
                      <a:lnTo>
                        <a:pt x="144" y="104"/>
                      </a:lnTo>
                      <a:lnTo>
                        <a:pt x="124" y="123"/>
                      </a:lnTo>
                      <a:lnTo>
                        <a:pt x="105" y="144"/>
                      </a:lnTo>
                      <a:lnTo>
                        <a:pt x="87" y="165"/>
                      </a:lnTo>
                      <a:lnTo>
                        <a:pt x="72" y="190"/>
                      </a:lnTo>
                      <a:lnTo>
                        <a:pt x="60" y="215"/>
                      </a:lnTo>
                      <a:lnTo>
                        <a:pt x="51" y="242"/>
                      </a:lnTo>
                      <a:lnTo>
                        <a:pt x="44" y="270"/>
                      </a:lnTo>
                      <a:lnTo>
                        <a:pt x="39" y="298"/>
                      </a:lnTo>
                      <a:lnTo>
                        <a:pt x="38" y="329"/>
                      </a:lnTo>
                      <a:lnTo>
                        <a:pt x="38" y="329"/>
                      </a:lnTo>
                      <a:lnTo>
                        <a:pt x="39" y="359"/>
                      </a:lnTo>
                      <a:lnTo>
                        <a:pt x="44" y="387"/>
                      </a:lnTo>
                      <a:lnTo>
                        <a:pt x="51" y="415"/>
                      </a:lnTo>
                      <a:lnTo>
                        <a:pt x="60" y="442"/>
                      </a:lnTo>
                      <a:lnTo>
                        <a:pt x="72" y="468"/>
                      </a:lnTo>
                      <a:lnTo>
                        <a:pt x="87" y="492"/>
                      </a:lnTo>
                      <a:lnTo>
                        <a:pt x="105" y="513"/>
                      </a:lnTo>
                      <a:lnTo>
                        <a:pt x="124" y="535"/>
                      </a:lnTo>
                      <a:lnTo>
                        <a:pt x="144" y="553"/>
                      </a:lnTo>
                      <a:lnTo>
                        <a:pt x="166" y="570"/>
                      </a:lnTo>
                      <a:lnTo>
                        <a:pt x="191" y="584"/>
                      </a:lnTo>
                      <a:lnTo>
                        <a:pt x="216" y="596"/>
                      </a:lnTo>
                      <a:lnTo>
                        <a:pt x="243" y="607"/>
                      </a:lnTo>
                      <a:lnTo>
                        <a:pt x="270" y="614"/>
                      </a:lnTo>
                      <a:lnTo>
                        <a:pt x="299" y="618"/>
                      </a:lnTo>
                      <a:lnTo>
                        <a:pt x="329" y="619"/>
                      </a:lnTo>
                      <a:lnTo>
                        <a:pt x="329" y="619"/>
                      </a:lnTo>
                      <a:lnTo>
                        <a:pt x="358" y="618"/>
                      </a:lnTo>
                      <a:lnTo>
                        <a:pt x="388" y="614"/>
                      </a:lnTo>
                      <a:lnTo>
                        <a:pt x="415" y="607"/>
                      </a:lnTo>
                      <a:lnTo>
                        <a:pt x="442" y="596"/>
                      </a:lnTo>
                      <a:lnTo>
                        <a:pt x="467" y="584"/>
                      </a:lnTo>
                      <a:lnTo>
                        <a:pt x="491" y="570"/>
                      </a:lnTo>
                      <a:lnTo>
                        <a:pt x="514" y="553"/>
                      </a:lnTo>
                      <a:lnTo>
                        <a:pt x="534" y="535"/>
                      </a:lnTo>
                      <a:lnTo>
                        <a:pt x="553" y="513"/>
                      </a:lnTo>
                      <a:lnTo>
                        <a:pt x="571" y="492"/>
                      </a:lnTo>
                      <a:lnTo>
                        <a:pt x="585" y="468"/>
                      </a:lnTo>
                      <a:lnTo>
                        <a:pt x="597" y="442"/>
                      </a:lnTo>
                      <a:lnTo>
                        <a:pt x="607" y="415"/>
                      </a:lnTo>
                      <a:lnTo>
                        <a:pt x="614" y="387"/>
                      </a:lnTo>
                      <a:lnTo>
                        <a:pt x="619" y="359"/>
                      </a:lnTo>
                      <a:lnTo>
                        <a:pt x="620" y="329"/>
                      </a:lnTo>
                      <a:lnTo>
                        <a:pt x="620" y="329"/>
                      </a:lnTo>
                      <a:lnTo>
                        <a:pt x="619" y="298"/>
                      </a:lnTo>
                      <a:lnTo>
                        <a:pt x="614" y="270"/>
                      </a:lnTo>
                      <a:lnTo>
                        <a:pt x="607" y="242"/>
                      </a:lnTo>
                      <a:lnTo>
                        <a:pt x="597" y="215"/>
                      </a:lnTo>
                      <a:lnTo>
                        <a:pt x="585" y="190"/>
                      </a:lnTo>
                      <a:lnTo>
                        <a:pt x="571" y="165"/>
                      </a:lnTo>
                      <a:lnTo>
                        <a:pt x="553" y="144"/>
                      </a:lnTo>
                      <a:lnTo>
                        <a:pt x="534" y="123"/>
                      </a:lnTo>
                      <a:lnTo>
                        <a:pt x="514" y="104"/>
                      </a:lnTo>
                      <a:lnTo>
                        <a:pt x="491" y="88"/>
                      </a:lnTo>
                      <a:lnTo>
                        <a:pt x="467" y="73"/>
                      </a:lnTo>
                      <a:lnTo>
                        <a:pt x="442" y="61"/>
                      </a:lnTo>
                      <a:lnTo>
                        <a:pt x="415" y="51"/>
                      </a:lnTo>
                      <a:lnTo>
                        <a:pt x="388" y="43"/>
                      </a:lnTo>
                      <a:lnTo>
                        <a:pt x="358"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4" name="Freeform 89">
                  <a:extLst>
                    <a:ext uri="{FF2B5EF4-FFF2-40B4-BE49-F238E27FC236}">
                      <a16:creationId xmlns:a16="http://schemas.microsoft.com/office/drawing/2014/main" id="{0C2BF2A9-9C35-4B88-9A8F-C1B0616AAEA5}"/>
                    </a:ext>
                  </a:extLst>
                </p:cNvPr>
                <p:cNvSpPr>
                  <a:spLocks/>
                </p:cNvSpPr>
                <p:nvPr/>
              </p:nvSpPr>
              <p:spPr bwMode="auto">
                <a:xfrm>
                  <a:off x="2459038" y="944563"/>
                  <a:ext cx="228600" cy="247650"/>
                </a:xfrm>
                <a:custGeom>
                  <a:avLst/>
                  <a:gdLst>
                    <a:gd name="T0" fmla="*/ 268 w 287"/>
                    <a:gd name="T1" fmla="*/ 141 h 313"/>
                    <a:gd name="T2" fmla="*/ 255 w 287"/>
                    <a:gd name="T3" fmla="*/ 142 h 313"/>
                    <a:gd name="T4" fmla="*/ 248 w 287"/>
                    <a:gd name="T5" fmla="*/ 146 h 313"/>
                    <a:gd name="T6" fmla="*/ 245 w 287"/>
                    <a:gd name="T7" fmla="*/ 148 h 313"/>
                    <a:gd name="T8" fmla="*/ 243 w 287"/>
                    <a:gd name="T9" fmla="*/ 146 h 313"/>
                    <a:gd name="T10" fmla="*/ 240 w 287"/>
                    <a:gd name="T11" fmla="*/ 138 h 313"/>
                    <a:gd name="T12" fmla="*/ 229 w 287"/>
                    <a:gd name="T13" fmla="*/ 129 h 313"/>
                    <a:gd name="T14" fmla="*/ 222 w 287"/>
                    <a:gd name="T15" fmla="*/ 128 h 313"/>
                    <a:gd name="T16" fmla="*/ 209 w 287"/>
                    <a:gd name="T17" fmla="*/ 130 h 313"/>
                    <a:gd name="T18" fmla="*/ 200 w 287"/>
                    <a:gd name="T19" fmla="*/ 137 h 313"/>
                    <a:gd name="T20" fmla="*/ 197 w 287"/>
                    <a:gd name="T21" fmla="*/ 137 h 313"/>
                    <a:gd name="T22" fmla="*/ 196 w 287"/>
                    <a:gd name="T23" fmla="*/ 136 h 313"/>
                    <a:gd name="T24" fmla="*/ 193 w 287"/>
                    <a:gd name="T25" fmla="*/ 129 h 313"/>
                    <a:gd name="T26" fmla="*/ 182 w 287"/>
                    <a:gd name="T27" fmla="*/ 120 h 313"/>
                    <a:gd name="T28" fmla="*/ 174 w 287"/>
                    <a:gd name="T29" fmla="*/ 117 h 313"/>
                    <a:gd name="T30" fmla="*/ 161 w 287"/>
                    <a:gd name="T31" fmla="*/ 120 h 313"/>
                    <a:gd name="T32" fmla="*/ 151 w 287"/>
                    <a:gd name="T33" fmla="*/ 129 h 313"/>
                    <a:gd name="T34" fmla="*/ 150 w 287"/>
                    <a:gd name="T35" fmla="*/ 130 h 313"/>
                    <a:gd name="T36" fmla="*/ 149 w 287"/>
                    <a:gd name="T37" fmla="*/ 26 h 313"/>
                    <a:gd name="T38" fmla="*/ 149 w 287"/>
                    <a:gd name="T39" fmla="*/ 20 h 313"/>
                    <a:gd name="T40" fmla="*/ 142 w 287"/>
                    <a:gd name="T41" fmla="*/ 8 h 313"/>
                    <a:gd name="T42" fmla="*/ 135 w 287"/>
                    <a:gd name="T43" fmla="*/ 3 h 313"/>
                    <a:gd name="T44" fmla="*/ 127 w 287"/>
                    <a:gd name="T45" fmla="*/ 0 h 313"/>
                    <a:gd name="T46" fmla="*/ 122 w 287"/>
                    <a:gd name="T47" fmla="*/ 0 h 313"/>
                    <a:gd name="T48" fmla="*/ 112 w 287"/>
                    <a:gd name="T49" fmla="*/ 4 h 313"/>
                    <a:gd name="T50" fmla="*/ 106 w 287"/>
                    <a:gd name="T51" fmla="*/ 9 h 313"/>
                    <a:gd name="T52" fmla="*/ 102 w 287"/>
                    <a:gd name="T53" fmla="*/ 19 h 313"/>
                    <a:gd name="T54" fmla="*/ 100 w 287"/>
                    <a:gd name="T55" fmla="*/ 192 h 313"/>
                    <a:gd name="T56" fmla="*/ 100 w 287"/>
                    <a:gd name="T57" fmla="*/ 197 h 313"/>
                    <a:gd name="T58" fmla="*/ 93 w 287"/>
                    <a:gd name="T59" fmla="*/ 204 h 313"/>
                    <a:gd name="T60" fmla="*/ 84 w 287"/>
                    <a:gd name="T61" fmla="*/ 208 h 313"/>
                    <a:gd name="T62" fmla="*/ 75 w 287"/>
                    <a:gd name="T63" fmla="*/ 204 h 313"/>
                    <a:gd name="T64" fmla="*/ 53 w 287"/>
                    <a:gd name="T65" fmla="*/ 173 h 313"/>
                    <a:gd name="T66" fmla="*/ 49 w 287"/>
                    <a:gd name="T67" fmla="*/ 168 h 313"/>
                    <a:gd name="T68" fmla="*/ 40 w 287"/>
                    <a:gd name="T69" fmla="*/ 161 h 313"/>
                    <a:gd name="T70" fmla="*/ 28 w 287"/>
                    <a:gd name="T71" fmla="*/ 157 h 313"/>
                    <a:gd name="T72" fmla="*/ 16 w 287"/>
                    <a:gd name="T73" fmla="*/ 157 h 313"/>
                    <a:gd name="T74" fmla="*/ 9 w 287"/>
                    <a:gd name="T75" fmla="*/ 158 h 313"/>
                    <a:gd name="T76" fmla="*/ 1 w 287"/>
                    <a:gd name="T77" fmla="*/ 168 h 313"/>
                    <a:gd name="T78" fmla="*/ 2 w 287"/>
                    <a:gd name="T79" fmla="*/ 179 h 313"/>
                    <a:gd name="T80" fmla="*/ 255 w 287"/>
                    <a:gd name="T81" fmla="*/ 313 h 313"/>
                    <a:gd name="T82" fmla="*/ 260 w 287"/>
                    <a:gd name="T83" fmla="*/ 302 h 313"/>
                    <a:gd name="T84" fmla="*/ 271 w 287"/>
                    <a:gd name="T85" fmla="*/ 270 h 313"/>
                    <a:gd name="T86" fmla="*/ 281 w 287"/>
                    <a:gd name="T87" fmla="*/ 223 h 313"/>
                    <a:gd name="T88" fmla="*/ 287 w 287"/>
                    <a:gd name="T89" fmla="*/ 165 h 313"/>
                    <a:gd name="T90" fmla="*/ 285 w 287"/>
                    <a:gd name="T91" fmla="*/ 160 h 313"/>
                    <a:gd name="T92" fmla="*/ 280 w 287"/>
                    <a:gd name="T93" fmla="*/ 149 h 313"/>
                    <a:gd name="T94" fmla="*/ 268 w 287"/>
                    <a:gd name="T95" fmla="*/ 141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7" h="313">
                      <a:moveTo>
                        <a:pt x="268" y="141"/>
                      </a:moveTo>
                      <a:lnTo>
                        <a:pt x="268" y="141"/>
                      </a:lnTo>
                      <a:lnTo>
                        <a:pt x="260" y="141"/>
                      </a:lnTo>
                      <a:lnTo>
                        <a:pt x="255" y="142"/>
                      </a:lnTo>
                      <a:lnTo>
                        <a:pt x="251" y="144"/>
                      </a:lnTo>
                      <a:lnTo>
                        <a:pt x="248" y="146"/>
                      </a:lnTo>
                      <a:lnTo>
                        <a:pt x="248" y="146"/>
                      </a:lnTo>
                      <a:lnTo>
                        <a:pt x="245" y="148"/>
                      </a:lnTo>
                      <a:lnTo>
                        <a:pt x="244" y="146"/>
                      </a:lnTo>
                      <a:lnTo>
                        <a:pt x="243" y="146"/>
                      </a:lnTo>
                      <a:lnTo>
                        <a:pt x="243" y="146"/>
                      </a:lnTo>
                      <a:lnTo>
                        <a:pt x="240" y="138"/>
                      </a:lnTo>
                      <a:lnTo>
                        <a:pt x="236" y="133"/>
                      </a:lnTo>
                      <a:lnTo>
                        <a:pt x="229" y="129"/>
                      </a:lnTo>
                      <a:lnTo>
                        <a:pt x="222" y="128"/>
                      </a:lnTo>
                      <a:lnTo>
                        <a:pt x="222" y="128"/>
                      </a:lnTo>
                      <a:lnTo>
                        <a:pt x="214" y="128"/>
                      </a:lnTo>
                      <a:lnTo>
                        <a:pt x="209" y="130"/>
                      </a:lnTo>
                      <a:lnTo>
                        <a:pt x="204" y="133"/>
                      </a:lnTo>
                      <a:lnTo>
                        <a:pt x="200" y="137"/>
                      </a:lnTo>
                      <a:lnTo>
                        <a:pt x="200" y="137"/>
                      </a:lnTo>
                      <a:lnTo>
                        <a:pt x="197" y="137"/>
                      </a:lnTo>
                      <a:lnTo>
                        <a:pt x="196" y="137"/>
                      </a:lnTo>
                      <a:lnTo>
                        <a:pt x="196" y="136"/>
                      </a:lnTo>
                      <a:lnTo>
                        <a:pt x="196" y="136"/>
                      </a:lnTo>
                      <a:lnTo>
                        <a:pt x="193" y="129"/>
                      </a:lnTo>
                      <a:lnTo>
                        <a:pt x="187" y="124"/>
                      </a:lnTo>
                      <a:lnTo>
                        <a:pt x="182" y="120"/>
                      </a:lnTo>
                      <a:lnTo>
                        <a:pt x="174" y="117"/>
                      </a:lnTo>
                      <a:lnTo>
                        <a:pt x="174" y="117"/>
                      </a:lnTo>
                      <a:lnTo>
                        <a:pt x="167" y="117"/>
                      </a:lnTo>
                      <a:lnTo>
                        <a:pt x="161" y="120"/>
                      </a:lnTo>
                      <a:lnTo>
                        <a:pt x="155" y="124"/>
                      </a:lnTo>
                      <a:lnTo>
                        <a:pt x="151" y="129"/>
                      </a:lnTo>
                      <a:lnTo>
                        <a:pt x="151" y="129"/>
                      </a:lnTo>
                      <a:lnTo>
                        <a:pt x="150" y="130"/>
                      </a:lnTo>
                      <a:lnTo>
                        <a:pt x="149" y="129"/>
                      </a:lnTo>
                      <a:lnTo>
                        <a:pt x="149" y="26"/>
                      </a:lnTo>
                      <a:lnTo>
                        <a:pt x="149" y="26"/>
                      </a:lnTo>
                      <a:lnTo>
                        <a:pt x="149" y="20"/>
                      </a:lnTo>
                      <a:lnTo>
                        <a:pt x="147" y="16"/>
                      </a:lnTo>
                      <a:lnTo>
                        <a:pt x="142" y="8"/>
                      </a:lnTo>
                      <a:lnTo>
                        <a:pt x="139" y="5"/>
                      </a:lnTo>
                      <a:lnTo>
                        <a:pt x="135" y="3"/>
                      </a:lnTo>
                      <a:lnTo>
                        <a:pt x="131" y="1"/>
                      </a:lnTo>
                      <a:lnTo>
                        <a:pt x="127" y="0"/>
                      </a:lnTo>
                      <a:lnTo>
                        <a:pt x="127" y="0"/>
                      </a:lnTo>
                      <a:lnTo>
                        <a:pt x="122" y="0"/>
                      </a:lnTo>
                      <a:lnTo>
                        <a:pt x="116" y="1"/>
                      </a:lnTo>
                      <a:lnTo>
                        <a:pt x="112" y="4"/>
                      </a:lnTo>
                      <a:lnTo>
                        <a:pt x="108" y="7"/>
                      </a:lnTo>
                      <a:lnTo>
                        <a:pt x="106" y="9"/>
                      </a:lnTo>
                      <a:lnTo>
                        <a:pt x="103" y="15"/>
                      </a:lnTo>
                      <a:lnTo>
                        <a:pt x="102" y="19"/>
                      </a:lnTo>
                      <a:lnTo>
                        <a:pt x="100" y="24"/>
                      </a:lnTo>
                      <a:lnTo>
                        <a:pt x="100" y="192"/>
                      </a:lnTo>
                      <a:lnTo>
                        <a:pt x="100" y="192"/>
                      </a:lnTo>
                      <a:lnTo>
                        <a:pt x="100" y="197"/>
                      </a:lnTo>
                      <a:lnTo>
                        <a:pt x="98" y="201"/>
                      </a:lnTo>
                      <a:lnTo>
                        <a:pt x="93" y="204"/>
                      </a:lnTo>
                      <a:lnTo>
                        <a:pt x="89" y="207"/>
                      </a:lnTo>
                      <a:lnTo>
                        <a:pt x="84" y="208"/>
                      </a:lnTo>
                      <a:lnTo>
                        <a:pt x="80" y="207"/>
                      </a:lnTo>
                      <a:lnTo>
                        <a:pt x="75" y="204"/>
                      </a:lnTo>
                      <a:lnTo>
                        <a:pt x="72" y="200"/>
                      </a:lnTo>
                      <a:lnTo>
                        <a:pt x="53" y="173"/>
                      </a:lnTo>
                      <a:lnTo>
                        <a:pt x="53" y="173"/>
                      </a:lnTo>
                      <a:lnTo>
                        <a:pt x="49" y="168"/>
                      </a:lnTo>
                      <a:lnTo>
                        <a:pt x="45" y="164"/>
                      </a:lnTo>
                      <a:lnTo>
                        <a:pt x="40" y="161"/>
                      </a:lnTo>
                      <a:lnTo>
                        <a:pt x="34" y="158"/>
                      </a:lnTo>
                      <a:lnTo>
                        <a:pt x="28" y="157"/>
                      </a:lnTo>
                      <a:lnTo>
                        <a:pt x="22" y="157"/>
                      </a:lnTo>
                      <a:lnTo>
                        <a:pt x="16" y="157"/>
                      </a:lnTo>
                      <a:lnTo>
                        <a:pt x="9" y="158"/>
                      </a:lnTo>
                      <a:lnTo>
                        <a:pt x="9" y="158"/>
                      </a:lnTo>
                      <a:lnTo>
                        <a:pt x="5" y="162"/>
                      </a:lnTo>
                      <a:lnTo>
                        <a:pt x="1" y="168"/>
                      </a:lnTo>
                      <a:lnTo>
                        <a:pt x="0" y="173"/>
                      </a:lnTo>
                      <a:lnTo>
                        <a:pt x="2" y="179"/>
                      </a:lnTo>
                      <a:lnTo>
                        <a:pt x="69" y="313"/>
                      </a:lnTo>
                      <a:lnTo>
                        <a:pt x="255" y="313"/>
                      </a:lnTo>
                      <a:lnTo>
                        <a:pt x="255" y="313"/>
                      </a:lnTo>
                      <a:lnTo>
                        <a:pt x="260" y="302"/>
                      </a:lnTo>
                      <a:lnTo>
                        <a:pt x="264" y="289"/>
                      </a:lnTo>
                      <a:lnTo>
                        <a:pt x="271" y="270"/>
                      </a:lnTo>
                      <a:lnTo>
                        <a:pt x="276" y="248"/>
                      </a:lnTo>
                      <a:lnTo>
                        <a:pt x="281" y="223"/>
                      </a:lnTo>
                      <a:lnTo>
                        <a:pt x="285" y="195"/>
                      </a:lnTo>
                      <a:lnTo>
                        <a:pt x="287" y="165"/>
                      </a:lnTo>
                      <a:lnTo>
                        <a:pt x="287" y="165"/>
                      </a:lnTo>
                      <a:lnTo>
                        <a:pt x="285" y="160"/>
                      </a:lnTo>
                      <a:lnTo>
                        <a:pt x="284" y="156"/>
                      </a:lnTo>
                      <a:lnTo>
                        <a:pt x="280" y="149"/>
                      </a:lnTo>
                      <a:lnTo>
                        <a:pt x="275" y="144"/>
                      </a:lnTo>
                      <a:lnTo>
                        <a:pt x="268" y="141"/>
                      </a:lnTo>
                      <a:lnTo>
                        <a:pt x="268"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90" name="Group 89">
                <a:extLst>
                  <a:ext uri="{FF2B5EF4-FFF2-40B4-BE49-F238E27FC236}">
                    <a16:creationId xmlns:a16="http://schemas.microsoft.com/office/drawing/2014/main" id="{4852E975-FFA1-45B2-92A2-F4F3E1F9C51F}"/>
                  </a:ext>
                </a:extLst>
              </p:cNvPr>
              <p:cNvGrpSpPr>
                <a:grpSpLocks noChangeAspect="1"/>
              </p:cNvGrpSpPr>
              <p:nvPr/>
            </p:nvGrpSpPr>
            <p:grpSpPr>
              <a:xfrm>
                <a:off x="2415000" y="3546598"/>
                <a:ext cx="286077" cy="272297"/>
                <a:chOff x="2324101" y="823913"/>
                <a:chExt cx="522288" cy="520700"/>
              </a:xfrm>
              <a:solidFill>
                <a:schemeClr val="accent3"/>
              </a:solidFill>
            </p:grpSpPr>
            <p:sp>
              <p:nvSpPr>
                <p:cNvPr id="91" name="Freeform 7">
                  <a:extLst>
                    <a:ext uri="{FF2B5EF4-FFF2-40B4-BE49-F238E27FC236}">
                      <a16:creationId xmlns:a16="http://schemas.microsoft.com/office/drawing/2014/main" id="{CACDF8FF-32B8-4013-B8D3-A2F6A48AFB28}"/>
                    </a:ext>
                  </a:extLst>
                </p:cNvPr>
                <p:cNvSpPr>
                  <a:spLocks noEditPoints="1"/>
                </p:cNvSpPr>
                <p:nvPr/>
              </p:nvSpPr>
              <p:spPr bwMode="auto">
                <a:xfrm>
                  <a:off x="2324101" y="823913"/>
                  <a:ext cx="522288" cy="520700"/>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5 w 658"/>
                    <a:gd name="T11" fmla="*/ 426 h 657"/>
                    <a:gd name="T12" fmla="*/ 4 w 658"/>
                    <a:gd name="T13" fmla="*/ 379 h 657"/>
                    <a:gd name="T14" fmla="*/ 0 w 658"/>
                    <a:gd name="T15" fmla="*/ 329 h 657"/>
                    <a:gd name="T16" fmla="*/ 3 w 658"/>
                    <a:gd name="T17" fmla="*/ 296 h 657"/>
                    <a:gd name="T18" fmla="*/ 11 w 658"/>
                    <a:gd name="T19" fmla="*/ 246 h 657"/>
                    <a:gd name="T20" fmla="*/ 40 w 658"/>
                    <a:gd name="T21" fmla="*/ 172 h 657"/>
                    <a:gd name="T22" fmla="*/ 97 w 658"/>
                    <a:gd name="T23" fmla="*/ 97 h 657"/>
                    <a:gd name="T24" fmla="*/ 172 w 658"/>
                    <a:gd name="T25" fmla="*/ 39 h 657"/>
                    <a:gd name="T26" fmla="*/ 247 w 658"/>
                    <a:gd name="T27" fmla="*/ 10 h 657"/>
                    <a:gd name="T28" fmla="*/ 295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2 w 658"/>
                    <a:gd name="T41" fmla="*/ 200 h 657"/>
                    <a:gd name="T42" fmla="*/ 651 w 658"/>
                    <a:gd name="T43" fmla="*/ 262 h 657"/>
                    <a:gd name="T44" fmla="*/ 657 w 658"/>
                    <a:gd name="T45" fmla="*/ 312 h 657"/>
                    <a:gd name="T46" fmla="*/ 657 w 658"/>
                    <a:gd name="T47" fmla="*/ 345 h 657"/>
                    <a:gd name="T48" fmla="*/ 651 w 658"/>
                    <a:gd name="T49" fmla="*/ 395 h 657"/>
                    <a:gd name="T50" fmla="*/ 632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6 w 658"/>
                    <a:gd name="T67" fmla="*/ 88 h 657"/>
                    <a:gd name="T68" fmla="*/ 105 w 658"/>
                    <a:gd name="T69" fmla="*/ 144 h 657"/>
                    <a:gd name="T70" fmla="*/ 60 w 658"/>
                    <a:gd name="T71" fmla="*/ 215 h 657"/>
                    <a:gd name="T72" fmla="*/ 39 w 658"/>
                    <a:gd name="T73" fmla="*/ 298 h 657"/>
                    <a:gd name="T74" fmla="*/ 39 w 658"/>
                    <a:gd name="T75" fmla="*/ 359 h 657"/>
                    <a:gd name="T76" fmla="*/ 60 w 658"/>
                    <a:gd name="T77" fmla="*/ 442 h 657"/>
                    <a:gd name="T78" fmla="*/ 105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5 w 658"/>
                    <a:gd name="T93" fmla="*/ 468 h 657"/>
                    <a:gd name="T94" fmla="*/ 614 w 658"/>
                    <a:gd name="T95" fmla="*/ 387 h 657"/>
                    <a:gd name="T96" fmla="*/ 620 w 658"/>
                    <a:gd name="T97" fmla="*/ 329 h 657"/>
                    <a:gd name="T98" fmla="*/ 607 w 658"/>
                    <a:gd name="T99" fmla="*/ 242 h 657"/>
                    <a:gd name="T100" fmla="*/ 571 w 658"/>
                    <a:gd name="T101" fmla="*/ 165 h 657"/>
                    <a:gd name="T102" fmla="*/ 514 w 658"/>
                    <a:gd name="T103" fmla="*/ 104 h 657"/>
                    <a:gd name="T104" fmla="*/ 442 w 658"/>
                    <a:gd name="T105" fmla="*/ 61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6"/>
                      </a:lnTo>
                      <a:lnTo>
                        <a:pt x="279" y="653"/>
                      </a:lnTo>
                      <a:lnTo>
                        <a:pt x="263" y="650"/>
                      </a:lnTo>
                      <a:lnTo>
                        <a:pt x="247" y="647"/>
                      </a:lnTo>
                      <a:lnTo>
                        <a:pt x="231" y="642"/>
                      </a:lnTo>
                      <a:lnTo>
                        <a:pt x="201" y="631"/>
                      </a:lnTo>
                      <a:lnTo>
                        <a:pt x="172" y="618"/>
                      </a:lnTo>
                      <a:lnTo>
                        <a:pt x="145" y="600"/>
                      </a:lnTo>
                      <a:lnTo>
                        <a:pt x="119" y="582"/>
                      </a:lnTo>
                      <a:lnTo>
                        <a:pt x="97" y="562"/>
                      </a:lnTo>
                      <a:lnTo>
                        <a:pt x="75" y="537"/>
                      </a:lnTo>
                      <a:lnTo>
                        <a:pt x="56"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6"/>
                      </a:lnTo>
                      <a:lnTo>
                        <a:pt x="4" y="278"/>
                      </a:lnTo>
                      <a:lnTo>
                        <a:pt x="7" y="262"/>
                      </a:lnTo>
                      <a:lnTo>
                        <a:pt x="11" y="246"/>
                      </a:lnTo>
                      <a:lnTo>
                        <a:pt x="15" y="231"/>
                      </a:lnTo>
                      <a:lnTo>
                        <a:pt x="27" y="200"/>
                      </a:lnTo>
                      <a:lnTo>
                        <a:pt x="40" y="172"/>
                      </a:lnTo>
                      <a:lnTo>
                        <a:pt x="56" y="145"/>
                      </a:lnTo>
                      <a:lnTo>
                        <a:pt x="75" y="120"/>
                      </a:lnTo>
                      <a:lnTo>
                        <a:pt x="97" y="97"/>
                      </a:lnTo>
                      <a:lnTo>
                        <a:pt x="119" y="76"/>
                      </a:lnTo>
                      <a:lnTo>
                        <a:pt x="145" y="57"/>
                      </a:lnTo>
                      <a:lnTo>
                        <a:pt x="172" y="39"/>
                      </a:lnTo>
                      <a:lnTo>
                        <a:pt x="201" y="26"/>
                      </a:lnTo>
                      <a:lnTo>
                        <a:pt x="231" y="15"/>
                      </a:lnTo>
                      <a:lnTo>
                        <a:pt x="247" y="10"/>
                      </a:lnTo>
                      <a:lnTo>
                        <a:pt x="263" y="7"/>
                      </a:lnTo>
                      <a:lnTo>
                        <a:pt x="279" y="4"/>
                      </a:lnTo>
                      <a:lnTo>
                        <a:pt x="295" y="2"/>
                      </a:lnTo>
                      <a:lnTo>
                        <a:pt x="311" y="0"/>
                      </a:lnTo>
                      <a:lnTo>
                        <a:pt x="329" y="0"/>
                      </a:lnTo>
                      <a:lnTo>
                        <a:pt x="329" y="0"/>
                      </a:lnTo>
                      <a:lnTo>
                        <a:pt x="346" y="0"/>
                      </a:lnTo>
                      <a:lnTo>
                        <a:pt x="362" y="2"/>
                      </a:lnTo>
                      <a:lnTo>
                        <a:pt x="379" y="4"/>
                      </a:lnTo>
                      <a:lnTo>
                        <a:pt x="395" y="7"/>
                      </a:lnTo>
                      <a:lnTo>
                        <a:pt x="411" y="10"/>
                      </a:lnTo>
                      <a:lnTo>
                        <a:pt x="427" y="15"/>
                      </a:lnTo>
                      <a:lnTo>
                        <a:pt x="456" y="26"/>
                      </a:lnTo>
                      <a:lnTo>
                        <a:pt x="486" y="39"/>
                      </a:lnTo>
                      <a:lnTo>
                        <a:pt x="513" y="57"/>
                      </a:lnTo>
                      <a:lnTo>
                        <a:pt x="538" y="76"/>
                      </a:lnTo>
                      <a:lnTo>
                        <a:pt x="561" y="97"/>
                      </a:lnTo>
                      <a:lnTo>
                        <a:pt x="583" y="120"/>
                      </a:lnTo>
                      <a:lnTo>
                        <a:pt x="601" y="145"/>
                      </a:lnTo>
                      <a:lnTo>
                        <a:pt x="618" y="172"/>
                      </a:lnTo>
                      <a:lnTo>
                        <a:pt x="632" y="200"/>
                      </a:lnTo>
                      <a:lnTo>
                        <a:pt x="643" y="231"/>
                      </a:lnTo>
                      <a:lnTo>
                        <a:pt x="647" y="246"/>
                      </a:lnTo>
                      <a:lnTo>
                        <a:pt x="651" y="262"/>
                      </a:lnTo>
                      <a:lnTo>
                        <a:pt x="654" y="278"/>
                      </a:lnTo>
                      <a:lnTo>
                        <a:pt x="655" y="296"/>
                      </a:lnTo>
                      <a:lnTo>
                        <a:pt x="657" y="312"/>
                      </a:lnTo>
                      <a:lnTo>
                        <a:pt x="658" y="329"/>
                      </a:lnTo>
                      <a:lnTo>
                        <a:pt x="658" y="329"/>
                      </a:lnTo>
                      <a:lnTo>
                        <a:pt x="657" y="345"/>
                      </a:lnTo>
                      <a:lnTo>
                        <a:pt x="655" y="363"/>
                      </a:lnTo>
                      <a:lnTo>
                        <a:pt x="654" y="379"/>
                      </a:lnTo>
                      <a:lnTo>
                        <a:pt x="651" y="395"/>
                      </a:lnTo>
                      <a:lnTo>
                        <a:pt x="647" y="411"/>
                      </a:lnTo>
                      <a:lnTo>
                        <a:pt x="643" y="426"/>
                      </a:lnTo>
                      <a:lnTo>
                        <a:pt x="632" y="457"/>
                      </a:lnTo>
                      <a:lnTo>
                        <a:pt x="618" y="485"/>
                      </a:lnTo>
                      <a:lnTo>
                        <a:pt x="601" y="512"/>
                      </a:lnTo>
                      <a:lnTo>
                        <a:pt x="583" y="537"/>
                      </a:lnTo>
                      <a:lnTo>
                        <a:pt x="561" y="562"/>
                      </a:lnTo>
                      <a:lnTo>
                        <a:pt x="538" y="582"/>
                      </a:lnTo>
                      <a:lnTo>
                        <a:pt x="513" y="600"/>
                      </a:lnTo>
                      <a:lnTo>
                        <a:pt x="486" y="618"/>
                      </a:lnTo>
                      <a:lnTo>
                        <a:pt x="456" y="631"/>
                      </a:lnTo>
                      <a:lnTo>
                        <a:pt x="427" y="642"/>
                      </a:lnTo>
                      <a:lnTo>
                        <a:pt x="411" y="647"/>
                      </a:lnTo>
                      <a:lnTo>
                        <a:pt x="395" y="650"/>
                      </a:lnTo>
                      <a:lnTo>
                        <a:pt x="379" y="653"/>
                      </a:lnTo>
                      <a:lnTo>
                        <a:pt x="362" y="656"/>
                      </a:lnTo>
                      <a:lnTo>
                        <a:pt x="346" y="657"/>
                      </a:lnTo>
                      <a:lnTo>
                        <a:pt x="329" y="657"/>
                      </a:lnTo>
                      <a:lnTo>
                        <a:pt x="329" y="657"/>
                      </a:lnTo>
                      <a:close/>
                      <a:moveTo>
                        <a:pt x="329" y="38"/>
                      </a:moveTo>
                      <a:lnTo>
                        <a:pt x="329" y="38"/>
                      </a:lnTo>
                      <a:lnTo>
                        <a:pt x="299" y="39"/>
                      </a:lnTo>
                      <a:lnTo>
                        <a:pt x="270" y="43"/>
                      </a:lnTo>
                      <a:lnTo>
                        <a:pt x="243" y="51"/>
                      </a:lnTo>
                      <a:lnTo>
                        <a:pt x="216" y="61"/>
                      </a:lnTo>
                      <a:lnTo>
                        <a:pt x="191" y="73"/>
                      </a:lnTo>
                      <a:lnTo>
                        <a:pt x="166" y="88"/>
                      </a:lnTo>
                      <a:lnTo>
                        <a:pt x="144" y="104"/>
                      </a:lnTo>
                      <a:lnTo>
                        <a:pt x="124" y="123"/>
                      </a:lnTo>
                      <a:lnTo>
                        <a:pt x="105" y="144"/>
                      </a:lnTo>
                      <a:lnTo>
                        <a:pt x="87" y="165"/>
                      </a:lnTo>
                      <a:lnTo>
                        <a:pt x="72" y="190"/>
                      </a:lnTo>
                      <a:lnTo>
                        <a:pt x="60" y="215"/>
                      </a:lnTo>
                      <a:lnTo>
                        <a:pt x="51" y="242"/>
                      </a:lnTo>
                      <a:lnTo>
                        <a:pt x="44" y="270"/>
                      </a:lnTo>
                      <a:lnTo>
                        <a:pt x="39" y="298"/>
                      </a:lnTo>
                      <a:lnTo>
                        <a:pt x="38" y="329"/>
                      </a:lnTo>
                      <a:lnTo>
                        <a:pt x="38" y="329"/>
                      </a:lnTo>
                      <a:lnTo>
                        <a:pt x="39" y="359"/>
                      </a:lnTo>
                      <a:lnTo>
                        <a:pt x="44" y="387"/>
                      </a:lnTo>
                      <a:lnTo>
                        <a:pt x="51" y="415"/>
                      </a:lnTo>
                      <a:lnTo>
                        <a:pt x="60" y="442"/>
                      </a:lnTo>
                      <a:lnTo>
                        <a:pt x="72" y="468"/>
                      </a:lnTo>
                      <a:lnTo>
                        <a:pt x="87" y="492"/>
                      </a:lnTo>
                      <a:lnTo>
                        <a:pt x="105" y="513"/>
                      </a:lnTo>
                      <a:lnTo>
                        <a:pt x="124" y="535"/>
                      </a:lnTo>
                      <a:lnTo>
                        <a:pt x="144" y="553"/>
                      </a:lnTo>
                      <a:lnTo>
                        <a:pt x="166" y="570"/>
                      </a:lnTo>
                      <a:lnTo>
                        <a:pt x="191" y="584"/>
                      </a:lnTo>
                      <a:lnTo>
                        <a:pt x="216" y="596"/>
                      </a:lnTo>
                      <a:lnTo>
                        <a:pt x="243" y="607"/>
                      </a:lnTo>
                      <a:lnTo>
                        <a:pt x="270" y="614"/>
                      </a:lnTo>
                      <a:lnTo>
                        <a:pt x="299" y="618"/>
                      </a:lnTo>
                      <a:lnTo>
                        <a:pt x="329" y="619"/>
                      </a:lnTo>
                      <a:lnTo>
                        <a:pt x="329" y="619"/>
                      </a:lnTo>
                      <a:lnTo>
                        <a:pt x="358" y="618"/>
                      </a:lnTo>
                      <a:lnTo>
                        <a:pt x="388" y="614"/>
                      </a:lnTo>
                      <a:lnTo>
                        <a:pt x="415" y="607"/>
                      </a:lnTo>
                      <a:lnTo>
                        <a:pt x="442" y="596"/>
                      </a:lnTo>
                      <a:lnTo>
                        <a:pt x="467" y="584"/>
                      </a:lnTo>
                      <a:lnTo>
                        <a:pt x="491" y="570"/>
                      </a:lnTo>
                      <a:lnTo>
                        <a:pt x="514" y="553"/>
                      </a:lnTo>
                      <a:lnTo>
                        <a:pt x="534" y="535"/>
                      </a:lnTo>
                      <a:lnTo>
                        <a:pt x="553" y="513"/>
                      </a:lnTo>
                      <a:lnTo>
                        <a:pt x="571" y="492"/>
                      </a:lnTo>
                      <a:lnTo>
                        <a:pt x="585" y="468"/>
                      </a:lnTo>
                      <a:lnTo>
                        <a:pt x="597" y="442"/>
                      </a:lnTo>
                      <a:lnTo>
                        <a:pt x="607" y="415"/>
                      </a:lnTo>
                      <a:lnTo>
                        <a:pt x="614" y="387"/>
                      </a:lnTo>
                      <a:lnTo>
                        <a:pt x="619" y="359"/>
                      </a:lnTo>
                      <a:lnTo>
                        <a:pt x="620" y="329"/>
                      </a:lnTo>
                      <a:lnTo>
                        <a:pt x="620" y="329"/>
                      </a:lnTo>
                      <a:lnTo>
                        <a:pt x="619" y="298"/>
                      </a:lnTo>
                      <a:lnTo>
                        <a:pt x="614" y="270"/>
                      </a:lnTo>
                      <a:lnTo>
                        <a:pt x="607" y="242"/>
                      </a:lnTo>
                      <a:lnTo>
                        <a:pt x="597" y="215"/>
                      </a:lnTo>
                      <a:lnTo>
                        <a:pt x="585" y="190"/>
                      </a:lnTo>
                      <a:lnTo>
                        <a:pt x="571" y="165"/>
                      </a:lnTo>
                      <a:lnTo>
                        <a:pt x="553" y="144"/>
                      </a:lnTo>
                      <a:lnTo>
                        <a:pt x="534" y="123"/>
                      </a:lnTo>
                      <a:lnTo>
                        <a:pt x="514" y="104"/>
                      </a:lnTo>
                      <a:lnTo>
                        <a:pt x="491" y="88"/>
                      </a:lnTo>
                      <a:lnTo>
                        <a:pt x="467" y="73"/>
                      </a:lnTo>
                      <a:lnTo>
                        <a:pt x="442" y="61"/>
                      </a:lnTo>
                      <a:lnTo>
                        <a:pt x="415" y="51"/>
                      </a:lnTo>
                      <a:lnTo>
                        <a:pt x="388" y="43"/>
                      </a:lnTo>
                      <a:lnTo>
                        <a:pt x="358"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2" name="Freeform 89">
                  <a:extLst>
                    <a:ext uri="{FF2B5EF4-FFF2-40B4-BE49-F238E27FC236}">
                      <a16:creationId xmlns:a16="http://schemas.microsoft.com/office/drawing/2014/main" id="{1EA319C5-51FB-48EB-AD5B-9FA8295D5149}"/>
                    </a:ext>
                  </a:extLst>
                </p:cNvPr>
                <p:cNvSpPr>
                  <a:spLocks/>
                </p:cNvSpPr>
                <p:nvPr/>
              </p:nvSpPr>
              <p:spPr bwMode="auto">
                <a:xfrm>
                  <a:off x="2459038" y="944563"/>
                  <a:ext cx="228600" cy="247650"/>
                </a:xfrm>
                <a:custGeom>
                  <a:avLst/>
                  <a:gdLst>
                    <a:gd name="T0" fmla="*/ 268 w 287"/>
                    <a:gd name="T1" fmla="*/ 141 h 313"/>
                    <a:gd name="T2" fmla="*/ 255 w 287"/>
                    <a:gd name="T3" fmla="*/ 142 h 313"/>
                    <a:gd name="T4" fmla="*/ 248 w 287"/>
                    <a:gd name="T5" fmla="*/ 146 h 313"/>
                    <a:gd name="T6" fmla="*/ 245 w 287"/>
                    <a:gd name="T7" fmla="*/ 148 h 313"/>
                    <a:gd name="T8" fmla="*/ 243 w 287"/>
                    <a:gd name="T9" fmla="*/ 146 h 313"/>
                    <a:gd name="T10" fmla="*/ 240 w 287"/>
                    <a:gd name="T11" fmla="*/ 138 h 313"/>
                    <a:gd name="T12" fmla="*/ 229 w 287"/>
                    <a:gd name="T13" fmla="*/ 129 h 313"/>
                    <a:gd name="T14" fmla="*/ 222 w 287"/>
                    <a:gd name="T15" fmla="*/ 128 h 313"/>
                    <a:gd name="T16" fmla="*/ 209 w 287"/>
                    <a:gd name="T17" fmla="*/ 130 h 313"/>
                    <a:gd name="T18" fmla="*/ 200 w 287"/>
                    <a:gd name="T19" fmla="*/ 137 h 313"/>
                    <a:gd name="T20" fmla="*/ 197 w 287"/>
                    <a:gd name="T21" fmla="*/ 137 h 313"/>
                    <a:gd name="T22" fmla="*/ 196 w 287"/>
                    <a:gd name="T23" fmla="*/ 136 h 313"/>
                    <a:gd name="T24" fmla="*/ 193 w 287"/>
                    <a:gd name="T25" fmla="*/ 129 h 313"/>
                    <a:gd name="T26" fmla="*/ 182 w 287"/>
                    <a:gd name="T27" fmla="*/ 120 h 313"/>
                    <a:gd name="T28" fmla="*/ 174 w 287"/>
                    <a:gd name="T29" fmla="*/ 117 h 313"/>
                    <a:gd name="T30" fmla="*/ 161 w 287"/>
                    <a:gd name="T31" fmla="*/ 120 h 313"/>
                    <a:gd name="T32" fmla="*/ 151 w 287"/>
                    <a:gd name="T33" fmla="*/ 129 h 313"/>
                    <a:gd name="T34" fmla="*/ 150 w 287"/>
                    <a:gd name="T35" fmla="*/ 130 h 313"/>
                    <a:gd name="T36" fmla="*/ 149 w 287"/>
                    <a:gd name="T37" fmla="*/ 26 h 313"/>
                    <a:gd name="T38" fmla="*/ 149 w 287"/>
                    <a:gd name="T39" fmla="*/ 20 h 313"/>
                    <a:gd name="T40" fmla="*/ 142 w 287"/>
                    <a:gd name="T41" fmla="*/ 8 h 313"/>
                    <a:gd name="T42" fmla="*/ 135 w 287"/>
                    <a:gd name="T43" fmla="*/ 3 h 313"/>
                    <a:gd name="T44" fmla="*/ 127 w 287"/>
                    <a:gd name="T45" fmla="*/ 0 h 313"/>
                    <a:gd name="T46" fmla="*/ 122 w 287"/>
                    <a:gd name="T47" fmla="*/ 0 h 313"/>
                    <a:gd name="T48" fmla="*/ 112 w 287"/>
                    <a:gd name="T49" fmla="*/ 4 h 313"/>
                    <a:gd name="T50" fmla="*/ 106 w 287"/>
                    <a:gd name="T51" fmla="*/ 9 h 313"/>
                    <a:gd name="T52" fmla="*/ 102 w 287"/>
                    <a:gd name="T53" fmla="*/ 19 h 313"/>
                    <a:gd name="T54" fmla="*/ 100 w 287"/>
                    <a:gd name="T55" fmla="*/ 192 h 313"/>
                    <a:gd name="T56" fmla="*/ 100 w 287"/>
                    <a:gd name="T57" fmla="*/ 197 h 313"/>
                    <a:gd name="T58" fmla="*/ 93 w 287"/>
                    <a:gd name="T59" fmla="*/ 204 h 313"/>
                    <a:gd name="T60" fmla="*/ 84 w 287"/>
                    <a:gd name="T61" fmla="*/ 208 h 313"/>
                    <a:gd name="T62" fmla="*/ 75 w 287"/>
                    <a:gd name="T63" fmla="*/ 204 h 313"/>
                    <a:gd name="T64" fmla="*/ 53 w 287"/>
                    <a:gd name="T65" fmla="*/ 173 h 313"/>
                    <a:gd name="T66" fmla="*/ 49 w 287"/>
                    <a:gd name="T67" fmla="*/ 168 h 313"/>
                    <a:gd name="T68" fmla="*/ 40 w 287"/>
                    <a:gd name="T69" fmla="*/ 161 h 313"/>
                    <a:gd name="T70" fmla="*/ 28 w 287"/>
                    <a:gd name="T71" fmla="*/ 157 h 313"/>
                    <a:gd name="T72" fmla="*/ 16 w 287"/>
                    <a:gd name="T73" fmla="*/ 157 h 313"/>
                    <a:gd name="T74" fmla="*/ 9 w 287"/>
                    <a:gd name="T75" fmla="*/ 158 h 313"/>
                    <a:gd name="T76" fmla="*/ 1 w 287"/>
                    <a:gd name="T77" fmla="*/ 168 h 313"/>
                    <a:gd name="T78" fmla="*/ 2 w 287"/>
                    <a:gd name="T79" fmla="*/ 179 h 313"/>
                    <a:gd name="T80" fmla="*/ 255 w 287"/>
                    <a:gd name="T81" fmla="*/ 313 h 313"/>
                    <a:gd name="T82" fmla="*/ 260 w 287"/>
                    <a:gd name="T83" fmla="*/ 302 h 313"/>
                    <a:gd name="T84" fmla="*/ 271 w 287"/>
                    <a:gd name="T85" fmla="*/ 270 h 313"/>
                    <a:gd name="T86" fmla="*/ 281 w 287"/>
                    <a:gd name="T87" fmla="*/ 223 h 313"/>
                    <a:gd name="T88" fmla="*/ 287 w 287"/>
                    <a:gd name="T89" fmla="*/ 165 h 313"/>
                    <a:gd name="T90" fmla="*/ 285 w 287"/>
                    <a:gd name="T91" fmla="*/ 160 h 313"/>
                    <a:gd name="T92" fmla="*/ 280 w 287"/>
                    <a:gd name="T93" fmla="*/ 149 h 313"/>
                    <a:gd name="T94" fmla="*/ 268 w 287"/>
                    <a:gd name="T95" fmla="*/ 141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7" h="313">
                      <a:moveTo>
                        <a:pt x="268" y="141"/>
                      </a:moveTo>
                      <a:lnTo>
                        <a:pt x="268" y="141"/>
                      </a:lnTo>
                      <a:lnTo>
                        <a:pt x="260" y="141"/>
                      </a:lnTo>
                      <a:lnTo>
                        <a:pt x="255" y="142"/>
                      </a:lnTo>
                      <a:lnTo>
                        <a:pt x="251" y="144"/>
                      </a:lnTo>
                      <a:lnTo>
                        <a:pt x="248" y="146"/>
                      </a:lnTo>
                      <a:lnTo>
                        <a:pt x="248" y="146"/>
                      </a:lnTo>
                      <a:lnTo>
                        <a:pt x="245" y="148"/>
                      </a:lnTo>
                      <a:lnTo>
                        <a:pt x="244" y="146"/>
                      </a:lnTo>
                      <a:lnTo>
                        <a:pt x="243" y="146"/>
                      </a:lnTo>
                      <a:lnTo>
                        <a:pt x="243" y="146"/>
                      </a:lnTo>
                      <a:lnTo>
                        <a:pt x="240" y="138"/>
                      </a:lnTo>
                      <a:lnTo>
                        <a:pt x="236" y="133"/>
                      </a:lnTo>
                      <a:lnTo>
                        <a:pt x="229" y="129"/>
                      </a:lnTo>
                      <a:lnTo>
                        <a:pt x="222" y="128"/>
                      </a:lnTo>
                      <a:lnTo>
                        <a:pt x="222" y="128"/>
                      </a:lnTo>
                      <a:lnTo>
                        <a:pt x="214" y="128"/>
                      </a:lnTo>
                      <a:lnTo>
                        <a:pt x="209" y="130"/>
                      </a:lnTo>
                      <a:lnTo>
                        <a:pt x="204" y="133"/>
                      </a:lnTo>
                      <a:lnTo>
                        <a:pt x="200" y="137"/>
                      </a:lnTo>
                      <a:lnTo>
                        <a:pt x="200" y="137"/>
                      </a:lnTo>
                      <a:lnTo>
                        <a:pt x="197" y="137"/>
                      </a:lnTo>
                      <a:lnTo>
                        <a:pt x="196" y="137"/>
                      </a:lnTo>
                      <a:lnTo>
                        <a:pt x="196" y="136"/>
                      </a:lnTo>
                      <a:lnTo>
                        <a:pt x="196" y="136"/>
                      </a:lnTo>
                      <a:lnTo>
                        <a:pt x="193" y="129"/>
                      </a:lnTo>
                      <a:lnTo>
                        <a:pt x="187" y="124"/>
                      </a:lnTo>
                      <a:lnTo>
                        <a:pt x="182" y="120"/>
                      </a:lnTo>
                      <a:lnTo>
                        <a:pt x="174" y="117"/>
                      </a:lnTo>
                      <a:lnTo>
                        <a:pt x="174" y="117"/>
                      </a:lnTo>
                      <a:lnTo>
                        <a:pt x="167" y="117"/>
                      </a:lnTo>
                      <a:lnTo>
                        <a:pt x="161" y="120"/>
                      </a:lnTo>
                      <a:lnTo>
                        <a:pt x="155" y="124"/>
                      </a:lnTo>
                      <a:lnTo>
                        <a:pt x="151" y="129"/>
                      </a:lnTo>
                      <a:lnTo>
                        <a:pt x="151" y="129"/>
                      </a:lnTo>
                      <a:lnTo>
                        <a:pt x="150" y="130"/>
                      </a:lnTo>
                      <a:lnTo>
                        <a:pt x="149" y="129"/>
                      </a:lnTo>
                      <a:lnTo>
                        <a:pt x="149" y="26"/>
                      </a:lnTo>
                      <a:lnTo>
                        <a:pt x="149" y="26"/>
                      </a:lnTo>
                      <a:lnTo>
                        <a:pt x="149" y="20"/>
                      </a:lnTo>
                      <a:lnTo>
                        <a:pt x="147" y="16"/>
                      </a:lnTo>
                      <a:lnTo>
                        <a:pt x="142" y="8"/>
                      </a:lnTo>
                      <a:lnTo>
                        <a:pt x="139" y="5"/>
                      </a:lnTo>
                      <a:lnTo>
                        <a:pt x="135" y="3"/>
                      </a:lnTo>
                      <a:lnTo>
                        <a:pt x="131" y="1"/>
                      </a:lnTo>
                      <a:lnTo>
                        <a:pt x="127" y="0"/>
                      </a:lnTo>
                      <a:lnTo>
                        <a:pt x="127" y="0"/>
                      </a:lnTo>
                      <a:lnTo>
                        <a:pt x="122" y="0"/>
                      </a:lnTo>
                      <a:lnTo>
                        <a:pt x="116" y="1"/>
                      </a:lnTo>
                      <a:lnTo>
                        <a:pt x="112" y="4"/>
                      </a:lnTo>
                      <a:lnTo>
                        <a:pt x="108" y="7"/>
                      </a:lnTo>
                      <a:lnTo>
                        <a:pt x="106" y="9"/>
                      </a:lnTo>
                      <a:lnTo>
                        <a:pt x="103" y="15"/>
                      </a:lnTo>
                      <a:lnTo>
                        <a:pt x="102" y="19"/>
                      </a:lnTo>
                      <a:lnTo>
                        <a:pt x="100" y="24"/>
                      </a:lnTo>
                      <a:lnTo>
                        <a:pt x="100" y="192"/>
                      </a:lnTo>
                      <a:lnTo>
                        <a:pt x="100" y="192"/>
                      </a:lnTo>
                      <a:lnTo>
                        <a:pt x="100" y="197"/>
                      </a:lnTo>
                      <a:lnTo>
                        <a:pt x="98" y="201"/>
                      </a:lnTo>
                      <a:lnTo>
                        <a:pt x="93" y="204"/>
                      </a:lnTo>
                      <a:lnTo>
                        <a:pt x="89" y="207"/>
                      </a:lnTo>
                      <a:lnTo>
                        <a:pt x="84" y="208"/>
                      </a:lnTo>
                      <a:lnTo>
                        <a:pt x="80" y="207"/>
                      </a:lnTo>
                      <a:lnTo>
                        <a:pt x="75" y="204"/>
                      </a:lnTo>
                      <a:lnTo>
                        <a:pt x="72" y="200"/>
                      </a:lnTo>
                      <a:lnTo>
                        <a:pt x="53" y="173"/>
                      </a:lnTo>
                      <a:lnTo>
                        <a:pt x="53" y="173"/>
                      </a:lnTo>
                      <a:lnTo>
                        <a:pt x="49" y="168"/>
                      </a:lnTo>
                      <a:lnTo>
                        <a:pt x="45" y="164"/>
                      </a:lnTo>
                      <a:lnTo>
                        <a:pt x="40" y="161"/>
                      </a:lnTo>
                      <a:lnTo>
                        <a:pt x="34" y="158"/>
                      </a:lnTo>
                      <a:lnTo>
                        <a:pt x="28" y="157"/>
                      </a:lnTo>
                      <a:lnTo>
                        <a:pt x="22" y="157"/>
                      </a:lnTo>
                      <a:lnTo>
                        <a:pt x="16" y="157"/>
                      </a:lnTo>
                      <a:lnTo>
                        <a:pt x="9" y="158"/>
                      </a:lnTo>
                      <a:lnTo>
                        <a:pt x="9" y="158"/>
                      </a:lnTo>
                      <a:lnTo>
                        <a:pt x="5" y="162"/>
                      </a:lnTo>
                      <a:lnTo>
                        <a:pt x="1" y="168"/>
                      </a:lnTo>
                      <a:lnTo>
                        <a:pt x="0" y="173"/>
                      </a:lnTo>
                      <a:lnTo>
                        <a:pt x="2" y="179"/>
                      </a:lnTo>
                      <a:lnTo>
                        <a:pt x="69" y="313"/>
                      </a:lnTo>
                      <a:lnTo>
                        <a:pt x="255" y="313"/>
                      </a:lnTo>
                      <a:lnTo>
                        <a:pt x="255" y="313"/>
                      </a:lnTo>
                      <a:lnTo>
                        <a:pt x="260" y="302"/>
                      </a:lnTo>
                      <a:lnTo>
                        <a:pt x="264" y="289"/>
                      </a:lnTo>
                      <a:lnTo>
                        <a:pt x="271" y="270"/>
                      </a:lnTo>
                      <a:lnTo>
                        <a:pt x="276" y="248"/>
                      </a:lnTo>
                      <a:lnTo>
                        <a:pt x="281" y="223"/>
                      </a:lnTo>
                      <a:lnTo>
                        <a:pt x="285" y="195"/>
                      </a:lnTo>
                      <a:lnTo>
                        <a:pt x="287" y="165"/>
                      </a:lnTo>
                      <a:lnTo>
                        <a:pt x="287" y="165"/>
                      </a:lnTo>
                      <a:lnTo>
                        <a:pt x="285" y="160"/>
                      </a:lnTo>
                      <a:lnTo>
                        <a:pt x="284" y="156"/>
                      </a:lnTo>
                      <a:lnTo>
                        <a:pt x="280" y="149"/>
                      </a:lnTo>
                      <a:lnTo>
                        <a:pt x="275" y="144"/>
                      </a:lnTo>
                      <a:lnTo>
                        <a:pt x="268" y="141"/>
                      </a:lnTo>
                      <a:lnTo>
                        <a:pt x="268"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82" name="Group 81">
              <a:extLst>
                <a:ext uri="{FF2B5EF4-FFF2-40B4-BE49-F238E27FC236}">
                  <a16:creationId xmlns:a16="http://schemas.microsoft.com/office/drawing/2014/main" id="{48744135-3C63-431C-8B2D-7FA9EEE39638}"/>
                </a:ext>
              </a:extLst>
            </p:cNvPr>
            <p:cNvGrpSpPr/>
            <p:nvPr/>
          </p:nvGrpSpPr>
          <p:grpSpPr>
            <a:xfrm>
              <a:off x="1081964" y="4166081"/>
              <a:ext cx="2653236" cy="122053"/>
              <a:chOff x="1016596" y="4239678"/>
              <a:chExt cx="2544199" cy="122053"/>
            </a:xfrm>
          </p:grpSpPr>
          <p:sp>
            <p:nvSpPr>
              <p:cNvPr id="83" name="Rectangle 82">
                <a:extLst>
                  <a:ext uri="{FF2B5EF4-FFF2-40B4-BE49-F238E27FC236}">
                    <a16:creationId xmlns:a16="http://schemas.microsoft.com/office/drawing/2014/main" id="{5FA21933-3E06-4379-9689-9CB8094A5889}"/>
                  </a:ext>
                </a:extLst>
              </p:cNvPr>
              <p:cNvSpPr/>
              <p:nvPr/>
            </p:nvSpPr>
            <p:spPr>
              <a:xfrm>
                <a:off x="1016596" y="4260499"/>
                <a:ext cx="80410" cy="8041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1" u="none" strike="noStrike" kern="1200" cap="none" spc="0" normalizeH="0" baseline="0" noProof="0">
                  <a:ln>
                    <a:noFill/>
                  </a:ln>
                  <a:solidFill>
                    <a:srgbClr val="FFFFFF"/>
                  </a:solidFill>
                  <a:effectLst/>
                  <a:uLnTx/>
                  <a:uFillTx/>
                  <a:latin typeface="Open Sans"/>
                  <a:ea typeface="+mn-ea"/>
                  <a:cs typeface="+mn-cs"/>
                </a:endParaRPr>
              </a:p>
            </p:txBody>
          </p:sp>
          <p:sp>
            <p:nvSpPr>
              <p:cNvPr id="84" name="Rectangle 83">
                <a:extLst>
                  <a:ext uri="{FF2B5EF4-FFF2-40B4-BE49-F238E27FC236}">
                    <a16:creationId xmlns:a16="http://schemas.microsoft.com/office/drawing/2014/main" id="{B79E6796-4310-4CB9-9E62-DCCDD68DC7A6}"/>
                  </a:ext>
                </a:extLst>
              </p:cNvPr>
              <p:cNvSpPr/>
              <p:nvPr/>
            </p:nvSpPr>
            <p:spPr>
              <a:xfrm>
                <a:off x="1094203" y="4239678"/>
                <a:ext cx="1097280" cy="1220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a:ea typeface="+mn-ea"/>
                    <a:cs typeface="+mn-cs"/>
                  </a:rPr>
                  <a:t>With use of digital</a:t>
                </a:r>
              </a:p>
            </p:txBody>
          </p:sp>
          <p:sp>
            <p:nvSpPr>
              <p:cNvPr id="85" name="Rectangle 84">
                <a:extLst>
                  <a:ext uri="{FF2B5EF4-FFF2-40B4-BE49-F238E27FC236}">
                    <a16:creationId xmlns:a16="http://schemas.microsoft.com/office/drawing/2014/main" id="{41531DA8-BC39-4064-8D0A-9662B6DC5CAD}"/>
                  </a:ext>
                </a:extLst>
              </p:cNvPr>
              <p:cNvSpPr/>
              <p:nvPr/>
            </p:nvSpPr>
            <p:spPr>
              <a:xfrm>
                <a:off x="2203029" y="4260499"/>
                <a:ext cx="80410" cy="8041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1" u="none" strike="noStrike" kern="1200" cap="none" spc="0" normalizeH="0" baseline="0" noProof="0">
                  <a:ln>
                    <a:noFill/>
                  </a:ln>
                  <a:solidFill>
                    <a:srgbClr val="FFFFFF"/>
                  </a:solidFill>
                  <a:effectLst/>
                  <a:uLnTx/>
                  <a:uFillTx/>
                  <a:latin typeface="Open Sans"/>
                  <a:ea typeface="+mn-ea"/>
                  <a:cs typeface="+mn-cs"/>
                </a:endParaRPr>
              </a:p>
            </p:txBody>
          </p:sp>
          <p:sp>
            <p:nvSpPr>
              <p:cNvPr id="86" name="Rectangle 85">
                <a:extLst>
                  <a:ext uri="{FF2B5EF4-FFF2-40B4-BE49-F238E27FC236}">
                    <a16:creationId xmlns:a16="http://schemas.microsoft.com/office/drawing/2014/main" id="{4CFCD516-E7FD-4EC4-8498-C9A37E8259C6}"/>
                  </a:ext>
                </a:extLst>
              </p:cNvPr>
              <p:cNvSpPr/>
              <p:nvPr/>
            </p:nvSpPr>
            <p:spPr>
              <a:xfrm>
                <a:off x="2280635" y="4239678"/>
                <a:ext cx="1280160" cy="1220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a:ea typeface="+mn-ea"/>
                    <a:cs typeface="+mn-cs"/>
                  </a:rPr>
                  <a:t>Without use of digital</a:t>
                </a:r>
              </a:p>
            </p:txBody>
          </p:sp>
        </p:grpSp>
      </p:grpSp>
      <p:sp>
        <p:nvSpPr>
          <p:cNvPr id="147" name="Rectangle 146">
            <a:extLst>
              <a:ext uri="{FF2B5EF4-FFF2-40B4-BE49-F238E27FC236}">
                <a16:creationId xmlns:a16="http://schemas.microsoft.com/office/drawing/2014/main" id="{1AD25553-45F7-4248-BBEA-03EC3BC2DB1A}"/>
              </a:ext>
            </a:extLst>
          </p:cNvPr>
          <p:cNvSpPr/>
          <p:nvPr/>
        </p:nvSpPr>
        <p:spPr>
          <a:xfrm>
            <a:off x="914398" y="4347016"/>
            <a:ext cx="4105129" cy="253916"/>
          </a:xfrm>
          <a:prstGeom prst="rect">
            <a:avLst/>
          </a:prstGeom>
        </p:spPr>
        <p:txBody>
          <a:bodyPr wrap="square">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a:ea typeface="+mn-ea"/>
                <a:cs typeface="Arial" panose="020B0604020202020204" pitchFamily="34" charset="0"/>
              </a:rPr>
              <a:t>…driven largely by pricing, convenience, and confidence</a:t>
            </a:r>
            <a:r>
              <a:rPr kumimoji="0" lang="en-US" sz="1050" b="1" i="0" u="none" strike="noStrike" kern="1200" cap="none" spc="0" normalizeH="0" baseline="30000" noProof="0" dirty="0">
                <a:ln>
                  <a:noFill/>
                </a:ln>
                <a:solidFill>
                  <a:srgbClr val="000000"/>
                </a:solidFill>
                <a:effectLst/>
                <a:uLnTx/>
                <a:uFillTx/>
                <a:latin typeface="Open Sans"/>
                <a:ea typeface="+mn-ea"/>
                <a:cs typeface="Arial" panose="020B0604020202020204" pitchFamily="34" charset="0"/>
              </a:rPr>
              <a:t>1</a:t>
            </a:r>
            <a:r>
              <a:rPr kumimoji="0" lang="en-US" sz="1050" b="1" i="0" u="none" strike="noStrike" kern="1200" cap="none" spc="0" normalizeH="0" baseline="0" noProof="0" dirty="0">
                <a:ln>
                  <a:noFill/>
                </a:ln>
                <a:solidFill>
                  <a:srgbClr val="000000"/>
                </a:solidFill>
                <a:effectLst/>
                <a:uLnTx/>
                <a:uFillTx/>
                <a:latin typeface="Open Sans"/>
                <a:ea typeface="+mn-ea"/>
                <a:cs typeface="Arial" panose="020B0604020202020204" pitchFamily="34" charset="0"/>
              </a:rPr>
              <a:t>…</a:t>
            </a:r>
          </a:p>
        </p:txBody>
      </p:sp>
      <p:sp>
        <p:nvSpPr>
          <p:cNvPr id="148" name="Rectangle 147">
            <a:extLst>
              <a:ext uri="{FF2B5EF4-FFF2-40B4-BE49-F238E27FC236}">
                <a16:creationId xmlns:a16="http://schemas.microsoft.com/office/drawing/2014/main" id="{50303627-50E8-4898-8293-8FC940B3CB2C}"/>
              </a:ext>
            </a:extLst>
          </p:cNvPr>
          <p:cNvSpPr/>
          <p:nvPr/>
        </p:nvSpPr>
        <p:spPr>
          <a:xfrm>
            <a:off x="814701" y="2037145"/>
            <a:ext cx="4176020" cy="4334256"/>
          </a:xfrm>
          <a:prstGeom prst="rect">
            <a:avLst/>
          </a:prstGeom>
          <a:noFill/>
          <a:ln w="222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Open Sans" charset="0"/>
              <a:ea typeface="Open Sans" charset="0"/>
              <a:cs typeface="Open Sans" charset="0"/>
            </a:endParaRPr>
          </a:p>
        </p:txBody>
      </p:sp>
      <p:grpSp>
        <p:nvGrpSpPr>
          <p:cNvPr id="149" name="Group 148">
            <a:extLst>
              <a:ext uri="{FF2B5EF4-FFF2-40B4-BE49-F238E27FC236}">
                <a16:creationId xmlns:a16="http://schemas.microsoft.com/office/drawing/2014/main" id="{1074AF40-D7B0-4ADA-AF93-9376E7F993A3}"/>
              </a:ext>
            </a:extLst>
          </p:cNvPr>
          <p:cNvGrpSpPr/>
          <p:nvPr/>
        </p:nvGrpSpPr>
        <p:grpSpPr>
          <a:xfrm>
            <a:off x="833345" y="4594914"/>
            <a:ext cx="3746914" cy="400110"/>
            <a:chOff x="833345" y="4733849"/>
            <a:chExt cx="3746914" cy="400110"/>
          </a:xfrm>
        </p:grpSpPr>
        <p:sp>
          <p:nvSpPr>
            <p:cNvPr id="150" name="TextBox 149">
              <a:extLst>
                <a:ext uri="{FF2B5EF4-FFF2-40B4-BE49-F238E27FC236}">
                  <a16:creationId xmlns:a16="http://schemas.microsoft.com/office/drawing/2014/main" id="{0E6C21E1-ADC3-4172-896B-6263317594C1}"/>
                </a:ext>
              </a:extLst>
            </p:cNvPr>
            <p:cNvSpPr txBox="1"/>
            <p:nvPr/>
          </p:nvSpPr>
          <p:spPr>
            <a:xfrm>
              <a:off x="833345" y="4764627"/>
              <a:ext cx="654398"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DD300"/>
                  </a:solidFill>
                  <a:effectLst/>
                  <a:uLnTx/>
                  <a:uFillTx/>
                  <a:latin typeface="Open Sans"/>
                  <a:ea typeface="+mn-ea"/>
                  <a:cs typeface="+mn-cs"/>
                </a:rPr>
                <a:t>34%</a:t>
              </a:r>
            </a:p>
          </p:txBody>
        </p:sp>
        <p:sp>
          <p:nvSpPr>
            <p:cNvPr id="151" name="TextBox 150">
              <a:extLst>
                <a:ext uri="{FF2B5EF4-FFF2-40B4-BE49-F238E27FC236}">
                  <a16:creationId xmlns:a16="http://schemas.microsoft.com/office/drawing/2014/main" id="{88C54AD3-D65F-4D34-AD91-315C57745CC8}"/>
                </a:ext>
              </a:extLst>
            </p:cNvPr>
            <p:cNvSpPr txBox="1"/>
            <p:nvPr/>
          </p:nvSpPr>
          <p:spPr>
            <a:xfrm>
              <a:off x="1382753" y="4733849"/>
              <a:ext cx="3197506"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ended up spending more overall from taking advantage of a </a:t>
              </a:r>
              <a:r>
                <a:rPr kumimoji="0" lang="en-US" sz="1000" b="1" i="0" u="none" strike="noStrike" kern="1200" cap="none" spc="0" normalizeH="0" baseline="0" noProof="0" dirty="0">
                  <a:ln>
                    <a:noFill/>
                  </a:ln>
                  <a:solidFill>
                    <a:srgbClr val="000000"/>
                  </a:solidFill>
                  <a:effectLst/>
                  <a:uLnTx/>
                  <a:uFillTx/>
                  <a:latin typeface="Open Sans"/>
                  <a:ea typeface="+mn-ea"/>
                  <a:cs typeface="+mn-cs"/>
                </a:rPr>
                <a:t>discount or coupon found online</a:t>
              </a:r>
            </a:p>
          </p:txBody>
        </p:sp>
      </p:grpSp>
      <p:grpSp>
        <p:nvGrpSpPr>
          <p:cNvPr id="152" name="Group 151">
            <a:extLst>
              <a:ext uri="{FF2B5EF4-FFF2-40B4-BE49-F238E27FC236}">
                <a16:creationId xmlns:a16="http://schemas.microsoft.com/office/drawing/2014/main" id="{ADDF3F92-4EA7-4E8C-B3D8-2562A0E3F823}"/>
              </a:ext>
            </a:extLst>
          </p:cNvPr>
          <p:cNvGrpSpPr/>
          <p:nvPr/>
        </p:nvGrpSpPr>
        <p:grpSpPr>
          <a:xfrm>
            <a:off x="833345" y="5049529"/>
            <a:ext cx="4096896" cy="400110"/>
            <a:chOff x="833345" y="5133959"/>
            <a:chExt cx="4096896" cy="400110"/>
          </a:xfrm>
        </p:grpSpPr>
        <p:sp>
          <p:nvSpPr>
            <p:cNvPr id="153" name="TextBox 152">
              <a:extLst>
                <a:ext uri="{FF2B5EF4-FFF2-40B4-BE49-F238E27FC236}">
                  <a16:creationId xmlns:a16="http://schemas.microsoft.com/office/drawing/2014/main" id="{46D7E7C4-7920-4082-B1ED-8BF14F50E5EC}"/>
                </a:ext>
              </a:extLst>
            </p:cNvPr>
            <p:cNvSpPr txBox="1"/>
            <p:nvPr/>
          </p:nvSpPr>
          <p:spPr>
            <a:xfrm>
              <a:off x="833345" y="5164737"/>
              <a:ext cx="654398"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DD300"/>
                  </a:solidFill>
                  <a:effectLst/>
                  <a:uLnTx/>
                  <a:uFillTx/>
                  <a:latin typeface="Open Sans"/>
                  <a:ea typeface="+mn-ea"/>
                  <a:cs typeface="+mn-cs"/>
                </a:rPr>
                <a:t>27%</a:t>
              </a:r>
            </a:p>
          </p:txBody>
        </p:sp>
        <p:sp>
          <p:nvSpPr>
            <p:cNvPr id="154" name="TextBox 153">
              <a:extLst>
                <a:ext uri="{FF2B5EF4-FFF2-40B4-BE49-F238E27FC236}">
                  <a16:creationId xmlns:a16="http://schemas.microsoft.com/office/drawing/2014/main" id="{AD219CBB-2D35-4DF7-AE9C-700E410458F8}"/>
                </a:ext>
              </a:extLst>
            </p:cNvPr>
            <p:cNvSpPr txBox="1"/>
            <p:nvPr/>
          </p:nvSpPr>
          <p:spPr>
            <a:xfrm>
              <a:off x="1382752" y="5133959"/>
              <a:ext cx="3547489"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got excited about other items while shopping – and found it </a:t>
              </a:r>
              <a:r>
                <a:rPr kumimoji="0" lang="en-US" sz="1000" b="1" i="0" u="none" strike="noStrike" kern="1200" cap="none" spc="0" normalizeH="0" baseline="0" noProof="0" dirty="0">
                  <a:ln>
                    <a:noFill/>
                  </a:ln>
                  <a:solidFill>
                    <a:srgbClr val="000000"/>
                  </a:solidFill>
                  <a:effectLst/>
                  <a:uLnTx/>
                  <a:uFillTx/>
                  <a:latin typeface="Open Sans"/>
                  <a:ea typeface="+mn-ea"/>
                  <a:cs typeface="+mn-cs"/>
                </a:rPr>
                <a:t>easy to add products </a:t>
              </a:r>
              <a:r>
                <a:rPr kumimoji="0" lang="en-US" sz="1000" b="0" i="0" u="none" strike="noStrike" kern="1200" cap="none" spc="0" normalizeH="0" baseline="0" noProof="0" dirty="0">
                  <a:ln>
                    <a:noFill/>
                  </a:ln>
                  <a:solidFill>
                    <a:srgbClr val="000000"/>
                  </a:solidFill>
                  <a:effectLst/>
                  <a:uLnTx/>
                  <a:uFillTx/>
                  <a:latin typeface="Open Sans"/>
                  <a:ea typeface="+mn-ea"/>
                  <a:cs typeface="+mn-cs"/>
                </a:rPr>
                <a:t>to online shopping carts </a:t>
              </a:r>
            </a:p>
          </p:txBody>
        </p:sp>
      </p:grpSp>
      <p:grpSp>
        <p:nvGrpSpPr>
          <p:cNvPr id="155" name="Group 154">
            <a:extLst>
              <a:ext uri="{FF2B5EF4-FFF2-40B4-BE49-F238E27FC236}">
                <a16:creationId xmlns:a16="http://schemas.microsoft.com/office/drawing/2014/main" id="{465824C8-83C4-4510-AD38-A446AC6AFA19}"/>
              </a:ext>
            </a:extLst>
          </p:cNvPr>
          <p:cNvGrpSpPr/>
          <p:nvPr/>
        </p:nvGrpSpPr>
        <p:grpSpPr>
          <a:xfrm>
            <a:off x="833345" y="5504144"/>
            <a:ext cx="3746914" cy="415498"/>
            <a:chOff x="833345" y="5534069"/>
            <a:chExt cx="3746914" cy="415498"/>
          </a:xfrm>
        </p:grpSpPr>
        <p:sp>
          <p:nvSpPr>
            <p:cNvPr id="156" name="TextBox 155">
              <a:extLst>
                <a:ext uri="{FF2B5EF4-FFF2-40B4-BE49-F238E27FC236}">
                  <a16:creationId xmlns:a16="http://schemas.microsoft.com/office/drawing/2014/main" id="{50419066-7A36-44AC-87E6-A5205527E5B3}"/>
                </a:ext>
              </a:extLst>
            </p:cNvPr>
            <p:cNvSpPr txBox="1"/>
            <p:nvPr/>
          </p:nvSpPr>
          <p:spPr>
            <a:xfrm>
              <a:off x="833345" y="5564847"/>
              <a:ext cx="654398"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DD300"/>
                  </a:solidFill>
                  <a:effectLst/>
                  <a:uLnTx/>
                  <a:uFillTx/>
                  <a:latin typeface="Open Sans"/>
                  <a:ea typeface="+mn-ea"/>
                  <a:cs typeface="+mn-cs"/>
                </a:rPr>
                <a:t>24%</a:t>
              </a:r>
            </a:p>
          </p:txBody>
        </p:sp>
        <p:sp>
          <p:nvSpPr>
            <p:cNvPr id="157" name="TextBox 156">
              <a:extLst>
                <a:ext uri="{FF2B5EF4-FFF2-40B4-BE49-F238E27FC236}">
                  <a16:creationId xmlns:a16="http://schemas.microsoft.com/office/drawing/2014/main" id="{4B715013-FA39-42AC-81AD-D9A8A3379B59}"/>
                </a:ext>
              </a:extLst>
            </p:cNvPr>
            <p:cNvSpPr txBox="1"/>
            <p:nvPr/>
          </p:nvSpPr>
          <p:spPr>
            <a:xfrm>
              <a:off x="1382753" y="5534069"/>
              <a:ext cx="3197506"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had</a:t>
              </a:r>
              <a:r>
                <a:rPr kumimoji="0" lang="en-US" sz="1000" b="1" i="0" u="none" strike="noStrike" kern="1200" cap="none" spc="0" normalizeH="0" baseline="0" noProof="0" dirty="0">
                  <a:ln>
                    <a:noFill/>
                  </a:ln>
                  <a:solidFill>
                    <a:srgbClr val="000000"/>
                  </a:solidFill>
                  <a:effectLst/>
                  <a:uLnTx/>
                  <a:uFillTx/>
                  <a:latin typeface="Open Sans"/>
                  <a:ea typeface="+mn-ea"/>
                  <a:cs typeface="+mn-cs"/>
                </a:rPr>
                <a:t> confidence </a:t>
              </a:r>
              <a:r>
                <a:rPr kumimoji="0" lang="en-US" sz="1000" b="0" i="0" u="none" strike="noStrike" kern="1200" cap="none" spc="0" normalizeH="0" baseline="0" noProof="0" dirty="0">
                  <a:ln>
                    <a:noFill/>
                  </a:ln>
                  <a:solidFill>
                    <a:srgbClr val="000000"/>
                  </a:solidFill>
                  <a:effectLst/>
                  <a:uLnTx/>
                  <a:uFillTx/>
                  <a:latin typeface="Open Sans"/>
                  <a:ea typeface="+mn-ea"/>
                  <a:cs typeface="+mn-cs"/>
                </a:rPr>
                <a:t>that the product was a good fit due to </a:t>
              </a:r>
              <a:r>
                <a:rPr kumimoji="0" lang="en-US" sz="1000" b="1" i="0" u="none" strike="noStrike" kern="1200" cap="none" spc="0" normalizeH="0" baseline="0" noProof="0" dirty="0">
                  <a:ln>
                    <a:noFill/>
                  </a:ln>
                  <a:solidFill>
                    <a:srgbClr val="000000"/>
                  </a:solidFill>
                  <a:effectLst/>
                  <a:uLnTx/>
                  <a:uFillTx/>
                  <a:latin typeface="Open Sans"/>
                  <a:ea typeface="+mn-ea"/>
                  <a:cs typeface="+mn-cs"/>
                </a:rPr>
                <a:t>product information</a:t>
              </a:r>
            </a:p>
          </p:txBody>
        </p:sp>
      </p:grpSp>
      <p:grpSp>
        <p:nvGrpSpPr>
          <p:cNvPr id="158" name="Group 157">
            <a:extLst>
              <a:ext uri="{FF2B5EF4-FFF2-40B4-BE49-F238E27FC236}">
                <a16:creationId xmlns:a16="http://schemas.microsoft.com/office/drawing/2014/main" id="{610ABC8E-31E4-4EAB-A0C6-986900519DF0}"/>
              </a:ext>
            </a:extLst>
          </p:cNvPr>
          <p:cNvGrpSpPr/>
          <p:nvPr/>
        </p:nvGrpSpPr>
        <p:grpSpPr>
          <a:xfrm>
            <a:off x="833345" y="5974146"/>
            <a:ext cx="3746914" cy="400110"/>
            <a:chOff x="833345" y="5934179"/>
            <a:chExt cx="3746914" cy="400110"/>
          </a:xfrm>
        </p:grpSpPr>
        <p:sp>
          <p:nvSpPr>
            <p:cNvPr id="159" name="TextBox 158">
              <a:extLst>
                <a:ext uri="{FF2B5EF4-FFF2-40B4-BE49-F238E27FC236}">
                  <a16:creationId xmlns:a16="http://schemas.microsoft.com/office/drawing/2014/main" id="{C3B78D98-BF5D-49C5-8AB2-428CC3CF3C85}"/>
                </a:ext>
              </a:extLst>
            </p:cNvPr>
            <p:cNvSpPr txBox="1"/>
            <p:nvPr/>
          </p:nvSpPr>
          <p:spPr>
            <a:xfrm>
              <a:off x="833345" y="5964957"/>
              <a:ext cx="654398"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DD300"/>
                  </a:solidFill>
                  <a:effectLst/>
                  <a:uLnTx/>
                  <a:uFillTx/>
                  <a:latin typeface="Open Sans"/>
                  <a:ea typeface="+mn-ea"/>
                  <a:cs typeface="+mn-cs"/>
                </a:rPr>
                <a:t>20%</a:t>
              </a:r>
            </a:p>
          </p:txBody>
        </p:sp>
        <p:sp>
          <p:nvSpPr>
            <p:cNvPr id="160" name="TextBox 159">
              <a:extLst>
                <a:ext uri="{FF2B5EF4-FFF2-40B4-BE49-F238E27FC236}">
                  <a16:creationId xmlns:a16="http://schemas.microsoft.com/office/drawing/2014/main" id="{4B95B478-47E5-4747-AFCF-2C6AEA4F087F}"/>
                </a:ext>
              </a:extLst>
            </p:cNvPr>
            <p:cNvSpPr txBox="1"/>
            <p:nvPr/>
          </p:nvSpPr>
          <p:spPr>
            <a:xfrm>
              <a:off x="1382753" y="5934179"/>
              <a:ext cx="3197506"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bought a </a:t>
              </a:r>
              <a:r>
                <a:rPr kumimoji="0" lang="en-US" sz="1000" b="1" i="0" u="none" strike="noStrike" kern="1200" cap="none" spc="0" normalizeH="0" baseline="0" noProof="0" dirty="0">
                  <a:ln>
                    <a:noFill/>
                  </a:ln>
                  <a:solidFill>
                    <a:srgbClr val="000000"/>
                  </a:solidFill>
                  <a:effectLst/>
                  <a:uLnTx/>
                  <a:uFillTx/>
                  <a:latin typeface="Open Sans"/>
                  <a:ea typeface="+mn-ea"/>
                  <a:cs typeface="+mn-cs"/>
                </a:rPr>
                <a:t>higher-priced product </a:t>
              </a:r>
              <a:r>
                <a:rPr kumimoji="0" lang="en-US" sz="1000" b="0" i="0" u="none" strike="noStrike" kern="1200" cap="none" spc="0" normalizeH="0" baseline="0" noProof="0" dirty="0">
                  <a:ln>
                    <a:noFill/>
                  </a:ln>
                  <a:solidFill>
                    <a:srgbClr val="000000"/>
                  </a:solidFill>
                  <a:effectLst/>
                  <a:uLnTx/>
                  <a:uFillTx/>
                  <a:latin typeface="Open Sans"/>
                  <a:ea typeface="+mn-ea"/>
                  <a:cs typeface="+mn-cs"/>
                </a:rPr>
                <a:t>option due to </a:t>
              </a:r>
              <a:r>
                <a:rPr kumimoji="0" lang="en-US" sz="1000" b="1" i="0" u="none" strike="noStrike" kern="1200" cap="none" spc="0" normalizeH="0" baseline="0" noProof="0" dirty="0">
                  <a:ln>
                    <a:noFill/>
                  </a:ln>
                  <a:solidFill>
                    <a:srgbClr val="000000"/>
                  </a:solidFill>
                  <a:effectLst/>
                  <a:uLnTx/>
                  <a:uFillTx/>
                  <a:latin typeface="Open Sans"/>
                  <a:ea typeface="+mn-ea"/>
                  <a:cs typeface="+mn-cs"/>
                </a:rPr>
                <a:t>research, reviews, and recommendations</a:t>
              </a:r>
            </a:p>
          </p:txBody>
        </p:sp>
      </p:grpSp>
      <p:sp>
        <p:nvSpPr>
          <p:cNvPr id="161" name="Title 1">
            <a:extLst>
              <a:ext uri="{FF2B5EF4-FFF2-40B4-BE49-F238E27FC236}">
                <a16:creationId xmlns:a16="http://schemas.microsoft.com/office/drawing/2014/main" id="{D6ADCC2A-090C-4A9E-A423-DC2DF3D5BB9B}"/>
              </a:ext>
            </a:extLst>
          </p:cNvPr>
          <p:cNvSpPr txBox="1">
            <a:spLocks/>
          </p:cNvSpPr>
          <p:nvPr/>
        </p:nvSpPr>
        <p:spPr>
          <a:xfrm>
            <a:off x="5941196" y="2966928"/>
            <a:ext cx="640080" cy="365760"/>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FDD300"/>
                </a:solidFill>
                <a:effectLst/>
                <a:uLnTx/>
                <a:uFillTx/>
                <a:latin typeface="Open Sans"/>
              </a:rPr>
              <a:t>64%</a:t>
            </a:r>
            <a:endParaRPr kumimoji="0" lang="en-US" sz="1800" b="0" i="0" u="none" strike="noStrike" kern="1200" cap="none" spc="0" normalizeH="0" baseline="0" noProof="0" dirty="0">
              <a:ln>
                <a:noFill/>
              </a:ln>
              <a:solidFill>
                <a:srgbClr val="FDD300"/>
              </a:solidFill>
              <a:effectLst/>
              <a:uLnTx/>
              <a:uFillTx/>
              <a:latin typeface="Open Sans"/>
            </a:endParaRPr>
          </a:p>
        </p:txBody>
      </p:sp>
      <p:sp>
        <p:nvSpPr>
          <p:cNvPr id="162" name="Title 1">
            <a:extLst>
              <a:ext uri="{FF2B5EF4-FFF2-40B4-BE49-F238E27FC236}">
                <a16:creationId xmlns:a16="http://schemas.microsoft.com/office/drawing/2014/main" id="{CFC903B1-CFC6-4FBE-8903-2ED03F65EC76}"/>
              </a:ext>
            </a:extLst>
          </p:cNvPr>
          <p:cNvSpPr txBox="1">
            <a:spLocks/>
          </p:cNvSpPr>
          <p:nvPr/>
        </p:nvSpPr>
        <p:spPr>
          <a:xfrm>
            <a:off x="5228168" y="3413457"/>
            <a:ext cx="1603201" cy="369365"/>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Open Sans"/>
              </a:rPr>
              <a:t>say digital increases likelihood to </a:t>
            </a:r>
            <a:r>
              <a:rPr kumimoji="0" lang="en-US" sz="900" b="0" i="1" u="none" strike="noStrike" kern="1200" cap="none" spc="0" normalizeH="0" baseline="0" noProof="0" dirty="0">
                <a:ln>
                  <a:noFill/>
                </a:ln>
                <a:solidFill>
                  <a:srgbClr val="000000"/>
                </a:solidFill>
                <a:effectLst/>
                <a:uLnTx/>
                <a:uFillTx/>
                <a:latin typeface="Open Sans"/>
              </a:rPr>
              <a:t>purchase a brand again</a:t>
            </a:r>
          </a:p>
        </p:txBody>
      </p:sp>
      <p:sp>
        <p:nvSpPr>
          <p:cNvPr id="163" name="Title 1">
            <a:extLst>
              <a:ext uri="{FF2B5EF4-FFF2-40B4-BE49-F238E27FC236}">
                <a16:creationId xmlns:a16="http://schemas.microsoft.com/office/drawing/2014/main" id="{1944F09E-C003-46E8-B24C-49BE43EDAA68}"/>
              </a:ext>
            </a:extLst>
          </p:cNvPr>
          <p:cNvSpPr txBox="1">
            <a:spLocks/>
          </p:cNvSpPr>
          <p:nvPr/>
        </p:nvSpPr>
        <p:spPr>
          <a:xfrm>
            <a:off x="5941196" y="4131501"/>
            <a:ext cx="640080" cy="365760"/>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FDD300"/>
                </a:solidFill>
                <a:effectLst/>
                <a:uLnTx/>
                <a:uFillTx/>
                <a:latin typeface="Open Sans"/>
              </a:rPr>
              <a:t>43%</a:t>
            </a:r>
            <a:endParaRPr kumimoji="0" lang="en-US" sz="1800" b="0" i="0" u="none" strike="noStrike" kern="1200" cap="none" spc="0" normalizeH="0" baseline="0" noProof="0" dirty="0">
              <a:ln>
                <a:noFill/>
              </a:ln>
              <a:solidFill>
                <a:srgbClr val="FDD300"/>
              </a:solidFill>
              <a:effectLst/>
              <a:uLnTx/>
              <a:uFillTx/>
              <a:latin typeface="Open Sans"/>
            </a:endParaRPr>
          </a:p>
        </p:txBody>
      </p:sp>
      <p:sp>
        <p:nvSpPr>
          <p:cNvPr id="164" name="Title 1">
            <a:extLst>
              <a:ext uri="{FF2B5EF4-FFF2-40B4-BE49-F238E27FC236}">
                <a16:creationId xmlns:a16="http://schemas.microsoft.com/office/drawing/2014/main" id="{9D3D2362-9D18-4921-BE40-0447BD02D906}"/>
              </a:ext>
            </a:extLst>
          </p:cNvPr>
          <p:cNvSpPr txBox="1">
            <a:spLocks/>
          </p:cNvSpPr>
          <p:nvPr/>
        </p:nvSpPr>
        <p:spPr>
          <a:xfrm>
            <a:off x="5292513" y="4557551"/>
            <a:ext cx="1474510" cy="472358"/>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Open Sans"/>
              </a:rPr>
              <a:t>say digital increases likelihood of </a:t>
            </a:r>
            <a:r>
              <a:rPr kumimoji="0" lang="en-US" sz="900" b="0" i="1" u="none" strike="noStrike" kern="1200" cap="none" spc="0" normalizeH="0" baseline="0" noProof="0" dirty="0">
                <a:ln>
                  <a:noFill/>
                </a:ln>
                <a:solidFill>
                  <a:srgbClr val="000000"/>
                </a:solidFill>
                <a:effectLst/>
                <a:uLnTx/>
                <a:uFillTx/>
                <a:latin typeface="Open Sans"/>
              </a:rPr>
              <a:t>participating in a brand loyalty program</a:t>
            </a:r>
          </a:p>
        </p:txBody>
      </p:sp>
      <p:sp>
        <p:nvSpPr>
          <p:cNvPr id="165" name="Title 1">
            <a:extLst>
              <a:ext uri="{FF2B5EF4-FFF2-40B4-BE49-F238E27FC236}">
                <a16:creationId xmlns:a16="http://schemas.microsoft.com/office/drawing/2014/main" id="{583A55BC-036B-44AA-90BA-DA7DC29640FC}"/>
              </a:ext>
            </a:extLst>
          </p:cNvPr>
          <p:cNvSpPr txBox="1">
            <a:spLocks/>
          </p:cNvSpPr>
          <p:nvPr/>
        </p:nvSpPr>
        <p:spPr>
          <a:xfrm>
            <a:off x="5250555" y="5753641"/>
            <a:ext cx="1620972" cy="373252"/>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Open Sans"/>
              </a:rPr>
              <a:t>say digital increases likelihood to </a:t>
            </a:r>
            <a:r>
              <a:rPr kumimoji="0" lang="en-US" sz="900" b="0" i="1" u="none" strike="noStrike" kern="1200" cap="none" spc="0" normalizeH="0" baseline="0" noProof="0" dirty="0">
                <a:ln>
                  <a:noFill/>
                </a:ln>
                <a:solidFill>
                  <a:srgbClr val="000000"/>
                </a:solidFill>
                <a:effectLst/>
                <a:uLnTx/>
                <a:uFillTx/>
                <a:latin typeface="Open Sans"/>
              </a:rPr>
              <a:t>recommend a brand</a:t>
            </a:r>
          </a:p>
        </p:txBody>
      </p:sp>
      <p:sp>
        <p:nvSpPr>
          <p:cNvPr id="166" name="Rectangle 165">
            <a:extLst>
              <a:ext uri="{FF2B5EF4-FFF2-40B4-BE49-F238E27FC236}">
                <a16:creationId xmlns:a16="http://schemas.microsoft.com/office/drawing/2014/main" id="{CBFC8C8D-1807-4672-B4C1-EE7977D22AC6}"/>
              </a:ext>
            </a:extLst>
          </p:cNvPr>
          <p:cNvSpPr/>
          <p:nvPr/>
        </p:nvSpPr>
        <p:spPr>
          <a:xfrm>
            <a:off x="5118296" y="2061647"/>
            <a:ext cx="1829708" cy="577081"/>
          </a:xfrm>
          <a:prstGeom prst="rect">
            <a:avLst/>
          </a:prstGeom>
        </p:spPr>
        <p:txBody>
          <a:bodyPr wrap="square">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and additional value exists through increased loyalty and advocacy</a:t>
            </a:r>
            <a:r>
              <a:rPr kumimoji="0" lang="en-US" sz="1050" b="1" i="0" u="none" strike="noStrike" kern="1200" cap="none" spc="0" normalizeH="0" baseline="30000" noProof="0" dirty="0">
                <a:ln>
                  <a:noFill/>
                </a:ln>
                <a:solidFill>
                  <a:srgbClr val="000000"/>
                </a:solidFill>
                <a:effectLst/>
                <a:uLnTx/>
                <a:uFillTx/>
                <a:latin typeface="Open Sans"/>
                <a:ea typeface="Verdana" panose="020B0604030504040204" pitchFamily="34" charset="0"/>
                <a:cs typeface="Verdana" panose="020B0604030504040204" pitchFamily="34" charset="0"/>
              </a:rPr>
              <a:t>1</a:t>
            </a:r>
            <a:endParaRPr kumimoji="0" lang="en-US" sz="105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p:txBody>
      </p:sp>
      <p:sp>
        <p:nvSpPr>
          <p:cNvPr id="167" name="Rectangle 166">
            <a:extLst>
              <a:ext uri="{FF2B5EF4-FFF2-40B4-BE49-F238E27FC236}">
                <a16:creationId xmlns:a16="http://schemas.microsoft.com/office/drawing/2014/main" id="{30F77380-4B2F-487F-AD1A-24C95420CA5C}"/>
              </a:ext>
            </a:extLst>
          </p:cNvPr>
          <p:cNvSpPr/>
          <p:nvPr/>
        </p:nvSpPr>
        <p:spPr>
          <a:xfrm>
            <a:off x="5069223" y="2037145"/>
            <a:ext cx="1929972" cy="4337112"/>
          </a:xfrm>
          <a:prstGeom prst="rect">
            <a:avLst/>
          </a:prstGeom>
          <a:noFill/>
          <a:ln w="222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Open Sans" charset="0"/>
              <a:ea typeface="Open Sans" charset="0"/>
              <a:cs typeface="Open Sans" charset="0"/>
            </a:endParaRPr>
          </a:p>
        </p:txBody>
      </p:sp>
      <p:sp>
        <p:nvSpPr>
          <p:cNvPr id="168" name="Freeform 11">
            <a:extLst>
              <a:ext uri="{FF2B5EF4-FFF2-40B4-BE49-F238E27FC236}">
                <a16:creationId xmlns:a16="http://schemas.microsoft.com/office/drawing/2014/main" id="{763868FD-40C0-4F06-8F3C-CC6AF5779B95}"/>
              </a:ext>
            </a:extLst>
          </p:cNvPr>
          <p:cNvSpPr>
            <a:spLocks noChangeAspect="1" noEditPoints="1"/>
          </p:cNvSpPr>
          <p:nvPr/>
        </p:nvSpPr>
        <p:spPr bwMode="auto">
          <a:xfrm>
            <a:off x="5400967" y="5296074"/>
            <a:ext cx="408095" cy="371860"/>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69" name="Freeform 267">
            <a:extLst>
              <a:ext uri="{FF2B5EF4-FFF2-40B4-BE49-F238E27FC236}">
                <a16:creationId xmlns:a16="http://schemas.microsoft.com/office/drawing/2014/main" id="{CB1BC52E-B3F3-4A76-8E02-C25077F5126C}"/>
              </a:ext>
            </a:extLst>
          </p:cNvPr>
          <p:cNvSpPr>
            <a:spLocks noChangeAspect="1" noEditPoints="1"/>
          </p:cNvSpPr>
          <p:nvPr/>
        </p:nvSpPr>
        <p:spPr bwMode="auto">
          <a:xfrm>
            <a:off x="5390882" y="4177174"/>
            <a:ext cx="351123" cy="327789"/>
          </a:xfrm>
          <a:custGeom>
            <a:avLst/>
            <a:gdLst>
              <a:gd name="T0" fmla="*/ 176 w 245"/>
              <a:gd name="T1" fmla="*/ 0 h 229"/>
              <a:gd name="T2" fmla="*/ 122 w 245"/>
              <a:gd name="T3" fmla="*/ 23 h 229"/>
              <a:gd name="T4" fmla="*/ 69 w 245"/>
              <a:gd name="T5" fmla="*/ 0 h 229"/>
              <a:gd name="T6" fmla="*/ 0 w 245"/>
              <a:gd name="T7" fmla="*/ 69 h 229"/>
              <a:gd name="T8" fmla="*/ 13 w 245"/>
              <a:gd name="T9" fmla="*/ 110 h 229"/>
              <a:gd name="T10" fmla="*/ 109 w 245"/>
              <a:gd name="T11" fmla="*/ 223 h 229"/>
              <a:gd name="T12" fmla="*/ 121 w 245"/>
              <a:gd name="T13" fmla="*/ 229 h 229"/>
              <a:gd name="T14" fmla="*/ 121 w 245"/>
              <a:gd name="T15" fmla="*/ 229 h 229"/>
              <a:gd name="T16" fmla="*/ 133 w 245"/>
              <a:gd name="T17" fmla="*/ 224 h 229"/>
              <a:gd name="T18" fmla="*/ 229 w 245"/>
              <a:gd name="T19" fmla="*/ 113 h 229"/>
              <a:gd name="T20" fmla="*/ 245 w 245"/>
              <a:gd name="T21" fmla="*/ 69 h 229"/>
              <a:gd name="T22" fmla="*/ 176 w 245"/>
              <a:gd name="T23" fmla="*/ 0 h 229"/>
              <a:gd name="T24" fmla="*/ 221 w 245"/>
              <a:gd name="T25" fmla="*/ 107 h 229"/>
              <a:gd name="T26" fmla="*/ 125 w 245"/>
              <a:gd name="T27" fmla="*/ 217 h 229"/>
              <a:gd name="T28" fmla="*/ 121 w 245"/>
              <a:gd name="T29" fmla="*/ 219 h 229"/>
              <a:gd name="T30" fmla="*/ 121 w 245"/>
              <a:gd name="T31" fmla="*/ 224 h 229"/>
              <a:gd name="T32" fmla="*/ 121 w 245"/>
              <a:gd name="T33" fmla="*/ 219 h 229"/>
              <a:gd name="T34" fmla="*/ 117 w 245"/>
              <a:gd name="T35" fmla="*/ 217 h 229"/>
              <a:gd name="T36" fmla="*/ 21 w 245"/>
              <a:gd name="T37" fmla="*/ 104 h 229"/>
              <a:gd name="T38" fmla="*/ 10 w 245"/>
              <a:gd name="T39" fmla="*/ 69 h 229"/>
              <a:gd name="T40" fmla="*/ 69 w 245"/>
              <a:gd name="T41" fmla="*/ 10 h 229"/>
              <a:gd name="T42" fmla="*/ 118 w 245"/>
              <a:gd name="T43" fmla="*/ 34 h 229"/>
              <a:gd name="T44" fmla="*/ 122 w 245"/>
              <a:gd name="T45" fmla="*/ 36 h 229"/>
              <a:gd name="T46" fmla="*/ 126 w 245"/>
              <a:gd name="T47" fmla="*/ 34 h 229"/>
              <a:gd name="T48" fmla="*/ 176 w 245"/>
              <a:gd name="T49" fmla="*/ 10 h 229"/>
              <a:gd name="T50" fmla="*/ 235 w 245"/>
              <a:gd name="T51" fmla="*/ 69 h 229"/>
              <a:gd name="T52" fmla="*/ 221 w 245"/>
              <a:gd name="T53" fmla="*/ 10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5" h="229">
                <a:moveTo>
                  <a:pt x="176" y="0"/>
                </a:moveTo>
                <a:cubicBezTo>
                  <a:pt x="155" y="0"/>
                  <a:pt x="136" y="9"/>
                  <a:pt x="122" y="23"/>
                </a:cubicBezTo>
                <a:cubicBezTo>
                  <a:pt x="108" y="9"/>
                  <a:pt x="89" y="0"/>
                  <a:pt x="69" y="0"/>
                </a:cubicBezTo>
                <a:cubicBezTo>
                  <a:pt x="31" y="0"/>
                  <a:pt x="0" y="31"/>
                  <a:pt x="0" y="69"/>
                </a:cubicBezTo>
                <a:cubicBezTo>
                  <a:pt x="0" y="84"/>
                  <a:pt x="4" y="98"/>
                  <a:pt x="13" y="110"/>
                </a:cubicBezTo>
                <a:cubicBezTo>
                  <a:pt x="109" y="223"/>
                  <a:pt x="109" y="223"/>
                  <a:pt x="109" y="223"/>
                </a:cubicBezTo>
                <a:cubicBezTo>
                  <a:pt x="112" y="227"/>
                  <a:pt x="116" y="229"/>
                  <a:pt x="121" y="229"/>
                </a:cubicBezTo>
                <a:cubicBezTo>
                  <a:pt x="121" y="229"/>
                  <a:pt x="121" y="229"/>
                  <a:pt x="121" y="229"/>
                </a:cubicBezTo>
                <a:cubicBezTo>
                  <a:pt x="125" y="229"/>
                  <a:pt x="130" y="227"/>
                  <a:pt x="133" y="224"/>
                </a:cubicBezTo>
                <a:cubicBezTo>
                  <a:pt x="229" y="113"/>
                  <a:pt x="229" y="113"/>
                  <a:pt x="229" y="113"/>
                </a:cubicBezTo>
                <a:cubicBezTo>
                  <a:pt x="239" y="101"/>
                  <a:pt x="245" y="85"/>
                  <a:pt x="245" y="69"/>
                </a:cubicBezTo>
                <a:cubicBezTo>
                  <a:pt x="245" y="31"/>
                  <a:pt x="214" y="0"/>
                  <a:pt x="176" y="0"/>
                </a:cubicBezTo>
                <a:close/>
                <a:moveTo>
                  <a:pt x="221" y="107"/>
                </a:moveTo>
                <a:cubicBezTo>
                  <a:pt x="125" y="217"/>
                  <a:pt x="125" y="217"/>
                  <a:pt x="125" y="217"/>
                </a:cubicBezTo>
                <a:cubicBezTo>
                  <a:pt x="124" y="218"/>
                  <a:pt x="123" y="219"/>
                  <a:pt x="121" y="219"/>
                </a:cubicBezTo>
                <a:cubicBezTo>
                  <a:pt x="121" y="224"/>
                  <a:pt x="121" y="224"/>
                  <a:pt x="121" y="224"/>
                </a:cubicBezTo>
                <a:cubicBezTo>
                  <a:pt x="121" y="219"/>
                  <a:pt x="121" y="219"/>
                  <a:pt x="121" y="219"/>
                </a:cubicBezTo>
                <a:cubicBezTo>
                  <a:pt x="119" y="219"/>
                  <a:pt x="118" y="218"/>
                  <a:pt x="117" y="217"/>
                </a:cubicBezTo>
                <a:cubicBezTo>
                  <a:pt x="21" y="104"/>
                  <a:pt x="21" y="104"/>
                  <a:pt x="21" y="104"/>
                </a:cubicBezTo>
                <a:cubicBezTo>
                  <a:pt x="14" y="94"/>
                  <a:pt x="10" y="82"/>
                  <a:pt x="10" y="69"/>
                </a:cubicBezTo>
                <a:cubicBezTo>
                  <a:pt x="10" y="36"/>
                  <a:pt x="36" y="10"/>
                  <a:pt x="69" y="10"/>
                </a:cubicBezTo>
                <a:cubicBezTo>
                  <a:pt x="88" y="10"/>
                  <a:pt x="106" y="19"/>
                  <a:pt x="118" y="34"/>
                </a:cubicBezTo>
                <a:cubicBezTo>
                  <a:pt x="119" y="35"/>
                  <a:pt x="121" y="36"/>
                  <a:pt x="122" y="36"/>
                </a:cubicBezTo>
                <a:cubicBezTo>
                  <a:pt x="124" y="36"/>
                  <a:pt x="125" y="35"/>
                  <a:pt x="126" y="34"/>
                </a:cubicBezTo>
                <a:cubicBezTo>
                  <a:pt x="138" y="19"/>
                  <a:pt x="156" y="10"/>
                  <a:pt x="176" y="10"/>
                </a:cubicBezTo>
                <a:cubicBezTo>
                  <a:pt x="208" y="10"/>
                  <a:pt x="235" y="36"/>
                  <a:pt x="235" y="69"/>
                </a:cubicBezTo>
                <a:cubicBezTo>
                  <a:pt x="235" y="83"/>
                  <a:pt x="230" y="96"/>
                  <a:pt x="221" y="10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170" name="Group 169">
            <a:extLst>
              <a:ext uri="{FF2B5EF4-FFF2-40B4-BE49-F238E27FC236}">
                <a16:creationId xmlns:a16="http://schemas.microsoft.com/office/drawing/2014/main" id="{18DE6E5B-D0DF-43AA-AD77-D3D57F87A9E7}"/>
              </a:ext>
            </a:extLst>
          </p:cNvPr>
          <p:cNvGrpSpPr>
            <a:grpSpLocks noChangeAspect="1"/>
          </p:cNvGrpSpPr>
          <p:nvPr/>
        </p:nvGrpSpPr>
        <p:grpSpPr>
          <a:xfrm>
            <a:off x="5458335" y="2957579"/>
            <a:ext cx="328900" cy="384457"/>
            <a:chOff x="190500" y="4740275"/>
            <a:chExt cx="469900" cy="549275"/>
          </a:xfrm>
        </p:grpSpPr>
        <p:sp>
          <p:nvSpPr>
            <p:cNvPr id="171" name="Freeform 39">
              <a:extLst>
                <a:ext uri="{FF2B5EF4-FFF2-40B4-BE49-F238E27FC236}">
                  <a16:creationId xmlns:a16="http://schemas.microsoft.com/office/drawing/2014/main" id="{AEF191DF-2077-41F7-94F7-0F4448F87E7C}"/>
                </a:ext>
              </a:extLst>
            </p:cNvPr>
            <p:cNvSpPr>
              <a:spLocks noEditPoints="1"/>
            </p:cNvSpPr>
            <p:nvPr/>
          </p:nvSpPr>
          <p:spPr bwMode="auto">
            <a:xfrm>
              <a:off x="485775" y="5021263"/>
              <a:ext cx="107950" cy="147637"/>
            </a:xfrm>
            <a:custGeom>
              <a:avLst/>
              <a:gdLst>
                <a:gd name="T0" fmla="*/ 27 w 48"/>
                <a:gd name="T1" fmla="*/ 27 h 65"/>
                <a:gd name="T2" fmla="*/ 23 w 48"/>
                <a:gd name="T3" fmla="*/ 12 h 65"/>
                <a:gd name="T4" fmla="*/ 31 w 48"/>
                <a:gd name="T5" fmla="*/ 14 h 65"/>
                <a:gd name="T6" fmla="*/ 34 w 48"/>
                <a:gd name="T7" fmla="*/ 14 h 65"/>
                <a:gd name="T8" fmla="*/ 36 w 48"/>
                <a:gd name="T9" fmla="*/ 12 h 65"/>
                <a:gd name="T10" fmla="*/ 37 w 48"/>
                <a:gd name="T11" fmla="*/ 9 h 65"/>
                <a:gd name="T12" fmla="*/ 34 w 48"/>
                <a:gd name="T13" fmla="*/ 6 h 65"/>
                <a:gd name="T14" fmla="*/ 21 w 48"/>
                <a:gd name="T15" fmla="*/ 5 h 65"/>
                <a:gd name="T16" fmla="*/ 21 w 48"/>
                <a:gd name="T17" fmla="*/ 4 h 65"/>
                <a:gd name="T18" fmla="*/ 16 w 48"/>
                <a:gd name="T19" fmla="*/ 1 h 65"/>
                <a:gd name="T20" fmla="*/ 13 w 48"/>
                <a:gd name="T21" fmla="*/ 6 h 65"/>
                <a:gd name="T22" fmla="*/ 14 w 48"/>
                <a:gd name="T23" fmla="*/ 6 h 65"/>
                <a:gd name="T24" fmla="*/ 3 w 48"/>
                <a:gd name="T25" fmla="*/ 25 h 65"/>
                <a:gd name="T26" fmla="*/ 21 w 48"/>
                <a:gd name="T27" fmla="*/ 36 h 65"/>
                <a:gd name="T28" fmla="*/ 22 w 48"/>
                <a:gd name="T29" fmla="*/ 36 h 65"/>
                <a:gd name="T30" fmla="*/ 26 w 48"/>
                <a:gd name="T31" fmla="*/ 51 h 65"/>
                <a:gd name="T32" fmla="*/ 14 w 48"/>
                <a:gd name="T33" fmla="*/ 48 h 65"/>
                <a:gd name="T34" fmla="*/ 11 w 48"/>
                <a:gd name="T35" fmla="*/ 48 h 65"/>
                <a:gd name="T36" fmla="*/ 9 w 48"/>
                <a:gd name="T37" fmla="*/ 50 h 65"/>
                <a:gd name="T38" fmla="*/ 8 w 48"/>
                <a:gd name="T39" fmla="*/ 53 h 65"/>
                <a:gd name="T40" fmla="*/ 11 w 48"/>
                <a:gd name="T41" fmla="*/ 56 h 65"/>
                <a:gd name="T42" fmla="*/ 28 w 48"/>
                <a:gd name="T43" fmla="*/ 58 h 65"/>
                <a:gd name="T44" fmla="*/ 29 w 48"/>
                <a:gd name="T45" fmla="*/ 62 h 65"/>
                <a:gd name="T46" fmla="*/ 32 w 48"/>
                <a:gd name="T47" fmla="*/ 65 h 65"/>
                <a:gd name="T48" fmla="*/ 33 w 48"/>
                <a:gd name="T49" fmla="*/ 65 h 65"/>
                <a:gd name="T50" fmla="*/ 36 w 48"/>
                <a:gd name="T51" fmla="*/ 63 h 65"/>
                <a:gd name="T52" fmla="*/ 36 w 48"/>
                <a:gd name="T53" fmla="*/ 60 h 65"/>
                <a:gd name="T54" fmla="*/ 35 w 48"/>
                <a:gd name="T55" fmla="*/ 57 h 65"/>
                <a:gd name="T56" fmla="*/ 46 w 48"/>
                <a:gd name="T57" fmla="*/ 38 h 65"/>
                <a:gd name="T58" fmla="*/ 27 w 48"/>
                <a:gd name="T59" fmla="*/ 27 h 65"/>
                <a:gd name="T60" fmla="*/ 33 w 48"/>
                <a:gd name="T61" fmla="*/ 49 h 65"/>
                <a:gd name="T62" fmla="*/ 29 w 48"/>
                <a:gd name="T63" fmla="*/ 35 h 65"/>
                <a:gd name="T64" fmla="*/ 38 w 48"/>
                <a:gd name="T65" fmla="*/ 40 h 65"/>
                <a:gd name="T66" fmla="*/ 33 w 48"/>
                <a:gd name="T67" fmla="*/ 49 h 65"/>
                <a:gd name="T68" fmla="*/ 11 w 48"/>
                <a:gd name="T69" fmla="*/ 22 h 65"/>
                <a:gd name="T70" fmla="*/ 16 w 48"/>
                <a:gd name="T71" fmla="*/ 14 h 65"/>
                <a:gd name="T72" fmla="*/ 19 w 48"/>
                <a:gd name="T73" fmla="*/ 27 h 65"/>
                <a:gd name="T74" fmla="*/ 11 w 48"/>
                <a:gd name="T75" fmla="*/ 2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 h="65">
                  <a:moveTo>
                    <a:pt x="27" y="27"/>
                  </a:moveTo>
                  <a:cubicBezTo>
                    <a:pt x="23" y="12"/>
                    <a:pt x="23" y="12"/>
                    <a:pt x="23" y="12"/>
                  </a:cubicBezTo>
                  <a:cubicBezTo>
                    <a:pt x="25" y="12"/>
                    <a:pt x="28" y="13"/>
                    <a:pt x="31" y="14"/>
                  </a:cubicBezTo>
                  <a:cubicBezTo>
                    <a:pt x="32" y="14"/>
                    <a:pt x="33" y="14"/>
                    <a:pt x="34" y="14"/>
                  </a:cubicBezTo>
                  <a:cubicBezTo>
                    <a:pt x="35" y="14"/>
                    <a:pt x="36" y="13"/>
                    <a:pt x="36" y="12"/>
                  </a:cubicBezTo>
                  <a:cubicBezTo>
                    <a:pt x="37" y="11"/>
                    <a:pt x="37" y="10"/>
                    <a:pt x="37" y="9"/>
                  </a:cubicBezTo>
                  <a:cubicBezTo>
                    <a:pt x="36" y="7"/>
                    <a:pt x="34" y="6"/>
                    <a:pt x="34" y="6"/>
                  </a:cubicBezTo>
                  <a:cubicBezTo>
                    <a:pt x="29" y="5"/>
                    <a:pt x="25" y="4"/>
                    <a:pt x="21" y="5"/>
                  </a:cubicBezTo>
                  <a:cubicBezTo>
                    <a:pt x="21" y="4"/>
                    <a:pt x="21" y="4"/>
                    <a:pt x="21" y="4"/>
                  </a:cubicBezTo>
                  <a:cubicBezTo>
                    <a:pt x="20" y="2"/>
                    <a:pt x="18" y="0"/>
                    <a:pt x="16" y="1"/>
                  </a:cubicBezTo>
                  <a:cubicBezTo>
                    <a:pt x="14" y="1"/>
                    <a:pt x="13" y="4"/>
                    <a:pt x="13" y="6"/>
                  </a:cubicBezTo>
                  <a:cubicBezTo>
                    <a:pt x="14" y="6"/>
                    <a:pt x="14" y="6"/>
                    <a:pt x="14" y="6"/>
                  </a:cubicBezTo>
                  <a:cubicBezTo>
                    <a:pt x="5" y="10"/>
                    <a:pt x="0" y="17"/>
                    <a:pt x="3" y="25"/>
                  </a:cubicBezTo>
                  <a:cubicBezTo>
                    <a:pt x="5" y="32"/>
                    <a:pt x="10" y="36"/>
                    <a:pt x="21" y="36"/>
                  </a:cubicBezTo>
                  <a:cubicBezTo>
                    <a:pt x="21" y="36"/>
                    <a:pt x="21" y="36"/>
                    <a:pt x="22" y="36"/>
                  </a:cubicBezTo>
                  <a:cubicBezTo>
                    <a:pt x="26" y="51"/>
                    <a:pt x="26" y="51"/>
                    <a:pt x="26" y="51"/>
                  </a:cubicBezTo>
                  <a:cubicBezTo>
                    <a:pt x="22" y="51"/>
                    <a:pt x="18" y="50"/>
                    <a:pt x="14" y="48"/>
                  </a:cubicBezTo>
                  <a:cubicBezTo>
                    <a:pt x="13" y="48"/>
                    <a:pt x="12" y="48"/>
                    <a:pt x="11" y="48"/>
                  </a:cubicBezTo>
                  <a:cubicBezTo>
                    <a:pt x="10" y="48"/>
                    <a:pt x="9" y="49"/>
                    <a:pt x="9" y="50"/>
                  </a:cubicBezTo>
                  <a:cubicBezTo>
                    <a:pt x="8" y="51"/>
                    <a:pt x="8" y="52"/>
                    <a:pt x="8" y="53"/>
                  </a:cubicBezTo>
                  <a:cubicBezTo>
                    <a:pt x="9" y="54"/>
                    <a:pt x="10" y="55"/>
                    <a:pt x="11" y="56"/>
                  </a:cubicBezTo>
                  <a:cubicBezTo>
                    <a:pt x="17" y="58"/>
                    <a:pt x="22" y="59"/>
                    <a:pt x="28" y="58"/>
                  </a:cubicBezTo>
                  <a:cubicBezTo>
                    <a:pt x="29" y="62"/>
                    <a:pt x="29" y="62"/>
                    <a:pt x="29" y="62"/>
                  </a:cubicBezTo>
                  <a:cubicBezTo>
                    <a:pt x="29" y="64"/>
                    <a:pt x="31" y="65"/>
                    <a:pt x="32" y="65"/>
                  </a:cubicBezTo>
                  <a:cubicBezTo>
                    <a:pt x="33" y="65"/>
                    <a:pt x="33" y="65"/>
                    <a:pt x="33" y="65"/>
                  </a:cubicBezTo>
                  <a:cubicBezTo>
                    <a:pt x="34" y="65"/>
                    <a:pt x="35" y="64"/>
                    <a:pt x="36" y="63"/>
                  </a:cubicBezTo>
                  <a:cubicBezTo>
                    <a:pt x="36" y="62"/>
                    <a:pt x="36" y="61"/>
                    <a:pt x="36" y="60"/>
                  </a:cubicBezTo>
                  <a:cubicBezTo>
                    <a:pt x="35" y="57"/>
                    <a:pt x="35" y="57"/>
                    <a:pt x="35" y="57"/>
                  </a:cubicBezTo>
                  <a:cubicBezTo>
                    <a:pt x="44" y="53"/>
                    <a:pt x="48" y="46"/>
                    <a:pt x="46" y="38"/>
                  </a:cubicBezTo>
                  <a:cubicBezTo>
                    <a:pt x="44" y="30"/>
                    <a:pt x="38" y="27"/>
                    <a:pt x="27" y="27"/>
                  </a:cubicBezTo>
                  <a:close/>
                  <a:moveTo>
                    <a:pt x="33" y="49"/>
                  </a:moveTo>
                  <a:cubicBezTo>
                    <a:pt x="29" y="35"/>
                    <a:pt x="29" y="35"/>
                    <a:pt x="29" y="35"/>
                  </a:cubicBezTo>
                  <a:cubicBezTo>
                    <a:pt x="35" y="36"/>
                    <a:pt x="37" y="37"/>
                    <a:pt x="38" y="40"/>
                  </a:cubicBezTo>
                  <a:cubicBezTo>
                    <a:pt x="39" y="44"/>
                    <a:pt x="37" y="47"/>
                    <a:pt x="33" y="49"/>
                  </a:cubicBezTo>
                  <a:close/>
                  <a:moveTo>
                    <a:pt x="11" y="22"/>
                  </a:moveTo>
                  <a:cubicBezTo>
                    <a:pt x="10" y="19"/>
                    <a:pt x="12" y="16"/>
                    <a:pt x="16" y="14"/>
                  </a:cubicBezTo>
                  <a:cubicBezTo>
                    <a:pt x="19" y="27"/>
                    <a:pt x="19" y="27"/>
                    <a:pt x="19" y="27"/>
                  </a:cubicBezTo>
                  <a:cubicBezTo>
                    <a:pt x="13" y="27"/>
                    <a:pt x="11" y="25"/>
                    <a:pt x="11" y="2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2" name="Freeform 40">
              <a:extLst>
                <a:ext uri="{FF2B5EF4-FFF2-40B4-BE49-F238E27FC236}">
                  <a16:creationId xmlns:a16="http://schemas.microsoft.com/office/drawing/2014/main" id="{DA327E75-1C64-4552-B9C1-D35221FEB97C}"/>
                </a:ext>
              </a:extLst>
            </p:cNvPr>
            <p:cNvSpPr>
              <a:spLocks noEditPoints="1"/>
            </p:cNvSpPr>
            <p:nvPr/>
          </p:nvSpPr>
          <p:spPr bwMode="auto">
            <a:xfrm>
              <a:off x="409575" y="4976813"/>
              <a:ext cx="250825" cy="238125"/>
            </a:xfrm>
            <a:custGeom>
              <a:avLst/>
              <a:gdLst>
                <a:gd name="T0" fmla="*/ 107 w 110"/>
                <a:gd name="T1" fmla="*/ 38 h 104"/>
                <a:gd name="T2" fmla="*/ 57 w 110"/>
                <a:gd name="T3" fmla="*/ 0 h 104"/>
                <a:gd name="T4" fmla="*/ 43 w 110"/>
                <a:gd name="T5" fmla="*/ 2 h 104"/>
                <a:gd name="T6" fmla="*/ 7 w 110"/>
                <a:gd name="T7" fmla="*/ 65 h 104"/>
                <a:gd name="T8" fmla="*/ 57 w 110"/>
                <a:gd name="T9" fmla="*/ 104 h 104"/>
                <a:gd name="T10" fmla="*/ 70 w 110"/>
                <a:gd name="T11" fmla="*/ 102 h 104"/>
                <a:gd name="T12" fmla="*/ 102 w 110"/>
                <a:gd name="T13" fmla="*/ 78 h 104"/>
                <a:gd name="T14" fmla="*/ 107 w 110"/>
                <a:gd name="T15" fmla="*/ 38 h 104"/>
                <a:gd name="T16" fmla="*/ 93 w 110"/>
                <a:gd name="T17" fmla="*/ 73 h 104"/>
                <a:gd name="T18" fmla="*/ 68 w 110"/>
                <a:gd name="T19" fmla="*/ 92 h 104"/>
                <a:gd name="T20" fmla="*/ 57 w 110"/>
                <a:gd name="T21" fmla="*/ 94 h 104"/>
                <a:gd name="T22" fmla="*/ 17 w 110"/>
                <a:gd name="T23" fmla="*/ 63 h 104"/>
                <a:gd name="T24" fmla="*/ 46 w 110"/>
                <a:gd name="T25" fmla="*/ 12 h 104"/>
                <a:gd name="T26" fmla="*/ 57 w 110"/>
                <a:gd name="T27" fmla="*/ 10 h 104"/>
                <a:gd name="T28" fmla="*/ 97 w 110"/>
                <a:gd name="T29" fmla="*/ 41 h 104"/>
                <a:gd name="T30" fmla="*/ 93 w 110"/>
                <a:gd name="T31" fmla="*/ 7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0" h="104">
                  <a:moveTo>
                    <a:pt x="107" y="38"/>
                  </a:moveTo>
                  <a:cubicBezTo>
                    <a:pt x="101" y="16"/>
                    <a:pt x="80" y="0"/>
                    <a:pt x="57" y="0"/>
                  </a:cubicBezTo>
                  <a:cubicBezTo>
                    <a:pt x="52" y="0"/>
                    <a:pt x="48" y="1"/>
                    <a:pt x="43" y="2"/>
                  </a:cubicBezTo>
                  <a:cubicBezTo>
                    <a:pt x="16" y="9"/>
                    <a:pt x="0" y="38"/>
                    <a:pt x="7" y="65"/>
                  </a:cubicBezTo>
                  <a:cubicBezTo>
                    <a:pt x="13" y="88"/>
                    <a:pt x="34" y="104"/>
                    <a:pt x="57" y="104"/>
                  </a:cubicBezTo>
                  <a:cubicBezTo>
                    <a:pt x="61" y="104"/>
                    <a:pt x="66" y="103"/>
                    <a:pt x="70" y="102"/>
                  </a:cubicBezTo>
                  <a:cubicBezTo>
                    <a:pt x="84" y="98"/>
                    <a:pt x="95" y="90"/>
                    <a:pt x="102" y="78"/>
                  </a:cubicBezTo>
                  <a:cubicBezTo>
                    <a:pt x="109" y="66"/>
                    <a:pt x="110" y="52"/>
                    <a:pt x="107" y="38"/>
                  </a:cubicBezTo>
                  <a:close/>
                  <a:moveTo>
                    <a:pt x="93" y="73"/>
                  </a:moveTo>
                  <a:cubicBezTo>
                    <a:pt x="88" y="82"/>
                    <a:pt x="79" y="89"/>
                    <a:pt x="68" y="92"/>
                  </a:cubicBezTo>
                  <a:cubicBezTo>
                    <a:pt x="64" y="93"/>
                    <a:pt x="61" y="94"/>
                    <a:pt x="57" y="94"/>
                  </a:cubicBezTo>
                  <a:cubicBezTo>
                    <a:pt x="38" y="94"/>
                    <a:pt x="21" y="81"/>
                    <a:pt x="17" y="63"/>
                  </a:cubicBezTo>
                  <a:cubicBezTo>
                    <a:pt x="11" y="41"/>
                    <a:pt x="24" y="18"/>
                    <a:pt x="46" y="12"/>
                  </a:cubicBezTo>
                  <a:cubicBezTo>
                    <a:pt x="50" y="11"/>
                    <a:pt x="53" y="10"/>
                    <a:pt x="57" y="10"/>
                  </a:cubicBezTo>
                  <a:cubicBezTo>
                    <a:pt x="76" y="10"/>
                    <a:pt x="92" y="23"/>
                    <a:pt x="97" y="41"/>
                  </a:cubicBezTo>
                  <a:cubicBezTo>
                    <a:pt x="100" y="52"/>
                    <a:pt x="99" y="63"/>
                    <a:pt x="93" y="7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3" name="Freeform 41">
              <a:extLst>
                <a:ext uri="{FF2B5EF4-FFF2-40B4-BE49-F238E27FC236}">
                  <a16:creationId xmlns:a16="http://schemas.microsoft.com/office/drawing/2014/main" id="{D7163DFF-4EF1-42B9-B42B-8A2E0E75B845}"/>
                </a:ext>
              </a:extLst>
            </p:cNvPr>
            <p:cNvSpPr>
              <a:spLocks noEditPoints="1"/>
            </p:cNvSpPr>
            <p:nvPr/>
          </p:nvSpPr>
          <p:spPr bwMode="auto">
            <a:xfrm>
              <a:off x="190500" y="4740275"/>
              <a:ext cx="374650" cy="549275"/>
            </a:xfrm>
            <a:custGeom>
              <a:avLst/>
              <a:gdLst>
                <a:gd name="T0" fmla="*/ 159 w 164"/>
                <a:gd name="T1" fmla="*/ 214 h 241"/>
                <a:gd name="T2" fmla="*/ 155 w 164"/>
                <a:gd name="T3" fmla="*/ 219 h 241"/>
                <a:gd name="T4" fmla="*/ 155 w 164"/>
                <a:gd name="T5" fmla="*/ 231 h 241"/>
                <a:gd name="T6" fmla="*/ 10 w 164"/>
                <a:gd name="T7" fmla="*/ 231 h 241"/>
                <a:gd name="T8" fmla="*/ 10 w 164"/>
                <a:gd name="T9" fmla="*/ 56 h 241"/>
                <a:gd name="T10" fmla="*/ 35 w 164"/>
                <a:gd name="T11" fmla="*/ 56 h 241"/>
                <a:gd name="T12" fmla="*/ 35 w 164"/>
                <a:gd name="T13" fmla="*/ 78 h 241"/>
                <a:gd name="T14" fmla="*/ 40 w 164"/>
                <a:gd name="T15" fmla="*/ 82 h 241"/>
                <a:gd name="T16" fmla="*/ 45 w 164"/>
                <a:gd name="T17" fmla="*/ 78 h 241"/>
                <a:gd name="T18" fmla="*/ 45 w 164"/>
                <a:gd name="T19" fmla="*/ 56 h 241"/>
                <a:gd name="T20" fmla="*/ 120 w 164"/>
                <a:gd name="T21" fmla="*/ 56 h 241"/>
                <a:gd name="T22" fmla="*/ 120 w 164"/>
                <a:gd name="T23" fmla="*/ 78 h 241"/>
                <a:gd name="T24" fmla="*/ 125 w 164"/>
                <a:gd name="T25" fmla="*/ 82 h 241"/>
                <a:gd name="T26" fmla="*/ 130 w 164"/>
                <a:gd name="T27" fmla="*/ 78 h 241"/>
                <a:gd name="T28" fmla="*/ 130 w 164"/>
                <a:gd name="T29" fmla="*/ 56 h 241"/>
                <a:gd name="T30" fmla="*/ 155 w 164"/>
                <a:gd name="T31" fmla="*/ 56 h 241"/>
                <a:gd name="T32" fmla="*/ 155 w 164"/>
                <a:gd name="T33" fmla="*/ 90 h 241"/>
                <a:gd name="T34" fmla="*/ 159 w 164"/>
                <a:gd name="T35" fmla="*/ 95 h 241"/>
                <a:gd name="T36" fmla="*/ 164 w 164"/>
                <a:gd name="T37" fmla="*/ 90 h 241"/>
                <a:gd name="T38" fmla="*/ 164 w 164"/>
                <a:gd name="T39" fmla="*/ 51 h 241"/>
                <a:gd name="T40" fmla="*/ 159 w 164"/>
                <a:gd name="T41" fmla="*/ 46 h 241"/>
                <a:gd name="T42" fmla="*/ 130 w 164"/>
                <a:gd name="T43" fmla="*/ 46 h 241"/>
                <a:gd name="T44" fmla="*/ 83 w 164"/>
                <a:gd name="T45" fmla="*/ 0 h 241"/>
                <a:gd name="T46" fmla="*/ 82 w 164"/>
                <a:gd name="T47" fmla="*/ 0 h 241"/>
                <a:gd name="T48" fmla="*/ 35 w 164"/>
                <a:gd name="T49" fmla="*/ 46 h 241"/>
                <a:gd name="T50" fmla="*/ 5 w 164"/>
                <a:gd name="T51" fmla="*/ 46 h 241"/>
                <a:gd name="T52" fmla="*/ 0 w 164"/>
                <a:gd name="T53" fmla="*/ 51 h 241"/>
                <a:gd name="T54" fmla="*/ 0 w 164"/>
                <a:gd name="T55" fmla="*/ 236 h 241"/>
                <a:gd name="T56" fmla="*/ 5 w 164"/>
                <a:gd name="T57" fmla="*/ 241 h 241"/>
                <a:gd name="T58" fmla="*/ 159 w 164"/>
                <a:gd name="T59" fmla="*/ 241 h 241"/>
                <a:gd name="T60" fmla="*/ 164 w 164"/>
                <a:gd name="T61" fmla="*/ 236 h 241"/>
                <a:gd name="T62" fmla="*/ 164 w 164"/>
                <a:gd name="T63" fmla="*/ 219 h 241"/>
                <a:gd name="T64" fmla="*/ 159 w 164"/>
                <a:gd name="T65" fmla="*/ 214 h 241"/>
                <a:gd name="T66" fmla="*/ 82 w 164"/>
                <a:gd name="T67" fmla="*/ 9 h 241"/>
                <a:gd name="T68" fmla="*/ 83 w 164"/>
                <a:gd name="T69" fmla="*/ 9 h 241"/>
                <a:gd name="T70" fmla="*/ 120 w 164"/>
                <a:gd name="T71" fmla="*/ 46 h 241"/>
                <a:gd name="T72" fmla="*/ 45 w 164"/>
                <a:gd name="T73" fmla="*/ 46 h 241"/>
                <a:gd name="T74" fmla="*/ 82 w 164"/>
                <a:gd name="T75" fmla="*/ 9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4" h="241">
                  <a:moveTo>
                    <a:pt x="159" y="214"/>
                  </a:moveTo>
                  <a:cubicBezTo>
                    <a:pt x="157" y="214"/>
                    <a:pt x="155" y="217"/>
                    <a:pt x="155" y="219"/>
                  </a:cubicBezTo>
                  <a:cubicBezTo>
                    <a:pt x="155" y="231"/>
                    <a:pt x="155" y="231"/>
                    <a:pt x="155" y="231"/>
                  </a:cubicBezTo>
                  <a:cubicBezTo>
                    <a:pt x="10" y="231"/>
                    <a:pt x="10" y="231"/>
                    <a:pt x="10" y="231"/>
                  </a:cubicBezTo>
                  <a:cubicBezTo>
                    <a:pt x="10" y="56"/>
                    <a:pt x="10" y="56"/>
                    <a:pt x="10" y="56"/>
                  </a:cubicBezTo>
                  <a:cubicBezTo>
                    <a:pt x="35" y="56"/>
                    <a:pt x="35" y="56"/>
                    <a:pt x="35" y="56"/>
                  </a:cubicBezTo>
                  <a:cubicBezTo>
                    <a:pt x="35" y="78"/>
                    <a:pt x="35" y="78"/>
                    <a:pt x="35" y="78"/>
                  </a:cubicBezTo>
                  <a:cubicBezTo>
                    <a:pt x="35" y="80"/>
                    <a:pt x="38" y="82"/>
                    <a:pt x="40" y="82"/>
                  </a:cubicBezTo>
                  <a:cubicBezTo>
                    <a:pt x="43" y="82"/>
                    <a:pt x="45" y="80"/>
                    <a:pt x="45" y="78"/>
                  </a:cubicBezTo>
                  <a:cubicBezTo>
                    <a:pt x="45" y="56"/>
                    <a:pt x="45" y="56"/>
                    <a:pt x="45" y="56"/>
                  </a:cubicBezTo>
                  <a:cubicBezTo>
                    <a:pt x="120" y="56"/>
                    <a:pt x="120" y="56"/>
                    <a:pt x="120" y="56"/>
                  </a:cubicBezTo>
                  <a:cubicBezTo>
                    <a:pt x="120" y="78"/>
                    <a:pt x="120" y="78"/>
                    <a:pt x="120" y="78"/>
                  </a:cubicBezTo>
                  <a:cubicBezTo>
                    <a:pt x="120" y="80"/>
                    <a:pt x="122" y="82"/>
                    <a:pt x="125" y="82"/>
                  </a:cubicBezTo>
                  <a:cubicBezTo>
                    <a:pt x="127" y="82"/>
                    <a:pt x="130" y="80"/>
                    <a:pt x="130" y="78"/>
                  </a:cubicBezTo>
                  <a:cubicBezTo>
                    <a:pt x="130" y="56"/>
                    <a:pt x="130" y="56"/>
                    <a:pt x="130" y="56"/>
                  </a:cubicBezTo>
                  <a:cubicBezTo>
                    <a:pt x="155" y="56"/>
                    <a:pt x="155" y="56"/>
                    <a:pt x="155" y="56"/>
                  </a:cubicBezTo>
                  <a:cubicBezTo>
                    <a:pt x="155" y="90"/>
                    <a:pt x="155" y="90"/>
                    <a:pt x="155" y="90"/>
                  </a:cubicBezTo>
                  <a:cubicBezTo>
                    <a:pt x="155" y="93"/>
                    <a:pt x="157" y="95"/>
                    <a:pt x="159" y="95"/>
                  </a:cubicBezTo>
                  <a:cubicBezTo>
                    <a:pt x="162" y="95"/>
                    <a:pt x="164" y="93"/>
                    <a:pt x="164" y="90"/>
                  </a:cubicBezTo>
                  <a:cubicBezTo>
                    <a:pt x="164" y="51"/>
                    <a:pt x="164" y="51"/>
                    <a:pt x="164" y="51"/>
                  </a:cubicBezTo>
                  <a:cubicBezTo>
                    <a:pt x="164" y="48"/>
                    <a:pt x="162" y="46"/>
                    <a:pt x="159" y="46"/>
                  </a:cubicBezTo>
                  <a:cubicBezTo>
                    <a:pt x="130" y="46"/>
                    <a:pt x="130" y="46"/>
                    <a:pt x="130" y="46"/>
                  </a:cubicBezTo>
                  <a:cubicBezTo>
                    <a:pt x="129" y="20"/>
                    <a:pt x="108" y="0"/>
                    <a:pt x="83" y="0"/>
                  </a:cubicBezTo>
                  <a:cubicBezTo>
                    <a:pt x="82" y="0"/>
                    <a:pt x="82" y="0"/>
                    <a:pt x="82" y="0"/>
                  </a:cubicBezTo>
                  <a:cubicBezTo>
                    <a:pt x="57" y="0"/>
                    <a:pt x="36" y="20"/>
                    <a:pt x="35" y="46"/>
                  </a:cubicBezTo>
                  <a:cubicBezTo>
                    <a:pt x="5" y="46"/>
                    <a:pt x="5" y="46"/>
                    <a:pt x="5" y="46"/>
                  </a:cubicBezTo>
                  <a:cubicBezTo>
                    <a:pt x="2" y="46"/>
                    <a:pt x="0" y="48"/>
                    <a:pt x="0" y="51"/>
                  </a:cubicBezTo>
                  <a:cubicBezTo>
                    <a:pt x="0" y="236"/>
                    <a:pt x="0" y="236"/>
                    <a:pt x="0" y="236"/>
                  </a:cubicBezTo>
                  <a:cubicBezTo>
                    <a:pt x="0" y="239"/>
                    <a:pt x="2" y="241"/>
                    <a:pt x="5" y="241"/>
                  </a:cubicBezTo>
                  <a:cubicBezTo>
                    <a:pt x="159" y="241"/>
                    <a:pt x="159" y="241"/>
                    <a:pt x="159" y="241"/>
                  </a:cubicBezTo>
                  <a:cubicBezTo>
                    <a:pt x="162" y="241"/>
                    <a:pt x="164" y="239"/>
                    <a:pt x="164" y="236"/>
                  </a:cubicBezTo>
                  <a:cubicBezTo>
                    <a:pt x="164" y="219"/>
                    <a:pt x="164" y="219"/>
                    <a:pt x="164" y="219"/>
                  </a:cubicBezTo>
                  <a:cubicBezTo>
                    <a:pt x="164" y="217"/>
                    <a:pt x="162" y="214"/>
                    <a:pt x="159" y="214"/>
                  </a:cubicBezTo>
                  <a:close/>
                  <a:moveTo>
                    <a:pt x="82" y="9"/>
                  </a:moveTo>
                  <a:cubicBezTo>
                    <a:pt x="83" y="9"/>
                    <a:pt x="83" y="9"/>
                    <a:pt x="83" y="9"/>
                  </a:cubicBezTo>
                  <a:cubicBezTo>
                    <a:pt x="103" y="9"/>
                    <a:pt x="119" y="26"/>
                    <a:pt x="120" y="46"/>
                  </a:cubicBezTo>
                  <a:cubicBezTo>
                    <a:pt x="45" y="46"/>
                    <a:pt x="45" y="46"/>
                    <a:pt x="45" y="46"/>
                  </a:cubicBezTo>
                  <a:cubicBezTo>
                    <a:pt x="46" y="26"/>
                    <a:pt x="62" y="9"/>
                    <a:pt x="82" y="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174" name="Title 1">
            <a:extLst>
              <a:ext uri="{FF2B5EF4-FFF2-40B4-BE49-F238E27FC236}">
                <a16:creationId xmlns:a16="http://schemas.microsoft.com/office/drawing/2014/main" id="{2470DA04-2B55-4EE7-970D-F7BD812AF492}"/>
              </a:ext>
            </a:extLst>
          </p:cNvPr>
          <p:cNvSpPr txBox="1">
            <a:spLocks/>
          </p:cNvSpPr>
          <p:nvPr/>
        </p:nvSpPr>
        <p:spPr>
          <a:xfrm>
            <a:off x="5941196" y="5296074"/>
            <a:ext cx="640080" cy="365760"/>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FDD300"/>
                </a:solidFill>
                <a:effectLst/>
                <a:uLnTx/>
                <a:uFillTx/>
                <a:latin typeface="Open Sans"/>
              </a:rPr>
              <a:t>42%</a:t>
            </a:r>
            <a:endParaRPr kumimoji="0" lang="en-US" sz="1800" b="0" i="0" u="none" strike="noStrike" kern="1200" cap="none" spc="0" normalizeH="0" baseline="0" noProof="0" dirty="0">
              <a:ln>
                <a:noFill/>
              </a:ln>
              <a:solidFill>
                <a:srgbClr val="FDD300"/>
              </a:solidFill>
              <a:effectLst/>
              <a:uLnTx/>
              <a:uFillTx/>
              <a:latin typeface="Open Sans"/>
            </a:endParaRPr>
          </a:p>
        </p:txBody>
      </p:sp>
    </p:spTree>
    <p:extLst>
      <p:ext uri="{BB962C8B-B14F-4D97-AF65-F5344CB8AC3E}">
        <p14:creationId xmlns:p14="http://schemas.microsoft.com/office/powerpoint/2010/main" val="258630838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268"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Marketplace Adoption</a:t>
            </a:r>
            <a:endParaRPr lang="en-US" dirty="0"/>
          </a:p>
        </p:txBody>
      </p:sp>
      <p:sp>
        <p:nvSpPr>
          <p:cNvPr id="3" name="Text Placeholder 2"/>
          <p:cNvSpPr>
            <a:spLocks noGrp="1"/>
          </p:cNvSpPr>
          <p:nvPr>
            <p:ph type="body" sz="quarter" idx="14"/>
          </p:nvPr>
        </p:nvSpPr>
        <p:spPr/>
        <p:txBody>
          <a:bodyPr/>
          <a:lstStyle/>
          <a:p>
            <a:pPr lvl="0">
              <a:buClr>
                <a:srgbClr val="787878"/>
              </a:buClr>
              <a:defRPr/>
            </a:pPr>
            <a:r>
              <a:rPr lang="en-US" spc="0" dirty="0">
                <a:solidFill>
                  <a:srgbClr val="000000"/>
                </a:solidFill>
              </a:rPr>
              <a:t> Acquisition effort for 2019 Q1 will be focused on customers, with the goal of building repeat purchasers or “subscribers”</a:t>
            </a:r>
          </a:p>
        </p:txBody>
      </p:sp>
      <p:sp>
        <p:nvSpPr>
          <p:cNvPr id="5" name="Text Placeholder 4"/>
          <p:cNvSpPr>
            <a:spLocks noGrp="1"/>
          </p:cNvSpPr>
          <p:nvPr>
            <p:ph type="body" sz="quarter" idx="15"/>
          </p:nvPr>
        </p:nvSpPr>
        <p:spPr/>
        <p:txBody>
          <a:bodyPr/>
          <a:lstStyle/>
          <a:p>
            <a:r>
              <a:rPr lang="en-US" dirty="0"/>
              <a:t>Data Visualization &amp; Infographics</a:t>
            </a:r>
          </a:p>
        </p:txBody>
      </p:sp>
      <p:sp>
        <p:nvSpPr>
          <p:cNvPr id="90" name="TextBox 89"/>
          <p:cNvSpPr txBox="1"/>
          <p:nvPr/>
        </p:nvSpPr>
        <p:spPr>
          <a:xfrm>
            <a:off x="621575" y="2604102"/>
            <a:ext cx="4663212"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Specialty Co. will leverage’ salesforce to get 10% of full service restaurants (~800) to become continual users.</a:t>
            </a:r>
          </a:p>
        </p:txBody>
      </p:sp>
      <p:sp>
        <p:nvSpPr>
          <p:cNvPr id="91" name="TextBox 90"/>
          <p:cNvSpPr txBox="1"/>
          <p:nvPr/>
        </p:nvSpPr>
        <p:spPr>
          <a:xfrm>
            <a:off x="621576" y="2361058"/>
            <a:ext cx="374989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EXISTING CUSTOMERS (24% of MR Users)</a:t>
            </a:r>
          </a:p>
        </p:txBody>
      </p:sp>
      <p:sp>
        <p:nvSpPr>
          <p:cNvPr id="92" name="TextBox 91"/>
          <p:cNvSpPr txBox="1"/>
          <p:nvPr/>
        </p:nvSpPr>
        <p:spPr>
          <a:xfrm>
            <a:off x="621575" y="4306869"/>
            <a:ext cx="4663212"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Specialty Co. will get 15% of non full service restaurants to visit the marketplace, convert 15% of those customers, and retain 40% of those customers as habitual MR buyers, or subscribers.</a:t>
            </a:r>
          </a:p>
        </p:txBody>
      </p:sp>
      <p:sp>
        <p:nvSpPr>
          <p:cNvPr id="93" name="TextBox 92"/>
          <p:cNvSpPr txBox="1"/>
          <p:nvPr/>
        </p:nvSpPr>
        <p:spPr>
          <a:xfrm>
            <a:off x="621576" y="4063825"/>
            <a:ext cx="396632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CUSTOMERS (76% of MR Users)</a:t>
            </a:r>
          </a:p>
        </p:txBody>
      </p:sp>
      <p:sp>
        <p:nvSpPr>
          <p:cNvPr id="95" name="Rectangle 94"/>
          <p:cNvSpPr/>
          <p:nvPr/>
        </p:nvSpPr>
        <p:spPr>
          <a:xfrm>
            <a:off x="1216286" y="3111653"/>
            <a:ext cx="548641" cy="265457"/>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283K</a:t>
            </a:r>
          </a:p>
        </p:txBody>
      </p:sp>
      <p:sp>
        <p:nvSpPr>
          <p:cNvPr id="96" name="Rectangle 95"/>
          <p:cNvSpPr/>
          <p:nvPr/>
        </p:nvSpPr>
        <p:spPr>
          <a:xfrm>
            <a:off x="1004291" y="3369019"/>
            <a:ext cx="978802"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mn-cs"/>
              </a:rPr>
              <a:t>Full Service Restaurants</a:t>
            </a:r>
          </a:p>
        </p:txBody>
      </p:sp>
      <p:sp>
        <p:nvSpPr>
          <p:cNvPr id="97" name="Rectangle 96"/>
          <p:cNvSpPr/>
          <p:nvPr/>
        </p:nvSpPr>
        <p:spPr>
          <a:xfrm>
            <a:off x="2108156" y="3106076"/>
            <a:ext cx="548641" cy="265457"/>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2.8%</a:t>
            </a:r>
          </a:p>
        </p:txBody>
      </p:sp>
      <p:sp>
        <p:nvSpPr>
          <p:cNvPr id="98" name="Rectangle 97"/>
          <p:cNvSpPr/>
          <p:nvPr/>
        </p:nvSpPr>
        <p:spPr>
          <a:xfrm>
            <a:off x="1890940" y="3371533"/>
            <a:ext cx="978802"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mn-cs"/>
              </a:rPr>
              <a:t>Market Share</a:t>
            </a:r>
          </a:p>
        </p:txBody>
      </p:sp>
      <p:sp>
        <p:nvSpPr>
          <p:cNvPr id="99" name="Rectangle 98"/>
          <p:cNvSpPr/>
          <p:nvPr/>
        </p:nvSpPr>
        <p:spPr>
          <a:xfrm>
            <a:off x="3000028" y="3111653"/>
            <a:ext cx="548641" cy="265457"/>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10%</a:t>
            </a:r>
          </a:p>
        </p:txBody>
      </p:sp>
      <p:sp>
        <p:nvSpPr>
          <p:cNvPr id="100" name="Rectangle 99"/>
          <p:cNvSpPr/>
          <p:nvPr/>
        </p:nvSpPr>
        <p:spPr>
          <a:xfrm>
            <a:off x="2784947" y="3368549"/>
            <a:ext cx="978802"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mn-cs"/>
              </a:rPr>
              <a:t>MR Adoption</a:t>
            </a:r>
          </a:p>
        </p:txBody>
      </p:sp>
      <p:sp>
        <p:nvSpPr>
          <p:cNvPr id="101" name="Multiply 100"/>
          <p:cNvSpPr/>
          <p:nvPr/>
        </p:nvSpPr>
        <p:spPr>
          <a:xfrm>
            <a:off x="1781491" y="3079112"/>
            <a:ext cx="310101" cy="310101"/>
          </a:xfrm>
          <a:prstGeom prst="mathMultiply">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102" name="Multiply 101"/>
          <p:cNvSpPr/>
          <p:nvPr/>
        </p:nvSpPr>
        <p:spPr>
          <a:xfrm>
            <a:off x="2673361" y="3083753"/>
            <a:ext cx="310101" cy="310101"/>
          </a:xfrm>
          <a:prstGeom prst="mathMultiply">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103" name="Equal 102"/>
          <p:cNvSpPr/>
          <p:nvPr/>
        </p:nvSpPr>
        <p:spPr>
          <a:xfrm>
            <a:off x="3613211" y="3097391"/>
            <a:ext cx="295973" cy="295973"/>
          </a:xfrm>
          <a:prstGeom prst="mathEqual">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04" name="Rectangle 103"/>
          <p:cNvSpPr/>
          <p:nvPr/>
        </p:nvSpPr>
        <p:spPr>
          <a:xfrm>
            <a:off x="3990362" y="3102709"/>
            <a:ext cx="548641" cy="265457"/>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800</a:t>
            </a:r>
          </a:p>
        </p:txBody>
      </p:sp>
      <p:sp>
        <p:nvSpPr>
          <p:cNvPr id="105" name="Rectangle 104"/>
          <p:cNvSpPr/>
          <p:nvPr/>
        </p:nvSpPr>
        <p:spPr>
          <a:xfrm>
            <a:off x="3646427" y="3376228"/>
            <a:ext cx="1236565"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mn-cs"/>
              </a:rPr>
              <a:t>Sourced MR Subscribers</a:t>
            </a:r>
          </a:p>
        </p:txBody>
      </p:sp>
      <p:sp>
        <p:nvSpPr>
          <p:cNvPr id="106" name="Rectangle 105"/>
          <p:cNvSpPr/>
          <p:nvPr/>
        </p:nvSpPr>
        <p:spPr>
          <a:xfrm>
            <a:off x="824032" y="4942549"/>
            <a:ext cx="548641" cy="265457"/>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275K</a:t>
            </a:r>
          </a:p>
        </p:txBody>
      </p:sp>
      <p:sp>
        <p:nvSpPr>
          <p:cNvPr id="107" name="Rectangle 106"/>
          <p:cNvSpPr/>
          <p:nvPr/>
        </p:nvSpPr>
        <p:spPr>
          <a:xfrm>
            <a:off x="612037" y="5199915"/>
            <a:ext cx="978802"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mn-cs"/>
              </a:rPr>
              <a:t>In-Scope Operators</a:t>
            </a:r>
          </a:p>
        </p:txBody>
      </p:sp>
      <p:sp>
        <p:nvSpPr>
          <p:cNvPr id="108" name="Rectangle 107"/>
          <p:cNvSpPr/>
          <p:nvPr/>
        </p:nvSpPr>
        <p:spPr>
          <a:xfrm>
            <a:off x="1715902" y="4936972"/>
            <a:ext cx="548641" cy="265457"/>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15%</a:t>
            </a:r>
          </a:p>
        </p:txBody>
      </p:sp>
      <p:sp>
        <p:nvSpPr>
          <p:cNvPr id="109" name="Rectangle 108"/>
          <p:cNvSpPr/>
          <p:nvPr/>
        </p:nvSpPr>
        <p:spPr>
          <a:xfrm>
            <a:off x="1498686" y="5202429"/>
            <a:ext cx="978802" cy="57708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mn-cs"/>
              </a:rPr>
              <a:t>% of Operators Visiting Site</a:t>
            </a:r>
          </a:p>
        </p:txBody>
      </p:sp>
      <p:sp>
        <p:nvSpPr>
          <p:cNvPr id="110" name="Rectangle 109"/>
          <p:cNvSpPr/>
          <p:nvPr/>
        </p:nvSpPr>
        <p:spPr>
          <a:xfrm>
            <a:off x="2607774" y="4942549"/>
            <a:ext cx="548641" cy="265457"/>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15%</a:t>
            </a:r>
          </a:p>
        </p:txBody>
      </p:sp>
      <p:sp>
        <p:nvSpPr>
          <p:cNvPr id="111" name="Rectangle 110"/>
          <p:cNvSpPr/>
          <p:nvPr/>
        </p:nvSpPr>
        <p:spPr>
          <a:xfrm>
            <a:off x="2392693" y="5199445"/>
            <a:ext cx="978802" cy="57708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mn-cs"/>
              </a:rPr>
              <a:t>First-time Purchase Conversion</a:t>
            </a:r>
          </a:p>
        </p:txBody>
      </p:sp>
      <p:sp>
        <p:nvSpPr>
          <p:cNvPr id="112" name="Multiply 111"/>
          <p:cNvSpPr/>
          <p:nvPr/>
        </p:nvSpPr>
        <p:spPr>
          <a:xfrm>
            <a:off x="1389237" y="4910008"/>
            <a:ext cx="310101" cy="310101"/>
          </a:xfrm>
          <a:prstGeom prst="mathMultiply">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113" name="Multiply 112"/>
          <p:cNvSpPr/>
          <p:nvPr/>
        </p:nvSpPr>
        <p:spPr>
          <a:xfrm>
            <a:off x="2281107" y="4914649"/>
            <a:ext cx="310101" cy="310101"/>
          </a:xfrm>
          <a:prstGeom prst="mathMultiply">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114" name="Equal 113"/>
          <p:cNvSpPr/>
          <p:nvPr/>
        </p:nvSpPr>
        <p:spPr>
          <a:xfrm>
            <a:off x="4135356" y="4928287"/>
            <a:ext cx="295973" cy="295973"/>
          </a:xfrm>
          <a:prstGeom prst="mathEqual">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15" name="Rectangle 114"/>
          <p:cNvSpPr/>
          <p:nvPr/>
        </p:nvSpPr>
        <p:spPr>
          <a:xfrm>
            <a:off x="4512506" y="4933605"/>
            <a:ext cx="640080" cy="265457"/>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2.5K</a:t>
            </a:r>
          </a:p>
        </p:txBody>
      </p:sp>
      <p:sp>
        <p:nvSpPr>
          <p:cNvPr id="116" name="Rectangle 115"/>
          <p:cNvSpPr/>
          <p:nvPr/>
        </p:nvSpPr>
        <p:spPr>
          <a:xfrm>
            <a:off x="4214263" y="5185003"/>
            <a:ext cx="1236565" cy="57708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mn-cs"/>
              </a:rPr>
              <a:t>N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mn-cs"/>
              </a:rPr>
              <a:t>Sourced MR Subscribers</a:t>
            </a:r>
          </a:p>
        </p:txBody>
      </p:sp>
      <p:sp>
        <p:nvSpPr>
          <p:cNvPr id="117" name="Rectangle 116"/>
          <p:cNvSpPr/>
          <p:nvPr/>
        </p:nvSpPr>
        <p:spPr>
          <a:xfrm>
            <a:off x="3512802" y="4951849"/>
            <a:ext cx="548641" cy="265457"/>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40%</a:t>
            </a:r>
          </a:p>
        </p:txBody>
      </p:sp>
      <p:sp>
        <p:nvSpPr>
          <p:cNvPr id="118" name="Rectangle 117"/>
          <p:cNvSpPr/>
          <p:nvPr/>
        </p:nvSpPr>
        <p:spPr>
          <a:xfrm>
            <a:off x="3297721" y="5208745"/>
            <a:ext cx="978802"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mn-cs"/>
              </a:rPr>
              <a:t>Customer Retention</a:t>
            </a:r>
          </a:p>
        </p:txBody>
      </p:sp>
      <p:sp>
        <p:nvSpPr>
          <p:cNvPr id="119" name="Multiply 118"/>
          <p:cNvSpPr/>
          <p:nvPr/>
        </p:nvSpPr>
        <p:spPr>
          <a:xfrm>
            <a:off x="3186135" y="4923949"/>
            <a:ext cx="310101" cy="310101"/>
          </a:xfrm>
          <a:prstGeom prst="mathMultiply">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grpSp>
        <p:nvGrpSpPr>
          <p:cNvPr id="120" name="Group 119"/>
          <p:cNvGrpSpPr/>
          <p:nvPr/>
        </p:nvGrpSpPr>
        <p:grpSpPr>
          <a:xfrm>
            <a:off x="621576" y="2038783"/>
            <a:ext cx="4660711" cy="307777"/>
            <a:chOff x="621576" y="5647454"/>
            <a:chExt cx="4660711" cy="307777"/>
          </a:xfrm>
        </p:grpSpPr>
        <p:cxnSp>
          <p:nvCxnSpPr>
            <p:cNvPr id="121" name="Straight Connector 120"/>
            <p:cNvCxnSpPr/>
            <p:nvPr/>
          </p:nvCxnSpPr>
          <p:spPr>
            <a:xfrm>
              <a:off x="621576" y="5801342"/>
              <a:ext cx="4660711"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22" name="TextBox 121"/>
            <p:cNvSpPr txBox="1"/>
            <p:nvPr/>
          </p:nvSpPr>
          <p:spPr>
            <a:xfrm>
              <a:off x="1800272" y="5647454"/>
              <a:ext cx="2303320" cy="307777"/>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ea typeface="+mn-ea"/>
                  <a:cs typeface="+mn-cs"/>
                </a:rPr>
                <a:t>~7,000 Unique Buyers</a:t>
              </a:r>
            </a:p>
          </p:txBody>
        </p:sp>
      </p:grpSp>
      <p:grpSp>
        <p:nvGrpSpPr>
          <p:cNvPr id="123" name="Group 122"/>
          <p:cNvGrpSpPr/>
          <p:nvPr/>
        </p:nvGrpSpPr>
        <p:grpSpPr>
          <a:xfrm>
            <a:off x="5334969" y="2048892"/>
            <a:ext cx="3587922" cy="312166"/>
            <a:chOff x="5337985" y="6119255"/>
            <a:chExt cx="3587922" cy="312166"/>
          </a:xfrm>
        </p:grpSpPr>
        <p:grpSp>
          <p:nvGrpSpPr>
            <p:cNvPr id="124" name="Group 123"/>
            <p:cNvGrpSpPr/>
            <p:nvPr/>
          </p:nvGrpSpPr>
          <p:grpSpPr>
            <a:xfrm>
              <a:off x="5703785" y="6123644"/>
              <a:ext cx="3222122" cy="307777"/>
              <a:chOff x="5703785" y="6123644"/>
              <a:chExt cx="3222122" cy="307777"/>
            </a:xfrm>
          </p:grpSpPr>
          <p:cxnSp>
            <p:nvCxnSpPr>
              <p:cNvPr id="126" name="Straight Connector 125"/>
              <p:cNvCxnSpPr/>
              <p:nvPr/>
            </p:nvCxnSpPr>
            <p:spPr>
              <a:xfrm>
                <a:off x="5703785" y="6277532"/>
                <a:ext cx="3222122"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27" name="TextBox 126"/>
              <p:cNvSpPr txBox="1"/>
              <p:nvPr/>
            </p:nvSpPr>
            <p:spPr>
              <a:xfrm>
                <a:off x="6518661" y="6123644"/>
                <a:ext cx="1592370" cy="307777"/>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ea typeface="+mn-ea"/>
                    <a:cs typeface="+mn-cs"/>
                  </a:rPr>
                  <a:t>$253/Month</a:t>
                </a:r>
              </a:p>
            </p:txBody>
          </p:sp>
        </p:grpSp>
        <p:sp>
          <p:nvSpPr>
            <p:cNvPr id="125" name="Multiply 124"/>
            <p:cNvSpPr/>
            <p:nvPr/>
          </p:nvSpPr>
          <p:spPr>
            <a:xfrm>
              <a:off x="5337985" y="6119255"/>
              <a:ext cx="310101" cy="310101"/>
            </a:xfrm>
            <a:prstGeom prst="mathMultiply">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grpSp>
      <p:sp>
        <p:nvSpPr>
          <p:cNvPr id="128" name="Equal 127"/>
          <p:cNvSpPr/>
          <p:nvPr/>
        </p:nvSpPr>
        <p:spPr>
          <a:xfrm>
            <a:off x="8986273" y="2048892"/>
            <a:ext cx="295973" cy="295973"/>
          </a:xfrm>
          <a:prstGeom prst="mathEqual">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29" name="TextBox 128"/>
          <p:cNvSpPr txBox="1"/>
          <p:nvPr/>
        </p:nvSpPr>
        <p:spPr>
          <a:xfrm>
            <a:off x="9406025" y="2385074"/>
            <a:ext cx="2099144" cy="646331"/>
          </a:xfrm>
          <a:prstGeom prst="rect">
            <a:avLst/>
          </a:prstGeom>
          <a:solidFill>
            <a:schemeClr val="tx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ea typeface="+mn-ea"/>
                <a:cs typeface="+mn-cs"/>
              </a:rPr>
              <a:t>0.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ea typeface="+mn-ea"/>
                <a:cs typeface="+mn-cs"/>
              </a:rPr>
              <a:t>Strategic Addressable Market Share</a:t>
            </a:r>
          </a:p>
        </p:txBody>
      </p:sp>
      <p:sp>
        <p:nvSpPr>
          <p:cNvPr id="130" name="TextBox 129"/>
          <p:cNvSpPr txBox="1"/>
          <p:nvPr/>
        </p:nvSpPr>
        <p:spPr>
          <a:xfrm>
            <a:off x="9406025" y="3072067"/>
            <a:ext cx="2099144" cy="646331"/>
          </a:xfrm>
          <a:prstGeom prst="rect">
            <a:avLst/>
          </a:prstGeom>
          <a:solidFill>
            <a:schemeClr val="accent3"/>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5.3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Quarterly Gross Merchandise Volume</a:t>
            </a:r>
          </a:p>
        </p:txBody>
      </p:sp>
      <p:sp>
        <p:nvSpPr>
          <p:cNvPr id="131" name="TextBox 130"/>
          <p:cNvSpPr txBox="1"/>
          <p:nvPr/>
        </p:nvSpPr>
        <p:spPr>
          <a:xfrm>
            <a:off x="9406025" y="3777002"/>
            <a:ext cx="2099144" cy="646331"/>
          </a:xfrm>
          <a:prstGeom prst="rect">
            <a:avLst/>
          </a:prstGeom>
          <a:solidFill>
            <a:schemeClr val="accent3"/>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530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Quarterly Specialty Co. Commission Revenue</a:t>
            </a:r>
          </a:p>
        </p:txBody>
      </p:sp>
      <p:sp>
        <p:nvSpPr>
          <p:cNvPr id="132" name="Rectangle 131"/>
          <p:cNvSpPr/>
          <p:nvPr/>
        </p:nvSpPr>
        <p:spPr>
          <a:xfrm>
            <a:off x="612037" y="1775911"/>
            <a:ext cx="4663210" cy="2494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Specialty Co. ADOPTION FOR 2019 Q1</a:t>
            </a:r>
          </a:p>
        </p:txBody>
      </p:sp>
      <p:sp>
        <p:nvSpPr>
          <p:cNvPr id="133" name="Oval 132"/>
          <p:cNvSpPr/>
          <p:nvPr/>
        </p:nvSpPr>
        <p:spPr>
          <a:xfrm>
            <a:off x="2691251" y="3774253"/>
            <a:ext cx="274320" cy="2743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amp;</a:t>
            </a:r>
          </a:p>
        </p:txBody>
      </p:sp>
      <p:sp>
        <p:nvSpPr>
          <p:cNvPr id="134" name="Rectangle 133"/>
          <p:cNvSpPr/>
          <p:nvPr/>
        </p:nvSpPr>
        <p:spPr>
          <a:xfrm>
            <a:off x="5699491" y="1778723"/>
            <a:ext cx="3226416" cy="2494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SPEND PER BUYER</a:t>
            </a:r>
          </a:p>
        </p:txBody>
      </p:sp>
      <p:sp>
        <p:nvSpPr>
          <p:cNvPr id="135" name="Equal 134"/>
          <p:cNvSpPr/>
          <p:nvPr/>
        </p:nvSpPr>
        <p:spPr>
          <a:xfrm>
            <a:off x="4139484" y="5768705"/>
            <a:ext cx="295973" cy="295973"/>
          </a:xfrm>
          <a:prstGeom prst="mathEqual">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36" name="Rectangle 135"/>
          <p:cNvSpPr/>
          <p:nvPr/>
        </p:nvSpPr>
        <p:spPr>
          <a:xfrm>
            <a:off x="4516634" y="5774023"/>
            <a:ext cx="640080" cy="265457"/>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3.7K</a:t>
            </a:r>
          </a:p>
        </p:txBody>
      </p:sp>
      <p:sp>
        <p:nvSpPr>
          <p:cNvPr id="137" name="Rectangle 136"/>
          <p:cNvSpPr/>
          <p:nvPr/>
        </p:nvSpPr>
        <p:spPr>
          <a:xfrm>
            <a:off x="4218391" y="6025417"/>
            <a:ext cx="1236565"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mn-cs"/>
              </a:rPr>
              <a:t>N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mn-cs"/>
              </a:rPr>
              <a:t>One-time Buyers</a:t>
            </a:r>
          </a:p>
        </p:txBody>
      </p:sp>
      <p:sp>
        <p:nvSpPr>
          <p:cNvPr id="138" name="Rectangle 137"/>
          <p:cNvSpPr/>
          <p:nvPr/>
        </p:nvSpPr>
        <p:spPr>
          <a:xfrm>
            <a:off x="3516930" y="5792267"/>
            <a:ext cx="548641" cy="265457"/>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60%</a:t>
            </a:r>
          </a:p>
        </p:txBody>
      </p:sp>
      <p:sp>
        <p:nvSpPr>
          <p:cNvPr id="139" name="Rectangle 138"/>
          <p:cNvSpPr/>
          <p:nvPr/>
        </p:nvSpPr>
        <p:spPr>
          <a:xfrm>
            <a:off x="3301849" y="6049163"/>
            <a:ext cx="978802"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mn-cs"/>
              </a:rPr>
              <a:t>Customer Attrition</a:t>
            </a:r>
          </a:p>
        </p:txBody>
      </p:sp>
      <p:sp>
        <p:nvSpPr>
          <p:cNvPr id="140" name="Multiply 139"/>
          <p:cNvSpPr/>
          <p:nvPr/>
        </p:nvSpPr>
        <p:spPr>
          <a:xfrm>
            <a:off x="3183484" y="5768991"/>
            <a:ext cx="310101" cy="310101"/>
          </a:xfrm>
          <a:prstGeom prst="mathMultiply">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141" name="TextBox 140"/>
          <p:cNvSpPr txBox="1"/>
          <p:nvPr/>
        </p:nvSpPr>
        <p:spPr>
          <a:xfrm>
            <a:off x="5756228" y="5002632"/>
            <a:ext cx="3150768"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One-time buyers are assumed to have the same average order size as MR subscribers</a:t>
            </a:r>
          </a:p>
        </p:txBody>
      </p:sp>
      <p:sp>
        <p:nvSpPr>
          <p:cNvPr id="142" name="TextBox 141"/>
          <p:cNvSpPr txBox="1"/>
          <p:nvPr/>
        </p:nvSpPr>
        <p:spPr>
          <a:xfrm>
            <a:off x="5756228" y="4759588"/>
            <a:ext cx="357605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AVERAGE ONE-TIME BUYER (53%) SPEND</a:t>
            </a:r>
          </a:p>
        </p:txBody>
      </p:sp>
      <p:sp>
        <p:nvSpPr>
          <p:cNvPr id="143" name="Rectangle 142"/>
          <p:cNvSpPr/>
          <p:nvPr/>
        </p:nvSpPr>
        <p:spPr>
          <a:xfrm>
            <a:off x="6345297" y="5572001"/>
            <a:ext cx="640080" cy="265457"/>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160</a:t>
            </a:r>
          </a:p>
        </p:txBody>
      </p:sp>
      <p:sp>
        <p:nvSpPr>
          <p:cNvPr id="144" name="Rectangle 143"/>
          <p:cNvSpPr/>
          <p:nvPr/>
        </p:nvSpPr>
        <p:spPr>
          <a:xfrm>
            <a:off x="6128082" y="5837458"/>
            <a:ext cx="978802"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mn-cs"/>
              </a:rPr>
              <a:t>Ord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mn-cs"/>
              </a:rPr>
              <a:t>Size</a:t>
            </a:r>
          </a:p>
        </p:txBody>
      </p:sp>
      <p:sp>
        <p:nvSpPr>
          <p:cNvPr id="145" name="Equal 144"/>
          <p:cNvSpPr/>
          <p:nvPr/>
        </p:nvSpPr>
        <p:spPr>
          <a:xfrm>
            <a:off x="7039318" y="5563316"/>
            <a:ext cx="295973" cy="295973"/>
          </a:xfrm>
          <a:prstGeom prst="mathEqual">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46" name="Rectangle 145"/>
          <p:cNvSpPr/>
          <p:nvPr/>
        </p:nvSpPr>
        <p:spPr>
          <a:xfrm>
            <a:off x="7416468" y="5568634"/>
            <a:ext cx="640080" cy="265457"/>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160</a:t>
            </a:r>
          </a:p>
        </p:txBody>
      </p:sp>
      <p:sp>
        <p:nvSpPr>
          <p:cNvPr id="147" name="Rectangle 146"/>
          <p:cNvSpPr/>
          <p:nvPr/>
        </p:nvSpPr>
        <p:spPr>
          <a:xfrm>
            <a:off x="7146264" y="5842153"/>
            <a:ext cx="1236565"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mn-cs"/>
              </a:rPr>
              <a:t>Overal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mn-cs"/>
              </a:rPr>
              <a:t>Spend</a:t>
            </a:r>
          </a:p>
        </p:txBody>
      </p:sp>
      <p:sp>
        <p:nvSpPr>
          <p:cNvPr id="148" name="TextBox 147"/>
          <p:cNvSpPr txBox="1"/>
          <p:nvPr/>
        </p:nvSpPr>
        <p:spPr>
          <a:xfrm>
            <a:off x="5756228" y="2699969"/>
            <a:ext cx="3150768"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The average MR subscriber (e.g., habitual buyer) spends $480/month through the website (3 transactions per month at an average basket of $160). </a:t>
            </a:r>
          </a:p>
        </p:txBody>
      </p:sp>
      <p:sp>
        <p:nvSpPr>
          <p:cNvPr id="149" name="TextBox 148"/>
          <p:cNvSpPr txBox="1"/>
          <p:nvPr/>
        </p:nvSpPr>
        <p:spPr>
          <a:xfrm>
            <a:off x="5756228" y="2456925"/>
            <a:ext cx="310154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AVERAGE SUBSCRIBER (47%) SPEND</a:t>
            </a:r>
          </a:p>
        </p:txBody>
      </p:sp>
      <p:sp>
        <p:nvSpPr>
          <p:cNvPr id="150" name="Rectangle 149"/>
          <p:cNvSpPr/>
          <p:nvPr/>
        </p:nvSpPr>
        <p:spPr>
          <a:xfrm>
            <a:off x="6010668" y="3687498"/>
            <a:ext cx="548641" cy="265457"/>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3</a:t>
            </a:r>
          </a:p>
        </p:txBody>
      </p:sp>
      <p:sp>
        <p:nvSpPr>
          <p:cNvPr id="151" name="Rectangle 150"/>
          <p:cNvSpPr/>
          <p:nvPr/>
        </p:nvSpPr>
        <p:spPr>
          <a:xfrm>
            <a:off x="5748029" y="3944864"/>
            <a:ext cx="1029446"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mn-cs"/>
              </a:rPr>
              <a:t>Transactions/Month</a:t>
            </a:r>
          </a:p>
        </p:txBody>
      </p:sp>
      <p:sp>
        <p:nvSpPr>
          <p:cNvPr id="152" name="Rectangle 151"/>
          <p:cNvSpPr/>
          <p:nvPr/>
        </p:nvSpPr>
        <p:spPr>
          <a:xfrm>
            <a:off x="6902537" y="3681921"/>
            <a:ext cx="640080" cy="265457"/>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160</a:t>
            </a:r>
          </a:p>
        </p:txBody>
      </p:sp>
      <p:sp>
        <p:nvSpPr>
          <p:cNvPr id="153" name="Rectangle 152"/>
          <p:cNvSpPr/>
          <p:nvPr/>
        </p:nvSpPr>
        <p:spPr>
          <a:xfrm>
            <a:off x="6685322" y="3947378"/>
            <a:ext cx="978802"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mn-cs"/>
              </a:rPr>
              <a:t>Ord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mn-cs"/>
              </a:rPr>
              <a:t>Size</a:t>
            </a:r>
          </a:p>
        </p:txBody>
      </p:sp>
      <p:sp>
        <p:nvSpPr>
          <p:cNvPr id="154" name="Multiply 153"/>
          <p:cNvSpPr/>
          <p:nvPr/>
        </p:nvSpPr>
        <p:spPr>
          <a:xfrm>
            <a:off x="6575873" y="3654957"/>
            <a:ext cx="310101" cy="310101"/>
          </a:xfrm>
          <a:prstGeom prst="mathMultiply">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155" name="Equal 154"/>
          <p:cNvSpPr/>
          <p:nvPr/>
        </p:nvSpPr>
        <p:spPr>
          <a:xfrm>
            <a:off x="7596558" y="3673236"/>
            <a:ext cx="295973" cy="295973"/>
          </a:xfrm>
          <a:prstGeom prst="mathEqual">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56" name="Rectangle 155"/>
          <p:cNvSpPr/>
          <p:nvPr/>
        </p:nvSpPr>
        <p:spPr>
          <a:xfrm>
            <a:off x="7973708" y="3678554"/>
            <a:ext cx="640080" cy="265457"/>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480</a:t>
            </a:r>
          </a:p>
        </p:txBody>
      </p:sp>
      <p:sp>
        <p:nvSpPr>
          <p:cNvPr id="157" name="Rectangle 156"/>
          <p:cNvSpPr/>
          <p:nvPr/>
        </p:nvSpPr>
        <p:spPr>
          <a:xfrm>
            <a:off x="7703504" y="3952073"/>
            <a:ext cx="1236565"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mn-cs"/>
              </a:rPr>
              <a:t>Subscriber Spend/Month</a:t>
            </a:r>
          </a:p>
        </p:txBody>
      </p:sp>
      <p:sp>
        <p:nvSpPr>
          <p:cNvPr id="159" name="Oval 158"/>
          <p:cNvSpPr/>
          <p:nvPr/>
        </p:nvSpPr>
        <p:spPr>
          <a:xfrm>
            <a:off x="7194452" y="4391300"/>
            <a:ext cx="274320" cy="2743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ea typeface="+mn-ea"/>
              <a:cs typeface="+mn-cs"/>
            </a:endParaRPr>
          </a:p>
        </p:txBody>
      </p:sp>
      <p:sp>
        <p:nvSpPr>
          <p:cNvPr id="160" name="TextBox 159"/>
          <p:cNvSpPr txBox="1"/>
          <p:nvPr/>
        </p:nvSpPr>
        <p:spPr>
          <a:xfrm>
            <a:off x="7157941" y="4406941"/>
            <a:ext cx="346587"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or</a:t>
            </a:r>
          </a:p>
        </p:txBody>
      </p:sp>
      <p:sp>
        <p:nvSpPr>
          <p:cNvPr id="161" name="Right Brace 160"/>
          <p:cNvSpPr/>
          <p:nvPr/>
        </p:nvSpPr>
        <p:spPr>
          <a:xfrm>
            <a:off x="9134260" y="2555831"/>
            <a:ext cx="170432" cy="3701820"/>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62" name="TextBox 161"/>
          <p:cNvSpPr txBox="1"/>
          <p:nvPr/>
        </p:nvSpPr>
        <p:spPr>
          <a:xfrm>
            <a:off x="9368796" y="4579394"/>
            <a:ext cx="2292681"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As Specialty Co. develops, estimated percentage of subscribers to one-time visitors will increase – implying an increase in average per buyer spend toward $480/month </a:t>
            </a:r>
          </a:p>
        </p:txBody>
      </p:sp>
      <p:grpSp>
        <p:nvGrpSpPr>
          <p:cNvPr id="164" name="Group 163"/>
          <p:cNvGrpSpPr/>
          <p:nvPr/>
        </p:nvGrpSpPr>
        <p:grpSpPr>
          <a:xfrm>
            <a:off x="9406025" y="2029173"/>
            <a:ext cx="2099144" cy="307777"/>
            <a:chOff x="5703785" y="6123644"/>
            <a:chExt cx="3222122" cy="267015"/>
          </a:xfrm>
        </p:grpSpPr>
        <p:cxnSp>
          <p:nvCxnSpPr>
            <p:cNvPr id="165" name="Straight Connector 164"/>
            <p:cNvCxnSpPr/>
            <p:nvPr/>
          </p:nvCxnSpPr>
          <p:spPr>
            <a:xfrm>
              <a:off x="5703785" y="6277532"/>
              <a:ext cx="3222122"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66" name="TextBox 165"/>
            <p:cNvSpPr txBox="1"/>
            <p:nvPr/>
          </p:nvSpPr>
          <p:spPr>
            <a:xfrm>
              <a:off x="6051664" y="6123644"/>
              <a:ext cx="2526363" cy="267015"/>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ea typeface="+mn-ea"/>
                  <a:cs typeface="+mn-cs"/>
                </a:rPr>
                <a:t>2019 Q1 Capture</a:t>
              </a:r>
            </a:p>
          </p:txBody>
        </p:sp>
      </p:grpSp>
    </p:spTree>
    <p:extLst>
      <p:ext uri="{BB962C8B-B14F-4D97-AF65-F5344CB8AC3E}">
        <p14:creationId xmlns:p14="http://schemas.microsoft.com/office/powerpoint/2010/main" val="141227194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292"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NP Fit-Gap Assessment Results</a:t>
            </a:r>
            <a:endParaRPr lang="en-US" dirty="0"/>
          </a:p>
        </p:txBody>
      </p:sp>
      <p:sp>
        <p:nvSpPr>
          <p:cNvPr id="3" name="Text Placeholder 2"/>
          <p:cNvSpPr>
            <a:spLocks noGrp="1"/>
          </p:cNvSpPr>
          <p:nvPr>
            <p:ph type="body" sz="quarter" idx="14"/>
          </p:nvPr>
        </p:nvSpPr>
        <p:spPr/>
        <p:txBody>
          <a:bodyPr/>
          <a:lstStyle/>
          <a:p>
            <a:pPr lvl="0">
              <a:buClr>
                <a:srgbClr val="787878"/>
              </a:buClr>
              <a:defRPr/>
            </a:pPr>
            <a:r>
              <a:rPr lang="en-US" spc="0" dirty="0">
                <a:solidFill>
                  <a:srgbClr val="000000"/>
                </a:solidFill>
              </a:rPr>
              <a:t>Subtitle</a:t>
            </a:r>
          </a:p>
        </p:txBody>
      </p:sp>
      <p:sp>
        <p:nvSpPr>
          <p:cNvPr id="5" name="Text Placeholder 4"/>
          <p:cNvSpPr>
            <a:spLocks noGrp="1"/>
          </p:cNvSpPr>
          <p:nvPr>
            <p:ph type="body" sz="quarter" idx="15"/>
          </p:nvPr>
        </p:nvSpPr>
        <p:spPr/>
        <p:txBody>
          <a:bodyPr/>
          <a:lstStyle/>
          <a:p>
            <a:r>
              <a:rPr lang="en-US" dirty="0"/>
              <a:t>Data Visualization &amp; Infographics</a:t>
            </a:r>
          </a:p>
        </p:txBody>
      </p:sp>
      <p:cxnSp>
        <p:nvCxnSpPr>
          <p:cNvPr id="91" name="Straight Connector 90">
            <a:extLst>
              <a:ext uri="{FF2B5EF4-FFF2-40B4-BE49-F238E27FC236}">
                <a16:creationId xmlns:a16="http://schemas.microsoft.com/office/drawing/2014/main" id="{37F3686A-8C96-4479-AE8B-16B6D234ADCC}"/>
              </a:ext>
            </a:extLst>
          </p:cNvPr>
          <p:cNvCxnSpPr>
            <a:cxnSpLocks/>
          </p:cNvCxnSpPr>
          <p:nvPr/>
        </p:nvCxnSpPr>
        <p:spPr>
          <a:xfrm>
            <a:off x="6091221" y="3551754"/>
            <a:ext cx="0" cy="2868499"/>
          </a:xfrm>
          <a:prstGeom prst="line">
            <a:avLst/>
          </a:prstGeom>
          <a:noFill/>
          <a:ln w="25400" cap="rnd" cmpd="sng" algn="ctr">
            <a:solidFill>
              <a:srgbClr val="000000">
                <a:lumMod val="50000"/>
                <a:lumOff val="50000"/>
              </a:srgbClr>
            </a:solidFill>
            <a:prstDash val="sysDot"/>
          </a:ln>
          <a:effectLst/>
        </p:spPr>
      </p:cxnSp>
      <p:sp>
        <p:nvSpPr>
          <p:cNvPr id="92" name="Rectangle 91">
            <a:extLst>
              <a:ext uri="{FF2B5EF4-FFF2-40B4-BE49-F238E27FC236}">
                <a16:creationId xmlns:a16="http://schemas.microsoft.com/office/drawing/2014/main" id="{C5695462-39C6-4BCD-9ABF-BFA0D50326F2}"/>
              </a:ext>
            </a:extLst>
          </p:cNvPr>
          <p:cNvSpPr/>
          <p:nvPr/>
        </p:nvSpPr>
        <p:spPr>
          <a:xfrm>
            <a:off x="-9558" y="1717555"/>
            <a:ext cx="12201558" cy="1766470"/>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cxnSp>
        <p:nvCxnSpPr>
          <p:cNvPr id="93" name="Straight Connector 92">
            <a:extLst>
              <a:ext uri="{FF2B5EF4-FFF2-40B4-BE49-F238E27FC236}">
                <a16:creationId xmlns:a16="http://schemas.microsoft.com/office/drawing/2014/main" id="{402D4F52-21A6-4246-AC03-02BE9EE129F6}"/>
              </a:ext>
            </a:extLst>
          </p:cNvPr>
          <p:cNvCxnSpPr>
            <a:cxnSpLocks/>
          </p:cNvCxnSpPr>
          <p:nvPr/>
        </p:nvCxnSpPr>
        <p:spPr>
          <a:xfrm>
            <a:off x="2148406" y="3275601"/>
            <a:ext cx="731520"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94" name="TextBox 93">
            <a:extLst>
              <a:ext uri="{FF2B5EF4-FFF2-40B4-BE49-F238E27FC236}">
                <a16:creationId xmlns:a16="http://schemas.microsoft.com/office/drawing/2014/main" id="{0AB69F38-8193-4EDD-B02F-18638F71D1A9}"/>
              </a:ext>
            </a:extLst>
          </p:cNvPr>
          <p:cNvSpPr txBox="1"/>
          <p:nvPr/>
        </p:nvSpPr>
        <p:spPr>
          <a:xfrm>
            <a:off x="458229" y="2333733"/>
            <a:ext cx="1582164" cy="110799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7200" b="1" i="0" u="none" strike="noStrike" kern="1200" cap="none" spc="0" normalizeH="0" baseline="0" noProof="0" dirty="0">
                <a:ln>
                  <a:noFill/>
                </a:ln>
                <a:solidFill>
                  <a:srgbClr val="3EFAC5"/>
                </a:solidFill>
                <a:effectLst/>
                <a:uLnTx/>
                <a:uFillTx/>
                <a:latin typeface="Open Sans" panose="020B0606030504020204" pitchFamily="34" charset="0"/>
                <a:ea typeface="Open Sans" panose="020B0606030504020204" pitchFamily="34" charset="0"/>
                <a:cs typeface="Open Sans" panose="020B0606030504020204" pitchFamily="34" charset="0"/>
              </a:rPr>
              <a:t>251</a:t>
            </a:r>
          </a:p>
        </p:txBody>
      </p:sp>
      <p:sp>
        <p:nvSpPr>
          <p:cNvPr id="95" name="TextBox 94">
            <a:extLst>
              <a:ext uri="{FF2B5EF4-FFF2-40B4-BE49-F238E27FC236}">
                <a16:creationId xmlns:a16="http://schemas.microsoft.com/office/drawing/2014/main" id="{87AF85BE-0523-4F07-AB6F-6A36E0338DC1}"/>
              </a:ext>
            </a:extLst>
          </p:cNvPr>
          <p:cNvSpPr txBox="1"/>
          <p:nvPr/>
        </p:nvSpPr>
        <p:spPr>
          <a:xfrm>
            <a:off x="2148406" y="2426066"/>
            <a:ext cx="1931382"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4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Requirements evaluated</a:t>
            </a:r>
          </a:p>
        </p:txBody>
      </p:sp>
      <p:cxnSp>
        <p:nvCxnSpPr>
          <p:cNvPr id="96" name="Straight Connector 95">
            <a:extLst>
              <a:ext uri="{FF2B5EF4-FFF2-40B4-BE49-F238E27FC236}">
                <a16:creationId xmlns:a16="http://schemas.microsoft.com/office/drawing/2014/main" id="{F9337065-000F-4422-9F8A-9D7435E4D6BC}"/>
              </a:ext>
            </a:extLst>
          </p:cNvPr>
          <p:cNvCxnSpPr>
            <a:cxnSpLocks/>
          </p:cNvCxnSpPr>
          <p:nvPr/>
        </p:nvCxnSpPr>
        <p:spPr>
          <a:xfrm>
            <a:off x="469899" y="3842506"/>
            <a:ext cx="1737360"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97" name="Isosceles Triangle 96">
            <a:extLst>
              <a:ext uri="{FF2B5EF4-FFF2-40B4-BE49-F238E27FC236}">
                <a16:creationId xmlns:a16="http://schemas.microsoft.com/office/drawing/2014/main" id="{F711BFB1-F227-4FA8-B655-8B4BD2C796E0}"/>
              </a:ext>
            </a:extLst>
          </p:cNvPr>
          <p:cNvSpPr/>
          <p:nvPr/>
        </p:nvSpPr>
        <p:spPr>
          <a:xfrm rot="5400000">
            <a:off x="3957514" y="2631788"/>
            <a:ext cx="962088" cy="29842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41150" rtl="0" eaLnBrk="1" fontAlgn="auto" latinLnBrk="0" hangingPunct="1">
              <a:lnSpc>
                <a:spcPct val="100000"/>
              </a:lnSpc>
              <a:spcBef>
                <a:spcPts val="0"/>
              </a:spcBef>
              <a:spcAft>
                <a:spcPts val="0"/>
              </a:spcAft>
              <a:buClrTx/>
              <a:buSzTx/>
              <a:buFontTx/>
              <a:buNone/>
              <a:tabLst/>
              <a:defRPr/>
            </a:pPr>
            <a:endParaRPr kumimoji="0" lang="en-US" sz="2640" b="0" i="0" u="none" strike="noStrike" kern="1200" cap="none" spc="0" normalizeH="0" baseline="0" noProof="0" dirty="0">
              <a:ln>
                <a:noFill/>
              </a:ln>
              <a:solidFill>
                <a:srgbClr val="FFFFF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98" name="Chart 97">
            <a:extLst>
              <a:ext uri="{FF2B5EF4-FFF2-40B4-BE49-F238E27FC236}">
                <a16:creationId xmlns:a16="http://schemas.microsoft.com/office/drawing/2014/main" id="{D8176EB1-321B-46E5-92B9-E52E3F15EC95}"/>
              </a:ext>
            </a:extLst>
          </p:cNvPr>
          <p:cNvGraphicFramePr/>
          <p:nvPr/>
        </p:nvGraphicFramePr>
        <p:xfrm>
          <a:off x="5250810" y="1795122"/>
          <a:ext cx="1471823" cy="1203911"/>
        </p:xfrm>
        <a:graphic>
          <a:graphicData uri="http://schemas.openxmlformats.org/drawingml/2006/chart">
            <c:chart xmlns:c="http://schemas.openxmlformats.org/drawingml/2006/chart" xmlns:r="http://schemas.openxmlformats.org/officeDocument/2006/relationships" r:id="rId7"/>
          </a:graphicData>
        </a:graphic>
      </p:graphicFrame>
      <p:sp>
        <p:nvSpPr>
          <p:cNvPr id="99" name="TextBox 98">
            <a:extLst>
              <a:ext uri="{FF2B5EF4-FFF2-40B4-BE49-F238E27FC236}">
                <a16:creationId xmlns:a16="http://schemas.microsoft.com/office/drawing/2014/main" id="{3B8613B3-4968-464E-AFB1-274140680261}"/>
              </a:ext>
            </a:extLst>
          </p:cNvPr>
          <p:cNvSpPr txBox="1"/>
          <p:nvPr/>
        </p:nvSpPr>
        <p:spPr>
          <a:xfrm>
            <a:off x="5643753" y="2367033"/>
            <a:ext cx="673262" cy="410369"/>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566"/>
              </a:spcBef>
              <a:spcAft>
                <a:spcPts val="0"/>
              </a:spcAft>
              <a:buClrTx/>
              <a:buSzTx/>
              <a:buFontTx/>
              <a:buNone/>
              <a:tabLst/>
              <a:defRPr/>
            </a:pPr>
            <a:r>
              <a:rPr kumimoji="0" lang="en-US" sz="4000" b="1" i="0" u="none" strike="noStrike" kern="1200" cap="none" spc="0" normalizeH="0" baseline="30000" noProof="0" dirty="0">
                <a:ln>
                  <a:noFill/>
                </a:ln>
                <a:solidFill>
                  <a:srgbClr val="86F200"/>
                </a:solidFill>
                <a:effectLst/>
                <a:uLnTx/>
                <a:uFillTx/>
                <a:latin typeface="Open Sans" panose="020B0606030504020204" pitchFamily="34" charset="0"/>
                <a:ea typeface="Open Sans" panose="020B0606030504020204" pitchFamily="34" charset="0"/>
                <a:cs typeface="Open Sans" panose="020B0606030504020204" pitchFamily="34" charset="0"/>
              </a:rPr>
              <a:t>91</a:t>
            </a:r>
            <a:r>
              <a:rPr kumimoji="0" lang="en-US" sz="4000" b="0" i="0" u="none" strike="noStrike" kern="1200" cap="none" spc="0" normalizeH="0" baseline="30000" noProof="0" dirty="0">
                <a:ln>
                  <a:noFill/>
                </a:ln>
                <a:solidFill>
                  <a:srgbClr val="86F200"/>
                </a:solidFill>
                <a:effectLst/>
                <a:uLnTx/>
                <a:uFillTx/>
                <a:latin typeface="Open Sans" panose="020B0606030504020204" pitchFamily="34" charset="0"/>
                <a:ea typeface="Open Sans" panose="020B0606030504020204" pitchFamily="34" charset="0"/>
                <a:cs typeface="Open Sans" panose="020B0606030504020204" pitchFamily="34" charset="0"/>
              </a:rPr>
              <a:t>%</a:t>
            </a:r>
          </a:p>
        </p:txBody>
      </p:sp>
      <p:sp>
        <p:nvSpPr>
          <p:cNvPr id="100" name="TextBox 99">
            <a:extLst>
              <a:ext uri="{FF2B5EF4-FFF2-40B4-BE49-F238E27FC236}">
                <a16:creationId xmlns:a16="http://schemas.microsoft.com/office/drawing/2014/main" id="{53E1FEEB-ED98-4D72-8E86-6B7E7C70F7AC}"/>
              </a:ext>
            </a:extLst>
          </p:cNvPr>
          <p:cNvSpPr txBox="1"/>
          <p:nvPr/>
        </p:nvSpPr>
        <p:spPr>
          <a:xfrm>
            <a:off x="4523666" y="3016801"/>
            <a:ext cx="2894719"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Of 251 requirements evaluated, % that are “fit” with NP</a:t>
            </a:r>
          </a:p>
        </p:txBody>
      </p:sp>
      <p:sp>
        <p:nvSpPr>
          <p:cNvPr id="101" name="Plus 60">
            <a:extLst>
              <a:ext uri="{FF2B5EF4-FFF2-40B4-BE49-F238E27FC236}">
                <a16:creationId xmlns:a16="http://schemas.microsoft.com/office/drawing/2014/main" id="{A365169B-6D9B-46FC-902B-DE6CDB5D2268}"/>
              </a:ext>
            </a:extLst>
          </p:cNvPr>
          <p:cNvSpPr/>
          <p:nvPr/>
        </p:nvSpPr>
        <p:spPr bwMode="gray">
          <a:xfrm>
            <a:off x="7777869" y="2430998"/>
            <a:ext cx="700007" cy="700007"/>
          </a:xfrm>
          <a:prstGeom prst="mathPlus">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102" name="Group 101">
            <a:extLst>
              <a:ext uri="{FF2B5EF4-FFF2-40B4-BE49-F238E27FC236}">
                <a16:creationId xmlns:a16="http://schemas.microsoft.com/office/drawing/2014/main" id="{E1623E85-E43E-471D-BA9E-1A3A83BA434F}"/>
              </a:ext>
            </a:extLst>
          </p:cNvPr>
          <p:cNvGrpSpPr/>
          <p:nvPr/>
        </p:nvGrpSpPr>
        <p:grpSpPr>
          <a:xfrm>
            <a:off x="9106776" y="2000111"/>
            <a:ext cx="2278918" cy="1254005"/>
            <a:chOff x="9116334" y="1830884"/>
            <a:chExt cx="2278918" cy="1254005"/>
          </a:xfrm>
        </p:grpSpPr>
        <p:sp>
          <p:nvSpPr>
            <p:cNvPr id="103" name="TextBox 102">
              <a:extLst>
                <a:ext uri="{FF2B5EF4-FFF2-40B4-BE49-F238E27FC236}">
                  <a16:creationId xmlns:a16="http://schemas.microsoft.com/office/drawing/2014/main" id="{0BA47CDC-ABF5-4316-A755-DE9664DB0F1B}"/>
                </a:ext>
              </a:extLst>
            </p:cNvPr>
            <p:cNvSpPr txBox="1"/>
            <p:nvPr/>
          </p:nvSpPr>
          <p:spPr>
            <a:xfrm>
              <a:off x="9962445" y="1830884"/>
              <a:ext cx="586699" cy="61555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4000" b="1" i="0" u="none" strike="noStrike" kern="1200" cap="none" spc="0" normalizeH="0" baseline="0" noProof="0" dirty="0">
                  <a:ln>
                    <a:noFill/>
                  </a:ln>
                  <a:solidFill>
                    <a:srgbClr val="FDD300"/>
                  </a:solidFill>
                  <a:effectLst/>
                  <a:uLnTx/>
                  <a:uFillTx/>
                  <a:latin typeface="Open Sans" panose="020B0606030504020204" pitchFamily="34" charset="0"/>
                  <a:ea typeface="Open Sans" panose="020B0606030504020204" pitchFamily="34" charset="0"/>
                  <a:cs typeface="Open Sans" panose="020B0606030504020204" pitchFamily="34" charset="0"/>
                </a:rPr>
                <a:t>46</a:t>
              </a:r>
            </a:p>
          </p:txBody>
        </p:sp>
        <p:sp>
          <p:nvSpPr>
            <p:cNvPr id="104" name="TextBox 103">
              <a:extLst>
                <a:ext uri="{FF2B5EF4-FFF2-40B4-BE49-F238E27FC236}">
                  <a16:creationId xmlns:a16="http://schemas.microsoft.com/office/drawing/2014/main" id="{6BBBEAEB-BFDB-4ADD-A567-C23309106722}"/>
                </a:ext>
              </a:extLst>
            </p:cNvPr>
            <p:cNvSpPr txBox="1"/>
            <p:nvPr/>
          </p:nvSpPr>
          <p:spPr>
            <a:xfrm>
              <a:off x="9116334" y="2530891"/>
              <a:ext cx="2278918"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NP-specific requirements identified over the course </a:t>
              </a:r>
              <a:br>
                <a:rPr kumimoji="0" lang="en-US" sz="12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2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of </a:t>
              </a:r>
              <a:r>
                <a:rPr kumimoji="0" lang="en-US" sz="1200" b="1" i="0" u="none" strike="noStrike" kern="1200" cap="none" spc="0" normalizeH="0" baseline="0" noProof="0" dirty="0">
                  <a:ln>
                    <a:noFill/>
                  </a:ln>
                  <a:solidFill>
                    <a:srgbClr val="FDD300"/>
                  </a:solidFill>
                  <a:effectLst/>
                  <a:uLnTx/>
                  <a:uFillTx/>
                  <a:latin typeface="Open Sans" panose="020B0606030504020204" pitchFamily="34" charset="0"/>
                  <a:ea typeface="Open Sans" panose="020B0606030504020204" pitchFamily="34" charset="0"/>
                  <a:cs typeface="Open Sans" panose="020B0606030504020204" pitchFamily="34" charset="0"/>
                </a:rPr>
                <a:t>5 workshops</a:t>
              </a:r>
            </a:p>
          </p:txBody>
        </p:sp>
      </p:grpSp>
      <p:graphicFrame>
        <p:nvGraphicFramePr>
          <p:cNvPr id="105" name="Chart 104">
            <a:extLst>
              <a:ext uri="{FF2B5EF4-FFF2-40B4-BE49-F238E27FC236}">
                <a16:creationId xmlns:a16="http://schemas.microsoft.com/office/drawing/2014/main" id="{828A6871-925A-4077-B2F0-64E0E6D84434}"/>
              </a:ext>
            </a:extLst>
          </p:cNvPr>
          <p:cNvGraphicFramePr/>
          <p:nvPr/>
        </p:nvGraphicFramePr>
        <p:xfrm>
          <a:off x="2223032" y="4331836"/>
          <a:ext cx="3912288" cy="2011766"/>
        </p:xfrm>
        <a:graphic>
          <a:graphicData uri="http://schemas.openxmlformats.org/drawingml/2006/chart">
            <c:chart xmlns:c="http://schemas.openxmlformats.org/drawingml/2006/chart" xmlns:r="http://schemas.openxmlformats.org/officeDocument/2006/relationships" r:id="rId8"/>
          </a:graphicData>
        </a:graphic>
      </p:graphicFrame>
      <p:sp>
        <p:nvSpPr>
          <p:cNvPr id="106" name="TextBox 105">
            <a:extLst>
              <a:ext uri="{FF2B5EF4-FFF2-40B4-BE49-F238E27FC236}">
                <a16:creationId xmlns:a16="http://schemas.microsoft.com/office/drawing/2014/main" id="{CD8DCF4C-53B3-4955-BB7F-FB32252D6081}"/>
              </a:ext>
            </a:extLst>
          </p:cNvPr>
          <p:cNvSpPr txBox="1"/>
          <p:nvPr/>
        </p:nvSpPr>
        <p:spPr>
          <a:xfrm>
            <a:off x="469899" y="3551755"/>
            <a:ext cx="2783326"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566"/>
              </a:spcBef>
              <a:spcAft>
                <a:spcPts val="0"/>
              </a:spcAft>
              <a:buClrTx/>
              <a:buSzTx/>
              <a:buFontTx/>
              <a:buNone/>
              <a:tabLst/>
              <a:defRPr/>
            </a:pPr>
            <a:r>
              <a:rPr kumimoji="0" lang="en-US" sz="1600" b="1" i="0" u="none" strike="noStrike" kern="1200" cap="none" spc="0" normalizeH="0" baseline="0" noProof="0" dirty="0">
                <a:ln>
                  <a:noFill/>
                </a:ln>
                <a:solidFill>
                  <a:srgbClr val="000000">
                    <a:lumMod val="75000"/>
                    <a:lumOff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t>Fit-Gap by L2 Process Area*</a:t>
            </a:r>
            <a:endParaRPr kumimoji="0" lang="en-US" sz="1800" b="1" i="0" u="none" strike="noStrike" kern="1200" cap="none" spc="0" normalizeH="0" baseline="0" noProof="0" dirty="0">
              <a:ln>
                <a:noFill/>
              </a:ln>
              <a:solidFill>
                <a:srgbClr val="000000">
                  <a:lumMod val="75000"/>
                  <a:lumOff val="2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7" name="TextBox 106">
            <a:extLst>
              <a:ext uri="{FF2B5EF4-FFF2-40B4-BE49-F238E27FC236}">
                <a16:creationId xmlns:a16="http://schemas.microsoft.com/office/drawing/2014/main" id="{1858AF75-708D-4163-A24C-98E44A79FFBA}"/>
              </a:ext>
            </a:extLst>
          </p:cNvPr>
          <p:cNvSpPr txBox="1"/>
          <p:nvPr/>
        </p:nvSpPr>
        <p:spPr>
          <a:xfrm>
            <a:off x="6258765" y="3551755"/>
            <a:ext cx="2308132"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566"/>
              </a:spcBef>
              <a:spcAft>
                <a:spcPts val="0"/>
              </a:spcAft>
              <a:buClrTx/>
              <a:buSzTx/>
              <a:buFontTx/>
              <a:buNone/>
              <a:tabLst/>
              <a:defRPr/>
            </a:pPr>
            <a:r>
              <a:rPr kumimoji="0" lang="en-US" sz="1600" b="1" i="0" u="none" strike="noStrike" kern="1200" cap="none" spc="0" normalizeH="0" baseline="0" noProof="0" dirty="0">
                <a:ln>
                  <a:noFill/>
                </a:ln>
                <a:solidFill>
                  <a:srgbClr val="000000">
                    <a:lumMod val="75000"/>
                    <a:lumOff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t>NP New Requirements</a:t>
            </a:r>
            <a:endParaRPr kumimoji="0" lang="en-US" sz="1800" b="1" i="0" u="none" strike="noStrike" kern="1200" cap="none" spc="0" normalizeH="0" baseline="0" noProof="0" dirty="0">
              <a:ln>
                <a:noFill/>
              </a:ln>
              <a:solidFill>
                <a:srgbClr val="000000">
                  <a:lumMod val="75000"/>
                  <a:lumOff val="2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8" name="TextBox 107">
            <a:extLst>
              <a:ext uri="{FF2B5EF4-FFF2-40B4-BE49-F238E27FC236}">
                <a16:creationId xmlns:a16="http://schemas.microsoft.com/office/drawing/2014/main" id="{9713E098-8988-4F0E-9EC9-94D99AF0BCD1}"/>
              </a:ext>
            </a:extLst>
          </p:cNvPr>
          <p:cNvSpPr txBox="1"/>
          <p:nvPr/>
        </p:nvSpPr>
        <p:spPr>
          <a:xfrm>
            <a:off x="6705879" y="4034434"/>
            <a:ext cx="5061248" cy="353943"/>
          </a:xfrm>
          <a:prstGeom prst="rect">
            <a:avLst/>
          </a:prstGeom>
          <a:noFill/>
        </p:spPr>
        <p:txBody>
          <a:bodyPr wrap="square" lIns="0" tIns="0" rIns="0" bIns="0" rtlCol="0">
            <a:spAutoFit/>
          </a:bodyPr>
          <a:lstStyle/>
          <a:p>
            <a:pPr marL="0" marR="0" lvl="0" indent="0" algn="just" defTabSz="134115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EFAC5"/>
                </a:solidFill>
                <a:effectLst/>
                <a:uLnTx/>
                <a:uFillTx/>
                <a:latin typeface="Verdana"/>
                <a:ea typeface="+mn-ea"/>
                <a:cs typeface="+mn-cs"/>
              </a:rPr>
              <a:t>Manage Food Service RTM Complexity: </a:t>
            </a:r>
            <a:r>
              <a:rPr kumimoji="0" lang="en-US" sz="1100" b="0" i="0" u="none" strike="noStrike" kern="1200" cap="none" spc="0" normalizeH="0" baseline="0" noProof="0" dirty="0">
                <a:ln>
                  <a:noFill/>
                </a:ln>
                <a:solidFill>
                  <a:srgbClr val="000000"/>
                </a:solidFill>
                <a:effectLst/>
                <a:uLnTx/>
                <a:uFillTx/>
                <a:latin typeface="Verdana"/>
                <a:ea typeface="+mn-ea"/>
                <a:cs typeface="+mn-cs"/>
              </a:rPr>
              <a:t>Additional requirements needed to manage </a:t>
            </a:r>
            <a:r>
              <a:rPr kumimoji="0" lang="en-US" sz="1100" b="0" i="0" u="none" strike="noStrike" kern="1200" cap="none" spc="0" normalizeH="0" baseline="0" noProof="0" dirty="0" err="1">
                <a:ln>
                  <a:noFill/>
                </a:ln>
                <a:solidFill>
                  <a:srgbClr val="000000"/>
                </a:solidFill>
                <a:effectLst/>
                <a:uLnTx/>
                <a:uFillTx/>
                <a:latin typeface="Verdana"/>
                <a:ea typeface="+mn-ea"/>
                <a:cs typeface="+mn-cs"/>
              </a:rPr>
              <a:t>indirects</a:t>
            </a:r>
            <a:r>
              <a:rPr kumimoji="0" lang="en-US" sz="1100" b="0" i="0" u="none" strike="noStrike" kern="1200" cap="none" spc="0" normalizeH="0" baseline="0" noProof="0" dirty="0">
                <a:ln>
                  <a:noFill/>
                </a:ln>
                <a:solidFill>
                  <a:srgbClr val="000000"/>
                </a:solidFill>
                <a:effectLst/>
                <a:uLnTx/>
                <a:uFillTx/>
                <a:latin typeface="Verdana"/>
                <a:ea typeface="+mn-ea"/>
                <a:cs typeface="+mn-cs"/>
              </a:rPr>
              <a:t>, GPOs, and 3</a:t>
            </a:r>
            <a:r>
              <a:rPr kumimoji="0" lang="en-US" sz="1100" b="0" i="0" u="none" strike="noStrike" kern="1200" cap="none" spc="0" normalizeH="0" baseline="30000" noProof="0" dirty="0">
                <a:ln>
                  <a:noFill/>
                </a:ln>
                <a:solidFill>
                  <a:srgbClr val="000000"/>
                </a:solidFill>
                <a:effectLst/>
                <a:uLnTx/>
                <a:uFillTx/>
                <a:latin typeface="Verdana"/>
                <a:ea typeface="+mn-ea"/>
                <a:cs typeface="+mn-cs"/>
              </a:rPr>
              <a:t>rd</a:t>
            </a:r>
            <a:r>
              <a:rPr kumimoji="0" lang="en-US" sz="1100" b="0" i="0" u="none" strike="noStrike" kern="1200" cap="none" spc="0" normalizeH="0" baseline="0" noProof="0" dirty="0">
                <a:ln>
                  <a:noFill/>
                </a:ln>
                <a:solidFill>
                  <a:srgbClr val="000000"/>
                </a:solidFill>
                <a:effectLst/>
                <a:uLnTx/>
                <a:uFillTx/>
                <a:latin typeface="Verdana"/>
                <a:ea typeface="+mn-ea"/>
                <a:cs typeface="+mn-cs"/>
              </a:rPr>
              <a:t> party data needs</a:t>
            </a:r>
            <a:endParaRPr kumimoji="0" lang="en-US" sz="1100" b="0" i="0" u="none" strike="noStrike" kern="1200" cap="none" spc="0" normalizeH="0" baseline="0" noProof="0" dirty="0">
              <a:ln>
                <a:noFill/>
              </a:ln>
              <a:solidFill>
                <a:srgbClr val="FFFFFF"/>
              </a:solidFill>
              <a:effectLst/>
              <a:uLnTx/>
              <a:uFillTx/>
              <a:latin typeface="Verdana"/>
              <a:ea typeface="+mn-ea"/>
              <a:cs typeface="+mn-cs"/>
            </a:endParaRPr>
          </a:p>
        </p:txBody>
      </p:sp>
      <p:sp>
        <p:nvSpPr>
          <p:cNvPr id="109" name="TextBox 108">
            <a:extLst>
              <a:ext uri="{FF2B5EF4-FFF2-40B4-BE49-F238E27FC236}">
                <a16:creationId xmlns:a16="http://schemas.microsoft.com/office/drawing/2014/main" id="{099DAC95-2D88-49CA-8B2F-77B373CBE16B}"/>
              </a:ext>
            </a:extLst>
          </p:cNvPr>
          <p:cNvSpPr txBox="1"/>
          <p:nvPr/>
        </p:nvSpPr>
        <p:spPr>
          <a:xfrm>
            <a:off x="6705878" y="4551379"/>
            <a:ext cx="4892349" cy="723275"/>
          </a:xfrm>
          <a:prstGeom prst="rect">
            <a:avLst/>
          </a:prstGeom>
          <a:noFill/>
        </p:spPr>
        <p:txBody>
          <a:bodyPr wrap="square" lIns="0" tIns="0" rIns="0" bIns="0" rtlCol="0">
            <a:spAutoFit/>
          </a:bodyPr>
          <a:lstStyle/>
          <a:p>
            <a:pPr marL="0" marR="0" lvl="0" indent="0" algn="l" defTabSz="134115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EFAC5"/>
                </a:solidFill>
                <a:effectLst/>
                <a:uLnTx/>
                <a:uFillTx/>
                <a:latin typeface="Verdana"/>
                <a:ea typeface="+mn-ea"/>
                <a:cs typeface="+mn-cs"/>
              </a:rPr>
              <a:t>Enhance Program Visibility and Governance:</a:t>
            </a:r>
            <a:r>
              <a:rPr kumimoji="0" lang="en-US" sz="1200" b="0" i="0" u="none" strike="noStrike" kern="1200" cap="none" spc="0" normalizeH="0" baseline="0" noProof="0" dirty="0">
                <a:ln>
                  <a:noFill/>
                </a:ln>
                <a:solidFill>
                  <a:srgbClr val="3EFAC5"/>
                </a:solidFill>
                <a:effectLst/>
                <a:uLnTx/>
                <a:uFillTx/>
                <a:latin typeface="Verdana"/>
                <a:ea typeface="+mn-ea"/>
                <a:cs typeface="+mn-cs"/>
              </a:rPr>
              <a:t> </a:t>
            </a:r>
            <a:r>
              <a:rPr kumimoji="0" lang="en-US" sz="1100" b="0" i="0" u="none" strike="noStrike" kern="1200" cap="none" spc="0" normalizeH="0" baseline="0" noProof="0" dirty="0">
                <a:ln>
                  <a:noFill/>
                </a:ln>
                <a:solidFill>
                  <a:srgbClr val="000000"/>
                </a:solidFill>
                <a:effectLst/>
                <a:uLnTx/>
                <a:uFillTx/>
                <a:latin typeface="Verdana"/>
                <a:ea typeface="+mn-ea"/>
                <a:cs typeface="+mn-cs"/>
              </a:rPr>
              <a:t>Additional requirements to view roll-up of programs, enforce program guideline compliance, and perform post-event analytics</a:t>
            </a:r>
            <a:r>
              <a:rPr kumimoji="0" lang="en-US" sz="1100" b="0" i="0" u="none" strike="noStrike" kern="1200" cap="none" spc="0" normalizeH="0" baseline="0" noProof="0" dirty="0">
                <a:ln>
                  <a:noFill/>
                </a:ln>
                <a:solidFill>
                  <a:srgbClr val="FFFFFF"/>
                </a:solidFill>
                <a:effectLst/>
                <a:uLnTx/>
                <a:uFillTx/>
                <a:latin typeface="Verdana"/>
                <a:ea typeface="+mn-ea"/>
                <a:cs typeface="+mn-cs"/>
              </a:rPr>
              <a:t> </a:t>
            </a:r>
            <a:r>
              <a:rPr kumimoji="0" lang="en-US" sz="1100" b="0" i="0" u="none" strike="noStrike" kern="1200" cap="none" spc="0" normalizeH="0" baseline="0" noProof="0" dirty="0">
                <a:ln>
                  <a:noFill/>
                </a:ln>
                <a:solidFill>
                  <a:srgbClr val="000000"/>
                </a:solidFill>
                <a:effectLst/>
                <a:uLnTx/>
                <a:uFillTx/>
                <a:latin typeface="Verdana"/>
                <a:ea typeface="+mn-ea"/>
                <a:cs typeface="+mn-cs"/>
              </a:rPr>
              <a:t>tracking</a:t>
            </a:r>
            <a:r>
              <a:rPr kumimoji="0" lang="en-US" sz="1200" b="0" i="0" u="none" strike="noStrike" kern="1200" cap="none" spc="0" normalizeH="0" baseline="0" noProof="0" dirty="0">
                <a:ln>
                  <a:noFill/>
                </a:ln>
                <a:solidFill>
                  <a:srgbClr val="000000"/>
                </a:solidFill>
                <a:effectLst/>
                <a:uLnTx/>
                <a:uFillTx/>
                <a:latin typeface="Verdana"/>
                <a:ea typeface="+mn-ea"/>
                <a:cs typeface="+mn-cs"/>
              </a:rPr>
              <a:t> </a:t>
            </a:r>
            <a:r>
              <a:rPr kumimoji="0" lang="en-US" sz="1200" b="0" i="0" u="none" strike="noStrike" kern="1200" cap="none" spc="0" normalizeH="0" baseline="0" noProof="0" dirty="0">
                <a:ln>
                  <a:noFill/>
                </a:ln>
                <a:solidFill>
                  <a:srgbClr val="FFFFFF"/>
                </a:solidFill>
                <a:effectLst/>
                <a:uLnTx/>
                <a:uFillTx/>
                <a:latin typeface="Verdana"/>
                <a:ea typeface="+mn-ea"/>
                <a:cs typeface="+mn-cs"/>
              </a:rPr>
              <a:t>and metrics through comprehensive dashboard build and management</a:t>
            </a:r>
          </a:p>
        </p:txBody>
      </p:sp>
      <p:sp>
        <p:nvSpPr>
          <p:cNvPr id="110" name="TextBox 109">
            <a:extLst>
              <a:ext uri="{FF2B5EF4-FFF2-40B4-BE49-F238E27FC236}">
                <a16:creationId xmlns:a16="http://schemas.microsoft.com/office/drawing/2014/main" id="{45A6814F-4AF7-40B5-AFE0-2F6F14F7EE94}"/>
              </a:ext>
            </a:extLst>
          </p:cNvPr>
          <p:cNvSpPr txBox="1"/>
          <p:nvPr/>
        </p:nvSpPr>
        <p:spPr>
          <a:xfrm>
            <a:off x="6705878" y="5700746"/>
            <a:ext cx="4907553" cy="523220"/>
          </a:xfrm>
          <a:prstGeom prst="rect">
            <a:avLst/>
          </a:prstGeom>
          <a:noFill/>
        </p:spPr>
        <p:txBody>
          <a:bodyPr wrap="square" lIns="0" tIns="0" rIns="0" bIns="0" rtlCol="0">
            <a:spAutoFit/>
          </a:bodyPr>
          <a:lstStyle/>
          <a:p>
            <a:pPr marL="0" marR="0" lvl="0" indent="0" algn="just" defTabSz="134115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EFAC5"/>
                </a:solidFill>
                <a:effectLst/>
                <a:uLnTx/>
                <a:uFillTx/>
                <a:latin typeface="Verdana"/>
                <a:ea typeface="+mn-ea"/>
                <a:cs typeface="+mn-cs"/>
              </a:rPr>
              <a:t>Demand Forecasting: </a:t>
            </a:r>
            <a:r>
              <a:rPr kumimoji="0" lang="en-US" sz="1100" b="0" i="0" u="none" strike="noStrike" kern="1200" cap="none" spc="0" normalizeH="0" baseline="0" noProof="0" dirty="0">
                <a:ln>
                  <a:noFill/>
                </a:ln>
                <a:solidFill>
                  <a:srgbClr val="000000"/>
                </a:solidFill>
                <a:effectLst/>
                <a:uLnTx/>
                <a:uFillTx/>
                <a:latin typeface="Verdana"/>
                <a:ea typeface="+mn-ea"/>
                <a:cs typeface="+mn-cs"/>
              </a:rPr>
              <a:t>Vendor’s approach to calculating demand forecasts differs from NP requirements (e.g., CBS integration required, inability to forecast </a:t>
            </a:r>
            <a:r>
              <a:rPr kumimoji="0" lang="en-US" sz="1100" b="0" i="0" u="none" strike="noStrike" kern="1200" cap="none" spc="0" normalizeH="0" baseline="0" noProof="0" dirty="0" err="1">
                <a:ln>
                  <a:noFill/>
                </a:ln>
                <a:solidFill>
                  <a:srgbClr val="000000"/>
                </a:solidFill>
                <a:effectLst/>
                <a:uLnTx/>
                <a:uFillTx/>
                <a:latin typeface="Verdana"/>
                <a:ea typeface="+mn-ea"/>
                <a:cs typeface="+mn-cs"/>
              </a:rPr>
              <a:t>indirects</a:t>
            </a:r>
            <a:r>
              <a:rPr kumimoji="0" lang="en-US" sz="1100" b="0" i="0" u="none" strike="noStrike" kern="1200" cap="none" spc="0" normalizeH="0" baseline="0" noProof="0" dirty="0">
                <a:ln>
                  <a:noFill/>
                </a:ln>
                <a:solidFill>
                  <a:srgbClr val="000000"/>
                </a:solidFill>
                <a:effectLst/>
                <a:uLnTx/>
                <a:uFillTx/>
                <a:latin typeface="Verdana"/>
                <a:ea typeface="+mn-ea"/>
                <a:cs typeface="+mn-cs"/>
              </a:rPr>
              <a:t>)</a:t>
            </a:r>
            <a:endParaRPr kumimoji="0" lang="en-US" sz="1100" b="0" i="0" u="none" strike="noStrike" kern="1200" cap="none" spc="0" normalizeH="0" baseline="0" noProof="0" dirty="0">
              <a:ln>
                <a:noFill/>
              </a:ln>
              <a:solidFill>
                <a:srgbClr val="FFFFFF"/>
              </a:solidFill>
              <a:effectLst/>
              <a:uLnTx/>
              <a:uFillTx/>
              <a:latin typeface="Verdana"/>
              <a:ea typeface="+mn-ea"/>
              <a:cs typeface="+mn-cs"/>
            </a:endParaRPr>
          </a:p>
        </p:txBody>
      </p:sp>
      <p:cxnSp>
        <p:nvCxnSpPr>
          <p:cNvPr id="112" name="Straight Connector 111">
            <a:extLst>
              <a:ext uri="{FF2B5EF4-FFF2-40B4-BE49-F238E27FC236}">
                <a16:creationId xmlns:a16="http://schemas.microsoft.com/office/drawing/2014/main" id="{527837C2-3D10-4020-9E86-29E0A06B56C3}"/>
              </a:ext>
            </a:extLst>
          </p:cNvPr>
          <p:cNvCxnSpPr>
            <a:cxnSpLocks/>
          </p:cNvCxnSpPr>
          <p:nvPr/>
        </p:nvCxnSpPr>
        <p:spPr>
          <a:xfrm>
            <a:off x="6237184" y="3842506"/>
            <a:ext cx="1737360"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3" name="TextBox 112">
            <a:extLst>
              <a:ext uri="{FF2B5EF4-FFF2-40B4-BE49-F238E27FC236}">
                <a16:creationId xmlns:a16="http://schemas.microsoft.com/office/drawing/2014/main" id="{B854143C-3337-498E-96E9-9EBD11CD42BE}"/>
              </a:ext>
            </a:extLst>
          </p:cNvPr>
          <p:cNvSpPr txBox="1"/>
          <p:nvPr/>
        </p:nvSpPr>
        <p:spPr>
          <a:xfrm>
            <a:off x="6258765" y="5230904"/>
            <a:ext cx="2611997"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566"/>
              </a:spcBef>
              <a:spcAft>
                <a:spcPts val="0"/>
              </a:spcAft>
              <a:buClrTx/>
              <a:buSzTx/>
              <a:buFontTx/>
              <a:buNone/>
              <a:tabLst/>
              <a:defRPr/>
            </a:pPr>
            <a:r>
              <a:rPr kumimoji="0" lang="en-US" sz="1600" b="1" i="0" u="none" strike="noStrike" kern="1200" cap="none" spc="0" normalizeH="0" baseline="0" noProof="0" dirty="0">
                <a:ln>
                  <a:noFill/>
                </a:ln>
                <a:solidFill>
                  <a:srgbClr val="000000">
                    <a:lumMod val="75000"/>
                    <a:lumOff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t>Where </a:t>
            </a:r>
            <a:r>
              <a:rPr lang="en-US" sz="1600" b="1" dirty="0">
                <a:solidFill>
                  <a:srgbClr val="000000">
                    <a:lumMod val="75000"/>
                    <a:lumOff val="25000"/>
                  </a:srgbClr>
                </a:solidFill>
                <a:latin typeface="Open Sans" panose="020B0606030504020204" pitchFamily="34" charset="0"/>
                <a:ea typeface="Open Sans" panose="020B0606030504020204" pitchFamily="34" charset="0"/>
                <a:cs typeface="Open Sans" panose="020B0606030504020204" pitchFamily="34" charset="0"/>
              </a:rPr>
              <a:t>Vendor</a:t>
            </a:r>
            <a:r>
              <a:rPr kumimoji="0" lang="en-US" sz="1600" b="1" i="0" u="none" strike="noStrike" kern="1200" cap="none" spc="0" normalizeH="0" baseline="0" noProof="0" dirty="0">
                <a:ln>
                  <a:noFill/>
                </a:ln>
                <a:solidFill>
                  <a:srgbClr val="000000">
                    <a:lumMod val="75000"/>
                    <a:lumOff val="25000"/>
                  </a:srgbClr>
                </a:solidFill>
                <a:effectLst/>
                <a:uLnTx/>
                <a:uFillTx/>
                <a:latin typeface="Open Sans" panose="020B0606030504020204" pitchFamily="34" charset="0"/>
                <a:ea typeface="Open Sans" panose="020B0606030504020204" pitchFamily="34" charset="0"/>
                <a:cs typeface="Open Sans" panose="020B0606030504020204" pitchFamily="34" charset="0"/>
              </a:rPr>
              <a:t> Is Not A Fit</a:t>
            </a:r>
            <a:endParaRPr kumimoji="0" lang="en-US" sz="1800" b="1" i="0" u="none" strike="noStrike" kern="1200" cap="none" spc="0" normalizeH="0" baseline="0" noProof="0" dirty="0">
              <a:ln>
                <a:noFill/>
              </a:ln>
              <a:solidFill>
                <a:srgbClr val="000000">
                  <a:lumMod val="75000"/>
                  <a:lumOff val="2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114" name="Straight Connector 113">
            <a:extLst>
              <a:ext uri="{FF2B5EF4-FFF2-40B4-BE49-F238E27FC236}">
                <a16:creationId xmlns:a16="http://schemas.microsoft.com/office/drawing/2014/main" id="{356ECB72-58EB-40F6-AFC4-0ECF9E348781}"/>
              </a:ext>
            </a:extLst>
          </p:cNvPr>
          <p:cNvCxnSpPr>
            <a:cxnSpLocks/>
          </p:cNvCxnSpPr>
          <p:nvPr/>
        </p:nvCxnSpPr>
        <p:spPr>
          <a:xfrm>
            <a:off x="6237184" y="5523309"/>
            <a:ext cx="1737360"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5" name="TextBox 114">
            <a:extLst>
              <a:ext uri="{FF2B5EF4-FFF2-40B4-BE49-F238E27FC236}">
                <a16:creationId xmlns:a16="http://schemas.microsoft.com/office/drawing/2014/main" id="{8EB1F877-B028-4CEF-AFC9-40D0512E8D29}"/>
              </a:ext>
            </a:extLst>
          </p:cNvPr>
          <p:cNvSpPr txBox="1"/>
          <p:nvPr/>
        </p:nvSpPr>
        <p:spPr>
          <a:xfrm>
            <a:off x="458229" y="1826282"/>
            <a:ext cx="4015454"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Of the </a:t>
            </a:r>
            <a:r>
              <a:rPr kumimoji="0" lang="en-US" sz="1200" b="1" i="0" u="none" strike="noStrike" kern="1200" cap="none" spc="0" normalizeH="0" baseline="0" noProof="0" dirty="0">
                <a:ln>
                  <a:noFill/>
                </a:ln>
                <a:solidFill>
                  <a:srgbClr val="3EFAC5"/>
                </a:solidFill>
                <a:effectLst/>
                <a:uLnTx/>
                <a:uFillTx/>
                <a:latin typeface="Open Sans" panose="020B0606030504020204" pitchFamily="34" charset="0"/>
                <a:ea typeface="Open Sans" panose="020B0606030504020204" pitchFamily="34" charset="0"/>
                <a:cs typeface="Open Sans" panose="020B0606030504020204" pitchFamily="34" charset="0"/>
              </a:rPr>
              <a:t>299 </a:t>
            </a:r>
            <a:r>
              <a:rPr kumimoji="0" lang="en-US" sz="12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requirements…</a:t>
            </a:r>
          </a:p>
        </p:txBody>
      </p:sp>
      <p:sp>
        <p:nvSpPr>
          <p:cNvPr id="116" name="TextBox 115">
            <a:extLst>
              <a:ext uri="{FF2B5EF4-FFF2-40B4-BE49-F238E27FC236}">
                <a16:creationId xmlns:a16="http://schemas.microsoft.com/office/drawing/2014/main" id="{67D0D3C3-9B40-4E6C-BE1B-E0AED72728D4}"/>
              </a:ext>
            </a:extLst>
          </p:cNvPr>
          <p:cNvSpPr txBox="1"/>
          <p:nvPr/>
        </p:nvSpPr>
        <p:spPr>
          <a:xfrm>
            <a:off x="678714" y="4633950"/>
            <a:ext cx="1742785"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arget Setting &amp; HQ Planning</a:t>
            </a:r>
          </a:p>
        </p:txBody>
      </p:sp>
      <p:sp>
        <p:nvSpPr>
          <p:cNvPr id="117" name="TextBox 116">
            <a:extLst>
              <a:ext uri="{FF2B5EF4-FFF2-40B4-BE49-F238E27FC236}">
                <a16:creationId xmlns:a16="http://schemas.microsoft.com/office/drawing/2014/main" id="{4793AAD3-A762-4665-B1D5-5F276BA9C0A9}"/>
              </a:ext>
            </a:extLst>
          </p:cNvPr>
          <p:cNvSpPr txBox="1"/>
          <p:nvPr/>
        </p:nvSpPr>
        <p:spPr>
          <a:xfrm>
            <a:off x="596961" y="4928229"/>
            <a:ext cx="1824538"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ccount Plan. &amp; Demand Sync.</a:t>
            </a:r>
          </a:p>
        </p:txBody>
      </p:sp>
      <p:sp>
        <p:nvSpPr>
          <p:cNvPr id="118" name="TextBox 117">
            <a:extLst>
              <a:ext uri="{FF2B5EF4-FFF2-40B4-BE49-F238E27FC236}">
                <a16:creationId xmlns:a16="http://schemas.microsoft.com/office/drawing/2014/main" id="{CBC87196-4212-4BE6-B09B-4D943F52017F}"/>
              </a:ext>
            </a:extLst>
          </p:cNvPr>
          <p:cNvSpPr txBox="1"/>
          <p:nvPr/>
        </p:nvSpPr>
        <p:spPr>
          <a:xfrm>
            <a:off x="712377" y="5222508"/>
            <a:ext cx="17091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rogram / Scenario Planning</a:t>
            </a:r>
          </a:p>
        </p:txBody>
      </p:sp>
      <p:sp>
        <p:nvSpPr>
          <p:cNvPr id="119" name="TextBox 118">
            <a:extLst>
              <a:ext uri="{FF2B5EF4-FFF2-40B4-BE49-F238E27FC236}">
                <a16:creationId xmlns:a16="http://schemas.microsoft.com/office/drawing/2014/main" id="{B0F40504-621C-41D6-B7B5-2718CC8CBE1F}"/>
              </a:ext>
            </a:extLst>
          </p:cNvPr>
          <p:cNvSpPr txBox="1"/>
          <p:nvPr/>
        </p:nvSpPr>
        <p:spPr>
          <a:xfrm>
            <a:off x="883899" y="5516787"/>
            <a:ext cx="1537600" cy="2308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rade Fund Management</a:t>
            </a:r>
          </a:p>
        </p:txBody>
      </p:sp>
      <p:sp>
        <p:nvSpPr>
          <p:cNvPr id="120" name="TextBox 119">
            <a:extLst>
              <a:ext uri="{FF2B5EF4-FFF2-40B4-BE49-F238E27FC236}">
                <a16:creationId xmlns:a16="http://schemas.microsoft.com/office/drawing/2014/main" id="{166F4392-937C-4671-A5A9-443D7DB52FCF}"/>
              </a:ext>
            </a:extLst>
          </p:cNvPr>
          <p:cNvSpPr txBox="1"/>
          <p:nvPr/>
        </p:nvSpPr>
        <p:spPr>
          <a:xfrm>
            <a:off x="606579" y="5811066"/>
            <a:ext cx="1814920" cy="2308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aster Data / Systems Setup…</a:t>
            </a:r>
          </a:p>
        </p:txBody>
      </p:sp>
      <p:sp>
        <p:nvSpPr>
          <p:cNvPr id="121" name="TextBox 120">
            <a:extLst>
              <a:ext uri="{FF2B5EF4-FFF2-40B4-BE49-F238E27FC236}">
                <a16:creationId xmlns:a16="http://schemas.microsoft.com/office/drawing/2014/main" id="{CBD8B289-5D6A-437B-AC8E-8C94C4145670}"/>
              </a:ext>
            </a:extLst>
          </p:cNvPr>
          <p:cNvSpPr txBox="1"/>
          <p:nvPr/>
        </p:nvSpPr>
        <p:spPr>
          <a:xfrm>
            <a:off x="643448" y="6105345"/>
            <a:ext cx="1778051" cy="2308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rPr>
              <a:t>Accruals, Settlements, &amp; Exec.</a:t>
            </a:r>
          </a:p>
        </p:txBody>
      </p:sp>
      <p:sp>
        <p:nvSpPr>
          <p:cNvPr id="122" name="Rectangle 121">
            <a:extLst>
              <a:ext uri="{FF2B5EF4-FFF2-40B4-BE49-F238E27FC236}">
                <a16:creationId xmlns:a16="http://schemas.microsoft.com/office/drawing/2014/main" id="{54345C90-11EB-40AC-A976-5650D0710EEE}"/>
              </a:ext>
            </a:extLst>
          </p:cNvPr>
          <p:cNvSpPr/>
          <p:nvPr/>
        </p:nvSpPr>
        <p:spPr>
          <a:xfrm>
            <a:off x="2424925" y="6117281"/>
            <a:ext cx="3429000" cy="2286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grpSp>
        <p:nvGrpSpPr>
          <p:cNvPr id="130" name="Group 129">
            <a:extLst>
              <a:ext uri="{FF2B5EF4-FFF2-40B4-BE49-F238E27FC236}">
                <a16:creationId xmlns:a16="http://schemas.microsoft.com/office/drawing/2014/main" id="{027DDEFC-B10D-4396-8F47-B66EFDB4F3AB}"/>
              </a:ext>
            </a:extLst>
          </p:cNvPr>
          <p:cNvGrpSpPr/>
          <p:nvPr/>
        </p:nvGrpSpPr>
        <p:grpSpPr>
          <a:xfrm>
            <a:off x="6310544" y="4025209"/>
            <a:ext cx="286528" cy="287263"/>
            <a:chOff x="1905000" y="2173288"/>
            <a:chExt cx="647700" cy="669925"/>
          </a:xfrm>
          <a:solidFill>
            <a:schemeClr val="tx1"/>
          </a:solidFill>
        </p:grpSpPr>
        <p:sp>
          <p:nvSpPr>
            <p:cNvPr id="131" name="Freeform 117">
              <a:extLst>
                <a:ext uri="{FF2B5EF4-FFF2-40B4-BE49-F238E27FC236}">
                  <a16:creationId xmlns:a16="http://schemas.microsoft.com/office/drawing/2014/main" id="{218AB994-D30E-4CD7-A81D-0FBDB34DE390}"/>
                </a:ext>
              </a:extLst>
            </p:cNvPr>
            <p:cNvSpPr>
              <a:spLocks/>
            </p:cNvSpPr>
            <p:nvPr/>
          </p:nvSpPr>
          <p:spPr bwMode="auto">
            <a:xfrm>
              <a:off x="1924050" y="2173288"/>
              <a:ext cx="80963" cy="192088"/>
            </a:xfrm>
            <a:custGeom>
              <a:avLst/>
              <a:gdLst>
                <a:gd name="T0" fmla="*/ 14 w 29"/>
                <a:gd name="T1" fmla="*/ 69 h 69"/>
                <a:gd name="T2" fmla="*/ 14 w 29"/>
                <a:gd name="T3" fmla="*/ 69 h 69"/>
                <a:gd name="T4" fmla="*/ 19 w 29"/>
                <a:gd name="T5" fmla="*/ 64 h 69"/>
                <a:gd name="T6" fmla="*/ 15 w 29"/>
                <a:gd name="T7" fmla="*/ 59 h 69"/>
                <a:gd name="T8" fmla="*/ 12 w 29"/>
                <a:gd name="T9" fmla="*/ 57 h 69"/>
                <a:gd name="T10" fmla="*/ 18 w 29"/>
                <a:gd name="T11" fmla="*/ 38 h 69"/>
                <a:gd name="T12" fmla="*/ 27 w 29"/>
                <a:gd name="T13" fmla="*/ 8 h 69"/>
                <a:gd name="T14" fmla="*/ 19 w 29"/>
                <a:gd name="T15" fmla="*/ 0 h 69"/>
                <a:gd name="T16" fmla="*/ 13 w 29"/>
                <a:gd name="T17" fmla="*/ 4 h 69"/>
                <a:gd name="T18" fmla="*/ 16 w 29"/>
                <a:gd name="T19" fmla="*/ 10 h 69"/>
                <a:gd name="T20" fmla="*/ 18 w 29"/>
                <a:gd name="T21" fmla="*/ 12 h 69"/>
                <a:gd name="T22" fmla="*/ 10 w 29"/>
                <a:gd name="T23" fmla="*/ 33 h 69"/>
                <a:gd name="T24" fmla="*/ 3 w 29"/>
                <a:gd name="T25" fmla="*/ 61 h 69"/>
                <a:gd name="T26" fmla="*/ 14 w 29"/>
                <a:gd name="T27"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69">
                  <a:moveTo>
                    <a:pt x="14" y="69"/>
                  </a:moveTo>
                  <a:cubicBezTo>
                    <a:pt x="14" y="69"/>
                    <a:pt x="14" y="69"/>
                    <a:pt x="14" y="69"/>
                  </a:cubicBezTo>
                  <a:cubicBezTo>
                    <a:pt x="16" y="69"/>
                    <a:pt x="19" y="67"/>
                    <a:pt x="19" y="64"/>
                  </a:cubicBezTo>
                  <a:cubicBezTo>
                    <a:pt x="19" y="62"/>
                    <a:pt x="17" y="59"/>
                    <a:pt x="15" y="59"/>
                  </a:cubicBezTo>
                  <a:cubicBezTo>
                    <a:pt x="14" y="59"/>
                    <a:pt x="12" y="59"/>
                    <a:pt x="12" y="57"/>
                  </a:cubicBezTo>
                  <a:cubicBezTo>
                    <a:pt x="11" y="56"/>
                    <a:pt x="10" y="51"/>
                    <a:pt x="18" y="38"/>
                  </a:cubicBezTo>
                  <a:cubicBezTo>
                    <a:pt x="27" y="25"/>
                    <a:pt x="29" y="15"/>
                    <a:pt x="27" y="8"/>
                  </a:cubicBezTo>
                  <a:cubicBezTo>
                    <a:pt x="25" y="2"/>
                    <a:pt x="20" y="1"/>
                    <a:pt x="19" y="0"/>
                  </a:cubicBezTo>
                  <a:cubicBezTo>
                    <a:pt x="17" y="0"/>
                    <a:pt x="14" y="1"/>
                    <a:pt x="13" y="4"/>
                  </a:cubicBezTo>
                  <a:cubicBezTo>
                    <a:pt x="12" y="6"/>
                    <a:pt x="14" y="9"/>
                    <a:pt x="16" y="10"/>
                  </a:cubicBezTo>
                  <a:cubicBezTo>
                    <a:pt x="16" y="10"/>
                    <a:pt x="17" y="10"/>
                    <a:pt x="18" y="12"/>
                  </a:cubicBezTo>
                  <a:cubicBezTo>
                    <a:pt x="18" y="13"/>
                    <a:pt x="19" y="19"/>
                    <a:pt x="10" y="33"/>
                  </a:cubicBezTo>
                  <a:cubicBezTo>
                    <a:pt x="2" y="45"/>
                    <a:pt x="0" y="54"/>
                    <a:pt x="3" y="61"/>
                  </a:cubicBezTo>
                  <a:cubicBezTo>
                    <a:pt x="6" y="68"/>
                    <a:pt x="13" y="68"/>
                    <a:pt x="14"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32" name="Freeform 118">
              <a:extLst>
                <a:ext uri="{FF2B5EF4-FFF2-40B4-BE49-F238E27FC236}">
                  <a16:creationId xmlns:a16="http://schemas.microsoft.com/office/drawing/2014/main" id="{D6607538-B21E-4C97-B649-7B04575EC3F2}"/>
                </a:ext>
              </a:extLst>
            </p:cNvPr>
            <p:cNvSpPr>
              <a:spLocks/>
            </p:cNvSpPr>
            <p:nvPr/>
          </p:nvSpPr>
          <p:spPr bwMode="auto">
            <a:xfrm>
              <a:off x="2011363" y="2189163"/>
              <a:ext cx="57150" cy="123825"/>
            </a:xfrm>
            <a:custGeom>
              <a:avLst/>
              <a:gdLst>
                <a:gd name="T0" fmla="*/ 10 w 21"/>
                <a:gd name="T1" fmla="*/ 44 h 44"/>
                <a:gd name="T2" fmla="*/ 10 w 21"/>
                <a:gd name="T3" fmla="*/ 44 h 44"/>
                <a:gd name="T4" fmla="*/ 15 w 21"/>
                <a:gd name="T5" fmla="*/ 40 h 44"/>
                <a:gd name="T6" fmla="*/ 11 w 21"/>
                <a:gd name="T7" fmla="*/ 34 h 44"/>
                <a:gd name="T8" fmla="*/ 14 w 21"/>
                <a:gd name="T9" fmla="*/ 26 h 44"/>
                <a:gd name="T10" fmla="*/ 19 w 21"/>
                <a:gd name="T11" fmla="*/ 7 h 44"/>
                <a:gd name="T12" fmla="*/ 14 w 21"/>
                <a:gd name="T13" fmla="*/ 1 h 44"/>
                <a:gd name="T14" fmla="*/ 8 w 21"/>
                <a:gd name="T15" fmla="*/ 4 h 44"/>
                <a:gd name="T16" fmla="*/ 10 w 21"/>
                <a:gd name="T17" fmla="*/ 10 h 44"/>
                <a:gd name="T18" fmla="*/ 6 w 21"/>
                <a:gd name="T19" fmla="*/ 20 h 44"/>
                <a:gd name="T20" fmla="*/ 2 w 21"/>
                <a:gd name="T21" fmla="*/ 39 h 44"/>
                <a:gd name="T22" fmla="*/ 10 w 21"/>
                <a:gd name="T2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4">
                  <a:moveTo>
                    <a:pt x="10" y="44"/>
                  </a:moveTo>
                  <a:cubicBezTo>
                    <a:pt x="10" y="44"/>
                    <a:pt x="10" y="44"/>
                    <a:pt x="10" y="44"/>
                  </a:cubicBezTo>
                  <a:cubicBezTo>
                    <a:pt x="13" y="44"/>
                    <a:pt x="15" y="42"/>
                    <a:pt x="15" y="40"/>
                  </a:cubicBezTo>
                  <a:cubicBezTo>
                    <a:pt x="15" y="37"/>
                    <a:pt x="13" y="35"/>
                    <a:pt x="11" y="34"/>
                  </a:cubicBezTo>
                  <a:cubicBezTo>
                    <a:pt x="11" y="34"/>
                    <a:pt x="10" y="32"/>
                    <a:pt x="14" y="26"/>
                  </a:cubicBezTo>
                  <a:cubicBezTo>
                    <a:pt x="19" y="18"/>
                    <a:pt x="21" y="11"/>
                    <a:pt x="19" y="7"/>
                  </a:cubicBezTo>
                  <a:cubicBezTo>
                    <a:pt x="18" y="3"/>
                    <a:pt x="16" y="2"/>
                    <a:pt x="14" y="1"/>
                  </a:cubicBezTo>
                  <a:cubicBezTo>
                    <a:pt x="11" y="0"/>
                    <a:pt x="8" y="2"/>
                    <a:pt x="8" y="4"/>
                  </a:cubicBezTo>
                  <a:cubicBezTo>
                    <a:pt x="7" y="7"/>
                    <a:pt x="8" y="9"/>
                    <a:pt x="10" y="10"/>
                  </a:cubicBezTo>
                  <a:cubicBezTo>
                    <a:pt x="10" y="11"/>
                    <a:pt x="11" y="14"/>
                    <a:pt x="6" y="20"/>
                  </a:cubicBezTo>
                  <a:cubicBezTo>
                    <a:pt x="1" y="28"/>
                    <a:pt x="0" y="34"/>
                    <a:pt x="2" y="39"/>
                  </a:cubicBezTo>
                  <a:cubicBezTo>
                    <a:pt x="4" y="42"/>
                    <a:pt x="7" y="44"/>
                    <a:pt x="10" y="4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33" name="Freeform 119">
              <a:extLst>
                <a:ext uri="{FF2B5EF4-FFF2-40B4-BE49-F238E27FC236}">
                  <a16:creationId xmlns:a16="http://schemas.microsoft.com/office/drawing/2014/main" id="{B89E6801-F049-4D03-BA79-6D0E76DC0968}"/>
                </a:ext>
              </a:extLst>
            </p:cNvPr>
            <p:cNvSpPr>
              <a:spLocks noEditPoints="1"/>
            </p:cNvSpPr>
            <p:nvPr/>
          </p:nvSpPr>
          <p:spPr bwMode="auto">
            <a:xfrm>
              <a:off x="1905000" y="2446338"/>
              <a:ext cx="647700" cy="396875"/>
            </a:xfrm>
            <a:custGeom>
              <a:avLst/>
              <a:gdLst>
                <a:gd name="T0" fmla="*/ 228 w 233"/>
                <a:gd name="T1" fmla="*/ 9 h 143"/>
                <a:gd name="T2" fmla="*/ 198 w 233"/>
                <a:gd name="T3" fmla="*/ 17 h 143"/>
                <a:gd name="T4" fmla="*/ 198 w 233"/>
                <a:gd name="T5" fmla="*/ 5 h 143"/>
                <a:gd name="T6" fmla="*/ 193 w 233"/>
                <a:gd name="T7" fmla="*/ 0 h 143"/>
                <a:gd name="T8" fmla="*/ 40 w 233"/>
                <a:gd name="T9" fmla="*/ 0 h 143"/>
                <a:gd name="T10" fmla="*/ 35 w 233"/>
                <a:gd name="T11" fmla="*/ 5 h 143"/>
                <a:gd name="T12" fmla="*/ 35 w 233"/>
                <a:gd name="T13" fmla="*/ 17 h 143"/>
                <a:gd name="T14" fmla="*/ 5 w 233"/>
                <a:gd name="T15" fmla="*/ 9 h 143"/>
                <a:gd name="T16" fmla="*/ 0 w 233"/>
                <a:gd name="T17" fmla="*/ 14 h 143"/>
                <a:gd name="T18" fmla="*/ 4 w 233"/>
                <a:gd name="T19" fmla="*/ 19 h 143"/>
                <a:gd name="T20" fmla="*/ 35 w 233"/>
                <a:gd name="T21" fmla="*/ 28 h 143"/>
                <a:gd name="T22" fmla="*/ 35 w 233"/>
                <a:gd name="T23" fmla="*/ 104 h 143"/>
                <a:gd name="T24" fmla="*/ 73 w 233"/>
                <a:gd name="T25" fmla="*/ 143 h 143"/>
                <a:gd name="T26" fmla="*/ 160 w 233"/>
                <a:gd name="T27" fmla="*/ 143 h 143"/>
                <a:gd name="T28" fmla="*/ 198 w 233"/>
                <a:gd name="T29" fmla="*/ 104 h 143"/>
                <a:gd name="T30" fmla="*/ 198 w 233"/>
                <a:gd name="T31" fmla="*/ 28 h 143"/>
                <a:gd name="T32" fmla="*/ 228 w 233"/>
                <a:gd name="T33" fmla="*/ 19 h 143"/>
                <a:gd name="T34" fmla="*/ 233 w 233"/>
                <a:gd name="T35" fmla="*/ 14 h 143"/>
                <a:gd name="T36" fmla="*/ 228 w 233"/>
                <a:gd name="T37" fmla="*/ 9 h 143"/>
                <a:gd name="T38" fmla="*/ 188 w 233"/>
                <a:gd name="T39" fmla="*/ 104 h 143"/>
                <a:gd name="T40" fmla="*/ 160 w 233"/>
                <a:gd name="T41" fmla="*/ 133 h 143"/>
                <a:gd name="T42" fmla="*/ 73 w 233"/>
                <a:gd name="T43" fmla="*/ 133 h 143"/>
                <a:gd name="T44" fmla="*/ 44 w 233"/>
                <a:gd name="T45" fmla="*/ 104 h 143"/>
                <a:gd name="T46" fmla="*/ 44 w 233"/>
                <a:gd name="T47" fmla="*/ 9 h 143"/>
                <a:gd name="T48" fmla="*/ 188 w 233"/>
                <a:gd name="T49" fmla="*/ 9 h 143"/>
                <a:gd name="T50" fmla="*/ 188 w 233"/>
                <a:gd name="T51" fmla="*/ 10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3" h="143">
                  <a:moveTo>
                    <a:pt x="228" y="9"/>
                  </a:moveTo>
                  <a:cubicBezTo>
                    <a:pt x="214" y="9"/>
                    <a:pt x="204" y="13"/>
                    <a:pt x="198" y="17"/>
                  </a:cubicBezTo>
                  <a:cubicBezTo>
                    <a:pt x="198" y="5"/>
                    <a:pt x="198" y="5"/>
                    <a:pt x="198" y="5"/>
                  </a:cubicBezTo>
                  <a:cubicBezTo>
                    <a:pt x="198" y="2"/>
                    <a:pt x="196" y="0"/>
                    <a:pt x="193" y="0"/>
                  </a:cubicBezTo>
                  <a:cubicBezTo>
                    <a:pt x="40" y="0"/>
                    <a:pt x="40" y="0"/>
                    <a:pt x="40" y="0"/>
                  </a:cubicBezTo>
                  <a:cubicBezTo>
                    <a:pt x="37" y="0"/>
                    <a:pt x="35" y="2"/>
                    <a:pt x="35" y="5"/>
                  </a:cubicBezTo>
                  <a:cubicBezTo>
                    <a:pt x="35" y="17"/>
                    <a:pt x="35" y="17"/>
                    <a:pt x="35" y="17"/>
                  </a:cubicBezTo>
                  <a:cubicBezTo>
                    <a:pt x="28" y="13"/>
                    <a:pt x="19" y="9"/>
                    <a:pt x="5" y="9"/>
                  </a:cubicBezTo>
                  <a:cubicBezTo>
                    <a:pt x="2" y="9"/>
                    <a:pt x="0" y="11"/>
                    <a:pt x="0" y="14"/>
                  </a:cubicBezTo>
                  <a:cubicBezTo>
                    <a:pt x="0" y="16"/>
                    <a:pt x="2" y="19"/>
                    <a:pt x="4" y="19"/>
                  </a:cubicBezTo>
                  <a:cubicBezTo>
                    <a:pt x="22" y="19"/>
                    <a:pt x="31" y="26"/>
                    <a:pt x="35" y="28"/>
                  </a:cubicBezTo>
                  <a:cubicBezTo>
                    <a:pt x="35" y="104"/>
                    <a:pt x="35" y="104"/>
                    <a:pt x="35" y="104"/>
                  </a:cubicBezTo>
                  <a:cubicBezTo>
                    <a:pt x="35" y="125"/>
                    <a:pt x="52" y="143"/>
                    <a:pt x="73" y="143"/>
                  </a:cubicBezTo>
                  <a:cubicBezTo>
                    <a:pt x="160" y="143"/>
                    <a:pt x="160" y="143"/>
                    <a:pt x="160" y="143"/>
                  </a:cubicBezTo>
                  <a:cubicBezTo>
                    <a:pt x="181" y="143"/>
                    <a:pt x="198" y="125"/>
                    <a:pt x="198" y="104"/>
                  </a:cubicBezTo>
                  <a:cubicBezTo>
                    <a:pt x="198" y="28"/>
                    <a:pt x="198" y="28"/>
                    <a:pt x="198" y="28"/>
                  </a:cubicBezTo>
                  <a:cubicBezTo>
                    <a:pt x="201" y="26"/>
                    <a:pt x="211" y="19"/>
                    <a:pt x="228" y="19"/>
                  </a:cubicBezTo>
                  <a:cubicBezTo>
                    <a:pt x="231" y="19"/>
                    <a:pt x="233" y="16"/>
                    <a:pt x="233" y="14"/>
                  </a:cubicBezTo>
                  <a:cubicBezTo>
                    <a:pt x="233" y="11"/>
                    <a:pt x="231" y="9"/>
                    <a:pt x="228" y="9"/>
                  </a:cubicBezTo>
                  <a:close/>
                  <a:moveTo>
                    <a:pt x="188" y="104"/>
                  </a:moveTo>
                  <a:cubicBezTo>
                    <a:pt x="188" y="120"/>
                    <a:pt x="175" y="133"/>
                    <a:pt x="160" y="133"/>
                  </a:cubicBezTo>
                  <a:cubicBezTo>
                    <a:pt x="73" y="133"/>
                    <a:pt x="73" y="133"/>
                    <a:pt x="73" y="133"/>
                  </a:cubicBezTo>
                  <a:cubicBezTo>
                    <a:pt x="57" y="133"/>
                    <a:pt x="44" y="120"/>
                    <a:pt x="44" y="104"/>
                  </a:cubicBezTo>
                  <a:cubicBezTo>
                    <a:pt x="44" y="9"/>
                    <a:pt x="44" y="9"/>
                    <a:pt x="44" y="9"/>
                  </a:cubicBezTo>
                  <a:cubicBezTo>
                    <a:pt x="188" y="9"/>
                    <a:pt x="188" y="9"/>
                    <a:pt x="188" y="9"/>
                  </a:cubicBezTo>
                  <a:lnTo>
                    <a:pt x="188" y="10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34" name="Freeform 120">
              <a:extLst>
                <a:ext uri="{FF2B5EF4-FFF2-40B4-BE49-F238E27FC236}">
                  <a16:creationId xmlns:a16="http://schemas.microsoft.com/office/drawing/2014/main" id="{02FD5D2E-E020-4968-93F3-1B3B049007E6}"/>
                </a:ext>
              </a:extLst>
            </p:cNvPr>
            <p:cNvSpPr>
              <a:spLocks noEditPoints="1"/>
            </p:cNvSpPr>
            <p:nvPr/>
          </p:nvSpPr>
          <p:spPr bwMode="auto">
            <a:xfrm>
              <a:off x="2008188" y="2324101"/>
              <a:ext cx="447675" cy="111125"/>
            </a:xfrm>
            <a:custGeom>
              <a:avLst/>
              <a:gdLst>
                <a:gd name="T0" fmla="*/ 5 w 161"/>
                <a:gd name="T1" fmla="*/ 17 h 40"/>
                <a:gd name="T2" fmla="*/ 62 w 161"/>
                <a:gd name="T3" fmla="*/ 26 h 40"/>
                <a:gd name="T4" fmla="*/ 62 w 161"/>
                <a:gd name="T5" fmla="*/ 26 h 40"/>
                <a:gd name="T6" fmla="*/ 104 w 161"/>
                <a:gd name="T7" fmla="*/ 32 h 40"/>
                <a:gd name="T8" fmla="*/ 104 w 161"/>
                <a:gd name="T9" fmla="*/ 32 h 40"/>
                <a:gd name="T10" fmla="*/ 155 w 161"/>
                <a:gd name="T11" fmla="*/ 40 h 40"/>
                <a:gd name="T12" fmla="*/ 156 w 161"/>
                <a:gd name="T13" fmla="*/ 40 h 40"/>
                <a:gd name="T14" fmla="*/ 161 w 161"/>
                <a:gd name="T15" fmla="*/ 36 h 40"/>
                <a:gd name="T16" fmla="*/ 157 w 161"/>
                <a:gd name="T17" fmla="*/ 30 h 40"/>
                <a:gd name="T18" fmla="*/ 109 w 161"/>
                <a:gd name="T19" fmla="*/ 23 h 40"/>
                <a:gd name="T20" fmla="*/ 107 w 161"/>
                <a:gd name="T21" fmla="*/ 16 h 40"/>
                <a:gd name="T22" fmla="*/ 83 w 161"/>
                <a:gd name="T23" fmla="*/ 0 h 40"/>
                <a:gd name="T24" fmla="*/ 73 w 161"/>
                <a:gd name="T25" fmla="*/ 2 h 40"/>
                <a:gd name="T26" fmla="*/ 59 w 161"/>
                <a:gd name="T27" fmla="*/ 16 h 40"/>
                <a:gd name="T28" fmla="*/ 6 w 161"/>
                <a:gd name="T29" fmla="*/ 8 h 40"/>
                <a:gd name="T30" fmla="*/ 1 w 161"/>
                <a:gd name="T31" fmla="*/ 12 h 40"/>
                <a:gd name="T32" fmla="*/ 5 w 161"/>
                <a:gd name="T33" fmla="*/ 17 h 40"/>
                <a:gd name="T34" fmla="*/ 69 w 161"/>
                <a:gd name="T35" fmla="*/ 17 h 40"/>
                <a:gd name="T36" fmla="*/ 77 w 161"/>
                <a:gd name="T37" fmla="*/ 11 h 40"/>
                <a:gd name="T38" fmla="*/ 83 w 161"/>
                <a:gd name="T39" fmla="*/ 9 h 40"/>
                <a:gd name="T40" fmla="*/ 98 w 161"/>
                <a:gd name="T41" fmla="*/ 19 h 40"/>
                <a:gd name="T42" fmla="*/ 99 w 161"/>
                <a:gd name="T43" fmla="*/ 22 h 40"/>
                <a:gd name="T44" fmla="*/ 74 w 161"/>
                <a:gd name="T45" fmla="*/ 18 h 40"/>
                <a:gd name="T46" fmla="*/ 69 w 161"/>
                <a:gd name="T47"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1" h="40">
                  <a:moveTo>
                    <a:pt x="5" y="17"/>
                  </a:moveTo>
                  <a:cubicBezTo>
                    <a:pt x="62" y="26"/>
                    <a:pt x="62" y="26"/>
                    <a:pt x="62" y="26"/>
                  </a:cubicBezTo>
                  <a:cubicBezTo>
                    <a:pt x="62" y="26"/>
                    <a:pt x="62" y="26"/>
                    <a:pt x="62" y="26"/>
                  </a:cubicBezTo>
                  <a:cubicBezTo>
                    <a:pt x="104" y="32"/>
                    <a:pt x="104" y="32"/>
                    <a:pt x="104" y="32"/>
                  </a:cubicBezTo>
                  <a:cubicBezTo>
                    <a:pt x="104" y="32"/>
                    <a:pt x="104" y="32"/>
                    <a:pt x="104" y="32"/>
                  </a:cubicBezTo>
                  <a:cubicBezTo>
                    <a:pt x="155" y="40"/>
                    <a:pt x="155" y="40"/>
                    <a:pt x="155" y="40"/>
                  </a:cubicBezTo>
                  <a:cubicBezTo>
                    <a:pt x="156" y="40"/>
                    <a:pt x="156" y="40"/>
                    <a:pt x="156" y="40"/>
                  </a:cubicBezTo>
                  <a:cubicBezTo>
                    <a:pt x="158" y="40"/>
                    <a:pt x="161" y="38"/>
                    <a:pt x="161" y="36"/>
                  </a:cubicBezTo>
                  <a:cubicBezTo>
                    <a:pt x="161" y="33"/>
                    <a:pt x="159" y="31"/>
                    <a:pt x="157" y="30"/>
                  </a:cubicBezTo>
                  <a:cubicBezTo>
                    <a:pt x="109" y="23"/>
                    <a:pt x="109" y="23"/>
                    <a:pt x="109" y="23"/>
                  </a:cubicBezTo>
                  <a:cubicBezTo>
                    <a:pt x="109" y="20"/>
                    <a:pt x="108" y="18"/>
                    <a:pt x="107" y="16"/>
                  </a:cubicBezTo>
                  <a:cubicBezTo>
                    <a:pt x="103" y="6"/>
                    <a:pt x="94" y="0"/>
                    <a:pt x="83" y="0"/>
                  </a:cubicBezTo>
                  <a:cubicBezTo>
                    <a:pt x="80" y="0"/>
                    <a:pt x="76" y="0"/>
                    <a:pt x="73" y="2"/>
                  </a:cubicBezTo>
                  <a:cubicBezTo>
                    <a:pt x="67" y="4"/>
                    <a:pt x="62" y="9"/>
                    <a:pt x="59" y="16"/>
                  </a:cubicBezTo>
                  <a:cubicBezTo>
                    <a:pt x="6" y="8"/>
                    <a:pt x="6" y="8"/>
                    <a:pt x="6" y="8"/>
                  </a:cubicBezTo>
                  <a:cubicBezTo>
                    <a:pt x="4" y="7"/>
                    <a:pt x="1" y="9"/>
                    <a:pt x="1" y="12"/>
                  </a:cubicBezTo>
                  <a:cubicBezTo>
                    <a:pt x="0" y="15"/>
                    <a:pt x="2" y="17"/>
                    <a:pt x="5" y="17"/>
                  </a:cubicBezTo>
                  <a:close/>
                  <a:moveTo>
                    <a:pt x="69" y="17"/>
                  </a:moveTo>
                  <a:cubicBezTo>
                    <a:pt x="71" y="14"/>
                    <a:pt x="74" y="12"/>
                    <a:pt x="77" y="11"/>
                  </a:cubicBezTo>
                  <a:cubicBezTo>
                    <a:pt x="79" y="10"/>
                    <a:pt x="81" y="9"/>
                    <a:pt x="83" y="9"/>
                  </a:cubicBezTo>
                  <a:cubicBezTo>
                    <a:pt x="90" y="9"/>
                    <a:pt x="96" y="13"/>
                    <a:pt x="98" y="19"/>
                  </a:cubicBezTo>
                  <a:cubicBezTo>
                    <a:pt x="99" y="20"/>
                    <a:pt x="99" y="21"/>
                    <a:pt x="99" y="22"/>
                  </a:cubicBezTo>
                  <a:cubicBezTo>
                    <a:pt x="74" y="18"/>
                    <a:pt x="74" y="18"/>
                    <a:pt x="74" y="18"/>
                  </a:cubicBezTo>
                  <a:lnTo>
                    <a:pt x="69" y="1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grpSp>
      <p:sp>
        <p:nvSpPr>
          <p:cNvPr id="135" name="Freeform 77">
            <a:extLst>
              <a:ext uri="{FF2B5EF4-FFF2-40B4-BE49-F238E27FC236}">
                <a16:creationId xmlns:a16="http://schemas.microsoft.com/office/drawing/2014/main" id="{EDAE43AB-9623-4253-A922-538759662BA9}"/>
              </a:ext>
            </a:extLst>
          </p:cNvPr>
          <p:cNvSpPr>
            <a:spLocks noEditPoints="1"/>
          </p:cNvSpPr>
          <p:nvPr/>
        </p:nvSpPr>
        <p:spPr bwMode="auto">
          <a:xfrm>
            <a:off x="6269820" y="5720213"/>
            <a:ext cx="347022" cy="203285"/>
          </a:xfrm>
          <a:custGeom>
            <a:avLst/>
            <a:gdLst>
              <a:gd name="T0" fmla="*/ 211 w 244"/>
              <a:gd name="T1" fmla="*/ 49 h 142"/>
              <a:gd name="T2" fmla="*/ 164 w 244"/>
              <a:gd name="T3" fmla="*/ 110 h 142"/>
              <a:gd name="T4" fmla="*/ 153 w 244"/>
              <a:gd name="T5" fmla="*/ 109 h 142"/>
              <a:gd name="T6" fmla="*/ 104 w 244"/>
              <a:gd name="T7" fmla="*/ 17 h 142"/>
              <a:gd name="T8" fmla="*/ 70 w 244"/>
              <a:gd name="T9" fmla="*/ 17 h 142"/>
              <a:gd name="T10" fmla="*/ 28 w 244"/>
              <a:gd name="T11" fmla="*/ 49 h 142"/>
              <a:gd name="T12" fmla="*/ 0 w 244"/>
              <a:gd name="T13" fmla="*/ 61 h 142"/>
              <a:gd name="T14" fmla="*/ 17 w 244"/>
              <a:gd name="T15" fmla="*/ 78 h 142"/>
              <a:gd name="T16" fmla="*/ 33 w 244"/>
              <a:gd name="T17" fmla="*/ 57 h 142"/>
              <a:gd name="T18" fmla="*/ 87 w 244"/>
              <a:gd name="T19" fmla="*/ 34 h 142"/>
              <a:gd name="T20" fmla="*/ 92 w 244"/>
              <a:gd name="T21" fmla="*/ 33 h 142"/>
              <a:gd name="T22" fmla="*/ 140 w 244"/>
              <a:gd name="T23" fmla="*/ 125 h 142"/>
              <a:gd name="T24" fmla="*/ 174 w 244"/>
              <a:gd name="T25" fmla="*/ 125 h 142"/>
              <a:gd name="T26" fmla="*/ 220 w 244"/>
              <a:gd name="T27" fmla="*/ 64 h 142"/>
              <a:gd name="T28" fmla="*/ 228 w 244"/>
              <a:gd name="T29" fmla="*/ 66 h 142"/>
              <a:gd name="T30" fmla="*/ 228 w 244"/>
              <a:gd name="T31" fmla="*/ 32 h 142"/>
              <a:gd name="T32" fmla="*/ 10 w 244"/>
              <a:gd name="T33" fmla="*/ 61 h 142"/>
              <a:gd name="T34" fmla="*/ 17 w 244"/>
              <a:gd name="T35" fmla="*/ 55 h 142"/>
              <a:gd name="T36" fmla="*/ 23 w 244"/>
              <a:gd name="T37" fmla="*/ 58 h 142"/>
              <a:gd name="T38" fmla="*/ 24 w 244"/>
              <a:gd name="T39" fmla="*/ 61 h 142"/>
              <a:gd name="T40" fmla="*/ 87 w 244"/>
              <a:gd name="T41" fmla="*/ 24 h 142"/>
              <a:gd name="T42" fmla="*/ 82 w 244"/>
              <a:gd name="T43" fmla="*/ 12 h 142"/>
              <a:gd name="T44" fmla="*/ 94 w 244"/>
              <a:gd name="T45" fmla="*/ 17 h 142"/>
              <a:gd name="T46" fmla="*/ 91 w 244"/>
              <a:gd name="T47" fmla="*/ 23 h 142"/>
              <a:gd name="T48" fmla="*/ 87 w 244"/>
              <a:gd name="T49" fmla="*/ 24 h 142"/>
              <a:gd name="T50" fmla="*/ 150 w 244"/>
              <a:gd name="T51" fmla="*/ 125 h 142"/>
              <a:gd name="T52" fmla="*/ 157 w 244"/>
              <a:gd name="T53" fmla="*/ 118 h 142"/>
              <a:gd name="T54" fmla="*/ 162 w 244"/>
              <a:gd name="T55" fmla="*/ 120 h 142"/>
              <a:gd name="T56" fmla="*/ 164 w 244"/>
              <a:gd name="T57" fmla="*/ 125 h 142"/>
              <a:gd name="T58" fmla="*/ 228 w 244"/>
              <a:gd name="T59" fmla="*/ 56 h 142"/>
              <a:gd name="T60" fmla="*/ 223 w 244"/>
              <a:gd name="T61" fmla="*/ 44 h 142"/>
              <a:gd name="T62" fmla="*/ 234 w 244"/>
              <a:gd name="T63" fmla="*/ 4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4" h="142">
                <a:moveTo>
                  <a:pt x="228" y="32"/>
                </a:moveTo>
                <a:cubicBezTo>
                  <a:pt x="218" y="32"/>
                  <a:pt x="211" y="39"/>
                  <a:pt x="211" y="49"/>
                </a:cubicBezTo>
                <a:cubicBezTo>
                  <a:pt x="211" y="52"/>
                  <a:pt x="211" y="55"/>
                  <a:pt x="213" y="57"/>
                </a:cubicBezTo>
                <a:cubicBezTo>
                  <a:pt x="164" y="110"/>
                  <a:pt x="164" y="110"/>
                  <a:pt x="164" y="110"/>
                </a:cubicBezTo>
                <a:cubicBezTo>
                  <a:pt x="162" y="109"/>
                  <a:pt x="160" y="108"/>
                  <a:pt x="157" y="108"/>
                </a:cubicBezTo>
                <a:cubicBezTo>
                  <a:pt x="156" y="108"/>
                  <a:pt x="154" y="109"/>
                  <a:pt x="153" y="109"/>
                </a:cubicBezTo>
                <a:cubicBezTo>
                  <a:pt x="100" y="28"/>
                  <a:pt x="100" y="28"/>
                  <a:pt x="100" y="28"/>
                </a:cubicBezTo>
                <a:cubicBezTo>
                  <a:pt x="102" y="25"/>
                  <a:pt x="104" y="21"/>
                  <a:pt x="104" y="17"/>
                </a:cubicBezTo>
                <a:cubicBezTo>
                  <a:pt x="104" y="7"/>
                  <a:pt x="96" y="0"/>
                  <a:pt x="87" y="0"/>
                </a:cubicBezTo>
                <a:cubicBezTo>
                  <a:pt x="78" y="0"/>
                  <a:pt x="70" y="7"/>
                  <a:pt x="70" y="17"/>
                </a:cubicBezTo>
                <a:cubicBezTo>
                  <a:pt x="70" y="18"/>
                  <a:pt x="70" y="20"/>
                  <a:pt x="71" y="21"/>
                </a:cubicBezTo>
                <a:cubicBezTo>
                  <a:pt x="28" y="49"/>
                  <a:pt x="28" y="49"/>
                  <a:pt x="28" y="49"/>
                </a:cubicBezTo>
                <a:cubicBezTo>
                  <a:pt x="25" y="46"/>
                  <a:pt x="21" y="44"/>
                  <a:pt x="17" y="44"/>
                </a:cubicBezTo>
                <a:cubicBezTo>
                  <a:pt x="7" y="44"/>
                  <a:pt x="0" y="52"/>
                  <a:pt x="0" y="61"/>
                </a:cubicBezTo>
                <a:cubicBezTo>
                  <a:pt x="0" y="71"/>
                  <a:pt x="7" y="78"/>
                  <a:pt x="17" y="78"/>
                </a:cubicBezTo>
                <a:cubicBezTo>
                  <a:pt x="17" y="78"/>
                  <a:pt x="17" y="78"/>
                  <a:pt x="17" y="78"/>
                </a:cubicBezTo>
                <a:cubicBezTo>
                  <a:pt x="26" y="78"/>
                  <a:pt x="34" y="71"/>
                  <a:pt x="34" y="61"/>
                </a:cubicBezTo>
                <a:cubicBezTo>
                  <a:pt x="34" y="60"/>
                  <a:pt x="33" y="58"/>
                  <a:pt x="33" y="57"/>
                </a:cubicBezTo>
                <a:cubicBezTo>
                  <a:pt x="76" y="30"/>
                  <a:pt x="76" y="30"/>
                  <a:pt x="76" y="30"/>
                </a:cubicBezTo>
                <a:cubicBezTo>
                  <a:pt x="79" y="32"/>
                  <a:pt x="83" y="34"/>
                  <a:pt x="87" y="34"/>
                </a:cubicBezTo>
                <a:cubicBezTo>
                  <a:pt x="87" y="34"/>
                  <a:pt x="87" y="34"/>
                  <a:pt x="87" y="34"/>
                </a:cubicBezTo>
                <a:cubicBezTo>
                  <a:pt x="89" y="34"/>
                  <a:pt x="90" y="33"/>
                  <a:pt x="92" y="33"/>
                </a:cubicBezTo>
                <a:cubicBezTo>
                  <a:pt x="144" y="115"/>
                  <a:pt x="144" y="115"/>
                  <a:pt x="144" y="115"/>
                </a:cubicBezTo>
                <a:cubicBezTo>
                  <a:pt x="142" y="117"/>
                  <a:pt x="140" y="121"/>
                  <a:pt x="140" y="125"/>
                </a:cubicBezTo>
                <a:cubicBezTo>
                  <a:pt x="140" y="135"/>
                  <a:pt x="148" y="142"/>
                  <a:pt x="157" y="142"/>
                </a:cubicBezTo>
                <a:cubicBezTo>
                  <a:pt x="167" y="142"/>
                  <a:pt x="174" y="135"/>
                  <a:pt x="174" y="125"/>
                </a:cubicBezTo>
                <a:cubicBezTo>
                  <a:pt x="174" y="122"/>
                  <a:pt x="173" y="119"/>
                  <a:pt x="172" y="117"/>
                </a:cubicBezTo>
                <a:cubicBezTo>
                  <a:pt x="220" y="64"/>
                  <a:pt x="220" y="64"/>
                  <a:pt x="220" y="64"/>
                </a:cubicBezTo>
                <a:cubicBezTo>
                  <a:pt x="223" y="65"/>
                  <a:pt x="225" y="66"/>
                  <a:pt x="228" y="66"/>
                </a:cubicBezTo>
                <a:cubicBezTo>
                  <a:pt x="228" y="66"/>
                  <a:pt x="228" y="66"/>
                  <a:pt x="228" y="66"/>
                </a:cubicBezTo>
                <a:cubicBezTo>
                  <a:pt x="237" y="66"/>
                  <a:pt x="244" y="58"/>
                  <a:pt x="244" y="49"/>
                </a:cubicBezTo>
                <a:cubicBezTo>
                  <a:pt x="244" y="39"/>
                  <a:pt x="237" y="32"/>
                  <a:pt x="228" y="32"/>
                </a:cubicBezTo>
                <a:close/>
                <a:moveTo>
                  <a:pt x="17" y="68"/>
                </a:moveTo>
                <a:cubicBezTo>
                  <a:pt x="13" y="68"/>
                  <a:pt x="10" y="65"/>
                  <a:pt x="10" y="61"/>
                </a:cubicBezTo>
                <a:cubicBezTo>
                  <a:pt x="10" y="60"/>
                  <a:pt x="11" y="58"/>
                  <a:pt x="12" y="57"/>
                </a:cubicBezTo>
                <a:cubicBezTo>
                  <a:pt x="13" y="55"/>
                  <a:pt x="15" y="55"/>
                  <a:pt x="17" y="55"/>
                </a:cubicBezTo>
                <a:cubicBezTo>
                  <a:pt x="19" y="55"/>
                  <a:pt x="21" y="56"/>
                  <a:pt x="23" y="58"/>
                </a:cubicBezTo>
                <a:cubicBezTo>
                  <a:pt x="23" y="58"/>
                  <a:pt x="23" y="58"/>
                  <a:pt x="23" y="58"/>
                </a:cubicBezTo>
                <a:cubicBezTo>
                  <a:pt x="23" y="58"/>
                  <a:pt x="23" y="58"/>
                  <a:pt x="23" y="58"/>
                </a:cubicBezTo>
                <a:cubicBezTo>
                  <a:pt x="23" y="59"/>
                  <a:pt x="24" y="60"/>
                  <a:pt x="24" y="61"/>
                </a:cubicBezTo>
                <a:cubicBezTo>
                  <a:pt x="24" y="65"/>
                  <a:pt x="21" y="68"/>
                  <a:pt x="17" y="68"/>
                </a:cubicBezTo>
                <a:close/>
                <a:moveTo>
                  <a:pt x="87" y="24"/>
                </a:moveTo>
                <a:cubicBezTo>
                  <a:pt x="83" y="24"/>
                  <a:pt x="80" y="21"/>
                  <a:pt x="80" y="17"/>
                </a:cubicBezTo>
                <a:cubicBezTo>
                  <a:pt x="80" y="15"/>
                  <a:pt x="81" y="13"/>
                  <a:pt x="82" y="12"/>
                </a:cubicBezTo>
                <a:cubicBezTo>
                  <a:pt x="83" y="11"/>
                  <a:pt x="85" y="10"/>
                  <a:pt x="87" y="10"/>
                </a:cubicBezTo>
                <a:cubicBezTo>
                  <a:pt x="91" y="10"/>
                  <a:pt x="94" y="13"/>
                  <a:pt x="94" y="17"/>
                </a:cubicBezTo>
                <a:cubicBezTo>
                  <a:pt x="94" y="19"/>
                  <a:pt x="93" y="21"/>
                  <a:pt x="91" y="23"/>
                </a:cubicBezTo>
                <a:cubicBezTo>
                  <a:pt x="91" y="23"/>
                  <a:pt x="91" y="23"/>
                  <a:pt x="91" y="23"/>
                </a:cubicBezTo>
                <a:cubicBezTo>
                  <a:pt x="91" y="23"/>
                  <a:pt x="91" y="23"/>
                  <a:pt x="91" y="23"/>
                </a:cubicBezTo>
                <a:cubicBezTo>
                  <a:pt x="90" y="23"/>
                  <a:pt x="88" y="24"/>
                  <a:pt x="87" y="24"/>
                </a:cubicBezTo>
                <a:close/>
                <a:moveTo>
                  <a:pt x="157" y="132"/>
                </a:moveTo>
                <a:cubicBezTo>
                  <a:pt x="153" y="132"/>
                  <a:pt x="150" y="129"/>
                  <a:pt x="150" y="125"/>
                </a:cubicBezTo>
                <a:cubicBezTo>
                  <a:pt x="150" y="123"/>
                  <a:pt x="151" y="122"/>
                  <a:pt x="152" y="120"/>
                </a:cubicBezTo>
                <a:cubicBezTo>
                  <a:pt x="154" y="119"/>
                  <a:pt x="155" y="118"/>
                  <a:pt x="157" y="118"/>
                </a:cubicBezTo>
                <a:cubicBezTo>
                  <a:pt x="159" y="118"/>
                  <a:pt x="161" y="119"/>
                  <a:pt x="162" y="120"/>
                </a:cubicBezTo>
                <a:cubicBezTo>
                  <a:pt x="162" y="120"/>
                  <a:pt x="162" y="120"/>
                  <a:pt x="162" y="120"/>
                </a:cubicBezTo>
                <a:cubicBezTo>
                  <a:pt x="162" y="120"/>
                  <a:pt x="162" y="120"/>
                  <a:pt x="162" y="120"/>
                </a:cubicBezTo>
                <a:cubicBezTo>
                  <a:pt x="163" y="122"/>
                  <a:pt x="164" y="123"/>
                  <a:pt x="164" y="125"/>
                </a:cubicBezTo>
                <a:cubicBezTo>
                  <a:pt x="164" y="129"/>
                  <a:pt x="161" y="132"/>
                  <a:pt x="157" y="132"/>
                </a:cubicBezTo>
                <a:close/>
                <a:moveTo>
                  <a:pt x="228" y="56"/>
                </a:moveTo>
                <a:cubicBezTo>
                  <a:pt x="224" y="56"/>
                  <a:pt x="221" y="52"/>
                  <a:pt x="221" y="49"/>
                </a:cubicBezTo>
                <a:cubicBezTo>
                  <a:pt x="221" y="47"/>
                  <a:pt x="221" y="45"/>
                  <a:pt x="223" y="44"/>
                </a:cubicBezTo>
                <a:cubicBezTo>
                  <a:pt x="224" y="42"/>
                  <a:pt x="226" y="42"/>
                  <a:pt x="228" y="42"/>
                </a:cubicBezTo>
                <a:cubicBezTo>
                  <a:pt x="231" y="42"/>
                  <a:pt x="234" y="45"/>
                  <a:pt x="234" y="49"/>
                </a:cubicBezTo>
                <a:cubicBezTo>
                  <a:pt x="234" y="52"/>
                  <a:pt x="231" y="56"/>
                  <a:pt x="228" y="56"/>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grpSp>
        <p:nvGrpSpPr>
          <p:cNvPr id="136" name="Group 135">
            <a:extLst>
              <a:ext uri="{FF2B5EF4-FFF2-40B4-BE49-F238E27FC236}">
                <a16:creationId xmlns:a16="http://schemas.microsoft.com/office/drawing/2014/main" id="{BEA2A5E2-8B63-410C-A1EB-14EEC6A47AD1}"/>
              </a:ext>
            </a:extLst>
          </p:cNvPr>
          <p:cNvGrpSpPr/>
          <p:nvPr/>
        </p:nvGrpSpPr>
        <p:grpSpPr>
          <a:xfrm>
            <a:off x="6310544" y="4591596"/>
            <a:ext cx="256250" cy="256907"/>
            <a:chOff x="5992813" y="1147763"/>
            <a:chExt cx="515938" cy="512763"/>
          </a:xfrm>
        </p:grpSpPr>
        <p:sp>
          <p:nvSpPr>
            <p:cNvPr id="137" name="Freeform 170">
              <a:extLst>
                <a:ext uri="{FF2B5EF4-FFF2-40B4-BE49-F238E27FC236}">
                  <a16:creationId xmlns:a16="http://schemas.microsoft.com/office/drawing/2014/main" id="{AE647AAB-BEE0-4480-B58C-9ADE84B3878D}"/>
                </a:ext>
              </a:extLst>
            </p:cNvPr>
            <p:cNvSpPr>
              <a:spLocks noEditPoints="1"/>
            </p:cNvSpPr>
            <p:nvPr/>
          </p:nvSpPr>
          <p:spPr bwMode="auto">
            <a:xfrm>
              <a:off x="5992813" y="1147763"/>
              <a:ext cx="515938" cy="512763"/>
            </a:xfrm>
            <a:custGeom>
              <a:avLst/>
              <a:gdLst>
                <a:gd name="T0" fmla="*/ 231 w 238"/>
                <a:gd name="T1" fmla="*/ 208 h 237"/>
                <a:gd name="T2" fmla="*/ 169 w 238"/>
                <a:gd name="T3" fmla="*/ 146 h 237"/>
                <a:gd name="T4" fmla="*/ 186 w 238"/>
                <a:gd name="T5" fmla="*/ 93 h 237"/>
                <a:gd name="T6" fmla="*/ 93 w 238"/>
                <a:gd name="T7" fmla="*/ 0 h 237"/>
                <a:gd name="T8" fmla="*/ 0 w 238"/>
                <a:gd name="T9" fmla="*/ 93 h 237"/>
                <a:gd name="T10" fmla="*/ 93 w 238"/>
                <a:gd name="T11" fmla="*/ 186 h 237"/>
                <a:gd name="T12" fmla="*/ 146 w 238"/>
                <a:gd name="T13" fmla="*/ 170 h 237"/>
                <a:gd name="T14" fmla="*/ 208 w 238"/>
                <a:gd name="T15" fmla="*/ 232 h 237"/>
                <a:gd name="T16" fmla="*/ 220 w 238"/>
                <a:gd name="T17" fmla="*/ 237 h 237"/>
                <a:gd name="T18" fmla="*/ 231 w 238"/>
                <a:gd name="T19" fmla="*/ 232 h 237"/>
                <a:gd name="T20" fmla="*/ 231 w 238"/>
                <a:gd name="T21" fmla="*/ 208 h 237"/>
                <a:gd name="T22" fmla="*/ 93 w 238"/>
                <a:gd name="T23" fmla="*/ 177 h 237"/>
                <a:gd name="T24" fmla="*/ 9 w 238"/>
                <a:gd name="T25" fmla="*/ 93 h 237"/>
                <a:gd name="T26" fmla="*/ 93 w 238"/>
                <a:gd name="T27" fmla="*/ 10 h 237"/>
                <a:gd name="T28" fmla="*/ 176 w 238"/>
                <a:gd name="T29" fmla="*/ 93 h 237"/>
                <a:gd name="T30" fmla="*/ 93 w 238"/>
                <a:gd name="T31" fmla="*/ 177 h 237"/>
                <a:gd name="T32" fmla="*/ 225 w 238"/>
                <a:gd name="T33" fmla="*/ 225 h 237"/>
                <a:gd name="T34" fmla="*/ 214 w 238"/>
                <a:gd name="T35" fmla="*/ 225 h 237"/>
                <a:gd name="T36" fmla="*/ 153 w 238"/>
                <a:gd name="T37" fmla="*/ 164 h 237"/>
                <a:gd name="T38" fmla="*/ 164 w 238"/>
                <a:gd name="T39" fmla="*/ 154 h 237"/>
                <a:gd name="T40" fmla="*/ 225 w 238"/>
                <a:gd name="T41" fmla="*/ 215 h 237"/>
                <a:gd name="T42" fmla="*/ 225 w 238"/>
                <a:gd name="T43" fmla="*/ 22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8" h="237">
                  <a:moveTo>
                    <a:pt x="231" y="208"/>
                  </a:moveTo>
                  <a:cubicBezTo>
                    <a:pt x="169" y="146"/>
                    <a:pt x="169" y="146"/>
                    <a:pt x="169" y="146"/>
                  </a:cubicBezTo>
                  <a:cubicBezTo>
                    <a:pt x="180" y="131"/>
                    <a:pt x="186" y="113"/>
                    <a:pt x="186" y="93"/>
                  </a:cubicBezTo>
                  <a:cubicBezTo>
                    <a:pt x="186" y="42"/>
                    <a:pt x="144" y="0"/>
                    <a:pt x="93" y="0"/>
                  </a:cubicBezTo>
                  <a:cubicBezTo>
                    <a:pt x="41" y="0"/>
                    <a:pt x="0" y="42"/>
                    <a:pt x="0" y="93"/>
                  </a:cubicBezTo>
                  <a:cubicBezTo>
                    <a:pt x="0" y="145"/>
                    <a:pt x="41" y="186"/>
                    <a:pt x="93" y="186"/>
                  </a:cubicBezTo>
                  <a:cubicBezTo>
                    <a:pt x="112" y="186"/>
                    <a:pt x="131" y="180"/>
                    <a:pt x="146" y="170"/>
                  </a:cubicBezTo>
                  <a:cubicBezTo>
                    <a:pt x="208" y="232"/>
                    <a:pt x="208" y="232"/>
                    <a:pt x="208" y="232"/>
                  </a:cubicBezTo>
                  <a:cubicBezTo>
                    <a:pt x="211" y="235"/>
                    <a:pt x="215" y="237"/>
                    <a:pt x="220" y="237"/>
                  </a:cubicBezTo>
                  <a:cubicBezTo>
                    <a:pt x="224" y="237"/>
                    <a:pt x="228" y="235"/>
                    <a:pt x="231" y="232"/>
                  </a:cubicBezTo>
                  <a:cubicBezTo>
                    <a:pt x="238" y="226"/>
                    <a:pt x="238" y="215"/>
                    <a:pt x="231" y="208"/>
                  </a:cubicBezTo>
                  <a:close/>
                  <a:moveTo>
                    <a:pt x="93" y="177"/>
                  </a:moveTo>
                  <a:cubicBezTo>
                    <a:pt x="47" y="177"/>
                    <a:pt x="9" y="139"/>
                    <a:pt x="9" y="93"/>
                  </a:cubicBezTo>
                  <a:cubicBezTo>
                    <a:pt x="9" y="47"/>
                    <a:pt x="47" y="10"/>
                    <a:pt x="93" y="10"/>
                  </a:cubicBezTo>
                  <a:cubicBezTo>
                    <a:pt x="139" y="10"/>
                    <a:pt x="176" y="47"/>
                    <a:pt x="176" y="93"/>
                  </a:cubicBezTo>
                  <a:cubicBezTo>
                    <a:pt x="176" y="139"/>
                    <a:pt x="139" y="177"/>
                    <a:pt x="93" y="177"/>
                  </a:cubicBezTo>
                  <a:close/>
                  <a:moveTo>
                    <a:pt x="225" y="225"/>
                  </a:moveTo>
                  <a:cubicBezTo>
                    <a:pt x="222" y="228"/>
                    <a:pt x="217" y="228"/>
                    <a:pt x="214" y="225"/>
                  </a:cubicBezTo>
                  <a:cubicBezTo>
                    <a:pt x="153" y="164"/>
                    <a:pt x="153" y="164"/>
                    <a:pt x="153" y="164"/>
                  </a:cubicBezTo>
                  <a:cubicBezTo>
                    <a:pt x="157" y="161"/>
                    <a:pt x="160" y="157"/>
                    <a:pt x="164" y="154"/>
                  </a:cubicBezTo>
                  <a:cubicBezTo>
                    <a:pt x="225" y="215"/>
                    <a:pt x="225" y="215"/>
                    <a:pt x="225" y="215"/>
                  </a:cubicBezTo>
                  <a:cubicBezTo>
                    <a:pt x="228" y="218"/>
                    <a:pt x="228" y="222"/>
                    <a:pt x="225" y="22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38" name="Freeform 171">
              <a:extLst>
                <a:ext uri="{FF2B5EF4-FFF2-40B4-BE49-F238E27FC236}">
                  <a16:creationId xmlns:a16="http://schemas.microsoft.com/office/drawing/2014/main" id="{3ED1C73F-8B9C-4770-B069-031F15B8B12C}"/>
                </a:ext>
              </a:extLst>
            </p:cNvPr>
            <p:cNvSpPr>
              <a:spLocks/>
            </p:cNvSpPr>
            <p:nvPr/>
          </p:nvSpPr>
          <p:spPr bwMode="auto">
            <a:xfrm>
              <a:off x="6051550" y="1204913"/>
              <a:ext cx="165100" cy="165100"/>
            </a:xfrm>
            <a:custGeom>
              <a:avLst/>
              <a:gdLst>
                <a:gd name="T0" fmla="*/ 72 w 76"/>
                <a:gd name="T1" fmla="*/ 1 h 76"/>
                <a:gd name="T2" fmla="*/ 21 w 76"/>
                <a:gd name="T3" fmla="*/ 21 h 76"/>
                <a:gd name="T4" fmla="*/ 1 w 76"/>
                <a:gd name="T5" fmla="*/ 72 h 76"/>
                <a:gd name="T6" fmla="*/ 6 w 76"/>
                <a:gd name="T7" fmla="*/ 76 h 76"/>
                <a:gd name="T8" fmla="*/ 6 w 76"/>
                <a:gd name="T9" fmla="*/ 76 h 76"/>
                <a:gd name="T10" fmla="*/ 11 w 76"/>
                <a:gd name="T11" fmla="*/ 71 h 76"/>
                <a:gd name="T12" fmla="*/ 28 w 76"/>
                <a:gd name="T13" fmla="*/ 28 h 76"/>
                <a:gd name="T14" fmla="*/ 71 w 76"/>
                <a:gd name="T15" fmla="*/ 10 h 76"/>
                <a:gd name="T16" fmla="*/ 76 w 76"/>
                <a:gd name="T17" fmla="*/ 6 h 76"/>
                <a:gd name="T18" fmla="*/ 72 w 76"/>
                <a:gd name="T19" fmla="*/ 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72" y="1"/>
                  </a:moveTo>
                  <a:cubicBezTo>
                    <a:pt x="52" y="0"/>
                    <a:pt x="34" y="7"/>
                    <a:pt x="21" y="21"/>
                  </a:cubicBezTo>
                  <a:cubicBezTo>
                    <a:pt x="7" y="34"/>
                    <a:pt x="0" y="52"/>
                    <a:pt x="1" y="72"/>
                  </a:cubicBezTo>
                  <a:cubicBezTo>
                    <a:pt x="1" y="74"/>
                    <a:pt x="3" y="76"/>
                    <a:pt x="6" y="76"/>
                  </a:cubicBezTo>
                  <a:cubicBezTo>
                    <a:pt x="6" y="76"/>
                    <a:pt x="6" y="76"/>
                    <a:pt x="6" y="76"/>
                  </a:cubicBezTo>
                  <a:cubicBezTo>
                    <a:pt x="9" y="76"/>
                    <a:pt x="11" y="74"/>
                    <a:pt x="11" y="71"/>
                  </a:cubicBezTo>
                  <a:cubicBezTo>
                    <a:pt x="10" y="55"/>
                    <a:pt x="16" y="39"/>
                    <a:pt x="28" y="28"/>
                  </a:cubicBezTo>
                  <a:cubicBezTo>
                    <a:pt x="39" y="16"/>
                    <a:pt x="55" y="10"/>
                    <a:pt x="71" y="10"/>
                  </a:cubicBezTo>
                  <a:cubicBezTo>
                    <a:pt x="74" y="11"/>
                    <a:pt x="76" y="8"/>
                    <a:pt x="76" y="6"/>
                  </a:cubicBezTo>
                  <a:cubicBezTo>
                    <a:pt x="76" y="3"/>
                    <a:pt x="74" y="1"/>
                    <a:pt x="72" y="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grpSp>
      <p:sp>
        <p:nvSpPr>
          <p:cNvPr id="163" name="TextBox 162">
            <a:extLst>
              <a:ext uri="{FF2B5EF4-FFF2-40B4-BE49-F238E27FC236}">
                <a16:creationId xmlns:a16="http://schemas.microsoft.com/office/drawing/2014/main" id="{951FC3E4-C638-4448-AE15-1E955EF6EFC4}"/>
              </a:ext>
            </a:extLst>
          </p:cNvPr>
          <p:cNvSpPr txBox="1"/>
          <p:nvPr/>
        </p:nvSpPr>
        <p:spPr>
          <a:xfrm>
            <a:off x="3010011" y="3891300"/>
            <a:ext cx="942887"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quirements</a:t>
            </a:r>
          </a:p>
        </p:txBody>
      </p:sp>
      <p:sp>
        <p:nvSpPr>
          <p:cNvPr id="164" name="TextBox 163">
            <a:extLst>
              <a:ext uri="{FF2B5EF4-FFF2-40B4-BE49-F238E27FC236}">
                <a16:creationId xmlns:a16="http://schemas.microsoft.com/office/drawing/2014/main" id="{89556B5C-14ED-40B3-B992-D1448A2A700B}"/>
              </a:ext>
            </a:extLst>
          </p:cNvPr>
          <p:cNvSpPr txBox="1"/>
          <p:nvPr/>
        </p:nvSpPr>
        <p:spPr>
          <a:xfrm>
            <a:off x="4783347" y="3891300"/>
            <a:ext cx="923651"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et New Req.</a:t>
            </a:r>
          </a:p>
        </p:txBody>
      </p:sp>
      <p:sp>
        <p:nvSpPr>
          <p:cNvPr id="165" name="Right Brace 164">
            <a:extLst>
              <a:ext uri="{FF2B5EF4-FFF2-40B4-BE49-F238E27FC236}">
                <a16:creationId xmlns:a16="http://schemas.microsoft.com/office/drawing/2014/main" id="{AC7A4C96-BF77-4C6A-B63F-1E673714F0D0}"/>
              </a:ext>
            </a:extLst>
          </p:cNvPr>
          <p:cNvSpPr/>
          <p:nvPr/>
        </p:nvSpPr>
        <p:spPr>
          <a:xfrm rot="16200000">
            <a:off x="3388490" y="3120463"/>
            <a:ext cx="164592" cy="2194560"/>
          </a:xfrm>
          <a:prstGeom prst="rightBrace">
            <a:avLst/>
          </a:prstGeom>
          <a:ln w="1587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66" name="Right Brace 165">
            <a:extLst>
              <a:ext uri="{FF2B5EF4-FFF2-40B4-BE49-F238E27FC236}">
                <a16:creationId xmlns:a16="http://schemas.microsoft.com/office/drawing/2014/main" id="{48C72F16-8233-4839-9FFB-221212A4E06B}"/>
              </a:ext>
            </a:extLst>
          </p:cNvPr>
          <p:cNvSpPr/>
          <p:nvPr/>
        </p:nvSpPr>
        <p:spPr>
          <a:xfrm rot="16200000">
            <a:off x="5190093" y="3623383"/>
            <a:ext cx="164592" cy="1188720"/>
          </a:xfrm>
          <a:prstGeom prst="rightBrace">
            <a:avLst/>
          </a:prstGeom>
          <a:ln w="1587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1121064154"/>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73A0285-0C68-4648-B6A5-ABE908382F3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316" name="think-cell Slide" r:id="rId6" imgW="415" imgH="416" progId="TCLayout.ActiveDocument.1">
                  <p:embed/>
                </p:oleObj>
              </mc:Choice>
              <mc:Fallback>
                <p:oleObj name="think-cell Slide" r:id="rId6" imgW="415" imgH="416" progId="TCLayout.ActiveDocument.1">
                  <p:embed/>
                  <p:pic>
                    <p:nvPicPr>
                      <p:cNvPr id="6" name="Object 5" hidden="1">
                        <a:extLst>
                          <a:ext uri="{FF2B5EF4-FFF2-40B4-BE49-F238E27FC236}">
                            <a16:creationId xmlns:a16="http://schemas.microsoft.com/office/drawing/2014/main" id="{373A0285-0C68-4648-B6A5-ABE908382F3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752C698-E3DF-42E5-9174-E479E73F6FA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8D56963C-439E-46BA-ACB5-BEB288A081B2}"/>
              </a:ext>
            </a:extLst>
          </p:cNvPr>
          <p:cNvSpPr>
            <a:spLocks noGrp="1"/>
          </p:cNvSpPr>
          <p:nvPr>
            <p:ph type="title"/>
          </p:nvPr>
        </p:nvSpPr>
        <p:spPr/>
        <p:txBody>
          <a:bodyPr anchor="b"/>
          <a:lstStyle/>
          <a:p>
            <a:r>
              <a:rPr lang="en-US" dirty="0"/>
              <a:t>Analytics Practice Facts</a:t>
            </a:r>
          </a:p>
        </p:txBody>
      </p:sp>
      <p:sp>
        <p:nvSpPr>
          <p:cNvPr id="3" name="Text Placeholder 2">
            <a:extLst>
              <a:ext uri="{FF2B5EF4-FFF2-40B4-BE49-F238E27FC236}">
                <a16:creationId xmlns:a16="http://schemas.microsoft.com/office/drawing/2014/main" id="{A323CC03-0D1F-462C-A5D4-8EBECC097DF3}"/>
              </a:ext>
            </a:extLst>
          </p:cNvPr>
          <p:cNvSpPr>
            <a:spLocks noGrp="1"/>
          </p:cNvSpPr>
          <p:nvPr>
            <p:ph type="body" sz="quarter" idx="14"/>
          </p:nvPr>
        </p:nvSpPr>
        <p:spPr/>
        <p:txBody>
          <a:bodyPr/>
          <a:lstStyle/>
          <a:p>
            <a:r>
              <a:rPr lang="en-US" spc="0" dirty="0">
                <a:solidFill>
                  <a:srgbClr val="000000"/>
                </a:solidFill>
              </a:rPr>
              <a:t>We’ve had analytics at the heart of our services since the beginning, and a formalized, Global Analytics organization structure</a:t>
            </a:r>
          </a:p>
        </p:txBody>
      </p:sp>
      <p:sp>
        <p:nvSpPr>
          <p:cNvPr id="4" name="Text Placeholder 3">
            <a:extLst>
              <a:ext uri="{FF2B5EF4-FFF2-40B4-BE49-F238E27FC236}">
                <a16:creationId xmlns:a16="http://schemas.microsoft.com/office/drawing/2014/main" id="{346EB87F-99D0-448F-9E0A-1DCAA9EFD5E1}"/>
              </a:ext>
            </a:extLst>
          </p:cNvPr>
          <p:cNvSpPr>
            <a:spLocks noGrp="1"/>
          </p:cNvSpPr>
          <p:nvPr>
            <p:ph type="body" sz="quarter" idx="15"/>
          </p:nvPr>
        </p:nvSpPr>
        <p:spPr/>
        <p:txBody>
          <a:bodyPr/>
          <a:lstStyle/>
          <a:p>
            <a:r>
              <a:rPr lang="en-US" dirty="0"/>
              <a:t>text</a:t>
            </a:r>
          </a:p>
        </p:txBody>
      </p:sp>
      <p:grpSp>
        <p:nvGrpSpPr>
          <p:cNvPr id="112" name="Group 111">
            <a:extLst>
              <a:ext uri="{FF2B5EF4-FFF2-40B4-BE49-F238E27FC236}">
                <a16:creationId xmlns:a16="http://schemas.microsoft.com/office/drawing/2014/main" id="{2B68C539-4B8F-4689-ADC1-968CFFD4C3B4}"/>
              </a:ext>
            </a:extLst>
          </p:cNvPr>
          <p:cNvGrpSpPr/>
          <p:nvPr/>
        </p:nvGrpSpPr>
        <p:grpSpPr>
          <a:xfrm>
            <a:off x="700289" y="2240684"/>
            <a:ext cx="2009082" cy="2715279"/>
            <a:chOff x="914400" y="2240684"/>
            <a:chExt cx="2009082" cy="2715279"/>
          </a:xfrm>
        </p:grpSpPr>
        <p:grpSp>
          <p:nvGrpSpPr>
            <p:cNvPr id="55" name="Group 54">
              <a:extLst>
                <a:ext uri="{FF2B5EF4-FFF2-40B4-BE49-F238E27FC236}">
                  <a16:creationId xmlns:a16="http://schemas.microsoft.com/office/drawing/2014/main" id="{CB98F548-9B86-431C-BAFE-385FAE854952}"/>
                </a:ext>
              </a:extLst>
            </p:cNvPr>
            <p:cNvGrpSpPr/>
            <p:nvPr/>
          </p:nvGrpSpPr>
          <p:grpSpPr>
            <a:xfrm>
              <a:off x="914400" y="2240684"/>
              <a:ext cx="2009082" cy="2715279"/>
              <a:chOff x="1012122" y="2135926"/>
              <a:chExt cx="2009082" cy="2715279"/>
            </a:xfrm>
          </p:grpSpPr>
          <p:sp>
            <p:nvSpPr>
              <p:cNvPr id="56" name="Rectangle 55">
                <a:extLst>
                  <a:ext uri="{FF2B5EF4-FFF2-40B4-BE49-F238E27FC236}">
                    <a16:creationId xmlns:a16="http://schemas.microsoft.com/office/drawing/2014/main" id="{954114DF-863C-4068-90C2-12AB1259D10F}"/>
                  </a:ext>
                </a:extLst>
              </p:cNvPr>
              <p:cNvSpPr/>
              <p:nvPr/>
            </p:nvSpPr>
            <p:spPr>
              <a:xfrm>
                <a:off x="1117587" y="2294794"/>
                <a:ext cx="1798152" cy="789281"/>
              </a:xfrm>
              <a:prstGeom prst="rect">
                <a:avLst/>
              </a:prstGeom>
              <a:solidFill>
                <a:srgbClr val="86F200">
                  <a:lumMod val="40000"/>
                  <a:lumOff val="60000"/>
                </a:srgbClr>
              </a:solidFill>
              <a:ln w="12700" cap="flat" cmpd="sng" algn="ctr">
                <a:noFill/>
                <a:prstDash val="solid"/>
                <a:miter lim="800000"/>
              </a:ln>
              <a:effectLst/>
            </p:spPr>
            <p:txBody>
              <a:bodyPr bIns="13716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Open Sans"/>
                    <a:ea typeface="+mn-ea"/>
                    <a:cs typeface="+mn-cs"/>
                  </a:rPr>
                  <a:t>Deep Client Relationships</a:t>
                </a:r>
              </a:p>
            </p:txBody>
          </p:sp>
          <p:sp>
            <p:nvSpPr>
              <p:cNvPr id="57" name="Rectangle 56">
                <a:extLst>
                  <a:ext uri="{FF2B5EF4-FFF2-40B4-BE49-F238E27FC236}">
                    <a16:creationId xmlns:a16="http://schemas.microsoft.com/office/drawing/2014/main" id="{67EE3804-FB8E-45D5-9C7F-8FB3275B3835}"/>
                  </a:ext>
                </a:extLst>
              </p:cNvPr>
              <p:cNvSpPr/>
              <p:nvPr/>
            </p:nvSpPr>
            <p:spPr>
              <a:xfrm>
                <a:off x="1117587" y="3111696"/>
                <a:ext cx="1798152" cy="789281"/>
              </a:xfrm>
              <a:prstGeom prst="rect">
                <a:avLst/>
              </a:prstGeom>
              <a:solidFill>
                <a:srgbClr val="86F200">
                  <a:lumMod val="40000"/>
                  <a:lumOff val="6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0000"/>
                    </a:solidFill>
                    <a:effectLst/>
                    <a:uLnTx/>
                    <a:uFillTx/>
                    <a:latin typeface="Open Sans"/>
                    <a:ea typeface="+mn-ea"/>
                    <a:cs typeface="+mn-cs"/>
                  </a:rPr>
                  <a:t>35,000+</a:t>
                </a:r>
                <a:r>
                  <a:rPr kumimoji="0" lang="en-US" sz="800" b="1" i="0" u="none" strike="noStrike" kern="0" cap="none" spc="0" normalizeH="0" baseline="0" noProof="0" dirty="0">
                    <a:ln>
                      <a:noFill/>
                    </a:ln>
                    <a:solidFill>
                      <a:srgbClr val="000000"/>
                    </a:solidFill>
                    <a:effectLst/>
                    <a:uLnTx/>
                    <a:uFillTx/>
                    <a:latin typeface="Open Sans"/>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Open Sans"/>
                    <a:ea typeface="+mn-ea"/>
                    <a:cs typeface="+mn-cs"/>
                  </a:rPr>
                  <a:t>Analytics Projects</a:t>
                </a:r>
              </a:p>
            </p:txBody>
          </p:sp>
          <p:sp>
            <p:nvSpPr>
              <p:cNvPr id="58" name="Rectangle 57">
                <a:extLst>
                  <a:ext uri="{FF2B5EF4-FFF2-40B4-BE49-F238E27FC236}">
                    <a16:creationId xmlns:a16="http://schemas.microsoft.com/office/drawing/2014/main" id="{D4BB08F4-413F-46B4-9991-00FC6EAAEE45}"/>
                  </a:ext>
                </a:extLst>
              </p:cNvPr>
              <p:cNvSpPr/>
              <p:nvPr/>
            </p:nvSpPr>
            <p:spPr>
              <a:xfrm>
                <a:off x="1117587" y="3928598"/>
                <a:ext cx="1798152" cy="789281"/>
              </a:xfrm>
              <a:prstGeom prst="rect">
                <a:avLst/>
              </a:prstGeom>
              <a:solidFill>
                <a:srgbClr val="86F200">
                  <a:lumMod val="40000"/>
                  <a:lumOff val="6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0000"/>
                    </a:solidFill>
                    <a:effectLst/>
                    <a:uLnTx/>
                    <a:uFillTx/>
                    <a:latin typeface="Open Sans"/>
                    <a:ea typeface="+mn-ea"/>
                    <a:cs typeface="+mn-cs"/>
                  </a:rPr>
                  <a:t>80%</a:t>
                </a:r>
                <a:endParaRPr kumimoji="0" lang="en-US" sz="800" b="1" i="0" u="none" strike="noStrike" kern="0" cap="none" spc="0" normalizeH="0" baseline="0" noProof="0" dirty="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Open Sans"/>
                    <a:ea typeface="+mn-ea"/>
                    <a:cs typeface="+mn-cs"/>
                  </a:rPr>
                  <a:t>Of our business serving the top 200 clients in the world</a:t>
                </a:r>
              </a:p>
            </p:txBody>
          </p:sp>
          <p:sp>
            <p:nvSpPr>
              <p:cNvPr id="59" name="Rectangle 58">
                <a:extLst>
                  <a:ext uri="{FF2B5EF4-FFF2-40B4-BE49-F238E27FC236}">
                    <a16:creationId xmlns:a16="http://schemas.microsoft.com/office/drawing/2014/main" id="{68291905-F349-4DD5-8565-BA001E38CA15}"/>
                  </a:ext>
                </a:extLst>
              </p:cNvPr>
              <p:cNvSpPr/>
              <p:nvPr/>
            </p:nvSpPr>
            <p:spPr>
              <a:xfrm>
                <a:off x="1012122" y="2135926"/>
                <a:ext cx="2009082" cy="2715279"/>
              </a:xfrm>
              <a:prstGeom prst="rect">
                <a:avLst/>
              </a:prstGeom>
              <a:noFill/>
              <a:ln w="19050" cap="flat" cmpd="sng" algn="ctr">
                <a:solidFill>
                  <a:srgbClr val="86F2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grpSp>
        <p:grpSp>
          <p:nvGrpSpPr>
            <p:cNvPr id="83" name="Group 82">
              <a:extLst>
                <a:ext uri="{FF2B5EF4-FFF2-40B4-BE49-F238E27FC236}">
                  <a16:creationId xmlns:a16="http://schemas.microsoft.com/office/drawing/2014/main" id="{0FBF399A-F937-490C-BD1C-C8A85ED4D74D}"/>
                </a:ext>
              </a:extLst>
            </p:cNvPr>
            <p:cNvGrpSpPr>
              <a:grpSpLocks noChangeAspect="1"/>
            </p:cNvGrpSpPr>
            <p:nvPr/>
          </p:nvGrpSpPr>
          <p:grpSpPr>
            <a:xfrm>
              <a:off x="1657796" y="2436723"/>
              <a:ext cx="458595" cy="457200"/>
              <a:chOff x="1433513" y="822325"/>
              <a:chExt cx="522288" cy="520700"/>
            </a:xfrm>
          </p:grpSpPr>
          <p:sp>
            <p:nvSpPr>
              <p:cNvPr id="84" name="Freeform 7">
                <a:extLst>
                  <a:ext uri="{FF2B5EF4-FFF2-40B4-BE49-F238E27FC236}">
                    <a16:creationId xmlns:a16="http://schemas.microsoft.com/office/drawing/2014/main" id="{E1C7BC2D-3ACE-4A69-8AB6-41EDC1C3CA39}"/>
                  </a:ext>
                </a:extLst>
              </p:cNvPr>
              <p:cNvSpPr>
                <a:spLocks noEditPoints="1"/>
              </p:cNvSpPr>
              <p:nvPr/>
            </p:nvSpPr>
            <p:spPr bwMode="auto">
              <a:xfrm>
                <a:off x="1433513" y="822325"/>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sp>
            <p:nvSpPr>
              <p:cNvPr id="85" name="Freeform 226">
                <a:extLst>
                  <a:ext uri="{FF2B5EF4-FFF2-40B4-BE49-F238E27FC236}">
                    <a16:creationId xmlns:a16="http://schemas.microsoft.com/office/drawing/2014/main" id="{7DD597E2-563F-4D2D-8748-D06FC8C1963C}"/>
                  </a:ext>
                </a:extLst>
              </p:cNvPr>
              <p:cNvSpPr>
                <a:spLocks noEditPoints="1"/>
              </p:cNvSpPr>
              <p:nvPr/>
            </p:nvSpPr>
            <p:spPr bwMode="auto">
              <a:xfrm>
                <a:off x="1587501" y="974725"/>
                <a:ext cx="227013" cy="231775"/>
              </a:xfrm>
              <a:custGeom>
                <a:avLst/>
                <a:gdLst>
                  <a:gd name="T0" fmla="*/ 4 w 285"/>
                  <a:gd name="T1" fmla="*/ 173 h 293"/>
                  <a:gd name="T2" fmla="*/ 12 w 285"/>
                  <a:gd name="T3" fmla="*/ 191 h 293"/>
                  <a:gd name="T4" fmla="*/ 32 w 285"/>
                  <a:gd name="T5" fmla="*/ 198 h 293"/>
                  <a:gd name="T6" fmla="*/ 35 w 285"/>
                  <a:gd name="T7" fmla="*/ 214 h 293"/>
                  <a:gd name="T8" fmla="*/ 56 w 285"/>
                  <a:gd name="T9" fmla="*/ 226 h 293"/>
                  <a:gd name="T10" fmla="*/ 62 w 285"/>
                  <a:gd name="T11" fmla="*/ 241 h 293"/>
                  <a:gd name="T12" fmla="*/ 83 w 285"/>
                  <a:gd name="T13" fmla="*/ 253 h 293"/>
                  <a:gd name="T14" fmla="*/ 89 w 285"/>
                  <a:gd name="T15" fmla="*/ 267 h 293"/>
                  <a:gd name="T16" fmla="*/ 110 w 285"/>
                  <a:gd name="T17" fmla="*/ 279 h 293"/>
                  <a:gd name="T18" fmla="*/ 129 w 285"/>
                  <a:gd name="T19" fmla="*/ 270 h 293"/>
                  <a:gd name="T20" fmla="*/ 161 w 285"/>
                  <a:gd name="T21" fmla="*/ 293 h 293"/>
                  <a:gd name="T22" fmla="*/ 179 w 285"/>
                  <a:gd name="T23" fmla="*/ 285 h 293"/>
                  <a:gd name="T24" fmla="*/ 188 w 285"/>
                  <a:gd name="T25" fmla="*/ 266 h 293"/>
                  <a:gd name="T26" fmla="*/ 205 w 285"/>
                  <a:gd name="T27" fmla="*/ 258 h 293"/>
                  <a:gd name="T28" fmla="*/ 212 w 285"/>
                  <a:gd name="T29" fmla="*/ 238 h 293"/>
                  <a:gd name="T30" fmla="*/ 228 w 285"/>
                  <a:gd name="T31" fmla="*/ 235 h 293"/>
                  <a:gd name="T32" fmla="*/ 239 w 285"/>
                  <a:gd name="T33" fmla="*/ 214 h 293"/>
                  <a:gd name="T34" fmla="*/ 247 w 285"/>
                  <a:gd name="T35" fmla="*/ 211 h 293"/>
                  <a:gd name="T36" fmla="*/ 265 w 285"/>
                  <a:gd name="T37" fmla="*/ 196 h 293"/>
                  <a:gd name="T38" fmla="*/ 259 w 285"/>
                  <a:gd name="T39" fmla="*/ 171 h 293"/>
                  <a:gd name="T40" fmla="*/ 278 w 285"/>
                  <a:gd name="T41" fmla="*/ 137 h 293"/>
                  <a:gd name="T42" fmla="*/ 285 w 285"/>
                  <a:gd name="T43" fmla="*/ 90 h 293"/>
                  <a:gd name="T44" fmla="*/ 263 w 285"/>
                  <a:gd name="T45" fmla="*/ 36 h 293"/>
                  <a:gd name="T46" fmla="*/ 201 w 285"/>
                  <a:gd name="T47" fmla="*/ 1 h 293"/>
                  <a:gd name="T48" fmla="*/ 129 w 285"/>
                  <a:gd name="T49" fmla="*/ 4 h 293"/>
                  <a:gd name="T50" fmla="*/ 42 w 285"/>
                  <a:gd name="T51" fmla="*/ 19 h 293"/>
                  <a:gd name="T52" fmla="*/ 1 w 285"/>
                  <a:gd name="T53" fmla="*/ 89 h 293"/>
                  <a:gd name="T54" fmla="*/ 171 w 285"/>
                  <a:gd name="T55" fmla="*/ 278 h 293"/>
                  <a:gd name="T56" fmla="*/ 136 w 285"/>
                  <a:gd name="T57" fmla="*/ 262 h 293"/>
                  <a:gd name="T58" fmla="*/ 171 w 285"/>
                  <a:gd name="T59" fmla="*/ 258 h 293"/>
                  <a:gd name="T60" fmla="*/ 38 w 285"/>
                  <a:gd name="T61" fmla="*/ 36 h 293"/>
                  <a:gd name="T62" fmla="*/ 94 w 285"/>
                  <a:gd name="T63" fmla="*/ 11 h 293"/>
                  <a:gd name="T64" fmla="*/ 114 w 285"/>
                  <a:gd name="T65" fmla="*/ 30 h 293"/>
                  <a:gd name="T66" fmla="*/ 46 w 285"/>
                  <a:gd name="T67" fmla="*/ 103 h 293"/>
                  <a:gd name="T68" fmla="*/ 81 w 285"/>
                  <a:gd name="T69" fmla="*/ 112 h 293"/>
                  <a:gd name="T70" fmla="*/ 118 w 285"/>
                  <a:gd name="T71" fmla="*/ 93 h 293"/>
                  <a:gd name="T72" fmla="*/ 184 w 285"/>
                  <a:gd name="T73" fmla="*/ 106 h 293"/>
                  <a:gd name="T74" fmla="*/ 251 w 285"/>
                  <a:gd name="T75" fmla="*/ 198 h 293"/>
                  <a:gd name="T76" fmla="*/ 208 w 285"/>
                  <a:gd name="T77" fmla="*/ 173 h 293"/>
                  <a:gd name="T78" fmla="*/ 200 w 285"/>
                  <a:gd name="T79" fmla="*/ 173 h 293"/>
                  <a:gd name="T80" fmla="*/ 224 w 285"/>
                  <a:gd name="T81" fmla="*/ 204 h 293"/>
                  <a:gd name="T82" fmla="*/ 224 w 285"/>
                  <a:gd name="T83" fmla="*/ 224 h 293"/>
                  <a:gd name="T84" fmla="*/ 181 w 285"/>
                  <a:gd name="T85" fmla="*/ 200 h 293"/>
                  <a:gd name="T86" fmla="*/ 172 w 285"/>
                  <a:gd name="T87" fmla="*/ 202 h 293"/>
                  <a:gd name="T88" fmla="*/ 200 w 285"/>
                  <a:gd name="T89" fmla="*/ 236 h 293"/>
                  <a:gd name="T90" fmla="*/ 193 w 285"/>
                  <a:gd name="T91" fmla="*/ 254 h 293"/>
                  <a:gd name="T92" fmla="*/ 146 w 285"/>
                  <a:gd name="T93" fmla="*/ 218 h 293"/>
                  <a:gd name="T94" fmla="*/ 130 w 285"/>
                  <a:gd name="T95" fmla="*/ 210 h 293"/>
                  <a:gd name="T96" fmla="*/ 125 w 285"/>
                  <a:gd name="T97" fmla="*/ 198 h 293"/>
                  <a:gd name="T98" fmla="*/ 107 w 285"/>
                  <a:gd name="T99" fmla="*/ 184 h 293"/>
                  <a:gd name="T100" fmla="*/ 101 w 285"/>
                  <a:gd name="T101" fmla="*/ 180 h 293"/>
                  <a:gd name="T102" fmla="*/ 90 w 285"/>
                  <a:gd name="T103" fmla="*/ 160 h 293"/>
                  <a:gd name="T104" fmla="*/ 74 w 285"/>
                  <a:gd name="T105" fmla="*/ 156 h 293"/>
                  <a:gd name="T106" fmla="*/ 63 w 285"/>
                  <a:gd name="T107" fmla="*/ 133 h 293"/>
                  <a:gd name="T108" fmla="*/ 40 w 285"/>
                  <a:gd name="T109" fmla="*/ 132 h 293"/>
                  <a:gd name="T110" fmla="*/ 13 w 285"/>
                  <a:gd name="T111" fmla="*/ 117 h 293"/>
                  <a:gd name="T112" fmla="*/ 38 w 285"/>
                  <a:gd name="T113" fmla="*/ 36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5" h="293">
                    <a:moveTo>
                      <a:pt x="12" y="157"/>
                    </a:moveTo>
                    <a:lnTo>
                      <a:pt x="12" y="157"/>
                    </a:lnTo>
                    <a:lnTo>
                      <a:pt x="9" y="160"/>
                    </a:lnTo>
                    <a:lnTo>
                      <a:pt x="7" y="164"/>
                    </a:lnTo>
                    <a:lnTo>
                      <a:pt x="5" y="169"/>
                    </a:lnTo>
                    <a:lnTo>
                      <a:pt x="4" y="173"/>
                    </a:lnTo>
                    <a:lnTo>
                      <a:pt x="4" y="173"/>
                    </a:lnTo>
                    <a:lnTo>
                      <a:pt x="5" y="179"/>
                    </a:lnTo>
                    <a:lnTo>
                      <a:pt x="7" y="183"/>
                    </a:lnTo>
                    <a:lnTo>
                      <a:pt x="9" y="188"/>
                    </a:lnTo>
                    <a:lnTo>
                      <a:pt x="12" y="191"/>
                    </a:lnTo>
                    <a:lnTo>
                      <a:pt x="12" y="191"/>
                    </a:lnTo>
                    <a:lnTo>
                      <a:pt x="16" y="195"/>
                    </a:lnTo>
                    <a:lnTo>
                      <a:pt x="20" y="196"/>
                    </a:lnTo>
                    <a:lnTo>
                      <a:pt x="24" y="198"/>
                    </a:lnTo>
                    <a:lnTo>
                      <a:pt x="29" y="199"/>
                    </a:lnTo>
                    <a:lnTo>
                      <a:pt x="29" y="199"/>
                    </a:lnTo>
                    <a:lnTo>
                      <a:pt x="32" y="198"/>
                    </a:lnTo>
                    <a:lnTo>
                      <a:pt x="32" y="198"/>
                    </a:lnTo>
                    <a:lnTo>
                      <a:pt x="31" y="200"/>
                    </a:lnTo>
                    <a:lnTo>
                      <a:pt x="31" y="200"/>
                    </a:lnTo>
                    <a:lnTo>
                      <a:pt x="32" y="206"/>
                    </a:lnTo>
                    <a:lnTo>
                      <a:pt x="33" y="210"/>
                    </a:lnTo>
                    <a:lnTo>
                      <a:pt x="35" y="214"/>
                    </a:lnTo>
                    <a:lnTo>
                      <a:pt x="39" y="218"/>
                    </a:lnTo>
                    <a:lnTo>
                      <a:pt x="39" y="218"/>
                    </a:lnTo>
                    <a:lnTo>
                      <a:pt x="43" y="222"/>
                    </a:lnTo>
                    <a:lnTo>
                      <a:pt x="47" y="223"/>
                    </a:lnTo>
                    <a:lnTo>
                      <a:pt x="51" y="224"/>
                    </a:lnTo>
                    <a:lnTo>
                      <a:pt x="56" y="226"/>
                    </a:lnTo>
                    <a:lnTo>
                      <a:pt x="56" y="226"/>
                    </a:lnTo>
                    <a:lnTo>
                      <a:pt x="59" y="224"/>
                    </a:lnTo>
                    <a:lnTo>
                      <a:pt x="59" y="224"/>
                    </a:lnTo>
                    <a:lnTo>
                      <a:pt x="59" y="230"/>
                    </a:lnTo>
                    <a:lnTo>
                      <a:pt x="59" y="235"/>
                    </a:lnTo>
                    <a:lnTo>
                      <a:pt x="62" y="241"/>
                    </a:lnTo>
                    <a:lnTo>
                      <a:pt x="66" y="245"/>
                    </a:lnTo>
                    <a:lnTo>
                      <a:pt x="66" y="245"/>
                    </a:lnTo>
                    <a:lnTo>
                      <a:pt x="70" y="249"/>
                    </a:lnTo>
                    <a:lnTo>
                      <a:pt x="74" y="250"/>
                    </a:lnTo>
                    <a:lnTo>
                      <a:pt x="78" y="251"/>
                    </a:lnTo>
                    <a:lnTo>
                      <a:pt x="83" y="253"/>
                    </a:lnTo>
                    <a:lnTo>
                      <a:pt x="83" y="253"/>
                    </a:lnTo>
                    <a:lnTo>
                      <a:pt x="86" y="251"/>
                    </a:lnTo>
                    <a:lnTo>
                      <a:pt x="86" y="251"/>
                    </a:lnTo>
                    <a:lnTo>
                      <a:pt x="86" y="257"/>
                    </a:lnTo>
                    <a:lnTo>
                      <a:pt x="86" y="262"/>
                    </a:lnTo>
                    <a:lnTo>
                      <a:pt x="89" y="267"/>
                    </a:lnTo>
                    <a:lnTo>
                      <a:pt x="93" y="271"/>
                    </a:lnTo>
                    <a:lnTo>
                      <a:pt x="93" y="271"/>
                    </a:lnTo>
                    <a:lnTo>
                      <a:pt x="97" y="275"/>
                    </a:lnTo>
                    <a:lnTo>
                      <a:pt x="101" y="277"/>
                    </a:lnTo>
                    <a:lnTo>
                      <a:pt x="105" y="278"/>
                    </a:lnTo>
                    <a:lnTo>
                      <a:pt x="110" y="279"/>
                    </a:lnTo>
                    <a:lnTo>
                      <a:pt x="110" y="279"/>
                    </a:lnTo>
                    <a:lnTo>
                      <a:pt x="114" y="278"/>
                    </a:lnTo>
                    <a:lnTo>
                      <a:pt x="119" y="277"/>
                    </a:lnTo>
                    <a:lnTo>
                      <a:pt x="123" y="275"/>
                    </a:lnTo>
                    <a:lnTo>
                      <a:pt x="126" y="271"/>
                    </a:lnTo>
                    <a:lnTo>
                      <a:pt x="129" y="270"/>
                    </a:lnTo>
                    <a:lnTo>
                      <a:pt x="144" y="285"/>
                    </a:lnTo>
                    <a:lnTo>
                      <a:pt x="144" y="285"/>
                    </a:lnTo>
                    <a:lnTo>
                      <a:pt x="148" y="289"/>
                    </a:lnTo>
                    <a:lnTo>
                      <a:pt x="152" y="290"/>
                    </a:lnTo>
                    <a:lnTo>
                      <a:pt x="156" y="292"/>
                    </a:lnTo>
                    <a:lnTo>
                      <a:pt x="161" y="293"/>
                    </a:lnTo>
                    <a:lnTo>
                      <a:pt x="161" y="293"/>
                    </a:lnTo>
                    <a:lnTo>
                      <a:pt x="166" y="292"/>
                    </a:lnTo>
                    <a:lnTo>
                      <a:pt x="171" y="290"/>
                    </a:lnTo>
                    <a:lnTo>
                      <a:pt x="175" y="289"/>
                    </a:lnTo>
                    <a:lnTo>
                      <a:pt x="179" y="285"/>
                    </a:lnTo>
                    <a:lnTo>
                      <a:pt x="179" y="285"/>
                    </a:lnTo>
                    <a:lnTo>
                      <a:pt x="181" y="281"/>
                    </a:lnTo>
                    <a:lnTo>
                      <a:pt x="184" y="275"/>
                    </a:lnTo>
                    <a:lnTo>
                      <a:pt x="185" y="270"/>
                    </a:lnTo>
                    <a:lnTo>
                      <a:pt x="185" y="265"/>
                    </a:lnTo>
                    <a:lnTo>
                      <a:pt x="185" y="265"/>
                    </a:lnTo>
                    <a:lnTo>
                      <a:pt x="188" y="266"/>
                    </a:lnTo>
                    <a:lnTo>
                      <a:pt x="188" y="266"/>
                    </a:lnTo>
                    <a:lnTo>
                      <a:pt x="193" y="265"/>
                    </a:lnTo>
                    <a:lnTo>
                      <a:pt x="197" y="263"/>
                    </a:lnTo>
                    <a:lnTo>
                      <a:pt x="201" y="262"/>
                    </a:lnTo>
                    <a:lnTo>
                      <a:pt x="205" y="258"/>
                    </a:lnTo>
                    <a:lnTo>
                      <a:pt x="205" y="258"/>
                    </a:lnTo>
                    <a:lnTo>
                      <a:pt x="208" y="254"/>
                    </a:lnTo>
                    <a:lnTo>
                      <a:pt x="211" y="250"/>
                    </a:lnTo>
                    <a:lnTo>
                      <a:pt x="212" y="246"/>
                    </a:lnTo>
                    <a:lnTo>
                      <a:pt x="212" y="241"/>
                    </a:lnTo>
                    <a:lnTo>
                      <a:pt x="212" y="241"/>
                    </a:lnTo>
                    <a:lnTo>
                      <a:pt x="212" y="238"/>
                    </a:lnTo>
                    <a:lnTo>
                      <a:pt x="212" y="238"/>
                    </a:lnTo>
                    <a:lnTo>
                      <a:pt x="215" y="239"/>
                    </a:lnTo>
                    <a:lnTo>
                      <a:pt x="215" y="239"/>
                    </a:lnTo>
                    <a:lnTo>
                      <a:pt x="220" y="238"/>
                    </a:lnTo>
                    <a:lnTo>
                      <a:pt x="224" y="236"/>
                    </a:lnTo>
                    <a:lnTo>
                      <a:pt x="228" y="235"/>
                    </a:lnTo>
                    <a:lnTo>
                      <a:pt x="232" y="231"/>
                    </a:lnTo>
                    <a:lnTo>
                      <a:pt x="232" y="231"/>
                    </a:lnTo>
                    <a:lnTo>
                      <a:pt x="235" y="227"/>
                    </a:lnTo>
                    <a:lnTo>
                      <a:pt x="238" y="223"/>
                    </a:lnTo>
                    <a:lnTo>
                      <a:pt x="239" y="219"/>
                    </a:lnTo>
                    <a:lnTo>
                      <a:pt x="239" y="214"/>
                    </a:lnTo>
                    <a:lnTo>
                      <a:pt x="239" y="214"/>
                    </a:lnTo>
                    <a:lnTo>
                      <a:pt x="239" y="211"/>
                    </a:lnTo>
                    <a:lnTo>
                      <a:pt x="239" y="211"/>
                    </a:lnTo>
                    <a:lnTo>
                      <a:pt x="242" y="212"/>
                    </a:lnTo>
                    <a:lnTo>
                      <a:pt x="242" y="212"/>
                    </a:lnTo>
                    <a:lnTo>
                      <a:pt x="247" y="211"/>
                    </a:lnTo>
                    <a:lnTo>
                      <a:pt x="251" y="210"/>
                    </a:lnTo>
                    <a:lnTo>
                      <a:pt x="255" y="207"/>
                    </a:lnTo>
                    <a:lnTo>
                      <a:pt x="259" y="204"/>
                    </a:lnTo>
                    <a:lnTo>
                      <a:pt x="259" y="204"/>
                    </a:lnTo>
                    <a:lnTo>
                      <a:pt x="262" y="200"/>
                    </a:lnTo>
                    <a:lnTo>
                      <a:pt x="265" y="196"/>
                    </a:lnTo>
                    <a:lnTo>
                      <a:pt x="266" y="192"/>
                    </a:lnTo>
                    <a:lnTo>
                      <a:pt x="266" y="187"/>
                    </a:lnTo>
                    <a:lnTo>
                      <a:pt x="266" y="183"/>
                    </a:lnTo>
                    <a:lnTo>
                      <a:pt x="265" y="179"/>
                    </a:lnTo>
                    <a:lnTo>
                      <a:pt x="263" y="175"/>
                    </a:lnTo>
                    <a:lnTo>
                      <a:pt x="259" y="171"/>
                    </a:lnTo>
                    <a:lnTo>
                      <a:pt x="258" y="168"/>
                    </a:lnTo>
                    <a:lnTo>
                      <a:pt x="258" y="168"/>
                    </a:lnTo>
                    <a:lnTo>
                      <a:pt x="265" y="161"/>
                    </a:lnTo>
                    <a:lnTo>
                      <a:pt x="270" y="153"/>
                    </a:lnTo>
                    <a:lnTo>
                      <a:pt x="274" y="145"/>
                    </a:lnTo>
                    <a:lnTo>
                      <a:pt x="278" y="137"/>
                    </a:lnTo>
                    <a:lnTo>
                      <a:pt x="281" y="128"/>
                    </a:lnTo>
                    <a:lnTo>
                      <a:pt x="283" y="120"/>
                    </a:lnTo>
                    <a:lnTo>
                      <a:pt x="285" y="110"/>
                    </a:lnTo>
                    <a:lnTo>
                      <a:pt x="285" y="99"/>
                    </a:lnTo>
                    <a:lnTo>
                      <a:pt x="285" y="99"/>
                    </a:lnTo>
                    <a:lnTo>
                      <a:pt x="285" y="90"/>
                    </a:lnTo>
                    <a:lnTo>
                      <a:pt x="283" y="81"/>
                    </a:lnTo>
                    <a:lnTo>
                      <a:pt x="281" y="71"/>
                    </a:lnTo>
                    <a:lnTo>
                      <a:pt x="278" y="62"/>
                    </a:lnTo>
                    <a:lnTo>
                      <a:pt x="274" y="52"/>
                    </a:lnTo>
                    <a:lnTo>
                      <a:pt x="269" y="44"/>
                    </a:lnTo>
                    <a:lnTo>
                      <a:pt x="263" y="36"/>
                    </a:lnTo>
                    <a:lnTo>
                      <a:pt x="256" y="30"/>
                    </a:lnTo>
                    <a:lnTo>
                      <a:pt x="256" y="30"/>
                    </a:lnTo>
                    <a:lnTo>
                      <a:pt x="244" y="19"/>
                    </a:lnTo>
                    <a:lnTo>
                      <a:pt x="231" y="11"/>
                    </a:lnTo>
                    <a:lnTo>
                      <a:pt x="216" y="5"/>
                    </a:lnTo>
                    <a:lnTo>
                      <a:pt x="201" y="1"/>
                    </a:lnTo>
                    <a:lnTo>
                      <a:pt x="187" y="0"/>
                    </a:lnTo>
                    <a:lnTo>
                      <a:pt x="172" y="1"/>
                    </a:lnTo>
                    <a:lnTo>
                      <a:pt x="157" y="4"/>
                    </a:lnTo>
                    <a:lnTo>
                      <a:pt x="142" y="9"/>
                    </a:lnTo>
                    <a:lnTo>
                      <a:pt x="142" y="9"/>
                    </a:lnTo>
                    <a:lnTo>
                      <a:pt x="129" y="4"/>
                    </a:lnTo>
                    <a:lnTo>
                      <a:pt x="113" y="0"/>
                    </a:lnTo>
                    <a:lnTo>
                      <a:pt x="98" y="0"/>
                    </a:lnTo>
                    <a:lnTo>
                      <a:pt x="83" y="1"/>
                    </a:lnTo>
                    <a:lnTo>
                      <a:pt x="68" y="5"/>
                    </a:lnTo>
                    <a:lnTo>
                      <a:pt x="55" y="11"/>
                    </a:lnTo>
                    <a:lnTo>
                      <a:pt x="42" y="19"/>
                    </a:lnTo>
                    <a:lnTo>
                      <a:pt x="29" y="30"/>
                    </a:lnTo>
                    <a:lnTo>
                      <a:pt x="29" y="30"/>
                    </a:lnTo>
                    <a:lnTo>
                      <a:pt x="19" y="43"/>
                    </a:lnTo>
                    <a:lnTo>
                      <a:pt x="11" y="56"/>
                    </a:lnTo>
                    <a:lnTo>
                      <a:pt x="4" y="73"/>
                    </a:lnTo>
                    <a:lnTo>
                      <a:pt x="1" y="89"/>
                    </a:lnTo>
                    <a:lnTo>
                      <a:pt x="0" y="105"/>
                    </a:lnTo>
                    <a:lnTo>
                      <a:pt x="3" y="122"/>
                    </a:lnTo>
                    <a:lnTo>
                      <a:pt x="8" y="137"/>
                    </a:lnTo>
                    <a:lnTo>
                      <a:pt x="16" y="153"/>
                    </a:lnTo>
                    <a:lnTo>
                      <a:pt x="12" y="157"/>
                    </a:lnTo>
                    <a:close/>
                    <a:moveTo>
                      <a:pt x="171" y="278"/>
                    </a:moveTo>
                    <a:lnTo>
                      <a:pt x="171" y="278"/>
                    </a:lnTo>
                    <a:lnTo>
                      <a:pt x="166" y="281"/>
                    </a:lnTo>
                    <a:lnTo>
                      <a:pt x="161" y="281"/>
                    </a:lnTo>
                    <a:lnTo>
                      <a:pt x="156" y="281"/>
                    </a:lnTo>
                    <a:lnTo>
                      <a:pt x="152" y="278"/>
                    </a:lnTo>
                    <a:lnTo>
                      <a:pt x="136" y="262"/>
                    </a:lnTo>
                    <a:lnTo>
                      <a:pt x="146" y="251"/>
                    </a:lnTo>
                    <a:lnTo>
                      <a:pt x="146" y="251"/>
                    </a:lnTo>
                    <a:lnTo>
                      <a:pt x="150" y="246"/>
                    </a:lnTo>
                    <a:lnTo>
                      <a:pt x="153" y="241"/>
                    </a:lnTo>
                    <a:lnTo>
                      <a:pt x="171" y="258"/>
                    </a:lnTo>
                    <a:lnTo>
                      <a:pt x="171" y="258"/>
                    </a:lnTo>
                    <a:lnTo>
                      <a:pt x="173" y="263"/>
                    </a:lnTo>
                    <a:lnTo>
                      <a:pt x="175" y="267"/>
                    </a:lnTo>
                    <a:lnTo>
                      <a:pt x="173" y="273"/>
                    </a:lnTo>
                    <a:lnTo>
                      <a:pt x="171" y="278"/>
                    </a:lnTo>
                    <a:lnTo>
                      <a:pt x="171" y="278"/>
                    </a:lnTo>
                    <a:close/>
                    <a:moveTo>
                      <a:pt x="38" y="36"/>
                    </a:moveTo>
                    <a:lnTo>
                      <a:pt x="38" y="36"/>
                    </a:lnTo>
                    <a:lnTo>
                      <a:pt x="47" y="28"/>
                    </a:lnTo>
                    <a:lnTo>
                      <a:pt x="58" y="22"/>
                    </a:lnTo>
                    <a:lnTo>
                      <a:pt x="70" y="16"/>
                    </a:lnTo>
                    <a:lnTo>
                      <a:pt x="81" y="14"/>
                    </a:lnTo>
                    <a:lnTo>
                      <a:pt x="94" y="11"/>
                    </a:lnTo>
                    <a:lnTo>
                      <a:pt x="106" y="11"/>
                    </a:lnTo>
                    <a:lnTo>
                      <a:pt x="118" y="12"/>
                    </a:lnTo>
                    <a:lnTo>
                      <a:pt x="130" y="16"/>
                    </a:lnTo>
                    <a:lnTo>
                      <a:pt x="130" y="16"/>
                    </a:lnTo>
                    <a:lnTo>
                      <a:pt x="122" y="22"/>
                    </a:lnTo>
                    <a:lnTo>
                      <a:pt x="114" y="30"/>
                    </a:lnTo>
                    <a:lnTo>
                      <a:pt x="47" y="97"/>
                    </a:lnTo>
                    <a:lnTo>
                      <a:pt x="47" y="97"/>
                    </a:lnTo>
                    <a:lnTo>
                      <a:pt x="46" y="98"/>
                    </a:lnTo>
                    <a:lnTo>
                      <a:pt x="46" y="101"/>
                    </a:lnTo>
                    <a:lnTo>
                      <a:pt x="46" y="101"/>
                    </a:lnTo>
                    <a:lnTo>
                      <a:pt x="46" y="103"/>
                    </a:lnTo>
                    <a:lnTo>
                      <a:pt x="48" y="105"/>
                    </a:lnTo>
                    <a:lnTo>
                      <a:pt x="48" y="105"/>
                    </a:lnTo>
                    <a:lnTo>
                      <a:pt x="54" y="108"/>
                    </a:lnTo>
                    <a:lnTo>
                      <a:pt x="60" y="110"/>
                    </a:lnTo>
                    <a:lnTo>
                      <a:pt x="70" y="112"/>
                    </a:lnTo>
                    <a:lnTo>
                      <a:pt x="81" y="112"/>
                    </a:lnTo>
                    <a:lnTo>
                      <a:pt x="93" y="109"/>
                    </a:lnTo>
                    <a:lnTo>
                      <a:pt x="99" y="106"/>
                    </a:lnTo>
                    <a:lnTo>
                      <a:pt x="105" y="103"/>
                    </a:lnTo>
                    <a:lnTo>
                      <a:pt x="111" y="99"/>
                    </a:lnTo>
                    <a:lnTo>
                      <a:pt x="118" y="93"/>
                    </a:lnTo>
                    <a:lnTo>
                      <a:pt x="118" y="93"/>
                    </a:lnTo>
                    <a:lnTo>
                      <a:pt x="129" y="98"/>
                    </a:lnTo>
                    <a:lnTo>
                      <a:pt x="145" y="103"/>
                    </a:lnTo>
                    <a:lnTo>
                      <a:pt x="154" y="105"/>
                    </a:lnTo>
                    <a:lnTo>
                      <a:pt x="164" y="106"/>
                    </a:lnTo>
                    <a:lnTo>
                      <a:pt x="175" y="108"/>
                    </a:lnTo>
                    <a:lnTo>
                      <a:pt x="184" y="106"/>
                    </a:lnTo>
                    <a:lnTo>
                      <a:pt x="252" y="177"/>
                    </a:lnTo>
                    <a:lnTo>
                      <a:pt x="252" y="177"/>
                    </a:lnTo>
                    <a:lnTo>
                      <a:pt x="255" y="183"/>
                    </a:lnTo>
                    <a:lnTo>
                      <a:pt x="255" y="187"/>
                    </a:lnTo>
                    <a:lnTo>
                      <a:pt x="254" y="192"/>
                    </a:lnTo>
                    <a:lnTo>
                      <a:pt x="251" y="198"/>
                    </a:lnTo>
                    <a:lnTo>
                      <a:pt x="251" y="198"/>
                    </a:lnTo>
                    <a:lnTo>
                      <a:pt x="247" y="200"/>
                    </a:lnTo>
                    <a:lnTo>
                      <a:pt x="242" y="200"/>
                    </a:lnTo>
                    <a:lnTo>
                      <a:pt x="236" y="200"/>
                    </a:lnTo>
                    <a:lnTo>
                      <a:pt x="232" y="198"/>
                    </a:lnTo>
                    <a:lnTo>
                      <a:pt x="208" y="173"/>
                    </a:lnTo>
                    <a:lnTo>
                      <a:pt x="208" y="173"/>
                    </a:lnTo>
                    <a:lnTo>
                      <a:pt x="207" y="172"/>
                    </a:lnTo>
                    <a:lnTo>
                      <a:pt x="204" y="171"/>
                    </a:lnTo>
                    <a:lnTo>
                      <a:pt x="203" y="172"/>
                    </a:lnTo>
                    <a:lnTo>
                      <a:pt x="200" y="173"/>
                    </a:lnTo>
                    <a:lnTo>
                      <a:pt x="200" y="173"/>
                    </a:lnTo>
                    <a:lnTo>
                      <a:pt x="199" y="175"/>
                    </a:lnTo>
                    <a:lnTo>
                      <a:pt x="199" y="177"/>
                    </a:lnTo>
                    <a:lnTo>
                      <a:pt x="199" y="179"/>
                    </a:lnTo>
                    <a:lnTo>
                      <a:pt x="200" y="180"/>
                    </a:lnTo>
                    <a:lnTo>
                      <a:pt x="224" y="204"/>
                    </a:lnTo>
                    <a:lnTo>
                      <a:pt x="224" y="204"/>
                    </a:lnTo>
                    <a:lnTo>
                      <a:pt x="227" y="210"/>
                    </a:lnTo>
                    <a:lnTo>
                      <a:pt x="228" y="214"/>
                    </a:lnTo>
                    <a:lnTo>
                      <a:pt x="228" y="214"/>
                    </a:lnTo>
                    <a:lnTo>
                      <a:pt x="227" y="219"/>
                    </a:lnTo>
                    <a:lnTo>
                      <a:pt x="224" y="224"/>
                    </a:lnTo>
                    <a:lnTo>
                      <a:pt x="224" y="224"/>
                    </a:lnTo>
                    <a:lnTo>
                      <a:pt x="220" y="227"/>
                    </a:lnTo>
                    <a:lnTo>
                      <a:pt x="215" y="227"/>
                    </a:lnTo>
                    <a:lnTo>
                      <a:pt x="209" y="227"/>
                    </a:lnTo>
                    <a:lnTo>
                      <a:pt x="205" y="224"/>
                    </a:lnTo>
                    <a:lnTo>
                      <a:pt x="181" y="200"/>
                    </a:lnTo>
                    <a:lnTo>
                      <a:pt x="181" y="200"/>
                    </a:lnTo>
                    <a:lnTo>
                      <a:pt x="180" y="199"/>
                    </a:lnTo>
                    <a:lnTo>
                      <a:pt x="177" y="198"/>
                    </a:lnTo>
                    <a:lnTo>
                      <a:pt x="176" y="199"/>
                    </a:lnTo>
                    <a:lnTo>
                      <a:pt x="173" y="200"/>
                    </a:lnTo>
                    <a:lnTo>
                      <a:pt x="173" y="200"/>
                    </a:lnTo>
                    <a:lnTo>
                      <a:pt x="172" y="202"/>
                    </a:lnTo>
                    <a:lnTo>
                      <a:pt x="172" y="203"/>
                    </a:lnTo>
                    <a:lnTo>
                      <a:pt x="172" y="206"/>
                    </a:lnTo>
                    <a:lnTo>
                      <a:pt x="173" y="207"/>
                    </a:lnTo>
                    <a:lnTo>
                      <a:pt x="197" y="231"/>
                    </a:lnTo>
                    <a:lnTo>
                      <a:pt x="197" y="231"/>
                    </a:lnTo>
                    <a:lnTo>
                      <a:pt x="200" y="236"/>
                    </a:lnTo>
                    <a:lnTo>
                      <a:pt x="201" y="241"/>
                    </a:lnTo>
                    <a:lnTo>
                      <a:pt x="201" y="241"/>
                    </a:lnTo>
                    <a:lnTo>
                      <a:pt x="200" y="246"/>
                    </a:lnTo>
                    <a:lnTo>
                      <a:pt x="197" y="251"/>
                    </a:lnTo>
                    <a:lnTo>
                      <a:pt x="197" y="251"/>
                    </a:lnTo>
                    <a:lnTo>
                      <a:pt x="193" y="254"/>
                    </a:lnTo>
                    <a:lnTo>
                      <a:pt x="188" y="254"/>
                    </a:lnTo>
                    <a:lnTo>
                      <a:pt x="183" y="254"/>
                    </a:lnTo>
                    <a:lnTo>
                      <a:pt x="179" y="251"/>
                    </a:lnTo>
                    <a:lnTo>
                      <a:pt x="152" y="224"/>
                    </a:lnTo>
                    <a:lnTo>
                      <a:pt x="152" y="224"/>
                    </a:lnTo>
                    <a:lnTo>
                      <a:pt x="146" y="218"/>
                    </a:lnTo>
                    <a:lnTo>
                      <a:pt x="146" y="218"/>
                    </a:lnTo>
                    <a:lnTo>
                      <a:pt x="144" y="214"/>
                    </a:lnTo>
                    <a:lnTo>
                      <a:pt x="140" y="212"/>
                    </a:lnTo>
                    <a:lnTo>
                      <a:pt x="134" y="211"/>
                    </a:lnTo>
                    <a:lnTo>
                      <a:pt x="130" y="210"/>
                    </a:lnTo>
                    <a:lnTo>
                      <a:pt x="130" y="210"/>
                    </a:lnTo>
                    <a:lnTo>
                      <a:pt x="128" y="210"/>
                    </a:lnTo>
                    <a:lnTo>
                      <a:pt x="128" y="210"/>
                    </a:lnTo>
                    <a:lnTo>
                      <a:pt x="128" y="207"/>
                    </a:lnTo>
                    <a:lnTo>
                      <a:pt x="128" y="207"/>
                    </a:lnTo>
                    <a:lnTo>
                      <a:pt x="126" y="203"/>
                    </a:lnTo>
                    <a:lnTo>
                      <a:pt x="125" y="198"/>
                    </a:lnTo>
                    <a:lnTo>
                      <a:pt x="123" y="193"/>
                    </a:lnTo>
                    <a:lnTo>
                      <a:pt x="119" y="191"/>
                    </a:lnTo>
                    <a:lnTo>
                      <a:pt x="119" y="191"/>
                    </a:lnTo>
                    <a:lnTo>
                      <a:pt x="117" y="187"/>
                    </a:lnTo>
                    <a:lnTo>
                      <a:pt x="113" y="185"/>
                    </a:lnTo>
                    <a:lnTo>
                      <a:pt x="107" y="184"/>
                    </a:lnTo>
                    <a:lnTo>
                      <a:pt x="103" y="183"/>
                    </a:lnTo>
                    <a:lnTo>
                      <a:pt x="103" y="183"/>
                    </a:lnTo>
                    <a:lnTo>
                      <a:pt x="101" y="183"/>
                    </a:lnTo>
                    <a:lnTo>
                      <a:pt x="101" y="183"/>
                    </a:lnTo>
                    <a:lnTo>
                      <a:pt x="101" y="180"/>
                    </a:lnTo>
                    <a:lnTo>
                      <a:pt x="101" y="180"/>
                    </a:lnTo>
                    <a:lnTo>
                      <a:pt x="99" y="176"/>
                    </a:lnTo>
                    <a:lnTo>
                      <a:pt x="98" y="171"/>
                    </a:lnTo>
                    <a:lnTo>
                      <a:pt x="97" y="167"/>
                    </a:lnTo>
                    <a:lnTo>
                      <a:pt x="93" y="164"/>
                    </a:lnTo>
                    <a:lnTo>
                      <a:pt x="93" y="164"/>
                    </a:lnTo>
                    <a:lnTo>
                      <a:pt x="90" y="160"/>
                    </a:lnTo>
                    <a:lnTo>
                      <a:pt x="86" y="159"/>
                    </a:lnTo>
                    <a:lnTo>
                      <a:pt x="81" y="157"/>
                    </a:lnTo>
                    <a:lnTo>
                      <a:pt x="76" y="156"/>
                    </a:lnTo>
                    <a:lnTo>
                      <a:pt x="76" y="156"/>
                    </a:lnTo>
                    <a:lnTo>
                      <a:pt x="74" y="156"/>
                    </a:lnTo>
                    <a:lnTo>
                      <a:pt x="74" y="156"/>
                    </a:lnTo>
                    <a:lnTo>
                      <a:pt x="74" y="151"/>
                    </a:lnTo>
                    <a:lnTo>
                      <a:pt x="72" y="146"/>
                    </a:lnTo>
                    <a:lnTo>
                      <a:pt x="70" y="141"/>
                    </a:lnTo>
                    <a:lnTo>
                      <a:pt x="66" y="137"/>
                    </a:lnTo>
                    <a:lnTo>
                      <a:pt x="66" y="137"/>
                    </a:lnTo>
                    <a:lnTo>
                      <a:pt x="63" y="133"/>
                    </a:lnTo>
                    <a:lnTo>
                      <a:pt x="59" y="132"/>
                    </a:lnTo>
                    <a:lnTo>
                      <a:pt x="54" y="130"/>
                    </a:lnTo>
                    <a:lnTo>
                      <a:pt x="50" y="129"/>
                    </a:lnTo>
                    <a:lnTo>
                      <a:pt x="50" y="129"/>
                    </a:lnTo>
                    <a:lnTo>
                      <a:pt x="44" y="130"/>
                    </a:lnTo>
                    <a:lnTo>
                      <a:pt x="40" y="132"/>
                    </a:lnTo>
                    <a:lnTo>
                      <a:pt x="36" y="133"/>
                    </a:lnTo>
                    <a:lnTo>
                      <a:pt x="32" y="137"/>
                    </a:lnTo>
                    <a:lnTo>
                      <a:pt x="23" y="145"/>
                    </a:lnTo>
                    <a:lnTo>
                      <a:pt x="23" y="145"/>
                    </a:lnTo>
                    <a:lnTo>
                      <a:pt x="17" y="132"/>
                    </a:lnTo>
                    <a:lnTo>
                      <a:pt x="13" y="117"/>
                    </a:lnTo>
                    <a:lnTo>
                      <a:pt x="11" y="103"/>
                    </a:lnTo>
                    <a:lnTo>
                      <a:pt x="12" y="89"/>
                    </a:lnTo>
                    <a:lnTo>
                      <a:pt x="15" y="75"/>
                    </a:lnTo>
                    <a:lnTo>
                      <a:pt x="20" y="61"/>
                    </a:lnTo>
                    <a:lnTo>
                      <a:pt x="28" y="48"/>
                    </a:lnTo>
                    <a:lnTo>
                      <a:pt x="38" y="36"/>
                    </a:lnTo>
                    <a:lnTo>
                      <a:pt x="38"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grpSp>
      </p:grpSp>
      <p:grpSp>
        <p:nvGrpSpPr>
          <p:cNvPr id="115" name="Group 114">
            <a:extLst>
              <a:ext uri="{FF2B5EF4-FFF2-40B4-BE49-F238E27FC236}">
                <a16:creationId xmlns:a16="http://schemas.microsoft.com/office/drawing/2014/main" id="{E90978E6-66E4-4E93-9C11-71B3A46BC114}"/>
              </a:ext>
            </a:extLst>
          </p:cNvPr>
          <p:cNvGrpSpPr/>
          <p:nvPr/>
        </p:nvGrpSpPr>
        <p:grpSpPr>
          <a:xfrm>
            <a:off x="5144191" y="2240684"/>
            <a:ext cx="2009082" cy="3524978"/>
            <a:chOff x="5251246" y="2240684"/>
            <a:chExt cx="2009082" cy="3524978"/>
          </a:xfrm>
        </p:grpSpPr>
        <p:grpSp>
          <p:nvGrpSpPr>
            <p:cNvPr id="66" name="Group 65">
              <a:extLst>
                <a:ext uri="{FF2B5EF4-FFF2-40B4-BE49-F238E27FC236}">
                  <a16:creationId xmlns:a16="http://schemas.microsoft.com/office/drawing/2014/main" id="{422EC3BB-9EB5-4F66-BFFE-8398FFE78CA1}"/>
                </a:ext>
              </a:extLst>
            </p:cNvPr>
            <p:cNvGrpSpPr/>
            <p:nvPr/>
          </p:nvGrpSpPr>
          <p:grpSpPr>
            <a:xfrm>
              <a:off x="5251246" y="2240684"/>
              <a:ext cx="2009082" cy="3524978"/>
              <a:chOff x="5300108" y="2140389"/>
              <a:chExt cx="2009082" cy="3524978"/>
            </a:xfrm>
          </p:grpSpPr>
          <p:sp>
            <p:nvSpPr>
              <p:cNvPr id="67" name="Rectangle 66">
                <a:extLst>
                  <a:ext uri="{FF2B5EF4-FFF2-40B4-BE49-F238E27FC236}">
                    <a16:creationId xmlns:a16="http://schemas.microsoft.com/office/drawing/2014/main" id="{54CC8EB6-C64D-44BA-8AEC-C7F4A6257007}"/>
                  </a:ext>
                </a:extLst>
              </p:cNvPr>
              <p:cNvSpPr/>
              <p:nvPr/>
            </p:nvSpPr>
            <p:spPr>
              <a:xfrm>
                <a:off x="5405573" y="2294794"/>
                <a:ext cx="1798152" cy="789281"/>
              </a:xfrm>
              <a:prstGeom prst="rect">
                <a:avLst/>
              </a:prstGeom>
              <a:solidFill>
                <a:srgbClr val="FDD300">
                  <a:lumMod val="40000"/>
                  <a:lumOff val="60000"/>
                </a:srgbClr>
              </a:solidFill>
              <a:ln w="12700" cap="flat" cmpd="sng" algn="ctr">
                <a:noFill/>
                <a:prstDash val="solid"/>
                <a:miter lim="800000"/>
              </a:ln>
              <a:effectLst/>
            </p:spPr>
            <p:txBody>
              <a:bodyPr lIns="0" rIns="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Open Sans"/>
                    <a:ea typeface="+mn-ea"/>
                    <a:cs typeface="+mn-cs"/>
                  </a:rPr>
                  <a:t>Investments in Intellectual Property</a:t>
                </a:r>
              </a:p>
            </p:txBody>
          </p:sp>
          <p:sp>
            <p:nvSpPr>
              <p:cNvPr id="68" name="Rectangle 67">
                <a:extLst>
                  <a:ext uri="{FF2B5EF4-FFF2-40B4-BE49-F238E27FC236}">
                    <a16:creationId xmlns:a16="http://schemas.microsoft.com/office/drawing/2014/main" id="{B6750084-5972-443C-B1F1-333A22A0EE73}"/>
                  </a:ext>
                </a:extLst>
              </p:cNvPr>
              <p:cNvSpPr/>
              <p:nvPr/>
            </p:nvSpPr>
            <p:spPr>
              <a:xfrm>
                <a:off x="5405573" y="3105768"/>
                <a:ext cx="1798152" cy="789281"/>
              </a:xfrm>
              <a:prstGeom prst="rect">
                <a:avLst/>
              </a:prstGeom>
              <a:solidFill>
                <a:srgbClr val="FDD300">
                  <a:lumMod val="40000"/>
                  <a:lumOff val="6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0000"/>
                    </a:solidFill>
                    <a:effectLst/>
                    <a:uLnTx/>
                    <a:uFillTx/>
                    <a:latin typeface="Open Sans"/>
                    <a:ea typeface="+mn-ea"/>
                    <a:cs typeface="+mn-cs"/>
                  </a:rPr>
                  <a:t>$500M+</a:t>
                </a:r>
                <a:endParaRPr kumimoji="0" lang="en-US" sz="800" b="1" i="0" u="none" strike="noStrike" kern="0" cap="none" spc="0" normalizeH="0" baseline="0" noProof="0" dirty="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Open Sans"/>
                    <a:ea typeface="+mn-ea"/>
                    <a:cs typeface="+mn-cs"/>
                  </a:rPr>
                  <a:t>R&amp;D investment</a:t>
                </a:r>
              </a:p>
            </p:txBody>
          </p:sp>
          <p:sp>
            <p:nvSpPr>
              <p:cNvPr id="69" name="Rectangle 68">
                <a:extLst>
                  <a:ext uri="{FF2B5EF4-FFF2-40B4-BE49-F238E27FC236}">
                    <a16:creationId xmlns:a16="http://schemas.microsoft.com/office/drawing/2014/main" id="{0AA757A4-EED9-4766-8FE6-CBE4A58D162F}"/>
                  </a:ext>
                </a:extLst>
              </p:cNvPr>
              <p:cNvSpPr/>
              <p:nvPr/>
            </p:nvSpPr>
            <p:spPr>
              <a:xfrm>
                <a:off x="5405573" y="3928599"/>
                <a:ext cx="1798152" cy="789281"/>
              </a:xfrm>
              <a:prstGeom prst="rect">
                <a:avLst/>
              </a:prstGeom>
              <a:solidFill>
                <a:srgbClr val="FDD300">
                  <a:lumMod val="40000"/>
                  <a:lumOff val="6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0000"/>
                    </a:solidFill>
                    <a:effectLst/>
                    <a:uLnTx/>
                    <a:uFillTx/>
                    <a:latin typeface="Open Sans"/>
                    <a:ea typeface="+mn-ea"/>
                    <a:cs typeface="+mn-cs"/>
                  </a:rPr>
                  <a:t>30</a:t>
                </a:r>
                <a:endParaRPr kumimoji="0" lang="en-US" sz="800" b="1" i="0" u="none" strike="noStrike" kern="0" cap="none" spc="0" normalizeH="0" baseline="0" noProof="0" dirty="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Open Sans"/>
                    <a:ea typeface="+mn-ea"/>
                    <a:cs typeface="+mn-cs"/>
                  </a:rPr>
                  <a:t>Global Analytics, Digital, &amp; Cloud acquisitions since 2016</a:t>
                </a:r>
              </a:p>
            </p:txBody>
          </p:sp>
          <p:sp>
            <p:nvSpPr>
              <p:cNvPr id="70" name="Rectangle 69">
                <a:extLst>
                  <a:ext uri="{FF2B5EF4-FFF2-40B4-BE49-F238E27FC236}">
                    <a16:creationId xmlns:a16="http://schemas.microsoft.com/office/drawing/2014/main" id="{438F87D0-8297-4FE3-8B07-9B72B1ED8DA1}"/>
                  </a:ext>
                </a:extLst>
              </p:cNvPr>
              <p:cNvSpPr/>
              <p:nvPr/>
            </p:nvSpPr>
            <p:spPr>
              <a:xfrm>
                <a:off x="5405573" y="4751430"/>
                <a:ext cx="1798152" cy="789281"/>
              </a:xfrm>
              <a:prstGeom prst="rect">
                <a:avLst/>
              </a:prstGeom>
              <a:solidFill>
                <a:srgbClr val="FDD300">
                  <a:lumMod val="40000"/>
                  <a:lumOff val="6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0000"/>
                    </a:solidFill>
                    <a:effectLst/>
                    <a:uLnTx/>
                    <a:uFillTx/>
                    <a:latin typeface="Open Sans"/>
                    <a:ea typeface="+mn-ea"/>
                    <a:cs typeface="+mn-cs"/>
                  </a:rPr>
                  <a:t>75</a:t>
                </a:r>
                <a:endParaRPr kumimoji="0" lang="en-US" sz="800" b="1" i="0" u="none" strike="noStrike" kern="0" cap="none" spc="0" normalizeH="0" baseline="0" noProof="0" dirty="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Open Sans"/>
                    <a:ea typeface="+mn-ea"/>
                    <a:cs typeface="+mn-cs"/>
                  </a:rPr>
                  <a:t>New assets</a:t>
                </a:r>
              </a:p>
            </p:txBody>
          </p:sp>
          <p:sp>
            <p:nvSpPr>
              <p:cNvPr id="71" name="Rectangle 70">
                <a:extLst>
                  <a:ext uri="{FF2B5EF4-FFF2-40B4-BE49-F238E27FC236}">
                    <a16:creationId xmlns:a16="http://schemas.microsoft.com/office/drawing/2014/main" id="{533C5E82-BD81-4F2B-B75F-B11444879896}"/>
                  </a:ext>
                </a:extLst>
              </p:cNvPr>
              <p:cNvSpPr/>
              <p:nvPr/>
            </p:nvSpPr>
            <p:spPr>
              <a:xfrm>
                <a:off x="5300108" y="2140389"/>
                <a:ext cx="2009082" cy="3524978"/>
              </a:xfrm>
              <a:prstGeom prst="rect">
                <a:avLst/>
              </a:prstGeom>
              <a:noFill/>
              <a:ln w="19050" cap="flat" cmpd="sng" algn="ctr">
                <a:solidFill>
                  <a:srgbClr val="FDD3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grpSp>
        <p:grpSp>
          <p:nvGrpSpPr>
            <p:cNvPr id="86" name="Group 85">
              <a:extLst>
                <a:ext uri="{FF2B5EF4-FFF2-40B4-BE49-F238E27FC236}">
                  <a16:creationId xmlns:a16="http://schemas.microsoft.com/office/drawing/2014/main" id="{275C7649-32D8-49C8-AE4C-597F9B5F29A8}"/>
                </a:ext>
              </a:extLst>
            </p:cNvPr>
            <p:cNvGrpSpPr>
              <a:grpSpLocks noChangeAspect="1"/>
            </p:cNvGrpSpPr>
            <p:nvPr/>
          </p:nvGrpSpPr>
          <p:grpSpPr>
            <a:xfrm>
              <a:off x="5999131" y="2431135"/>
              <a:ext cx="457200" cy="457200"/>
              <a:chOff x="6697663" y="2500313"/>
              <a:chExt cx="520700" cy="520700"/>
            </a:xfrm>
          </p:grpSpPr>
          <p:sp>
            <p:nvSpPr>
              <p:cNvPr id="87" name="Freeform 29">
                <a:extLst>
                  <a:ext uri="{FF2B5EF4-FFF2-40B4-BE49-F238E27FC236}">
                    <a16:creationId xmlns:a16="http://schemas.microsoft.com/office/drawing/2014/main" id="{430DE613-C0EB-46E6-B77B-7190A550B110}"/>
                  </a:ext>
                </a:extLst>
              </p:cNvPr>
              <p:cNvSpPr>
                <a:spLocks noEditPoints="1"/>
              </p:cNvSpPr>
              <p:nvPr/>
            </p:nvSpPr>
            <p:spPr bwMode="auto">
              <a:xfrm>
                <a:off x="6697663" y="2500313"/>
                <a:ext cx="520700" cy="520700"/>
              </a:xfrm>
              <a:custGeom>
                <a:avLst/>
                <a:gdLst>
                  <a:gd name="T0" fmla="*/ 311 w 656"/>
                  <a:gd name="T1" fmla="*/ 657 h 657"/>
                  <a:gd name="T2" fmla="*/ 262 w 656"/>
                  <a:gd name="T3" fmla="*/ 651 h 657"/>
                  <a:gd name="T4" fmla="*/ 200 w 656"/>
                  <a:gd name="T5" fmla="*/ 631 h 657"/>
                  <a:gd name="T6" fmla="*/ 119 w 656"/>
                  <a:gd name="T7" fmla="*/ 583 h 657"/>
                  <a:gd name="T8" fmla="*/ 55 w 656"/>
                  <a:gd name="T9" fmla="*/ 512 h 657"/>
                  <a:gd name="T10" fmla="*/ 15 w 656"/>
                  <a:gd name="T11" fmla="*/ 426 h 657"/>
                  <a:gd name="T12" fmla="*/ 3 w 656"/>
                  <a:gd name="T13" fmla="*/ 379 h 657"/>
                  <a:gd name="T14" fmla="*/ 0 w 656"/>
                  <a:gd name="T15" fmla="*/ 329 h 657"/>
                  <a:gd name="T16" fmla="*/ 1 w 656"/>
                  <a:gd name="T17" fmla="*/ 296 h 657"/>
                  <a:gd name="T18" fmla="*/ 9 w 656"/>
                  <a:gd name="T19" fmla="*/ 247 h 657"/>
                  <a:gd name="T20" fmla="*/ 39 w 656"/>
                  <a:gd name="T21" fmla="*/ 172 h 657"/>
                  <a:gd name="T22" fmla="*/ 95 w 656"/>
                  <a:gd name="T23" fmla="*/ 97 h 657"/>
                  <a:gd name="T24" fmla="*/ 172 w 656"/>
                  <a:gd name="T25" fmla="*/ 40 h 657"/>
                  <a:gd name="T26" fmla="*/ 246 w 656"/>
                  <a:gd name="T27" fmla="*/ 11 h 657"/>
                  <a:gd name="T28" fmla="*/ 294 w 656"/>
                  <a:gd name="T29" fmla="*/ 2 h 657"/>
                  <a:gd name="T30" fmla="*/ 327 w 656"/>
                  <a:gd name="T31" fmla="*/ 0 h 657"/>
                  <a:gd name="T32" fmla="*/ 378 w 656"/>
                  <a:gd name="T33" fmla="*/ 4 h 657"/>
                  <a:gd name="T34" fmla="*/ 425 w 656"/>
                  <a:gd name="T35" fmla="*/ 15 h 657"/>
                  <a:gd name="T36" fmla="*/ 511 w 656"/>
                  <a:gd name="T37" fmla="*/ 57 h 657"/>
                  <a:gd name="T38" fmla="*/ 581 w 656"/>
                  <a:gd name="T39" fmla="*/ 120 h 657"/>
                  <a:gd name="T40" fmla="*/ 631 w 656"/>
                  <a:gd name="T41" fmla="*/ 202 h 657"/>
                  <a:gd name="T42" fmla="*/ 650 w 656"/>
                  <a:gd name="T43" fmla="*/ 262 h 657"/>
                  <a:gd name="T44" fmla="*/ 656 w 656"/>
                  <a:gd name="T45" fmla="*/ 312 h 657"/>
                  <a:gd name="T46" fmla="*/ 656 w 656"/>
                  <a:gd name="T47" fmla="*/ 345 h 657"/>
                  <a:gd name="T48" fmla="*/ 650 w 656"/>
                  <a:gd name="T49" fmla="*/ 395 h 657"/>
                  <a:gd name="T50" fmla="*/ 631 w 656"/>
                  <a:gd name="T51" fmla="*/ 457 h 657"/>
                  <a:gd name="T52" fmla="*/ 581 w 656"/>
                  <a:gd name="T53" fmla="*/ 537 h 657"/>
                  <a:gd name="T54" fmla="*/ 511 w 656"/>
                  <a:gd name="T55" fmla="*/ 602 h 657"/>
                  <a:gd name="T56" fmla="*/ 425 w 656"/>
                  <a:gd name="T57" fmla="*/ 642 h 657"/>
                  <a:gd name="T58" fmla="*/ 378 w 656"/>
                  <a:gd name="T59" fmla="*/ 654 h 657"/>
                  <a:gd name="T60" fmla="*/ 327 w 656"/>
                  <a:gd name="T61" fmla="*/ 657 h 657"/>
                  <a:gd name="T62" fmla="*/ 327 w 656"/>
                  <a:gd name="T63" fmla="*/ 38 h 657"/>
                  <a:gd name="T64" fmla="*/ 242 w 656"/>
                  <a:gd name="T65" fmla="*/ 51 h 657"/>
                  <a:gd name="T66" fmla="*/ 165 w 656"/>
                  <a:gd name="T67" fmla="*/ 87 h 657"/>
                  <a:gd name="T68" fmla="*/ 103 w 656"/>
                  <a:gd name="T69" fmla="*/ 144 h 657"/>
                  <a:gd name="T70" fmla="*/ 60 w 656"/>
                  <a:gd name="T71" fmla="*/ 215 h 657"/>
                  <a:gd name="T72" fmla="*/ 39 w 656"/>
                  <a:gd name="T73" fmla="*/ 300 h 657"/>
                  <a:gd name="T74" fmla="*/ 39 w 656"/>
                  <a:gd name="T75" fmla="*/ 359 h 657"/>
                  <a:gd name="T76" fmla="*/ 60 w 656"/>
                  <a:gd name="T77" fmla="*/ 442 h 657"/>
                  <a:gd name="T78" fmla="*/ 103 w 656"/>
                  <a:gd name="T79" fmla="*/ 514 h 657"/>
                  <a:gd name="T80" fmla="*/ 165 w 656"/>
                  <a:gd name="T81" fmla="*/ 569 h 657"/>
                  <a:gd name="T82" fmla="*/ 242 w 656"/>
                  <a:gd name="T83" fmla="*/ 607 h 657"/>
                  <a:gd name="T84" fmla="*/ 327 w 656"/>
                  <a:gd name="T85" fmla="*/ 619 h 657"/>
                  <a:gd name="T86" fmla="*/ 387 w 656"/>
                  <a:gd name="T87" fmla="*/ 614 h 657"/>
                  <a:gd name="T88" fmla="*/ 467 w 656"/>
                  <a:gd name="T89" fmla="*/ 584 h 657"/>
                  <a:gd name="T90" fmla="*/ 534 w 656"/>
                  <a:gd name="T91" fmla="*/ 535 h 657"/>
                  <a:gd name="T92" fmla="*/ 584 w 656"/>
                  <a:gd name="T93" fmla="*/ 467 h 657"/>
                  <a:gd name="T94" fmla="*/ 613 w 656"/>
                  <a:gd name="T95" fmla="*/ 387 h 657"/>
                  <a:gd name="T96" fmla="*/ 619 w 656"/>
                  <a:gd name="T97" fmla="*/ 329 h 657"/>
                  <a:gd name="T98" fmla="*/ 605 w 656"/>
                  <a:gd name="T99" fmla="*/ 242 h 657"/>
                  <a:gd name="T100" fmla="*/ 569 w 656"/>
                  <a:gd name="T101" fmla="*/ 167 h 657"/>
                  <a:gd name="T102" fmla="*/ 513 w 656"/>
                  <a:gd name="T103" fmla="*/ 105 h 657"/>
                  <a:gd name="T104" fmla="*/ 442 w 656"/>
                  <a:gd name="T105" fmla="*/ 61 h 657"/>
                  <a:gd name="T106" fmla="*/ 357 w 656"/>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6" h="657">
                    <a:moveTo>
                      <a:pt x="327" y="657"/>
                    </a:moveTo>
                    <a:lnTo>
                      <a:pt x="327" y="657"/>
                    </a:lnTo>
                    <a:lnTo>
                      <a:pt x="311" y="657"/>
                    </a:lnTo>
                    <a:lnTo>
                      <a:pt x="294" y="655"/>
                    </a:lnTo>
                    <a:lnTo>
                      <a:pt x="278" y="654"/>
                    </a:lnTo>
                    <a:lnTo>
                      <a:pt x="262" y="651"/>
                    </a:lnTo>
                    <a:lnTo>
                      <a:pt x="246" y="647"/>
                    </a:lnTo>
                    <a:lnTo>
                      <a:pt x="231" y="642"/>
                    </a:lnTo>
                    <a:lnTo>
                      <a:pt x="200" y="631"/>
                    </a:lnTo>
                    <a:lnTo>
                      <a:pt x="172" y="618"/>
                    </a:lnTo>
                    <a:lnTo>
                      <a:pt x="145" y="602"/>
                    </a:lnTo>
                    <a:lnTo>
                      <a:pt x="119" y="583"/>
                    </a:lnTo>
                    <a:lnTo>
                      <a:pt x="95" y="561"/>
                    </a:lnTo>
                    <a:lnTo>
                      <a:pt x="75" y="537"/>
                    </a:lnTo>
                    <a:lnTo>
                      <a:pt x="55" y="512"/>
                    </a:lnTo>
                    <a:lnTo>
                      <a:pt x="39" y="485"/>
                    </a:lnTo>
                    <a:lnTo>
                      <a:pt x="25" y="457"/>
                    </a:lnTo>
                    <a:lnTo>
                      <a:pt x="15" y="426"/>
                    </a:lnTo>
                    <a:lnTo>
                      <a:pt x="9" y="411"/>
                    </a:lnTo>
                    <a:lnTo>
                      <a:pt x="7" y="395"/>
                    </a:lnTo>
                    <a:lnTo>
                      <a:pt x="3" y="379"/>
                    </a:lnTo>
                    <a:lnTo>
                      <a:pt x="1" y="363"/>
                    </a:lnTo>
                    <a:lnTo>
                      <a:pt x="0" y="345"/>
                    </a:lnTo>
                    <a:lnTo>
                      <a:pt x="0" y="329"/>
                    </a:lnTo>
                    <a:lnTo>
                      <a:pt x="0" y="329"/>
                    </a:lnTo>
                    <a:lnTo>
                      <a:pt x="0" y="312"/>
                    </a:lnTo>
                    <a:lnTo>
                      <a:pt x="1" y="296"/>
                    </a:lnTo>
                    <a:lnTo>
                      <a:pt x="3" y="279"/>
                    </a:lnTo>
                    <a:lnTo>
                      <a:pt x="7" y="262"/>
                    </a:lnTo>
                    <a:lnTo>
                      <a:pt x="9" y="247"/>
                    </a:lnTo>
                    <a:lnTo>
                      <a:pt x="15" y="231"/>
                    </a:lnTo>
                    <a:lnTo>
                      <a:pt x="25" y="202"/>
                    </a:lnTo>
                    <a:lnTo>
                      <a:pt x="39" y="172"/>
                    </a:lnTo>
                    <a:lnTo>
                      <a:pt x="55" y="145"/>
                    </a:lnTo>
                    <a:lnTo>
                      <a:pt x="75" y="120"/>
                    </a:lnTo>
                    <a:lnTo>
                      <a:pt x="95" y="97"/>
                    </a:lnTo>
                    <a:lnTo>
                      <a:pt x="119" y="75"/>
                    </a:lnTo>
                    <a:lnTo>
                      <a:pt x="145" y="57"/>
                    </a:lnTo>
                    <a:lnTo>
                      <a:pt x="172" y="40"/>
                    </a:lnTo>
                    <a:lnTo>
                      <a:pt x="200" y="26"/>
                    </a:lnTo>
                    <a:lnTo>
                      <a:pt x="231" y="15"/>
                    </a:lnTo>
                    <a:lnTo>
                      <a:pt x="246" y="11"/>
                    </a:lnTo>
                    <a:lnTo>
                      <a:pt x="262" y="7"/>
                    </a:lnTo>
                    <a:lnTo>
                      <a:pt x="278" y="4"/>
                    </a:lnTo>
                    <a:lnTo>
                      <a:pt x="294" y="2"/>
                    </a:lnTo>
                    <a:lnTo>
                      <a:pt x="311" y="0"/>
                    </a:lnTo>
                    <a:lnTo>
                      <a:pt x="327" y="0"/>
                    </a:lnTo>
                    <a:lnTo>
                      <a:pt x="327" y="0"/>
                    </a:lnTo>
                    <a:lnTo>
                      <a:pt x="345" y="0"/>
                    </a:lnTo>
                    <a:lnTo>
                      <a:pt x="361" y="2"/>
                    </a:lnTo>
                    <a:lnTo>
                      <a:pt x="378" y="4"/>
                    </a:lnTo>
                    <a:lnTo>
                      <a:pt x="395" y="7"/>
                    </a:lnTo>
                    <a:lnTo>
                      <a:pt x="409" y="11"/>
                    </a:lnTo>
                    <a:lnTo>
                      <a:pt x="425" y="15"/>
                    </a:lnTo>
                    <a:lnTo>
                      <a:pt x="456" y="26"/>
                    </a:lnTo>
                    <a:lnTo>
                      <a:pt x="485" y="40"/>
                    </a:lnTo>
                    <a:lnTo>
                      <a:pt x="511" y="57"/>
                    </a:lnTo>
                    <a:lnTo>
                      <a:pt x="537" y="75"/>
                    </a:lnTo>
                    <a:lnTo>
                      <a:pt x="560" y="97"/>
                    </a:lnTo>
                    <a:lnTo>
                      <a:pt x="581" y="120"/>
                    </a:lnTo>
                    <a:lnTo>
                      <a:pt x="600" y="145"/>
                    </a:lnTo>
                    <a:lnTo>
                      <a:pt x="617" y="172"/>
                    </a:lnTo>
                    <a:lnTo>
                      <a:pt x="631" y="202"/>
                    </a:lnTo>
                    <a:lnTo>
                      <a:pt x="642" y="231"/>
                    </a:lnTo>
                    <a:lnTo>
                      <a:pt x="646" y="247"/>
                    </a:lnTo>
                    <a:lnTo>
                      <a:pt x="650" y="262"/>
                    </a:lnTo>
                    <a:lnTo>
                      <a:pt x="652" y="279"/>
                    </a:lnTo>
                    <a:lnTo>
                      <a:pt x="655" y="296"/>
                    </a:lnTo>
                    <a:lnTo>
                      <a:pt x="656" y="312"/>
                    </a:lnTo>
                    <a:lnTo>
                      <a:pt x="656" y="329"/>
                    </a:lnTo>
                    <a:lnTo>
                      <a:pt x="656" y="329"/>
                    </a:lnTo>
                    <a:lnTo>
                      <a:pt x="656" y="345"/>
                    </a:lnTo>
                    <a:lnTo>
                      <a:pt x="655" y="363"/>
                    </a:lnTo>
                    <a:lnTo>
                      <a:pt x="652" y="379"/>
                    </a:lnTo>
                    <a:lnTo>
                      <a:pt x="650" y="395"/>
                    </a:lnTo>
                    <a:lnTo>
                      <a:pt x="646" y="411"/>
                    </a:lnTo>
                    <a:lnTo>
                      <a:pt x="642" y="426"/>
                    </a:lnTo>
                    <a:lnTo>
                      <a:pt x="631" y="457"/>
                    </a:lnTo>
                    <a:lnTo>
                      <a:pt x="617" y="485"/>
                    </a:lnTo>
                    <a:lnTo>
                      <a:pt x="600" y="512"/>
                    </a:lnTo>
                    <a:lnTo>
                      <a:pt x="581" y="537"/>
                    </a:lnTo>
                    <a:lnTo>
                      <a:pt x="560" y="561"/>
                    </a:lnTo>
                    <a:lnTo>
                      <a:pt x="537" y="583"/>
                    </a:lnTo>
                    <a:lnTo>
                      <a:pt x="511" y="602"/>
                    </a:lnTo>
                    <a:lnTo>
                      <a:pt x="485" y="618"/>
                    </a:lnTo>
                    <a:lnTo>
                      <a:pt x="456" y="631"/>
                    </a:lnTo>
                    <a:lnTo>
                      <a:pt x="425" y="642"/>
                    </a:lnTo>
                    <a:lnTo>
                      <a:pt x="409" y="647"/>
                    </a:lnTo>
                    <a:lnTo>
                      <a:pt x="395" y="651"/>
                    </a:lnTo>
                    <a:lnTo>
                      <a:pt x="378" y="654"/>
                    </a:lnTo>
                    <a:lnTo>
                      <a:pt x="361" y="655"/>
                    </a:lnTo>
                    <a:lnTo>
                      <a:pt x="345" y="657"/>
                    </a:lnTo>
                    <a:lnTo>
                      <a:pt x="327" y="657"/>
                    </a:lnTo>
                    <a:lnTo>
                      <a:pt x="327" y="657"/>
                    </a:lnTo>
                    <a:close/>
                    <a:moveTo>
                      <a:pt x="327" y="38"/>
                    </a:moveTo>
                    <a:lnTo>
                      <a:pt x="327" y="38"/>
                    </a:lnTo>
                    <a:lnTo>
                      <a:pt x="298" y="39"/>
                    </a:lnTo>
                    <a:lnTo>
                      <a:pt x="270" y="43"/>
                    </a:lnTo>
                    <a:lnTo>
                      <a:pt x="242" y="51"/>
                    </a:lnTo>
                    <a:lnTo>
                      <a:pt x="215" y="61"/>
                    </a:lnTo>
                    <a:lnTo>
                      <a:pt x="189" y="73"/>
                    </a:lnTo>
                    <a:lnTo>
                      <a:pt x="165" y="87"/>
                    </a:lnTo>
                    <a:lnTo>
                      <a:pt x="144" y="105"/>
                    </a:lnTo>
                    <a:lnTo>
                      <a:pt x="122" y="124"/>
                    </a:lnTo>
                    <a:lnTo>
                      <a:pt x="103" y="144"/>
                    </a:lnTo>
                    <a:lnTo>
                      <a:pt x="87" y="167"/>
                    </a:lnTo>
                    <a:lnTo>
                      <a:pt x="72" y="189"/>
                    </a:lnTo>
                    <a:lnTo>
                      <a:pt x="60" y="215"/>
                    </a:lnTo>
                    <a:lnTo>
                      <a:pt x="50" y="242"/>
                    </a:lnTo>
                    <a:lnTo>
                      <a:pt x="43" y="270"/>
                    </a:lnTo>
                    <a:lnTo>
                      <a:pt x="39" y="300"/>
                    </a:lnTo>
                    <a:lnTo>
                      <a:pt x="37" y="329"/>
                    </a:lnTo>
                    <a:lnTo>
                      <a:pt x="37" y="329"/>
                    </a:lnTo>
                    <a:lnTo>
                      <a:pt x="39" y="359"/>
                    </a:lnTo>
                    <a:lnTo>
                      <a:pt x="43" y="387"/>
                    </a:lnTo>
                    <a:lnTo>
                      <a:pt x="50" y="415"/>
                    </a:lnTo>
                    <a:lnTo>
                      <a:pt x="60" y="442"/>
                    </a:lnTo>
                    <a:lnTo>
                      <a:pt x="72" y="467"/>
                    </a:lnTo>
                    <a:lnTo>
                      <a:pt x="87" y="492"/>
                    </a:lnTo>
                    <a:lnTo>
                      <a:pt x="103" y="514"/>
                    </a:lnTo>
                    <a:lnTo>
                      <a:pt x="122" y="535"/>
                    </a:lnTo>
                    <a:lnTo>
                      <a:pt x="144" y="553"/>
                    </a:lnTo>
                    <a:lnTo>
                      <a:pt x="165" y="569"/>
                    </a:lnTo>
                    <a:lnTo>
                      <a:pt x="189" y="584"/>
                    </a:lnTo>
                    <a:lnTo>
                      <a:pt x="215" y="596"/>
                    </a:lnTo>
                    <a:lnTo>
                      <a:pt x="242" y="607"/>
                    </a:lnTo>
                    <a:lnTo>
                      <a:pt x="270" y="614"/>
                    </a:lnTo>
                    <a:lnTo>
                      <a:pt x="298" y="618"/>
                    </a:lnTo>
                    <a:lnTo>
                      <a:pt x="327" y="619"/>
                    </a:lnTo>
                    <a:lnTo>
                      <a:pt x="327" y="619"/>
                    </a:lnTo>
                    <a:lnTo>
                      <a:pt x="357" y="618"/>
                    </a:lnTo>
                    <a:lnTo>
                      <a:pt x="387" y="614"/>
                    </a:lnTo>
                    <a:lnTo>
                      <a:pt x="415" y="607"/>
                    </a:lnTo>
                    <a:lnTo>
                      <a:pt x="442" y="596"/>
                    </a:lnTo>
                    <a:lnTo>
                      <a:pt x="467" y="584"/>
                    </a:lnTo>
                    <a:lnTo>
                      <a:pt x="490" y="569"/>
                    </a:lnTo>
                    <a:lnTo>
                      <a:pt x="513" y="553"/>
                    </a:lnTo>
                    <a:lnTo>
                      <a:pt x="534" y="535"/>
                    </a:lnTo>
                    <a:lnTo>
                      <a:pt x="553" y="514"/>
                    </a:lnTo>
                    <a:lnTo>
                      <a:pt x="569" y="492"/>
                    </a:lnTo>
                    <a:lnTo>
                      <a:pt x="584" y="467"/>
                    </a:lnTo>
                    <a:lnTo>
                      <a:pt x="596" y="442"/>
                    </a:lnTo>
                    <a:lnTo>
                      <a:pt x="605" y="415"/>
                    </a:lnTo>
                    <a:lnTo>
                      <a:pt x="613" y="387"/>
                    </a:lnTo>
                    <a:lnTo>
                      <a:pt x="617" y="359"/>
                    </a:lnTo>
                    <a:lnTo>
                      <a:pt x="619" y="329"/>
                    </a:lnTo>
                    <a:lnTo>
                      <a:pt x="619" y="329"/>
                    </a:lnTo>
                    <a:lnTo>
                      <a:pt x="617" y="300"/>
                    </a:lnTo>
                    <a:lnTo>
                      <a:pt x="613" y="270"/>
                    </a:lnTo>
                    <a:lnTo>
                      <a:pt x="605" y="242"/>
                    </a:lnTo>
                    <a:lnTo>
                      <a:pt x="596" y="215"/>
                    </a:lnTo>
                    <a:lnTo>
                      <a:pt x="584" y="189"/>
                    </a:lnTo>
                    <a:lnTo>
                      <a:pt x="569" y="167"/>
                    </a:lnTo>
                    <a:lnTo>
                      <a:pt x="553" y="144"/>
                    </a:lnTo>
                    <a:lnTo>
                      <a:pt x="534" y="124"/>
                    </a:lnTo>
                    <a:lnTo>
                      <a:pt x="513" y="105"/>
                    </a:lnTo>
                    <a:lnTo>
                      <a:pt x="490" y="87"/>
                    </a:lnTo>
                    <a:lnTo>
                      <a:pt x="467" y="73"/>
                    </a:lnTo>
                    <a:lnTo>
                      <a:pt x="442" y="61"/>
                    </a:lnTo>
                    <a:lnTo>
                      <a:pt x="415" y="51"/>
                    </a:lnTo>
                    <a:lnTo>
                      <a:pt x="387" y="43"/>
                    </a:lnTo>
                    <a:lnTo>
                      <a:pt x="357" y="39"/>
                    </a:lnTo>
                    <a:lnTo>
                      <a:pt x="327" y="38"/>
                    </a:lnTo>
                    <a:lnTo>
                      <a:pt x="327"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sp>
            <p:nvSpPr>
              <p:cNvPr id="88" name="Freeform 135">
                <a:extLst>
                  <a:ext uri="{FF2B5EF4-FFF2-40B4-BE49-F238E27FC236}">
                    <a16:creationId xmlns:a16="http://schemas.microsoft.com/office/drawing/2014/main" id="{7451C38D-1B59-4715-A26A-68FCC8F946F2}"/>
                  </a:ext>
                </a:extLst>
              </p:cNvPr>
              <p:cNvSpPr>
                <a:spLocks/>
              </p:cNvSpPr>
              <p:nvPr/>
            </p:nvSpPr>
            <p:spPr bwMode="auto">
              <a:xfrm>
                <a:off x="6848476" y="2651125"/>
                <a:ext cx="219075" cy="219075"/>
              </a:xfrm>
              <a:custGeom>
                <a:avLst/>
                <a:gdLst>
                  <a:gd name="T0" fmla="*/ 209 w 275"/>
                  <a:gd name="T1" fmla="*/ 115 h 275"/>
                  <a:gd name="T2" fmla="*/ 225 w 275"/>
                  <a:gd name="T3" fmla="*/ 142 h 275"/>
                  <a:gd name="T4" fmla="*/ 257 w 275"/>
                  <a:gd name="T5" fmla="*/ 125 h 275"/>
                  <a:gd name="T6" fmla="*/ 273 w 275"/>
                  <a:gd name="T7" fmla="*/ 95 h 275"/>
                  <a:gd name="T8" fmla="*/ 264 w 275"/>
                  <a:gd name="T9" fmla="*/ 52 h 275"/>
                  <a:gd name="T10" fmla="*/ 217 w 275"/>
                  <a:gd name="T11" fmla="*/ 27 h 275"/>
                  <a:gd name="T12" fmla="*/ 209 w 275"/>
                  <a:gd name="T13" fmla="*/ 25 h 275"/>
                  <a:gd name="T14" fmla="*/ 194 w 275"/>
                  <a:gd name="T15" fmla="*/ 7 h 275"/>
                  <a:gd name="T16" fmla="*/ 165 w 275"/>
                  <a:gd name="T17" fmla="*/ 3 h 275"/>
                  <a:gd name="T18" fmla="*/ 146 w 275"/>
                  <a:gd name="T19" fmla="*/ 25 h 275"/>
                  <a:gd name="T20" fmla="*/ 151 w 275"/>
                  <a:gd name="T21" fmla="*/ 48 h 275"/>
                  <a:gd name="T22" fmla="*/ 175 w 275"/>
                  <a:gd name="T23" fmla="*/ 60 h 275"/>
                  <a:gd name="T24" fmla="*/ 185 w 275"/>
                  <a:gd name="T25" fmla="*/ 70 h 275"/>
                  <a:gd name="T26" fmla="*/ 175 w 275"/>
                  <a:gd name="T27" fmla="*/ 79 h 275"/>
                  <a:gd name="T28" fmla="*/ 136 w 275"/>
                  <a:gd name="T29" fmla="*/ 59 h 275"/>
                  <a:gd name="T30" fmla="*/ 98 w 275"/>
                  <a:gd name="T31" fmla="*/ 79 h 275"/>
                  <a:gd name="T32" fmla="*/ 89 w 275"/>
                  <a:gd name="T33" fmla="*/ 70 h 275"/>
                  <a:gd name="T34" fmla="*/ 98 w 275"/>
                  <a:gd name="T35" fmla="*/ 60 h 275"/>
                  <a:gd name="T36" fmla="*/ 119 w 275"/>
                  <a:gd name="T37" fmla="*/ 52 h 275"/>
                  <a:gd name="T38" fmla="*/ 128 w 275"/>
                  <a:gd name="T39" fmla="*/ 32 h 275"/>
                  <a:gd name="T40" fmla="*/ 115 w 275"/>
                  <a:gd name="T41" fmla="*/ 5 h 275"/>
                  <a:gd name="T42" fmla="*/ 88 w 275"/>
                  <a:gd name="T43" fmla="*/ 3 h 275"/>
                  <a:gd name="T44" fmla="*/ 67 w 275"/>
                  <a:gd name="T45" fmla="*/ 24 h 275"/>
                  <a:gd name="T46" fmla="*/ 57 w 275"/>
                  <a:gd name="T47" fmla="*/ 27 h 275"/>
                  <a:gd name="T48" fmla="*/ 34 w 275"/>
                  <a:gd name="T49" fmla="*/ 32 h 275"/>
                  <a:gd name="T50" fmla="*/ 1 w 275"/>
                  <a:gd name="T51" fmla="*/ 74 h 275"/>
                  <a:gd name="T52" fmla="*/ 9 w 275"/>
                  <a:gd name="T53" fmla="*/ 115 h 275"/>
                  <a:gd name="T54" fmla="*/ 32 w 275"/>
                  <a:gd name="T55" fmla="*/ 137 h 275"/>
                  <a:gd name="T56" fmla="*/ 55 w 275"/>
                  <a:gd name="T57" fmla="*/ 127 h 275"/>
                  <a:gd name="T58" fmla="*/ 71 w 275"/>
                  <a:gd name="T59" fmla="*/ 113 h 275"/>
                  <a:gd name="T60" fmla="*/ 79 w 275"/>
                  <a:gd name="T61" fmla="*/ 122 h 275"/>
                  <a:gd name="T62" fmla="*/ 69 w 275"/>
                  <a:gd name="T63" fmla="*/ 138 h 275"/>
                  <a:gd name="T64" fmla="*/ 72 w 275"/>
                  <a:gd name="T65" fmla="*/ 169 h 275"/>
                  <a:gd name="T66" fmla="*/ 92 w 275"/>
                  <a:gd name="T67" fmla="*/ 185 h 275"/>
                  <a:gd name="T68" fmla="*/ 88 w 275"/>
                  <a:gd name="T69" fmla="*/ 197 h 275"/>
                  <a:gd name="T70" fmla="*/ 69 w 275"/>
                  <a:gd name="T71" fmla="*/ 190 h 275"/>
                  <a:gd name="T72" fmla="*/ 51 w 275"/>
                  <a:gd name="T73" fmla="*/ 166 h 275"/>
                  <a:gd name="T74" fmla="*/ 18 w 275"/>
                  <a:gd name="T75" fmla="*/ 149 h 275"/>
                  <a:gd name="T76" fmla="*/ 1 w 275"/>
                  <a:gd name="T77" fmla="*/ 158 h 275"/>
                  <a:gd name="T78" fmla="*/ 8 w 275"/>
                  <a:gd name="T79" fmla="*/ 185 h 275"/>
                  <a:gd name="T80" fmla="*/ 17 w 275"/>
                  <a:gd name="T81" fmla="*/ 197 h 275"/>
                  <a:gd name="T82" fmla="*/ 13 w 275"/>
                  <a:gd name="T83" fmla="*/ 217 h 275"/>
                  <a:gd name="T84" fmla="*/ 38 w 275"/>
                  <a:gd name="T85" fmla="*/ 266 h 275"/>
                  <a:gd name="T86" fmla="*/ 83 w 275"/>
                  <a:gd name="T87" fmla="*/ 274 h 275"/>
                  <a:gd name="T88" fmla="*/ 123 w 275"/>
                  <a:gd name="T89" fmla="*/ 240 h 275"/>
                  <a:gd name="T90" fmla="*/ 128 w 275"/>
                  <a:gd name="T91" fmla="*/ 115 h 275"/>
                  <a:gd name="T92" fmla="*/ 140 w 275"/>
                  <a:gd name="T93" fmla="*/ 110 h 275"/>
                  <a:gd name="T94" fmla="*/ 146 w 275"/>
                  <a:gd name="T95" fmla="*/ 217 h 275"/>
                  <a:gd name="T96" fmla="*/ 171 w 275"/>
                  <a:gd name="T97" fmla="*/ 266 h 275"/>
                  <a:gd name="T98" fmla="*/ 214 w 275"/>
                  <a:gd name="T99" fmla="*/ 274 h 275"/>
                  <a:gd name="T100" fmla="*/ 256 w 275"/>
                  <a:gd name="T101" fmla="*/ 240 h 275"/>
                  <a:gd name="T102" fmla="*/ 257 w 275"/>
                  <a:gd name="T103" fmla="*/ 200 h 275"/>
                  <a:gd name="T104" fmla="*/ 261 w 275"/>
                  <a:gd name="T105" fmla="*/ 189 h 275"/>
                  <a:gd name="T106" fmla="*/ 275 w 275"/>
                  <a:gd name="T107" fmla="*/ 165 h 275"/>
                  <a:gd name="T108" fmla="*/ 265 w 275"/>
                  <a:gd name="T109" fmla="*/ 142 h 275"/>
                  <a:gd name="T110" fmla="*/ 225 w 275"/>
                  <a:gd name="T111" fmla="*/ 160 h 275"/>
                  <a:gd name="T112" fmla="*/ 214 w 275"/>
                  <a:gd name="T113" fmla="*/ 182 h 275"/>
                  <a:gd name="T114" fmla="*/ 193 w 275"/>
                  <a:gd name="T115" fmla="*/ 197 h 275"/>
                  <a:gd name="T116" fmla="*/ 182 w 275"/>
                  <a:gd name="T117" fmla="*/ 192 h 275"/>
                  <a:gd name="T118" fmla="*/ 187 w 275"/>
                  <a:gd name="T119" fmla="*/ 180 h 275"/>
                  <a:gd name="T120" fmla="*/ 208 w 275"/>
                  <a:gd name="T121" fmla="*/ 152 h 275"/>
                  <a:gd name="T122" fmla="*/ 197 w 275"/>
                  <a:gd name="T123" fmla="*/ 127 h 275"/>
                  <a:gd name="T124" fmla="*/ 197 w 275"/>
                  <a:gd name="T125" fmla="*/ 115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5" h="275">
                    <a:moveTo>
                      <a:pt x="202" y="113"/>
                    </a:moveTo>
                    <a:lnTo>
                      <a:pt x="202" y="113"/>
                    </a:lnTo>
                    <a:lnTo>
                      <a:pt x="206" y="113"/>
                    </a:lnTo>
                    <a:lnTo>
                      <a:pt x="209" y="115"/>
                    </a:lnTo>
                    <a:lnTo>
                      <a:pt x="209" y="115"/>
                    </a:lnTo>
                    <a:lnTo>
                      <a:pt x="209" y="115"/>
                    </a:lnTo>
                    <a:lnTo>
                      <a:pt x="214" y="121"/>
                    </a:lnTo>
                    <a:lnTo>
                      <a:pt x="220" y="127"/>
                    </a:lnTo>
                    <a:lnTo>
                      <a:pt x="222" y="134"/>
                    </a:lnTo>
                    <a:lnTo>
                      <a:pt x="225" y="142"/>
                    </a:lnTo>
                    <a:lnTo>
                      <a:pt x="225" y="142"/>
                    </a:lnTo>
                    <a:lnTo>
                      <a:pt x="233" y="139"/>
                    </a:lnTo>
                    <a:lnTo>
                      <a:pt x="243" y="137"/>
                    </a:lnTo>
                    <a:lnTo>
                      <a:pt x="251" y="131"/>
                    </a:lnTo>
                    <a:lnTo>
                      <a:pt x="257" y="125"/>
                    </a:lnTo>
                    <a:lnTo>
                      <a:pt x="259" y="125"/>
                    </a:lnTo>
                    <a:lnTo>
                      <a:pt x="259" y="125"/>
                    </a:lnTo>
                    <a:lnTo>
                      <a:pt x="265" y="115"/>
                    </a:lnTo>
                    <a:lnTo>
                      <a:pt x="269" y="106"/>
                    </a:lnTo>
                    <a:lnTo>
                      <a:pt x="273" y="95"/>
                    </a:lnTo>
                    <a:lnTo>
                      <a:pt x="275" y="84"/>
                    </a:lnTo>
                    <a:lnTo>
                      <a:pt x="275" y="84"/>
                    </a:lnTo>
                    <a:lnTo>
                      <a:pt x="273" y="74"/>
                    </a:lnTo>
                    <a:lnTo>
                      <a:pt x="269" y="62"/>
                    </a:lnTo>
                    <a:lnTo>
                      <a:pt x="264" y="52"/>
                    </a:lnTo>
                    <a:lnTo>
                      <a:pt x="257" y="44"/>
                    </a:lnTo>
                    <a:lnTo>
                      <a:pt x="249" y="37"/>
                    </a:lnTo>
                    <a:lnTo>
                      <a:pt x="238" y="32"/>
                    </a:lnTo>
                    <a:lnTo>
                      <a:pt x="228" y="28"/>
                    </a:lnTo>
                    <a:lnTo>
                      <a:pt x="217" y="27"/>
                    </a:lnTo>
                    <a:lnTo>
                      <a:pt x="217" y="27"/>
                    </a:lnTo>
                    <a:lnTo>
                      <a:pt x="214" y="27"/>
                    </a:lnTo>
                    <a:lnTo>
                      <a:pt x="214" y="27"/>
                    </a:lnTo>
                    <a:lnTo>
                      <a:pt x="212" y="27"/>
                    </a:lnTo>
                    <a:lnTo>
                      <a:pt x="209" y="25"/>
                    </a:lnTo>
                    <a:lnTo>
                      <a:pt x="208" y="24"/>
                    </a:lnTo>
                    <a:lnTo>
                      <a:pt x="206" y="21"/>
                    </a:lnTo>
                    <a:lnTo>
                      <a:pt x="206" y="21"/>
                    </a:lnTo>
                    <a:lnTo>
                      <a:pt x="201" y="13"/>
                    </a:lnTo>
                    <a:lnTo>
                      <a:pt x="194" y="7"/>
                    </a:lnTo>
                    <a:lnTo>
                      <a:pt x="186" y="3"/>
                    </a:lnTo>
                    <a:lnTo>
                      <a:pt x="177" y="0"/>
                    </a:lnTo>
                    <a:lnTo>
                      <a:pt x="177" y="0"/>
                    </a:lnTo>
                    <a:lnTo>
                      <a:pt x="170" y="1"/>
                    </a:lnTo>
                    <a:lnTo>
                      <a:pt x="165" y="3"/>
                    </a:lnTo>
                    <a:lnTo>
                      <a:pt x="159" y="5"/>
                    </a:lnTo>
                    <a:lnTo>
                      <a:pt x="155" y="9"/>
                    </a:lnTo>
                    <a:lnTo>
                      <a:pt x="151" y="15"/>
                    </a:lnTo>
                    <a:lnTo>
                      <a:pt x="149" y="20"/>
                    </a:lnTo>
                    <a:lnTo>
                      <a:pt x="146" y="25"/>
                    </a:lnTo>
                    <a:lnTo>
                      <a:pt x="146" y="32"/>
                    </a:lnTo>
                    <a:lnTo>
                      <a:pt x="146" y="32"/>
                    </a:lnTo>
                    <a:lnTo>
                      <a:pt x="146" y="37"/>
                    </a:lnTo>
                    <a:lnTo>
                      <a:pt x="149" y="43"/>
                    </a:lnTo>
                    <a:lnTo>
                      <a:pt x="151" y="48"/>
                    </a:lnTo>
                    <a:lnTo>
                      <a:pt x="154" y="52"/>
                    </a:lnTo>
                    <a:lnTo>
                      <a:pt x="159" y="56"/>
                    </a:lnTo>
                    <a:lnTo>
                      <a:pt x="165" y="59"/>
                    </a:lnTo>
                    <a:lnTo>
                      <a:pt x="170" y="60"/>
                    </a:lnTo>
                    <a:lnTo>
                      <a:pt x="175" y="60"/>
                    </a:lnTo>
                    <a:lnTo>
                      <a:pt x="175" y="60"/>
                    </a:lnTo>
                    <a:lnTo>
                      <a:pt x="179" y="62"/>
                    </a:lnTo>
                    <a:lnTo>
                      <a:pt x="182" y="63"/>
                    </a:lnTo>
                    <a:lnTo>
                      <a:pt x="185" y="66"/>
                    </a:lnTo>
                    <a:lnTo>
                      <a:pt x="185" y="70"/>
                    </a:lnTo>
                    <a:lnTo>
                      <a:pt x="185" y="70"/>
                    </a:lnTo>
                    <a:lnTo>
                      <a:pt x="185" y="74"/>
                    </a:lnTo>
                    <a:lnTo>
                      <a:pt x="182" y="76"/>
                    </a:lnTo>
                    <a:lnTo>
                      <a:pt x="179" y="78"/>
                    </a:lnTo>
                    <a:lnTo>
                      <a:pt x="175" y="79"/>
                    </a:lnTo>
                    <a:lnTo>
                      <a:pt x="175" y="79"/>
                    </a:lnTo>
                    <a:lnTo>
                      <a:pt x="165" y="78"/>
                    </a:lnTo>
                    <a:lnTo>
                      <a:pt x="154" y="74"/>
                    </a:lnTo>
                    <a:lnTo>
                      <a:pt x="145" y="67"/>
                    </a:lnTo>
                    <a:lnTo>
                      <a:pt x="136" y="59"/>
                    </a:lnTo>
                    <a:lnTo>
                      <a:pt x="136" y="59"/>
                    </a:lnTo>
                    <a:lnTo>
                      <a:pt x="130" y="67"/>
                    </a:lnTo>
                    <a:lnTo>
                      <a:pt x="120" y="74"/>
                    </a:lnTo>
                    <a:lnTo>
                      <a:pt x="110" y="78"/>
                    </a:lnTo>
                    <a:lnTo>
                      <a:pt x="98" y="79"/>
                    </a:lnTo>
                    <a:lnTo>
                      <a:pt x="98" y="79"/>
                    </a:lnTo>
                    <a:lnTo>
                      <a:pt x="95" y="78"/>
                    </a:lnTo>
                    <a:lnTo>
                      <a:pt x="92" y="76"/>
                    </a:lnTo>
                    <a:lnTo>
                      <a:pt x="89" y="74"/>
                    </a:lnTo>
                    <a:lnTo>
                      <a:pt x="89" y="70"/>
                    </a:lnTo>
                    <a:lnTo>
                      <a:pt x="89" y="70"/>
                    </a:lnTo>
                    <a:lnTo>
                      <a:pt x="89" y="66"/>
                    </a:lnTo>
                    <a:lnTo>
                      <a:pt x="92" y="63"/>
                    </a:lnTo>
                    <a:lnTo>
                      <a:pt x="95" y="62"/>
                    </a:lnTo>
                    <a:lnTo>
                      <a:pt x="98" y="60"/>
                    </a:lnTo>
                    <a:lnTo>
                      <a:pt x="98" y="60"/>
                    </a:lnTo>
                    <a:lnTo>
                      <a:pt x="104" y="60"/>
                    </a:lnTo>
                    <a:lnTo>
                      <a:pt x="110" y="59"/>
                    </a:lnTo>
                    <a:lnTo>
                      <a:pt x="115" y="56"/>
                    </a:lnTo>
                    <a:lnTo>
                      <a:pt x="119" y="52"/>
                    </a:lnTo>
                    <a:lnTo>
                      <a:pt x="123" y="48"/>
                    </a:lnTo>
                    <a:lnTo>
                      <a:pt x="126" y="43"/>
                    </a:lnTo>
                    <a:lnTo>
                      <a:pt x="127" y="37"/>
                    </a:lnTo>
                    <a:lnTo>
                      <a:pt x="128" y="32"/>
                    </a:lnTo>
                    <a:lnTo>
                      <a:pt x="128" y="32"/>
                    </a:lnTo>
                    <a:lnTo>
                      <a:pt x="127" y="25"/>
                    </a:lnTo>
                    <a:lnTo>
                      <a:pt x="126" y="20"/>
                    </a:lnTo>
                    <a:lnTo>
                      <a:pt x="123" y="15"/>
                    </a:lnTo>
                    <a:lnTo>
                      <a:pt x="119" y="9"/>
                    </a:lnTo>
                    <a:lnTo>
                      <a:pt x="115" y="5"/>
                    </a:lnTo>
                    <a:lnTo>
                      <a:pt x="110" y="3"/>
                    </a:lnTo>
                    <a:lnTo>
                      <a:pt x="103" y="1"/>
                    </a:lnTo>
                    <a:lnTo>
                      <a:pt x="98" y="0"/>
                    </a:lnTo>
                    <a:lnTo>
                      <a:pt x="98" y="0"/>
                    </a:lnTo>
                    <a:lnTo>
                      <a:pt x="88" y="3"/>
                    </a:lnTo>
                    <a:lnTo>
                      <a:pt x="79" y="7"/>
                    </a:lnTo>
                    <a:lnTo>
                      <a:pt x="72" y="13"/>
                    </a:lnTo>
                    <a:lnTo>
                      <a:pt x="68" y="21"/>
                    </a:lnTo>
                    <a:lnTo>
                      <a:pt x="68" y="21"/>
                    </a:lnTo>
                    <a:lnTo>
                      <a:pt x="67" y="24"/>
                    </a:lnTo>
                    <a:lnTo>
                      <a:pt x="64" y="25"/>
                    </a:lnTo>
                    <a:lnTo>
                      <a:pt x="63" y="27"/>
                    </a:lnTo>
                    <a:lnTo>
                      <a:pt x="59" y="27"/>
                    </a:lnTo>
                    <a:lnTo>
                      <a:pt x="59" y="27"/>
                    </a:lnTo>
                    <a:lnTo>
                      <a:pt x="57" y="27"/>
                    </a:lnTo>
                    <a:lnTo>
                      <a:pt x="57" y="27"/>
                    </a:lnTo>
                    <a:lnTo>
                      <a:pt x="57" y="27"/>
                    </a:lnTo>
                    <a:lnTo>
                      <a:pt x="57" y="27"/>
                    </a:lnTo>
                    <a:lnTo>
                      <a:pt x="45" y="28"/>
                    </a:lnTo>
                    <a:lnTo>
                      <a:pt x="34" y="32"/>
                    </a:lnTo>
                    <a:lnTo>
                      <a:pt x="25" y="37"/>
                    </a:lnTo>
                    <a:lnTo>
                      <a:pt x="17" y="44"/>
                    </a:lnTo>
                    <a:lnTo>
                      <a:pt x="9" y="52"/>
                    </a:lnTo>
                    <a:lnTo>
                      <a:pt x="5" y="62"/>
                    </a:lnTo>
                    <a:lnTo>
                      <a:pt x="1" y="74"/>
                    </a:lnTo>
                    <a:lnTo>
                      <a:pt x="0" y="84"/>
                    </a:lnTo>
                    <a:lnTo>
                      <a:pt x="0" y="84"/>
                    </a:lnTo>
                    <a:lnTo>
                      <a:pt x="1" y="95"/>
                    </a:lnTo>
                    <a:lnTo>
                      <a:pt x="4" y="106"/>
                    </a:lnTo>
                    <a:lnTo>
                      <a:pt x="9" y="115"/>
                    </a:lnTo>
                    <a:lnTo>
                      <a:pt x="16" y="125"/>
                    </a:lnTo>
                    <a:lnTo>
                      <a:pt x="17" y="125"/>
                    </a:lnTo>
                    <a:lnTo>
                      <a:pt x="17" y="125"/>
                    </a:lnTo>
                    <a:lnTo>
                      <a:pt x="24" y="131"/>
                    </a:lnTo>
                    <a:lnTo>
                      <a:pt x="32" y="137"/>
                    </a:lnTo>
                    <a:lnTo>
                      <a:pt x="40" y="139"/>
                    </a:lnTo>
                    <a:lnTo>
                      <a:pt x="49" y="142"/>
                    </a:lnTo>
                    <a:lnTo>
                      <a:pt x="49" y="142"/>
                    </a:lnTo>
                    <a:lnTo>
                      <a:pt x="52" y="134"/>
                    </a:lnTo>
                    <a:lnTo>
                      <a:pt x="55" y="127"/>
                    </a:lnTo>
                    <a:lnTo>
                      <a:pt x="59" y="121"/>
                    </a:lnTo>
                    <a:lnTo>
                      <a:pt x="64" y="115"/>
                    </a:lnTo>
                    <a:lnTo>
                      <a:pt x="64" y="115"/>
                    </a:lnTo>
                    <a:lnTo>
                      <a:pt x="68" y="113"/>
                    </a:lnTo>
                    <a:lnTo>
                      <a:pt x="71" y="113"/>
                    </a:lnTo>
                    <a:lnTo>
                      <a:pt x="75" y="114"/>
                    </a:lnTo>
                    <a:lnTo>
                      <a:pt x="77" y="115"/>
                    </a:lnTo>
                    <a:lnTo>
                      <a:pt x="77" y="115"/>
                    </a:lnTo>
                    <a:lnTo>
                      <a:pt x="79" y="118"/>
                    </a:lnTo>
                    <a:lnTo>
                      <a:pt x="79" y="122"/>
                    </a:lnTo>
                    <a:lnTo>
                      <a:pt x="79" y="125"/>
                    </a:lnTo>
                    <a:lnTo>
                      <a:pt x="76" y="127"/>
                    </a:lnTo>
                    <a:lnTo>
                      <a:pt x="76" y="127"/>
                    </a:lnTo>
                    <a:lnTo>
                      <a:pt x="72" y="133"/>
                    </a:lnTo>
                    <a:lnTo>
                      <a:pt x="69" y="138"/>
                    </a:lnTo>
                    <a:lnTo>
                      <a:pt x="67" y="145"/>
                    </a:lnTo>
                    <a:lnTo>
                      <a:pt x="67" y="152"/>
                    </a:lnTo>
                    <a:lnTo>
                      <a:pt x="67" y="152"/>
                    </a:lnTo>
                    <a:lnTo>
                      <a:pt x="68" y="161"/>
                    </a:lnTo>
                    <a:lnTo>
                      <a:pt x="72" y="169"/>
                    </a:lnTo>
                    <a:lnTo>
                      <a:pt x="79" y="176"/>
                    </a:lnTo>
                    <a:lnTo>
                      <a:pt x="87" y="180"/>
                    </a:lnTo>
                    <a:lnTo>
                      <a:pt x="87" y="180"/>
                    </a:lnTo>
                    <a:lnTo>
                      <a:pt x="89" y="182"/>
                    </a:lnTo>
                    <a:lnTo>
                      <a:pt x="92" y="185"/>
                    </a:lnTo>
                    <a:lnTo>
                      <a:pt x="92" y="188"/>
                    </a:lnTo>
                    <a:lnTo>
                      <a:pt x="92" y="192"/>
                    </a:lnTo>
                    <a:lnTo>
                      <a:pt x="92" y="192"/>
                    </a:lnTo>
                    <a:lnTo>
                      <a:pt x="91" y="194"/>
                    </a:lnTo>
                    <a:lnTo>
                      <a:pt x="88" y="197"/>
                    </a:lnTo>
                    <a:lnTo>
                      <a:pt x="84" y="197"/>
                    </a:lnTo>
                    <a:lnTo>
                      <a:pt x="80" y="197"/>
                    </a:lnTo>
                    <a:lnTo>
                      <a:pt x="80" y="197"/>
                    </a:lnTo>
                    <a:lnTo>
                      <a:pt x="75" y="194"/>
                    </a:lnTo>
                    <a:lnTo>
                      <a:pt x="69" y="190"/>
                    </a:lnTo>
                    <a:lnTo>
                      <a:pt x="64" y="186"/>
                    </a:lnTo>
                    <a:lnTo>
                      <a:pt x="60" y="182"/>
                    </a:lnTo>
                    <a:lnTo>
                      <a:pt x="56" y="177"/>
                    </a:lnTo>
                    <a:lnTo>
                      <a:pt x="53" y="172"/>
                    </a:lnTo>
                    <a:lnTo>
                      <a:pt x="51" y="166"/>
                    </a:lnTo>
                    <a:lnTo>
                      <a:pt x="49" y="160"/>
                    </a:lnTo>
                    <a:lnTo>
                      <a:pt x="49" y="160"/>
                    </a:lnTo>
                    <a:lnTo>
                      <a:pt x="38" y="157"/>
                    </a:lnTo>
                    <a:lnTo>
                      <a:pt x="28" y="154"/>
                    </a:lnTo>
                    <a:lnTo>
                      <a:pt x="18" y="149"/>
                    </a:lnTo>
                    <a:lnTo>
                      <a:pt x="9" y="142"/>
                    </a:lnTo>
                    <a:lnTo>
                      <a:pt x="9" y="142"/>
                    </a:lnTo>
                    <a:lnTo>
                      <a:pt x="5" y="147"/>
                    </a:lnTo>
                    <a:lnTo>
                      <a:pt x="2" y="153"/>
                    </a:lnTo>
                    <a:lnTo>
                      <a:pt x="1" y="158"/>
                    </a:lnTo>
                    <a:lnTo>
                      <a:pt x="0" y="165"/>
                    </a:lnTo>
                    <a:lnTo>
                      <a:pt x="0" y="165"/>
                    </a:lnTo>
                    <a:lnTo>
                      <a:pt x="1" y="172"/>
                    </a:lnTo>
                    <a:lnTo>
                      <a:pt x="4" y="178"/>
                    </a:lnTo>
                    <a:lnTo>
                      <a:pt x="8" y="185"/>
                    </a:lnTo>
                    <a:lnTo>
                      <a:pt x="13" y="189"/>
                    </a:lnTo>
                    <a:lnTo>
                      <a:pt x="13" y="189"/>
                    </a:lnTo>
                    <a:lnTo>
                      <a:pt x="14" y="192"/>
                    </a:lnTo>
                    <a:lnTo>
                      <a:pt x="16" y="194"/>
                    </a:lnTo>
                    <a:lnTo>
                      <a:pt x="17" y="197"/>
                    </a:lnTo>
                    <a:lnTo>
                      <a:pt x="16" y="200"/>
                    </a:lnTo>
                    <a:lnTo>
                      <a:pt x="16" y="200"/>
                    </a:lnTo>
                    <a:lnTo>
                      <a:pt x="14" y="209"/>
                    </a:lnTo>
                    <a:lnTo>
                      <a:pt x="13" y="217"/>
                    </a:lnTo>
                    <a:lnTo>
                      <a:pt x="13" y="217"/>
                    </a:lnTo>
                    <a:lnTo>
                      <a:pt x="14" y="229"/>
                    </a:lnTo>
                    <a:lnTo>
                      <a:pt x="17" y="240"/>
                    </a:lnTo>
                    <a:lnTo>
                      <a:pt x="22" y="250"/>
                    </a:lnTo>
                    <a:lnTo>
                      <a:pt x="30" y="258"/>
                    </a:lnTo>
                    <a:lnTo>
                      <a:pt x="38" y="266"/>
                    </a:lnTo>
                    <a:lnTo>
                      <a:pt x="48" y="271"/>
                    </a:lnTo>
                    <a:lnTo>
                      <a:pt x="59" y="274"/>
                    </a:lnTo>
                    <a:lnTo>
                      <a:pt x="71" y="275"/>
                    </a:lnTo>
                    <a:lnTo>
                      <a:pt x="71" y="275"/>
                    </a:lnTo>
                    <a:lnTo>
                      <a:pt x="83" y="274"/>
                    </a:lnTo>
                    <a:lnTo>
                      <a:pt x="94" y="271"/>
                    </a:lnTo>
                    <a:lnTo>
                      <a:pt x="103" y="266"/>
                    </a:lnTo>
                    <a:lnTo>
                      <a:pt x="111" y="258"/>
                    </a:lnTo>
                    <a:lnTo>
                      <a:pt x="118" y="250"/>
                    </a:lnTo>
                    <a:lnTo>
                      <a:pt x="123" y="240"/>
                    </a:lnTo>
                    <a:lnTo>
                      <a:pt x="127" y="229"/>
                    </a:lnTo>
                    <a:lnTo>
                      <a:pt x="128" y="217"/>
                    </a:lnTo>
                    <a:lnTo>
                      <a:pt x="128" y="118"/>
                    </a:lnTo>
                    <a:lnTo>
                      <a:pt x="128" y="118"/>
                    </a:lnTo>
                    <a:lnTo>
                      <a:pt x="128" y="115"/>
                    </a:lnTo>
                    <a:lnTo>
                      <a:pt x="131" y="113"/>
                    </a:lnTo>
                    <a:lnTo>
                      <a:pt x="134" y="110"/>
                    </a:lnTo>
                    <a:lnTo>
                      <a:pt x="136" y="110"/>
                    </a:lnTo>
                    <a:lnTo>
                      <a:pt x="136" y="110"/>
                    </a:lnTo>
                    <a:lnTo>
                      <a:pt x="140" y="110"/>
                    </a:lnTo>
                    <a:lnTo>
                      <a:pt x="143" y="113"/>
                    </a:lnTo>
                    <a:lnTo>
                      <a:pt x="145" y="115"/>
                    </a:lnTo>
                    <a:lnTo>
                      <a:pt x="146" y="118"/>
                    </a:lnTo>
                    <a:lnTo>
                      <a:pt x="146" y="217"/>
                    </a:lnTo>
                    <a:lnTo>
                      <a:pt x="146" y="217"/>
                    </a:lnTo>
                    <a:lnTo>
                      <a:pt x="147" y="229"/>
                    </a:lnTo>
                    <a:lnTo>
                      <a:pt x="150" y="240"/>
                    </a:lnTo>
                    <a:lnTo>
                      <a:pt x="155" y="250"/>
                    </a:lnTo>
                    <a:lnTo>
                      <a:pt x="163" y="258"/>
                    </a:lnTo>
                    <a:lnTo>
                      <a:pt x="171" y="266"/>
                    </a:lnTo>
                    <a:lnTo>
                      <a:pt x="181" y="271"/>
                    </a:lnTo>
                    <a:lnTo>
                      <a:pt x="192" y="274"/>
                    </a:lnTo>
                    <a:lnTo>
                      <a:pt x="204" y="275"/>
                    </a:lnTo>
                    <a:lnTo>
                      <a:pt x="204" y="275"/>
                    </a:lnTo>
                    <a:lnTo>
                      <a:pt x="214" y="274"/>
                    </a:lnTo>
                    <a:lnTo>
                      <a:pt x="226" y="271"/>
                    </a:lnTo>
                    <a:lnTo>
                      <a:pt x="236" y="266"/>
                    </a:lnTo>
                    <a:lnTo>
                      <a:pt x="244" y="258"/>
                    </a:lnTo>
                    <a:lnTo>
                      <a:pt x="251" y="250"/>
                    </a:lnTo>
                    <a:lnTo>
                      <a:pt x="256" y="240"/>
                    </a:lnTo>
                    <a:lnTo>
                      <a:pt x="260" y="229"/>
                    </a:lnTo>
                    <a:lnTo>
                      <a:pt x="261" y="217"/>
                    </a:lnTo>
                    <a:lnTo>
                      <a:pt x="261" y="217"/>
                    </a:lnTo>
                    <a:lnTo>
                      <a:pt x="260" y="209"/>
                    </a:lnTo>
                    <a:lnTo>
                      <a:pt x="257" y="200"/>
                    </a:lnTo>
                    <a:lnTo>
                      <a:pt x="257" y="200"/>
                    </a:lnTo>
                    <a:lnTo>
                      <a:pt x="257" y="197"/>
                    </a:lnTo>
                    <a:lnTo>
                      <a:pt x="257" y="194"/>
                    </a:lnTo>
                    <a:lnTo>
                      <a:pt x="259" y="192"/>
                    </a:lnTo>
                    <a:lnTo>
                      <a:pt x="261" y="189"/>
                    </a:lnTo>
                    <a:lnTo>
                      <a:pt x="261" y="189"/>
                    </a:lnTo>
                    <a:lnTo>
                      <a:pt x="267" y="185"/>
                    </a:lnTo>
                    <a:lnTo>
                      <a:pt x="271" y="178"/>
                    </a:lnTo>
                    <a:lnTo>
                      <a:pt x="273" y="172"/>
                    </a:lnTo>
                    <a:lnTo>
                      <a:pt x="275" y="165"/>
                    </a:lnTo>
                    <a:lnTo>
                      <a:pt x="275" y="165"/>
                    </a:lnTo>
                    <a:lnTo>
                      <a:pt x="273" y="158"/>
                    </a:lnTo>
                    <a:lnTo>
                      <a:pt x="272" y="153"/>
                    </a:lnTo>
                    <a:lnTo>
                      <a:pt x="269" y="147"/>
                    </a:lnTo>
                    <a:lnTo>
                      <a:pt x="265" y="142"/>
                    </a:lnTo>
                    <a:lnTo>
                      <a:pt x="265" y="142"/>
                    </a:lnTo>
                    <a:lnTo>
                      <a:pt x="256" y="149"/>
                    </a:lnTo>
                    <a:lnTo>
                      <a:pt x="247" y="154"/>
                    </a:lnTo>
                    <a:lnTo>
                      <a:pt x="236" y="157"/>
                    </a:lnTo>
                    <a:lnTo>
                      <a:pt x="225" y="160"/>
                    </a:lnTo>
                    <a:lnTo>
                      <a:pt x="225" y="160"/>
                    </a:lnTo>
                    <a:lnTo>
                      <a:pt x="224" y="166"/>
                    </a:lnTo>
                    <a:lnTo>
                      <a:pt x="221" y="172"/>
                    </a:lnTo>
                    <a:lnTo>
                      <a:pt x="218" y="177"/>
                    </a:lnTo>
                    <a:lnTo>
                      <a:pt x="214" y="182"/>
                    </a:lnTo>
                    <a:lnTo>
                      <a:pt x="210" y="186"/>
                    </a:lnTo>
                    <a:lnTo>
                      <a:pt x="205" y="190"/>
                    </a:lnTo>
                    <a:lnTo>
                      <a:pt x="200" y="194"/>
                    </a:lnTo>
                    <a:lnTo>
                      <a:pt x="193" y="197"/>
                    </a:lnTo>
                    <a:lnTo>
                      <a:pt x="193" y="197"/>
                    </a:lnTo>
                    <a:lnTo>
                      <a:pt x="190" y="197"/>
                    </a:lnTo>
                    <a:lnTo>
                      <a:pt x="186" y="197"/>
                    </a:lnTo>
                    <a:lnTo>
                      <a:pt x="183" y="194"/>
                    </a:lnTo>
                    <a:lnTo>
                      <a:pt x="182" y="192"/>
                    </a:lnTo>
                    <a:lnTo>
                      <a:pt x="182" y="192"/>
                    </a:lnTo>
                    <a:lnTo>
                      <a:pt x="181" y="188"/>
                    </a:lnTo>
                    <a:lnTo>
                      <a:pt x="182" y="185"/>
                    </a:lnTo>
                    <a:lnTo>
                      <a:pt x="185" y="182"/>
                    </a:lnTo>
                    <a:lnTo>
                      <a:pt x="187" y="180"/>
                    </a:lnTo>
                    <a:lnTo>
                      <a:pt x="187" y="180"/>
                    </a:lnTo>
                    <a:lnTo>
                      <a:pt x="196" y="176"/>
                    </a:lnTo>
                    <a:lnTo>
                      <a:pt x="202" y="169"/>
                    </a:lnTo>
                    <a:lnTo>
                      <a:pt x="206" y="161"/>
                    </a:lnTo>
                    <a:lnTo>
                      <a:pt x="208" y="152"/>
                    </a:lnTo>
                    <a:lnTo>
                      <a:pt x="208" y="152"/>
                    </a:lnTo>
                    <a:lnTo>
                      <a:pt x="208" y="145"/>
                    </a:lnTo>
                    <a:lnTo>
                      <a:pt x="205" y="138"/>
                    </a:lnTo>
                    <a:lnTo>
                      <a:pt x="202" y="133"/>
                    </a:lnTo>
                    <a:lnTo>
                      <a:pt x="197" y="127"/>
                    </a:lnTo>
                    <a:lnTo>
                      <a:pt x="197" y="127"/>
                    </a:lnTo>
                    <a:lnTo>
                      <a:pt x="196" y="125"/>
                    </a:lnTo>
                    <a:lnTo>
                      <a:pt x="194" y="122"/>
                    </a:lnTo>
                    <a:lnTo>
                      <a:pt x="196" y="118"/>
                    </a:lnTo>
                    <a:lnTo>
                      <a:pt x="197" y="115"/>
                    </a:lnTo>
                    <a:lnTo>
                      <a:pt x="197" y="115"/>
                    </a:lnTo>
                    <a:lnTo>
                      <a:pt x="200" y="114"/>
                    </a:lnTo>
                    <a:lnTo>
                      <a:pt x="202" y="113"/>
                    </a:lnTo>
                    <a:lnTo>
                      <a:pt x="202" y="1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grpSp>
      </p:grpSp>
      <p:grpSp>
        <p:nvGrpSpPr>
          <p:cNvPr id="116" name="Group 115">
            <a:extLst>
              <a:ext uri="{FF2B5EF4-FFF2-40B4-BE49-F238E27FC236}">
                <a16:creationId xmlns:a16="http://schemas.microsoft.com/office/drawing/2014/main" id="{C4080BB4-4A28-43B7-9D32-617C040FC8BF}"/>
              </a:ext>
            </a:extLst>
          </p:cNvPr>
          <p:cNvGrpSpPr/>
          <p:nvPr/>
        </p:nvGrpSpPr>
        <p:grpSpPr>
          <a:xfrm>
            <a:off x="2922240" y="2240684"/>
            <a:ext cx="2009082" cy="3524978"/>
            <a:chOff x="3082823" y="2240684"/>
            <a:chExt cx="2009082" cy="3524978"/>
          </a:xfrm>
        </p:grpSpPr>
        <p:grpSp>
          <p:nvGrpSpPr>
            <p:cNvPr id="60" name="Group 59">
              <a:extLst>
                <a:ext uri="{FF2B5EF4-FFF2-40B4-BE49-F238E27FC236}">
                  <a16:creationId xmlns:a16="http://schemas.microsoft.com/office/drawing/2014/main" id="{0F45E4C6-E12F-4FDE-AB1B-3017A2709B28}"/>
                </a:ext>
              </a:extLst>
            </p:cNvPr>
            <p:cNvGrpSpPr/>
            <p:nvPr/>
          </p:nvGrpSpPr>
          <p:grpSpPr>
            <a:xfrm>
              <a:off x="3082823" y="2240684"/>
              <a:ext cx="2009082" cy="3524978"/>
              <a:chOff x="3156115" y="2135926"/>
              <a:chExt cx="2009082" cy="3524978"/>
            </a:xfrm>
          </p:grpSpPr>
          <p:sp>
            <p:nvSpPr>
              <p:cNvPr id="61" name="Rectangle 60">
                <a:extLst>
                  <a:ext uri="{FF2B5EF4-FFF2-40B4-BE49-F238E27FC236}">
                    <a16:creationId xmlns:a16="http://schemas.microsoft.com/office/drawing/2014/main" id="{98C4BC9F-F703-41C9-BF20-959A15F0E81F}"/>
                  </a:ext>
                </a:extLst>
              </p:cNvPr>
              <p:cNvSpPr/>
              <p:nvPr/>
            </p:nvSpPr>
            <p:spPr>
              <a:xfrm>
                <a:off x="3261580" y="2294794"/>
                <a:ext cx="1798152" cy="789281"/>
              </a:xfrm>
              <a:prstGeom prst="rect">
                <a:avLst/>
              </a:prstGeom>
              <a:solidFill>
                <a:srgbClr val="34F0FF">
                  <a:lumMod val="40000"/>
                  <a:lumOff val="60000"/>
                </a:srgbClr>
              </a:solidFill>
              <a:ln w="12700" cap="flat" cmpd="sng" algn="ctr">
                <a:noFill/>
                <a:prstDash val="solid"/>
                <a:miter lim="800000"/>
              </a:ln>
              <a:effectLst/>
            </p:spPr>
            <p:txBody>
              <a:bodyPr bIns="13716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Open Sans"/>
                    <a:ea typeface="+mn-ea"/>
                    <a:cs typeface="+mn-cs"/>
                  </a:rPr>
                  <a:t>Analytics Tools Capabilities</a:t>
                </a:r>
              </a:p>
            </p:txBody>
          </p:sp>
          <p:sp>
            <p:nvSpPr>
              <p:cNvPr id="62" name="Rectangle 61">
                <a:extLst>
                  <a:ext uri="{FF2B5EF4-FFF2-40B4-BE49-F238E27FC236}">
                    <a16:creationId xmlns:a16="http://schemas.microsoft.com/office/drawing/2014/main" id="{54A2C51C-B053-42C3-A8A6-C199AA737248}"/>
                  </a:ext>
                </a:extLst>
              </p:cNvPr>
              <p:cNvSpPr/>
              <p:nvPr/>
            </p:nvSpPr>
            <p:spPr>
              <a:xfrm>
                <a:off x="3261580" y="3105768"/>
                <a:ext cx="1798152" cy="789281"/>
              </a:xfrm>
              <a:prstGeom prst="rect">
                <a:avLst/>
              </a:prstGeom>
              <a:solidFill>
                <a:srgbClr val="34F0FF">
                  <a:lumMod val="40000"/>
                  <a:lumOff val="6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0000"/>
                    </a:solidFill>
                    <a:effectLst/>
                    <a:uLnTx/>
                    <a:uFillTx/>
                    <a:latin typeface="Open Sans"/>
                    <a:ea typeface="+mn-ea"/>
                    <a:cs typeface="+mn-cs"/>
                  </a:rPr>
                  <a:t>350</a:t>
                </a:r>
                <a:endParaRPr kumimoji="0" lang="en-US" sz="800" b="1" i="0" u="none" strike="noStrike" kern="0" cap="none" spc="0" normalizeH="0" baseline="0" noProof="0" dirty="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Open Sans"/>
                    <a:ea typeface="+mn-ea"/>
                    <a:cs typeface="+mn-cs"/>
                  </a:rPr>
                  <a:t>Partnerships including tech alliances</a:t>
                </a:r>
              </a:p>
            </p:txBody>
          </p:sp>
          <p:sp>
            <p:nvSpPr>
              <p:cNvPr id="63" name="Rectangle 62">
                <a:extLst>
                  <a:ext uri="{FF2B5EF4-FFF2-40B4-BE49-F238E27FC236}">
                    <a16:creationId xmlns:a16="http://schemas.microsoft.com/office/drawing/2014/main" id="{D189EA04-96CD-4C4E-BD98-BD68EA03C035}"/>
                  </a:ext>
                </a:extLst>
              </p:cNvPr>
              <p:cNvSpPr/>
              <p:nvPr/>
            </p:nvSpPr>
            <p:spPr>
              <a:xfrm>
                <a:off x="3261580" y="3928599"/>
                <a:ext cx="1798152" cy="789281"/>
              </a:xfrm>
              <a:prstGeom prst="rect">
                <a:avLst/>
              </a:prstGeom>
              <a:solidFill>
                <a:srgbClr val="34F0FF">
                  <a:lumMod val="40000"/>
                  <a:lumOff val="6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0000"/>
                    </a:solidFill>
                    <a:effectLst/>
                    <a:uLnTx/>
                    <a:uFillTx/>
                    <a:latin typeface="Open Sans"/>
                    <a:ea typeface="+mn-ea"/>
                    <a:cs typeface="+mn-cs"/>
                  </a:rPr>
                  <a:t>100%</a:t>
                </a:r>
                <a:endParaRPr kumimoji="0" lang="en-US" sz="800" b="1" i="0" u="none" strike="noStrike" kern="0" cap="none" spc="0" normalizeH="0" baseline="0" noProof="0" dirty="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Open Sans"/>
                    <a:ea typeface="+mn-ea"/>
                    <a:cs typeface="+mn-cs"/>
                  </a:rPr>
                  <a:t>Of project teams access our assets and accelerators</a:t>
                </a:r>
              </a:p>
            </p:txBody>
          </p:sp>
          <p:sp>
            <p:nvSpPr>
              <p:cNvPr id="64" name="Rectangle 63">
                <a:extLst>
                  <a:ext uri="{FF2B5EF4-FFF2-40B4-BE49-F238E27FC236}">
                    <a16:creationId xmlns:a16="http://schemas.microsoft.com/office/drawing/2014/main" id="{A907DE9C-279C-4AC0-AACC-213A993A2929}"/>
                  </a:ext>
                </a:extLst>
              </p:cNvPr>
              <p:cNvSpPr/>
              <p:nvPr/>
            </p:nvSpPr>
            <p:spPr>
              <a:xfrm>
                <a:off x="3261580" y="4751430"/>
                <a:ext cx="1798152" cy="789281"/>
              </a:xfrm>
              <a:prstGeom prst="rect">
                <a:avLst/>
              </a:prstGeom>
              <a:solidFill>
                <a:srgbClr val="34F0FF">
                  <a:lumMod val="40000"/>
                  <a:lumOff val="6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0000"/>
                    </a:solidFill>
                    <a:effectLst/>
                    <a:uLnTx/>
                    <a:uFillTx/>
                    <a:latin typeface="Open Sans"/>
                    <a:ea typeface="+mn-ea"/>
                    <a:cs typeface="+mn-cs"/>
                  </a:rPr>
                  <a:t>400+</a:t>
                </a:r>
                <a:endParaRPr kumimoji="0" lang="en-US" sz="800" b="1" i="0" u="none" strike="noStrike" kern="0" cap="none" spc="0" normalizeH="0" baseline="0" noProof="0" dirty="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Open Sans"/>
                    <a:ea typeface="+mn-ea"/>
                    <a:cs typeface="+mn-cs"/>
                  </a:rPr>
                  <a:t>Industry leading reusable assets</a:t>
                </a:r>
              </a:p>
            </p:txBody>
          </p:sp>
          <p:sp>
            <p:nvSpPr>
              <p:cNvPr id="65" name="Rectangle 64">
                <a:extLst>
                  <a:ext uri="{FF2B5EF4-FFF2-40B4-BE49-F238E27FC236}">
                    <a16:creationId xmlns:a16="http://schemas.microsoft.com/office/drawing/2014/main" id="{0EE08F51-F762-49FA-8120-0242966BB2E5}"/>
                  </a:ext>
                </a:extLst>
              </p:cNvPr>
              <p:cNvSpPr/>
              <p:nvPr/>
            </p:nvSpPr>
            <p:spPr>
              <a:xfrm>
                <a:off x="3156115" y="2135926"/>
                <a:ext cx="2009082" cy="3524978"/>
              </a:xfrm>
              <a:prstGeom prst="rect">
                <a:avLst/>
              </a:prstGeom>
              <a:noFill/>
              <a:ln w="19050" cap="flat" cmpd="sng" algn="ctr">
                <a:solidFill>
                  <a:srgbClr val="34F0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grpSp>
        <p:grpSp>
          <p:nvGrpSpPr>
            <p:cNvPr id="89" name="Group 88">
              <a:extLst>
                <a:ext uri="{FF2B5EF4-FFF2-40B4-BE49-F238E27FC236}">
                  <a16:creationId xmlns:a16="http://schemas.microsoft.com/office/drawing/2014/main" id="{53453D9F-8A62-41B0-93CA-6626AF96DF39}"/>
                </a:ext>
              </a:extLst>
            </p:cNvPr>
            <p:cNvGrpSpPr>
              <a:grpSpLocks noChangeAspect="1"/>
            </p:cNvGrpSpPr>
            <p:nvPr/>
          </p:nvGrpSpPr>
          <p:grpSpPr>
            <a:xfrm>
              <a:off x="3827014" y="2431135"/>
              <a:ext cx="455810" cy="457200"/>
              <a:chOff x="5837238" y="4180523"/>
              <a:chExt cx="520700" cy="522288"/>
            </a:xfrm>
          </p:grpSpPr>
          <p:sp>
            <p:nvSpPr>
              <p:cNvPr id="90" name="Freeform 72">
                <a:extLst>
                  <a:ext uri="{FF2B5EF4-FFF2-40B4-BE49-F238E27FC236}">
                    <a16:creationId xmlns:a16="http://schemas.microsoft.com/office/drawing/2014/main" id="{BC849CA4-1C09-47F1-92E3-E70B148954BA}"/>
                  </a:ext>
                </a:extLst>
              </p:cNvPr>
              <p:cNvSpPr>
                <a:spLocks noEditPoints="1"/>
              </p:cNvSpPr>
              <p:nvPr/>
            </p:nvSpPr>
            <p:spPr bwMode="auto">
              <a:xfrm>
                <a:off x="5837238" y="4180523"/>
                <a:ext cx="520700" cy="522288"/>
              </a:xfrm>
              <a:custGeom>
                <a:avLst/>
                <a:gdLst>
                  <a:gd name="T0" fmla="*/ 312 w 658"/>
                  <a:gd name="T1" fmla="*/ 657 h 657"/>
                  <a:gd name="T2" fmla="*/ 262 w 658"/>
                  <a:gd name="T3" fmla="*/ 650 h 657"/>
                  <a:gd name="T4" fmla="*/ 201 w 658"/>
                  <a:gd name="T5" fmla="*/ 632 h 657"/>
                  <a:gd name="T6" fmla="*/ 120 w 658"/>
                  <a:gd name="T7" fmla="*/ 582 h 657"/>
                  <a:gd name="T8" fmla="*/ 57 w 658"/>
                  <a:gd name="T9" fmla="*/ 512 h 657"/>
                  <a:gd name="T10" fmla="*/ 15 w 658"/>
                  <a:gd name="T11" fmla="*/ 426 h 657"/>
                  <a:gd name="T12" fmla="*/ 4 w 658"/>
                  <a:gd name="T13" fmla="*/ 379 h 657"/>
                  <a:gd name="T14" fmla="*/ 0 w 658"/>
                  <a:gd name="T15" fmla="*/ 329 h 657"/>
                  <a:gd name="T16" fmla="*/ 2 w 658"/>
                  <a:gd name="T17" fmla="*/ 296 h 657"/>
                  <a:gd name="T18" fmla="*/ 10 w 658"/>
                  <a:gd name="T19" fmla="*/ 246 h 657"/>
                  <a:gd name="T20" fmla="*/ 39 w 658"/>
                  <a:gd name="T21" fmla="*/ 172 h 657"/>
                  <a:gd name="T22" fmla="*/ 96 w 658"/>
                  <a:gd name="T23" fmla="*/ 97 h 657"/>
                  <a:gd name="T24" fmla="*/ 172 w 658"/>
                  <a:gd name="T25" fmla="*/ 39 h 657"/>
                  <a:gd name="T26" fmla="*/ 246 w 658"/>
                  <a:gd name="T27" fmla="*/ 9 h 657"/>
                  <a:gd name="T28" fmla="*/ 295 w 658"/>
                  <a:gd name="T29" fmla="*/ 1 h 657"/>
                  <a:gd name="T30" fmla="*/ 328 w 658"/>
                  <a:gd name="T31" fmla="*/ 0 h 657"/>
                  <a:gd name="T32" fmla="*/ 379 w 658"/>
                  <a:gd name="T33" fmla="*/ 4 h 657"/>
                  <a:gd name="T34" fmla="*/ 426 w 658"/>
                  <a:gd name="T35" fmla="*/ 15 h 657"/>
                  <a:gd name="T36" fmla="*/ 512 w 658"/>
                  <a:gd name="T37" fmla="*/ 56 h 657"/>
                  <a:gd name="T38" fmla="*/ 582 w 658"/>
                  <a:gd name="T39" fmla="*/ 119 h 657"/>
                  <a:gd name="T40" fmla="*/ 632 w 658"/>
                  <a:gd name="T41" fmla="*/ 200 h 657"/>
                  <a:gd name="T42" fmla="*/ 651 w 658"/>
                  <a:gd name="T43" fmla="*/ 262 h 657"/>
                  <a:gd name="T44" fmla="*/ 658 w 658"/>
                  <a:gd name="T45" fmla="*/ 312 h 657"/>
                  <a:gd name="T46" fmla="*/ 658 w 658"/>
                  <a:gd name="T47" fmla="*/ 345 h 657"/>
                  <a:gd name="T48" fmla="*/ 651 w 658"/>
                  <a:gd name="T49" fmla="*/ 395 h 657"/>
                  <a:gd name="T50" fmla="*/ 632 w 658"/>
                  <a:gd name="T51" fmla="*/ 457 h 657"/>
                  <a:gd name="T52" fmla="*/ 582 w 658"/>
                  <a:gd name="T53" fmla="*/ 537 h 657"/>
                  <a:gd name="T54" fmla="*/ 512 w 658"/>
                  <a:gd name="T55" fmla="*/ 601 h 657"/>
                  <a:gd name="T56" fmla="*/ 426 w 658"/>
                  <a:gd name="T57" fmla="*/ 642 h 657"/>
                  <a:gd name="T58" fmla="*/ 379 w 658"/>
                  <a:gd name="T59" fmla="*/ 653 h 657"/>
                  <a:gd name="T60" fmla="*/ 328 w 658"/>
                  <a:gd name="T61" fmla="*/ 657 h 657"/>
                  <a:gd name="T62" fmla="*/ 328 w 658"/>
                  <a:gd name="T63" fmla="*/ 37 h 657"/>
                  <a:gd name="T64" fmla="*/ 242 w 658"/>
                  <a:gd name="T65" fmla="*/ 51 h 657"/>
                  <a:gd name="T66" fmla="*/ 166 w 658"/>
                  <a:gd name="T67" fmla="*/ 87 h 657"/>
                  <a:gd name="T68" fmla="*/ 104 w 658"/>
                  <a:gd name="T69" fmla="*/ 144 h 657"/>
                  <a:gd name="T70" fmla="*/ 61 w 658"/>
                  <a:gd name="T71" fmla="*/ 215 h 657"/>
                  <a:gd name="T72" fmla="*/ 39 w 658"/>
                  <a:gd name="T73" fmla="*/ 298 h 657"/>
                  <a:gd name="T74" fmla="*/ 39 w 658"/>
                  <a:gd name="T75" fmla="*/ 359 h 657"/>
                  <a:gd name="T76" fmla="*/ 61 w 658"/>
                  <a:gd name="T77" fmla="*/ 442 h 657"/>
                  <a:gd name="T78" fmla="*/ 104 w 658"/>
                  <a:gd name="T79" fmla="*/ 513 h 657"/>
                  <a:gd name="T80" fmla="*/ 166 w 658"/>
                  <a:gd name="T81" fmla="*/ 570 h 657"/>
                  <a:gd name="T82" fmla="*/ 242 w 658"/>
                  <a:gd name="T83" fmla="*/ 607 h 657"/>
                  <a:gd name="T84" fmla="*/ 328 w 658"/>
                  <a:gd name="T85" fmla="*/ 619 h 657"/>
                  <a:gd name="T86" fmla="*/ 387 w 658"/>
                  <a:gd name="T87" fmla="*/ 614 h 657"/>
                  <a:gd name="T88" fmla="*/ 468 w 658"/>
                  <a:gd name="T89" fmla="*/ 584 h 657"/>
                  <a:gd name="T90" fmla="*/ 535 w 658"/>
                  <a:gd name="T91" fmla="*/ 535 h 657"/>
                  <a:gd name="T92" fmla="*/ 585 w 658"/>
                  <a:gd name="T93" fmla="*/ 468 h 657"/>
                  <a:gd name="T94" fmla="*/ 615 w 658"/>
                  <a:gd name="T95" fmla="*/ 387 h 657"/>
                  <a:gd name="T96" fmla="*/ 620 w 658"/>
                  <a:gd name="T97" fmla="*/ 329 h 657"/>
                  <a:gd name="T98" fmla="*/ 607 w 658"/>
                  <a:gd name="T99" fmla="*/ 242 h 657"/>
                  <a:gd name="T100" fmla="*/ 570 w 658"/>
                  <a:gd name="T101" fmla="*/ 165 h 657"/>
                  <a:gd name="T102" fmla="*/ 514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8" y="657"/>
                    </a:moveTo>
                    <a:lnTo>
                      <a:pt x="328" y="657"/>
                    </a:lnTo>
                    <a:lnTo>
                      <a:pt x="312" y="657"/>
                    </a:lnTo>
                    <a:lnTo>
                      <a:pt x="295" y="656"/>
                    </a:lnTo>
                    <a:lnTo>
                      <a:pt x="279" y="653"/>
                    </a:lnTo>
                    <a:lnTo>
                      <a:pt x="262" y="650"/>
                    </a:lnTo>
                    <a:lnTo>
                      <a:pt x="246" y="648"/>
                    </a:lnTo>
                    <a:lnTo>
                      <a:pt x="232" y="642"/>
                    </a:lnTo>
                    <a:lnTo>
                      <a:pt x="201" y="632"/>
                    </a:lnTo>
                    <a:lnTo>
                      <a:pt x="172" y="618"/>
                    </a:lnTo>
                    <a:lnTo>
                      <a:pt x="146" y="601"/>
                    </a:lnTo>
                    <a:lnTo>
                      <a:pt x="120" y="582"/>
                    </a:lnTo>
                    <a:lnTo>
                      <a:pt x="96" y="562"/>
                    </a:lnTo>
                    <a:lnTo>
                      <a:pt x="76" y="537"/>
                    </a:lnTo>
                    <a:lnTo>
                      <a:pt x="57" y="512"/>
                    </a:lnTo>
                    <a:lnTo>
                      <a:pt x="39" y="485"/>
                    </a:lnTo>
                    <a:lnTo>
                      <a:pt x="26" y="457"/>
                    </a:lnTo>
                    <a:lnTo>
                      <a:pt x="15" y="426"/>
                    </a:lnTo>
                    <a:lnTo>
                      <a:pt x="10" y="411"/>
                    </a:lnTo>
                    <a:lnTo>
                      <a:pt x="7" y="395"/>
                    </a:lnTo>
                    <a:lnTo>
                      <a:pt x="4" y="379"/>
                    </a:lnTo>
                    <a:lnTo>
                      <a:pt x="2" y="361"/>
                    </a:lnTo>
                    <a:lnTo>
                      <a:pt x="0" y="345"/>
                    </a:lnTo>
                    <a:lnTo>
                      <a:pt x="0" y="329"/>
                    </a:lnTo>
                    <a:lnTo>
                      <a:pt x="0" y="329"/>
                    </a:lnTo>
                    <a:lnTo>
                      <a:pt x="0" y="312"/>
                    </a:lnTo>
                    <a:lnTo>
                      <a:pt x="2" y="296"/>
                    </a:lnTo>
                    <a:lnTo>
                      <a:pt x="4" y="278"/>
                    </a:lnTo>
                    <a:lnTo>
                      <a:pt x="7" y="262"/>
                    </a:lnTo>
                    <a:lnTo>
                      <a:pt x="10" y="246"/>
                    </a:lnTo>
                    <a:lnTo>
                      <a:pt x="15" y="231"/>
                    </a:lnTo>
                    <a:lnTo>
                      <a:pt x="26" y="200"/>
                    </a:lnTo>
                    <a:lnTo>
                      <a:pt x="39" y="172"/>
                    </a:lnTo>
                    <a:lnTo>
                      <a:pt x="57" y="145"/>
                    </a:lnTo>
                    <a:lnTo>
                      <a:pt x="76" y="119"/>
                    </a:lnTo>
                    <a:lnTo>
                      <a:pt x="96" y="97"/>
                    </a:lnTo>
                    <a:lnTo>
                      <a:pt x="120" y="75"/>
                    </a:lnTo>
                    <a:lnTo>
                      <a:pt x="146" y="56"/>
                    </a:lnTo>
                    <a:lnTo>
                      <a:pt x="172" y="39"/>
                    </a:lnTo>
                    <a:lnTo>
                      <a:pt x="201" y="25"/>
                    </a:lnTo>
                    <a:lnTo>
                      <a:pt x="232" y="15"/>
                    </a:lnTo>
                    <a:lnTo>
                      <a:pt x="246" y="9"/>
                    </a:lnTo>
                    <a:lnTo>
                      <a:pt x="262" y="7"/>
                    </a:lnTo>
                    <a:lnTo>
                      <a:pt x="279" y="4"/>
                    </a:lnTo>
                    <a:lnTo>
                      <a:pt x="295" y="1"/>
                    </a:lnTo>
                    <a:lnTo>
                      <a:pt x="312" y="0"/>
                    </a:lnTo>
                    <a:lnTo>
                      <a:pt x="328" y="0"/>
                    </a:lnTo>
                    <a:lnTo>
                      <a:pt x="328" y="0"/>
                    </a:lnTo>
                    <a:lnTo>
                      <a:pt x="346" y="0"/>
                    </a:lnTo>
                    <a:lnTo>
                      <a:pt x="362" y="1"/>
                    </a:lnTo>
                    <a:lnTo>
                      <a:pt x="379" y="4"/>
                    </a:lnTo>
                    <a:lnTo>
                      <a:pt x="396" y="7"/>
                    </a:lnTo>
                    <a:lnTo>
                      <a:pt x="412" y="9"/>
                    </a:lnTo>
                    <a:lnTo>
                      <a:pt x="426" y="15"/>
                    </a:lnTo>
                    <a:lnTo>
                      <a:pt x="457" y="25"/>
                    </a:lnTo>
                    <a:lnTo>
                      <a:pt x="486" y="39"/>
                    </a:lnTo>
                    <a:lnTo>
                      <a:pt x="512" y="56"/>
                    </a:lnTo>
                    <a:lnTo>
                      <a:pt x="538" y="75"/>
                    </a:lnTo>
                    <a:lnTo>
                      <a:pt x="561" y="97"/>
                    </a:lnTo>
                    <a:lnTo>
                      <a:pt x="582" y="119"/>
                    </a:lnTo>
                    <a:lnTo>
                      <a:pt x="601" y="145"/>
                    </a:lnTo>
                    <a:lnTo>
                      <a:pt x="619" y="172"/>
                    </a:lnTo>
                    <a:lnTo>
                      <a:pt x="632" y="200"/>
                    </a:lnTo>
                    <a:lnTo>
                      <a:pt x="643" y="231"/>
                    </a:lnTo>
                    <a:lnTo>
                      <a:pt x="648" y="246"/>
                    </a:lnTo>
                    <a:lnTo>
                      <a:pt x="651" y="262"/>
                    </a:lnTo>
                    <a:lnTo>
                      <a:pt x="654" y="278"/>
                    </a:lnTo>
                    <a:lnTo>
                      <a:pt x="656" y="296"/>
                    </a:lnTo>
                    <a:lnTo>
                      <a:pt x="658" y="312"/>
                    </a:lnTo>
                    <a:lnTo>
                      <a:pt x="658" y="329"/>
                    </a:lnTo>
                    <a:lnTo>
                      <a:pt x="658" y="329"/>
                    </a:lnTo>
                    <a:lnTo>
                      <a:pt x="658" y="345"/>
                    </a:lnTo>
                    <a:lnTo>
                      <a:pt x="656" y="361"/>
                    </a:lnTo>
                    <a:lnTo>
                      <a:pt x="654" y="379"/>
                    </a:lnTo>
                    <a:lnTo>
                      <a:pt x="651" y="395"/>
                    </a:lnTo>
                    <a:lnTo>
                      <a:pt x="648" y="411"/>
                    </a:lnTo>
                    <a:lnTo>
                      <a:pt x="643" y="426"/>
                    </a:lnTo>
                    <a:lnTo>
                      <a:pt x="632" y="457"/>
                    </a:lnTo>
                    <a:lnTo>
                      <a:pt x="619" y="485"/>
                    </a:lnTo>
                    <a:lnTo>
                      <a:pt x="601" y="512"/>
                    </a:lnTo>
                    <a:lnTo>
                      <a:pt x="582" y="537"/>
                    </a:lnTo>
                    <a:lnTo>
                      <a:pt x="561" y="562"/>
                    </a:lnTo>
                    <a:lnTo>
                      <a:pt x="538" y="582"/>
                    </a:lnTo>
                    <a:lnTo>
                      <a:pt x="512" y="601"/>
                    </a:lnTo>
                    <a:lnTo>
                      <a:pt x="486" y="618"/>
                    </a:lnTo>
                    <a:lnTo>
                      <a:pt x="457" y="632"/>
                    </a:lnTo>
                    <a:lnTo>
                      <a:pt x="426" y="642"/>
                    </a:lnTo>
                    <a:lnTo>
                      <a:pt x="412" y="648"/>
                    </a:lnTo>
                    <a:lnTo>
                      <a:pt x="396" y="650"/>
                    </a:lnTo>
                    <a:lnTo>
                      <a:pt x="379" y="653"/>
                    </a:lnTo>
                    <a:lnTo>
                      <a:pt x="362" y="656"/>
                    </a:lnTo>
                    <a:lnTo>
                      <a:pt x="346" y="657"/>
                    </a:lnTo>
                    <a:lnTo>
                      <a:pt x="328" y="657"/>
                    </a:lnTo>
                    <a:lnTo>
                      <a:pt x="328" y="657"/>
                    </a:lnTo>
                    <a:close/>
                    <a:moveTo>
                      <a:pt x="328" y="37"/>
                    </a:moveTo>
                    <a:lnTo>
                      <a:pt x="328" y="37"/>
                    </a:lnTo>
                    <a:lnTo>
                      <a:pt x="299" y="39"/>
                    </a:lnTo>
                    <a:lnTo>
                      <a:pt x="271" y="43"/>
                    </a:lnTo>
                    <a:lnTo>
                      <a:pt x="242" y="51"/>
                    </a:lnTo>
                    <a:lnTo>
                      <a:pt x="215" y="60"/>
                    </a:lnTo>
                    <a:lnTo>
                      <a:pt x="190" y="72"/>
                    </a:lnTo>
                    <a:lnTo>
                      <a:pt x="166" y="87"/>
                    </a:lnTo>
                    <a:lnTo>
                      <a:pt x="144" y="103"/>
                    </a:lnTo>
                    <a:lnTo>
                      <a:pt x="123" y="122"/>
                    </a:lnTo>
                    <a:lnTo>
                      <a:pt x="104" y="144"/>
                    </a:lnTo>
                    <a:lnTo>
                      <a:pt x="88" y="165"/>
                    </a:lnTo>
                    <a:lnTo>
                      <a:pt x="73" y="189"/>
                    </a:lnTo>
                    <a:lnTo>
                      <a:pt x="61" y="215"/>
                    </a:lnTo>
                    <a:lnTo>
                      <a:pt x="50" y="242"/>
                    </a:lnTo>
                    <a:lnTo>
                      <a:pt x="43" y="270"/>
                    </a:lnTo>
                    <a:lnTo>
                      <a:pt x="39" y="298"/>
                    </a:lnTo>
                    <a:lnTo>
                      <a:pt x="38" y="329"/>
                    </a:lnTo>
                    <a:lnTo>
                      <a:pt x="38" y="329"/>
                    </a:lnTo>
                    <a:lnTo>
                      <a:pt x="39" y="359"/>
                    </a:lnTo>
                    <a:lnTo>
                      <a:pt x="43" y="387"/>
                    </a:lnTo>
                    <a:lnTo>
                      <a:pt x="50" y="415"/>
                    </a:lnTo>
                    <a:lnTo>
                      <a:pt x="61" y="442"/>
                    </a:lnTo>
                    <a:lnTo>
                      <a:pt x="73" y="468"/>
                    </a:lnTo>
                    <a:lnTo>
                      <a:pt x="88" y="492"/>
                    </a:lnTo>
                    <a:lnTo>
                      <a:pt x="104" y="513"/>
                    </a:lnTo>
                    <a:lnTo>
                      <a:pt x="123" y="535"/>
                    </a:lnTo>
                    <a:lnTo>
                      <a:pt x="144" y="554"/>
                    </a:lnTo>
                    <a:lnTo>
                      <a:pt x="166" y="570"/>
                    </a:lnTo>
                    <a:lnTo>
                      <a:pt x="190" y="584"/>
                    </a:lnTo>
                    <a:lnTo>
                      <a:pt x="215" y="597"/>
                    </a:lnTo>
                    <a:lnTo>
                      <a:pt x="242" y="607"/>
                    </a:lnTo>
                    <a:lnTo>
                      <a:pt x="271" y="614"/>
                    </a:lnTo>
                    <a:lnTo>
                      <a:pt x="299" y="618"/>
                    </a:lnTo>
                    <a:lnTo>
                      <a:pt x="328" y="619"/>
                    </a:lnTo>
                    <a:lnTo>
                      <a:pt x="328" y="619"/>
                    </a:lnTo>
                    <a:lnTo>
                      <a:pt x="359" y="618"/>
                    </a:lnTo>
                    <a:lnTo>
                      <a:pt x="387" y="614"/>
                    </a:lnTo>
                    <a:lnTo>
                      <a:pt x="416" y="607"/>
                    </a:lnTo>
                    <a:lnTo>
                      <a:pt x="443" y="597"/>
                    </a:lnTo>
                    <a:lnTo>
                      <a:pt x="468" y="584"/>
                    </a:lnTo>
                    <a:lnTo>
                      <a:pt x="492" y="570"/>
                    </a:lnTo>
                    <a:lnTo>
                      <a:pt x="514" y="554"/>
                    </a:lnTo>
                    <a:lnTo>
                      <a:pt x="535" y="535"/>
                    </a:lnTo>
                    <a:lnTo>
                      <a:pt x="554" y="513"/>
                    </a:lnTo>
                    <a:lnTo>
                      <a:pt x="570" y="492"/>
                    </a:lnTo>
                    <a:lnTo>
                      <a:pt x="585" y="468"/>
                    </a:lnTo>
                    <a:lnTo>
                      <a:pt x="597" y="442"/>
                    </a:lnTo>
                    <a:lnTo>
                      <a:pt x="607" y="415"/>
                    </a:lnTo>
                    <a:lnTo>
                      <a:pt x="615" y="387"/>
                    </a:lnTo>
                    <a:lnTo>
                      <a:pt x="619" y="359"/>
                    </a:lnTo>
                    <a:lnTo>
                      <a:pt x="620" y="329"/>
                    </a:lnTo>
                    <a:lnTo>
                      <a:pt x="620" y="329"/>
                    </a:lnTo>
                    <a:lnTo>
                      <a:pt x="619" y="298"/>
                    </a:lnTo>
                    <a:lnTo>
                      <a:pt x="615" y="270"/>
                    </a:lnTo>
                    <a:lnTo>
                      <a:pt x="607" y="242"/>
                    </a:lnTo>
                    <a:lnTo>
                      <a:pt x="597" y="215"/>
                    </a:lnTo>
                    <a:lnTo>
                      <a:pt x="585" y="189"/>
                    </a:lnTo>
                    <a:lnTo>
                      <a:pt x="570" y="165"/>
                    </a:lnTo>
                    <a:lnTo>
                      <a:pt x="554" y="144"/>
                    </a:lnTo>
                    <a:lnTo>
                      <a:pt x="535" y="122"/>
                    </a:lnTo>
                    <a:lnTo>
                      <a:pt x="514" y="103"/>
                    </a:lnTo>
                    <a:lnTo>
                      <a:pt x="492" y="87"/>
                    </a:lnTo>
                    <a:lnTo>
                      <a:pt x="468" y="72"/>
                    </a:lnTo>
                    <a:lnTo>
                      <a:pt x="443" y="60"/>
                    </a:lnTo>
                    <a:lnTo>
                      <a:pt x="416" y="51"/>
                    </a:lnTo>
                    <a:lnTo>
                      <a:pt x="387" y="43"/>
                    </a:lnTo>
                    <a:lnTo>
                      <a:pt x="359" y="39"/>
                    </a:lnTo>
                    <a:lnTo>
                      <a:pt x="328" y="37"/>
                    </a:lnTo>
                    <a:lnTo>
                      <a:pt x="328"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sp>
            <p:nvSpPr>
              <p:cNvPr id="91" name="Freeform 213">
                <a:extLst>
                  <a:ext uri="{FF2B5EF4-FFF2-40B4-BE49-F238E27FC236}">
                    <a16:creationId xmlns:a16="http://schemas.microsoft.com/office/drawing/2014/main" id="{10F1AB3A-8918-4B03-A1CE-E8246FCEF95F}"/>
                  </a:ext>
                </a:extLst>
              </p:cNvPr>
              <p:cNvSpPr>
                <a:spLocks/>
              </p:cNvSpPr>
              <p:nvPr/>
            </p:nvSpPr>
            <p:spPr bwMode="auto">
              <a:xfrm>
                <a:off x="5978526" y="4312285"/>
                <a:ext cx="103188" cy="103188"/>
              </a:xfrm>
              <a:custGeom>
                <a:avLst/>
                <a:gdLst>
                  <a:gd name="T0" fmla="*/ 40 w 131"/>
                  <a:gd name="T1" fmla="*/ 85 h 130"/>
                  <a:gd name="T2" fmla="*/ 40 w 131"/>
                  <a:gd name="T3" fmla="*/ 85 h 130"/>
                  <a:gd name="T4" fmla="*/ 45 w 131"/>
                  <a:gd name="T5" fmla="*/ 87 h 130"/>
                  <a:gd name="T6" fmla="*/ 66 w 131"/>
                  <a:gd name="T7" fmla="*/ 87 h 130"/>
                  <a:gd name="T8" fmla="*/ 108 w 131"/>
                  <a:gd name="T9" fmla="*/ 130 h 130"/>
                  <a:gd name="T10" fmla="*/ 131 w 131"/>
                  <a:gd name="T11" fmla="*/ 111 h 130"/>
                  <a:gd name="T12" fmla="*/ 86 w 131"/>
                  <a:gd name="T13" fmla="*/ 66 h 130"/>
                  <a:gd name="T14" fmla="*/ 86 w 131"/>
                  <a:gd name="T15" fmla="*/ 45 h 130"/>
                  <a:gd name="T16" fmla="*/ 86 w 131"/>
                  <a:gd name="T17" fmla="*/ 45 h 130"/>
                  <a:gd name="T18" fmla="*/ 85 w 131"/>
                  <a:gd name="T19" fmla="*/ 41 h 130"/>
                  <a:gd name="T20" fmla="*/ 46 w 131"/>
                  <a:gd name="T21" fmla="*/ 3 h 130"/>
                  <a:gd name="T22" fmla="*/ 46 w 131"/>
                  <a:gd name="T23" fmla="*/ 3 h 130"/>
                  <a:gd name="T24" fmla="*/ 45 w 131"/>
                  <a:gd name="T25" fmla="*/ 2 h 130"/>
                  <a:gd name="T26" fmla="*/ 42 w 131"/>
                  <a:gd name="T27" fmla="*/ 0 h 130"/>
                  <a:gd name="T28" fmla="*/ 40 w 131"/>
                  <a:gd name="T29" fmla="*/ 2 h 130"/>
                  <a:gd name="T30" fmla="*/ 39 w 131"/>
                  <a:gd name="T31" fmla="*/ 3 h 130"/>
                  <a:gd name="T32" fmla="*/ 2 w 131"/>
                  <a:gd name="T33" fmla="*/ 39 h 130"/>
                  <a:gd name="T34" fmla="*/ 2 w 131"/>
                  <a:gd name="T35" fmla="*/ 39 h 130"/>
                  <a:gd name="T36" fmla="*/ 2 w 131"/>
                  <a:gd name="T37" fmla="*/ 41 h 130"/>
                  <a:gd name="T38" fmla="*/ 0 w 131"/>
                  <a:gd name="T39" fmla="*/ 43 h 130"/>
                  <a:gd name="T40" fmla="*/ 2 w 131"/>
                  <a:gd name="T41" fmla="*/ 45 h 130"/>
                  <a:gd name="T42" fmla="*/ 2 w 131"/>
                  <a:gd name="T43" fmla="*/ 46 h 130"/>
                  <a:gd name="T44" fmla="*/ 40 w 131"/>
                  <a:gd name="T45" fmla="*/ 8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1" h="130">
                    <a:moveTo>
                      <a:pt x="40" y="85"/>
                    </a:moveTo>
                    <a:lnTo>
                      <a:pt x="40" y="85"/>
                    </a:lnTo>
                    <a:lnTo>
                      <a:pt x="45" y="87"/>
                    </a:lnTo>
                    <a:lnTo>
                      <a:pt x="66" y="87"/>
                    </a:lnTo>
                    <a:lnTo>
                      <a:pt x="108" y="130"/>
                    </a:lnTo>
                    <a:lnTo>
                      <a:pt x="131" y="111"/>
                    </a:lnTo>
                    <a:lnTo>
                      <a:pt x="86" y="66"/>
                    </a:lnTo>
                    <a:lnTo>
                      <a:pt x="86" y="45"/>
                    </a:lnTo>
                    <a:lnTo>
                      <a:pt x="86" y="45"/>
                    </a:lnTo>
                    <a:lnTo>
                      <a:pt x="85" y="41"/>
                    </a:lnTo>
                    <a:lnTo>
                      <a:pt x="46" y="3"/>
                    </a:lnTo>
                    <a:lnTo>
                      <a:pt x="46" y="3"/>
                    </a:lnTo>
                    <a:lnTo>
                      <a:pt x="45" y="2"/>
                    </a:lnTo>
                    <a:lnTo>
                      <a:pt x="42" y="0"/>
                    </a:lnTo>
                    <a:lnTo>
                      <a:pt x="40" y="2"/>
                    </a:lnTo>
                    <a:lnTo>
                      <a:pt x="39" y="3"/>
                    </a:lnTo>
                    <a:lnTo>
                      <a:pt x="2" y="39"/>
                    </a:lnTo>
                    <a:lnTo>
                      <a:pt x="2" y="39"/>
                    </a:lnTo>
                    <a:lnTo>
                      <a:pt x="2" y="41"/>
                    </a:lnTo>
                    <a:lnTo>
                      <a:pt x="0" y="43"/>
                    </a:lnTo>
                    <a:lnTo>
                      <a:pt x="2" y="45"/>
                    </a:lnTo>
                    <a:lnTo>
                      <a:pt x="2" y="46"/>
                    </a:lnTo>
                    <a:lnTo>
                      <a:pt x="40" y="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sp>
            <p:nvSpPr>
              <p:cNvPr id="92" name="Freeform 214">
                <a:extLst>
                  <a:ext uri="{FF2B5EF4-FFF2-40B4-BE49-F238E27FC236}">
                    <a16:creationId xmlns:a16="http://schemas.microsoft.com/office/drawing/2014/main" id="{6D7E7FF0-943B-42B0-852C-32017E069D3B}"/>
                  </a:ext>
                </a:extLst>
              </p:cNvPr>
              <p:cNvSpPr>
                <a:spLocks noEditPoints="1"/>
              </p:cNvSpPr>
              <p:nvPr/>
            </p:nvSpPr>
            <p:spPr bwMode="auto">
              <a:xfrm>
                <a:off x="6108701" y="4439285"/>
                <a:ext cx="115888" cy="119063"/>
              </a:xfrm>
              <a:custGeom>
                <a:avLst/>
                <a:gdLst>
                  <a:gd name="T0" fmla="*/ 57 w 147"/>
                  <a:gd name="T1" fmla="*/ 0 h 152"/>
                  <a:gd name="T2" fmla="*/ 0 w 147"/>
                  <a:gd name="T3" fmla="*/ 69 h 152"/>
                  <a:gd name="T4" fmla="*/ 73 w 147"/>
                  <a:gd name="T5" fmla="*/ 140 h 152"/>
                  <a:gd name="T6" fmla="*/ 73 w 147"/>
                  <a:gd name="T7" fmla="*/ 140 h 152"/>
                  <a:gd name="T8" fmla="*/ 79 w 147"/>
                  <a:gd name="T9" fmla="*/ 145 h 152"/>
                  <a:gd name="T10" fmla="*/ 86 w 147"/>
                  <a:gd name="T11" fmla="*/ 149 h 152"/>
                  <a:gd name="T12" fmla="*/ 94 w 147"/>
                  <a:gd name="T13" fmla="*/ 152 h 152"/>
                  <a:gd name="T14" fmla="*/ 104 w 147"/>
                  <a:gd name="T15" fmla="*/ 152 h 152"/>
                  <a:gd name="T16" fmla="*/ 112 w 147"/>
                  <a:gd name="T17" fmla="*/ 152 h 152"/>
                  <a:gd name="T18" fmla="*/ 120 w 147"/>
                  <a:gd name="T19" fmla="*/ 149 h 152"/>
                  <a:gd name="T20" fmla="*/ 128 w 147"/>
                  <a:gd name="T21" fmla="*/ 145 h 152"/>
                  <a:gd name="T22" fmla="*/ 135 w 147"/>
                  <a:gd name="T23" fmla="*/ 140 h 152"/>
                  <a:gd name="T24" fmla="*/ 135 w 147"/>
                  <a:gd name="T25" fmla="*/ 140 h 152"/>
                  <a:gd name="T26" fmla="*/ 140 w 147"/>
                  <a:gd name="T27" fmla="*/ 133 h 152"/>
                  <a:gd name="T28" fmla="*/ 144 w 147"/>
                  <a:gd name="T29" fmla="*/ 125 h 152"/>
                  <a:gd name="T30" fmla="*/ 147 w 147"/>
                  <a:gd name="T31" fmla="*/ 117 h 152"/>
                  <a:gd name="T32" fmla="*/ 147 w 147"/>
                  <a:gd name="T33" fmla="*/ 109 h 152"/>
                  <a:gd name="T34" fmla="*/ 147 w 147"/>
                  <a:gd name="T35" fmla="*/ 101 h 152"/>
                  <a:gd name="T36" fmla="*/ 144 w 147"/>
                  <a:gd name="T37" fmla="*/ 91 h 152"/>
                  <a:gd name="T38" fmla="*/ 140 w 147"/>
                  <a:gd name="T39" fmla="*/ 85 h 152"/>
                  <a:gd name="T40" fmla="*/ 135 w 147"/>
                  <a:gd name="T41" fmla="*/ 78 h 152"/>
                  <a:gd name="T42" fmla="*/ 57 w 147"/>
                  <a:gd name="T43" fmla="*/ 0 h 152"/>
                  <a:gd name="T44" fmla="*/ 100 w 147"/>
                  <a:gd name="T45" fmla="*/ 105 h 152"/>
                  <a:gd name="T46" fmla="*/ 100 w 147"/>
                  <a:gd name="T47" fmla="*/ 105 h 152"/>
                  <a:gd name="T48" fmla="*/ 97 w 147"/>
                  <a:gd name="T49" fmla="*/ 106 h 152"/>
                  <a:gd name="T50" fmla="*/ 96 w 147"/>
                  <a:gd name="T51" fmla="*/ 106 h 152"/>
                  <a:gd name="T52" fmla="*/ 96 w 147"/>
                  <a:gd name="T53" fmla="*/ 106 h 152"/>
                  <a:gd name="T54" fmla="*/ 93 w 147"/>
                  <a:gd name="T55" fmla="*/ 106 h 152"/>
                  <a:gd name="T56" fmla="*/ 92 w 147"/>
                  <a:gd name="T57" fmla="*/ 105 h 152"/>
                  <a:gd name="T58" fmla="*/ 50 w 147"/>
                  <a:gd name="T59" fmla="*/ 63 h 152"/>
                  <a:gd name="T60" fmla="*/ 50 w 147"/>
                  <a:gd name="T61" fmla="*/ 63 h 152"/>
                  <a:gd name="T62" fmla="*/ 49 w 147"/>
                  <a:gd name="T63" fmla="*/ 62 h 152"/>
                  <a:gd name="T64" fmla="*/ 49 w 147"/>
                  <a:gd name="T65" fmla="*/ 59 h 152"/>
                  <a:gd name="T66" fmla="*/ 49 w 147"/>
                  <a:gd name="T67" fmla="*/ 58 h 152"/>
                  <a:gd name="T68" fmla="*/ 50 w 147"/>
                  <a:gd name="T69" fmla="*/ 55 h 152"/>
                  <a:gd name="T70" fmla="*/ 50 w 147"/>
                  <a:gd name="T71" fmla="*/ 55 h 152"/>
                  <a:gd name="T72" fmla="*/ 53 w 147"/>
                  <a:gd name="T73" fmla="*/ 55 h 152"/>
                  <a:gd name="T74" fmla="*/ 54 w 147"/>
                  <a:gd name="T75" fmla="*/ 54 h 152"/>
                  <a:gd name="T76" fmla="*/ 55 w 147"/>
                  <a:gd name="T77" fmla="*/ 55 h 152"/>
                  <a:gd name="T78" fmla="*/ 58 w 147"/>
                  <a:gd name="T79" fmla="*/ 55 h 152"/>
                  <a:gd name="T80" fmla="*/ 100 w 147"/>
                  <a:gd name="T81" fmla="*/ 97 h 152"/>
                  <a:gd name="T82" fmla="*/ 100 w 147"/>
                  <a:gd name="T83" fmla="*/ 97 h 152"/>
                  <a:gd name="T84" fmla="*/ 100 w 147"/>
                  <a:gd name="T85" fmla="*/ 100 h 152"/>
                  <a:gd name="T86" fmla="*/ 101 w 147"/>
                  <a:gd name="T87" fmla="*/ 101 h 152"/>
                  <a:gd name="T88" fmla="*/ 100 w 147"/>
                  <a:gd name="T89" fmla="*/ 102 h 152"/>
                  <a:gd name="T90" fmla="*/ 100 w 147"/>
                  <a:gd name="T91" fmla="*/ 105 h 152"/>
                  <a:gd name="T92" fmla="*/ 100 w 147"/>
                  <a:gd name="T93" fmla="*/ 105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7" h="152">
                    <a:moveTo>
                      <a:pt x="57" y="0"/>
                    </a:moveTo>
                    <a:lnTo>
                      <a:pt x="0" y="69"/>
                    </a:lnTo>
                    <a:lnTo>
                      <a:pt x="73" y="140"/>
                    </a:lnTo>
                    <a:lnTo>
                      <a:pt x="73" y="140"/>
                    </a:lnTo>
                    <a:lnTo>
                      <a:pt x="79" y="145"/>
                    </a:lnTo>
                    <a:lnTo>
                      <a:pt x="86" y="149"/>
                    </a:lnTo>
                    <a:lnTo>
                      <a:pt x="94" y="152"/>
                    </a:lnTo>
                    <a:lnTo>
                      <a:pt x="104" y="152"/>
                    </a:lnTo>
                    <a:lnTo>
                      <a:pt x="112" y="152"/>
                    </a:lnTo>
                    <a:lnTo>
                      <a:pt x="120" y="149"/>
                    </a:lnTo>
                    <a:lnTo>
                      <a:pt x="128" y="145"/>
                    </a:lnTo>
                    <a:lnTo>
                      <a:pt x="135" y="140"/>
                    </a:lnTo>
                    <a:lnTo>
                      <a:pt x="135" y="140"/>
                    </a:lnTo>
                    <a:lnTo>
                      <a:pt x="140" y="133"/>
                    </a:lnTo>
                    <a:lnTo>
                      <a:pt x="144" y="125"/>
                    </a:lnTo>
                    <a:lnTo>
                      <a:pt x="147" y="117"/>
                    </a:lnTo>
                    <a:lnTo>
                      <a:pt x="147" y="109"/>
                    </a:lnTo>
                    <a:lnTo>
                      <a:pt x="147" y="101"/>
                    </a:lnTo>
                    <a:lnTo>
                      <a:pt x="144" y="91"/>
                    </a:lnTo>
                    <a:lnTo>
                      <a:pt x="140" y="85"/>
                    </a:lnTo>
                    <a:lnTo>
                      <a:pt x="135" y="78"/>
                    </a:lnTo>
                    <a:lnTo>
                      <a:pt x="57" y="0"/>
                    </a:lnTo>
                    <a:close/>
                    <a:moveTo>
                      <a:pt x="100" y="105"/>
                    </a:moveTo>
                    <a:lnTo>
                      <a:pt x="100" y="105"/>
                    </a:lnTo>
                    <a:lnTo>
                      <a:pt x="97" y="106"/>
                    </a:lnTo>
                    <a:lnTo>
                      <a:pt x="96" y="106"/>
                    </a:lnTo>
                    <a:lnTo>
                      <a:pt x="96" y="106"/>
                    </a:lnTo>
                    <a:lnTo>
                      <a:pt x="93" y="106"/>
                    </a:lnTo>
                    <a:lnTo>
                      <a:pt x="92" y="105"/>
                    </a:lnTo>
                    <a:lnTo>
                      <a:pt x="50" y="63"/>
                    </a:lnTo>
                    <a:lnTo>
                      <a:pt x="50" y="63"/>
                    </a:lnTo>
                    <a:lnTo>
                      <a:pt x="49" y="62"/>
                    </a:lnTo>
                    <a:lnTo>
                      <a:pt x="49" y="59"/>
                    </a:lnTo>
                    <a:lnTo>
                      <a:pt x="49" y="58"/>
                    </a:lnTo>
                    <a:lnTo>
                      <a:pt x="50" y="55"/>
                    </a:lnTo>
                    <a:lnTo>
                      <a:pt x="50" y="55"/>
                    </a:lnTo>
                    <a:lnTo>
                      <a:pt x="53" y="55"/>
                    </a:lnTo>
                    <a:lnTo>
                      <a:pt x="54" y="54"/>
                    </a:lnTo>
                    <a:lnTo>
                      <a:pt x="55" y="55"/>
                    </a:lnTo>
                    <a:lnTo>
                      <a:pt x="58" y="55"/>
                    </a:lnTo>
                    <a:lnTo>
                      <a:pt x="100" y="97"/>
                    </a:lnTo>
                    <a:lnTo>
                      <a:pt x="100" y="97"/>
                    </a:lnTo>
                    <a:lnTo>
                      <a:pt x="100" y="100"/>
                    </a:lnTo>
                    <a:lnTo>
                      <a:pt x="101" y="101"/>
                    </a:lnTo>
                    <a:lnTo>
                      <a:pt x="100" y="102"/>
                    </a:lnTo>
                    <a:lnTo>
                      <a:pt x="100" y="105"/>
                    </a:lnTo>
                    <a:lnTo>
                      <a:pt x="100" y="10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sp>
            <p:nvSpPr>
              <p:cNvPr id="93" name="Freeform 215">
                <a:extLst>
                  <a:ext uri="{FF2B5EF4-FFF2-40B4-BE49-F238E27FC236}">
                    <a16:creationId xmlns:a16="http://schemas.microsoft.com/office/drawing/2014/main" id="{187EFC22-583D-4108-9EDC-F57C9C889ADE}"/>
                  </a:ext>
                </a:extLst>
              </p:cNvPr>
              <p:cNvSpPr>
                <a:spLocks noEditPoints="1"/>
              </p:cNvSpPr>
              <p:nvPr/>
            </p:nvSpPr>
            <p:spPr bwMode="auto">
              <a:xfrm>
                <a:off x="5978526" y="4312285"/>
                <a:ext cx="246063" cy="246063"/>
              </a:xfrm>
              <a:custGeom>
                <a:avLst/>
                <a:gdLst>
                  <a:gd name="T0" fmla="*/ 270 w 311"/>
                  <a:gd name="T1" fmla="*/ 84 h 311"/>
                  <a:gd name="T2" fmla="*/ 269 w 311"/>
                  <a:gd name="T3" fmla="*/ 85 h 311"/>
                  <a:gd name="T4" fmla="*/ 265 w 311"/>
                  <a:gd name="T5" fmla="*/ 85 h 311"/>
                  <a:gd name="T6" fmla="*/ 227 w 311"/>
                  <a:gd name="T7" fmla="*/ 49 h 311"/>
                  <a:gd name="T8" fmla="*/ 227 w 311"/>
                  <a:gd name="T9" fmla="*/ 48 h 311"/>
                  <a:gd name="T10" fmla="*/ 227 w 311"/>
                  <a:gd name="T11" fmla="*/ 43 h 311"/>
                  <a:gd name="T12" fmla="*/ 264 w 311"/>
                  <a:gd name="T13" fmla="*/ 6 h 311"/>
                  <a:gd name="T14" fmla="*/ 251 w 311"/>
                  <a:gd name="T15" fmla="*/ 2 h 311"/>
                  <a:gd name="T16" fmla="*/ 238 w 311"/>
                  <a:gd name="T17" fmla="*/ 0 h 311"/>
                  <a:gd name="T18" fmla="*/ 210 w 311"/>
                  <a:gd name="T19" fmla="*/ 7 h 311"/>
                  <a:gd name="T20" fmla="*/ 187 w 311"/>
                  <a:gd name="T21" fmla="*/ 22 h 311"/>
                  <a:gd name="T22" fmla="*/ 172 w 311"/>
                  <a:gd name="T23" fmla="*/ 45 h 311"/>
                  <a:gd name="T24" fmla="*/ 165 w 311"/>
                  <a:gd name="T25" fmla="*/ 73 h 311"/>
                  <a:gd name="T26" fmla="*/ 167 w 311"/>
                  <a:gd name="T27" fmla="*/ 84 h 311"/>
                  <a:gd name="T28" fmla="*/ 22 w 311"/>
                  <a:gd name="T29" fmla="*/ 212 h 311"/>
                  <a:gd name="T30" fmla="*/ 14 w 311"/>
                  <a:gd name="T31" fmla="*/ 220 h 311"/>
                  <a:gd name="T32" fmla="*/ 3 w 311"/>
                  <a:gd name="T33" fmla="*/ 240 h 311"/>
                  <a:gd name="T34" fmla="*/ 2 w 311"/>
                  <a:gd name="T35" fmla="*/ 263 h 311"/>
                  <a:gd name="T36" fmla="*/ 8 w 311"/>
                  <a:gd name="T37" fmla="*/ 283 h 311"/>
                  <a:gd name="T38" fmla="*/ 15 w 311"/>
                  <a:gd name="T39" fmla="*/ 293 h 311"/>
                  <a:gd name="T40" fmla="*/ 24 w 311"/>
                  <a:gd name="T41" fmla="*/ 302 h 311"/>
                  <a:gd name="T42" fmla="*/ 46 w 311"/>
                  <a:gd name="T43" fmla="*/ 311 h 311"/>
                  <a:gd name="T44" fmla="*/ 69 w 311"/>
                  <a:gd name="T45" fmla="*/ 310 h 311"/>
                  <a:gd name="T46" fmla="*/ 90 w 311"/>
                  <a:gd name="T47" fmla="*/ 300 h 311"/>
                  <a:gd name="T48" fmla="*/ 219 w 311"/>
                  <a:gd name="T49" fmla="*/ 143 h 311"/>
                  <a:gd name="T50" fmla="*/ 229 w 311"/>
                  <a:gd name="T51" fmla="*/ 146 h 311"/>
                  <a:gd name="T52" fmla="*/ 238 w 311"/>
                  <a:gd name="T53" fmla="*/ 146 h 311"/>
                  <a:gd name="T54" fmla="*/ 266 w 311"/>
                  <a:gd name="T55" fmla="*/ 140 h 311"/>
                  <a:gd name="T56" fmla="*/ 289 w 311"/>
                  <a:gd name="T57" fmla="*/ 124 h 311"/>
                  <a:gd name="T58" fmla="*/ 305 w 311"/>
                  <a:gd name="T59" fmla="*/ 101 h 311"/>
                  <a:gd name="T60" fmla="*/ 311 w 311"/>
                  <a:gd name="T61" fmla="*/ 73 h 311"/>
                  <a:gd name="T62" fmla="*/ 309 w 311"/>
                  <a:gd name="T63" fmla="*/ 61 h 311"/>
                  <a:gd name="T64" fmla="*/ 307 w 311"/>
                  <a:gd name="T65" fmla="*/ 49 h 311"/>
                  <a:gd name="T66" fmla="*/ 62 w 311"/>
                  <a:gd name="T67" fmla="*/ 265 h 311"/>
                  <a:gd name="T68" fmla="*/ 51 w 311"/>
                  <a:gd name="T69" fmla="*/ 260 h 311"/>
                  <a:gd name="T70" fmla="*/ 47 w 311"/>
                  <a:gd name="T71" fmla="*/ 249 h 311"/>
                  <a:gd name="T72" fmla="*/ 49 w 311"/>
                  <a:gd name="T73" fmla="*/ 244 h 311"/>
                  <a:gd name="T74" fmla="*/ 57 w 311"/>
                  <a:gd name="T75" fmla="*/ 236 h 311"/>
                  <a:gd name="T76" fmla="*/ 62 w 311"/>
                  <a:gd name="T77" fmla="*/ 234 h 311"/>
                  <a:gd name="T78" fmla="*/ 74 w 311"/>
                  <a:gd name="T79" fmla="*/ 238 h 311"/>
                  <a:gd name="T80" fmla="*/ 78 w 311"/>
                  <a:gd name="T81" fmla="*/ 249 h 311"/>
                  <a:gd name="T82" fmla="*/ 77 w 311"/>
                  <a:gd name="T83" fmla="*/ 256 h 311"/>
                  <a:gd name="T84" fmla="*/ 69 w 311"/>
                  <a:gd name="T85" fmla="*/ 264 h 311"/>
                  <a:gd name="T86" fmla="*/ 62 w 311"/>
                  <a:gd name="T87" fmla="*/ 265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1" h="311">
                    <a:moveTo>
                      <a:pt x="307" y="49"/>
                    </a:moveTo>
                    <a:lnTo>
                      <a:pt x="270" y="84"/>
                    </a:lnTo>
                    <a:lnTo>
                      <a:pt x="270" y="84"/>
                    </a:lnTo>
                    <a:lnTo>
                      <a:pt x="269" y="85"/>
                    </a:lnTo>
                    <a:lnTo>
                      <a:pt x="268" y="85"/>
                    </a:lnTo>
                    <a:lnTo>
                      <a:pt x="265" y="85"/>
                    </a:lnTo>
                    <a:lnTo>
                      <a:pt x="264" y="84"/>
                    </a:lnTo>
                    <a:lnTo>
                      <a:pt x="227" y="49"/>
                    </a:lnTo>
                    <a:lnTo>
                      <a:pt x="227" y="49"/>
                    </a:lnTo>
                    <a:lnTo>
                      <a:pt x="227" y="48"/>
                    </a:lnTo>
                    <a:lnTo>
                      <a:pt x="226" y="45"/>
                    </a:lnTo>
                    <a:lnTo>
                      <a:pt x="227" y="43"/>
                    </a:lnTo>
                    <a:lnTo>
                      <a:pt x="227" y="41"/>
                    </a:lnTo>
                    <a:lnTo>
                      <a:pt x="264" y="6"/>
                    </a:lnTo>
                    <a:lnTo>
                      <a:pt x="264" y="6"/>
                    </a:lnTo>
                    <a:lnTo>
                      <a:pt x="251" y="2"/>
                    </a:lnTo>
                    <a:lnTo>
                      <a:pt x="238" y="0"/>
                    </a:lnTo>
                    <a:lnTo>
                      <a:pt x="238" y="0"/>
                    </a:lnTo>
                    <a:lnTo>
                      <a:pt x="225" y="3"/>
                    </a:lnTo>
                    <a:lnTo>
                      <a:pt x="210" y="7"/>
                    </a:lnTo>
                    <a:lnTo>
                      <a:pt x="198" y="14"/>
                    </a:lnTo>
                    <a:lnTo>
                      <a:pt x="187" y="22"/>
                    </a:lnTo>
                    <a:lnTo>
                      <a:pt x="179" y="33"/>
                    </a:lnTo>
                    <a:lnTo>
                      <a:pt x="172" y="45"/>
                    </a:lnTo>
                    <a:lnTo>
                      <a:pt x="168" y="58"/>
                    </a:lnTo>
                    <a:lnTo>
                      <a:pt x="165" y="73"/>
                    </a:lnTo>
                    <a:lnTo>
                      <a:pt x="165" y="73"/>
                    </a:lnTo>
                    <a:lnTo>
                      <a:pt x="167" y="84"/>
                    </a:lnTo>
                    <a:lnTo>
                      <a:pt x="170" y="93"/>
                    </a:lnTo>
                    <a:lnTo>
                      <a:pt x="22" y="212"/>
                    </a:lnTo>
                    <a:lnTo>
                      <a:pt x="22" y="212"/>
                    </a:lnTo>
                    <a:lnTo>
                      <a:pt x="14" y="220"/>
                    </a:lnTo>
                    <a:lnTo>
                      <a:pt x="7" y="229"/>
                    </a:lnTo>
                    <a:lnTo>
                      <a:pt x="3" y="240"/>
                    </a:lnTo>
                    <a:lnTo>
                      <a:pt x="0" y="250"/>
                    </a:lnTo>
                    <a:lnTo>
                      <a:pt x="2" y="263"/>
                    </a:lnTo>
                    <a:lnTo>
                      <a:pt x="3" y="273"/>
                    </a:lnTo>
                    <a:lnTo>
                      <a:pt x="8" y="283"/>
                    </a:lnTo>
                    <a:lnTo>
                      <a:pt x="15" y="293"/>
                    </a:lnTo>
                    <a:lnTo>
                      <a:pt x="15" y="293"/>
                    </a:lnTo>
                    <a:lnTo>
                      <a:pt x="15" y="293"/>
                    </a:lnTo>
                    <a:lnTo>
                      <a:pt x="24" y="302"/>
                    </a:lnTo>
                    <a:lnTo>
                      <a:pt x="34" y="307"/>
                    </a:lnTo>
                    <a:lnTo>
                      <a:pt x="46" y="311"/>
                    </a:lnTo>
                    <a:lnTo>
                      <a:pt x="57" y="311"/>
                    </a:lnTo>
                    <a:lnTo>
                      <a:pt x="69" y="310"/>
                    </a:lnTo>
                    <a:lnTo>
                      <a:pt x="79" y="307"/>
                    </a:lnTo>
                    <a:lnTo>
                      <a:pt x="90" y="300"/>
                    </a:lnTo>
                    <a:lnTo>
                      <a:pt x="100" y="291"/>
                    </a:lnTo>
                    <a:lnTo>
                      <a:pt x="219" y="143"/>
                    </a:lnTo>
                    <a:lnTo>
                      <a:pt x="219" y="143"/>
                    </a:lnTo>
                    <a:lnTo>
                      <a:pt x="229" y="146"/>
                    </a:lnTo>
                    <a:lnTo>
                      <a:pt x="238" y="146"/>
                    </a:lnTo>
                    <a:lnTo>
                      <a:pt x="238" y="146"/>
                    </a:lnTo>
                    <a:lnTo>
                      <a:pt x="253" y="144"/>
                    </a:lnTo>
                    <a:lnTo>
                      <a:pt x="266" y="140"/>
                    </a:lnTo>
                    <a:lnTo>
                      <a:pt x="280" y="134"/>
                    </a:lnTo>
                    <a:lnTo>
                      <a:pt x="289" y="124"/>
                    </a:lnTo>
                    <a:lnTo>
                      <a:pt x="299" y="115"/>
                    </a:lnTo>
                    <a:lnTo>
                      <a:pt x="305" y="101"/>
                    </a:lnTo>
                    <a:lnTo>
                      <a:pt x="309" y="88"/>
                    </a:lnTo>
                    <a:lnTo>
                      <a:pt x="311" y="73"/>
                    </a:lnTo>
                    <a:lnTo>
                      <a:pt x="311" y="73"/>
                    </a:lnTo>
                    <a:lnTo>
                      <a:pt x="309" y="61"/>
                    </a:lnTo>
                    <a:lnTo>
                      <a:pt x="307" y="49"/>
                    </a:lnTo>
                    <a:lnTo>
                      <a:pt x="307" y="49"/>
                    </a:lnTo>
                    <a:close/>
                    <a:moveTo>
                      <a:pt x="62" y="265"/>
                    </a:moveTo>
                    <a:lnTo>
                      <a:pt x="62" y="265"/>
                    </a:lnTo>
                    <a:lnTo>
                      <a:pt x="57" y="264"/>
                    </a:lnTo>
                    <a:lnTo>
                      <a:pt x="51" y="260"/>
                    </a:lnTo>
                    <a:lnTo>
                      <a:pt x="49" y="256"/>
                    </a:lnTo>
                    <a:lnTo>
                      <a:pt x="47" y="249"/>
                    </a:lnTo>
                    <a:lnTo>
                      <a:pt x="47" y="249"/>
                    </a:lnTo>
                    <a:lnTo>
                      <a:pt x="49" y="244"/>
                    </a:lnTo>
                    <a:lnTo>
                      <a:pt x="51" y="238"/>
                    </a:lnTo>
                    <a:lnTo>
                      <a:pt x="57" y="236"/>
                    </a:lnTo>
                    <a:lnTo>
                      <a:pt x="62" y="234"/>
                    </a:lnTo>
                    <a:lnTo>
                      <a:pt x="62" y="234"/>
                    </a:lnTo>
                    <a:lnTo>
                      <a:pt x="69" y="236"/>
                    </a:lnTo>
                    <a:lnTo>
                      <a:pt x="74" y="238"/>
                    </a:lnTo>
                    <a:lnTo>
                      <a:pt x="77" y="244"/>
                    </a:lnTo>
                    <a:lnTo>
                      <a:pt x="78" y="249"/>
                    </a:lnTo>
                    <a:lnTo>
                      <a:pt x="78" y="249"/>
                    </a:lnTo>
                    <a:lnTo>
                      <a:pt x="77" y="256"/>
                    </a:lnTo>
                    <a:lnTo>
                      <a:pt x="74" y="260"/>
                    </a:lnTo>
                    <a:lnTo>
                      <a:pt x="69" y="264"/>
                    </a:lnTo>
                    <a:lnTo>
                      <a:pt x="62" y="265"/>
                    </a:lnTo>
                    <a:lnTo>
                      <a:pt x="62" y="2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grpSp>
      </p:grpSp>
      <p:grpSp>
        <p:nvGrpSpPr>
          <p:cNvPr id="114" name="Group 113">
            <a:extLst>
              <a:ext uri="{FF2B5EF4-FFF2-40B4-BE49-F238E27FC236}">
                <a16:creationId xmlns:a16="http://schemas.microsoft.com/office/drawing/2014/main" id="{6094CC48-49BF-44CB-B8F6-EAA5922688B3}"/>
              </a:ext>
            </a:extLst>
          </p:cNvPr>
          <p:cNvGrpSpPr/>
          <p:nvPr/>
        </p:nvGrpSpPr>
        <p:grpSpPr>
          <a:xfrm>
            <a:off x="7366142" y="2240684"/>
            <a:ext cx="2009082" cy="2715279"/>
            <a:chOff x="7419669" y="2240684"/>
            <a:chExt cx="2009082" cy="2715279"/>
          </a:xfrm>
        </p:grpSpPr>
        <p:grpSp>
          <p:nvGrpSpPr>
            <p:cNvPr id="72" name="Group 71">
              <a:extLst>
                <a:ext uri="{FF2B5EF4-FFF2-40B4-BE49-F238E27FC236}">
                  <a16:creationId xmlns:a16="http://schemas.microsoft.com/office/drawing/2014/main" id="{53FF4F5D-526C-4E9B-9600-08DBB0625B14}"/>
                </a:ext>
              </a:extLst>
            </p:cNvPr>
            <p:cNvGrpSpPr/>
            <p:nvPr/>
          </p:nvGrpSpPr>
          <p:grpSpPr>
            <a:xfrm>
              <a:off x="7419669" y="2240684"/>
              <a:ext cx="2009082" cy="2715279"/>
              <a:chOff x="7444101" y="2135926"/>
              <a:chExt cx="2009082" cy="2715279"/>
            </a:xfrm>
          </p:grpSpPr>
          <p:sp>
            <p:nvSpPr>
              <p:cNvPr id="73" name="Rectangle 72">
                <a:extLst>
                  <a:ext uri="{FF2B5EF4-FFF2-40B4-BE49-F238E27FC236}">
                    <a16:creationId xmlns:a16="http://schemas.microsoft.com/office/drawing/2014/main" id="{1BC118AE-4EE8-44B5-B899-982708E59AF3}"/>
                  </a:ext>
                </a:extLst>
              </p:cNvPr>
              <p:cNvSpPr/>
              <p:nvPr/>
            </p:nvSpPr>
            <p:spPr>
              <a:xfrm>
                <a:off x="7549566" y="2296695"/>
                <a:ext cx="1798152" cy="789281"/>
              </a:xfrm>
              <a:prstGeom prst="rect">
                <a:avLst/>
              </a:prstGeom>
              <a:solidFill>
                <a:srgbClr val="3EFAC5">
                  <a:lumMod val="40000"/>
                  <a:lumOff val="60000"/>
                </a:srgbClr>
              </a:solidFill>
              <a:ln w="12700" cap="flat" cmpd="sng" algn="ctr">
                <a:noFill/>
                <a:prstDash val="solid"/>
                <a:miter lim="800000"/>
              </a:ln>
              <a:effectLst/>
            </p:spPr>
            <p:txBody>
              <a:bodyPr bIns="13716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Open Sans"/>
                    <a:ea typeface="+mn-ea"/>
                    <a:cs typeface="+mn-cs"/>
                  </a:rPr>
                  <a:t>Platform &amp; Data</a:t>
                </a:r>
              </a:p>
            </p:txBody>
          </p:sp>
          <p:sp>
            <p:nvSpPr>
              <p:cNvPr id="74" name="Rectangle 73">
                <a:extLst>
                  <a:ext uri="{FF2B5EF4-FFF2-40B4-BE49-F238E27FC236}">
                    <a16:creationId xmlns:a16="http://schemas.microsoft.com/office/drawing/2014/main" id="{70B8BFFE-810A-4E76-A856-EDCA23B3F458}"/>
                  </a:ext>
                </a:extLst>
              </p:cNvPr>
              <p:cNvSpPr/>
              <p:nvPr/>
            </p:nvSpPr>
            <p:spPr>
              <a:xfrm>
                <a:off x="7549566" y="3113597"/>
                <a:ext cx="1798152" cy="789281"/>
              </a:xfrm>
              <a:prstGeom prst="rect">
                <a:avLst/>
              </a:prstGeom>
              <a:solidFill>
                <a:srgbClr val="3EFAC5">
                  <a:lumMod val="40000"/>
                  <a:lumOff val="6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0000"/>
                    </a:solidFill>
                    <a:effectLst/>
                    <a:uLnTx/>
                    <a:uFillTx/>
                    <a:latin typeface="Open Sans"/>
                    <a:ea typeface="+mn-ea"/>
                    <a:cs typeface="+mn-cs"/>
                  </a:rPr>
                  <a:t>80+</a:t>
                </a:r>
                <a:r>
                  <a:rPr kumimoji="0" lang="en-US" sz="800" b="1" i="0" u="none" strike="noStrike" kern="0" cap="none" spc="0" normalizeH="0" baseline="0" noProof="0" dirty="0">
                    <a:ln>
                      <a:noFill/>
                    </a:ln>
                    <a:solidFill>
                      <a:srgbClr val="000000"/>
                    </a:solidFill>
                    <a:effectLst/>
                    <a:uLnTx/>
                    <a:uFillTx/>
                    <a:latin typeface="Open Sans"/>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Open Sans"/>
                    <a:ea typeface="+mn-ea"/>
                    <a:cs typeface="+mn-cs"/>
                  </a:rPr>
                  <a:t>Global network of delivery centers, Greenhouses, and studios</a:t>
                </a:r>
              </a:p>
            </p:txBody>
          </p:sp>
          <p:sp>
            <p:nvSpPr>
              <p:cNvPr id="75" name="Rectangle 74">
                <a:extLst>
                  <a:ext uri="{FF2B5EF4-FFF2-40B4-BE49-F238E27FC236}">
                    <a16:creationId xmlns:a16="http://schemas.microsoft.com/office/drawing/2014/main" id="{647B5C37-CA03-4907-8688-63D1EB71E7D0}"/>
                  </a:ext>
                </a:extLst>
              </p:cNvPr>
              <p:cNvSpPr/>
              <p:nvPr/>
            </p:nvSpPr>
            <p:spPr>
              <a:xfrm>
                <a:off x="7549566" y="3930499"/>
                <a:ext cx="1798152" cy="789281"/>
              </a:xfrm>
              <a:prstGeom prst="rect">
                <a:avLst/>
              </a:prstGeom>
              <a:solidFill>
                <a:srgbClr val="3EFAC5">
                  <a:lumMod val="40000"/>
                  <a:lumOff val="6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0000"/>
                    </a:solidFill>
                    <a:effectLst/>
                    <a:uLnTx/>
                    <a:uFillTx/>
                    <a:latin typeface="Open Sans"/>
                    <a:ea typeface="+mn-ea"/>
                    <a:cs typeface="+mn-cs"/>
                  </a:rPr>
                  <a:t>35%</a:t>
                </a:r>
                <a:endParaRPr kumimoji="0" lang="en-US" sz="800" b="1" i="0" u="none" strike="noStrike" kern="0" cap="none" spc="0" normalizeH="0" baseline="0" noProof="0" dirty="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Open Sans"/>
                    <a:ea typeface="+mn-ea"/>
                    <a:cs typeface="+mn-cs"/>
                  </a:rPr>
                  <a:t>Of revenue focused in managed / subscription services</a:t>
                </a:r>
              </a:p>
            </p:txBody>
          </p:sp>
          <p:sp>
            <p:nvSpPr>
              <p:cNvPr id="76" name="Rectangle 75">
                <a:extLst>
                  <a:ext uri="{FF2B5EF4-FFF2-40B4-BE49-F238E27FC236}">
                    <a16:creationId xmlns:a16="http://schemas.microsoft.com/office/drawing/2014/main" id="{A4E64815-9381-4EB0-960B-CB6D1883608E}"/>
                  </a:ext>
                </a:extLst>
              </p:cNvPr>
              <p:cNvSpPr/>
              <p:nvPr/>
            </p:nvSpPr>
            <p:spPr>
              <a:xfrm>
                <a:off x="7444101" y="2135926"/>
                <a:ext cx="2009082" cy="2715279"/>
              </a:xfrm>
              <a:prstGeom prst="rect">
                <a:avLst/>
              </a:prstGeom>
              <a:noFill/>
              <a:ln w="19050" cap="flat" cmpd="sng" algn="ctr">
                <a:solidFill>
                  <a:srgbClr val="3EFAC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grpSp>
        <p:grpSp>
          <p:nvGrpSpPr>
            <p:cNvPr id="94" name="Group 93">
              <a:extLst>
                <a:ext uri="{FF2B5EF4-FFF2-40B4-BE49-F238E27FC236}">
                  <a16:creationId xmlns:a16="http://schemas.microsoft.com/office/drawing/2014/main" id="{7CB51FAE-3DA9-4188-B446-2F27203196A0}"/>
                </a:ext>
              </a:extLst>
            </p:cNvPr>
            <p:cNvGrpSpPr>
              <a:grpSpLocks noChangeAspect="1"/>
            </p:cNvGrpSpPr>
            <p:nvPr/>
          </p:nvGrpSpPr>
          <p:grpSpPr>
            <a:xfrm>
              <a:off x="8194477" y="2431135"/>
              <a:ext cx="457200" cy="457200"/>
              <a:chOff x="2314576" y="5015548"/>
              <a:chExt cx="522288" cy="522288"/>
            </a:xfrm>
          </p:grpSpPr>
          <p:sp>
            <p:nvSpPr>
              <p:cNvPr id="95" name="Freeform 53">
                <a:extLst>
                  <a:ext uri="{FF2B5EF4-FFF2-40B4-BE49-F238E27FC236}">
                    <a16:creationId xmlns:a16="http://schemas.microsoft.com/office/drawing/2014/main" id="{C86FB21F-AE6B-4A7E-B23A-4887F842D9CA}"/>
                  </a:ext>
                </a:extLst>
              </p:cNvPr>
              <p:cNvSpPr>
                <a:spLocks noEditPoints="1"/>
              </p:cNvSpPr>
              <p:nvPr/>
            </p:nvSpPr>
            <p:spPr bwMode="auto">
              <a:xfrm>
                <a:off x="2314576" y="5015548"/>
                <a:ext cx="522288" cy="522288"/>
              </a:xfrm>
              <a:custGeom>
                <a:avLst/>
                <a:gdLst>
                  <a:gd name="T0" fmla="*/ 313 w 658"/>
                  <a:gd name="T1" fmla="*/ 657 h 659"/>
                  <a:gd name="T2" fmla="*/ 263 w 658"/>
                  <a:gd name="T3" fmla="*/ 652 h 659"/>
                  <a:gd name="T4" fmla="*/ 201 w 658"/>
                  <a:gd name="T5" fmla="*/ 632 h 659"/>
                  <a:gd name="T6" fmla="*/ 121 w 658"/>
                  <a:gd name="T7" fmla="*/ 584 h 659"/>
                  <a:gd name="T8" fmla="*/ 56 w 658"/>
                  <a:gd name="T9" fmla="*/ 514 h 659"/>
                  <a:gd name="T10" fmla="*/ 14 w 658"/>
                  <a:gd name="T11" fmla="*/ 428 h 659"/>
                  <a:gd name="T12" fmla="*/ 4 w 658"/>
                  <a:gd name="T13" fmla="*/ 379 h 659"/>
                  <a:gd name="T14" fmla="*/ 0 w 658"/>
                  <a:gd name="T15" fmla="*/ 330 h 659"/>
                  <a:gd name="T16" fmla="*/ 2 w 658"/>
                  <a:gd name="T17" fmla="*/ 296 h 659"/>
                  <a:gd name="T18" fmla="*/ 10 w 658"/>
                  <a:gd name="T19" fmla="*/ 248 h 659"/>
                  <a:gd name="T20" fmla="*/ 40 w 658"/>
                  <a:gd name="T21" fmla="*/ 172 h 659"/>
                  <a:gd name="T22" fmla="*/ 96 w 658"/>
                  <a:gd name="T23" fmla="*/ 97 h 659"/>
                  <a:gd name="T24" fmla="*/ 173 w 658"/>
                  <a:gd name="T25" fmla="*/ 41 h 659"/>
                  <a:gd name="T26" fmla="*/ 247 w 658"/>
                  <a:gd name="T27" fmla="*/ 11 h 659"/>
                  <a:gd name="T28" fmla="*/ 295 w 658"/>
                  <a:gd name="T29" fmla="*/ 2 h 659"/>
                  <a:gd name="T30" fmla="*/ 329 w 658"/>
                  <a:gd name="T31" fmla="*/ 0 h 659"/>
                  <a:gd name="T32" fmla="*/ 379 w 658"/>
                  <a:gd name="T33" fmla="*/ 4 h 659"/>
                  <a:gd name="T34" fmla="*/ 427 w 658"/>
                  <a:gd name="T35" fmla="*/ 15 h 659"/>
                  <a:gd name="T36" fmla="*/ 513 w 658"/>
                  <a:gd name="T37" fmla="*/ 57 h 659"/>
                  <a:gd name="T38" fmla="*/ 583 w 658"/>
                  <a:gd name="T39" fmla="*/ 120 h 659"/>
                  <a:gd name="T40" fmla="*/ 633 w 658"/>
                  <a:gd name="T41" fmla="*/ 202 h 659"/>
                  <a:gd name="T42" fmla="*/ 651 w 658"/>
                  <a:gd name="T43" fmla="*/ 264 h 659"/>
                  <a:gd name="T44" fmla="*/ 658 w 658"/>
                  <a:gd name="T45" fmla="*/ 312 h 659"/>
                  <a:gd name="T46" fmla="*/ 658 w 658"/>
                  <a:gd name="T47" fmla="*/ 346 h 659"/>
                  <a:gd name="T48" fmla="*/ 651 w 658"/>
                  <a:gd name="T49" fmla="*/ 395 h 659"/>
                  <a:gd name="T50" fmla="*/ 633 w 658"/>
                  <a:gd name="T51" fmla="*/ 457 h 659"/>
                  <a:gd name="T52" fmla="*/ 583 w 658"/>
                  <a:gd name="T53" fmla="*/ 538 h 659"/>
                  <a:gd name="T54" fmla="*/ 513 w 658"/>
                  <a:gd name="T55" fmla="*/ 602 h 659"/>
                  <a:gd name="T56" fmla="*/ 427 w 658"/>
                  <a:gd name="T57" fmla="*/ 644 h 659"/>
                  <a:gd name="T58" fmla="*/ 379 w 658"/>
                  <a:gd name="T59" fmla="*/ 655 h 659"/>
                  <a:gd name="T60" fmla="*/ 329 w 658"/>
                  <a:gd name="T61" fmla="*/ 659 h 659"/>
                  <a:gd name="T62" fmla="*/ 329 w 658"/>
                  <a:gd name="T63" fmla="*/ 38 h 659"/>
                  <a:gd name="T64" fmla="*/ 243 w 658"/>
                  <a:gd name="T65" fmla="*/ 51 h 659"/>
                  <a:gd name="T66" fmla="*/ 166 w 658"/>
                  <a:gd name="T67" fmla="*/ 88 h 659"/>
                  <a:gd name="T68" fmla="*/ 104 w 658"/>
                  <a:gd name="T69" fmla="*/ 144 h 659"/>
                  <a:gd name="T70" fmla="*/ 61 w 658"/>
                  <a:gd name="T71" fmla="*/ 217 h 659"/>
                  <a:gd name="T72" fmla="*/ 40 w 658"/>
                  <a:gd name="T73" fmla="*/ 300 h 659"/>
                  <a:gd name="T74" fmla="*/ 40 w 658"/>
                  <a:gd name="T75" fmla="*/ 359 h 659"/>
                  <a:gd name="T76" fmla="*/ 61 w 658"/>
                  <a:gd name="T77" fmla="*/ 442 h 659"/>
                  <a:gd name="T78" fmla="*/ 104 w 658"/>
                  <a:gd name="T79" fmla="*/ 515 h 659"/>
                  <a:gd name="T80" fmla="*/ 166 w 658"/>
                  <a:gd name="T81" fmla="*/ 571 h 659"/>
                  <a:gd name="T82" fmla="*/ 243 w 658"/>
                  <a:gd name="T83" fmla="*/ 608 h 659"/>
                  <a:gd name="T84" fmla="*/ 329 w 658"/>
                  <a:gd name="T85" fmla="*/ 621 h 659"/>
                  <a:gd name="T86" fmla="*/ 388 w 658"/>
                  <a:gd name="T87" fmla="*/ 614 h 659"/>
                  <a:gd name="T88" fmla="*/ 467 w 658"/>
                  <a:gd name="T89" fmla="*/ 585 h 659"/>
                  <a:gd name="T90" fmla="*/ 534 w 658"/>
                  <a:gd name="T91" fmla="*/ 535 h 659"/>
                  <a:gd name="T92" fmla="*/ 586 w 658"/>
                  <a:gd name="T93" fmla="*/ 468 h 659"/>
                  <a:gd name="T94" fmla="*/ 615 w 658"/>
                  <a:gd name="T95" fmla="*/ 389 h 659"/>
                  <a:gd name="T96" fmla="*/ 620 w 658"/>
                  <a:gd name="T97" fmla="*/ 330 h 659"/>
                  <a:gd name="T98" fmla="*/ 607 w 658"/>
                  <a:gd name="T99" fmla="*/ 242 h 659"/>
                  <a:gd name="T100" fmla="*/ 571 w 658"/>
                  <a:gd name="T101" fmla="*/ 167 h 659"/>
                  <a:gd name="T102" fmla="*/ 514 w 658"/>
                  <a:gd name="T103" fmla="*/ 105 h 659"/>
                  <a:gd name="T104" fmla="*/ 443 w 658"/>
                  <a:gd name="T105" fmla="*/ 61 h 659"/>
                  <a:gd name="T106" fmla="*/ 358 w 658"/>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3" y="657"/>
                    </a:lnTo>
                    <a:lnTo>
                      <a:pt x="295" y="656"/>
                    </a:lnTo>
                    <a:lnTo>
                      <a:pt x="279" y="655"/>
                    </a:lnTo>
                    <a:lnTo>
                      <a:pt x="263" y="652"/>
                    </a:lnTo>
                    <a:lnTo>
                      <a:pt x="247" y="648"/>
                    </a:lnTo>
                    <a:lnTo>
                      <a:pt x="232" y="644"/>
                    </a:lnTo>
                    <a:lnTo>
                      <a:pt x="201" y="632"/>
                    </a:lnTo>
                    <a:lnTo>
                      <a:pt x="173" y="619"/>
                    </a:lnTo>
                    <a:lnTo>
                      <a:pt x="145" y="602"/>
                    </a:lnTo>
                    <a:lnTo>
                      <a:pt x="121" y="584"/>
                    </a:lnTo>
                    <a:lnTo>
                      <a:pt x="96" y="562"/>
                    </a:lnTo>
                    <a:lnTo>
                      <a:pt x="75" y="538"/>
                    </a:lnTo>
                    <a:lnTo>
                      <a:pt x="56" y="514"/>
                    </a:lnTo>
                    <a:lnTo>
                      <a:pt x="40" y="485"/>
                    </a:lnTo>
                    <a:lnTo>
                      <a:pt x="26" y="457"/>
                    </a:lnTo>
                    <a:lnTo>
                      <a:pt x="14" y="428"/>
                    </a:lnTo>
                    <a:lnTo>
                      <a:pt x="10" y="412"/>
                    </a:lnTo>
                    <a:lnTo>
                      <a:pt x="6" y="395"/>
                    </a:lnTo>
                    <a:lnTo>
                      <a:pt x="4" y="379"/>
                    </a:lnTo>
                    <a:lnTo>
                      <a:pt x="2" y="363"/>
                    </a:lnTo>
                    <a:lnTo>
                      <a:pt x="1" y="346"/>
                    </a:lnTo>
                    <a:lnTo>
                      <a:pt x="0" y="330"/>
                    </a:lnTo>
                    <a:lnTo>
                      <a:pt x="0" y="330"/>
                    </a:lnTo>
                    <a:lnTo>
                      <a:pt x="1" y="312"/>
                    </a:lnTo>
                    <a:lnTo>
                      <a:pt x="2" y="296"/>
                    </a:lnTo>
                    <a:lnTo>
                      <a:pt x="4" y="280"/>
                    </a:lnTo>
                    <a:lnTo>
                      <a:pt x="6" y="264"/>
                    </a:lnTo>
                    <a:lnTo>
                      <a:pt x="10" y="248"/>
                    </a:lnTo>
                    <a:lnTo>
                      <a:pt x="14" y="231"/>
                    </a:lnTo>
                    <a:lnTo>
                      <a:pt x="26" y="202"/>
                    </a:lnTo>
                    <a:lnTo>
                      <a:pt x="40" y="172"/>
                    </a:lnTo>
                    <a:lnTo>
                      <a:pt x="56" y="145"/>
                    </a:lnTo>
                    <a:lnTo>
                      <a:pt x="75" y="120"/>
                    </a:lnTo>
                    <a:lnTo>
                      <a:pt x="96" y="97"/>
                    </a:lnTo>
                    <a:lnTo>
                      <a:pt x="121" y="76"/>
                    </a:lnTo>
                    <a:lnTo>
                      <a:pt x="145" y="57"/>
                    </a:lnTo>
                    <a:lnTo>
                      <a:pt x="173" y="41"/>
                    </a:lnTo>
                    <a:lnTo>
                      <a:pt x="201" y="26"/>
                    </a:lnTo>
                    <a:lnTo>
                      <a:pt x="232" y="15"/>
                    </a:lnTo>
                    <a:lnTo>
                      <a:pt x="247" y="11"/>
                    </a:lnTo>
                    <a:lnTo>
                      <a:pt x="263" y="7"/>
                    </a:lnTo>
                    <a:lnTo>
                      <a:pt x="279" y="4"/>
                    </a:lnTo>
                    <a:lnTo>
                      <a:pt x="295" y="2"/>
                    </a:lnTo>
                    <a:lnTo>
                      <a:pt x="313" y="0"/>
                    </a:lnTo>
                    <a:lnTo>
                      <a:pt x="329" y="0"/>
                    </a:lnTo>
                    <a:lnTo>
                      <a:pt x="329" y="0"/>
                    </a:lnTo>
                    <a:lnTo>
                      <a:pt x="346" y="0"/>
                    </a:lnTo>
                    <a:lnTo>
                      <a:pt x="362" y="2"/>
                    </a:lnTo>
                    <a:lnTo>
                      <a:pt x="379" y="4"/>
                    </a:lnTo>
                    <a:lnTo>
                      <a:pt x="395" y="7"/>
                    </a:lnTo>
                    <a:lnTo>
                      <a:pt x="411" y="11"/>
                    </a:lnTo>
                    <a:lnTo>
                      <a:pt x="427" y="15"/>
                    </a:lnTo>
                    <a:lnTo>
                      <a:pt x="457" y="26"/>
                    </a:lnTo>
                    <a:lnTo>
                      <a:pt x="486" y="41"/>
                    </a:lnTo>
                    <a:lnTo>
                      <a:pt x="513" y="57"/>
                    </a:lnTo>
                    <a:lnTo>
                      <a:pt x="539" y="76"/>
                    </a:lnTo>
                    <a:lnTo>
                      <a:pt x="561" y="97"/>
                    </a:lnTo>
                    <a:lnTo>
                      <a:pt x="583" y="120"/>
                    </a:lnTo>
                    <a:lnTo>
                      <a:pt x="602" y="145"/>
                    </a:lnTo>
                    <a:lnTo>
                      <a:pt x="618" y="172"/>
                    </a:lnTo>
                    <a:lnTo>
                      <a:pt x="633" y="202"/>
                    </a:lnTo>
                    <a:lnTo>
                      <a:pt x="643" y="231"/>
                    </a:lnTo>
                    <a:lnTo>
                      <a:pt x="647" y="248"/>
                    </a:lnTo>
                    <a:lnTo>
                      <a:pt x="651" y="264"/>
                    </a:lnTo>
                    <a:lnTo>
                      <a:pt x="654" y="280"/>
                    </a:lnTo>
                    <a:lnTo>
                      <a:pt x="657" y="296"/>
                    </a:lnTo>
                    <a:lnTo>
                      <a:pt x="658" y="312"/>
                    </a:lnTo>
                    <a:lnTo>
                      <a:pt x="658" y="330"/>
                    </a:lnTo>
                    <a:lnTo>
                      <a:pt x="658" y="330"/>
                    </a:lnTo>
                    <a:lnTo>
                      <a:pt x="658" y="346"/>
                    </a:lnTo>
                    <a:lnTo>
                      <a:pt x="657" y="363"/>
                    </a:lnTo>
                    <a:lnTo>
                      <a:pt x="654" y="379"/>
                    </a:lnTo>
                    <a:lnTo>
                      <a:pt x="651" y="395"/>
                    </a:lnTo>
                    <a:lnTo>
                      <a:pt x="647" y="412"/>
                    </a:lnTo>
                    <a:lnTo>
                      <a:pt x="643" y="428"/>
                    </a:lnTo>
                    <a:lnTo>
                      <a:pt x="633" y="457"/>
                    </a:lnTo>
                    <a:lnTo>
                      <a:pt x="618" y="485"/>
                    </a:lnTo>
                    <a:lnTo>
                      <a:pt x="602" y="514"/>
                    </a:lnTo>
                    <a:lnTo>
                      <a:pt x="583" y="538"/>
                    </a:lnTo>
                    <a:lnTo>
                      <a:pt x="561" y="562"/>
                    </a:lnTo>
                    <a:lnTo>
                      <a:pt x="539" y="584"/>
                    </a:lnTo>
                    <a:lnTo>
                      <a:pt x="513" y="602"/>
                    </a:lnTo>
                    <a:lnTo>
                      <a:pt x="486" y="619"/>
                    </a:lnTo>
                    <a:lnTo>
                      <a:pt x="457" y="632"/>
                    </a:lnTo>
                    <a:lnTo>
                      <a:pt x="427" y="644"/>
                    </a:lnTo>
                    <a:lnTo>
                      <a:pt x="411" y="648"/>
                    </a:lnTo>
                    <a:lnTo>
                      <a:pt x="395" y="652"/>
                    </a:lnTo>
                    <a:lnTo>
                      <a:pt x="379" y="655"/>
                    </a:lnTo>
                    <a:lnTo>
                      <a:pt x="362" y="656"/>
                    </a:lnTo>
                    <a:lnTo>
                      <a:pt x="346" y="657"/>
                    </a:lnTo>
                    <a:lnTo>
                      <a:pt x="329" y="659"/>
                    </a:lnTo>
                    <a:lnTo>
                      <a:pt x="329" y="659"/>
                    </a:lnTo>
                    <a:close/>
                    <a:moveTo>
                      <a:pt x="329" y="38"/>
                    </a:moveTo>
                    <a:lnTo>
                      <a:pt x="329" y="38"/>
                    </a:lnTo>
                    <a:lnTo>
                      <a:pt x="299" y="39"/>
                    </a:lnTo>
                    <a:lnTo>
                      <a:pt x="271" y="45"/>
                    </a:lnTo>
                    <a:lnTo>
                      <a:pt x="243" y="51"/>
                    </a:lnTo>
                    <a:lnTo>
                      <a:pt x="216" y="61"/>
                    </a:lnTo>
                    <a:lnTo>
                      <a:pt x="190" y="73"/>
                    </a:lnTo>
                    <a:lnTo>
                      <a:pt x="166" y="88"/>
                    </a:lnTo>
                    <a:lnTo>
                      <a:pt x="143" y="105"/>
                    </a:lnTo>
                    <a:lnTo>
                      <a:pt x="123" y="124"/>
                    </a:lnTo>
                    <a:lnTo>
                      <a:pt x="104" y="144"/>
                    </a:lnTo>
                    <a:lnTo>
                      <a:pt x="88" y="167"/>
                    </a:lnTo>
                    <a:lnTo>
                      <a:pt x="73" y="191"/>
                    </a:lnTo>
                    <a:lnTo>
                      <a:pt x="61" y="217"/>
                    </a:lnTo>
                    <a:lnTo>
                      <a:pt x="51" y="242"/>
                    </a:lnTo>
                    <a:lnTo>
                      <a:pt x="44" y="270"/>
                    </a:lnTo>
                    <a:lnTo>
                      <a:pt x="40" y="300"/>
                    </a:lnTo>
                    <a:lnTo>
                      <a:pt x="37" y="330"/>
                    </a:lnTo>
                    <a:lnTo>
                      <a:pt x="37" y="330"/>
                    </a:lnTo>
                    <a:lnTo>
                      <a:pt x="40" y="359"/>
                    </a:lnTo>
                    <a:lnTo>
                      <a:pt x="44" y="389"/>
                    </a:lnTo>
                    <a:lnTo>
                      <a:pt x="51" y="416"/>
                    </a:lnTo>
                    <a:lnTo>
                      <a:pt x="61" y="442"/>
                    </a:lnTo>
                    <a:lnTo>
                      <a:pt x="73" y="468"/>
                    </a:lnTo>
                    <a:lnTo>
                      <a:pt x="88" y="492"/>
                    </a:lnTo>
                    <a:lnTo>
                      <a:pt x="104" y="515"/>
                    </a:lnTo>
                    <a:lnTo>
                      <a:pt x="123" y="535"/>
                    </a:lnTo>
                    <a:lnTo>
                      <a:pt x="143" y="554"/>
                    </a:lnTo>
                    <a:lnTo>
                      <a:pt x="166" y="571"/>
                    </a:lnTo>
                    <a:lnTo>
                      <a:pt x="190" y="585"/>
                    </a:lnTo>
                    <a:lnTo>
                      <a:pt x="216" y="598"/>
                    </a:lnTo>
                    <a:lnTo>
                      <a:pt x="243" y="608"/>
                    </a:lnTo>
                    <a:lnTo>
                      <a:pt x="271" y="614"/>
                    </a:lnTo>
                    <a:lnTo>
                      <a:pt x="299" y="620"/>
                    </a:lnTo>
                    <a:lnTo>
                      <a:pt x="329" y="621"/>
                    </a:lnTo>
                    <a:lnTo>
                      <a:pt x="329" y="621"/>
                    </a:lnTo>
                    <a:lnTo>
                      <a:pt x="358" y="620"/>
                    </a:lnTo>
                    <a:lnTo>
                      <a:pt x="388" y="614"/>
                    </a:lnTo>
                    <a:lnTo>
                      <a:pt x="416" y="608"/>
                    </a:lnTo>
                    <a:lnTo>
                      <a:pt x="443" y="598"/>
                    </a:lnTo>
                    <a:lnTo>
                      <a:pt x="467" y="585"/>
                    </a:lnTo>
                    <a:lnTo>
                      <a:pt x="491" y="571"/>
                    </a:lnTo>
                    <a:lnTo>
                      <a:pt x="514" y="554"/>
                    </a:lnTo>
                    <a:lnTo>
                      <a:pt x="534" y="535"/>
                    </a:lnTo>
                    <a:lnTo>
                      <a:pt x="553" y="515"/>
                    </a:lnTo>
                    <a:lnTo>
                      <a:pt x="571" y="492"/>
                    </a:lnTo>
                    <a:lnTo>
                      <a:pt x="586" y="468"/>
                    </a:lnTo>
                    <a:lnTo>
                      <a:pt x="598" y="442"/>
                    </a:lnTo>
                    <a:lnTo>
                      <a:pt x="607" y="416"/>
                    </a:lnTo>
                    <a:lnTo>
                      <a:pt x="615" y="389"/>
                    </a:lnTo>
                    <a:lnTo>
                      <a:pt x="619" y="359"/>
                    </a:lnTo>
                    <a:lnTo>
                      <a:pt x="620" y="330"/>
                    </a:lnTo>
                    <a:lnTo>
                      <a:pt x="620" y="330"/>
                    </a:lnTo>
                    <a:lnTo>
                      <a:pt x="619" y="300"/>
                    </a:lnTo>
                    <a:lnTo>
                      <a:pt x="615" y="270"/>
                    </a:lnTo>
                    <a:lnTo>
                      <a:pt x="607" y="242"/>
                    </a:lnTo>
                    <a:lnTo>
                      <a:pt x="598" y="217"/>
                    </a:lnTo>
                    <a:lnTo>
                      <a:pt x="586" y="191"/>
                    </a:lnTo>
                    <a:lnTo>
                      <a:pt x="571" y="167"/>
                    </a:lnTo>
                    <a:lnTo>
                      <a:pt x="553" y="144"/>
                    </a:lnTo>
                    <a:lnTo>
                      <a:pt x="534" y="124"/>
                    </a:lnTo>
                    <a:lnTo>
                      <a:pt x="514" y="105"/>
                    </a:lnTo>
                    <a:lnTo>
                      <a:pt x="491" y="88"/>
                    </a:lnTo>
                    <a:lnTo>
                      <a:pt x="467" y="73"/>
                    </a:lnTo>
                    <a:lnTo>
                      <a:pt x="443" y="61"/>
                    </a:lnTo>
                    <a:lnTo>
                      <a:pt x="416" y="51"/>
                    </a:lnTo>
                    <a:lnTo>
                      <a:pt x="388" y="45"/>
                    </a:lnTo>
                    <a:lnTo>
                      <a:pt x="358"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sp>
            <p:nvSpPr>
              <p:cNvPr id="96" name="Freeform 252">
                <a:extLst>
                  <a:ext uri="{FF2B5EF4-FFF2-40B4-BE49-F238E27FC236}">
                    <a16:creationId xmlns:a16="http://schemas.microsoft.com/office/drawing/2014/main" id="{AAD39AA9-EEEA-44AB-B482-ADA3899200AF}"/>
                  </a:ext>
                </a:extLst>
              </p:cNvPr>
              <p:cNvSpPr>
                <a:spLocks/>
              </p:cNvSpPr>
              <p:nvPr/>
            </p:nvSpPr>
            <p:spPr bwMode="auto">
              <a:xfrm>
                <a:off x="2441576" y="5256848"/>
                <a:ext cx="146050" cy="146050"/>
              </a:xfrm>
              <a:custGeom>
                <a:avLst/>
                <a:gdLst>
                  <a:gd name="T0" fmla="*/ 158 w 183"/>
                  <a:gd name="T1" fmla="*/ 56 h 184"/>
                  <a:gd name="T2" fmla="*/ 160 w 183"/>
                  <a:gd name="T3" fmla="*/ 70 h 184"/>
                  <a:gd name="T4" fmla="*/ 158 w 183"/>
                  <a:gd name="T5" fmla="*/ 82 h 184"/>
                  <a:gd name="T6" fmla="*/ 154 w 183"/>
                  <a:gd name="T7" fmla="*/ 94 h 184"/>
                  <a:gd name="T8" fmla="*/ 146 w 183"/>
                  <a:gd name="T9" fmla="*/ 105 h 184"/>
                  <a:gd name="T10" fmla="*/ 103 w 183"/>
                  <a:gd name="T11" fmla="*/ 147 h 184"/>
                  <a:gd name="T12" fmla="*/ 87 w 183"/>
                  <a:gd name="T13" fmla="*/ 157 h 184"/>
                  <a:gd name="T14" fmla="*/ 70 w 183"/>
                  <a:gd name="T15" fmla="*/ 161 h 184"/>
                  <a:gd name="T16" fmla="*/ 52 w 183"/>
                  <a:gd name="T17" fmla="*/ 157 h 184"/>
                  <a:gd name="T18" fmla="*/ 36 w 183"/>
                  <a:gd name="T19" fmla="*/ 147 h 184"/>
                  <a:gd name="T20" fmla="*/ 29 w 183"/>
                  <a:gd name="T21" fmla="*/ 140 h 184"/>
                  <a:gd name="T22" fmla="*/ 23 w 183"/>
                  <a:gd name="T23" fmla="*/ 122 h 184"/>
                  <a:gd name="T24" fmla="*/ 23 w 183"/>
                  <a:gd name="T25" fmla="*/ 103 h 184"/>
                  <a:gd name="T26" fmla="*/ 29 w 183"/>
                  <a:gd name="T27" fmla="*/ 87 h 184"/>
                  <a:gd name="T28" fmla="*/ 79 w 183"/>
                  <a:gd name="T29" fmla="*/ 36 h 184"/>
                  <a:gd name="T30" fmla="*/ 86 w 183"/>
                  <a:gd name="T31" fmla="*/ 31 h 184"/>
                  <a:gd name="T32" fmla="*/ 103 w 183"/>
                  <a:gd name="T33" fmla="*/ 24 h 184"/>
                  <a:gd name="T34" fmla="*/ 113 w 183"/>
                  <a:gd name="T35" fmla="*/ 23 h 184"/>
                  <a:gd name="T36" fmla="*/ 126 w 183"/>
                  <a:gd name="T37" fmla="*/ 26 h 184"/>
                  <a:gd name="T38" fmla="*/ 144 w 183"/>
                  <a:gd name="T39" fmla="*/ 8 h 184"/>
                  <a:gd name="T40" fmla="*/ 123 w 183"/>
                  <a:gd name="T41" fmla="*/ 1 h 184"/>
                  <a:gd name="T42" fmla="*/ 102 w 183"/>
                  <a:gd name="T43" fmla="*/ 1 h 184"/>
                  <a:gd name="T44" fmla="*/ 80 w 183"/>
                  <a:gd name="T45" fmla="*/ 8 h 184"/>
                  <a:gd name="T46" fmla="*/ 63 w 183"/>
                  <a:gd name="T47" fmla="*/ 22 h 184"/>
                  <a:gd name="T48" fmla="*/ 20 w 183"/>
                  <a:gd name="T49" fmla="*/ 63 h 184"/>
                  <a:gd name="T50" fmla="*/ 5 w 183"/>
                  <a:gd name="T51" fmla="*/ 87 h 184"/>
                  <a:gd name="T52" fmla="*/ 0 w 183"/>
                  <a:gd name="T53" fmla="*/ 113 h 184"/>
                  <a:gd name="T54" fmla="*/ 5 w 183"/>
                  <a:gd name="T55" fmla="*/ 140 h 184"/>
                  <a:gd name="T56" fmla="*/ 20 w 183"/>
                  <a:gd name="T57" fmla="*/ 163 h 184"/>
                  <a:gd name="T58" fmla="*/ 31 w 183"/>
                  <a:gd name="T59" fmla="*/ 172 h 184"/>
                  <a:gd name="T60" fmla="*/ 56 w 183"/>
                  <a:gd name="T61" fmla="*/ 183 h 184"/>
                  <a:gd name="T62" fmla="*/ 70 w 183"/>
                  <a:gd name="T63" fmla="*/ 184 h 184"/>
                  <a:gd name="T64" fmla="*/ 97 w 183"/>
                  <a:gd name="T65" fmla="*/ 179 h 184"/>
                  <a:gd name="T66" fmla="*/ 119 w 183"/>
                  <a:gd name="T67" fmla="*/ 163 h 184"/>
                  <a:gd name="T68" fmla="*/ 162 w 183"/>
                  <a:gd name="T69" fmla="*/ 121 h 184"/>
                  <a:gd name="T70" fmla="*/ 175 w 183"/>
                  <a:gd name="T71" fmla="*/ 102 h 184"/>
                  <a:gd name="T72" fmla="*/ 181 w 183"/>
                  <a:gd name="T73" fmla="*/ 82 h 184"/>
                  <a:gd name="T74" fmla="*/ 181 w 183"/>
                  <a:gd name="T75" fmla="*/ 60 h 184"/>
                  <a:gd name="T76" fmla="*/ 176 w 183"/>
                  <a:gd name="T77" fmla="*/ 39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3" h="184">
                    <a:moveTo>
                      <a:pt x="158" y="56"/>
                    </a:moveTo>
                    <a:lnTo>
                      <a:pt x="158" y="56"/>
                    </a:lnTo>
                    <a:lnTo>
                      <a:pt x="160" y="63"/>
                    </a:lnTo>
                    <a:lnTo>
                      <a:pt x="160" y="70"/>
                    </a:lnTo>
                    <a:lnTo>
                      <a:pt x="160" y="75"/>
                    </a:lnTo>
                    <a:lnTo>
                      <a:pt x="158" y="82"/>
                    </a:lnTo>
                    <a:lnTo>
                      <a:pt x="157" y="87"/>
                    </a:lnTo>
                    <a:lnTo>
                      <a:pt x="154" y="94"/>
                    </a:lnTo>
                    <a:lnTo>
                      <a:pt x="150" y="99"/>
                    </a:lnTo>
                    <a:lnTo>
                      <a:pt x="146" y="105"/>
                    </a:lnTo>
                    <a:lnTo>
                      <a:pt x="103" y="147"/>
                    </a:lnTo>
                    <a:lnTo>
                      <a:pt x="103" y="147"/>
                    </a:lnTo>
                    <a:lnTo>
                      <a:pt x="97" y="153"/>
                    </a:lnTo>
                    <a:lnTo>
                      <a:pt x="87" y="157"/>
                    </a:lnTo>
                    <a:lnTo>
                      <a:pt x="79" y="160"/>
                    </a:lnTo>
                    <a:lnTo>
                      <a:pt x="70" y="161"/>
                    </a:lnTo>
                    <a:lnTo>
                      <a:pt x="60" y="160"/>
                    </a:lnTo>
                    <a:lnTo>
                      <a:pt x="52" y="157"/>
                    </a:lnTo>
                    <a:lnTo>
                      <a:pt x="43" y="153"/>
                    </a:lnTo>
                    <a:lnTo>
                      <a:pt x="36" y="147"/>
                    </a:lnTo>
                    <a:lnTo>
                      <a:pt x="36" y="147"/>
                    </a:lnTo>
                    <a:lnTo>
                      <a:pt x="29" y="140"/>
                    </a:lnTo>
                    <a:lnTo>
                      <a:pt x="25" y="132"/>
                    </a:lnTo>
                    <a:lnTo>
                      <a:pt x="23" y="122"/>
                    </a:lnTo>
                    <a:lnTo>
                      <a:pt x="21" y="113"/>
                    </a:lnTo>
                    <a:lnTo>
                      <a:pt x="23" y="103"/>
                    </a:lnTo>
                    <a:lnTo>
                      <a:pt x="25" y="95"/>
                    </a:lnTo>
                    <a:lnTo>
                      <a:pt x="29" y="87"/>
                    </a:lnTo>
                    <a:lnTo>
                      <a:pt x="36" y="79"/>
                    </a:lnTo>
                    <a:lnTo>
                      <a:pt x="79" y="36"/>
                    </a:lnTo>
                    <a:lnTo>
                      <a:pt x="79" y="36"/>
                    </a:lnTo>
                    <a:lnTo>
                      <a:pt x="86" y="31"/>
                    </a:lnTo>
                    <a:lnTo>
                      <a:pt x="94" y="27"/>
                    </a:lnTo>
                    <a:lnTo>
                      <a:pt x="103" y="24"/>
                    </a:lnTo>
                    <a:lnTo>
                      <a:pt x="113" y="23"/>
                    </a:lnTo>
                    <a:lnTo>
                      <a:pt x="113" y="23"/>
                    </a:lnTo>
                    <a:lnTo>
                      <a:pt x="119" y="23"/>
                    </a:lnTo>
                    <a:lnTo>
                      <a:pt x="126" y="26"/>
                    </a:lnTo>
                    <a:lnTo>
                      <a:pt x="144" y="8"/>
                    </a:lnTo>
                    <a:lnTo>
                      <a:pt x="144" y="8"/>
                    </a:lnTo>
                    <a:lnTo>
                      <a:pt x="133" y="4"/>
                    </a:lnTo>
                    <a:lnTo>
                      <a:pt x="123" y="1"/>
                    </a:lnTo>
                    <a:lnTo>
                      <a:pt x="113" y="0"/>
                    </a:lnTo>
                    <a:lnTo>
                      <a:pt x="102" y="1"/>
                    </a:lnTo>
                    <a:lnTo>
                      <a:pt x="91" y="4"/>
                    </a:lnTo>
                    <a:lnTo>
                      <a:pt x="80" y="8"/>
                    </a:lnTo>
                    <a:lnTo>
                      <a:pt x="71" y="13"/>
                    </a:lnTo>
                    <a:lnTo>
                      <a:pt x="63" y="22"/>
                    </a:lnTo>
                    <a:lnTo>
                      <a:pt x="20" y="63"/>
                    </a:lnTo>
                    <a:lnTo>
                      <a:pt x="20" y="63"/>
                    </a:lnTo>
                    <a:lnTo>
                      <a:pt x="11" y="74"/>
                    </a:lnTo>
                    <a:lnTo>
                      <a:pt x="5" y="87"/>
                    </a:lnTo>
                    <a:lnTo>
                      <a:pt x="1" y="99"/>
                    </a:lnTo>
                    <a:lnTo>
                      <a:pt x="0" y="113"/>
                    </a:lnTo>
                    <a:lnTo>
                      <a:pt x="1" y="126"/>
                    </a:lnTo>
                    <a:lnTo>
                      <a:pt x="5" y="140"/>
                    </a:lnTo>
                    <a:lnTo>
                      <a:pt x="11" y="152"/>
                    </a:lnTo>
                    <a:lnTo>
                      <a:pt x="20" y="163"/>
                    </a:lnTo>
                    <a:lnTo>
                      <a:pt x="20" y="163"/>
                    </a:lnTo>
                    <a:lnTo>
                      <a:pt x="31" y="172"/>
                    </a:lnTo>
                    <a:lnTo>
                      <a:pt x="43" y="179"/>
                    </a:lnTo>
                    <a:lnTo>
                      <a:pt x="56" y="183"/>
                    </a:lnTo>
                    <a:lnTo>
                      <a:pt x="70" y="184"/>
                    </a:lnTo>
                    <a:lnTo>
                      <a:pt x="70" y="184"/>
                    </a:lnTo>
                    <a:lnTo>
                      <a:pt x="83" y="183"/>
                    </a:lnTo>
                    <a:lnTo>
                      <a:pt x="97" y="179"/>
                    </a:lnTo>
                    <a:lnTo>
                      <a:pt x="109" y="172"/>
                    </a:lnTo>
                    <a:lnTo>
                      <a:pt x="119" y="163"/>
                    </a:lnTo>
                    <a:lnTo>
                      <a:pt x="162" y="121"/>
                    </a:lnTo>
                    <a:lnTo>
                      <a:pt x="162" y="121"/>
                    </a:lnTo>
                    <a:lnTo>
                      <a:pt x="169" y="112"/>
                    </a:lnTo>
                    <a:lnTo>
                      <a:pt x="175" y="102"/>
                    </a:lnTo>
                    <a:lnTo>
                      <a:pt x="179" y="93"/>
                    </a:lnTo>
                    <a:lnTo>
                      <a:pt x="181" y="82"/>
                    </a:lnTo>
                    <a:lnTo>
                      <a:pt x="183" y="71"/>
                    </a:lnTo>
                    <a:lnTo>
                      <a:pt x="181" y="60"/>
                    </a:lnTo>
                    <a:lnTo>
                      <a:pt x="180" y="50"/>
                    </a:lnTo>
                    <a:lnTo>
                      <a:pt x="176" y="39"/>
                    </a:lnTo>
                    <a:lnTo>
                      <a:pt x="158" y="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sp>
            <p:nvSpPr>
              <p:cNvPr id="97" name="Freeform 253">
                <a:extLst>
                  <a:ext uri="{FF2B5EF4-FFF2-40B4-BE49-F238E27FC236}">
                    <a16:creationId xmlns:a16="http://schemas.microsoft.com/office/drawing/2014/main" id="{7B59BDB6-8548-4917-803F-D858A339D665}"/>
                  </a:ext>
                </a:extLst>
              </p:cNvPr>
              <p:cNvSpPr>
                <a:spLocks/>
              </p:cNvSpPr>
              <p:nvPr/>
            </p:nvSpPr>
            <p:spPr bwMode="auto">
              <a:xfrm>
                <a:off x="2563813" y="5134610"/>
                <a:ext cx="146050" cy="146050"/>
              </a:xfrm>
              <a:custGeom>
                <a:avLst/>
                <a:gdLst>
                  <a:gd name="T0" fmla="*/ 57 w 184"/>
                  <a:gd name="T1" fmla="*/ 158 h 183"/>
                  <a:gd name="T2" fmla="*/ 70 w 184"/>
                  <a:gd name="T3" fmla="*/ 160 h 183"/>
                  <a:gd name="T4" fmla="*/ 82 w 184"/>
                  <a:gd name="T5" fmla="*/ 158 h 183"/>
                  <a:gd name="T6" fmla="*/ 94 w 184"/>
                  <a:gd name="T7" fmla="*/ 154 h 183"/>
                  <a:gd name="T8" fmla="*/ 105 w 184"/>
                  <a:gd name="T9" fmla="*/ 146 h 183"/>
                  <a:gd name="T10" fmla="*/ 148 w 184"/>
                  <a:gd name="T11" fmla="*/ 103 h 183"/>
                  <a:gd name="T12" fmla="*/ 157 w 184"/>
                  <a:gd name="T13" fmla="*/ 87 h 183"/>
                  <a:gd name="T14" fmla="*/ 161 w 184"/>
                  <a:gd name="T15" fmla="*/ 70 h 183"/>
                  <a:gd name="T16" fmla="*/ 157 w 184"/>
                  <a:gd name="T17" fmla="*/ 51 h 183"/>
                  <a:gd name="T18" fmla="*/ 148 w 184"/>
                  <a:gd name="T19" fmla="*/ 36 h 183"/>
                  <a:gd name="T20" fmla="*/ 140 w 184"/>
                  <a:gd name="T21" fmla="*/ 29 h 183"/>
                  <a:gd name="T22" fmla="*/ 122 w 184"/>
                  <a:gd name="T23" fmla="*/ 23 h 183"/>
                  <a:gd name="T24" fmla="*/ 105 w 184"/>
                  <a:gd name="T25" fmla="*/ 23 h 183"/>
                  <a:gd name="T26" fmla="*/ 87 w 184"/>
                  <a:gd name="T27" fmla="*/ 29 h 183"/>
                  <a:gd name="T28" fmla="*/ 38 w 184"/>
                  <a:gd name="T29" fmla="*/ 78 h 183"/>
                  <a:gd name="T30" fmla="*/ 31 w 184"/>
                  <a:gd name="T31" fmla="*/ 86 h 183"/>
                  <a:gd name="T32" fmla="*/ 24 w 184"/>
                  <a:gd name="T33" fmla="*/ 103 h 183"/>
                  <a:gd name="T34" fmla="*/ 23 w 184"/>
                  <a:gd name="T35" fmla="*/ 113 h 183"/>
                  <a:gd name="T36" fmla="*/ 26 w 184"/>
                  <a:gd name="T37" fmla="*/ 126 h 183"/>
                  <a:gd name="T38" fmla="*/ 8 w 184"/>
                  <a:gd name="T39" fmla="*/ 144 h 183"/>
                  <a:gd name="T40" fmla="*/ 1 w 184"/>
                  <a:gd name="T41" fmla="*/ 122 h 183"/>
                  <a:gd name="T42" fmla="*/ 1 w 184"/>
                  <a:gd name="T43" fmla="*/ 101 h 183"/>
                  <a:gd name="T44" fmla="*/ 8 w 184"/>
                  <a:gd name="T45" fmla="*/ 80 h 183"/>
                  <a:gd name="T46" fmla="*/ 22 w 184"/>
                  <a:gd name="T47" fmla="*/ 63 h 183"/>
                  <a:gd name="T48" fmla="*/ 63 w 184"/>
                  <a:gd name="T49" fmla="*/ 20 h 183"/>
                  <a:gd name="T50" fmla="*/ 87 w 184"/>
                  <a:gd name="T51" fmla="*/ 4 h 183"/>
                  <a:gd name="T52" fmla="*/ 113 w 184"/>
                  <a:gd name="T53" fmla="*/ 0 h 183"/>
                  <a:gd name="T54" fmla="*/ 140 w 184"/>
                  <a:gd name="T55" fmla="*/ 4 h 183"/>
                  <a:gd name="T56" fmla="*/ 163 w 184"/>
                  <a:gd name="T57" fmla="*/ 20 h 183"/>
                  <a:gd name="T58" fmla="*/ 172 w 184"/>
                  <a:gd name="T59" fmla="*/ 31 h 183"/>
                  <a:gd name="T60" fmla="*/ 183 w 184"/>
                  <a:gd name="T61" fmla="*/ 56 h 183"/>
                  <a:gd name="T62" fmla="*/ 184 w 184"/>
                  <a:gd name="T63" fmla="*/ 70 h 183"/>
                  <a:gd name="T64" fmla="*/ 179 w 184"/>
                  <a:gd name="T65" fmla="*/ 97 h 183"/>
                  <a:gd name="T66" fmla="*/ 163 w 184"/>
                  <a:gd name="T67" fmla="*/ 119 h 183"/>
                  <a:gd name="T68" fmla="*/ 121 w 184"/>
                  <a:gd name="T69" fmla="*/ 161 h 183"/>
                  <a:gd name="T70" fmla="*/ 102 w 184"/>
                  <a:gd name="T71" fmla="*/ 175 h 183"/>
                  <a:gd name="T72" fmla="*/ 82 w 184"/>
                  <a:gd name="T73" fmla="*/ 181 h 183"/>
                  <a:gd name="T74" fmla="*/ 61 w 184"/>
                  <a:gd name="T75" fmla="*/ 181 h 183"/>
                  <a:gd name="T76" fmla="*/ 40 w 184"/>
                  <a:gd name="T77" fmla="*/ 175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4" h="183">
                    <a:moveTo>
                      <a:pt x="57" y="158"/>
                    </a:moveTo>
                    <a:lnTo>
                      <a:pt x="57" y="158"/>
                    </a:lnTo>
                    <a:lnTo>
                      <a:pt x="63" y="160"/>
                    </a:lnTo>
                    <a:lnTo>
                      <a:pt x="70" y="160"/>
                    </a:lnTo>
                    <a:lnTo>
                      <a:pt x="75" y="160"/>
                    </a:lnTo>
                    <a:lnTo>
                      <a:pt x="82" y="158"/>
                    </a:lnTo>
                    <a:lnTo>
                      <a:pt x="89" y="157"/>
                    </a:lnTo>
                    <a:lnTo>
                      <a:pt x="94" y="154"/>
                    </a:lnTo>
                    <a:lnTo>
                      <a:pt x="100" y="150"/>
                    </a:lnTo>
                    <a:lnTo>
                      <a:pt x="105" y="146"/>
                    </a:lnTo>
                    <a:lnTo>
                      <a:pt x="148" y="103"/>
                    </a:lnTo>
                    <a:lnTo>
                      <a:pt x="148" y="103"/>
                    </a:lnTo>
                    <a:lnTo>
                      <a:pt x="153" y="95"/>
                    </a:lnTo>
                    <a:lnTo>
                      <a:pt x="157" y="87"/>
                    </a:lnTo>
                    <a:lnTo>
                      <a:pt x="160" y="79"/>
                    </a:lnTo>
                    <a:lnTo>
                      <a:pt x="161" y="70"/>
                    </a:lnTo>
                    <a:lnTo>
                      <a:pt x="160" y="60"/>
                    </a:lnTo>
                    <a:lnTo>
                      <a:pt x="157" y="51"/>
                    </a:lnTo>
                    <a:lnTo>
                      <a:pt x="153" y="43"/>
                    </a:lnTo>
                    <a:lnTo>
                      <a:pt x="148" y="36"/>
                    </a:lnTo>
                    <a:lnTo>
                      <a:pt x="148" y="36"/>
                    </a:lnTo>
                    <a:lnTo>
                      <a:pt x="140" y="29"/>
                    </a:lnTo>
                    <a:lnTo>
                      <a:pt x="132" y="25"/>
                    </a:lnTo>
                    <a:lnTo>
                      <a:pt x="122" y="23"/>
                    </a:lnTo>
                    <a:lnTo>
                      <a:pt x="113" y="21"/>
                    </a:lnTo>
                    <a:lnTo>
                      <a:pt x="105" y="23"/>
                    </a:lnTo>
                    <a:lnTo>
                      <a:pt x="95" y="25"/>
                    </a:lnTo>
                    <a:lnTo>
                      <a:pt x="87" y="29"/>
                    </a:lnTo>
                    <a:lnTo>
                      <a:pt x="79" y="36"/>
                    </a:lnTo>
                    <a:lnTo>
                      <a:pt x="38" y="78"/>
                    </a:lnTo>
                    <a:lnTo>
                      <a:pt x="38" y="78"/>
                    </a:lnTo>
                    <a:lnTo>
                      <a:pt x="31" y="86"/>
                    </a:lnTo>
                    <a:lnTo>
                      <a:pt x="27" y="94"/>
                    </a:lnTo>
                    <a:lnTo>
                      <a:pt x="24" y="103"/>
                    </a:lnTo>
                    <a:lnTo>
                      <a:pt x="23" y="113"/>
                    </a:lnTo>
                    <a:lnTo>
                      <a:pt x="23" y="113"/>
                    </a:lnTo>
                    <a:lnTo>
                      <a:pt x="24" y="119"/>
                    </a:lnTo>
                    <a:lnTo>
                      <a:pt x="26" y="126"/>
                    </a:lnTo>
                    <a:lnTo>
                      <a:pt x="8" y="144"/>
                    </a:lnTo>
                    <a:lnTo>
                      <a:pt x="8" y="144"/>
                    </a:lnTo>
                    <a:lnTo>
                      <a:pt x="4" y="133"/>
                    </a:lnTo>
                    <a:lnTo>
                      <a:pt x="1" y="122"/>
                    </a:lnTo>
                    <a:lnTo>
                      <a:pt x="0" y="111"/>
                    </a:lnTo>
                    <a:lnTo>
                      <a:pt x="1" y="101"/>
                    </a:lnTo>
                    <a:lnTo>
                      <a:pt x="4" y="91"/>
                    </a:lnTo>
                    <a:lnTo>
                      <a:pt x="8" y="80"/>
                    </a:lnTo>
                    <a:lnTo>
                      <a:pt x="14" y="71"/>
                    </a:lnTo>
                    <a:lnTo>
                      <a:pt x="22" y="63"/>
                    </a:lnTo>
                    <a:lnTo>
                      <a:pt x="63" y="20"/>
                    </a:lnTo>
                    <a:lnTo>
                      <a:pt x="63" y="20"/>
                    </a:lnTo>
                    <a:lnTo>
                      <a:pt x="75" y="11"/>
                    </a:lnTo>
                    <a:lnTo>
                      <a:pt x="87" y="4"/>
                    </a:lnTo>
                    <a:lnTo>
                      <a:pt x="100" y="0"/>
                    </a:lnTo>
                    <a:lnTo>
                      <a:pt x="113" y="0"/>
                    </a:lnTo>
                    <a:lnTo>
                      <a:pt x="126" y="0"/>
                    </a:lnTo>
                    <a:lnTo>
                      <a:pt x="140" y="4"/>
                    </a:lnTo>
                    <a:lnTo>
                      <a:pt x="152" y="11"/>
                    </a:lnTo>
                    <a:lnTo>
                      <a:pt x="163" y="20"/>
                    </a:lnTo>
                    <a:lnTo>
                      <a:pt x="163" y="20"/>
                    </a:lnTo>
                    <a:lnTo>
                      <a:pt x="172" y="31"/>
                    </a:lnTo>
                    <a:lnTo>
                      <a:pt x="179" y="43"/>
                    </a:lnTo>
                    <a:lnTo>
                      <a:pt x="183" y="56"/>
                    </a:lnTo>
                    <a:lnTo>
                      <a:pt x="184" y="70"/>
                    </a:lnTo>
                    <a:lnTo>
                      <a:pt x="184" y="70"/>
                    </a:lnTo>
                    <a:lnTo>
                      <a:pt x="183" y="83"/>
                    </a:lnTo>
                    <a:lnTo>
                      <a:pt x="179" y="97"/>
                    </a:lnTo>
                    <a:lnTo>
                      <a:pt x="172" y="109"/>
                    </a:lnTo>
                    <a:lnTo>
                      <a:pt x="163" y="119"/>
                    </a:lnTo>
                    <a:lnTo>
                      <a:pt x="121" y="161"/>
                    </a:lnTo>
                    <a:lnTo>
                      <a:pt x="121" y="161"/>
                    </a:lnTo>
                    <a:lnTo>
                      <a:pt x="112" y="169"/>
                    </a:lnTo>
                    <a:lnTo>
                      <a:pt x="102" y="175"/>
                    </a:lnTo>
                    <a:lnTo>
                      <a:pt x="93" y="179"/>
                    </a:lnTo>
                    <a:lnTo>
                      <a:pt x="82" y="181"/>
                    </a:lnTo>
                    <a:lnTo>
                      <a:pt x="71" y="183"/>
                    </a:lnTo>
                    <a:lnTo>
                      <a:pt x="61" y="181"/>
                    </a:lnTo>
                    <a:lnTo>
                      <a:pt x="50" y="179"/>
                    </a:lnTo>
                    <a:lnTo>
                      <a:pt x="40" y="175"/>
                    </a:lnTo>
                    <a:lnTo>
                      <a:pt x="57" y="1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sp>
            <p:nvSpPr>
              <p:cNvPr id="98" name="Freeform 254">
                <a:extLst>
                  <a:ext uri="{FF2B5EF4-FFF2-40B4-BE49-F238E27FC236}">
                    <a16:creationId xmlns:a16="http://schemas.microsoft.com/office/drawing/2014/main" id="{E73295AA-547C-472C-AB2B-6E38A61D11E2}"/>
                  </a:ext>
                </a:extLst>
              </p:cNvPr>
              <p:cNvSpPr>
                <a:spLocks/>
              </p:cNvSpPr>
              <p:nvPr/>
            </p:nvSpPr>
            <p:spPr bwMode="auto">
              <a:xfrm>
                <a:off x="2522538" y="5215573"/>
                <a:ext cx="106363" cy="106363"/>
              </a:xfrm>
              <a:custGeom>
                <a:avLst/>
                <a:gdLst>
                  <a:gd name="T0" fmla="*/ 10 w 134"/>
                  <a:gd name="T1" fmla="*/ 134 h 134"/>
                  <a:gd name="T2" fmla="*/ 10 w 134"/>
                  <a:gd name="T3" fmla="*/ 134 h 134"/>
                  <a:gd name="T4" fmla="*/ 6 w 134"/>
                  <a:gd name="T5" fmla="*/ 134 h 134"/>
                  <a:gd name="T6" fmla="*/ 2 w 134"/>
                  <a:gd name="T7" fmla="*/ 131 h 134"/>
                  <a:gd name="T8" fmla="*/ 2 w 134"/>
                  <a:gd name="T9" fmla="*/ 131 h 134"/>
                  <a:gd name="T10" fmla="*/ 1 w 134"/>
                  <a:gd name="T11" fmla="*/ 127 h 134"/>
                  <a:gd name="T12" fmla="*/ 0 w 134"/>
                  <a:gd name="T13" fmla="*/ 123 h 134"/>
                  <a:gd name="T14" fmla="*/ 1 w 134"/>
                  <a:gd name="T15" fmla="*/ 119 h 134"/>
                  <a:gd name="T16" fmla="*/ 2 w 134"/>
                  <a:gd name="T17" fmla="*/ 115 h 134"/>
                  <a:gd name="T18" fmla="*/ 115 w 134"/>
                  <a:gd name="T19" fmla="*/ 2 h 134"/>
                  <a:gd name="T20" fmla="*/ 115 w 134"/>
                  <a:gd name="T21" fmla="*/ 2 h 134"/>
                  <a:gd name="T22" fmla="*/ 119 w 134"/>
                  <a:gd name="T23" fmla="*/ 0 h 134"/>
                  <a:gd name="T24" fmla="*/ 123 w 134"/>
                  <a:gd name="T25" fmla="*/ 0 h 134"/>
                  <a:gd name="T26" fmla="*/ 127 w 134"/>
                  <a:gd name="T27" fmla="*/ 0 h 134"/>
                  <a:gd name="T28" fmla="*/ 131 w 134"/>
                  <a:gd name="T29" fmla="*/ 2 h 134"/>
                  <a:gd name="T30" fmla="*/ 131 w 134"/>
                  <a:gd name="T31" fmla="*/ 2 h 134"/>
                  <a:gd name="T32" fmla="*/ 134 w 134"/>
                  <a:gd name="T33" fmla="*/ 6 h 134"/>
                  <a:gd name="T34" fmla="*/ 134 w 134"/>
                  <a:gd name="T35" fmla="*/ 10 h 134"/>
                  <a:gd name="T36" fmla="*/ 134 w 134"/>
                  <a:gd name="T37" fmla="*/ 14 h 134"/>
                  <a:gd name="T38" fmla="*/ 131 w 134"/>
                  <a:gd name="T39" fmla="*/ 18 h 134"/>
                  <a:gd name="T40" fmla="*/ 18 w 134"/>
                  <a:gd name="T41" fmla="*/ 131 h 134"/>
                  <a:gd name="T42" fmla="*/ 18 w 134"/>
                  <a:gd name="T43" fmla="*/ 131 h 134"/>
                  <a:gd name="T44" fmla="*/ 16 w 134"/>
                  <a:gd name="T45" fmla="*/ 134 h 134"/>
                  <a:gd name="T46" fmla="*/ 10 w 134"/>
                  <a:gd name="T47" fmla="*/ 134 h 134"/>
                  <a:gd name="T48" fmla="*/ 10 w 134"/>
                  <a:gd name="T49"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134">
                    <a:moveTo>
                      <a:pt x="10" y="134"/>
                    </a:moveTo>
                    <a:lnTo>
                      <a:pt x="10" y="134"/>
                    </a:lnTo>
                    <a:lnTo>
                      <a:pt x="6" y="134"/>
                    </a:lnTo>
                    <a:lnTo>
                      <a:pt x="2" y="131"/>
                    </a:lnTo>
                    <a:lnTo>
                      <a:pt x="2" y="131"/>
                    </a:lnTo>
                    <a:lnTo>
                      <a:pt x="1" y="127"/>
                    </a:lnTo>
                    <a:lnTo>
                      <a:pt x="0" y="123"/>
                    </a:lnTo>
                    <a:lnTo>
                      <a:pt x="1" y="119"/>
                    </a:lnTo>
                    <a:lnTo>
                      <a:pt x="2" y="115"/>
                    </a:lnTo>
                    <a:lnTo>
                      <a:pt x="115" y="2"/>
                    </a:lnTo>
                    <a:lnTo>
                      <a:pt x="115" y="2"/>
                    </a:lnTo>
                    <a:lnTo>
                      <a:pt x="119" y="0"/>
                    </a:lnTo>
                    <a:lnTo>
                      <a:pt x="123" y="0"/>
                    </a:lnTo>
                    <a:lnTo>
                      <a:pt x="127" y="0"/>
                    </a:lnTo>
                    <a:lnTo>
                      <a:pt x="131" y="2"/>
                    </a:lnTo>
                    <a:lnTo>
                      <a:pt x="131" y="2"/>
                    </a:lnTo>
                    <a:lnTo>
                      <a:pt x="134" y="6"/>
                    </a:lnTo>
                    <a:lnTo>
                      <a:pt x="134" y="10"/>
                    </a:lnTo>
                    <a:lnTo>
                      <a:pt x="134" y="14"/>
                    </a:lnTo>
                    <a:lnTo>
                      <a:pt x="131" y="18"/>
                    </a:lnTo>
                    <a:lnTo>
                      <a:pt x="18" y="131"/>
                    </a:lnTo>
                    <a:lnTo>
                      <a:pt x="18" y="131"/>
                    </a:lnTo>
                    <a:lnTo>
                      <a:pt x="16" y="134"/>
                    </a:lnTo>
                    <a:lnTo>
                      <a:pt x="10" y="134"/>
                    </a:lnTo>
                    <a:lnTo>
                      <a:pt x="10" y="1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grpSp>
      </p:grpSp>
      <p:grpSp>
        <p:nvGrpSpPr>
          <p:cNvPr id="113" name="Group 112">
            <a:extLst>
              <a:ext uri="{FF2B5EF4-FFF2-40B4-BE49-F238E27FC236}">
                <a16:creationId xmlns:a16="http://schemas.microsoft.com/office/drawing/2014/main" id="{8901EE5D-3412-4ED6-9558-C2C2915ACAB8}"/>
              </a:ext>
            </a:extLst>
          </p:cNvPr>
          <p:cNvGrpSpPr/>
          <p:nvPr/>
        </p:nvGrpSpPr>
        <p:grpSpPr>
          <a:xfrm>
            <a:off x="9588094" y="2240684"/>
            <a:ext cx="2009082" cy="3524978"/>
            <a:chOff x="9588094" y="2240684"/>
            <a:chExt cx="2009082" cy="3524978"/>
          </a:xfrm>
        </p:grpSpPr>
        <p:grpSp>
          <p:nvGrpSpPr>
            <p:cNvPr id="77" name="Group 76">
              <a:extLst>
                <a:ext uri="{FF2B5EF4-FFF2-40B4-BE49-F238E27FC236}">
                  <a16:creationId xmlns:a16="http://schemas.microsoft.com/office/drawing/2014/main" id="{88DFA497-6709-47DE-8B4C-A8E355A242B6}"/>
                </a:ext>
              </a:extLst>
            </p:cNvPr>
            <p:cNvGrpSpPr/>
            <p:nvPr/>
          </p:nvGrpSpPr>
          <p:grpSpPr>
            <a:xfrm>
              <a:off x="9588094" y="2240684"/>
              <a:ext cx="2009082" cy="3524978"/>
              <a:chOff x="9588094" y="2132560"/>
              <a:chExt cx="2009082" cy="3524978"/>
            </a:xfrm>
          </p:grpSpPr>
          <p:sp>
            <p:nvSpPr>
              <p:cNvPr id="78" name="Rectangle 77">
                <a:extLst>
                  <a:ext uri="{FF2B5EF4-FFF2-40B4-BE49-F238E27FC236}">
                    <a16:creationId xmlns:a16="http://schemas.microsoft.com/office/drawing/2014/main" id="{75BE3A62-3387-4FE8-8FD5-B10DA96A6DDF}"/>
                  </a:ext>
                </a:extLst>
              </p:cNvPr>
              <p:cNvSpPr/>
              <p:nvPr/>
            </p:nvSpPr>
            <p:spPr>
              <a:xfrm>
                <a:off x="9693559" y="2294794"/>
                <a:ext cx="1798152" cy="789281"/>
              </a:xfrm>
              <a:prstGeom prst="rect">
                <a:avLst/>
              </a:prstGeom>
              <a:solidFill>
                <a:srgbClr val="787878">
                  <a:lumMod val="40000"/>
                  <a:lumOff val="60000"/>
                </a:srgbClr>
              </a:solidFill>
              <a:ln w="12700" cap="flat" cmpd="sng" algn="ctr">
                <a:noFill/>
                <a:prstDash val="solid"/>
                <a:miter lim="800000"/>
              </a:ln>
              <a:effectLst/>
            </p:spPr>
            <p:txBody>
              <a:bodyPr bIns="13716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Open Sans"/>
                    <a:ea typeface="+mn-ea"/>
                    <a:cs typeface="+mn-cs"/>
                  </a:rPr>
                  <a:t>Talent</a:t>
                </a:r>
              </a:p>
            </p:txBody>
          </p:sp>
          <p:sp>
            <p:nvSpPr>
              <p:cNvPr id="79" name="Rectangle 78">
                <a:extLst>
                  <a:ext uri="{FF2B5EF4-FFF2-40B4-BE49-F238E27FC236}">
                    <a16:creationId xmlns:a16="http://schemas.microsoft.com/office/drawing/2014/main" id="{54DC0CA0-0114-42F5-A179-EEA1F60511BE}"/>
                  </a:ext>
                </a:extLst>
              </p:cNvPr>
              <p:cNvSpPr/>
              <p:nvPr/>
            </p:nvSpPr>
            <p:spPr>
              <a:xfrm>
                <a:off x="9693559" y="3105768"/>
                <a:ext cx="1798152" cy="789281"/>
              </a:xfrm>
              <a:prstGeom prst="rect">
                <a:avLst/>
              </a:prstGeom>
              <a:solidFill>
                <a:srgbClr val="787878">
                  <a:lumMod val="40000"/>
                  <a:lumOff val="6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0000"/>
                    </a:solidFill>
                    <a:effectLst/>
                    <a:uLnTx/>
                    <a:uFillTx/>
                    <a:latin typeface="Open Sans"/>
                    <a:ea typeface="+mn-ea"/>
                    <a:cs typeface="+mn-cs"/>
                  </a:rPr>
                  <a:t>2,600</a:t>
                </a:r>
                <a:endParaRPr kumimoji="0" lang="en-US" sz="800" b="1" i="0" u="none" strike="noStrike" kern="0" cap="none" spc="0" normalizeH="0" baseline="0" noProof="0" dirty="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Open Sans"/>
                    <a:ea typeface="+mn-ea"/>
                    <a:cs typeface="+mn-cs"/>
                  </a:rPr>
                  <a:t>Data scientists, 75% with advanced degrees</a:t>
                </a:r>
              </a:p>
            </p:txBody>
          </p:sp>
          <p:sp>
            <p:nvSpPr>
              <p:cNvPr id="80" name="Rectangle 79">
                <a:extLst>
                  <a:ext uri="{FF2B5EF4-FFF2-40B4-BE49-F238E27FC236}">
                    <a16:creationId xmlns:a16="http://schemas.microsoft.com/office/drawing/2014/main" id="{07E08A03-DE98-43E0-959B-2001CC9BF203}"/>
                  </a:ext>
                </a:extLst>
              </p:cNvPr>
              <p:cNvSpPr/>
              <p:nvPr/>
            </p:nvSpPr>
            <p:spPr>
              <a:xfrm>
                <a:off x="9693559" y="3928599"/>
                <a:ext cx="1798152" cy="789281"/>
              </a:xfrm>
              <a:prstGeom prst="rect">
                <a:avLst/>
              </a:prstGeom>
              <a:solidFill>
                <a:srgbClr val="787878">
                  <a:lumMod val="40000"/>
                  <a:lumOff val="6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0000"/>
                    </a:solidFill>
                    <a:effectLst/>
                    <a:uLnTx/>
                    <a:uFillTx/>
                    <a:latin typeface="Open Sans"/>
                    <a:ea typeface="+mn-ea"/>
                    <a:cs typeface="+mn-cs"/>
                  </a:rPr>
                  <a:t>DU</a:t>
                </a:r>
                <a:endParaRPr kumimoji="0" lang="en-US" sz="800" b="1" i="0" u="none" strike="noStrike" kern="0" cap="none" spc="0" normalizeH="0" baseline="0" noProof="0" dirty="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Open Sans"/>
                    <a:ea typeface="+mn-ea"/>
                    <a:cs typeface="+mn-cs"/>
                  </a:rPr>
                  <a:t>Deloitte University in all regions</a:t>
                </a:r>
              </a:p>
            </p:txBody>
          </p:sp>
          <p:sp>
            <p:nvSpPr>
              <p:cNvPr id="81" name="Rectangle 80">
                <a:extLst>
                  <a:ext uri="{FF2B5EF4-FFF2-40B4-BE49-F238E27FC236}">
                    <a16:creationId xmlns:a16="http://schemas.microsoft.com/office/drawing/2014/main" id="{05CFB261-8846-4999-ADF2-CBC26BAA3E2F}"/>
                  </a:ext>
                </a:extLst>
              </p:cNvPr>
              <p:cNvSpPr/>
              <p:nvPr/>
            </p:nvSpPr>
            <p:spPr>
              <a:xfrm>
                <a:off x="9693559" y="4751430"/>
                <a:ext cx="1798152" cy="789281"/>
              </a:xfrm>
              <a:prstGeom prst="rect">
                <a:avLst/>
              </a:prstGeom>
              <a:solidFill>
                <a:srgbClr val="787878">
                  <a:lumMod val="40000"/>
                  <a:lumOff val="6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0000"/>
                    </a:solidFill>
                    <a:effectLst/>
                    <a:uLnTx/>
                    <a:uFillTx/>
                    <a:latin typeface="Open Sans"/>
                    <a:ea typeface="+mn-ea"/>
                    <a:cs typeface="+mn-cs"/>
                  </a:rPr>
                  <a:t>SUMMITS</a:t>
                </a:r>
                <a:endParaRPr kumimoji="0" lang="en-US" sz="800" b="1" i="0" u="none" strike="noStrike" kern="0" cap="none" spc="0" normalizeH="0" baseline="0" noProof="0" dirty="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Open Sans"/>
                    <a:ea typeface="+mn-ea"/>
                    <a:cs typeface="+mn-cs"/>
                  </a:rPr>
                  <a:t>Analytics Summits in all regions</a:t>
                </a:r>
              </a:p>
            </p:txBody>
          </p:sp>
          <p:sp>
            <p:nvSpPr>
              <p:cNvPr id="82" name="Rectangle 81">
                <a:extLst>
                  <a:ext uri="{FF2B5EF4-FFF2-40B4-BE49-F238E27FC236}">
                    <a16:creationId xmlns:a16="http://schemas.microsoft.com/office/drawing/2014/main" id="{5757CF34-2785-40A9-9701-7BB44349A6BC}"/>
                  </a:ext>
                </a:extLst>
              </p:cNvPr>
              <p:cNvSpPr/>
              <p:nvPr/>
            </p:nvSpPr>
            <p:spPr>
              <a:xfrm>
                <a:off x="9588094" y="2132560"/>
                <a:ext cx="2009082" cy="3524978"/>
              </a:xfrm>
              <a:prstGeom prst="rect">
                <a:avLst/>
              </a:prstGeom>
              <a:noFill/>
              <a:ln w="19050" cap="flat" cmpd="sng" algn="ctr">
                <a:solidFill>
                  <a:srgbClr val="787878"/>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grpSp>
        <p:grpSp>
          <p:nvGrpSpPr>
            <p:cNvPr id="99" name="Group 98">
              <a:extLst>
                <a:ext uri="{FF2B5EF4-FFF2-40B4-BE49-F238E27FC236}">
                  <a16:creationId xmlns:a16="http://schemas.microsoft.com/office/drawing/2014/main" id="{5AF19EA1-D85E-4AB5-B34F-CC76BF961B21}"/>
                </a:ext>
              </a:extLst>
            </p:cNvPr>
            <p:cNvGrpSpPr>
              <a:grpSpLocks noChangeAspect="1"/>
            </p:cNvGrpSpPr>
            <p:nvPr/>
          </p:nvGrpSpPr>
          <p:grpSpPr>
            <a:xfrm>
              <a:off x="10364730" y="2431135"/>
              <a:ext cx="455810" cy="457200"/>
              <a:chOff x="8469313" y="823913"/>
              <a:chExt cx="520700" cy="522288"/>
            </a:xfrm>
          </p:grpSpPr>
          <p:sp>
            <p:nvSpPr>
              <p:cNvPr id="100" name="Freeform 15">
                <a:extLst>
                  <a:ext uri="{FF2B5EF4-FFF2-40B4-BE49-F238E27FC236}">
                    <a16:creationId xmlns:a16="http://schemas.microsoft.com/office/drawing/2014/main" id="{939C23F6-764E-4240-BF60-759F609E595E}"/>
                  </a:ext>
                </a:extLst>
              </p:cNvPr>
              <p:cNvSpPr>
                <a:spLocks noEditPoints="1"/>
              </p:cNvSpPr>
              <p:nvPr/>
            </p:nvSpPr>
            <p:spPr bwMode="auto">
              <a:xfrm>
                <a:off x="8469313" y="823913"/>
                <a:ext cx="520700" cy="522288"/>
              </a:xfrm>
              <a:custGeom>
                <a:avLst/>
                <a:gdLst>
                  <a:gd name="T0" fmla="*/ 312 w 657"/>
                  <a:gd name="T1" fmla="*/ 657 h 658"/>
                  <a:gd name="T2" fmla="*/ 262 w 657"/>
                  <a:gd name="T3" fmla="*/ 651 h 658"/>
                  <a:gd name="T4" fmla="*/ 201 w 657"/>
                  <a:gd name="T5" fmla="*/ 631 h 658"/>
                  <a:gd name="T6" fmla="*/ 120 w 657"/>
                  <a:gd name="T7" fmla="*/ 583 h 658"/>
                  <a:gd name="T8" fmla="*/ 56 w 657"/>
                  <a:gd name="T9" fmla="*/ 513 h 658"/>
                  <a:gd name="T10" fmla="*/ 15 w 657"/>
                  <a:gd name="T11" fmla="*/ 427 h 658"/>
                  <a:gd name="T12" fmla="*/ 4 w 657"/>
                  <a:gd name="T13" fmla="*/ 378 h 658"/>
                  <a:gd name="T14" fmla="*/ 0 w 657"/>
                  <a:gd name="T15" fmla="*/ 329 h 658"/>
                  <a:gd name="T16" fmla="*/ 1 w 657"/>
                  <a:gd name="T17" fmla="*/ 295 h 658"/>
                  <a:gd name="T18" fmla="*/ 11 w 657"/>
                  <a:gd name="T19" fmla="*/ 247 h 658"/>
                  <a:gd name="T20" fmla="*/ 40 w 657"/>
                  <a:gd name="T21" fmla="*/ 172 h 658"/>
                  <a:gd name="T22" fmla="*/ 97 w 657"/>
                  <a:gd name="T23" fmla="*/ 96 h 658"/>
                  <a:gd name="T24" fmla="*/ 172 w 657"/>
                  <a:gd name="T25" fmla="*/ 40 h 658"/>
                  <a:gd name="T26" fmla="*/ 247 w 657"/>
                  <a:gd name="T27" fmla="*/ 10 h 658"/>
                  <a:gd name="T28" fmla="*/ 295 w 657"/>
                  <a:gd name="T29" fmla="*/ 1 h 658"/>
                  <a:gd name="T30" fmla="*/ 329 w 657"/>
                  <a:gd name="T31" fmla="*/ 0 h 658"/>
                  <a:gd name="T32" fmla="*/ 379 w 657"/>
                  <a:gd name="T33" fmla="*/ 4 h 658"/>
                  <a:gd name="T34" fmla="*/ 426 w 657"/>
                  <a:gd name="T35" fmla="*/ 14 h 658"/>
                  <a:gd name="T36" fmla="*/ 512 w 657"/>
                  <a:gd name="T37" fmla="*/ 56 h 658"/>
                  <a:gd name="T38" fmla="*/ 582 w 657"/>
                  <a:gd name="T39" fmla="*/ 119 h 658"/>
                  <a:gd name="T40" fmla="*/ 631 w 657"/>
                  <a:gd name="T41" fmla="*/ 201 h 658"/>
                  <a:gd name="T42" fmla="*/ 650 w 657"/>
                  <a:gd name="T43" fmla="*/ 263 h 658"/>
                  <a:gd name="T44" fmla="*/ 657 w 657"/>
                  <a:gd name="T45" fmla="*/ 311 h 658"/>
                  <a:gd name="T46" fmla="*/ 657 w 657"/>
                  <a:gd name="T47" fmla="*/ 346 h 658"/>
                  <a:gd name="T48" fmla="*/ 650 w 657"/>
                  <a:gd name="T49" fmla="*/ 395 h 658"/>
                  <a:gd name="T50" fmla="*/ 631 w 657"/>
                  <a:gd name="T51" fmla="*/ 456 h 658"/>
                  <a:gd name="T52" fmla="*/ 582 w 657"/>
                  <a:gd name="T53" fmla="*/ 538 h 658"/>
                  <a:gd name="T54" fmla="*/ 512 w 657"/>
                  <a:gd name="T55" fmla="*/ 601 h 658"/>
                  <a:gd name="T56" fmla="*/ 426 w 657"/>
                  <a:gd name="T57" fmla="*/ 643 h 658"/>
                  <a:gd name="T58" fmla="*/ 379 w 657"/>
                  <a:gd name="T59" fmla="*/ 654 h 658"/>
                  <a:gd name="T60" fmla="*/ 329 w 657"/>
                  <a:gd name="T61" fmla="*/ 658 h 658"/>
                  <a:gd name="T62" fmla="*/ 329 w 657"/>
                  <a:gd name="T63" fmla="*/ 37 h 658"/>
                  <a:gd name="T64" fmla="*/ 242 w 657"/>
                  <a:gd name="T65" fmla="*/ 51 h 658"/>
                  <a:gd name="T66" fmla="*/ 167 w 657"/>
                  <a:gd name="T67" fmla="*/ 87 h 658"/>
                  <a:gd name="T68" fmla="*/ 103 w 657"/>
                  <a:gd name="T69" fmla="*/ 143 h 658"/>
                  <a:gd name="T70" fmla="*/ 60 w 657"/>
                  <a:gd name="T71" fmla="*/ 216 h 658"/>
                  <a:gd name="T72" fmla="*/ 39 w 657"/>
                  <a:gd name="T73" fmla="*/ 299 h 658"/>
                  <a:gd name="T74" fmla="*/ 39 w 657"/>
                  <a:gd name="T75" fmla="*/ 358 h 658"/>
                  <a:gd name="T76" fmla="*/ 60 w 657"/>
                  <a:gd name="T77" fmla="*/ 442 h 658"/>
                  <a:gd name="T78" fmla="*/ 103 w 657"/>
                  <a:gd name="T79" fmla="*/ 514 h 658"/>
                  <a:gd name="T80" fmla="*/ 167 w 657"/>
                  <a:gd name="T81" fmla="*/ 571 h 658"/>
                  <a:gd name="T82" fmla="*/ 242 w 657"/>
                  <a:gd name="T83" fmla="*/ 607 h 658"/>
                  <a:gd name="T84" fmla="*/ 329 w 657"/>
                  <a:gd name="T85" fmla="*/ 620 h 658"/>
                  <a:gd name="T86" fmla="*/ 387 w 657"/>
                  <a:gd name="T87" fmla="*/ 614 h 658"/>
                  <a:gd name="T88" fmla="*/ 467 w 657"/>
                  <a:gd name="T89" fmla="*/ 584 h 658"/>
                  <a:gd name="T90" fmla="*/ 535 w 657"/>
                  <a:gd name="T91" fmla="*/ 534 h 658"/>
                  <a:gd name="T92" fmla="*/ 584 w 657"/>
                  <a:gd name="T93" fmla="*/ 467 h 658"/>
                  <a:gd name="T94" fmla="*/ 614 w 657"/>
                  <a:gd name="T95" fmla="*/ 388 h 658"/>
                  <a:gd name="T96" fmla="*/ 619 w 657"/>
                  <a:gd name="T97" fmla="*/ 329 h 658"/>
                  <a:gd name="T98" fmla="*/ 607 w 657"/>
                  <a:gd name="T99" fmla="*/ 243 h 658"/>
                  <a:gd name="T100" fmla="*/ 570 w 657"/>
                  <a:gd name="T101" fmla="*/ 166 h 658"/>
                  <a:gd name="T102" fmla="*/ 513 w 657"/>
                  <a:gd name="T103" fmla="*/ 104 h 658"/>
                  <a:gd name="T104" fmla="*/ 442 w 657"/>
                  <a:gd name="T105" fmla="*/ 60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7"/>
                    </a:lnTo>
                    <a:lnTo>
                      <a:pt x="295" y="655"/>
                    </a:lnTo>
                    <a:lnTo>
                      <a:pt x="278" y="654"/>
                    </a:lnTo>
                    <a:lnTo>
                      <a:pt x="262" y="651"/>
                    </a:lnTo>
                    <a:lnTo>
                      <a:pt x="247" y="647"/>
                    </a:lnTo>
                    <a:lnTo>
                      <a:pt x="231" y="643"/>
                    </a:lnTo>
                    <a:lnTo>
                      <a:pt x="201" y="631"/>
                    </a:lnTo>
                    <a:lnTo>
                      <a:pt x="172" y="618"/>
                    </a:lnTo>
                    <a:lnTo>
                      <a:pt x="145" y="601"/>
                    </a:lnTo>
                    <a:lnTo>
                      <a:pt x="120" y="583"/>
                    </a:lnTo>
                    <a:lnTo>
                      <a:pt x="97" y="561"/>
                    </a:lnTo>
                    <a:lnTo>
                      <a:pt x="75" y="538"/>
                    </a:lnTo>
                    <a:lnTo>
                      <a:pt x="56" y="513"/>
                    </a:lnTo>
                    <a:lnTo>
                      <a:pt x="40" y="486"/>
                    </a:lnTo>
                    <a:lnTo>
                      <a:pt x="26" y="456"/>
                    </a:lnTo>
                    <a:lnTo>
                      <a:pt x="15" y="427"/>
                    </a:lnTo>
                    <a:lnTo>
                      <a:pt x="11" y="411"/>
                    </a:lnTo>
                    <a:lnTo>
                      <a:pt x="7" y="395"/>
                    </a:lnTo>
                    <a:lnTo>
                      <a:pt x="4" y="378"/>
                    </a:lnTo>
                    <a:lnTo>
                      <a:pt x="1" y="362"/>
                    </a:lnTo>
                    <a:lnTo>
                      <a:pt x="0" y="346"/>
                    </a:lnTo>
                    <a:lnTo>
                      <a:pt x="0" y="329"/>
                    </a:lnTo>
                    <a:lnTo>
                      <a:pt x="0" y="329"/>
                    </a:lnTo>
                    <a:lnTo>
                      <a:pt x="0" y="311"/>
                    </a:lnTo>
                    <a:lnTo>
                      <a:pt x="1" y="295"/>
                    </a:lnTo>
                    <a:lnTo>
                      <a:pt x="4" y="279"/>
                    </a:lnTo>
                    <a:lnTo>
                      <a:pt x="7" y="263"/>
                    </a:lnTo>
                    <a:lnTo>
                      <a:pt x="11" y="247"/>
                    </a:lnTo>
                    <a:lnTo>
                      <a:pt x="15" y="231"/>
                    </a:lnTo>
                    <a:lnTo>
                      <a:pt x="26" y="201"/>
                    </a:lnTo>
                    <a:lnTo>
                      <a:pt x="40" y="172"/>
                    </a:lnTo>
                    <a:lnTo>
                      <a:pt x="56" y="145"/>
                    </a:lnTo>
                    <a:lnTo>
                      <a:pt x="75" y="119"/>
                    </a:lnTo>
                    <a:lnTo>
                      <a:pt x="97" y="96"/>
                    </a:lnTo>
                    <a:lnTo>
                      <a:pt x="120" y="75"/>
                    </a:lnTo>
                    <a:lnTo>
                      <a:pt x="145" y="56"/>
                    </a:lnTo>
                    <a:lnTo>
                      <a:pt x="172" y="40"/>
                    </a:lnTo>
                    <a:lnTo>
                      <a:pt x="201" y="25"/>
                    </a:lnTo>
                    <a:lnTo>
                      <a:pt x="231" y="14"/>
                    </a:lnTo>
                    <a:lnTo>
                      <a:pt x="247" y="10"/>
                    </a:lnTo>
                    <a:lnTo>
                      <a:pt x="262" y="6"/>
                    </a:lnTo>
                    <a:lnTo>
                      <a:pt x="278" y="4"/>
                    </a:lnTo>
                    <a:lnTo>
                      <a:pt x="295" y="1"/>
                    </a:lnTo>
                    <a:lnTo>
                      <a:pt x="312" y="0"/>
                    </a:lnTo>
                    <a:lnTo>
                      <a:pt x="329" y="0"/>
                    </a:lnTo>
                    <a:lnTo>
                      <a:pt x="329" y="0"/>
                    </a:lnTo>
                    <a:lnTo>
                      <a:pt x="345" y="0"/>
                    </a:lnTo>
                    <a:lnTo>
                      <a:pt x="363" y="1"/>
                    </a:lnTo>
                    <a:lnTo>
                      <a:pt x="379" y="4"/>
                    </a:lnTo>
                    <a:lnTo>
                      <a:pt x="395" y="6"/>
                    </a:lnTo>
                    <a:lnTo>
                      <a:pt x="411" y="10"/>
                    </a:lnTo>
                    <a:lnTo>
                      <a:pt x="426" y="14"/>
                    </a:lnTo>
                    <a:lnTo>
                      <a:pt x="457" y="25"/>
                    </a:lnTo>
                    <a:lnTo>
                      <a:pt x="485" y="40"/>
                    </a:lnTo>
                    <a:lnTo>
                      <a:pt x="512" y="56"/>
                    </a:lnTo>
                    <a:lnTo>
                      <a:pt x="537" y="75"/>
                    </a:lnTo>
                    <a:lnTo>
                      <a:pt x="561" y="96"/>
                    </a:lnTo>
                    <a:lnTo>
                      <a:pt x="582" y="119"/>
                    </a:lnTo>
                    <a:lnTo>
                      <a:pt x="602" y="145"/>
                    </a:lnTo>
                    <a:lnTo>
                      <a:pt x="618" y="172"/>
                    </a:lnTo>
                    <a:lnTo>
                      <a:pt x="631" y="201"/>
                    </a:lnTo>
                    <a:lnTo>
                      <a:pt x="642" y="231"/>
                    </a:lnTo>
                    <a:lnTo>
                      <a:pt x="647" y="247"/>
                    </a:lnTo>
                    <a:lnTo>
                      <a:pt x="650" y="263"/>
                    </a:lnTo>
                    <a:lnTo>
                      <a:pt x="654" y="279"/>
                    </a:lnTo>
                    <a:lnTo>
                      <a:pt x="655" y="295"/>
                    </a:lnTo>
                    <a:lnTo>
                      <a:pt x="657" y="311"/>
                    </a:lnTo>
                    <a:lnTo>
                      <a:pt x="657" y="329"/>
                    </a:lnTo>
                    <a:lnTo>
                      <a:pt x="657" y="329"/>
                    </a:lnTo>
                    <a:lnTo>
                      <a:pt x="657" y="346"/>
                    </a:lnTo>
                    <a:lnTo>
                      <a:pt x="655" y="362"/>
                    </a:lnTo>
                    <a:lnTo>
                      <a:pt x="654" y="378"/>
                    </a:lnTo>
                    <a:lnTo>
                      <a:pt x="650" y="395"/>
                    </a:lnTo>
                    <a:lnTo>
                      <a:pt x="647" y="411"/>
                    </a:lnTo>
                    <a:lnTo>
                      <a:pt x="642" y="427"/>
                    </a:lnTo>
                    <a:lnTo>
                      <a:pt x="631" y="456"/>
                    </a:lnTo>
                    <a:lnTo>
                      <a:pt x="618" y="486"/>
                    </a:lnTo>
                    <a:lnTo>
                      <a:pt x="602" y="513"/>
                    </a:lnTo>
                    <a:lnTo>
                      <a:pt x="582" y="538"/>
                    </a:lnTo>
                    <a:lnTo>
                      <a:pt x="561" y="561"/>
                    </a:lnTo>
                    <a:lnTo>
                      <a:pt x="537" y="583"/>
                    </a:lnTo>
                    <a:lnTo>
                      <a:pt x="512" y="601"/>
                    </a:lnTo>
                    <a:lnTo>
                      <a:pt x="485" y="618"/>
                    </a:lnTo>
                    <a:lnTo>
                      <a:pt x="457" y="631"/>
                    </a:lnTo>
                    <a:lnTo>
                      <a:pt x="426" y="643"/>
                    </a:lnTo>
                    <a:lnTo>
                      <a:pt x="411" y="647"/>
                    </a:lnTo>
                    <a:lnTo>
                      <a:pt x="395" y="651"/>
                    </a:lnTo>
                    <a:lnTo>
                      <a:pt x="379" y="654"/>
                    </a:lnTo>
                    <a:lnTo>
                      <a:pt x="363" y="655"/>
                    </a:lnTo>
                    <a:lnTo>
                      <a:pt x="345" y="657"/>
                    </a:lnTo>
                    <a:lnTo>
                      <a:pt x="329" y="658"/>
                    </a:lnTo>
                    <a:lnTo>
                      <a:pt x="329" y="658"/>
                    </a:lnTo>
                    <a:close/>
                    <a:moveTo>
                      <a:pt x="329" y="37"/>
                    </a:moveTo>
                    <a:lnTo>
                      <a:pt x="329" y="37"/>
                    </a:lnTo>
                    <a:lnTo>
                      <a:pt x="300" y="39"/>
                    </a:lnTo>
                    <a:lnTo>
                      <a:pt x="270" y="44"/>
                    </a:lnTo>
                    <a:lnTo>
                      <a:pt x="242" y="51"/>
                    </a:lnTo>
                    <a:lnTo>
                      <a:pt x="215" y="60"/>
                    </a:lnTo>
                    <a:lnTo>
                      <a:pt x="189" y="72"/>
                    </a:lnTo>
                    <a:lnTo>
                      <a:pt x="167" y="87"/>
                    </a:lnTo>
                    <a:lnTo>
                      <a:pt x="144" y="104"/>
                    </a:lnTo>
                    <a:lnTo>
                      <a:pt x="122" y="123"/>
                    </a:lnTo>
                    <a:lnTo>
                      <a:pt x="103" y="143"/>
                    </a:lnTo>
                    <a:lnTo>
                      <a:pt x="87" y="166"/>
                    </a:lnTo>
                    <a:lnTo>
                      <a:pt x="73" y="190"/>
                    </a:lnTo>
                    <a:lnTo>
                      <a:pt x="60" y="216"/>
                    </a:lnTo>
                    <a:lnTo>
                      <a:pt x="51" y="243"/>
                    </a:lnTo>
                    <a:lnTo>
                      <a:pt x="43" y="270"/>
                    </a:lnTo>
                    <a:lnTo>
                      <a:pt x="39" y="299"/>
                    </a:lnTo>
                    <a:lnTo>
                      <a:pt x="38" y="329"/>
                    </a:lnTo>
                    <a:lnTo>
                      <a:pt x="38" y="329"/>
                    </a:lnTo>
                    <a:lnTo>
                      <a:pt x="39" y="358"/>
                    </a:lnTo>
                    <a:lnTo>
                      <a:pt x="43" y="388"/>
                    </a:lnTo>
                    <a:lnTo>
                      <a:pt x="51" y="415"/>
                    </a:lnTo>
                    <a:lnTo>
                      <a:pt x="60" y="442"/>
                    </a:lnTo>
                    <a:lnTo>
                      <a:pt x="73" y="467"/>
                    </a:lnTo>
                    <a:lnTo>
                      <a:pt x="87" y="491"/>
                    </a:lnTo>
                    <a:lnTo>
                      <a:pt x="103" y="514"/>
                    </a:lnTo>
                    <a:lnTo>
                      <a:pt x="122" y="534"/>
                    </a:lnTo>
                    <a:lnTo>
                      <a:pt x="144" y="553"/>
                    </a:lnTo>
                    <a:lnTo>
                      <a:pt x="167" y="571"/>
                    </a:lnTo>
                    <a:lnTo>
                      <a:pt x="189" y="584"/>
                    </a:lnTo>
                    <a:lnTo>
                      <a:pt x="215" y="597"/>
                    </a:lnTo>
                    <a:lnTo>
                      <a:pt x="242" y="607"/>
                    </a:lnTo>
                    <a:lnTo>
                      <a:pt x="270" y="614"/>
                    </a:lnTo>
                    <a:lnTo>
                      <a:pt x="300" y="619"/>
                    </a:lnTo>
                    <a:lnTo>
                      <a:pt x="329" y="620"/>
                    </a:lnTo>
                    <a:lnTo>
                      <a:pt x="329" y="620"/>
                    </a:lnTo>
                    <a:lnTo>
                      <a:pt x="359" y="619"/>
                    </a:lnTo>
                    <a:lnTo>
                      <a:pt x="387" y="614"/>
                    </a:lnTo>
                    <a:lnTo>
                      <a:pt x="415" y="607"/>
                    </a:lnTo>
                    <a:lnTo>
                      <a:pt x="442" y="597"/>
                    </a:lnTo>
                    <a:lnTo>
                      <a:pt x="467" y="584"/>
                    </a:lnTo>
                    <a:lnTo>
                      <a:pt x="492" y="571"/>
                    </a:lnTo>
                    <a:lnTo>
                      <a:pt x="513" y="553"/>
                    </a:lnTo>
                    <a:lnTo>
                      <a:pt x="535" y="534"/>
                    </a:lnTo>
                    <a:lnTo>
                      <a:pt x="553" y="514"/>
                    </a:lnTo>
                    <a:lnTo>
                      <a:pt x="570" y="491"/>
                    </a:lnTo>
                    <a:lnTo>
                      <a:pt x="584" y="467"/>
                    </a:lnTo>
                    <a:lnTo>
                      <a:pt x="596" y="442"/>
                    </a:lnTo>
                    <a:lnTo>
                      <a:pt x="607" y="415"/>
                    </a:lnTo>
                    <a:lnTo>
                      <a:pt x="614" y="388"/>
                    </a:lnTo>
                    <a:lnTo>
                      <a:pt x="618" y="358"/>
                    </a:lnTo>
                    <a:lnTo>
                      <a:pt x="619" y="329"/>
                    </a:lnTo>
                    <a:lnTo>
                      <a:pt x="619" y="329"/>
                    </a:lnTo>
                    <a:lnTo>
                      <a:pt x="618" y="299"/>
                    </a:lnTo>
                    <a:lnTo>
                      <a:pt x="614" y="270"/>
                    </a:lnTo>
                    <a:lnTo>
                      <a:pt x="607" y="243"/>
                    </a:lnTo>
                    <a:lnTo>
                      <a:pt x="596" y="216"/>
                    </a:lnTo>
                    <a:lnTo>
                      <a:pt x="584" y="190"/>
                    </a:lnTo>
                    <a:lnTo>
                      <a:pt x="570" y="166"/>
                    </a:lnTo>
                    <a:lnTo>
                      <a:pt x="553" y="143"/>
                    </a:lnTo>
                    <a:lnTo>
                      <a:pt x="535" y="123"/>
                    </a:lnTo>
                    <a:lnTo>
                      <a:pt x="513" y="104"/>
                    </a:lnTo>
                    <a:lnTo>
                      <a:pt x="492" y="87"/>
                    </a:lnTo>
                    <a:lnTo>
                      <a:pt x="467" y="72"/>
                    </a:lnTo>
                    <a:lnTo>
                      <a:pt x="442" y="60"/>
                    </a:lnTo>
                    <a:lnTo>
                      <a:pt x="415" y="51"/>
                    </a:lnTo>
                    <a:lnTo>
                      <a:pt x="387" y="44"/>
                    </a:lnTo>
                    <a:lnTo>
                      <a:pt x="359"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sp>
            <p:nvSpPr>
              <p:cNvPr id="101" name="Freeform 102">
                <a:extLst>
                  <a:ext uri="{FF2B5EF4-FFF2-40B4-BE49-F238E27FC236}">
                    <a16:creationId xmlns:a16="http://schemas.microsoft.com/office/drawing/2014/main" id="{82EC81D5-6729-46AE-86AF-AED67041417D}"/>
                  </a:ext>
                </a:extLst>
              </p:cNvPr>
              <p:cNvSpPr>
                <a:spLocks/>
              </p:cNvSpPr>
              <p:nvPr/>
            </p:nvSpPr>
            <p:spPr bwMode="auto">
              <a:xfrm>
                <a:off x="8629651" y="1149350"/>
                <a:ext cx="211138" cy="50800"/>
              </a:xfrm>
              <a:custGeom>
                <a:avLst/>
                <a:gdLst>
                  <a:gd name="T0" fmla="*/ 4 w 266"/>
                  <a:gd name="T1" fmla="*/ 0 h 65"/>
                  <a:gd name="T2" fmla="*/ 4 w 266"/>
                  <a:gd name="T3" fmla="*/ 0 h 65"/>
                  <a:gd name="T4" fmla="*/ 1 w 266"/>
                  <a:gd name="T5" fmla="*/ 2 h 65"/>
                  <a:gd name="T6" fmla="*/ 0 w 266"/>
                  <a:gd name="T7" fmla="*/ 6 h 65"/>
                  <a:gd name="T8" fmla="*/ 0 w 266"/>
                  <a:gd name="T9" fmla="*/ 59 h 65"/>
                  <a:gd name="T10" fmla="*/ 0 w 266"/>
                  <a:gd name="T11" fmla="*/ 59 h 65"/>
                  <a:gd name="T12" fmla="*/ 1 w 266"/>
                  <a:gd name="T13" fmla="*/ 63 h 65"/>
                  <a:gd name="T14" fmla="*/ 4 w 266"/>
                  <a:gd name="T15" fmla="*/ 65 h 65"/>
                  <a:gd name="T16" fmla="*/ 260 w 266"/>
                  <a:gd name="T17" fmla="*/ 65 h 65"/>
                  <a:gd name="T18" fmla="*/ 260 w 266"/>
                  <a:gd name="T19" fmla="*/ 65 h 65"/>
                  <a:gd name="T20" fmla="*/ 264 w 266"/>
                  <a:gd name="T21" fmla="*/ 63 h 65"/>
                  <a:gd name="T22" fmla="*/ 266 w 266"/>
                  <a:gd name="T23" fmla="*/ 59 h 65"/>
                  <a:gd name="T24" fmla="*/ 266 w 266"/>
                  <a:gd name="T25" fmla="*/ 6 h 65"/>
                  <a:gd name="T26" fmla="*/ 266 w 266"/>
                  <a:gd name="T27" fmla="*/ 6 h 65"/>
                  <a:gd name="T28" fmla="*/ 264 w 266"/>
                  <a:gd name="T29" fmla="*/ 2 h 65"/>
                  <a:gd name="T30" fmla="*/ 260 w 266"/>
                  <a:gd name="T31" fmla="*/ 0 h 65"/>
                  <a:gd name="T32" fmla="*/ 157 w 266"/>
                  <a:gd name="T33" fmla="*/ 0 h 65"/>
                  <a:gd name="T34" fmla="*/ 157 w 266"/>
                  <a:gd name="T35" fmla="*/ 10 h 65"/>
                  <a:gd name="T36" fmla="*/ 157 w 266"/>
                  <a:gd name="T37" fmla="*/ 10 h 65"/>
                  <a:gd name="T38" fmla="*/ 156 w 266"/>
                  <a:gd name="T39" fmla="*/ 14 h 65"/>
                  <a:gd name="T40" fmla="*/ 152 w 266"/>
                  <a:gd name="T41" fmla="*/ 15 h 65"/>
                  <a:gd name="T42" fmla="*/ 113 w 266"/>
                  <a:gd name="T43" fmla="*/ 15 h 65"/>
                  <a:gd name="T44" fmla="*/ 113 w 266"/>
                  <a:gd name="T45" fmla="*/ 15 h 65"/>
                  <a:gd name="T46" fmla="*/ 109 w 266"/>
                  <a:gd name="T47" fmla="*/ 14 h 65"/>
                  <a:gd name="T48" fmla="*/ 107 w 266"/>
                  <a:gd name="T49" fmla="*/ 10 h 65"/>
                  <a:gd name="T50" fmla="*/ 107 w 266"/>
                  <a:gd name="T51" fmla="*/ 0 h 65"/>
                  <a:gd name="T52" fmla="*/ 4 w 266"/>
                  <a:gd name="T5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66" h="65">
                    <a:moveTo>
                      <a:pt x="4" y="0"/>
                    </a:moveTo>
                    <a:lnTo>
                      <a:pt x="4" y="0"/>
                    </a:lnTo>
                    <a:lnTo>
                      <a:pt x="1" y="2"/>
                    </a:lnTo>
                    <a:lnTo>
                      <a:pt x="0" y="6"/>
                    </a:lnTo>
                    <a:lnTo>
                      <a:pt x="0" y="59"/>
                    </a:lnTo>
                    <a:lnTo>
                      <a:pt x="0" y="59"/>
                    </a:lnTo>
                    <a:lnTo>
                      <a:pt x="1" y="63"/>
                    </a:lnTo>
                    <a:lnTo>
                      <a:pt x="4" y="65"/>
                    </a:lnTo>
                    <a:lnTo>
                      <a:pt x="260" y="65"/>
                    </a:lnTo>
                    <a:lnTo>
                      <a:pt x="260" y="65"/>
                    </a:lnTo>
                    <a:lnTo>
                      <a:pt x="264" y="63"/>
                    </a:lnTo>
                    <a:lnTo>
                      <a:pt x="266" y="59"/>
                    </a:lnTo>
                    <a:lnTo>
                      <a:pt x="266" y="6"/>
                    </a:lnTo>
                    <a:lnTo>
                      <a:pt x="266" y="6"/>
                    </a:lnTo>
                    <a:lnTo>
                      <a:pt x="264" y="2"/>
                    </a:lnTo>
                    <a:lnTo>
                      <a:pt x="260" y="0"/>
                    </a:lnTo>
                    <a:lnTo>
                      <a:pt x="157" y="0"/>
                    </a:lnTo>
                    <a:lnTo>
                      <a:pt x="157" y="10"/>
                    </a:lnTo>
                    <a:lnTo>
                      <a:pt x="157" y="10"/>
                    </a:lnTo>
                    <a:lnTo>
                      <a:pt x="156" y="14"/>
                    </a:lnTo>
                    <a:lnTo>
                      <a:pt x="152" y="15"/>
                    </a:lnTo>
                    <a:lnTo>
                      <a:pt x="113" y="15"/>
                    </a:lnTo>
                    <a:lnTo>
                      <a:pt x="113" y="15"/>
                    </a:lnTo>
                    <a:lnTo>
                      <a:pt x="109" y="14"/>
                    </a:lnTo>
                    <a:lnTo>
                      <a:pt x="107" y="10"/>
                    </a:lnTo>
                    <a:lnTo>
                      <a:pt x="107" y="0"/>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sp>
            <p:nvSpPr>
              <p:cNvPr id="102" name="Freeform 103">
                <a:extLst>
                  <a:ext uri="{FF2B5EF4-FFF2-40B4-BE49-F238E27FC236}">
                    <a16:creationId xmlns:a16="http://schemas.microsoft.com/office/drawing/2014/main" id="{EDCD5FF9-4ED0-4030-915B-D8DADEA92F3D}"/>
                  </a:ext>
                </a:extLst>
              </p:cNvPr>
              <p:cNvSpPr>
                <a:spLocks noEditPoints="1"/>
              </p:cNvSpPr>
              <p:nvPr/>
            </p:nvSpPr>
            <p:spPr bwMode="auto">
              <a:xfrm>
                <a:off x="8613776" y="981075"/>
                <a:ext cx="242888" cy="160338"/>
              </a:xfrm>
              <a:custGeom>
                <a:avLst/>
                <a:gdLst>
                  <a:gd name="T0" fmla="*/ 301 w 306"/>
                  <a:gd name="T1" fmla="*/ 30 h 203"/>
                  <a:gd name="T2" fmla="*/ 207 w 306"/>
                  <a:gd name="T3" fmla="*/ 30 h 203"/>
                  <a:gd name="T4" fmla="*/ 207 w 306"/>
                  <a:gd name="T5" fmla="*/ 6 h 203"/>
                  <a:gd name="T6" fmla="*/ 207 w 306"/>
                  <a:gd name="T7" fmla="*/ 6 h 203"/>
                  <a:gd name="T8" fmla="*/ 205 w 306"/>
                  <a:gd name="T9" fmla="*/ 1 h 203"/>
                  <a:gd name="T10" fmla="*/ 201 w 306"/>
                  <a:gd name="T11" fmla="*/ 0 h 203"/>
                  <a:gd name="T12" fmla="*/ 103 w 306"/>
                  <a:gd name="T13" fmla="*/ 0 h 203"/>
                  <a:gd name="T14" fmla="*/ 103 w 306"/>
                  <a:gd name="T15" fmla="*/ 0 h 203"/>
                  <a:gd name="T16" fmla="*/ 99 w 306"/>
                  <a:gd name="T17" fmla="*/ 1 h 203"/>
                  <a:gd name="T18" fmla="*/ 98 w 306"/>
                  <a:gd name="T19" fmla="*/ 6 h 203"/>
                  <a:gd name="T20" fmla="*/ 98 w 306"/>
                  <a:gd name="T21" fmla="*/ 30 h 203"/>
                  <a:gd name="T22" fmla="*/ 5 w 306"/>
                  <a:gd name="T23" fmla="*/ 30 h 203"/>
                  <a:gd name="T24" fmla="*/ 5 w 306"/>
                  <a:gd name="T25" fmla="*/ 30 h 203"/>
                  <a:gd name="T26" fmla="*/ 1 w 306"/>
                  <a:gd name="T27" fmla="*/ 31 h 203"/>
                  <a:gd name="T28" fmla="*/ 0 w 306"/>
                  <a:gd name="T29" fmla="*/ 35 h 203"/>
                  <a:gd name="T30" fmla="*/ 0 w 306"/>
                  <a:gd name="T31" fmla="*/ 198 h 203"/>
                  <a:gd name="T32" fmla="*/ 0 w 306"/>
                  <a:gd name="T33" fmla="*/ 198 h 203"/>
                  <a:gd name="T34" fmla="*/ 1 w 306"/>
                  <a:gd name="T35" fmla="*/ 200 h 203"/>
                  <a:gd name="T36" fmla="*/ 5 w 306"/>
                  <a:gd name="T37" fmla="*/ 203 h 203"/>
                  <a:gd name="T38" fmla="*/ 127 w 306"/>
                  <a:gd name="T39" fmla="*/ 203 h 203"/>
                  <a:gd name="T40" fmla="*/ 127 w 306"/>
                  <a:gd name="T41" fmla="*/ 183 h 203"/>
                  <a:gd name="T42" fmla="*/ 127 w 306"/>
                  <a:gd name="T43" fmla="*/ 183 h 203"/>
                  <a:gd name="T44" fmla="*/ 129 w 306"/>
                  <a:gd name="T45" fmla="*/ 179 h 203"/>
                  <a:gd name="T46" fmla="*/ 133 w 306"/>
                  <a:gd name="T47" fmla="*/ 177 h 203"/>
                  <a:gd name="T48" fmla="*/ 172 w 306"/>
                  <a:gd name="T49" fmla="*/ 177 h 203"/>
                  <a:gd name="T50" fmla="*/ 172 w 306"/>
                  <a:gd name="T51" fmla="*/ 177 h 203"/>
                  <a:gd name="T52" fmla="*/ 176 w 306"/>
                  <a:gd name="T53" fmla="*/ 179 h 203"/>
                  <a:gd name="T54" fmla="*/ 177 w 306"/>
                  <a:gd name="T55" fmla="*/ 183 h 203"/>
                  <a:gd name="T56" fmla="*/ 177 w 306"/>
                  <a:gd name="T57" fmla="*/ 203 h 203"/>
                  <a:gd name="T58" fmla="*/ 301 w 306"/>
                  <a:gd name="T59" fmla="*/ 203 h 203"/>
                  <a:gd name="T60" fmla="*/ 301 w 306"/>
                  <a:gd name="T61" fmla="*/ 203 h 203"/>
                  <a:gd name="T62" fmla="*/ 303 w 306"/>
                  <a:gd name="T63" fmla="*/ 200 h 203"/>
                  <a:gd name="T64" fmla="*/ 306 w 306"/>
                  <a:gd name="T65" fmla="*/ 198 h 203"/>
                  <a:gd name="T66" fmla="*/ 306 w 306"/>
                  <a:gd name="T67" fmla="*/ 35 h 203"/>
                  <a:gd name="T68" fmla="*/ 306 w 306"/>
                  <a:gd name="T69" fmla="*/ 35 h 203"/>
                  <a:gd name="T70" fmla="*/ 303 w 306"/>
                  <a:gd name="T71" fmla="*/ 31 h 203"/>
                  <a:gd name="T72" fmla="*/ 301 w 306"/>
                  <a:gd name="T73" fmla="*/ 30 h 203"/>
                  <a:gd name="T74" fmla="*/ 301 w 306"/>
                  <a:gd name="T75" fmla="*/ 30 h 203"/>
                  <a:gd name="T76" fmla="*/ 197 w 306"/>
                  <a:gd name="T77" fmla="*/ 30 h 203"/>
                  <a:gd name="T78" fmla="*/ 108 w 306"/>
                  <a:gd name="T79" fmla="*/ 30 h 203"/>
                  <a:gd name="T80" fmla="*/ 108 w 306"/>
                  <a:gd name="T81" fmla="*/ 10 h 203"/>
                  <a:gd name="T82" fmla="*/ 197 w 306"/>
                  <a:gd name="T83" fmla="*/ 10 h 203"/>
                  <a:gd name="T84" fmla="*/ 197 w 306"/>
                  <a:gd name="T85" fmla="*/ 3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6" h="203">
                    <a:moveTo>
                      <a:pt x="301" y="30"/>
                    </a:moveTo>
                    <a:lnTo>
                      <a:pt x="207" y="30"/>
                    </a:lnTo>
                    <a:lnTo>
                      <a:pt x="207" y="6"/>
                    </a:lnTo>
                    <a:lnTo>
                      <a:pt x="207" y="6"/>
                    </a:lnTo>
                    <a:lnTo>
                      <a:pt x="205" y="1"/>
                    </a:lnTo>
                    <a:lnTo>
                      <a:pt x="201" y="0"/>
                    </a:lnTo>
                    <a:lnTo>
                      <a:pt x="103" y="0"/>
                    </a:lnTo>
                    <a:lnTo>
                      <a:pt x="103" y="0"/>
                    </a:lnTo>
                    <a:lnTo>
                      <a:pt x="99" y="1"/>
                    </a:lnTo>
                    <a:lnTo>
                      <a:pt x="98" y="6"/>
                    </a:lnTo>
                    <a:lnTo>
                      <a:pt x="98" y="30"/>
                    </a:lnTo>
                    <a:lnTo>
                      <a:pt x="5" y="30"/>
                    </a:lnTo>
                    <a:lnTo>
                      <a:pt x="5" y="30"/>
                    </a:lnTo>
                    <a:lnTo>
                      <a:pt x="1" y="31"/>
                    </a:lnTo>
                    <a:lnTo>
                      <a:pt x="0" y="35"/>
                    </a:lnTo>
                    <a:lnTo>
                      <a:pt x="0" y="198"/>
                    </a:lnTo>
                    <a:lnTo>
                      <a:pt x="0" y="198"/>
                    </a:lnTo>
                    <a:lnTo>
                      <a:pt x="1" y="200"/>
                    </a:lnTo>
                    <a:lnTo>
                      <a:pt x="5" y="203"/>
                    </a:lnTo>
                    <a:lnTo>
                      <a:pt x="127" y="203"/>
                    </a:lnTo>
                    <a:lnTo>
                      <a:pt x="127" y="183"/>
                    </a:lnTo>
                    <a:lnTo>
                      <a:pt x="127" y="183"/>
                    </a:lnTo>
                    <a:lnTo>
                      <a:pt x="129" y="179"/>
                    </a:lnTo>
                    <a:lnTo>
                      <a:pt x="133" y="177"/>
                    </a:lnTo>
                    <a:lnTo>
                      <a:pt x="172" y="177"/>
                    </a:lnTo>
                    <a:lnTo>
                      <a:pt x="172" y="177"/>
                    </a:lnTo>
                    <a:lnTo>
                      <a:pt x="176" y="179"/>
                    </a:lnTo>
                    <a:lnTo>
                      <a:pt x="177" y="183"/>
                    </a:lnTo>
                    <a:lnTo>
                      <a:pt x="177" y="203"/>
                    </a:lnTo>
                    <a:lnTo>
                      <a:pt x="301" y="203"/>
                    </a:lnTo>
                    <a:lnTo>
                      <a:pt x="301" y="203"/>
                    </a:lnTo>
                    <a:lnTo>
                      <a:pt x="303" y="200"/>
                    </a:lnTo>
                    <a:lnTo>
                      <a:pt x="306" y="198"/>
                    </a:lnTo>
                    <a:lnTo>
                      <a:pt x="306" y="35"/>
                    </a:lnTo>
                    <a:lnTo>
                      <a:pt x="306" y="35"/>
                    </a:lnTo>
                    <a:lnTo>
                      <a:pt x="303" y="31"/>
                    </a:lnTo>
                    <a:lnTo>
                      <a:pt x="301" y="30"/>
                    </a:lnTo>
                    <a:lnTo>
                      <a:pt x="301" y="30"/>
                    </a:lnTo>
                    <a:close/>
                    <a:moveTo>
                      <a:pt x="197" y="30"/>
                    </a:moveTo>
                    <a:lnTo>
                      <a:pt x="108" y="30"/>
                    </a:lnTo>
                    <a:lnTo>
                      <a:pt x="108" y="10"/>
                    </a:lnTo>
                    <a:lnTo>
                      <a:pt x="197" y="10"/>
                    </a:lnTo>
                    <a:lnTo>
                      <a:pt x="19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grpSp>
      </p:grpSp>
    </p:spTree>
    <p:extLst>
      <p:ext uri="{BB962C8B-B14F-4D97-AF65-F5344CB8AC3E}">
        <p14:creationId xmlns:p14="http://schemas.microsoft.com/office/powerpoint/2010/main" val="427316742"/>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340"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t>The Case for Change</a:t>
            </a:r>
          </a:p>
        </p:txBody>
      </p:sp>
      <p:sp>
        <p:nvSpPr>
          <p:cNvPr id="3" name="Text Placeholder 2"/>
          <p:cNvSpPr>
            <a:spLocks noGrp="1"/>
          </p:cNvSpPr>
          <p:nvPr>
            <p:ph type="body" sz="quarter" idx="14"/>
          </p:nvPr>
        </p:nvSpPr>
        <p:spPr/>
        <p:txBody>
          <a:bodyPr/>
          <a:lstStyle/>
          <a:p>
            <a:pPr>
              <a:buClr>
                <a:srgbClr val="787878"/>
              </a:buClr>
              <a:defRPr/>
            </a:pPr>
            <a:r>
              <a:rPr lang="en-US" spc="-75" dirty="0">
                <a:solidFill>
                  <a:prstClr val="black"/>
                </a:solidFill>
                <a:cs typeface="Arial" panose="020B0604020202020204" pitchFamily="34" charset="0"/>
              </a:rPr>
              <a:t>In addition to driving Corporate Partnership value, implementing the three building blocks as an integrated solution can have significant positive impacts on fan experience, event attendance, and per capita spend</a:t>
            </a:r>
          </a:p>
          <a:p>
            <a:pPr lvl="0">
              <a:buClr>
                <a:srgbClr val="787878"/>
              </a:buClr>
              <a:defRPr/>
            </a:pPr>
            <a:endParaRPr lang="en-US" spc="0" dirty="0">
              <a:solidFill>
                <a:srgbClr val="000000"/>
              </a:solidFill>
            </a:endParaRPr>
          </a:p>
        </p:txBody>
      </p:sp>
      <p:sp>
        <p:nvSpPr>
          <p:cNvPr id="5" name="Text Placeholder 4"/>
          <p:cNvSpPr>
            <a:spLocks noGrp="1"/>
          </p:cNvSpPr>
          <p:nvPr>
            <p:ph type="body" sz="quarter" idx="15"/>
          </p:nvPr>
        </p:nvSpPr>
        <p:spPr/>
        <p:txBody>
          <a:bodyPr/>
          <a:lstStyle/>
          <a:p>
            <a:r>
              <a:rPr lang="en-US" dirty="0"/>
              <a:t>Data Visualization &amp; Infographics</a:t>
            </a:r>
          </a:p>
        </p:txBody>
      </p:sp>
      <p:sp>
        <p:nvSpPr>
          <p:cNvPr id="82" name="Rectangle 81"/>
          <p:cNvSpPr/>
          <p:nvPr/>
        </p:nvSpPr>
        <p:spPr>
          <a:xfrm>
            <a:off x="6131430" y="4293231"/>
            <a:ext cx="2455919" cy="1524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a:ln>
                  <a:noFill/>
                </a:ln>
                <a:solidFill>
                  <a:prstClr val="white"/>
                </a:solidFill>
                <a:effectLst/>
                <a:uLnTx/>
                <a:uFillTx/>
                <a:latin typeface="Open Sans"/>
                <a:ea typeface="+mn-ea"/>
                <a:cs typeface="+mn-cs"/>
              </a:rPr>
              <a:t>$10.1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Open Sans"/>
                <a:ea typeface="+mn-ea"/>
                <a:cs typeface="+mn-cs"/>
              </a:rPr>
              <a:t>Increase in Per Capita Spend (Team Games)</a:t>
            </a:r>
          </a:p>
        </p:txBody>
      </p:sp>
      <p:sp>
        <p:nvSpPr>
          <p:cNvPr id="83" name="Rectangle 82"/>
          <p:cNvSpPr/>
          <p:nvPr/>
        </p:nvSpPr>
        <p:spPr>
          <a:xfrm>
            <a:off x="8773507" y="2477820"/>
            <a:ext cx="2455919" cy="152495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a:ln>
                  <a:noFill/>
                </a:ln>
                <a:solidFill>
                  <a:prstClr val="white"/>
                </a:solidFill>
                <a:effectLst/>
                <a:uLnTx/>
                <a:uFillTx/>
                <a:latin typeface="Open Sans"/>
                <a:ea typeface="+mn-ea"/>
                <a:cs typeface="+mn-cs"/>
              </a:rPr>
              <a:t>1,23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Open Sans"/>
                <a:ea typeface="+mn-ea"/>
                <a:cs typeface="+mn-cs"/>
              </a:rPr>
              <a:t>Increase in Attenda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Open Sans"/>
                <a:ea typeface="+mn-ea"/>
                <a:cs typeface="+mn-cs"/>
              </a:rPr>
              <a:t>Per Game</a:t>
            </a:r>
          </a:p>
        </p:txBody>
      </p:sp>
      <p:sp>
        <p:nvSpPr>
          <p:cNvPr id="84" name="Rectangle 83"/>
          <p:cNvSpPr/>
          <p:nvPr/>
        </p:nvSpPr>
        <p:spPr>
          <a:xfrm>
            <a:off x="6131429" y="2473840"/>
            <a:ext cx="2455919" cy="152495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a:ln>
                  <a:noFill/>
                </a:ln>
                <a:solidFill>
                  <a:prstClr val="white"/>
                </a:solidFill>
                <a:effectLst/>
                <a:uLnTx/>
                <a:uFillTx/>
                <a:latin typeface="Open Sans"/>
                <a:ea typeface="+mn-ea"/>
                <a:cs typeface="+mn-cs"/>
              </a:rPr>
              <a:t>17.4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Open Sans"/>
                <a:ea typeface="+mn-ea"/>
                <a:cs typeface="+mn-cs"/>
              </a:rPr>
              <a:t>Increase in Total Revenue Per Season</a:t>
            </a:r>
          </a:p>
        </p:txBody>
      </p:sp>
      <p:sp>
        <p:nvSpPr>
          <p:cNvPr id="85" name="Rectangle 84"/>
          <p:cNvSpPr/>
          <p:nvPr/>
        </p:nvSpPr>
        <p:spPr>
          <a:xfrm>
            <a:off x="8773507" y="4294582"/>
            <a:ext cx="2455919" cy="15249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a:ln>
                  <a:noFill/>
                </a:ln>
                <a:solidFill>
                  <a:prstClr val="white"/>
                </a:solidFill>
                <a:effectLst/>
                <a:uLnTx/>
                <a:uFillTx/>
                <a:latin typeface="Open Sans"/>
                <a:ea typeface="+mn-ea"/>
                <a:cs typeface="+mn-cs"/>
              </a:rPr>
              <a:t>11.1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Open Sans"/>
                <a:ea typeface="+mn-ea"/>
                <a:cs typeface="+mn-cs"/>
              </a:rPr>
              <a:t>Increase in CP Valu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Open Sans"/>
                <a:ea typeface="+mn-ea"/>
                <a:cs typeface="+mn-cs"/>
              </a:rPr>
              <a:t>Per Season</a:t>
            </a:r>
          </a:p>
        </p:txBody>
      </p:sp>
      <p:grpSp>
        <p:nvGrpSpPr>
          <p:cNvPr id="86" name="Group 85"/>
          <p:cNvGrpSpPr/>
          <p:nvPr/>
        </p:nvGrpSpPr>
        <p:grpSpPr>
          <a:xfrm>
            <a:off x="6080194" y="2070178"/>
            <a:ext cx="5200465" cy="184666"/>
            <a:chOff x="4978400" y="2206367"/>
            <a:chExt cx="6299200" cy="184666"/>
          </a:xfrm>
        </p:grpSpPr>
        <p:cxnSp>
          <p:nvCxnSpPr>
            <p:cNvPr id="87" name="iBar:392/196"/>
            <p:cNvCxnSpPr/>
            <p:nvPr/>
          </p:nvCxnSpPr>
          <p:spPr>
            <a:xfrm>
              <a:off x="4978400" y="2298700"/>
              <a:ext cx="62992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8" name="TxtBox:392/196"/>
            <p:cNvSpPr/>
            <p:nvPr/>
          </p:nvSpPr>
          <p:spPr>
            <a:xfrm>
              <a:off x="7265235" y="2206367"/>
              <a:ext cx="1725532" cy="184666"/>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Key Takeaways*</a:t>
              </a:r>
            </a:p>
          </p:txBody>
        </p:sp>
      </p:grpSp>
      <p:grpSp>
        <p:nvGrpSpPr>
          <p:cNvPr id="89" name="Group 88"/>
          <p:cNvGrpSpPr/>
          <p:nvPr/>
        </p:nvGrpSpPr>
        <p:grpSpPr>
          <a:xfrm>
            <a:off x="914400" y="2070178"/>
            <a:ext cx="4925147" cy="184666"/>
            <a:chOff x="914400" y="2206367"/>
            <a:chExt cx="3898900" cy="184666"/>
          </a:xfrm>
        </p:grpSpPr>
        <p:cxnSp>
          <p:nvCxnSpPr>
            <p:cNvPr id="163" name="iBar:72/196"/>
            <p:cNvCxnSpPr/>
            <p:nvPr/>
          </p:nvCxnSpPr>
          <p:spPr>
            <a:xfrm>
              <a:off x="914400" y="2298700"/>
              <a:ext cx="3898900" cy="0"/>
            </a:xfrm>
            <a:prstGeom prst="line">
              <a:avLst/>
            </a:prstGeom>
            <a:ln w="12700">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7" name="TxtBox:72/196"/>
            <p:cNvSpPr/>
            <p:nvPr/>
          </p:nvSpPr>
          <p:spPr>
            <a:xfrm>
              <a:off x="1694912" y="2206367"/>
              <a:ext cx="2337894" cy="184666"/>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10 Year Projected Revenue Growth*</a:t>
              </a:r>
            </a:p>
          </p:txBody>
        </p:sp>
      </p:grpSp>
      <p:sp>
        <p:nvSpPr>
          <p:cNvPr id="168" name="TextBox 167"/>
          <p:cNvSpPr txBox="1"/>
          <p:nvPr/>
        </p:nvSpPr>
        <p:spPr>
          <a:xfrm>
            <a:off x="914398" y="5989410"/>
            <a:ext cx="4925147"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Open Sans"/>
                <a:ea typeface="+mn-ea"/>
                <a:cs typeface="+mn-cs"/>
              </a:rPr>
              <a:t>*Based on mid-level revenue growth estimates</a:t>
            </a:r>
          </a:p>
        </p:txBody>
      </p:sp>
      <p:graphicFrame>
        <p:nvGraphicFramePr>
          <p:cNvPr id="169" name="Chart 168"/>
          <p:cNvGraphicFramePr/>
          <p:nvPr/>
        </p:nvGraphicFramePr>
        <p:xfrm>
          <a:off x="914401" y="2398289"/>
          <a:ext cx="4925148" cy="3546981"/>
        </p:xfrm>
        <a:graphic>
          <a:graphicData uri="http://schemas.openxmlformats.org/drawingml/2006/chart">
            <c:chart xmlns:c="http://schemas.openxmlformats.org/drawingml/2006/chart" xmlns:r="http://schemas.openxmlformats.org/officeDocument/2006/relationships" r:id="rId7"/>
          </a:graphicData>
        </a:graphic>
      </p:graphicFrame>
      <p:cxnSp>
        <p:nvCxnSpPr>
          <p:cNvPr id="170" name="Straight Connector 169"/>
          <p:cNvCxnSpPr/>
          <p:nvPr/>
        </p:nvCxnSpPr>
        <p:spPr>
          <a:xfrm flipV="1">
            <a:off x="2427892" y="2908696"/>
            <a:ext cx="0" cy="1957426"/>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71" name="Rounded Rectangle 170"/>
          <p:cNvSpPr/>
          <p:nvPr/>
        </p:nvSpPr>
        <p:spPr>
          <a:xfrm>
            <a:off x="1667996" y="2463815"/>
            <a:ext cx="1150880" cy="38467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Open Sans"/>
                <a:ea typeface="+mn-ea"/>
                <a:cs typeface="+mn-cs"/>
              </a:rPr>
              <a:t>Data system go-live yields significant revenue increase</a:t>
            </a:r>
          </a:p>
        </p:txBody>
      </p:sp>
      <p:cxnSp>
        <p:nvCxnSpPr>
          <p:cNvPr id="172" name="Straight Connector 171"/>
          <p:cNvCxnSpPr/>
          <p:nvPr/>
        </p:nvCxnSpPr>
        <p:spPr>
          <a:xfrm flipV="1">
            <a:off x="3637322" y="2908696"/>
            <a:ext cx="0" cy="1957426"/>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73" name="Rounded Rectangle 172"/>
          <p:cNvSpPr/>
          <p:nvPr/>
        </p:nvSpPr>
        <p:spPr>
          <a:xfrm>
            <a:off x="3318855" y="2463815"/>
            <a:ext cx="1637819" cy="38467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Open Sans"/>
                <a:ea typeface="+mn-ea"/>
                <a:cs typeface="+mn-cs"/>
              </a:rPr>
              <a:t>Benefits begin to plateau around $21M annually after 2-3 years of steady growth</a:t>
            </a:r>
          </a:p>
        </p:txBody>
      </p:sp>
    </p:spTree>
    <p:extLst>
      <p:ext uri="{BB962C8B-B14F-4D97-AF65-F5344CB8AC3E}">
        <p14:creationId xmlns:p14="http://schemas.microsoft.com/office/powerpoint/2010/main" val="4253792110"/>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64" name="think-cell Slide" r:id="rId13" imgW="415" imgH="416" progId="TCLayout.ActiveDocument.1">
                  <p:embed/>
                </p:oleObj>
              </mc:Choice>
              <mc:Fallback>
                <p:oleObj name="think-cell Slide" r:id="rId13"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t>Average Days to Sell by Channel</a:t>
            </a:r>
          </a:p>
        </p:txBody>
      </p:sp>
      <p:sp>
        <p:nvSpPr>
          <p:cNvPr id="3" name="Text Placeholder 2"/>
          <p:cNvSpPr>
            <a:spLocks noGrp="1"/>
          </p:cNvSpPr>
          <p:nvPr>
            <p:ph type="body" sz="quarter" idx="14"/>
          </p:nvPr>
        </p:nvSpPr>
        <p:spPr/>
        <p:txBody>
          <a:bodyPr/>
          <a:lstStyle/>
          <a:p>
            <a:pPr>
              <a:buClr>
                <a:srgbClr val="787878"/>
              </a:buClr>
              <a:defRPr/>
            </a:pPr>
            <a:r>
              <a:rPr lang="en-US" spc="-75" dirty="0">
                <a:solidFill>
                  <a:prstClr val="black"/>
                </a:solidFill>
                <a:cs typeface="Arial" panose="020B0604020202020204" pitchFamily="34" charset="0"/>
              </a:rPr>
              <a:t>The average time required to sell a vehicle increases substantially as it progresses through sales channels and can be as long as three months end-to-end, driving up both tangible and opportunity costs for OEM</a:t>
            </a:r>
          </a:p>
          <a:p>
            <a:pPr lvl="0">
              <a:buClr>
                <a:srgbClr val="787878"/>
              </a:buClr>
              <a:defRPr/>
            </a:pPr>
            <a:endParaRPr lang="en-US" spc="0" dirty="0">
              <a:solidFill>
                <a:srgbClr val="000000"/>
              </a:solidFill>
            </a:endParaRPr>
          </a:p>
        </p:txBody>
      </p:sp>
      <p:sp>
        <p:nvSpPr>
          <p:cNvPr id="5" name="Text Placeholder 4"/>
          <p:cNvSpPr>
            <a:spLocks noGrp="1"/>
          </p:cNvSpPr>
          <p:nvPr>
            <p:ph type="body" sz="quarter" idx="15"/>
          </p:nvPr>
        </p:nvSpPr>
        <p:spPr/>
        <p:txBody>
          <a:bodyPr/>
          <a:lstStyle/>
          <a:p>
            <a:r>
              <a:rPr lang="en-US" dirty="0"/>
              <a:t>Data Visualization &amp; Infographics</a:t>
            </a:r>
          </a:p>
        </p:txBody>
      </p:sp>
      <p:cxnSp>
        <p:nvCxnSpPr>
          <p:cNvPr id="22" name="Straight Connector 21">
            <a:extLst>
              <a:ext uri="{FF2B5EF4-FFF2-40B4-BE49-F238E27FC236}">
                <a16:creationId xmlns:a16="http://schemas.microsoft.com/office/drawing/2014/main" id="{75F51EE7-BEB4-40E8-A611-8B83A40101F1}"/>
              </a:ext>
            </a:extLst>
          </p:cNvPr>
          <p:cNvCxnSpPr/>
          <p:nvPr>
            <p:custDataLst>
              <p:tags r:id="rId3"/>
            </p:custDataLst>
          </p:nvPr>
        </p:nvCxnSpPr>
        <p:spPr bwMode="auto">
          <a:xfrm>
            <a:off x="5508625" y="3271934"/>
            <a:ext cx="619125"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9337298-8458-4EB4-BF74-6CC1BA5A5177}"/>
              </a:ext>
            </a:extLst>
          </p:cNvPr>
          <p:cNvCxnSpPr/>
          <p:nvPr>
            <p:custDataLst>
              <p:tags r:id="rId4"/>
            </p:custDataLst>
          </p:nvPr>
        </p:nvCxnSpPr>
        <p:spPr bwMode="auto">
          <a:xfrm>
            <a:off x="2714625" y="5570634"/>
            <a:ext cx="620713"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B90B549-0F7E-4775-9837-900680422392}"/>
              </a:ext>
            </a:extLst>
          </p:cNvPr>
          <p:cNvCxnSpPr/>
          <p:nvPr>
            <p:custDataLst>
              <p:tags r:id="rId5"/>
            </p:custDataLst>
          </p:nvPr>
        </p:nvCxnSpPr>
        <p:spPr bwMode="auto">
          <a:xfrm>
            <a:off x="4111625" y="4976909"/>
            <a:ext cx="620713"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25" name="Chart 24">
            <a:extLst>
              <a:ext uri="{FF2B5EF4-FFF2-40B4-BE49-F238E27FC236}">
                <a16:creationId xmlns:a16="http://schemas.microsoft.com/office/drawing/2014/main" id="{026214AB-BB6E-4972-8161-B329DBB3FD28}"/>
              </a:ext>
            </a:extLst>
          </p:cNvPr>
          <p:cNvGraphicFramePr/>
          <p:nvPr>
            <p:custDataLst>
              <p:tags r:id="rId6"/>
            </p:custDataLst>
          </p:nvPr>
        </p:nvGraphicFramePr>
        <p:xfrm>
          <a:off x="1546225" y="2308321"/>
          <a:ext cx="5751513" cy="3440113"/>
        </p:xfrm>
        <a:graphic>
          <a:graphicData uri="http://schemas.openxmlformats.org/drawingml/2006/chart">
            <c:chart xmlns:c="http://schemas.openxmlformats.org/drawingml/2006/chart" xmlns:r="http://schemas.openxmlformats.org/officeDocument/2006/relationships" r:id="rId15"/>
          </a:graphicData>
        </a:graphic>
      </p:graphicFrame>
      <p:sp>
        <p:nvSpPr>
          <p:cNvPr id="26" name="Text Placeholder 18">
            <a:extLst>
              <a:ext uri="{FF2B5EF4-FFF2-40B4-BE49-F238E27FC236}">
                <a16:creationId xmlns:a16="http://schemas.microsoft.com/office/drawing/2014/main" id="{F6EF49E2-50D0-48F0-8624-FE64FBC5B457}"/>
              </a:ext>
            </a:extLst>
          </p:cNvPr>
          <p:cNvSpPr>
            <a:spLocks noGrp="1"/>
          </p:cNvSpPr>
          <p:nvPr>
            <p:custDataLst>
              <p:tags r:id="rId7"/>
            </p:custDataLst>
          </p:nvPr>
        </p:nvSpPr>
        <p:spPr bwMode="auto">
          <a:xfrm>
            <a:off x="6327775" y="5767484"/>
            <a:ext cx="37623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19170" rtl="0" eaLnBrk="1" latinLnBrk="0" hangingPunct="1">
              <a:spcBef>
                <a:spcPts val="0"/>
              </a:spcBef>
              <a:spcAft>
                <a:spcPts val="1333"/>
              </a:spcAft>
              <a:buSzPct val="100000"/>
              <a:buFontTx/>
              <a:buNone/>
              <a:defRPr sz="1400" b="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400" b="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400" kern="1200"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400" kern="1200"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Pct val="100000"/>
              <a:buFontTx/>
              <a:buNone/>
              <a:tabLst/>
              <a:defRPr/>
            </a:pPr>
            <a:fld id="{8E697961-7BC9-415B-94CB-72A4D75B0375}" type="datetime'''''''''''L''a''''''n''''''''''''''e'''''''''''">
              <a:rPr kumimoji="0" lang="en-US" altLang="en-US" sz="1200" b="0" i="0" u="none" strike="noStrike" kern="1200" cap="none" spc="0" normalizeH="0" baseline="0" noProof="0" smtClean="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pPr marL="0" marR="0" lvl="0" indent="0" algn="ctr" defTabSz="1219170" rtl="0" eaLnBrk="1" fontAlgn="auto" latinLnBrk="0" hangingPunct="1">
                <a:lnSpc>
                  <a:spcPct val="100000"/>
                </a:lnSpc>
                <a:spcBef>
                  <a:spcPct val="0"/>
                </a:spcBef>
                <a:spcAft>
                  <a:spcPct val="0"/>
                </a:spcAft>
                <a:buClrTx/>
                <a:buSzPct val="100000"/>
                <a:buFontTx/>
                <a:buNone/>
                <a:tabLst/>
                <a:defRPr/>
              </a:pPr>
              <a:t>Lane</a:t>
            </a:fld>
            <a:endParaRPr kumimoji="0" lang="en-US" sz="12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7" name="Text Placeholder 18">
            <a:extLst>
              <a:ext uri="{FF2B5EF4-FFF2-40B4-BE49-F238E27FC236}">
                <a16:creationId xmlns:a16="http://schemas.microsoft.com/office/drawing/2014/main" id="{02F492FD-68B4-4F2C-B9C7-1B5EEACE2798}"/>
              </a:ext>
            </a:extLst>
          </p:cNvPr>
          <p:cNvSpPr>
            <a:spLocks noGrp="1"/>
          </p:cNvSpPr>
          <p:nvPr>
            <p:custDataLst>
              <p:tags r:id="rId8"/>
            </p:custDataLst>
          </p:nvPr>
        </p:nvSpPr>
        <p:spPr bwMode="auto">
          <a:xfrm>
            <a:off x="2168525" y="5767484"/>
            <a:ext cx="3143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19170" rtl="0" eaLnBrk="1" latinLnBrk="0" hangingPunct="1">
              <a:spcBef>
                <a:spcPts val="0"/>
              </a:spcBef>
              <a:spcAft>
                <a:spcPts val="1333"/>
              </a:spcAft>
              <a:buSzPct val="100000"/>
              <a:buFontTx/>
              <a:buNone/>
              <a:defRPr sz="1400" b="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400" b="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400" kern="1200"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400" kern="1200"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Pct val="100000"/>
              <a:buFontTx/>
              <a:buNone/>
              <a:tabLst/>
              <a:defRPr/>
            </a:pPr>
            <a:fld id="{C23366F6-02DF-49A4-AA1D-C06DA463FA38}" type="datetime'''''''''''''D''P''''''''''''''''''''''''''''''P'''''''''''''''">
              <a:rPr kumimoji="0" lang="en-US" altLang="en-US" sz="1200" b="0" i="0" u="none" strike="noStrike" kern="1200" cap="none" spc="0" normalizeH="0" baseline="0" noProof="0" smtClean="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pPr marL="0" marR="0" lvl="0" indent="0" algn="ctr" defTabSz="1219170" rtl="0" eaLnBrk="1" fontAlgn="auto" latinLnBrk="0" hangingPunct="1">
                <a:lnSpc>
                  <a:spcPct val="100000"/>
                </a:lnSpc>
                <a:spcBef>
                  <a:spcPct val="0"/>
                </a:spcBef>
                <a:spcAft>
                  <a:spcPct val="0"/>
                </a:spcAft>
                <a:buClrTx/>
                <a:buSzPct val="100000"/>
                <a:buFontTx/>
                <a:buNone/>
                <a:tabLst/>
                <a:defRPr/>
              </a:pPr>
              <a:t>DPP</a:t>
            </a:fld>
            <a:endParaRPr kumimoji="0" lang="en-US" sz="12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8" name="Text Placeholder 18">
            <a:extLst>
              <a:ext uri="{FF2B5EF4-FFF2-40B4-BE49-F238E27FC236}">
                <a16:creationId xmlns:a16="http://schemas.microsoft.com/office/drawing/2014/main" id="{52F25B55-DC13-42E6-B3AB-755CE501E321}"/>
              </a:ext>
            </a:extLst>
          </p:cNvPr>
          <p:cNvSpPr>
            <a:spLocks noGrp="1"/>
          </p:cNvSpPr>
          <p:nvPr>
            <p:custDataLst>
              <p:tags r:id="rId9"/>
            </p:custDataLst>
          </p:nvPr>
        </p:nvSpPr>
        <p:spPr bwMode="auto">
          <a:xfrm>
            <a:off x="3071718" y="5767484"/>
            <a:ext cx="1301941"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19170" rtl="0" eaLnBrk="1" latinLnBrk="0" hangingPunct="1">
              <a:spcBef>
                <a:spcPts val="0"/>
              </a:spcBef>
              <a:spcAft>
                <a:spcPts val="1333"/>
              </a:spcAft>
              <a:buSzPct val="100000"/>
              <a:buFontTx/>
              <a:buNone/>
              <a:defRPr sz="1400" b="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400" b="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400" kern="1200"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400" kern="1200"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Pct val="100000"/>
              <a:buFontTx/>
              <a:buNone/>
              <a:tabLst/>
              <a:defRPr/>
            </a:pPr>
            <a:r>
              <a:rPr lang="en-US" sz="1200" dirty="0">
                <a:solidFill>
                  <a:prstClr val="black"/>
                </a:solidFill>
                <a:sym typeface="Verdana" panose="020B0604030504040204" pitchFamily="34" charset="0"/>
              </a:rPr>
              <a:t>Pre-Recon</a:t>
            </a:r>
            <a:endParaRPr kumimoji="0" lang="en-US" sz="12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9" name="Text Placeholder 18">
            <a:extLst>
              <a:ext uri="{FF2B5EF4-FFF2-40B4-BE49-F238E27FC236}">
                <a16:creationId xmlns:a16="http://schemas.microsoft.com/office/drawing/2014/main" id="{F0797A9D-120A-4B11-B964-01AC0A7FEF1B}"/>
              </a:ext>
            </a:extLst>
          </p:cNvPr>
          <p:cNvSpPr>
            <a:spLocks noGrp="1"/>
          </p:cNvSpPr>
          <p:nvPr>
            <p:custDataLst>
              <p:tags r:id="rId10"/>
            </p:custDataLst>
          </p:nvPr>
        </p:nvSpPr>
        <p:spPr bwMode="auto">
          <a:xfrm>
            <a:off x="4440238" y="5767484"/>
            <a:ext cx="135890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19170" rtl="0" eaLnBrk="1" latinLnBrk="0" hangingPunct="1">
              <a:spcBef>
                <a:spcPts val="0"/>
              </a:spcBef>
              <a:spcAft>
                <a:spcPts val="1333"/>
              </a:spcAft>
              <a:buSzPct val="100000"/>
              <a:buFontTx/>
              <a:buNone/>
              <a:defRPr sz="1400" b="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400" b="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400" kern="1200"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400" kern="1200"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0"/>
              </a:spcBef>
              <a:spcAft>
                <a:spcPct val="0"/>
              </a:spcAft>
              <a:buClrTx/>
              <a:buSzPct val="100000"/>
              <a:buFontTx/>
              <a:buNone/>
              <a:tabLst/>
              <a:defRPr/>
            </a:pPr>
            <a:r>
              <a:rPr lang="en-US" sz="1200" dirty="0">
                <a:solidFill>
                  <a:prstClr val="black"/>
                </a:solidFill>
                <a:sym typeface="Verdana" panose="020B0604030504040204" pitchFamily="34" charset="0"/>
              </a:rPr>
              <a:t>Post-Recon</a:t>
            </a:r>
            <a:endParaRPr kumimoji="0" lang="en-US" sz="12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aphicFrame>
        <p:nvGraphicFramePr>
          <p:cNvPr id="30" name="Table 29">
            <a:extLst>
              <a:ext uri="{FF2B5EF4-FFF2-40B4-BE49-F238E27FC236}">
                <a16:creationId xmlns:a16="http://schemas.microsoft.com/office/drawing/2014/main" id="{35A6814B-951B-4DD7-82FD-4EFB805BBC67}"/>
              </a:ext>
            </a:extLst>
          </p:cNvPr>
          <p:cNvGraphicFramePr>
            <a:graphicFrameLocks noGrp="1"/>
          </p:cNvGraphicFramePr>
          <p:nvPr>
            <p:extLst>
              <p:ext uri="{D42A27DB-BD31-4B8C-83A1-F6EECF244321}">
                <p14:modId xmlns:p14="http://schemas.microsoft.com/office/powerpoint/2010/main" val="2175546369"/>
              </p:ext>
            </p:extLst>
          </p:nvPr>
        </p:nvGraphicFramePr>
        <p:xfrm>
          <a:off x="800099" y="6015789"/>
          <a:ext cx="6415088" cy="411480"/>
        </p:xfrm>
        <a:graphic>
          <a:graphicData uri="http://schemas.openxmlformats.org/drawingml/2006/table">
            <a:tbl>
              <a:tblPr firstRow="1" bandRow="1">
                <a:tableStyleId>{5C22544A-7EE6-4342-B048-85BDC9FD1C3A}</a:tableStyleId>
              </a:tblPr>
              <a:tblGrid>
                <a:gridCol w="955876">
                  <a:extLst>
                    <a:ext uri="{9D8B030D-6E8A-4147-A177-3AD203B41FA5}">
                      <a16:colId xmlns:a16="http://schemas.microsoft.com/office/drawing/2014/main" val="558724858"/>
                    </a:ext>
                  </a:extLst>
                </a:gridCol>
                <a:gridCol w="1278324">
                  <a:extLst>
                    <a:ext uri="{9D8B030D-6E8A-4147-A177-3AD203B41FA5}">
                      <a16:colId xmlns:a16="http://schemas.microsoft.com/office/drawing/2014/main" val="3219423114"/>
                    </a:ext>
                  </a:extLst>
                </a:gridCol>
                <a:gridCol w="1386490">
                  <a:extLst>
                    <a:ext uri="{9D8B030D-6E8A-4147-A177-3AD203B41FA5}">
                      <a16:colId xmlns:a16="http://schemas.microsoft.com/office/drawing/2014/main" val="2662506857"/>
                    </a:ext>
                  </a:extLst>
                </a:gridCol>
                <a:gridCol w="1396324">
                  <a:extLst>
                    <a:ext uri="{9D8B030D-6E8A-4147-A177-3AD203B41FA5}">
                      <a16:colId xmlns:a16="http://schemas.microsoft.com/office/drawing/2014/main" val="2548944372"/>
                    </a:ext>
                  </a:extLst>
                </a:gridCol>
                <a:gridCol w="1398074">
                  <a:extLst>
                    <a:ext uri="{9D8B030D-6E8A-4147-A177-3AD203B41FA5}">
                      <a16:colId xmlns:a16="http://schemas.microsoft.com/office/drawing/2014/main" val="4218959953"/>
                    </a:ext>
                  </a:extLst>
                </a:gridCol>
              </a:tblGrid>
              <a:tr h="398126">
                <a:tc>
                  <a:txBody>
                    <a:bodyPr/>
                    <a:lstStyle/>
                    <a:p>
                      <a:r>
                        <a:rPr lang="en-US" sz="1050" b="0" i="1" dirty="0">
                          <a:solidFill>
                            <a:schemeClr val="tx1"/>
                          </a:solidFill>
                          <a:latin typeface="+mj-lt"/>
                          <a:ea typeface="Verdana" panose="020B0604030504040204" pitchFamily="34" charset="0"/>
                        </a:rPr>
                        <a:t>% of Sold Vehicl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r>
                        <a:rPr lang="en-US" sz="1050" b="0" i="1" dirty="0">
                          <a:solidFill>
                            <a:schemeClr val="tx1"/>
                          </a:solidFill>
                          <a:latin typeface="+mj-lt"/>
                          <a:ea typeface="Verdana" panose="020B0604030504040204" pitchFamily="34" charset="0"/>
                        </a:rPr>
                        <a:t>          4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0" i="1" dirty="0">
                          <a:solidFill>
                            <a:schemeClr val="tx1"/>
                          </a:solidFill>
                          <a:latin typeface="+mj-lt"/>
                          <a:ea typeface="Verdana" panose="020B0604030504040204" pitchFamily="34" charset="0"/>
                        </a:rPr>
                        <a:t>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0" i="1" dirty="0">
                          <a:solidFill>
                            <a:schemeClr val="tx1"/>
                          </a:solidFill>
                          <a:latin typeface="+mj-lt"/>
                          <a:ea typeface="Verdana" panose="020B0604030504040204" pitchFamily="34" charset="0"/>
                        </a:rPr>
                        <a:t>3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0" i="1" dirty="0">
                          <a:solidFill>
                            <a:schemeClr val="tx1"/>
                          </a:solidFill>
                          <a:latin typeface="+mj-lt"/>
                          <a:ea typeface="Verdana" panose="020B0604030504040204" pitchFamily="34" charset="0"/>
                        </a:rPr>
                        <a:t>1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6986918"/>
                  </a:ext>
                </a:extLst>
              </a:tr>
            </a:tbl>
          </a:graphicData>
        </a:graphic>
      </p:graphicFrame>
      <p:sp>
        <p:nvSpPr>
          <p:cNvPr id="31" name="Rectangle 30">
            <a:extLst>
              <a:ext uri="{FF2B5EF4-FFF2-40B4-BE49-F238E27FC236}">
                <a16:creationId xmlns:a16="http://schemas.microsoft.com/office/drawing/2014/main" id="{1EB10866-C119-4306-9CE1-0BE5CE0DFDCF}"/>
              </a:ext>
            </a:extLst>
          </p:cNvPr>
          <p:cNvSpPr/>
          <p:nvPr/>
        </p:nvSpPr>
        <p:spPr bwMode="gray">
          <a:xfrm>
            <a:off x="7633739" y="2308321"/>
            <a:ext cx="3927785" cy="3100258"/>
          </a:xfrm>
          <a:prstGeom prst="rect">
            <a:avLst/>
          </a:prstGeom>
          <a:noFill/>
          <a:ln w="19050" algn="ctr">
            <a:noFill/>
            <a:miter lim="800000"/>
            <a:headEnd/>
            <a:tailEnd/>
          </a:ln>
        </p:spPr>
        <p:txBody>
          <a:bodyPr wrap="square" lIns="88900" tIns="88900" rIns="88900" bIns="88900" rtlCol="0" anchor="t"/>
          <a:lstStyle/>
          <a:p>
            <a:pPr marL="228600" marR="0" lvl="0" indent="-228600" algn="l" defTabSz="914400" rtl="0" eaLnBrk="1" fontAlgn="auto" latinLnBrk="0" hangingPunct="1">
              <a:lnSpc>
                <a:spcPct val="106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Open Sans"/>
                <a:ea typeface="+mn-ea"/>
                <a:cs typeface="+mn-cs"/>
              </a:rPr>
              <a:t>Are there any ongoing efforts to make more vehicles available on OEM platform Pre-Recon? What drives which cars are available Pre-Recon?</a:t>
            </a:r>
            <a:endParaRPr kumimoji="0" lang="en-US" sz="1200" b="1" i="1" u="none" strike="noStrike" kern="1200" cap="none" spc="0" normalizeH="0" baseline="0" noProof="0" dirty="0">
              <a:ln>
                <a:noFill/>
              </a:ln>
              <a:solidFill>
                <a:prstClr val="black"/>
              </a:solidFill>
              <a:effectLst/>
              <a:uLnTx/>
              <a:uFillTx/>
              <a:latin typeface="Open Sans"/>
              <a:ea typeface="+mn-ea"/>
              <a:cs typeface="+mn-cs"/>
            </a:endParaRPr>
          </a:p>
          <a:p>
            <a:pPr marL="228600" marR="0" lvl="0" indent="-228600" algn="l" defTabSz="914400" rtl="0" eaLnBrk="1" fontAlgn="auto" latinLnBrk="0" hangingPunct="1">
              <a:lnSpc>
                <a:spcPct val="106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Open Sans"/>
                <a:ea typeface="+mn-ea"/>
                <a:cs typeface="+mn-cs"/>
              </a:rPr>
              <a:t>How long does it take to recon a vehicle? Is there an ability to shorten that timeframe? How much does recon cost on average?</a:t>
            </a:r>
          </a:p>
          <a:p>
            <a:pPr marL="228600" marR="0" lvl="0" indent="-228600" algn="l" defTabSz="914400" rtl="0" eaLnBrk="1" fontAlgn="auto" latinLnBrk="0" hangingPunct="1">
              <a:lnSpc>
                <a:spcPct val="106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Open Sans"/>
                <a:ea typeface="+mn-ea"/>
                <a:cs typeface="+mn-cs"/>
              </a:rPr>
              <a:t>Would there be a strategic reason to not shift vehicles to channels earlier in the selling process (i.e., shift volume to the left)?</a:t>
            </a:r>
          </a:p>
          <a:p>
            <a:pPr marL="228600" marR="0" lvl="0" indent="-228600" algn="l" defTabSz="914400" rtl="0" eaLnBrk="1" fontAlgn="auto" latinLnBrk="0" hangingPunct="1">
              <a:lnSpc>
                <a:spcPct val="106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Open Sans"/>
                <a:ea typeface="+mn-ea"/>
                <a:cs typeface="+mn-cs"/>
              </a:rPr>
              <a:t>Does OEM analyze how much it will cost to recon a car before offering a price to the grounding dealer? Does the dealer have any insight into this amount?</a:t>
            </a:r>
          </a:p>
          <a:p>
            <a:pPr marL="342900" marR="0" lvl="0" indent="-34290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Open Sans"/>
              <a:ea typeface="+mn-ea"/>
              <a:cs typeface="+mn-cs"/>
            </a:endParaRPr>
          </a:p>
          <a:p>
            <a:pPr marL="285750" marR="0" lvl="0" indent="-2857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prstClr val="black"/>
              </a:solidFill>
              <a:effectLst/>
              <a:uLnTx/>
              <a:uFillTx/>
              <a:latin typeface="Open Sans"/>
              <a:ea typeface="+mn-ea"/>
              <a:cs typeface="+mn-cs"/>
            </a:endParaRPr>
          </a:p>
        </p:txBody>
      </p:sp>
      <p:cxnSp>
        <p:nvCxnSpPr>
          <p:cNvPr id="32" name="Straight Connector 31">
            <a:extLst>
              <a:ext uri="{FF2B5EF4-FFF2-40B4-BE49-F238E27FC236}">
                <a16:creationId xmlns:a16="http://schemas.microsoft.com/office/drawing/2014/main" id="{6E2BE576-14C9-49DA-9668-854038AD0AE4}"/>
              </a:ext>
            </a:extLst>
          </p:cNvPr>
          <p:cNvCxnSpPr>
            <a:cxnSpLocks/>
            <a:stCxn id="33" idx="2"/>
          </p:cNvCxnSpPr>
          <p:nvPr/>
        </p:nvCxnSpPr>
        <p:spPr>
          <a:xfrm>
            <a:off x="2356873" y="4401120"/>
            <a:ext cx="1355931" cy="57579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8028DB65-4679-4423-80D8-D8B5865AB363}"/>
              </a:ext>
            </a:extLst>
          </p:cNvPr>
          <p:cNvSpPr/>
          <p:nvPr/>
        </p:nvSpPr>
        <p:spPr bwMode="gray">
          <a:xfrm>
            <a:off x="800099" y="3970233"/>
            <a:ext cx="3113548" cy="430887"/>
          </a:xfrm>
          <a:prstGeom prst="rect">
            <a:avLst/>
          </a:prstGeom>
          <a:noFill/>
          <a:ln>
            <a:solidFill>
              <a:schemeClr val="accent6"/>
            </a:solidFill>
            <a:prstDash val="dash"/>
          </a:ln>
        </p:spPr>
        <p:txBody>
          <a:bodyPr wrap="square" rtlCol="0">
            <a:spAutoFit/>
          </a:bodyPr>
          <a:lstStyle/>
          <a:p>
            <a:pPr marL="0" marR="0" lvl="0" indent="0" algn="ctr" defTabSz="914400" rtl="0" eaLnBrk="1" fontAlgn="auto" latinLnBrk="0" hangingPunct="1">
              <a:lnSpc>
                <a:spcPct val="100000"/>
              </a:lnSpc>
              <a:spcBef>
                <a:spcPts val="600"/>
              </a:spcBef>
              <a:spcAft>
                <a:spcPts val="30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Open Sans"/>
                <a:ea typeface="+mn-ea"/>
                <a:cs typeface="+mn-cs"/>
              </a:rPr>
              <a:t>Currently </a:t>
            </a:r>
            <a:r>
              <a:rPr kumimoji="0" lang="en-US" sz="1100" b="1" i="0" u="none" strike="noStrike" kern="1200" cap="none" spc="0" normalizeH="0" baseline="0" noProof="0" dirty="0">
                <a:ln>
                  <a:noFill/>
                </a:ln>
                <a:solidFill>
                  <a:prstClr val="black"/>
                </a:solidFill>
                <a:effectLst/>
                <a:uLnTx/>
                <a:uFillTx/>
                <a:latin typeface="Open Sans"/>
                <a:ea typeface="+mn-ea"/>
                <a:cs typeface="+mn-cs"/>
              </a:rPr>
              <a:t>x% </a:t>
            </a:r>
            <a:r>
              <a:rPr kumimoji="0" lang="en-US" sz="1100" b="0" i="0" u="none" strike="noStrike" kern="1200" cap="none" spc="0" normalizeH="0" baseline="0" noProof="0" dirty="0">
                <a:ln>
                  <a:noFill/>
                </a:ln>
                <a:solidFill>
                  <a:prstClr val="black"/>
                </a:solidFill>
                <a:effectLst/>
                <a:uLnTx/>
                <a:uFillTx/>
                <a:latin typeface="Open Sans"/>
                <a:ea typeface="+mn-ea"/>
                <a:cs typeface="+mn-cs"/>
              </a:rPr>
              <a:t>of vehicles passed on by dealers are posted to OEM portal</a:t>
            </a:r>
          </a:p>
        </p:txBody>
      </p:sp>
      <p:cxnSp>
        <p:nvCxnSpPr>
          <p:cNvPr id="34" name="Straight Connector 33">
            <a:extLst>
              <a:ext uri="{FF2B5EF4-FFF2-40B4-BE49-F238E27FC236}">
                <a16:creationId xmlns:a16="http://schemas.microsoft.com/office/drawing/2014/main" id="{B0F55BBB-F470-45E1-92AB-8527DF4244E0}"/>
              </a:ext>
            </a:extLst>
          </p:cNvPr>
          <p:cNvCxnSpPr>
            <a:cxnSpLocks/>
            <a:stCxn id="35" idx="2"/>
          </p:cNvCxnSpPr>
          <p:nvPr/>
        </p:nvCxnSpPr>
        <p:spPr>
          <a:xfrm>
            <a:off x="3013503" y="3232520"/>
            <a:ext cx="1718835" cy="41473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7838B0E9-FC4F-4C8A-BBE5-6BCC312A4E9C}"/>
              </a:ext>
            </a:extLst>
          </p:cNvPr>
          <p:cNvSpPr/>
          <p:nvPr/>
        </p:nvSpPr>
        <p:spPr bwMode="gray">
          <a:xfrm>
            <a:off x="1210224" y="2632356"/>
            <a:ext cx="3606557" cy="600164"/>
          </a:xfrm>
          <a:prstGeom prst="rect">
            <a:avLst/>
          </a:prstGeom>
          <a:noFill/>
          <a:ln>
            <a:solidFill>
              <a:schemeClr val="accent6"/>
            </a:solidFill>
            <a:prstDash val="dash"/>
          </a:ln>
        </p:spPr>
        <p:txBody>
          <a:bodyPr wrap="square" rtlCol="0">
            <a:spAutoFit/>
          </a:bodyPr>
          <a:lstStyle/>
          <a:p>
            <a:pPr marL="0" marR="0" lvl="0" indent="0" algn="ctr" defTabSz="914400" rtl="0" eaLnBrk="1" fontAlgn="auto" latinLnBrk="0" hangingPunct="1">
              <a:lnSpc>
                <a:spcPct val="100000"/>
              </a:lnSpc>
              <a:spcBef>
                <a:spcPts val="600"/>
              </a:spcBef>
              <a:spcAft>
                <a:spcPts val="30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Open Sans"/>
                <a:ea typeface="+mn-ea"/>
                <a:cs typeface="+mn-cs"/>
              </a:rPr>
              <a:t>Since </a:t>
            </a:r>
            <a:r>
              <a:rPr kumimoji="0" lang="en-US" sz="1100" b="1" i="0" u="none" strike="noStrike" kern="1200" cap="none" spc="0" normalizeH="0" baseline="0" noProof="0" dirty="0">
                <a:ln>
                  <a:noFill/>
                </a:ln>
                <a:solidFill>
                  <a:prstClr val="black"/>
                </a:solidFill>
                <a:effectLst/>
                <a:uLnTx/>
                <a:uFillTx/>
                <a:latin typeface="Open Sans"/>
                <a:ea typeface="+mn-ea"/>
                <a:cs typeface="+mn-cs"/>
              </a:rPr>
              <a:t>vehicles take 99 days to fix and sell online</a:t>
            </a:r>
            <a:r>
              <a:rPr kumimoji="0" lang="en-US" sz="1100" b="0" i="0" u="none" strike="noStrike" kern="1200" cap="none" spc="0" normalizeH="0" baseline="0" noProof="0" dirty="0">
                <a:ln>
                  <a:noFill/>
                </a:ln>
                <a:solidFill>
                  <a:prstClr val="black"/>
                </a:solidFill>
                <a:effectLst/>
                <a:uLnTx/>
                <a:uFillTx/>
                <a:latin typeface="Open Sans"/>
                <a:ea typeface="+mn-ea"/>
                <a:cs typeface="+mn-cs"/>
              </a:rPr>
              <a:t>, OEM should consider how they can sell those vehicles earlier in the sales process  </a:t>
            </a:r>
            <a:endParaRPr kumimoji="0" lang="en-US" sz="1100" b="1" i="1" u="none" strike="noStrike" kern="1200" cap="none" spc="0" normalizeH="0" baseline="0" noProof="0" dirty="0">
              <a:ln>
                <a:noFill/>
              </a:ln>
              <a:solidFill>
                <a:prstClr val="black"/>
              </a:solidFill>
              <a:effectLst/>
              <a:uLnTx/>
              <a:uFillTx/>
              <a:latin typeface="Open Sans"/>
              <a:ea typeface="+mn-ea"/>
              <a:cs typeface="+mn-cs"/>
            </a:endParaRPr>
          </a:p>
        </p:txBody>
      </p:sp>
      <p:cxnSp>
        <p:nvCxnSpPr>
          <p:cNvPr id="37" name="iBar:31/138"/>
          <p:cNvCxnSpPr/>
          <p:nvPr/>
        </p:nvCxnSpPr>
        <p:spPr>
          <a:xfrm>
            <a:off x="980123" y="2022295"/>
            <a:ext cx="5536752" cy="0"/>
          </a:xfrm>
          <a:prstGeom prst="line">
            <a:avLst/>
          </a:prstGeom>
          <a:ln w="12700">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8" name="TxtBox:31/138"/>
          <p:cNvSpPr/>
          <p:nvPr/>
        </p:nvSpPr>
        <p:spPr bwMode="gray">
          <a:xfrm>
            <a:off x="1906370" y="1924415"/>
            <a:ext cx="3684277" cy="195759"/>
          </a:xfrm>
          <a:prstGeom prst="rect">
            <a:avLst/>
          </a:prstGeom>
          <a:solidFill>
            <a:srgbClr val="FFFFFF"/>
          </a:solidFill>
          <a:ln w="19050" algn="ctr">
            <a:noFill/>
            <a:miter lim="800000"/>
            <a:headEnd/>
            <a:tailEnd/>
          </a:ln>
        </p:spPr>
        <p:txBody>
          <a:bodyPr wrap="none" lIns="91440" tIns="0" rIns="91440" bIns="0" rtlCol="0" anchor="ctr">
            <a:sp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Average Days to Sell in 2011, by Sales Channel</a:t>
            </a:r>
            <a:endParaRPr kumimoji="0" lang="en-US" sz="1050" b="1" i="0" u="none" strike="noStrike" kern="1200" cap="none" spc="0" normalizeH="0" baseline="0" noProof="0" dirty="0">
              <a:ln>
                <a:noFill/>
              </a:ln>
              <a:solidFill>
                <a:srgbClr val="000000"/>
              </a:solidFill>
              <a:effectLst/>
              <a:uLnTx/>
              <a:uFillTx/>
              <a:latin typeface="Open Sans"/>
              <a:ea typeface="+mn-ea"/>
              <a:cs typeface="+mn-cs"/>
            </a:endParaRPr>
          </a:p>
        </p:txBody>
      </p:sp>
      <p:cxnSp>
        <p:nvCxnSpPr>
          <p:cNvPr id="40" name="iBar:31/138"/>
          <p:cNvCxnSpPr/>
          <p:nvPr/>
        </p:nvCxnSpPr>
        <p:spPr>
          <a:xfrm>
            <a:off x="7914855" y="2022296"/>
            <a:ext cx="3541965" cy="0"/>
          </a:xfrm>
          <a:prstGeom prst="line">
            <a:avLst/>
          </a:prstGeom>
          <a:ln w="12700">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 name="TxtBox:31/138"/>
          <p:cNvSpPr/>
          <p:nvPr/>
        </p:nvSpPr>
        <p:spPr bwMode="gray">
          <a:xfrm>
            <a:off x="8778389" y="1929000"/>
            <a:ext cx="1814920" cy="186590"/>
          </a:xfrm>
          <a:prstGeom prst="rect">
            <a:avLst/>
          </a:prstGeom>
          <a:solidFill>
            <a:srgbClr val="FFFFFF"/>
          </a:solidFill>
          <a:ln w="19050" algn="ctr">
            <a:noFill/>
            <a:miter lim="800000"/>
            <a:headEnd/>
            <a:tailEnd/>
          </a:ln>
        </p:spPr>
        <p:txBody>
          <a:bodyPr wrap="none" lIns="91440" tIns="0" rIns="91440" bIns="0" rtlCol="0" anchor="ctr">
            <a:sp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Discussion Questions</a:t>
            </a:r>
            <a:endParaRPr kumimoji="0" lang="en-US" sz="1050" b="1" i="0" u="none" strike="noStrike" kern="1200" cap="none" spc="0" normalizeH="0" baseline="0" noProof="0" dirty="0">
              <a:ln>
                <a:noFill/>
              </a:ln>
              <a:solidFill>
                <a:srgbClr val="000000"/>
              </a:solidFill>
              <a:effectLst/>
              <a:uLnTx/>
              <a:uFillTx/>
              <a:latin typeface="Open Sans"/>
              <a:ea typeface="+mn-ea"/>
              <a:cs typeface="+mn-cs"/>
            </a:endParaRPr>
          </a:p>
        </p:txBody>
      </p:sp>
    </p:spTree>
    <p:extLst>
      <p:ext uri="{BB962C8B-B14F-4D97-AF65-F5344CB8AC3E}">
        <p14:creationId xmlns:p14="http://schemas.microsoft.com/office/powerpoint/2010/main" val="2967450726"/>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388"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Mar</a:t>
            </a:r>
            <a:r>
              <a:rPr lang="en-US" dirty="0"/>
              <a:t>ket Changes</a:t>
            </a:r>
          </a:p>
        </p:txBody>
      </p:sp>
      <p:sp>
        <p:nvSpPr>
          <p:cNvPr id="3" name="Text Placeholder 2"/>
          <p:cNvSpPr>
            <a:spLocks noGrp="1"/>
          </p:cNvSpPr>
          <p:nvPr>
            <p:ph type="body" sz="quarter" idx="14"/>
          </p:nvPr>
        </p:nvSpPr>
        <p:spPr/>
        <p:txBody>
          <a:bodyPr/>
          <a:lstStyle/>
          <a:p>
            <a:pPr>
              <a:buClr>
                <a:srgbClr val="787878"/>
              </a:buClr>
              <a:defRPr/>
            </a:pPr>
            <a:r>
              <a:rPr lang="en-US" spc="-75" dirty="0">
                <a:solidFill>
                  <a:prstClr val="black"/>
                </a:solidFill>
                <a:cs typeface="Arial" panose="020B0604020202020204" pitchFamily="34" charset="0"/>
              </a:rPr>
              <a:t>Marketplaces are changing the game in grocery, led by Amazon in the US</a:t>
            </a:r>
          </a:p>
          <a:p>
            <a:pPr lvl="0">
              <a:buClr>
                <a:srgbClr val="787878"/>
              </a:buClr>
              <a:defRPr/>
            </a:pPr>
            <a:endParaRPr lang="en-US" spc="0" dirty="0">
              <a:solidFill>
                <a:srgbClr val="000000"/>
              </a:solidFill>
            </a:endParaRPr>
          </a:p>
        </p:txBody>
      </p:sp>
      <p:sp>
        <p:nvSpPr>
          <p:cNvPr id="5" name="Text Placeholder 4"/>
          <p:cNvSpPr>
            <a:spLocks noGrp="1"/>
          </p:cNvSpPr>
          <p:nvPr>
            <p:ph type="body" sz="quarter" idx="15"/>
          </p:nvPr>
        </p:nvSpPr>
        <p:spPr/>
        <p:txBody>
          <a:bodyPr/>
          <a:lstStyle/>
          <a:p>
            <a:r>
              <a:rPr lang="en-US" dirty="0"/>
              <a:t>Data Visualization &amp; Infographics</a:t>
            </a:r>
          </a:p>
        </p:txBody>
      </p:sp>
      <p:grpSp>
        <p:nvGrpSpPr>
          <p:cNvPr id="6" name="Group 5"/>
          <p:cNvGrpSpPr/>
          <p:nvPr/>
        </p:nvGrpSpPr>
        <p:grpSpPr>
          <a:xfrm>
            <a:off x="410045" y="1782363"/>
            <a:ext cx="11781955" cy="4569802"/>
            <a:chOff x="469050" y="1665627"/>
            <a:chExt cx="11781955" cy="4945468"/>
          </a:xfrm>
        </p:grpSpPr>
        <p:grpSp>
          <p:nvGrpSpPr>
            <p:cNvPr id="17" name="Group 16"/>
            <p:cNvGrpSpPr/>
            <p:nvPr/>
          </p:nvGrpSpPr>
          <p:grpSpPr>
            <a:xfrm>
              <a:off x="576369" y="2497735"/>
              <a:ext cx="3862816" cy="3871268"/>
              <a:chOff x="510493" y="2129565"/>
              <a:chExt cx="3862816" cy="3871268"/>
            </a:xfrm>
          </p:grpSpPr>
          <p:grpSp>
            <p:nvGrpSpPr>
              <p:cNvPr id="18" name="Group 17"/>
              <p:cNvGrpSpPr/>
              <p:nvPr/>
            </p:nvGrpSpPr>
            <p:grpSpPr>
              <a:xfrm>
                <a:off x="510493" y="2129565"/>
                <a:ext cx="360412" cy="3871268"/>
                <a:chOff x="510493" y="2129565"/>
                <a:chExt cx="360412" cy="3871268"/>
              </a:xfrm>
              <a:solidFill>
                <a:schemeClr val="accent5"/>
              </a:solidFill>
            </p:grpSpPr>
            <p:sp>
              <p:nvSpPr>
                <p:cNvPr id="128" name="Freeform 127"/>
                <p:cNvSpPr>
                  <a:spLocks noEditPoints="1"/>
                </p:cNvSpPr>
                <p:nvPr/>
              </p:nvSpPr>
              <p:spPr bwMode="auto">
                <a:xfrm>
                  <a:off x="510493" y="2129565"/>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9" name="Freeform 128"/>
                <p:cNvSpPr>
                  <a:spLocks noEditPoints="1"/>
                </p:cNvSpPr>
                <p:nvPr/>
              </p:nvSpPr>
              <p:spPr bwMode="auto">
                <a:xfrm>
                  <a:off x="510493" y="2526178"/>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0" name="Freeform 129"/>
                <p:cNvSpPr>
                  <a:spLocks noEditPoints="1"/>
                </p:cNvSpPr>
                <p:nvPr/>
              </p:nvSpPr>
              <p:spPr bwMode="auto">
                <a:xfrm>
                  <a:off x="510493" y="2922791"/>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1" name="Freeform 130"/>
                <p:cNvSpPr>
                  <a:spLocks noEditPoints="1"/>
                </p:cNvSpPr>
                <p:nvPr/>
              </p:nvSpPr>
              <p:spPr bwMode="auto">
                <a:xfrm>
                  <a:off x="510493" y="3319404"/>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2" name="Freeform 131"/>
                <p:cNvSpPr>
                  <a:spLocks noEditPoints="1"/>
                </p:cNvSpPr>
                <p:nvPr/>
              </p:nvSpPr>
              <p:spPr bwMode="auto">
                <a:xfrm>
                  <a:off x="510493" y="3716017"/>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3" name="Freeform 132"/>
                <p:cNvSpPr>
                  <a:spLocks noEditPoints="1"/>
                </p:cNvSpPr>
                <p:nvPr/>
              </p:nvSpPr>
              <p:spPr bwMode="auto">
                <a:xfrm>
                  <a:off x="510493" y="4112630"/>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4" name="Freeform 133"/>
                <p:cNvSpPr>
                  <a:spLocks noEditPoints="1"/>
                </p:cNvSpPr>
                <p:nvPr/>
              </p:nvSpPr>
              <p:spPr bwMode="auto">
                <a:xfrm>
                  <a:off x="510493" y="4509243"/>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5" name="Freeform 134"/>
                <p:cNvSpPr>
                  <a:spLocks noEditPoints="1"/>
                </p:cNvSpPr>
                <p:nvPr/>
              </p:nvSpPr>
              <p:spPr bwMode="auto">
                <a:xfrm>
                  <a:off x="510493" y="4905856"/>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6" name="Freeform 135"/>
                <p:cNvSpPr>
                  <a:spLocks noEditPoints="1"/>
                </p:cNvSpPr>
                <p:nvPr/>
              </p:nvSpPr>
              <p:spPr bwMode="auto">
                <a:xfrm>
                  <a:off x="510493" y="5302469"/>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7" name="Freeform 136"/>
                <p:cNvSpPr>
                  <a:spLocks noEditPoints="1"/>
                </p:cNvSpPr>
                <p:nvPr/>
              </p:nvSpPr>
              <p:spPr bwMode="auto">
                <a:xfrm>
                  <a:off x="510493" y="5699081"/>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9" name="Group 18"/>
              <p:cNvGrpSpPr/>
              <p:nvPr/>
            </p:nvGrpSpPr>
            <p:grpSpPr>
              <a:xfrm>
                <a:off x="899649" y="2129565"/>
                <a:ext cx="360412" cy="3871268"/>
                <a:chOff x="510493" y="2129565"/>
                <a:chExt cx="360412" cy="3871268"/>
              </a:xfrm>
              <a:solidFill>
                <a:schemeClr val="accent5"/>
              </a:solidFill>
            </p:grpSpPr>
            <p:sp>
              <p:nvSpPr>
                <p:cNvPr id="118" name="Freeform 117"/>
                <p:cNvSpPr>
                  <a:spLocks noEditPoints="1"/>
                </p:cNvSpPr>
                <p:nvPr/>
              </p:nvSpPr>
              <p:spPr bwMode="auto">
                <a:xfrm>
                  <a:off x="510493" y="2129565"/>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9" name="Freeform 118"/>
                <p:cNvSpPr>
                  <a:spLocks noEditPoints="1"/>
                </p:cNvSpPr>
                <p:nvPr/>
              </p:nvSpPr>
              <p:spPr bwMode="auto">
                <a:xfrm>
                  <a:off x="510493" y="2526178"/>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0" name="Freeform 119"/>
                <p:cNvSpPr>
                  <a:spLocks noEditPoints="1"/>
                </p:cNvSpPr>
                <p:nvPr/>
              </p:nvSpPr>
              <p:spPr bwMode="auto">
                <a:xfrm>
                  <a:off x="510493" y="2922791"/>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1" name="Freeform 120"/>
                <p:cNvSpPr>
                  <a:spLocks noEditPoints="1"/>
                </p:cNvSpPr>
                <p:nvPr/>
              </p:nvSpPr>
              <p:spPr bwMode="auto">
                <a:xfrm>
                  <a:off x="510493" y="3319404"/>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2" name="Freeform 121"/>
                <p:cNvSpPr>
                  <a:spLocks noEditPoints="1"/>
                </p:cNvSpPr>
                <p:nvPr/>
              </p:nvSpPr>
              <p:spPr bwMode="auto">
                <a:xfrm>
                  <a:off x="510493" y="3716017"/>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3" name="Freeform 122"/>
                <p:cNvSpPr>
                  <a:spLocks noEditPoints="1"/>
                </p:cNvSpPr>
                <p:nvPr/>
              </p:nvSpPr>
              <p:spPr bwMode="auto">
                <a:xfrm>
                  <a:off x="510493" y="4112630"/>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4" name="Freeform 123"/>
                <p:cNvSpPr>
                  <a:spLocks noEditPoints="1"/>
                </p:cNvSpPr>
                <p:nvPr/>
              </p:nvSpPr>
              <p:spPr bwMode="auto">
                <a:xfrm>
                  <a:off x="510493" y="4509243"/>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5" name="Freeform 124"/>
                <p:cNvSpPr>
                  <a:spLocks noEditPoints="1"/>
                </p:cNvSpPr>
                <p:nvPr/>
              </p:nvSpPr>
              <p:spPr bwMode="auto">
                <a:xfrm>
                  <a:off x="510493" y="4905856"/>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6" name="Freeform 125"/>
                <p:cNvSpPr>
                  <a:spLocks noEditPoints="1"/>
                </p:cNvSpPr>
                <p:nvPr/>
              </p:nvSpPr>
              <p:spPr bwMode="auto">
                <a:xfrm>
                  <a:off x="510493" y="5302469"/>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7" name="Freeform 126"/>
                <p:cNvSpPr>
                  <a:spLocks noEditPoints="1"/>
                </p:cNvSpPr>
                <p:nvPr/>
              </p:nvSpPr>
              <p:spPr bwMode="auto">
                <a:xfrm>
                  <a:off x="510493" y="5699081"/>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0" name="Group 19"/>
              <p:cNvGrpSpPr/>
              <p:nvPr/>
            </p:nvGrpSpPr>
            <p:grpSpPr>
              <a:xfrm>
                <a:off x="1288805" y="2129565"/>
                <a:ext cx="360412" cy="3871268"/>
                <a:chOff x="510493" y="2129565"/>
                <a:chExt cx="360412" cy="3871268"/>
              </a:xfrm>
              <a:solidFill>
                <a:schemeClr val="accent5"/>
              </a:solidFill>
            </p:grpSpPr>
            <p:sp>
              <p:nvSpPr>
                <p:cNvPr id="108" name="Freeform 107"/>
                <p:cNvSpPr>
                  <a:spLocks noEditPoints="1"/>
                </p:cNvSpPr>
                <p:nvPr/>
              </p:nvSpPr>
              <p:spPr bwMode="auto">
                <a:xfrm>
                  <a:off x="510493" y="2129565"/>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9" name="Freeform 108"/>
                <p:cNvSpPr>
                  <a:spLocks noEditPoints="1"/>
                </p:cNvSpPr>
                <p:nvPr/>
              </p:nvSpPr>
              <p:spPr bwMode="auto">
                <a:xfrm>
                  <a:off x="510493" y="2526178"/>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0" name="Freeform 109"/>
                <p:cNvSpPr>
                  <a:spLocks noEditPoints="1"/>
                </p:cNvSpPr>
                <p:nvPr/>
              </p:nvSpPr>
              <p:spPr bwMode="auto">
                <a:xfrm>
                  <a:off x="510493" y="2922791"/>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1" name="Freeform 110"/>
                <p:cNvSpPr>
                  <a:spLocks noEditPoints="1"/>
                </p:cNvSpPr>
                <p:nvPr/>
              </p:nvSpPr>
              <p:spPr bwMode="auto">
                <a:xfrm>
                  <a:off x="510493" y="3319404"/>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2" name="Freeform 111"/>
                <p:cNvSpPr>
                  <a:spLocks noEditPoints="1"/>
                </p:cNvSpPr>
                <p:nvPr/>
              </p:nvSpPr>
              <p:spPr bwMode="auto">
                <a:xfrm>
                  <a:off x="510493" y="3716017"/>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3" name="Freeform 112"/>
                <p:cNvSpPr>
                  <a:spLocks noEditPoints="1"/>
                </p:cNvSpPr>
                <p:nvPr/>
              </p:nvSpPr>
              <p:spPr bwMode="auto">
                <a:xfrm>
                  <a:off x="510493" y="4112630"/>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4" name="Freeform 113"/>
                <p:cNvSpPr>
                  <a:spLocks noEditPoints="1"/>
                </p:cNvSpPr>
                <p:nvPr/>
              </p:nvSpPr>
              <p:spPr bwMode="auto">
                <a:xfrm>
                  <a:off x="510493" y="4509243"/>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5" name="Freeform 114"/>
                <p:cNvSpPr>
                  <a:spLocks noEditPoints="1"/>
                </p:cNvSpPr>
                <p:nvPr/>
              </p:nvSpPr>
              <p:spPr bwMode="auto">
                <a:xfrm>
                  <a:off x="510493" y="4905856"/>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6" name="Freeform 115"/>
                <p:cNvSpPr>
                  <a:spLocks noEditPoints="1"/>
                </p:cNvSpPr>
                <p:nvPr/>
              </p:nvSpPr>
              <p:spPr bwMode="auto">
                <a:xfrm>
                  <a:off x="510493" y="5302469"/>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7" name="Freeform 116"/>
                <p:cNvSpPr>
                  <a:spLocks noEditPoints="1"/>
                </p:cNvSpPr>
                <p:nvPr/>
              </p:nvSpPr>
              <p:spPr bwMode="auto">
                <a:xfrm>
                  <a:off x="510493" y="5699081"/>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1" name="Group 20"/>
              <p:cNvGrpSpPr/>
              <p:nvPr/>
            </p:nvGrpSpPr>
            <p:grpSpPr>
              <a:xfrm>
                <a:off x="1677961" y="2129565"/>
                <a:ext cx="360412" cy="3871268"/>
                <a:chOff x="510493" y="2129565"/>
                <a:chExt cx="360412" cy="3871268"/>
              </a:xfrm>
              <a:solidFill>
                <a:schemeClr val="accent5"/>
              </a:solidFill>
            </p:grpSpPr>
            <p:sp>
              <p:nvSpPr>
                <p:cNvPr id="98" name="Freeform 97"/>
                <p:cNvSpPr>
                  <a:spLocks noEditPoints="1"/>
                </p:cNvSpPr>
                <p:nvPr/>
              </p:nvSpPr>
              <p:spPr bwMode="auto">
                <a:xfrm>
                  <a:off x="510493" y="2129565"/>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9" name="Freeform 98"/>
                <p:cNvSpPr>
                  <a:spLocks noEditPoints="1"/>
                </p:cNvSpPr>
                <p:nvPr/>
              </p:nvSpPr>
              <p:spPr bwMode="auto">
                <a:xfrm>
                  <a:off x="510493" y="2526178"/>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0" name="Freeform 99"/>
                <p:cNvSpPr>
                  <a:spLocks noEditPoints="1"/>
                </p:cNvSpPr>
                <p:nvPr/>
              </p:nvSpPr>
              <p:spPr bwMode="auto">
                <a:xfrm>
                  <a:off x="510493" y="2922791"/>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1" name="Freeform 100"/>
                <p:cNvSpPr>
                  <a:spLocks noEditPoints="1"/>
                </p:cNvSpPr>
                <p:nvPr/>
              </p:nvSpPr>
              <p:spPr bwMode="auto">
                <a:xfrm>
                  <a:off x="510493" y="3319404"/>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2" name="Freeform 101"/>
                <p:cNvSpPr>
                  <a:spLocks noEditPoints="1"/>
                </p:cNvSpPr>
                <p:nvPr/>
              </p:nvSpPr>
              <p:spPr bwMode="auto">
                <a:xfrm>
                  <a:off x="510493" y="3716017"/>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3" name="Freeform 102"/>
                <p:cNvSpPr>
                  <a:spLocks noEditPoints="1"/>
                </p:cNvSpPr>
                <p:nvPr/>
              </p:nvSpPr>
              <p:spPr bwMode="auto">
                <a:xfrm>
                  <a:off x="510493" y="4112630"/>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4" name="Freeform 103"/>
                <p:cNvSpPr>
                  <a:spLocks noEditPoints="1"/>
                </p:cNvSpPr>
                <p:nvPr/>
              </p:nvSpPr>
              <p:spPr bwMode="auto">
                <a:xfrm>
                  <a:off x="510493" y="4509243"/>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5" name="Freeform 104"/>
                <p:cNvSpPr>
                  <a:spLocks noEditPoints="1"/>
                </p:cNvSpPr>
                <p:nvPr/>
              </p:nvSpPr>
              <p:spPr bwMode="auto">
                <a:xfrm>
                  <a:off x="510493" y="4905856"/>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6" name="Freeform 105"/>
                <p:cNvSpPr>
                  <a:spLocks noEditPoints="1"/>
                </p:cNvSpPr>
                <p:nvPr/>
              </p:nvSpPr>
              <p:spPr bwMode="auto">
                <a:xfrm>
                  <a:off x="510493" y="5302469"/>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7" name="Freeform 106"/>
                <p:cNvSpPr>
                  <a:spLocks noEditPoints="1"/>
                </p:cNvSpPr>
                <p:nvPr/>
              </p:nvSpPr>
              <p:spPr bwMode="auto">
                <a:xfrm>
                  <a:off x="510493" y="5699081"/>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2" name="Group 21"/>
              <p:cNvGrpSpPr/>
              <p:nvPr/>
            </p:nvGrpSpPr>
            <p:grpSpPr>
              <a:xfrm>
                <a:off x="2067117" y="2129565"/>
                <a:ext cx="360412" cy="3871268"/>
                <a:chOff x="510493" y="2129565"/>
                <a:chExt cx="360412" cy="3871268"/>
              </a:xfrm>
              <a:solidFill>
                <a:schemeClr val="accent5"/>
              </a:solidFill>
            </p:grpSpPr>
            <p:sp>
              <p:nvSpPr>
                <p:cNvPr id="88" name="Freeform 87"/>
                <p:cNvSpPr>
                  <a:spLocks noEditPoints="1"/>
                </p:cNvSpPr>
                <p:nvPr/>
              </p:nvSpPr>
              <p:spPr bwMode="auto">
                <a:xfrm>
                  <a:off x="510493" y="2129565"/>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9" name="Freeform 88"/>
                <p:cNvSpPr>
                  <a:spLocks noEditPoints="1"/>
                </p:cNvSpPr>
                <p:nvPr/>
              </p:nvSpPr>
              <p:spPr bwMode="auto">
                <a:xfrm>
                  <a:off x="510493" y="2526178"/>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0" name="Freeform 89"/>
                <p:cNvSpPr>
                  <a:spLocks noEditPoints="1"/>
                </p:cNvSpPr>
                <p:nvPr/>
              </p:nvSpPr>
              <p:spPr bwMode="auto">
                <a:xfrm>
                  <a:off x="510493" y="2922791"/>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1" name="Freeform 90"/>
                <p:cNvSpPr>
                  <a:spLocks noEditPoints="1"/>
                </p:cNvSpPr>
                <p:nvPr/>
              </p:nvSpPr>
              <p:spPr bwMode="auto">
                <a:xfrm>
                  <a:off x="510493" y="3319404"/>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2" name="Freeform 91"/>
                <p:cNvSpPr>
                  <a:spLocks noEditPoints="1"/>
                </p:cNvSpPr>
                <p:nvPr/>
              </p:nvSpPr>
              <p:spPr bwMode="auto">
                <a:xfrm>
                  <a:off x="510493" y="3716017"/>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3" name="Freeform 92"/>
                <p:cNvSpPr>
                  <a:spLocks noEditPoints="1"/>
                </p:cNvSpPr>
                <p:nvPr/>
              </p:nvSpPr>
              <p:spPr bwMode="auto">
                <a:xfrm>
                  <a:off x="510493" y="4112630"/>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4" name="Freeform 93"/>
                <p:cNvSpPr>
                  <a:spLocks noEditPoints="1"/>
                </p:cNvSpPr>
                <p:nvPr/>
              </p:nvSpPr>
              <p:spPr bwMode="auto">
                <a:xfrm>
                  <a:off x="510493" y="4509243"/>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5" name="Freeform 94"/>
                <p:cNvSpPr>
                  <a:spLocks noEditPoints="1"/>
                </p:cNvSpPr>
                <p:nvPr/>
              </p:nvSpPr>
              <p:spPr bwMode="auto">
                <a:xfrm>
                  <a:off x="510493" y="4905856"/>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6" name="Freeform 95"/>
                <p:cNvSpPr>
                  <a:spLocks noEditPoints="1"/>
                </p:cNvSpPr>
                <p:nvPr/>
              </p:nvSpPr>
              <p:spPr bwMode="auto">
                <a:xfrm>
                  <a:off x="510493" y="5302469"/>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7" name="Freeform 96"/>
                <p:cNvSpPr>
                  <a:spLocks noEditPoints="1"/>
                </p:cNvSpPr>
                <p:nvPr/>
              </p:nvSpPr>
              <p:spPr bwMode="auto">
                <a:xfrm>
                  <a:off x="510493" y="5699081"/>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3" name="Group 22"/>
              <p:cNvGrpSpPr/>
              <p:nvPr/>
            </p:nvGrpSpPr>
            <p:grpSpPr>
              <a:xfrm>
                <a:off x="2456273" y="2129565"/>
                <a:ext cx="360412" cy="3871268"/>
                <a:chOff x="510493" y="2129565"/>
                <a:chExt cx="360412" cy="3871268"/>
              </a:xfrm>
              <a:solidFill>
                <a:schemeClr val="accent5"/>
              </a:solidFill>
            </p:grpSpPr>
            <p:sp>
              <p:nvSpPr>
                <p:cNvPr id="78" name="Freeform 77"/>
                <p:cNvSpPr>
                  <a:spLocks noEditPoints="1"/>
                </p:cNvSpPr>
                <p:nvPr/>
              </p:nvSpPr>
              <p:spPr bwMode="auto">
                <a:xfrm>
                  <a:off x="510493" y="2129565"/>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9" name="Freeform 78"/>
                <p:cNvSpPr>
                  <a:spLocks noEditPoints="1"/>
                </p:cNvSpPr>
                <p:nvPr/>
              </p:nvSpPr>
              <p:spPr bwMode="auto">
                <a:xfrm>
                  <a:off x="510493" y="2526178"/>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0" name="Freeform 79"/>
                <p:cNvSpPr>
                  <a:spLocks noEditPoints="1"/>
                </p:cNvSpPr>
                <p:nvPr/>
              </p:nvSpPr>
              <p:spPr bwMode="auto">
                <a:xfrm>
                  <a:off x="510493" y="2922791"/>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1" name="Freeform 80"/>
                <p:cNvSpPr>
                  <a:spLocks noEditPoints="1"/>
                </p:cNvSpPr>
                <p:nvPr/>
              </p:nvSpPr>
              <p:spPr bwMode="auto">
                <a:xfrm>
                  <a:off x="510493" y="3319404"/>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2" name="Freeform 81"/>
                <p:cNvSpPr>
                  <a:spLocks noEditPoints="1"/>
                </p:cNvSpPr>
                <p:nvPr/>
              </p:nvSpPr>
              <p:spPr bwMode="auto">
                <a:xfrm>
                  <a:off x="510493" y="3716017"/>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3" name="Freeform 82"/>
                <p:cNvSpPr>
                  <a:spLocks noEditPoints="1"/>
                </p:cNvSpPr>
                <p:nvPr/>
              </p:nvSpPr>
              <p:spPr bwMode="auto">
                <a:xfrm>
                  <a:off x="510493" y="4112630"/>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4" name="Freeform 83"/>
                <p:cNvSpPr>
                  <a:spLocks noEditPoints="1"/>
                </p:cNvSpPr>
                <p:nvPr/>
              </p:nvSpPr>
              <p:spPr bwMode="auto">
                <a:xfrm>
                  <a:off x="510493" y="4509243"/>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5" name="Freeform 84"/>
                <p:cNvSpPr>
                  <a:spLocks noEditPoints="1"/>
                </p:cNvSpPr>
                <p:nvPr/>
              </p:nvSpPr>
              <p:spPr bwMode="auto">
                <a:xfrm>
                  <a:off x="510493" y="4905856"/>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6" name="Freeform 85"/>
                <p:cNvSpPr>
                  <a:spLocks noEditPoints="1"/>
                </p:cNvSpPr>
                <p:nvPr/>
              </p:nvSpPr>
              <p:spPr bwMode="auto">
                <a:xfrm>
                  <a:off x="510493" y="5302469"/>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7" name="Freeform 86"/>
                <p:cNvSpPr>
                  <a:spLocks noEditPoints="1"/>
                </p:cNvSpPr>
                <p:nvPr/>
              </p:nvSpPr>
              <p:spPr bwMode="auto">
                <a:xfrm>
                  <a:off x="510493" y="5699081"/>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24" name="Freeform 23"/>
              <p:cNvSpPr>
                <a:spLocks noEditPoints="1"/>
              </p:cNvSpPr>
              <p:nvPr/>
            </p:nvSpPr>
            <p:spPr bwMode="auto">
              <a:xfrm>
                <a:off x="2845429" y="2129565"/>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5" name="Freeform 24"/>
              <p:cNvSpPr>
                <a:spLocks noEditPoints="1"/>
              </p:cNvSpPr>
              <p:nvPr/>
            </p:nvSpPr>
            <p:spPr bwMode="auto">
              <a:xfrm>
                <a:off x="2845429" y="2526178"/>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6" name="Freeform 25"/>
              <p:cNvSpPr>
                <a:spLocks noEditPoints="1"/>
              </p:cNvSpPr>
              <p:nvPr/>
            </p:nvSpPr>
            <p:spPr bwMode="auto">
              <a:xfrm>
                <a:off x="2845429" y="2922791"/>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7" name="Freeform 26"/>
              <p:cNvSpPr>
                <a:spLocks noEditPoints="1"/>
              </p:cNvSpPr>
              <p:nvPr/>
            </p:nvSpPr>
            <p:spPr bwMode="auto">
              <a:xfrm>
                <a:off x="2845429" y="3319404"/>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8" name="Freeform 27"/>
              <p:cNvSpPr>
                <a:spLocks noEditPoints="1"/>
              </p:cNvSpPr>
              <p:nvPr/>
            </p:nvSpPr>
            <p:spPr bwMode="auto">
              <a:xfrm>
                <a:off x="2845429" y="3716017"/>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9" name="Freeform 28"/>
              <p:cNvSpPr>
                <a:spLocks noEditPoints="1"/>
              </p:cNvSpPr>
              <p:nvPr/>
            </p:nvSpPr>
            <p:spPr bwMode="auto">
              <a:xfrm>
                <a:off x="2845429" y="4112630"/>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0" name="Freeform 29"/>
              <p:cNvSpPr>
                <a:spLocks noEditPoints="1"/>
              </p:cNvSpPr>
              <p:nvPr/>
            </p:nvSpPr>
            <p:spPr bwMode="auto">
              <a:xfrm>
                <a:off x="2845429" y="4509243"/>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1" name="Freeform 30"/>
              <p:cNvSpPr>
                <a:spLocks noEditPoints="1"/>
              </p:cNvSpPr>
              <p:nvPr/>
            </p:nvSpPr>
            <p:spPr bwMode="auto">
              <a:xfrm>
                <a:off x="2845429" y="4905856"/>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2" name="Freeform 31"/>
              <p:cNvSpPr>
                <a:spLocks noEditPoints="1"/>
              </p:cNvSpPr>
              <p:nvPr/>
            </p:nvSpPr>
            <p:spPr bwMode="auto">
              <a:xfrm>
                <a:off x="2845429" y="5302469"/>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3" name="Freeform 32"/>
              <p:cNvSpPr>
                <a:spLocks noEditPoints="1"/>
              </p:cNvSpPr>
              <p:nvPr/>
            </p:nvSpPr>
            <p:spPr bwMode="auto">
              <a:xfrm>
                <a:off x="2845429" y="5699081"/>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34" name="Group 33"/>
              <p:cNvGrpSpPr/>
              <p:nvPr/>
            </p:nvGrpSpPr>
            <p:grpSpPr>
              <a:xfrm>
                <a:off x="3234585" y="2129565"/>
                <a:ext cx="360412" cy="3871268"/>
                <a:chOff x="510493" y="2129565"/>
                <a:chExt cx="360412" cy="3871268"/>
              </a:xfrm>
            </p:grpSpPr>
            <p:sp>
              <p:nvSpPr>
                <p:cNvPr id="68" name="Freeform 67"/>
                <p:cNvSpPr>
                  <a:spLocks noEditPoints="1"/>
                </p:cNvSpPr>
                <p:nvPr/>
              </p:nvSpPr>
              <p:spPr bwMode="auto">
                <a:xfrm>
                  <a:off x="510493" y="2129565"/>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9" name="Freeform 68"/>
                <p:cNvSpPr>
                  <a:spLocks noEditPoints="1"/>
                </p:cNvSpPr>
                <p:nvPr/>
              </p:nvSpPr>
              <p:spPr bwMode="auto">
                <a:xfrm>
                  <a:off x="510493" y="2526178"/>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0" name="Freeform 69"/>
                <p:cNvSpPr>
                  <a:spLocks noEditPoints="1"/>
                </p:cNvSpPr>
                <p:nvPr/>
              </p:nvSpPr>
              <p:spPr bwMode="auto">
                <a:xfrm>
                  <a:off x="510493" y="2922791"/>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1" name="Freeform 70"/>
                <p:cNvSpPr>
                  <a:spLocks noEditPoints="1"/>
                </p:cNvSpPr>
                <p:nvPr/>
              </p:nvSpPr>
              <p:spPr bwMode="auto">
                <a:xfrm>
                  <a:off x="510493" y="3319404"/>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2" name="Freeform 71"/>
                <p:cNvSpPr>
                  <a:spLocks noEditPoints="1"/>
                </p:cNvSpPr>
                <p:nvPr/>
              </p:nvSpPr>
              <p:spPr bwMode="auto">
                <a:xfrm>
                  <a:off x="510493" y="3716017"/>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3" name="Freeform 72"/>
                <p:cNvSpPr>
                  <a:spLocks noEditPoints="1"/>
                </p:cNvSpPr>
                <p:nvPr/>
              </p:nvSpPr>
              <p:spPr bwMode="auto">
                <a:xfrm>
                  <a:off x="510493" y="4112630"/>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4" name="Freeform 73"/>
                <p:cNvSpPr>
                  <a:spLocks noEditPoints="1"/>
                </p:cNvSpPr>
                <p:nvPr/>
              </p:nvSpPr>
              <p:spPr bwMode="auto">
                <a:xfrm>
                  <a:off x="510493" y="4509243"/>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5" name="Freeform 74"/>
                <p:cNvSpPr>
                  <a:spLocks noEditPoints="1"/>
                </p:cNvSpPr>
                <p:nvPr/>
              </p:nvSpPr>
              <p:spPr bwMode="auto">
                <a:xfrm>
                  <a:off x="510493" y="4905856"/>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6" name="Freeform 75"/>
                <p:cNvSpPr>
                  <a:spLocks noEditPoints="1"/>
                </p:cNvSpPr>
                <p:nvPr/>
              </p:nvSpPr>
              <p:spPr bwMode="auto">
                <a:xfrm>
                  <a:off x="510493" y="5302469"/>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7" name="Freeform 76"/>
                <p:cNvSpPr>
                  <a:spLocks noEditPoints="1"/>
                </p:cNvSpPr>
                <p:nvPr/>
              </p:nvSpPr>
              <p:spPr bwMode="auto">
                <a:xfrm>
                  <a:off x="510493" y="5699081"/>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5" name="Group 34"/>
              <p:cNvGrpSpPr/>
              <p:nvPr/>
            </p:nvGrpSpPr>
            <p:grpSpPr>
              <a:xfrm>
                <a:off x="3623741" y="2129565"/>
                <a:ext cx="360412" cy="3871268"/>
                <a:chOff x="510493" y="2129565"/>
                <a:chExt cx="360412" cy="3871268"/>
              </a:xfrm>
            </p:grpSpPr>
            <p:sp>
              <p:nvSpPr>
                <p:cNvPr id="58" name="Freeform 57"/>
                <p:cNvSpPr>
                  <a:spLocks noEditPoints="1"/>
                </p:cNvSpPr>
                <p:nvPr/>
              </p:nvSpPr>
              <p:spPr bwMode="auto">
                <a:xfrm>
                  <a:off x="510493" y="2129565"/>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9" name="Freeform 58"/>
                <p:cNvSpPr>
                  <a:spLocks noEditPoints="1"/>
                </p:cNvSpPr>
                <p:nvPr/>
              </p:nvSpPr>
              <p:spPr bwMode="auto">
                <a:xfrm>
                  <a:off x="510493" y="2526178"/>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0" name="Freeform 59"/>
                <p:cNvSpPr>
                  <a:spLocks noEditPoints="1"/>
                </p:cNvSpPr>
                <p:nvPr/>
              </p:nvSpPr>
              <p:spPr bwMode="auto">
                <a:xfrm>
                  <a:off x="510493" y="2922791"/>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1" name="Freeform 60"/>
                <p:cNvSpPr>
                  <a:spLocks noEditPoints="1"/>
                </p:cNvSpPr>
                <p:nvPr/>
              </p:nvSpPr>
              <p:spPr bwMode="auto">
                <a:xfrm>
                  <a:off x="510493" y="3319404"/>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2" name="Freeform 61"/>
                <p:cNvSpPr>
                  <a:spLocks noEditPoints="1"/>
                </p:cNvSpPr>
                <p:nvPr/>
              </p:nvSpPr>
              <p:spPr bwMode="auto">
                <a:xfrm>
                  <a:off x="510493" y="3716017"/>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3" name="Freeform 62"/>
                <p:cNvSpPr>
                  <a:spLocks noEditPoints="1"/>
                </p:cNvSpPr>
                <p:nvPr/>
              </p:nvSpPr>
              <p:spPr bwMode="auto">
                <a:xfrm>
                  <a:off x="510493" y="4112630"/>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4" name="Freeform 63"/>
                <p:cNvSpPr>
                  <a:spLocks noEditPoints="1"/>
                </p:cNvSpPr>
                <p:nvPr/>
              </p:nvSpPr>
              <p:spPr bwMode="auto">
                <a:xfrm>
                  <a:off x="510493" y="4509243"/>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5" name="Freeform 64"/>
                <p:cNvSpPr>
                  <a:spLocks noEditPoints="1"/>
                </p:cNvSpPr>
                <p:nvPr/>
              </p:nvSpPr>
              <p:spPr bwMode="auto">
                <a:xfrm>
                  <a:off x="510493" y="4905856"/>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6" name="Freeform 65"/>
                <p:cNvSpPr>
                  <a:spLocks noEditPoints="1"/>
                </p:cNvSpPr>
                <p:nvPr/>
              </p:nvSpPr>
              <p:spPr bwMode="auto">
                <a:xfrm>
                  <a:off x="510493" y="5302469"/>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7" name="Freeform 66"/>
                <p:cNvSpPr>
                  <a:spLocks noEditPoints="1"/>
                </p:cNvSpPr>
                <p:nvPr/>
              </p:nvSpPr>
              <p:spPr bwMode="auto">
                <a:xfrm>
                  <a:off x="510493" y="5699081"/>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7" name="Group 36"/>
              <p:cNvGrpSpPr/>
              <p:nvPr/>
            </p:nvGrpSpPr>
            <p:grpSpPr>
              <a:xfrm>
                <a:off x="4012897" y="2129565"/>
                <a:ext cx="360412" cy="3871268"/>
                <a:chOff x="510493" y="2129565"/>
                <a:chExt cx="360412" cy="3871268"/>
              </a:xfrm>
            </p:grpSpPr>
            <p:sp>
              <p:nvSpPr>
                <p:cNvPr id="38" name="Freeform 37"/>
                <p:cNvSpPr>
                  <a:spLocks noEditPoints="1"/>
                </p:cNvSpPr>
                <p:nvPr/>
              </p:nvSpPr>
              <p:spPr bwMode="auto">
                <a:xfrm>
                  <a:off x="510493" y="2129565"/>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0" name="Freeform 39"/>
                <p:cNvSpPr>
                  <a:spLocks noEditPoints="1"/>
                </p:cNvSpPr>
                <p:nvPr/>
              </p:nvSpPr>
              <p:spPr bwMode="auto">
                <a:xfrm>
                  <a:off x="510493" y="2526178"/>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1" name="Freeform 40"/>
                <p:cNvSpPr>
                  <a:spLocks noEditPoints="1"/>
                </p:cNvSpPr>
                <p:nvPr/>
              </p:nvSpPr>
              <p:spPr bwMode="auto">
                <a:xfrm>
                  <a:off x="510493" y="2922791"/>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1" name="Freeform 50"/>
                <p:cNvSpPr>
                  <a:spLocks noEditPoints="1"/>
                </p:cNvSpPr>
                <p:nvPr/>
              </p:nvSpPr>
              <p:spPr bwMode="auto">
                <a:xfrm>
                  <a:off x="510493" y="3319404"/>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2" name="Freeform 51"/>
                <p:cNvSpPr>
                  <a:spLocks noEditPoints="1"/>
                </p:cNvSpPr>
                <p:nvPr/>
              </p:nvSpPr>
              <p:spPr bwMode="auto">
                <a:xfrm>
                  <a:off x="510493" y="3716017"/>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3" name="Freeform 52"/>
                <p:cNvSpPr>
                  <a:spLocks noEditPoints="1"/>
                </p:cNvSpPr>
                <p:nvPr/>
              </p:nvSpPr>
              <p:spPr bwMode="auto">
                <a:xfrm>
                  <a:off x="510493" y="4112630"/>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4" name="Freeform 53"/>
                <p:cNvSpPr>
                  <a:spLocks noEditPoints="1"/>
                </p:cNvSpPr>
                <p:nvPr/>
              </p:nvSpPr>
              <p:spPr bwMode="auto">
                <a:xfrm>
                  <a:off x="510493" y="4509243"/>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5" name="Freeform 54"/>
                <p:cNvSpPr>
                  <a:spLocks noEditPoints="1"/>
                </p:cNvSpPr>
                <p:nvPr/>
              </p:nvSpPr>
              <p:spPr bwMode="auto">
                <a:xfrm>
                  <a:off x="510493" y="4905856"/>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6" name="Freeform 55"/>
                <p:cNvSpPr>
                  <a:spLocks noEditPoints="1"/>
                </p:cNvSpPr>
                <p:nvPr/>
              </p:nvSpPr>
              <p:spPr bwMode="auto">
                <a:xfrm>
                  <a:off x="510493" y="5302469"/>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7" name="Freeform 56"/>
                <p:cNvSpPr>
                  <a:spLocks noEditPoints="1"/>
                </p:cNvSpPr>
                <p:nvPr/>
              </p:nvSpPr>
              <p:spPr bwMode="auto">
                <a:xfrm>
                  <a:off x="510493" y="5699081"/>
                  <a:ext cx="360412" cy="301752"/>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138" name="Rectangle 137"/>
            <p:cNvSpPr/>
            <p:nvPr/>
          </p:nvSpPr>
          <p:spPr>
            <a:xfrm>
              <a:off x="536592" y="2497735"/>
              <a:ext cx="3945470" cy="3937141"/>
            </a:xfrm>
            <a:prstGeom prst="rect">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9" name="TextBox 138"/>
            <p:cNvSpPr txBox="1"/>
            <p:nvPr/>
          </p:nvSpPr>
          <p:spPr>
            <a:xfrm>
              <a:off x="578260" y="2326478"/>
              <a:ext cx="3862134" cy="113877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787878"/>
                  </a:solidFill>
                  <a:effectLst/>
                  <a:uLnTx/>
                  <a:uFillTx/>
                  <a:latin typeface="Open Sans" panose="020B0606030504020204" pitchFamily="34" charset="0"/>
                  <a:ea typeface="Open Sans" panose="020B0606030504020204" pitchFamily="34" charset="0"/>
                  <a:cs typeface="Open Sans" panose="020B0606030504020204" pitchFamily="34" charset="0"/>
                </a:rPr>
                <a:t>64% </a:t>
              </a:r>
              <a:r>
                <a:rPr kumimoji="0" lang="en-US" sz="2000" b="1" i="0" u="none" strike="noStrike" kern="1200" cap="none" spc="0" normalizeH="0" baseline="0" noProof="0" dirty="0">
                  <a:ln>
                    <a:noFill/>
                  </a:ln>
                  <a:solidFill>
                    <a:srgbClr val="86F200"/>
                  </a:solidFill>
                  <a:effectLst/>
                  <a:uLnTx/>
                  <a:uFillTx/>
                  <a:latin typeface="Open Sans" panose="020B0606030504020204" pitchFamily="34" charset="0"/>
                  <a:ea typeface="Open Sans" panose="020B0606030504020204" pitchFamily="34" charset="0"/>
                  <a:cs typeface="Open Sans" panose="020B0606030504020204" pitchFamily="34" charset="0"/>
                </a:rPr>
                <a:t>of US households are Amazon Prime members </a:t>
              </a:r>
            </a:p>
          </p:txBody>
        </p:sp>
        <p:sp>
          <p:nvSpPr>
            <p:cNvPr id="140" name="Freeform 31"/>
            <p:cNvSpPr>
              <a:spLocks noChangeAspect="1" noEditPoints="1"/>
            </p:cNvSpPr>
            <p:nvPr/>
          </p:nvSpPr>
          <p:spPr bwMode="auto">
            <a:xfrm>
              <a:off x="511173" y="1690826"/>
              <a:ext cx="849934" cy="484175"/>
            </a:xfrm>
            <a:custGeom>
              <a:avLst/>
              <a:gdLst>
                <a:gd name="T0" fmla="*/ 5743 w 5783"/>
                <a:gd name="T1" fmla="*/ 3160 h 3385"/>
                <a:gd name="T2" fmla="*/ 5671 w 5783"/>
                <a:gd name="T3" fmla="*/ 3369 h 3385"/>
                <a:gd name="T4" fmla="*/ 3949 w 5783"/>
                <a:gd name="T5" fmla="*/ 3327 h 3385"/>
                <a:gd name="T6" fmla="*/ 3974 w 5783"/>
                <a:gd name="T7" fmla="*/ 3106 h 3385"/>
                <a:gd name="T8" fmla="*/ 5631 w 5783"/>
                <a:gd name="T9" fmla="*/ 2637 h 3385"/>
                <a:gd name="T10" fmla="*/ 5702 w 5783"/>
                <a:gd name="T11" fmla="*/ 2848 h 3385"/>
                <a:gd name="T12" fmla="*/ 3995 w 5783"/>
                <a:gd name="T13" fmla="*/ 2930 h 3385"/>
                <a:gd name="T14" fmla="*/ 3879 w 5783"/>
                <a:gd name="T15" fmla="*/ 2742 h 3385"/>
                <a:gd name="T16" fmla="*/ 4097 w 5783"/>
                <a:gd name="T17" fmla="*/ 2172 h 3385"/>
                <a:gd name="T18" fmla="*/ 5780 w 5783"/>
                <a:gd name="T19" fmla="*/ 2293 h 3385"/>
                <a:gd name="T20" fmla="*/ 5666 w 5783"/>
                <a:gd name="T21" fmla="*/ 2483 h 3385"/>
                <a:gd name="T22" fmla="*/ 3958 w 5783"/>
                <a:gd name="T23" fmla="*/ 2398 h 3385"/>
                <a:gd name="T24" fmla="*/ 4028 w 5783"/>
                <a:gd name="T25" fmla="*/ 2188 h 3385"/>
                <a:gd name="T26" fmla="*/ 4330 w 5783"/>
                <a:gd name="T27" fmla="*/ 1434 h 3385"/>
                <a:gd name="T28" fmla="*/ 4416 w 5783"/>
                <a:gd name="T29" fmla="*/ 1766 h 3385"/>
                <a:gd name="T30" fmla="*/ 4140 w 5783"/>
                <a:gd name="T31" fmla="*/ 1961 h 3385"/>
                <a:gd name="T32" fmla="*/ 3867 w 5783"/>
                <a:gd name="T33" fmla="*/ 1766 h 3385"/>
                <a:gd name="T34" fmla="*/ 3953 w 5783"/>
                <a:gd name="T35" fmla="*/ 1434 h 3385"/>
                <a:gd name="T36" fmla="*/ 1099 w 5783"/>
                <a:gd name="T37" fmla="*/ 1384 h 3385"/>
                <a:gd name="T38" fmla="*/ 1290 w 5783"/>
                <a:gd name="T39" fmla="*/ 1663 h 3385"/>
                <a:gd name="T40" fmla="*/ 1099 w 5783"/>
                <a:gd name="T41" fmla="*/ 1942 h 3385"/>
                <a:gd name="T42" fmla="*/ 772 w 5783"/>
                <a:gd name="T43" fmla="*/ 1854 h 3385"/>
                <a:gd name="T44" fmla="*/ 744 w 5783"/>
                <a:gd name="T45" fmla="*/ 1512 h 3385"/>
                <a:gd name="T46" fmla="*/ 2464 w 5783"/>
                <a:gd name="T47" fmla="*/ 1001 h 3385"/>
                <a:gd name="T48" fmla="*/ 2185 w 5783"/>
                <a:gd name="T49" fmla="*/ 1319 h 3385"/>
                <a:gd name="T50" fmla="*/ 2210 w 5783"/>
                <a:gd name="T51" fmla="*/ 1617 h 3385"/>
                <a:gd name="T52" fmla="*/ 2531 w 5783"/>
                <a:gd name="T53" fmla="*/ 1775 h 3385"/>
                <a:gd name="T54" fmla="*/ 2661 w 5783"/>
                <a:gd name="T55" fmla="*/ 1898 h 3385"/>
                <a:gd name="T56" fmla="*/ 2438 w 5783"/>
                <a:gd name="T57" fmla="*/ 1949 h 3385"/>
                <a:gd name="T58" fmla="*/ 2243 w 5783"/>
                <a:gd name="T59" fmla="*/ 2142 h 3385"/>
                <a:gd name="T60" fmla="*/ 2726 w 5783"/>
                <a:gd name="T61" fmla="*/ 2145 h 3385"/>
                <a:gd name="T62" fmla="*/ 2986 w 5783"/>
                <a:gd name="T63" fmla="*/ 1900 h 3385"/>
                <a:gd name="T64" fmla="*/ 2863 w 5783"/>
                <a:gd name="T65" fmla="*/ 1619 h 3385"/>
                <a:gd name="T66" fmla="*/ 2508 w 5783"/>
                <a:gd name="T67" fmla="*/ 1471 h 3385"/>
                <a:gd name="T68" fmla="*/ 2512 w 5783"/>
                <a:gd name="T69" fmla="*/ 1369 h 3385"/>
                <a:gd name="T70" fmla="*/ 2817 w 5783"/>
                <a:gd name="T71" fmla="*/ 1385 h 3385"/>
                <a:gd name="T72" fmla="*/ 2775 w 5783"/>
                <a:gd name="T73" fmla="*/ 1148 h 3385"/>
                <a:gd name="T74" fmla="*/ 2764 w 5783"/>
                <a:gd name="T75" fmla="*/ 578 h 3385"/>
                <a:gd name="T76" fmla="*/ 3314 w 5783"/>
                <a:gd name="T77" fmla="*/ 959 h 3385"/>
                <a:gd name="T78" fmla="*/ 3533 w 5783"/>
                <a:gd name="T79" fmla="*/ 1663 h 3385"/>
                <a:gd name="T80" fmla="*/ 3314 w 5783"/>
                <a:gd name="T81" fmla="*/ 2367 h 3385"/>
                <a:gd name="T82" fmla="*/ 2764 w 5783"/>
                <a:gd name="T83" fmla="*/ 2748 h 3385"/>
                <a:gd name="T84" fmla="*/ 2110 w 5783"/>
                <a:gd name="T85" fmla="*/ 2635 h 3385"/>
                <a:gd name="T86" fmla="*/ 1680 w 5783"/>
                <a:gd name="T87" fmla="*/ 2093 h 3385"/>
                <a:gd name="T88" fmla="*/ 1648 w 5783"/>
                <a:gd name="T89" fmla="*/ 1334 h 3385"/>
                <a:gd name="T90" fmla="*/ 2029 w 5783"/>
                <a:gd name="T91" fmla="*/ 744 h 3385"/>
                <a:gd name="T92" fmla="*/ 176 w 5783"/>
                <a:gd name="T93" fmla="*/ 0 h 3385"/>
                <a:gd name="T94" fmla="*/ 5134 w 5783"/>
                <a:gd name="T95" fmla="*/ 139 h 3385"/>
                <a:gd name="T96" fmla="*/ 4613 w 5783"/>
                <a:gd name="T97" fmla="*/ 748 h 3385"/>
                <a:gd name="T98" fmla="*/ 4326 w 5783"/>
                <a:gd name="T99" fmla="*/ 321 h 3385"/>
                <a:gd name="T100" fmla="*/ 583 w 5783"/>
                <a:gd name="T101" fmla="*/ 702 h 3385"/>
                <a:gd name="T102" fmla="*/ 456 w 5783"/>
                <a:gd name="T103" fmla="*/ 2590 h 3385"/>
                <a:gd name="T104" fmla="*/ 785 w 5783"/>
                <a:gd name="T105" fmla="*/ 2965 h 3385"/>
                <a:gd name="T106" fmla="*/ 3726 w 5783"/>
                <a:gd name="T107" fmla="*/ 3274 h 3385"/>
                <a:gd name="T108" fmla="*/ 39 w 5783"/>
                <a:gd name="T109" fmla="*/ 3294 h 3385"/>
                <a:gd name="T110" fmla="*/ 39 w 5783"/>
                <a:gd name="T111" fmla="*/ 67 h 3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783" h="3385">
                  <a:moveTo>
                    <a:pt x="4070" y="3072"/>
                  </a:moveTo>
                  <a:lnTo>
                    <a:pt x="5604" y="3072"/>
                  </a:lnTo>
                  <a:lnTo>
                    <a:pt x="5639" y="3076"/>
                  </a:lnTo>
                  <a:lnTo>
                    <a:pt x="5671" y="3088"/>
                  </a:lnTo>
                  <a:lnTo>
                    <a:pt x="5701" y="3106"/>
                  </a:lnTo>
                  <a:lnTo>
                    <a:pt x="5724" y="3130"/>
                  </a:lnTo>
                  <a:lnTo>
                    <a:pt x="5743" y="3160"/>
                  </a:lnTo>
                  <a:lnTo>
                    <a:pt x="5753" y="3194"/>
                  </a:lnTo>
                  <a:lnTo>
                    <a:pt x="5759" y="3229"/>
                  </a:lnTo>
                  <a:lnTo>
                    <a:pt x="5753" y="3266"/>
                  </a:lnTo>
                  <a:lnTo>
                    <a:pt x="5743" y="3297"/>
                  </a:lnTo>
                  <a:lnTo>
                    <a:pt x="5724" y="3327"/>
                  </a:lnTo>
                  <a:lnTo>
                    <a:pt x="5701" y="3352"/>
                  </a:lnTo>
                  <a:lnTo>
                    <a:pt x="5671" y="3369"/>
                  </a:lnTo>
                  <a:lnTo>
                    <a:pt x="5639" y="3381"/>
                  </a:lnTo>
                  <a:lnTo>
                    <a:pt x="5604" y="3385"/>
                  </a:lnTo>
                  <a:lnTo>
                    <a:pt x="4070" y="3385"/>
                  </a:lnTo>
                  <a:lnTo>
                    <a:pt x="4035" y="3381"/>
                  </a:lnTo>
                  <a:lnTo>
                    <a:pt x="4002" y="3369"/>
                  </a:lnTo>
                  <a:lnTo>
                    <a:pt x="3974" y="3352"/>
                  </a:lnTo>
                  <a:lnTo>
                    <a:pt x="3949" y="3327"/>
                  </a:lnTo>
                  <a:lnTo>
                    <a:pt x="3932" y="3297"/>
                  </a:lnTo>
                  <a:lnTo>
                    <a:pt x="3919" y="3266"/>
                  </a:lnTo>
                  <a:lnTo>
                    <a:pt x="3916" y="3229"/>
                  </a:lnTo>
                  <a:lnTo>
                    <a:pt x="3919" y="3194"/>
                  </a:lnTo>
                  <a:lnTo>
                    <a:pt x="3932" y="3160"/>
                  </a:lnTo>
                  <a:lnTo>
                    <a:pt x="3949" y="3130"/>
                  </a:lnTo>
                  <a:lnTo>
                    <a:pt x="3974" y="3106"/>
                  </a:lnTo>
                  <a:lnTo>
                    <a:pt x="4002" y="3088"/>
                  </a:lnTo>
                  <a:lnTo>
                    <a:pt x="4035" y="3076"/>
                  </a:lnTo>
                  <a:lnTo>
                    <a:pt x="4070" y="3072"/>
                  </a:lnTo>
                  <a:close/>
                  <a:moveTo>
                    <a:pt x="4030" y="2621"/>
                  </a:moveTo>
                  <a:lnTo>
                    <a:pt x="5562" y="2621"/>
                  </a:lnTo>
                  <a:lnTo>
                    <a:pt x="5599" y="2625"/>
                  </a:lnTo>
                  <a:lnTo>
                    <a:pt x="5631" y="2637"/>
                  </a:lnTo>
                  <a:lnTo>
                    <a:pt x="5660" y="2656"/>
                  </a:lnTo>
                  <a:lnTo>
                    <a:pt x="5683" y="2679"/>
                  </a:lnTo>
                  <a:lnTo>
                    <a:pt x="5702" y="2709"/>
                  </a:lnTo>
                  <a:lnTo>
                    <a:pt x="5713" y="2742"/>
                  </a:lnTo>
                  <a:lnTo>
                    <a:pt x="5718" y="2778"/>
                  </a:lnTo>
                  <a:lnTo>
                    <a:pt x="5713" y="2814"/>
                  </a:lnTo>
                  <a:lnTo>
                    <a:pt x="5702" y="2848"/>
                  </a:lnTo>
                  <a:lnTo>
                    <a:pt x="5683" y="2876"/>
                  </a:lnTo>
                  <a:lnTo>
                    <a:pt x="5660" y="2900"/>
                  </a:lnTo>
                  <a:lnTo>
                    <a:pt x="5631" y="2920"/>
                  </a:lnTo>
                  <a:lnTo>
                    <a:pt x="5599" y="2930"/>
                  </a:lnTo>
                  <a:lnTo>
                    <a:pt x="5562" y="2936"/>
                  </a:lnTo>
                  <a:lnTo>
                    <a:pt x="4030" y="2936"/>
                  </a:lnTo>
                  <a:lnTo>
                    <a:pt x="3995" y="2930"/>
                  </a:lnTo>
                  <a:lnTo>
                    <a:pt x="3961" y="2920"/>
                  </a:lnTo>
                  <a:lnTo>
                    <a:pt x="3933" y="2900"/>
                  </a:lnTo>
                  <a:lnTo>
                    <a:pt x="3909" y="2876"/>
                  </a:lnTo>
                  <a:lnTo>
                    <a:pt x="3891" y="2848"/>
                  </a:lnTo>
                  <a:lnTo>
                    <a:pt x="3879" y="2814"/>
                  </a:lnTo>
                  <a:lnTo>
                    <a:pt x="3875" y="2778"/>
                  </a:lnTo>
                  <a:lnTo>
                    <a:pt x="3879" y="2742"/>
                  </a:lnTo>
                  <a:lnTo>
                    <a:pt x="3891" y="2709"/>
                  </a:lnTo>
                  <a:lnTo>
                    <a:pt x="3909" y="2679"/>
                  </a:lnTo>
                  <a:lnTo>
                    <a:pt x="3933" y="2656"/>
                  </a:lnTo>
                  <a:lnTo>
                    <a:pt x="3961" y="2637"/>
                  </a:lnTo>
                  <a:lnTo>
                    <a:pt x="3995" y="2625"/>
                  </a:lnTo>
                  <a:lnTo>
                    <a:pt x="4030" y="2621"/>
                  </a:lnTo>
                  <a:close/>
                  <a:moveTo>
                    <a:pt x="4097" y="2172"/>
                  </a:moveTo>
                  <a:lnTo>
                    <a:pt x="5629" y="2172"/>
                  </a:lnTo>
                  <a:lnTo>
                    <a:pt x="5666" y="2177"/>
                  </a:lnTo>
                  <a:lnTo>
                    <a:pt x="5697" y="2188"/>
                  </a:lnTo>
                  <a:lnTo>
                    <a:pt x="5725" y="2207"/>
                  </a:lnTo>
                  <a:lnTo>
                    <a:pt x="5750" y="2232"/>
                  </a:lnTo>
                  <a:lnTo>
                    <a:pt x="5767" y="2260"/>
                  </a:lnTo>
                  <a:lnTo>
                    <a:pt x="5780" y="2293"/>
                  </a:lnTo>
                  <a:lnTo>
                    <a:pt x="5783" y="2328"/>
                  </a:lnTo>
                  <a:lnTo>
                    <a:pt x="5780" y="2365"/>
                  </a:lnTo>
                  <a:lnTo>
                    <a:pt x="5767" y="2398"/>
                  </a:lnTo>
                  <a:lnTo>
                    <a:pt x="5750" y="2428"/>
                  </a:lnTo>
                  <a:lnTo>
                    <a:pt x="5725" y="2451"/>
                  </a:lnTo>
                  <a:lnTo>
                    <a:pt x="5697" y="2470"/>
                  </a:lnTo>
                  <a:lnTo>
                    <a:pt x="5666" y="2483"/>
                  </a:lnTo>
                  <a:lnTo>
                    <a:pt x="5629" y="2486"/>
                  </a:lnTo>
                  <a:lnTo>
                    <a:pt x="4097" y="2486"/>
                  </a:lnTo>
                  <a:lnTo>
                    <a:pt x="4061" y="2483"/>
                  </a:lnTo>
                  <a:lnTo>
                    <a:pt x="4028" y="2470"/>
                  </a:lnTo>
                  <a:lnTo>
                    <a:pt x="4000" y="2451"/>
                  </a:lnTo>
                  <a:lnTo>
                    <a:pt x="3975" y="2428"/>
                  </a:lnTo>
                  <a:lnTo>
                    <a:pt x="3958" y="2398"/>
                  </a:lnTo>
                  <a:lnTo>
                    <a:pt x="3946" y="2365"/>
                  </a:lnTo>
                  <a:lnTo>
                    <a:pt x="3942" y="2328"/>
                  </a:lnTo>
                  <a:lnTo>
                    <a:pt x="3946" y="2293"/>
                  </a:lnTo>
                  <a:lnTo>
                    <a:pt x="3958" y="2260"/>
                  </a:lnTo>
                  <a:lnTo>
                    <a:pt x="3975" y="2232"/>
                  </a:lnTo>
                  <a:lnTo>
                    <a:pt x="4000" y="2207"/>
                  </a:lnTo>
                  <a:lnTo>
                    <a:pt x="4028" y="2188"/>
                  </a:lnTo>
                  <a:lnTo>
                    <a:pt x="4061" y="2177"/>
                  </a:lnTo>
                  <a:lnTo>
                    <a:pt x="4097" y="2172"/>
                  </a:lnTo>
                  <a:close/>
                  <a:moveTo>
                    <a:pt x="4140" y="1364"/>
                  </a:moveTo>
                  <a:lnTo>
                    <a:pt x="4193" y="1369"/>
                  </a:lnTo>
                  <a:lnTo>
                    <a:pt x="4244" y="1384"/>
                  </a:lnTo>
                  <a:lnTo>
                    <a:pt x="4290" y="1406"/>
                  </a:lnTo>
                  <a:lnTo>
                    <a:pt x="4330" y="1434"/>
                  </a:lnTo>
                  <a:lnTo>
                    <a:pt x="4365" y="1471"/>
                  </a:lnTo>
                  <a:lnTo>
                    <a:pt x="4395" y="1512"/>
                  </a:lnTo>
                  <a:lnTo>
                    <a:pt x="4416" y="1559"/>
                  </a:lnTo>
                  <a:lnTo>
                    <a:pt x="4430" y="1610"/>
                  </a:lnTo>
                  <a:lnTo>
                    <a:pt x="4435" y="1663"/>
                  </a:lnTo>
                  <a:lnTo>
                    <a:pt x="4430" y="1717"/>
                  </a:lnTo>
                  <a:lnTo>
                    <a:pt x="4416" y="1766"/>
                  </a:lnTo>
                  <a:lnTo>
                    <a:pt x="4395" y="1814"/>
                  </a:lnTo>
                  <a:lnTo>
                    <a:pt x="4365" y="1854"/>
                  </a:lnTo>
                  <a:lnTo>
                    <a:pt x="4330" y="1891"/>
                  </a:lnTo>
                  <a:lnTo>
                    <a:pt x="4290" y="1921"/>
                  </a:lnTo>
                  <a:lnTo>
                    <a:pt x="4244" y="1942"/>
                  </a:lnTo>
                  <a:lnTo>
                    <a:pt x="4193" y="1956"/>
                  </a:lnTo>
                  <a:lnTo>
                    <a:pt x="4140" y="1961"/>
                  </a:lnTo>
                  <a:lnTo>
                    <a:pt x="4088" y="1956"/>
                  </a:lnTo>
                  <a:lnTo>
                    <a:pt x="4039" y="1942"/>
                  </a:lnTo>
                  <a:lnTo>
                    <a:pt x="3993" y="1921"/>
                  </a:lnTo>
                  <a:lnTo>
                    <a:pt x="3953" y="1891"/>
                  </a:lnTo>
                  <a:lnTo>
                    <a:pt x="3917" y="1854"/>
                  </a:lnTo>
                  <a:lnTo>
                    <a:pt x="3888" y="1814"/>
                  </a:lnTo>
                  <a:lnTo>
                    <a:pt x="3867" y="1766"/>
                  </a:lnTo>
                  <a:lnTo>
                    <a:pt x="3853" y="1717"/>
                  </a:lnTo>
                  <a:lnTo>
                    <a:pt x="3847" y="1663"/>
                  </a:lnTo>
                  <a:lnTo>
                    <a:pt x="3853" y="1610"/>
                  </a:lnTo>
                  <a:lnTo>
                    <a:pt x="3867" y="1559"/>
                  </a:lnTo>
                  <a:lnTo>
                    <a:pt x="3888" y="1512"/>
                  </a:lnTo>
                  <a:lnTo>
                    <a:pt x="3917" y="1471"/>
                  </a:lnTo>
                  <a:lnTo>
                    <a:pt x="3953" y="1434"/>
                  </a:lnTo>
                  <a:lnTo>
                    <a:pt x="3993" y="1406"/>
                  </a:lnTo>
                  <a:lnTo>
                    <a:pt x="4039" y="1384"/>
                  </a:lnTo>
                  <a:lnTo>
                    <a:pt x="4088" y="1369"/>
                  </a:lnTo>
                  <a:lnTo>
                    <a:pt x="4140" y="1364"/>
                  </a:lnTo>
                  <a:close/>
                  <a:moveTo>
                    <a:pt x="997" y="1364"/>
                  </a:moveTo>
                  <a:lnTo>
                    <a:pt x="1050" y="1369"/>
                  </a:lnTo>
                  <a:lnTo>
                    <a:pt x="1099" y="1384"/>
                  </a:lnTo>
                  <a:lnTo>
                    <a:pt x="1144" y="1406"/>
                  </a:lnTo>
                  <a:lnTo>
                    <a:pt x="1185" y="1434"/>
                  </a:lnTo>
                  <a:lnTo>
                    <a:pt x="1222" y="1471"/>
                  </a:lnTo>
                  <a:lnTo>
                    <a:pt x="1250" y="1512"/>
                  </a:lnTo>
                  <a:lnTo>
                    <a:pt x="1272" y="1559"/>
                  </a:lnTo>
                  <a:lnTo>
                    <a:pt x="1285" y="1610"/>
                  </a:lnTo>
                  <a:lnTo>
                    <a:pt x="1290" y="1663"/>
                  </a:lnTo>
                  <a:lnTo>
                    <a:pt x="1285" y="1717"/>
                  </a:lnTo>
                  <a:lnTo>
                    <a:pt x="1272" y="1766"/>
                  </a:lnTo>
                  <a:lnTo>
                    <a:pt x="1250" y="1814"/>
                  </a:lnTo>
                  <a:lnTo>
                    <a:pt x="1222" y="1854"/>
                  </a:lnTo>
                  <a:lnTo>
                    <a:pt x="1186" y="1891"/>
                  </a:lnTo>
                  <a:lnTo>
                    <a:pt x="1144" y="1921"/>
                  </a:lnTo>
                  <a:lnTo>
                    <a:pt x="1099" y="1942"/>
                  </a:lnTo>
                  <a:lnTo>
                    <a:pt x="1050" y="1956"/>
                  </a:lnTo>
                  <a:lnTo>
                    <a:pt x="997" y="1961"/>
                  </a:lnTo>
                  <a:lnTo>
                    <a:pt x="944" y="1956"/>
                  </a:lnTo>
                  <a:lnTo>
                    <a:pt x="895" y="1942"/>
                  </a:lnTo>
                  <a:lnTo>
                    <a:pt x="849" y="1921"/>
                  </a:lnTo>
                  <a:lnTo>
                    <a:pt x="807" y="1891"/>
                  </a:lnTo>
                  <a:lnTo>
                    <a:pt x="772" y="1854"/>
                  </a:lnTo>
                  <a:lnTo>
                    <a:pt x="744" y="1814"/>
                  </a:lnTo>
                  <a:lnTo>
                    <a:pt x="721" y="1766"/>
                  </a:lnTo>
                  <a:lnTo>
                    <a:pt x="709" y="1717"/>
                  </a:lnTo>
                  <a:lnTo>
                    <a:pt x="704" y="1663"/>
                  </a:lnTo>
                  <a:lnTo>
                    <a:pt x="709" y="1610"/>
                  </a:lnTo>
                  <a:lnTo>
                    <a:pt x="721" y="1559"/>
                  </a:lnTo>
                  <a:lnTo>
                    <a:pt x="744" y="1512"/>
                  </a:lnTo>
                  <a:lnTo>
                    <a:pt x="772" y="1471"/>
                  </a:lnTo>
                  <a:lnTo>
                    <a:pt x="807" y="1434"/>
                  </a:lnTo>
                  <a:lnTo>
                    <a:pt x="849" y="1406"/>
                  </a:lnTo>
                  <a:lnTo>
                    <a:pt x="895" y="1384"/>
                  </a:lnTo>
                  <a:lnTo>
                    <a:pt x="944" y="1369"/>
                  </a:lnTo>
                  <a:lnTo>
                    <a:pt x="997" y="1364"/>
                  </a:lnTo>
                  <a:close/>
                  <a:moveTo>
                    <a:pt x="2464" y="1001"/>
                  </a:moveTo>
                  <a:lnTo>
                    <a:pt x="2464" y="1154"/>
                  </a:lnTo>
                  <a:lnTo>
                    <a:pt x="2399" y="1168"/>
                  </a:lnTo>
                  <a:lnTo>
                    <a:pt x="2341" y="1189"/>
                  </a:lnTo>
                  <a:lnTo>
                    <a:pt x="2292" y="1215"/>
                  </a:lnTo>
                  <a:lnTo>
                    <a:pt x="2248" y="1245"/>
                  </a:lnTo>
                  <a:lnTo>
                    <a:pt x="2213" y="1280"/>
                  </a:lnTo>
                  <a:lnTo>
                    <a:pt x="2185" y="1319"/>
                  </a:lnTo>
                  <a:lnTo>
                    <a:pt x="2164" y="1361"/>
                  </a:lnTo>
                  <a:lnTo>
                    <a:pt x="2152" y="1406"/>
                  </a:lnTo>
                  <a:lnTo>
                    <a:pt x="2148" y="1455"/>
                  </a:lnTo>
                  <a:lnTo>
                    <a:pt x="2152" y="1501"/>
                  </a:lnTo>
                  <a:lnTo>
                    <a:pt x="2164" y="1545"/>
                  </a:lnTo>
                  <a:lnTo>
                    <a:pt x="2183" y="1582"/>
                  </a:lnTo>
                  <a:lnTo>
                    <a:pt x="2210" y="1617"/>
                  </a:lnTo>
                  <a:lnTo>
                    <a:pt x="2241" y="1647"/>
                  </a:lnTo>
                  <a:lnTo>
                    <a:pt x="2280" y="1675"/>
                  </a:lnTo>
                  <a:lnTo>
                    <a:pt x="2322" y="1700"/>
                  </a:lnTo>
                  <a:lnTo>
                    <a:pt x="2371" y="1721"/>
                  </a:lnTo>
                  <a:lnTo>
                    <a:pt x="2424" y="1742"/>
                  </a:lnTo>
                  <a:lnTo>
                    <a:pt x="2480" y="1759"/>
                  </a:lnTo>
                  <a:lnTo>
                    <a:pt x="2531" y="1775"/>
                  </a:lnTo>
                  <a:lnTo>
                    <a:pt x="2573" y="1791"/>
                  </a:lnTo>
                  <a:lnTo>
                    <a:pt x="2608" y="1805"/>
                  </a:lnTo>
                  <a:lnTo>
                    <a:pt x="2633" y="1821"/>
                  </a:lnTo>
                  <a:lnTo>
                    <a:pt x="2650" y="1838"/>
                  </a:lnTo>
                  <a:lnTo>
                    <a:pt x="2661" y="1858"/>
                  </a:lnTo>
                  <a:lnTo>
                    <a:pt x="2664" y="1877"/>
                  </a:lnTo>
                  <a:lnTo>
                    <a:pt x="2661" y="1898"/>
                  </a:lnTo>
                  <a:lnTo>
                    <a:pt x="2650" y="1915"/>
                  </a:lnTo>
                  <a:lnTo>
                    <a:pt x="2633" y="1930"/>
                  </a:lnTo>
                  <a:lnTo>
                    <a:pt x="2608" y="1940"/>
                  </a:lnTo>
                  <a:lnTo>
                    <a:pt x="2580" y="1947"/>
                  </a:lnTo>
                  <a:lnTo>
                    <a:pt x="2547" y="1951"/>
                  </a:lnTo>
                  <a:lnTo>
                    <a:pt x="2510" y="1952"/>
                  </a:lnTo>
                  <a:lnTo>
                    <a:pt x="2438" y="1949"/>
                  </a:lnTo>
                  <a:lnTo>
                    <a:pt x="2369" y="1938"/>
                  </a:lnTo>
                  <a:lnTo>
                    <a:pt x="2306" y="1921"/>
                  </a:lnTo>
                  <a:lnTo>
                    <a:pt x="2248" y="1901"/>
                  </a:lnTo>
                  <a:lnTo>
                    <a:pt x="2197" y="1880"/>
                  </a:lnTo>
                  <a:lnTo>
                    <a:pt x="2140" y="2105"/>
                  </a:lnTo>
                  <a:lnTo>
                    <a:pt x="2187" y="2124"/>
                  </a:lnTo>
                  <a:lnTo>
                    <a:pt x="2243" y="2142"/>
                  </a:lnTo>
                  <a:lnTo>
                    <a:pt x="2310" y="2158"/>
                  </a:lnTo>
                  <a:lnTo>
                    <a:pt x="2380" y="2168"/>
                  </a:lnTo>
                  <a:lnTo>
                    <a:pt x="2454" y="2175"/>
                  </a:lnTo>
                  <a:lnTo>
                    <a:pt x="2454" y="2326"/>
                  </a:lnTo>
                  <a:lnTo>
                    <a:pt x="2657" y="2326"/>
                  </a:lnTo>
                  <a:lnTo>
                    <a:pt x="2657" y="2161"/>
                  </a:lnTo>
                  <a:lnTo>
                    <a:pt x="2726" y="2145"/>
                  </a:lnTo>
                  <a:lnTo>
                    <a:pt x="2785" y="2124"/>
                  </a:lnTo>
                  <a:lnTo>
                    <a:pt x="2838" y="2098"/>
                  </a:lnTo>
                  <a:lnTo>
                    <a:pt x="2884" y="2066"/>
                  </a:lnTo>
                  <a:lnTo>
                    <a:pt x="2921" y="2030"/>
                  </a:lnTo>
                  <a:lnTo>
                    <a:pt x="2950" y="1989"/>
                  </a:lnTo>
                  <a:lnTo>
                    <a:pt x="2971" y="1945"/>
                  </a:lnTo>
                  <a:lnTo>
                    <a:pt x="2986" y="1900"/>
                  </a:lnTo>
                  <a:lnTo>
                    <a:pt x="2989" y="1851"/>
                  </a:lnTo>
                  <a:lnTo>
                    <a:pt x="2986" y="1803"/>
                  </a:lnTo>
                  <a:lnTo>
                    <a:pt x="2977" y="1759"/>
                  </a:lnTo>
                  <a:lnTo>
                    <a:pt x="2959" y="1719"/>
                  </a:lnTo>
                  <a:lnTo>
                    <a:pt x="2935" y="1684"/>
                  </a:lnTo>
                  <a:lnTo>
                    <a:pt x="2903" y="1649"/>
                  </a:lnTo>
                  <a:lnTo>
                    <a:pt x="2863" y="1619"/>
                  </a:lnTo>
                  <a:lnTo>
                    <a:pt x="2812" y="1591"/>
                  </a:lnTo>
                  <a:lnTo>
                    <a:pt x="2752" y="1564"/>
                  </a:lnTo>
                  <a:lnTo>
                    <a:pt x="2682" y="1542"/>
                  </a:lnTo>
                  <a:lnTo>
                    <a:pt x="2624" y="1522"/>
                  </a:lnTo>
                  <a:lnTo>
                    <a:pt x="2577" y="1505"/>
                  </a:lnTo>
                  <a:lnTo>
                    <a:pt x="2538" y="1487"/>
                  </a:lnTo>
                  <a:lnTo>
                    <a:pt x="2508" y="1471"/>
                  </a:lnTo>
                  <a:lnTo>
                    <a:pt x="2489" y="1455"/>
                  </a:lnTo>
                  <a:lnTo>
                    <a:pt x="2477" y="1440"/>
                  </a:lnTo>
                  <a:lnTo>
                    <a:pt x="2473" y="1422"/>
                  </a:lnTo>
                  <a:lnTo>
                    <a:pt x="2475" y="1408"/>
                  </a:lnTo>
                  <a:lnTo>
                    <a:pt x="2482" y="1392"/>
                  </a:lnTo>
                  <a:lnTo>
                    <a:pt x="2494" y="1380"/>
                  </a:lnTo>
                  <a:lnTo>
                    <a:pt x="2512" y="1369"/>
                  </a:lnTo>
                  <a:lnTo>
                    <a:pt x="2536" y="1361"/>
                  </a:lnTo>
                  <a:lnTo>
                    <a:pt x="2570" y="1354"/>
                  </a:lnTo>
                  <a:lnTo>
                    <a:pt x="2610" y="1352"/>
                  </a:lnTo>
                  <a:lnTo>
                    <a:pt x="2673" y="1355"/>
                  </a:lnTo>
                  <a:lnTo>
                    <a:pt x="2728" y="1362"/>
                  </a:lnTo>
                  <a:lnTo>
                    <a:pt x="2777" y="1373"/>
                  </a:lnTo>
                  <a:lnTo>
                    <a:pt x="2817" y="1385"/>
                  </a:lnTo>
                  <a:lnTo>
                    <a:pt x="2852" y="1398"/>
                  </a:lnTo>
                  <a:lnTo>
                    <a:pt x="2878" y="1408"/>
                  </a:lnTo>
                  <a:lnTo>
                    <a:pt x="2935" y="1192"/>
                  </a:lnTo>
                  <a:lnTo>
                    <a:pt x="2901" y="1178"/>
                  </a:lnTo>
                  <a:lnTo>
                    <a:pt x="2864" y="1168"/>
                  </a:lnTo>
                  <a:lnTo>
                    <a:pt x="2822" y="1157"/>
                  </a:lnTo>
                  <a:lnTo>
                    <a:pt x="2775" y="1148"/>
                  </a:lnTo>
                  <a:lnTo>
                    <a:pt x="2722" y="1143"/>
                  </a:lnTo>
                  <a:lnTo>
                    <a:pt x="2664" y="1139"/>
                  </a:lnTo>
                  <a:lnTo>
                    <a:pt x="2664" y="1001"/>
                  </a:lnTo>
                  <a:lnTo>
                    <a:pt x="2464" y="1001"/>
                  </a:lnTo>
                  <a:close/>
                  <a:moveTo>
                    <a:pt x="2570" y="557"/>
                  </a:moveTo>
                  <a:lnTo>
                    <a:pt x="2668" y="562"/>
                  </a:lnTo>
                  <a:lnTo>
                    <a:pt x="2764" y="578"/>
                  </a:lnTo>
                  <a:lnTo>
                    <a:pt x="2856" y="606"/>
                  </a:lnTo>
                  <a:lnTo>
                    <a:pt x="2945" y="643"/>
                  </a:lnTo>
                  <a:lnTo>
                    <a:pt x="3029" y="690"/>
                  </a:lnTo>
                  <a:lnTo>
                    <a:pt x="3108" y="744"/>
                  </a:lnTo>
                  <a:lnTo>
                    <a:pt x="3182" y="809"/>
                  </a:lnTo>
                  <a:lnTo>
                    <a:pt x="3251" y="880"/>
                  </a:lnTo>
                  <a:lnTo>
                    <a:pt x="3314" y="959"/>
                  </a:lnTo>
                  <a:lnTo>
                    <a:pt x="3368" y="1045"/>
                  </a:lnTo>
                  <a:lnTo>
                    <a:pt x="3417" y="1136"/>
                  </a:lnTo>
                  <a:lnTo>
                    <a:pt x="3458" y="1233"/>
                  </a:lnTo>
                  <a:lnTo>
                    <a:pt x="3491" y="1334"/>
                  </a:lnTo>
                  <a:lnTo>
                    <a:pt x="3514" y="1440"/>
                  </a:lnTo>
                  <a:lnTo>
                    <a:pt x="3528" y="1550"/>
                  </a:lnTo>
                  <a:lnTo>
                    <a:pt x="3533" y="1663"/>
                  </a:lnTo>
                  <a:lnTo>
                    <a:pt x="3528" y="1777"/>
                  </a:lnTo>
                  <a:lnTo>
                    <a:pt x="3514" y="1886"/>
                  </a:lnTo>
                  <a:lnTo>
                    <a:pt x="3491" y="1993"/>
                  </a:lnTo>
                  <a:lnTo>
                    <a:pt x="3458" y="2093"/>
                  </a:lnTo>
                  <a:lnTo>
                    <a:pt x="3417" y="2191"/>
                  </a:lnTo>
                  <a:lnTo>
                    <a:pt x="3370" y="2282"/>
                  </a:lnTo>
                  <a:lnTo>
                    <a:pt x="3314" y="2367"/>
                  </a:lnTo>
                  <a:lnTo>
                    <a:pt x="3251" y="2446"/>
                  </a:lnTo>
                  <a:lnTo>
                    <a:pt x="3182" y="2516"/>
                  </a:lnTo>
                  <a:lnTo>
                    <a:pt x="3108" y="2581"/>
                  </a:lnTo>
                  <a:lnTo>
                    <a:pt x="3029" y="2635"/>
                  </a:lnTo>
                  <a:lnTo>
                    <a:pt x="2945" y="2683"/>
                  </a:lnTo>
                  <a:lnTo>
                    <a:pt x="2856" y="2720"/>
                  </a:lnTo>
                  <a:lnTo>
                    <a:pt x="2764" y="2748"/>
                  </a:lnTo>
                  <a:lnTo>
                    <a:pt x="2668" y="2763"/>
                  </a:lnTo>
                  <a:lnTo>
                    <a:pt x="2570" y="2769"/>
                  </a:lnTo>
                  <a:lnTo>
                    <a:pt x="2471" y="2763"/>
                  </a:lnTo>
                  <a:lnTo>
                    <a:pt x="2375" y="2748"/>
                  </a:lnTo>
                  <a:lnTo>
                    <a:pt x="2282" y="2720"/>
                  </a:lnTo>
                  <a:lnTo>
                    <a:pt x="2194" y="2683"/>
                  </a:lnTo>
                  <a:lnTo>
                    <a:pt x="2110" y="2635"/>
                  </a:lnTo>
                  <a:lnTo>
                    <a:pt x="2029" y="2581"/>
                  </a:lnTo>
                  <a:lnTo>
                    <a:pt x="1955" y="2516"/>
                  </a:lnTo>
                  <a:lnTo>
                    <a:pt x="1887" y="2446"/>
                  </a:lnTo>
                  <a:lnTo>
                    <a:pt x="1825" y="2367"/>
                  </a:lnTo>
                  <a:lnTo>
                    <a:pt x="1769" y="2282"/>
                  </a:lnTo>
                  <a:lnTo>
                    <a:pt x="1720" y="2191"/>
                  </a:lnTo>
                  <a:lnTo>
                    <a:pt x="1680" y="2093"/>
                  </a:lnTo>
                  <a:lnTo>
                    <a:pt x="1648" y="1993"/>
                  </a:lnTo>
                  <a:lnTo>
                    <a:pt x="1624" y="1886"/>
                  </a:lnTo>
                  <a:lnTo>
                    <a:pt x="1609" y="1777"/>
                  </a:lnTo>
                  <a:lnTo>
                    <a:pt x="1604" y="1663"/>
                  </a:lnTo>
                  <a:lnTo>
                    <a:pt x="1609" y="1550"/>
                  </a:lnTo>
                  <a:lnTo>
                    <a:pt x="1624" y="1440"/>
                  </a:lnTo>
                  <a:lnTo>
                    <a:pt x="1648" y="1334"/>
                  </a:lnTo>
                  <a:lnTo>
                    <a:pt x="1680" y="1233"/>
                  </a:lnTo>
                  <a:lnTo>
                    <a:pt x="1720" y="1136"/>
                  </a:lnTo>
                  <a:lnTo>
                    <a:pt x="1769" y="1045"/>
                  </a:lnTo>
                  <a:lnTo>
                    <a:pt x="1825" y="959"/>
                  </a:lnTo>
                  <a:lnTo>
                    <a:pt x="1887" y="880"/>
                  </a:lnTo>
                  <a:lnTo>
                    <a:pt x="1955" y="809"/>
                  </a:lnTo>
                  <a:lnTo>
                    <a:pt x="2029" y="744"/>
                  </a:lnTo>
                  <a:lnTo>
                    <a:pt x="2110" y="690"/>
                  </a:lnTo>
                  <a:lnTo>
                    <a:pt x="2194" y="643"/>
                  </a:lnTo>
                  <a:lnTo>
                    <a:pt x="2282" y="606"/>
                  </a:lnTo>
                  <a:lnTo>
                    <a:pt x="2375" y="578"/>
                  </a:lnTo>
                  <a:lnTo>
                    <a:pt x="2471" y="562"/>
                  </a:lnTo>
                  <a:lnTo>
                    <a:pt x="2570" y="557"/>
                  </a:lnTo>
                  <a:close/>
                  <a:moveTo>
                    <a:pt x="176" y="0"/>
                  </a:moveTo>
                  <a:lnTo>
                    <a:pt x="4962" y="0"/>
                  </a:lnTo>
                  <a:lnTo>
                    <a:pt x="5002" y="5"/>
                  </a:lnTo>
                  <a:lnTo>
                    <a:pt x="5039" y="18"/>
                  </a:lnTo>
                  <a:lnTo>
                    <a:pt x="5072" y="39"/>
                  </a:lnTo>
                  <a:lnTo>
                    <a:pt x="5100" y="67"/>
                  </a:lnTo>
                  <a:lnTo>
                    <a:pt x="5120" y="100"/>
                  </a:lnTo>
                  <a:lnTo>
                    <a:pt x="5134" y="139"/>
                  </a:lnTo>
                  <a:lnTo>
                    <a:pt x="5139" y="179"/>
                  </a:lnTo>
                  <a:lnTo>
                    <a:pt x="5139" y="1975"/>
                  </a:lnTo>
                  <a:lnTo>
                    <a:pt x="4821" y="1975"/>
                  </a:lnTo>
                  <a:lnTo>
                    <a:pt x="4821" y="830"/>
                  </a:lnTo>
                  <a:lnTo>
                    <a:pt x="4748" y="811"/>
                  </a:lnTo>
                  <a:lnTo>
                    <a:pt x="4677" y="783"/>
                  </a:lnTo>
                  <a:lnTo>
                    <a:pt x="4613" y="748"/>
                  </a:lnTo>
                  <a:lnTo>
                    <a:pt x="4551" y="704"/>
                  </a:lnTo>
                  <a:lnTo>
                    <a:pt x="4497" y="655"/>
                  </a:lnTo>
                  <a:lnTo>
                    <a:pt x="4448" y="599"/>
                  </a:lnTo>
                  <a:lnTo>
                    <a:pt x="4405" y="536"/>
                  </a:lnTo>
                  <a:lnTo>
                    <a:pt x="4372" y="469"/>
                  </a:lnTo>
                  <a:lnTo>
                    <a:pt x="4344" y="397"/>
                  </a:lnTo>
                  <a:lnTo>
                    <a:pt x="4326" y="321"/>
                  </a:lnTo>
                  <a:lnTo>
                    <a:pt x="806" y="321"/>
                  </a:lnTo>
                  <a:lnTo>
                    <a:pt x="786" y="397"/>
                  </a:lnTo>
                  <a:lnTo>
                    <a:pt x="760" y="467"/>
                  </a:lnTo>
                  <a:lnTo>
                    <a:pt x="727" y="534"/>
                  </a:lnTo>
                  <a:lnTo>
                    <a:pt x="685" y="595"/>
                  </a:lnTo>
                  <a:lnTo>
                    <a:pt x="637" y="653"/>
                  </a:lnTo>
                  <a:lnTo>
                    <a:pt x="583" y="702"/>
                  </a:lnTo>
                  <a:lnTo>
                    <a:pt x="523" y="746"/>
                  </a:lnTo>
                  <a:lnTo>
                    <a:pt x="458" y="781"/>
                  </a:lnTo>
                  <a:lnTo>
                    <a:pt x="390" y="809"/>
                  </a:lnTo>
                  <a:lnTo>
                    <a:pt x="316" y="830"/>
                  </a:lnTo>
                  <a:lnTo>
                    <a:pt x="316" y="2542"/>
                  </a:lnTo>
                  <a:lnTo>
                    <a:pt x="388" y="2562"/>
                  </a:lnTo>
                  <a:lnTo>
                    <a:pt x="456" y="2590"/>
                  </a:lnTo>
                  <a:lnTo>
                    <a:pt x="520" y="2625"/>
                  </a:lnTo>
                  <a:lnTo>
                    <a:pt x="579" y="2667"/>
                  </a:lnTo>
                  <a:lnTo>
                    <a:pt x="634" y="2716"/>
                  </a:lnTo>
                  <a:lnTo>
                    <a:pt x="681" y="2771"/>
                  </a:lnTo>
                  <a:lnTo>
                    <a:pt x="723" y="2830"/>
                  </a:lnTo>
                  <a:lnTo>
                    <a:pt x="758" y="2897"/>
                  </a:lnTo>
                  <a:lnTo>
                    <a:pt x="785" y="2965"/>
                  </a:lnTo>
                  <a:lnTo>
                    <a:pt x="804" y="3039"/>
                  </a:lnTo>
                  <a:lnTo>
                    <a:pt x="3779" y="3039"/>
                  </a:lnTo>
                  <a:lnTo>
                    <a:pt x="3756" y="3081"/>
                  </a:lnTo>
                  <a:lnTo>
                    <a:pt x="3738" y="3129"/>
                  </a:lnTo>
                  <a:lnTo>
                    <a:pt x="3728" y="3178"/>
                  </a:lnTo>
                  <a:lnTo>
                    <a:pt x="3724" y="3229"/>
                  </a:lnTo>
                  <a:lnTo>
                    <a:pt x="3726" y="3274"/>
                  </a:lnTo>
                  <a:lnTo>
                    <a:pt x="3735" y="3318"/>
                  </a:lnTo>
                  <a:lnTo>
                    <a:pt x="3749" y="3360"/>
                  </a:lnTo>
                  <a:lnTo>
                    <a:pt x="176" y="3360"/>
                  </a:lnTo>
                  <a:lnTo>
                    <a:pt x="135" y="3355"/>
                  </a:lnTo>
                  <a:lnTo>
                    <a:pt x="98" y="3343"/>
                  </a:lnTo>
                  <a:lnTo>
                    <a:pt x="65" y="3322"/>
                  </a:lnTo>
                  <a:lnTo>
                    <a:pt x="39" y="3294"/>
                  </a:lnTo>
                  <a:lnTo>
                    <a:pt x="18" y="3260"/>
                  </a:lnTo>
                  <a:lnTo>
                    <a:pt x="5" y="3223"/>
                  </a:lnTo>
                  <a:lnTo>
                    <a:pt x="0" y="3181"/>
                  </a:lnTo>
                  <a:lnTo>
                    <a:pt x="0" y="179"/>
                  </a:lnTo>
                  <a:lnTo>
                    <a:pt x="5" y="139"/>
                  </a:lnTo>
                  <a:lnTo>
                    <a:pt x="18" y="100"/>
                  </a:lnTo>
                  <a:lnTo>
                    <a:pt x="39" y="67"/>
                  </a:lnTo>
                  <a:lnTo>
                    <a:pt x="65" y="39"/>
                  </a:lnTo>
                  <a:lnTo>
                    <a:pt x="98" y="18"/>
                  </a:lnTo>
                  <a:lnTo>
                    <a:pt x="135" y="5"/>
                  </a:lnTo>
                  <a:lnTo>
                    <a:pt x="176"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1" name="Freeform 31"/>
            <p:cNvSpPr>
              <a:spLocks noChangeAspect="1" noEditPoints="1"/>
            </p:cNvSpPr>
            <p:nvPr/>
          </p:nvSpPr>
          <p:spPr bwMode="auto">
            <a:xfrm>
              <a:off x="1510250" y="1690826"/>
              <a:ext cx="849934" cy="484175"/>
            </a:xfrm>
            <a:custGeom>
              <a:avLst/>
              <a:gdLst>
                <a:gd name="T0" fmla="*/ 5743 w 5783"/>
                <a:gd name="T1" fmla="*/ 3160 h 3385"/>
                <a:gd name="T2" fmla="*/ 5671 w 5783"/>
                <a:gd name="T3" fmla="*/ 3369 h 3385"/>
                <a:gd name="T4" fmla="*/ 3949 w 5783"/>
                <a:gd name="T5" fmla="*/ 3327 h 3385"/>
                <a:gd name="T6" fmla="*/ 3974 w 5783"/>
                <a:gd name="T7" fmla="*/ 3106 h 3385"/>
                <a:gd name="T8" fmla="*/ 5631 w 5783"/>
                <a:gd name="T9" fmla="*/ 2637 h 3385"/>
                <a:gd name="T10" fmla="*/ 5702 w 5783"/>
                <a:gd name="T11" fmla="*/ 2848 h 3385"/>
                <a:gd name="T12" fmla="*/ 3995 w 5783"/>
                <a:gd name="T13" fmla="*/ 2930 h 3385"/>
                <a:gd name="T14" fmla="*/ 3879 w 5783"/>
                <a:gd name="T15" fmla="*/ 2742 h 3385"/>
                <a:gd name="T16" fmla="*/ 4097 w 5783"/>
                <a:gd name="T17" fmla="*/ 2172 h 3385"/>
                <a:gd name="T18" fmla="*/ 5780 w 5783"/>
                <a:gd name="T19" fmla="*/ 2293 h 3385"/>
                <a:gd name="T20" fmla="*/ 5666 w 5783"/>
                <a:gd name="T21" fmla="*/ 2483 h 3385"/>
                <a:gd name="T22" fmla="*/ 3958 w 5783"/>
                <a:gd name="T23" fmla="*/ 2398 h 3385"/>
                <a:gd name="T24" fmla="*/ 4028 w 5783"/>
                <a:gd name="T25" fmla="*/ 2188 h 3385"/>
                <a:gd name="T26" fmla="*/ 4330 w 5783"/>
                <a:gd name="T27" fmla="*/ 1434 h 3385"/>
                <a:gd name="T28" fmla="*/ 4416 w 5783"/>
                <a:gd name="T29" fmla="*/ 1766 h 3385"/>
                <a:gd name="T30" fmla="*/ 4140 w 5783"/>
                <a:gd name="T31" fmla="*/ 1961 h 3385"/>
                <a:gd name="T32" fmla="*/ 3867 w 5783"/>
                <a:gd name="T33" fmla="*/ 1766 h 3385"/>
                <a:gd name="T34" fmla="*/ 3953 w 5783"/>
                <a:gd name="T35" fmla="*/ 1434 h 3385"/>
                <a:gd name="T36" fmla="*/ 1099 w 5783"/>
                <a:gd name="T37" fmla="*/ 1384 h 3385"/>
                <a:gd name="T38" fmla="*/ 1290 w 5783"/>
                <a:gd name="T39" fmla="*/ 1663 h 3385"/>
                <a:gd name="T40" fmla="*/ 1099 w 5783"/>
                <a:gd name="T41" fmla="*/ 1942 h 3385"/>
                <a:gd name="T42" fmla="*/ 772 w 5783"/>
                <a:gd name="T43" fmla="*/ 1854 h 3385"/>
                <a:gd name="T44" fmla="*/ 744 w 5783"/>
                <a:gd name="T45" fmla="*/ 1512 h 3385"/>
                <a:gd name="T46" fmla="*/ 2464 w 5783"/>
                <a:gd name="T47" fmla="*/ 1001 h 3385"/>
                <a:gd name="T48" fmla="*/ 2185 w 5783"/>
                <a:gd name="T49" fmla="*/ 1319 h 3385"/>
                <a:gd name="T50" fmla="*/ 2210 w 5783"/>
                <a:gd name="T51" fmla="*/ 1617 h 3385"/>
                <a:gd name="T52" fmla="*/ 2531 w 5783"/>
                <a:gd name="T53" fmla="*/ 1775 h 3385"/>
                <a:gd name="T54" fmla="*/ 2661 w 5783"/>
                <a:gd name="T55" fmla="*/ 1898 h 3385"/>
                <a:gd name="T56" fmla="*/ 2438 w 5783"/>
                <a:gd name="T57" fmla="*/ 1949 h 3385"/>
                <a:gd name="T58" fmla="*/ 2243 w 5783"/>
                <a:gd name="T59" fmla="*/ 2142 h 3385"/>
                <a:gd name="T60" fmla="*/ 2726 w 5783"/>
                <a:gd name="T61" fmla="*/ 2145 h 3385"/>
                <a:gd name="T62" fmla="*/ 2986 w 5783"/>
                <a:gd name="T63" fmla="*/ 1900 h 3385"/>
                <a:gd name="T64" fmla="*/ 2863 w 5783"/>
                <a:gd name="T65" fmla="*/ 1619 h 3385"/>
                <a:gd name="T66" fmla="*/ 2508 w 5783"/>
                <a:gd name="T67" fmla="*/ 1471 h 3385"/>
                <a:gd name="T68" fmla="*/ 2512 w 5783"/>
                <a:gd name="T69" fmla="*/ 1369 h 3385"/>
                <a:gd name="T70" fmla="*/ 2817 w 5783"/>
                <a:gd name="T71" fmla="*/ 1385 h 3385"/>
                <a:gd name="T72" fmla="*/ 2775 w 5783"/>
                <a:gd name="T73" fmla="*/ 1148 h 3385"/>
                <a:gd name="T74" fmla="*/ 2764 w 5783"/>
                <a:gd name="T75" fmla="*/ 578 h 3385"/>
                <a:gd name="T76" fmla="*/ 3314 w 5783"/>
                <a:gd name="T77" fmla="*/ 959 h 3385"/>
                <a:gd name="T78" fmla="*/ 3533 w 5783"/>
                <a:gd name="T79" fmla="*/ 1663 h 3385"/>
                <a:gd name="T80" fmla="*/ 3314 w 5783"/>
                <a:gd name="T81" fmla="*/ 2367 h 3385"/>
                <a:gd name="T82" fmla="*/ 2764 w 5783"/>
                <a:gd name="T83" fmla="*/ 2748 h 3385"/>
                <a:gd name="T84" fmla="*/ 2110 w 5783"/>
                <a:gd name="T85" fmla="*/ 2635 h 3385"/>
                <a:gd name="T86" fmla="*/ 1680 w 5783"/>
                <a:gd name="T87" fmla="*/ 2093 h 3385"/>
                <a:gd name="T88" fmla="*/ 1648 w 5783"/>
                <a:gd name="T89" fmla="*/ 1334 h 3385"/>
                <a:gd name="T90" fmla="*/ 2029 w 5783"/>
                <a:gd name="T91" fmla="*/ 744 h 3385"/>
                <a:gd name="T92" fmla="*/ 176 w 5783"/>
                <a:gd name="T93" fmla="*/ 0 h 3385"/>
                <a:gd name="T94" fmla="*/ 5134 w 5783"/>
                <a:gd name="T95" fmla="*/ 139 h 3385"/>
                <a:gd name="T96" fmla="*/ 4613 w 5783"/>
                <a:gd name="T97" fmla="*/ 748 h 3385"/>
                <a:gd name="T98" fmla="*/ 4326 w 5783"/>
                <a:gd name="T99" fmla="*/ 321 h 3385"/>
                <a:gd name="T100" fmla="*/ 583 w 5783"/>
                <a:gd name="T101" fmla="*/ 702 h 3385"/>
                <a:gd name="T102" fmla="*/ 456 w 5783"/>
                <a:gd name="T103" fmla="*/ 2590 h 3385"/>
                <a:gd name="T104" fmla="*/ 785 w 5783"/>
                <a:gd name="T105" fmla="*/ 2965 h 3385"/>
                <a:gd name="T106" fmla="*/ 3726 w 5783"/>
                <a:gd name="T107" fmla="*/ 3274 h 3385"/>
                <a:gd name="T108" fmla="*/ 39 w 5783"/>
                <a:gd name="T109" fmla="*/ 3294 h 3385"/>
                <a:gd name="T110" fmla="*/ 39 w 5783"/>
                <a:gd name="T111" fmla="*/ 67 h 3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783" h="3385">
                  <a:moveTo>
                    <a:pt x="4070" y="3072"/>
                  </a:moveTo>
                  <a:lnTo>
                    <a:pt x="5604" y="3072"/>
                  </a:lnTo>
                  <a:lnTo>
                    <a:pt x="5639" y="3076"/>
                  </a:lnTo>
                  <a:lnTo>
                    <a:pt x="5671" y="3088"/>
                  </a:lnTo>
                  <a:lnTo>
                    <a:pt x="5701" y="3106"/>
                  </a:lnTo>
                  <a:lnTo>
                    <a:pt x="5724" y="3130"/>
                  </a:lnTo>
                  <a:lnTo>
                    <a:pt x="5743" y="3160"/>
                  </a:lnTo>
                  <a:lnTo>
                    <a:pt x="5753" y="3194"/>
                  </a:lnTo>
                  <a:lnTo>
                    <a:pt x="5759" y="3229"/>
                  </a:lnTo>
                  <a:lnTo>
                    <a:pt x="5753" y="3266"/>
                  </a:lnTo>
                  <a:lnTo>
                    <a:pt x="5743" y="3297"/>
                  </a:lnTo>
                  <a:lnTo>
                    <a:pt x="5724" y="3327"/>
                  </a:lnTo>
                  <a:lnTo>
                    <a:pt x="5701" y="3352"/>
                  </a:lnTo>
                  <a:lnTo>
                    <a:pt x="5671" y="3369"/>
                  </a:lnTo>
                  <a:lnTo>
                    <a:pt x="5639" y="3381"/>
                  </a:lnTo>
                  <a:lnTo>
                    <a:pt x="5604" y="3385"/>
                  </a:lnTo>
                  <a:lnTo>
                    <a:pt x="4070" y="3385"/>
                  </a:lnTo>
                  <a:lnTo>
                    <a:pt x="4035" y="3381"/>
                  </a:lnTo>
                  <a:lnTo>
                    <a:pt x="4002" y="3369"/>
                  </a:lnTo>
                  <a:lnTo>
                    <a:pt x="3974" y="3352"/>
                  </a:lnTo>
                  <a:lnTo>
                    <a:pt x="3949" y="3327"/>
                  </a:lnTo>
                  <a:lnTo>
                    <a:pt x="3932" y="3297"/>
                  </a:lnTo>
                  <a:lnTo>
                    <a:pt x="3919" y="3266"/>
                  </a:lnTo>
                  <a:lnTo>
                    <a:pt x="3916" y="3229"/>
                  </a:lnTo>
                  <a:lnTo>
                    <a:pt x="3919" y="3194"/>
                  </a:lnTo>
                  <a:lnTo>
                    <a:pt x="3932" y="3160"/>
                  </a:lnTo>
                  <a:lnTo>
                    <a:pt x="3949" y="3130"/>
                  </a:lnTo>
                  <a:lnTo>
                    <a:pt x="3974" y="3106"/>
                  </a:lnTo>
                  <a:lnTo>
                    <a:pt x="4002" y="3088"/>
                  </a:lnTo>
                  <a:lnTo>
                    <a:pt x="4035" y="3076"/>
                  </a:lnTo>
                  <a:lnTo>
                    <a:pt x="4070" y="3072"/>
                  </a:lnTo>
                  <a:close/>
                  <a:moveTo>
                    <a:pt x="4030" y="2621"/>
                  </a:moveTo>
                  <a:lnTo>
                    <a:pt x="5562" y="2621"/>
                  </a:lnTo>
                  <a:lnTo>
                    <a:pt x="5599" y="2625"/>
                  </a:lnTo>
                  <a:lnTo>
                    <a:pt x="5631" y="2637"/>
                  </a:lnTo>
                  <a:lnTo>
                    <a:pt x="5660" y="2656"/>
                  </a:lnTo>
                  <a:lnTo>
                    <a:pt x="5683" y="2679"/>
                  </a:lnTo>
                  <a:lnTo>
                    <a:pt x="5702" y="2709"/>
                  </a:lnTo>
                  <a:lnTo>
                    <a:pt x="5713" y="2742"/>
                  </a:lnTo>
                  <a:lnTo>
                    <a:pt x="5718" y="2778"/>
                  </a:lnTo>
                  <a:lnTo>
                    <a:pt x="5713" y="2814"/>
                  </a:lnTo>
                  <a:lnTo>
                    <a:pt x="5702" y="2848"/>
                  </a:lnTo>
                  <a:lnTo>
                    <a:pt x="5683" y="2876"/>
                  </a:lnTo>
                  <a:lnTo>
                    <a:pt x="5660" y="2900"/>
                  </a:lnTo>
                  <a:lnTo>
                    <a:pt x="5631" y="2920"/>
                  </a:lnTo>
                  <a:lnTo>
                    <a:pt x="5599" y="2930"/>
                  </a:lnTo>
                  <a:lnTo>
                    <a:pt x="5562" y="2936"/>
                  </a:lnTo>
                  <a:lnTo>
                    <a:pt x="4030" y="2936"/>
                  </a:lnTo>
                  <a:lnTo>
                    <a:pt x="3995" y="2930"/>
                  </a:lnTo>
                  <a:lnTo>
                    <a:pt x="3961" y="2920"/>
                  </a:lnTo>
                  <a:lnTo>
                    <a:pt x="3933" y="2900"/>
                  </a:lnTo>
                  <a:lnTo>
                    <a:pt x="3909" y="2876"/>
                  </a:lnTo>
                  <a:lnTo>
                    <a:pt x="3891" y="2848"/>
                  </a:lnTo>
                  <a:lnTo>
                    <a:pt x="3879" y="2814"/>
                  </a:lnTo>
                  <a:lnTo>
                    <a:pt x="3875" y="2778"/>
                  </a:lnTo>
                  <a:lnTo>
                    <a:pt x="3879" y="2742"/>
                  </a:lnTo>
                  <a:lnTo>
                    <a:pt x="3891" y="2709"/>
                  </a:lnTo>
                  <a:lnTo>
                    <a:pt x="3909" y="2679"/>
                  </a:lnTo>
                  <a:lnTo>
                    <a:pt x="3933" y="2656"/>
                  </a:lnTo>
                  <a:lnTo>
                    <a:pt x="3961" y="2637"/>
                  </a:lnTo>
                  <a:lnTo>
                    <a:pt x="3995" y="2625"/>
                  </a:lnTo>
                  <a:lnTo>
                    <a:pt x="4030" y="2621"/>
                  </a:lnTo>
                  <a:close/>
                  <a:moveTo>
                    <a:pt x="4097" y="2172"/>
                  </a:moveTo>
                  <a:lnTo>
                    <a:pt x="5629" y="2172"/>
                  </a:lnTo>
                  <a:lnTo>
                    <a:pt x="5666" y="2177"/>
                  </a:lnTo>
                  <a:lnTo>
                    <a:pt x="5697" y="2188"/>
                  </a:lnTo>
                  <a:lnTo>
                    <a:pt x="5725" y="2207"/>
                  </a:lnTo>
                  <a:lnTo>
                    <a:pt x="5750" y="2232"/>
                  </a:lnTo>
                  <a:lnTo>
                    <a:pt x="5767" y="2260"/>
                  </a:lnTo>
                  <a:lnTo>
                    <a:pt x="5780" y="2293"/>
                  </a:lnTo>
                  <a:lnTo>
                    <a:pt x="5783" y="2328"/>
                  </a:lnTo>
                  <a:lnTo>
                    <a:pt x="5780" y="2365"/>
                  </a:lnTo>
                  <a:lnTo>
                    <a:pt x="5767" y="2398"/>
                  </a:lnTo>
                  <a:lnTo>
                    <a:pt x="5750" y="2428"/>
                  </a:lnTo>
                  <a:lnTo>
                    <a:pt x="5725" y="2451"/>
                  </a:lnTo>
                  <a:lnTo>
                    <a:pt x="5697" y="2470"/>
                  </a:lnTo>
                  <a:lnTo>
                    <a:pt x="5666" y="2483"/>
                  </a:lnTo>
                  <a:lnTo>
                    <a:pt x="5629" y="2486"/>
                  </a:lnTo>
                  <a:lnTo>
                    <a:pt x="4097" y="2486"/>
                  </a:lnTo>
                  <a:lnTo>
                    <a:pt x="4061" y="2483"/>
                  </a:lnTo>
                  <a:lnTo>
                    <a:pt x="4028" y="2470"/>
                  </a:lnTo>
                  <a:lnTo>
                    <a:pt x="4000" y="2451"/>
                  </a:lnTo>
                  <a:lnTo>
                    <a:pt x="3975" y="2428"/>
                  </a:lnTo>
                  <a:lnTo>
                    <a:pt x="3958" y="2398"/>
                  </a:lnTo>
                  <a:lnTo>
                    <a:pt x="3946" y="2365"/>
                  </a:lnTo>
                  <a:lnTo>
                    <a:pt x="3942" y="2328"/>
                  </a:lnTo>
                  <a:lnTo>
                    <a:pt x="3946" y="2293"/>
                  </a:lnTo>
                  <a:lnTo>
                    <a:pt x="3958" y="2260"/>
                  </a:lnTo>
                  <a:lnTo>
                    <a:pt x="3975" y="2232"/>
                  </a:lnTo>
                  <a:lnTo>
                    <a:pt x="4000" y="2207"/>
                  </a:lnTo>
                  <a:lnTo>
                    <a:pt x="4028" y="2188"/>
                  </a:lnTo>
                  <a:lnTo>
                    <a:pt x="4061" y="2177"/>
                  </a:lnTo>
                  <a:lnTo>
                    <a:pt x="4097" y="2172"/>
                  </a:lnTo>
                  <a:close/>
                  <a:moveTo>
                    <a:pt x="4140" y="1364"/>
                  </a:moveTo>
                  <a:lnTo>
                    <a:pt x="4193" y="1369"/>
                  </a:lnTo>
                  <a:lnTo>
                    <a:pt x="4244" y="1384"/>
                  </a:lnTo>
                  <a:lnTo>
                    <a:pt x="4290" y="1406"/>
                  </a:lnTo>
                  <a:lnTo>
                    <a:pt x="4330" y="1434"/>
                  </a:lnTo>
                  <a:lnTo>
                    <a:pt x="4365" y="1471"/>
                  </a:lnTo>
                  <a:lnTo>
                    <a:pt x="4395" y="1512"/>
                  </a:lnTo>
                  <a:lnTo>
                    <a:pt x="4416" y="1559"/>
                  </a:lnTo>
                  <a:lnTo>
                    <a:pt x="4430" y="1610"/>
                  </a:lnTo>
                  <a:lnTo>
                    <a:pt x="4435" y="1663"/>
                  </a:lnTo>
                  <a:lnTo>
                    <a:pt x="4430" y="1717"/>
                  </a:lnTo>
                  <a:lnTo>
                    <a:pt x="4416" y="1766"/>
                  </a:lnTo>
                  <a:lnTo>
                    <a:pt x="4395" y="1814"/>
                  </a:lnTo>
                  <a:lnTo>
                    <a:pt x="4365" y="1854"/>
                  </a:lnTo>
                  <a:lnTo>
                    <a:pt x="4330" y="1891"/>
                  </a:lnTo>
                  <a:lnTo>
                    <a:pt x="4290" y="1921"/>
                  </a:lnTo>
                  <a:lnTo>
                    <a:pt x="4244" y="1942"/>
                  </a:lnTo>
                  <a:lnTo>
                    <a:pt x="4193" y="1956"/>
                  </a:lnTo>
                  <a:lnTo>
                    <a:pt x="4140" y="1961"/>
                  </a:lnTo>
                  <a:lnTo>
                    <a:pt x="4088" y="1956"/>
                  </a:lnTo>
                  <a:lnTo>
                    <a:pt x="4039" y="1942"/>
                  </a:lnTo>
                  <a:lnTo>
                    <a:pt x="3993" y="1921"/>
                  </a:lnTo>
                  <a:lnTo>
                    <a:pt x="3953" y="1891"/>
                  </a:lnTo>
                  <a:lnTo>
                    <a:pt x="3917" y="1854"/>
                  </a:lnTo>
                  <a:lnTo>
                    <a:pt x="3888" y="1814"/>
                  </a:lnTo>
                  <a:lnTo>
                    <a:pt x="3867" y="1766"/>
                  </a:lnTo>
                  <a:lnTo>
                    <a:pt x="3853" y="1717"/>
                  </a:lnTo>
                  <a:lnTo>
                    <a:pt x="3847" y="1663"/>
                  </a:lnTo>
                  <a:lnTo>
                    <a:pt x="3853" y="1610"/>
                  </a:lnTo>
                  <a:lnTo>
                    <a:pt x="3867" y="1559"/>
                  </a:lnTo>
                  <a:lnTo>
                    <a:pt x="3888" y="1512"/>
                  </a:lnTo>
                  <a:lnTo>
                    <a:pt x="3917" y="1471"/>
                  </a:lnTo>
                  <a:lnTo>
                    <a:pt x="3953" y="1434"/>
                  </a:lnTo>
                  <a:lnTo>
                    <a:pt x="3993" y="1406"/>
                  </a:lnTo>
                  <a:lnTo>
                    <a:pt x="4039" y="1384"/>
                  </a:lnTo>
                  <a:lnTo>
                    <a:pt x="4088" y="1369"/>
                  </a:lnTo>
                  <a:lnTo>
                    <a:pt x="4140" y="1364"/>
                  </a:lnTo>
                  <a:close/>
                  <a:moveTo>
                    <a:pt x="997" y="1364"/>
                  </a:moveTo>
                  <a:lnTo>
                    <a:pt x="1050" y="1369"/>
                  </a:lnTo>
                  <a:lnTo>
                    <a:pt x="1099" y="1384"/>
                  </a:lnTo>
                  <a:lnTo>
                    <a:pt x="1144" y="1406"/>
                  </a:lnTo>
                  <a:lnTo>
                    <a:pt x="1185" y="1434"/>
                  </a:lnTo>
                  <a:lnTo>
                    <a:pt x="1222" y="1471"/>
                  </a:lnTo>
                  <a:lnTo>
                    <a:pt x="1250" y="1512"/>
                  </a:lnTo>
                  <a:lnTo>
                    <a:pt x="1272" y="1559"/>
                  </a:lnTo>
                  <a:lnTo>
                    <a:pt x="1285" y="1610"/>
                  </a:lnTo>
                  <a:lnTo>
                    <a:pt x="1290" y="1663"/>
                  </a:lnTo>
                  <a:lnTo>
                    <a:pt x="1285" y="1717"/>
                  </a:lnTo>
                  <a:lnTo>
                    <a:pt x="1272" y="1766"/>
                  </a:lnTo>
                  <a:lnTo>
                    <a:pt x="1250" y="1814"/>
                  </a:lnTo>
                  <a:lnTo>
                    <a:pt x="1222" y="1854"/>
                  </a:lnTo>
                  <a:lnTo>
                    <a:pt x="1186" y="1891"/>
                  </a:lnTo>
                  <a:lnTo>
                    <a:pt x="1144" y="1921"/>
                  </a:lnTo>
                  <a:lnTo>
                    <a:pt x="1099" y="1942"/>
                  </a:lnTo>
                  <a:lnTo>
                    <a:pt x="1050" y="1956"/>
                  </a:lnTo>
                  <a:lnTo>
                    <a:pt x="997" y="1961"/>
                  </a:lnTo>
                  <a:lnTo>
                    <a:pt x="944" y="1956"/>
                  </a:lnTo>
                  <a:lnTo>
                    <a:pt x="895" y="1942"/>
                  </a:lnTo>
                  <a:lnTo>
                    <a:pt x="849" y="1921"/>
                  </a:lnTo>
                  <a:lnTo>
                    <a:pt x="807" y="1891"/>
                  </a:lnTo>
                  <a:lnTo>
                    <a:pt x="772" y="1854"/>
                  </a:lnTo>
                  <a:lnTo>
                    <a:pt x="744" y="1814"/>
                  </a:lnTo>
                  <a:lnTo>
                    <a:pt x="721" y="1766"/>
                  </a:lnTo>
                  <a:lnTo>
                    <a:pt x="709" y="1717"/>
                  </a:lnTo>
                  <a:lnTo>
                    <a:pt x="704" y="1663"/>
                  </a:lnTo>
                  <a:lnTo>
                    <a:pt x="709" y="1610"/>
                  </a:lnTo>
                  <a:lnTo>
                    <a:pt x="721" y="1559"/>
                  </a:lnTo>
                  <a:lnTo>
                    <a:pt x="744" y="1512"/>
                  </a:lnTo>
                  <a:lnTo>
                    <a:pt x="772" y="1471"/>
                  </a:lnTo>
                  <a:lnTo>
                    <a:pt x="807" y="1434"/>
                  </a:lnTo>
                  <a:lnTo>
                    <a:pt x="849" y="1406"/>
                  </a:lnTo>
                  <a:lnTo>
                    <a:pt x="895" y="1384"/>
                  </a:lnTo>
                  <a:lnTo>
                    <a:pt x="944" y="1369"/>
                  </a:lnTo>
                  <a:lnTo>
                    <a:pt x="997" y="1364"/>
                  </a:lnTo>
                  <a:close/>
                  <a:moveTo>
                    <a:pt x="2464" y="1001"/>
                  </a:moveTo>
                  <a:lnTo>
                    <a:pt x="2464" y="1154"/>
                  </a:lnTo>
                  <a:lnTo>
                    <a:pt x="2399" y="1168"/>
                  </a:lnTo>
                  <a:lnTo>
                    <a:pt x="2341" y="1189"/>
                  </a:lnTo>
                  <a:lnTo>
                    <a:pt x="2292" y="1215"/>
                  </a:lnTo>
                  <a:lnTo>
                    <a:pt x="2248" y="1245"/>
                  </a:lnTo>
                  <a:lnTo>
                    <a:pt x="2213" y="1280"/>
                  </a:lnTo>
                  <a:lnTo>
                    <a:pt x="2185" y="1319"/>
                  </a:lnTo>
                  <a:lnTo>
                    <a:pt x="2164" y="1361"/>
                  </a:lnTo>
                  <a:lnTo>
                    <a:pt x="2152" y="1406"/>
                  </a:lnTo>
                  <a:lnTo>
                    <a:pt x="2148" y="1455"/>
                  </a:lnTo>
                  <a:lnTo>
                    <a:pt x="2152" y="1501"/>
                  </a:lnTo>
                  <a:lnTo>
                    <a:pt x="2164" y="1545"/>
                  </a:lnTo>
                  <a:lnTo>
                    <a:pt x="2183" y="1582"/>
                  </a:lnTo>
                  <a:lnTo>
                    <a:pt x="2210" y="1617"/>
                  </a:lnTo>
                  <a:lnTo>
                    <a:pt x="2241" y="1647"/>
                  </a:lnTo>
                  <a:lnTo>
                    <a:pt x="2280" y="1675"/>
                  </a:lnTo>
                  <a:lnTo>
                    <a:pt x="2322" y="1700"/>
                  </a:lnTo>
                  <a:lnTo>
                    <a:pt x="2371" y="1721"/>
                  </a:lnTo>
                  <a:lnTo>
                    <a:pt x="2424" y="1742"/>
                  </a:lnTo>
                  <a:lnTo>
                    <a:pt x="2480" y="1759"/>
                  </a:lnTo>
                  <a:lnTo>
                    <a:pt x="2531" y="1775"/>
                  </a:lnTo>
                  <a:lnTo>
                    <a:pt x="2573" y="1791"/>
                  </a:lnTo>
                  <a:lnTo>
                    <a:pt x="2608" y="1805"/>
                  </a:lnTo>
                  <a:lnTo>
                    <a:pt x="2633" y="1821"/>
                  </a:lnTo>
                  <a:lnTo>
                    <a:pt x="2650" y="1838"/>
                  </a:lnTo>
                  <a:lnTo>
                    <a:pt x="2661" y="1858"/>
                  </a:lnTo>
                  <a:lnTo>
                    <a:pt x="2664" y="1877"/>
                  </a:lnTo>
                  <a:lnTo>
                    <a:pt x="2661" y="1898"/>
                  </a:lnTo>
                  <a:lnTo>
                    <a:pt x="2650" y="1915"/>
                  </a:lnTo>
                  <a:lnTo>
                    <a:pt x="2633" y="1930"/>
                  </a:lnTo>
                  <a:lnTo>
                    <a:pt x="2608" y="1940"/>
                  </a:lnTo>
                  <a:lnTo>
                    <a:pt x="2580" y="1947"/>
                  </a:lnTo>
                  <a:lnTo>
                    <a:pt x="2547" y="1951"/>
                  </a:lnTo>
                  <a:lnTo>
                    <a:pt x="2510" y="1952"/>
                  </a:lnTo>
                  <a:lnTo>
                    <a:pt x="2438" y="1949"/>
                  </a:lnTo>
                  <a:lnTo>
                    <a:pt x="2369" y="1938"/>
                  </a:lnTo>
                  <a:lnTo>
                    <a:pt x="2306" y="1921"/>
                  </a:lnTo>
                  <a:lnTo>
                    <a:pt x="2248" y="1901"/>
                  </a:lnTo>
                  <a:lnTo>
                    <a:pt x="2197" y="1880"/>
                  </a:lnTo>
                  <a:lnTo>
                    <a:pt x="2140" y="2105"/>
                  </a:lnTo>
                  <a:lnTo>
                    <a:pt x="2187" y="2124"/>
                  </a:lnTo>
                  <a:lnTo>
                    <a:pt x="2243" y="2142"/>
                  </a:lnTo>
                  <a:lnTo>
                    <a:pt x="2310" y="2158"/>
                  </a:lnTo>
                  <a:lnTo>
                    <a:pt x="2380" y="2168"/>
                  </a:lnTo>
                  <a:lnTo>
                    <a:pt x="2454" y="2175"/>
                  </a:lnTo>
                  <a:lnTo>
                    <a:pt x="2454" y="2326"/>
                  </a:lnTo>
                  <a:lnTo>
                    <a:pt x="2657" y="2326"/>
                  </a:lnTo>
                  <a:lnTo>
                    <a:pt x="2657" y="2161"/>
                  </a:lnTo>
                  <a:lnTo>
                    <a:pt x="2726" y="2145"/>
                  </a:lnTo>
                  <a:lnTo>
                    <a:pt x="2785" y="2124"/>
                  </a:lnTo>
                  <a:lnTo>
                    <a:pt x="2838" y="2098"/>
                  </a:lnTo>
                  <a:lnTo>
                    <a:pt x="2884" y="2066"/>
                  </a:lnTo>
                  <a:lnTo>
                    <a:pt x="2921" y="2030"/>
                  </a:lnTo>
                  <a:lnTo>
                    <a:pt x="2950" y="1989"/>
                  </a:lnTo>
                  <a:lnTo>
                    <a:pt x="2971" y="1945"/>
                  </a:lnTo>
                  <a:lnTo>
                    <a:pt x="2986" y="1900"/>
                  </a:lnTo>
                  <a:lnTo>
                    <a:pt x="2989" y="1851"/>
                  </a:lnTo>
                  <a:lnTo>
                    <a:pt x="2986" y="1803"/>
                  </a:lnTo>
                  <a:lnTo>
                    <a:pt x="2977" y="1759"/>
                  </a:lnTo>
                  <a:lnTo>
                    <a:pt x="2959" y="1719"/>
                  </a:lnTo>
                  <a:lnTo>
                    <a:pt x="2935" y="1684"/>
                  </a:lnTo>
                  <a:lnTo>
                    <a:pt x="2903" y="1649"/>
                  </a:lnTo>
                  <a:lnTo>
                    <a:pt x="2863" y="1619"/>
                  </a:lnTo>
                  <a:lnTo>
                    <a:pt x="2812" y="1591"/>
                  </a:lnTo>
                  <a:lnTo>
                    <a:pt x="2752" y="1564"/>
                  </a:lnTo>
                  <a:lnTo>
                    <a:pt x="2682" y="1542"/>
                  </a:lnTo>
                  <a:lnTo>
                    <a:pt x="2624" y="1522"/>
                  </a:lnTo>
                  <a:lnTo>
                    <a:pt x="2577" y="1505"/>
                  </a:lnTo>
                  <a:lnTo>
                    <a:pt x="2538" y="1487"/>
                  </a:lnTo>
                  <a:lnTo>
                    <a:pt x="2508" y="1471"/>
                  </a:lnTo>
                  <a:lnTo>
                    <a:pt x="2489" y="1455"/>
                  </a:lnTo>
                  <a:lnTo>
                    <a:pt x="2477" y="1440"/>
                  </a:lnTo>
                  <a:lnTo>
                    <a:pt x="2473" y="1422"/>
                  </a:lnTo>
                  <a:lnTo>
                    <a:pt x="2475" y="1408"/>
                  </a:lnTo>
                  <a:lnTo>
                    <a:pt x="2482" y="1392"/>
                  </a:lnTo>
                  <a:lnTo>
                    <a:pt x="2494" y="1380"/>
                  </a:lnTo>
                  <a:lnTo>
                    <a:pt x="2512" y="1369"/>
                  </a:lnTo>
                  <a:lnTo>
                    <a:pt x="2536" y="1361"/>
                  </a:lnTo>
                  <a:lnTo>
                    <a:pt x="2570" y="1354"/>
                  </a:lnTo>
                  <a:lnTo>
                    <a:pt x="2610" y="1352"/>
                  </a:lnTo>
                  <a:lnTo>
                    <a:pt x="2673" y="1355"/>
                  </a:lnTo>
                  <a:lnTo>
                    <a:pt x="2728" y="1362"/>
                  </a:lnTo>
                  <a:lnTo>
                    <a:pt x="2777" y="1373"/>
                  </a:lnTo>
                  <a:lnTo>
                    <a:pt x="2817" y="1385"/>
                  </a:lnTo>
                  <a:lnTo>
                    <a:pt x="2852" y="1398"/>
                  </a:lnTo>
                  <a:lnTo>
                    <a:pt x="2878" y="1408"/>
                  </a:lnTo>
                  <a:lnTo>
                    <a:pt x="2935" y="1192"/>
                  </a:lnTo>
                  <a:lnTo>
                    <a:pt x="2901" y="1178"/>
                  </a:lnTo>
                  <a:lnTo>
                    <a:pt x="2864" y="1168"/>
                  </a:lnTo>
                  <a:lnTo>
                    <a:pt x="2822" y="1157"/>
                  </a:lnTo>
                  <a:lnTo>
                    <a:pt x="2775" y="1148"/>
                  </a:lnTo>
                  <a:lnTo>
                    <a:pt x="2722" y="1143"/>
                  </a:lnTo>
                  <a:lnTo>
                    <a:pt x="2664" y="1139"/>
                  </a:lnTo>
                  <a:lnTo>
                    <a:pt x="2664" y="1001"/>
                  </a:lnTo>
                  <a:lnTo>
                    <a:pt x="2464" y="1001"/>
                  </a:lnTo>
                  <a:close/>
                  <a:moveTo>
                    <a:pt x="2570" y="557"/>
                  </a:moveTo>
                  <a:lnTo>
                    <a:pt x="2668" y="562"/>
                  </a:lnTo>
                  <a:lnTo>
                    <a:pt x="2764" y="578"/>
                  </a:lnTo>
                  <a:lnTo>
                    <a:pt x="2856" y="606"/>
                  </a:lnTo>
                  <a:lnTo>
                    <a:pt x="2945" y="643"/>
                  </a:lnTo>
                  <a:lnTo>
                    <a:pt x="3029" y="690"/>
                  </a:lnTo>
                  <a:lnTo>
                    <a:pt x="3108" y="744"/>
                  </a:lnTo>
                  <a:lnTo>
                    <a:pt x="3182" y="809"/>
                  </a:lnTo>
                  <a:lnTo>
                    <a:pt x="3251" y="880"/>
                  </a:lnTo>
                  <a:lnTo>
                    <a:pt x="3314" y="959"/>
                  </a:lnTo>
                  <a:lnTo>
                    <a:pt x="3368" y="1045"/>
                  </a:lnTo>
                  <a:lnTo>
                    <a:pt x="3417" y="1136"/>
                  </a:lnTo>
                  <a:lnTo>
                    <a:pt x="3458" y="1233"/>
                  </a:lnTo>
                  <a:lnTo>
                    <a:pt x="3491" y="1334"/>
                  </a:lnTo>
                  <a:lnTo>
                    <a:pt x="3514" y="1440"/>
                  </a:lnTo>
                  <a:lnTo>
                    <a:pt x="3528" y="1550"/>
                  </a:lnTo>
                  <a:lnTo>
                    <a:pt x="3533" y="1663"/>
                  </a:lnTo>
                  <a:lnTo>
                    <a:pt x="3528" y="1777"/>
                  </a:lnTo>
                  <a:lnTo>
                    <a:pt x="3514" y="1886"/>
                  </a:lnTo>
                  <a:lnTo>
                    <a:pt x="3491" y="1993"/>
                  </a:lnTo>
                  <a:lnTo>
                    <a:pt x="3458" y="2093"/>
                  </a:lnTo>
                  <a:lnTo>
                    <a:pt x="3417" y="2191"/>
                  </a:lnTo>
                  <a:lnTo>
                    <a:pt x="3370" y="2282"/>
                  </a:lnTo>
                  <a:lnTo>
                    <a:pt x="3314" y="2367"/>
                  </a:lnTo>
                  <a:lnTo>
                    <a:pt x="3251" y="2446"/>
                  </a:lnTo>
                  <a:lnTo>
                    <a:pt x="3182" y="2516"/>
                  </a:lnTo>
                  <a:lnTo>
                    <a:pt x="3108" y="2581"/>
                  </a:lnTo>
                  <a:lnTo>
                    <a:pt x="3029" y="2635"/>
                  </a:lnTo>
                  <a:lnTo>
                    <a:pt x="2945" y="2683"/>
                  </a:lnTo>
                  <a:lnTo>
                    <a:pt x="2856" y="2720"/>
                  </a:lnTo>
                  <a:lnTo>
                    <a:pt x="2764" y="2748"/>
                  </a:lnTo>
                  <a:lnTo>
                    <a:pt x="2668" y="2763"/>
                  </a:lnTo>
                  <a:lnTo>
                    <a:pt x="2570" y="2769"/>
                  </a:lnTo>
                  <a:lnTo>
                    <a:pt x="2471" y="2763"/>
                  </a:lnTo>
                  <a:lnTo>
                    <a:pt x="2375" y="2748"/>
                  </a:lnTo>
                  <a:lnTo>
                    <a:pt x="2282" y="2720"/>
                  </a:lnTo>
                  <a:lnTo>
                    <a:pt x="2194" y="2683"/>
                  </a:lnTo>
                  <a:lnTo>
                    <a:pt x="2110" y="2635"/>
                  </a:lnTo>
                  <a:lnTo>
                    <a:pt x="2029" y="2581"/>
                  </a:lnTo>
                  <a:lnTo>
                    <a:pt x="1955" y="2516"/>
                  </a:lnTo>
                  <a:lnTo>
                    <a:pt x="1887" y="2446"/>
                  </a:lnTo>
                  <a:lnTo>
                    <a:pt x="1825" y="2367"/>
                  </a:lnTo>
                  <a:lnTo>
                    <a:pt x="1769" y="2282"/>
                  </a:lnTo>
                  <a:lnTo>
                    <a:pt x="1720" y="2191"/>
                  </a:lnTo>
                  <a:lnTo>
                    <a:pt x="1680" y="2093"/>
                  </a:lnTo>
                  <a:lnTo>
                    <a:pt x="1648" y="1993"/>
                  </a:lnTo>
                  <a:lnTo>
                    <a:pt x="1624" y="1886"/>
                  </a:lnTo>
                  <a:lnTo>
                    <a:pt x="1609" y="1777"/>
                  </a:lnTo>
                  <a:lnTo>
                    <a:pt x="1604" y="1663"/>
                  </a:lnTo>
                  <a:lnTo>
                    <a:pt x="1609" y="1550"/>
                  </a:lnTo>
                  <a:lnTo>
                    <a:pt x="1624" y="1440"/>
                  </a:lnTo>
                  <a:lnTo>
                    <a:pt x="1648" y="1334"/>
                  </a:lnTo>
                  <a:lnTo>
                    <a:pt x="1680" y="1233"/>
                  </a:lnTo>
                  <a:lnTo>
                    <a:pt x="1720" y="1136"/>
                  </a:lnTo>
                  <a:lnTo>
                    <a:pt x="1769" y="1045"/>
                  </a:lnTo>
                  <a:lnTo>
                    <a:pt x="1825" y="959"/>
                  </a:lnTo>
                  <a:lnTo>
                    <a:pt x="1887" y="880"/>
                  </a:lnTo>
                  <a:lnTo>
                    <a:pt x="1955" y="809"/>
                  </a:lnTo>
                  <a:lnTo>
                    <a:pt x="2029" y="744"/>
                  </a:lnTo>
                  <a:lnTo>
                    <a:pt x="2110" y="690"/>
                  </a:lnTo>
                  <a:lnTo>
                    <a:pt x="2194" y="643"/>
                  </a:lnTo>
                  <a:lnTo>
                    <a:pt x="2282" y="606"/>
                  </a:lnTo>
                  <a:lnTo>
                    <a:pt x="2375" y="578"/>
                  </a:lnTo>
                  <a:lnTo>
                    <a:pt x="2471" y="562"/>
                  </a:lnTo>
                  <a:lnTo>
                    <a:pt x="2570" y="557"/>
                  </a:lnTo>
                  <a:close/>
                  <a:moveTo>
                    <a:pt x="176" y="0"/>
                  </a:moveTo>
                  <a:lnTo>
                    <a:pt x="4962" y="0"/>
                  </a:lnTo>
                  <a:lnTo>
                    <a:pt x="5002" y="5"/>
                  </a:lnTo>
                  <a:lnTo>
                    <a:pt x="5039" y="18"/>
                  </a:lnTo>
                  <a:lnTo>
                    <a:pt x="5072" y="39"/>
                  </a:lnTo>
                  <a:lnTo>
                    <a:pt x="5100" y="67"/>
                  </a:lnTo>
                  <a:lnTo>
                    <a:pt x="5120" y="100"/>
                  </a:lnTo>
                  <a:lnTo>
                    <a:pt x="5134" y="139"/>
                  </a:lnTo>
                  <a:lnTo>
                    <a:pt x="5139" y="179"/>
                  </a:lnTo>
                  <a:lnTo>
                    <a:pt x="5139" y="1975"/>
                  </a:lnTo>
                  <a:lnTo>
                    <a:pt x="4821" y="1975"/>
                  </a:lnTo>
                  <a:lnTo>
                    <a:pt x="4821" y="830"/>
                  </a:lnTo>
                  <a:lnTo>
                    <a:pt x="4748" y="811"/>
                  </a:lnTo>
                  <a:lnTo>
                    <a:pt x="4677" y="783"/>
                  </a:lnTo>
                  <a:lnTo>
                    <a:pt x="4613" y="748"/>
                  </a:lnTo>
                  <a:lnTo>
                    <a:pt x="4551" y="704"/>
                  </a:lnTo>
                  <a:lnTo>
                    <a:pt x="4497" y="655"/>
                  </a:lnTo>
                  <a:lnTo>
                    <a:pt x="4448" y="599"/>
                  </a:lnTo>
                  <a:lnTo>
                    <a:pt x="4405" y="536"/>
                  </a:lnTo>
                  <a:lnTo>
                    <a:pt x="4372" y="469"/>
                  </a:lnTo>
                  <a:lnTo>
                    <a:pt x="4344" y="397"/>
                  </a:lnTo>
                  <a:lnTo>
                    <a:pt x="4326" y="321"/>
                  </a:lnTo>
                  <a:lnTo>
                    <a:pt x="806" y="321"/>
                  </a:lnTo>
                  <a:lnTo>
                    <a:pt x="786" y="397"/>
                  </a:lnTo>
                  <a:lnTo>
                    <a:pt x="760" y="467"/>
                  </a:lnTo>
                  <a:lnTo>
                    <a:pt x="727" y="534"/>
                  </a:lnTo>
                  <a:lnTo>
                    <a:pt x="685" y="595"/>
                  </a:lnTo>
                  <a:lnTo>
                    <a:pt x="637" y="653"/>
                  </a:lnTo>
                  <a:lnTo>
                    <a:pt x="583" y="702"/>
                  </a:lnTo>
                  <a:lnTo>
                    <a:pt x="523" y="746"/>
                  </a:lnTo>
                  <a:lnTo>
                    <a:pt x="458" y="781"/>
                  </a:lnTo>
                  <a:lnTo>
                    <a:pt x="390" y="809"/>
                  </a:lnTo>
                  <a:lnTo>
                    <a:pt x="316" y="830"/>
                  </a:lnTo>
                  <a:lnTo>
                    <a:pt x="316" y="2542"/>
                  </a:lnTo>
                  <a:lnTo>
                    <a:pt x="388" y="2562"/>
                  </a:lnTo>
                  <a:lnTo>
                    <a:pt x="456" y="2590"/>
                  </a:lnTo>
                  <a:lnTo>
                    <a:pt x="520" y="2625"/>
                  </a:lnTo>
                  <a:lnTo>
                    <a:pt x="579" y="2667"/>
                  </a:lnTo>
                  <a:lnTo>
                    <a:pt x="634" y="2716"/>
                  </a:lnTo>
                  <a:lnTo>
                    <a:pt x="681" y="2771"/>
                  </a:lnTo>
                  <a:lnTo>
                    <a:pt x="723" y="2830"/>
                  </a:lnTo>
                  <a:lnTo>
                    <a:pt x="758" y="2897"/>
                  </a:lnTo>
                  <a:lnTo>
                    <a:pt x="785" y="2965"/>
                  </a:lnTo>
                  <a:lnTo>
                    <a:pt x="804" y="3039"/>
                  </a:lnTo>
                  <a:lnTo>
                    <a:pt x="3779" y="3039"/>
                  </a:lnTo>
                  <a:lnTo>
                    <a:pt x="3756" y="3081"/>
                  </a:lnTo>
                  <a:lnTo>
                    <a:pt x="3738" y="3129"/>
                  </a:lnTo>
                  <a:lnTo>
                    <a:pt x="3728" y="3178"/>
                  </a:lnTo>
                  <a:lnTo>
                    <a:pt x="3724" y="3229"/>
                  </a:lnTo>
                  <a:lnTo>
                    <a:pt x="3726" y="3274"/>
                  </a:lnTo>
                  <a:lnTo>
                    <a:pt x="3735" y="3318"/>
                  </a:lnTo>
                  <a:lnTo>
                    <a:pt x="3749" y="3360"/>
                  </a:lnTo>
                  <a:lnTo>
                    <a:pt x="176" y="3360"/>
                  </a:lnTo>
                  <a:lnTo>
                    <a:pt x="135" y="3355"/>
                  </a:lnTo>
                  <a:lnTo>
                    <a:pt x="98" y="3343"/>
                  </a:lnTo>
                  <a:lnTo>
                    <a:pt x="65" y="3322"/>
                  </a:lnTo>
                  <a:lnTo>
                    <a:pt x="39" y="3294"/>
                  </a:lnTo>
                  <a:lnTo>
                    <a:pt x="18" y="3260"/>
                  </a:lnTo>
                  <a:lnTo>
                    <a:pt x="5" y="3223"/>
                  </a:lnTo>
                  <a:lnTo>
                    <a:pt x="0" y="3181"/>
                  </a:lnTo>
                  <a:lnTo>
                    <a:pt x="0" y="179"/>
                  </a:lnTo>
                  <a:lnTo>
                    <a:pt x="5" y="139"/>
                  </a:lnTo>
                  <a:lnTo>
                    <a:pt x="18" y="100"/>
                  </a:lnTo>
                  <a:lnTo>
                    <a:pt x="39" y="67"/>
                  </a:lnTo>
                  <a:lnTo>
                    <a:pt x="65" y="39"/>
                  </a:lnTo>
                  <a:lnTo>
                    <a:pt x="98" y="18"/>
                  </a:lnTo>
                  <a:lnTo>
                    <a:pt x="135" y="5"/>
                  </a:lnTo>
                  <a:lnTo>
                    <a:pt x="176"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2" name="Freeform 31"/>
            <p:cNvSpPr>
              <a:spLocks noChangeAspect="1" noEditPoints="1"/>
            </p:cNvSpPr>
            <p:nvPr/>
          </p:nvSpPr>
          <p:spPr bwMode="auto">
            <a:xfrm>
              <a:off x="2509327" y="1690826"/>
              <a:ext cx="849934" cy="484175"/>
            </a:xfrm>
            <a:custGeom>
              <a:avLst/>
              <a:gdLst>
                <a:gd name="T0" fmla="*/ 5743 w 5783"/>
                <a:gd name="T1" fmla="*/ 3160 h 3385"/>
                <a:gd name="T2" fmla="*/ 5671 w 5783"/>
                <a:gd name="T3" fmla="*/ 3369 h 3385"/>
                <a:gd name="T4" fmla="*/ 3949 w 5783"/>
                <a:gd name="T5" fmla="*/ 3327 h 3385"/>
                <a:gd name="T6" fmla="*/ 3974 w 5783"/>
                <a:gd name="T7" fmla="*/ 3106 h 3385"/>
                <a:gd name="T8" fmla="*/ 5631 w 5783"/>
                <a:gd name="T9" fmla="*/ 2637 h 3385"/>
                <a:gd name="T10" fmla="*/ 5702 w 5783"/>
                <a:gd name="T11" fmla="*/ 2848 h 3385"/>
                <a:gd name="T12" fmla="*/ 3995 w 5783"/>
                <a:gd name="T13" fmla="*/ 2930 h 3385"/>
                <a:gd name="T14" fmla="*/ 3879 w 5783"/>
                <a:gd name="T15" fmla="*/ 2742 h 3385"/>
                <a:gd name="T16" fmla="*/ 4097 w 5783"/>
                <a:gd name="T17" fmla="*/ 2172 h 3385"/>
                <a:gd name="T18" fmla="*/ 5780 w 5783"/>
                <a:gd name="T19" fmla="*/ 2293 h 3385"/>
                <a:gd name="T20" fmla="*/ 5666 w 5783"/>
                <a:gd name="T21" fmla="*/ 2483 h 3385"/>
                <a:gd name="T22" fmla="*/ 3958 w 5783"/>
                <a:gd name="T23" fmla="*/ 2398 h 3385"/>
                <a:gd name="T24" fmla="*/ 4028 w 5783"/>
                <a:gd name="T25" fmla="*/ 2188 h 3385"/>
                <a:gd name="T26" fmla="*/ 4330 w 5783"/>
                <a:gd name="T27" fmla="*/ 1434 h 3385"/>
                <a:gd name="T28" fmla="*/ 4416 w 5783"/>
                <a:gd name="T29" fmla="*/ 1766 h 3385"/>
                <a:gd name="T30" fmla="*/ 4140 w 5783"/>
                <a:gd name="T31" fmla="*/ 1961 h 3385"/>
                <a:gd name="T32" fmla="*/ 3867 w 5783"/>
                <a:gd name="T33" fmla="*/ 1766 h 3385"/>
                <a:gd name="T34" fmla="*/ 3953 w 5783"/>
                <a:gd name="T35" fmla="*/ 1434 h 3385"/>
                <a:gd name="T36" fmla="*/ 1099 w 5783"/>
                <a:gd name="T37" fmla="*/ 1384 h 3385"/>
                <a:gd name="T38" fmla="*/ 1290 w 5783"/>
                <a:gd name="T39" fmla="*/ 1663 h 3385"/>
                <a:gd name="T40" fmla="*/ 1099 w 5783"/>
                <a:gd name="T41" fmla="*/ 1942 h 3385"/>
                <a:gd name="T42" fmla="*/ 772 w 5783"/>
                <a:gd name="T43" fmla="*/ 1854 h 3385"/>
                <a:gd name="T44" fmla="*/ 744 w 5783"/>
                <a:gd name="T45" fmla="*/ 1512 h 3385"/>
                <a:gd name="T46" fmla="*/ 2464 w 5783"/>
                <a:gd name="T47" fmla="*/ 1001 h 3385"/>
                <a:gd name="T48" fmla="*/ 2185 w 5783"/>
                <a:gd name="T49" fmla="*/ 1319 h 3385"/>
                <a:gd name="T50" fmla="*/ 2210 w 5783"/>
                <a:gd name="T51" fmla="*/ 1617 h 3385"/>
                <a:gd name="T52" fmla="*/ 2531 w 5783"/>
                <a:gd name="T53" fmla="*/ 1775 h 3385"/>
                <a:gd name="T54" fmla="*/ 2661 w 5783"/>
                <a:gd name="T55" fmla="*/ 1898 h 3385"/>
                <a:gd name="T56" fmla="*/ 2438 w 5783"/>
                <a:gd name="T57" fmla="*/ 1949 h 3385"/>
                <a:gd name="T58" fmla="*/ 2243 w 5783"/>
                <a:gd name="T59" fmla="*/ 2142 h 3385"/>
                <a:gd name="T60" fmla="*/ 2726 w 5783"/>
                <a:gd name="T61" fmla="*/ 2145 h 3385"/>
                <a:gd name="T62" fmla="*/ 2986 w 5783"/>
                <a:gd name="T63" fmla="*/ 1900 h 3385"/>
                <a:gd name="T64" fmla="*/ 2863 w 5783"/>
                <a:gd name="T65" fmla="*/ 1619 h 3385"/>
                <a:gd name="T66" fmla="*/ 2508 w 5783"/>
                <a:gd name="T67" fmla="*/ 1471 h 3385"/>
                <a:gd name="T68" fmla="*/ 2512 w 5783"/>
                <a:gd name="T69" fmla="*/ 1369 h 3385"/>
                <a:gd name="T70" fmla="*/ 2817 w 5783"/>
                <a:gd name="T71" fmla="*/ 1385 h 3385"/>
                <a:gd name="T72" fmla="*/ 2775 w 5783"/>
                <a:gd name="T73" fmla="*/ 1148 h 3385"/>
                <a:gd name="T74" fmla="*/ 2764 w 5783"/>
                <a:gd name="T75" fmla="*/ 578 h 3385"/>
                <a:gd name="T76" fmla="*/ 3314 w 5783"/>
                <a:gd name="T77" fmla="*/ 959 h 3385"/>
                <a:gd name="T78" fmla="*/ 3533 w 5783"/>
                <a:gd name="T79" fmla="*/ 1663 h 3385"/>
                <a:gd name="T80" fmla="*/ 3314 w 5783"/>
                <a:gd name="T81" fmla="*/ 2367 h 3385"/>
                <a:gd name="T82" fmla="*/ 2764 w 5783"/>
                <a:gd name="T83" fmla="*/ 2748 h 3385"/>
                <a:gd name="T84" fmla="*/ 2110 w 5783"/>
                <a:gd name="T85" fmla="*/ 2635 h 3385"/>
                <a:gd name="T86" fmla="*/ 1680 w 5783"/>
                <a:gd name="T87" fmla="*/ 2093 h 3385"/>
                <a:gd name="T88" fmla="*/ 1648 w 5783"/>
                <a:gd name="T89" fmla="*/ 1334 h 3385"/>
                <a:gd name="T90" fmla="*/ 2029 w 5783"/>
                <a:gd name="T91" fmla="*/ 744 h 3385"/>
                <a:gd name="T92" fmla="*/ 176 w 5783"/>
                <a:gd name="T93" fmla="*/ 0 h 3385"/>
                <a:gd name="T94" fmla="*/ 5134 w 5783"/>
                <a:gd name="T95" fmla="*/ 139 h 3385"/>
                <a:gd name="T96" fmla="*/ 4613 w 5783"/>
                <a:gd name="T97" fmla="*/ 748 h 3385"/>
                <a:gd name="T98" fmla="*/ 4326 w 5783"/>
                <a:gd name="T99" fmla="*/ 321 h 3385"/>
                <a:gd name="T100" fmla="*/ 583 w 5783"/>
                <a:gd name="T101" fmla="*/ 702 h 3385"/>
                <a:gd name="T102" fmla="*/ 456 w 5783"/>
                <a:gd name="T103" fmla="*/ 2590 h 3385"/>
                <a:gd name="T104" fmla="*/ 785 w 5783"/>
                <a:gd name="T105" fmla="*/ 2965 h 3385"/>
                <a:gd name="T106" fmla="*/ 3726 w 5783"/>
                <a:gd name="T107" fmla="*/ 3274 h 3385"/>
                <a:gd name="T108" fmla="*/ 39 w 5783"/>
                <a:gd name="T109" fmla="*/ 3294 h 3385"/>
                <a:gd name="T110" fmla="*/ 39 w 5783"/>
                <a:gd name="T111" fmla="*/ 67 h 3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783" h="3385">
                  <a:moveTo>
                    <a:pt x="4070" y="3072"/>
                  </a:moveTo>
                  <a:lnTo>
                    <a:pt x="5604" y="3072"/>
                  </a:lnTo>
                  <a:lnTo>
                    <a:pt x="5639" y="3076"/>
                  </a:lnTo>
                  <a:lnTo>
                    <a:pt x="5671" y="3088"/>
                  </a:lnTo>
                  <a:lnTo>
                    <a:pt x="5701" y="3106"/>
                  </a:lnTo>
                  <a:lnTo>
                    <a:pt x="5724" y="3130"/>
                  </a:lnTo>
                  <a:lnTo>
                    <a:pt x="5743" y="3160"/>
                  </a:lnTo>
                  <a:lnTo>
                    <a:pt x="5753" y="3194"/>
                  </a:lnTo>
                  <a:lnTo>
                    <a:pt x="5759" y="3229"/>
                  </a:lnTo>
                  <a:lnTo>
                    <a:pt x="5753" y="3266"/>
                  </a:lnTo>
                  <a:lnTo>
                    <a:pt x="5743" y="3297"/>
                  </a:lnTo>
                  <a:lnTo>
                    <a:pt x="5724" y="3327"/>
                  </a:lnTo>
                  <a:lnTo>
                    <a:pt x="5701" y="3352"/>
                  </a:lnTo>
                  <a:lnTo>
                    <a:pt x="5671" y="3369"/>
                  </a:lnTo>
                  <a:lnTo>
                    <a:pt x="5639" y="3381"/>
                  </a:lnTo>
                  <a:lnTo>
                    <a:pt x="5604" y="3385"/>
                  </a:lnTo>
                  <a:lnTo>
                    <a:pt x="4070" y="3385"/>
                  </a:lnTo>
                  <a:lnTo>
                    <a:pt x="4035" y="3381"/>
                  </a:lnTo>
                  <a:lnTo>
                    <a:pt x="4002" y="3369"/>
                  </a:lnTo>
                  <a:lnTo>
                    <a:pt x="3974" y="3352"/>
                  </a:lnTo>
                  <a:lnTo>
                    <a:pt x="3949" y="3327"/>
                  </a:lnTo>
                  <a:lnTo>
                    <a:pt x="3932" y="3297"/>
                  </a:lnTo>
                  <a:lnTo>
                    <a:pt x="3919" y="3266"/>
                  </a:lnTo>
                  <a:lnTo>
                    <a:pt x="3916" y="3229"/>
                  </a:lnTo>
                  <a:lnTo>
                    <a:pt x="3919" y="3194"/>
                  </a:lnTo>
                  <a:lnTo>
                    <a:pt x="3932" y="3160"/>
                  </a:lnTo>
                  <a:lnTo>
                    <a:pt x="3949" y="3130"/>
                  </a:lnTo>
                  <a:lnTo>
                    <a:pt x="3974" y="3106"/>
                  </a:lnTo>
                  <a:lnTo>
                    <a:pt x="4002" y="3088"/>
                  </a:lnTo>
                  <a:lnTo>
                    <a:pt x="4035" y="3076"/>
                  </a:lnTo>
                  <a:lnTo>
                    <a:pt x="4070" y="3072"/>
                  </a:lnTo>
                  <a:close/>
                  <a:moveTo>
                    <a:pt x="4030" y="2621"/>
                  </a:moveTo>
                  <a:lnTo>
                    <a:pt x="5562" y="2621"/>
                  </a:lnTo>
                  <a:lnTo>
                    <a:pt x="5599" y="2625"/>
                  </a:lnTo>
                  <a:lnTo>
                    <a:pt x="5631" y="2637"/>
                  </a:lnTo>
                  <a:lnTo>
                    <a:pt x="5660" y="2656"/>
                  </a:lnTo>
                  <a:lnTo>
                    <a:pt x="5683" y="2679"/>
                  </a:lnTo>
                  <a:lnTo>
                    <a:pt x="5702" y="2709"/>
                  </a:lnTo>
                  <a:lnTo>
                    <a:pt x="5713" y="2742"/>
                  </a:lnTo>
                  <a:lnTo>
                    <a:pt x="5718" y="2778"/>
                  </a:lnTo>
                  <a:lnTo>
                    <a:pt x="5713" y="2814"/>
                  </a:lnTo>
                  <a:lnTo>
                    <a:pt x="5702" y="2848"/>
                  </a:lnTo>
                  <a:lnTo>
                    <a:pt x="5683" y="2876"/>
                  </a:lnTo>
                  <a:lnTo>
                    <a:pt x="5660" y="2900"/>
                  </a:lnTo>
                  <a:lnTo>
                    <a:pt x="5631" y="2920"/>
                  </a:lnTo>
                  <a:lnTo>
                    <a:pt x="5599" y="2930"/>
                  </a:lnTo>
                  <a:lnTo>
                    <a:pt x="5562" y="2936"/>
                  </a:lnTo>
                  <a:lnTo>
                    <a:pt x="4030" y="2936"/>
                  </a:lnTo>
                  <a:lnTo>
                    <a:pt x="3995" y="2930"/>
                  </a:lnTo>
                  <a:lnTo>
                    <a:pt x="3961" y="2920"/>
                  </a:lnTo>
                  <a:lnTo>
                    <a:pt x="3933" y="2900"/>
                  </a:lnTo>
                  <a:lnTo>
                    <a:pt x="3909" y="2876"/>
                  </a:lnTo>
                  <a:lnTo>
                    <a:pt x="3891" y="2848"/>
                  </a:lnTo>
                  <a:lnTo>
                    <a:pt x="3879" y="2814"/>
                  </a:lnTo>
                  <a:lnTo>
                    <a:pt x="3875" y="2778"/>
                  </a:lnTo>
                  <a:lnTo>
                    <a:pt x="3879" y="2742"/>
                  </a:lnTo>
                  <a:lnTo>
                    <a:pt x="3891" y="2709"/>
                  </a:lnTo>
                  <a:lnTo>
                    <a:pt x="3909" y="2679"/>
                  </a:lnTo>
                  <a:lnTo>
                    <a:pt x="3933" y="2656"/>
                  </a:lnTo>
                  <a:lnTo>
                    <a:pt x="3961" y="2637"/>
                  </a:lnTo>
                  <a:lnTo>
                    <a:pt x="3995" y="2625"/>
                  </a:lnTo>
                  <a:lnTo>
                    <a:pt x="4030" y="2621"/>
                  </a:lnTo>
                  <a:close/>
                  <a:moveTo>
                    <a:pt x="4097" y="2172"/>
                  </a:moveTo>
                  <a:lnTo>
                    <a:pt x="5629" y="2172"/>
                  </a:lnTo>
                  <a:lnTo>
                    <a:pt x="5666" y="2177"/>
                  </a:lnTo>
                  <a:lnTo>
                    <a:pt x="5697" y="2188"/>
                  </a:lnTo>
                  <a:lnTo>
                    <a:pt x="5725" y="2207"/>
                  </a:lnTo>
                  <a:lnTo>
                    <a:pt x="5750" y="2232"/>
                  </a:lnTo>
                  <a:lnTo>
                    <a:pt x="5767" y="2260"/>
                  </a:lnTo>
                  <a:lnTo>
                    <a:pt x="5780" y="2293"/>
                  </a:lnTo>
                  <a:lnTo>
                    <a:pt x="5783" y="2328"/>
                  </a:lnTo>
                  <a:lnTo>
                    <a:pt x="5780" y="2365"/>
                  </a:lnTo>
                  <a:lnTo>
                    <a:pt x="5767" y="2398"/>
                  </a:lnTo>
                  <a:lnTo>
                    <a:pt x="5750" y="2428"/>
                  </a:lnTo>
                  <a:lnTo>
                    <a:pt x="5725" y="2451"/>
                  </a:lnTo>
                  <a:lnTo>
                    <a:pt x="5697" y="2470"/>
                  </a:lnTo>
                  <a:lnTo>
                    <a:pt x="5666" y="2483"/>
                  </a:lnTo>
                  <a:lnTo>
                    <a:pt x="5629" y="2486"/>
                  </a:lnTo>
                  <a:lnTo>
                    <a:pt x="4097" y="2486"/>
                  </a:lnTo>
                  <a:lnTo>
                    <a:pt x="4061" y="2483"/>
                  </a:lnTo>
                  <a:lnTo>
                    <a:pt x="4028" y="2470"/>
                  </a:lnTo>
                  <a:lnTo>
                    <a:pt x="4000" y="2451"/>
                  </a:lnTo>
                  <a:lnTo>
                    <a:pt x="3975" y="2428"/>
                  </a:lnTo>
                  <a:lnTo>
                    <a:pt x="3958" y="2398"/>
                  </a:lnTo>
                  <a:lnTo>
                    <a:pt x="3946" y="2365"/>
                  </a:lnTo>
                  <a:lnTo>
                    <a:pt x="3942" y="2328"/>
                  </a:lnTo>
                  <a:lnTo>
                    <a:pt x="3946" y="2293"/>
                  </a:lnTo>
                  <a:lnTo>
                    <a:pt x="3958" y="2260"/>
                  </a:lnTo>
                  <a:lnTo>
                    <a:pt x="3975" y="2232"/>
                  </a:lnTo>
                  <a:lnTo>
                    <a:pt x="4000" y="2207"/>
                  </a:lnTo>
                  <a:lnTo>
                    <a:pt x="4028" y="2188"/>
                  </a:lnTo>
                  <a:lnTo>
                    <a:pt x="4061" y="2177"/>
                  </a:lnTo>
                  <a:lnTo>
                    <a:pt x="4097" y="2172"/>
                  </a:lnTo>
                  <a:close/>
                  <a:moveTo>
                    <a:pt x="4140" y="1364"/>
                  </a:moveTo>
                  <a:lnTo>
                    <a:pt x="4193" y="1369"/>
                  </a:lnTo>
                  <a:lnTo>
                    <a:pt x="4244" y="1384"/>
                  </a:lnTo>
                  <a:lnTo>
                    <a:pt x="4290" y="1406"/>
                  </a:lnTo>
                  <a:lnTo>
                    <a:pt x="4330" y="1434"/>
                  </a:lnTo>
                  <a:lnTo>
                    <a:pt x="4365" y="1471"/>
                  </a:lnTo>
                  <a:lnTo>
                    <a:pt x="4395" y="1512"/>
                  </a:lnTo>
                  <a:lnTo>
                    <a:pt x="4416" y="1559"/>
                  </a:lnTo>
                  <a:lnTo>
                    <a:pt x="4430" y="1610"/>
                  </a:lnTo>
                  <a:lnTo>
                    <a:pt x="4435" y="1663"/>
                  </a:lnTo>
                  <a:lnTo>
                    <a:pt x="4430" y="1717"/>
                  </a:lnTo>
                  <a:lnTo>
                    <a:pt x="4416" y="1766"/>
                  </a:lnTo>
                  <a:lnTo>
                    <a:pt x="4395" y="1814"/>
                  </a:lnTo>
                  <a:lnTo>
                    <a:pt x="4365" y="1854"/>
                  </a:lnTo>
                  <a:lnTo>
                    <a:pt x="4330" y="1891"/>
                  </a:lnTo>
                  <a:lnTo>
                    <a:pt x="4290" y="1921"/>
                  </a:lnTo>
                  <a:lnTo>
                    <a:pt x="4244" y="1942"/>
                  </a:lnTo>
                  <a:lnTo>
                    <a:pt x="4193" y="1956"/>
                  </a:lnTo>
                  <a:lnTo>
                    <a:pt x="4140" y="1961"/>
                  </a:lnTo>
                  <a:lnTo>
                    <a:pt x="4088" y="1956"/>
                  </a:lnTo>
                  <a:lnTo>
                    <a:pt x="4039" y="1942"/>
                  </a:lnTo>
                  <a:lnTo>
                    <a:pt x="3993" y="1921"/>
                  </a:lnTo>
                  <a:lnTo>
                    <a:pt x="3953" y="1891"/>
                  </a:lnTo>
                  <a:lnTo>
                    <a:pt x="3917" y="1854"/>
                  </a:lnTo>
                  <a:lnTo>
                    <a:pt x="3888" y="1814"/>
                  </a:lnTo>
                  <a:lnTo>
                    <a:pt x="3867" y="1766"/>
                  </a:lnTo>
                  <a:lnTo>
                    <a:pt x="3853" y="1717"/>
                  </a:lnTo>
                  <a:lnTo>
                    <a:pt x="3847" y="1663"/>
                  </a:lnTo>
                  <a:lnTo>
                    <a:pt x="3853" y="1610"/>
                  </a:lnTo>
                  <a:lnTo>
                    <a:pt x="3867" y="1559"/>
                  </a:lnTo>
                  <a:lnTo>
                    <a:pt x="3888" y="1512"/>
                  </a:lnTo>
                  <a:lnTo>
                    <a:pt x="3917" y="1471"/>
                  </a:lnTo>
                  <a:lnTo>
                    <a:pt x="3953" y="1434"/>
                  </a:lnTo>
                  <a:lnTo>
                    <a:pt x="3993" y="1406"/>
                  </a:lnTo>
                  <a:lnTo>
                    <a:pt x="4039" y="1384"/>
                  </a:lnTo>
                  <a:lnTo>
                    <a:pt x="4088" y="1369"/>
                  </a:lnTo>
                  <a:lnTo>
                    <a:pt x="4140" y="1364"/>
                  </a:lnTo>
                  <a:close/>
                  <a:moveTo>
                    <a:pt x="997" y="1364"/>
                  </a:moveTo>
                  <a:lnTo>
                    <a:pt x="1050" y="1369"/>
                  </a:lnTo>
                  <a:lnTo>
                    <a:pt x="1099" y="1384"/>
                  </a:lnTo>
                  <a:lnTo>
                    <a:pt x="1144" y="1406"/>
                  </a:lnTo>
                  <a:lnTo>
                    <a:pt x="1185" y="1434"/>
                  </a:lnTo>
                  <a:lnTo>
                    <a:pt x="1222" y="1471"/>
                  </a:lnTo>
                  <a:lnTo>
                    <a:pt x="1250" y="1512"/>
                  </a:lnTo>
                  <a:lnTo>
                    <a:pt x="1272" y="1559"/>
                  </a:lnTo>
                  <a:lnTo>
                    <a:pt x="1285" y="1610"/>
                  </a:lnTo>
                  <a:lnTo>
                    <a:pt x="1290" y="1663"/>
                  </a:lnTo>
                  <a:lnTo>
                    <a:pt x="1285" y="1717"/>
                  </a:lnTo>
                  <a:lnTo>
                    <a:pt x="1272" y="1766"/>
                  </a:lnTo>
                  <a:lnTo>
                    <a:pt x="1250" y="1814"/>
                  </a:lnTo>
                  <a:lnTo>
                    <a:pt x="1222" y="1854"/>
                  </a:lnTo>
                  <a:lnTo>
                    <a:pt x="1186" y="1891"/>
                  </a:lnTo>
                  <a:lnTo>
                    <a:pt x="1144" y="1921"/>
                  </a:lnTo>
                  <a:lnTo>
                    <a:pt x="1099" y="1942"/>
                  </a:lnTo>
                  <a:lnTo>
                    <a:pt x="1050" y="1956"/>
                  </a:lnTo>
                  <a:lnTo>
                    <a:pt x="997" y="1961"/>
                  </a:lnTo>
                  <a:lnTo>
                    <a:pt x="944" y="1956"/>
                  </a:lnTo>
                  <a:lnTo>
                    <a:pt x="895" y="1942"/>
                  </a:lnTo>
                  <a:lnTo>
                    <a:pt x="849" y="1921"/>
                  </a:lnTo>
                  <a:lnTo>
                    <a:pt x="807" y="1891"/>
                  </a:lnTo>
                  <a:lnTo>
                    <a:pt x="772" y="1854"/>
                  </a:lnTo>
                  <a:lnTo>
                    <a:pt x="744" y="1814"/>
                  </a:lnTo>
                  <a:lnTo>
                    <a:pt x="721" y="1766"/>
                  </a:lnTo>
                  <a:lnTo>
                    <a:pt x="709" y="1717"/>
                  </a:lnTo>
                  <a:lnTo>
                    <a:pt x="704" y="1663"/>
                  </a:lnTo>
                  <a:lnTo>
                    <a:pt x="709" y="1610"/>
                  </a:lnTo>
                  <a:lnTo>
                    <a:pt x="721" y="1559"/>
                  </a:lnTo>
                  <a:lnTo>
                    <a:pt x="744" y="1512"/>
                  </a:lnTo>
                  <a:lnTo>
                    <a:pt x="772" y="1471"/>
                  </a:lnTo>
                  <a:lnTo>
                    <a:pt x="807" y="1434"/>
                  </a:lnTo>
                  <a:lnTo>
                    <a:pt x="849" y="1406"/>
                  </a:lnTo>
                  <a:lnTo>
                    <a:pt x="895" y="1384"/>
                  </a:lnTo>
                  <a:lnTo>
                    <a:pt x="944" y="1369"/>
                  </a:lnTo>
                  <a:lnTo>
                    <a:pt x="997" y="1364"/>
                  </a:lnTo>
                  <a:close/>
                  <a:moveTo>
                    <a:pt x="2464" y="1001"/>
                  </a:moveTo>
                  <a:lnTo>
                    <a:pt x="2464" y="1154"/>
                  </a:lnTo>
                  <a:lnTo>
                    <a:pt x="2399" y="1168"/>
                  </a:lnTo>
                  <a:lnTo>
                    <a:pt x="2341" y="1189"/>
                  </a:lnTo>
                  <a:lnTo>
                    <a:pt x="2292" y="1215"/>
                  </a:lnTo>
                  <a:lnTo>
                    <a:pt x="2248" y="1245"/>
                  </a:lnTo>
                  <a:lnTo>
                    <a:pt x="2213" y="1280"/>
                  </a:lnTo>
                  <a:lnTo>
                    <a:pt x="2185" y="1319"/>
                  </a:lnTo>
                  <a:lnTo>
                    <a:pt x="2164" y="1361"/>
                  </a:lnTo>
                  <a:lnTo>
                    <a:pt x="2152" y="1406"/>
                  </a:lnTo>
                  <a:lnTo>
                    <a:pt x="2148" y="1455"/>
                  </a:lnTo>
                  <a:lnTo>
                    <a:pt x="2152" y="1501"/>
                  </a:lnTo>
                  <a:lnTo>
                    <a:pt x="2164" y="1545"/>
                  </a:lnTo>
                  <a:lnTo>
                    <a:pt x="2183" y="1582"/>
                  </a:lnTo>
                  <a:lnTo>
                    <a:pt x="2210" y="1617"/>
                  </a:lnTo>
                  <a:lnTo>
                    <a:pt x="2241" y="1647"/>
                  </a:lnTo>
                  <a:lnTo>
                    <a:pt x="2280" y="1675"/>
                  </a:lnTo>
                  <a:lnTo>
                    <a:pt x="2322" y="1700"/>
                  </a:lnTo>
                  <a:lnTo>
                    <a:pt x="2371" y="1721"/>
                  </a:lnTo>
                  <a:lnTo>
                    <a:pt x="2424" y="1742"/>
                  </a:lnTo>
                  <a:lnTo>
                    <a:pt x="2480" y="1759"/>
                  </a:lnTo>
                  <a:lnTo>
                    <a:pt x="2531" y="1775"/>
                  </a:lnTo>
                  <a:lnTo>
                    <a:pt x="2573" y="1791"/>
                  </a:lnTo>
                  <a:lnTo>
                    <a:pt x="2608" y="1805"/>
                  </a:lnTo>
                  <a:lnTo>
                    <a:pt x="2633" y="1821"/>
                  </a:lnTo>
                  <a:lnTo>
                    <a:pt x="2650" y="1838"/>
                  </a:lnTo>
                  <a:lnTo>
                    <a:pt x="2661" y="1858"/>
                  </a:lnTo>
                  <a:lnTo>
                    <a:pt x="2664" y="1877"/>
                  </a:lnTo>
                  <a:lnTo>
                    <a:pt x="2661" y="1898"/>
                  </a:lnTo>
                  <a:lnTo>
                    <a:pt x="2650" y="1915"/>
                  </a:lnTo>
                  <a:lnTo>
                    <a:pt x="2633" y="1930"/>
                  </a:lnTo>
                  <a:lnTo>
                    <a:pt x="2608" y="1940"/>
                  </a:lnTo>
                  <a:lnTo>
                    <a:pt x="2580" y="1947"/>
                  </a:lnTo>
                  <a:lnTo>
                    <a:pt x="2547" y="1951"/>
                  </a:lnTo>
                  <a:lnTo>
                    <a:pt x="2510" y="1952"/>
                  </a:lnTo>
                  <a:lnTo>
                    <a:pt x="2438" y="1949"/>
                  </a:lnTo>
                  <a:lnTo>
                    <a:pt x="2369" y="1938"/>
                  </a:lnTo>
                  <a:lnTo>
                    <a:pt x="2306" y="1921"/>
                  </a:lnTo>
                  <a:lnTo>
                    <a:pt x="2248" y="1901"/>
                  </a:lnTo>
                  <a:lnTo>
                    <a:pt x="2197" y="1880"/>
                  </a:lnTo>
                  <a:lnTo>
                    <a:pt x="2140" y="2105"/>
                  </a:lnTo>
                  <a:lnTo>
                    <a:pt x="2187" y="2124"/>
                  </a:lnTo>
                  <a:lnTo>
                    <a:pt x="2243" y="2142"/>
                  </a:lnTo>
                  <a:lnTo>
                    <a:pt x="2310" y="2158"/>
                  </a:lnTo>
                  <a:lnTo>
                    <a:pt x="2380" y="2168"/>
                  </a:lnTo>
                  <a:lnTo>
                    <a:pt x="2454" y="2175"/>
                  </a:lnTo>
                  <a:lnTo>
                    <a:pt x="2454" y="2326"/>
                  </a:lnTo>
                  <a:lnTo>
                    <a:pt x="2657" y="2326"/>
                  </a:lnTo>
                  <a:lnTo>
                    <a:pt x="2657" y="2161"/>
                  </a:lnTo>
                  <a:lnTo>
                    <a:pt x="2726" y="2145"/>
                  </a:lnTo>
                  <a:lnTo>
                    <a:pt x="2785" y="2124"/>
                  </a:lnTo>
                  <a:lnTo>
                    <a:pt x="2838" y="2098"/>
                  </a:lnTo>
                  <a:lnTo>
                    <a:pt x="2884" y="2066"/>
                  </a:lnTo>
                  <a:lnTo>
                    <a:pt x="2921" y="2030"/>
                  </a:lnTo>
                  <a:lnTo>
                    <a:pt x="2950" y="1989"/>
                  </a:lnTo>
                  <a:lnTo>
                    <a:pt x="2971" y="1945"/>
                  </a:lnTo>
                  <a:lnTo>
                    <a:pt x="2986" y="1900"/>
                  </a:lnTo>
                  <a:lnTo>
                    <a:pt x="2989" y="1851"/>
                  </a:lnTo>
                  <a:lnTo>
                    <a:pt x="2986" y="1803"/>
                  </a:lnTo>
                  <a:lnTo>
                    <a:pt x="2977" y="1759"/>
                  </a:lnTo>
                  <a:lnTo>
                    <a:pt x="2959" y="1719"/>
                  </a:lnTo>
                  <a:lnTo>
                    <a:pt x="2935" y="1684"/>
                  </a:lnTo>
                  <a:lnTo>
                    <a:pt x="2903" y="1649"/>
                  </a:lnTo>
                  <a:lnTo>
                    <a:pt x="2863" y="1619"/>
                  </a:lnTo>
                  <a:lnTo>
                    <a:pt x="2812" y="1591"/>
                  </a:lnTo>
                  <a:lnTo>
                    <a:pt x="2752" y="1564"/>
                  </a:lnTo>
                  <a:lnTo>
                    <a:pt x="2682" y="1542"/>
                  </a:lnTo>
                  <a:lnTo>
                    <a:pt x="2624" y="1522"/>
                  </a:lnTo>
                  <a:lnTo>
                    <a:pt x="2577" y="1505"/>
                  </a:lnTo>
                  <a:lnTo>
                    <a:pt x="2538" y="1487"/>
                  </a:lnTo>
                  <a:lnTo>
                    <a:pt x="2508" y="1471"/>
                  </a:lnTo>
                  <a:lnTo>
                    <a:pt x="2489" y="1455"/>
                  </a:lnTo>
                  <a:lnTo>
                    <a:pt x="2477" y="1440"/>
                  </a:lnTo>
                  <a:lnTo>
                    <a:pt x="2473" y="1422"/>
                  </a:lnTo>
                  <a:lnTo>
                    <a:pt x="2475" y="1408"/>
                  </a:lnTo>
                  <a:lnTo>
                    <a:pt x="2482" y="1392"/>
                  </a:lnTo>
                  <a:lnTo>
                    <a:pt x="2494" y="1380"/>
                  </a:lnTo>
                  <a:lnTo>
                    <a:pt x="2512" y="1369"/>
                  </a:lnTo>
                  <a:lnTo>
                    <a:pt x="2536" y="1361"/>
                  </a:lnTo>
                  <a:lnTo>
                    <a:pt x="2570" y="1354"/>
                  </a:lnTo>
                  <a:lnTo>
                    <a:pt x="2610" y="1352"/>
                  </a:lnTo>
                  <a:lnTo>
                    <a:pt x="2673" y="1355"/>
                  </a:lnTo>
                  <a:lnTo>
                    <a:pt x="2728" y="1362"/>
                  </a:lnTo>
                  <a:lnTo>
                    <a:pt x="2777" y="1373"/>
                  </a:lnTo>
                  <a:lnTo>
                    <a:pt x="2817" y="1385"/>
                  </a:lnTo>
                  <a:lnTo>
                    <a:pt x="2852" y="1398"/>
                  </a:lnTo>
                  <a:lnTo>
                    <a:pt x="2878" y="1408"/>
                  </a:lnTo>
                  <a:lnTo>
                    <a:pt x="2935" y="1192"/>
                  </a:lnTo>
                  <a:lnTo>
                    <a:pt x="2901" y="1178"/>
                  </a:lnTo>
                  <a:lnTo>
                    <a:pt x="2864" y="1168"/>
                  </a:lnTo>
                  <a:lnTo>
                    <a:pt x="2822" y="1157"/>
                  </a:lnTo>
                  <a:lnTo>
                    <a:pt x="2775" y="1148"/>
                  </a:lnTo>
                  <a:lnTo>
                    <a:pt x="2722" y="1143"/>
                  </a:lnTo>
                  <a:lnTo>
                    <a:pt x="2664" y="1139"/>
                  </a:lnTo>
                  <a:lnTo>
                    <a:pt x="2664" y="1001"/>
                  </a:lnTo>
                  <a:lnTo>
                    <a:pt x="2464" y="1001"/>
                  </a:lnTo>
                  <a:close/>
                  <a:moveTo>
                    <a:pt x="2570" y="557"/>
                  </a:moveTo>
                  <a:lnTo>
                    <a:pt x="2668" y="562"/>
                  </a:lnTo>
                  <a:lnTo>
                    <a:pt x="2764" y="578"/>
                  </a:lnTo>
                  <a:lnTo>
                    <a:pt x="2856" y="606"/>
                  </a:lnTo>
                  <a:lnTo>
                    <a:pt x="2945" y="643"/>
                  </a:lnTo>
                  <a:lnTo>
                    <a:pt x="3029" y="690"/>
                  </a:lnTo>
                  <a:lnTo>
                    <a:pt x="3108" y="744"/>
                  </a:lnTo>
                  <a:lnTo>
                    <a:pt x="3182" y="809"/>
                  </a:lnTo>
                  <a:lnTo>
                    <a:pt x="3251" y="880"/>
                  </a:lnTo>
                  <a:lnTo>
                    <a:pt x="3314" y="959"/>
                  </a:lnTo>
                  <a:lnTo>
                    <a:pt x="3368" y="1045"/>
                  </a:lnTo>
                  <a:lnTo>
                    <a:pt x="3417" y="1136"/>
                  </a:lnTo>
                  <a:lnTo>
                    <a:pt x="3458" y="1233"/>
                  </a:lnTo>
                  <a:lnTo>
                    <a:pt x="3491" y="1334"/>
                  </a:lnTo>
                  <a:lnTo>
                    <a:pt x="3514" y="1440"/>
                  </a:lnTo>
                  <a:lnTo>
                    <a:pt x="3528" y="1550"/>
                  </a:lnTo>
                  <a:lnTo>
                    <a:pt x="3533" y="1663"/>
                  </a:lnTo>
                  <a:lnTo>
                    <a:pt x="3528" y="1777"/>
                  </a:lnTo>
                  <a:lnTo>
                    <a:pt x="3514" y="1886"/>
                  </a:lnTo>
                  <a:lnTo>
                    <a:pt x="3491" y="1993"/>
                  </a:lnTo>
                  <a:lnTo>
                    <a:pt x="3458" y="2093"/>
                  </a:lnTo>
                  <a:lnTo>
                    <a:pt x="3417" y="2191"/>
                  </a:lnTo>
                  <a:lnTo>
                    <a:pt x="3370" y="2282"/>
                  </a:lnTo>
                  <a:lnTo>
                    <a:pt x="3314" y="2367"/>
                  </a:lnTo>
                  <a:lnTo>
                    <a:pt x="3251" y="2446"/>
                  </a:lnTo>
                  <a:lnTo>
                    <a:pt x="3182" y="2516"/>
                  </a:lnTo>
                  <a:lnTo>
                    <a:pt x="3108" y="2581"/>
                  </a:lnTo>
                  <a:lnTo>
                    <a:pt x="3029" y="2635"/>
                  </a:lnTo>
                  <a:lnTo>
                    <a:pt x="2945" y="2683"/>
                  </a:lnTo>
                  <a:lnTo>
                    <a:pt x="2856" y="2720"/>
                  </a:lnTo>
                  <a:lnTo>
                    <a:pt x="2764" y="2748"/>
                  </a:lnTo>
                  <a:lnTo>
                    <a:pt x="2668" y="2763"/>
                  </a:lnTo>
                  <a:lnTo>
                    <a:pt x="2570" y="2769"/>
                  </a:lnTo>
                  <a:lnTo>
                    <a:pt x="2471" y="2763"/>
                  </a:lnTo>
                  <a:lnTo>
                    <a:pt x="2375" y="2748"/>
                  </a:lnTo>
                  <a:lnTo>
                    <a:pt x="2282" y="2720"/>
                  </a:lnTo>
                  <a:lnTo>
                    <a:pt x="2194" y="2683"/>
                  </a:lnTo>
                  <a:lnTo>
                    <a:pt x="2110" y="2635"/>
                  </a:lnTo>
                  <a:lnTo>
                    <a:pt x="2029" y="2581"/>
                  </a:lnTo>
                  <a:lnTo>
                    <a:pt x="1955" y="2516"/>
                  </a:lnTo>
                  <a:lnTo>
                    <a:pt x="1887" y="2446"/>
                  </a:lnTo>
                  <a:lnTo>
                    <a:pt x="1825" y="2367"/>
                  </a:lnTo>
                  <a:lnTo>
                    <a:pt x="1769" y="2282"/>
                  </a:lnTo>
                  <a:lnTo>
                    <a:pt x="1720" y="2191"/>
                  </a:lnTo>
                  <a:lnTo>
                    <a:pt x="1680" y="2093"/>
                  </a:lnTo>
                  <a:lnTo>
                    <a:pt x="1648" y="1993"/>
                  </a:lnTo>
                  <a:lnTo>
                    <a:pt x="1624" y="1886"/>
                  </a:lnTo>
                  <a:lnTo>
                    <a:pt x="1609" y="1777"/>
                  </a:lnTo>
                  <a:lnTo>
                    <a:pt x="1604" y="1663"/>
                  </a:lnTo>
                  <a:lnTo>
                    <a:pt x="1609" y="1550"/>
                  </a:lnTo>
                  <a:lnTo>
                    <a:pt x="1624" y="1440"/>
                  </a:lnTo>
                  <a:lnTo>
                    <a:pt x="1648" y="1334"/>
                  </a:lnTo>
                  <a:lnTo>
                    <a:pt x="1680" y="1233"/>
                  </a:lnTo>
                  <a:lnTo>
                    <a:pt x="1720" y="1136"/>
                  </a:lnTo>
                  <a:lnTo>
                    <a:pt x="1769" y="1045"/>
                  </a:lnTo>
                  <a:lnTo>
                    <a:pt x="1825" y="959"/>
                  </a:lnTo>
                  <a:lnTo>
                    <a:pt x="1887" y="880"/>
                  </a:lnTo>
                  <a:lnTo>
                    <a:pt x="1955" y="809"/>
                  </a:lnTo>
                  <a:lnTo>
                    <a:pt x="2029" y="744"/>
                  </a:lnTo>
                  <a:lnTo>
                    <a:pt x="2110" y="690"/>
                  </a:lnTo>
                  <a:lnTo>
                    <a:pt x="2194" y="643"/>
                  </a:lnTo>
                  <a:lnTo>
                    <a:pt x="2282" y="606"/>
                  </a:lnTo>
                  <a:lnTo>
                    <a:pt x="2375" y="578"/>
                  </a:lnTo>
                  <a:lnTo>
                    <a:pt x="2471" y="562"/>
                  </a:lnTo>
                  <a:lnTo>
                    <a:pt x="2570" y="557"/>
                  </a:lnTo>
                  <a:close/>
                  <a:moveTo>
                    <a:pt x="176" y="0"/>
                  </a:moveTo>
                  <a:lnTo>
                    <a:pt x="4962" y="0"/>
                  </a:lnTo>
                  <a:lnTo>
                    <a:pt x="5002" y="5"/>
                  </a:lnTo>
                  <a:lnTo>
                    <a:pt x="5039" y="18"/>
                  </a:lnTo>
                  <a:lnTo>
                    <a:pt x="5072" y="39"/>
                  </a:lnTo>
                  <a:lnTo>
                    <a:pt x="5100" y="67"/>
                  </a:lnTo>
                  <a:lnTo>
                    <a:pt x="5120" y="100"/>
                  </a:lnTo>
                  <a:lnTo>
                    <a:pt x="5134" y="139"/>
                  </a:lnTo>
                  <a:lnTo>
                    <a:pt x="5139" y="179"/>
                  </a:lnTo>
                  <a:lnTo>
                    <a:pt x="5139" y="1975"/>
                  </a:lnTo>
                  <a:lnTo>
                    <a:pt x="4821" y="1975"/>
                  </a:lnTo>
                  <a:lnTo>
                    <a:pt x="4821" y="830"/>
                  </a:lnTo>
                  <a:lnTo>
                    <a:pt x="4748" y="811"/>
                  </a:lnTo>
                  <a:lnTo>
                    <a:pt x="4677" y="783"/>
                  </a:lnTo>
                  <a:lnTo>
                    <a:pt x="4613" y="748"/>
                  </a:lnTo>
                  <a:lnTo>
                    <a:pt x="4551" y="704"/>
                  </a:lnTo>
                  <a:lnTo>
                    <a:pt x="4497" y="655"/>
                  </a:lnTo>
                  <a:lnTo>
                    <a:pt x="4448" y="599"/>
                  </a:lnTo>
                  <a:lnTo>
                    <a:pt x="4405" y="536"/>
                  </a:lnTo>
                  <a:lnTo>
                    <a:pt x="4372" y="469"/>
                  </a:lnTo>
                  <a:lnTo>
                    <a:pt x="4344" y="397"/>
                  </a:lnTo>
                  <a:lnTo>
                    <a:pt x="4326" y="321"/>
                  </a:lnTo>
                  <a:lnTo>
                    <a:pt x="806" y="321"/>
                  </a:lnTo>
                  <a:lnTo>
                    <a:pt x="786" y="397"/>
                  </a:lnTo>
                  <a:lnTo>
                    <a:pt x="760" y="467"/>
                  </a:lnTo>
                  <a:lnTo>
                    <a:pt x="727" y="534"/>
                  </a:lnTo>
                  <a:lnTo>
                    <a:pt x="685" y="595"/>
                  </a:lnTo>
                  <a:lnTo>
                    <a:pt x="637" y="653"/>
                  </a:lnTo>
                  <a:lnTo>
                    <a:pt x="583" y="702"/>
                  </a:lnTo>
                  <a:lnTo>
                    <a:pt x="523" y="746"/>
                  </a:lnTo>
                  <a:lnTo>
                    <a:pt x="458" y="781"/>
                  </a:lnTo>
                  <a:lnTo>
                    <a:pt x="390" y="809"/>
                  </a:lnTo>
                  <a:lnTo>
                    <a:pt x="316" y="830"/>
                  </a:lnTo>
                  <a:lnTo>
                    <a:pt x="316" y="2542"/>
                  </a:lnTo>
                  <a:lnTo>
                    <a:pt x="388" y="2562"/>
                  </a:lnTo>
                  <a:lnTo>
                    <a:pt x="456" y="2590"/>
                  </a:lnTo>
                  <a:lnTo>
                    <a:pt x="520" y="2625"/>
                  </a:lnTo>
                  <a:lnTo>
                    <a:pt x="579" y="2667"/>
                  </a:lnTo>
                  <a:lnTo>
                    <a:pt x="634" y="2716"/>
                  </a:lnTo>
                  <a:lnTo>
                    <a:pt x="681" y="2771"/>
                  </a:lnTo>
                  <a:lnTo>
                    <a:pt x="723" y="2830"/>
                  </a:lnTo>
                  <a:lnTo>
                    <a:pt x="758" y="2897"/>
                  </a:lnTo>
                  <a:lnTo>
                    <a:pt x="785" y="2965"/>
                  </a:lnTo>
                  <a:lnTo>
                    <a:pt x="804" y="3039"/>
                  </a:lnTo>
                  <a:lnTo>
                    <a:pt x="3779" y="3039"/>
                  </a:lnTo>
                  <a:lnTo>
                    <a:pt x="3756" y="3081"/>
                  </a:lnTo>
                  <a:lnTo>
                    <a:pt x="3738" y="3129"/>
                  </a:lnTo>
                  <a:lnTo>
                    <a:pt x="3728" y="3178"/>
                  </a:lnTo>
                  <a:lnTo>
                    <a:pt x="3724" y="3229"/>
                  </a:lnTo>
                  <a:lnTo>
                    <a:pt x="3726" y="3274"/>
                  </a:lnTo>
                  <a:lnTo>
                    <a:pt x="3735" y="3318"/>
                  </a:lnTo>
                  <a:lnTo>
                    <a:pt x="3749" y="3360"/>
                  </a:lnTo>
                  <a:lnTo>
                    <a:pt x="176" y="3360"/>
                  </a:lnTo>
                  <a:lnTo>
                    <a:pt x="135" y="3355"/>
                  </a:lnTo>
                  <a:lnTo>
                    <a:pt x="98" y="3343"/>
                  </a:lnTo>
                  <a:lnTo>
                    <a:pt x="65" y="3322"/>
                  </a:lnTo>
                  <a:lnTo>
                    <a:pt x="39" y="3294"/>
                  </a:lnTo>
                  <a:lnTo>
                    <a:pt x="18" y="3260"/>
                  </a:lnTo>
                  <a:lnTo>
                    <a:pt x="5" y="3223"/>
                  </a:lnTo>
                  <a:lnTo>
                    <a:pt x="0" y="3181"/>
                  </a:lnTo>
                  <a:lnTo>
                    <a:pt x="0" y="179"/>
                  </a:lnTo>
                  <a:lnTo>
                    <a:pt x="5" y="139"/>
                  </a:lnTo>
                  <a:lnTo>
                    <a:pt x="18" y="100"/>
                  </a:lnTo>
                  <a:lnTo>
                    <a:pt x="39" y="67"/>
                  </a:lnTo>
                  <a:lnTo>
                    <a:pt x="65" y="39"/>
                  </a:lnTo>
                  <a:lnTo>
                    <a:pt x="98" y="18"/>
                  </a:lnTo>
                  <a:lnTo>
                    <a:pt x="135" y="5"/>
                  </a:lnTo>
                  <a:lnTo>
                    <a:pt x="176"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3" name="Freeform 31"/>
            <p:cNvSpPr>
              <a:spLocks noChangeAspect="1" noEditPoints="1"/>
            </p:cNvSpPr>
            <p:nvPr/>
          </p:nvSpPr>
          <p:spPr bwMode="auto">
            <a:xfrm>
              <a:off x="3508404" y="1690826"/>
              <a:ext cx="849934" cy="484175"/>
            </a:xfrm>
            <a:custGeom>
              <a:avLst/>
              <a:gdLst>
                <a:gd name="T0" fmla="*/ 5743 w 5783"/>
                <a:gd name="T1" fmla="*/ 3160 h 3385"/>
                <a:gd name="T2" fmla="*/ 5671 w 5783"/>
                <a:gd name="T3" fmla="*/ 3369 h 3385"/>
                <a:gd name="T4" fmla="*/ 3949 w 5783"/>
                <a:gd name="T5" fmla="*/ 3327 h 3385"/>
                <a:gd name="T6" fmla="*/ 3974 w 5783"/>
                <a:gd name="T7" fmla="*/ 3106 h 3385"/>
                <a:gd name="T8" fmla="*/ 5631 w 5783"/>
                <a:gd name="T9" fmla="*/ 2637 h 3385"/>
                <a:gd name="T10" fmla="*/ 5702 w 5783"/>
                <a:gd name="T11" fmla="*/ 2848 h 3385"/>
                <a:gd name="T12" fmla="*/ 3995 w 5783"/>
                <a:gd name="T13" fmla="*/ 2930 h 3385"/>
                <a:gd name="T14" fmla="*/ 3879 w 5783"/>
                <a:gd name="T15" fmla="*/ 2742 h 3385"/>
                <a:gd name="T16" fmla="*/ 4097 w 5783"/>
                <a:gd name="T17" fmla="*/ 2172 h 3385"/>
                <a:gd name="T18" fmla="*/ 5780 w 5783"/>
                <a:gd name="T19" fmla="*/ 2293 h 3385"/>
                <a:gd name="T20" fmla="*/ 5666 w 5783"/>
                <a:gd name="T21" fmla="*/ 2483 h 3385"/>
                <a:gd name="T22" fmla="*/ 3958 w 5783"/>
                <a:gd name="T23" fmla="*/ 2398 h 3385"/>
                <a:gd name="T24" fmla="*/ 4028 w 5783"/>
                <a:gd name="T25" fmla="*/ 2188 h 3385"/>
                <a:gd name="T26" fmla="*/ 4330 w 5783"/>
                <a:gd name="T27" fmla="*/ 1434 h 3385"/>
                <a:gd name="T28" fmla="*/ 4416 w 5783"/>
                <a:gd name="T29" fmla="*/ 1766 h 3385"/>
                <a:gd name="T30" fmla="*/ 4140 w 5783"/>
                <a:gd name="T31" fmla="*/ 1961 h 3385"/>
                <a:gd name="T32" fmla="*/ 3867 w 5783"/>
                <a:gd name="T33" fmla="*/ 1766 h 3385"/>
                <a:gd name="T34" fmla="*/ 3953 w 5783"/>
                <a:gd name="T35" fmla="*/ 1434 h 3385"/>
                <a:gd name="T36" fmla="*/ 1099 w 5783"/>
                <a:gd name="T37" fmla="*/ 1384 h 3385"/>
                <a:gd name="T38" fmla="*/ 1290 w 5783"/>
                <a:gd name="T39" fmla="*/ 1663 h 3385"/>
                <a:gd name="T40" fmla="*/ 1099 w 5783"/>
                <a:gd name="T41" fmla="*/ 1942 h 3385"/>
                <a:gd name="T42" fmla="*/ 772 w 5783"/>
                <a:gd name="T43" fmla="*/ 1854 h 3385"/>
                <a:gd name="T44" fmla="*/ 744 w 5783"/>
                <a:gd name="T45" fmla="*/ 1512 h 3385"/>
                <a:gd name="T46" fmla="*/ 2464 w 5783"/>
                <a:gd name="T47" fmla="*/ 1001 h 3385"/>
                <a:gd name="T48" fmla="*/ 2185 w 5783"/>
                <a:gd name="T49" fmla="*/ 1319 h 3385"/>
                <a:gd name="T50" fmla="*/ 2210 w 5783"/>
                <a:gd name="T51" fmla="*/ 1617 h 3385"/>
                <a:gd name="T52" fmla="*/ 2531 w 5783"/>
                <a:gd name="T53" fmla="*/ 1775 h 3385"/>
                <a:gd name="T54" fmla="*/ 2661 w 5783"/>
                <a:gd name="T55" fmla="*/ 1898 h 3385"/>
                <a:gd name="T56" fmla="*/ 2438 w 5783"/>
                <a:gd name="T57" fmla="*/ 1949 h 3385"/>
                <a:gd name="T58" fmla="*/ 2243 w 5783"/>
                <a:gd name="T59" fmla="*/ 2142 h 3385"/>
                <a:gd name="T60" fmla="*/ 2726 w 5783"/>
                <a:gd name="T61" fmla="*/ 2145 h 3385"/>
                <a:gd name="T62" fmla="*/ 2986 w 5783"/>
                <a:gd name="T63" fmla="*/ 1900 h 3385"/>
                <a:gd name="T64" fmla="*/ 2863 w 5783"/>
                <a:gd name="T65" fmla="*/ 1619 h 3385"/>
                <a:gd name="T66" fmla="*/ 2508 w 5783"/>
                <a:gd name="T67" fmla="*/ 1471 h 3385"/>
                <a:gd name="T68" fmla="*/ 2512 w 5783"/>
                <a:gd name="T69" fmla="*/ 1369 h 3385"/>
                <a:gd name="T70" fmla="*/ 2817 w 5783"/>
                <a:gd name="T71" fmla="*/ 1385 h 3385"/>
                <a:gd name="T72" fmla="*/ 2775 w 5783"/>
                <a:gd name="T73" fmla="*/ 1148 h 3385"/>
                <a:gd name="T74" fmla="*/ 2764 w 5783"/>
                <a:gd name="T75" fmla="*/ 578 h 3385"/>
                <a:gd name="T76" fmla="*/ 3314 w 5783"/>
                <a:gd name="T77" fmla="*/ 959 h 3385"/>
                <a:gd name="T78" fmla="*/ 3533 w 5783"/>
                <a:gd name="T79" fmla="*/ 1663 h 3385"/>
                <a:gd name="T80" fmla="*/ 3314 w 5783"/>
                <a:gd name="T81" fmla="*/ 2367 h 3385"/>
                <a:gd name="T82" fmla="*/ 2764 w 5783"/>
                <a:gd name="T83" fmla="*/ 2748 h 3385"/>
                <a:gd name="T84" fmla="*/ 2110 w 5783"/>
                <a:gd name="T85" fmla="*/ 2635 h 3385"/>
                <a:gd name="T86" fmla="*/ 1680 w 5783"/>
                <a:gd name="T87" fmla="*/ 2093 h 3385"/>
                <a:gd name="T88" fmla="*/ 1648 w 5783"/>
                <a:gd name="T89" fmla="*/ 1334 h 3385"/>
                <a:gd name="T90" fmla="*/ 2029 w 5783"/>
                <a:gd name="T91" fmla="*/ 744 h 3385"/>
                <a:gd name="T92" fmla="*/ 176 w 5783"/>
                <a:gd name="T93" fmla="*/ 0 h 3385"/>
                <a:gd name="T94" fmla="*/ 5134 w 5783"/>
                <a:gd name="T95" fmla="*/ 139 h 3385"/>
                <a:gd name="T96" fmla="*/ 4613 w 5783"/>
                <a:gd name="T97" fmla="*/ 748 h 3385"/>
                <a:gd name="T98" fmla="*/ 4326 w 5783"/>
                <a:gd name="T99" fmla="*/ 321 h 3385"/>
                <a:gd name="T100" fmla="*/ 583 w 5783"/>
                <a:gd name="T101" fmla="*/ 702 h 3385"/>
                <a:gd name="T102" fmla="*/ 456 w 5783"/>
                <a:gd name="T103" fmla="*/ 2590 h 3385"/>
                <a:gd name="T104" fmla="*/ 785 w 5783"/>
                <a:gd name="T105" fmla="*/ 2965 h 3385"/>
                <a:gd name="T106" fmla="*/ 3726 w 5783"/>
                <a:gd name="T107" fmla="*/ 3274 h 3385"/>
                <a:gd name="T108" fmla="*/ 39 w 5783"/>
                <a:gd name="T109" fmla="*/ 3294 h 3385"/>
                <a:gd name="T110" fmla="*/ 39 w 5783"/>
                <a:gd name="T111" fmla="*/ 67 h 3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783" h="3385">
                  <a:moveTo>
                    <a:pt x="4070" y="3072"/>
                  </a:moveTo>
                  <a:lnTo>
                    <a:pt x="5604" y="3072"/>
                  </a:lnTo>
                  <a:lnTo>
                    <a:pt x="5639" y="3076"/>
                  </a:lnTo>
                  <a:lnTo>
                    <a:pt x="5671" y="3088"/>
                  </a:lnTo>
                  <a:lnTo>
                    <a:pt x="5701" y="3106"/>
                  </a:lnTo>
                  <a:lnTo>
                    <a:pt x="5724" y="3130"/>
                  </a:lnTo>
                  <a:lnTo>
                    <a:pt x="5743" y="3160"/>
                  </a:lnTo>
                  <a:lnTo>
                    <a:pt x="5753" y="3194"/>
                  </a:lnTo>
                  <a:lnTo>
                    <a:pt x="5759" y="3229"/>
                  </a:lnTo>
                  <a:lnTo>
                    <a:pt x="5753" y="3266"/>
                  </a:lnTo>
                  <a:lnTo>
                    <a:pt x="5743" y="3297"/>
                  </a:lnTo>
                  <a:lnTo>
                    <a:pt x="5724" y="3327"/>
                  </a:lnTo>
                  <a:lnTo>
                    <a:pt x="5701" y="3352"/>
                  </a:lnTo>
                  <a:lnTo>
                    <a:pt x="5671" y="3369"/>
                  </a:lnTo>
                  <a:lnTo>
                    <a:pt x="5639" y="3381"/>
                  </a:lnTo>
                  <a:lnTo>
                    <a:pt x="5604" y="3385"/>
                  </a:lnTo>
                  <a:lnTo>
                    <a:pt x="4070" y="3385"/>
                  </a:lnTo>
                  <a:lnTo>
                    <a:pt x="4035" y="3381"/>
                  </a:lnTo>
                  <a:lnTo>
                    <a:pt x="4002" y="3369"/>
                  </a:lnTo>
                  <a:lnTo>
                    <a:pt x="3974" y="3352"/>
                  </a:lnTo>
                  <a:lnTo>
                    <a:pt x="3949" y="3327"/>
                  </a:lnTo>
                  <a:lnTo>
                    <a:pt x="3932" y="3297"/>
                  </a:lnTo>
                  <a:lnTo>
                    <a:pt x="3919" y="3266"/>
                  </a:lnTo>
                  <a:lnTo>
                    <a:pt x="3916" y="3229"/>
                  </a:lnTo>
                  <a:lnTo>
                    <a:pt x="3919" y="3194"/>
                  </a:lnTo>
                  <a:lnTo>
                    <a:pt x="3932" y="3160"/>
                  </a:lnTo>
                  <a:lnTo>
                    <a:pt x="3949" y="3130"/>
                  </a:lnTo>
                  <a:lnTo>
                    <a:pt x="3974" y="3106"/>
                  </a:lnTo>
                  <a:lnTo>
                    <a:pt x="4002" y="3088"/>
                  </a:lnTo>
                  <a:lnTo>
                    <a:pt x="4035" y="3076"/>
                  </a:lnTo>
                  <a:lnTo>
                    <a:pt x="4070" y="3072"/>
                  </a:lnTo>
                  <a:close/>
                  <a:moveTo>
                    <a:pt x="4030" y="2621"/>
                  </a:moveTo>
                  <a:lnTo>
                    <a:pt x="5562" y="2621"/>
                  </a:lnTo>
                  <a:lnTo>
                    <a:pt x="5599" y="2625"/>
                  </a:lnTo>
                  <a:lnTo>
                    <a:pt x="5631" y="2637"/>
                  </a:lnTo>
                  <a:lnTo>
                    <a:pt x="5660" y="2656"/>
                  </a:lnTo>
                  <a:lnTo>
                    <a:pt x="5683" y="2679"/>
                  </a:lnTo>
                  <a:lnTo>
                    <a:pt x="5702" y="2709"/>
                  </a:lnTo>
                  <a:lnTo>
                    <a:pt x="5713" y="2742"/>
                  </a:lnTo>
                  <a:lnTo>
                    <a:pt x="5718" y="2778"/>
                  </a:lnTo>
                  <a:lnTo>
                    <a:pt x="5713" y="2814"/>
                  </a:lnTo>
                  <a:lnTo>
                    <a:pt x="5702" y="2848"/>
                  </a:lnTo>
                  <a:lnTo>
                    <a:pt x="5683" y="2876"/>
                  </a:lnTo>
                  <a:lnTo>
                    <a:pt x="5660" y="2900"/>
                  </a:lnTo>
                  <a:lnTo>
                    <a:pt x="5631" y="2920"/>
                  </a:lnTo>
                  <a:lnTo>
                    <a:pt x="5599" y="2930"/>
                  </a:lnTo>
                  <a:lnTo>
                    <a:pt x="5562" y="2936"/>
                  </a:lnTo>
                  <a:lnTo>
                    <a:pt x="4030" y="2936"/>
                  </a:lnTo>
                  <a:lnTo>
                    <a:pt x="3995" y="2930"/>
                  </a:lnTo>
                  <a:lnTo>
                    <a:pt x="3961" y="2920"/>
                  </a:lnTo>
                  <a:lnTo>
                    <a:pt x="3933" y="2900"/>
                  </a:lnTo>
                  <a:lnTo>
                    <a:pt x="3909" y="2876"/>
                  </a:lnTo>
                  <a:lnTo>
                    <a:pt x="3891" y="2848"/>
                  </a:lnTo>
                  <a:lnTo>
                    <a:pt x="3879" y="2814"/>
                  </a:lnTo>
                  <a:lnTo>
                    <a:pt x="3875" y="2778"/>
                  </a:lnTo>
                  <a:lnTo>
                    <a:pt x="3879" y="2742"/>
                  </a:lnTo>
                  <a:lnTo>
                    <a:pt x="3891" y="2709"/>
                  </a:lnTo>
                  <a:lnTo>
                    <a:pt x="3909" y="2679"/>
                  </a:lnTo>
                  <a:lnTo>
                    <a:pt x="3933" y="2656"/>
                  </a:lnTo>
                  <a:lnTo>
                    <a:pt x="3961" y="2637"/>
                  </a:lnTo>
                  <a:lnTo>
                    <a:pt x="3995" y="2625"/>
                  </a:lnTo>
                  <a:lnTo>
                    <a:pt x="4030" y="2621"/>
                  </a:lnTo>
                  <a:close/>
                  <a:moveTo>
                    <a:pt x="4097" y="2172"/>
                  </a:moveTo>
                  <a:lnTo>
                    <a:pt x="5629" y="2172"/>
                  </a:lnTo>
                  <a:lnTo>
                    <a:pt x="5666" y="2177"/>
                  </a:lnTo>
                  <a:lnTo>
                    <a:pt x="5697" y="2188"/>
                  </a:lnTo>
                  <a:lnTo>
                    <a:pt x="5725" y="2207"/>
                  </a:lnTo>
                  <a:lnTo>
                    <a:pt x="5750" y="2232"/>
                  </a:lnTo>
                  <a:lnTo>
                    <a:pt x="5767" y="2260"/>
                  </a:lnTo>
                  <a:lnTo>
                    <a:pt x="5780" y="2293"/>
                  </a:lnTo>
                  <a:lnTo>
                    <a:pt x="5783" y="2328"/>
                  </a:lnTo>
                  <a:lnTo>
                    <a:pt x="5780" y="2365"/>
                  </a:lnTo>
                  <a:lnTo>
                    <a:pt x="5767" y="2398"/>
                  </a:lnTo>
                  <a:lnTo>
                    <a:pt x="5750" y="2428"/>
                  </a:lnTo>
                  <a:lnTo>
                    <a:pt x="5725" y="2451"/>
                  </a:lnTo>
                  <a:lnTo>
                    <a:pt x="5697" y="2470"/>
                  </a:lnTo>
                  <a:lnTo>
                    <a:pt x="5666" y="2483"/>
                  </a:lnTo>
                  <a:lnTo>
                    <a:pt x="5629" y="2486"/>
                  </a:lnTo>
                  <a:lnTo>
                    <a:pt x="4097" y="2486"/>
                  </a:lnTo>
                  <a:lnTo>
                    <a:pt x="4061" y="2483"/>
                  </a:lnTo>
                  <a:lnTo>
                    <a:pt x="4028" y="2470"/>
                  </a:lnTo>
                  <a:lnTo>
                    <a:pt x="4000" y="2451"/>
                  </a:lnTo>
                  <a:lnTo>
                    <a:pt x="3975" y="2428"/>
                  </a:lnTo>
                  <a:lnTo>
                    <a:pt x="3958" y="2398"/>
                  </a:lnTo>
                  <a:lnTo>
                    <a:pt x="3946" y="2365"/>
                  </a:lnTo>
                  <a:lnTo>
                    <a:pt x="3942" y="2328"/>
                  </a:lnTo>
                  <a:lnTo>
                    <a:pt x="3946" y="2293"/>
                  </a:lnTo>
                  <a:lnTo>
                    <a:pt x="3958" y="2260"/>
                  </a:lnTo>
                  <a:lnTo>
                    <a:pt x="3975" y="2232"/>
                  </a:lnTo>
                  <a:lnTo>
                    <a:pt x="4000" y="2207"/>
                  </a:lnTo>
                  <a:lnTo>
                    <a:pt x="4028" y="2188"/>
                  </a:lnTo>
                  <a:lnTo>
                    <a:pt x="4061" y="2177"/>
                  </a:lnTo>
                  <a:lnTo>
                    <a:pt x="4097" y="2172"/>
                  </a:lnTo>
                  <a:close/>
                  <a:moveTo>
                    <a:pt x="4140" y="1364"/>
                  </a:moveTo>
                  <a:lnTo>
                    <a:pt x="4193" y="1369"/>
                  </a:lnTo>
                  <a:lnTo>
                    <a:pt x="4244" y="1384"/>
                  </a:lnTo>
                  <a:lnTo>
                    <a:pt x="4290" y="1406"/>
                  </a:lnTo>
                  <a:lnTo>
                    <a:pt x="4330" y="1434"/>
                  </a:lnTo>
                  <a:lnTo>
                    <a:pt x="4365" y="1471"/>
                  </a:lnTo>
                  <a:lnTo>
                    <a:pt x="4395" y="1512"/>
                  </a:lnTo>
                  <a:lnTo>
                    <a:pt x="4416" y="1559"/>
                  </a:lnTo>
                  <a:lnTo>
                    <a:pt x="4430" y="1610"/>
                  </a:lnTo>
                  <a:lnTo>
                    <a:pt x="4435" y="1663"/>
                  </a:lnTo>
                  <a:lnTo>
                    <a:pt x="4430" y="1717"/>
                  </a:lnTo>
                  <a:lnTo>
                    <a:pt x="4416" y="1766"/>
                  </a:lnTo>
                  <a:lnTo>
                    <a:pt x="4395" y="1814"/>
                  </a:lnTo>
                  <a:lnTo>
                    <a:pt x="4365" y="1854"/>
                  </a:lnTo>
                  <a:lnTo>
                    <a:pt x="4330" y="1891"/>
                  </a:lnTo>
                  <a:lnTo>
                    <a:pt x="4290" y="1921"/>
                  </a:lnTo>
                  <a:lnTo>
                    <a:pt x="4244" y="1942"/>
                  </a:lnTo>
                  <a:lnTo>
                    <a:pt x="4193" y="1956"/>
                  </a:lnTo>
                  <a:lnTo>
                    <a:pt x="4140" y="1961"/>
                  </a:lnTo>
                  <a:lnTo>
                    <a:pt x="4088" y="1956"/>
                  </a:lnTo>
                  <a:lnTo>
                    <a:pt x="4039" y="1942"/>
                  </a:lnTo>
                  <a:lnTo>
                    <a:pt x="3993" y="1921"/>
                  </a:lnTo>
                  <a:lnTo>
                    <a:pt x="3953" y="1891"/>
                  </a:lnTo>
                  <a:lnTo>
                    <a:pt x="3917" y="1854"/>
                  </a:lnTo>
                  <a:lnTo>
                    <a:pt x="3888" y="1814"/>
                  </a:lnTo>
                  <a:lnTo>
                    <a:pt x="3867" y="1766"/>
                  </a:lnTo>
                  <a:lnTo>
                    <a:pt x="3853" y="1717"/>
                  </a:lnTo>
                  <a:lnTo>
                    <a:pt x="3847" y="1663"/>
                  </a:lnTo>
                  <a:lnTo>
                    <a:pt x="3853" y="1610"/>
                  </a:lnTo>
                  <a:lnTo>
                    <a:pt x="3867" y="1559"/>
                  </a:lnTo>
                  <a:lnTo>
                    <a:pt x="3888" y="1512"/>
                  </a:lnTo>
                  <a:lnTo>
                    <a:pt x="3917" y="1471"/>
                  </a:lnTo>
                  <a:lnTo>
                    <a:pt x="3953" y="1434"/>
                  </a:lnTo>
                  <a:lnTo>
                    <a:pt x="3993" y="1406"/>
                  </a:lnTo>
                  <a:lnTo>
                    <a:pt x="4039" y="1384"/>
                  </a:lnTo>
                  <a:lnTo>
                    <a:pt x="4088" y="1369"/>
                  </a:lnTo>
                  <a:lnTo>
                    <a:pt x="4140" y="1364"/>
                  </a:lnTo>
                  <a:close/>
                  <a:moveTo>
                    <a:pt x="997" y="1364"/>
                  </a:moveTo>
                  <a:lnTo>
                    <a:pt x="1050" y="1369"/>
                  </a:lnTo>
                  <a:lnTo>
                    <a:pt x="1099" y="1384"/>
                  </a:lnTo>
                  <a:lnTo>
                    <a:pt x="1144" y="1406"/>
                  </a:lnTo>
                  <a:lnTo>
                    <a:pt x="1185" y="1434"/>
                  </a:lnTo>
                  <a:lnTo>
                    <a:pt x="1222" y="1471"/>
                  </a:lnTo>
                  <a:lnTo>
                    <a:pt x="1250" y="1512"/>
                  </a:lnTo>
                  <a:lnTo>
                    <a:pt x="1272" y="1559"/>
                  </a:lnTo>
                  <a:lnTo>
                    <a:pt x="1285" y="1610"/>
                  </a:lnTo>
                  <a:lnTo>
                    <a:pt x="1290" y="1663"/>
                  </a:lnTo>
                  <a:lnTo>
                    <a:pt x="1285" y="1717"/>
                  </a:lnTo>
                  <a:lnTo>
                    <a:pt x="1272" y="1766"/>
                  </a:lnTo>
                  <a:lnTo>
                    <a:pt x="1250" y="1814"/>
                  </a:lnTo>
                  <a:lnTo>
                    <a:pt x="1222" y="1854"/>
                  </a:lnTo>
                  <a:lnTo>
                    <a:pt x="1186" y="1891"/>
                  </a:lnTo>
                  <a:lnTo>
                    <a:pt x="1144" y="1921"/>
                  </a:lnTo>
                  <a:lnTo>
                    <a:pt x="1099" y="1942"/>
                  </a:lnTo>
                  <a:lnTo>
                    <a:pt x="1050" y="1956"/>
                  </a:lnTo>
                  <a:lnTo>
                    <a:pt x="997" y="1961"/>
                  </a:lnTo>
                  <a:lnTo>
                    <a:pt x="944" y="1956"/>
                  </a:lnTo>
                  <a:lnTo>
                    <a:pt x="895" y="1942"/>
                  </a:lnTo>
                  <a:lnTo>
                    <a:pt x="849" y="1921"/>
                  </a:lnTo>
                  <a:lnTo>
                    <a:pt x="807" y="1891"/>
                  </a:lnTo>
                  <a:lnTo>
                    <a:pt x="772" y="1854"/>
                  </a:lnTo>
                  <a:lnTo>
                    <a:pt x="744" y="1814"/>
                  </a:lnTo>
                  <a:lnTo>
                    <a:pt x="721" y="1766"/>
                  </a:lnTo>
                  <a:lnTo>
                    <a:pt x="709" y="1717"/>
                  </a:lnTo>
                  <a:lnTo>
                    <a:pt x="704" y="1663"/>
                  </a:lnTo>
                  <a:lnTo>
                    <a:pt x="709" y="1610"/>
                  </a:lnTo>
                  <a:lnTo>
                    <a:pt x="721" y="1559"/>
                  </a:lnTo>
                  <a:lnTo>
                    <a:pt x="744" y="1512"/>
                  </a:lnTo>
                  <a:lnTo>
                    <a:pt x="772" y="1471"/>
                  </a:lnTo>
                  <a:lnTo>
                    <a:pt x="807" y="1434"/>
                  </a:lnTo>
                  <a:lnTo>
                    <a:pt x="849" y="1406"/>
                  </a:lnTo>
                  <a:lnTo>
                    <a:pt x="895" y="1384"/>
                  </a:lnTo>
                  <a:lnTo>
                    <a:pt x="944" y="1369"/>
                  </a:lnTo>
                  <a:lnTo>
                    <a:pt x="997" y="1364"/>
                  </a:lnTo>
                  <a:close/>
                  <a:moveTo>
                    <a:pt x="2464" y="1001"/>
                  </a:moveTo>
                  <a:lnTo>
                    <a:pt x="2464" y="1154"/>
                  </a:lnTo>
                  <a:lnTo>
                    <a:pt x="2399" y="1168"/>
                  </a:lnTo>
                  <a:lnTo>
                    <a:pt x="2341" y="1189"/>
                  </a:lnTo>
                  <a:lnTo>
                    <a:pt x="2292" y="1215"/>
                  </a:lnTo>
                  <a:lnTo>
                    <a:pt x="2248" y="1245"/>
                  </a:lnTo>
                  <a:lnTo>
                    <a:pt x="2213" y="1280"/>
                  </a:lnTo>
                  <a:lnTo>
                    <a:pt x="2185" y="1319"/>
                  </a:lnTo>
                  <a:lnTo>
                    <a:pt x="2164" y="1361"/>
                  </a:lnTo>
                  <a:lnTo>
                    <a:pt x="2152" y="1406"/>
                  </a:lnTo>
                  <a:lnTo>
                    <a:pt x="2148" y="1455"/>
                  </a:lnTo>
                  <a:lnTo>
                    <a:pt x="2152" y="1501"/>
                  </a:lnTo>
                  <a:lnTo>
                    <a:pt x="2164" y="1545"/>
                  </a:lnTo>
                  <a:lnTo>
                    <a:pt x="2183" y="1582"/>
                  </a:lnTo>
                  <a:lnTo>
                    <a:pt x="2210" y="1617"/>
                  </a:lnTo>
                  <a:lnTo>
                    <a:pt x="2241" y="1647"/>
                  </a:lnTo>
                  <a:lnTo>
                    <a:pt x="2280" y="1675"/>
                  </a:lnTo>
                  <a:lnTo>
                    <a:pt x="2322" y="1700"/>
                  </a:lnTo>
                  <a:lnTo>
                    <a:pt x="2371" y="1721"/>
                  </a:lnTo>
                  <a:lnTo>
                    <a:pt x="2424" y="1742"/>
                  </a:lnTo>
                  <a:lnTo>
                    <a:pt x="2480" y="1759"/>
                  </a:lnTo>
                  <a:lnTo>
                    <a:pt x="2531" y="1775"/>
                  </a:lnTo>
                  <a:lnTo>
                    <a:pt x="2573" y="1791"/>
                  </a:lnTo>
                  <a:lnTo>
                    <a:pt x="2608" y="1805"/>
                  </a:lnTo>
                  <a:lnTo>
                    <a:pt x="2633" y="1821"/>
                  </a:lnTo>
                  <a:lnTo>
                    <a:pt x="2650" y="1838"/>
                  </a:lnTo>
                  <a:lnTo>
                    <a:pt x="2661" y="1858"/>
                  </a:lnTo>
                  <a:lnTo>
                    <a:pt x="2664" y="1877"/>
                  </a:lnTo>
                  <a:lnTo>
                    <a:pt x="2661" y="1898"/>
                  </a:lnTo>
                  <a:lnTo>
                    <a:pt x="2650" y="1915"/>
                  </a:lnTo>
                  <a:lnTo>
                    <a:pt x="2633" y="1930"/>
                  </a:lnTo>
                  <a:lnTo>
                    <a:pt x="2608" y="1940"/>
                  </a:lnTo>
                  <a:lnTo>
                    <a:pt x="2580" y="1947"/>
                  </a:lnTo>
                  <a:lnTo>
                    <a:pt x="2547" y="1951"/>
                  </a:lnTo>
                  <a:lnTo>
                    <a:pt x="2510" y="1952"/>
                  </a:lnTo>
                  <a:lnTo>
                    <a:pt x="2438" y="1949"/>
                  </a:lnTo>
                  <a:lnTo>
                    <a:pt x="2369" y="1938"/>
                  </a:lnTo>
                  <a:lnTo>
                    <a:pt x="2306" y="1921"/>
                  </a:lnTo>
                  <a:lnTo>
                    <a:pt x="2248" y="1901"/>
                  </a:lnTo>
                  <a:lnTo>
                    <a:pt x="2197" y="1880"/>
                  </a:lnTo>
                  <a:lnTo>
                    <a:pt x="2140" y="2105"/>
                  </a:lnTo>
                  <a:lnTo>
                    <a:pt x="2187" y="2124"/>
                  </a:lnTo>
                  <a:lnTo>
                    <a:pt x="2243" y="2142"/>
                  </a:lnTo>
                  <a:lnTo>
                    <a:pt x="2310" y="2158"/>
                  </a:lnTo>
                  <a:lnTo>
                    <a:pt x="2380" y="2168"/>
                  </a:lnTo>
                  <a:lnTo>
                    <a:pt x="2454" y="2175"/>
                  </a:lnTo>
                  <a:lnTo>
                    <a:pt x="2454" y="2326"/>
                  </a:lnTo>
                  <a:lnTo>
                    <a:pt x="2657" y="2326"/>
                  </a:lnTo>
                  <a:lnTo>
                    <a:pt x="2657" y="2161"/>
                  </a:lnTo>
                  <a:lnTo>
                    <a:pt x="2726" y="2145"/>
                  </a:lnTo>
                  <a:lnTo>
                    <a:pt x="2785" y="2124"/>
                  </a:lnTo>
                  <a:lnTo>
                    <a:pt x="2838" y="2098"/>
                  </a:lnTo>
                  <a:lnTo>
                    <a:pt x="2884" y="2066"/>
                  </a:lnTo>
                  <a:lnTo>
                    <a:pt x="2921" y="2030"/>
                  </a:lnTo>
                  <a:lnTo>
                    <a:pt x="2950" y="1989"/>
                  </a:lnTo>
                  <a:lnTo>
                    <a:pt x="2971" y="1945"/>
                  </a:lnTo>
                  <a:lnTo>
                    <a:pt x="2986" y="1900"/>
                  </a:lnTo>
                  <a:lnTo>
                    <a:pt x="2989" y="1851"/>
                  </a:lnTo>
                  <a:lnTo>
                    <a:pt x="2986" y="1803"/>
                  </a:lnTo>
                  <a:lnTo>
                    <a:pt x="2977" y="1759"/>
                  </a:lnTo>
                  <a:lnTo>
                    <a:pt x="2959" y="1719"/>
                  </a:lnTo>
                  <a:lnTo>
                    <a:pt x="2935" y="1684"/>
                  </a:lnTo>
                  <a:lnTo>
                    <a:pt x="2903" y="1649"/>
                  </a:lnTo>
                  <a:lnTo>
                    <a:pt x="2863" y="1619"/>
                  </a:lnTo>
                  <a:lnTo>
                    <a:pt x="2812" y="1591"/>
                  </a:lnTo>
                  <a:lnTo>
                    <a:pt x="2752" y="1564"/>
                  </a:lnTo>
                  <a:lnTo>
                    <a:pt x="2682" y="1542"/>
                  </a:lnTo>
                  <a:lnTo>
                    <a:pt x="2624" y="1522"/>
                  </a:lnTo>
                  <a:lnTo>
                    <a:pt x="2577" y="1505"/>
                  </a:lnTo>
                  <a:lnTo>
                    <a:pt x="2538" y="1487"/>
                  </a:lnTo>
                  <a:lnTo>
                    <a:pt x="2508" y="1471"/>
                  </a:lnTo>
                  <a:lnTo>
                    <a:pt x="2489" y="1455"/>
                  </a:lnTo>
                  <a:lnTo>
                    <a:pt x="2477" y="1440"/>
                  </a:lnTo>
                  <a:lnTo>
                    <a:pt x="2473" y="1422"/>
                  </a:lnTo>
                  <a:lnTo>
                    <a:pt x="2475" y="1408"/>
                  </a:lnTo>
                  <a:lnTo>
                    <a:pt x="2482" y="1392"/>
                  </a:lnTo>
                  <a:lnTo>
                    <a:pt x="2494" y="1380"/>
                  </a:lnTo>
                  <a:lnTo>
                    <a:pt x="2512" y="1369"/>
                  </a:lnTo>
                  <a:lnTo>
                    <a:pt x="2536" y="1361"/>
                  </a:lnTo>
                  <a:lnTo>
                    <a:pt x="2570" y="1354"/>
                  </a:lnTo>
                  <a:lnTo>
                    <a:pt x="2610" y="1352"/>
                  </a:lnTo>
                  <a:lnTo>
                    <a:pt x="2673" y="1355"/>
                  </a:lnTo>
                  <a:lnTo>
                    <a:pt x="2728" y="1362"/>
                  </a:lnTo>
                  <a:lnTo>
                    <a:pt x="2777" y="1373"/>
                  </a:lnTo>
                  <a:lnTo>
                    <a:pt x="2817" y="1385"/>
                  </a:lnTo>
                  <a:lnTo>
                    <a:pt x="2852" y="1398"/>
                  </a:lnTo>
                  <a:lnTo>
                    <a:pt x="2878" y="1408"/>
                  </a:lnTo>
                  <a:lnTo>
                    <a:pt x="2935" y="1192"/>
                  </a:lnTo>
                  <a:lnTo>
                    <a:pt x="2901" y="1178"/>
                  </a:lnTo>
                  <a:lnTo>
                    <a:pt x="2864" y="1168"/>
                  </a:lnTo>
                  <a:lnTo>
                    <a:pt x="2822" y="1157"/>
                  </a:lnTo>
                  <a:lnTo>
                    <a:pt x="2775" y="1148"/>
                  </a:lnTo>
                  <a:lnTo>
                    <a:pt x="2722" y="1143"/>
                  </a:lnTo>
                  <a:lnTo>
                    <a:pt x="2664" y="1139"/>
                  </a:lnTo>
                  <a:lnTo>
                    <a:pt x="2664" y="1001"/>
                  </a:lnTo>
                  <a:lnTo>
                    <a:pt x="2464" y="1001"/>
                  </a:lnTo>
                  <a:close/>
                  <a:moveTo>
                    <a:pt x="2570" y="557"/>
                  </a:moveTo>
                  <a:lnTo>
                    <a:pt x="2668" y="562"/>
                  </a:lnTo>
                  <a:lnTo>
                    <a:pt x="2764" y="578"/>
                  </a:lnTo>
                  <a:lnTo>
                    <a:pt x="2856" y="606"/>
                  </a:lnTo>
                  <a:lnTo>
                    <a:pt x="2945" y="643"/>
                  </a:lnTo>
                  <a:lnTo>
                    <a:pt x="3029" y="690"/>
                  </a:lnTo>
                  <a:lnTo>
                    <a:pt x="3108" y="744"/>
                  </a:lnTo>
                  <a:lnTo>
                    <a:pt x="3182" y="809"/>
                  </a:lnTo>
                  <a:lnTo>
                    <a:pt x="3251" y="880"/>
                  </a:lnTo>
                  <a:lnTo>
                    <a:pt x="3314" y="959"/>
                  </a:lnTo>
                  <a:lnTo>
                    <a:pt x="3368" y="1045"/>
                  </a:lnTo>
                  <a:lnTo>
                    <a:pt x="3417" y="1136"/>
                  </a:lnTo>
                  <a:lnTo>
                    <a:pt x="3458" y="1233"/>
                  </a:lnTo>
                  <a:lnTo>
                    <a:pt x="3491" y="1334"/>
                  </a:lnTo>
                  <a:lnTo>
                    <a:pt x="3514" y="1440"/>
                  </a:lnTo>
                  <a:lnTo>
                    <a:pt x="3528" y="1550"/>
                  </a:lnTo>
                  <a:lnTo>
                    <a:pt x="3533" y="1663"/>
                  </a:lnTo>
                  <a:lnTo>
                    <a:pt x="3528" y="1777"/>
                  </a:lnTo>
                  <a:lnTo>
                    <a:pt x="3514" y="1886"/>
                  </a:lnTo>
                  <a:lnTo>
                    <a:pt x="3491" y="1993"/>
                  </a:lnTo>
                  <a:lnTo>
                    <a:pt x="3458" y="2093"/>
                  </a:lnTo>
                  <a:lnTo>
                    <a:pt x="3417" y="2191"/>
                  </a:lnTo>
                  <a:lnTo>
                    <a:pt x="3370" y="2282"/>
                  </a:lnTo>
                  <a:lnTo>
                    <a:pt x="3314" y="2367"/>
                  </a:lnTo>
                  <a:lnTo>
                    <a:pt x="3251" y="2446"/>
                  </a:lnTo>
                  <a:lnTo>
                    <a:pt x="3182" y="2516"/>
                  </a:lnTo>
                  <a:lnTo>
                    <a:pt x="3108" y="2581"/>
                  </a:lnTo>
                  <a:lnTo>
                    <a:pt x="3029" y="2635"/>
                  </a:lnTo>
                  <a:lnTo>
                    <a:pt x="2945" y="2683"/>
                  </a:lnTo>
                  <a:lnTo>
                    <a:pt x="2856" y="2720"/>
                  </a:lnTo>
                  <a:lnTo>
                    <a:pt x="2764" y="2748"/>
                  </a:lnTo>
                  <a:lnTo>
                    <a:pt x="2668" y="2763"/>
                  </a:lnTo>
                  <a:lnTo>
                    <a:pt x="2570" y="2769"/>
                  </a:lnTo>
                  <a:lnTo>
                    <a:pt x="2471" y="2763"/>
                  </a:lnTo>
                  <a:lnTo>
                    <a:pt x="2375" y="2748"/>
                  </a:lnTo>
                  <a:lnTo>
                    <a:pt x="2282" y="2720"/>
                  </a:lnTo>
                  <a:lnTo>
                    <a:pt x="2194" y="2683"/>
                  </a:lnTo>
                  <a:lnTo>
                    <a:pt x="2110" y="2635"/>
                  </a:lnTo>
                  <a:lnTo>
                    <a:pt x="2029" y="2581"/>
                  </a:lnTo>
                  <a:lnTo>
                    <a:pt x="1955" y="2516"/>
                  </a:lnTo>
                  <a:lnTo>
                    <a:pt x="1887" y="2446"/>
                  </a:lnTo>
                  <a:lnTo>
                    <a:pt x="1825" y="2367"/>
                  </a:lnTo>
                  <a:lnTo>
                    <a:pt x="1769" y="2282"/>
                  </a:lnTo>
                  <a:lnTo>
                    <a:pt x="1720" y="2191"/>
                  </a:lnTo>
                  <a:lnTo>
                    <a:pt x="1680" y="2093"/>
                  </a:lnTo>
                  <a:lnTo>
                    <a:pt x="1648" y="1993"/>
                  </a:lnTo>
                  <a:lnTo>
                    <a:pt x="1624" y="1886"/>
                  </a:lnTo>
                  <a:lnTo>
                    <a:pt x="1609" y="1777"/>
                  </a:lnTo>
                  <a:lnTo>
                    <a:pt x="1604" y="1663"/>
                  </a:lnTo>
                  <a:lnTo>
                    <a:pt x="1609" y="1550"/>
                  </a:lnTo>
                  <a:lnTo>
                    <a:pt x="1624" y="1440"/>
                  </a:lnTo>
                  <a:lnTo>
                    <a:pt x="1648" y="1334"/>
                  </a:lnTo>
                  <a:lnTo>
                    <a:pt x="1680" y="1233"/>
                  </a:lnTo>
                  <a:lnTo>
                    <a:pt x="1720" y="1136"/>
                  </a:lnTo>
                  <a:lnTo>
                    <a:pt x="1769" y="1045"/>
                  </a:lnTo>
                  <a:lnTo>
                    <a:pt x="1825" y="959"/>
                  </a:lnTo>
                  <a:lnTo>
                    <a:pt x="1887" y="880"/>
                  </a:lnTo>
                  <a:lnTo>
                    <a:pt x="1955" y="809"/>
                  </a:lnTo>
                  <a:lnTo>
                    <a:pt x="2029" y="744"/>
                  </a:lnTo>
                  <a:lnTo>
                    <a:pt x="2110" y="690"/>
                  </a:lnTo>
                  <a:lnTo>
                    <a:pt x="2194" y="643"/>
                  </a:lnTo>
                  <a:lnTo>
                    <a:pt x="2282" y="606"/>
                  </a:lnTo>
                  <a:lnTo>
                    <a:pt x="2375" y="578"/>
                  </a:lnTo>
                  <a:lnTo>
                    <a:pt x="2471" y="562"/>
                  </a:lnTo>
                  <a:lnTo>
                    <a:pt x="2570" y="557"/>
                  </a:lnTo>
                  <a:close/>
                  <a:moveTo>
                    <a:pt x="176" y="0"/>
                  </a:moveTo>
                  <a:lnTo>
                    <a:pt x="4962" y="0"/>
                  </a:lnTo>
                  <a:lnTo>
                    <a:pt x="5002" y="5"/>
                  </a:lnTo>
                  <a:lnTo>
                    <a:pt x="5039" y="18"/>
                  </a:lnTo>
                  <a:lnTo>
                    <a:pt x="5072" y="39"/>
                  </a:lnTo>
                  <a:lnTo>
                    <a:pt x="5100" y="67"/>
                  </a:lnTo>
                  <a:lnTo>
                    <a:pt x="5120" y="100"/>
                  </a:lnTo>
                  <a:lnTo>
                    <a:pt x="5134" y="139"/>
                  </a:lnTo>
                  <a:lnTo>
                    <a:pt x="5139" y="179"/>
                  </a:lnTo>
                  <a:lnTo>
                    <a:pt x="5139" y="1975"/>
                  </a:lnTo>
                  <a:lnTo>
                    <a:pt x="4821" y="1975"/>
                  </a:lnTo>
                  <a:lnTo>
                    <a:pt x="4821" y="830"/>
                  </a:lnTo>
                  <a:lnTo>
                    <a:pt x="4748" y="811"/>
                  </a:lnTo>
                  <a:lnTo>
                    <a:pt x="4677" y="783"/>
                  </a:lnTo>
                  <a:lnTo>
                    <a:pt x="4613" y="748"/>
                  </a:lnTo>
                  <a:lnTo>
                    <a:pt x="4551" y="704"/>
                  </a:lnTo>
                  <a:lnTo>
                    <a:pt x="4497" y="655"/>
                  </a:lnTo>
                  <a:lnTo>
                    <a:pt x="4448" y="599"/>
                  </a:lnTo>
                  <a:lnTo>
                    <a:pt x="4405" y="536"/>
                  </a:lnTo>
                  <a:lnTo>
                    <a:pt x="4372" y="469"/>
                  </a:lnTo>
                  <a:lnTo>
                    <a:pt x="4344" y="397"/>
                  </a:lnTo>
                  <a:lnTo>
                    <a:pt x="4326" y="321"/>
                  </a:lnTo>
                  <a:lnTo>
                    <a:pt x="806" y="321"/>
                  </a:lnTo>
                  <a:lnTo>
                    <a:pt x="786" y="397"/>
                  </a:lnTo>
                  <a:lnTo>
                    <a:pt x="760" y="467"/>
                  </a:lnTo>
                  <a:lnTo>
                    <a:pt x="727" y="534"/>
                  </a:lnTo>
                  <a:lnTo>
                    <a:pt x="685" y="595"/>
                  </a:lnTo>
                  <a:lnTo>
                    <a:pt x="637" y="653"/>
                  </a:lnTo>
                  <a:lnTo>
                    <a:pt x="583" y="702"/>
                  </a:lnTo>
                  <a:lnTo>
                    <a:pt x="523" y="746"/>
                  </a:lnTo>
                  <a:lnTo>
                    <a:pt x="458" y="781"/>
                  </a:lnTo>
                  <a:lnTo>
                    <a:pt x="390" y="809"/>
                  </a:lnTo>
                  <a:lnTo>
                    <a:pt x="316" y="830"/>
                  </a:lnTo>
                  <a:lnTo>
                    <a:pt x="316" y="2542"/>
                  </a:lnTo>
                  <a:lnTo>
                    <a:pt x="388" y="2562"/>
                  </a:lnTo>
                  <a:lnTo>
                    <a:pt x="456" y="2590"/>
                  </a:lnTo>
                  <a:lnTo>
                    <a:pt x="520" y="2625"/>
                  </a:lnTo>
                  <a:lnTo>
                    <a:pt x="579" y="2667"/>
                  </a:lnTo>
                  <a:lnTo>
                    <a:pt x="634" y="2716"/>
                  </a:lnTo>
                  <a:lnTo>
                    <a:pt x="681" y="2771"/>
                  </a:lnTo>
                  <a:lnTo>
                    <a:pt x="723" y="2830"/>
                  </a:lnTo>
                  <a:lnTo>
                    <a:pt x="758" y="2897"/>
                  </a:lnTo>
                  <a:lnTo>
                    <a:pt x="785" y="2965"/>
                  </a:lnTo>
                  <a:lnTo>
                    <a:pt x="804" y="3039"/>
                  </a:lnTo>
                  <a:lnTo>
                    <a:pt x="3779" y="3039"/>
                  </a:lnTo>
                  <a:lnTo>
                    <a:pt x="3756" y="3081"/>
                  </a:lnTo>
                  <a:lnTo>
                    <a:pt x="3738" y="3129"/>
                  </a:lnTo>
                  <a:lnTo>
                    <a:pt x="3728" y="3178"/>
                  </a:lnTo>
                  <a:lnTo>
                    <a:pt x="3724" y="3229"/>
                  </a:lnTo>
                  <a:lnTo>
                    <a:pt x="3726" y="3274"/>
                  </a:lnTo>
                  <a:lnTo>
                    <a:pt x="3735" y="3318"/>
                  </a:lnTo>
                  <a:lnTo>
                    <a:pt x="3749" y="3360"/>
                  </a:lnTo>
                  <a:lnTo>
                    <a:pt x="176" y="3360"/>
                  </a:lnTo>
                  <a:lnTo>
                    <a:pt x="135" y="3355"/>
                  </a:lnTo>
                  <a:lnTo>
                    <a:pt x="98" y="3343"/>
                  </a:lnTo>
                  <a:lnTo>
                    <a:pt x="65" y="3322"/>
                  </a:lnTo>
                  <a:lnTo>
                    <a:pt x="39" y="3294"/>
                  </a:lnTo>
                  <a:lnTo>
                    <a:pt x="18" y="3260"/>
                  </a:lnTo>
                  <a:lnTo>
                    <a:pt x="5" y="3223"/>
                  </a:lnTo>
                  <a:lnTo>
                    <a:pt x="0" y="3181"/>
                  </a:lnTo>
                  <a:lnTo>
                    <a:pt x="0" y="179"/>
                  </a:lnTo>
                  <a:lnTo>
                    <a:pt x="5" y="139"/>
                  </a:lnTo>
                  <a:lnTo>
                    <a:pt x="18" y="100"/>
                  </a:lnTo>
                  <a:lnTo>
                    <a:pt x="39" y="67"/>
                  </a:lnTo>
                  <a:lnTo>
                    <a:pt x="65" y="39"/>
                  </a:lnTo>
                  <a:lnTo>
                    <a:pt x="98" y="18"/>
                  </a:lnTo>
                  <a:lnTo>
                    <a:pt x="135" y="5"/>
                  </a:lnTo>
                  <a:lnTo>
                    <a:pt x="176"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4" name="Freeform 31"/>
            <p:cNvSpPr>
              <a:spLocks noChangeAspect="1" noEditPoints="1"/>
            </p:cNvSpPr>
            <p:nvPr/>
          </p:nvSpPr>
          <p:spPr bwMode="auto">
            <a:xfrm>
              <a:off x="4507480" y="1690826"/>
              <a:ext cx="849934" cy="484175"/>
            </a:xfrm>
            <a:custGeom>
              <a:avLst/>
              <a:gdLst>
                <a:gd name="T0" fmla="*/ 5743 w 5783"/>
                <a:gd name="T1" fmla="*/ 3160 h 3385"/>
                <a:gd name="T2" fmla="*/ 5671 w 5783"/>
                <a:gd name="T3" fmla="*/ 3369 h 3385"/>
                <a:gd name="T4" fmla="*/ 3949 w 5783"/>
                <a:gd name="T5" fmla="*/ 3327 h 3385"/>
                <a:gd name="T6" fmla="*/ 3974 w 5783"/>
                <a:gd name="T7" fmla="*/ 3106 h 3385"/>
                <a:gd name="T8" fmla="*/ 5631 w 5783"/>
                <a:gd name="T9" fmla="*/ 2637 h 3385"/>
                <a:gd name="T10" fmla="*/ 5702 w 5783"/>
                <a:gd name="T11" fmla="*/ 2848 h 3385"/>
                <a:gd name="T12" fmla="*/ 3995 w 5783"/>
                <a:gd name="T13" fmla="*/ 2930 h 3385"/>
                <a:gd name="T14" fmla="*/ 3879 w 5783"/>
                <a:gd name="T15" fmla="*/ 2742 h 3385"/>
                <a:gd name="T16" fmla="*/ 4097 w 5783"/>
                <a:gd name="T17" fmla="*/ 2172 h 3385"/>
                <a:gd name="T18" fmla="*/ 5780 w 5783"/>
                <a:gd name="T19" fmla="*/ 2293 h 3385"/>
                <a:gd name="T20" fmla="*/ 5666 w 5783"/>
                <a:gd name="T21" fmla="*/ 2483 h 3385"/>
                <a:gd name="T22" fmla="*/ 3958 w 5783"/>
                <a:gd name="T23" fmla="*/ 2398 h 3385"/>
                <a:gd name="T24" fmla="*/ 4028 w 5783"/>
                <a:gd name="T25" fmla="*/ 2188 h 3385"/>
                <a:gd name="T26" fmla="*/ 4330 w 5783"/>
                <a:gd name="T27" fmla="*/ 1434 h 3385"/>
                <a:gd name="T28" fmla="*/ 4416 w 5783"/>
                <a:gd name="T29" fmla="*/ 1766 h 3385"/>
                <a:gd name="T30" fmla="*/ 4140 w 5783"/>
                <a:gd name="T31" fmla="*/ 1961 h 3385"/>
                <a:gd name="T32" fmla="*/ 3867 w 5783"/>
                <a:gd name="T33" fmla="*/ 1766 h 3385"/>
                <a:gd name="T34" fmla="*/ 3953 w 5783"/>
                <a:gd name="T35" fmla="*/ 1434 h 3385"/>
                <a:gd name="T36" fmla="*/ 1099 w 5783"/>
                <a:gd name="T37" fmla="*/ 1384 h 3385"/>
                <a:gd name="T38" fmla="*/ 1290 w 5783"/>
                <a:gd name="T39" fmla="*/ 1663 h 3385"/>
                <a:gd name="T40" fmla="*/ 1099 w 5783"/>
                <a:gd name="T41" fmla="*/ 1942 h 3385"/>
                <a:gd name="T42" fmla="*/ 772 w 5783"/>
                <a:gd name="T43" fmla="*/ 1854 h 3385"/>
                <a:gd name="T44" fmla="*/ 744 w 5783"/>
                <a:gd name="T45" fmla="*/ 1512 h 3385"/>
                <a:gd name="T46" fmla="*/ 2464 w 5783"/>
                <a:gd name="T47" fmla="*/ 1001 h 3385"/>
                <a:gd name="T48" fmla="*/ 2185 w 5783"/>
                <a:gd name="T49" fmla="*/ 1319 h 3385"/>
                <a:gd name="T50" fmla="*/ 2210 w 5783"/>
                <a:gd name="T51" fmla="*/ 1617 h 3385"/>
                <a:gd name="T52" fmla="*/ 2531 w 5783"/>
                <a:gd name="T53" fmla="*/ 1775 h 3385"/>
                <a:gd name="T54" fmla="*/ 2661 w 5783"/>
                <a:gd name="T55" fmla="*/ 1898 h 3385"/>
                <a:gd name="T56" fmla="*/ 2438 w 5783"/>
                <a:gd name="T57" fmla="*/ 1949 h 3385"/>
                <a:gd name="T58" fmla="*/ 2243 w 5783"/>
                <a:gd name="T59" fmla="*/ 2142 h 3385"/>
                <a:gd name="T60" fmla="*/ 2726 w 5783"/>
                <a:gd name="T61" fmla="*/ 2145 h 3385"/>
                <a:gd name="T62" fmla="*/ 2986 w 5783"/>
                <a:gd name="T63" fmla="*/ 1900 h 3385"/>
                <a:gd name="T64" fmla="*/ 2863 w 5783"/>
                <a:gd name="T65" fmla="*/ 1619 h 3385"/>
                <a:gd name="T66" fmla="*/ 2508 w 5783"/>
                <a:gd name="T67" fmla="*/ 1471 h 3385"/>
                <a:gd name="T68" fmla="*/ 2512 w 5783"/>
                <a:gd name="T69" fmla="*/ 1369 h 3385"/>
                <a:gd name="T70" fmla="*/ 2817 w 5783"/>
                <a:gd name="T71" fmla="*/ 1385 h 3385"/>
                <a:gd name="T72" fmla="*/ 2775 w 5783"/>
                <a:gd name="T73" fmla="*/ 1148 h 3385"/>
                <a:gd name="T74" fmla="*/ 2764 w 5783"/>
                <a:gd name="T75" fmla="*/ 578 h 3385"/>
                <a:gd name="T76" fmla="*/ 3314 w 5783"/>
                <a:gd name="T77" fmla="*/ 959 h 3385"/>
                <a:gd name="T78" fmla="*/ 3533 w 5783"/>
                <a:gd name="T79" fmla="*/ 1663 h 3385"/>
                <a:gd name="T80" fmla="*/ 3314 w 5783"/>
                <a:gd name="T81" fmla="*/ 2367 h 3385"/>
                <a:gd name="T82" fmla="*/ 2764 w 5783"/>
                <a:gd name="T83" fmla="*/ 2748 h 3385"/>
                <a:gd name="T84" fmla="*/ 2110 w 5783"/>
                <a:gd name="T85" fmla="*/ 2635 h 3385"/>
                <a:gd name="T86" fmla="*/ 1680 w 5783"/>
                <a:gd name="T87" fmla="*/ 2093 h 3385"/>
                <a:gd name="T88" fmla="*/ 1648 w 5783"/>
                <a:gd name="T89" fmla="*/ 1334 h 3385"/>
                <a:gd name="T90" fmla="*/ 2029 w 5783"/>
                <a:gd name="T91" fmla="*/ 744 h 3385"/>
                <a:gd name="T92" fmla="*/ 176 w 5783"/>
                <a:gd name="T93" fmla="*/ 0 h 3385"/>
                <a:gd name="T94" fmla="*/ 5134 w 5783"/>
                <a:gd name="T95" fmla="*/ 139 h 3385"/>
                <a:gd name="T96" fmla="*/ 4613 w 5783"/>
                <a:gd name="T97" fmla="*/ 748 h 3385"/>
                <a:gd name="T98" fmla="*/ 4326 w 5783"/>
                <a:gd name="T99" fmla="*/ 321 h 3385"/>
                <a:gd name="T100" fmla="*/ 583 w 5783"/>
                <a:gd name="T101" fmla="*/ 702 h 3385"/>
                <a:gd name="T102" fmla="*/ 456 w 5783"/>
                <a:gd name="T103" fmla="*/ 2590 h 3385"/>
                <a:gd name="T104" fmla="*/ 785 w 5783"/>
                <a:gd name="T105" fmla="*/ 2965 h 3385"/>
                <a:gd name="T106" fmla="*/ 3726 w 5783"/>
                <a:gd name="T107" fmla="*/ 3274 h 3385"/>
                <a:gd name="T108" fmla="*/ 39 w 5783"/>
                <a:gd name="T109" fmla="*/ 3294 h 3385"/>
                <a:gd name="T110" fmla="*/ 39 w 5783"/>
                <a:gd name="T111" fmla="*/ 67 h 3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783" h="3385">
                  <a:moveTo>
                    <a:pt x="4070" y="3072"/>
                  </a:moveTo>
                  <a:lnTo>
                    <a:pt x="5604" y="3072"/>
                  </a:lnTo>
                  <a:lnTo>
                    <a:pt x="5639" y="3076"/>
                  </a:lnTo>
                  <a:lnTo>
                    <a:pt x="5671" y="3088"/>
                  </a:lnTo>
                  <a:lnTo>
                    <a:pt x="5701" y="3106"/>
                  </a:lnTo>
                  <a:lnTo>
                    <a:pt x="5724" y="3130"/>
                  </a:lnTo>
                  <a:lnTo>
                    <a:pt x="5743" y="3160"/>
                  </a:lnTo>
                  <a:lnTo>
                    <a:pt x="5753" y="3194"/>
                  </a:lnTo>
                  <a:lnTo>
                    <a:pt x="5759" y="3229"/>
                  </a:lnTo>
                  <a:lnTo>
                    <a:pt x="5753" y="3266"/>
                  </a:lnTo>
                  <a:lnTo>
                    <a:pt x="5743" y="3297"/>
                  </a:lnTo>
                  <a:lnTo>
                    <a:pt x="5724" y="3327"/>
                  </a:lnTo>
                  <a:lnTo>
                    <a:pt x="5701" y="3352"/>
                  </a:lnTo>
                  <a:lnTo>
                    <a:pt x="5671" y="3369"/>
                  </a:lnTo>
                  <a:lnTo>
                    <a:pt x="5639" y="3381"/>
                  </a:lnTo>
                  <a:lnTo>
                    <a:pt x="5604" y="3385"/>
                  </a:lnTo>
                  <a:lnTo>
                    <a:pt x="4070" y="3385"/>
                  </a:lnTo>
                  <a:lnTo>
                    <a:pt x="4035" y="3381"/>
                  </a:lnTo>
                  <a:lnTo>
                    <a:pt x="4002" y="3369"/>
                  </a:lnTo>
                  <a:lnTo>
                    <a:pt x="3974" y="3352"/>
                  </a:lnTo>
                  <a:lnTo>
                    <a:pt x="3949" y="3327"/>
                  </a:lnTo>
                  <a:lnTo>
                    <a:pt x="3932" y="3297"/>
                  </a:lnTo>
                  <a:lnTo>
                    <a:pt x="3919" y="3266"/>
                  </a:lnTo>
                  <a:lnTo>
                    <a:pt x="3916" y="3229"/>
                  </a:lnTo>
                  <a:lnTo>
                    <a:pt x="3919" y="3194"/>
                  </a:lnTo>
                  <a:lnTo>
                    <a:pt x="3932" y="3160"/>
                  </a:lnTo>
                  <a:lnTo>
                    <a:pt x="3949" y="3130"/>
                  </a:lnTo>
                  <a:lnTo>
                    <a:pt x="3974" y="3106"/>
                  </a:lnTo>
                  <a:lnTo>
                    <a:pt x="4002" y="3088"/>
                  </a:lnTo>
                  <a:lnTo>
                    <a:pt x="4035" y="3076"/>
                  </a:lnTo>
                  <a:lnTo>
                    <a:pt x="4070" y="3072"/>
                  </a:lnTo>
                  <a:close/>
                  <a:moveTo>
                    <a:pt x="4030" y="2621"/>
                  </a:moveTo>
                  <a:lnTo>
                    <a:pt x="5562" y="2621"/>
                  </a:lnTo>
                  <a:lnTo>
                    <a:pt x="5599" y="2625"/>
                  </a:lnTo>
                  <a:lnTo>
                    <a:pt x="5631" y="2637"/>
                  </a:lnTo>
                  <a:lnTo>
                    <a:pt x="5660" y="2656"/>
                  </a:lnTo>
                  <a:lnTo>
                    <a:pt x="5683" y="2679"/>
                  </a:lnTo>
                  <a:lnTo>
                    <a:pt x="5702" y="2709"/>
                  </a:lnTo>
                  <a:lnTo>
                    <a:pt x="5713" y="2742"/>
                  </a:lnTo>
                  <a:lnTo>
                    <a:pt x="5718" y="2778"/>
                  </a:lnTo>
                  <a:lnTo>
                    <a:pt x="5713" y="2814"/>
                  </a:lnTo>
                  <a:lnTo>
                    <a:pt x="5702" y="2848"/>
                  </a:lnTo>
                  <a:lnTo>
                    <a:pt x="5683" y="2876"/>
                  </a:lnTo>
                  <a:lnTo>
                    <a:pt x="5660" y="2900"/>
                  </a:lnTo>
                  <a:lnTo>
                    <a:pt x="5631" y="2920"/>
                  </a:lnTo>
                  <a:lnTo>
                    <a:pt x="5599" y="2930"/>
                  </a:lnTo>
                  <a:lnTo>
                    <a:pt x="5562" y="2936"/>
                  </a:lnTo>
                  <a:lnTo>
                    <a:pt x="4030" y="2936"/>
                  </a:lnTo>
                  <a:lnTo>
                    <a:pt x="3995" y="2930"/>
                  </a:lnTo>
                  <a:lnTo>
                    <a:pt x="3961" y="2920"/>
                  </a:lnTo>
                  <a:lnTo>
                    <a:pt x="3933" y="2900"/>
                  </a:lnTo>
                  <a:lnTo>
                    <a:pt x="3909" y="2876"/>
                  </a:lnTo>
                  <a:lnTo>
                    <a:pt x="3891" y="2848"/>
                  </a:lnTo>
                  <a:lnTo>
                    <a:pt x="3879" y="2814"/>
                  </a:lnTo>
                  <a:lnTo>
                    <a:pt x="3875" y="2778"/>
                  </a:lnTo>
                  <a:lnTo>
                    <a:pt x="3879" y="2742"/>
                  </a:lnTo>
                  <a:lnTo>
                    <a:pt x="3891" y="2709"/>
                  </a:lnTo>
                  <a:lnTo>
                    <a:pt x="3909" y="2679"/>
                  </a:lnTo>
                  <a:lnTo>
                    <a:pt x="3933" y="2656"/>
                  </a:lnTo>
                  <a:lnTo>
                    <a:pt x="3961" y="2637"/>
                  </a:lnTo>
                  <a:lnTo>
                    <a:pt x="3995" y="2625"/>
                  </a:lnTo>
                  <a:lnTo>
                    <a:pt x="4030" y="2621"/>
                  </a:lnTo>
                  <a:close/>
                  <a:moveTo>
                    <a:pt x="4097" y="2172"/>
                  </a:moveTo>
                  <a:lnTo>
                    <a:pt x="5629" y="2172"/>
                  </a:lnTo>
                  <a:lnTo>
                    <a:pt x="5666" y="2177"/>
                  </a:lnTo>
                  <a:lnTo>
                    <a:pt x="5697" y="2188"/>
                  </a:lnTo>
                  <a:lnTo>
                    <a:pt x="5725" y="2207"/>
                  </a:lnTo>
                  <a:lnTo>
                    <a:pt x="5750" y="2232"/>
                  </a:lnTo>
                  <a:lnTo>
                    <a:pt x="5767" y="2260"/>
                  </a:lnTo>
                  <a:lnTo>
                    <a:pt x="5780" y="2293"/>
                  </a:lnTo>
                  <a:lnTo>
                    <a:pt x="5783" y="2328"/>
                  </a:lnTo>
                  <a:lnTo>
                    <a:pt x="5780" y="2365"/>
                  </a:lnTo>
                  <a:lnTo>
                    <a:pt x="5767" y="2398"/>
                  </a:lnTo>
                  <a:lnTo>
                    <a:pt x="5750" y="2428"/>
                  </a:lnTo>
                  <a:lnTo>
                    <a:pt x="5725" y="2451"/>
                  </a:lnTo>
                  <a:lnTo>
                    <a:pt x="5697" y="2470"/>
                  </a:lnTo>
                  <a:lnTo>
                    <a:pt x="5666" y="2483"/>
                  </a:lnTo>
                  <a:lnTo>
                    <a:pt x="5629" y="2486"/>
                  </a:lnTo>
                  <a:lnTo>
                    <a:pt x="4097" y="2486"/>
                  </a:lnTo>
                  <a:lnTo>
                    <a:pt x="4061" y="2483"/>
                  </a:lnTo>
                  <a:lnTo>
                    <a:pt x="4028" y="2470"/>
                  </a:lnTo>
                  <a:lnTo>
                    <a:pt x="4000" y="2451"/>
                  </a:lnTo>
                  <a:lnTo>
                    <a:pt x="3975" y="2428"/>
                  </a:lnTo>
                  <a:lnTo>
                    <a:pt x="3958" y="2398"/>
                  </a:lnTo>
                  <a:lnTo>
                    <a:pt x="3946" y="2365"/>
                  </a:lnTo>
                  <a:lnTo>
                    <a:pt x="3942" y="2328"/>
                  </a:lnTo>
                  <a:lnTo>
                    <a:pt x="3946" y="2293"/>
                  </a:lnTo>
                  <a:lnTo>
                    <a:pt x="3958" y="2260"/>
                  </a:lnTo>
                  <a:lnTo>
                    <a:pt x="3975" y="2232"/>
                  </a:lnTo>
                  <a:lnTo>
                    <a:pt x="4000" y="2207"/>
                  </a:lnTo>
                  <a:lnTo>
                    <a:pt x="4028" y="2188"/>
                  </a:lnTo>
                  <a:lnTo>
                    <a:pt x="4061" y="2177"/>
                  </a:lnTo>
                  <a:lnTo>
                    <a:pt x="4097" y="2172"/>
                  </a:lnTo>
                  <a:close/>
                  <a:moveTo>
                    <a:pt x="4140" y="1364"/>
                  </a:moveTo>
                  <a:lnTo>
                    <a:pt x="4193" y="1369"/>
                  </a:lnTo>
                  <a:lnTo>
                    <a:pt x="4244" y="1384"/>
                  </a:lnTo>
                  <a:lnTo>
                    <a:pt x="4290" y="1406"/>
                  </a:lnTo>
                  <a:lnTo>
                    <a:pt x="4330" y="1434"/>
                  </a:lnTo>
                  <a:lnTo>
                    <a:pt x="4365" y="1471"/>
                  </a:lnTo>
                  <a:lnTo>
                    <a:pt x="4395" y="1512"/>
                  </a:lnTo>
                  <a:lnTo>
                    <a:pt x="4416" y="1559"/>
                  </a:lnTo>
                  <a:lnTo>
                    <a:pt x="4430" y="1610"/>
                  </a:lnTo>
                  <a:lnTo>
                    <a:pt x="4435" y="1663"/>
                  </a:lnTo>
                  <a:lnTo>
                    <a:pt x="4430" y="1717"/>
                  </a:lnTo>
                  <a:lnTo>
                    <a:pt x="4416" y="1766"/>
                  </a:lnTo>
                  <a:lnTo>
                    <a:pt x="4395" y="1814"/>
                  </a:lnTo>
                  <a:lnTo>
                    <a:pt x="4365" y="1854"/>
                  </a:lnTo>
                  <a:lnTo>
                    <a:pt x="4330" y="1891"/>
                  </a:lnTo>
                  <a:lnTo>
                    <a:pt x="4290" y="1921"/>
                  </a:lnTo>
                  <a:lnTo>
                    <a:pt x="4244" y="1942"/>
                  </a:lnTo>
                  <a:lnTo>
                    <a:pt x="4193" y="1956"/>
                  </a:lnTo>
                  <a:lnTo>
                    <a:pt x="4140" y="1961"/>
                  </a:lnTo>
                  <a:lnTo>
                    <a:pt x="4088" y="1956"/>
                  </a:lnTo>
                  <a:lnTo>
                    <a:pt x="4039" y="1942"/>
                  </a:lnTo>
                  <a:lnTo>
                    <a:pt x="3993" y="1921"/>
                  </a:lnTo>
                  <a:lnTo>
                    <a:pt x="3953" y="1891"/>
                  </a:lnTo>
                  <a:lnTo>
                    <a:pt x="3917" y="1854"/>
                  </a:lnTo>
                  <a:lnTo>
                    <a:pt x="3888" y="1814"/>
                  </a:lnTo>
                  <a:lnTo>
                    <a:pt x="3867" y="1766"/>
                  </a:lnTo>
                  <a:lnTo>
                    <a:pt x="3853" y="1717"/>
                  </a:lnTo>
                  <a:lnTo>
                    <a:pt x="3847" y="1663"/>
                  </a:lnTo>
                  <a:lnTo>
                    <a:pt x="3853" y="1610"/>
                  </a:lnTo>
                  <a:lnTo>
                    <a:pt x="3867" y="1559"/>
                  </a:lnTo>
                  <a:lnTo>
                    <a:pt x="3888" y="1512"/>
                  </a:lnTo>
                  <a:lnTo>
                    <a:pt x="3917" y="1471"/>
                  </a:lnTo>
                  <a:lnTo>
                    <a:pt x="3953" y="1434"/>
                  </a:lnTo>
                  <a:lnTo>
                    <a:pt x="3993" y="1406"/>
                  </a:lnTo>
                  <a:lnTo>
                    <a:pt x="4039" y="1384"/>
                  </a:lnTo>
                  <a:lnTo>
                    <a:pt x="4088" y="1369"/>
                  </a:lnTo>
                  <a:lnTo>
                    <a:pt x="4140" y="1364"/>
                  </a:lnTo>
                  <a:close/>
                  <a:moveTo>
                    <a:pt x="997" y="1364"/>
                  </a:moveTo>
                  <a:lnTo>
                    <a:pt x="1050" y="1369"/>
                  </a:lnTo>
                  <a:lnTo>
                    <a:pt x="1099" y="1384"/>
                  </a:lnTo>
                  <a:lnTo>
                    <a:pt x="1144" y="1406"/>
                  </a:lnTo>
                  <a:lnTo>
                    <a:pt x="1185" y="1434"/>
                  </a:lnTo>
                  <a:lnTo>
                    <a:pt x="1222" y="1471"/>
                  </a:lnTo>
                  <a:lnTo>
                    <a:pt x="1250" y="1512"/>
                  </a:lnTo>
                  <a:lnTo>
                    <a:pt x="1272" y="1559"/>
                  </a:lnTo>
                  <a:lnTo>
                    <a:pt x="1285" y="1610"/>
                  </a:lnTo>
                  <a:lnTo>
                    <a:pt x="1290" y="1663"/>
                  </a:lnTo>
                  <a:lnTo>
                    <a:pt x="1285" y="1717"/>
                  </a:lnTo>
                  <a:lnTo>
                    <a:pt x="1272" y="1766"/>
                  </a:lnTo>
                  <a:lnTo>
                    <a:pt x="1250" y="1814"/>
                  </a:lnTo>
                  <a:lnTo>
                    <a:pt x="1222" y="1854"/>
                  </a:lnTo>
                  <a:lnTo>
                    <a:pt x="1186" y="1891"/>
                  </a:lnTo>
                  <a:lnTo>
                    <a:pt x="1144" y="1921"/>
                  </a:lnTo>
                  <a:lnTo>
                    <a:pt x="1099" y="1942"/>
                  </a:lnTo>
                  <a:lnTo>
                    <a:pt x="1050" y="1956"/>
                  </a:lnTo>
                  <a:lnTo>
                    <a:pt x="997" y="1961"/>
                  </a:lnTo>
                  <a:lnTo>
                    <a:pt x="944" y="1956"/>
                  </a:lnTo>
                  <a:lnTo>
                    <a:pt x="895" y="1942"/>
                  </a:lnTo>
                  <a:lnTo>
                    <a:pt x="849" y="1921"/>
                  </a:lnTo>
                  <a:lnTo>
                    <a:pt x="807" y="1891"/>
                  </a:lnTo>
                  <a:lnTo>
                    <a:pt x="772" y="1854"/>
                  </a:lnTo>
                  <a:lnTo>
                    <a:pt x="744" y="1814"/>
                  </a:lnTo>
                  <a:lnTo>
                    <a:pt x="721" y="1766"/>
                  </a:lnTo>
                  <a:lnTo>
                    <a:pt x="709" y="1717"/>
                  </a:lnTo>
                  <a:lnTo>
                    <a:pt x="704" y="1663"/>
                  </a:lnTo>
                  <a:lnTo>
                    <a:pt x="709" y="1610"/>
                  </a:lnTo>
                  <a:lnTo>
                    <a:pt x="721" y="1559"/>
                  </a:lnTo>
                  <a:lnTo>
                    <a:pt x="744" y="1512"/>
                  </a:lnTo>
                  <a:lnTo>
                    <a:pt x="772" y="1471"/>
                  </a:lnTo>
                  <a:lnTo>
                    <a:pt x="807" y="1434"/>
                  </a:lnTo>
                  <a:lnTo>
                    <a:pt x="849" y="1406"/>
                  </a:lnTo>
                  <a:lnTo>
                    <a:pt x="895" y="1384"/>
                  </a:lnTo>
                  <a:lnTo>
                    <a:pt x="944" y="1369"/>
                  </a:lnTo>
                  <a:lnTo>
                    <a:pt x="997" y="1364"/>
                  </a:lnTo>
                  <a:close/>
                  <a:moveTo>
                    <a:pt x="2464" y="1001"/>
                  </a:moveTo>
                  <a:lnTo>
                    <a:pt x="2464" y="1154"/>
                  </a:lnTo>
                  <a:lnTo>
                    <a:pt x="2399" y="1168"/>
                  </a:lnTo>
                  <a:lnTo>
                    <a:pt x="2341" y="1189"/>
                  </a:lnTo>
                  <a:lnTo>
                    <a:pt x="2292" y="1215"/>
                  </a:lnTo>
                  <a:lnTo>
                    <a:pt x="2248" y="1245"/>
                  </a:lnTo>
                  <a:lnTo>
                    <a:pt x="2213" y="1280"/>
                  </a:lnTo>
                  <a:lnTo>
                    <a:pt x="2185" y="1319"/>
                  </a:lnTo>
                  <a:lnTo>
                    <a:pt x="2164" y="1361"/>
                  </a:lnTo>
                  <a:lnTo>
                    <a:pt x="2152" y="1406"/>
                  </a:lnTo>
                  <a:lnTo>
                    <a:pt x="2148" y="1455"/>
                  </a:lnTo>
                  <a:lnTo>
                    <a:pt x="2152" y="1501"/>
                  </a:lnTo>
                  <a:lnTo>
                    <a:pt x="2164" y="1545"/>
                  </a:lnTo>
                  <a:lnTo>
                    <a:pt x="2183" y="1582"/>
                  </a:lnTo>
                  <a:lnTo>
                    <a:pt x="2210" y="1617"/>
                  </a:lnTo>
                  <a:lnTo>
                    <a:pt x="2241" y="1647"/>
                  </a:lnTo>
                  <a:lnTo>
                    <a:pt x="2280" y="1675"/>
                  </a:lnTo>
                  <a:lnTo>
                    <a:pt x="2322" y="1700"/>
                  </a:lnTo>
                  <a:lnTo>
                    <a:pt x="2371" y="1721"/>
                  </a:lnTo>
                  <a:lnTo>
                    <a:pt x="2424" y="1742"/>
                  </a:lnTo>
                  <a:lnTo>
                    <a:pt x="2480" y="1759"/>
                  </a:lnTo>
                  <a:lnTo>
                    <a:pt x="2531" y="1775"/>
                  </a:lnTo>
                  <a:lnTo>
                    <a:pt x="2573" y="1791"/>
                  </a:lnTo>
                  <a:lnTo>
                    <a:pt x="2608" y="1805"/>
                  </a:lnTo>
                  <a:lnTo>
                    <a:pt x="2633" y="1821"/>
                  </a:lnTo>
                  <a:lnTo>
                    <a:pt x="2650" y="1838"/>
                  </a:lnTo>
                  <a:lnTo>
                    <a:pt x="2661" y="1858"/>
                  </a:lnTo>
                  <a:lnTo>
                    <a:pt x="2664" y="1877"/>
                  </a:lnTo>
                  <a:lnTo>
                    <a:pt x="2661" y="1898"/>
                  </a:lnTo>
                  <a:lnTo>
                    <a:pt x="2650" y="1915"/>
                  </a:lnTo>
                  <a:lnTo>
                    <a:pt x="2633" y="1930"/>
                  </a:lnTo>
                  <a:lnTo>
                    <a:pt x="2608" y="1940"/>
                  </a:lnTo>
                  <a:lnTo>
                    <a:pt x="2580" y="1947"/>
                  </a:lnTo>
                  <a:lnTo>
                    <a:pt x="2547" y="1951"/>
                  </a:lnTo>
                  <a:lnTo>
                    <a:pt x="2510" y="1952"/>
                  </a:lnTo>
                  <a:lnTo>
                    <a:pt x="2438" y="1949"/>
                  </a:lnTo>
                  <a:lnTo>
                    <a:pt x="2369" y="1938"/>
                  </a:lnTo>
                  <a:lnTo>
                    <a:pt x="2306" y="1921"/>
                  </a:lnTo>
                  <a:lnTo>
                    <a:pt x="2248" y="1901"/>
                  </a:lnTo>
                  <a:lnTo>
                    <a:pt x="2197" y="1880"/>
                  </a:lnTo>
                  <a:lnTo>
                    <a:pt x="2140" y="2105"/>
                  </a:lnTo>
                  <a:lnTo>
                    <a:pt x="2187" y="2124"/>
                  </a:lnTo>
                  <a:lnTo>
                    <a:pt x="2243" y="2142"/>
                  </a:lnTo>
                  <a:lnTo>
                    <a:pt x="2310" y="2158"/>
                  </a:lnTo>
                  <a:lnTo>
                    <a:pt x="2380" y="2168"/>
                  </a:lnTo>
                  <a:lnTo>
                    <a:pt x="2454" y="2175"/>
                  </a:lnTo>
                  <a:lnTo>
                    <a:pt x="2454" y="2326"/>
                  </a:lnTo>
                  <a:lnTo>
                    <a:pt x="2657" y="2326"/>
                  </a:lnTo>
                  <a:lnTo>
                    <a:pt x="2657" y="2161"/>
                  </a:lnTo>
                  <a:lnTo>
                    <a:pt x="2726" y="2145"/>
                  </a:lnTo>
                  <a:lnTo>
                    <a:pt x="2785" y="2124"/>
                  </a:lnTo>
                  <a:lnTo>
                    <a:pt x="2838" y="2098"/>
                  </a:lnTo>
                  <a:lnTo>
                    <a:pt x="2884" y="2066"/>
                  </a:lnTo>
                  <a:lnTo>
                    <a:pt x="2921" y="2030"/>
                  </a:lnTo>
                  <a:lnTo>
                    <a:pt x="2950" y="1989"/>
                  </a:lnTo>
                  <a:lnTo>
                    <a:pt x="2971" y="1945"/>
                  </a:lnTo>
                  <a:lnTo>
                    <a:pt x="2986" y="1900"/>
                  </a:lnTo>
                  <a:lnTo>
                    <a:pt x="2989" y="1851"/>
                  </a:lnTo>
                  <a:lnTo>
                    <a:pt x="2986" y="1803"/>
                  </a:lnTo>
                  <a:lnTo>
                    <a:pt x="2977" y="1759"/>
                  </a:lnTo>
                  <a:lnTo>
                    <a:pt x="2959" y="1719"/>
                  </a:lnTo>
                  <a:lnTo>
                    <a:pt x="2935" y="1684"/>
                  </a:lnTo>
                  <a:lnTo>
                    <a:pt x="2903" y="1649"/>
                  </a:lnTo>
                  <a:lnTo>
                    <a:pt x="2863" y="1619"/>
                  </a:lnTo>
                  <a:lnTo>
                    <a:pt x="2812" y="1591"/>
                  </a:lnTo>
                  <a:lnTo>
                    <a:pt x="2752" y="1564"/>
                  </a:lnTo>
                  <a:lnTo>
                    <a:pt x="2682" y="1542"/>
                  </a:lnTo>
                  <a:lnTo>
                    <a:pt x="2624" y="1522"/>
                  </a:lnTo>
                  <a:lnTo>
                    <a:pt x="2577" y="1505"/>
                  </a:lnTo>
                  <a:lnTo>
                    <a:pt x="2538" y="1487"/>
                  </a:lnTo>
                  <a:lnTo>
                    <a:pt x="2508" y="1471"/>
                  </a:lnTo>
                  <a:lnTo>
                    <a:pt x="2489" y="1455"/>
                  </a:lnTo>
                  <a:lnTo>
                    <a:pt x="2477" y="1440"/>
                  </a:lnTo>
                  <a:lnTo>
                    <a:pt x="2473" y="1422"/>
                  </a:lnTo>
                  <a:lnTo>
                    <a:pt x="2475" y="1408"/>
                  </a:lnTo>
                  <a:lnTo>
                    <a:pt x="2482" y="1392"/>
                  </a:lnTo>
                  <a:lnTo>
                    <a:pt x="2494" y="1380"/>
                  </a:lnTo>
                  <a:lnTo>
                    <a:pt x="2512" y="1369"/>
                  </a:lnTo>
                  <a:lnTo>
                    <a:pt x="2536" y="1361"/>
                  </a:lnTo>
                  <a:lnTo>
                    <a:pt x="2570" y="1354"/>
                  </a:lnTo>
                  <a:lnTo>
                    <a:pt x="2610" y="1352"/>
                  </a:lnTo>
                  <a:lnTo>
                    <a:pt x="2673" y="1355"/>
                  </a:lnTo>
                  <a:lnTo>
                    <a:pt x="2728" y="1362"/>
                  </a:lnTo>
                  <a:lnTo>
                    <a:pt x="2777" y="1373"/>
                  </a:lnTo>
                  <a:lnTo>
                    <a:pt x="2817" y="1385"/>
                  </a:lnTo>
                  <a:lnTo>
                    <a:pt x="2852" y="1398"/>
                  </a:lnTo>
                  <a:lnTo>
                    <a:pt x="2878" y="1408"/>
                  </a:lnTo>
                  <a:lnTo>
                    <a:pt x="2935" y="1192"/>
                  </a:lnTo>
                  <a:lnTo>
                    <a:pt x="2901" y="1178"/>
                  </a:lnTo>
                  <a:lnTo>
                    <a:pt x="2864" y="1168"/>
                  </a:lnTo>
                  <a:lnTo>
                    <a:pt x="2822" y="1157"/>
                  </a:lnTo>
                  <a:lnTo>
                    <a:pt x="2775" y="1148"/>
                  </a:lnTo>
                  <a:lnTo>
                    <a:pt x="2722" y="1143"/>
                  </a:lnTo>
                  <a:lnTo>
                    <a:pt x="2664" y="1139"/>
                  </a:lnTo>
                  <a:lnTo>
                    <a:pt x="2664" y="1001"/>
                  </a:lnTo>
                  <a:lnTo>
                    <a:pt x="2464" y="1001"/>
                  </a:lnTo>
                  <a:close/>
                  <a:moveTo>
                    <a:pt x="2570" y="557"/>
                  </a:moveTo>
                  <a:lnTo>
                    <a:pt x="2668" y="562"/>
                  </a:lnTo>
                  <a:lnTo>
                    <a:pt x="2764" y="578"/>
                  </a:lnTo>
                  <a:lnTo>
                    <a:pt x="2856" y="606"/>
                  </a:lnTo>
                  <a:lnTo>
                    <a:pt x="2945" y="643"/>
                  </a:lnTo>
                  <a:lnTo>
                    <a:pt x="3029" y="690"/>
                  </a:lnTo>
                  <a:lnTo>
                    <a:pt x="3108" y="744"/>
                  </a:lnTo>
                  <a:lnTo>
                    <a:pt x="3182" y="809"/>
                  </a:lnTo>
                  <a:lnTo>
                    <a:pt x="3251" y="880"/>
                  </a:lnTo>
                  <a:lnTo>
                    <a:pt x="3314" y="959"/>
                  </a:lnTo>
                  <a:lnTo>
                    <a:pt x="3368" y="1045"/>
                  </a:lnTo>
                  <a:lnTo>
                    <a:pt x="3417" y="1136"/>
                  </a:lnTo>
                  <a:lnTo>
                    <a:pt x="3458" y="1233"/>
                  </a:lnTo>
                  <a:lnTo>
                    <a:pt x="3491" y="1334"/>
                  </a:lnTo>
                  <a:lnTo>
                    <a:pt x="3514" y="1440"/>
                  </a:lnTo>
                  <a:lnTo>
                    <a:pt x="3528" y="1550"/>
                  </a:lnTo>
                  <a:lnTo>
                    <a:pt x="3533" y="1663"/>
                  </a:lnTo>
                  <a:lnTo>
                    <a:pt x="3528" y="1777"/>
                  </a:lnTo>
                  <a:lnTo>
                    <a:pt x="3514" y="1886"/>
                  </a:lnTo>
                  <a:lnTo>
                    <a:pt x="3491" y="1993"/>
                  </a:lnTo>
                  <a:lnTo>
                    <a:pt x="3458" y="2093"/>
                  </a:lnTo>
                  <a:lnTo>
                    <a:pt x="3417" y="2191"/>
                  </a:lnTo>
                  <a:lnTo>
                    <a:pt x="3370" y="2282"/>
                  </a:lnTo>
                  <a:lnTo>
                    <a:pt x="3314" y="2367"/>
                  </a:lnTo>
                  <a:lnTo>
                    <a:pt x="3251" y="2446"/>
                  </a:lnTo>
                  <a:lnTo>
                    <a:pt x="3182" y="2516"/>
                  </a:lnTo>
                  <a:lnTo>
                    <a:pt x="3108" y="2581"/>
                  </a:lnTo>
                  <a:lnTo>
                    <a:pt x="3029" y="2635"/>
                  </a:lnTo>
                  <a:lnTo>
                    <a:pt x="2945" y="2683"/>
                  </a:lnTo>
                  <a:lnTo>
                    <a:pt x="2856" y="2720"/>
                  </a:lnTo>
                  <a:lnTo>
                    <a:pt x="2764" y="2748"/>
                  </a:lnTo>
                  <a:lnTo>
                    <a:pt x="2668" y="2763"/>
                  </a:lnTo>
                  <a:lnTo>
                    <a:pt x="2570" y="2769"/>
                  </a:lnTo>
                  <a:lnTo>
                    <a:pt x="2471" y="2763"/>
                  </a:lnTo>
                  <a:lnTo>
                    <a:pt x="2375" y="2748"/>
                  </a:lnTo>
                  <a:lnTo>
                    <a:pt x="2282" y="2720"/>
                  </a:lnTo>
                  <a:lnTo>
                    <a:pt x="2194" y="2683"/>
                  </a:lnTo>
                  <a:lnTo>
                    <a:pt x="2110" y="2635"/>
                  </a:lnTo>
                  <a:lnTo>
                    <a:pt x="2029" y="2581"/>
                  </a:lnTo>
                  <a:lnTo>
                    <a:pt x="1955" y="2516"/>
                  </a:lnTo>
                  <a:lnTo>
                    <a:pt x="1887" y="2446"/>
                  </a:lnTo>
                  <a:lnTo>
                    <a:pt x="1825" y="2367"/>
                  </a:lnTo>
                  <a:lnTo>
                    <a:pt x="1769" y="2282"/>
                  </a:lnTo>
                  <a:lnTo>
                    <a:pt x="1720" y="2191"/>
                  </a:lnTo>
                  <a:lnTo>
                    <a:pt x="1680" y="2093"/>
                  </a:lnTo>
                  <a:lnTo>
                    <a:pt x="1648" y="1993"/>
                  </a:lnTo>
                  <a:lnTo>
                    <a:pt x="1624" y="1886"/>
                  </a:lnTo>
                  <a:lnTo>
                    <a:pt x="1609" y="1777"/>
                  </a:lnTo>
                  <a:lnTo>
                    <a:pt x="1604" y="1663"/>
                  </a:lnTo>
                  <a:lnTo>
                    <a:pt x="1609" y="1550"/>
                  </a:lnTo>
                  <a:lnTo>
                    <a:pt x="1624" y="1440"/>
                  </a:lnTo>
                  <a:lnTo>
                    <a:pt x="1648" y="1334"/>
                  </a:lnTo>
                  <a:lnTo>
                    <a:pt x="1680" y="1233"/>
                  </a:lnTo>
                  <a:lnTo>
                    <a:pt x="1720" y="1136"/>
                  </a:lnTo>
                  <a:lnTo>
                    <a:pt x="1769" y="1045"/>
                  </a:lnTo>
                  <a:lnTo>
                    <a:pt x="1825" y="959"/>
                  </a:lnTo>
                  <a:lnTo>
                    <a:pt x="1887" y="880"/>
                  </a:lnTo>
                  <a:lnTo>
                    <a:pt x="1955" y="809"/>
                  </a:lnTo>
                  <a:lnTo>
                    <a:pt x="2029" y="744"/>
                  </a:lnTo>
                  <a:lnTo>
                    <a:pt x="2110" y="690"/>
                  </a:lnTo>
                  <a:lnTo>
                    <a:pt x="2194" y="643"/>
                  </a:lnTo>
                  <a:lnTo>
                    <a:pt x="2282" y="606"/>
                  </a:lnTo>
                  <a:lnTo>
                    <a:pt x="2375" y="578"/>
                  </a:lnTo>
                  <a:lnTo>
                    <a:pt x="2471" y="562"/>
                  </a:lnTo>
                  <a:lnTo>
                    <a:pt x="2570" y="557"/>
                  </a:lnTo>
                  <a:close/>
                  <a:moveTo>
                    <a:pt x="176" y="0"/>
                  </a:moveTo>
                  <a:lnTo>
                    <a:pt x="4962" y="0"/>
                  </a:lnTo>
                  <a:lnTo>
                    <a:pt x="5002" y="5"/>
                  </a:lnTo>
                  <a:lnTo>
                    <a:pt x="5039" y="18"/>
                  </a:lnTo>
                  <a:lnTo>
                    <a:pt x="5072" y="39"/>
                  </a:lnTo>
                  <a:lnTo>
                    <a:pt x="5100" y="67"/>
                  </a:lnTo>
                  <a:lnTo>
                    <a:pt x="5120" y="100"/>
                  </a:lnTo>
                  <a:lnTo>
                    <a:pt x="5134" y="139"/>
                  </a:lnTo>
                  <a:lnTo>
                    <a:pt x="5139" y="179"/>
                  </a:lnTo>
                  <a:lnTo>
                    <a:pt x="5139" y="1975"/>
                  </a:lnTo>
                  <a:lnTo>
                    <a:pt x="4821" y="1975"/>
                  </a:lnTo>
                  <a:lnTo>
                    <a:pt x="4821" y="830"/>
                  </a:lnTo>
                  <a:lnTo>
                    <a:pt x="4748" y="811"/>
                  </a:lnTo>
                  <a:lnTo>
                    <a:pt x="4677" y="783"/>
                  </a:lnTo>
                  <a:lnTo>
                    <a:pt x="4613" y="748"/>
                  </a:lnTo>
                  <a:lnTo>
                    <a:pt x="4551" y="704"/>
                  </a:lnTo>
                  <a:lnTo>
                    <a:pt x="4497" y="655"/>
                  </a:lnTo>
                  <a:lnTo>
                    <a:pt x="4448" y="599"/>
                  </a:lnTo>
                  <a:lnTo>
                    <a:pt x="4405" y="536"/>
                  </a:lnTo>
                  <a:lnTo>
                    <a:pt x="4372" y="469"/>
                  </a:lnTo>
                  <a:lnTo>
                    <a:pt x="4344" y="397"/>
                  </a:lnTo>
                  <a:lnTo>
                    <a:pt x="4326" y="321"/>
                  </a:lnTo>
                  <a:lnTo>
                    <a:pt x="806" y="321"/>
                  </a:lnTo>
                  <a:lnTo>
                    <a:pt x="786" y="397"/>
                  </a:lnTo>
                  <a:lnTo>
                    <a:pt x="760" y="467"/>
                  </a:lnTo>
                  <a:lnTo>
                    <a:pt x="727" y="534"/>
                  </a:lnTo>
                  <a:lnTo>
                    <a:pt x="685" y="595"/>
                  </a:lnTo>
                  <a:lnTo>
                    <a:pt x="637" y="653"/>
                  </a:lnTo>
                  <a:lnTo>
                    <a:pt x="583" y="702"/>
                  </a:lnTo>
                  <a:lnTo>
                    <a:pt x="523" y="746"/>
                  </a:lnTo>
                  <a:lnTo>
                    <a:pt x="458" y="781"/>
                  </a:lnTo>
                  <a:lnTo>
                    <a:pt x="390" y="809"/>
                  </a:lnTo>
                  <a:lnTo>
                    <a:pt x="316" y="830"/>
                  </a:lnTo>
                  <a:lnTo>
                    <a:pt x="316" y="2542"/>
                  </a:lnTo>
                  <a:lnTo>
                    <a:pt x="388" y="2562"/>
                  </a:lnTo>
                  <a:lnTo>
                    <a:pt x="456" y="2590"/>
                  </a:lnTo>
                  <a:lnTo>
                    <a:pt x="520" y="2625"/>
                  </a:lnTo>
                  <a:lnTo>
                    <a:pt x="579" y="2667"/>
                  </a:lnTo>
                  <a:lnTo>
                    <a:pt x="634" y="2716"/>
                  </a:lnTo>
                  <a:lnTo>
                    <a:pt x="681" y="2771"/>
                  </a:lnTo>
                  <a:lnTo>
                    <a:pt x="723" y="2830"/>
                  </a:lnTo>
                  <a:lnTo>
                    <a:pt x="758" y="2897"/>
                  </a:lnTo>
                  <a:lnTo>
                    <a:pt x="785" y="2965"/>
                  </a:lnTo>
                  <a:lnTo>
                    <a:pt x="804" y="3039"/>
                  </a:lnTo>
                  <a:lnTo>
                    <a:pt x="3779" y="3039"/>
                  </a:lnTo>
                  <a:lnTo>
                    <a:pt x="3756" y="3081"/>
                  </a:lnTo>
                  <a:lnTo>
                    <a:pt x="3738" y="3129"/>
                  </a:lnTo>
                  <a:lnTo>
                    <a:pt x="3728" y="3178"/>
                  </a:lnTo>
                  <a:lnTo>
                    <a:pt x="3724" y="3229"/>
                  </a:lnTo>
                  <a:lnTo>
                    <a:pt x="3726" y="3274"/>
                  </a:lnTo>
                  <a:lnTo>
                    <a:pt x="3735" y="3318"/>
                  </a:lnTo>
                  <a:lnTo>
                    <a:pt x="3749" y="3360"/>
                  </a:lnTo>
                  <a:lnTo>
                    <a:pt x="176" y="3360"/>
                  </a:lnTo>
                  <a:lnTo>
                    <a:pt x="135" y="3355"/>
                  </a:lnTo>
                  <a:lnTo>
                    <a:pt x="98" y="3343"/>
                  </a:lnTo>
                  <a:lnTo>
                    <a:pt x="65" y="3322"/>
                  </a:lnTo>
                  <a:lnTo>
                    <a:pt x="39" y="3294"/>
                  </a:lnTo>
                  <a:lnTo>
                    <a:pt x="18" y="3260"/>
                  </a:lnTo>
                  <a:lnTo>
                    <a:pt x="5" y="3223"/>
                  </a:lnTo>
                  <a:lnTo>
                    <a:pt x="0" y="3181"/>
                  </a:lnTo>
                  <a:lnTo>
                    <a:pt x="0" y="179"/>
                  </a:lnTo>
                  <a:lnTo>
                    <a:pt x="5" y="139"/>
                  </a:lnTo>
                  <a:lnTo>
                    <a:pt x="18" y="100"/>
                  </a:lnTo>
                  <a:lnTo>
                    <a:pt x="39" y="67"/>
                  </a:lnTo>
                  <a:lnTo>
                    <a:pt x="65" y="39"/>
                  </a:lnTo>
                  <a:lnTo>
                    <a:pt x="98" y="18"/>
                  </a:lnTo>
                  <a:lnTo>
                    <a:pt x="135" y="5"/>
                  </a:lnTo>
                  <a:lnTo>
                    <a:pt x="176"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5" name="Freeform 31"/>
            <p:cNvSpPr>
              <a:spLocks noChangeAspect="1" noEditPoints="1"/>
            </p:cNvSpPr>
            <p:nvPr/>
          </p:nvSpPr>
          <p:spPr bwMode="auto">
            <a:xfrm>
              <a:off x="5506557" y="1690826"/>
              <a:ext cx="849934" cy="484175"/>
            </a:xfrm>
            <a:custGeom>
              <a:avLst/>
              <a:gdLst>
                <a:gd name="T0" fmla="*/ 5743 w 5783"/>
                <a:gd name="T1" fmla="*/ 3160 h 3385"/>
                <a:gd name="T2" fmla="*/ 5671 w 5783"/>
                <a:gd name="T3" fmla="*/ 3369 h 3385"/>
                <a:gd name="T4" fmla="*/ 3949 w 5783"/>
                <a:gd name="T5" fmla="*/ 3327 h 3385"/>
                <a:gd name="T6" fmla="*/ 3974 w 5783"/>
                <a:gd name="T7" fmla="*/ 3106 h 3385"/>
                <a:gd name="T8" fmla="*/ 5631 w 5783"/>
                <a:gd name="T9" fmla="*/ 2637 h 3385"/>
                <a:gd name="T10" fmla="*/ 5702 w 5783"/>
                <a:gd name="T11" fmla="*/ 2848 h 3385"/>
                <a:gd name="T12" fmla="*/ 3995 w 5783"/>
                <a:gd name="T13" fmla="*/ 2930 h 3385"/>
                <a:gd name="T14" fmla="*/ 3879 w 5783"/>
                <a:gd name="T15" fmla="*/ 2742 h 3385"/>
                <a:gd name="T16" fmla="*/ 4097 w 5783"/>
                <a:gd name="T17" fmla="*/ 2172 h 3385"/>
                <a:gd name="T18" fmla="*/ 5780 w 5783"/>
                <a:gd name="T19" fmla="*/ 2293 h 3385"/>
                <a:gd name="T20" fmla="*/ 5666 w 5783"/>
                <a:gd name="T21" fmla="*/ 2483 h 3385"/>
                <a:gd name="T22" fmla="*/ 3958 w 5783"/>
                <a:gd name="T23" fmla="*/ 2398 h 3385"/>
                <a:gd name="T24" fmla="*/ 4028 w 5783"/>
                <a:gd name="T25" fmla="*/ 2188 h 3385"/>
                <a:gd name="T26" fmla="*/ 4330 w 5783"/>
                <a:gd name="T27" fmla="*/ 1434 h 3385"/>
                <a:gd name="T28" fmla="*/ 4416 w 5783"/>
                <a:gd name="T29" fmla="*/ 1766 h 3385"/>
                <a:gd name="T30" fmla="*/ 4140 w 5783"/>
                <a:gd name="T31" fmla="*/ 1961 h 3385"/>
                <a:gd name="T32" fmla="*/ 3867 w 5783"/>
                <a:gd name="T33" fmla="*/ 1766 h 3385"/>
                <a:gd name="T34" fmla="*/ 3953 w 5783"/>
                <a:gd name="T35" fmla="*/ 1434 h 3385"/>
                <a:gd name="T36" fmla="*/ 1099 w 5783"/>
                <a:gd name="T37" fmla="*/ 1384 h 3385"/>
                <a:gd name="T38" fmla="*/ 1290 w 5783"/>
                <a:gd name="T39" fmla="*/ 1663 h 3385"/>
                <a:gd name="T40" fmla="*/ 1099 w 5783"/>
                <a:gd name="T41" fmla="*/ 1942 h 3385"/>
                <a:gd name="T42" fmla="*/ 772 w 5783"/>
                <a:gd name="T43" fmla="*/ 1854 h 3385"/>
                <a:gd name="T44" fmla="*/ 744 w 5783"/>
                <a:gd name="T45" fmla="*/ 1512 h 3385"/>
                <a:gd name="T46" fmla="*/ 2464 w 5783"/>
                <a:gd name="T47" fmla="*/ 1001 h 3385"/>
                <a:gd name="T48" fmla="*/ 2185 w 5783"/>
                <a:gd name="T49" fmla="*/ 1319 h 3385"/>
                <a:gd name="T50" fmla="*/ 2210 w 5783"/>
                <a:gd name="T51" fmla="*/ 1617 h 3385"/>
                <a:gd name="T52" fmla="*/ 2531 w 5783"/>
                <a:gd name="T53" fmla="*/ 1775 h 3385"/>
                <a:gd name="T54" fmla="*/ 2661 w 5783"/>
                <a:gd name="T55" fmla="*/ 1898 h 3385"/>
                <a:gd name="T56" fmla="*/ 2438 w 5783"/>
                <a:gd name="T57" fmla="*/ 1949 h 3385"/>
                <a:gd name="T58" fmla="*/ 2243 w 5783"/>
                <a:gd name="T59" fmla="*/ 2142 h 3385"/>
                <a:gd name="T60" fmla="*/ 2726 w 5783"/>
                <a:gd name="T61" fmla="*/ 2145 h 3385"/>
                <a:gd name="T62" fmla="*/ 2986 w 5783"/>
                <a:gd name="T63" fmla="*/ 1900 h 3385"/>
                <a:gd name="T64" fmla="*/ 2863 w 5783"/>
                <a:gd name="T65" fmla="*/ 1619 h 3385"/>
                <a:gd name="T66" fmla="*/ 2508 w 5783"/>
                <a:gd name="T67" fmla="*/ 1471 h 3385"/>
                <a:gd name="T68" fmla="*/ 2512 w 5783"/>
                <a:gd name="T69" fmla="*/ 1369 h 3385"/>
                <a:gd name="T70" fmla="*/ 2817 w 5783"/>
                <a:gd name="T71" fmla="*/ 1385 h 3385"/>
                <a:gd name="T72" fmla="*/ 2775 w 5783"/>
                <a:gd name="T73" fmla="*/ 1148 h 3385"/>
                <a:gd name="T74" fmla="*/ 2764 w 5783"/>
                <a:gd name="T75" fmla="*/ 578 h 3385"/>
                <a:gd name="T76" fmla="*/ 3314 w 5783"/>
                <a:gd name="T77" fmla="*/ 959 h 3385"/>
                <a:gd name="T78" fmla="*/ 3533 w 5783"/>
                <a:gd name="T79" fmla="*/ 1663 h 3385"/>
                <a:gd name="T80" fmla="*/ 3314 w 5783"/>
                <a:gd name="T81" fmla="*/ 2367 h 3385"/>
                <a:gd name="T82" fmla="*/ 2764 w 5783"/>
                <a:gd name="T83" fmla="*/ 2748 h 3385"/>
                <a:gd name="T84" fmla="*/ 2110 w 5783"/>
                <a:gd name="T85" fmla="*/ 2635 h 3385"/>
                <a:gd name="T86" fmla="*/ 1680 w 5783"/>
                <a:gd name="T87" fmla="*/ 2093 h 3385"/>
                <a:gd name="T88" fmla="*/ 1648 w 5783"/>
                <a:gd name="T89" fmla="*/ 1334 h 3385"/>
                <a:gd name="T90" fmla="*/ 2029 w 5783"/>
                <a:gd name="T91" fmla="*/ 744 h 3385"/>
                <a:gd name="T92" fmla="*/ 176 w 5783"/>
                <a:gd name="T93" fmla="*/ 0 h 3385"/>
                <a:gd name="T94" fmla="*/ 5134 w 5783"/>
                <a:gd name="T95" fmla="*/ 139 h 3385"/>
                <a:gd name="T96" fmla="*/ 4613 w 5783"/>
                <a:gd name="T97" fmla="*/ 748 h 3385"/>
                <a:gd name="T98" fmla="*/ 4326 w 5783"/>
                <a:gd name="T99" fmla="*/ 321 h 3385"/>
                <a:gd name="T100" fmla="*/ 583 w 5783"/>
                <a:gd name="T101" fmla="*/ 702 h 3385"/>
                <a:gd name="T102" fmla="*/ 456 w 5783"/>
                <a:gd name="T103" fmla="*/ 2590 h 3385"/>
                <a:gd name="T104" fmla="*/ 785 w 5783"/>
                <a:gd name="T105" fmla="*/ 2965 h 3385"/>
                <a:gd name="T106" fmla="*/ 3726 w 5783"/>
                <a:gd name="T107" fmla="*/ 3274 h 3385"/>
                <a:gd name="T108" fmla="*/ 39 w 5783"/>
                <a:gd name="T109" fmla="*/ 3294 h 3385"/>
                <a:gd name="T110" fmla="*/ 39 w 5783"/>
                <a:gd name="T111" fmla="*/ 67 h 3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783" h="3385">
                  <a:moveTo>
                    <a:pt x="4070" y="3072"/>
                  </a:moveTo>
                  <a:lnTo>
                    <a:pt x="5604" y="3072"/>
                  </a:lnTo>
                  <a:lnTo>
                    <a:pt x="5639" y="3076"/>
                  </a:lnTo>
                  <a:lnTo>
                    <a:pt x="5671" y="3088"/>
                  </a:lnTo>
                  <a:lnTo>
                    <a:pt x="5701" y="3106"/>
                  </a:lnTo>
                  <a:lnTo>
                    <a:pt x="5724" y="3130"/>
                  </a:lnTo>
                  <a:lnTo>
                    <a:pt x="5743" y="3160"/>
                  </a:lnTo>
                  <a:lnTo>
                    <a:pt x="5753" y="3194"/>
                  </a:lnTo>
                  <a:lnTo>
                    <a:pt x="5759" y="3229"/>
                  </a:lnTo>
                  <a:lnTo>
                    <a:pt x="5753" y="3266"/>
                  </a:lnTo>
                  <a:lnTo>
                    <a:pt x="5743" y="3297"/>
                  </a:lnTo>
                  <a:lnTo>
                    <a:pt x="5724" y="3327"/>
                  </a:lnTo>
                  <a:lnTo>
                    <a:pt x="5701" y="3352"/>
                  </a:lnTo>
                  <a:lnTo>
                    <a:pt x="5671" y="3369"/>
                  </a:lnTo>
                  <a:lnTo>
                    <a:pt x="5639" y="3381"/>
                  </a:lnTo>
                  <a:lnTo>
                    <a:pt x="5604" y="3385"/>
                  </a:lnTo>
                  <a:lnTo>
                    <a:pt x="4070" y="3385"/>
                  </a:lnTo>
                  <a:lnTo>
                    <a:pt x="4035" y="3381"/>
                  </a:lnTo>
                  <a:lnTo>
                    <a:pt x="4002" y="3369"/>
                  </a:lnTo>
                  <a:lnTo>
                    <a:pt x="3974" y="3352"/>
                  </a:lnTo>
                  <a:lnTo>
                    <a:pt x="3949" y="3327"/>
                  </a:lnTo>
                  <a:lnTo>
                    <a:pt x="3932" y="3297"/>
                  </a:lnTo>
                  <a:lnTo>
                    <a:pt x="3919" y="3266"/>
                  </a:lnTo>
                  <a:lnTo>
                    <a:pt x="3916" y="3229"/>
                  </a:lnTo>
                  <a:lnTo>
                    <a:pt x="3919" y="3194"/>
                  </a:lnTo>
                  <a:lnTo>
                    <a:pt x="3932" y="3160"/>
                  </a:lnTo>
                  <a:lnTo>
                    <a:pt x="3949" y="3130"/>
                  </a:lnTo>
                  <a:lnTo>
                    <a:pt x="3974" y="3106"/>
                  </a:lnTo>
                  <a:lnTo>
                    <a:pt x="4002" y="3088"/>
                  </a:lnTo>
                  <a:lnTo>
                    <a:pt x="4035" y="3076"/>
                  </a:lnTo>
                  <a:lnTo>
                    <a:pt x="4070" y="3072"/>
                  </a:lnTo>
                  <a:close/>
                  <a:moveTo>
                    <a:pt x="4030" y="2621"/>
                  </a:moveTo>
                  <a:lnTo>
                    <a:pt x="5562" y="2621"/>
                  </a:lnTo>
                  <a:lnTo>
                    <a:pt x="5599" y="2625"/>
                  </a:lnTo>
                  <a:lnTo>
                    <a:pt x="5631" y="2637"/>
                  </a:lnTo>
                  <a:lnTo>
                    <a:pt x="5660" y="2656"/>
                  </a:lnTo>
                  <a:lnTo>
                    <a:pt x="5683" y="2679"/>
                  </a:lnTo>
                  <a:lnTo>
                    <a:pt x="5702" y="2709"/>
                  </a:lnTo>
                  <a:lnTo>
                    <a:pt x="5713" y="2742"/>
                  </a:lnTo>
                  <a:lnTo>
                    <a:pt x="5718" y="2778"/>
                  </a:lnTo>
                  <a:lnTo>
                    <a:pt x="5713" y="2814"/>
                  </a:lnTo>
                  <a:lnTo>
                    <a:pt x="5702" y="2848"/>
                  </a:lnTo>
                  <a:lnTo>
                    <a:pt x="5683" y="2876"/>
                  </a:lnTo>
                  <a:lnTo>
                    <a:pt x="5660" y="2900"/>
                  </a:lnTo>
                  <a:lnTo>
                    <a:pt x="5631" y="2920"/>
                  </a:lnTo>
                  <a:lnTo>
                    <a:pt x="5599" y="2930"/>
                  </a:lnTo>
                  <a:lnTo>
                    <a:pt x="5562" y="2936"/>
                  </a:lnTo>
                  <a:lnTo>
                    <a:pt x="4030" y="2936"/>
                  </a:lnTo>
                  <a:lnTo>
                    <a:pt x="3995" y="2930"/>
                  </a:lnTo>
                  <a:lnTo>
                    <a:pt x="3961" y="2920"/>
                  </a:lnTo>
                  <a:lnTo>
                    <a:pt x="3933" y="2900"/>
                  </a:lnTo>
                  <a:lnTo>
                    <a:pt x="3909" y="2876"/>
                  </a:lnTo>
                  <a:lnTo>
                    <a:pt x="3891" y="2848"/>
                  </a:lnTo>
                  <a:lnTo>
                    <a:pt x="3879" y="2814"/>
                  </a:lnTo>
                  <a:lnTo>
                    <a:pt x="3875" y="2778"/>
                  </a:lnTo>
                  <a:lnTo>
                    <a:pt x="3879" y="2742"/>
                  </a:lnTo>
                  <a:lnTo>
                    <a:pt x="3891" y="2709"/>
                  </a:lnTo>
                  <a:lnTo>
                    <a:pt x="3909" y="2679"/>
                  </a:lnTo>
                  <a:lnTo>
                    <a:pt x="3933" y="2656"/>
                  </a:lnTo>
                  <a:lnTo>
                    <a:pt x="3961" y="2637"/>
                  </a:lnTo>
                  <a:lnTo>
                    <a:pt x="3995" y="2625"/>
                  </a:lnTo>
                  <a:lnTo>
                    <a:pt x="4030" y="2621"/>
                  </a:lnTo>
                  <a:close/>
                  <a:moveTo>
                    <a:pt x="4097" y="2172"/>
                  </a:moveTo>
                  <a:lnTo>
                    <a:pt x="5629" y="2172"/>
                  </a:lnTo>
                  <a:lnTo>
                    <a:pt x="5666" y="2177"/>
                  </a:lnTo>
                  <a:lnTo>
                    <a:pt x="5697" y="2188"/>
                  </a:lnTo>
                  <a:lnTo>
                    <a:pt x="5725" y="2207"/>
                  </a:lnTo>
                  <a:lnTo>
                    <a:pt x="5750" y="2232"/>
                  </a:lnTo>
                  <a:lnTo>
                    <a:pt x="5767" y="2260"/>
                  </a:lnTo>
                  <a:lnTo>
                    <a:pt x="5780" y="2293"/>
                  </a:lnTo>
                  <a:lnTo>
                    <a:pt x="5783" y="2328"/>
                  </a:lnTo>
                  <a:lnTo>
                    <a:pt x="5780" y="2365"/>
                  </a:lnTo>
                  <a:lnTo>
                    <a:pt x="5767" y="2398"/>
                  </a:lnTo>
                  <a:lnTo>
                    <a:pt x="5750" y="2428"/>
                  </a:lnTo>
                  <a:lnTo>
                    <a:pt x="5725" y="2451"/>
                  </a:lnTo>
                  <a:lnTo>
                    <a:pt x="5697" y="2470"/>
                  </a:lnTo>
                  <a:lnTo>
                    <a:pt x="5666" y="2483"/>
                  </a:lnTo>
                  <a:lnTo>
                    <a:pt x="5629" y="2486"/>
                  </a:lnTo>
                  <a:lnTo>
                    <a:pt x="4097" y="2486"/>
                  </a:lnTo>
                  <a:lnTo>
                    <a:pt x="4061" y="2483"/>
                  </a:lnTo>
                  <a:lnTo>
                    <a:pt x="4028" y="2470"/>
                  </a:lnTo>
                  <a:lnTo>
                    <a:pt x="4000" y="2451"/>
                  </a:lnTo>
                  <a:lnTo>
                    <a:pt x="3975" y="2428"/>
                  </a:lnTo>
                  <a:lnTo>
                    <a:pt x="3958" y="2398"/>
                  </a:lnTo>
                  <a:lnTo>
                    <a:pt x="3946" y="2365"/>
                  </a:lnTo>
                  <a:lnTo>
                    <a:pt x="3942" y="2328"/>
                  </a:lnTo>
                  <a:lnTo>
                    <a:pt x="3946" y="2293"/>
                  </a:lnTo>
                  <a:lnTo>
                    <a:pt x="3958" y="2260"/>
                  </a:lnTo>
                  <a:lnTo>
                    <a:pt x="3975" y="2232"/>
                  </a:lnTo>
                  <a:lnTo>
                    <a:pt x="4000" y="2207"/>
                  </a:lnTo>
                  <a:lnTo>
                    <a:pt x="4028" y="2188"/>
                  </a:lnTo>
                  <a:lnTo>
                    <a:pt x="4061" y="2177"/>
                  </a:lnTo>
                  <a:lnTo>
                    <a:pt x="4097" y="2172"/>
                  </a:lnTo>
                  <a:close/>
                  <a:moveTo>
                    <a:pt x="4140" y="1364"/>
                  </a:moveTo>
                  <a:lnTo>
                    <a:pt x="4193" y="1369"/>
                  </a:lnTo>
                  <a:lnTo>
                    <a:pt x="4244" y="1384"/>
                  </a:lnTo>
                  <a:lnTo>
                    <a:pt x="4290" y="1406"/>
                  </a:lnTo>
                  <a:lnTo>
                    <a:pt x="4330" y="1434"/>
                  </a:lnTo>
                  <a:lnTo>
                    <a:pt x="4365" y="1471"/>
                  </a:lnTo>
                  <a:lnTo>
                    <a:pt x="4395" y="1512"/>
                  </a:lnTo>
                  <a:lnTo>
                    <a:pt x="4416" y="1559"/>
                  </a:lnTo>
                  <a:lnTo>
                    <a:pt x="4430" y="1610"/>
                  </a:lnTo>
                  <a:lnTo>
                    <a:pt x="4435" y="1663"/>
                  </a:lnTo>
                  <a:lnTo>
                    <a:pt x="4430" y="1717"/>
                  </a:lnTo>
                  <a:lnTo>
                    <a:pt x="4416" y="1766"/>
                  </a:lnTo>
                  <a:lnTo>
                    <a:pt x="4395" y="1814"/>
                  </a:lnTo>
                  <a:lnTo>
                    <a:pt x="4365" y="1854"/>
                  </a:lnTo>
                  <a:lnTo>
                    <a:pt x="4330" y="1891"/>
                  </a:lnTo>
                  <a:lnTo>
                    <a:pt x="4290" y="1921"/>
                  </a:lnTo>
                  <a:lnTo>
                    <a:pt x="4244" y="1942"/>
                  </a:lnTo>
                  <a:lnTo>
                    <a:pt x="4193" y="1956"/>
                  </a:lnTo>
                  <a:lnTo>
                    <a:pt x="4140" y="1961"/>
                  </a:lnTo>
                  <a:lnTo>
                    <a:pt x="4088" y="1956"/>
                  </a:lnTo>
                  <a:lnTo>
                    <a:pt x="4039" y="1942"/>
                  </a:lnTo>
                  <a:lnTo>
                    <a:pt x="3993" y="1921"/>
                  </a:lnTo>
                  <a:lnTo>
                    <a:pt x="3953" y="1891"/>
                  </a:lnTo>
                  <a:lnTo>
                    <a:pt x="3917" y="1854"/>
                  </a:lnTo>
                  <a:lnTo>
                    <a:pt x="3888" y="1814"/>
                  </a:lnTo>
                  <a:lnTo>
                    <a:pt x="3867" y="1766"/>
                  </a:lnTo>
                  <a:lnTo>
                    <a:pt x="3853" y="1717"/>
                  </a:lnTo>
                  <a:lnTo>
                    <a:pt x="3847" y="1663"/>
                  </a:lnTo>
                  <a:lnTo>
                    <a:pt x="3853" y="1610"/>
                  </a:lnTo>
                  <a:lnTo>
                    <a:pt x="3867" y="1559"/>
                  </a:lnTo>
                  <a:lnTo>
                    <a:pt x="3888" y="1512"/>
                  </a:lnTo>
                  <a:lnTo>
                    <a:pt x="3917" y="1471"/>
                  </a:lnTo>
                  <a:lnTo>
                    <a:pt x="3953" y="1434"/>
                  </a:lnTo>
                  <a:lnTo>
                    <a:pt x="3993" y="1406"/>
                  </a:lnTo>
                  <a:lnTo>
                    <a:pt x="4039" y="1384"/>
                  </a:lnTo>
                  <a:lnTo>
                    <a:pt x="4088" y="1369"/>
                  </a:lnTo>
                  <a:lnTo>
                    <a:pt x="4140" y="1364"/>
                  </a:lnTo>
                  <a:close/>
                  <a:moveTo>
                    <a:pt x="997" y="1364"/>
                  </a:moveTo>
                  <a:lnTo>
                    <a:pt x="1050" y="1369"/>
                  </a:lnTo>
                  <a:lnTo>
                    <a:pt x="1099" y="1384"/>
                  </a:lnTo>
                  <a:lnTo>
                    <a:pt x="1144" y="1406"/>
                  </a:lnTo>
                  <a:lnTo>
                    <a:pt x="1185" y="1434"/>
                  </a:lnTo>
                  <a:lnTo>
                    <a:pt x="1222" y="1471"/>
                  </a:lnTo>
                  <a:lnTo>
                    <a:pt x="1250" y="1512"/>
                  </a:lnTo>
                  <a:lnTo>
                    <a:pt x="1272" y="1559"/>
                  </a:lnTo>
                  <a:lnTo>
                    <a:pt x="1285" y="1610"/>
                  </a:lnTo>
                  <a:lnTo>
                    <a:pt x="1290" y="1663"/>
                  </a:lnTo>
                  <a:lnTo>
                    <a:pt x="1285" y="1717"/>
                  </a:lnTo>
                  <a:lnTo>
                    <a:pt x="1272" y="1766"/>
                  </a:lnTo>
                  <a:lnTo>
                    <a:pt x="1250" y="1814"/>
                  </a:lnTo>
                  <a:lnTo>
                    <a:pt x="1222" y="1854"/>
                  </a:lnTo>
                  <a:lnTo>
                    <a:pt x="1186" y="1891"/>
                  </a:lnTo>
                  <a:lnTo>
                    <a:pt x="1144" y="1921"/>
                  </a:lnTo>
                  <a:lnTo>
                    <a:pt x="1099" y="1942"/>
                  </a:lnTo>
                  <a:lnTo>
                    <a:pt x="1050" y="1956"/>
                  </a:lnTo>
                  <a:lnTo>
                    <a:pt x="997" y="1961"/>
                  </a:lnTo>
                  <a:lnTo>
                    <a:pt x="944" y="1956"/>
                  </a:lnTo>
                  <a:lnTo>
                    <a:pt x="895" y="1942"/>
                  </a:lnTo>
                  <a:lnTo>
                    <a:pt x="849" y="1921"/>
                  </a:lnTo>
                  <a:lnTo>
                    <a:pt x="807" y="1891"/>
                  </a:lnTo>
                  <a:lnTo>
                    <a:pt x="772" y="1854"/>
                  </a:lnTo>
                  <a:lnTo>
                    <a:pt x="744" y="1814"/>
                  </a:lnTo>
                  <a:lnTo>
                    <a:pt x="721" y="1766"/>
                  </a:lnTo>
                  <a:lnTo>
                    <a:pt x="709" y="1717"/>
                  </a:lnTo>
                  <a:lnTo>
                    <a:pt x="704" y="1663"/>
                  </a:lnTo>
                  <a:lnTo>
                    <a:pt x="709" y="1610"/>
                  </a:lnTo>
                  <a:lnTo>
                    <a:pt x="721" y="1559"/>
                  </a:lnTo>
                  <a:lnTo>
                    <a:pt x="744" y="1512"/>
                  </a:lnTo>
                  <a:lnTo>
                    <a:pt x="772" y="1471"/>
                  </a:lnTo>
                  <a:lnTo>
                    <a:pt x="807" y="1434"/>
                  </a:lnTo>
                  <a:lnTo>
                    <a:pt x="849" y="1406"/>
                  </a:lnTo>
                  <a:lnTo>
                    <a:pt x="895" y="1384"/>
                  </a:lnTo>
                  <a:lnTo>
                    <a:pt x="944" y="1369"/>
                  </a:lnTo>
                  <a:lnTo>
                    <a:pt x="997" y="1364"/>
                  </a:lnTo>
                  <a:close/>
                  <a:moveTo>
                    <a:pt x="2464" y="1001"/>
                  </a:moveTo>
                  <a:lnTo>
                    <a:pt x="2464" y="1154"/>
                  </a:lnTo>
                  <a:lnTo>
                    <a:pt x="2399" y="1168"/>
                  </a:lnTo>
                  <a:lnTo>
                    <a:pt x="2341" y="1189"/>
                  </a:lnTo>
                  <a:lnTo>
                    <a:pt x="2292" y="1215"/>
                  </a:lnTo>
                  <a:lnTo>
                    <a:pt x="2248" y="1245"/>
                  </a:lnTo>
                  <a:lnTo>
                    <a:pt x="2213" y="1280"/>
                  </a:lnTo>
                  <a:lnTo>
                    <a:pt x="2185" y="1319"/>
                  </a:lnTo>
                  <a:lnTo>
                    <a:pt x="2164" y="1361"/>
                  </a:lnTo>
                  <a:lnTo>
                    <a:pt x="2152" y="1406"/>
                  </a:lnTo>
                  <a:lnTo>
                    <a:pt x="2148" y="1455"/>
                  </a:lnTo>
                  <a:lnTo>
                    <a:pt x="2152" y="1501"/>
                  </a:lnTo>
                  <a:lnTo>
                    <a:pt x="2164" y="1545"/>
                  </a:lnTo>
                  <a:lnTo>
                    <a:pt x="2183" y="1582"/>
                  </a:lnTo>
                  <a:lnTo>
                    <a:pt x="2210" y="1617"/>
                  </a:lnTo>
                  <a:lnTo>
                    <a:pt x="2241" y="1647"/>
                  </a:lnTo>
                  <a:lnTo>
                    <a:pt x="2280" y="1675"/>
                  </a:lnTo>
                  <a:lnTo>
                    <a:pt x="2322" y="1700"/>
                  </a:lnTo>
                  <a:lnTo>
                    <a:pt x="2371" y="1721"/>
                  </a:lnTo>
                  <a:lnTo>
                    <a:pt x="2424" y="1742"/>
                  </a:lnTo>
                  <a:lnTo>
                    <a:pt x="2480" y="1759"/>
                  </a:lnTo>
                  <a:lnTo>
                    <a:pt x="2531" y="1775"/>
                  </a:lnTo>
                  <a:lnTo>
                    <a:pt x="2573" y="1791"/>
                  </a:lnTo>
                  <a:lnTo>
                    <a:pt x="2608" y="1805"/>
                  </a:lnTo>
                  <a:lnTo>
                    <a:pt x="2633" y="1821"/>
                  </a:lnTo>
                  <a:lnTo>
                    <a:pt x="2650" y="1838"/>
                  </a:lnTo>
                  <a:lnTo>
                    <a:pt x="2661" y="1858"/>
                  </a:lnTo>
                  <a:lnTo>
                    <a:pt x="2664" y="1877"/>
                  </a:lnTo>
                  <a:lnTo>
                    <a:pt x="2661" y="1898"/>
                  </a:lnTo>
                  <a:lnTo>
                    <a:pt x="2650" y="1915"/>
                  </a:lnTo>
                  <a:lnTo>
                    <a:pt x="2633" y="1930"/>
                  </a:lnTo>
                  <a:lnTo>
                    <a:pt x="2608" y="1940"/>
                  </a:lnTo>
                  <a:lnTo>
                    <a:pt x="2580" y="1947"/>
                  </a:lnTo>
                  <a:lnTo>
                    <a:pt x="2547" y="1951"/>
                  </a:lnTo>
                  <a:lnTo>
                    <a:pt x="2510" y="1952"/>
                  </a:lnTo>
                  <a:lnTo>
                    <a:pt x="2438" y="1949"/>
                  </a:lnTo>
                  <a:lnTo>
                    <a:pt x="2369" y="1938"/>
                  </a:lnTo>
                  <a:lnTo>
                    <a:pt x="2306" y="1921"/>
                  </a:lnTo>
                  <a:lnTo>
                    <a:pt x="2248" y="1901"/>
                  </a:lnTo>
                  <a:lnTo>
                    <a:pt x="2197" y="1880"/>
                  </a:lnTo>
                  <a:lnTo>
                    <a:pt x="2140" y="2105"/>
                  </a:lnTo>
                  <a:lnTo>
                    <a:pt x="2187" y="2124"/>
                  </a:lnTo>
                  <a:lnTo>
                    <a:pt x="2243" y="2142"/>
                  </a:lnTo>
                  <a:lnTo>
                    <a:pt x="2310" y="2158"/>
                  </a:lnTo>
                  <a:lnTo>
                    <a:pt x="2380" y="2168"/>
                  </a:lnTo>
                  <a:lnTo>
                    <a:pt x="2454" y="2175"/>
                  </a:lnTo>
                  <a:lnTo>
                    <a:pt x="2454" y="2326"/>
                  </a:lnTo>
                  <a:lnTo>
                    <a:pt x="2657" y="2326"/>
                  </a:lnTo>
                  <a:lnTo>
                    <a:pt x="2657" y="2161"/>
                  </a:lnTo>
                  <a:lnTo>
                    <a:pt x="2726" y="2145"/>
                  </a:lnTo>
                  <a:lnTo>
                    <a:pt x="2785" y="2124"/>
                  </a:lnTo>
                  <a:lnTo>
                    <a:pt x="2838" y="2098"/>
                  </a:lnTo>
                  <a:lnTo>
                    <a:pt x="2884" y="2066"/>
                  </a:lnTo>
                  <a:lnTo>
                    <a:pt x="2921" y="2030"/>
                  </a:lnTo>
                  <a:lnTo>
                    <a:pt x="2950" y="1989"/>
                  </a:lnTo>
                  <a:lnTo>
                    <a:pt x="2971" y="1945"/>
                  </a:lnTo>
                  <a:lnTo>
                    <a:pt x="2986" y="1900"/>
                  </a:lnTo>
                  <a:lnTo>
                    <a:pt x="2989" y="1851"/>
                  </a:lnTo>
                  <a:lnTo>
                    <a:pt x="2986" y="1803"/>
                  </a:lnTo>
                  <a:lnTo>
                    <a:pt x="2977" y="1759"/>
                  </a:lnTo>
                  <a:lnTo>
                    <a:pt x="2959" y="1719"/>
                  </a:lnTo>
                  <a:lnTo>
                    <a:pt x="2935" y="1684"/>
                  </a:lnTo>
                  <a:lnTo>
                    <a:pt x="2903" y="1649"/>
                  </a:lnTo>
                  <a:lnTo>
                    <a:pt x="2863" y="1619"/>
                  </a:lnTo>
                  <a:lnTo>
                    <a:pt x="2812" y="1591"/>
                  </a:lnTo>
                  <a:lnTo>
                    <a:pt x="2752" y="1564"/>
                  </a:lnTo>
                  <a:lnTo>
                    <a:pt x="2682" y="1542"/>
                  </a:lnTo>
                  <a:lnTo>
                    <a:pt x="2624" y="1522"/>
                  </a:lnTo>
                  <a:lnTo>
                    <a:pt x="2577" y="1505"/>
                  </a:lnTo>
                  <a:lnTo>
                    <a:pt x="2538" y="1487"/>
                  </a:lnTo>
                  <a:lnTo>
                    <a:pt x="2508" y="1471"/>
                  </a:lnTo>
                  <a:lnTo>
                    <a:pt x="2489" y="1455"/>
                  </a:lnTo>
                  <a:lnTo>
                    <a:pt x="2477" y="1440"/>
                  </a:lnTo>
                  <a:lnTo>
                    <a:pt x="2473" y="1422"/>
                  </a:lnTo>
                  <a:lnTo>
                    <a:pt x="2475" y="1408"/>
                  </a:lnTo>
                  <a:lnTo>
                    <a:pt x="2482" y="1392"/>
                  </a:lnTo>
                  <a:lnTo>
                    <a:pt x="2494" y="1380"/>
                  </a:lnTo>
                  <a:lnTo>
                    <a:pt x="2512" y="1369"/>
                  </a:lnTo>
                  <a:lnTo>
                    <a:pt x="2536" y="1361"/>
                  </a:lnTo>
                  <a:lnTo>
                    <a:pt x="2570" y="1354"/>
                  </a:lnTo>
                  <a:lnTo>
                    <a:pt x="2610" y="1352"/>
                  </a:lnTo>
                  <a:lnTo>
                    <a:pt x="2673" y="1355"/>
                  </a:lnTo>
                  <a:lnTo>
                    <a:pt x="2728" y="1362"/>
                  </a:lnTo>
                  <a:lnTo>
                    <a:pt x="2777" y="1373"/>
                  </a:lnTo>
                  <a:lnTo>
                    <a:pt x="2817" y="1385"/>
                  </a:lnTo>
                  <a:lnTo>
                    <a:pt x="2852" y="1398"/>
                  </a:lnTo>
                  <a:lnTo>
                    <a:pt x="2878" y="1408"/>
                  </a:lnTo>
                  <a:lnTo>
                    <a:pt x="2935" y="1192"/>
                  </a:lnTo>
                  <a:lnTo>
                    <a:pt x="2901" y="1178"/>
                  </a:lnTo>
                  <a:lnTo>
                    <a:pt x="2864" y="1168"/>
                  </a:lnTo>
                  <a:lnTo>
                    <a:pt x="2822" y="1157"/>
                  </a:lnTo>
                  <a:lnTo>
                    <a:pt x="2775" y="1148"/>
                  </a:lnTo>
                  <a:lnTo>
                    <a:pt x="2722" y="1143"/>
                  </a:lnTo>
                  <a:lnTo>
                    <a:pt x="2664" y="1139"/>
                  </a:lnTo>
                  <a:lnTo>
                    <a:pt x="2664" y="1001"/>
                  </a:lnTo>
                  <a:lnTo>
                    <a:pt x="2464" y="1001"/>
                  </a:lnTo>
                  <a:close/>
                  <a:moveTo>
                    <a:pt x="2570" y="557"/>
                  </a:moveTo>
                  <a:lnTo>
                    <a:pt x="2668" y="562"/>
                  </a:lnTo>
                  <a:lnTo>
                    <a:pt x="2764" y="578"/>
                  </a:lnTo>
                  <a:lnTo>
                    <a:pt x="2856" y="606"/>
                  </a:lnTo>
                  <a:lnTo>
                    <a:pt x="2945" y="643"/>
                  </a:lnTo>
                  <a:lnTo>
                    <a:pt x="3029" y="690"/>
                  </a:lnTo>
                  <a:lnTo>
                    <a:pt x="3108" y="744"/>
                  </a:lnTo>
                  <a:lnTo>
                    <a:pt x="3182" y="809"/>
                  </a:lnTo>
                  <a:lnTo>
                    <a:pt x="3251" y="880"/>
                  </a:lnTo>
                  <a:lnTo>
                    <a:pt x="3314" y="959"/>
                  </a:lnTo>
                  <a:lnTo>
                    <a:pt x="3368" y="1045"/>
                  </a:lnTo>
                  <a:lnTo>
                    <a:pt x="3417" y="1136"/>
                  </a:lnTo>
                  <a:lnTo>
                    <a:pt x="3458" y="1233"/>
                  </a:lnTo>
                  <a:lnTo>
                    <a:pt x="3491" y="1334"/>
                  </a:lnTo>
                  <a:lnTo>
                    <a:pt x="3514" y="1440"/>
                  </a:lnTo>
                  <a:lnTo>
                    <a:pt x="3528" y="1550"/>
                  </a:lnTo>
                  <a:lnTo>
                    <a:pt x="3533" y="1663"/>
                  </a:lnTo>
                  <a:lnTo>
                    <a:pt x="3528" y="1777"/>
                  </a:lnTo>
                  <a:lnTo>
                    <a:pt x="3514" y="1886"/>
                  </a:lnTo>
                  <a:lnTo>
                    <a:pt x="3491" y="1993"/>
                  </a:lnTo>
                  <a:lnTo>
                    <a:pt x="3458" y="2093"/>
                  </a:lnTo>
                  <a:lnTo>
                    <a:pt x="3417" y="2191"/>
                  </a:lnTo>
                  <a:lnTo>
                    <a:pt x="3370" y="2282"/>
                  </a:lnTo>
                  <a:lnTo>
                    <a:pt x="3314" y="2367"/>
                  </a:lnTo>
                  <a:lnTo>
                    <a:pt x="3251" y="2446"/>
                  </a:lnTo>
                  <a:lnTo>
                    <a:pt x="3182" y="2516"/>
                  </a:lnTo>
                  <a:lnTo>
                    <a:pt x="3108" y="2581"/>
                  </a:lnTo>
                  <a:lnTo>
                    <a:pt x="3029" y="2635"/>
                  </a:lnTo>
                  <a:lnTo>
                    <a:pt x="2945" y="2683"/>
                  </a:lnTo>
                  <a:lnTo>
                    <a:pt x="2856" y="2720"/>
                  </a:lnTo>
                  <a:lnTo>
                    <a:pt x="2764" y="2748"/>
                  </a:lnTo>
                  <a:lnTo>
                    <a:pt x="2668" y="2763"/>
                  </a:lnTo>
                  <a:lnTo>
                    <a:pt x="2570" y="2769"/>
                  </a:lnTo>
                  <a:lnTo>
                    <a:pt x="2471" y="2763"/>
                  </a:lnTo>
                  <a:lnTo>
                    <a:pt x="2375" y="2748"/>
                  </a:lnTo>
                  <a:lnTo>
                    <a:pt x="2282" y="2720"/>
                  </a:lnTo>
                  <a:lnTo>
                    <a:pt x="2194" y="2683"/>
                  </a:lnTo>
                  <a:lnTo>
                    <a:pt x="2110" y="2635"/>
                  </a:lnTo>
                  <a:lnTo>
                    <a:pt x="2029" y="2581"/>
                  </a:lnTo>
                  <a:lnTo>
                    <a:pt x="1955" y="2516"/>
                  </a:lnTo>
                  <a:lnTo>
                    <a:pt x="1887" y="2446"/>
                  </a:lnTo>
                  <a:lnTo>
                    <a:pt x="1825" y="2367"/>
                  </a:lnTo>
                  <a:lnTo>
                    <a:pt x="1769" y="2282"/>
                  </a:lnTo>
                  <a:lnTo>
                    <a:pt x="1720" y="2191"/>
                  </a:lnTo>
                  <a:lnTo>
                    <a:pt x="1680" y="2093"/>
                  </a:lnTo>
                  <a:lnTo>
                    <a:pt x="1648" y="1993"/>
                  </a:lnTo>
                  <a:lnTo>
                    <a:pt x="1624" y="1886"/>
                  </a:lnTo>
                  <a:lnTo>
                    <a:pt x="1609" y="1777"/>
                  </a:lnTo>
                  <a:lnTo>
                    <a:pt x="1604" y="1663"/>
                  </a:lnTo>
                  <a:lnTo>
                    <a:pt x="1609" y="1550"/>
                  </a:lnTo>
                  <a:lnTo>
                    <a:pt x="1624" y="1440"/>
                  </a:lnTo>
                  <a:lnTo>
                    <a:pt x="1648" y="1334"/>
                  </a:lnTo>
                  <a:lnTo>
                    <a:pt x="1680" y="1233"/>
                  </a:lnTo>
                  <a:lnTo>
                    <a:pt x="1720" y="1136"/>
                  </a:lnTo>
                  <a:lnTo>
                    <a:pt x="1769" y="1045"/>
                  </a:lnTo>
                  <a:lnTo>
                    <a:pt x="1825" y="959"/>
                  </a:lnTo>
                  <a:lnTo>
                    <a:pt x="1887" y="880"/>
                  </a:lnTo>
                  <a:lnTo>
                    <a:pt x="1955" y="809"/>
                  </a:lnTo>
                  <a:lnTo>
                    <a:pt x="2029" y="744"/>
                  </a:lnTo>
                  <a:lnTo>
                    <a:pt x="2110" y="690"/>
                  </a:lnTo>
                  <a:lnTo>
                    <a:pt x="2194" y="643"/>
                  </a:lnTo>
                  <a:lnTo>
                    <a:pt x="2282" y="606"/>
                  </a:lnTo>
                  <a:lnTo>
                    <a:pt x="2375" y="578"/>
                  </a:lnTo>
                  <a:lnTo>
                    <a:pt x="2471" y="562"/>
                  </a:lnTo>
                  <a:lnTo>
                    <a:pt x="2570" y="557"/>
                  </a:lnTo>
                  <a:close/>
                  <a:moveTo>
                    <a:pt x="176" y="0"/>
                  </a:moveTo>
                  <a:lnTo>
                    <a:pt x="4962" y="0"/>
                  </a:lnTo>
                  <a:lnTo>
                    <a:pt x="5002" y="5"/>
                  </a:lnTo>
                  <a:lnTo>
                    <a:pt x="5039" y="18"/>
                  </a:lnTo>
                  <a:lnTo>
                    <a:pt x="5072" y="39"/>
                  </a:lnTo>
                  <a:lnTo>
                    <a:pt x="5100" y="67"/>
                  </a:lnTo>
                  <a:lnTo>
                    <a:pt x="5120" y="100"/>
                  </a:lnTo>
                  <a:lnTo>
                    <a:pt x="5134" y="139"/>
                  </a:lnTo>
                  <a:lnTo>
                    <a:pt x="5139" y="179"/>
                  </a:lnTo>
                  <a:lnTo>
                    <a:pt x="5139" y="1975"/>
                  </a:lnTo>
                  <a:lnTo>
                    <a:pt x="4821" y="1975"/>
                  </a:lnTo>
                  <a:lnTo>
                    <a:pt x="4821" y="830"/>
                  </a:lnTo>
                  <a:lnTo>
                    <a:pt x="4748" y="811"/>
                  </a:lnTo>
                  <a:lnTo>
                    <a:pt x="4677" y="783"/>
                  </a:lnTo>
                  <a:lnTo>
                    <a:pt x="4613" y="748"/>
                  </a:lnTo>
                  <a:lnTo>
                    <a:pt x="4551" y="704"/>
                  </a:lnTo>
                  <a:lnTo>
                    <a:pt x="4497" y="655"/>
                  </a:lnTo>
                  <a:lnTo>
                    <a:pt x="4448" y="599"/>
                  </a:lnTo>
                  <a:lnTo>
                    <a:pt x="4405" y="536"/>
                  </a:lnTo>
                  <a:lnTo>
                    <a:pt x="4372" y="469"/>
                  </a:lnTo>
                  <a:lnTo>
                    <a:pt x="4344" y="397"/>
                  </a:lnTo>
                  <a:lnTo>
                    <a:pt x="4326" y="321"/>
                  </a:lnTo>
                  <a:lnTo>
                    <a:pt x="806" y="321"/>
                  </a:lnTo>
                  <a:lnTo>
                    <a:pt x="786" y="397"/>
                  </a:lnTo>
                  <a:lnTo>
                    <a:pt x="760" y="467"/>
                  </a:lnTo>
                  <a:lnTo>
                    <a:pt x="727" y="534"/>
                  </a:lnTo>
                  <a:lnTo>
                    <a:pt x="685" y="595"/>
                  </a:lnTo>
                  <a:lnTo>
                    <a:pt x="637" y="653"/>
                  </a:lnTo>
                  <a:lnTo>
                    <a:pt x="583" y="702"/>
                  </a:lnTo>
                  <a:lnTo>
                    <a:pt x="523" y="746"/>
                  </a:lnTo>
                  <a:lnTo>
                    <a:pt x="458" y="781"/>
                  </a:lnTo>
                  <a:lnTo>
                    <a:pt x="390" y="809"/>
                  </a:lnTo>
                  <a:lnTo>
                    <a:pt x="316" y="830"/>
                  </a:lnTo>
                  <a:lnTo>
                    <a:pt x="316" y="2542"/>
                  </a:lnTo>
                  <a:lnTo>
                    <a:pt x="388" y="2562"/>
                  </a:lnTo>
                  <a:lnTo>
                    <a:pt x="456" y="2590"/>
                  </a:lnTo>
                  <a:lnTo>
                    <a:pt x="520" y="2625"/>
                  </a:lnTo>
                  <a:lnTo>
                    <a:pt x="579" y="2667"/>
                  </a:lnTo>
                  <a:lnTo>
                    <a:pt x="634" y="2716"/>
                  </a:lnTo>
                  <a:lnTo>
                    <a:pt x="681" y="2771"/>
                  </a:lnTo>
                  <a:lnTo>
                    <a:pt x="723" y="2830"/>
                  </a:lnTo>
                  <a:lnTo>
                    <a:pt x="758" y="2897"/>
                  </a:lnTo>
                  <a:lnTo>
                    <a:pt x="785" y="2965"/>
                  </a:lnTo>
                  <a:lnTo>
                    <a:pt x="804" y="3039"/>
                  </a:lnTo>
                  <a:lnTo>
                    <a:pt x="3779" y="3039"/>
                  </a:lnTo>
                  <a:lnTo>
                    <a:pt x="3756" y="3081"/>
                  </a:lnTo>
                  <a:lnTo>
                    <a:pt x="3738" y="3129"/>
                  </a:lnTo>
                  <a:lnTo>
                    <a:pt x="3728" y="3178"/>
                  </a:lnTo>
                  <a:lnTo>
                    <a:pt x="3724" y="3229"/>
                  </a:lnTo>
                  <a:lnTo>
                    <a:pt x="3726" y="3274"/>
                  </a:lnTo>
                  <a:lnTo>
                    <a:pt x="3735" y="3318"/>
                  </a:lnTo>
                  <a:lnTo>
                    <a:pt x="3749" y="3360"/>
                  </a:lnTo>
                  <a:lnTo>
                    <a:pt x="176" y="3360"/>
                  </a:lnTo>
                  <a:lnTo>
                    <a:pt x="135" y="3355"/>
                  </a:lnTo>
                  <a:lnTo>
                    <a:pt x="98" y="3343"/>
                  </a:lnTo>
                  <a:lnTo>
                    <a:pt x="65" y="3322"/>
                  </a:lnTo>
                  <a:lnTo>
                    <a:pt x="39" y="3294"/>
                  </a:lnTo>
                  <a:lnTo>
                    <a:pt x="18" y="3260"/>
                  </a:lnTo>
                  <a:lnTo>
                    <a:pt x="5" y="3223"/>
                  </a:lnTo>
                  <a:lnTo>
                    <a:pt x="0" y="3181"/>
                  </a:lnTo>
                  <a:lnTo>
                    <a:pt x="0" y="179"/>
                  </a:lnTo>
                  <a:lnTo>
                    <a:pt x="5" y="139"/>
                  </a:lnTo>
                  <a:lnTo>
                    <a:pt x="18" y="100"/>
                  </a:lnTo>
                  <a:lnTo>
                    <a:pt x="39" y="67"/>
                  </a:lnTo>
                  <a:lnTo>
                    <a:pt x="65" y="39"/>
                  </a:lnTo>
                  <a:lnTo>
                    <a:pt x="98" y="18"/>
                  </a:lnTo>
                  <a:lnTo>
                    <a:pt x="135" y="5"/>
                  </a:lnTo>
                  <a:lnTo>
                    <a:pt x="176"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6" name="Freeform 31"/>
            <p:cNvSpPr>
              <a:spLocks noChangeAspect="1" noEditPoints="1"/>
            </p:cNvSpPr>
            <p:nvPr/>
          </p:nvSpPr>
          <p:spPr bwMode="auto">
            <a:xfrm>
              <a:off x="6505634" y="1690826"/>
              <a:ext cx="849934" cy="484175"/>
            </a:xfrm>
            <a:custGeom>
              <a:avLst/>
              <a:gdLst>
                <a:gd name="T0" fmla="*/ 5743 w 5783"/>
                <a:gd name="T1" fmla="*/ 3160 h 3385"/>
                <a:gd name="T2" fmla="*/ 5671 w 5783"/>
                <a:gd name="T3" fmla="*/ 3369 h 3385"/>
                <a:gd name="T4" fmla="*/ 3949 w 5783"/>
                <a:gd name="T5" fmla="*/ 3327 h 3385"/>
                <a:gd name="T6" fmla="*/ 3974 w 5783"/>
                <a:gd name="T7" fmla="*/ 3106 h 3385"/>
                <a:gd name="T8" fmla="*/ 5631 w 5783"/>
                <a:gd name="T9" fmla="*/ 2637 h 3385"/>
                <a:gd name="T10" fmla="*/ 5702 w 5783"/>
                <a:gd name="T11" fmla="*/ 2848 h 3385"/>
                <a:gd name="T12" fmla="*/ 3995 w 5783"/>
                <a:gd name="T13" fmla="*/ 2930 h 3385"/>
                <a:gd name="T14" fmla="*/ 3879 w 5783"/>
                <a:gd name="T15" fmla="*/ 2742 h 3385"/>
                <a:gd name="T16" fmla="*/ 4097 w 5783"/>
                <a:gd name="T17" fmla="*/ 2172 h 3385"/>
                <a:gd name="T18" fmla="*/ 5780 w 5783"/>
                <a:gd name="T19" fmla="*/ 2293 h 3385"/>
                <a:gd name="T20" fmla="*/ 5666 w 5783"/>
                <a:gd name="T21" fmla="*/ 2483 h 3385"/>
                <a:gd name="T22" fmla="*/ 3958 w 5783"/>
                <a:gd name="T23" fmla="*/ 2398 h 3385"/>
                <a:gd name="T24" fmla="*/ 4028 w 5783"/>
                <a:gd name="T25" fmla="*/ 2188 h 3385"/>
                <a:gd name="T26" fmla="*/ 4330 w 5783"/>
                <a:gd name="T27" fmla="*/ 1434 h 3385"/>
                <a:gd name="T28" fmla="*/ 4416 w 5783"/>
                <a:gd name="T29" fmla="*/ 1766 h 3385"/>
                <a:gd name="T30" fmla="*/ 4140 w 5783"/>
                <a:gd name="T31" fmla="*/ 1961 h 3385"/>
                <a:gd name="T32" fmla="*/ 3867 w 5783"/>
                <a:gd name="T33" fmla="*/ 1766 h 3385"/>
                <a:gd name="T34" fmla="*/ 3953 w 5783"/>
                <a:gd name="T35" fmla="*/ 1434 h 3385"/>
                <a:gd name="T36" fmla="*/ 1099 w 5783"/>
                <a:gd name="T37" fmla="*/ 1384 h 3385"/>
                <a:gd name="T38" fmla="*/ 1290 w 5783"/>
                <a:gd name="T39" fmla="*/ 1663 h 3385"/>
                <a:gd name="T40" fmla="*/ 1099 w 5783"/>
                <a:gd name="T41" fmla="*/ 1942 h 3385"/>
                <a:gd name="T42" fmla="*/ 772 w 5783"/>
                <a:gd name="T43" fmla="*/ 1854 h 3385"/>
                <a:gd name="T44" fmla="*/ 744 w 5783"/>
                <a:gd name="T45" fmla="*/ 1512 h 3385"/>
                <a:gd name="T46" fmla="*/ 2464 w 5783"/>
                <a:gd name="T47" fmla="*/ 1001 h 3385"/>
                <a:gd name="T48" fmla="*/ 2185 w 5783"/>
                <a:gd name="T49" fmla="*/ 1319 h 3385"/>
                <a:gd name="T50" fmla="*/ 2210 w 5783"/>
                <a:gd name="T51" fmla="*/ 1617 h 3385"/>
                <a:gd name="T52" fmla="*/ 2531 w 5783"/>
                <a:gd name="T53" fmla="*/ 1775 h 3385"/>
                <a:gd name="T54" fmla="*/ 2661 w 5783"/>
                <a:gd name="T55" fmla="*/ 1898 h 3385"/>
                <a:gd name="T56" fmla="*/ 2438 w 5783"/>
                <a:gd name="T57" fmla="*/ 1949 h 3385"/>
                <a:gd name="T58" fmla="*/ 2243 w 5783"/>
                <a:gd name="T59" fmla="*/ 2142 h 3385"/>
                <a:gd name="T60" fmla="*/ 2726 w 5783"/>
                <a:gd name="T61" fmla="*/ 2145 h 3385"/>
                <a:gd name="T62" fmla="*/ 2986 w 5783"/>
                <a:gd name="T63" fmla="*/ 1900 h 3385"/>
                <a:gd name="T64" fmla="*/ 2863 w 5783"/>
                <a:gd name="T65" fmla="*/ 1619 h 3385"/>
                <a:gd name="T66" fmla="*/ 2508 w 5783"/>
                <a:gd name="T67" fmla="*/ 1471 h 3385"/>
                <a:gd name="T68" fmla="*/ 2512 w 5783"/>
                <a:gd name="T69" fmla="*/ 1369 h 3385"/>
                <a:gd name="T70" fmla="*/ 2817 w 5783"/>
                <a:gd name="T71" fmla="*/ 1385 h 3385"/>
                <a:gd name="T72" fmla="*/ 2775 w 5783"/>
                <a:gd name="T73" fmla="*/ 1148 h 3385"/>
                <a:gd name="T74" fmla="*/ 2764 w 5783"/>
                <a:gd name="T75" fmla="*/ 578 h 3385"/>
                <a:gd name="T76" fmla="*/ 3314 w 5783"/>
                <a:gd name="T77" fmla="*/ 959 h 3385"/>
                <a:gd name="T78" fmla="*/ 3533 w 5783"/>
                <a:gd name="T79" fmla="*/ 1663 h 3385"/>
                <a:gd name="T80" fmla="*/ 3314 w 5783"/>
                <a:gd name="T81" fmla="*/ 2367 h 3385"/>
                <a:gd name="T82" fmla="*/ 2764 w 5783"/>
                <a:gd name="T83" fmla="*/ 2748 h 3385"/>
                <a:gd name="T84" fmla="*/ 2110 w 5783"/>
                <a:gd name="T85" fmla="*/ 2635 h 3385"/>
                <a:gd name="T86" fmla="*/ 1680 w 5783"/>
                <a:gd name="T87" fmla="*/ 2093 h 3385"/>
                <a:gd name="T88" fmla="*/ 1648 w 5783"/>
                <a:gd name="T89" fmla="*/ 1334 h 3385"/>
                <a:gd name="T90" fmla="*/ 2029 w 5783"/>
                <a:gd name="T91" fmla="*/ 744 h 3385"/>
                <a:gd name="T92" fmla="*/ 176 w 5783"/>
                <a:gd name="T93" fmla="*/ 0 h 3385"/>
                <a:gd name="T94" fmla="*/ 5134 w 5783"/>
                <a:gd name="T95" fmla="*/ 139 h 3385"/>
                <a:gd name="T96" fmla="*/ 4613 w 5783"/>
                <a:gd name="T97" fmla="*/ 748 h 3385"/>
                <a:gd name="T98" fmla="*/ 4326 w 5783"/>
                <a:gd name="T99" fmla="*/ 321 h 3385"/>
                <a:gd name="T100" fmla="*/ 583 w 5783"/>
                <a:gd name="T101" fmla="*/ 702 h 3385"/>
                <a:gd name="T102" fmla="*/ 456 w 5783"/>
                <a:gd name="T103" fmla="*/ 2590 h 3385"/>
                <a:gd name="T104" fmla="*/ 785 w 5783"/>
                <a:gd name="T105" fmla="*/ 2965 h 3385"/>
                <a:gd name="T106" fmla="*/ 3726 w 5783"/>
                <a:gd name="T107" fmla="*/ 3274 h 3385"/>
                <a:gd name="T108" fmla="*/ 39 w 5783"/>
                <a:gd name="T109" fmla="*/ 3294 h 3385"/>
                <a:gd name="T110" fmla="*/ 39 w 5783"/>
                <a:gd name="T111" fmla="*/ 67 h 3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783" h="3385">
                  <a:moveTo>
                    <a:pt x="4070" y="3072"/>
                  </a:moveTo>
                  <a:lnTo>
                    <a:pt x="5604" y="3072"/>
                  </a:lnTo>
                  <a:lnTo>
                    <a:pt x="5639" y="3076"/>
                  </a:lnTo>
                  <a:lnTo>
                    <a:pt x="5671" y="3088"/>
                  </a:lnTo>
                  <a:lnTo>
                    <a:pt x="5701" y="3106"/>
                  </a:lnTo>
                  <a:lnTo>
                    <a:pt x="5724" y="3130"/>
                  </a:lnTo>
                  <a:lnTo>
                    <a:pt x="5743" y="3160"/>
                  </a:lnTo>
                  <a:lnTo>
                    <a:pt x="5753" y="3194"/>
                  </a:lnTo>
                  <a:lnTo>
                    <a:pt x="5759" y="3229"/>
                  </a:lnTo>
                  <a:lnTo>
                    <a:pt x="5753" y="3266"/>
                  </a:lnTo>
                  <a:lnTo>
                    <a:pt x="5743" y="3297"/>
                  </a:lnTo>
                  <a:lnTo>
                    <a:pt x="5724" y="3327"/>
                  </a:lnTo>
                  <a:lnTo>
                    <a:pt x="5701" y="3352"/>
                  </a:lnTo>
                  <a:lnTo>
                    <a:pt x="5671" y="3369"/>
                  </a:lnTo>
                  <a:lnTo>
                    <a:pt x="5639" y="3381"/>
                  </a:lnTo>
                  <a:lnTo>
                    <a:pt x="5604" y="3385"/>
                  </a:lnTo>
                  <a:lnTo>
                    <a:pt x="4070" y="3385"/>
                  </a:lnTo>
                  <a:lnTo>
                    <a:pt x="4035" y="3381"/>
                  </a:lnTo>
                  <a:lnTo>
                    <a:pt x="4002" y="3369"/>
                  </a:lnTo>
                  <a:lnTo>
                    <a:pt x="3974" y="3352"/>
                  </a:lnTo>
                  <a:lnTo>
                    <a:pt x="3949" y="3327"/>
                  </a:lnTo>
                  <a:lnTo>
                    <a:pt x="3932" y="3297"/>
                  </a:lnTo>
                  <a:lnTo>
                    <a:pt x="3919" y="3266"/>
                  </a:lnTo>
                  <a:lnTo>
                    <a:pt x="3916" y="3229"/>
                  </a:lnTo>
                  <a:lnTo>
                    <a:pt x="3919" y="3194"/>
                  </a:lnTo>
                  <a:lnTo>
                    <a:pt x="3932" y="3160"/>
                  </a:lnTo>
                  <a:lnTo>
                    <a:pt x="3949" y="3130"/>
                  </a:lnTo>
                  <a:lnTo>
                    <a:pt x="3974" y="3106"/>
                  </a:lnTo>
                  <a:lnTo>
                    <a:pt x="4002" y="3088"/>
                  </a:lnTo>
                  <a:lnTo>
                    <a:pt x="4035" y="3076"/>
                  </a:lnTo>
                  <a:lnTo>
                    <a:pt x="4070" y="3072"/>
                  </a:lnTo>
                  <a:close/>
                  <a:moveTo>
                    <a:pt x="4030" y="2621"/>
                  </a:moveTo>
                  <a:lnTo>
                    <a:pt x="5562" y="2621"/>
                  </a:lnTo>
                  <a:lnTo>
                    <a:pt x="5599" y="2625"/>
                  </a:lnTo>
                  <a:lnTo>
                    <a:pt x="5631" y="2637"/>
                  </a:lnTo>
                  <a:lnTo>
                    <a:pt x="5660" y="2656"/>
                  </a:lnTo>
                  <a:lnTo>
                    <a:pt x="5683" y="2679"/>
                  </a:lnTo>
                  <a:lnTo>
                    <a:pt x="5702" y="2709"/>
                  </a:lnTo>
                  <a:lnTo>
                    <a:pt x="5713" y="2742"/>
                  </a:lnTo>
                  <a:lnTo>
                    <a:pt x="5718" y="2778"/>
                  </a:lnTo>
                  <a:lnTo>
                    <a:pt x="5713" y="2814"/>
                  </a:lnTo>
                  <a:lnTo>
                    <a:pt x="5702" y="2848"/>
                  </a:lnTo>
                  <a:lnTo>
                    <a:pt x="5683" y="2876"/>
                  </a:lnTo>
                  <a:lnTo>
                    <a:pt x="5660" y="2900"/>
                  </a:lnTo>
                  <a:lnTo>
                    <a:pt x="5631" y="2920"/>
                  </a:lnTo>
                  <a:lnTo>
                    <a:pt x="5599" y="2930"/>
                  </a:lnTo>
                  <a:lnTo>
                    <a:pt x="5562" y="2936"/>
                  </a:lnTo>
                  <a:lnTo>
                    <a:pt x="4030" y="2936"/>
                  </a:lnTo>
                  <a:lnTo>
                    <a:pt x="3995" y="2930"/>
                  </a:lnTo>
                  <a:lnTo>
                    <a:pt x="3961" y="2920"/>
                  </a:lnTo>
                  <a:lnTo>
                    <a:pt x="3933" y="2900"/>
                  </a:lnTo>
                  <a:lnTo>
                    <a:pt x="3909" y="2876"/>
                  </a:lnTo>
                  <a:lnTo>
                    <a:pt x="3891" y="2848"/>
                  </a:lnTo>
                  <a:lnTo>
                    <a:pt x="3879" y="2814"/>
                  </a:lnTo>
                  <a:lnTo>
                    <a:pt x="3875" y="2778"/>
                  </a:lnTo>
                  <a:lnTo>
                    <a:pt x="3879" y="2742"/>
                  </a:lnTo>
                  <a:lnTo>
                    <a:pt x="3891" y="2709"/>
                  </a:lnTo>
                  <a:lnTo>
                    <a:pt x="3909" y="2679"/>
                  </a:lnTo>
                  <a:lnTo>
                    <a:pt x="3933" y="2656"/>
                  </a:lnTo>
                  <a:lnTo>
                    <a:pt x="3961" y="2637"/>
                  </a:lnTo>
                  <a:lnTo>
                    <a:pt x="3995" y="2625"/>
                  </a:lnTo>
                  <a:lnTo>
                    <a:pt x="4030" y="2621"/>
                  </a:lnTo>
                  <a:close/>
                  <a:moveTo>
                    <a:pt x="4097" y="2172"/>
                  </a:moveTo>
                  <a:lnTo>
                    <a:pt x="5629" y="2172"/>
                  </a:lnTo>
                  <a:lnTo>
                    <a:pt x="5666" y="2177"/>
                  </a:lnTo>
                  <a:lnTo>
                    <a:pt x="5697" y="2188"/>
                  </a:lnTo>
                  <a:lnTo>
                    <a:pt x="5725" y="2207"/>
                  </a:lnTo>
                  <a:lnTo>
                    <a:pt x="5750" y="2232"/>
                  </a:lnTo>
                  <a:lnTo>
                    <a:pt x="5767" y="2260"/>
                  </a:lnTo>
                  <a:lnTo>
                    <a:pt x="5780" y="2293"/>
                  </a:lnTo>
                  <a:lnTo>
                    <a:pt x="5783" y="2328"/>
                  </a:lnTo>
                  <a:lnTo>
                    <a:pt x="5780" y="2365"/>
                  </a:lnTo>
                  <a:lnTo>
                    <a:pt x="5767" y="2398"/>
                  </a:lnTo>
                  <a:lnTo>
                    <a:pt x="5750" y="2428"/>
                  </a:lnTo>
                  <a:lnTo>
                    <a:pt x="5725" y="2451"/>
                  </a:lnTo>
                  <a:lnTo>
                    <a:pt x="5697" y="2470"/>
                  </a:lnTo>
                  <a:lnTo>
                    <a:pt x="5666" y="2483"/>
                  </a:lnTo>
                  <a:lnTo>
                    <a:pt x="5629" y="2486"/>
                  </a:lnTo>
                  <a:lnTo>
                    <a:pt x="4097" y="2486"/>
                  </a:lnTo>
                  <a:lnTo>
                    <a:pt x="4061" y="2483"/>
                  </a:lnTo>
                  <a:lnTo>
                    <a:pt x="4028" y="2470"/>
                  </a:lnTo>
                  <a:lnTo>
                    <a:pt x="4000" y="2451"/>
                  </a:lnTo>
                  <a:lnTo>
                    <a:pt x="3975" y="2428"/>
                  </a:lnTo>
                  <a:lnTo>
                    <a:pt x="3958" y="2398"/>
                  </a:lnTo>
                  <a:lnTo>
                    <a:pt x="3946" y="2365"/>
                  </a:lnTo>
                  <a:lnTo>
                    <a:pt x="3942" y="2328"/>
                  </a:lnTo>
                  <a:lnTo>
                    <a:pt x="3946" y="2293"/>
                  </a:lnTo>
                  <a:lnTo>
                    <a:pt x="3958" y="2260"/>
                  </a:lnTo>
                  <a:lnTo>
                    <a:pt x="3975" y="2232"/>
                  </a:lnTo>
                  <a:lnTo>
                    <a:pt x="4000" y="2207"/>
                  </a:lnTo>
                  <a:lnTo>
                    <a:pt x="4028" y="2188"/>
                  </a:lnTo>
                  <a:lnTo>
                    <a:pt x="4061" y="2177"/>
                  </a:lnTo>
                  <a:lnTo>
                    <a:pt x="4097" y="2172"/>
                  </a:lnTo>
                  <a:close/>
                  <a:moveTo>
                    <a:pt x="4140" y="1364"/>
                  </a:moveTo>
                  <a:lnTo>
                    <a:pt x="4193" y="1369"/>
                  </a:lnTo>
                  <a:lnTo>
                    <a:pt x="4244" y="1384"/>
                  </a:lnTo>
                  <a:lnTo>
                    <a:pt x="4290" y="1406"/>
                  </a:lnTo>
                  <a:lnTo>
                    <a:pt x="4330" y="1434"/>
                  </a:lnTo>
                  <a:lnTo>
                    <a:pt x="4365" y="1471"/>
                  </a:lnTo>
                  <a:lnTo>
                    <a:pt x="4395" y="1512"/>
                  </a:lnTo>
                  <a:lnTo>
                    <a:pt x="4416" y="1559"/>
                  </a:lnTo>
                  <a:lnTo>
                    <a:pt x="4430" y="1610"/>
                  </a:lnTo>
                  <a:lnTo>
                    <a:pt x="4435" y="1663"/>
                  </a:lnTo>
                  <a:lnTo>
                    <a:pt x="4430" y="1717"/>
                  </a:lnTo>
                  <a:lnTo>
                    <a:pt x="4416" y="1766"/>
                  </a:lnTo>
                  <a:lnTo>
                    <a:pt x="4395" y="1814"/>
                  </a:lnTo>
                  <a:lnTo>
                    <a:pt x="4365" y="1854"/>
                  </a:lnTo>
                  <a:lnTo>
                    <a:pt x="4330" y="1891"/>
                  </a:lnTo>
                  <a:lnTo>
                    <a:pt x="4290" y="1921"/>
                  </a:lnTo>
                  <a:lnTo>
                    <a:pt x="4244" y="1942"/>
                  </a:lnTo>
                  <a:lnTo>
                    <a:pt x="4193" y="1956"/>
                  </a:lnTo>
                  <a:lnTo>
                    <a:pt x="4140" y="1961"/>
                  </a:lnTo>
                  <a:lnTo>
                    <a:pt x="4088" y="1956"/>
                  </a:lnTo>
                  <a:lnTo>
                    <a:pt x="4039" y="1942"/>
                  </a:lnTo>
                  <a:lnTo>
                    <a:pt x="3993" y="1921"/>
                  </a:lnTo>
                  <a:lnTo>
                    <a:pt x="3953" y="1891"/>
                  </a:lnTo>
                  <a:lnTo>
                    <a:pt x="3917" y="1854"/>
                  </a:lnTo>
                  <a:lnTo>
                    <a:pt x="3888" y="1814"/>
                  </a:lnTo>
                  <a:lnTo>
                    <a:pt x="3867" y="1766"/>
                  </a:lnTo>
                  <a:lnTo>
                    <a:pt x="3853" y="1717"/>
                  </a:lnTo>
                  <a:lnTo>
                    <a:pt x="3847" y="1663"/>
                  </a:lnTo>
                  <a:lnTo>
                    <a:pt x="3853" y="1610"/>
                  </a:lnTo>
                  <a:lnTo>
                    <a:pt x="3867" y="1559"/>
                  </a:lnTo>
                  <a:lnTo>
                    <a:pt x="3888" y="1512"/>
                  </a:lnTo>
                  <a:lnTo>
                    <a:pt x="3917" y="1471"/>
                  </a:lnTo>
                  <a:lnTo>
                    <a:pt x="3953" y="1434"/>
                  </a:lnTo>
                  <a:lnTo>
                    <a:pt x="3993" y="1406"/>
                  </a:lnTo>
                  <a:lnTo>
                    <a:pt x="4039" y="1384"/>
                  </a:lnTo>
                  <a:lnTo>
                    <a:pt x="4088" y="1369"/>
                  </a:lnTo>
                  <a:lnTo>
                    <a:pt x="4140" y="1364"/>
                  </a:lnTo>
                  <a:close/>
                  <a:moveTo>
                    <a:pt x="997" y="1364"/>
                  </a:moveTo>
                  <a:lnTo>
                    <a:pt x="1050" y="1369"/>
                  </a:lnTo>
                  <a:lnTo>
                    <a:pt x="1099" y="1384"/>
                  </a:lnTo>
                  <a:lnTo>
                    <a:pt x="1144" y="1406"/>
                  </a:lnTo>
                  <a:lnTo>
                    <a:pt x="1185" y="1434"/>
                  </a:lnTo>
                  <a:lnTo>
                    <a:pt x="1222" y="1471"/>
                  </a:lnTo>
                  <a:lnTo>
                    <a:pt x="1250" y="1512"/>
                  </a:lnTo>
                  <a:lnTo>
                    <a:pt x="1272" y="1559"/>
                  </a:lnTo>
                  <a:lnTo>
                    <a:pt x="1285" y="1610"/>
                  </a:lnTo>
                  <a:lnTo>
                    <a:pt x="1290" y="1663"/>
                  </a:lnTo>
                  <a:lnTo>
                    <a:pt x="1285" y="1717"/>
                  </a:lnTo>
                  <a:lnTo>
                    <a:pt x="1272" y="1766"/>
                  </a:lnTo>
                  <a:lnTo>
                    <a:pt x="1250" y="1814"/>
                  </a:lnTo>
                  <a:lnTo>
                    <a:pt x="1222" y="1854"/>
                  </a:lnTo>
                  <a:lnTo>
                    <a:pt x="1186" y="1891"/>
                  </a:lnTo>
                  <a:lnTo>
                    <a:pt x="1144" y="1921"/>
                  </a:lnTo>
                  <a:lnTo>
                    <a:pt x="1099" y="1942"/>
                  </a:lnTo>
                  <a:lnTo>
                    <a:pt x="1050" y="1956"/>
                  </a:lnTo>
                  <a:lnTo>
                    <a:pt x="997" y="1961"/>
                  </a:lnTo>
                  <a:lnTo>
                    <a:pt x="944" y="1956"/>
                  </a:lnTo>
                  <a:lnTo>
                    <a:pt x="895" y="1942"/>
                  </a:lnTo>
                  <a:lnTo>
                    <a:pt x="849" y="1921"/>
                  </a:lnTo>
                  <a:lnTo>
                    <a:pt x="807" y="1891"/>
                  </a:lnTo>
                  <a:lnTo>
                    <a:pt x="772" y="1854"/>
                  </a:lnTo>
                  <a:lnTo>
                    <a:pt x="744" y="1814"/>
                  </a:lnTo>
                  <a:lnTo>
                    <a:pt x="721" y="1766"/>
                  </a:lnTo>
                  <a:lnTo>
                    <a:pt x="709" y="1717"/>
                  </a:lnTo>
                  <a:lnTo>
                    <a:pt x="704" y="1663"/>
                  </a:lnTo>
                  <a:lnTo>
                    <a:pt x="709" y="1610"/>
                  </a:lnTo>
                  <a:lnTo>
                    <a:pt x="721" y="1559"/>
                  </a:lnTo>
                  <a:lnTo>
                    <a:pt x="744" y="1512"/>
                  </a:lnTo>
                  <a:lnTo>
                    <a:pt x="772" y="1471"/>
                  </a:lnTo>
                  <a:lnTo>
                    <a:pt x="807" y="1434"/>
                  </a:lnTo>
                  <a:lnTo>
                    <a:pt x="849" y="1406"/>
                  </a:lnTo>
                  <a:lnTo>
                    <a:pt x="895" y="1384"/>
                  </a:lnTo>
                  <a:lnTo>
                    <a:pt x="944" y="1369"/>
                  </a:lnTo>
                  <a:lnTo>
                    <a:pt x="997" y="1364"/>
                  </a:lnTo>
                  <a:close/>
                  <a:moveTo>
                    <a:pt x="2464" y="1001"/>
                  </a:moveTo>
                  <a:lnTo>
                    <a:pt x="2464" y="1154"/>
                  </a:lnTo>
                  <a:lnTo>
                    <a:pt x="2399" y="1168"/>
                  </a:lnTo>
                  <a:lnTo>
                    <a:pt x="2341" y="1189"/>
                  </a:lnTo>
                  <a:lnTo>
                    <a:pt x="2292" y="1215"/>
                  </a:lnTo>
                  <a:lnTo>
                    <a:pt x="2248" y="1245"/>
                  </a:lnTo>
                  <a:lnTo>
                    <a:pt x="2213" y="1280"/>
                  </a:lnTo>
                  <a:lnTo>
                    <a:pt x="2185" y="1319"/>
                  </a:lnTo>
                  <a:lnTo>
                    <a:pt x="2164" y="1361"/>
                  </a:lnTo>
                  <a:lnTo>
                    <a:pt x="2152" y="1406"/>
                  </a:lnTo>
                  <a:lnTo>
                    <a:pt x="2148" y="1455"/>
                  </a:lnTo>
                  <a:lnTo>
                    <a:pt x="2152" y="1501"/>
                  </a:lnTo>
                  <a:lnTo>
                    <a:pt x="2164" y="1545"/>
                  </a:lnTo>
                  <a:lnTo>
                    <a:pt x="2183" y="1582"/>
                  </a:lnTo>
                  <a:lnTo>
                    <a:pt x="2210" y="1617"/>
                  </a:lnTo>
                  <a:lnTo>
                    <a:pt x="2241" y="1647"/>
                  </a:lnTo>
                  <a:lnTo>
                    <a:pt x="2280" y="1675"/>
                  </a:lnTo>
                  <a:lnTo>
                    <a:pt x="2322" y="1700"/>
                  </a:lnTo>
                  <a:lnTo>
                    <a:pt x="2371" y="1721"/>
                  </a:lnTo>
                  <a:lnTo>
                    <a:pt x="2424" y="1742"/>
                  </a:lnTo>
                  <a:lnTo>
                    <a:pt x="2480" y="1759"/>
                  </a:lnTo>
                  <a:lnTo>
                    <a:pt x="2531" y="1775"/>
                  </a:lnTo>
                  <a:lnTo>
                    <a:pt x="2573" y="1791"/>
                  </a:lnTo>
                  <a:lnTo>
                    <a:pt x="2608" y="1805"/>
                  </a:lnTo>
                  <a:lnTo>
                    <a:pt x="2633" y="1821"/>
                  </a:lnTo>
                  <a:lnTo>
                    <a:pt x="2650" y="1838"/>
                  </a:lnTo>
                  <a:lnTo>
                    <a:pt x="2661" y="1858"/>
                  </a:lnTo>
                  <a:lnTo>
                    <a:pt x="2664" y="1877"/>
                  </a:lnTo>
                  <a:lnTo>
                    <a:pt x="2661" y="1898"/>
                  </a:lnTo>
                  <a:lnTo>
                    <a:pt x="2650" y="1915"/>
                  </a:lnTo>
                  <a:lnTo>
                    <a:pt x="2633" y="1930"/>
                  </a:lnTo>
                  <a:lnTo>
                    <a:pt x="2608" y="1940"/>
                  </a:lnTo>
                  <a:lnTo>
                    <a:pt x="2580" y="1947"/>
                  </a:lnTo>
                  <a:lnTo>
                    <a:pt x="2547" y="1951"/>
                  </a:lnTo>
                  <a:lnTo>
                    <a:pt x="2510" y="1952"/>
                  </a:lnTo>
                  <a:lnTo>
                    <a:pt x="2438" y="1949"/>
                  </a:lnTo>
                  <a:lnTo>
                    <a:pt x="2369" y="1938"/>
                  </a:lnTo>
                  <a:lnTo>
                    <a:pt x="2306" y="1921"/>
                  </a:lnTo>
                  <a:lnTo>
                    <a:pt x="2248" y="1901"/>
                  </a:lnTo>
                  <a:lnTo>
                    <a:pt x="2197" y="1880"/>
                  </a:lnTo>
                  <a:lnTo>
                    <a:pt x="2140" y="2105"/>
                  </a:lnTo>
                  <a:lnTo>
                    <a:pt x="2187" y="2124"/>
                  </a:lnTo>
                  <a:lnTo>
                    <a:pt x="2243" y="2142"/>
                  </a:lnTo>
                  <a:lnTo>
                    <a:pt x="2310" y="2158"/>
                  </a:lnTo>
                  <a:lnTo>
                    <a:pt x="2380" y="2168"/>
                  </a:lnTo>
                  <a:lnTo>
                    <a:pt x="2454" y="2175"/>
                  </a:lnTo>
                  <a:lnTo>
                    <a:pt x="2454" y="2326"/>
                  </a:lnTo>
                  <a:lnTo>
                    <a:pt x="2657" y="2326"/>
                  </a:lnTo>
                  <a:lnTo>
                    <a:pt x="2657" y="2161"/>
                  </a:lnTo>
                  <a:lnTo>
                    <a:pt x="2726" y="2145"/>
                  </a:lnTo>
                  <a:lnTo>
                    <a:pt x="2785" y="2124"/>
                  </a:lnTo>
                  <a:lnTo>
                    <a:pt x="2838" y="2098"/>
                  </a:lnTo>
                  <a:lnTo>
                    <a:pt x="2884" y="2066"/>
                  </a:lnTo>
                  <a:lnTo>
                    <a:pt x="2921" y="2030"/>
                  </a:lnTo>
                  <a:lnTo>
                    <a:pt x="2950" y="1989"/>
                  </a:lnTo>
                  <a:lnTo>
                    <a:pt x="2971" y="1945"/>
                  </a:lnTo>
                  <a:lnTo>
                    <a:pt x="2986" y="1900"/>
                  </a:lnTo>
                  <a:lnTo>
                    <a:pt x="2989" y="1851"/>
                  </a:lnTo>
                  <a:lnTo>
                    <a:pt x="2986" y="1803"/>
                  </a:lnTo>
                  <a:lnTo>
                    <a:pt x="2977" y="1759"/>
                  </a:lnTo>
                  <a:lnTo>
                    <a:pt x="2959" y="1719"/>
                  </a:lnTo>
                  <a:lnTo>
                    <a:pt x="2935" y="1684"/>
                  </a:lnTo>
                  <a:lnTo>
                    <a:pt x="2903" y="1649"/>
                  </a:lnTo>
                  <a:lnTo>
                    <a:pt x="2863" y="1619"/>
                  </a:lnTo>
                  <a:lnTo>
                    <a:pt x="2812" y="1591"/>
                  </a:lnTo>
                  <a:lnTo>
                    <a:pt x="2752" y="1564"/>
                  </a:lnTo>
                  <a:lnTo>
                    <a:pt x="2682" y="1542"/>
                  </a:lnTo>
                  <a:lnTo>
                    <a:pt x="2624" y="1522"/>
                  </a:lnTo>
                  <a:lnTo>
                    <a:pt x="2577" y="1505"/>
                  </a:lnTo>
                  <a:lnTo>
                    <a:pt x="2538" y="1487"/>
                  </a:lnTo>
                  <a:lnTo>
                    <a:pt x="2508" y="1471"/>
                  </a:lnTo>
                  <a:lnTo>
                    <a:pt x="2489" y="1455"/>
                  </a:lnTo>
                  <a:lnTo>
                    <a:pt x="2477" y="1440"/>
                  </a:lnTo>
                  <a:lnTo>
                    <a:pt x="2473" y="1422"/>
                  </a:lnTo>
                  <a:lnTo>
                    <a:pt x="2475" y="1408"/>
                  </a:lnTo>
                  <a:lnTo>
                    <a:pt x="2482" y="1392"/>
                  </a:lnTo>
                  <a:lnTo>
                    <a:pt x="2494" y="1380"/>
                  </a:lnTo>
                  <a:lnTo>
                    <a:pt x="2512" y="1369"/>
                  </a:lnTo>
                  <a:lnTo>
                    <a:pt x="2536" y="1361"/>
                  </a:lnTo>
                  <a:lnTo>
                    <a:pt x="2570" y="1354"/>
                  </a:lnTo>
                  <a:lnTo>
                    <a:pt x="2610" y="1352"/>
                  </a:lnTo>
                  <a:lnTo>
                    <a:pt x="2673" y="1355"/>
                  </a:lnTo>
                  <a:lnTo>
                    <a:pt x="2728" y="1362"/>
                  </a:lnTo>
                  <a:lnTo>
                    <a:pt x="2777" y="1373"/>
                  </a:lnTo>
                  <a:lnTo>
                    <a:pt x="2817" y="1385"/>
                  </a:lnTo>
                  <a:lnTo>
                    <a:pt x="2852" y="1398"/>
                  </a:lnTo>
                  <a:lnTo>
                    <a:pt x="2878" y="1408"/>
                  </a:lnTo>
                  <a:lnTo>
                    <a:pt x="2935" y="1192"/>
                  </a:lnTo>
                  <a:lnTo>
                    <a:pt x="2901" y="1178"/>
                  </a:lnTo>
                  <a:lnTo>
                    <a:pt x="2864" y="1168"/>
                  </a:lnTo>
                  <a:lnTo>
                    <a:pt x="2822" y="1157"/>
                  </a:lnTo>
                  <a:lnTo>
                    <a:pt x="2775" y="1148"/>
                  </a:lnTo>
                  <a:lnTo>
                    <a:pt x="2722" y="1143"/>
                  </a:lnTo>
                  <a:lnTo>
                    <a:pt x="2664" y="1139"/>
                  </a:lnTo>
                  <a:lnTo>
                    <a:pt x="2664" y="1001"/>
                  </a:lnTo>
                  <a:lnTo>
                    <a:pt x="2464" y="1001"/>
                  </a:lnTo>
                  <a:close/>
                  <a:moveTo>
                    <a:pt x="2570" y="557"/>
                  </a:moveTo>
                  <a:lnTo>
                    <a:pt x="2668" y="562"/>
                  </a:lnTo>
                  <a:lnTo>
                    <a:pt x="2764" y="578"/>
                  </a:lnTo>
                  <a:lnTo>
                    <a:pt x="2856" y="606"/>
                  </a:lnTo>
                  <a:lnTo>
                    <a:pt x="2945" y="643"/>
                  </a:lnTo>
                  <a:lnTo>
                    <a:pt x="3029" y="690"/>
                  </a:lnTo>
                  <a:lnTo>
                    <a:pt x="3108" y="744"/>
                  </a:lnTo>
                  <a:lnTo>
                    <a:pt x="3182" y="809"/>
                  </a:lnTo>
                  <a:lnTo>
                    <a:pt x="3251" y="880"/>
                  </a:lnTo>
                  <a:lnTo>
                    <a:pt x="3314" y="959"/>
                  </a:lnTo>
                  <a:lnTo>
                    <a:pt x="3368" y="1045"/>
                  </a:lnTo>
                  <a:lnTo>
                    <a:pt x="3417" y="1136"/>
                  </a:lnTo>
                  <a:lnTo>
                    <a:pt x="3458" y="1233"/>
                  </a:lnTo>
                  <a:lnTo>
                    <a:pt x="3491" y="1334"/>
                  </a:lnTo>
                  <a:lnTo>
                    <a:pt x="3514" y="1440"/>
                  </a:lnTo>
                  <a:lnTo>
                    <a:pt x="3528" y="1550"/>
                  </a:lnTo>
                  <a:lnTo>
                    <a:pt x="3533" y="1663"/>
                  </a:lnTo>
                  <a:lnTo>
                    <a:pt x="3528" y="1777"/>
                  </a:lnTo>
                  <a:lnTo>
                    <a:pt x="3514" y="1886"/>
                  </a:lnTo>
                  <a:lnTo>
                    <a:pt x="3491" y="1993"/>
                  </a:lnTo>
                  <a:lnTo>
                    <a:pt x="3458" y="2093"/>
                  </a:lnTo>
                  <a:lnTo>
                    <a:pt x="3417" y="2191"/>
                  </a:lnTo>
                  <a:lnTo>
                    <a:pt x="3370" y="2282"/>
                  </a:lnTo>
                  <a:lnTo>
                    <a:pt x="3314" y="2367"/>
                  </a:lnTo>
                  <a:lnTo>
                    <a:pt x="3251" y="2446"/>
                  </a:lnTo>
                  <a:lnTo>
                    <a:pt x="3182" y="2516"/>
                  </a:lnTo>
                  <a:lnTo>
                    <a:pt x="3108" y="2581"/>
                  </a:lnTo>
                  <a:lnTo>
                    <a:pt x="3029" y="2635"/>
                  </a:lnTo>
                  <a:lnTo>
                    <a:pt x="2945" y="2683"/>
                  </a:lnTo>
                  <a:lnTo>
                    <a:pt x="2856" y="2720"/>
                  </a:lnTo>
                  <a:lnTo>
                    <a:pt x="2764" y="2748"/>
                  </a:lnTo>
                  <a:lnTo>
                    <a:pt x="2668" y="2763"/>
                  </a:lnTo>
                  <a:lnTo>
                    <a:pt x="2570" y="2769"/>
                  </a:lnTo>
                  <a:lnTo>
                    <a:pt x="2471" y="2763"/>
                  </a:lnTo>
                  <a:lnTo>
                    <a:pt x="2375" y="2748"/>
                  </a:lnTo>
                  <a:lnTo>
                    <a:pt x="2282" y="2720"/>
                  </a:lnTo>
                  <a:lnTo>
                    <a:pt x="2194" y="2683"/>
                  </a:lnTo>
                  <a:lnTo>
                    <a:pt x="2110" y="2635"/>
                  </a:lnTo>
                  <a:lnTo>
                    <a:pt x="2029" y="2581"/>
                  </a:lnTo>
                  <a:lnTo>
                    <a:pt x="1955" y="2516"/>
                  </a:lnTo>
                  <a:lnTo>
                    <a:pt x="1887" y="2446"/>
                  </a:lnTo>
                  <a:lnTo>
                    <a:pt x="1825" y="2367"/>
                  </a:lnTo>
                  <a:lnTo>
                    <a:pt x="1769" y="2282"/>
                  </a:lnTo>
                  <a:lnTo>
                    <a:pt x="1720" y="2191"/>
                  </a:lnTo>
                  <a:lnTo>
                    <a:pt x="1680" y="2093"/>
                  </a:lnTo>
                  <a:lnTo>
                    <a:pt x="1648" y="1993"/>
                  </a:lnTo>
                  <a:lnTo>
                    <a:pt x="1624" y="1886"/>
                  </a:lnTo>
                  <a:lnTo>
                    <a:pt x="1609" y="1777"/>
                  </a:lnTo>
                  <a:lnTo>
                    <a:pt x="1604" y="1663"/>
                  </a:lnTo>
                  <a:lnTo>
                    <a:pt x="1609" y="1550"/>
                  </a:lnTo>
                  <a:lnTo>
                    <a:pt x="1624" y="1440"/>
                  </a:lnTo>
                  <a:lnTo>
                    <a:pt x="1648" y="1334"/>
                  </a:lnTo>
                  <a:lnTo>
                    <a:pt x="1680" y="1233"/>
                  </a:lnTo>
                  <a:lnTo>
                    <a:pt x="1720" y="1136"/>
                  </a:lnTo>
                  <a:lnTo>
                    <a:pt x="1769" y="1045"/>
                  </a:lnTo>
                  <a:lnTo>
                    <a:pt x="1825" y="959"/>
                  </a:lnTo>
                  <a:lnTo>
                    <a:pt x="1887" y="880"/>
                  </a:lnTo>
                  <a:lnTo>
                    <a:pt x="1955" y="809"/>
                  </a:lnTo>
                  <a:lnTo>
                    <a:pt x="2029" y="744"/>
                  </a:lnTo>
                  <a:lnTo>
                    <a:pt x="2110" y="690"/>
                  </a:lnTo>
                  <a:lnTo>
                    <a:pt x="2194" y="643"/>
                  </a:lnTo>
                  <a:lnTo>
                    <a:pt x="2282" y="606"/>
                  </a:lnTo>
                  <a:lnTo>
                    <a:pt x="2375" y="578"/>
                  </a:lnTo>
                  <a:lnTo>
                    <a:pt x="2471" y="562"/>
                  </a:lnTo>
                  <a:lnTo>
                    <a:pt x="2570" y="557"/>
                  </a:lnTo>
                  <a:close/>
                  <a:moveTo>
                    <a:pt x="176" y="0"/>
                  </a:moveTo>
                  <a:lnTo>
                    <a:pt x="4962" y="0"/>
                  </a:lnTo>
                  <a:lnTo>
                    <a:pt x="5002" y="5"/>
                  </a:lnTo>
                  <a:lnTo>
                    <a:pt x="5039" y="18"/>
                  </a:lnTo>
                  <a:lnTo>
                    <a:pt x="5072" y="39"/>
                  </a:lnTo>
                  <a:lnTo>
                    <a:pt x="5100" y="67"/>
                  </a:lnTo>
                  <a:lnTo>
                    <a:pt x="5120" y="100"/>
                  </a:lnTo>
                  <a:lnTo>
                    <a:pt x="5134" y="139"/>
                  </a:lnTo>
                  <a:lnTo>
                    <a:pt x="5139" y="179"/>
                  </a:lnTo>
                  <a:lnTo>
                    <a:pt x="5139" y="1975"/>
                  </a:lnTo>
                  <a:lnTo>
                    <a:pt x="4821" y="1975"/>
                  </a:lnTo>
                  <a:lnTo>
                    <a:pt x="4821" y="830"/>
                  </a:lnTo>
                  <a:lnTo>
                    <a:pt x="4748" y="811"/>
                  </a:lnTo>
                  <a:lnTo>
                    <a:pt x="4677" y="783"/>
                  </a:lnTo>
                  <a:lnTo>
                    <a:pt x="4613" y="748"/>
                  </a:lnTo>
                  <a:lnTo>
                    <a:pt x="4551" y="704"/>
                  </a:lnTo>
                  <a:lnTo>
                    <a:pt x="4497" y="655"/>
                  </a:lnTo>
                  <a:lnTo>
                    <a:pt x="4448" y="599"/>
                  </a:lnTo>
                  <a:lnTo>
                    <a:pt x="4405" y="536"/>
                  </a:lnTo>
                  <a:lnTo>
                    <a:pt x="4372" y="469"/>
                  </a:lnTo>
                  <a:lnTo>
                    <a:pt x="4344" y="397"/>
                  </a:lnTo>
                  <a:lnTo>
                    <a:pt x="4326" y="321"/>
                  </a:lnTo>
                  <a:lnTo>
                    <a:pt x="806" y="321"/>
                  </a:lnTo>
                  <a:lnTo>
                    <a:pt x="786" y="397"/>
                  </a:lnTo>
                  <a:lnTo>
                    <a:pt x="760" y="467"/>
                  </a:lnTo>
                  <a:lnTo>
                    <a:pt x="727" y="534"/>
                  </a:lnTo>
                  <a:lnTo>
                    <a:pt x="685" y="595"/>
                  </a:lnTo>
                  <a:lnTo>
                    <a:pt x="637" y="653"/>
                  </a:lnTo>
                  <a:lnTo>
                    <a:pt x="583" y="702"/>
                  </a:lnTo>
                  <a:lnTo>
                    <a:pt x="523" y="746"/>
                  </a:lnTo>
                  <a:lnTo>
                    <a:pt x="458" y="781"/>
                  </a:lnTo>
                  <a:lnTo>
                    <a:pt x="390" y="809"/>
                  </a:lnTo>
                  <a:lnTo>
                    <a:pt x="316" y="830"/>
                  </a:lnTo>
                  <a:lnTo>
                    <a:pt x="316" y="2542"/>
                  </a:lnTo>
                  <a:lnTo>
                    <a:pt x="388" y="2562"/>
                  </a:lnTo>
                  <a:lnTo>
                    <a:pt x="456" y="2590"/>
                  </a:lnTo>
                  <a:lnTo>
                    <a:pt x="520" y="2625"/>
                  </a:lnTo>
                  <a:lnTo>
                    <a:pt x="579" y="2667"/>
                  </a:lnTo>
                  <a:lnTo>
                    <a:pt x="634" y="2716"/>
                  </a:lnTo>
                  <a:lnTo>
                    <a:pt x="681" y="2771"/>
                  </a:lnTo>
                  <a:lnTo>
                    <a:pt x="723" y="2830"/>
                  </a:lnTo>
                  <a:lnTo>
                    <a:pt x="758" y="2897"/>
                  </a:lnTo>
                  <a:lnTo>
                    <a:pt x="785" y="2965"/>
                  </a:lnTo>
                  <a:lnTo>
                    <a:pt x="804" y="3039"/>
                  </a:lnTo>
                  <a:lnTo>
                    <a:pt x="3779" y="3039"/>
                  </a:lnTo>
                  <a:lnTo>
                    <a:pt x="3756" y="3081"/>
                  </a:lnTo>
                  <a:lnTo>
                    <a:pt x="3738" y="3129"/>
                  </a:lnTo>
                  <a:lnTo>
                    <a:pt x="3728" y="3178"/>
                  </a:lnTo>
                  <a:lnTo>
                    <a:pt x="3724" y="3229"/>
                  </a:lnTo>
                  <a:lnTo>
                    <a:pt x="3726" y="3274"/>
                  </a:lnTo>
                  <a:lnTo>
                    <a:pt x="3735" y="3318"/>
                  </a:lnTo>
                  <a:lnTo>
                    <a:pt x="3749" y="3360"/>
                  </a:lnTo>
                  <a:lnTo>
                    <a:pt x="176" y="3360"/>
                  </a:lnTo>
                  <a:lnTo>
                    <a:pt x="135" y="3355"/>
                  </a:lnTo>
                  <a:lnTo>
                    <a:pt x="98" y="3343"/>
                  </a:lnTo>
                  <a:lnTo>
                    <a:pt x="65" y="3322"/>
                  </a:lnTo>
                  <a:lnTo>
                    <a:pt x="39" y="3294"/>
                  </a:lnTo>
                  <a:lnTo>
                    <a:pt x="18" y="3260"/>
                  </a:lnTo>
                  <a:lnTo>
                    <a:pt x="5" y="3223"/>
                  </a:lnTo>
                  <a:lnTo>
                    <a:pt x="0" y="3181"/>
                  </a:lnTo>
                  <a:lnTo>
                    <a:pt x="0" y="179"/>
                  </a:lnTo>
                  <a:lnTo>
                    <a:pt x="5" y="139"/>
                  </a:lnTo>
                  <a:lnTo>
                    <a:pt x="18" y="100"/>
                  </a:lnTo>
                  <a:lnTo>
                    <a:pt x="39" y="67"/>
                  </a:lnTo>
                  <a:lnTo>
                    <a:pt x="65" y="39"/>
                  </a:lnTo>
                  <a:lnTo>
                    <a:pt x="98" y="18"/>
                  </a:lnTo>
                  <a:lnTo>
                    <a:pt x="135" y="5"/>
                  </a:lnTo>
                  <a:lnTo>
                    <a:pt x="176"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7" name="Freeform 31"/>
            <p:cNvSpPr>
              <a:spLocks noChangeAspect="1" noEditPoints="1"/>
            </p:cNvSpPr>
            <p:nvPr/>
          </p:nvSpPr>
          <p:spPr bwMode="auto">
            <a:xfrm>
              <a:off x="7504711" y="1690826"/>
              <a:ext cx="849934" cy="484175"/>
            </a:xfrm>
            <a:custGeom>
              <a:avLst/>
              <a:gdLst>
                <a:gd name="T0" fmla="*/ 5743 w 5783"/>
                <a:gd name="T1" fmla="*/ 3160 h 3385"/>
                <a:gd name="T2" fmla="*/ 5671 w 5783"/>
                <a:gd name="T3" fmla="*/ 3369 h 3385"/>
                <a:gd name="T4" fmla="*/ 3949 w 5783"/>
                <a:gd name="T5" fmla="*/ 3327 h 3385"/>
                <a:gd name="T6" fmla="*/ 3974 w 5783"/>
                <a:gd name="T7" fmla="*/ 3106 h 3385"/>
                <a:gd name="T8" fmla="*/ 5631 w 5783"/>
                <a:gd name="T9" fmla="*/ 2637 h 3385"/>
                <a:gd name="T10" fmla="*/ 5702 w 5783"/>
                <a:gd name="T11" fmla="*/ 2848 h 3385"/>
                <a:gd name="T12" fmla="*/ 3995 w 5783"/>
                <a:gd name="T13" fmla="*/ 2930 h 3385"/>
                <a:gd name="T14" fmla="*/ 3879 w 5783"/>
                <a:gd name="T15" fmla="*/ 2742 h 3385"/>
                <a:gd name="T16" fmla="*/ 4097 w 5783"/>
                <a:gd name="T17" fmla="*/ 2172 h 3385"/>
                <a:gd name="T18" fmla="*/ 5780 w 5783"/>
                <a:gd name="T19" fmla="*/ 2293 h 3385"/>
                <a:gd name="T20" fmla="*/ 5666 w 5783"/>
                <a:gd name="T21" fmla="*/ 2483 h 3385"/>
                <a:gd name="T22" fmla="*/ 3958 w 5783"/>
                <a:gd name="T23" fmla="*/ 2398 h 3385"/>
                <a:gd name="T24" fmla="*/ 4028 w 5783"/>
                <a:gd name="T25" fmla="*/ 2188 h 3385"/>
                <a:gd name="T26" fmla="*/ 4330 w 5783"/>
                <a:gd name="T27" fmla="*/ 1434 h 3385"/>
                <a:gd name="T28" fmla="*/ 4416 w 5783"/>
                <a:gd name="T29" fmla="*/ 1766 h 3385"/>
                <a:gd name="T30" fmla="*/ 4140 w 5783"/>
                <a:gd name="T31" fmla="*/ 1961 h 3385"/>
                <a:gd name="T32" fmla="*/ 3867 w 5783"/>
                <a:gd name="T33" fmla="*/ 1766 h 3385"/>
                <a:gd name="T34" fmla="*/ 3953 w 5783"/>
                <a:gd name="T35" fmla="*/ 1434 h 3385"/>
                <a:gd name="T36" fmla="*/ 1099 w 5783"/>
                <a:gd name="T37" fmla="*/ 1384 h 3385"/>
                <a:gd name="T38" fmla="*/ 1290 w 5783"/>
                <a:gd name="T39" fmla="*/ 1663 h 3385"/>
                <a:gd name="T40" fmla="*/ 1099 w 5783"/>
                <a:gd name="T41" fmla="*/ 1942 h 3385"/>
                <a:gd name="T42" fmla="*/ 772 w 5783"/>
                <a:gd name="T43" fmla="*/ 1854 h 3385"/>
                <a:gd name="T44" fmla="*/ 744 w 5783"/>
                <a:gd name="T45" fmla="*/ 1512 h 3385"/>
                <a:gd name="T46" fmla="*/ 2464 w 5783"/>
                <a:gd name="T47" fmla="*/ 1001 h 3385"/>
                <a:gd name="T48" fmla="*/ 2185 w 5783"/>
                <a:gd name="T49" fmla="*/ 1319 h 3385"/>
                <a:gd name="T50" fmla="*/ 2210 w 5783"/>
                <a:gd name="T51" fmla="*/ 1617 h 3385"/>
                <a:gd name="T52" fmla="*/ 2531 w 5783"/>
                <a:gd name="T53" fmla="*/ 1775 h 3385"/>
                <a:gd name="T54" fmla="*/ 2661 w 5783"/>
                <a:gd name="T55" fmla="*/ 1898 h 3385"/>
                <a:gd name="T56" fmla="*/ 2438 w 5783"/>
                <a:gd name="T57" fmla="*/ 1949 h 3385"/>
                <a:gd name="T58" fmla="*/ 2243 w 5783"/>
                <a:gd name="T59" fmla="*/ 2142 h 3385"/>
                <a:gd name="T60" fmla="*/ 2726 w 5783"/>
                <a:gd name="T61" fmla="*/ 2145 h 3385"/>
                <a:gd name="T62" fmla="*/ 2986 w 5783"/>
                <a:gd name="T63" fmla="*/ 1900 h 3385"/>
                <a:gd name="T64" fmla="*/ 2863 w 5783"/>
                <a:gd name="T65" fmla="*/ 1619 h 3385"/>
                <a:gd name="T66" fmla="*/ 2508 w 5783"/>
                <a:gd name="T67" fmla="*/ 1471 h 3385"/>
                <a:gd name="T68" fmla="*/ 2512 w 5783"/>
                <a:gd name="T69" fmla="*/ 1369 h 3385"/>
                <a:gd name="T70" fmla="*/ 2817 w 5783"/>
                <a:gd name="T71" fmla="*/ 1385 h 3385"/>
                <a:gd name="T72" fmla="*/ 2775 w 5783"/>
                <a:gd name="T73" fmla="*/ 1148 h 3385"/>
                <a:gd name="T74" fmla="*/ 2764 w 5783"/>
                <a:gd name="T75" fmla="*/ 578 h 3385"/>
                <a:gd name="T76" fmla="*/ 3314 w 5783"/>
                <a:gd name="T77" fmla="*/ 959 h 3385"/>
                <a:gd name="T78" fmla="*/ 3533 w 5783"/>
                <a:gd name="T79" fmla="*/ 1663 h 3385"/>
                <a:gd name="T80" fmla="*/ 3314 w 5783"/>
                <a:gd name="T81" fmla="*/ 2367 h 3385"/>
                <a:gd name="T82" fmla="*/ 2764 w 5783"/>
                <a:gd name="T83" fmla="*/ 2748 h 3385"/>
                <a:gd name="T84" fmla="*/ 2110 w 5783"/>
                <a:gd name="T85" fmla="*/ 2635 h 3385"/>
                <a:gd name="T86" fmla="*/ 1680 w 5783"/>
                <a:gd name="T87" fmla="*/ 2093 h 3385"/>
                <a:gd name="T88" fmla="*/ 1648 w 5783"/>
                <a:gd name="T89" fmla="*/ 1334 h 3385"/>
                <a:gd name="T90" fmla="*/ 2029 w 5783"/>
                <a:gd name="T91" fmla="*/ 744 h 3385"/>
                <a:gd name="T92" fmla="*/ 176 w 5783"/>
                <a:gd name="T93" fmla="*/ 0 h 3385"/>
                <a:gd name="T94" fmla="*/ 5134 w 5783"/>
                <a:gd name="T95" fmla="*/ 139 h 3385"/>
                <a:gd name="T96" fmla="*/ 4613 w 5783"/>
                <a:gd name="T97" fmla="*/ 748 h 3385"/>
                <a:gd name="T98" fmla="*/ 4326 w 5783"/>
                <a:gd name="T99" fmla="*/ 321 h 3385"/>
                <a:gd name="T100" fmla="*/ 583 w 5783"/>
                <a:gd name="T101" fmla="*/ 702 h 3385"/>
                <a:gd name="T102" fmla="*/ 456 w 5783"/>
                <a:gd name="T103" fmla="*/ 2590 h 3385"/>
                <a:gd name="T104" fmla="*/ 785 w 5783"/>
                <a:gd name="T105" fmla="*/ 2965 h 3385"/>
                <a:gd name="T106" fmla="*/ 3726 w 5783"/>
                <a:gd name="T107" fmla="*/ 3274 h 3385"/>
                <a:gd name="T108" fmla="*/ 39 w 5783"/>
                <a:gd name="T109" fmla="*/ 3294 h 3385"/>
                <a:gd name="T110" fmla="*/ 39 w 5783"/>
                <a:gd name="T111" fmla="*/ 67 h 3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783" h="3385">
                  <a:moveTo>
                    <a:pt x="4070" y="3072"/>
                  </a:moveTo>
                  <a:lnTo>
                    <a:pt x="5604" y="3072"/>
                  </a:lnTo>
                  <a:lnTo>
                    <a:pt x="5639" y="3076"/>
                  </a:lnTo>
                  <a:lnTo>
                    <a:pt x="5671" y="3088"/>
                  </a:lnTo>
                  <a:lnTo>
                    <a:pt x="5701" y="3106"/>
                  </a:lnTo>
                  <a:lnTo>
                    <a:pt x="5724" y="3130"/>
                  </a:lnTo>
                  <a:lnTo>
                    <a:pt x="5743" y="3160"/>
                  </a:lnTo>
                  <a:lnTo>
                    <a:pt x="5753" y="3194"/>
                  </a:lnTo>
                  <a:lnTo>
                    <a:pt x="5759" y="3229"/>
                  </a:lnTo>
                  <a:lnTo>
                    <a:pt x="5753" y="3266"/>
                  </a:lnTo>
                  <a:lnTo>
                    <a:pt x="5743" y="3297"/>
                  </a:lnTo>
                  <a:lnTo>
                    <a:pt x="5724" y="3327"/>
                  </a:lnTo>
                  <a:lnTo>
                    <a:pt x="5701" y="3352"/>
                  </a:lnTo>
                  <a:lnTo>
                    <a:pt x="5671" y="3369"/>
                  </a:lnTo>
                  <a:lnTo>
                    <a:pt x="5639" y="3381"/>
                  </a:lnTo>
                  <a:lnTo>
                    <a:pt x="5604" y="3385"/>
                  </a:lnTo>
                  <a:lnTo>
                    <a:pt x="4070" y="3385"/>
                  </a:lnTo>
                  <a:lnTo>
                    <a:pt x="4035" y="3381"/>
                  </a:lnTo>
                  <a:lnTo>
                    <a:pt x="4002" y="3369"/>
                  </a:lnTo>
                  <a:lnTo>
                    <a:pt x="3974" y="3352"/>
                  </a:lnTo>
                  <a:lnTo>
                    <a:pt x="3949" y="3327"/>
                  </a:lnTo>
                  <a:lnTo>
                    <a:pt x="3932" y="3297"/>
                  </a:lnTo>
                  <a:lnTo>
                    <a:pt x="3919" y="3266"/>
                  </a:lnTo>
                  <a:lnTo>
                    <a:pt x="3916" y="3229"/>
                  </a:lnTo>
                  <a:lnTo>
                    <a:pt x="3919" y="3194"/>
                  </a:lnTo>
                  <a:lnTo>
                    <a:pt x="3932" y="3160"/>
                  </a:lnTo>
                  <a:lnTo>
                    <a:pt x="3949" y="3130"/>
                  </a:lnTo>
                  <a:lnTo>
                    <a:pt x="3974" y="3106"/>
                  </a:lnTo>
                  <a:lnTo>
                    <a:pt x="4002" y="3088"/>
                  </a:lnTo>
                  <a:lnTo>
                    <a:pt x="4035" y="3076"/>
                  </a:lnTo>
                  <a:lnTo>
                    <a:pt x="4070" y="3072"/>
                  </a:lnTo>
                  <a:close/>
                  <a:moveTo>
                    <a:pt x="4030" y="2621"/>
                  </a:moveTo>
                  <a:lnTo>
                    <a:pt x="5562" y="2621"/>
                  </a:lnTo>
                  <a:lnTo>
                    <a:pt x="5599" y="2625"/>
                  </a:lnTo>
                  <a:lnTo>
                    <a:pt x="5631" y="2637"/>
                  </a:lnTo>
                  <a:lnTo>
                    <a:pt x="5660" y="2656"/>
                  </a:lnTo>
                  <a:lnTo>
                    <a:pt x="5683" y="2679"/>
                  </a:lnTo>
                  <a:lnTo>
                    <a:pt x="5702" y="2709"/>
                  </a:lnTo>
                  <a:lnTo>
                    <a:pt x="5713" y="2742"/>
                  </a:lnTo>
                  <a:lnTo>
                    <a:pt x="5718" y="2778"/>
                  </a:lnTo>
                  <a:lnTo>
                    <a:pt x="5713" y="2814"/>
                  </a:lnTo>
                  <a:lnTo>
                    <a:pt x="5702" y="2848"/>
                  </a:lnTo>
                  <a:lnTo>
                    <a:pt x="5683" y="2876"/>
                  </a:lnTo>
                  <a:lnTo>
                    <a:pt x="5660" y="2900"/>
                  </a:lnTo>
                  <a:lnTo>
                    <a:pt x="5631" y="2920"/>
                  </a:lnTo>
                  <a:lnTo>
                    <a:pt x="5599" y="2930"/>
                  </a:lnTo>
                  <a:lnTo>
                    <a:pt x="5562" y="2936"/>
                  </a:lnTo>
                  <a:lnTo>
                    <a:pt x="4030" y="2936"/>
                  </a:lnTo>
                  <a:lnTo>
                    <a:pt x="3995" y="2930"/>
                  </a:lnTo>
                  <a:lnTo>
                    <a:pt x="3961" y="2920"/>
                  </a:lnTo>
                  <a:lnTo>
                    <a:pt x="3933" y="2900"/>
                  </a:lnTo>
                  <a:lnTo>
                    <a:pt x="3909" y="2876"/>
                  </a:lnTo>
                  <a:lnTo>
                    <a:pt x="3891" y="2848"/>
                  </a:lnTo>
                  <a:lnTo>
                    <a:pt x="3879" y="2814"/>
                  </a:lnTo>
                  <a:lnTo>
                    <a:pt x="3875" y="2778"/>
                  </a:lnTo>
                  <a:lnTo>
                    <a:pt x="3879" y="2742"/>
                  </a:lnTo>
                  <a:lnTo>
                    <a:pt x="3891" y="2709"/>
                  </a:lnTo>
                  <a:lnTo>
                    <a:pt x="3909" y="2679"/>
                  </a:lnTo>
                  <a:lnTo>
                    <a:pt x="3933" y="2656"/>
                  </a:lnTo>
                  <a:lnTo>
                    <a:pt x="3961" y="2637"/>
                  </a:lnTo>
                  <a:lnTo>
                    <a:pt x="3995" y="2625"/>
                  </a:lnTo>
                  <a:lnTo>
                    <a:pt x="4030" y="2621"/>
                  </a:lnTo>
                  <a:close/>
                  <a:moveTo>
                    <a:pt x="4097" y="2172"/>
                  </a:moveTo>
                  <a:lnTo>
                    <a:pt x="5629" y="2172"/>
                  </a:lnTo>
                  <a:lnTo>
                    <a:pt x="5666" y="2177"/>
                  </a:lnTo>
                  <a:lnTo>
                    <a:pt x="5697" y="2188"/>
                  </a:lnTo>
                  <a:lnTo>
                    <a:pt x="5725" y="2207"/>
                  </a:lnTo>
                  <a:lnTo>
                    <a:pt x="5750" y="2232"/>
                  </a:lnTo>
                  <a:lnTo>
                    <a:pt x="5767" y="2260"/>
                  </a:lnTo>
                  <a:lnTo>
                    <a:pt x="5780" y="2293"/>
                  </a:lnTo>
                  <a:lnTo>
                    <a:pt x="5783" y="2328"/>
                  </a:lnTo>
                  <a:lnTo>
                    <a:pt x="5780" y="2365"/>
                  </a:lnTo>
                  <a:lnTo>
                    <a:pt x="5767" y="2398"/>
                  </a:lnTo>
                  <a:lnTo>
                    <a:pt x="5750" y="2428"/>
                  </a:lnTo>
                  <a:lnTo>
                    <a:pt x="5725" y="2451"/>
                  </a:lnTo>
                  <a:lnTo>
                    <a:pt x="5697" y="2470"/>
                  </a:lnTo>
                  <a:lnTo>
                    <a:pt x="5666" y="2483"/>
                  </a:lnTo>
                  <a:lnTo>
                    <a:pt x="5629" y="2486"/>
                  </a:lnTo>
                  <a:lnTo>
                    <a:pt x="4097" y="2486"/>
                  </a:lnTo>
                  <a:lnTo>
                    <a:pt x="4061" y="2483"/>
                  </a:lnTo>
                  <a:lnTo>
                    <a:pt x="4028" y="2470"/>
                  </a:lnTo>
                  <a:lnTo>
                    <a:pt x="4000" y="2451"/>
                  </a:lnTo>
                  <a:lnTo>
                    <a:pt x="3975" y="2428"/>
                  </a:lnTo>
                  <a:lnTo>
                    <a:pt x="3958" y="2398"/>
                  </a:lnTo>
                  <a:lnTo>
                    <a:pt x="3946" y="2365"/>
                  </a:lnTo>
                  <a:lnTo>
                    <a:pt x="3942" y="2328"/>
                  </a:lnTo>
                  <a:lnTo>
                    <a:pt x="3946" y="2293"/>
                  </a:lnTo>
                  <a:lnTo>
                    <a:pt x="3958" y="2260"/>
                  </a:lnTo>
                  <a:lnTo>
                    <a:pt x="3975" y="2232"/>
                  </a:lnTo>
                  <a:lnTo>
                    <a:pt x="4000" y="2207"/>
                  </a:lnTo>
                  <a:lnTo>
                    <a:pt x="4028" y="2188"/>
                  </a:lnTo>
                  <a:lnTo>
                    <a:pt x="4061" y="2177"/>
                  </a:lnTo>
                  <a:lnTo>
                    <a:pt x="4097" y="2172"/>
                  </a:lnTo>
                  <a:close/>
                  <a:moveTo>
                    <a:pt x="4140" y="1364"/>
                  </a:moveTo>
                  <a:lnTo>
                    <a:pt x="4193" y="1369"/>
                  </a:lnTo>
                  <a:lnTo>
                    <a:pt x="4244" y="1384"/>
                  </a:lnTo>
                  <a:lnTo>
                    <a:pt x="4290" y="1406"/>
                  </a:lnTo>
                  <a:lnTo>
                    <a:pt x="4330" y="1434"/>
                  </a:lnTo>
                  <a:lnTo>
                    <a:pt x="4365" y="1471"/>
                  </a:lnTo>
                  <a:lnTo>
                    <a:pt x="4395" y="1512"/>
                  </a:lnTo>
                  <a:lnTo>
                    <a:pt x="4416" y="1559"/>
                  </a:lnTo>
                  <a:lnTo>
                    <a:pt x="4430" y="1610"/>
                  </a:lnTo>
                  <a:lnTo>
                    <a:pt x="4435" y="1663"/>
                  </a:lnTo>
                  <a:lnTo>
                    <a:pt x="4430" y="1717"/>
                  </a:lnTo>
                  <a:lnTo>
                    <a:pt x="4416" y="1766"/>
                  </a:lnTo>
                  <a:lnTo>
                    <a:pt x="4395" y="1814"/>
                  </a:lnTo>
                  <a:lnTo>
                    <a:pt x="4365" y="1854"/>
                  </a:lnTo>
                  <a:lnTo>
                    <a:pt x="4330" y="1891"/>
                  </a:lnTo>
                  <a:lnTo>
                    <a:pt x="4290" y="1921"/>
                  </a:lnTo>
                  <a:lnTo>
                    <a:pt x="4244" y="1942"/>
                  </a:lnTo>
                  <a:lnTo>
                    <a:pt x="4193" y="1956"/>
                  </a:lnTo>
                  <a:lnTo>
                    <a:pt x="4140" y="1961"/>
                  </a:lnTo>
                  <a:lnTo>
                    <a:pt x="4088" y="1956"/>
                  </a:lnTo>
                  <a:lnTo>
                    <a:pt x="4039" y="1942"/>
                  </a:lnTo>
                  <a:lnTo>
                    <a:pt x="3993" y="1921"/>
                  </a:lnTo>
                  <a:lnTo>
                    <a:pt x="3953" y="1891"/>
                  </a:lnTo>
                  <a:lnTo>
                    <a:pt x="3917" y="1854"/>
                  </a:lnTo>
                  <a:lnTo>
                    <a:pt x="3888" y="1814"/>
                  </a:lnTo>
                  <a:lnTo>
                    <a:pt x="3867" y="1766"/>
                  </a:lnTo>
                  <a:lnTo>
                    <a:pt x="3853" y="1717"/>
                  </a:lnTo>
                  <a:lnTo>
                    <a:pt x="3847" y="1663"/>
                  </a:lnTo>
                  <a:lnTo>
                    <a:pt x="3853" y="1610"/>
                  </a:lnTo>
                  <a:lnTo>
                    <a:pt x="3867" y="1559"/>
                  </a:lnTo>
                  <a:lnTo>
                    <a:pt x="3888" y="1512"/>
                  </a:lnTo>
                  <a:lnTo>
                    <a:pt x="3917" y="1471"/>
                  </a:lnTo>
                  <a:lnTo>
                    <a:pt x="3953" y="1434"/>
                  </a:lnTo>
                  <a:lnTo>
                    <a:pt x="3993" y="1406"/>
                  </a:lnTo>
                  <a:lnTo>
                    <a:pt x="4039" y="1384"/>
                  </a:lnTo>
                  <a:lnTo>
                    <a:pt x="4088" y="1369"/>
                  </a:lnTo>
                  <a:lnTo>
                    <a:pt x="4140" y="1364"/>
                  </a:lnTo>
                  <a:close/>
                  <a:moveTo>
                    <a:pt x="997" y="1364"/>
                  </a:moveTo>
                  <a:lnTo>
                    <a:pt x="1050" y="1369"/>
                  </a:lnTo>
                  <a:lnTo>
                    <a:pt x="1099" y="1384"/>
                  </a:lnTo>
                  <a:lnTo>
                    <a:pt x="1144" y="1406"/>
                  </a:lnTo>
                  <a:lnTo>
                    <a:pt x="1185" y="1434"/>
                  </a:lnTo>
                  <a:lnTo>
                    <a:pt x="1222" y="1471"/>
                  </a:lnTo>
                  <a:lnTo>
                    <a:pt x="1250" y="1512"/>
                  </a:lnTo>
                  <a:lnTo>
                    <a:pt x="1272" y="1559"/>
                  </a:lnTo>
                  <a:lnTo>
                    <a:pt x="1285" y="1610"/>
                  </a:lnTo>
                  <a:lnTo>
                    <a:pt x="1290" y="1663"/>
                  </a:lnTo>
                  <a:lnTo>
                    <a:pt x="1285" y="1717"/>
                  </a:lnTo>
                  <a:lnTo>
                    <a:pt x="1272" y="1766"/>
                  </a:lnTo>
                  <a:lnTo>
                    <a:pt x="1250" y="1814"/>
                  </a:lnTo>
                  <a:lnTo>
                    <a:pt x="1222" y="1854"/>
                  </a:lnTo>
                  <a:lnTo>
                    <a:pt x="1186" y="1891"/>
                  </a:lnTo>
                  <a:lnTo>
                    <a:pt x="1144" y="1921"/>
                  </a:lnTo>
                  <a:lnTo>
                    <a:pt x="1099" y="1942"/>
                  </a:lnTo>
                  <a:lnTo>
                    <a:pt x="1050" y="1956"/>
                  </a:lnTo>
                  <a:lnTo>
                    <a:pt x="997" y="1961"/>
                  </a:lnTo>
                  <a:lnTo>
                    <a:pt x="944" y="1956"/>
                  </a:lnTo>
                  <a:lnTo>
                    <a:pt x="895" y="1942"/>
                  </a:lnTo>
                  <a:lnTo>
                    <a:pt x="849" y="1921"/>
                  </a:lnTo>
                  <a:lnTo>
                    <a:pt x="807" y="1891"/>
                  </a:lnTo>
                  <a:lnTo>
                    <a:pt x="772" y="1854"/>
                  </a:lnTo>
                  <a:lnTo>
                    <a:pt x="744" y="1814"/>
                  </a:lnTo>
                  <a:lnTo>
                    <a:pt x="721" y="1766"/>
                  </a:lnTo>
                  <a:lnTo>
                    <a:pt x="709" y="1717"/>
                  </a:lnTo>
                  <a:lnTo>
                    <a:pt x="704" y="1663"/>
                  </a:lnTo>
                  <a:lnTo>
                    <a:pt x="709" y="1610"/>
                  </a:lnTo>
                  <a:lnTo>
                    <a:pt x="721" y="1559"/>
                  </a:lnTo>
                  <a:lnTo>
                    <a:pt x="744" y="1512"/>
                  </a:lnTo>
                  <a:lnTo>
                    <a:pt x="772" y="1471"/>
                  </a:lnTo>
                  <a:lnTo>
                    <a:pt x="807" y="1434"/>
                  </a:lnTo>
                  <a:lnTo>
                    <a:pt x="849" y="1406"/>
                  </a:lnTo>
                  <a:lnTo>
                    <a:pt x="895" y="1384"/>
                  </a:lnTo>
                  <a:lnTo>
                    <a:pt x="944" y="1369"/>
                  </a:lnTo>
                  <a:lnTo>
                    <a:pt x="997" y="1364"/>
                  </a:lnTo>
                  <a:close/>
                  <a:moveTo>
                    <a:pt x="2464" y="1001"/>
                  </a:moveTo>
                  <a:lnTo>
                    <a:pt x="2464" y="1154"/>
                  </a:lnTo>
                  <a:lnTo>
                    <a:pt x="2399" y="1168"/>
                  </a:lnTo>
                  <a:lnTo>
                    <a:pt x="2341" y="1189"/>
                  </a:lnTo>
                  <a:lnTo>
                    <a:pt x="2292" y="1215"/>
                  </a:lnTo>
                  <a:lnTo>
                    <a:pt x="2248" y="1245"/>
                  </a:lnTo>
                  <a:lnTo>
                    <a:pt x="2213" y="1280"/>
                  </a:lnTo>
                  <a:lnTo>
                    <a:pt x="2185" y="1319"/>
                  </a:lnTo>
                  <a:lnTo>
                    <a:pt x="2164" y="1361"/>
                  </a:lnTo>
                  <a:lnTo>
                    <a:pt x="2152" y="1406"/>
                  </a:lnTo>
                  <a:lnTo>
                    <a:pt x="2148" y="1455"/>
                  </a:lnTo>
                  <a:lnTo>
                    <a:pt x="2152" y="1501"/>
                  </a:lnTo>
                  <a:lnTo>
                    <a:pt x="2164" y="1545"/>
                  </a:lnTo>
                  <a:lnTo>
                    <a:pt x="2183" y="1582"/>
                  </a:lnTo>
                  <a:lnTo>
                    <a:pt x="2210" y="1617"/>
                  </a:lnTo>
                  <a:lnTo>
                    <a:pt x="2241" y="1647"/>
                  </a:lnTo>
                  <a:lnTo>
                    <a:pt x="2280" y="1675"/>
                  </a:lnTo>
                  <a:lnTo>
                    <a:pt x="2322" y="1700"/>
                  </a:lnTo>
                  <a:lnTo>
                    <a:pt x="2371" y="1721"/>
                  </a:lnTo>
                  <a:lnTo>
                    <a:pt x="2424" y="1742"/>
                  </a:lnTo>
                  <a:lnTo>
                    <a:pt x="2480" y="1759"/>
                  </a:lnTo>
                  <a:lnTo>
                    <a:pt x="2531" y="1775"/>
                  </a:lnTo>
                  <a:lnTo>
                    <a:pt x="2573" y="1791"/>
                  </a:lnTo>
                  <a:lnTo>
                    <a:pt x="2608" y="1805"/>
                  </a:lnTo>
                  <a:lnTo>
                    <a:pt x="2633" y="1821"/>
                  </a:lnTo>
                  <a:lnTo>
                    <a:pt x="2650" y="1838"/>
                  </a:lnTo>
                  <a:lnTo>
                    <a:pt x="2661" y="1858"/>
                  </a:lnTo>
                  <a:lnTo>
                    <a:pt x="2664" y="1877"/>
                  </a:lnTo>
                  <a:lnTo>
                    <a:pt x="2661" y="1898"/>
                  </a:lnTo>
                  <a:lnTo>
                    <a:pt x="2650" y="1915"/>
                  </a:lnTo>
                  <a:lnTo>
                    <a:pt x="2633" y="1930"/>
                  </a:lnTo>
                  <a:lnTo>
                    <a:pt x="2608" y="1940"/>
                  </a:lnTo>
                  <a:lnTo>
                    <a:pt x="2580" y="1947"/>
                  </a:lnTo>
                  <a:lnTo>
                    <a:pt x="2547" y="1951"/>
                  </a:lnTo>
                  <a:lnTo>
                    <a:pt x="2510" y="1952"/>
                  </a:lnTo>
                  <a:lnTo>
                    <a:pt x="2438" y="1949"/>
                  </a:lnTo>
                  <a:lnTo>
                    <a:pt x="2369" y="1938"/>
                  </a:lnTo>
                  <a:lnTo>
                    <a:pt x="2306" y="1921"/>
                  </a:lnTo>
                  <a:lnTo>
                    <a:pt x="2248" y="1901"/>
                  </a:lnTo>
                  <a:lnTo>
                    <a:pt x="2197" y="1880"/>
                  </a:lnTo>
                  <a:lnTo>
                    <a:pt x="2140" y="2105"/>
                  </a:lnTo>
                  <a:lnTo>
                    <a:pt x="2187" y="2124"/>
                  </a:lnTo>
                  <a:lnTo>
                    <a:pt x="2243" y="2142"/>
                  </a:lnTo>
                  <a:lnTo>
                    <a:pt x="2310" y="2158"/>
                  </a:lnTo>
                  <a:lnTo>
                    <a:pt x="2380" y="2168"/>
                  </a:lnTo>
                  <a:lnTo>
                    <a:pt x="2454" y="2175"/>
                  </a:lnTo>
                  <a:lnTo>
                    <a:pt x="2454" y="2326"/>
                  </a:lnTo>
                  <a:lnTo>
                    <a:pt x="2657" y="2326"/>
                  </a:lnTo>
                  <a:lnTo>
                    <a:pt x="2657" y="2161"/>
                  </a:lnTo>
                  <a:lnTo>
                    <a:pt x="2726" y="2145"/>
                  </a:lnTo>
                  <a:lnTo>
                    <a:pt x="2785" y="2124"/>
                  </a:lnTo>
                  <a:lnTo>
                    <a:pt x="2838" y="2098"/>
                  </a:lnTo>
                  <a:lnTo>
                    <a:pt x="2884" y="2066"/>
                  </a:lnTo>
                  <a:lnTo>
                    <a:pt x="2921" y="2030"/>
                  </a:lnTo>
                  <a:lnTo>
                    <a:pt x="2950" y="1989"/>
                  </a:lnTo>
                  <a:lnTo>
                    <a:pt x="2971" y="1945"/>
                  </a:lnTo>
                  <a:lnTo>
                    <a:pt x="2986" y="1900"/>
                  </a:lnTo>
                  <a:lnTo>
                    <a:pt x="2989" y="1851"/>
                  </a:lnTo>
                  <a:lnTo>
                    <a:pt x="2986" y="1803"/>
                  </a:lnTo>
                  <a:lnTo>
                    <a:pt x="2977" y="1759"/>
                  </a:lnTo>
                  <a:lnTo>
                    <a:pt x="2959" y="1719"/>
                  </a:lnTo>
                  <a:lnTo>
                    <a:pt x="2935" y="1684"/>
                  </a:lnTo>
                  <a:lnTo>
                    <a:pt x="2903" y="1649"/>
                  </a:lnTo>
                  <a:lnTo>
                    <a:pt x="2863" y="1619"/>
                  </a:lnTo>
                  <a:lnTo>
                    <a:pt x="2812" y="1591"/>
                  </a:lnTo>
                  <a:lnTo>
                    <a:pt x="2752" y="1564"/>
                  </a:lnTo>
                  <a:lnTo>
                    <a:pt x="2682" y="1542"/>
                  </a:lnTo>
                  <a:lnTo>
                    <a:pt x="2624" y="1522"/>
                  </a:lnTo>
                  <a:lnTo>
                    <a:pt x="2577" y="1505"/>
                  </a:lnTo>
                  <a:lnTo>
                    <a:pt x="2538" y="1487"/>
                  </a:lnTo>
                  <a:lnTo>
                    <a:pt x="2508" y="1471"/>
                  </a:lnTo>
                  <a:lnTo>
                    <a:pt x="2489" y="1455"/>
                  </a:lnTo>
                  <a:lnTo>
                    <a:pt x="2477" y="1440"/>
                  </a:lnTo>
                  <a:lnTo>
                    <a:pt x="2473" y="1422"/>
                  </a:lnTo>
                  <a:lnTo>
                    <a:pt x="2475" y="1408"/>
                  </a:lnTo>
                  <a:lnTo>
                    <a:pt x="2482" y="1392"/>
                  </a:lnTo>
                  <a:lnTo>
                    <a:pt x="2494" y="1380"/>
                  </a:lnTo>
                  <a:lnTo>
                    <a:pt x="2512" y="1369"/>
                  </a:lnTo>
                  <a:lnTo>
                    <a:pt x="2536" y="1361"/>
                  </a:lnTo>
                  <a:lnTo>
                    <a:pt x="2570" y="1354"/>
                  </a:lnTo>
                  <a:lnTo>
                    <a:pt x="2610" y="1352"/>
                  </a:lnTo>
                  <a:lnTo>
                    <a:pt x="2673" y="1355"/>
                  </a:lnTo>
                  <a:lnTo>
                    <a:pt x="2728" y="1362"/>
                  </a:lnTo>
                  <a:lnTo>
                    <a:pt x="2777" y="1373"/>
                  </a:lnTo>
                  <a:lnTo>
                    <a:pt x="2817" y="1385"/>
                  </a:lnTo>
                  <a:lnTo>
                    <a:pt x="2852" y="1398"/>
                  </a:lnTo>
                  <a:lnTo>
                    <a:pt x="2878" y="1408"/>
                  </a:lnTo>
                  <a:lnTo>
                    <a:pt x="2935" y="1192"/>
                  </a:lnTo>
                  <a:lnTo>
                    <a:pt x="2901" y="1178"/>
                  </a:lnTo>
                  <a:lnTo>
                    <a:pt x="2864" y="1168"/>
                  </a:lnTo>
                  <a:lnTo>
                    <a:pt x="2822" y="1157"/>
                  </a:lnTo>
                  <a:lnTo>
                    <a:pt x="2775" y="1148"/>
                  </a:lnTo>
                  <a:lnTo>
                    <a:pt x="2722" y="1143"/>
                  </a:lnTo>
                  <a:lnTo>
                    <a:pt x="2664" y="1139"/>
                  </a:lnTo>
                  <a:lnTo>
                    <a:pt x="2664" y="1001"/>
                  </a:lnTo>
                  <a:lnTo>
                    <a:pt x="2464" y="1001"/>
                  </a:lnTo>
                  <a:close/>
                  <a:moveTo>
                    <a:pt x="2570" y="557"/>
                  </a:moveTo>
                  <a:lnTo>
                    <a:pt x="2668" y="562"/>
                  </a:lnTo>
                  <a:lnTo>
                    <a:pt x="2764" y="578"/>
                  </a:lnTo>
                  <a:lnTo>
                    <a:pt x="2856" y="606"/>
                  </a:lnTo>
                  <a:lnTo>
                    <a:pt x="2945" y="643"/>
                  </a:lnTo>
                  <a:lnTo>
                    <a:pt x="3029" y="690"/>
                  </a:lnTo>
                  <a:lnTo>
                    <a:pt x="3108" y="744"/>
                  </a:lnTo>
                  <a:lnTo>
                    <a:pt x="3182" y="809"/>
                  </a:lnTo>
                  <a:lnTo>
                    <a:pt x="3251" y="880"/>
                  </a:lnTo>
                  <a:lnTo>
                    <a:pt x="3314" y="959"/>
                  </a:lnTo>
                  <a:lnTo>
                    <a:pt x="3368" y="1045"/>
                  </a:lnTo>
                  <a:lnTo>
                    <a:pt x="3417" y="1136"/>
                  </a:lnTo>
                  <a:lnTo>
                    <a:pt x="3458" y="1233"/>
                  </a:lnTo>
                  <a:lnTo>
                    <a:pt x="3491" y="1334"/>
                  </a:lnTo>
                  <a:lnTo>
                    <a:pt x="3514" y="1440"/>
                  </a:lnTo>
                  <a:lnTo>
                    <a:pt x="3528" y="1550"/>
                  </a:lnTo>
                  <a:lnTo>
                    <a:pt x="3533" y="1663"/>
                  </a:lnTo>
                  <a:lnTo>
                    <a:pt x="3528" y="1777"/>
                  </a:lnTo>
                  <a:lnTo>
                    <a:pt x="3514" y="1886"/>
                  </a:lnTo>
                  <a:lnTo>
                    <a:pt x="3491" y="1993"/>
                  </a:lnTo>
                  <a:lnTo>
                    <a:pt x="3458" y="2093"/>
                  </a:lnTo>
                  <a:lnTo>
                    <a:pt x="3417" y="2191"/>
                  </a:lnTo>
                  <a:lnTo>
                    <a:pt x="3370" y="2282"/>
                  </a:lnTo>
                  <a:lnTo>
                    <a:pt x="3314" y="2367"/>
                  </a:lnTo>
                  <a:lnTo>
                    <a:pt x="3251" y="2446"/>
                  </a:lnTo>
                  <a:lnTo>
                    <a:pt x="3182" y="2516"/>
                  </a:lnTo>
                  <a:lnTo>
                    <a:pt x="3108" y="2581"/>
                  </a:lnTo>
                  <a:lnTo>
                    <a:pt x="3029" y="2635"/>
                  </a:lnTo>
                  <a:lnTo>
                    <a:pt x="2945" y="2683"/>
                  </a:lnTo>
                  <a:lnTo>
                    <a:pt x="2856" y="2720"/>
                  </a:lnTo>
                  <a:lnTo>
                    <a:pt x="2764" y="2748"/>
                  </a:lnTo>
                  <a:lnTo>
                    <a:pt x="2668" y="2763"/>
                  </a:lnTo>
                  <a:lnTo>
                    <a:pt x="2570" y="2769"/>
                  </a:lnTo>
                  <a:lnTo>
                    <a:pt x="2471" y="2763"/>
                  </a:lnTo>
                  <a:lnTo>
                    <a:pt x="2375" y="2748"/>
                  </a:lnTo>
                  <a:lnTo>
                    <a:pt x="2282" y="2720"/>
                  </a:lnTo>
                  <a:lnTo>
                    <a:pt x="2194" y="2683"/>
                  </a:lnTo>
                  <a:lnTo>
                    <a:pt x="2110" y="2635"/>
                  </a:lnTo>
                  <a:lnTo>
                    <a:pt x="2029" y="2581"/>
                  </a:lnTo>
                  <a:lnTo>
                    <a:pt x="1955" y="2516"/>
                  </a:lnTo>
                  <a:lnTo>
                    <a:pt x="1887" y="2446"/>
                  </a:lnTo>
                  <a:lnTo>
                    <a:pt x="1825" y="2367"/>
                  </a:lnTo>
                  <a:lnTo>
                    <a:pt x="1769" y="2282"/>
                  </a:lnTo>
                  <a:lnTo>
                    <a:pt x="1720" y="2191"/>
                  </a:lnTo>
                  <a:lnTo>
                    <a:pt x="1680" y="2093"/>
                  </a:lnTo>
                  <a:lnTo>
                    <a:pt x="1648" y="1993"/>
                  </a:lnTo>
                  <a:lnTo>
                    <a:pt x="1624" y="1886"/>
                  </a:lnTo>
                  <a:lnTo>
                    <a:pt x="1609" y="1777"/>
                  </a:lnTo>
                  <a:lnTo>
                    <a:pt x="1604" y="1663"/>
                  </a:lnTo>
                  <a:lnTo>
                    <a:pt x="1609" y="1550"/>
                  </a:lnTo>
                  <a:lnTo>
                    <a:pt x="1624" y="1440"/>
                  </a:lnTo>
                  <a:lnTo>
                    <a:pt x="1648" y="1334"/>
                  </a:lnTo>
                  <a:lnTo>
                    <a:pt x="1680" y="1233"/>
                  </a:lnTo>
                  <a:lnTo>
                    <a:pt x="1720" y="1136"/>
                  </a:lnTo>
                  <a:lnTo>
                    <a:pt x="1769" y="1045"/>
                  </a:lnTo>
                  <a:lnTo>
                    <a:pt x="1825" y="959"/>
                  </a:lnTo>
                  <a:lnTo>
                    <a:pt x="1887" y="880"/>
                  </a:lnTo>
                  <a:lnTo>
                    <a:pt x="1955" y="809"/>
                  </a:lnTo>
                  <a:lnTo>
                    <a:pt x="2029" y="744"/>
                  </a:lnTo>
                  <a:lnTo>
                    <a:pt x="2110" y="690"/>
                  </a:lnTo>
                  <a:lnTo>
                    <a:pt x="2194" y="643"/>
                  </a:lnTo>
                  <a:lnTo>
                    <a:pt x="2282" y="606"/>
                  </a:lnTo>
                  <a:lnTo>
                    <a:pt x="2375" y="578"/>
                  </a:lnTo>
                  <a:lnTo>
                    <a:pt x="2471" y="562"/>
                  </a:lnTo>
                  <a:lnTo>
                    <a:pt x="2570" y="557"/>
                  </a:lnTo>
                  <a:close/>
                  <a:moveTo>
                    <a:pt x="176" y="0"/>
                  </a:moveTo>
                  <a:lnTo>
                    <a:pt x="4962" y="0"/>
                  </a:lnTo>
                  <a:lnTo>
                    <a:pt x="5002" y="5"/>
                  </a:lnTo>
                  <a:lnTo>
                    <a:pt x="5039" y="18"/>
                  </a:lnTo>
                  <a:lnTo>
                    <a:pt x="5072" y="39"/>
                  </a:lnTo>
                  <a:lnTo>
                    <a:pt x="5100" y="67"/>
                  </a:lnTo>
                  <a:lnTo>
                    <a:pt x="5120" y="100"/>
                  </a:lnTo>
                  <a:lnTo>
                    <a:pt x="5134" y="139"/>
                  </a:lnTo>
                  <a:lnTo>
                    <a:pt x="5139" y="179"/>
                  </a:lnTo>
                  <a:lnTo>
                    <a:pt x="5139" y="1975"/>
                  </a:lnTo>
                  <a:lnTo>
                    <a:pt x="4821" y="1975"/>
                  </a:lnTo>
                  <a:lnTo>
                    <a:pt x="4821" y="830"/>
                  </a:lnTo>
                  <a:lnTo>
                    <a:pt x="4748" y="811"/>
                  </a:lnTo>
                  <a:lnTo>
                    <a:pt x="4677" y="783"/>
                  </a:lnTo>
                  <a:lnTo>
                    <a:pt x="4613" y="748"/>
                  </a:lnTo>
                  <a:lnTo>
                    <a:pt x="4551" y="704"/>
                  </a:lnTo>
                  <a:lnTo>
                    <a:pt x="4497" y="655"/>
                  </a:lnTo>
                  <a:lnTo>
                    <a:pt x="4448" y="599"/>
                  </a:lnTo>
                  <a:lnTo>
                    <a:pt x="4405" y="536"/>
                  </a:lnTo>
                  <a:lnTo>
                    <a:pt x="4372" y="469"/>
                  </a:lnTo>
                  <a:lnTo>
                    <a:pt x="4344" y="397"/>
                  </a:lnTo>
                  <a:lnTo>
                    <a:pt x="4326" y="321"/>
                  </a:lnTo>
                  <a:lnTo>
                    <a:pt x="806" y="321"/>
                  </a:lnTo>
                  <a:lnTo>
                    <a:pt x="786" y="397"/>
                  </a:lnTo>
                  <a:lnTo>
                    <a:pt x="760" y="467"/>
                  </a:lnTo>
                  <a:lnTo>
                    <a:pt x="727" y="534"/>
                  </a:lnTo>
                  <a:lnTo>
                    <a:pt x="685" y="595"/>
                  </a:lnTo>
                  <a:lnTo>
                    <a:pt x="637" y="653"/>
                  </a:lnTo>
                  <a:lnTo>
                    <a:pt x="583" y="702"/>
                  </a:lnTo>
                  <a:lnTo>
                    <a:pt x="523" y="746"/>
                  </a:lnTo>
                  <a:lnTo>
                    <a:pt x="458" y="781"/>
                  </a:lnTo>
                  <a:lnTo>
                    <a:pt x="390" y="809"/>
                  </a:lnTo>
                  <a:lnTo>
                    <a:pt x="316" y="830"/>
                  </a:lnTo>
                  <a:lnTo>
                    <a:pt x="316" y="2542"/>
                  </a:lnTo>
                  <a:lnTo>
                    <a:pt x="388" y="2562"/>
                  </a:lnTo>
                  <a:lnTo>
                    <a:pt x="456" y="2590"/>
                  </a:lnTo>
                  <a:lnTo>
                    <a:pt x="520" y="2625"/>
                  </a:lnTo>
                  <a:lnTo>
                    <a:pt x="579" y="2667"/>
                  </a:lnTo>
                  <a:lnTo>
                    <a:pt x="634" y="2716"/>
                  </a:lnTo>
                  <a:lnTo>
                    <a:pt x="681" y="2771"/>
                  </a:lnTo>
                  <a:lnTo>
                    <a:pt x="723" y="2830"/>
                  </a:lnTo>
                  <a:lnTo>
                    <a:pt x="758" y="2897"/>
                  </a:lnTo>
                  <a:lnTo>
                    <a:pt x="785" y="2965"/>
                  </a:lnTo>
                  <a:lnTo>
                    <a:pt x="804" y="3039"/>
                  </a:lnTo>
                  <a:lnTo>
                    <a:pt x="3779" y="3039"/>
                  </a:lnTo>
                  <a:lnTo>
                    <a:pt x="3756" y="3081"/>
                  </a:lnTo>
                  <a:lnTo>
                    <a:pt x="3738" y="3129"/>
                  </a:lnTo>
                  <a:lnTo>
                    <a:pt x="3728" y="3178"/>
                  </a:lnTo>
                  <a:lnTo>
                    <a:pt x="3724" y="3229"/>
                  </a:lnTo>
                  <a:lnTo>
                    <a:pt x="3726" y="3274"/>
                  </a:lnTo>
                  <a:lnTo>
                    <a:pt x="3735" y="3318"/>
                  </a:lnTo>
                  <a:lnTo>
                    <a:pt x="3749" y="3360"/>
                  </a:lnTo>
                  <a:lnTo>
                    <a:pt x="176" y="3360"/>
                  </a:lnTo>
                  <a:lnTo>
                    <a:pt x="135" y="3355"/>
                  </a:lnTo>
                  <a:lnTo>
                    <a:pt x="98" y="3343"/>
                  </a:lnTo>
                  <a:lnTo>
                    <a:pt x="65" y="3322"/>
                  </a:lnTo>
                  <a:lnTo>
                    <a:pt x="39" y="3294"/>
                  </a:lnTo>
                  <a:lnTo>
                    <a:pt x="18" y="3260"/>
                  </a:lnTo>
                  <a:lnTo>
                    <a:pt x="5" y="3223"/>
                  </a:lnTo>
                  <a:lnTo>
                    <a:pt x="0" y="3181"/>
                  </a:lnTo>
                  <a:lnTo>
                    <a:pt x="0" y="179"/>
                  </a:lnTo>
                  <a:lnTo>
                    <a:pt x="5" y="139"/>
                  </a:lnTo>
                  <a:lnTo>
                    <a:pt x="18" y="100"/>
                  </a:lnTo>
                  <a:lnTo>
                    <a:pt x="39" y="67"/>
                  </a:lnTo>
                  <a:lnTo>
                    <a:pt x="65" y="39"/>
                  </a:lnTo>
                  <a:lnTo>
                    <a:pt x="98" y="18"/>
                  </a:lnTo>
                  <a:lnTo>
                    <a:pt x="135" y="5"/>
                  </a:lnTo>
                  <a:lnTo>
                    <a:pt x="176"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8" name="Freeform 31"/>
            <p:cNvSpPr>
              <a:spLocks noChangeAspect="1" noEditPoints="1"/>
            </p:cNvSpPr>
            <p:nvPr/>
          </p:nvSpPr>
          <p:spPr bwMode="auto">
            <a:xfrm>
              <a:off x="8503790" y="1690826"/>
              <a:ext cx="849934" cy="484175"/>
            </a:xfrm>
            <a:custGeom>
              <a:avLst/>
              <a:gdLst>
                <a:gd name="T0" fmla="*/ 5743 w 5783"/>
                <a:gd name="T1" fmla="*/ 3160 h 3385"/>
                <a:gd name="T2" fmla="*/ 5671 w 5783"/>
                <a:gd name="T3" fmla="*/ 3369 h 3385"/>
                <a:gd name="T4" fmla="*/ 3949 w 5783"/>
                <a:gd name="T5" fmla="*/ 3327 h 3385"/>
                <a:gd name="T6" fmla="*/ 3974 w 5783"/>
                <a:gd name="T7" fmla="*/ 3106 h 3385"/>
                <a:gd name="T8" fmla="*/ 5631 w 5783"/>
                <a:gd name="T9" fmla="*/ 2637 h 3385"/>
                <a:gd name="T10" fmla="*/ 5702 w 5783"/>
                <a:gd name="T11" fmla="*/ 2848 h 3385"/>
                <a:gd name="T12" fmla="*/ 3995 w 5783"/>
                <a:gd name="T13" fmla="*/ 2930 h 3385"/>
                <a:gd name="T14" fmla="*/ 3879 w 5783"/>
                <a:gd name="T15" fmla="*/ 2742 h 3385"/>
                <a:gd name="T16" fmla="*/ 4097 w 5783"/>
                <a:gd name="T17" fmla="*/ 2172 h 3385"/>
                <a:gd name="T18" fmla="*/ 5780 w 5783"/>
                <a:gd name="T19" fmla="*/ 2293 h 3385"/>
                <a:gd name="T20" fmla="*/ 5666 w 5783"/>
                <a:gd name="T21" fmla="*/ 2483 h 3385"/>
                <a:gd name="T22" fmla="*/ 3958 w 5783"/>
                <a:gd name="T23" fmla="*/ 2398 h 3385"/>
                <a:gd name="T24" fmla="*/ 4028 w 5783"/>
                <a:gd name="T25" fmla="*/ 2188 h 3385"/>
                <a:gd name="T26" fmla="*/ 4330 w 5783"/>
                <a:gd name="T27" fmla="*/ 1434 h 3385"/>
                <a:gd name="T28" fmla="*/ 4416 w 5783"/>
                <a:gd name="T29" fmla="*/ 1766 h 3385"/>
                <a:gd name="T30" fmla="*/ 4140 w 5783"/>
                <a:gd name="T31" fmla="*/ 1961 h 3385"/>
                <a:gd name="T32" fmla="*/ 3867 w 5783"/>
                <a:gd name="T33" fmla="*/ 1766 h 3385"/>
                <a:gd name="T34" fmla="*/ 3953 w 5783"/>
                <a:gd name="T35" fmla="*/ 1434 h 3385"/>
                <a:gd name="T36" fmla="*/ 1099 w 5783"/>
                <a:gd name="T37" fmla="*/ 1384 h 3385"/>
                <a:gd name="T38" fmla="*/ 1290 w 5783"/>
                <a:gd name="T39" fmla="*/ 1663 h 3385"/>
                <a:gd name="T40" fmla="*/ 1099 w 5783"/>
                <a:gd name="T41" fmla="*/ 1942 h 3385"/>
                <a:gd name="T42" fmla="*/ 772 w 5783"/>
                <a:gd name="T43" fmla="*/ 1854 h 3385"/>
                <a:gd name="T44" fmla="*/ 744 w 5783"/>
                <a:gd name="T45" fmla="*/ 1512 h 3385"/>
                <a:gd name="T46" fmla="*/ 2464 w 5783"/>
                <a:gd name="T47" fmla="*/ 1001 h 3385"/>
                <a:gd name="T48" fmla="*/ 2185 w 5783"/>
                <a:gd name="T49" fmla="*/ 1319 h 3385"/>
                <a:gd name="T50" fmla="*/ 2210 w 5783"/>
                <a:gd name="T51" fmla="*/ 1617 h 3385"/>
                <a:gd name="T52" fmla="*/ 2531 w 5783"/>
                <a:gd name="T53" fmla="*/ 1775 h 3385"/>
                <a:gd name="T54" fmla="*/ 2661 w 5783"/>
                <a:gd name="T55" fmla="*/ 1898 h 3385"/>
                <a:gd name="T56" fmla="*/ 2438 w 5783"/>
                <a:gd name="T57" fmla="*/ 1949 h 3385"/>
                <a:gd name="T58" fmla="*/ 2243 w 5783"/>
                <a:gd name="T59" fmla="*/ 2142 h 3385"/>
                <a:gd name="T60" fmla="*/ 2726 w 5783"/>
                <a:gd name="T61" fmla="*/ 2145 h 3385"/>
                <a:gd name="T62" fmla="*/ 2986 w 5783"/>
                <a:gd name="T63" fmla="*/ 1900 h 3385"/>
                <a:gd name="T64" fmla="*/ 2863 w 5783"/>
                <a:gd name="T65" fmla="*/ 1619 h 3385"/>
                <a:gd name="T66" fmla="*/ 2508 w 5783"/>
                <a:gd name="T67" fmla="*/ 1471 h 3385"/>
                <a:gd name="T68" fmla="*/ 2512 w 5783"/>
                <a:gd name="T69" fmla="*/ 1369 h 3385"/>
                <a:gd name="T70" fmla="*/ 2817 w 5783"/>
                <a:gd name="T71" fmla="*/ 1385 h 3385"/>
                <a:gd name="T72" fmla="*/ 2775 w 5783"/>
                <a:gd name="T73" fmla="*/ 1148 h 3385"/>
                <a:gd name="T74" fmla="*/ 2764 w 5783"/>
                <a:gd name="T75" fmla="*/ 578 h 3385"/>
                <a:gd name="T76" fmla="*/ 3314 w 5783"/>
                <a:gd name="T77" fmla="*/ 959 h 3385"/>
                <a:gd name="T78" fmla="*/ 3533 w 5783"/>
                <a:gd name="T79" fmla="*/ 1663 h 3385"/>
                <a:gd name="T80" fmla="*/ 3314 w 5783"/>
                <a:gd name="T81" fmla="*/ 2367 h 3385"/>
                <a:gd name="T82" fmla="*/ 2764 w 5783"/>
                <a:gd name="T83" fmla="*/ 2748 h 3385"/>
                <a:gd name="T84" fmla="*/ 2110 w 5783"/>
                <a:gd name="T85" fmla="*/ 2635 h 3385"/>
                <a:gd name="T86" fmla="*/ 1680 w 5783"/>
                <a:gd name="T87" fmla="*/ 2093 h 3385"/>
                <a:gd name="T88" fmla="*/ 1648 w 5783"/>
                <a:gd name="T89" fmla="*/ 1334 h 3385"/>
                <a:gd name="T90" fmla="*/ 2029 w 5783"/>
                <a:gd name="T91" fmla="*/ 744 h 3385"/>
                <a:gd name="T92" fmla="*/ 176 w 5783"/>
                <a:gd name="T93" fmla="*/ 0 h 3385"/>
                <a:gd name="T94" fmla="*/ 5134 w 5783"/>
                <a:gd name="T95" fmla="*/ 139 h 3385"/>
                <a:gd name="T96" fmla="*/ 4613 w 5783"/>
                <a:gd name="T97" fmla="*/ 748 h 3385"/>
                <a:gd name="T98" fmla="*/ 4326 w 5783"/>
                <a:gd name="T99" fmla="*/ 321 h 3385"/>
                <a:gd name="T100" fmla="*/ 583 w 5783"/>
                <a:gd name="T101" fmla="*/ 702 h 3385"/>
                <a:gd name="T102" fmla="*/ 456 w 5783"/>
                <a:gd name="T103" fmla="*/ 2590 h 3385"/>
                <a:gd name="T104" fmla="*/ 785 w 5783"/>
                <a:gd name="T105" fmla="*/ 2965 h 3385"/>
                <a:gd name="T106" fmla="*/ 3726 w 5783"/>
                <a:gd name="T107" fmla="*/ 3274 h 3385"/>
                <a:gd name="T108" fmla="*/ 39 w 5783"/>
                <a:gd name="T109" fmla="*/ 3294 h 3385"/>
                <a:gd name="T110" fmla="*/ 39 w 5783"/>
                <a:gd name="T111" fmla="*/ 67 h 3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783" h="3385">
                  <a:moveTo>
                    <a:pt x="4070" y="3072"/>
                  </a:moveTo>
                  <a:lnTo>
                    <a:pt x="5604" y="3072"/>
                  </a:lnTo>
                  <a:lnTo>
                    <a:pt x="5639" y="3076"/>
                  </a:lnTo>
                  <a:lnTo>
                    <a:pt x="5671" y="3088"/>
                  </a:lnTo>
                  <a:lnTo>
                    <a:pt x="5701" y="3106"/>
                  </a:lnTo>
                  <a:lnTo>
                    <a:pt x="5724" y="3130"/>
                  </a:lnTo>
                  <a:lnTo>
                    <a:pt x="5743" y="3160"/>
                  </a:lnTo>
                  <a:lnTo>
                    <a:pt x="5753" y="3194"/>
                  </a:lnTo>
                  <a:lnTo>
                    <a:pt x="5759" y="3229"/>
                  </a:lnTo>
                  <a:lnTo>
                    <a:pt x="5753" y="3266"/>
                  </a:lnTo>
                  <a:lnTo>
                    <a:pt x="5743" y="3297"/>
                  </a:lnTo>
                  <a:lnTo>
                    <a:pt x="5724" y="3327"/>
                  </a:lnTo>
                  <a:lnTo>
                    <a:pt x="5701" y="3352"/>
                  </a:lnTo>
                  <a:lnTo>
                    <a:pt x="5671" y="3369"/>
                  </a:lnTo>
                  <a:lnTo>
                    <a:pt x="5639" y="3381"/>
                  </a:lnTo>
                  <a:lnTo>
                    <a:pt x="5604" y="3385"/>
                  </a:lnTo>
                  <a:lnTo>
                    <a:pt x="4070" y="3385"/>
                  </a:lnTo>
                  <a:lnTo>
                    <a:pt x="4035" y="3381"/>
                  </a:lnTo>
                  <a:lnTo>
                    <a:pt x="4002" y="3369"/>
                  </a:lnTo>
                  <a:lnTo>
                    <a:pt x="3974" y="3352"/>
                  </a:lnTo>
                  <a:lnTo>
                    <a:pt x="3949" y="3327"/>
                  </a:lnTo>
                  <a:lnTo>
                    <a:pt x="3932" y="3297"/>
                  </a:lnTo>
                  <a:lnTo>
                    <a:pt x="3919" y="3266"/>
                  </a:lnTo>
                  <a:lnTo>
                    <a:pt x="3916" y="3229"/>
                  </a:lnTo>
                  <a:lnTo>
                    <a:pt x="3919" y="3194"/>
                  </a:lnTo>
                  <a:lnTo>
                    <a:pt x="3932" y="3160"/>
                  </a:lnTo>
                  <a:lnTo>
                    <a:pt x="3949" y="3130"/>
                  </a:lnTo>
                  <a:lnTo>
                    <a:pt x="3974" y="3106"/>
                  </a:lnTo>
                  <a:lnTo>
                    <a:pt x="4002" y="3088"/>
                  </a:lnTo>
                  <a:lnTo>
                    <a:pt x="4035" y="3076"/>
                  </a:lnTo>
                  <a:lnTo>
                    <a:pt x="4070" y="3072"/>
                  </a:lnTo>
                  <a:close/>
                  <a:moveTo>
                    <a:pt x="4030" y="2621"/>
                  </a:moveTo>
                  <a:lnTo>
                    <a:pt x="5562" y="2621"/>
                  </a:lnTo>
                  <a:lnTo>
                    <a:pt x="5599" y="2625"/>
                  </a:lnTo>
                  <a:lnTo>
                    <a:pt x="5631" y="2637"/>
                  </a:lnTo>
                  <a:lnTo>
                    <a:pt x="5660" y="2656"/>
                  </a:lnTo>
                  <a:lnTo>
                    <a:pt x="5683" y="2679"/>
                  </a:lnTo>
                  <a:lnTo>
                    <a:pt x="5702" y="2709"/>
                  </a:lnTo>
                  <a:lnTo>
                    <a:pt x="5713" y="2742"/>
                  </a:lnTo>
                  <a:lnTo>
                    <a:pt x="5718" y="2778"/>
                  </a:lnTo>
                  <a:lnTo>
                    <a:pt x="5713" y="2814"/>
                  </a:lnTo>
                  <a:lnTo>
                    <a:pt x="5702" y="2848"/>
                  </a:lnTo>
                  <a:lnTo>
                    <a:pt x="5683" y="2876"/>
                  </a:lnTo>
                  <a:lnTo>
                    <a:pt x="5660" y="2900"/>
                  </a:lnTo>
                  <a:lnTo>
                    <a:pt x="5631" y="2920"/>
                  </a:lnTo>
                  <a:lnTo>
                    <a:pt x="5599" y="2930"/>
                  </a:lnTo>
                  <a:lnTo>
                    <a:pt x="5562" y="2936"/>
                  </a:lnTo>
                  <a:lnTo>
                    <a:pt x="4030" y="2936"/>
                  </a:lnTo>
                  <a:lnTo>
                    <a:pt x="3995" y="2930"/>
                  </a:lnTo>
                  <a:lnTo>
                    <a:pt x="3961" y="2920"/>
                  </a:lnTo>
                  <a:lnTo>
                    <a:pt x="3933" y="2900"/>
                  </a:lnTo>
                  <a:lnTo>
                    <a:pt x="3909" y="2876"/>
                  </a:lnTo>
                  <a:lnTo>
                    <a:pt x="3891" y="2848"/>
                  </a:lnTo>
                  <a:lnTo>
                    <a:pt x="3879" y="2814"/>
                  </a:lnTo>
                  <a:lnTo>
                    <a:pt x="3875" y="2778"/>
                  </a:lnTo>
                  <a:lnTo>
                    <a:pt x="3879" y="2742"/>
                  </a:lnTo>
                  <a:lnTo>
                    <a:pt x="3891" y="2709"/>
                  </a:lnTo>
                  <a:lnTo>
                    <a:pt x="3909" y="2679"/>
                  </a:lnTo>
                  <a:lnTo>
                    <a:pt x="3933" y="2656"/>
                  </a:lnTo>
                  <a:lnTo>
                    <a:pt x="3961" y="2637"/>
                  </a:lnTo>
                  <a:lnTo>
                    <a:pt x="3995" y="2625"/>
                  </a:lnTo>
                  <a:lnTo>
                    <a:pt x="4030" y="2621"/>
                  </a:lnTo>
                  <a:close/>
                  <a:moveTo>
                    <a:pt x="4097" y="2172"/>
                  </a:moveTo>
                  <a:lnTo>
                    <a:pt x="5629" y="2172"/>
                  </a:lnTo>
                  <a:lnTo>
                    <a:pt x="5666" y="2177"/>
                  </a:lnTo>
                  <a:lnTo>
                    <a:pt x="5697" y="2188"/>
                  </a:lnTo>
                  <a:lnTo>
                    <a:pt x="5725" y="2207"/>
                  </a:lnTo>
                  <a:lnTo>
                    <a:pt x="5750" y="2232"/>
                  </a:lnTo>
                  <a:lnTo>
                    <a:pt x="5767" y="2260"/>
                  </a:lnTo>
                  <a:lnTo>
                    <a:pt x="5780" y="2293"/>
                  </a:lnTo>
                  <a:lnTo>
                    <a:pt x="5783" y="2328"/>
                  </a:lnTo>
                  <a:lnTo>
                    <a:pt x="5780" y="2365"/>
                  </a:lnTo>
                  <a:lnTo>
                    <a:pt x="5767" y="2398"/>
                  </a:lnTo>
                  <a:lnTo>
                    <a:pt x="5750" y="2428"/>
                  </a:lnTo>
                  <a:lnTo>
                    <a:pt x="5725" y="2451"/>
                  </a:lnTo>
                  <a:lnTo>
                    <a:pt x="5697" y="2470"/>
                  </a:lnTo>
                  <a:lnTo>
                    <a:pt x="5666" y="2483"/>
                  </a:lnTo>
                  <a:lnTo>
                    <a:pt x="5629" y="2486"/>
                  </a:lnTo>
                  <a:lnTo>
                    <a:pt x="4097" y="2486"/>
                  </a:lnTo>
                  <a:lnTo>
                    <a:pt x="4061" y="2483"/>
                  </a:lnTo>
                  <a:lnTo>
                    <a:pt x="4028" y="2470"/>
                  </a:lnTo>
                  <a:lnTo>
                    <a:pt x="4000" y="2451"/>
                  </a:lnTo>
                  <a:lnTo>
                    <a:pt x="3975" y="2428"/>
                  </a:lnTo>
                  <a:lnTo>
                    <a:pt x="3958" y="2398"/>
                  </a:lnTo>
                  <a:lnTo>
                    <a:pt x="3946" y="2365"/>
                  </a:lnTo>
                  <a:lnTo>
                    <a:pt x="3942" y="2328"/>
                  </a:lnTo>
                  <a:lnTo>
                    <a:pt x="3946" y="2293"/>
                  </a:lnTo>
                  <a:lnTo>
                    <a:pt x="3958" y="2260"/>
                  </a:lnTo>
                  <a:lnTo>
                    <a:pt x="3975" y="2232"/>
                  </a:lnTo>
                  <a:lnTo>
                    <a:pt x="4000" y="2207"/>
                  </a:lnTo>
                  <a:lnTo>
                    <a:pt x="4028" y="2188"/>
                  </a:lnTo>
                  <a:lnTo>
                    <a:pt x="4061" y="2177"/>
                  </a:lnTo>
                  <a:lnTo>
                    <a:pt x="4097" y="2172"/>
                  </a:lnTo>
                  <a:close/>
                  <a:moveTo>
                    <a:pt x="4140" y="1364"/>
                  </a:moveTo>
                  <a:lnTo>
                    <a:pt x="4193" y="1369"/>
                  </a:lnTo>
                  <a:lnTo>
                    <a:pt x="4244" y="1384"/>
                  </a:lnTo>
                  <a:lnTo>
                    <a:pt x="4290" y="1406"/>
                  </a:lnTo>
                  <a:lnTo>
                    <a:pt x="4330" y="1434"/>
                  </a:lnTo>
                  <a:lnTo>
                    <a:pt x="4365" y="1471"/>
                  </a:lnTo>
                  <a:lnTo>
                    <a:pt x="4395" y="1512"/>
                  </a:lnTo>
                  <a:lnTo>
                    <a:pt x="4416" y="1559"/>
                  </a:lnTo>
                  <a:lnTo>
                    <a:pt x="4430" y="1610"/>
                  </a:lnTo>
                  <a:lnTo>
                    <a:pt x="4435" y="1663"/>
                  </a:lnTo>
                  <a:lnTo>
                    <a:pt x="4430" y="1717"/>
                  </a:lnTo>
                  <a:lnTo>
                    <a:pt x="4416" y="1766"/>
                  </a:lnTo>
                  <a:lnTo>
                    <a:pt x="4395" y="1814"/>
                  </a:lnTo>
                  <a:lnTo>
                    <a:pt x="4365" y="1854"/>
                  </a:lnTo>
                  <a:lnTo>
                    <a:pt x="4330" y="1891"/>
                  </a:lnTo>
                  <a:lnTo>
                    <a:pt x="4290" y="1921"/>
                  </a:lnTo>
                  <a:lnTo>
                    <a:pt x="4244" y="1942"/>
                  </a:lnTo>
                  <a:lnTo>
                    <a:pt x="4193" y="1956"/>
                  </a:lnTo>
                  <a:lnTo>
                    <a:pt x="4140" y="1961"/>
                  </a:lnTo>
                  <a:lnTo>
                    <a:pt x="4088" y="1956"/>
                  </a:lnTo>
                  <a:lnTo>
                    <a:pt x="4039" y="1942"/>
                  </a:lnTo>
                  <a:lnTo>
                    <a:pt x="3993" y="1921"/>
                  </a:lnTo>
                  <a:lnTo>
                    <a:pt x="3953" y="1891"/>
                  </a:lnTo>
                  <a:lnTo>
                    <a:pt x="3917" y="1854"/>
                  </a:lnTo>
                  <a:lnTo>
                    <a:pt x="3888" y="1814"/>
                  </a:lnTo>
                  <a:lnTo>
                    <a:pt x="3867" y="1766"/>
                  </a:lnTo>
                  <a:lnTo>
                    <a:pt x="3853" y="1717"/>
                  </a:lnTo>
                  <a:lnTo>
                    <a:pt x="3847" y="1663"/>
                  </a:lnTo>
                  <a:lnTo>
                    <a:pt x="3853" y="1610"/>
                  </a:lnTo>
                  <a:lnTo>
                    <a:pt x="3867" y="1559"/>
                  </a:lnTo>
                  <a:lnTo>
                    <a:pt x="3888" y="1512"/>
                  </a:lnTo>
                  <a:lnTo>
                    <a:pt x="3917" y="1471"/>
                  </a:lnTo>
                  <a:lnTo>
                    <a:pt x="3953" y="1434"/>
                  </a:lnTo>
                  <a:lnTo>
                    <a:pt x="3993" y="1406"/>
                  </a:lnTo>
                  <a:lnTo>
                    <a:pt x="4039" y="1384"/>
                  </a:lnTo>
                  <a:lnTo>
                    <a:pt x="4088" y="1369"/>
                  </a:lnTo>
                  <a:lnTo>
                    <a:pt x="4140" y="1364"/>
                  </a:lnTo>
                  <a:close/>
                  <a:moveTo>
                    <a:pt x="997" y="1364"/>
                  </a:moveTo>
                  <a:lnTo>
                    <a:pt x="1050" y="1369"/>
                  </a:lnTo>
                  <a:lnTo>
                    <a:pt x="1099" y="1384"/>
                  </a:lnTo>
                  <a:lnTo>
                    <a:pt x="1144" y="1406"/>
                  </a:lnTo>
                  <a:lnTo>
                    <a:pt x="1185" y="1434"/>
                  </a:lnTo>
                  <a:lnTo>
                    <a:pt x="1222" y="1471"/>
                  </a:lnTo>
                  <a:lnTo>
                    <a:pt x="1250" y="1512"/>
                  </a:lnTo>
                  <a:lnTo>
                    <a:pt x="1272" y="1559"/>
                  </a:lnTo>
                  <a:lnTo>
                    <a:pt x="1285" y="1610"/>
                  </a:lnTo>
                  <a:lnTo>
                    <a:pt x="1290" y="1663"/>
                  </a:lnTo>
                  <a:lnTo>
                    <a:pt x="1285" y="1717"/>
                  </a:lnTo>
                  <a:lnTo>
                    <a:pt x="1272" y="1766"/>
                  </a:lnTo>
                  <a:lnTo>
                    <a:pt x="1250" y="1814"/>
                  </a:lnTo>
                  <a:lnTo>
                    <a:pt x="1222" y="1854"/>
                  </a:lnTo>
                  <a:lnTo>
                    <a:pt x="1186" y="1891"/>
                  </a:lnTo>
                  <a:lnTo>
                    <a:pt x="1144" y="1921"/>
                  </a:lnTo>
                  <a:lnTo>
                    <a:pt x="1099" y="1942"/>
                  </a:lnTo>
                  <a:lnTo>
                    <a:pt x="1050" y="1956"/>
                  </a:lnTo>
                  <a:lnTo>
                    <a:pt x="997" y="1961"/>
                  </a:lnTo>
                  <a:lnTo>
                    <a:pt x="944" y="1956"/>
                  </a:lnTo>
                  <a:lnTo>
                    <a:pt x="895" y="1942"/>
                  </a:lnTo>
                  <a:lnTo>
                    <a:pt x="849" y="1921"/>
                  </a:lnTo>
                  <a:lnTo>
                    <a:pt x="807" y="1891"/>
                  </a:lnTo>
                  <a:lnTo>
                    <a:pt x="772" y="1854"/>
                  </a:lnTo>
                  <a:lnTo>
                    <a:pt x="744" y="1814"/>
                  </a:lnTo>
                  <a:lnTo>
                    <a:pt x="721" y="1766"/>
                  </a:lnTo>
                  <a:lnTo>
                    <a:pt x="709" y="1717"/>
                  </a:lnTo>
                  <a:lnTo>
                    <a:pt x="704" y="1663"/>
                  </a:lnTo>
                  <a:lnTo>
                    <a:pt x="709" y="1610"/>
                  </a:lnTo>
                  <a:lnTo>
                    <a:pt x="721" y="1559"/>
                  </a:lnTo>
                  <a:lnTo>
                    <a:pt x="744" y="1512"/>
                  </a:lnTo>
                  <a:lnTo>
                    <a:pt x="772" y="1471"/>
                  </a:lnTo>
                  <a:lnTo>
                    <a:pt x="807" y="1434"/>
                  </a:lnTo>
                  <a:lnTo>
                    <a:pt x="849" y="1406"/>
                  </a:lnTo>
                  <a:lnTo>
                    <a:pt x="895" y="1384"/>
                  </a:lnTo>
                  <a:lnTo>
                    <a:pt x="944" y="1369"/>
                  </a:lnTo>
                  <a:lnTo>
                    <a:pt x="997" y="1364"/>
                  </a:lnTo>
                  <a:close/>
                  <a:moveTo>
                    <a:pt x="2464" y="1001"/>
                  </a:moveTo>
                  <a:lnTo>
                    <a:pt x="2464" y="1154"/>
                  </a:lnTo>
                  <a:lnTo>
                    <a:pt x="2399" y="1168"/>
                  </a:lnTo>
                  <a:lnTo>
                    <a:pt x="2341" y="1189"/>
                  </a:lnTo>
                  <a:lnTo>
                    <a:pt x="2292" y="1215"/>
                  </a:lnTo>
                  <a:lnTo>
                    <a:pt x="2248" y="1245"/>
                  </a:lnTo>
                  <a:lnTo>
                    <a:pt x="2213" y="1280"/>
                  </a:lnTo>
                  <a:lnTo>
                    <a:pt x="2185" y="1319"/>
                  </a:lnTo>
                  <a:lnTo>
                    <a:pt x="2164" y="1361"/>
                  </a:lnTo>
                  <a:lnTo>
                    <a:pt x="2152" y="1406"/>
                  </a:lnTo>
                  <a:lnTo>
                    <a:pt x="2148" y="1455"/>
                  </a:lnTo>
                  <a:lnTo>
                    <a:pt x="2152" y="1501"/>
                  </a:lnTo>
                  <a:lnTo>
                    <a:pt x="2164" y="1545"/>
                  </a:lnTo>
                  <a:lnTo>
                    <a:pt x="2183" y="1582"/>
                  </a:lnTo>
                  <a:lnTo>
                    <a:pt x="2210" y="1617"/>
                  </a:lnTo>
                  <a:lnTo>
                    <a:pt x="2241" y="1647"/>
                  </a:lnTo>
                  <a:lnTo>
                    <a:pt x="2280" y="1675"/>
                  </a:lnTo>
                  <a:lnTo>
                    <a:pt x="2322" y="1700"/>
                  </a:lnTo>
                  <a:lnTo>
                    <a:pt x="2371" y="1721"/>
                  </a:lnTo>
                  <a:lnTo>
                    <a:pt x="2424" y="1742"/>
                  </a:lnTo>
                  <a:lnTo>
                    <a:pt x="2480" y="1759"/>
                  </a:lnTo>
                  <a:lnTo>
                    <a:pt x="2531" y="1775"/>
                  </a:lnTo>
                  <a:lnTo>
                    <a:pt x="2573" y="1791"/>
                  </a:lnTo>
                  <a:lnTo>
                    <a:pt x="2608" y="1805"/>
                  </a:lnTo>
                  <a:lnTo>
                    <a:pt x="2633" y="1821"/>
                  </a:lnTo>
                  <a:lnTo>
                    <a:pt x="2650" y="1838"/>
                  </a:lnTo>
                  <a:lnTo>
                    <a:pt x="2661" y="1858"/>
                  </a:lnTo>
                  <a:lnTo>
                    <a:pt x="2664" y="1877"/>
                  </a:lnTo>
                  <a:lnTo>
                    <a:pt x="2661" y="1898"/>
                  </a:lnTo>
                  <a:lnTo>
                    <a:pt x="2650" y="1915"/>
                  </a:lnTo>
                  <a:lnTo>
                    <a:pt x="2633" y="1930"/>
                  </a:lnTo>
                  <a:lnTo>
                    <a:pt x="2608" y="1940"/>
                  </a:lnTo>
                  <a:lnTo>
                    <a:pt x="2580" y="1947"/>
                  </a:lnTo>
                  <a:lnTo>
                    <a:pt x="2547" y="1951"/>
                  </a:lnTo>
                  <a:lnTo>
                    <a:pt x="2510" y="1952"/>
                  </a:lnTo>
                  <a:lnTo>
                    <a:pt x="2438" y="1949"/>
                  </a:lnTo>
                  <a:lnTo>
                    <a:pt x="2369" y="1938"/>
                  </a:lnTo>
                  <a:lnTo>
                    <a:pt x="2306" y="1921"/>
                  </a:lnTo>
                  <a:lnTo>
                    <a:pt x="2248" y="1901"/>
                  </a:lnTo>
                  <a:lnTo>
                    <a:pt x="2197" y="1880"/>
                  </a:lnTo>
                  <a:lnTo>
                    <a:pt x="2140" y="2105"/>
                  </a:lnTo>
                  <a:lnTo>
                    <a:pt x="2187" y="2124"/>
                  </a:lnTo>
                  <a:lnTo>
                    <a:pt x="2243" y="2142"/>
                  </a:lnTo>
                  <a:lnTo>
                    <a:pt x="2310" y="2158"/>
                  </a:lnTo>
                  <a:lnTo>
                    <a:pt x="2380" y="2168"/>
                  </a:lnTo>
                  <a:lnTo>
                    <a:pt x="2454" y="2175"/>
                  </a:lnTo>
                  <a:lnTo>
                    <a:pt x="2454" y="2326"/>
                  </a:lnTo>
                  <a:lnTo>
                    <a:pt x="2657" y="2326"/>
                  </a:lnTo>
                  <a:lnTo>
                    <a:pt x="2657" y="2161"/>
                  </a:lnTo>
                  <a:lnTo>
                    <a:pt x="2726" y="2145"/>
                  </a:lnTo>
                  <a:lnTo>
                    <a:pt x="2785" y="2124"/>
                  </a:lnTo>
                  <a:lnTo>
                    <a:pt x="2838" y="2098"/>
                  </a:lnTo>
                  <a:lnTo>
                    <a:pt x="2884" y="2066"/>
                  </a:lnTo>
                  <a:lnTo>
                    <a:pt x="2921" y="2030"/>
                  </a:lnTo>
                  <a:lnTo>
                    <a:pt x="2950" y="1989"/>
                  </a:lnTo>
                  <a:lnTo>
                    <a:pt x="2971" y="1945"/>
                  </a:lnTo>
                  <a:lnTo>
                    <a:pt x="2986" y="1900"/>
                  </a:lnTo>
                  <a:lnTo>
                    <a:pt x="2989" y="1851"/>
                  </a:lnTo>
                  <a:lnTo>
                    <a:pt x="2986" y="1803"/>
                  </a:lnTo>
                  <a:lnTo>
                    <a:pt x="2977" y="1759"/>
                  </a:lnTo>
                  <a:lnTo>
                    <a:pt x="2959" y="1719"/>
                  </a:lnTo>
                  <a:lnTo>
                    <a:pt x="2935" y="1684"/>
                  </a:lnTo>
                  <a:lnTo>
                    <a:pt x="2903" y="1649"/>
                  </a:lnTo>
                  <a:lnTo>
                    <a:pt x="2863" y="1619"/>
                  </a:lnTo>
                  <a:lnTo>
                    <a:pt x="2812" y="1591"/>
                  </a:lnTo>
                  <a:lnTo>
                    <a:pt x="2752" y="1564"/>
                  </a:lnTo>
                  <a:lnTo>
                    <a:pt x="2682" y="1542"/>
                  </a:lnTo>
                  <a:lnTo>
                    <a:pt x="2624" y="1522"/>
                  </a:lnTo>
                  <a:lnTo>
                    <a:pt x="2577" y="1505"/>
                  </a:lnTo>
                  <a:lnTo>
                    <a:pt x="2538" y="1487"/>
                  </a:lnTo>
                  <a:lnTo>
                    <a:pt x="2508" y="1471"/>
                  </a:lnTo>
                  <a:lnTo>
                    <a:pt x="2489" y="1455"/>
                  </a:lnTo>
                  <a:lnTo>
                    <a:pt x="2477" y="1440"/>
                  </a:lnTo>
                  <a:lnTo>
                    <a:pt x="2473" y="1422"/>
                  </a:lnTo>
                  <a:lnTo>
                    <a:pt x="2475" y="1408"/>
                  </a:lnTo>
                  <a:lnTo>
                    <a:pt x="2482" y="1392"/>
                  </a:lnTo>
                  <a:lnTo>
                    <a:pt x="2494" y="1380"/>
                  </a:lnTo>
                  <a:lnTo>
                    <a:pt x="2512" y="1369"/>
                  </a:lnTo>
                  <a:lnTo>
                    <a:pt x="2536" y="1361"/>
                  </a:lnTo>
                  <a:lnTo>
                    <a:pt x="2570" y="1354"/>
                  </a:lnTo>
                  <a:lnTo>
                    <a:pt x="2610" y="1352"/>
                  </a:lnTo>
                  <a:lnTo>
                    <a:pt x="2673" y="1355"/>
                  </a:lnTo>
                  <a:lnTo>
                    <a:pt x="2728" y="1362"/>
                  </a:lnTo>
                  <a:lnTo>
                    <a:pt x="2777" y="1373"/>
                  </a:lnTo>
                  <a:lnTo>
                    <a:pt x="2817" y="1385"/>
                  </a:lnTo>
                  <a:lnTo>
                    <a:pt x="2852" y="1398"/>
                  </a:lnTo>
                  <a:lnTo>
                    <a:pt x="2878" y="1408"/>
                  </a:lnTo>
                  <a:lnTo>
                    <a:pt x="2935" y="1192"/>
                  </a:lnTo>
                  <a:lnTo>
                    <a:pt x="2901" y="1178"/>
                  </a:lnTo>
                  <a:lnTo>
                    <a:pt x="2864" y="1168"/>
                  </a:lnTo>
                  <a:lnTo>
                    <a:pt x="2822" y="1157"/>
                  </a:lnTo>
                  <a:lnTo>
                    <a:pt x="2775" y="1148"/>
                  </a:lnTo>
                  <a:lnTo>
                    <a:pt x="2722" y="1143"/>
                  </a:lnTo>
                  <a:lnTo>
                    <a:pt x="2664" y="1139"/>
                  </a:lnTo>
                  <a:lnTo>
                    <a:pt x="2664" y="1001"/>
                  </a:lnTo>
                  <a:lnTo>
                    <a:pt x="2464" y="1001"/>
                  </a:lnTo>
                  <a:close/>
                  <a:moveTo>
                    <a:pt x="2570" y="557"/>
                  </a:moveTo>
                  <a:lnTo>
                    <a:pt x="2668" y="562"/>
                  </a:lnTo>
                  <a:lnTo>
                    <a:pt x="2764" y="578"/>
                  </a:lnTo>
                  <a:lnTo>
                    <a:pt x="2856" y="606"/>
                  </a:lnTo>
                  <a:lnTo>
                    <a:pt x="2945" y="643"/>
                  </a:lnTo>
                  <a:lnTo>
                    <a:pt x="3029" y="690"/>
                  </a:lnTo>
                  <a:lnTo>
                    <a:pt x="3108" y="744"/>
                  </a:lnTo>
                  <a:lnTo>
                    <a:pt x="3182" y="809"/>
                  </a:lnTo>
                  <a:lnTo>
                    <a:pt x="3251" y="880"/>
                  </a:lnTo>
                  <a:lnTo>
                    <a:pt x="3314" y="959"/>
                  </a:lnTo>
                  <a:lnTo>
                    <a:pt x="3368" y="1045"/>
                  </a:lnTo>
                  <a:lnTo>
                    <a:pt x="3417" y="1136"/>
                  </a:lnTo>
                  <a:lnTo>
                    <a:pt x="3458" y="1233"/>
                  </a:lnTo>
                  <a:lnTo>
                    <a:pt x="3491" y="1334"/>
                  </a:lnTo>
                  <a:lnTo>
                    <a:pt x="3514" y="1440"/>
                  </a:lnTo>
                  <a:lnTo>
                    <a:pt x="3528" y="1550"/>
                  </a:lnTo>
                  <a:lnTo>
                    <a:pt x="3533" y="1663"/>
                  </a:lnTo>
                  <a:lnTo>
                    <a:pt x="3528" y="1777"/>
                  </a:lnTo>
                  <a:lnTo>
                    <a:pt x="3514" y="1886"/>
                  </a:lnTo>
                  <a:lnTo>
                    <a:pt x="3491" y="1993"/>
                  </a:lnTo>
                  <a:lnTo>
                    <a:pt x="3458" y="2093"/>
                  </a:lnTo>
                  <a:lnTo>
                    <a:pt x="3417" y="2191"/>
                  </a:lnTo>
                  <a:lnTo>
                    <a:pt x="3370" y="2282"/>
                  </a:lnTo>
                  <a:lnTo>
                    <a:pt x="3314" y="2367"/>
                  </a:lnTo>
                  <a:lnTo>
                    <a:pt x="3251" y="2446"/>
                  </a:lnTo>
                  <a:lnTo>
                    <a:pt x="3182" y="2516"/>
                  </a:lnTo>
                  <a:lnTo>
                    <a:pt x="3108" y="2581"/>
                  </a:lnTo>
                  <a:lnTo>
                    <a:pt x="3029" y="2635"/>
                  </a:lnTo>
                  <a:lnTo>
                    <a:pt x="2945" y="2683"/>
                  </a:lnTo>
                  <a:lnTo>
                    <a:pt x="2856" y="2720"/>
                  </a:lnTo>
                  <a:lnTo>
                    <a:pt x="2764" y="2748"/>
                  </a:lnTo>
                  <a:lnTo>
                    <a:pt x="2668" y="2763"/>
                  </a:lnTo>
                  <a:lnTo>
                    <a:pt x="2570" y="2769"/>
                  </a:lnTo>
                  <a:lnTo>
                    <a:pt x="2471" y="2763"/>
                  </a:lnTo>
                  <a:lnTo>
                    <a:pt x="2375" y="2748"/>
                  </a:lnTo>
                  <a:lnTo>
                    <a:pt x="2282" y="2720"/>
                  </a:lnTo>
                  <a:lnTo>
                    <a:pt x="2194" y="2683"/>
                  </a:lnTo>
                  <a:lnTo>
                    <a:pt x="2110" y="2635"/>
                  </a:lnTo>
                  <a:lnTo>
                    <a:pt x="2029" y="2581"/>
                  </a:lnTo>
                  <a:lnTo>
                    <a:pt x="1955" y="2516"/>
                  </a:lnTo>
                  <a:lnTo>
                    <a:pt x="1887" y="2446"/>
                  </a:lnTo>
                  <a:lnTo>
                    <a:pt x="1825" y="2367"/>
                  </a:lnTo>
                  <a:lnTo>
                    <a:pt x="1769" y="2282"/>
                  </a:lnTo>
                  <a:lnTo>
                    <a:pt x="1720" y="2191"/>
                  </a:lnTo>
                  <a:lnTo>
                    <a:pt x="1680" y="2093"/>
                  </a:lnTo>
                  <a:lnTo>
                    <a:pt x="1648" y="1993"/>
                  </a:lnTo>
                  <a:lnTo>
                    <a:pt x="1624" y="1886"/>
                  </a:lnTo>
                  <a:lnTo>
                    <a:pt x="1609" y="1777"/>
                  </a:lnTo>
                  <a:lnTo>
                    <a:pt x="1604" y="1663"/>
                  </a:lnTo>
                  <a:lnTo>
                    <a:pt x="1609" y="1550"/>
                  </a:lnTo>
                  <a:lnTo>
                    <a:pt x="1624" y="1440"/>
                  </a:lnTo>
                  <a:lnTo>
                    <a:pt x="1648" y="1334"/>
                  </a:lnTo>
                  <a:lnTo>
                    <a:pt x="1680" y="1233"/>
                  </a:lnTo>
                  <a:lnTo>
                    <a:pt x="1720" y="1136"/>
                  </a:lnTo>
                  <a:lnTo>
                    <a:pt x="1769" y="1045"/>
                  </a:lnTo>
                  <a:lnTo>
                    <a:pt x="1825" y="959"/>
                  </a:lnTo>
                  <a:lnTo>
                    <a:pt x="1887" y="880"/>
                  </a:lnTo>
                  <a:lnTo>
                    <a:pt x="1955" y="809"/>
                  </a:lnTo>
                  <a:lnTo>
                    <a:pt x="2029" y="744"/>
                  </a:lnTo>
                  <a:lnTo>
                    <a:pt x="2110" y="690"/>
                  </a:lnTo>
                  <a:lnTo>
                    <a:pt x="2194" y="643"/>
                  </a:lnTo>
                  <a:lnTo>
                    <a:pt x="2282" y="606"/>
                  </a:lnTo>
                  <a:lnTo>
                    <a:pt x="2375" y="578"/>
                  </a:lnTo>
                  <a:lnTo>
                    <a:pt x="2471" y="562"/>
                  </a:lnTo>
                  <a:lnTo>
                    <a:pt x="2570" y="557"/>
                  </a:lnTo>
                  <a:close/>
                  <a:moveTo>
                    <a:pt x="176" y="0"/>
                  </a:moveTo>
                  <a:lnTo>
                    <a:pt x="4962" y="0"/>
                  </a:lnTo>
                  <a:lnTo>
                    <a:pt x="5002" y="5"/>
                  </a:lnTo>
                  <a:lnTo>
                    <a:pt x="5039" y="18"/>
                  </a:lnTo>
                  <a:lnTo>
                    <a:pt x="5072" y="39"/>
                  </a:lnTo>
                  <a:lnTo>
                    <a:pt x="5100" y="67"/>
                  </a:lnTo>
                  <a:lnTo>
                    <a:pt x="5120" y="100"/>
                  </a:lnTo>
                  <a:lnTo>
                    <a:pt x="5134" y="139"/>
                  </a:lnTo>
                  <a:lnTo>
                    <a:pt x="5139" y="179"/>
                  </a:lnTo>
                  <a:lnTo>
                    <a:pt x="5139" y="1975"/>
                  </a:lnTo>
                  <a:lnTo>
                    <a:pt x="4821" y="1975"/>
                  </a:lnTo>
                  <a:lnTo>
                    <a:pt x="4821" y="830"/>
                  </a:lnTo>
                  <a:lnTo>
                    <a:pt x="4748" y="811"/>
                  </a:lnTo>
                  <a:lnTo>
                    <a:pt x="4677" y="783"/>
                  </a:lnTo>
                  <a:lnTo>
                    <a:pt x="4613" y="748"/>
                  </a:lnTo>
                  <a:lnTo>
                    <a:pt x="4551" y="704"/>
                  </a:lnTo>
                  <a:lnTo>
                    <a:pt x="4497" y="655"/>
                  </a:lnTo>
                  <a:lnTo>
                    <a:pt x="4448" y="599"/>
                  </a:lnTo>
                  <a:lnTo>
                    <a:pt x="4405" y="536"/>
                  </a:lnTo>
                  <a:lnTo>
                    <a:pt x="4372" y="469"/>
                  </a:lnTo>
                  <a:lnTo>
                    <a:pt x="4344" y="397"/>
                  </a:lnTo>
                  <a:lnTo>
                    <a:pt x="4326" y="321"/>
                  </a:lnTo>
                  <a:lnTo>
                    <a:pt x="806" y="321"/>
                  </a:lnTo>
                  <a:lnTo>
                    <a:pt x="786" y="397"/>
                  </a:lnTo>
                  <a:lnTo>
                    <a:pt x="760" y="467"/>
                  </a:lnTo>
                  <a:lnTo>
                    <a:pt x="727" y="534"/>
                  </a:lnTo>
                  <a:lnTo>
                    <a:pt x="685" y="595"/>
                  </a:lnTo>
                  <a:lnTo>
                    <a:pt x="637" y="653"/>
                  </a:lnTo>
                  <a:lnTo>
                    <a:pt x="583" y="702"/>
                  </a:lnTo>
                  <a:lnTo>
                    <a:pt x="523" y="746"/>
                  </a:lnTo>
                  <a:lnTo>
                    <a:pt x="458" y="781"/>
                  </a:lnTo>
                  <a:lnTo>
                    <a:pt x="390" y="809"/>
                  </a:lnTo>
                  <a:lnTo>
                    <a:pt x="316" y="830"/>
                  </a:lnTo>
                  <a:lnTo>
                    <a:pt x="316" y="2542"/>
                  </a:lnTo>
                  <a:lnTo>
                    <a:pt x="388" y="2562"/>
                  </a:lnTo>
                  <a:lnTo>
                    <a:pt x="456" y="2590"/>
                  </a:lnTo>
                  <a:lnTo>
                    <a:pt x="520" y="2625"/>
                  </a:lnTo>
                  <a:lnTo>
                    <a:pt x="579" y="2667"/>
                  </a:lnTo>
                  <a:lnTo>
                    <a:pt x="634" y="2716"/>
                  </a:lnTo>
                  <a:lnTo>
                    <a:pt x="681" y="2771"/>
                  </a:lnTo>
                  <a:lnTo>
                    <a:pt x="723" y="2830"/>
                  </a:lnTo>
                  <a:lnTo>
                    <a:pt x="758" y="2897"/>
                  </a:lnTo>
                  <a:lnTo>
                    <a:pt x="785" y="2965"/>
                  </a:lnTo>
                  <a:lnTo>
                    <a:pt x="804" y="3039"/>
                  </a:lnTo>
                  <a:lnTo>
                    <a:pt x="3779" y="3039"/>
                  </a:lnTo>
                  <a:lnTo>
                    <a:pt x="3756" y="3081"/>
                  </a:lnTo>
                  <a:lnTo>
                    <a:pt x="3738" y="3129"/>
                  </a:lnTo>
                  <a:lnTo>
                    <a:pt x="3728" y="3178"/>
                  </a:lnTo>
                  <a:lnTo>
                    <a:pt x="3724" y="3229"/>
                  </a:lnTo>
                  <a:lnTo>
                    <a:pt x="3726" y="3274"/>
                  </a:lnTo>
                  <a:lnTo>
                    <a:pt x="3735" y="3318"/>
                  </a:lnTo>
                  <a:lnTo>
                    <a:pt x="3749" y="3360"/>
                  </a:lnTo>
                  <a:lnTo>
                    <a:pt x="176" y="3360"/>
                  </a:lnTo>
                  <a:lnTo>
                    <a:pt x="135" y="3355"/>
                  </a:lnTo>
                  <a:lnTo>
                    <a:pt x="98" y="3343"/>
                  </a:lnTo>
                  <a:lnTo>
                    <a:pt x="65" y="3322"/>
                  </a:lnTo>
                  <a:lnTo>
                    <a:pt x="39" y="3294"/>
                  </a:lnTo>
                  <a:lnTo>
                    <a:pt x="18" y="3260"/>
                  </a:lnTo>
                  <a:lnTo>
                    <a:pt x="5" y="3223"/>
                  </a:lnTo>
                  <a:lnTo>
                    <a:pt x="0" y="3181"/>
                  </a:lnTo>
                  <a:lnTo>
                    <a:pt x="0" y="179"/>
                  </a:lnTo>
                  <a:lnTo>
                    <a:pt x="5" y="139"/>
                  </a:lnTo>
                  <a:lnTo>
                    <a:pt x="18" y="100"/>
                  </a:lnTo>
                  <a:lnTo>
                    <a:pt x="39" y="67"/>
                  </a:lnTo>
                  <a:lnTo>
                    <a:pt x="65" y="39"/>
                  </a:lnTo>
                  <a:lnTo>
                    <a:pt x="98" y="18"/>
                  </a:lnTo>
                  <a:lnTo>
                    <a:pt x="135" y="5"/>
                  </a:lnTo>
                  <a:lnTo>
                    <a:pt x="176"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9" name="TextBox 148"/>
            <p:cNvSpPr txBox="1"/>
            <p:nvPr/>
          </p:nvSpPr>
          <p:spPr>
            <a:xfrm>
              <a:off x="9408721" y="1665627"/>
              <a:ext cx="2248250" cy="573298"/>
            </a:xfrm>
            <a:prstGeom prst="rect">
              <a:avLst/>
            </a:prstGeom>
            <a:noFill/>
          </p:spPr>
          <p:txBody>
            <a:bodyPr wrap="square" rtlCol="0">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787878"/>
                  </a:solidFill>
                  <a:effectLst/>
                  <a:uLnTx/>
                  <a:uFillTx/>
                  <a:latin typeface="Open Sans" panose="020B0606030504020204" pitchFamily="34" charset="0"/>
                  <a:ea typeface="Open Sans" panose="020B0606030504020204" pitchFamily="34" charset="0"/>
                  <a:cs typeface="Open Sans" panose="020B0606030504020204" pitchFamily="34" charset="0"/>
                </a:rPr>
                <a:t>$4 of every $10 </a:t>
              </a:r>
              <a:r>
                <a:rPr kumimoji="0" lang="en-US" sz="1100" b="0" i="0" u="none" strike="noStrike" kern="1200" cap="none" spc="0" normalizeH="0" baseline="0" noProof="0" dirty="0">
                  <a:ln>
                    <a:noFill/>
                  </a:ln>
                  <a:solidFill>
                    <a:srgbClr val="86F200"/>
                  </a:solidFill>
                  <a:effectLst/>
                  <a:uLnTx/>
                  <a:uFillTx/>
                  <a:latin typeface="Open Sans" panose="020B0606030504020204" pitchFamily="34" charset="0"/>
                  <a:ea typeface="Open Sans" panose="020B0606030504020204" pitchFamily="34" charset="0"/>
                  <a:cs typeface="Open Sans" panose="020B0606030504020204" pitchFamily="34" charset="0"/>
                </a:rPr>
                <a:t>spent online is through Amazon</a:t>
              </a:r>
            </a:p>
          </p:txBody>
        </p:sp>
        <p:cxnSp>
          <p:nvCxnSpPr>
            <p:cNvPr id="150" name="Straight Connector 149"/>
            <p:cNvCxnSpPr/>
            <p:nvPr/>
          </p:nvCxnSpPr>
          <p:spPr>
            <a:xfrm>
              <a:off x="469050" y="2342068"/>
              <a:ext cx="11187921"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rot="16200000">
              <a:off x="2475787" y="4444661"/>
              <a:ext cx="4023744"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52" name="TextBox 151"/>
            <p:cNvSpPr txBox="1"/>
            <p:nvPr/>
          </p:nvSpPr>
          <p:spPr>
            <a:xfrm>
              <a:off x="4815475" y="2474635"/>
              <a:ext cx="1470123"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787878"/>
                  </a:solidFill>
                  <a:effectLst/>
                  <a:uLnTx/>
                  <a:uFillTx/>
                  <a:latin typeface="Open Sans" panose="020B0606030504020204" pitchFamily="34" charset="0"/>
                  <a:ea typeface="Open Sans" panose="020B0606030504020204" pitchFamily="34" charset="0"/>
                  <a:cs typeface="Open Sans" panose="020B0606030504020204" pitchFamily="34" charset="0"/>
                </a:rPr>
                <a:t>15:1</a:t>
              </a:r>
            </a:p>
          </p:txBody>
        </p:sp>
        <p:sp>
          <p:nvSpPr>
            <p:cNvPr id="153" name="TextBox 152"/>
            <p:cNvSpPr txBox="1"/>
            <p:nvPr/>
          </p:nvSpPr>
          <p:spPr>
            <a:xfrm>
              <a:off x="6149769" y="2629495"/>
              <a:ext cx="6101236" cy="433901"/>
            </a:xfrm>
            <a:prstGeom prst="rect">
              <a:avLst/>
            </a:prstGeom>
            <a:noFill/>
          </p:spPr>
          <p:txBody>
            <a:bodyPr wrap="square" rtlCol="0">
              <a:spAutoFit/>
            </a:bodyPr>
            <a:lstStyle/>
            <a:p>
              <a:pPr marL="0" marR="0" lvl="0" indent="0" algn="l" defTabSz="914400" rtl="0" eaLnBrk="1" fontAlgn="auto" latinLnBrk="0" hangingPunct="1">
                <a:lnSpc>
                  <a:spcPts val="3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86F200"/>
                  </a:solidFill>
                  <a:effectLst/>
                  <a:uLnTx/>
                  <a:uFillTx/>
                  <a:latin typeface="Open Sans" panose="020B0606030504020204" pitchFamily="34" charset="0"/>
                  <a:ea typeface="Open Sans" panose="020B0606030504020204" pitchFamily="34" charset="0"/>
                  <a:cs typeface="Open Sans" panose="020B0606030504020204" pitchFamily="34" charset="0"/>
                </a:rPr>
                <a:t>Amazon grocery sales growth compared to industry average</a:t>
              </a:r>
              <a:endParaRPr kumimoji="0" lang="en-US" sz="1100" b="0" i="0" u="none" strike="noStrike" kern="1200" cap="none" spc="0" normalizeH="0" baseline="0" noProof="0" dirty="0">
                <a:ln>
                  <a:noFill/>
                </a:ln>
                <a:solidFill>
                  <a:srgbClr val="86F2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154" name="Straight Connector 153"/>
            <p:cNvCxnSpPr/>
            <p:nvPr/>
          </p:nvCxnSpPr>
          <p:spPr>
            <a:xfrm>
              <a:off x="4593156" y="3389531"/>
              <a:ext cx="7021680"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55" name="TextBox 154"/>
            <p:cNvSpPr txBox="1"/>
            <p:nvPr/>
          </p:nvSpPr>
          <p:spPr>
            <a:xfrm>
              <a:off x="4843605" y="3504857"/>
              <a:ext cx="2383146"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787878"/>
                  </a:solidFill>
                  <a:effectLst/>
                  <a:uLnTx/>
                  <a:uFillTx/>
                  <a:latin typeface="Open Sans" panose="020B0606030504020204" pitchFamily="34" charset="0"/>
                  <a:ea typeface="Open Sans" panose="020B0606030504020204" pitchFamily="34" charset="0"/>
                  <a:cs typeface="Open Sans" panose="020B0606030504020204" pitchFamily="34" charset="0"/>
                </a:rPr>
                <a:t>30%</a:t>
              </a:r>
            </a:p>
          </p:txBody>
        </p:sp>
        <p:sp>
          <p:nvSpPr>
            <p:cNvPr id="156" name="TextBox 155"/>
            <p:cNvSpPr txBox="1"/>
            <p:nvPr/>
          </p:nvSpPr>
          <p:spPr>
            <a:xfrm>
              <a:off x="523490" y="4460780"/>
              <a:ext cx="1591489"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787878"/>
                  </a:solidFill>
                  <a:effectLst/>
                  <a:uLnTx/>
                  <a:uFillTx/>
                  <a:latin typeface="Open Sans" panose="020B0606030504020204" pitchFamily="34" charset="0"/>
                  <a:ea typeface="Open Sans" panose="020B0606030504020204" pitchFamily="34" charset="0"/>
                  <a:cs typeface="Open Sans" panose="020B0606030504020204" pitchFamily="34" charset="0"/>
                </a:rPr>
                <a:t>50%</a:t>
              </a:r>
            </a:p>
          </p:txBody>
        </p:sp>
        <p:sp>
          <p:nvSpPr>
            <p:cNvPr id="157" name="TextBox 156"/>
            <p:cNvSpPr txBox="1"/>
            <p:nvPr/>
          </p:nvSpPr>
          <p:spPr>
            <a:xfrm>
              <a:off x="545484" y="4788282"/>
              <a:ext cx="3872708" cy="1246495"/>
            </a:xfrm>
            <a:prstGeom prst="rect">
              <a:avLst/>
            </a:prstGeom>
            <a:noFill/>
          </p:spPr>
          <p:txBody>
            <a:bodyPr wrap="square" rtlCol="0">
              <a:spAutoFit/>
            </a:bodyPr>
            <a:lstStyle/>
            <a:p>
              <a:pPr marL="0" marR="0" lvl="0" indent="0" algn="l" defTabSz="914400" rtl="0" eaLnBrk="1" fontAlgn="auto" latinLnBrk="0" hangingPunct="1">
                <a:lnSpc>
                  <a:spcPts val="3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86F2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2000" b="1" i="0" u="none" strike="noStrike" kern="1200" cap="none" spc="0" normalizeH="0" baseline="0" noProof="0" dirty="0">
                  <a:ln>
                    <a:noFill/>
                  </a:ln>
                  <a:solidFill>
                    <a:srgbClr val="86F200"/>
                  </a:solidFill>
                  <a:effectLst/>
                  <a:uLnTx/>
                  <a:uFillTx/>
                  <a:latin typeface="Open Sans" panose="020B0606030504020204" pitchFamily="34" charset="0"/>
                  <a:ea typeface="Open Sans" panose="020B0606030504020204" pitchFamily="34" charset="0"/>
                  <a:cs typeface="Open Sans" panose="020B0606030504020204" pitchFamily="34" charset="0"/>
                </a:rPr>
                <a:t>of Prime members have purchased groceries through Amazon</a:t>
              </a:r>
            </a:p>
          </p:txBody>
        </p:sp>
        <p:sp>
          <p:nvSpPr>
            <p:cNvPr id="158" name="TextBox 157"/>
            <p:cNvSpPr txBox="1"/>
            <p:nvPr/>
          </p:nvSpPr>
          <p:spPr>
            <a:xfrm>
              <a:off x="7383012" y="3504857"/>
              <a:ext cx="1750638"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787878"/>
                  </a:solidFill>
                  <a:effectLst/>
                  <a:uLnTx/>
                  <a:uFillTx/>
                  <a:latin typeface="Open Sans" panose="020B0606030504020204" pitchFamily="34" charset="0"/>
                  <a:ea typeface="Open Sans" panose="020B0606030504020204" pitchFamily="34" charset="0"/>
                  <a:cs typeface="Open Sans" panose="020B0606030504020204" pitchFamily="34" charset="0"/>
                </a:rPr>
                <a:t>70%</a:t>
              </a:r>
            </a:p>
          </p:txBody>
        </p:sp>
        <p:sp>
          <p:nvSpPr>
            <p:cNvPr id="159" name="TextBox 158"/>
            <p:cNvSpPr txBox="1"/>
            <p:nvPr/>
          </p:nvSpPr>
          <p:spPr>
            <a:xfrm>
              <a:off x="9598925" y="3504857"/>
              <a:ext cx="2119414"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787878"/>
                  </a:solidFill>
                  <a:effectLst/>
                  <a:uLnTx/>
                  <a:uFillTx/>
                  <a:latin typeface="Open Sans" panose="020B0606030504020204" pitchFamily="34" charset="0"/>
                  <a:ea typeface="Open Sans" panose="020B0606030504020204" pitchFamily="34" charset="0"/>
                  <a:cs typeface="Open Sans" panose="020B0606030504020204" pitchFamily="34" charset="0"/>
                </a:rPr>
                <a:t>220%</a:t>
              </a:r>
            </a:p>
          </p:txBody>
        </p:sp>
        <p:grpSp>
          <p:nvGrpSpPr>
            <p:cNvPr id="160" name="Group 159"/>
            <p:cNvGrpSpPr/>
            <p:nvPr/>
          </p:nvGrpSpPr>
          <p:grpSpPr>
            <a:xfrm>
              <a:off x="5248785" y="4643297"/>
              <a:ext cx="6144291" cy="1891894"/>
              <a:chOff x="5248785" y="4565478"/>
              <a:chExt cx="6144291" cy="1891894"/>
            </a:xfrm>
          </p:grpSpPr>
          <p:sp>
            <p:nvSpPr>
              <p:cNvPr id="161" name="Isosceles Triangle 160"/>
              <p:cNvSpPr/>
              <p:nvPr/>
            </p:nvSpPr>
            <p:spPr>
              <a:xfrm rot="3103074">
                <a:off x="10924513" y="4725898"/>
                <a:ext cx="628984" cy="308143"/>
              </a:xfrm>
              <a:prstGeom prst="triangl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2" name="Oval 161"/>
              <p:cNvSpPr/>
              <p:nvPr/>
            </p:nvSpPr>
            <p:spPr>
              <a:xfrm>
                <a:off x="5248785" y="6159018"/>
                <a:ext cx="301752" cy="298354"/>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3" name="Oval 162"/>
              <p:cNvSpPr/>
              <p:nvPr/>
            </p:nvSpPr>
            <p:spPr>
              <a:xfrm>
                <a:off x="7689052" y="5772772"/>
                <a:ext cx="301752" cy="298354"/>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4" name="Oval 163"/>
              <p:cNvSpPr/>
              <p:nvPr/>
            </p:nvSpPr>
            <p:spPr>
              <a:xfrm>
                <a:off x="9907328" y="5418410"/>
                <a:ext cx="301752" cy="298354"/>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5" name="Rectangle 164"/>
              <p:cNvSpPr/>
              <p:nvPr/>
            </p:nvSpPr>
            <p:spPr>
              <a:xfrm rot="3676177">
                <a:off x="10548169" y="4633031"/>
                <a:ext cx="118872" cy="128016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6" name="Rectangle 165"/>
              <p:cNvSpPr/>
              <p:nvPr/>
            </p:nvSpPr>
            <p:spPr>
              <a:xfrm rot="15615411">
                <a:off x="8859234" y="4559555"/>
                <a:ext cx="116312" cy="237744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7" name="Rectangle 166"/>
              <p:cNvSpPr/>
              <p:nvPr/>
            </p:nvSpPr>
            <p:spPr>
              <a:xfrm rot="4836412">
                <a:off x="6543463" y="4840141"/>
                <a:ext cx="94769" cy="256032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168" name="Rectangle 167"/>
            <p:cNvSpPr/>
            <p:nvPr/>
          </p:nvSpPr>
          <p:spPr>
            <a:xfrm>
              <a:off x="5010850" y="4604573"/>
              <a:ext cx="6385769" cy="2006522"/>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9" name="TextBox 168"/>
            <p:cNvSpPr txBox="1"/>
            <p:nvPr/>
          </p:nvSpPr>
          <p:spPr>
            <a:xfrm>
              <a:off x="4628646" y="4217948"/>
              <a:ext cx="2304600" cy="477054"/>
            </a:xfrm>
            <a:prstGeom prst="rect">
              <a:avLst/>
            </a:prstGeom>
            <a:noFill/>
          </p:spPr>
          <p:txBody>
            <a:bodyPr wrap="square" rtlCol="0">
              <a:spAutoFit/>
            </a:bodyPr>
            <a:lstStyle/>
            <a:p>
              <a:pPr marL="0" marR="0" lvl="0" indent="0" algn="l" defTabSz="914400" rtl="0" eaLnBrk="1" fontAlgn="auto" latinLnBrk="0" hangingPunct="1">
                <a:lnSpc>
                  <a:spcPts val="3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86F200"/>
                  </a:solidFill>
                  <a:effectLst/>
                  <a:uLnTx/>
                  <a:uFillTx/>
                  <a:latin typeface="Open Sans" panose="020B0606030504020204" pitchFamily="34" charset="0"/>
                  <a:ea typeface="Open Sans" panose="020B0606030504020204" pitchFamily="34" charset="0"/>
                  <a:cs typeface="Open Sans" panose="020B0606030504020204" pitchFamily="34" charset="0"/>
                </a:rPr>
                <a:t>YoY grocery sales growth</a:t>
              </a:r>
              <a:endParaRPr kumimoji="0" lang="en-US" sz="1050" b="0" i="0" u="none" strike="noStrike" kern="1200" cap="none" spc="0" normalizeH="0" baseline="0" noProof="0" dirty="0">
                <a:ln>
                  <a:noFill/>
                </a:ln>
                <a:solidFill>
                  <a:srgbClr val="86F2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70" name="Picture 16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823267" y="5548069"/>
              <a:ext cx="1366579" cy="500715"/>
            </a:xfrm>
            <a:prstGeom prst="rect">
              <a:avLst/>
            </a:prstGeom>
          </p:spPr>
        </p:pic>
        <p:pic>
          <p:nvPicPr>
            <p:cNvPr id="171" name="Picture 17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501019" y="4841216"/>
              <a:ext cx="1028042" cy="537993"/>
            </a:xfrm>
            <a:prstGeom prst="rect">
              <a:avLst/>
            </a:prstGeom>
          </p:spPr>
        </p:pic>
        <p:sp>
          <p:nvSpPr>
            <p:cNvPr id="172" name="TextBox 171"/>
            <p:cNvSpPr txBox="1"/>
            <p:nvPr/>
          </p:nvSpPr>
          <p:spPr>
            <a:xfrm>
              <a:off x="6982925" y="4217948"/>
              <a:ext cx="2304600" cy="477054"/>
            </a:xfrm>
            <a:prstGeom prst="rect">
              <a:avLst/>
            </a:prstGeom>
            <a:noFill/>
          </p:spPr>
          <p:txBody>
            <a:bodyPr wrap="square" rtlCol="0">
              <a:spAutoFit/>
            </a:bodyPr>
            <a:lstStyle/>
            <a:p>
              <a:pPr marL="0" marR="0" lvl="0" indent="0" algn="l" defTabSz="914400" rtl="0" eaLnBrk="1" fontAlgn="auto" latinLnBrk="0" hangingPunct="1">
                <a:lnSpc>
                  <a:spcPts val="3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86F200"/>
                  </a:solidFill>
                  <a:effectLst/>
                  <a:uLnTx/>
                  <a:uFillTx/>
                  <a:latin typeface="Open Sans" panose="020B0606030504020204" pitchFamily="34" charset="0"/>
                  <a:ea typeface="Open Sans" panose="020B0606030504020204" pitchFamily="34" charset="0"/>
                  <a:cs typeface="Open Sans" panose="020B0606030504020204" pitchFamily="34" charset="0"/>
                </a:rPr>
                <a:t>YoY grocery sales growth</a:t>
              </a:r>
              <a:endParaRPr kumimoji="0" lang="en-US" sz="1050" b="0" i="0" u="none" strike="noStrike" kern="1200" cap="none" spc="0" normalizeH="0" baseline="0" noProof="0" dirty="0">
                <a:ln>
                  <a:noFill/>
                </a:ln>
                <a:solidFill>
                  <a:srgbClr val="86F2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3" name="TextBox 172"/>
            <p:cNvSpPr txBox="1"/>
            <p:nvPr/>
          </p:nvSpPr>
          <p:spPr>
            <a:xfrm>
              <a:off x="9350632" y="4217948"/>
              <a:ext cx="2304600" cy="477054"/>
            </a:xfrm>
            <a:prstGeom prst="rect">
              <a:avLst/>
            </a:prstGeom>
            <a:noFill/>
          </p:spPr>
          <p:txBody>
            <a:bodyPr wrap="square" rtlCol="0">
              <a:spAutoFit/>
            </a:bodyPr>
            <a:lstStyle/>
            <a:p>
              <a:pPr marL="0" marR="0" lvl="0" indent="0" algn="l" defTabSz="914400" rtl="0" eaLnBrk="1" fontAlgn="auto" latinLnBrk="0" hangingPunct="1">
                <a:lnSpc>
                  <a:spcPts val="3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86F200"/>
                  </a:solidFill>
                  <a:effectLst/>
                  <a:uLnTx/>
                  <a:uFillTx/>
                  <a:latin typeface="Open Sans" panose="020B0606030504020204" pitchFamily="34" charset="0"/>
                  <a:ea typeface="Open Sans" panose="020B0606030504020204" pitchFamily="34" charset="0"/>
                  <a:cs typeface="Open Sans" panose="020B0606030504020204" pitchFamily="34" charset="0"/>
                </a:rPr>
                <a:t>YoY grocery sales growth</a:t>
              </a:r>
              <a:endParaRPr kumimoji="0" lang="en-US" sz="1050" b="0" i="0" u="none" strike="noStrike" kern="1200" cap="none" spc="0" normalizeH="0" baseline="0" noProof="0" dirty="0">
                <a:ln>
                  <a:noFill/>
                </a:ln>
                <a:solidFill>
                  <a:srgbClr val="86F2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74" name="Picture 17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339927" y="5067537"/>
              <a:ext cx="996108" cy="747081"/>
            </a:xfrm>
            <a:prstGeom prst="rect">
              <a:avLst/>
            </a:prstGeom>
          </p:spPr>
        </p:pic>
      </p:grpSp>
    </p:spTree>
    <p:extLst>
      <p:ext uri="{BB962C8B-B14F-4D97-AF65-F5344CB8AC3E}">
        <p14:creationId xmlns:p14="http://schemas.microsoft.com/office/powerpoint/2010/main" val="1541019144"/>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412"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Online Grocery</a:t>
            </a:r>
          </a:p>
        </p:txBody>
      </p:sp>
      <p:sp>
        <p:nvSpPr>
          <p:cNvPr id="3" name="Text Placeholder 2"/>
          <p:cNvSpPr>
            <a:spLocks noGrp="1"/>
          </p:cNvSpPr>
          <p:nvPr>
            <p:ph type="body" sz="quarter" idx="14"/>
          </p:nvPr>
        </p:nvSpPr>
        <p:spPr/>
        <p:txBody>
          <a:bodyPr/>
          <a:lstStyle/>
          <a:p>
            <a:pPr>
              <a:buClr>
                <a:srgbClr val="787878"/>
              </a:buClr>
              <a:defRPr/>
            </a:pPr>
            <a:r>
              <a:rPr lang="en-US" spc="-75" dirty="0">
                <a:solidFill>
                  <a:prstClr val="black"/>
                </a:solidFill>
                <a:cs typeface="Arial" panose="020B0604020202020204" pitchFamily="34" charset="0"/>
              </a:rPr>
              <a:t>While online grocery shopping is small today, it is dramatically  accelerating </a:t>
            </a:r>
          </a:p>
          <a:p>
            <a:pPr lvl="0">
              <a:buClr>
                <a:srgbClr val="787878"/>
              </a:buClr>
              <a:defRPr/>
            </a:pPr>
            <a:endParaRPr lang="en-US" spc="0" dirty="0">
              <a:solidFill>
                <a:srgbClr val="000000"/>
              </a:solidFill>
            </a:endParaRPr>
          </a:p>
        </p:txBody>
      </p:sp>
      <p:sp>
        <p:nvSpPr>
          <p:cNvPr id="5" name="Text Placeholder 4"/>
          <p:cNvSpPr>
            <a:spLocks noGrp="1"/>
          </p:cNvSpPr>
          <p:nvPr>
            <p:ph type="body" sz="quarter" idx="15"/>
          </p:nvPr>
        </p:nvSpPr>
        <p:spPr/>
        <p:txBody>
          <a:bodyPr/>
          <a:lstStyle/>
          <a:p>
            <a:r>
              <a:rPr lang="en-US" dirty="0"/>
              <a:t>Data Visualization &amp; Infographics</a:t>
            </a:r>
          </a:p>
        </p:txBody>
      </p:sp>
      <p:sp>
        <p:nvSpPr>
          <p:cNvPr id="175" name="Rectangle 174"/>
          <p:cNvSpPr/>
          <p:nvPr/>
        </p:nvSpPr>
        <p:spPr>
          <a:xfrm>
            <a:off x="0" y="1647312"/>
            <a:ext cx="12191999" cy="4724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6" name="TextBox 175"/>
          <p:cNvSpPr txBox="1"/>
          <p:nvPr/>
        </p:nvSpPr>
        <p:spPr>
          <a:xfrm>
            <a:off x="1428543" y="2253064"/>
            <a:ext cx="1475887" cy="460319"/>
          </a:xfrm>
          <a:prstGeom prst="rect">
            <a:avLst/>
          </a:prstGeom>
          <a:noFill/>
        </p:spPr>
        <p:txBody>
          <a:bodyPr wrap="square" rtlCol="0">
            <a:spAutoFit/>
          </a:bodyPr>
          <a:lstStyle/>
          <a:p>
            <a:pPr marL="0" marR="0" lvl="0" indent="0" algn="l" defTabSz="914400" rtl="0" eaLnBrk="1" fontAlgn="auto" latinLnBrk="0" hangingPunct="1">
              <a:lnSpc>
                <a:spcPts val="3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787878"/>
                </a:solidFill>
                <a:effectLst/>
                <a:uLnTx/>
                <a:uFillTx/>
                <a:latin typeface="Open Sans" panose="020B0606030504020204" pitchFamily="34" charset="0"/>
                <a:ea typeface="Open Sans" panose="020B0606030504020204" pitchFamily="34" charset="0"/>
                <a:cs typeface="Open Sans" panose="020B0606030504020204" pitchFamily="34" charset="0"/>
              </a:rPr>
              <a:t>2016...</a:t>
            </a:r>
          </a:p>
        </p:txBody>
      </p:sp>
      <p:graphicFrame>
        <p:nvGraphicFramePr>
          <p:cNvPr id="177" name="Chart 176"/>
          <p:cNvGraphicFramePr/>
          <p:nvPr/>
        </p:nvGraphicFramePr>
        <p:xfrm>
          <a:off x="650672" y="2923271"/>
          <a:ext cx="2590799" cy="2172483"/>
        </p:xfrm>
        <a:graphic>
          <a:graphicData uri="http://schemas.openxmlformats.org/drawingml/2006/chart">
            <c:chart xmlns:c="http://schemas.openxmlformats.org/drawingml/2006/chart" xmlns:r="http://schemas.openxmlformats.org/officeDocument/2006/relationships" r:id="rId7"/>
          </a:graphicData>
        </a:graphic>
      </p:graphicFrame>
      <p:sp>
        <p:nvSpPr>
          <p:cNvPr id="178" name="TextBox 177"/>
          <p:cNvSpPr txBox="1"/>
          <p:nvPr/>
        </p:nvSpPr>
        <p:spPr>
          <a:xfrm>
            <a:off x="4906433" y="2253064"/>
            <a:ext cx="1524607" cy="477054"/>
          </a:xfrm>
          <a:prstGeom prst="rect">
            <a:avLst/>
          </a:prstGeom>
          <a:noFill/>
        </p:spPr>
        <p:txBody>
          <a:bodyPr wrap="square" rtlCol="0">
            <a:spAutoFit/>
          </a:bodyPr>
          <a:lstStyle/>
          <a:p>
            <a:pPr marL="0" marR="0" lvl="0" indent="0" algn="l" defTabSz="914400" rtl="0" eaLnBrk="1" fontAlgn="auto" latinLnBrk="0" hangingPunct="1">
              <a:lnSpc>
                <a:spcPts val="3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787878"/>
                </a:solidFill>
                <a:effectLst/>
                <a:uLnTx/>
                <a:uFillTx/>
                <a:latin typeface="Open Sans" panose="020B0606030504020204" pitchFamily="34" charset="0"/>
                <a:ea typeface="Open Sans" panose="020B0606030504020204" pitchFamily="34" charset="0"/>
                <a:cs typeface="Open Sans" panose="020B0606030504020204" pitchFamily="34" charset="0"/>
              </a:rPr>
              <a:t>2025…</a:t>
            </a:r>
          </a:p>
        </p:txBody>
      </p:sp>
      <p:sp>
        <p:nvSpPr>
          <p:cNvPr id="179" name="Trapezoid 178"/>
          <p:cNvSpPr/>
          <p:nvPr/>
        </p:nvSpPr>
        <p:spPr>
          <a:xfrm rot="16200000">
            <a:off x="5062667" y="3145226"/>
            <a:ext cx="3903133" cy="1814104"/>
          </a:xfrm>
          <a:prstGeom prst="trapezoid">
            <a:avLst>
              <a:gd name="adj" fmla="val 82375"/>
            </a:avLst>
          </a:prstGeom>
          <a:gradFill flip="none" rotWithShape="1">
            <a:gsLst>
              <a:gs pos="0">
                <a:srgbClr val="92D050"/>
              </a:gs>
              <a:gs pos="100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80" name="Chart 179"/>
          <p:cNvGraphicFramePr/>
          <p:nvPr/>
        </p:nvGraphicFramePr>
        <p:xfrm>
          <a:off x="4117241" y="2923271"/>
          <a:ext cx="2590799" cy="2172483"/>
        </p:xfrm>
        <a:graphic>
          <a:graphicData uri="http://schemas.openxmlformats.org/drawingml/2006/chart">
            <c:chart xmlns:c="http://schemas.openxmlformats.org/drawingml/2006/chart" xmlns:r="http://schemas.openxmlformats.org/officeDocument/2006/relationships" r:id="rId8"/>
          </a:graphicData>
        </a:graphic>
      </p:graphicFrame>
      <p:cxnSp>
        <p:nvCxnSpPr>
          <p:cNvPr id="181" name="Straight Connector 180"/>
          <p:cNvCxnSpPr/>
          <p:nvPr/>
        </p:nvCxnSpPr>
        <p:spPr>
          <a:xfrm>
            <a:off x="8189596" y="3406398"/>
            <a:ext cx="3931920"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9891574" y="2374275"/>
            <a:ext cx="1188720" cy="0"/>
          </a:xfrm>
          <a:prstGeom prst="line">
            <a:avLst/>
          </a:prstGeom>
          <a:ln w="60960" cmpd="sng">
            <a:solidFill>
              <a:schemeClr val="accent1"/>
            </a:solidFill>
          </a:ln>
        </p:spPr>
        <p:style>
          <a:lnRef idx="2">
            <a:schemeClr val="accent1"/>
          </a:lnRef>
          <a:fillRef idx="0">
            <a:schemeClr val="accent1"/>
          </a:fillRef>
          <a:effectRef idx="1">
            <a:schemeClr val="accent1"/>
          </a:effectRef>
          <a:fontRef idx="minor">
            <a:schemeClr val="tx1"/>
          </a:fontRef>
        </p:style>
      </p:cxnSp>
      <p:cxnSp>
        <p:nvCxnSpPr>
          <p:cNvPr id="183" name="Straight Connector 182"/>
          <p:cNvCxnSpPr/>
          <p:nvPr/>
        </p:nvCxnSpPr>
        <p:spPr>
          <a:xfrm>
            <a:off x="8189596" y="4868609"/>
            <a:ext cx="3931920"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8248429" y="3895370"/>
            <a:ext cx="822960" cy="0"/>
          </a:xfrm>
          <a:prstGeom prst="line">
            <a:avLst/>
          </a:prstGeom>
          <a:ln w="60960" cmpd="sng">
            <a:solidFill>
              <a:schemeClr val="accent4"/>
            </a:solidFill>
          </a:ln>
        </p:spPr>
        <p:style>
          <a:lnRef idx="2">
            <a:schemeClr val="accent1"/>
          </a:lnRef>
          <a:fillRef idx="0">
            <a:schemeClr val="accent1"/>
          </a:fillRef>
          <a:effectRef idx="1">
            <a:schemeClr val="accent1"/>
          </a:effectRef>
          <a:fontRef idx="minor">
            <a:schemeClr val="tx1"/>
          </a:fontRef>
        </p:style>
      </p:cxnSp>
      <p:cxnSp>
        <p:nvCxnSpPr>
          <p:cNvPr id="185" name="Straight Connector 184"/>
          <p:cNvCxnSpPr/>
          <p:nvPr/>
        </p:nvCxnSpPr>
        <p:spPr>
          <a:xfrm>
            <a:off x="8260610" y="2374818"/>
            <a:ext cx="1371600" cy="0"/>
          </a:xfrm>
          <a:prstGeom prst="line">
            <a:avLst/>
          </a:prstGeom>
          <a:ln w="60960" cmpd="sng">
            <a:solidFill>
              <a:schemeClr val="accent3"/>
            </a:solidFill>
          </a:ln>
        </p:spPr>
        <p:style>
          <a:lnRef idx="2">
            <a:schemeClr val="accent1"/>
          </a:lnRef>
          <a:fillRef idx="0">
            <a:schemeClr val="accent1"/>
          </a:fillRef>
          <a:effectRef idx="1">
            <a:schemeClr val="accent1"/>
          </a:effectRef>
          <a:fontRef idx="minor">
            <a:schemeClr val="tx1"/>
          </a:fontRef>
        </p:style>
      </p:cxnSp>
      <p:sp>
        <p:nvSpPr>
          <p:cNvPr id="186" name="TextBox 185"/>
          <p:cNvSpPr txBox="1"/>
          <p:nvPr/>
        </p:nvSpPr>
        <p:spPr>
          <a:xfrm>
            <a:off x="8189596" y="2000273"/>
            <a:ext cx="3794760" cy="1260190"/>
          </a:xfrm>
          <a:prstGeom prst="rect">
            <a:avLst/>
          </a:prstGeom>
          <a:noFill/>
        </p:spPr>
        <p:txBody>
          <a:bodyPr wrap="square" lIns="89760" tIns="44881" rIns="89760" bIns="44881"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Food &amp; Beverage eCommerce wa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under-penetrated, but rapidly growing</a:t>
            </a:r>
          </a:p>
          <a:p>
            <a:pPr marL="285750" marR="0" lvl="0" indent="-285750" algn="l" defTabSz="893563"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mn-cs"/>
              </a:rPr>
              <a:t>US F&amp;B online sales growth is projected to outpace offline sales by </a:t>
            </a:r>
            <a:r>
              <a:rPr kumimoji="0" lang="en-US" sz="1050" b="1" i="0" u="none" strike="noStrike" kern="1200" cap="none" spc="0" normalizeH="0" baseline="0" noProof="0" dirty="0">
                <a:ln>
                  <a:noFill/>
                </a:ln>
                <a:solidFill>
                  <a:srgbClr val="000000"/>
                </a:solidFill>
                <a:effectLst/>
                <a:uLnTx/>
                <a:uFillTx/>
                <a:latin typeface="Open Sans"/>
                <a:ea typeface="+mn-ea"/>
                <a:cs typeface="+mn-cs"/>
              </a:rPr>
              <a:t>7X</a:t>
            </a:r>
            <a:r>
              <a:rPr kumimoji="0" lang="en-US" sz="1050" b="0" i="0" u="none" strike="noStrike" kern="1200" cap="none" spc="0" normalizeH="0" baseline="0" noProof="0" dirty="0">
                <a:ln>
                  <a:noFill/>
                </a:ln>
                <a:solidFill>
                  <a:srgbClr val="000000"/>
                </a:solidFill>
                <a:effectLst/>
                <a:uLnTx/>
                <a:uFillTx/>
                <a:latin typeface="Open Sans"/>
                <a:ea typeface="+mn-ea"/>
                <a:cs typeface="+mn-cs"/>
              </a:rPr>
              <a:t> this year</a:t>
            </a:r>
          </a:p>
          <a:p>
            <a:pPr marL="285750" marR="0" lvl="0" indent="-285750" algn="l" defTabSz="893563"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mn-cs"/>
              </a:rPr>
              <a:t>Beverages lag grocery (15% purchase beverage today vs. 20% grocery) </a:t>
            </a:r>
          </a:p>
        </p:txBody>
      </p:sp>
      <p:cxnSp>
        <p:nvCxnSpPr>
          <p:cNvPr id="187" name="Straight Connector 186"/>
          <p:cNvCxnSpPr/>
          <p:nvPr/>
        </p:nvCxnSpPr>
        <p:spPr>
          <a:xfrm>
            <a:off x="10464366" y="3697898"/>
            <a:ext cx="1097280" cy="0"/>
          </a:xfrm>
          <a:prstGeom prst="line">
            <a:avLst/>
          </a:prstGeom>
          <a:ln w="60960" cmpd="sng">
            <a:solidFill>
              <a:schemeClr val="accent4"/>
            </a:solidFill>
          </a:ln>
        </p:spPr>
        <p:style>
          <a:lnRef idx="2">
            <a:schemeClr val="accent1"/>
          </a:lnRef>
          <a:fillRef idx="0">
            <a:schemeClr val="accent1"/>
          </a:fillRef>
          <a:effectRef idx="1">
            <a:schemeClr val="accent1"/>
          </a:effectRef>
          <a:fontRef idx="minor">
            <a:schemeClr val="tx1"/>
          </a:fontRef>
        </p:style>
      </p:cxnSp>
      <p:sp>
        <p:nvSpPr>
          <p:cNvPr id="188" name="TextBox 187"/>
          <p:cNvSpPr txBox="1"/>
          <p:nvPr/>
        </p:nvSpPr>
        <p:spPr>
          <a:xfrm>
            <a:off x="8189596" y="4934678"/>
            <a:ext cx="3794760" cy="1260190"/>
          </a:xfrm>
          <a:prstGeom prst="rect">
            <a:avLst/>
          </a:prstGeom>
          <a:noFill/>
        </p:spPr>
        <p:txBody>
          <a:bodyPr wrap="square" lIns="89760" tIns="44881" rIns="89760" bIns="44881"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Customers are ready to embrace the digital trend</a:t>
            </a:r>
          </a:p>
          <a:p>
            <a:pPr marL="285750" marR="0" lvl="0" indent="-285750" algn="l" defTabSz="893563"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mn-cs"/>
              </a:rPr>
              <a:t>In 2017, 80% of shoppers </a:t>
            </a:r>
            <a:r>
              <a:rPr kumimoji="0" lang="en-US" sz="1050" b="1" i="0" u="none" strike="noStrike" kern="1200" cap="none" spc="0" normalizeH="0" baseline="0" noProof="0" dirty="0">
                <a:ln>
                  <a:noFill/>
                </a:ln>
                <a:solidFill>
                  <a:srgbClr val="000000"/>
                </a:solidFill>
                <a:effectLst/>
                <a:uLnTx/>
                <a:uFillTx/>
                <a:latin typeface="Open Sans"/>
                <a:ea typeface="+mn-ea"/>
                <a:cs typeface="+mn-cs"/>
              </a:rPr>
              <a:t>used a digital device </a:t>
            </a:r>
            <a:r>
              <a:rPr kumimoji="0" lang="en-US" sz="1050" b="0" i="0" u="none" strike="noStrike" kern="1200" cap="none" spc="0" normalizeH="0" baseline="0" noProof="0" dirty="0">
                <a:ln>
                  <a:noFill/>
                </a:ln>
                <a:solidFill>
                  <a:srgbClr val="000000"/>
                </a:solidFill>
                <a:effectLst/>
                <a:uLnTx/>
                <a:uFillTx/>
                <a:latin typeface="Open Sans"/>
                <a:ea typeface="+mn-ea"/>
                <a:cs typeface="+mn-cs"/>
              </a:rPr>
              <a:t>to browse or research grocery, driven by mobile </a:t>
            </a:r>
          </a:p>
          <a:p>
            <a:pPr marL="285750" marR="0" lvl="0" indent="-285750" algn="l" defTabSz="893563"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mn-cs"/>
              </a:rPr>
              <a:t>Consumers who expect to shop in-store less have the </a:t>
            </a:r>
            <a:r>
              <a:rPr kumimoji="0" lang="en-US" sz="1050" b="1" i="0" u="none" strike="noStrike" kern="1200" cap="none" spc="0" normalizeH="0" baseline="0" noProof="0" dirty="0">
                <a:ln>
                  <a:noFill/>
                </a:ln>
                <a:solidFill>
                  <a:srgbClr val="000000"/>
                </a:solidFill>
                <a:effectLst/>
                <a:uLnTx/>
                <a:uFillTx/>
                <a:latin typeface="Open Sans"/>
                <a:ea typeface="+mn-ea"/>
                <a:cs typeface="+mn-cs"/>
              </a:rPr>
              <a:t>highest average basket size </a:t>
            </a:r>
            <a:r>
              <a:rPr kumimoji="0" lang="en-US" sz="1050" b="0" i="0" u="none" strike="noStrike" kern="1200" cap="none" spc="0" normalizeH="0" baseline="0" noProof="0" dirty="0">
                <a:ln>
                  <a:noFill/>
                </a:ln>
                <a:solidFill>
                  <a:srgbClr val="000000"/>
                </a:solidFill>
                <a:effectLst/>
                <a:uLnTx/>
                <a:uFillTx/>
                <a:latin typeface="Open Sans"/>
                <a:ea typeface="+mn-ea"/>
                <a:cs typeface="+mn-cs"/>
              </a:rPr>
              <a:t>($148 vs. $130)</a:t>
            </a:r>
          </a:p>
        </p:txBody>
      </p:sp>
      <p:sp>
        <p:nvSpPr>
          <p:cNvPr id="189" name="TextBox 188"/>
          <p:cNvSpPr txBox="1"/>
          <p:nvPr/>
        </p:nvSpPr>
        <p:spPr>
          <a:xfrm>
            <a:off x="8189596" y="3518591"/>
            <a:ext cx="3794760" cy="1260190"/>
          </a:xfrm>
          <a:prstGeom prst="rect">
            <a:avLst/>
          </a:prstGeom>
          <a:noFill/>
        </p:spPr>
        <p:txBody>
          <a:bodyPr wrap="square" lIns="89760" tIns="44881" rIns="89760" bIns="44881"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Digital influence in grocery is pervasive and increasing</a:t>
            </a:r>
          </a:p>
          <a:p>
            <a:pPr marL="285750" marR="0" lvl="0" indent="-285750" algn="l" defTabSz="893563"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mn-cs"/>
              </a:rPr>
              <a:t>Overall digital influence on grocery is growing at </a:t>
            </a:r>
            <a:r>
              <a:rPr kumimoji="0" lang="en-US" sz="1050" b="1" i="0" u="none" strike="noStrike" kern="1200" cap="none" spc="0" normalizeH="0" baseline="0" noProof="0" dirty="0">
                <a:ln>
                  <a:noFill/>
                </a:ln>
                <a:solidFill>
                  <a:srgbClr val="000000"/>
                </a:solidFill>
                <a:effectLst/>
                <a:uLnTx/>
                <a:uFillTx/>
                <a:latin typeface="Open Sans"/>
                <a:ea typeface="+mn-ea"/>
                <a:cs typeface="+mn-cs"/>
              </a:rPr>
              <a:t>18% YoY</a:t>
            </a:r>
          </a:p>
          <a:p>
            <a:pPr marL="285750" marR="0" lvl="0" indent="-285750" algn="l" defTabSz="893563"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mn-cs"/>
              </a:rPr>
              <a:t>Over 50% of shoppers</a:t>
            </a:r>
            <a:r>
              <a:rPr kumimoji="0" lang="en-US" sz="1050" b="1" i="0" u="none" strike="noStrike" kern="1200" cap="none" spc="0" normalizeH="0" baseline="0" noProof="0" dirty="0">
                <a:ln>
                  <a:noFill/>
                </a:ln>
                <a:solidFill>
                  <a:srgbClr val="000000"/>
                </a:solidFill>
                <a:effectLst/>
                <a:uLnTx/>
                <a:uFillTx/>
                <a:latin typeface="Open Sans"/>
                <a:ea typeface="+mn-ea"/>
                <a:cs typeface="+mn-cs"/>
              </a:rPr>
              <a:t>’ in-store grocery sales </a:t>
            </a:r>
            <a:r>
              <a:rPr kumimoji="0" lang="en-US" sz="1050" b="0" i="0" u="none" strike="noStrike" kern="1200" cap="none" spc="0" normalizeH="0" baseline="0" noProof="0" dirty="0">
                <a:ln>
                  <a:noFill/>
                </a:ln>
                <a:solidFill>
                  <a:srgbClr val="000000"/>
                </a:solidFill>
                <a:effectLst/>
                <a:uLnTx/>
                <a:uFillTx/>
                <a:latin typeface="Open Sans"/>
                <a:ea typeface="+mn-ea"/>
                <a:cs typeface="+mn-cs"/>
              </a:rPr>
              <a:t>were influenced by digital technology in 2017</a:t>
            </a:r>
            <a:endParaRPr kumimoji="0" lang="en-US" sz="1000" b="0" i="0" u="none" strike="noStrike" kern="1200" cap="none" spc="0" normalizeH="0" baseline="0" noProof="0" dirty="0">
              <a:ln>
                <a:noFill/>
              </a:ln>
              <a:solidFill>
                <a:srgbClr val="7F7F7F"/>
              </a:solidFill>
              <a:effectLst/>
              <a:uLnTx/>
              <a:uFillTx/>
              <a:latin typeface="Open Sans"/>
              <a:ea typeface="+mn-ea"/>
              <a:cs typeface="+mn-cs"/>
            </a:endParaRPr>
          </a:p>
        </p:txBody>
      </p:sp>
      <p:sp>
        <p:nvSpPr>
          <p:cNvPr id="190" name="Rectangle 189"/>
          <p:cNvSpPr/>
          <p:nvPr/>
        </p:nvSpPr>
        <p:spPr>
          <a:xfrm>
            <a:off x="1344283" y="3747902"/>
            <a:ext cx="1071650"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86F200"/>
                </a:solidFill>
                <a:effectLst/>
                <a:uLnTx/>
                <a:uFillTx/>
                <a:latin typeface="Open Sans" panose="020B0606030504020204" pitchFamily="34" charset="0"/>
                <a:ea typeface="Open Sans" panose="020B0606030504020204" pitchFamily="34" charset="0"/>
                <a:cs typeface="Open Sans" panose="020B0606030504020204" pitchFamily="34" charset="0"/>
              </a:rPr>
              <a:t>4% </a:t>
            </a:r>
          </a:p>
        </p:txBody>
      </p:sp>
      <p:sp>
        <p:nvSpPr>
          <p:cNvPr id="191" name="Rectangle 190"/>
          <p:cNvSpPr/>
          <p:nvPr/>
        </p:nvSpPr>
        <p:spPr>
          <a:xfrm>
            <a:off x="4882074" y="3757684"/>
            <a:ext cx="1071650"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86F200"/>
                </a:solidFill>
                <a:effectLst/>
                <a:uLnTx/>
                <a:uFillTx/>
                <a:latin typeface="Open Sans" panose="020B0606030504020204" pitchFamily="34" charset="0"/>
                <a:ea typeface="Open Sans" panose="020B0606030504020204" pitchFamily="34" charset="0"/>
                <a:cs typeface="Open Sans" panose="020B0606030504020204" pitchFamily="34" charset="0"/>
              </a:rPr>
              <a:t>20%</a:t>
            </a:r>
            <a:r>
              <a:rPr kumimoji="0" lang="en-US" sz="1800" b="1" i="0" u="none" strike="noStrike" kern="1200" cap="none" spc="0" normalizeH="0" baseline="0" noProof="0" dirty="0">
                <a:ln>
                  <a:noFill/>
                </a:ln>
                <a:solidFill>
                  <a:srgbClr val="86F200"/>
                </a:solidFill>
                <a:effectLst/>
                <a:uLnTx/>
                <a:uFillTx/>
                <a:latin typeface="Open Sans" panose="020B0606030504020204" pitchFamily="34" charset="0"/>
                <a:ea typeface="Open Sans" panose="020B0606030504020204" pitchFamily="34" charset="0"/>
                <a:cs typeface="Open Sans" panose="020B0606030504020204" pitchFamily="34" charset="0"/>
              </a:rPr>
              <a:t> </a:t>
            </a:r>
          </a:p>
        </p:txBody>
      </p:sp>
      <p:sp>
        <p:nvSpPr>
          <p:cNvPr id="192" name="Right Arrow 191"/>
          <p:cNvSpPr/>
          <p:nvPr/>
        </p:nvSpPr>
        <p:spPr>
          <a:xfrm>
            <a:off x="3606800" y="3872203"/>
            <a:ext cx="507986" cy="35396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93" name="Rectangle 192"/>
          <p:cNvSpPr/>
          <p:nvPr/>
        </p:nvSpPr>
        <p:spPr>
          <a:xfrm>
            <a:off x="611874" y="1837273"/>
            <a:ext cx="7295535"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86F200"/>
                </a:solidFill>
                <a:effectLst/>
                <a:uLnTx/>
                <a:uFillTx/>
                <a:latin typeface="Open Sans" panose="020B0606030504020204" pitchFamily="34" charset="0"/>
                <a:ea typeface="Open Sans" panose="020B0606030504020204" pitchFamily="34" charset="0"/>
                <a:cs typeface="Open Sans" panose="020B0606030504020204" pitchFamily="34" charset="0"/>
              </a:rPr>
              <a:t>Online grocery sales </a:t>
            </a:r>
            <a:r>
              <a:rPr kumimoji="0" lang="en-US" sz="1800" b="0" i="0" u="none" strike="noStrike" kern="1200" cap="none" spc="0" normalizeH="0" baseline="0" noProof="0" dirty="0">
                <a:ln>
                  <a:noFill/>
                </a:ln>
                <a:solidFill>
                  <a:srgbClr val="FFFFFF">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 of total Food &amp; Beverage Retail Sales </a:t>
            </a: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94" name="Rectangle 193"/>
          <p:cNvSpPr/>
          <p:nvPr/>
        </p:nvSpPr>
        <p:spPr>
          <a:xfrm>
            <a:off x="1387826" y="2892121"/>
            <a:ext cx="984564" cy="26161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5A5A5A"/>
                </a:solidFill>
                <a:effectLst/>
                <a:uLnTx/>
                <a:uFillTx/>
                <a:latin typeface="Open Sans" panose="020B0606030504020204" pitchFamily="34" charset="0"/>
                <a:ea typeface="Open Sans" panose="020B0606030504020204" pitchFamily="34" charset="0"/>
                <a:cs typeface="Open Sans" panose="020B0606030504020204" pitchFamily="34" charset="0"/>
              </a:rPr>
              <a:t>$478 billion</a:t>
            </a:r>
            <a:endParaRPr kumimoji="0" lang="en-US" sz="1100" b="0" i="0" u="none" strike="noStrike" kern="1200" cap="none" spc="0" normalizeH="0" baseline="0" noProof="0" dirty="0">
              <a:ln>
                <a:noFill/>
              </a:ln>
              <a:solidFill>
                <a:srgbClr val="5A5A5A"/>
              </a:solidFill>
              <a:effectLst/>
              <a:uLnTx/>
              <a:uFillTx/>
              <a:latin typeface="Open Sans"/>
              <a:ea typeface="+mn-ea"/>
              <a:cs typeface="+mn-cs"/>
            </a:endParaRPr>
          </a:p>
        </p:txBody>
      </p:sp>
      <p:sp>
        <p:nvSpPr>
          <p:cNvPr id="195" name="Rectangle 194"/>
          <p:cNvSpPr/>
          <p:nvPr/>
        </p:nvSpPr>
        <p:spPr>
          <a:xfrm>
            <a:off x="4920359" y="2892121"/>
            <a:ext cx="950901" cy="253916"/>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5A5A5A"/>
                </a:solidFill>
                <a:effectLst/>
                <a:uLnTx/>
                <a:uFillTx/>
                <a:latin typeface="Open Sans" panose="020B0606030504020204" pitchFamily="34" charset="0"/>
                <a:ea typeface="Open Sans" panose="020B0606030504020204" pitchFamily="34" charset="0"/>
                <a:cs typeface="Open Sans" panose="020B0606030504020204" pitchFamily="34" charset="0"/>
              </a:rPr>
              <a:t>$524 billion</a:t>
            </a:r>
            <a:endParaRPr kumimoji="0" lang="en-US" sz="1100" b="0" i="0" u="none" strike="noStrike" kern="1200" cap="none" spc="0" normalizeH="0" baseline="0" noProof="0" dirty="0">
              <a:ln>
                <a:noFill/>
              </a:ln>
              <a:solidFill>
                <a:srgbClr val="5A5A5A"/>
              </a:solidFill>
              <a:effectLst/>
              <a:uLnTx/>
              <a:uFillTx/>
              <a:latin typeface="Open Sans"/>
              <a:ea typeface="+mn-ea"/>
              <a:cs typeface="+mn-cs"/>
            </a:endParaRPr>
          </a:p>
        </p:txBody>
      </p:sp>
      <p:sp>
        <p:nvSpPr>
          <p:cNvPr id="196" name="Rectangle 195"/>
          <p:cNvSpPr/>
          <p:nvPr/>
        </p:nvSpPr>
        <p:spPr>
          <a:xfrm>
            <a:off x="4202977" y="5012126"/>
            <a:ext cx="2939877" cy="1107996"/>
          </a:xfrm>
          <a:prstGeom prst="rect">
            <a:avLst/>
          </a:prstGeom>
        </p:spPr>
        <p:txBody>
          <a:bodyPr wrap="square">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86F200"/>
                </a:solidFill>
                <a:effectLst/>
                <a:uLnTx/>
                <a:uFillTx/>
                <a:latin typeface="Open Sans" panose="020B0606030504020204" pitchFamily="34" charset="0"/>
                <a:ea typeface="Open Sans" panose="020B0606030504020204" pitchFamily="34" charset="0"/>
                <a:cs typeface="Open Sans" panose="020B0606030504020204" pitchFamily="34" charset="0"/>
              </a:rPr>
              <a:t>…equivalent to </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7F7F7F"/>
                </a:solidFill>
                <a:effectLst/>
                <a:uLnTx/>
                <a:uFillTx/>
                <a:latin typeface="Open Sans" panose="020B0606030504020204" pitchFamily="34" charset="0"/>
                <a:ea typeface="Open Sans" panose="020B0606030504020204" pitchFamily="34" charset="0"/>
                <a:cs typeface="Open Sans" panose="020B0606030504020204" pitchFamily="34" charset="0"/>
              </a:rPr>
              <a:t>$103 billion </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86F200"/>
                </a:solidFill>
                <a:effectLst/>
                <a:uLnTx/>
                <a:uFillTx/>
                <a:latin typeface="Open Sans" panose="020B0606030504020204" pitchFamily="34" charset="0"/>
                <a:ea typeface="Open Sans" panose="020B0606030504020204" pitchFamily="34" charset="0"/>
                <a:cs typeface="Open Sans" panose="020B0606030504020204" pitchFamily="34" charset="0"/>
              </a:rPr>
              <a:t>in annual consumer sales</a:t>
            </a:r>
          </a:p>
        </p:txBody>
      </p:sp>
    </p:spTree>
    <p:extLst>
      <p:ext uri="{BB962C8B-B14F-4D97-AF65-F5344CB8AC3E}">
        <p14:creationId xmlns:p14="http://schemas.microsoft.com/office/powerpoint/2010/main" val="26666038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1D29D422-7153-495A-BF7D-4646C433B7B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2" name="think-cell Slide" r:id="rId5" imgW="395" imgH="396" progId="TCLayout.ActiveDocument.1">
                  <p:embed/>
                </p:oleObj>
              </mc:Choice>
              <mc:Fallback>
                <p:oleObj name="think-cell Slide" r:id="rId5" imgW="395" imgH="396" progId="TCLayout.ActiveDocument.1">
                  <p:embed/>
                  <p:pic>
                    <p:nvPicPr>
                      <p:cNvPr id="23" name="Object 22" hidden="1">
                        <a:extLst>
                          <a:ext uri="{FF2B5EF4-FFF2-40B4-BE49-F238E27FC236}">
                            <a16:creationId xmlns:a16="http://schemas.microsoft.com/office/drawing/2014/main" id="{1D29D422-7153-495A-BF7D-4646C433B7B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Title 3">
            <a:extLst>
              <a:ext uri="{FF2B5EF4-FFF2-40B4-BE49-F238E27FC236}">
                <a16:creationId xmlns:a16="http://schemas.microsoft.com/office/drawing/2014/main" id="{BA1D7AF5-B56F-41FD-95CA-9A0897AD1283}"/>
              </a:ext>
            </a:extLst>
          </p:cNvPr>
          <p:cNvSpPr txBox="1">
            <a:spLocks/>
          </p:cNvSpPr>
          <p:nvPr/>
        </p:nvSpPr>
        <p:spPr>
          <a:xfrm>
            <a:off x="935342" y="2272708"/>
            <a:ext cx="3347390" cy="19958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r>
              <a:rPr lang="en-US" sz="5400" dirty="0"/>
              <a:t>Asset</a:t>
            </a:r>
            <a:br>
              <a:rPr lang="en-US" sz="5400" dirty="0"/>
            </a:br>
            <a:r>
              <a:rPr lang="en-US" sz="5400" dirty="0"/>
              <a:t>Agenda</a:t>
            </a:r>
          </a:p>
        </p:txBody>
      </p:sp>
      <p:sp>
        <p:nvSpPr>
          <p:cNvPr id="15" name="Rectangle 14">
            <a:extLst>
              <a:ext uri="{FF2B5EF4-FFF2-40B4-BE49-F238E27FC236}">
                <a16:creationId xmlns:a16="http://schemas.microsoft.com/office/drawing/2014/main" id="{157641C8-144E-46A3-A029-3778FB480810}"/>
              </a:ext>
            </a:extLst>
          </p:cNvPr>
          <p:cNvSpPr/>
          <p:nvPr/>
        </p:nvSpPr>
        <p:spPr>
          <a:xfrm>
            <a:off x="4282732" y="2172929"/>
            <a:ext cx="7339292" cy="3062377"/>
          </a:xfrm>
          <a:prstGeom prst="rect">
            <a:avLst/>
          </a:prstGeom>
        </p:spPr>
        <p:txBody>
          <a:bodyPr wrap="square">
            <a:spAutoFit/>
          </a:bodyPr>
          <a:lstStyle/>
          <a:p>
            <a:pPr marL="0" marR="0" lvl="0" indent="0" algn="l" defTabSz="914400" rtl="0" eaLnBrk="1" fontAlgn="auto" latinLnBrk="0" hangingPunct="1">
              <a:lnSpc>
                <a:spcPct val="150000"/>
              </a:lnSpc>
              <a:spcBef>
                <a:spcPts val="1000"/>
              </a:spcBef>
              <a:spcAft>
                <a:spcPts val="0"/>
              </a:spcAft>
              <a:buClr>
                <a:srgbClr val="787878"/>
              </a:buClr>
              <a:buSzPct val="75000"/>
              <a:buFontTx/>
              <a:buNone/>
              <a:tabLst/>
              <a:defRPr/>
            </a:pPr>
            <a:r>
              <a:rPr kumimoji="0" lang="en-US" sz="2800" b="0" i="0" u="none" strike="noStrike" kern="1200" cap="none" spc="-30" normalizeH="0" baseline="0" noProof="0" dirty="0">
                <a:ln>
                  <a:noFill/>
                </a:ln>
                <a:solidFill>
                  <a:srgbClr val="000000"/>
                </a:solidFill>
                <a:effectLst/>
                <a:uLnTx/>
                <a:uFillTx/>
                <a:ea typeface="Open Sans" charset="0"/>
                <a:cs typeface="Open Sans" charset="0"/>
              </a:rPr>
              <a:t>20 mins	</a:t>
            </a:r>
            <a:r>
              <a:rPr kumimoji="0" lang="en-US" sz="2800" b="0" i="0" u="none" strike="noStrike" kern="1200" cap="none" spc="-30" normalizeH="0" baseline="0" noProof="0" dirty="0">
                <a:ln>
                  <a:noFill/>
                </a:ln>
                <a:solidFill>
                  <a:srgbClr val="000000"/>
                </a:solidFill>
                <a:effectLst/>
                <a:uLnTx/>
                <a:uFillTx/>
                <a:ea typeface="Open Sans Light" panose="020B0306030504020204" pitchFamily="34" charset="0"/>
                <a:cs typeface="Open Sans Light" panose="020B0306030504020204" pitchFamily="34" charset="0"/>
              </a:rPr>
              <a:t>FY19 Asset Plan</a:t>
            </a:r>
          </a:p>
          <a:p>
            <a:pPr marL="0" marR="0" lvl="0" indent="0" algn="l" defTabSz="914400" rtl="0" eaLnBrk="1" fontAlgn="auto" latinLnBrk="0" hangingPunct="1">
              <a:lnSpc>
                <a:spcPct val="150000"/>
              </a:lnSpc>
              <a:spcBef>
                <a:spcPts val="1000"/>
              </a:spcBef>
              <a:spcAft>
                <a:spcPts val="0"/>
              </a:spcAft>
              <a:buClr>
                <a:srgbClr val="787878"/>
              </a:buClr>
              <a:buSzPct val="75000"/>
              <a:buFontTx/>
              <a:buNone/>
              <a:tabLst/>
              <a:defRPr/>
            </a:pPr>
            <a:r>
              <a:rPr kumimoji="0" lang="en-US" sz="2800" b="0" i="0" u="none" strike="noStrike" kern="1200" cap="none" spc="-30" normalizeH="0" baseline="0" noProof="0" dirty="0">
                <a:ln>
                  <a:noFill/>
                </a:ln>
                <a:solidFill>
                  <a:srgbClr val="000000"/>
                </a:solidFill>
                <a:effectLst/>
                <a:uLnTx/>
                <a:uFillTx/>
                <a:ea typeface="Open Sans" charset="0"/>
                <a:cs typeface="Open Sans" charset="0"/>
              </a:rPr>
              <a:t>15 mins 	</a:t>
            </a:r>
            <a:r>
              <a:rPr kumimoji="0" lang="en-US" sz="2800" b="0" i="0" u="none" strike="noStrike" kern="1200" cap="none" spc="-30" normalizeH="0" baseline="0" noProof="0" dirty="0">
                <a:ln>
                  <a:noFill/>
                </a:ln>
                <a:solidFill>
                  <a:srgbClr val="000000"/>
                </a:solidFill>
                <a:effectLst/>
                <a:uLnTx/>
                <a:uFillTx/>
                <a:ea typeface="Open Sans Light" panose="020B0306030504020204" pitchFamily="34" charset="0"/>
                <a:cs typeface="Open Sans Light" panose="020B0306030504020204" pitchFamily="34" charset="0"/>
              </a:rPr>
              <a:t>Asset Support Model</a:t>
            </a:r>
          </a:p>
          <a:p>
            <a:pPr marL="0" marR="0" lvl="0" indent="0" algn="l" defTabSz="914400" rtl="0" eaLnBrk="1" fontAlgn="auto" latinLnBrk="0" hangingPunct="1">
              <a:lnSpc>
                <a:spcPct val="150000"/>
              </a:lnSpc>
              <a:spcBef>
                <a:spcPts val="1000"/>
              </a:spcBef>
              <a:spcAft>
                <a:spcPts val="0"/>
              </a:spcAft>
              <a:buClr>
                <a:srgbClr val="787878"/>
              </a:buClr>
              <a:buSzPct val="75000"/>
              <a:buFontTx/>
              <a:buNone/>
              <a:tabLst/>
              <a:defRPr/>
            </a:pPr>
            <a:r>
              <a:rPr kumimoji="0" lang="en-US" sz="2800" b="0" i="0" u="none" strike="noStrike" kern="1200" cap="none" spc="-30" normalizeH="0" baseline="0" noProof="0" dirty="0">
                <a:ln>
                  <a:noFill/>
                </a:ln>
                <a:solidFill>
                  <a:srgbClr val="000000"/>
                </a:solidFill>
                <a:effectLst/>
                <a:uLnTx/>
                <a:uFillTx/>
                <a:ea typeface="Open Sans" charset="0"/>
                <a:cs typeface="Open Sans" charset="0"/>
              </a:rPr>
              <a:t>10 mins 	</a:t>
            </a:r>
            <a:r>
              <a:rPr kumimoji="0" lang="en-US" sz="2800" b="0" i="0" u="none" strike="noStrike" kern="1200" cap="none" spc="-30" normalizeH="0" baseline="0" noProof="0" dirty="0">
                <a:ln>
                  <a:noFill/>
                </a:ln>
                <a:solidFill>
                  <a:srgbClr val="000000"/>
                </a:solidFill>
                <a:effectLst/>
                <a:uLnTx/>
                <a:uFillTx/>
                <a:ea typeface="Open Sans Light" panose="020B0306030504020204" pitchFamily="34" charset="0"/>
                <a:cs typeface="Open Sans Light" panose="020B0306030504020204" pitchFamily="34" charset="0"/>
              </a:rPr>
              <a:t>Investment Committee Concept</a:t>
            </a:r>
          </a:p>
          <a:p>
            <a:pPr marL="0" marR="0" lvl="0" indent="0" algn="l" defTabSz="914400" rtl="0" eaLnBrk="1" fontAlgn="auto" latinLnBrk="0" hangingPunct="1">
              <a:lnSpc>
                <a:spcPct val="150000"/>
              </a:lnSpc>
              <a:spcBef>
                <a:spcPts val="1000"/>
              </a:spcBef>
              <a:spcAft>
                <a:spcPts val="0"/>
              </a:spcAft>
              <a:buClr>
                <a:srgbClr val="787878"/>
              </a:buClr>
              <a:buSzPct val="75000"/>
              <a:buFontTx/>
              <a:buNone/>
              <a:tabLst/>
              <a:defRPr/>
            </a:pPr>
            <a:endParaRPr kumimoji="0" lang="en-US" sz="2800" b="0" i="0" u="none" strike="noStrike" kern="1200" cap="none" spc="-30" normalizeH="0" baseline="0" noProof="0" dirty="0">
              <a:ln>
                <a:noFill/>
              </a:ln>
              <a:solidFill>
                <a:srgbClr val="000000"/>
              </a:solidFill>
              <a:effectLst/>
              <a:uLnTx/>
              <a:uFillTx/>
              <a:ea typeface="Open Sans Light" panose="020B0306030504020204" pitchFamily="34" charset="0"/>
              <a:cs typeface="Open Sans Light" panose="020B0306030504020204" pitchFamily="34" charset="0"/>
            </a:endParaRPr>
          </a:p>
        </p:txBody>
      </p:sp>
      <p:grpSp>
        <p:nvGrpSpPr>
          <p:cNvPr id="16" name="Group 15">
            <a:extLst>
              <a:ext uri="{FF2B5EF4-FFF2-40B4-BE49-F238E27FC236}">
                <a16:creationId xmlns:a16="http://schemas.microsoft.com/office/drawing/2014/main" id="{4B5DFD4C-9FAA-4021-89B7-04594E6A6F06}"/>
              </a:ext>
            </a:extLst>
          </p:cNvPr>
          <p:cNvGrpSpPr/>
          <p:nvPr/>
        </p:nvGrpSpPr>
        <p:grpSpPr>
          <a:xfrm>
            <a:off x="853892" y="4394200"/>
            <a:ext cx="2473681" cy="1350"/>
            <a:chOff x="935344" y="4394200"/>
            <a:chExt cx="2109609" cy="1350"/>
          </a:xfrm>
        </p:grpSpPr>
        <p:cxnSp>
          <p:nvCxnSpPr>
            <p:cNvPr id="17" name="Straight Connector 16">
              <a:extLst>
                <a:ext uri="{FF2B5EF4-FFF2-40B4-BE49-F238E27FC236}">
                  <a16:creationId xmlns:a16="http://schemas.microsoft.com/office/drawing/2014/main" id="{BCB92A5B-C2A8-4238-BDFC-366B1498DE52}"/>
                </a:ext>
              </a:extLst>
            </p:cNvPr>
            <p:cNvCxnSpPr>
              <a:cxnSpLocks/>
            </p:cNvCxnSpPr>
            <p:nvPr/>
          </p:nvCxnSpPr>
          <p:spPr>
            <a:xfrm>
              <a:off x="935344" y="4395550"/>
              <a:ext cx="632881" cy="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110EFE8-1DE9-4A5E-BDD9-A7E6364205A4}"/>
                </a:ext>
              </a:extLst>
            </p:cNvPr>
            <p:cNvCxnSpPr>
              <a:cxnSpLocks/>
            </p:cNvCxnSpPr>
            <p:nvPr/>
          </p:nvCxnSpPr>
          <p:spPr>
            <a:xfrm>
              <a:off x="2412072" y="4395550"/>
              <a:ext cx="632881" cy="0"/>
            </a:xfrm>
            <a:prstGeom prst="line">
              <a:avLst/>
            </a:prstGeom>
            <a:ln w="635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53C4BD0-E444-4789-A36A-353FB5DF7BFB}"/>
                </a:ext>
              </a:extLst>
            </p:cNvPr>
            <p:cNvCxnSpPr>
              <a:cxnSpLocks/>
            </p:cNvCxnSpPr>
            <p:nvPr/>
          </p:nvCxnSpPr>
          <p:spPr>
            <a:xfrm>
              <a:off x="1676400" y="4394200"/>
              <a:ext cx="632881" cy="0"/>
            </a:xfrm>
            <a:prstGeom prst="line">
              <a:avLst/>
            </a:prstGeom>
            <a:ln w="63500">
              <a:solidFill>
                <a:schemeClr val="accent5"/>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54122306"/>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436"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Digital in-store grocery</a:t>
            </a:r>
          </a:p>
        </p:txBody>
      </p:sp>
      <p:sp>
        <p:nvSpPr>
          <p:cNvPr id="3" name="Text Placeholder 2"/>
          <p:cNvSpPr>
            <a:spLocks noGrp="1"/>
          </p:cNvSpPr>
          <p:nvPr>
            <p:ph type="body" sz="quarter" idx="14"/>
          </p:nvPr>
        </p:nvSpPr>
        <p:spPr/>
        <p:txBody>
          <a:bodyPr/>
          <a:lstStyle/>
          <a:p>
            <a:pPr>
              <a:buClr>
                <a:srgbClr val="787878"/>
              </a:buClr>
              <a:defRPr/>
            </a:pPr>
            <a:r>
              <a:rPr lang="en-US" spc="-75" dirty="0">
                <a:solidFill>
                  <a:prstClr val="black"/>
                </a:solidFill>
                <a:cs typeface="Arial" panose="020B0604020202020204" pitchFamily="34" charset="0"/>
              </a:rPr>
              <a:t>The impact of digital on in-store Grocery sales is at a tipping point</a:t>
            </a:r>
            <a:endParaRPr lang="en-US" spc="0" dirty="0">
              <a:solidFill>
                <a:srgbClr val="000000"/>
              </a:solidFill>
            </a:endParaRPr>
          </a:p>
        </p:txBody>
      </p:sp>
      <p:sp>
        <p:nvSpPr>
          <p:cNvPr id="5" name="Text Placeholder 4"/>
          <p:cNvSpPr>
            <a:spLocks noGrp="1"/>
          </p:cNvSpPr>
          <p:nvPr>
            <p:ph type="body" sz="quarter" idx="15"/>
          </p:nvPr>
        </p:nvSpPr>
        <p:spPr/>
        <p:txBody>
          <a:bodyPr/>
          <a:lstStyle/>
          <a:p>
            <a:r>
              <a:rPr lang="en-US" dirty="0"/>
              <a:t>Data Visualization &amp; Infographics</a:t>
            </a:r>
          </a:p>
        </p:txBody>
      </p:sp>
      <p:sp>
        <p:nvSpPr>
          <p:cNvPr id="28" name="Text Placeholder 5"/>
          <p:cNvSpPr txBox="1">
            <a:spLocks/>
          </p:cNvSpPr>
          <p:nvPr/>
        </p:nvSpPr>
        <p:spPr>
          <a:xfrm>
            <a:off x="6677706" y="1879280"/>
            <a:ext cx="4428805" cy="647700"/>
          </a:xfrm>
          <a:prstGeom prst="rect">
            <a:avLst/>
          </a:prstGeom>
        </p:spPr>
        <p:txBody>
          <a:bodyPr vert="horz" lIns="0" tIns="0" rIns="0" bIns="0" rtlCol="0">
            <a:noAutofit/>
          </a:bodyPr>
          <a:lstStyle>
            <a:lvl1pPr marL="0" indent="0" algn="l" defTabSz="914400" rtl="0" eaLnBrk="1" latinLnBrk="0" hangingPunct="1">
              <a:lnSpc>
                <a:spcPts val="1600"/>
              </a:lnSpc>
              <a:spcBef>
                <a:spcPts val="5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500"/>
              </a:spcBef>
              <a:spcAft>
                <a:spcPts val="0"/>
              </a:spcAft>
              <a:buClr>
                <a:srgbClr val="787878"/>
              </a:buClr>
              <a:buSzPct val="75000"/>
              <a:buFont typeface="Arial" panose="020B0604020202020204" pitchFamily="34" charset="0"/>
              <a:buNone/>
              <a:tabLst/>
              <a:defRPr/>
            </a:pPr>
            <a:r>
              <a:rPr kumimoji="0" lang="en-US" sz="1800" b="1" i="0" u="none" strike="noStrike" kern="1200" cap="none" spc="-30" normalizeH="0" baseline="0" noProof="0" dirty="0">
                <a:ln>
                  <a:noFill/>
                </a:ln>
                <a:solidFill>
                  <a:srgbClr val="000000"/>
                </a:solidFill>
                <a:effectLst/>
                <a:uLnTx/>
                <a:uFillTx/>
                <a:latin typeface="Open Sans"/>
                <a:ea typeface="Chronicle Display Black" charset="0"/>
                <a:cs typeface="Chronicle Display Black" charset="0"/>
              </a:rPr>
              <a:t>. . . And Grocery sales are now on par with many other Consumer categories</a:t>
            </a:r>
          </a:p>
        </p:txBody>
      </p:sp>
      <p:graphicFrame>
        <p:nvGraphicFramePr>
          <p:cNvPr id="29" name="Chart 28"/>
          <p:cNvGraphicFramePr/>
          <p:nvPr/>
        </p:nvGraphicFramePr>
        <p:xfrm>
          <a:off x="914400" y="1808838"/>
          <a:ext cx="4429126" cy="4386943"/>
        </p:xfrm>
        <a:graphic>
          <a:graphicData uri="http://schemas.openxmlformats.org/drawingml/2006/chart">
            <c:chart xmlns:c="http://schemas.openxmlformats.org/drawingml/2006/chart" xmlns:r="http://schemas.openxmlformats.org/officeDocument/2006/relationships" r:id="rId7"/>
          </a:graphicData>
        </a:graphic>
      </p:graphicFrame>
      <p:sp>
        <p:nvSpPr>
          <p:cNvPr id="30" name="Text Placeholder 1"/>
          <p:cNvSpPr txBox="1">
            <a:spLocks/>
          </p:cNvSpPr>
          <p:nvPr/>
        </p:nvSpPr>
        <p:spPr>
          <a:xfrm rot="16200000">
            <a:off x="-705774" y="4141753"/>
            <a:ext cx="3468744" cy="228393"/>
          </a:xfrm>
          <a:prstGeom prst="rect">
            <a:avLst/>
          </a:prstGeom>
        </p:spPr>
        <p:txBody>
          <a:bodyPr vert="horz" lIns="0" tIns="0" rIns="91440" bIns="0" rtlCol="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
                <a:srgbClr val="92D400"/>
              </a:buClr>
              <a:buSzPct val="75000"/>
              <a:buFont typeface="Arial" panose="020B0604020202020204" pitchFamily="34" charset="0"/>
              <a:buNone/>
              <a:tabLst/>
              <a:defRPr/>
            </a:pPr>
            <a:r>
              <a:rPr kumimoji="0" lang="en-US" sz="1050" b="0" i="0" u="none" strike="noStrike" kern="1200" cap="none" spc="0" normalizeH="0" baseline="0" noProof="0" dirty="0">
                <a:ln>
                  <a:noFill/>
                </a:ln>
                <a:solidFill>
                  <a:srgbClr val="5C5C5C"/>
                </a:solidFill>
                <a:effectLst/>
                <a:uLnTx/>
                <a:uFillTx/>
                <a:latin typeface="Open Sans"/>
                <a:ea typeface="+mn-ea"/>
                <a:cs typeface="+mn-cs"/>
              </a:rPr>
              <a:t>% of In-Store Grocery Sales Influenced Digitally</a:t>
            </a:r>
          </a:p>
        </p:txBody>
      </p:sp>
      <p:sp>
        <p:nvSpPr>
          <p:cNvPr id="31" name="Text Placeholder 5"/>
          <p:cNvSpPr txBox="1">
            <a:spLocks/>
          </p:cNvSpPr>
          <p:nvPr/>
        </p:nvSpPr>
        <p:spPr>
          <a:xfrm>
            <a:off x="914721" y="1879280"/>
            <a:ext cx="4428805" cy="647700"/>
          </a:xfrm>
          <a:prstGeom prst="rect">
            <a:avLst/>
          </a:prstGeom>
        </p:spPr>
        <p:txBody>
          <a:bodyPr vert="horz" lIns="0" tIns="0" rIns="0" bIns="0" rtlCol="0">
            <a:noAutofit/>
          </a:bodyPr>
          <a:lstStyle>
            <a:lvl1pPr marL="0" indent="0" algn="l" defTabSz="914400" rtl="0" eaLnBrk="1" latinLnBrk="0" hangingPunct="1">
              <a:lnSpc>
                <a:spcPts val="1600"/>
              </a:lnSpc>
              <a:spcBef>
                <a:spcPts val="5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500"/>
              </a:spcBef>
              <a:spcAft>
                <a:spcPts val="0"/>
              </a:spcAft>
              <a:buClr>
                <a:srgbClr val="787878"/>
              </a:buClr>
              <a:buSzPct val="75000"/>
              <a:buFont typeface="Arial" panose="020B0604020202020204" pitchFamily="34" charset="0"/>
              <a:buNone/>
              <a:tabLst/>
              <a:defRPr/>
            </a:pPr>
            <a:r>
              <a:rPr kumimoji="0" lang="en-US" sz="1800" b="1" i="0" u="none" strike="noStrike" kern="1200" cap="none" spc="-30" normalizeH="0" baseline="0" noProof="0" dirty="0">
                <a:ln>
                  <a:noFill/>
                </a:ln>
                <a:solidFill>
                  <a:srgbClr val="000000"/>
                </a:solidFill>
                <a:effectLst/>
                <a:uLnTx/>
                <a:uFillTx/>
                <a:latin typeface="Open Sans"/>
                <a:ea typeface="Chronicle Display Black" charset="0"/>
                <a:cs typeface="Chronicle Display Black" charset="0"/>
              </a:rPr>
              <a:t>Digital influence on Grocery sales has grown rapidly . . . </a:t>
            </a:r>
          </a:p>
        </p:txBody>
      </p:sp>
      <p:sp>
        <p:nvSpPr>
          <p:cNvPr id="32" name="Rectangle 31"/>
          <p:cNvSpPr/>
          <p:nvPr/>
        </p:nvSpPr>
        <p:spPr>
          <a:xfrm>
            <a:off x="7538973" y="4168605"/>
            <a:ext cx="2432677" cy="1828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33" name="Text Placeholder 5"/>
          <p:cNvSpPr txBox="1">
            <a:spLocks/>
          </p:cNvSpPr>
          <p:nvPr/>
        </p:nvSpPr>
        <p:spPr>
          <a:xfrm>
            <a:off x="7538974" y="4382435"/>
            <a:ext cx="1414420" cy="280197"/>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US" sz="1300" b="0" i="0" u="none" strike="noStrike" kern="1200" cap="none" spc="-30" normalizeH="0" baseline="0" noProof="0" dirty="0">
                <a:ln>
                  <a:noFill/>
                </a:ln>
                <a:solidFill>
                  <a:srgbClr val="000000"/>
                </a:solidFill>
                <a:effectLst/>
                <a:uLnTx/>
                <a:uFillTx/>
                <a:latin typeface="Open Sans"/>
                <a:ea typeface="Open Sans" charset="0"/>
                <a:cs typeface="Open Sans" charset="0"/>
              </a:rPr>
              <a:t>Apparel</a:t>
            </a:r>
          </a:p>
        </p:txBody>
      </p:sp>
      <p:sp>
        <p:nvSpPr>
          <p:cNvPr id="34" name="Rectangle 33"/>
          <p:cNvSpPr/>
          <p:nvPr/>
        </p:nvSpPr>
        <p:spPr>
          <a:xfrm>
            <a:off x="7538975" y="3482391"/>
            <a:ext cx="2528927" cy="1828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35" name="Text Placeholder 5"/>
          <p:cNvSpPr txBox="1">
            <a:spLocks/>
          </p:cNvSpPr>
          <p:nvPr/>
        </p:nvSpPr>
        <p:spPr>
          <a:xfrm>
            <a:off x="7538974" y="3736730"/>
            <a:ext cx="1414420" cy="202365"/>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US" sz="1300" b="0" i="0" u="none" strike="noStrike" kern="1200" cap="none" spc="-30" normalizeH="0" baseline="0" noProof="0" dirty="0">
                <a:ln>
                  <a:noFill/>
                </a:ln>
                <a:solidFill>
                  <a:srgbClr val="000000"/>
                </a:solidFill>
                <a:effectLst/>
                <a:uLnTx/>
                <a:uFillTx/>
                <a:latin typeface="Open Sans"/>
                <a:ea typeface="Open Sans" charset="0"/>
                <a:cs typeface="Open Sans" charset="0"/>
              </a:rPr>
              <a:t>Auto</a:t>
            </a:r>
          </a:p>
        </p:txBody>
      </p:sp>
      <p:sp>
        <p:nvSpPr>
          <p:cNvPr id="36" name="Text Placeholder 5"/>
          <p:cNvSpPr txBox="1">
            <a:spLocks/>
          </p:cNvSpPr>
          <p:nvPr/>
        </p:nvSpPr>
        <p:spPr>
          <a:xfrm>
            <a:off x="7614642" y="3363587"/>
            <a:ext cx="898604" cy="417739"/>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2000" b="1" i="0" u="none" strike="noStrike" kern="1200" cap="none" spc="-30" normalizeH="0" baseline="0" noProof="0" dirty="0">
                <a:ln>
                  <a:noFill/>
                </a:ln>
                <a:solidFill>
                  <a:srgbClr val="000000"/>
                </a:solidFill>
                <a:effectLst/>
                <a:uLnTx/>
                <a:uFillTx/>
                <a:latin typeface="Chronicle Display Black" charset="0"/>
                <a:ea typeface="Chronicle Display Black" charset="0"/>
                <a:cs typeface="Chronicle Display Black" charset="0"/>
              </a:rPr>
              <a:t>59%</a:t>
            </a:r>
          </a:p>
        </p:txBody>
      </p:sp>
      <p:sp>
        <p:nvSpPr>
          <p:cNvPr id="37" name="Rectangle 36"/>
          <p:cNvSpPr/>
          <p:nvPr/>
        </p:nvSpPr>
        <p:spPr>
          <a:xfrm>
            <a:off x="7538975" y="2832559"/>
            <a:ext cx="2925970" cy="1828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38" name="Text Placeholder 5"/>
          <p:cNvSpPr txBox="1">
            <a:spLocks/>
          </p:cNvSpPr>
          <p:nvPr/>
        </p:nvSpPr>
        <p:spPr>
          <a:xfrm>
            <a:off x="7538974" y="3086898"/>
            <a:ext cx="1414420" cy="243272"/>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US" sz="1300" b="0" i="0" u="none" strike="noStrike" kern="1200" cap="none" spc="-30" normalizeH="0" baseline="0" noProof="0" dirty="0">
                <a:ln>
                  <a:noFill/>
                </a:ln>
                <a:solidFill>
                  <a:srgbClr val="000000"/>
                </a:solidFill>
                <a:effectLst/>
                <a:uLnTx/>
                <a:uFillTx/>
                <a:latin typeface="Open Sans"/>
                <a:ea typeface="Open Sans" charset="0"/>
                <a:cs typeface="Open Sans" charset="0"/>
              </a:rPr>
              <a:t>Electronics</a:t>
            </a:r>
          </a:p>
        </p:txBody>
      </p:sp>
      <p:sp>
        <p:nvSpPr>
          <p:cNvPr id="39" name="Text Placeholder 5"/>
          <p:cNvSpPr txBox="1">
            <a:spLocks/>
          </p:cNvSpPr>
          <p:nvPr/>
        </p:nvSpPr>
        <p:spPr>
          <a:xfrm>
            <a:off x="7586361" y="2695208"/>
            <a:ext cx="898604" cy="417739"/>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2000" b="1" i="0" u="none" strike="noStrike" kern="1200" cap="none" spc="-30" normalizeH="0" baseline="0" noProof="0" dirty="0">
                <a:ln>
                  <a:noFill/>
                </a:ln>
                <a:solidFill>
                  <a:srgbClr val="000000"/>
                </a:solidFill>
                <a:effectLst/>
                <a:uLnTx/>
                <a:uFillTx/>
                <a:latin typeface="Chronicle Display Black" charset="0"/>
                <a:ea typeface="Chronicle Display Black" charset="0"/>
                <a:cs typeface="Chronicle Display Black" charset="0"/>
              </a:rPr>
              <a:t>69%</a:t>
            </a:r>
          </a:p>
        </p:txBody>
      </p:sp>
      <p:sp>
        <p:nvSpPr>
          <p:cNvPr id="40" name="Text Placeholder 5"/>
          <p:cNvSpPr txBox="1">
            <a:spLocks/>
          </p:cNvSpPr>
          <p:nvPr/>
        </p:nvSpPr>
        <p:spPr>
          <a:xfrm>
            <a:off x="7614642" y="4022813"/>
            <a:ext cx="898604" cy="417739"/>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2000" b="1" i="0" u="none" strike="noStrike" kern="1200" cap="none" spc="-30" normalizeH="0" baseline="0" noProof="0" dirty="0">
                <a:ln>
                  <a:noFill/>
                </a:ln>
                <a:solidFill>
                  <a:srgbClr val="000000"/>
                </a:solidFill>
                <a:effectLst/>
                <a:uLnTx/>
                <a:uFillTx/>
                <a:latin typeface="Chronicle Display Black" charset="0"/>
                <a:ea typeface="Chronicle Display Black" charset="0"/>
                <a:cs typeface="Chronicle Display Black" charset="0"/>
              </a:rPr>
              <a:t>56%</a:t>
            </a:r>
          </a:p>
        </p:txBody>
      </p:sp>
      <p:sp>
        <p:nvSpPr>
          <p:cNvPr id="41" name="Rectangle 40"/>
          <p:cNvSpPr/>
          <p:nvPr/>
        </p:nvSpPr>
        <p:spPr>
          <a:xfrm>
            <a:off x="7538976" y="4851653"/>
            <a:ext cx="2095790" cy="1828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2" name="Text Placeholder 5"/>
          <p:cNvSpPr txBox="1">
            <a:spLocks/>
          </p:cNvSpPr>
          <p:nvPr/>
        </p:nvSpPr>
        <p:spPr>
          <a:xfrm>
            <a:off x="7538974" y="5054030"/>
            <a:ext cx="1414420" cy="279482"/>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US" sz="1300" b="0" i="0" u="none" strike="noStrike" kern="1200" cap="none" spc="-30" normalizeH="0" baseline="0" noProof="0" dirty="0">
                <a:ln>
                  <a:noFill/>
                </a:ln>
                <a:solidFill>
                  <a:srgbClr val="000000"/>
                </a:solidFill>
                <a:effectLst/>
                <a:uLnTx/>
                <a:uFillTx/>
                <a:latin typeface="Open Sans"/>
                <a:ea typeface="Open Sans" charset="0"/>
                <a:cs typeface="Open Sans" charset="0"/>
              </a:rPr>
              <a:t>Health</a:t>
            </a:r>
          </a:p>
        </p:txBody>
      </p:sp>
      <p:sp>
        <p:nvSpPr>
          <p:cNvPr id="43" name="Text Placeholder 5"/>
          <p:cNvSpPr txBox="1">
            <a:spLocks/>
          </p:cNvSpPr>
          <p:nvPr/>
        </p:nvSpPr>
        <p:spPr>
          <a:xfrm>
            <a:off x="7614642" y="4701943"/>
            <a:ext cx="898604" cy="417739"/>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2000" b="1" i="0" u="none" strike="noStrike" kern="1200" cap="none" spc="-30" normalizeH="0" baseline="0" noProof="0" dirty="0">
                <a:ln>
                  <a:noFill/>
                </a:ln>
                <a:solidFill>
                  <a:srgbClr val="000000"/>
                </a:solidFill>
                <a:effectLst/>
                <a:uLnTx/>
                <a:uFillTx/>
                <a:latin typeface="Chronicle Display Black" charset="0"/>
                <a:ea typeface="Chronicle Display Black" charset="0"/>
                <a:cs typeface="Chronicle Display Black" charset="0"/>
              </a:rPr>
              <a:t>51%</a:t>
            </a:r>
          </a:p>
        </p:txBody>
      </p:sp>
      <p:sp>
        <p:nvSpPr>
          <p:cNvPr id="44" name="Rectangle 43"/>
          <p:cNvSpPr/>
          <p:nvPr/>
        </p:nvSpPr>
        <p:spPr>
          <a:xfrm>
            <a:off x="7538974" y="5499478"/>
            <a:ext cx="2095792" cy="1828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5" name="Text Placeholder 5"/>
          <p:cNvSpPr txBox="1">
            <a:spLocks/>
          </p:cNvSpPr>
          <p:nvPr/>
        </p:nvSpPr>
        <p:spPr>
          <a:xfrm>
            <a:off x="7538974" y="5719910"/>
            <a:ext cx="1414420" cy="280197"/>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US" sz="1300" b="0" i="0" u="none" strike="noStrike" kern="1200" cap="none" spc="-30" normalizeH="0" baseline="0" noProof="0" dirty="0">
                <a:ln>
                  <a:noFill/>
                </a:ln>
                <a:solidFill>
                  <a:srgbClr val="000000"/>
                </a:solidFill>
                <a:effectLst/>
                <a:uLnTx/>
                <a:uFillTx/>
                <a:latin typeface="Open Sans"/>
                <a:ea typeface="Open Sans" charset="0"/>
                <a:cs typeface="Open Sans" charset="0"/>
              </a:rPr>
              <a:t>Grocery</a:t>
            </a:r>
          </a:p>
        </p:txBody>
      </p:sp>
      <p:sp>
        <p:nvSpPr>
          <p:cNvPr id="46" name="Text Placeholder 5"/>
          <p:cNvSpPr txBox="1">
            <a:spLocks/>
          </p:cNvSpPr>
          <p:nvPr/>
        </p:nvSpPr>
        <p:spPr>
          <a:xfrm>
            <a:off x="7614642" y="5360288"/>
            <a:ext cx="898604" cy="417739"/>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2000" b="1" i="0" u="none" strike="noStrike" kern="1200" cap="none" spc="-30" normalizeH="0" baseline="0" noProof="0" dirty="0">
                <a:ln>
                  <a:noFill/>
                </a:ln>
                <a:solidFill>
                  <a:srgbClr val="000000"/>
                </a:solidFill>
                <a:effectLst/>
                <a:uLnTx/>
                <a:uFillTx/>
                <a:latin typeface="Chronicle Display Black" charset="0"/>
                <a:ea typeface="Chronicle Display Black" charset="0"/>
                <a:cs typeface="Chronicle Display Black" charset="0"/>
              </a:rPr>
              <a:t>51%</a:t>
            </a:r>
          </a:p>
        </p:txBody>
      </p:sp>
      <p:pic>
        <p:nvPicPr>
          <p:cNvPr id="47" name="Picture 4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92692" y="3504485"/>
            <a:ext cx="334800" cy="295412"/>
          </a:xfrm>
          <a:prstGeom prst="rect">
            <a:avLst/>
          </a:prstGeom>
        </p:spPr>
      </p:pic>
      <p:sp>
        <p:nvSpPr>
          <p:cNvPr id="48" name="Freeform 112"/>
          <p:cNvSpPr>
            <a:spLocks noChangeAspect="1" noEditPoints="1"/>
          </p:cNvSpPr>
          <p:nvPr/>
        </p:nvSpPr>
        <p:spPr bwMode="auto">
          <a:xfrm>
            <a:off x="6991890" y="2799695"/>
            <a:ext cx="333334" cy="333335"/>
          </a:xfrm>
          <a:custGeom>
            <a:avLst/>
            <a:gdLst>
              <a:gd name="T0" fmla="*/ 236 w 238"/>
              <a:gd name="T1" fmla="*/ 73 h 238"/>
              <a:gd name="T2" fmla="*/ 236 w 238"/>
              <a:gd name="T3" fmla="*/ 66 h 238"/>
              <a:gd name="T4" fmla="*/ 229 w 238"/>
              <a:gd name="T5" fmla="*/ 66 h 238"/>
              <a:gd name="T6" fmla="*/ 172 w 238"/>
              <a:gd name="T7" fmla="*/ 123 h 238"/>
              <a:gd name="T8" fmla="*/ 171 w 238"/>
              <a:gd name="T9" fmla="*/ 124 h 238"/>
              <a:gd name="T10" fmla="*/ 114 w 238"/>
              <a:gd name="T11" fmla="*/ 67 h 238"/>
              <a:gd name="T12" fmla="*/ 115 w 238"/>
              <a:gd name="T13" fmla="*/ 66 h 238"/>
              <a:gd name="T14" fmla="*/ 172 w 238"/>
              <a:gd name="T15" fmla="*/ 9 h 238"/>
              <a:gd name="T16" fmla="*/ 172 w 238"/>
              <a:gd name="T17" fmla="*/ 2 h 238"/>
              <a:gd name="T18" fmla="*/ 165 w 238"/>
              <a:gd name="T19" fmla="*/ 2 h 238"/>
              <a:gd name="T20" fmla="*/ 108 w 238"/>
              <a:gd name="T21" fmla="*/ 59 h 238"/>
              <a:gd name="T22" fmla="*/ 107 w 238"/>
              <a:gd name="T23" fmla="*/ 60 h 238"/>
              <a:gd name="T24" fmla="*/ 107 w 238"/>
              <a:gd name="T25" fmla="*/ 60 h 238"/>
              <a:gd name="T26" fmla="*/ 85 w 238"/>
              <a:gd name="T27" fmla="*/ 38 h 238"/>
              <a:gd name="T28" fmla="*/ 85 w 238"/>
              <a:gd name="T29" fmla="*/ 38 h 238"/>
              <a:gd name="T30" fmla="*/ 75 w 238"/>
              <a:gd name="T31" fmla="*/ 28 h 238"/>
              <a:gd name="T32" fmla="*/ 68 w 238"/>
              <a:gd name="T33" fmla="*/ 28 h 238"/>
              <a:gd name="T34" fmla="*/ 68 w 238"/>
              <a:gd name="T35" fmla="*/ 35 h 238"/>
              <a:gd name="T36" fmla="*/ 74 w 238"/>
              <a:gd name="T37" fmla="*/ 42 h 238"/>
              <a:gd name="T38" fmla="*/ 52 w 238"/>
              <a:gd name="T39" fmla="*/ 64 h 238"/>
              <a:gd name="T40" fmla="*/ 24 w 238"/>
              <a:gd name="T41" fmla="*/ 127 h 238"/>
              <a:gd name="T42" fmla="*/ 46 w 238"/>
              <a:gd name="T43" fmla="*/ 187 h 238"/>
              <a:gd name="T44" fmla="*/ 44 w 238"/>
              <a:gd name="T45" fmla="*/ 188 h 238"/>
              <a:gd name="T46" fmla="*/ 2 w 238"/>
              <a:gd name="T47" fmla="*/ 230 h 238"/>
              <a:gd name="T48" fmla="*/ 2 w 238"/>
              <a:gd name="T49" fmla="*/ 237 h 238"/>
              <a:gd name="T50" fmla="*/ 5 w 238"/>
              <a:gd name="T51" fmla="*/ 238 h 238"/>
              <a:gd name="T52" fmla="*/ 9 w 238"/>
              <a:gd name="T53" fmla="*/ 237 h 238"/>
              <a:gd name="T54" fmla="*/ 51 w 238"/>
              <a:gd name="T55" fmla="*/ 195 h 238"/>
              <a:gd name="T56" fmla="*/ 52 w 238"/>
              <a:gd name="T57" fmla="*/ 193 h 238"/>
              <a:gd name="T58" fmla="*/ 108 w 238"/>
              <a:gd name="T59" fmla="*/ 214 h 238"/>
              <a:gd name="T60" fmla="*/ 108 w 238"/>
              <a:gd name="T61" fmla="*/ 214 h 238"/>
              <a:gd name="T62" fmla="*/ 175 w 238"/>
              <a:gd name="T63" fmla="*/ 186 h 238"/>
              <a:gd name="T64" fmla="*/ 197 w 238"/>
              <a:gd name="T65" fmla="*/ 164 h 238"/>
              <a:gd name="T66" fmla="*/ 202 w 238"/>
              <a:gd name="T67" fmla="*/ 169 h 238"/>
              <a:gd name="T68" fmla="*/ 206 w 238"/>
              <a:gd name="T69" fmla="*/ 171 h 238"/>
              <a:gd name="T70" fmla="*/ 209 w 238"/>
              <a:gd name="T71" fmla="*/ 169 h 238"/>
              <a:gd name="T72" fmla="*/ 209 w 238"/>
              <a:gd name="T73" fmla="*/ 163 h 238"/>
              <a:gd name="T74" fmla="*/ 177 w 238"/>
              <a:gd name="T75" fmla="*/ 131 h 238"/>
              <a:gd name="T76" fmla="*/ 179 w 238"/>
              <a:gd name="T77" fmla="*/ 130 h 238"/>
              <a:gd name="T78" fmla="*/ 236 w 238"/>
              <a:gd name="T79" fmla="*/ 73 h 238"/>
              <a:gd name="T80" fmla="*/ 190 w 238"/>
              <a:gd name="T81" fmla="*/ 157 h 238"/>
              <a:gd name="T82" fmla="*/ 168 w 238"/>
              <a:gd name="T83" fmla="*/ 179 h 238"/>
              <a:gd name="T84" fmla="*/ 108 w 238"/>
              <a:gd name="T85" fmla="*/ 204 h 238"/>
              <a:gd name="T86" fmla="*/ 55 w 238"/>
              <a:gd name="T87" fmla="*/ 183 h 238"/>
              <a:gd name="T88" fmla="*/ 34 w 238"/>
              <a:gd name="T89" fmla="*/ 128 h 238"/>
              <a:gd name="T90" fmla="*/ 59 w 238"/>
              <a:gd name="T91" fmla="*/ 71 h 238"/>
              <a:gd name="T92" fmla="*/ 81 w 238"/>
              <a:gd name="T93" fmla="*/ 48 h 238"/>
              <a:gd name="T94" fmla="*/ 102 w 238"/>
              <a:gd name="T95" fmla="*/ 69 h 238"/>
              <a:gd name="T96" fmla="*/ 190 w 238"/>
              <a:gd name="T97" fmla="*/ 157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8" h="238">
                <a:moveTo>
                  <a:pt x="236" y="73"/>
                </a:moveTo>
                <a:cubicBezTo>
                  <a:pt x="238" y="71"/>
                  <a:pt x="238" y="68"/>
                  <a:pt x="236" y="66"/>
                </a:cubicBezTo>
                <a:cubicBezTo>
                  <a:pt x="234" y="64"/>
                  <a:pt x="231" y="64"/>
                  <a:pt x="229" y="66"/>
                </a:cubicBezTo>
                <a:cubicBezTo>
                  <a:pt x="172" y="123"/>
                  <a:pt x="172" y="123"/>
                  <a:pt x="172" y="123"/>
                </a:cubicBezTo>
                <a:cubicBezTo>
                  <a:pt x="172" y="123"/>
                  <a:pt x="171" y="124"/>
                  <a:pt x="171" y="124"/>
                </a:cubicBezTo>
                <a:cubicBezTo>
                  <a:pt x="114" y="67"/>
                  <a:pt x="114" y="67"/>
                  <a:pt x="114" y="67"/>
                </a:cubicBezTo>
                <a:cubicBezTo>
                  <a:pt x="114" y="67"/>
                  <a:pt x="115" y="66"/>
                  <a:pt x="115" y="66"/>
                </a:cubicBezTo>
                <a:cubicBezTo>
                  <a:pt x="172" y="9"/>
                  <a:pt x="172" y="9"/>
                  <a:pt x="172" y="9"/>
                </a:cubicBezTo>
                <a:cubicBezTo>
                  <a:pt x="174" y="7"/>
                  <a:pt x="174" y="4"/>
                  <a:pt x="172" y="2"/>
                </a:cubicBezTo>
                <a:cubicBezTo>
                  <a:pt x="170" y="0"/>
                  <a:pt x="167" y="0"/>
                  <a:pt x="165" y="2"/>
                </a:cubicBezTo>
                <a:cubicBezTo>
                  <a:pt x="108" y="59"/>
                  <a:pt x="108" y="59"/>
                  <a:pt x="108" y="59"/>
                </a:cubicBezTo>
                <a:cubicBezTo>
                  <a:pt x="108" y="59"/>
                  <a:pt x="107" y="60"/>
                  <a:pt x="107" y="60"/>
                </a:cubicBezTo>
                <a:cubicBezTo>
                  <a:pt x="107" y="60"/>
                  <a:pt x="107" y="60"/>
                  <a:pt x="107" y="60"/>
                </a:cubicBezTo>
                <a:cubicBezTo>
                  <a:pt x="85" y="38"/>
                  <a:pt x="85" y="38"/>
                  <a:pt x="85" y="38"/>
                </a:cubicBezTo>
                <a:cubicBezTo>
                  <a:pt x="85" y="38"/>
                  <a:pt x="85" y="38"/>
                  <a:pt x="85" y="38"/>
                </a:cubicBezTo>
                <a:cubicBezTo>
                  <a:pt x="75" y="28"/>
                  <a:pt x="75" y="28"/>
                  <a:pt x="75" y="28"/>
                </a:cubicBezTo>
                <a:cubicBezTo>
                  <a:pt x="73" y="26"/>
                  <a:pt x="70" y="26"/>
                  <a:pt x="68" y="28"/>
                </a:cubicBezTo>
                <a:cubicBezTo>
                  <a:pt x="66" y="30"/>
                  <a:pt x="66" y="33"/>
                  <a:pt x="68" y="35"/>
                </a:cubicBezTo>
                <a:cubicBezTo>
                  <a:pt x="74" y="42"/>
                  <a:pt x="74" y="42"/>
                  <a:pt x="74" y="42"/>
                </a:cubicBezTo>
                <a:cubicBezTo>
                  <a:pt x="52" y="64"/>
                  <a:pt x="52" y="64"/>
                  <a:pt x="52" y="64"/>
                </a:cubicBezTo>
                <a:cubicBezTo>
                  <a:pt x="35" y="81"/>
                  <a:pt x="25" y="104"/>
                  <a:pt x="24" y="127"/>
                </a:cubicBezTo>
                <a:cubicBezTo>
                  <a:pt x="24" y="150"/>
                  <a:pt x="31" y="171"/>
                  <a:pt x="46" y="187"/>
                </a:cubicBezTo>
                <a:cubicBezTo>
                  <a:pt x="45" y="187"/>
                  <a:pt x="44" y="187"/>
                  <a:pt x="44" y="188"/>
                </a:cubicBezTo>
                <a:cubicBezTo>
                  <a:pt x="2" y="230"/>
                  <a:pt x="2" y="230"/>
                  <a:pt x="2" y="230"/>
                </a:cubicBezTo>
                <a:cubicBezTo>
                  <a:pt x="0" y="232"/>
                  <a:pt x="0" y="235"/>
                  <a:pt x="2" y="237"/>
                </a:cubicBezTo>
                <a:cubicBezTo>
                  <a:pt x="3" y="238"/>
                  <a:pt x="4" y="238"/>
                  <a:pt x="5" y="238"/>
                </a:cubicBezTo>
                <a:cubicBezTo>
                  <a:pt x="6" y="238"/>
                  <a:pt x="8" y="238"/>
                  <a:pt x="9" y="237"/>
                </a:cubicBezTo>
                <a:cubicBezTo>
                  <a:pt x="51" y="195"/>
                  <a:pt x="51" y="195"/>
                  <a:pt x="51" y="195"/>
                </a:cubicBezTo>
                <a:cubicBezTo>
                  <a:pt x="51" y="194"/>
                  <a:pt x="52" y="193"/>
                  <a:pt x="52" y="193"/>
                </a:cubicBezTo>
                <a:cubicBezTo>
                  <a:pt x="67" y="206"/>
                  <a:pt x="87" y="214"/>
                  <a:pt x="108" y="214"/>
                </a:cubicBezTo>
                <a:cubicBezTo>
                  <a:pt x="108" y="214"/>
                  <a:pt x="108" y="214"/>
                  <a:pt x="108" y="214"/>
                </a:cubicBezTo>
                <a:cubicBezTo>
                  <a:pt x="133" y="214"/>
                  <a:pt x="157" y="204"/>
                  <a:pt x="175" y="186"/>
                </a:cubicBezTo>
                <a:cubicBezTo>
                  <a:pt x="197" y="164"/>
                  <a:pt x="197" y="164"/>
                  <a:pt x="197" y="164"/>
                </a:cubicBezTo>
                <a:cubicBezTo>
                  <a:pt x="202" y="169"/>
                  <a:pt x="202" y="169"/>
                  <a:pt x="202" y="169"/>
                </a:cubicBezTo>
                <a:cubicBezTo>
                  <a:pt x="203" y="170"/>
                  <a:pt x="204" y="171"/>
                  <a:pt x="206" y="171"/>
                </a:cubicBezTo>
                <a:cubicBezTo>
                  <a:pt x="207" y="171"/>
                  <a:pt x="208" y="170"/>
                  <a:pt x="209" y="169"/>
                </a:cubicBezTo>
                <a:cubicBezTo>
                  <a:pt x="211" y="168"/>
                  <a:pt x="211" y="164"/>
                  <a:pt x="209" y="163"/>
                </a:cubicBezTo>
                <a:cubicBezTo>
                  <a:pt x="177" y="131"/>
                  <a:pt x="177" y="131"/>
                  <a:pt x="177" y="131"/>
                </a:cubicBezTo>
                <a:cubicBezTo>
                  <a:pt x="178" y="131"/>
                  <a:pt x="178" y="130"/>
                  <a:pt x="179" y="130"/>
                </a:cubicBezTo>
                <a:lnTo>
                  <a:pt x="236" y="73"/>
                </a:lnTo>
                <a:close/>
                <a:moveTo>
                  <a:pt x="190" y="157"/>
                </a:moveTo>
                <a:cubicBezTo>
                  <a:pt x="168" y="179"/>
                  <a:pt x="168" y="179"/>
                  <a:pt x="168" y="179"/>
                </a:cubicBezTo>
                <a:cubicBezTo>
                  <a:pt x="152" y="195"/>
                  <a:pt x="130" y="204"/>
                  <a:pt x="108" y="204"/>
                </a:cubicBezTo>
                <a:cubicBezTo>
                  <a:pt x="88" y="204"/>
                  <a:pt x="69" y="197"/>
                  <a:pt x="55" y="183"/>
                </a:cubicBezTo>
                <a:cubicBezTo>
                  <a:pt x="41" y="168"/>
                  <a:pt x="33" y="149"/>
                  <a:pt x="34" y="128"/>
                </a:cubicBezTo>
                <a:cubicBezTo>
                  <a:pt x="35" y="106"/>
                  <a:pt x="44" y="86"/>
                  <a:pt x="59" y="71"/>
                </a:cubicBezTo>
                <a:cubicBezTo>
                  <a:pt x="81" y="48"/>
                  <a:pt x="81" y="48"/>
                  <a:pt x="81" y="48"/>
                </a:cubicBezTo>
                <a:cubicBezTo>
                  <a:pt x="102" y="69"/>
                  <a:pt x="102" y="69"/>
                  <a:pt x="102" y="69"/>
                </a:cubicBezTo>
                <a:lnTo>
                  <a:pt x="190" y="157"/>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9" name="Freeform 218"/>
          <p:cNvSpPr>
            <a:spLocks noChangeAspect="1" noEditPoints="1"/>
          </p:cNvSpPr>
          <p:nvPr/>
        </p:nvSpPr>
        <p:spPr bwMode="auto">
          <a:xfrm>
            <a:off x="6983092" y="4115611"/>
            <a:ext cx="397227" cy="354463"/>
          </a:xfrm>
          <a:custGeom>
            <a:avLst/>
            <a:gdLst>
              <a:gd name="T0" fmla="*/ 212 w 250"/>
              <a:gd name="T1" fmla="*/ 20 h 223"/>
              <a:gd name="T2" fmla="*/ 162 w 250"/>
              <a:gd name="T3" fmla="*/ 1 h 223"/>
              <a:gd name="T4" fmla="*/ 143 w 250"/>
              <a:gd name="T5" fmla="*/ 2 h 223"/>
              <a:gd name="T6" fmla="*/ 91 w 250"/>
              <a:gd name="T7" fmla="*/ 1 h 223"/>
              <a:gd name="T8" fmla="*/ 42 w 250"/>
              <a:gd name="T9" fmla="*/ 17 h 223"/>
              <a:gd name="T10" fmla="*/ 17 w 250"/>
              <a:gd name="T11" fmla="*/ 82 h 223"/>
              <a:gd name="T12" fmla="*/ 24 w 250"/>
              <a:gd name="T13" fmla="*/ 90 h 223"/>
              <a:gd name="T14" fmla="*/ 44 w 250"/>
              <a:gd name="T15" fmla="*/ 99 h 223"/>
              <a:gd name="T16" fmla="*/ 49 w 250"/>
              <a:gd name="T17" fmla="*/ 223 h 223"/>
              <a:gd name="T18" fmla="*/ 206 w 250"/>
              <a:gd name="T19" fmla="*/ 222 h 223"/>
              <a:gd name="T20" fmla="*/ 207 w 250"/>
              <a:gd name="T21" fmla="*/ 100 h 223"/>
              <a:gd name="T22" fmla="*/ 226 w 250"/>
              <a:gd name="T23" fmla="*/ 92 h 223"/>
              <a:gd name="T24" fmla="*/ 247 w 250"/>
              <a:gd name="T25" fmla="*/ 59 h 223"/>
              <a:gd name="T26" fmla="*/ 153 w 250"/>
              <a:gd name="T27" fmla="*/ 11 h 223"/>
              <a:gd name="T28" fmla="*/ 125 w 250"/>
              <a:gd name="T29" fmla="*/ 34 h 223"/>
              <a:gd name="T30" fmla="*/ 144 w 250"/>
              <a:gd name="T31" fmla="*/ 12 h 223"/>
              <a:gd name="T32" fmla="*/ 32 w 250"/>
              <a:gd name="T33" fmla="*/ 84 h 223"/>
              <a:gd name="T34" fmla="*/ 24 w 250"/>
              <a:gd name="T35" fmla="*/ 75 h 223"/>
              <a:gd name="T36" fmla="*/ 50 w 250"/>
              <a:gd name="T37" fmla="*/ 24 h 223"/>
              <a:gd name="T38" fmla="*/ 39 w 250"/>
              <a:gd name="T39" fmla="*/ 90 h 223"/>
              <a:gd name="T40" fmla="*/ 54 w 250"/>
              <a:gd name="T41" fmla="*/ 95 h 223"/>
              <a:gd name="T42" fmla="*/ 75 w 250"/>
              <a:gd name="T43" fmla="*/ 14 h 223"/>
              <a:gd name="T44" fmla="*/ 88 w 250"/>
              <a:gd name="T45" fmla="*/ 11 h 223"/>
              <a:gd name="T46" fmla="*/ 125 w 250"/>
              <a:gd name="T47" fmla="*/ 44 h 223"/>
              <a:gd name="T48" fmla="*/ 171 w 250"/>
              <a:gd name="T49" fmla="*/ 13 h 223"/>
              <a:gd name="T50" fmla="*/ 193 w 250"/>
              <a:gd name="T51" fmla="*/ 19 h 223"/>
              <a:gd name="T52" fmla="*/ 197 w 250"/>
              <a:gd name="T53" fmla="*/ 213 h 223"/>
              <a:gd name="T54" fmla="*/ 222 w 250"/>
              <a:gd name="T55" fmla="*/ 82 h 223"/>
              <a:gd name="T56" fmla="*/ 213 w 250"/>
              <a:gd name="T57" fmla="*/ 91 h 223"/>
              <a:gd name="T58" fmla="*/ 206 w 250"/>
              <a:gd name="T59" fmla="*/ 89 h 223"/>
              <a:gd name="T60" fmla="*/ 204 w 250"/>
              <a:gd name="T61" fmla="*/ 26 h 223"/>
              <a:gd name="T62" fmla="*/ 222 w 250"/>
              <a:gd name="T63" fmla="*/ 8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0" h="223">
                <a:moveTo>
                  <a:pt x="247" y="59"/>
                </a:moveTo>
                <a:cubicBezTo>
                  <a:pt x="212" y="20"/>
                  <a:pt x="212" y="20"/>
                  <a:pt x="212" y="20"/>
                </a:cubicBezTo>
                <a:cubicBezTo>
                  <a:pt x="203" y="10"/>
                  <a:pt x="192" y="8"/>
                  <a:pt x="182" y="5"/>
                </a:cubicBezTo>
                <a:cubicBezTo>
                  <a:pt x="171" y="3"/>
                  <a:pt x="169" y="2"/>
                  <a:pt x="162" y="1"/>
                </a:cubicBezTo>
                <a:cubicBezTo>
                  <a:pt x="161" y="1"/>
                  <a:pt x="160" y="1"/>
                  <a:pt x="159" y="1"/>
                </a:cubicBezTo>
                <a:cubicBezTo>
                  <a:pt x="153" y="1"/>
                  <a:pt x="148" y="1"/>
                  <a:pt x="143" y="2"/>
                </a:cubicBezTo>
                <a:cubicBezTo>
                  <a:pt x="113" y="6"/>
                  <a:pt x="111" y="0"/>
                  <a:pt x="94" y="1"/>
                </a:cubicBezTo>
                <a:cubicBezTo>
                  <a:pt x="92" y="0"/>
                  <a:pt x="92" y="0"/>
                  <a:pt x="91" y="1"/>
                </a:cubicBezTo>
                <a:cubicBezTo>
                  <a:pt x="84" y="2"/>
                  <a:pt x="85" y="2"/>
                  <a:pt x="73" y="4"/>
                </a:cubicBezTo>
                <a:cubicBezTo>
                  <a:pt x="62" y="7"/>
                  <a:pt x="50" y="9"/>
                  <a:pt x="42" y="17"/>
                </a:cubicBezTo>
                <a:cubicBezTo>
                  <a:pt x="6" y="58"/>
                  <a:pt x="6" y="58"/>
                  <a:pt x="6" y="58"/>
                </a:cubicBezTo>
                <a:cubicBezTo>
                  <a:pt x="0" y="65"/>
                  <a:pt x="10" y="75"/>
                  <a:pt x="17" y="82"/>
                </a:cubicBezTo>
                <a:cubicBezTo>
                  <a:pt x="18" y="83"/>
                  <a:pt x="19" y="84"/>
                  <a:pt x="20" y="85"/>
                </a:cubicBezTo>
                <a:cubicBezTo>
                  <a:pt x="21" y="87"/>
                  <a:pt x="23" y="88"/>
                  <a:pt x="24" y="90"/>
                </a:cubicBezTo>
                <a:cubicBezTo>
                  <a:pt x="29" y="96"/>
                  <a:pt x="32" y="100"/>
                  <a:pt x="39" y="100"/>
                </a:cubicBezTo>
                <a:cubicBezTo>
                  <a:pt x="41" y="100"/>
                  <a:pt x="42" y="100"/>
                  <a:pt x="44" y="99"/>
                </a:cubicBezTo>
                <a:cubicBezTo>
                  <a:pt x="44" y="218"/>
                  <a:pt x="44" y="218"/>
                  <a:pt x="44" y="218"/>
                </a:cubicBezTo>
                <a:cubicBezTo>
                  <a:pt x="44" y="221"/>
                  <a:pt x="47" y="223"/>
                  <a:pt x="49" y="223"/>
                </a:cubicBezTo>
                <a:cubicBezTo>
                  <a:pt x="202" y="223"/>
                  <a:pt x="202" y="223"/>
                  <a:pt x="202" y="223"/>
                </a:cubicBezTo>
                <a:cubicBezTo>
                  <a:pt x="204" y="223"/>
                  <a:pt x="205" y="222"/>
                  <a:pt x="206" y="222"/>
                </a:cubicBezTo>
                <a:cubicBezTo>
                  <a:pt x="207" y="221"/>
                  <a:pt x="207" y="219"/>
                  <a:pt x="207" y="218"/>
                </a:cubicBezTo>
                <a:cubicBezTo>
                  <a:pt x="207" y="100"/>
                  <a:pt x="207" y="100"/>
                  <a:pt x="207" y="100"/>
                </a:cubicBezTo>
                <a:cubicBezTo>
                  <a:pt x="210" y="100"/>
                  <a:pt x="211" y="101"/>
                  <a:pt x="213" y="101"/>
                </a:cubicBezTo>
                <a:cubicBezTo>
                  <a:pt x="219" y="101"/>
                  <a:pt x="222" y="97"/>
                  <a:pt x="226" y="92"/>
                </a:cubicBezTo>
                <a:cubicBezTo>
                  <a:pt x="227" y="91"/>
                  <a:pt x="228" y="90"/>
                  <a:pt x="229" y="88"/>
                </a:cubicBezTo>
                <a:cubicBezTo>
                  <a:pt x="248" y="66"/>
                  <a:pt x="250" y="63"/>
                  <a:pt x="247" y="59"/>
                </a:cubicBezTo>
                <a:close/>
                <a:moveTo>
                  <a:pt x="144" y="12"/>
                </a:moveTo>
                <a:cubicBezTo>
                  <a:pt x="148" y="12"/>
                  <a:pt x="151" y="11"/>
                  <a:pt x="153" y="11"/>
                </a:cubicBezTo>
                <a:cubicBezTo>
                  <a:pt x="148" y="27"/>
                  <a:pt x="136" y="34"/>
                  <a:pt x="125" y="34"/>
                </a:cubicBezTo>
                <a:cubicBezTo>
                  <a:pt x="125" y="34"/>
                  <a:pt x="125" y="34"/>
                  <a:pt x="125" y="34"/>
                </a:cubicBezTo>
                <a:cubicBezTo>
                  <a:pt x="115" y="34"/>
                  <a:pt x="103" y="27"/>
                  <a:pt x="99" y="11"/>
                </a:cubicBezTo>
                <a:cubicBezTo>
                  <a:pt x="113" y="12"/>
                  <a:pt x="117" y="15"/>
                  <a:pt x="144" y="12"/>
                </a:cubicBezTo>
                <a:close/>
                <a:moveTo>
                  <a:pt x="39" y="90"/>
                </a:moveTo>
                <a:cubicBezTo>
                  <a:pt x="37" y="90"/>
                  <a:pt x="36" y="90"/>
                  <a:pt x="32" y="84"/>
                </a:cubicBezTo>
                <a:cubicBezTo>
                  <a:pt x="31" y="82"/>
                  <a:pt x="29" y="80"/>
                  <a:pt x="27" y="78"/>
                </a:cubicBezTo>
                <a:cubicBezTo>
                  <a:pt x="27" y="77"/>
                  <a:pt x="25" y="76"/>
                  <a:pt x="24" y="75"/>
                </a:cubicBezTo>
                <a:cubicBezTo>
                  <a:pt x="22" y="73"/>
                  <a:pt x="16" y="67"/>
                  <a:pt x="15" y="64"/>
                </a:cubicBezTo>
                <a:cubicBezTo>
                  <a:pt x="50" y="24"/>
                  <a:pt x="50" y="24"/>
                  <a:pt x="50" y="24"/>
                </a:cubicBezTo>
                <a:cubicBezTo>
                  <a:pt x="60" y="59"/>
                  <a:pt x="49" y="83"/>
                  <a:pt x="46" y="89"/>
                </a:cubicBezTo>
                <a:cubicBezTo>
                  <a:pt x="43" y="90"/>
                  <a:pt x="41" y="90"/>
                  <a:pt x="39" y="90"/>
                </a:cubicBezTo>
                <a:close/>
                <a:moveTo>
                  <a:pt x="54" y="213"/>
                </a:moveTo>
                <a:cubicBezTo>
                  <a:pt x="54" y="95"/>
                  <a:pt x="54" y="95"/>
                  <a:pt x="54" y="95"/>
                </a:cubicBezTo>
                <a:cubicBezTo>
                  <a:pt x="58" y="88"/>
                  <a:pt x="72" y="60"/>
                  <a:pt x="59" y="18"/>
                </a:cubicBezTo>
                <a:cubicBezTo>
                  <a:pt x="64" y="16"/>
                  <a:pt x="70" y="15"/>
                  <a:pt x="75" y="14"/>
                </a:cubicBezTo>
                <a:cubicBezTo>
                  <a:pt x="79" y="13"/>
                  <a:pt x="82" y="13"/>
                  <a:pt x="86" y="12"/>
                </a:cubicBezTo>
                <a:cubicBezTo>
                  <a:pt x="87" y="12"/>
                  <a:pt x="87" y="12"/>
                  <a:pt x="88" y="11"/>
                </a:cubicBezTo>
                <a:cubicBezTo>
                  <a:pt x="94" y="33"/>
                  <a:pt x="110" y="44"/>
                  <a:pt x="125" y="44"/>
                </a:cubicBezTo>
                <a:cubicBezTo>
                  <a:pt x="125" y="44"/>
                  <a:pt x="125" y="44"/>
                  <a:pt x="125" y="44"/>
                </a:cubicBezTo>
                <a:cubicBezTo>
                  <a:pt x="141" y="44"/>
                  <a:pt x="158" y="34"/>
                  <a:pt x="164" y="11"/>
                </a:cubicBezTo>
                <a:cubicBezTo>
                  <a:pt x="166" y="12"/>
                  <a:pt x="168" y="12"/>
                  <a:pt x="171" y="13"/>
                </a:cubicBezTo>
                <a:cubicBezTo>
                  <a:pt x="174" y="14"/>
                  <a:pt x="177" y="14"/>
                  <a:pt x="179" y="15"/>
                </a:cubicBezTo>
                <a:cubicBezTo>
                  <a:pt x="184" y="16"/>
                  <a:pt x="189" y="17"/>
                  <a:pt x="193" y="19"/>
                </a:cubicBezTo>
                <a:cubicBezTo>
                  <a:pt x="180" y="60"/>
                  <a:pt x="194" y="88"/>
                  <a:pt x="197" y="94"/>
                </a:cubicBezTo>
                <a:cubicBezTo>
                  <a:pt x="197" y="213"/>
                  <a:pt x="197" y="213"/>
                  <a:pt x="197" y="213"/>
                </a:cubicBezTo>
                <a:lnTo>
                  <a:pt x="54" y="213"/>
                </a:lnTo>
                <a:close/>
                <a:moveTo>
                  <a:pt x="222" y="82"/>
                </a:moveTo>
                <a:cubicBezTo>
                  <a:pt x="220" y="84"/>
                  <a:pt x="219" y="85"/>
                  <a:pt x="219" y="85"/>
                </a:cubicBezTo>
                <a:cubicBezTo>
                  <a:pt x="215" y="90"/>
                  <a:pt x="214" y="91"/>
                  <a:pt x="213" y="91"/>
                </a:cubicBezTo>
                <a:cubicBezTo>
                  <a:pt x="212" y="91"/>
                  <a:pt x="210" y="90"/>
                  <a:pt x="208" y="90"/>
                </a:cubicBezTo>
                <a:cubicBezTo>
                  <a:pt x="207" y="89"/>
                  <a:pt x="207" y="89"/>
                  <a:pt x="206" y="89"/>
                </a:cubicBezTo>
                <a:cubicBezTo>
                  <a:pt x="202" y="83"/>
                  <a:pt x="192" y="59"/>
                  <a:pt x="202" y="24"/>
                </a:cubicBezTo>
                <a:cubicBezTo>
                  <a:pt x="203" y="25"/>
                  <a:pt x="203" y="25"/>
                  <a:pt x="204" y="26"/>
                </a:cubicBezTo>
                <a:cubicBezTo>
                  <a:pt x="237" y="63"/>
                  <a:pt x="237" y="63"/>
                  <a:pt x="237" y="63"/>
                </a:cubicBezTo>
                <a:cubicBezTo>
                  <a:pt x="234" y="68"/>
                  <a:pt x="225" y="78"/>
                  <a:pt x="222" y="8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0" name="Freeform 219"/>
          <p:cNvSpPr>
            <a:spLocks noChangeAspect="1"/>
          </p:cNvSpPr>
          <p:nvPr/>
        </p:nvSpPr>
        <p:spPr bwMode="auto">
          <a:xfrm>
            <a:off x="6969036" y="4773281"/>
            <a:ext cx="411284" cy="385643"/>
          </a:xfrm>
          <a:custGeom>
            <a:avLst/>
            <a:gdLst>
              <a:gd name="T0" fmla="*/ 235 w 240"/>
              <a:gd name="T1" fmla="*/ 125 h 225"/>
              <a:gd name="T2" fmla="*/ 183 w 240"/>
              <a:gd name="T3" fmla="*/ 125 h 225"/>
              <a:gd name="T4" fmla="*/ 161 w 240"/>
              <a:gd name="T5" fmla="*/ 75 h 225"/>
              <a:gd name="T6" fmla="*/ 156 w 240"/>
              <a:gd name="T7" fmla="*/ 72 h 225"/>
              <a:gd name="T8" fmla="*/ 152 w 240"/>
              <a:gd name="T9" fmla="*/ 76 h 225"/>
              <a:gd name="T10" fmla="*/ 131 w 240"/>
              <a:gd name="T11" fmla="*/ 193 h 225"/>
              <a:gd name="T12" fmla="*/ 93 w 240"/>
              <a:gd name="T13" fmla="*/ 4 h 225"/>
              <a:gd name="T14" fmla="*/ 89 w 240"/>
              <a:gd name="T15" fmla="*/ 0 h 225"/>
              <a:gd name="T16" fmla="*/ 89 w 240"/>
              <a:gd name="T17" fmla="*/ 0 h 225"/>
              <a:gd name="T18" fmla="*/ 84 w 240"/>
              <a:gd name="T19" fmla="*/ 4 h 225"/>
              <a:gd name="T20" fmla="*/ 54 w 240"/>
              <a:gd name="T21" fmla="*/ 132 h 225"/>
              <a:gd name="T22" fmla="*/ 5 w 240"/>
              <a:gd name="T23" fmla="*/ 132 h 225"/>
              <a:gd name="T24" fmla="*/ 0 w 240"/>
              <a:gd name="T25" fmla="*/ 137 h 225"/>
              <a:gd name="T26" fmla="*/ 5 w 240"/>
              <a:gd name="T27" fmla="*/ 142 h 225"/>
              <a:gd name="T28" fmla="*/ 58 w 240"/>
              <a:gd name="T29" fmla="*/ 142 h 225"/>
              <a:gd name="T30" fmla="*/ 63 w 240"/>
              <a:gd name="T31" fmla="*/ 138 h 225"/>
              <a:gd name="T32" fmla="*/ 88 w 240"/>
              <a:gd name="T33" fmla="*/ 29 h 225"/>
              <a:gd name="T34" fmla="*/ 126 w 240"/>
              <a:gd name="T35" fmla="*/ 221 h 225"/>
              <a:gd name="T36" fmla="*/ 131 w 240"/>
              <a:gd name="T37" fmla="*/ 225 h 225"/>
              <a:gd name="T38" fmla="*/ 131 w 240"/>
              <a:gd name="T39" fmla="*/ 225 h 225"/>
              <a:gd name="T40" fmla="*/ 136 w 240"/>
              <a:gd name="T41" fmla="*/ 221 h 225"/>
              <a:gd name="T42" fmla="*/ 159 w 240"/>
              <a:gd name="T43" fmla="*/ 94 h 225"/>
              <a:gd name="T44" fmla="*/ 175 w 240"/>
              <a:gd name="T45" fmla="*/ 132 h 225"/>
              <a:gd name="T46" fmla="*/ 179 w 240"/>
              <a:gd name="T47" fmla="*/ 135 h 225"/>
              <a:gd name="T48" fmla="*/ 235 w 240"/>
              <a:gd name="T49" fmla="*/ 135 h 225"/>
              <a:gd name="T50" fmla="*/ 240 w 240"/>
              <a:gd name="T51" fmla="*/ 130 h 225"/>
              <a:gd name="T52" fmla="*/ 235 w 240"/>
              <a:gd name="T53" fmla="*/ 12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0" h="225">
                <a:moveTo>
                  <a:pt x="235" y="125"/>
                </a:moveTo>
                <a:cubicBezTo>
                  <a:pt x="183" y="125"/>
                  <a:pt x="183" y="125"/>
                  <a:pt x="183" y="125"/>
                </a:cubicBezTo>
                <a:cubicBezTo>
                  <a:pt x="161" y="75"/>
                  <a:pt x="161" y="75"/>
                  <a:pt x="161" y="75"/>
                </a:cubicBezTo>
                <a:cubicBezTo>
                  <a:pt x="160" y="73"/>
                  <a:pt x="158" y="72"/>
                  <a:pt x="156" y="72"/>
                </a:cubicBezTo>
                <a:cubicBezTo>
                  <a:pt x="154" y="73"/>
                  <a:pt x="152" y="74"/>
                  <a:pt x="152" y="76"/>
                </a:cubicBezTo>
                <a:cubicBezTo>
                  <a:pt x="131" y="193"/>
                  <a:pt x="131" y="193"/>
                  <a:pt x="131" y="193"/>
                </a:cubicBezTo>
                <a:cubicBezTo>
                  <a:pt x="93" y="4"/>
                  <a:pt x="93" y="4"/>
                  <a:pt x="93" y="4"/>
                </a:cubicBezTo>
                <a:cubicBezTo>
                  <a:pt x="93" y="2"/>
                  <a:pt x="91" y="0"/>
                  <a:pt x="89" y="0"/>
                </a:cubicBezTo>
                <a:cubicBezTo>
                  <a:pt x="89" y="0"/>
                  <a:pt x="89" y="0"/>
                  <a:pt x="89" y="0"/>
                </a:cubicBezTo>
                <a:cubicBezTo>
                  <a:pt x="86" y="0"/>
                  <a:pt x="84" y="2"/>
                  <a:pt x="84" y="4"/>
                </a:cubicBezTo>
                <a:cubicBezTo>
                  <a:pt x="54" y="132"/>
                  <a:pt x="54" y="132"/>
                  <a:pt x="54" y="132"/>
                </a:cubicBezTo>
                <a:cubicBezTo>
                  <a:pt x="5" y="132"/>
                  <a:pt x="5" y="132"/>
                  <a:pt x="5" y="132"/>
                </a:cubicBezTo>
                <a:cubicBezTo>
                  <a:pt x="3" y="132"/>
                  <a:pt x="0" y="134"/>
                  <a:pt x="0" y="137"/>
                </a:cubicBezTo>
                <a:cubicBezTo>
                  <a:pt x="0" y="140"/>
                  <a:pt x="3" y="142"/>
                  <a:pt x="5" y="142"/>
                </a:cubicBezTo>
                <a:cubicBezTo>
                  <a:pt x="58" y="142"/>
                  <a:pt x="58" y="142"/>
                  <a:pt x="58" y="142"/>
                </a:cubicBezTo>
                <a:cubicBezTo>
                  <a:pt x="61" y="142"/>
                  <a:pt x="63" y="141"/>
                  <a:pt x="63" y="138"/>
                </a:cubicBezTo>
                <a:cubicBezTo>
                  <a:pt x="88" y="29"/>
                  <a:pt x="88" y="29"/>
                  <a:pt x="88" y="29"/>
                </a:cubicBezTo>
                <a:cubicBezTo>
                  <a:pt x="126" y="221"/>
                  <a:pt x="126" y="221"/>
                  <a:pt x="126" y="221"/>
                </a:cubicBezTo>
                <a:cubicBezTo>
                  <a:pt x="127" y="224"/>
                  <a:pt x="129" y="225"/>
                  <a:pt x="131" y="225"/>
                </a:cubicBezTo>
                <a:cubicBezTo>
                  <a:pt x="131" y="225"/>
                  <a:pt x="131" y="225"/>
                  <a:pt x="131" y="225"/>
                </a:cubicBezTo>
                <a:cubicBezTo>
                  <a:pt x="134" y="225"/>
                  <a:pt x="136" y="224"/>
                  <a:pt x="136" y="221"/>
                </a:cubicBezTo>
                <a:cubicBezTo>
                  <a:pt x="159" y="94"/>
                  <a:pt x="159" y="94"/>
                  <a:pt x="159" y="94"/>
                </a:cubicBezTo>
                <a:cubicBezTo>
                  <a:pt x="175" y="132"/>
                  <a:pt x="175" y="132"/>
                  <a:pt x="175" y="132"/>
                </a:cubicBezTo>
                <a:cubicBezTo>
                  <a:pt x="176" y="134"/>
                  <a:pt x="177" y="135"/>
                  <a:pt x="179" y="135"/>
                </a:cubicBezTo>
                <a:cubicBezTo>
                  <a:pt x="235" y="135"/>
                  <a:pt x="235" y="135"/>
                  <a:pt x="235" y="135"/>
                </a:cubicBezTo>
                <a:cubicBezTo>
                  <a:pt x="238" y="135"/>
                  <a:pt x="240" y="133"/>
                  <a:pt x="240" y="130"/>
                </a:cubicBezTo>
                <a:cubicBezTo>
                  <a:pt x="240" y="128"/>
                  <a:pt x="238" y="125"/>
                  <a:pt x="235" y="12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1" name="Freeform 218"/>
          <p:cNvSpPr>
            <a:spLocks noChangeAspect="1" noEditPoints="1"/>
          </p:cNvSpPr>
          <p:nvPr/>
        </p:nvSpPr>
        <p:spPr bwMode="auto">
          <a:xfrm>
            <a:off x="7001603" y="5451224"/>
            <a:ext cx="295386" cy="385643"/>
          </a:xfrm>
          <a:custGeom>
            <a:avLst/>
            <a:gdLst>
              <a:gd name="T0" fmla="*/ 187 w 188"/>
              <a:gd name="T1" fmla="*/ 83 h 245"/>
              <a:gd name="T2" fmla="*/ 154 w 188"/>
              <a:gd name="T3" fmla="*/ 40 h 245"/>
              <a:gd name="T4" fmla="*/ 154 w 188"/>
              <a:gd name="T5" fmla="*/ 5 h 245"/>
              <a:gd name="T6" fmla="*/ 149 w 188"/>
              <a:gd name="T7" fmla="*/ 0 h 245"/>
              <a:gd name="T8" fmla="*/ 41 w 188"/>
              <a:gd name="T9" fmla="*/ 0 h 245"/>
              <a:gd name="T10" fmla="*/ 36 w 188"/>
              <a:gd name="T11" fmla="*/ 5 h 245"/>
              <a:gd name="T12" fmla="*/ 36 w 188"/>
              <a:gd name="T13" fmla="*/ 40 h 245"/>
              <a:gd name="T14" fmla="*/ 1 w 188"/>
              <a:gd name="T15" fmla="*/ 82 h 245"/>
              <a:gd name="T16" fmla="*/ 0 w 188"/>
              <a:gd name="T17" fmla="*/ 83 h 245"/>
              <a:gd name="T18" fmla="*/ 0 w 188"/>
              <a:gd name="T19" fmla="*/ 83 h 245"/>
              <a:gd name="T20" fmla="*/ 0 w 188"/>
              <a:gd name="T21" fmla="*/ 85 h 245"/>
              <a:gd name="T22" fmla="*/ 0 w 188"/>
              <a:gd name="T23" fmla="*/ 240 h 245"/>
              <a:gd name="T24" fmla="*/ 5 w 188"/>
              <a:gd name="T25" fmla="*/ 245 h 245"/>
              <a:gd name="T26" fmla="*/ 183 w 188"/>
              <a:gd name="T27" fmla="*/ 245 h 245"/>
              <a:gd name="T28" fmla="*/ 188 w 188"/>
              <a:gd name="T29" fmla="*/ 240 h 245"/>
              <a:gd name="T30" fmla="*/ 188 w 188"/>
              <a:gd name="T31" fmla="*/ 87 h 245"/>
              <a:gd name="T32" fmla="*/ 187 w 188"/>
              <a:gd name="T33" fmla="*/ 83 h 245"/>
              <a:gd name="T34" fmla="*/ 144 w 188"/>
              <a:gd name="T35" fmla="*/ 9 h 245"/>
              <a:gd name="T36" fmla="*/ 144 w 188"/>
              <a:gd name="T37" fmla="*/ 37 h 245"/>
              <a:gd name="T38" fmla="*/ 46 w 188"/>
              <a:gd name="T39" fmla="*/ 37 h 245"/>
              <a:gd name="T40" fmla="*/ 46 w 188"/>
              <a:gd name="T41" fmla="*/ 9 h 245"/>
              <a:gd name="T42" fmla="*/ 144 w 188"/>
              <a:gd name="T43" fmla="*/ 9 h 245"/>
              <a:gd name="T44" fmla="*/ 10 w 188"/>
              <a:gd name="T45" fmla="*/ 90 h 245"/>
              <a:gd name="T46" fmla="*/ 84 w 188"/>
              <a:gd name="T47" fmla="*/ 90 h 245"/>
              <a:gd name="T48" fmla="*/ 89 w 188"/>
              <a:gd name="T49" fmla="*/ 85 h 245"/>
              <a:gd name="T50" fmla="*/ 84 w 188"/>
              <a:gd name="T51" fmla="*/ 80 h 245"/>
              <a:gd name="T52" fmla="*/ 15 w 188"/>
              <a:gd name="T53" fmla="*/ 80 h 245"/>
              <a:gd name="T54" fmla="*/ 44 w 188"/>
              <a:gd name="T55" fmla="*/ 47 h 245"/>
              <a:gd name="T56" fmla="*/ 139 w 188"/>
              <a:gd name="T57" fmla="*/ 47 h 245"/>
              <a:gd name="T58" fmla="*/ 113 w 188"/>
              <a:gd name="T59" fmla="*/ 85 h 245"/>
              <a:gd name="T60" fmla="*/ 112 w 188"/>
              <a:gd name="T61" fmla="*/ 88 h 245"/>
              <a:gd name="T62" fmla="*/ 112 w 188"/>
              <a:gd name="T63" fmla="*/ 235 h 245"/>
              <a:gd name="T64" fmla="*/ 10 w 188"/>
              <a:gd name="T65" fmla="*/ 235 h 245"/>
              <a:gd name="T66" fmla="*/ 10 w 188"/>
              <a:gd name="T67" fmla="*/ 90 h 245"/>
              <a:gd name="T68" fmla="*/ 178 w 188"/>
              <a:gd name="T69" fmla="*/ 235 h 245"/>
              <a:gd name="T70" fmla="*/ 122 w 188"/>
              <a:gd name="T71" fmla="*/ 235 h 245"/>
              <a:gd name="T72" fmla="*/ 122 w 188"/>
              <a:gd name="T73" fmla="*/ 89 h 245"/>
              <a:gd name="T74" fmla="*/ 149 w 188"/>
              <a:gd name="T75" fmla="*/ 50 h 245"/>
              <a:gd name="T76" fmla="*/ 178 w 188"/>
              <a:gd name="T77" fmla="*/ 88 h 245"/>
              <a:gd name="T78" fmla="*/ 178 w 188"/>
              <a:gd name="T79" fmla="*/ 23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8" h="245">
                <a:moveTo>
                  <a:pt x="187" y="83"/>
                </a:moveTo>
                <a:cubicBezTo>
                  <a:pt x="154" y="40"/>
                  <a:pt x="154" y="40"/>
                  <a:pt x="154" y="40"/>
                </a:cubicBezTo>
                <a:cubicBezTo>
                  <a:pt x="154" y="5"/>
                  <a:pt x="154" y="5"/>
                  <a:pt x="154" y="5"/>
                </a:cubicBezTo>
                <a:cubicBezTo>
                  <a:pt x="154" y="2"/>
                  <a:pt x="151" y="0"/>
                  <a:pt x="149" y="0"/>
                </a:cubicBezTo>
                <a:cubicBezTo>
                  <a:pt x="41" y="0"/>
                  <a:pt x="41" y="0"/>
                  <a:pt x="41" y="0"/>
                </a:cubicBezTo>
                <a:cubicBezTo>
                  <a:pt x="39" y="0"/>
                  <a:pt x="36" y="2"/>
                  <a:pt x="36" y="5"/>
                </a:cubicBezTo>
                <a:cubicBezTo>
                  <a:pt x="36" y="40"/>
                  <a:pt x="36" y="40"/>
                  <a:pt x="36" y="40"/>
                </a:cubicBezTo>
                <a:cubicBezTo>
                  <a:pt x="1" y="82"/>
                  <a:pt x="1" y="82"/>
                  <a:pt x="1" y="82"/>
                </a:cubicBezTo>
                <a:cubicBezTo>
                  <a:pt x="1" y="82"/>
                  <a:pt x="1" y="82"/>
                  <a:pt x="0" y="83"/>
                </a:cubicBezTo>
                <a:cubicBezTo>
                  <a:pt x="0" y="83"/>
                  <a:pt x="0" y="83"/>
                  <a:pt x="0" y="83"/>
                </a:cubicBezTo>
                <a:cubicBezTo>
                  <a:pt x="0" y="84"/>
                  <a:pt x="0" y="84"/>
                  <a:pt x="0" y="85"/>
                </a:cubicBezTo>
                <a:cubicBezTo>
                  <a:pt x="0" y="240"/>
                  <a:pt x="0" y="240"/>
                  <a:pt x="0" y="240"/>
                </a:cubicBezTo>
                <a:cubicBezTo>
                  <a:pt x="0" y="243"/>
                  <a:pt x="2" y="245"/>
                  <a:pt x="5" y="245"/>
                </a:cubicBezTo>
                <a:cubicBezTo>
                  <a:pt x="183" y="245"/>
                  <a:pt x="183" y="245"/>
                  <a:pt x="183" y="245"/>
                </a:cubicBezTo>
                <a:cubicBezTo>
                  <a:pt x="186" y="245"/>
                  <a:pt x="188" y="243"/>
                  <a:pt x="188" y="240"/>
                </a:cubicBezTo>
                <a:cubicBezTo>
                  <a:pt x="188" y="87"/>
                  <a:pt x="188" y="87"/>
                  <a:pt x="188" y="87"/>
                </a:cubicBezTo>
                <a:cubicBezTo>
                  <a:pt x="188" y="85"/>
                  <a:pt x="188" y="84"/>
                  <a:pt x="187" y="83"/>
                </a:cubicBezTo>
                <a:close/>
                <a:moveTo>
                  <a:pt x="144" y="9"/>
                </a:moveTo>
                <a:cubicBezTo>
                  <a:pt x="144" y="37"/>
                  <a:pt x="144" y="37"/>
                  <a:pt x="144" y="37"/>
                </a:cubicBezTo>
                <a:cubicBezTo>
                  <a:pt x="46" y="37"/>
                  <a:pt x="46" y="37"/>
                  <a:pt x="46" y="37"/>
                </a:cubicBezTo>
                <a:cubicBezTo>
                  <a:pt x="46" y="9"/>
                  <a:pt x="46" y="9"/>
                  <a:pt x="46" y="9"/>
                </a:cubicBezTo>
                <a:lnTo>
                  <a:pt x="144" y="9"/>
                </a:lnTo>
                <a:close/>
                <a:moveTo>
                  <a:pt x="10" y="90"/>
                </a:moveTo>
                <a:cubicBezTo>
                  <a:pt x="84" y="90"/>
                  <a:pt x="84" y="90"/>
                  <a:pt x="84" y="90"/>
                </a:cubicBezTo>
                <a:cubicBezTo>
                  <a:pt x="87" y="90"/>
                  <a:pt x="89" y="88"/>
                  <a:pt x="89" y="85"/>
                </a:cubicBezTo>
                <a:cubicBezTo>
                  <a:pt x="89" y="82"/>
                  <a:pt x="87" y="80"/>
                  <a:pt x="84" y="80"/>
                </a:cubicBezTo>
                <a:cubicBezTo>
                  <a:pt x="15" y="80"/>
                  <a:pt x="15" y="80"/>
                  <a:pt x="15" y="80"/>
                </a:cubicBezTo>
                <a:cubicBezTo>
                  <a:pt x="44" y="47"/>
                  <a:pt x="44" y="47"/>
                  <a:pt x="44" y="47"/>
                </a:cubicBezTo>
                <a:cubicBezTo>
                  <a:pt x="139" y="47"/>
                  <a:pt x="139" y="47"/>
                  <a:pt x="139" y="47"/>
                </a:cubicBezTo>
                <a:cubicBezTo>
                  <a:pt x="113" y="85"/>
                  <a:pt x="113" y="85"/>
                  <a:pt x="113" y="85"/>
                </a:cubicBezTo>
                <a:cubicBezTo>
                  <a:pt x="112" y="86"/>
                  <a:pt x="112" y="87"/>
                  <a:pt x="112" y="88"/>
                </a:cubicBezTo>
                <a:cubicBezTo>
                  <a:pt x="112" y="235"/>
                  <a:pt x="112" y="235"/>
                  <a:pt x="112" y="235"/>
                </a:cubicBezTo>
                <a:cubicBezTo>
                  <a:pt x="10" y="235"/>
                  <a:pt x="10" y="235"/>
                  <a:pt x="10" y="235"/>
                </a:cubicBezTo>
                <a:lnTo>
                  <a:pt x="10" y="90"/>
                </a:lnTo>
                <a:close/>
                <a:moveTo>
                  <a:pt x="178" y="235"/>
                </a:moveTo>
                <a:cubicBezTo>
                  <a:pt x="122" y="235"/>
                  <a:pt x="122" y="235"/>
                  <a:pt x="122" y="235"/>
                </a:cubicBezTo>
                <a:cubicBezTo>
                  <a:pt x="122" y="89"/>
                  <a:pt x="122" y="89"/>
                  <a:pt x="122" y="89"/>
                </a:cubicBezTo>
                <a:cubicBezTo>
                  <a:pt x="149" y="50"/>
                  <a:pt x="149" y="50"/>
                  <a:pt x="149" y="50"/>
                </a:cubicBezTo>
                <a:cubicBezTo>
                  <a:pt x="178" y="88"/>
                  <a:pt x="178" y="88"/>
                  <a:pt x="178" y="88"/>
                </a:cubicBezTo>
                <a:lnTo>
                  <a:pt x="178" y="235"/>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2" name="Text Placeholder 1"/>
          <p:cNvSpPr txBox="1">
            <a:spLocks/>
          </p:cNvSpPr>
          <p:nvPr/>
        </p:nvSpPr>
        <p:spPr>
          <a:xfrm rot="16200000">
            <a:off x="5013532" y="4141753"/>
            <a:ext cx="3468744" cy="228393"/>
          </a:xfrm>
          <a:prstGeom prst="rect">
            <a:avLst/>
          </a:prstGeom>
        </p:spPr>
        <p:txBody>
          <a:bodyPr vert="horz" lIns="0" tIns="0" rIns="91440" bIns="0" rtlCol="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
                <a:srgbClr val="92D400"/>
              </a:buClr>
              <a:buSzPct val="75000"/>
              <a:buFont typeface="Arial" panose="020B0604020202020204" pitchFamily="34" charset="0"/>
              <a:buNone/>
              <a:tabLst/>
              <a:defRPr/>
            </a:pPr>
            <a:r>
              <a:rPr kumimoji="0" lang="en-US" sz="1050" b="0" i="0" u="none" strike="noStrike" kern="1200" cap="none" spc="0" normalizeH="0" baseline="0" noProof="0" dirty="0">
                <a:ln>
                  <a:noFill/>
                </a:ln>
                <a:solidFill>
                  <a:srgbClr val="5C5C5C"/>
                </a:solidFill>
                <a:effectLst/>
                <a:uLnTx/>
                <a:uFillTx/>
                <a:latin typeface="Open Sans"/>
                <a:ea typeface="+mn-ea"/>
                <a:cs typeface="+mn-cs"/>
              </a:rPr>
              <a:t>% of In-Store Sales Influenced Digitally</a:t>
            </a:r>
          </a:p>
        </p:txBody>
      </p:sp>
      <p:sp>
        <p:nvSpPr>
          <p:cNvPr id="53" name="TextBox 52"/>
          <p:cNvSpPr txBox="1"/>
          <p:nvPr/>
        </p:nvSpPr>
        <p:spPr>
          <a:xfrm>
            <a:off x="857897" y="6154982"/>
            <a:ext cx="4075049"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a:ea typeface="+mn-ea"/>
                <a:cs typeface="+mn-cs"/>
              </a:rPr>
              <a:t>Source: Deloitte Grocery Digital Divide, 2016</a:t>
            </a:r>
          </a:p>
        </p:txBody>
      </p:sp>
      <p:sp>
        <p:nvSpPr>
          <p:cNvPr id="54" name="TextBox 53"/>
          <p:cNvSpPr txBox="1"/>
          <p:nvPr/>
        </p:nvSpPr>
        <p:spPr>
          <a:xfrm>
            <a:off x="6668902" y="6154982"/>
            <a:ext cx="4075049"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a:ea typeface="+mn-ea"/>
                <a:cs typeface="+mn-cs"/>
              </a:rPr>
              <a:t>Source: Deloitte Grocery Digital Divide, 2016</a:t>
            </a:r>
          </a:p>
        </p:txBody>
      </p:sp>
    </p:spTree>
    <p:extLst>
      <p:ext uri="{BB962C8B-B14F-4D97-AF65-F5344CB8AC3E}">
        <p14:creationId xmlns:p14="http://schemas.microsoft.com/office/powerpoint/2010/main" val="3324889019"/>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460" name="think-cell Slide" r:id="rId9" imgW="415" imgH="416" progId="TCLayout.ActiveDocument.1">
                  <p:embed/>
                </p:oleObj>
              </mc:Choice>
              <mc:Fallback>
                <p:oleObj name="think-cell Slide" r:id="rId9"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Digital Strategy</a:t>
            </a:r>
          </a:p>
        </p:txBody>
      </p:sp>
      <p:sp>
        <p:nvSpPr>
          <p:cNvPr id="3" name="Text Placeholder 2"/>
          <p:cNvSpPr>
            <a:spLocks noGrp="1"/>
          </p:cNvSpPr>
          <p:nvPr>
            <p:ph type="body" sz="quarter" idx="14"/>
          </p:nvPr>
        </p:nvSpPr>
        <p:spPr/>
        <p:txBody>
          <a:bodyPr/>
          <a:lstStyle/>
          <a:p>
            <a:pPr>
              <a:buClr>
                <a:srgbClr val="787878"/>
              </a:buClr>
              <a:defRPr/>
            </a:pPr>
            <a:r>
              <a:rPr lang="en-US" spc="-75" dirty="0">
                <a:solidFill>
                  <a:prstClr val="black"/>
                </a:solidFill>
                <a:cs typeface="Arial" panose="020B0604020202020204" pitchFamily="34" charset="0"/>
              </a:rPr>
              <a:t>… but winning today does require harnessing the power of digital to engage and equip your consumers</a:t>
            </a:r>
            <a:endParaRPr lang="en-US" spc="0" dirty="0">
              <a:solidFill>
                <a:srgbClr val="000000"/>
              </a:solidFill>
            </a:endParaRPr>
          </a:p>
        </p:txBody>
      </p:sp>
      <p:sp>
        <p:nvSpPr>
          <p:cNvPr id="5" name="Text Placeholder 4"/>
          <p:cNvSpPr>
            <a:spLocks noGrp="1"/>
          </p:cNvSpPr>
          <p:nvPr>
            <p:ph type="body" sz="quarter" idx="15"/>
          </p:nvPr>
        </p:nvSpPr>
        <p:spPr/>
        <p:txBody>
          <a:bodyPr/>
          <a:lstStyle/>
          <a:p>
            <a:r>
              <a:rPr lang="en-US" dirty="0"/>
              <a:t>Data Visualization &amp; Infographics</a:t>
            </a:r>
          </a:p>
        </p:txBody>
      </p:sp>
      <p:sp>
        <p:nvSpPr>
          <p:cNvPr id="55" name="Text Placeholder 5">
            <a:extLst>
              <a:ext uri="{FF2B5EF4-FFF2-40B4-BE49-F238E27FC236}">
                <a16:creationId xmlns:a16="http://schemas.microsoft.com/office/drawing/2014/main" id="{0304EE8B-17A1-A34F-8105-B71F356B3AF2}"/>
              </a:ext>
            </a:extLst>
          </p:cNvPr>
          <p:cNvSpPr txBox="1">
            <a:spLocks/>
          </p:cNvSpPr>
          <p:nvPr/>
        </p:nvSpPr>
        <p:spPr>
          <a:xfrm>
            <a:off x="3676920" y="2570044"/>
            <a:ext cx="1625345" cy="165903"/>
          </a:xfrm>
          <a:prstGeom prst="rect">
            <a:avLst/>
          </a:prstGeom>
        </p:spPr>
        <p:txBody>
          <a:bodyPr vert="horz"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Open Sans"/>
                <a:ea typeface="+mn-ea"/>
                <a:cs typeface="+mn-cs"/>
              </a:rPr>
              <a:t>Average basket size </a:t>
            </a:r>
          </a:p>
        </p:txBody>
      </p:sp>
      <p:sp>
        <p:nvSpPr>
          <p:cNvPr id="56" name="Text Placeholder 2">
            <a:extLst>
              <a:ext uri="{FF2B5EF4-FFF2-40B4-BE49-F238E27FC236}">
                <a16:creationId xmlns:a16="http://schemas.microsoft.com/office/drawing/2014/main" id="{9E75DFF2-515F-2E48-B06D-04226A0AD0E1}"/>
              </a:ext>
            </a:extLst>
          </p:cNvPr>
          <p:cNvSpPr>
            <a:spLocks noGrp="1"/>
          </p:cNvSpPr>
          <p:nvPr/>
        </p:nvSpPr>
        <p:spPr bwMode="auto">
          <a:xfrm>
            <a:off x="2700740" y="4664308"/>
            <a:ext cx="787084" cy="402772"/>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o digital </a:t>
            </a:r>
            <a:br>
              <a:rPr kumimoji="0" lang="en-US" alt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alt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ngagement</a:t>
            </a:r>
            <a:endParaRPr kumimoji="0" 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mn-lt"/>
            </a:endParaRPr>
          </a:p>
        </p:txBody>
      </p:sp>
      <p:sp>
        <p:nvSpPr>
          <p:cNvPr id="57" name="Text Placeholder 2">
            <a:extLst>
              <a:ext uri="{FF2B5EF4-FFF2-40B4-BE49-F238E27FC236}">
                <a16:creationId xmlns:a16="http://schemas.microsoft.com/office/drawing/2014/main" id="{D8D3E68E-169D-E94B-86E1-A8DDA545B199}"/>
              </a:ext>
            </a:extLst>
          </p:cNvPr>
          <p:cNvSpPr>
            <a:spLocks noGrp="1"/>
          </p:cNvSpPr>
          <p:nvPr/>
        </p:nvSpPr>
        <p:spPr bwMode="auto">
          <a:xfrm>
            <a:off x="5568765" y="4664308"/>
            <a:ext cx="1097280" cy="402772"/>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High digital </a:t>
            </a:r>
            <a:br>
              <a:rPr kumimoji="0" lang="en-US" alt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alt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ngagement</a:t>
            </a:r>
            <a:endParaRPr kumimoji="0" 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mn-lt"/>
            </a:endParaRPr>
          </a:p>
        </p:txBody>
      </p:sp>
      <p:cxnSp>
        <p:nvCxnSpPr>
          <p:cNvPr id="58" name="Straight Connector 57">
            <a:extLst>
              <a:ext uri="{FF2B5EF4-FFF2-40B4-BE49-F238E27FC236}">
                <a16:creationId xmlns:a16="http://schemas.microsoft.com/office/drawing/2014/main" id="{B1D52315-8798-2A46-868E-46D3A547139E}"/>
              </a:ext>
            </a:extLst>
          </p:cNvPr>
          <p:cNvCxnSpPr>
            <a:cxnSpLocks/>
          </p:cNvCxnSpPr>
          <p:nvPr>
            <p:custDataLst>
              <p:tags r:id="rId3"/>
            </p:custDataLst>
          </p:nvPr>
        </p:nvCxnSpPr>
        <p:spPr bwMode="gray">
          <a:xfrm>
            <a:off x="5975399" y="3006879"/>
            <a:ext cx="0" cy="979200"/>
          </a:xfrm>
          <a:prstGeom prst="line">
            <a:avLst/>
          </a:prstGeom>
          <a:ln w="6350" cap="flat" cmpd="sng" algn="ctr">
            <a:solidFill>
              <a:srgbClr val="C0C0C0"/>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C9B42FF8-C60A-4244-A576-93BCED7EA59D}"/>
              </a:ext>
            </a:extLst>
          </p:cNvPr>
          <p:cNvCxnSpPr>
            <a:cxnSpLocks/>
          </p:cNvCxnSpPr>
          <p:nvPr>
            <p:custDataLst>
              <p:tags r:id="rId4"/>
            </p:custDataLst>
          </p:nvPr>
        </p:nvCxnSpPr>
        <p:spPr bwMode="gray">
          <a:xfrm flipV="1">
            <a:off x="3087633" y="3006879"/>
            <a:ext cx="0" cy="979200"/>
          </a:xfrm>
          <a:prstGeom prst="line">
            <a:avLst/>
          </a:prstGeom>
          <a:ln w="6350" cap="flat" cmpd="sng" algn="ctr">
            <a:solidFill>
              <a:srgbClr val="C0C0C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65F31575-D37B-AB48-A106-E2887B231C98}"/>
              </a:ext>
            </a:extLst>
          </p:cNvPr>
          <p:cNvCxnSpPr>
            <a:cxnSpLocks/>
          </p:cNvCxnSpPr>
          <p:nvPr>
            <p:custDataLst>
              <p:tags r:id="rId5"/>
            </p:custDataLst>
          </p:nvPr>
        </p:nvCxnSpPr>
        <p:spPr bwMode="gray">
          <a:xfrm>
            <a:off x="3087633" y="3006879"/>
            <a:ext cx="2887766" cy="0"/>
          </a:xfrm>
          <a:prstGeom prst="line">
            <a:avLst/>
          </a:prstGeom>
          <a:ln w="6350" cap="flat" cmpd="sng" algn="ctr">
            <a:solidFill>
              <a:srgbClr val="C0C0C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1" name="Text Placeholder 2">
            <a:extLst>
              <a:ext uri="{FF2B5EF4-FFF2-40B4-BE49-F238E27FC236}">
                <a16:creationId xmlns:a16="http://schemas.microsoft.com/office/drawing/2014/main" id="{85ACD7DC-251C-804F-A436-D0837A6B3336}"/>
              </a:ext>
            </a:extLst>
          </p:cNvPr>
          <p:cNvSpPr>
            <a:spLocks noGrp="1"/>
          </p:cNvSpPr>
          <p:nvPr>
            <p:custDataLst>
              <p:tags r:id="rId6"/>
            </p:custDataLst>
          </p:nvPr>
        </p:nvSpPr>
        <p:spPr bwMode="auto">
          <a:xfrm>
            <a:off x="3537346" y="2846389"/>
            <a:ext cx="1751578" cy="346075"/>
          </a:xfrm>
          <a:prstGeom prst="ellipse">
            <a:avLst/>
          </a:prstGeom>
          <a:solidFill>
            <a:srgbClr val="FFFFFF"/>
          </a:solidFill>
          <a:ln w="9525">
            <a:noFill/>
          </a:ln>
          <a:extLst>
            <a:ext uri="{91240B29-F687-4F45-9708-019B960494DF}">
              <a14:hiddenLine xmlns:a14="http://schemas.microsoft.com/office/drawing/2010/main" w="9525">
                <a:solidFill>
                  <a:srgbClr val="C0C0C0"/>
                </a:solidFill>
              </a14:hiddenLine>
            </a:ext>
          </a:extLst>
        </p:spPr>
        <p:txBody>
          <a:bodyPr vert="horz" wrap="none" lIns="0" tIns="0" rIns="0" bIns="0" numCol="1" spcCol="0" rtlCol="0" anchor="ctr"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
                <a:srgbClr val="787878"/>
              </a:buClr>
              <a:buSzPct val="75000"/>
              <a:buFont typeface="Arial" panose="020B0604020202020204" pitchFamily="34" charset="0"/>
              <a:buNone/>
              <a:tabLst/>
              <a:defRPr/>
            </a:pPr>
            <a:fld id="{63D5A7CF-C33E-4C8B-B37F-50DC10FE1F31}" type="datetime'''''''''''''+''3''6''''''''''''''''''''''%'''''''">
              <a:rPr kumimoji="0" lang="en-US" altLang="en-US" sz="4400" b="0" i="0" u="none" strike="noStrike" kern="1200" cap="none" spc="-30" normalizeH="0" baseline="0" noProof="0">
                <a:ln>
                  <a:noFill/>
                </a:ln>
                <a:solidFill>
                  <a:srgbClr val="000000"/>
                </a:solidFill>
                <a:effectLst/>
                <a:uLnTx/>
                <a:uFillTx/>
                <a:latin typeface="Chronicle Display Light" pitchFamily="2" charset="0"/>
                <a:ea typeface="Open Sans" charset="0"/>
                <a:cs typeface="Open Sans" charset="0"/>
                <a:sym typeface="+mj-lt"/>
              </a:rPr>
              <a:pPr marL="0" marR="0" lvl="0" indent="0" algn="ctr" defTabSz="914400" rtl="0" eaLnBrk="1" fontAlgn="auto" latinLnBrk="0" hangingPunct="1">
                <a:lnSpc>
                  <a:spcPct val="100000"/>
                </a:lnSpc>
                <a:spcBef>
                  <a:spcPct val="0"/>
                </a:spcBef>
                <a:spcAft>
                  <a:spcPct val="0"/>
                </a:spcAft>
                <a:buClr>
                  <a:srgbClr val="787878"/>
                </a:buClr>
                <a:buSzPct val="75000"/>
                <a:buFont typeface="Arial" panose="020B0604020202020204" pitchFamily="34" charset="0"/>
                <a:buNone/>
                <a:tabLst/>
                <a:defRPr/>
              </a:pPr>
              <a:t>+36%</a:t>
            </a:fld>
            <a:endParaRPr kumimoji="0" lang="en-US" sz="4400" b="0" i="0" u="none" strike="noStrike" kern="1200" cap="none" spc="-30" normalizeH="0" baseline="0" noProof="0" dirty="0">
              <a:ln>
                <a:noFill/>
              </a:ln>
              <a:solidFill>
                <a:srgbClr val="000000"/>
              </a:solidFill>
              <a:effectLst/>
              <a:uLnTx/>
              <a:uFillTx/>
              <a:latin typeface="Chronicle Display Light" pitchFamily="2" charset="0"/>
              <a:ea typeface="Open Sans" panose="020B0606030504020204" pitchFamily="34" charset="0"/>
              <a:cs typeface="Open Sans" panose="020B0606030504020204" pitchFamily="34" charset="0"/>
              <a:sym typeface="+mj-lt"/>
            </a:endParaRPr>
          </a:p>
        </p:txBody>
      </p:sp>
      <p:grpSp>
        <p:nvGrpSpPr>
          <p:cNvPr id="62" name="Group 61">
            <a:extLst>
              <a:ext uri="{FF2B5EF4-FFF2-40B4-BE49-F238E27FC236}">
                <a16:creationId xmlns:a16="http://schemas.microsoft.com/office/drawing/2014/main" id="{C0E85AFF-D636-48D2-B0EA-6D699E2F5DC9}"/>
              </a:ext>
            </a:extLst>
          </p:cNvPr>
          <p:cNvGrpSpPr/>
          <p:nvPr/>
        </p:nvGrpSpPr>
        <p:grpSpPr>
          <a:xfrm>
            <a:off x="1806428" y="3970314"/>
            <a:ext cx="788881" cy="1054236"/>
            <a:chOff x="1236383" y="3970314"/>
            <a:chExt cx="788881" cy="1054236"/>
          </a:xfrm>
        </p:grpSpPr>
        <p:sp>
          <p:nvSpPr>
            <p:cNvPr id="63" name="Freeform 287">
              <a:extLst>
                <a:ext uri="{FF2B5EF4-FFF2-40B4-BE49-F238E27FC236}">
                  <a16:creationId xmlns:a16="http://schemas.microsoft.com/office/drawing/2014/main" id="{E4E80CC2-3959-A94F-968D-C7021D8608D1}"/>
                </a:ext>
              </a:extLst>
            </p:cNvPr>
            <p:cNvSpPr>
              <a:spLocks/>
            </p:cNvSpPr>
            <p:nvPr/>
          </p:nvSpPr>
          <p:spPr bwMode="auto">
            <a:xfrm>
              <a:off x="1236383" y="4171120"/>
              <a:ext cx="788881" cy="853430"/>
            </a:xfrm>
            <a:custGeom>
              <a:avLst/>
              <a:gdLst>
                <a:gd name="T0" fmla="*/ 215 w 219"/>
                <a:gd name="T1" fmla="*/ 0 h 238"/>
                <a:gd name="T2" fmla="*/ 172 w 219"/>
                <a:gd name="T3" fmla="*/ 0 h 238"/>
                <a:gd name="T4" fmla="*/ 172 w 219"/>
                <a:gd name="T5" fmla="*/ 34 h 238"/>
                <a:gd name="T6" fmla="*/ 172 w 219"/>
                <a:gd name="T7" fmla="*/ 34 h 238"/>
                <a:gd name="T8" fmla="*/ 171 w 219"/>
                <a:gd name="T9" fmla="*/ 39 h 238"/>
                <a:gd name="T10" fmla="*/ 168 w 219"/>
                <a:gd name="T11" fmla="*/ 44 h 238"/>
                <a:gd name="T12" fmla="*/ 163 w 219"/>
                <a:gd name="T13" fmla="*/ 47 h 238"/>
                <a:gd name="T14" fmla="*/ 158 w 219"/>
                <a:gd name="T15" fmla="*/ 48 h 238"/>
                <a:gd name="T16" fmla="*/ 158 w 219"/>
                <a:gd name="T17" fmla="*/ 48 h 238"/>
                <a:gd name="T18" fmla="*/ 152 w 219"/>
                <a:gd name="T19" fmla="*/ 47 h 238"/>
                <a:gd name="T20" fmla="*/ 148 w 219"/>
                <a:gd name="T21" fmla="*/ 44 h 238"/>
                <a:gd name="T22" fmla="*/ 144 w 219"/>
                <a:gd name="T23" fmla="*/ 39 h 238"/>
                <a:gd name="T24" fmla="*/ 144 w 219"/>
                <a:gd name="T25" fmla="*/ 34 h 238"/>
                <a:gd name="T26" fmla="*/ 144 w 219"/>
                <a:gd name="T27" fmla="*/ 0 h 238"/>
                <a:gd name="T28" fmla="*/ 77 w 219"/>
                <a:gd name="T29" fmla="*/ 0 h 238"/>
                <a:gd name="T30" fmla="*/ 77 w 219"/>
                <a:gd name="T31" fmla="*/ 34 h 238"/>
                <a:gd name="T32" fmla="*/ 77 w 219"/>
                <a:gd name="T33" fmla="*/ 34 h 238"/>
                <a:gd name="T34" fmla="*/ 76 w 219"/>
                <a:gd name="T35" fmla="*/ 39 h 238"/>
                <a:gd name="T36" fmla="*/ 73 w 219"/>
                <a:gd name="T37" fmla="*/ 44 h 238"/>
                <a:gd name="T38" fmla="*/ 69 w 219"/>
                <a:gd name="T39" fmla="*/ 47 h 238"/>
                <a:gd name="T40" fmla="*/ 62 w 219"/>
                <a:gd name="T41" fmla="*/ 48 h 238"/>
                <a:gd name="T42" fmla="*/ 62 w 219"/>
                <a:gd name="T43" fmla="*/ 48 h 238"/>
                <a:gd name="T44" fmla="*/ 57 w 219"/>
                <a:gd name="T45" fmla="*/ 47 h 238"/>
                <a:gd name="T46" fmla="*/ 53 w 219"/>
                <a:gd name="T47" fmla="*/ 44 h 238"/>
                <a:gd name="T48" fmla="*/ 50 w 219"/>
                <a:gd name="T49" fmla="*/ 39 h 238"/>
                <a:gd name="T50" fmla="*/ 49 w 219"/>
                <a:gd name="T51" fmla="*/ 34 h 238"/>
                <a:gd name="T52" fmla="*/ 49 w 219"/>
                <a:gd name="T53" fmla="*/ 0 h 238"/>
                <a:gd name="T54" fmla="*/ 6 w 219"/>
                <a:gd name="T55" fmla="*/ 0 h 238"/>
                <a:gd name="T56" fmla="*/ 6 w 219"/>
                <a:gd name="T57" fmla="*/ 0 h 238"/>
                <a:gd name="T58" fmla="*/ 2 w 219"/>
                <a:gd name="T59" fmla="*/ 1 h 238"/>
                <a:gd name="T60" fmla="*/ 0 w 219"/>
                <a:gd name="T61" fmla="*/ 5 h 238"/>
                <a:gd name="T62" fmla="*/ 0 w 219"/>
                <a:gd name="T63" fmla="*/ 234 h 238"/>
                <a:gd name="T64" fmla="*/ 0 w 219"/>
                <a:gd name="T65" fmla="*/ 234 h 238"/>
                <a:gd name="T66" fmla="*/ 2 w 219"/>
                <a:gd name="T67" fmla="*/ 236 h 238"/>
                <a:gd name="T68" fmla="*/ 6 w 219"/>
                <a:gd name="T69" fmla="*/ 238 h 238"/>
                <a:gd name="T70" fmla="*/ 215 w 219"/>
                <a:gd name="T71" fmla="*/ 238 h 238"/>
                <a:gd name="T72" fmla="*/ 215 w 219"/>
                <a:gd name="T73" fmla="*/ 238 h 238"/>
                <a:gd name="T74" fmla="*/ 218 w 219"/>
                <a:gd name="T75" fmla="*/ 236 h 238"/>
                <a:gd name="T76" fmla="*/ 219 w 219"/>
                <a:gd name="T77" fmla="*/ 234 h 238"/>
                <a:gd name="T78" fmla="*/ 219 w 219"/>
                <a:gd name="T79" fmla="*/ 5 h 238"/>
                <a:gd name="T80" fmla="*/ 219 w 219"/>
                <a:gd name="T81" fmla="*/ 5 h 238"/>
                <a:gd name="T82" fmla="*/ 218 w 219"/>
                <a:gd name="T83" fmla="*/ 1 h 238"/>
                <a:gd name="T84" fmla="*/ 215 w 219"/>
                <a:gd name="T85" fmla="*/ 0 h 238"/>
                <a:gd name="T86" fmla="*/ 215 w 219"/>
                <a:gd name="T87"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9" h="238">
                  <a:moveTo>
                    <a:pt x="215" y="0"/>
                  </a:moveTo>
                  <a:lnTo>
                    <a:pt x="172" y="0"/>
                  </a:lnTo>
                  <a:lnTo>
                    <a:pt x="172" y="34"/>
                  </a:lnTo>
                  <a:lnTo>
                    <a:pt x="172" y="34"/>
                  </a:lnTo>
                  <a:lnTo>
                    <a:pt x="171" y="39"/>
                  </a:lnTo>
                  <a:lnTo>
                    <a:pt x="168" y="44"/>
                  </a:lnTo>
                  <a:lnTo>
                    <a:pt x="163" y="47"/>
                  </a:lnTo>
                  <a:lnTo>
                    <a:pt x="158" y="48"/>
                  </a:lnTo>
                  <a:lnTo>
                    <a:pt x="158" y="48"/>
                  </a:lnTo>
                  <a:lnTo>
                    <a:pt x="152" y="47"/>
                  </a:lnTo>
                  <a:lnTo>
                    <a:pt x="148" y="44"/>
                  </a:lnTo>
                  <a:lnTo>
                    <a:pt x="144" y="39"/>
                  </a:lnTo>
                  <a:lnTo>
                    <a:pt x="144" y="34"/>
                  </a:lnTo>
                  <a:lnTo>
                    <a:pt x="144" y="0"/>
                  </a:lnTo>
                  <a:lnTo>
                    <a:pt x="77" y="0"/>
                  </a:lnTo>
                  <a:lnTo>
                    <a:pt x="77" y="34"/>
                  </a:lnTo>
                  <a:lnTo>
                    <a:pt x="77" y="34"/>
                  </a:lnTo>
                  <a:lnTo>
                    <a:pt x="76" y="39"/>
                  </a:lnTo>
                  <a:lnTo>
                    <a:pt x="73" y="44"/>
                  </a:lnTo>
                  <a:lnTo>
                    <a:pt x="69" y="47"/>
                  </a:lnTo>
                  <a:lnTo>
                    <a:pt x="62" y="48"/>
                  </a:lnTo>
                  <a:lnTo>
                    <a:pt x="62" y="48"/>
                  </a:lnTo>
                  <a:lnTo>
                    <a:pt x="57" y="47"/>
                  </a:lnTo>
                  <a:lnTo>
                    <a:pt x="53" y="44"/>
                  </a:lnTo>
                  <a:lnTo>
                    <a:pt x="50" y="39"/>
                  </a:lnTo>
                  <a:lnTo>
                    <a:pt x="49" y="34"/>
                  </a:lnTo>
                  <a:lnTo>
                    <a:pt x="49" y="0"/>
                  </a:lnTo>
                  <a:lnTo>
                    <a:pt x="6" y="0"/>
                  </a:lnTo>
                  <a:lnTo>
                    <a:pt x="6" y="0"/>
                  </a:lnTo>
                  <a:lnTo>
                    <a:pt x="2" y="1"/>
                  </a:lnTo>
                  <a:lnTo>
                    <a:pt x="0" y="5"/>
                  </a:lnTo>
                  <a:lnTo>
                    <a:pt x="0" y="234"/>
                  </a:lnTo>
                  <a:lnTo>
                    <a:pt x="0" y="234"/>
                  </a:lnTo>
                  <a:lnTo>
                    <a:pt x="2" y="236"/>
                  </a:lnTo>
                  <a:lnTo>
                    <a:pt x="6" y="238"/>
                  </a:lnTo>
                  <a:lnTo>
                    <a:pt x="215" y="238"/>
                  </a:lnTo>
                  <a:lnTo>
                    <a:pt x="215" y="238"/>
                  </a:lnTo>
                  <a:lnTo>
                    <a:pt x="218" y="236"/>
                  </a:lnTo>
                  <a:lnTo>
                    <a:pt x="219" y="234"/>
                  </a:lnTo>
                  <a:lnTo>
                    <a:pt x="219" y="5"/>
                  </a:lnTo>
                  <a:lnTo>
                    <a:pt x="219" y="5"/>
                  </a:lnTo>
                  <a:lnTo>
                    <a:pt x="218" y="1"/>
                  </a:lnTo>
                  <a:lnTo>
                    <a:pt x="215" y="0"/>
                  </a:lnTo>
                  <a:lnTo>
                    <a:pt x="215"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4" name="Freeform 288">
              <a:extLst>
                <a:ext uri="{FF2B5EF4-FFF2-40B4-BE49-F238E27FC236}">
                  <a16:creationId xmlns:a16="http://schemas.microsoft.com/office/drawing/2014/main" id="{650FE032-63B9-734C-A488-6E7516C6B32A}"/>
                </a:ext>
              </a:extLst>
            </p:cNvPr>
            <p:cNvSpPr>
              <a:spLocks/>
            </p:cNvSpPr>
            <p:nvPr/>
          </p:nvSpPr>
          <p:spPr bwMode="auto">
            <a:xfrm>
              <a:off x="1444363" y="3970314"/>
              <a:ext cx="372926" cy="337070"/>
            </a:xfrm>
            <a:custGeom>
              <a:avLst/>
              <a:gdLst>
                <a:gd name="T0" fmla="*/ 100 w 105"/>
                <a:gd name="T1" fmla="*/ 95 h 95"/>
                <a:gd name="T2" fmla="*/ 100 w 105"/>
                <a:gd name="T3" fmla="*/ 95 h 95"/>
                <a:gd name="T4" fmla="*/ 97 w 105"/>
                <a:gd name="T5" fmla="*/ 94 h 95"/>
                <a:gd name="T6" fmla="*/ 96 w 105"/>
                <a:gd name="T7" fmla="*/ 90 h 95"/>
                <a:gd name="T8" fmla="*/ 96 w 105"/>
                <a:gd name="T9" fmla="*/ 52 h 95"/>
                <a:gd name="T10" fmla="*/ 96 w 105"/>
                <a:gd name="T11" fmla="*/ 52 h 95"/>
                <a:gd name="T12" fmla="*/ 94 w 105"/>
                <a:gd name="T13" fmla="*/ 43 h 95"/>
                <a:gd name="T14" fmla="*/ 92 w 105"/>
                <a:gd name="T15" fmla="*/ 35 h 95"/>
                <a:gd name="T16" fmla="*/ 88 w 105"/>
                <a:gd name="T17" fmla="*/ 28 h 95"/>
                <a:gd name="T18" fmla="*/ 82 w 105"/>
                <a:gd name="T19" fmla="*/ 21 h 95"/>
                <a:gd name="T20" fmla="*/ 77 w 105"/>
                <a:gd name="T21" fmla="*/ 16 h 95"/>
                <a:gd name="T22" fmla="*/ 69 w 105"/>
                <a:gd name="T23" fmla="*/ 12 h 95"/>
                <a:gd name="T24" fmla="*/ 61 w 105"/>
                <a:gd name="T25" fmla="*/ 9 h 95"/>
                <a:gd name="T26" fmla="*/ 53 w 105"/>
                <a:gd name="T27" fmla="*/ 9 h 95"/>
                <a:gd name="T28" fmla="*/ 53 w 105"/>
                <a:gd name="T29" fmla="*/ 9 h 95"/>
                <a:gd name="T30" fmla="*/ 43 w 105"/>
                <a:gd name="T31" fmla="*/ 9 h 95"/>
                <a:gd name="T32" fmla="*/ 35 w 105"/>
                <a:gd name="T33" fmla="*/ 12 h 95"/>
                <a:gd name="T34" fmla="*/ 28 w 105"/>
                <a:gd name="T35" fmla="*/ 16 h 95"/>
                <a:gd name="T36" fmla="*/ 22 w 105"/>
                <a:gd name="T37" fmla="*/ 21 h 95"/>
                <a:gd name="T38" fmla="*/ 16 w 105"/>
                <a:gd name="T39" fmla="*/ 28 h 95"/>
                <a:gd name="T40" fmla="*/ 12 w 105"/>
                <a:gd name="T41" fmla="*/ 35 h 95"/>
                <a:gd name="T42" fmla="*/ 11 w 105"/>
                <a:gd name="T43" fmla="*/ 43 h 95"/>
                <a:gd name="T44" fmla="*/ 10 w 105"/>
                <a:gd name="T45" fmla="*/ 52 h 95"/>
                <a:gd name="T46" fmla="*/ 10 w 105"/>
                <a:gd name="T47" fmla="*/ 90 h 95"/>
                <a:gd name="T48" fmla="*/ 10 w 105"/>
                <a:gd name="T49" fmla="*/ 90 h 95"/>
                <a:gd name="T50" fmla="*/ 8 w 105"/>
                <a:gd name="T51" fmla="*/ 94 h 95"/>
                <a:gd name="T52" fmla="*/ 4 w 105"/>
                <a:gd name="T53" fmla="*/ 95 h 95"/>
                <a:gd name="T54" fmla="*/ 4 w 105"/>
                <a:gd name="T55" fmla="*/ 95 h 95"/>
                <a:gd name="T56" fmla="*/ 2 w 105"/>
                <a:gd name="T57" fmla="*/ 94 h 95"/>
                <a:gd name="T58" fmla="*/ 0 w 105"/>
                <a:gd name="T59" fmla="*/ 90 h 95"/>
                <a:gd name="T60" fmla="*/ 0 w 105"/>
                <a:gd name="T61" fmla="*/ 52 h 95"/>
                <a:gd name="T62" fmla="*/ 0 w 105"/>
                <a:gd name="T63" fmla="*/ 52 h 95"/>
                <a:gd name="T64" fmla="*/ 2 w 105"/>
                <a:gd name="T65" fmla="*/ 41 h 95"/>
                <a:gd name="T66" fmla="*/ 4 w 105"/>
                <a:gd name="T67" fmla="*/ 31 h 95"/>
                <a:gd name="T68" fmla="*/ 8 w 105"/>
                <a:gd name="T69" fmla="*/ 22 h 95"/>
                <a:gd name="T70" fmla="*/ 15 w 105"/>
                <a:gd name="T71" fmla="*/ 14 h 95"/>
                <a:gd name="T72" fmla="*/ 23 w 105"/>
                <a:gd name="T73" fmla="*/ 8 h 95"/>
                <a:gd name="T74" fmla="*/ 32 w 105"/>
                <a:gd name="T75" fmla="*/ 4 h 95"/>
                <a:gd name="T76" fmla="*/ 42 w 105"/>
                <a:gd name="T77" fmla="*/ 1 h 95"/>
                <a:gd name="T78" fmla="*/ 53 w 105"/>
                <a:gd name="T79" fmla="*/ 0 h 95"/>
                <a:gd name="T80" fmla="*/ 53 w 105"/>
                <a:gd name="T81" fmla="*/ 0 h 95"/>
                <a:gd name="T82" fmla="*/ 63 w 105"/>
                <a:gd name="T83" fmla="*/ 1 h 95"/>
                <a:gd name="T84" fmla="*/ 73 w 105"/>
                <a:gd name="T85" fmla="*/ 4 h 95"/>
                <a:gd name="T86" fmla="*/ 82 w 105"/>
                <a:gd name="T87" fmla="*/ 8 h 95"/>
                <a:gd name="T88" fmla="*/ 89 w 105"/>
                <a:gd name="T89" fmla="*/ 14 h 95"/>
                <a:gd name="T90" fmla="*/ 96 w 105"/>
                <a:gd name="T91" fmla="*/ 22 h 95"/>
                <a:gd name="T92" fmla="*/ 101 w 105"/>
                <a:gd name="T93" fmla="*/ 31 h 95"/>
                <a:gd name="T94" fmla="*/ 104 w 105"/>
                <a:gd name="T95" fmla="*/ 41 h 95"/>
                <a:gd name="T96" fmla="*/ 105 w 105"/>
                <a:gd name="T97" fmla="*/ 52 h 95"/>
                <a:gd name="T98" fmla="*/ 105 w 105"/>
                <a:gd name="T99" fmla="*/ 90 h 95"/>
                <a:gd name="T100" fmla="*/ 105 w 105"/>
                <a:gd name="T101" fmla="*/ 90 h 95"/>
                <a:gd name="T102" fmla="*/ 104 w 105"/>
                <a:gd name="T103" fmla="*/ 94 h 95"/>
                <a:gd name="T104" fmla="*/ 100 w 105"/>
                <a:gd name="T105" fmla="*/ 95 h 95"/>
                <a:gd name="T106" fmla="*/ 100 w 105"/>
                <a:gd name="T107"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5" h="95">
                  <a:moveTo>
                    <a:pt x="100" y="95"/>
                  </a:moveTo>
                  <a:lnTo>
                    <a:pt x="100" y="95"/>
                  </a:lnTo>
                  <a:lnTo>
                    <a:pt x="97" y="94"/>
                  </a:lnTo>
                  <a:lnTo>
                    <a:pt x="96" y="90"/>
                  </a:lnTo>
                  <a:lnTo>
                    <a:pt x="96" y="52"/>
                  </a:lnTo>
                  <a:lnTo>
                    <a:pt x="96" y="52"/>
                  </a:lnTo>
                  <a:lnTo>
                    <a:pt x="94" y="43"/>
                  </a:lnTo>
                  <a:lnTo>
                    <a:pt x="92" y="35"/>
                  </a:lnTo>
                  <a:lnTo>
                    <a:pt x="88" y="28"/>
                  </a:lnTo>
                  <a:lnTo>
                    <a:pt x="82" y="21"/>
                  </a:lnTo>
                  <a:lnTo>
                    <a:pt x="77" y="16"/>
                  </a:lnTo>
                  <a:lnTo>
                    <a:pt x="69" y="12"/>
                  </a:lnTo>
                  <a:lnTo>
                    <a:pt x="61" y="9"/>
                  </a:lnTo>
                  <a:lnTo>
                    <a:pt x="53" y="9"/>
                  </a:lnTo>
                  <a:lnTo>
                    <a:pt x="53" y="9"/>
                  </a:lnTo>
                  <a:lnTo>
                    <a:pt x="43" y="9"/>
                  </a:lnTo>
                  <a:lnTo>
                    <a:pt x="35" y="12"/>
                  </a:lnTo>
                  <a:lnTo>
                    <a:pt x="28" y="16"/>
                  </a:lnTo>
                  <a:lnTo>
                    <a:pt x="22" y="21"/>
                  </a:lnTo>
                  <a:lnTo>
                    <a:pt x="16" y="28"/>
                  </a:lnTo>
                  <a:lnTo>
                    <a:pt x="12" y="35"/>
                  </a:lnTo>
                  <a:lnTo>
                    <a:pt x="11" y="43"/>
                  </a:lnTo>
                  <a:lnTo>
                    <a:pt x="10" y="52"/>
                  </a:lnTo>
                  <a:lnTo>
                    <a:pt x="10" y="90"/>
                  </a:lnTo>
                  <a:lnTo>
                    <a:pt x="10" y="90"/>
                  </a:lnTo>
                  <a:lnTo>
                    <a:pt x="8" y="94"/>
                  </a:lnTo>
                  <a:lnTo>
                    <a:pt x="4" y="95"/>
                  </a:lnTo>
                  <a:lnTo>
                    <a:pt x="4" y="95"/>
                  </a:lnTo>
                  <a:lnTo>
                    <a:pt x="2" y="94"/>
                  </a:lnTo>
                  <a:lnTo>
                    <a:pt x="0" y="90"/>
                  </a:lnTo>
                  <a:lnTo>
                    <a:pt x="0" y="52"/>
                  </a:lnTo>
                  <a:lnTo>
                    <a:pt x="0" y="52"/>
                  </a:lnTo>
                  <a:lnTo>
                    <a:pt x="2" y="41"/>
                  </a:lnTo>
                  <a:lnTo>
                    <a:pt x="4" y="31"/>
                  </a:lnTo>
                  <a:lnTo>
                    <a:pt x="8" y="22"/>
                  </a:lnTo>
                  <a:lnTo>
                    <a:pt x="15" y="14"/>
                  </a:lnTo>
                  <a:lnTo>
                    <a:pt x="23" y="8"/>
                  </a:lnTo>
                  <a:lnTo>
                    <a:pt x="32" y="4"/>
                  </a:lnTo>
                  <a:lnTo>
                    <a:pt x="42" y="1"/>
                  </a:lnTo>
                  <a:lnTo>
                    <a:pt x="53" y="0"/>
                  </a:lnTo>
                  <a:lnTo>
                    <a:pt x="53" y="0"/>
                  </a:lnTo>
                  <a:lnTo>
                    <a:pt x="63" y="1"/>
                  </a:lnTo>
                  <a:lnTo>
                    <a:pt x="73" y="4"/>
                  </a:lnTo>
                  <a:lnTo>
                    <a:pt x="82" y="8"/>
                  </a:lnTo>
                  <a:lnTo>
                    <a:pt x="89" y="14"/>
                  </a:lnTo>
                  <a:lnTo>
                    <a:pt x="96" y="22"/>
                  </a:lnTo>
                  <a:lnTo>
                    <a:pt x="101" y="31"/>
                  </a:lnTo>
                  <a:lnTo>
                    <a:pt x="104" y="41"/>
                  </a:lnTo>
                  <a:lnTo>
                    <a:pt x="105" y="52"/>
                  </a:lnTo>
                  <a:lnTo>
                    <a:pt x="105" y="90"/>
                  </a:lnTo>
                  <a:lnTo>
                    <a:pt x="105" y="90"/>
                  </a:lnTo>
                  <a:lnTo>
                    <a:pt x="104" y="94"/>
                  </a:lnTo>
                  <a:lnTo>
                    <a:pt x="100" y="95"/>
                  </a:lnTo>
                  <a:lnTo>
                    <a:pt x="100" y="95"/>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65" name="Group 64">
            <a:extLst>
              <a:ext uri="{FF2B5EF4-FFF2-40B4-BE49-F238E27FC236}">
                <a16:creationId xmlns:a16="http://schemas.microsoft.com/office/drawing/2014/main" id="{D60B9FC7-F7BB-4D55-9A2F-DD25211E1C84}"/>
              </a:ext>
            </a:extLst>
          </p:cNvPr>
          <p:cNvGrpSpPr/>
          <p:nvPr/>
        </p:nvGrpSpPr>
        <p:grpSpPr>
          <a:xfrm>
            <a:off x="4438106" y="3591901"/>
            <a:ext cx="1064452" cy="1422498"/>
            <a:chOff x="3868061" y="3591901"/>
            <a:chExt cx="1064452" cy="1422498"/>
          </a:xfrm>
        </p:grpSpPr>
        <p:sp>
          <p:nvSpPr>
            <p:cNvPr id="66" name="Freeform 287">
              <a:extLst>
                <a:ext uri="{FF2B5EF4-FFF2-40B4-BE49-F238E27FC236}">
                  <a16:creationId xmlns:a16="http://schemas.microsoft.com/office/drawing/2014/main" id="{47D6DDBE-1BFD-1046-903D-655F8EA3195B}"/>
                </a:ext>
              </a:extLst>
            </p:cNvPr>
            <p:cNvSpPr>
              <a:spLocks/>
            </p:cNvSpPr>
            <p:nvPr/>
          </p:nvSpPr>
          <p:spPr bwMode="auto">
            <a:xfrm>
              <a:off x="3868061" y="3862852"/>
              <a:ext cx="1064452" cy="1151547"/>
            </a:xfrm>
            <a:custGeom>
              <a:avLst/>
              <a:gdLst>
                <a:gd name="T0" fmla="*/ 215 w 219"/>
                <a:gd name="T1" fmla="*/ 0 h 238"/>
                <a:gd name="T2" fmla="*/ 172 w 219"/>
                <a:gd name="T3" fmla="*/ 0 h 238"/>
                <a:gd name="T4" fmla="*/ 172 w 219"/>
                <a:gd name="T5" fmla="*/ 34 h 238"/>
                <a:gd name="T6" fmla="*/ 172 w 219"/>
                <a:gd name="T7" fmla="*/ 34 h 238"/>
                <a:gd name="T8" fmla="*/ 171 w 219"/>
                <a:gd name="T9" fmla="*/ 39 h 238"/>
                <a:gd name="T10" fmla="*/ 168 w 219"/>
                <a:gd name="T11" fmla="*/ 44 h 238"/>
                <a:gd name="T12" fmla="*/ 163 w 219"/>
                <a:gd name="T13" fmla="*/ 47 h 238"/>
                <a:gd name="T14" fmla="*/ 158 w 219"/>
                <a:gd name="T15" fmla="*/ 48 h 238"/>
                <a:gd name="T16" fmla="*/ 158 w 219"/>
                <a:gd name="T17" fmla="*/ 48 h 238"/>
                <a:gd name="T18" fmla="*/ 152 w 219"/>
                <a:gd name="T19" fmla="*/ 47 h 238"/>
                <a:gd name="T20" fmla="*/ 148 w 219"/>
                <a:gd name="T21" fmla="*/ 44 h 238"/>
                <a:gd name="T22" fmla="*/ 144 w 219"/>
                <a:gd name="T23" fmla="*/ 39 h 238"/>
                <a:gd name="T24" fmla="*/ 144 w 219"/>
                <a:gd name="T25" fmla="*/ 34 h 238"/>
                <a:gd name="T26" fmla="*/ 144 w 219"/>
                <a:gd name="T27" fmla="*/ 0 h 238"/>
                <a:gd name="T28" fmla="*/ 77 w 219"/>
                <a:gd name="T29" fmla="*/ 0 h 238"/>
                <a:gd name="T30" fmla="*/ 77 w 219"/>
                <a:gd name="T31" fmla="*/ 34 h 238"/>
                <a:gd name="T32" fmla="*/ 77 w 219"/>
                <a:gd name="T33" fmla="*/ 34 h 238"/>
                <a:gd name="T34" fmla="*/ 76 w 219"/>
                <a:gd name="T35" fmla="*/ 39 h 238"/>
                <a:gd name="T36" fmla="*/ 73 w 219"/>
                <a:gd name="T37" fmla="*/ 44 h 238"/>
                <a:gd name="T38" fmla="*/ 69 w 219"/>
                <a:gd name="T39" fmla="*/ 47 h 238"/>
                <a:gd name="T40" fmla="*/ 62 w 219"/>
                <a:gd name="T41" fmla="*/ 48 h 238"/>
                <a:gd name="T42" fmla="*/ 62 w 219"/>
                <a:gd name="T43" fmla="*/ 48 h 238"/>
                <a:gd name="T44" fmla="*/ 57 w 219"/>
                <a:gd name="T45" fmla="*/ 47 h 238"/>
                <a:gd name="T46" fmla="*/ 53 w 219"/>
                <a:gd name="T47" fmla="*/ 44 h 238"/>
                <a:gd name="T48" fmla="*/ 50 w 219"/>
                <a:gd name="T49" fmla="*/ 39 h 238"/>
                <a:gd name="T50" fmla="*/ 49 w 219"/>
                <a:gd name="T51" fmla="*/ 34 h 238"/>
                <a:gd name="T52" fmla="*/ 49 w 219"/>
                <a:gd name="T53" fmla="*/ 0 h 238"/>
                <a:gd name="T54" fmla="*/ 6 w 219"/>
                <a:gd name="T55" fmla="*/ 0 h 238"/>
                <a:gd name="T56" fmla="*/ 6 w 219"/>
                <a:gd name="T57" fmla="*/ 0 h 238"/>
                <a:gd name="T58" fmla="*/ 2 w 219"/>
                <a:gd name="T59" fmla="*/ 1 h 238"/>
                <a:gd name="T60" fmla="*/ 0 w 219"/>
                <a:gd name="T61" fmla="*/ 5 h 238"/>
                <a:gd name="T62" fmla="*/ 0 w 219"/>
                <a:gd name="T63" fmla="*/ 234 h 238"/>
                <a:gd name="T64" fmla="*/ 0 w 219"/>
                <a:gd name="T65" fmla="*/ 234 h 238"/>
                <a:gd name="T66" fmla="*/ 2 w 219"/>
                <a:gd name="T67" fmla="*/ 236 h 238"/>
                <a:gd name="T68" fmla="*/ 6 w 219"/>
                <a:gd name="T69" fmla="*/ 238 h 238"/>
                <a:gd name="T70" fmla="*/ 215 w 219"/>
                <a:gd name="T71" fmla="*/ 238 h 238"/>
                <a:gd name="T72" fmla="*/ 215 w 219"/>
                <a:gd name="T73" fmla="*/ 238 h 238"/>
                <a:gd name="T74" fmla="*/ 218 w 219"/>
                <a:gd name="T75" fmla="*/ 236 h 238"/>
                <a:gd name="T76" fmla="*/ 219 w 219"/>
                <a:gd name="T77" fmla="*/ 234 h 238"/>
                <a:gd name="T78" fmla="*/ 219 w 219"/>
                <a:gd name="T79" fmla="*/ 5 h 238"/>
                <a:gd name="T80" fmla="*/ 219 w 219"/>
                <a:gd name="T81" fmla="*/ 5 h 238"/>
                <a:gd name="T82" fmla="*/ 218 w 219"/>
                <a:gd name="T83" fmla="*/ 1 h 238"/>
                <a:gd name="T84" fmla="*/ 215 w 219"/>
                <a:gd name="T85" fmla="*/ 0 h 238"/>
                <a:gd name="T86" fmla="*/ 215 w 219"/>
                <a:gd name="T87"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9" h="238">
                  <a:moveTo>
                    <a:pt x="215" y="0"/>
                  </a:moveTo>
                  <a:lnTo>
                    <a:pt x="172" y="0"/>
                  </a:lnTo>
                  <a:lnTo>
                    <a:pt x="172" y="34"/>
                  </a:lnTo>
                  <a:lnTo>
                    <a:pt x="172" y="34"/>
                  </a:lnTo>
                  <a:lnTo>
                    <a:pt x="171" y="39"/>
                  </a:lnTo>
                  <a:lnTo>
                    <a:pt x="168" y="44"/>
                  </a:lnTo>
                  <a:lnTo>
                    <a:pt x="163" y="47"/>
                  </a:lnTo>
                  <a:lnTo>
                    <a:pt x="158" y="48"/>
                  </a:lnTo>
                  <a:lnTo>
                    <a:pt x="158" y="48"/>
                  </a:lnTo>
                  <a:lnTo>
                    <a:pt x="152" y="47"/>
                  </a:lnTo>
                  <a:lnTo>
                    <a:pt x="148" y="44"/>
                  </a:lnTo>
                  <a:lnTo>
                    <a:pt x="144" y="39"/>
                  </a:lnTo>
                  <a:lnTo>
                    <a:pt x="144" y="34"/>
                  </a:lnTo>
                  <a:lnTo>
                    <a:pt x="144" y="0"/>
                  </a:lnTo>
                  <a:lnTo>
                    <a:pt x="77" y="0"/>
                  </a:lnTo>
                  <a:lnTo>
                    <a:pt x="77" y="34"/>
                  </a:lnTo>
                  <a:lnTo>
                    <a:pt x="77" y="34"/>
                  </a:lnTo>
                  <a:lnTo>
                    <a:pt x="76" y="39"/>
                  </a:lnTo>
                  <a:lnTo>
                    <a:pt x="73" y="44"/>
                  </a:lnTo>
                  <a:lnTo>
                    <a:pt x="69" y="47"/>
                  </a:lnTo>
                  <a:lnTo>
                    <a:pt x="62" y="48"/>
                  </a:lnTo>
                  <a:lnTo>
                    <a:pt x="62" y="48"/>
                  </a:lnTo>
                  <a:lnTo>
                    <a:pt x="57" y="47"/>
                  </a:lnTo>
                  <a:lnTo>
                    <a:pt x="53" y="44"/>
                  </a:lnTo>
                  <a:lnTo>
                    <a:pt x="50" y="39"/>
                  </a:lnTo>
                  <a:lnTo>
                    <a:pt x="49" y="34"/>
                  </a:lnTo>
                  <a:lnTo>
                    <a:pt x="49" y="0"/>
                  </a:lnTo>
                  <a:lnTo>
                    <a:pt x="6" y="0"/>
                  </a:lnTo>
                  <a:lnTo>
                    <a:pt x="6" y="0"/>
                  </a:lnTo>
                  <a:lnTo>
                    <a:pt x="2" y="1"/>
                  </a:lnTo>
                  <a:lnTo>
                    <a:pt x="0" y="5"/>
                  </a:lnTo>
                  <a:lnTo>
                    <a:pt x="0" y="234"/>
                  </a:lnTo>
                  <a:lnTo>
                    <a:pt x="0" y="234"/>
                  </a:lnTo>
                  <a:lnTo>
                    <a:pt x="2" y="236"/>
                  </a:lnTo>
                  <a:lnTo>
                    <a:pt x="6" y="238"/>
                  </a:lnTo>
                  <a:lnTo>
                    <a:pt x="215" y="238"/>
                  </a:lnTo>
                  <a:lnTo>
                    <a:pt x="215" y="238"/>
                  </a:lnTo>
                  <a:lnTo>
                    <a:pt x="218" y="236"/>
                  </a:lnTo>
                  <a:lnTo>
                    <a:pt x="219" y="234"/>
                  </a:lnTo>
                  <a:lnTo>
                    <a:pt x="219" y="5"/>
                  </a:lnTo>
                  <a:lnTo>
                    <a:pt x="219" y="5"/>
                  </a:lnTo>
                  <a:lnTo>
                    <a:pt x="218" y="1"/>
                  </a:lnTo>
                  <a:lnTo>
                    <a:pt x="215" y="0"/>
                  </a:lnTo>
                  <a:lnTo>
                    <a:pt x="215"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7" name="Freeform 288">
              <a:extLst>
                <a:ext uri="{FF2B5EF4-FFF2-40B4-BE49-F238E27FC236}">
                  <a16:creationId xmlns:a16="http://schemas.microsoft.com/office/drawing/2014/main" id="{D19B72CB-FAA8-D745-97EC-289295B4128D}"/>
                </a:ext>
              </a:extLst>
            </p:cNvPr>
            <p:cNvSpPr>
              <a:spLocks/>
            </p:cNvSpPr>
            <p:nvPr/>
          </p:nvSpPr>
          <p:spPr bwMode="auto">
            <a:xfrm>
              <a:off x="4148692" y="3591901"/>
              <a:ext cx="503195" cy="454814"/>
            </a:xfrm>
            <a:custGeom>
              <a:avLst/>
              <a:gdLst>
                <a:gd name="T0" fmla="*/ 100 w 105"/>
                <a:gd name="T1" fmla="*/ 95 h 95"/>
                <a:gd name="T2" fmla="*/ 100 w 105"/>
                <a:gd name="T3" fmla="*/ 95 h 95"/>
                <a:gd name="T4" fmla="*/ 97 w 105"/>
                <a:gd name="T5" fmla="*/ 94 h 95"/>
                <a:gd name="T6" fmla="*/ 96 w 105"/>
                <a:gd name="T7" fmla="*/ 90 h 95"/>
                <a:gd name="T8" fmla="*/ 96 w 105"/>
                <a:gd name="T9" fmla="*/ 52 h 95"/>
                <a:gd name="T10" fmla="*/ 96 w 105"/>
                <a:gd name="T11" fmla="*/ 52 h 95"/>
                <a:gd name="T12" fmla="*/ 94 w 105"/>
                <a:gd name="T13" fmla="*/ 43 h 95"/>
                <a:gd name="T14" fmla="*/ 92 w 105"/>
                <a:gd name="T15" fmla="*/ 35 h 95"/>
                <a:gd name="T16" fmla="*/ 88 w 105"/>
                <a:gd name="T17" fmla="*/ 28 h 95"/>
                <a:gd name="T18" fmla="*/ 82 w 105"/>
                <a:gd name="T19" fmla="*/ 21 h 95"/>
                <a:gd name="T20" fmla="*/ 77 w 105"/>
                <a:gd name="T21" fmla="*/ 16 h 95"/>
                <a:gd name="T22" fmla="*/ 69 w 105"/>
                <a:gd name="T23" fmla="*/ 12 h 95"/>
                <a:gd name="T24" fmla="*/ 61 w 105"/>
                <a:gd name="T25" fmla="*/ 9 h 95"/>
                <a:gd name="T26" fmla="*/ 53 w 105"/>
                <a:gd name="T27" fmla="*/ 9 h 95"/>
                <a:gd name="T28" fmla="*/ 53 w 105"/>
                <a:gd name="T29" fmla="*/ 9 h 95"/>
                <a:gd name="T30" fmla="*/ 43 w 105"/>
                <a:gd name="T31" fmla="*/ 9 h 95"/>
                <a:gd name="T32" fmla="*/ 35 w 105"/>
                <a:gd name="T33" fmla="*/ 12 h 95"/>
                <a:gd name="T34" fmla="*/ 28 w 105"/>
                <a:gd name="T35" fmla="*/ 16 h 95"/>
                <a:gd name="T36" fmla="*/ 22 w 105"/>
                <a:gd name="T37" fmla="*/ 21 h 95"/>
                <a:gd name="T38" fmla="*/ 16 w 105"/>
                <a:gd name="T39" fmla="*/ 28 h 95"/>
                <a:gd name="T40" fmla="*/ 12 w 105"/>
                <a:gd name="T41" fmla="*/ 35 h 95"/>
                <a:gd name="T42" fmla="*/ 11 w 105"/>
                <a:gd name="T43" fmla="*/ 43 h 95"/>
                <a:gd name="T44" fmla="*/ 10 w 105"/>
                <a:gd name="T45" fmla="*/ 52 h 95"/>
                <a:gd name="T46" fmla="*/ 10 w 105"/>
                <a:gd name="T47" fmla="*/ 90 h 95"/>
                <a:gd name="T48" fmla="*/ 10 w 105"/>
                <a:gd name="T49" fmla="*/ 90 h 95"/>
                <a:gd name="T50" fmla="*/ 8 w 105"/>
                <a:gd name="T51" fmla="*/ 94 h 95"/>
                <a:gd name="T52" fmla="*/ 4 w 105"/>
                <a:gd name="T53" fmla="*/ 95 h 95"/>
                <a:gd name="T54" fmla="*/ 4 w 105"/>
                <a:gd name="T55" fmla="*/ 95 h 95"/>
                <a:gd name="T56" fmla="*/ 2 w 105"/>
                <a:gd name="T57" fmla="*/ 94 h 95"/>
                <a:gd name="T58" fmla="*/ 0 w 105"/>
                <a:gd name="T59" fmla="*/ 90 h 95"/>
                <a:gd name="T60" fmla="*/ 0 w 105"/>
                <a:gd name="T61" fmla="*/ 52 h 95"/>
                <a:gd name="T62" fmla="*/ 0 w 105"/>
                <a:gd name="T63" fmla="*/ 52 h 95"/>
                <a:gd name="T64" fmla="*/ 2 w 105"/>
                <a:gd name="T65" fmla="*/ 41 h 95"/>
                <a:gd name="T66" fmla="*/ 4 w 105"/>
                <a:gd name="T67" fmla="*/ 31 h 95"/>
                <a:gd name="T68" fmla="*/ 8 w 105"/>
                <a:gd name="T69" fmla="*/ 22 h 95"/>
                <a:gd name="T70" fmla="*/ 15 w 105"/>
                <a:gd name="T71" fmla="*/ 14 h 95"/>
                <a:gd name="T72" fmla="*/ 23 w 105"/>
                <a:gd name="T73" fmla="*/ 8 h 95"/>
                <a:gd name="T74" fmla="*/ 32 w 105"/>
                <a:gd name="T75" fmla="*/ 4 h 95"/>
                <a:gd name="T76" fmla="*/ 42 w 105"/>
                <a:gd name="T77" fmla="*/ 1 h 95"/>
                <a:gd name="T78" fmla="*/ 53 w 105"/>
                <a:gd name="T79" fmla="*/ 0 h 95"/>
                <a:gd name="T80" fmla="*/ 53 w 105"/>
                <a:gd name="T81" fmla="*/ 0 h 95"/>
                <a:gd name="T82" fmla="*/ 63 w 105"/>
                <a:gd name="T83" fmla="*/ 1 h 95"/>
                <a:gd name="T84" fmla="*/ 73 w 105"/>
                <a:gd name="T85" fmla="*/ 4 h 95"/>
                <a:gd name="T86" fmla="*/ 82 w 105"/>
                <a:gd name="T87" fmla="*/ 8 h 95"/>
                <a:gd name="T88" fmla="*/ 89 w 105"/>
                <a:gd name="T89" fmla="*/ 14 h 95"/>
                <a:gd name="T90" fmla="*/ 96 w 105"/>
                <a:gd name="T91" fmla="*/ 22 h 95"/>
                <a:gd name="T92" fmla="*/ 101 w 105"/>
                <a:gd name="T93" fmla="*/ 31 h 95"/>
                <a:gd name="T94" fmla="*/ 104 w 105"/>
                <a:gd name="T95" fmla="*/ 41 h 95"/>
                <a:gd name="T96" fmla="*/ 105 w 105"/>
                <a:gd name="T97" fmla="*/ 52 h 95"/>
                <a:gd name="T98" fmla="*/ 105 w 105"/>
                <a:gd name="T99" fmla="*/ 90 h 95"/>
                <a:gd name="T100" fmla="*/ 105 w 105"/>
                <a:gd name="T101" fmla="*/ 90 h 95"/>
                <a:gd name="T102" fmla="*/ 104 w 105"/>
                <a:gd name="T103" fmla="*/ 94 h 95"/>
                <a:gd name="T104" fmla="*/ 100 w 105"/>
                <a:gd name="T105" fmla="*/ 95 h 95"/>
                <a:gd name="T106" fmla="*/ 100 w 105"/>
                <a:gd name="T107"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5" h="95">
                  <a:moveTo>
                    <a:pt x="100" y="95"/>
                  </a:moveTo>
                  <a:lnTo>
                    <a:pt x="100" y="95"/>
                  </a:lnTo>
                  <a:lnTo>
                    <a:pt x="97" y="94"/>
                  </a:lnTo>
                  <a:lnTo>
                    <a:pt x="96" y="90"/>
                  </a:lnTo>
                  <a:lnTo>
                    <a:pt x="96" y="52"/>
                  </a:lnTo>
                  <a:lnTo>
                    <a:pt x="96" y="52"/>
                  </a:lnTo>
                  <a:lnTo>
                    <a:pt x="94" y="43"/>
                  </a:lnTo>
                  <a:lnTo>
                    <a:pt x="92" y="35"/>
                  </a:lnTo>
                  <a:lnTo>
                    <a:pt x="88" y="28"/>
                  </a:lnTo>
                  <a:lnTo>
                    <a:pt x="82" y="21"/>
                  </a:lnTo>
                  <a:lnTo>
                    <a:pt x="77" y="16"/>
                  </a:lnTo>
                  <a:lnTo>
                    <a:pt x="69" y="12"/>
                  </a:lnTo>
                  <a:lnTo>
                    <a:pt x="61" y="9"/>
                  </a:lnTo>
                  <a:lnTo>
                    <a:pt x="53" y="9"/>
                  </a:lnTo>
                  <a:lnTo>
                    <a:pt x="53" y="9"/>
                  </a:lnTo>
                  <a:lnTo>
                    <a:pt x="43" y="9"/>
                  </a:lnTo>
                  <a:lnTo>
                    <a:pt x="35" y="12"/>
                  </a:lnTo>
                  <a:lnTo>
                    <a:pt x="28" y="16"/>
                  </a:lnTo>
                  <a:lnTo>
                    <a:pt x="22" y="21"/>
                  </a:lnTo>
                  <a:lnTo>
                    <a:pt x="16" y="28"/>
                  </a:lnTo>
                  <a:lnTo>
                    <a:pt x="12" y="35"/>
                  </a:lnTo>
                  <a:lnTo>
                    <a:pt x="11" y="43"/>
                  </a:lnTo>
                  <a:lnTo>
                    <a:pt x="10" y="52"/>
                  </a:lnTo>
                  <a:lnTo>
                    <a:pt x="10" y="90"/>
                  </a:lnTo>
                  <a:lnTo>
                    <a:pt x="10" y="90"/>
                  </a:lnTo>
                  <a:lnTo>
                    <a:pt x="8" y="94"/>
                  </a:lnTo>
                  <a:lnTo>
                    <a:pt x="4" y="95"/>
                  </a:lnTo>
                  <a:lnTo>
                    <a:pt x="4" y="95"/>
                  </a:lnTo>
                  <a:lnTo>
                    <a:pt x="2" y="94"/>
                  </a:lnTo>
                  <a:lnTo>
                    <a:pt x="0" y="90"/>
                  </a:lnTo>
                  <a:lnTo>
                    <a:pt x="0" y="52"/>
                  </a:lnTo>
                  <a:lnTo>
                    <a:pt x="0" y="52"/>
                  </a:lnTo>
                  <a:lnTo>
                    <a:pt x="2" y="41"/>
                  </a:lnTo>
                  <a:lnTo>
                    <a:pt x="4" y="31"/>
                  </a:lnTo>
                  <a:lnTo>
                    <a:pt x="8" y="22"/>
                  </a:lnTo>
                  <a:lnTo>
                    <a:pt x="15" y="14"/>
                  </a:lnTo>
                  <a:lnTo>
                    <a:pt x="23" y="8"/>
                  </a:lnTo>
                  <a:lnTo>
                    <a:pt x="32" y="4"/>
                  </a:lnTo>
                  <a:lnTo>
                    <a:pt x="42" y="1"/>
                  </a:lnTo>
                  <a:lnTo>
                    <a:pt x="53" y="0"/>
                  </a:lnTo>
                  <a:lnTo>
                    <a:pt x="53" y="0"/>
                  </a:lnTo>
                  <a:lnTo>
                    <a:pt x="63" y="1"/>
                  </a:lnTo>
                  <a:lnTo>
                    <a:pt x="73" y="4"/>
                  </a:lnTo>
                  <a:lnTo>
                    <a:pt x="82" y="8"/>
                  </a:lnTo>
                  <a:lnTo>
                    <a:pt x="89" y="14"/>
                  </a:lnTo>
                  <a:lnTo>
                    <a:pt x="96" y="22"/>
                  </a:lnTo>
                  <a:lnTo>
                    <a:pt x="101" y="31"/>
                  </a:lnTo>
                  <a:lnTo>
                    <a:pt x="104" y="41"/>
                  </a:lnTo>
                  <a:lnTo>
                    <a:pt x="105" y="52"/>
                  </a:lnTo>
                  <a:lnTo>
                    <a:pt x="105" y="90"/>
                  </a:lnTo>
                  <a:lnTo>
                    <a:pt x="105" y="90"/>
                  </a:lnTo>
                  <a:lnTo>
                    <a:pt x="104" y="94"/>
                  </a:lnTo>
                  <a:lnTo>
                    <a:pt x="100" y="95"/>
                  </a:lnTo>
                  <a:lnTo>
                    <a:pt x="100" y="95"/>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68" name="Rectangle 67">
            <a:extLst>
              <a:ext uri="{FF2B5EF4-FFF2-40B4-BE49-F238E27FC236}">
                <a16:creationId xmlns:a16="http://schemas.microsoft.com/office/drawing/2014/main" id="{E20E9272-59D6-E044-B55C-372F56F5EE7C}"/>
              </a:ext>
            </a:extLst>
          </p:cNvPr>
          <p:cNvSpPr/>
          <p:nvPr/>
        </p:nvSpPr>
        <p:spPr>
          <a:xfrm>
            <a:off x="7500616" y="2859963"/>
            <a:ext cx="3224519" cy="184665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Open Sans Light" panose="020B0306030504020204" pitchFamily="34" charset="0"/>
              </a:rPr>
              <a:t>Digitally influenced purchases tend to be upwards of </a:t>
            </a:r>
            <a:r>
              <a:rPr kumimoji="0" lang="en-US" sz="2000" b="1"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Open Sans Light" panose="020B0306030504020204" pitchFamily="34" charset="0"/>
              </a:rPr>
              <a:t>30%+ greater value</a:t>
            </a:r>
            <a:r>
              <a:rPr kumimoji="0" lang="en-US" sz="200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Open Sans Light" panose="020B0306030504020204" pitchFamily="34" charset="0"/>
              </a:rPr>
              <a:t> (i.e. basket size) compared to non-digitally influenced purchases</a:t>
            </a:r>
          </a:p>
        </p:txBody>
      </p:sp>
      <p:sp>
        <p:nvSpPr>
          <p:cNvPr id="69" name="Text Placeholder 2">
            <a:extLst>
              <a:ext uri="{FF2B5EF4-FFF2-40B4-BE49-F238E27FC236}">
                <a16:creationId xmlns:a16="http://schemas.microsoft.com/office/drawing/2014/main" id="{89DA29B7-483C-604F-B897-3658A043BC4C}"/>
              </a:ext>
            </a:extLst>
          </p:cNvPr>
          <p:cNvSpPr>
            <a:spLocks noGrp="1"/>
          </p:cNvSpPr>
          <p:nvPr/>
        </p:nvSpPr>
        <p:spPr bwMode="gray">
          <a:xfrm>
            <a:off x="2618985" y="4177869"/>
            <a:ext cx="1097280" cy="365760"/>
          </a:xfrm>
          <a:prstGeom prst="rect">
            <a:avLst/>
          </a:prstGeom>
          <a:extLst>
            <a:ext uri="{909E8E84-426E-40DD-AFC4-6F175D3DCCD1}">
              <a14:hiddenFill xmlns:a14="http://schemas.microsoft.com/office/drawing/2010/main">
                <a:solidFill>
                  <a:scrgbClr r="0" g="0" b="0"/>
                </a:solidFill>
              </a14:hiddenFill>
            </a:ext>
          </a:extLst>
        </p:spPr>
        <p:txBody>
          <a:bodyPr vert="horz" lIns="0" tIns="0" rIns="0" bIns="18288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4400" b="0" i="0" u="none" strike="noStrike" kern="1200" cap="none" spc="0" normalizeH="0" baseline="0" noProof="0" dirty="0">
                <a:ln>
                  <a:noFill/>
                </a:ln>
                <a:solidFill>
                  <a:srgbClr val="000000"/>
                </a:solidFill>
                <a:effectLst/>
                <a:uLnTx/>
                <a:uFillTx/>
                <a:latin typeface="Chronicle Display Light" pitchFamily="2" charset="0"/>
                <a:ea typeface="+mn-ea"/>
                <a:cs typeface="+mn-cs"/>
              </a:rPr>
              <a:t>$64</a:t>
            </a:r>
            <a:endParaRPr kumimoji="0" lang="en-US" sz="4400" b="0" i="0" u="none" strike="noStrike" kern="1200" cap="none" spc="0" normalizeH="0" baseline="30000" noProof="0" dirty="0">
              <a:ln>
                <a:noFill/>
              </a:ln>
              <a:solidFill>
                <a:srgbClr val="000000"/>
              </a:solidFill>
              <a:effectLst/>
              <a:uLnTx/>
              <a:uFillTx/>
              <a:latin typeface="Chronicle Display Light" pitchFamily="2" charset="0"/>
              <a:ea typeface="+mn-ea"/>
              <a:cs typeface="+mn-cs"/>
              <a:sym typeface="+mn-lt"/>
            </a:endParaRPr>
          </a:p>
        </p:txBody>
      </p:sp>
      <p:sp>
        <p:nvSpPr>
          <p:cNvPr id="70" name="Text Placeholder 5">
            <a:extLst>
              <a:ext uri="{FF2B5EF4-FFF2-40B4-BE49-F238E27FC236}">
                <a16:creationId xmlns:a16="http://schemas.microsoft.com/office/drawing/2014/main" id="{53E6F05B-8B14-954E-AAEF-288223C2D35D}"/>
              </a:ext>
            </a:extLst>
          </p:cNvPr>
          <p:cNvSpPr txBox="1">
            <a:spLocks/>
          </p:cNvSpPr>
          <p:nvPr/>
        </p:nvSpPr>
        <p:spPr>
          <a:xfrm>
            <a:off x="5482233" y="4186813"/>
            <a:ext cx="1097280" cy="365760"/>
          </a:xfrm>
          <a:prstGeom prst="rect">
            <a:avLst/>
          </a:prstGeom>
        </p:spPr>
        <p:txBody>
          <a:bodyPr vert="horz" lIns="0" tIns="0" rIns="0" bIns="18288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000000"/>
                </a:solidFill>
                <a:effectLst/>
                <a:uLnTx/>
                <a:uFillTx/>
                <a:latin typeface="Chronicle Display Light" pitchFamily="2" charset="0"/>
                <a:ea typeface="Chronicle Display Black" charset="0"/>
                <a:cs typeface="Chronicle Display Black" charset="0"/>
              </a:rPr>
              <a:t>$87</a:t>
            </a:r>
            <a:endParaRPr kumimoji="0" lang="en-US" sz="4400" b="0" i="0" u="none" strike="noStrike" kern="1200" cap="none" spc="0" normalizeH="0" baseline="30000" noProof="0" dirty="0">
              <a:ln>
                <a:noFill/>
              </a:ln>
              <a:solidFill>
                <a:srgbClr val="000000"/>
              </a:solidFill>
              <a:effectLst/>
              <a:uLnTx/>
              <a:uFillTx/>
              <a:latin typeface="Chronicle Display Light" pitchFamily="2" charset="0"/>
              <a:ea typeface="Chronicle Display Black" charset="0"/>
              <a:cs typeface="Chronicle Display Black" charset="0"/>
            </a:endParaRPr>
          </a:p>
        </p:txBody>
      </p:sp>
      <p:cxnSp>
        <p:nvCxnSpPr>
          <p:cNvPr id="71" name="Straight Connector 70">
            <a:extLst>
              <a:ext uri="{FF2B5EF4-FFF2-40B4-BE49-F238E27FC236}">
                <a16:creationId xmlns:a16="http://schemas.microsoft.com/office/drawing/2014/main" id="{403209A8-1536-4181-9792-38C5906566A6}"/>
              </a:ext>
            </a:extLst>
          </p:cNvPr>
          <p:cNvCxnSpPr>
            <a:cxnSpLocks/>
          </p:cNvCxnSpPr>
          <p:nvPr/>
        </p:nvCxnSpPr>
        <p:spPr>
          <a:xfrm>
            <a:off x="7034627" y="2910177"/>
            <a:ext cx="0" cy="2104222"/>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87FAC5F7-7721-4C6E-AB9D-05F721BC78ED}"/>
              </a:ext>
            </a:extLst>
          </p:cNvPr>
          <p:cNvSpPr txBox="1"/>
          <p:nvPr/>
        </p:nvSpPr>
        <p:spPr>
          <a:xfrm>
            <a:off x="814549" y="6186202"/>
            <a:ext cx="3188693"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Open Sans"/>
                <a:ea typeface="+mn-ea"/>
                <a:cs typeface="+mn-cs"/>
              </a:rPr>
              <a:t>Source: Deloitte Consulting LLP</a:t>
            </a:r>
            <a:r>
              <a:rPr kumimoji="0" lang="en-US" sz="800" b="1" i="1" u="none" strike="noStrike" kern="1200" cap="none" spc="0" normalizeH="0" baseline="0" noProof="0" dirty="0">
                <a:ln>
                  <a:noFill/>
                </a:ln>
                <a:solidFill>
                  <a:srgbClr val="000000"/>
                </a:solidFill>
                <a:effectLst/>
                <a:uLnTx/>
                <a:uFillTx/>
                <a:latin typeface="Open Sans"/>
                <a:ea typeface="+mn-ea"/>
                <a:cs typeface="+mn-cs"/>
              </a:rPr>
              <a:t>. Grocery Digital Divide</a:t>
            </a:r>
            <a:r>
              <a:rPr kumimoji="0" lang="en-US" sz="800" b="1" i="0" u="none" strike="noStrike" kern="1200" cap="none" spc="0" normalizeH="0" baseline="0" noProof="0" dirty="0">
                <a:ln>
                  <a:noFill/>
                </a:ln>
                <a:solidFill>
                  <a:srgbClr val="000000"/>
                </a:solidFill>
                <a:effectLst/>
                <a:uLnTx/>
                <a:uFillTx/>
                <a:latin typeface="Open Sans"/>
                <a:ea typeface="+mn-ea"/>
                <a:cs typeface="+mn-cs"/>
              </a:rPr>
              <a:t>. 2018.</a:t>
            </a:r>
          </a:p>
        </p:txBody>
      </p:sp>
    </p:spTree>
    <p:extLst>
      <p:ext uri="{BB962C8B-B14F-4D97-AF65-F5344CB8AC3E}">
        <p14:creationId xmlns:p14="http://schemas.microsoft.com/office/powerpoint/2010/main" val="3173973612"/>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484"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Client’s Value Prop</a:t>
            </a:r>
          </a:p>
        </p:txBody>
      </p:sp>
      <p:sp>
        <p:nvSpPr>
          <p:cNvPr id="3" name="Text Placeholder 2"/>
          <p:cNvSpPr>
            <a:spLocks noGrp="1"/>
          </p:cNvSpPr>
          <p:nvPr>
            <p:ph type="body" sz="quarter" idx="14"/>
          </p:nvPr>
        </p:nvSpPr>
        <p:spPr/>
        <p:txBody>
          <a:bodyPr/>
          <a:lstStyle/>
          <a:p>
            <a:pPr>
              <a:buClr>
                <a:srgbClr val="787878"/>
              </a:buClr>
              <a:defRPr/>
            </a:pPr>
            <a:r>
              <a:rPr lang="en-US" spc="-75" dirty="0">
                <a:solidFill>
                  <a:prstClr val="black"/>
                </a:solidFill>
                <a:cs typeface="Arial" panose="020B0604020202020204" pitchFamily="34" charset="0"/>
              </a:rPr>
              <a:t>Subtitle</a:t>
            </a:r>
            <a:endParaRPr lang="en-US" spc="0" dirty="0">
              <a:solidFill>
                <a:srgbClr val="000000"/>
              </a:solidFill>
            </a:endParaRPr>
          </a:p>
        </p:txBody>
      </p:sp>
      <p:sp>
        <p:nvSpPr>
          <p:cNvPr id="5" name="Text Placeholder 4"/>
          <p:cNvSpPr>
            <a:spLocks noGrp="1"/>
          </p:cNvSpPr>
          <p:nvPr>
            <p:ph type="body" sz="quarter" idx="15"/>
          </p:nvPr>
        </p:nvSpPr>
        <p:spPr/>
        <p:txBody>
          <a:bodyPr/>
          <a:lstStyle/>
          <a:p>
            <a:r>
              <a:rPr lang="en-US" dirty="0"/>
              <a:t>Data Visualization &amp; Infographics</a:t>
            </a:r>
          </a:p>
        </p:txBody>
      </p:sp>
      <p:grpSp>
        <p:nvGrpSpPr>
          <p:cNvPr id="24" name="Group 23"/>
          <p:cNvGrpSpPr/>
          <p:nvPr/>
        </p:nvGrpSpPr>
        <p:grpSpPr>
          <a:xfrm>
            <a:off x="345257" y="1591056"/>
            <a:ext cx="10963303" cy="4840403"/>
            <a:chOff x="170159" y="1504738"/>
            <a:chExt cx="10963303" cy="5170511"/>
          </a:xfrm>
        </p:grpSpPr>
        <p:sp>
          <p:nvSpPr>
            <p:cNvPr id="25" name="Text Placeholder 7">
              <a:extLst>
                <a:ext uri="{FF2B5EF4-FFF2-40B4-BE49-F238E27FC236}">
                  <a16:creationId xmlns:a16="http://schemas.microsoft.com/office/drawing/2014/main" id="{82EBF4A0-BC2D-4007-8BDA-739AD8E606E5}"/>
                </a:ext>
              </a:extLst>
            </p:cNvPr>
            <p:cNvSpPr txBox="1">
              <a:spLocks/>
            </p:cNvSpPr>
            <p:nvPr/>
          </p:nvSpPr>
          <p:spPr>
            <a:xfrm>
              <a:off x="4004503" y="1504738"/>
              <a:ext cx="2160832" cy="1007043"/>
            </a:xfrm>
            <a:prstGeom prst="roundRect">
              <a:avLst/>
            </a:prstGeom>
            <a:solidFill>
              <a:schemeClr val="accent4">
                <a:lumMod val="20000"/>
                <a:lumOff val="80000"/>
              </a:schemeClr>
            </a:solidFill>
            <a:ln w="19050">
              <a:noFill/>
            </a:ln>
          </p:spPr>
          <p:txBody>
            <a:bodyPr vert="horz" lIns="91440" tIns="91440" rIns="91440" bIns="91440" rtlCol="0" anchor="ctr">
              <a:noAutofit/>
            </a:bodyPr>
            <a:lstStyle>
              <a:lvl1pPr marL="0" indent="0" algn="l" defTabSz="914126" rtl="0" eaLnBrk="1" latinLnBrk="0" hangingPunct="1">
                <a:lnSpc>
                  <a:spcPct val="90000"/>
                </a:lnSpc>
                <a:spcBef>
                  <a:spcPts val="0"/>
                </a:spcBef>
                <a:buClr>
                  <a:schemeClr val="tx1"/>
                </a:buClr>
                <a:buFont typeface="HP Simplified" panose="020B0604020204020204" pitchFamily="34" charset="0"/>
                <a:buNone/>
                <a:defRPr sz="1799" kern="1200">
                  <a:solidFill>
                    <a:schemeClr val="accent1"/>
                  </a:solidFill>
                  <a:latin typeface="+mn-lt"/>
                  <a:ea typeface="+mn-ea"/>
                  <a:cs typeface="+mn-cs"/>
                </a:defRPr>
              </a:lvl1pPr>
              <a:lvl2pPr marL="0" indent="0" algn="l" defTabSz="914126" rtl="0" eaLnBrk="1" latinLnBrk="0" hangingPunct="1">
                <a:lnSpc>
                  <a:spcPct val="90000"/>
                </a:lnSpc>
                <a:spcBef>
                  <a:spcPts val="0"/>
                </a:spcBef>
                <a:buClr>
                  <a:schemeClr val="tx1"/>
                </a:buClr>
                <a:buSzPct val="80000"/>
                <a:buFont typeface="HP Simplified" panose="020B0604020204020204" pitchFamily="34" charset="0"/>
                <a:buNone/>
                <a:defRPr sz="1799" kern="1200">
                  <a:solidFill>
                    <a:schemeClr val="tx1"/>
                  </a:solidFill>
                  <a:latin typeface="+mn-lt"/>
                  <a:ea typeface="+mn-ea"/>
                  <a:cs typeface="+mn-cs"/>
                </a:defRPr>
              </a:lvl2pPr>
              <a:lvl3pPr marL="0" indent="0" algn="l" defTabSz="914126" rtl="0" eaLnBrk="1" latinLnBrk="0" hangingPunct="1">
                <a:lnSpc>
                  <a:spcPct val="90000"/>
                </a:lnSpc>
                <a:spcBef>
                  <a:spcPts val="0"/>
                </a:spcBef>
                <a:buClr>
                  <a:schemeClr val="tx1"/>
                </a:buClr>
                <a:buFont typeface="HP Simplified" panose="020B0604020204020204" pitchFamily="34" charset="0"/>
                <a:buNone/>
                <a:defRPr sz="1799" kern="1200">
                  <a:solidFill>
                    <a:schemeClr val="tx1"/>
                  </a:solidFill>
                  <a:latin typeface="+mn-lt"/>
                  <a:ea typeface="+mn-ea"/>
                  <a:cs typeface="+mn-cs"/>
                </a:defRPr>
              </a:lvl3pPr>
              <a:lvl4pPr marL="0" indent="0" algn="l" defTabSz="914126" rtl="0" eaLnBrk="1" latinLnBrk="0" hangingPunct="1">
                <a:lnSpc>
                  <a:spcPct val="90000"/>
                </a:lnSpc>
                <a:spcBef>
                  <a:spcPts val="0"/>
                </a:spcBef>
                <a:buClr>
                  <a:schemeClr val="tx1"/>
                </a:buClr>
                <a:buSzPct val="80000"/>
                <a:buFont typeface="HP Simplified" panose="020B0604020204020204" pitchFamily="34" charset="0"/>
                <a:buNone/>
                <a:defRPr sz="1799" kern="1200">
                  <a:solidFill>
                    <a:schemeClr val="tx1"/>
                  </a:solidFill>
                  <a:latin typeface="+mn-lt"/>
                  <a:ea typeface="+mn-ea"/>
                  <a:cs typeface="+mn-cs"/>
                </a:defRPr>
              </a:lvl4pPr>
              <a:lvl5pPr marL="0" indent="0" algn="l" defTabSz="914126" rtl="0" eaLnBrk="1" latinLnBrk="0" hangingPunct="1">
                <a:lnSpc>
                  <a:spcPct val="90000"/>
                </a:lnSpc>
                <a:spcBef>
                  <a:spcPts val="0"/>
                </a:spcBef>
                <a:buClr>
                  <a:schemeClr val="tx1"/>
                </a:buClr>
                <a:buFont typeface="HP Simplified" panose="020B0604020204020204" pitchFamily="34" charset="0"/>
                <a:buNone/>
                <a:defRPr sz="1799" kern="1200">
                  <a:solidFill>
                    <a:schemeClr val="tx1"/>
                  </a:solidFill>
                  <a:latin typeface="+mn-lt"/>
                  <a:ea typeface="+mn-ea"/>
                  <a:cs typeface="+mn-cs"/>
                </a:defRPr>
              </a:lvl5pPr>
              <a:lvl6pPr marL="0" indent="0" algn="l" defTabSz="914126" rtl="0" eaLnBrk="1" latinLnBrk="0" hangingPunct="1">
                <a:lnSpc>
                  <a:spcPct val="90000"/>
                </a:lnSpc>
                <a:spcBef>
                  <a:spcPts val="0"/>
                </a:spcBef>
                <a:buClr>
                  <a:schemeClr val="tx1"/>
                </a:buClr>
                <a:buSzPct val="80000"/>
                <a:buFont typeface="HP Simplified" panose="020B0604020204020204" pitchFamily="34" charset="0"/>
                <a:buNone/>
                <a:defRPr sz="1799" kern="1200">
                  <a:solidFill>
                    <a:schemeClr val="tx1"/>
                  </a:solidFill>
                  <a:latin typeface="+mn-lt"/>
                  <a:ea typeface="+mn-ea"/>
                  <a:cs typeface="+mn-cs"/>
                </a:defRPr>
              </a:lvl6pPr>
              <a:lvl7pPr marL="0" indent="0" algn="l" defTabSz="914126" rtl="0" eaLnBrk="1" latinLnBrk="0" hangingPunct="1">
                <a:lnSpc>
                  <a:spcPct val="90000"/>
                </a:lnSpc>
                <a:spcBef>
                  <a:spcPts val="0"/>
                </a:spcBef>
                <a:buClr>
                  <a:schemeClr val="tx1"/>
                </a:buClr>
                <a:buFont typeface="HP Simplified" panose="020B0604020204020204" pitchFamily="34" charset="0"/>
                <a:buNone/>
                <a:defRPr sz="1799" kern="1200">
                  <a:solidFill>
                    <a:schemeClr val="tx1"/>
                  </a:solidFill>
                  <a:latin typeface="+mn-lt"/>
                  <a:ea typeface="+mn-ea"/>
                  <a:cs typeface="+mn-cs"/>
                </a:defRPr>
              </a:lvl7pPr>
              <a:lvl8pPr marL="0" indent="0" algn="l" defTabSz="914126" rtl="0" eaLnBrk="1" latinLnBrk="0" hangingPunct="1">
                <a:lnSpc>
                  <a:spcPct val="90000"/>
                </a:lnSpc>
                <a:spcBef>
                  <a:spcPts val="0"/>
                </a:spcBef>
                <a:buClr>
                  <a:schemeClr val="tx1"/>
                </a:buClr>
                <a:buSzPct val="80000"/>
                <a:buFont typeface="HP Simplified" panose="020B0604020204020204" pitchFamily="34" charset="0"/>
                <a:buNone/>
                <a:defRPr sz="1799" kern="1200">
                  <a:solidFill>
                    <a:schemeClr val="tx1"/>
                  </a:solidFill>
                  <a:latin typeface="+mn-lt"/>
                  <a:ea typeface="+mn-ea"/>
                  <a:cs typeface="+mn-cs"/>
                </a:defRPr>
              </a:lvl8pPr>
              <a:lvl9pPr marL="0" indent="0" algn="l" defTabSz="914126" rtl="0" eaLnBrk="1" latinLnBrk="0" hangingPunct="1">
                <a:lnSpc>
                  <a:spcPct val="90000"/>
                </a:lnSpc>
                <a:spcBef>
                  <a:spcPts val="0"/>
                </a:spcBef>
                <a:buClr>
                  <a:schemeClr val="tx1"/>
                </a:buClr>
                <a:buFont typeface="HP Simplified" panose="020B0604020204020204" pitchFamily="34" charset="0"/>
                <a:buNone/>
                <a:defRPr sz="1799" kern="1200">
                  <a:solidFill>
                    <a:schemeClr val="tx1"/>
                  </a:solidFill>
                  <a:latin typeface="+mn-lt"/>
                  <a:ea typeface="+mn-ea"/>
                  <a:cs typeface="+mn-cs"/>
                </a:defRPr>
              </a:lvl9pPr>
            </a:lstStyle>
            <a:p>
              <a:pPr marL="0" marR="0" lvl="0" indent="0" algn="ctr" defTabSz="914126" rtl="0" eaLnBrk="1" fontAlgn="auto" latinLnBrk="0" hangingPunct="1">
                <a:lnSpc>
                  <a:spcPct val="90000"/>
                </a:lnSpc>
                <a:spcBef>
                  <a:spcPts val="0"/>
                </a:spcBef>
                <a:spcAft>
                  <a:spcPts val="0"/>
                </a:spcAft>
                <a:buClr>
                  <a:prstClr val="black"/>
                </a:buClr>
                <a:buSzTx/>
                <a:buFont typeface="HP Simplified" panose="020B0604020204020204" pitchFamily="34" charset="0"/>
                <a:buNone/>
                <a:tabLst/>
                <a:defRPr/>
              </a:pPr>
              <a:r>
                <a:rPr kumimoji="0" lang="en-US" sz="1600" b="1" i="0" u="none" strike="noStrike" kern="1200" cap="none" spc="0" normalizeH="0" baseline="0" noProof="0" dirty="0">
                  <a:ln>
                    <a:noFill/>
                  </a:ln>
                  <a:solidFill>
                    <a:prstClr val="black"/>
                  </a:solidFill>
                  <a:effectLst/>
                  <a:uLnTx/>
                  <a:uFillTx/>
                  <a:ea typeface="+mn-ea"/>
                  <a:cs typeface="+mn-cs"/>
                </a:rPr>
                <a:t>Big Bets: </a:t>
              </a:r>
            </a:p>
            <a:p>
              <a:pPr marL="0" marR="0" lvl="0" indent="0" algn="ctr" defTabSz="914126" rtl="0" eaLnBrk="1" fontAlgn="auto" latinLnBrk="0" hangingPunct="1">
                <a:lnSpc>
                  <a:spcPct val="90000"/>
                </a:lnSpc>
                <a:spcBef>
                  <a:spcPts val="0"/>
                </a:spcBef>
                <a:spcAft>
                  <a:spcPts val="0"/>
                </a:spcAft>
                <a:buClr>
                  <a:prstClr val="black"/>
                </a:buClr>
                <a:buSzTx/>
                <a:buFont typeface="HP Simplified" panose="020B0604020204020204" pitchFamily="34" charset="0"/>
                <a:buNone/>
                <a:tabLst/>
                <a:defRPr/>
              </a:pPr>
              <a:r>
                <a:rPr kumimoji="0" lang="en-US" sz="1100" b="0" i="0" u="none" strike="noStrike" kern="1200" cap="none" spc="0" normalizeH="0" baseline="0" noProof="0" dirty="0">
                  <a:ln>
                    <a:noFill/>
                  </a:ln>
                  <a:solidFill>
                    <a:prstClr val="black"/>
                  </a:solidFill>
                  <a:effectLst/>
                  <a:uLnTx/>
                  <a:uFillTx/>
                  <a:ea typeface="+mn-ea"/>
                  <a:cs typeface="+mn-cs"/>
                </a:rPr>
                <a:t>Invest aggressively to help the industry reach scale in areas where confidence is high</a:t>
              </a:r>
            </a:p>
          </p:txBody>
        </p:sp>
        <p:sp>
          <p:nvSpPr>
            <p:cNvPr id="26" name="Oval 25">
              <a:extLst>
                <a:ext uri="{FF2B5EF4-FFF2-40B4-BE49-F238E27FC236}">
                  <a16:creationId xmlns:a16="http://schemas.microsoft.com/office/drawing/2014/main" id="{6EF91653-3D86-42EE-AE48-C65CFBED1534}"/>
                </a:ext>
              </a:extLst>
            </p:cNvPr>
            <p:cNvSpPr/>
            <p:nvPr/>
          </p:nvSpPr>
          <p:spPr>
            <a:xfrm>
              <a:off x="2217817" y="3541156"/>
              <a:ext cx="1895656" cy="1801546"/>
            </a:xfrm>
            <a:prstGeom prst="ellipse">
              <a:avLst/>
            </a:prstGeom>
            <a:solidFill>
              <a:schemeClr val="accent5">
                <a:lumMod val="20000"/>
                <a:lumOff val="80000"/>
              </a:schemeClr>
            </a:solidFill>
            <a:ln w="38100">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black"/>
                </a:solidFill>
                <a:effectLst/>
                <a:uLnTx/>
                <a:uFillTx/>
                <a:ea typeface="+mn-ea"/>
                <a:cs typeface="+mn-cs"/>
              </a:endParaRPr>
            </a:p>
          </p:txBody>
        </p:sp>
        <p:sp>
          <p:nvSpPr>
            <p:cNvPr id="27" name="Text Placeholder 7">
              <a:extLst>
                <a:ext uri="{FF2B5EF4-FFF2-40B4-BE49-F238E27FC236}">
                  <a16:creationId xmlns:a16="http://schemas.microsoft.com/office/drawing/2014/main" id="{82EBF4A0-BC2D-4007-8BDA-739AD8E606E5}"/>
                </a:ext>
              </a:extLst>
            </p:cNvPr>
            <p:cNvSpPr txBox="1">
              <a:spLocks/>
            </p:cNvSpPr>
            <p:nvPr/>
          </p:nvSpPr>
          <p:spPr>
            <a:xfrm>
              <a:off x="4452737" y="5186188"/>
              <a:ext cx="2399992" cy="693434"/>
            </a:xfrm>
            <a:prstGeom prst="roundRect">
              <a:avLst/>
            </a:prstGeom>
            <a:solidFill>
              <a:schemeClr val="bg2"/>
            </a:solidFill>
            <a:ln w="19050">
              <a:noFill/>
            </a:ln>
          </p:spPr>
          <p:txBody>
            <a:bodyPr vert="horz" lIns="91440" tIns="91440" rIns="91440" bIns="91440" rtlCol="0" anchor="ctr">
              <a:noAutofit/>
            </a:bodyPr>
            <a:lstStyle>
              <a:defPPr>
                <a:defRPr lang="en-US"/>
              </a:defPPr>
              <a:lvl1pPr indent="0" algn="ctr" defTabSz="914126">
                <a:lnSpc>
                  <a:spcPct val="90000"/>
                </a:lnSpc>
                <a:spcBef>
                  <a:spcPts val="0"/>
                </a:spcBef>
                <a:buClr>
                  <a:schemeClr val="tx1"/>
                </a:buClr>
                <a:buFont typeface="HP Simplified" panose="020B0604020204020204" pitchFamily="34" charset="0"/>
                <a:buNone/>
                <a:defRPr b="1"/>
              </a:lvl1pPr>
              <a:lvl2pPr marL="0" indent="0" defTabSz="914126">
                <a:lnSpc>
                  <a:spcPct val="90000"/>
                </a:lnSpc>
                <a:spcBef>
                  <a:spcPts val="0"/>
                </a:spcBef>
                <a:buClr>
                  <a:schemeClr val="tx1"/>
                </a:buClr>
                <a:buSzPct val="80000"/>
                <a:buFont typeface="HP Simplified" panose="020B0604020204020204" pitchFamily="34" charset="0"/>
                <a:buNone/>
                <a:defRPr sz="1799"/>
              </a:lvl2pPr>
              <a:lvl3pPr marL="0" indent="0" defTabSz="914126">
                <a:lnSpc>
                  <a:spcPct val="90000"/>
                </a:lnSpc>
                <a:spcBef>
                  <a:spcPts val="0"/>
                </a:spcBef>
                <a:buClr>
                  <a:schemeClr val="tx1"/>
                </a:buClr>
                <a:buFont typeface="HP Simplified" panose="020B0604020204020204" pitchFamily="34" charset="0"/>
                <a:buNone/>
                <a:defRPr sz="1799"/>
              </a:lvl3pPr>
              <a:lvl4pPr marL="0" indent="0" defTabSz="914126">
                <a:lnSpc>
                  <a:spcPct val="90000"/>
                </a:lnSpc>
                <a:spcBef>
                  <a:spcPts val="0"/>
                </a:spcBef>
                <a:buClr>
                  <a:schemeClr val="tx1"/>
                </a:buClr>
                <a:buSzPct val="80000"/>
                <a:buFont typeface="HP Simplified" panose="020B0604020204020204" pitchFamily="34" charset="0"/>
                <a:buNone/>
                <a:defRPr sz="1799"/>
              </a:lvl4pPr>
              <a:lvl5pPr marL="0" indent="0" defTabSz="914126">
                <a:lnSpc>
                  <a:spcPct val="90000"/>
                </a:lnSpc>
                <a:spcBef>
                  <a:spcPts val="0"/>
                </a:spcBef>
                <a:buClr>
                  <a:schemeClr val="tx1"/>
                </a:buClr>
                <a:buFont typeface="HP Simplified" panose="020B0604020204020204" pitchFamily="34" charset="0"/>
                <a:buNone/>
                <a:defRPr sz="1799"/>
              </a:lvl5pPr>
              <a:lvl6pPr marL="0" indent="0" defTabSz="914126">
                <a:lnSpc>
                  <a:spcPct val="90000"/>
                </a:lnSpc>
                <a:spcBef>
                  <a:spcPts val="0"/>
                </a:spcBef>
                <a:buClr>
                  <a:schemeClr val="tx1"/>
                </a:buClr>
                <a:buSzPct val="80000"/>
                <a:buFont typeface="HP Simplified" panose="020B0604020204020204" pitchFamily="34" charset="0"/>
                <a:buNone/>
                <a:defRPr sz="1799"/>
              </a:lvl6pPr>
              <a:lvl7pPr marL="0" indent="0" defTabSz="914126">
                <a:lnSpc>
                  <a:spcPct val="90000"/>
                </a:lnSpc>
                <a:spcBef>
                  <a:spcPts val="0"/>
                </a:spcBef>
                <a:buClr>
                  <a:schemeClr val="tx1"/>
                </a:buClr>
                <a:buFont typeface="HP Simplified" panose="020B0604020204020204" pitchFamily="34" charset="0"/>
                <a:buNone/>
                <a:defRPr sz="1799"/>
              </a:lvl7pPr>
              <a:lvl8pPr marL="0" indent="0" defTabSz="914126">
                <a:lnSpc>
                  <a:spcPct val="90000"/>
                </a:lnSpc>
                <a:spcBef>
                  <a:spcPts val="0"/>
                </a:spcBef>
                <a:buClr>
                  <a:schemeClr val="tx1"/>
                </a:buClr>
                <a:buSzPct val="80000"/>
                <a:buFont typeface="HP Simplified" panose="020B0604020204020204" pitchFamily="34" charset="0"/>
                <a:buNone/>
                <a:defRPr sz="1799"/>
              </a:lvl8pPr>
              <a:lvl9pPr marL="0" indent="0" defTabSz="914126">
                <a:lnSpc>
                  <a:spcPct val="90000"/>
                </a:lnSpc>
                <a:spcBef>
                  <a:spcPts val="0"/>
                </a:spcBef>
                <a:buClr>
                  <a:schemeClr val="tx1"/>
                </a:buClr>
                <a:buFont typeface="HP Simplified" panose="020B0604020204020204" pitchFamily="34" charset="0"/>
                <a:buNone/>
                <a:defRPr sz="1799"/>
              </a:lvl9pPr>
            </a:lstStyle>
            <a:p>
              <a:pPr marL="0" marR="0" lvl="0" indent="0" algn="ctr" defTabSz="914126" rtl="0" eaLnBrk="1" fontAlgn="auto" latinLnBrk="0" hangingPunct="1">
                <a:lnSpc>
                  <a:spcPct val="90000"/>
                </a:lnSpc>
                <a:spcBef>
                  <a:spcPts val="0"/>
                </a:spcBef>
                <a:spcAft>
                  <a:spcPts val="0"/>
                </a:spcAft>
                <a:buClr>
                  <a:prstClr val="black"/>
                </a:buClr>
                <a:buSzTx/>
                <a:buFont typeface="HP Simplified" panose="020B0604020204020204" pitchFamily="34" charset="0"/>
                <a:buNone/>
                <a:tabLst/>
                <a:defRPr/>
              </a:pPr>
              <a:r>
                <a:rPr kumimoji="0" lang="en-US" sz="1600" b="1" i="0" u="none" strike="noStrike" kern="1200" cap="none" spc="0" normalizeH="0" baseline="0" noProof="0" dirty="0">
                  <a:ln>
                    <a:noFill/>
                  </a:ln>
                  <a:solidFill>
                    <a:prstClr val="black"/>
                  </a:solidFill>
                  <a:effectLst/>
                  <a:uLnTx/>
                  <a:uFillTx/>
                  <a:ea typeface="+mn-ea"/>
                  <a:cs typeface="+mn-cs"/>
                </a:rPr>
                <a:t>Small Bets: </a:t>
              </a:r>
            </a:p>
            <a:p>
              <a:pPr marL="0" marR="0" lvl="0" indent="0" algn="ctr" defTabSz="914126" rtl="0" eaLnBrk="1" fontAlgn="auto" latinLnBrk="0" hangingPunct="1">
                <a:lnSpc>
                  <a:spcPct val="90000"/>
                </a:lnSpc>
                <a:spcBef>
                  <a:spcPts val="0"/>
                </a:spcBef>
                <a:spcAft>
                  <a:spcPts val="0"/>
                </a:spcAft>
                <a:buClr>
                  <a:prstClr val="black"/>
                </a:buClr>
                <a:buSzTx/>
                <a:buFont typeface="HP Simplified" panose="020B0604020204020204" pitchFamily="34" charset="0"/>
                <a:buNone/>
                <a:tabLst/>
                <a:defRPr/>
              </a:pPr>
              <a:r>
                <a:rPr kumimoji="0" lang="en-US" sz="1100" b="0" i="0" u="none" strike="noStrike" kern="1200" cap="none" spc="0" normalizeH="0" baseline="0" noProof="0" dirty="0">
                  <a:ln>
                    <a:noFill/>
                  </a:ln>
                  <a:solidFill>
                    <a:prstClr val="black"/>
                  </a:solidFill>
                  <a:effectLst/>
                  <a:uLnTx/>
                  <a:uFillTx/>
                  <a:ea typeface="+mn-ea"/>
                  <a:cs typeface="+mn-cs"/>
                </a:rPr>
                <a:t>Limited support to help the industry make steady progress</a:t>
              </a:r>
              <a:endParaRPr kumimoji="0" lang="en-US" sz="1600" b="0" i="0" u="none" strike="noStrike" kern="1200" cap="none" spc="0" normalizeH="0" baseline="0" noProof="0" dirty="0">
                <a:ln>
                  <a:noFill/>
                </a:ln>
                <a:solidFill>
                  <a:prstClr val="black"/>
                </a:solidFill>
                <a:effectLst/>
                <a:uLnTx/>
                <a:uFillTx/>
                <a:ea typeface="+mn-ea"/>
                <a:cs typeface="+mn-cs"/>
              </a:endParaRPr>
            </a:p>
          </p:txBody>
        </p:sp>
        <p:sp>
          <p:nvSpPr>
            <p:cNvPr id="28" name="Oval 27">
              <a:extLst>
                <a:ext uri="{FF2B5EF4-FFF2-40B4-BE49-F238E27FC236}">
                  <a16:creationId xmlns:a16="http://schemas.microsoft.com/office/drawing/2014/main" id="{B1C8EAEC-0D1D-44DB-860E-587EDD58323C}"/>
                </a:ext>
              </a:extLst>
            </p:cNvPr>
            <p:cNvSpPr/>
            <p:nvPr/>
          </p:nvSpPr>
          <p:spPr>
            <a:xfrm>
              <a:off x="3354415" y="4851374"/>
              <a:ext cx="1280036" cy="1280036"/>
            </a:xfrm>
            <a:prstGeom prst="ellipse">
              <a:avLst/>
            </a:prstGeom>
            <a:solidFill>
              <a:schemeClr val="bg2"/>
            </a:solidFill>
            <a:ln w="38100">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900" b="1" i="0" u="none" strike="noStrike" kern="1200" cap="none" spc="0" normalizeH="0" baseline="0" noProof="0" dirty="0">
                <a:ln>
                  <a:noFill/>
                </a:ln>
                <a:solidFill>
                  <a:prstClr val="black"/>
                </a:solidFill>
                <a:effectLst/>
                <a:uLnTx/>
                <a:uFillTx/>
                <a:ea typeface="+mn-ea"/>
                <a:cs typeface="+mn-cs"/>
              </a:endParaRPr>
            </a:p>
          </p:txBody>
        </p:sp>
        <p:cxnSp>
          <p:nvCxnSpPr>
            <p:cNvPr id="29" name="Straight Arrow Connector 28"/>
            <p:cNvCxnSpPr/>
            <p:nvPr/>
          </p:nvCxnSpPr>
          <p:spPr>
            <a:xfrm flipH="1" flipV="1">
              <a:off x="1423989" y="1790246"/>
              <a:ext cx="0" cy="4351934"/>
            </a:xfrm>
            <a:prstGeom prst="straightConnector1">
              <a:avLst/>
            </a:prstGeom>
            <a:ln w="19050">
              <a:solidFill>
                <a:schemeClr val="tx1"/>
              </a:solidFill>
              <a:miter lim="800000"/>
              <a:headEnd w="lg" len="lg"/>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rot="5400000" flipH="1" flipV="1">
              <a:off x="6092975" y="1472789"/>
              <a:ext cx="0" cy="9328757"/>
            </a:xfrm>
            <a:prstGeom prst="straightConnector1">
              <a:avLst/>
            </a:prstGeom>
            <a:ln w="19050">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2949567" y="6224913"/>
              <a:ext cx="6633481" cy="445356"/>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300"/>
                </a:spcAft>
                <a:buClrTx/>
                <a:buSzTx/>
                <a:buFontTx/>
                <a:buNone/>
                <a:tabLst/>
                <a:defRPr/>
              </a:pPr>
              <a:r>
                <a:rPr kumimoji="0" lang="en-US" sz="1600" b="1" i="0" u="none" strike="noStrike" kern="1200" cap="none" spc="0" normalizeH="0" baseline="0" noProof="0" dirty="0">
                  <a:ln>
                    <a:noFill/>
                  </a:ln>
                  <a:solidFill>
                    <a:prstClr val="black"/>
                  </a:solidFill>
                  <a:effectLst/>
                  <a:uLnTx/>
                  <a:uFillTx/>
                  <a:ea typeface="+mn-ea"/>
                  <a:cs typeface="+mn-cs"/>
                </a:rPr>
                <a:t>Strength of </a:t>
              </a:r>
              <a:r>
                <a:rPr lang="en-US" sz="1600" b="1" dirty="0">
                  <a:solidFill>
                    <a:prstClr val="black"/>
                  </a:solidFill>
                </a:rPr>
                <a:t>Consumer Technology Client’s </a:t>
              </a:r>
              <a:r>
                <a:rPr kumimoji="0" lang="en-US" sz="1600" b="1" i="0" u="none" strike="noStrike" kern="1200" cap="none" spc="0" normalizeH="0" baseline="0" noProof="0" dirty="0">
                  <a:ln>
                    <a:noFill/>
                  </a:ln>
                  <a:solidFill>
                    <a:prstClr val="black"/>
                  </a:solidFill>
                  <a:effectLst/>
                  <a:uLnTx/>
                  <a:uFillTx/>
                  <a:ea typeface="+mn-ea"/>
                  <a:cs typeface="+mn-cs"/>
                </a:rPr>
                <a:t>Near-Term Position </a:t>
              </a:r>
              <a:br>
                <a:rPr kumimoji="0" lang="en-US" sz="1600" b="1" i="0" u="none" strike="noStrike" kern="1200" cap="none" spc="0" normalizeH="0" baseline="0" noProof="0" dirty="0">
                  <a:ln>
                    <a:noFill/>
                  </a:ln>
                  <a:solidFill>
                    <a:prstClr val="black"/>
                  </a:solidFill>
                  <a:effectLst/>
                  <a:uLnTx/>
                  <a:uFillTx/>
                  <a:ea typeface="+mn-ea"/>
                  <a:cs typeface="+mn-cs"/>
                </a:rPr>
              </a:br>
              <a:r>
                <a:rPr kumimoji="0" lang="en-US" sz="1100" b="0" i="0" u="none" strike="noStrike" kern="1200" cap="none" spc="0" normalizeH="0" baseline="0" noProof="0" dirty="0">
                  <a:ln>
                    <a:noFill/>
                  </a:ln>
                  <a:solidFill>
                    <a:prstClr val="black"/>
                  </a:solidFill>
                  <a:effectLst/>
                  <a:uLnTx/>
                  <a:uFillTx/>
                  <a:ea typeface="+mn-ea"/>
                  <a:cs typeface="+mn-cs"/>
                </a:rPr>
                <a:t>Assessment of client’s value proposition, ability to accelerate, and existing relationships</a:t>
              </a:r>
              <a:endParaRPr kumimoji="0" lang="en-US" sz="1000" b="0" i="0" u="none" strike="noStrike" kern="1200" cap="none" spc="0" normalizeH="0" baseline="0" noProof="0" dirty="0">
                <a:ln>
                  <a:noFill/>
                </a:ln>
                <a:solidFill>
                  <a:prstClr val="black"/>
                </a:solidFill>
                <a:effectLst/>
                <a:uLnTx/>
                <a:uFillTx/>
                <a:ea typeface="+mn-ea"/>
                <a:cs typeface="+mn-cs"/>
              </a:endParaRPr>
            </a:p>
          </p:txBody>
        </p:sp>
        <p:sp>
          <p:nvSpPr>
            <p:cNvPr id="32" name="TextBox 31"/>
            <p:cNvSpPr txBox="1"/>
            <p:nvPr/>
          </p:nvSpPr>
          <p:spPr>
            <a:xfrm rot="16200000">
              <a:off x="-488027" y="3637879"/>
              <a:ext cx="2993990" cy="551960"/>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ea typeface="+mn-ea"/>
                  <a:cs typeface="+mn-cs"/>
                </a:rPr>
                <a:t>Confidence that the Market will Expand as Sized</a:t>
              </a:r>
            </a:p>
          </p:txBody>
        </p:sp>
        <p:sp>
          <p:nvSpPr>
            <p:cNvPr id="33" name="Oval 32"/>
            <p:cNvSpPr/>
            <p:nvPr/>
          </p:nvSpPr>
          <p:spPr>
            <a:xfrm>
              <a:off x="3472720" y="5007338"/>
              <a:ext cx="980017" cy="996108"/>
            </a:xfrm>
            <a:prstGeom prst="ellipse">
              <a:avLst/>
            </a:prstGeom>
            <a:solidFill>
              <a:schemeClr val="bg1"/>
            </a:solidFill>
            <a:ln w="3810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ea typeface="+mn-ea"/>
                  <a:cs typeface="+mn-cs"/>
                </a:rPr>
                <a:t>Medical Equipment</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0.9B</a:t>
              </a:r>
              <a:endParaRPr kumimoji="0" lang="en-US" sz="900" b="1" i="0" u="none" strike="noStrike" kern="1200" cap="none" spc="0" normalizeH="0" baseline="0" noProof="0" dirty="0">
                <a:ln>
                  <a:noFill/>
                </a:ln>
                <a:solidFill>
                  <a:prstClr val="black"/>
                </a:solidFill>
                <a:effectLst/>
                <a:uLnTx/>
                <a:uFillTx/>
                <a:ea typeface="+mn-ea"/>
                <a:cs typeface="+mn-cs"/>
              </a:endParaRPr>
            </a:p>
          </p:txBody>
        </p:sp>
        <p:sp>
          <p:nvSpPr>
            <p:cNvPr id="34" name="Oval 33"/>
            <p:cNvSpPr/>
            <p:nvPr/>
          </p:nvSpPr>
          <p:spPr>
            <a:xfrm>
              <a:off x="8599392" y="1615632"/>
              <a:ext cx="1172532" cy="1114322"/>
            </a:xfrm>
            <a:prstGeom prst="ellipse">
              <a:avLst/>
            </a:prstGeom>
            <a:solidFill>
              <a:schemeClr val="bg1"/>
            </a:solidFill>
            <a:ln w="38100">
              <a:solidFill>
                <a:schemeClr val="tx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Machinery &amp; Equipment</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TBD</a:t>
              </a:r>
              <a:r>
                <a:rPr kumimoji="0" lang="en-US" sz="1200" b="1" i="0" u="none" strike="noStrike" kern="1200" cap="none" spc="0" normalizeH="0" baseline="30000" noProof="0" dirty="0">
                  <a:ln>
                    <a:noFill/>
                  </a:ln>
                  <a:solidFill>
                    <a:prstClr val="black"/>
                  </a:solidFill>
                  <a:effectLst/>
                  <a:uLnTx/>
                  <a:uFillTx/>
                  <a:ea typeface="+mn-ea"/>
                  <a:cs typeface="+mn-cs"/>
                </a:rPr>
                <a:t>1</a:t>
              </a:r>
              <a:endParaRPr kumimoji="0" lang="en-US" sz="1600" b="1" i="0" u="none" strike="noStrike" kern="1200" cap="none" spc="0" normalizeH="0" baseline="0" noProof="0" dirty="0">
                <a:ln>
                  <a:noFill/>
                </a:ln>
                <a:solidFill>
                  <a:prstClr val="black"/>
                </a:solidFill>
                <a:effectLst/>
                <a:uLnTx/>
                <a:uFillTx/>
                <a:ea typeface="+mn-ea"/>
                <a:cs typeface="+mn-cs"/>
              </a:endParaRPr>
            </a:p>
          </p:txBody>
        </p:sp>
        <p:sp>
          <p:nvSpPr>
            <p:cNvPr id="35" name="Oval 34">
              <a:extLst>
                <a:ext uri="{FF2B5EF4-FFF2-40B4-BE49-F238E27FC236}">
                  <a16:creationId xmlns:a16="http://schemas.microsoft.com/office/drawing/2014/main" id="{440EC61A-CB65-476C-B56B-897BFA54D9B9}"/>
                </a:ext>
              </a:extLst>
            </p:cNvPr>
            <p:cNvSpPr/>
            <p:nvPr/>
          </p:nvSpPr>
          <p:spPr>
            <a:xfrm>
              <a:off x="3575501" y="2670725"/>
              <a:ext cx="1895656" cy="1801546"/>
            </a:xfrm>
            <a:prstGeom prst="ellipse">
              <a:avLst/>
            </a:prstGeom>
            <a:solidFill>
              <a:schemeClr val="accent5">
                <a:lumMod val="20000"/>
                <a:lumOff val="80000"/>
              </a:schemeClr>
            </a:solidFill>
            <a:ln w="38100">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ea typeface="+mn-ea"/>
                <a:cs typeface="+mn-cs"/>
              </a:endParaRPr>
            </a:p>
          </p:txBody>
        </p:sp>
        <p:sp>
          <p:nvSpPr>
            <p:cNvPr id="36" name="Oval 35"/>
            <p:cNvSpPr/>
            <p:nvPr/>
          </p:nvSpPr>
          <p:spPr>
            <a:xfrm>
              <a:off x="3751608" y="2830073"/>
              <a:ext cx="1543442" cy="1466818"/>
            </a:xfrm>
            <a:prstGeom prst="ellipse">
              <a:avLst/>
            </a:prstGeom>
            <a:solidFill>
              <a:schemeClr val="bg1"/>
            </a:solidFill>
            <a:ln w="3810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ea typeface="+mn-ea"/>
                  <a:cs typeface="+mn-cs"/>
                </a:rPr>
                <a:t>Footwear</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ea typeface="+mn-ea"/>
                  <a:cs typeface="+mn-cs"/>
                </a:rPr>
                <a:t>$</a:t>
              </a:r>
              <a:r>
                <a:rPr lang="en-US" sz="2400" b="1" dirty="0">
                  <a:solidFill>
                    <a:prstClr val="black"/>
                  </a:solidFill>
                </a:rPr>
                <a:t>2.3</a:t>
              </a:r>
              <a:r>
                <a:rPr kumimoji="0" lang="en-US" sz="2400" b="1" i="0" u="none" strike="noStrike" kern="1200" cap="none" spc="0" normalizeH="0" baseline="0" noProof="0" dirty="0">
                  <a:ln>
                    <a:noFill/>
                  </a:ln>
                  <a:solidFill>
                    <a:prstClr val="black"/>
                  </a:solidFill>
                  <a:effectLst/>
                  <a:uLnTx/>
                  <a:uFillTx/>
                  <a:ea typeface="+mn-ea"/>
                  <a:cs typeface="+mn-cs"/>
                </a:rPr>
                <a:t>B</a:t>
              </a:r>
            </a:p>
          </p:txBody>
        </p:sp>
        <p:sp>
          <p:nvSpPr>
            <p:cNvPr id="37" name="Text Placeholder 7">
              <a:extLst>
                <a:ext uri="{FF2B5EF4-FFF2-40B4-BE49-F238E27FC236}">
                  <a16:creationId xmlns:a16="http://schemas.microsoft.com/office/drawing/2014/main" id="{82EBF4A0-BC2D-4007-8BDA-739AD8E606E5}"/>
                </a:ext>
              </a:extLst>
            </p:cNvPr>
            <p:cNvSpPr txBox="1">
              <a:spLocks/>
            </p:cNvSpPr>
            <p:nvPr/>
          </p:nvSpPr>
          <p:spPr>
            <a:xfrm>
              <a:off x="8645021" y="2834663"/>
              <a:ext cx="2017363" cy="1263374"/>
            </a:xfrm>
            <a:prstGeom prst="roundRect">
              <a:avLst/>
            </a:prstGeom>
            <a:solidFill>
              <a:schemeClr val="bg1"/>
            </a:solidFill>
            <a:ln w="19050">
              <a:solidFill>
                <a:schemeClr val="tx1"/>
              </a:solidFill>
              <a:prstDash val="sysDot"/>
            </a:ln>
          </p:spPr>
          <p:txBody>
            <a:bodyPr vert="horz" lIns="91440" tIns="91440" rIns="91440" bIns="91440" rtlCol="0" anchor="ctr">
              <a:noAutofit/>
            </a:bodyPr>
            <a:lstStyle>
              <a:defPPr>
                <a:defRPr lang="en-US"/>
              </a:defPPr>
              <a:lvl1pPr indent="0" algn="ctr" defTabSz="914126">
                <a:lnSpc>
                  <a:spcPct val="90000"/>
                </a:lnSpc>
                <a:spcBef>
                  <a:spcPts val="0"/>
                </a:spcBef>
                <a:buClr>
                  <a:schemeClr val="tx1"/>
                </a:buClr>
                <a:buFont typeface="HP Simplified" panose="020B0604020204020204" pitchFamily="34" charset="0"/>
                <a:buNone/>
                <a:defRPr b="1"/>
              </a:lvl1pPr>
              <a:lvl2pPr marL="0" indent="0" defTabSz="914126">
                <a:lnSpc>
                  <a:spcPct val="90000"/>
                </a:lnSpc>
                <a:spcBef>
                  <a:spcPts val="0"/>
                </a:spcBef>
                <a:buClr>
                  <a:schemeClr val="tx1"/>
                </a:buClr>
                <a:buSzPct val="80000"/>
                <a:buFont typeface="HP Simplified" panose="020B0604020204020204" pitchFamily="34" charset="0"/>
                <a:buNone/>
                <a:defRPr sz="1799"/>
              </a:lvl2pPr>
              <a:lvl3pPr marL="0" indent="0" defTabSz="914126">
                <a:lnSpc>
                  <a:spcPct val="90000"/>
                </a:lnSpc>
                <a:spcBef>
                  <a:spcPts val="0"/>
                </a:spcBef>
                <a:buClr>
                  <a:schemeClr val="tx1"/>
                </a:buClr>
                <a:buFont typeface="HP Simplified" panose="020B0604020204020204" pitchFamily="34" charset="0"/>
                <a:buNone/>
                <a:defRPr sz="1799"/>
              </a:lvl3pPr>
              <a:lvl4pPr marL="0" indent="0" defTabSz="914126">
                <a:lnSpc>
                  <a:spcPct val="90000"/>
                </a:lnSpc>
                <a:spcBef>
                  <a:spcPts val="0"/>
                </a:spcBef>
                <a:buClr>
                  <a:schemeClr val="tx1"/>
                </a:buClr>
                <a:buSzPct val="80000"/>
                <a:buFont typeface="HP Simplified" panose="020B0604020204020204" pitchFamily="34" charset="0"/>
                <a:buNone/>
                <a:defRPr sz="1799"/>
              </a:lvl4pPr>
              <a:lvl5pPr marL="0" indent="0" defTabSz="914126">
                <a:lnSpc>
                  <a:spcPct val="90000"/>
                </a:lnSpc>
                <a:spcBef>
                  <a:spcPts val="0"/>
                </a:spcBef>
                <a:buClr>
                  <a:schemeClr val="tx1"/>
                </a:buClr>
                <a:buFont typeface="HP Simplified" panose="020B0604020204020204" pitchFamily="34" charset="0"/>
                <a:buNone/>
                <a:defRPr sz="1799"/>
              </a:lvl5pPr>
              <a:lvl6pPr marL="0" indent="0" defTabSz="914126">
                <a:lnSpc>
                  <a:spcPct val="90000"/>
                </a:lnSpc>
                <a:spcBef>
                  <a:spcPts val="0"/>
                </a:spcBef>
                <a:buClr>
                  <a:schemeClr val="tx1"/>
                </a:buClr>
                <a:buSzPct val="80000"/>
                <a:buFont typeface="HP Simplified" panose="020B0604020204020204" pitchFamily="34" charset="0"/>
                <a:buNone/>
                <a:defRPr sz="1799"/>
              </a:lvl6pPr>
              <a:lvl7pPr marL="0" indent="0" defTabSz="914126">
                <a:lnSpc>
                  <a:spcPct val="90000"/>
                </a:lnSpc>
                <a:spcBef>
                  <a:spcPts val="0"/>
                </a:spcBef>
                <a:buClr>
                  <a:schemeClr val="tx1"/>
                </a:buClr>
                <a:buFont typeface="HP Simplified" panose="020B0604020204020204" pitchFamily="34" charset="0"/>
                <a:buNone/>
                <a:defRPr sz="1799"/>
              </a:lvl7pPr>
              <a:lvl8pPr marL="0" indent="0" defTabSz="914126">
                <a:lnSpc>
                  <a:spcPct val="90000"/>
                </a:lnSpc>
                <a:spcBef>
                  <a:spcPts val="0"/>
                </a:spcBef>
                <a:buClr>
                  <a:schemeClr val="tx1"/>
                </a:buClr>
                <a:buSzPct val="80000"/>
                <a:buFont typeface="HP Simplified" panose="020B0604020204020204" pitchFamily="34" charset="0"/>
                <a:buNone/>
                <a:defRPr sz="1799"/>
              </a:lvl8pPr>
              <a:lvl9pPr marL="0" indent="0" defTabSz="914126">
                <a:lnSpc>
                  <a:spcPct val="90000"/>
                </a:lnSpc>
                <a:spcBef>
                  <a:spcPts val="0"/>
                </a:spcBef>
                <a:buClr>
                  <a:schemeClr val="tx1"/>
                </a:buClr>
                <a:buFont typeface="HP Simplified" panose="020B0604020204020204" pitchFamily="34" charset="0"/>
                <a:buNone/>
                <a:defRPr sz="1799"/>
              </a:lvl9pPr>
            </a:lstStyle>
            <a:p>
              <a:pPr marL="0" marR="0" lvl="0" indent="0" algn="ctr" defTabSz="914126" rtl="0" eaLnBrk="1" fontAlgn="auto" latinLnBrk="0" hangingPunct="1">
                <a:lnSpc>
                  <a:spcPct val="90000"/>
                </a:lnSpc>
                <a:spcBef>
                  <a:spcPts val="0"/>
                </a:spcBef>
                <a:spcAft>
                  <a:spcPts val="0"/>
                </a:spcAft>
                <a:buClr>
                  <a:prstClr val="black"/>
                </a:buClr>
                <a:buSzTx/>
                <a:buFont typeface="HP Simplified" panose="020B0604020204020204" pitchFamily="34" charset="0"/>
                <a:buNone/>
                <a:tabLst/>
                <a:defRPr/>
              </a:pPr>
              <a:r>
                <a:rPr kumimoji="0" lang="en-US" sz="1600" b="1" i="0" u="none" strike="noStrike" kern="1200" cap="none" spc="0" normalizeH="0" baseline="0" noProof="0" dirty="0">
                  <a:ln>
                    <a:noFill/>
                  </a:ln>
                  <a:solidFill>
                    <a:prstClr val="black"/>
                  </a:solidFill>
                  <a:effectLst/>
                  <a:uLnTx/>
                  <a:uFillTx/>
                  <a:ea typeface="+mn-ea"/>
                  <a:cs typeface="+mn-cs"/>
                </a:rPr>
                <a:t>Near-Term Traction Bets</a:t>
              </a:r>
              <a:r>
                <a:rPr kumimoji="0" lang="en-US" sz="1600" b="1" i="0" u="none" strike="noStrike" kern="1200" cap="none" spc="0" normalizeH="0" baseline="30000" noProof="0" dirty="0">
                  <a:ln>
                    <a:noFill/>
                  </a:ln>
                  <a:solidFill>
                    <a:prstClr val="black"/>
                  </a:solidFill>
                  <a:effectLst/>
                  <a:uLnTx/>
                  <a:uFillTx/>
                  <a:ea typeface="+mn-ea"/>
                  <a:cs typeface="+mn-cs"/>
                </a:rPr>
                <a:t>1</a:t>
              </a:r>
              <a:r>
                <a:rPr kumimoji="0" lang="en-US" sz="1600" b="1" i="0" u="none" strike="noStrike" kern="1200" cap="none" spc="0" normalizeH="0" baseline="0" noProof="0" dirty="0">
                  <a:ln>
                    <a:noFill/>
                  </a:ln>
                  <a:solidFill>
                    <a:prstClr val="black"/>
                  </a:solidFill>
                  <a:effectLst/>
                  <a:uLnTx/>
                  <a:uFillTx/>
                  <a:ea typeface="+mn-ea"/>
                  <a:cs typeface="+mn-cs"/>
                </a:rPr>
                <a:t>: </a:t>
              </a:r>
              <a:r>
                <a:rPr kumimoji="0" lang="en-US" sz="1100" b="0" i="0" u="none" strike="noStrike" kern="1200" cap="none" spc="0" normalizeH="0" baseline="0" noProof="0" dirty="0">
                  <a:ln>
                    <a:noFill/>
                  </a:ln>
                  <a:solidFill>
                    <a:prstClr val="black"/>
                  </a:solidFill>
                  <a:effectLst/>
                  <a:uLnTx/>
                  <a:uFillTx/>
                  <a:ea typeface="+mn-ea"/>
                  <a:cs typeface="+mn-cs"/>
                </a:rPr>
                <a:t>Investment where Client is positioned for near-term sales, but long-term potential is limited</a:t>
              </a:r>
              <a:endParaRPr kumimoji="0" lang="en-US" sz="1600" b="0" i="0" u="none" strike="noStrike" kern="1200" cap="none" spc="0" normalizeH="0" baseline="0" noProof="0" dirty="0">
                <a:ln>
                  <a:noFill/>
                </a:ln>
                <a:solidFill>
                  <a:prstClr val="black"/>
                </a:solidFill>
                <a:effectLst/>
                <a:uLnTx/>
                <a:uFillTx/>
                <a:ea typeface="+mn-ea"/>
                <a:cs typeface="+mn-cs"/>
              </a:endParaRPr>
            </a:p>
          </p:txBody>
        </p:sp>
        <p:sp>
          <p:nvSpPr>
            <p:cNvPr id="38" name="Oval 37"/>
            <p:cNvSpPr/>
            <p:nvPr/>
          </p:nvSpPr>
          <p:spPr>
            <a:xfrm>
              <a:off x="9791239" y="1790247"/>
              <a:ext cx="948953" cy="948953"/>
            </a:xfrm>
            <a:prstGeom prst="ellipse">
              <a:avLst/>
            </a:prstGeom>
            <a:solidFill>
              <a:schemeClr val="bg1"/>
            </a:solidFill>
            <a:ln w="38100">
              <a:solidFill>
                <a:schemeClr val="tx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Orthotic / Prosthetic/ Dental</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0.2B</a:t>
              </a:r>
              <a:r>
                <a:rPr kumimoji="0" lang="en-US" sz="1100" b="1" i="0" u="none" strike="noStrike" kern="1200" cap="none" spc="0" normalizeH="0" baseline="30000" noProof="0" dirty="0">
                  <a:ln>
                    <a:noFill/>
                  </a:ln>
                  <a:solidFill>
                    <a:prstClr val="black"/>
                  </a:solidFill>
                  <a:effectLst/>
                  <a:uLnTx/>
                  <a:uFillTx/>
                  <a:ea typeface="+mn-ea"/>
                  <a:cs typeface="+mn-cs"/>
                </a:rPr>
                <a:t>1</a:t>
              </a:r>
              <a:endParaRPr kumimoji="0" lang="en-US" sz="1200" b="1" i="0" u="none" strike="noStrike" kern="1200" cap="none" spc="0" normalizeH="0" baseline="0" noProof="0" dirty="0">
                <a:ln>
                  <a:noFill/>
                </a:ln>
                <a:solidFill>
                  <a:prstClr val="black"/>
                </a:solidFill>
                <a:effectLst/>
                <a:uLnTx/>
                <a:uFillTx/>
                <a:ea typeface="+mn-ea"/>
                <a:cs typeface="+mn-cs"/>
              </a:endParaRPr>
            </a:p>
          </p:txBody>
        </p:sp>
        <p:sp>
          <p:nvSpPr>
            <p:cNvPr id="40" name="TextBox 39">
              <a:extLst>
                <a:ext uri="{FF2B5EF4-FFF2-40B4-BE49-F238E27FC236}">
                  <a16:creationId xmlns:a16="http://schemas.microsoft.com/office/drawing/2014/main" id="{7F10EE0E-A0C9-482B-B9F6-DA22C6A1FF98}"/>
                </a:ext>
              </a:extLst>
            </p:cNvPr>
            <p:cNvSpPr txBox="1"/>
            <p:nvPr/>
          </p:nvSpPr>
          <p:spPr>
            <a:xfrm>
              <a:off x="170160" y="1783551"/>
              <a:ext cx="1642915" cy="421870"/>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High</a:t>
              </a:r>
            </a:p>
          </p:txBody>
        </p:sp>
        <p:sp>
          <p:nvSpPr>
            <p:cNvPr id="41" name="TextBox 40">
              <a:extLst>
                <a:ext uri="{FF2B5EF4-FFF2-40B4-BE49-F238E27FC236}">
                  <a16:creationId xmlns:a16="http://schemas.microsoft.com/office/drawing/2014/main" id="{78A38CF0-A9BB-4263-9918-43E4EC53019D}"/>
                </a:ext>
              </a:extLst>
            </p:cNvPr>
            <p:cNvSpPr txBox="1"/>
            <p:nvPr/>
          </p:nvSpPr>
          <p:spPr>
            <a:xfrm>
              <a:off x="170159" y="5709268"/>
              <a:ext cx="1642915" cy="421870"/>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Low</a:t>
              </a:r>
            </a:p>
          </p:txBody>
        </p:sp>
        <p:sp>
          <p:nvSpPr>
            <p:cNvPr id="42" name="TextBox 41">
              <a:extLst>
                <a:ext uri="{FF2B5EF4-FFF2-40B4-BE49-F238E27FC236}">
                  <a16:creationId xmlns:a16="http://schemas.microsoft.com/office/drawing/2014/main" id="{19FBE9DE-36BA-4A6F-9D4D-6CAE016885B9}"/>
                </a:ext>
              </a:extLst>
            </p:cNvPr>
            <p:cNvSpPr txBox="1"/>
            <p:nvPr/>
          </p:nvSpPr>
          <p:spPr>
            <a:xfrm>
              <a:off x="1078365" y="6248399"/>
              <a:ext cx="1642915" cy="421870"/>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Low</a:t>
              </a:r>
            </a:p>
          </p:txBody>
        </p:sp>
        <p:sp>
          <p:nvSpPr>
            <p:cNvPr id="43" name="TextBox 42">
              <a:extLst>
                <a:ext uri="{FF2B5EF4-FFF2-40B4-BE49-F238E27FC236}">
                  <a16:creationId xmlns:a16="http://schemas.microsoft.com/office/drawing/2014/main" id="{31B08E19-F8D2-40EA-A006-05FE38F7D939}"/>
                </a:ext>
              </a:extLst>
            </p:cNvPr>
            <p:cNvSpPr txBox="1"/>
            <p:nvPr/>
          </p:nvSpPr>
          <p:spPr>
            <a:xfrm>
              <a:off x="9490547" y="6253379"/>
              <a:ext cx="1642915" cy="421870"/>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High</a:t>
              </a:r>
            </a:p>
          </p:txBody>
        </p:sp>
        <p:sp>
          <p:nvSpPr>
            <p:cNvPr id="44" name="Oval 43">
              <a:extLst>
                <a:ext uri="{FF2B5EF4-FFF2-40B4-BE49-F238E27FC236}">
                  <a16:creationId xmlns:a16="http://schemas.microsoft.com/office/drawing/2014/main" id="{920F46EC-66CE-4BE4-9B44-60CB13B72C00}"/>
                </a:ext>
              </a:extLst>
            </p:cNvPr>
            <p:cNvSpPr/>
            <p:nvPr/>
          </p:nvSpPr>
          <p:spPr>
            <a:xfrm>
              <a:off x="5653556" y="1755441"/>
              <a:ext cx="2674217" cy="2541451"/>
            </a:xfrm>
            <a:prstGeom prst="ellipse">
              <a:avLst/>
            </a:prstGeom>
            <a:solidFill>
              <a:schemeClr val="accent1">
                <a:lumMod val="20000"/>
                <a:lumOff val="80000"/>
                <a:alpha val="50196"/>
              </a:schemeClr>
            </a:solidFill>
            <a:ln w="38100">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5" name="Oval 44">
              <a:extLst>
                <a:ext uri="{FF2B5EF4-FFF2-40B4-BE49-F238E27FC236}">
                  <a16:creationId xmlns:a16="http://schemas.microsoft.com/office/drawing/2014/main" id="{DE137A59-82CF-4EAF-AD94-1077D0C15E64}"/>
                </a:ext>
              </a:extLst>
            </p:cNvPr>
            <p:cNvSpPr/>
            <p:nvPr/>
          </p:nvSpPr>
          <p:spPr>
            <a:xfrm>
              <a:off x="5652733" y="3217872"/>
              <a:ext cx="1551330" cy="1474314"/>
            </a:xfrm>
            <a:prstGeom prst="ellipse">
              <a:avLst/>
            </a:prstGeom>
            <a:solidFill>
              <a:schemeClr val="accent1">
                <a:lumMod val="20000"/>
                <a:lumOff val="80000"/>
                <a:alpha val="50196"/>
              </a:schemeClr>
            </a:solidFill>
            <a:ln w="38100">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black"/>
                </a:solidFill>
                <a:effectLst/>
                <a:uLnTx/>
                <a:uFillTx/>
                <a:ea typeface="+mn-ea"/>
                <a:cs typeface="+mn-cs"/>
              </a:endParaRPr>
            </a:p>
          </p:txBody>
        </p:sp>
        <p:sp>
          <p:nvSpPr>
            <p:cNvPr id="46" name="Oval 45"/>
            <p:cNvSpPr/>
            <p:nvPr/>
          </p:nvSpPr>
          <p:spPr>
            <a:xfrm>
              <a:off x="5900758" y="1995667"/>
              <a:ext cx="2201556" cy="2092258"/>
            </a:xfrm>
            <a:prstGeom prst="ellipse">
              <a:avLst/>
            </a:prstGeom>
            <a:solidFill>
              <a:schemeClr val="bg1"/>
            </a:solidFill>
            <a:ln w="3810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ea typeface="+mn-ea"/>
                  <a:cs typeface="+mn-cs"/>
                </a:rPr>
                <a:t>Automobiles</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ea typeface="+mn-ea"/>
                  <a:cs typeface="+mn-cs"/>
                </a:rPr>
                <a:t>$</a:t>
              </a:r>
              <a:r>
                <a:rPr lang="en-US" sz="2800" b="1" dirty="0">
                  <a:solidFill>
                    <a:prstClr val="black"/>
                  </a:solidFill>
                </a:rPr>
                <a:t>4.0</a:t>
              </a:r>
              <a:r>
                <a:rPr kumimoji="0" lang="en-US" sz="2800" b="1" i="0" u="none" strike="noStrike" kern="1200" cap="none" spc="0" normalizeH="0" baseline="0" noProof="0" dirty="0">
                  <a:ln>
                    <a:noFill/>
                  </a:ln>
                  <a:solidFill>
                    <a:prstClr val="black"/>
                  </a:solidFill>
                  <a:effectLst/>
                  <a:uLnTx/>
                  <a:uFillTx/>
                  <a:ea typeface="+mn-ea"/>
                  <a:cs typeface="+mn-cs"/>
                </a:rPr>
                <a:t>B</a:t>
              </a:r>
            </a:p>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7" name="Oval 46"/>
            <p:cNvSpPr/>
            <p:nvPr/>
          </p:nvSpPr>
          <p:spPr>
            <a:xfrm>
              <a:off x="5790668" y="3337529"/>
              <a:ext cx="1277138" cy="1213734"/>
            </a:xfrm>
            <a:prstGeom prst="ellipse">
              <a:avLst/>
            </a:prstGeom>
            <a:solidFill>
              <a:schemeClr val="bg1"/>
            </a:solidFill>
            <a:ln w="3810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ea typeface="+mn-ea"/>
                  <a:cs typeface="+mn-cs"/>
                </a:rPr>
                <a:t>Trucks</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ea typeface="+mn-ea"/>
                  <a:cs typeface="+mn-cs"/>
                </a:rPr>
                <a:t>$0.5B</a:t>
              </a:r>
            </a:p>
          </p:txBody>
        </p:sp>
        <p:sp>
          <p:nvSpPr>
            <p:cNvPr id="48" name="Oval 47"/>
            <p:cNvSpPr/>
            <p:nvPr/>
          </p:nvSpPr>
          <p:spPr>
            <a:xfrm>
              <a:off x="2393924" y="3700504"/>
              <a:ext cx="1543442" cy="1466818"/>
            </a:xfrm>
            <a:prstGeom prst="ellipse">
              <a:avLst/>
            </a:prstGeom>
            <a:solidFill>
              <a:schemeClr val="bg1"/>
            </a:solidFill>
            <a:ln w="3810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HH Appliances &amp; Audio</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ea typeface="+mn-ea"/>
                  <a:cs typeface="+mn-cs"/>
                </a:rPr>
                <a:t>$</a:t>
              </a:r>
              <a:r>
                <a:rPr lang="en-US" sz="2000" b="1" dirty="0">
                  <a:solidFill>
                    <a:prstClr val="black"/>
                  </a:solidFill>
                </a:rPr>
                <a:t>1.0</a:t>
              </a:r>
              <a:r>
                <a:rPr kumimoji="0" lang="en-US" sz="2000" b="1" i="0" u="none" strike="noStrike" kern="1200" cap="none" spc="0" normalizeH="0" baseline="0" noProof="0" dirty="0">
                  <a:ln>
                    <a:noFill/>
                  </a:ln>
                  <a:solidFill>
                    <a:prstClr val="black"/>
                  </a:solidFill>
                  <a:effectLst/>
                  <a:uLnTx/>
                  <a:uFillTx/>
                  <a:ea typeface="+mn-ea"/>
                  <a:cs typeface="+mn-cs"/>
                </a:rPr>
                <a:t>B</a:t>
              </a:r>
            </a:p>
          </p:txBody>
        </p:sp>
        <p:sp>
          <p:nvSpPr>
            <p:cNvPr id="49" name="Text Placeholder 7">
              <a:extLst>
                <a:ext uri="{FF2B5EF4-FFF2-40B4-BE49-F238E27FC236}">
                  <a16:creationId xmlns:a16="http://schemas.microsoft.com/office/drawing/2014/main" id="{82EBF4A0-BC2D-4007-8BDA-739AD8E606E5}"/>
                </a:ext>
              </a:extLst>
            </p:cNvPr>
            <p:cNvSpPr txBox="1">
              <a:spLocks/>
            </p:cNvSpPr>
            <p:nvPr/>
          </p:nvSpPr>
          <p:spPr>
            <a:xfrm>
              <a:off x="1782177" y="2492054"/>
              <a:ext cx="1914386" cy="1149556"/>
            </a:xfrm>
            <a:prstGeom prst="roundRect">
              <a:avLst/>
            </a:prstGeom>
            <a:solidFill>
              <a:schemeClr val="accent5">
                <a:lumMod val="20000"/>
                <a:lumOff val="80000"/>
              </a:schemeClr>
            </a:solidFill>
            <a:ln w="19050">
              <a:noFill/>
            </a:ln>
          </p:spPr>
          <p:txBody>
            <a:bodyPr vert="horz" lIns="91440" tIns="91440" rIns="91440" bIns="91440" rtlCol="0" anchor="ctr">
              <a:noAutofit/>
            </a:bodyPr>
            <a:lstStyle>
              <a:defPPr>
                <a:defRPr lang="en-US"/>
              </a:defPPr>
              <a:lvl1pPr indent="0" algn="ctr" defTabSz="914126">
                <a:lnSpc>
                  <a:spcPct val="90000"/>
                </a:lnSpc>
                <a:spcBef>
                  <a:spcPts val="0"/>
                </a:spcBef>
                <a:buClr>
                  <a:schemeClr val="tx1"/>
                </a:buClr>
                <a:buFont typeface="HP Simplified" panose="020B0604020204020204" pitchFamily="34" charset="0"/>
                <a:buNone/>
                <a:defRPr b="1"/>
              </a:lvl1pPr>
              <a:lvl2pPr marL="0" indent="0" defTabSz="914126">
                <a:lnSpc>
                  <a:spcPct val="90000"/>
                </a:lnSpc>
                <a:spcBef>
                  <a:spcPts val="0"/>
                </a:spcBef>
                <a:buClr>
                  <a:schemeClr val="tx1"/>
                </a:buClr>
                <a:buSzPct val="80000"/>
                <a:buFont typeface="HP Simplified" panose="020B0604020204020204" pitchFamily="34" charset="0"/>
                <a:buNone/>
                <a:defRPr sz="1799"/>
              </a:lvl2pPr>
              <a:lvl3pPr marL="0" indent="0" defTabSz="914126">
                <a:lnSpc>
                  <a:spcPct val="90000"/>
                </a:lnSpc>
                <a:spcBef>
                  <a:spcPts val="0"/>
                </a:spcBef>
                <a:buClr>
                  <a:schemeClr val="tx1"/>
                </a:buClr>
                <a:buFont typeface="HP Simplified" panose="020B0604020204020204" pitchFamily="34" charset="0"/>
                <a:buNone/>
                <a:defRPr sz="1799"/>
              </a:lvl3pPr>
              <a:lvl4pPr marL="0" indent="0" defTabSz="914126">
                <a:lnSpc>
                  <a:spcPct val="90000"/>
                </a:lnSpc>
                <a:spcBef>
                  <a:spcPts val="0"/>
                </a:spcBef>
                <a:buClr>
                  <a:schemeClr val="tx1"/>
                </a:buClr>
                <a:buSzPct val="80000"/>
                <a:buFont typeface="HP Simplified" panose="020B0604020204020204" pitchFamily="34" charset="0"/>
                <a:buNone/>
                <a:defRPr sz="1799"/>
              </a:lvl4pPr>
              <a:lvl5pPr marL="0" indent="0" defTabSz="914126">
                <a:lnSpc>
                  <a:spcPct val="90000"/>
                </a:lnSpc>
                <a:spcBef>
                  <a:spcPts val="0"/>
                </a:spcBef>
                <a:buClr>
                  <a:schemeClr val="tx1"/>
                </a:buClr>
                <a:buFont typeface="HP Simplified" panose="020B0604020204020204" pitchFamily="34" charset="0"/>
                <a:buNone/>
                <a:defRPr sz="1799"/>
              </a:lvl5pPr>
              <a:lvl6pPr marL="0" indent="0" defTabSz="914126">
                <a:lnSpc>
                  <a:spcPct val="90000"/>
                </a:lnSpc>
                <a:spcBef>
                  <a:spcPts val="0"/>
                </a:spcBef>
                <a:buClr>
                  <a:schemeClr val="tx1"/>
                </a:buClr>
                <a:buSzPct val="80000"/>
                <a:buFont typeface="HP Simplified" panose="020B0604020204020204" pitchFamily="34" charset="0"/>
                <a:buNone/>
                <a:defRPr sz="1799"/>
              </a:lvl6pPr>
              <a:lvl7pPr marL="0" indent="0" defTabSz="914126">
                <a:lnSpc>
                  <a:spcPct val="90000"/>
                </a:lnSpc>
                <a:spcBef>
                  <a:spcPts val="0"/>
                </a:spcBef>
                <a:buClr>
                  <a:schemeClr val="tx1"/>
                </a:buClr>
                <a:buFont typeface="HP Simplified" panose="020B0604020204020204" pitchFamily="34" charset="0"/>
                <a:buNone/>
                <a:defRPr sz="1799"/>
              </a:lvl7pPr>
              <a:lvl8pPr marL="0" indent="0" defTabSz="914126">
                <a:lnSpc>
                  <a:spcPct val="90000"/>
                </a:lnSpc>
                <a:spcBef>
                  <a:spcPts val="0"/>
                </a:spcBef>
                <a:buClr>
                  <a:schemeClr val="tx1"/>
                </a:buClr>
                <a:buSzPct val="80000"/>
                <a:buFont typeface="HP Simplified" panose="020B0604020204020204" pitchFamily="34" charset="0"/>
                <a:buNone/>
                <a:defRPr sz="1799"/>
              </a:lvl8pPr>
              <a:lvl9pPr marL="0" indent="0" defTabSz="914126">
                <a:lnSpc>
                  <a:spcPct val="90000"/>
                </a:lnSpc>
                <a:spcBef>
                  <a:spcPts val="0"/>
                </a:spcBef>
                <a:buClr>
                  <a:schemeClr val="tx1"/>
                </a:buClr>
                <a:buFont typeface="HP Simplified" panose="020B0604020204020204" pitchFamily="34" charset="0"/>
                <a:buNone/>
                <a:defRPr sz="1799"/>
              </a:lvl9pPr>
            </a:lstStyle>
            <a:p>
              <a:pPr marL="0" marR="0" lvl="0" indent="0" algn="ctr" defTabSz="914126" rtl="0" eaLnBrk="1" fontAlgn="auto" latinLnBrk="0" hangingPunct="1">
                <a:lnSpc>
                  <a:spcPct val="90000"/>
                </a:lnSpc>
                <a:spcBef>
                  <a:spcPts val="0"/>
                </a:spcBef>
                <a:spcAft>
                  <a:spcPts val="0"/>
                </a:spcAft>
                <a:buClr>
                  <a:prstClr val="black"/>
                </a:buClr>
                <a:buSzTx/>
                <a:buFont typeface="HP Simplified" panose="020B0604020204020204" pitchFamily="34" charset="0"/>
                <a:buNone/>
                <a:tabLst/>
                <a:defRPr/>
              </a:pPr>
              <a:r>
                <a:rPr kumimoji="0" lang="en-US" sz="1600" b="1" i="0" u="none" strike="noStrike" kern="1200" cap="none" spc="0" normalizeH="0" baseline="0" noProof="0" dirty="0">
                  <a:ln>
                    <a:noFill/>
                  </a:ln>
                  <a:solidFill>
                    <a:prstClr val="black"/>
                  </a:solidFill>
                  <a:effectLst/>
                  <a:uLnTx/>
                  <a:uFillTx/>
                  <a:ea typeface="+mn-ea"/>
                  <a:cs typeface="+mn-cs"/>
                </a:rPr>
                <a:t>Market Confirming Bets: </a:t>
              </a:r>
              <a:r>
                <a:rPr kumimoji="0" lang="en-US" sz="1100" b="0" i="0" u="none" strike="noStrike" kern="1200" cap="none" spc="0" normalizeH="0" baseline="0" noProof="0" dirty="0">
                  <a:ln>
                    <a:noFill/>
                  </a:ln>
                  <a:solidFill>
                    <a:prstClr val="black"/>
                  </a:solidFill>
                  <a:effectLst/>
                  <a:uLnTx/>
                  <a:uFillTx/>
                  <a:ea typeface="+mn-ea"/>
                  <a:cs typeface="+mn-cs"/>
                </a:rPr>
                <a:t>Invest to gain confidence in the critical conditions and drive interest </a:t>
              </a:r>
              <a:endParaRPr kumimoji="0" lang="en-US" sz="1600" b="0" i="0" u="none" strike="noStrike" kern="1200" cap="none" spc="0" normalizeH="0" baseline="0" noProof="0" dirty="0">
                <a:ln>
                  <a:noFill/>
                </a:ln>
                <a:solidFill>
                  <a:prstClr val="black"/>
                </a:solidFill>
                <a:effectLst/>
                <a:uLnTx/>
                <a:uFillTx/>
                <a:ea typeface="+mn-ea"/>
                <a:cs typeface="+mn-cs"/>
              </a:endParaRPr>
            </a:p>
          </p:txBody>
        </p:sp>
      </p:grpSp>
    </p:spTree>
    <p:extLst>
      <p:ext uri="{BB962C8B-B14F-4D97-AF65-F5344CB8AC3E}">
        <p14:creationId xmlns:p14="http://schemas.microsoft.com/office/powerpoint/2010/main" val="73475748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9508"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Market Overview</a:t>
            </a:r>
          </a:p>
        </p:txBody>
      </p:sp>
      <p:sp>
        <p:nvSpPr>
          <p:cNvPr id="3" name="Text Placeholder 2"/>
          <p:cNvSpPr>
            <a:spLocks noGrp="1"/>
          </p:cNvSpPr>
          <p:nvPr>
            <p:ph type="body" sz="quarter" idx="14"/>
          </p:nvPr>
        </p:nvSpPr>
        <p:spPr/>
        <p:txBody>
          <a:bodyPr/>
          <a:lstStyle/>
          <a:p>
            <a:pPr>
              <a:buClr>
                <a:srgbClr val="787878"/>
              </a:buClr>
              <a:defRPr/>
            </a:pPr>
            <a:r>
              <a:rPr lang="en-US" spc="-75" dirty="0">
                <a:solidFill>
                  <a:prstClr val="black"/>
                </a:solidFill>
                <a:cs typeface="Arial" panose="020B0604020202020204" pitchFamily="34" charset="0"/>
              </a:rPr>
              <a:t>Only 26% of companies are currently implementing digital transformation initiatives across their supply chain</a:t>
            </a:r>
          </a:p>
        </p:txBody>
      </p:sp>
      <p:sp>
        <p:nvSpPr>
          <p:cNvPr id="5" name="Text Placeholder 4"/>
          <p:cNvSpPr>
            <a:spLocks noGrp="1"/>
          </p:cNvSpPr>
          <p:nvPr>
            <p:ph type="body" sz="quarter" idx="15"/>
          </p:nvPr>
        </p:nvSpPr>
        <p:spPr/>
        <p:txBody>
          <a:bodyPr/>
          <a:lstStyle/>
          <a:p>
            <a:r>
              <a:rPr lang="en-US" dirty="0"/>
              <a:t>Data Visualization &amp; Infographics</a:t>
            </a:r>
          </a:p>
        </p:txBody>
      </p:sp>
      <p:sp>
        <p:nvSpPr>
          <p:cNvPr id="24" name="object 6"/>
          <p:cNvSpPr/>
          <p:nvPr/>
        </p:nvSpPr>
        <p:spPr>
          <a:xfrm>
            <a:off x="3904679" y="1720559"/>
            <a:ext cx="0" cy="4113529"/>
          </a:xfrm>
          <a:custGeom>
            <a:avLst/>
            <a:gdLst/>
            <a:ahLst/>
            <a:cxnLst/>
            <a:rect l="l" t="t" r="r" b="b"/>
            <a:pathLst>
              <a:path h="4113529">
                <a:moveTo>
                  <a:pt x="0" y="4113085"/>
                </a:moveTo>
                <a:lnTo>
                  <a:pt x="0" y="0"/>
                </a:lnTo>
              </a:path>
            </a:pathLst>
          </a:custGeom>
          <a:ln w="6350">
            <a:solidFill>
              <a:srgbClr val="B2B5B6"/>
            </a:solidFill>
            <a:prstDash val="lg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25" name="object 7"/>
          <p:cNvSpPr/>
          <p:nvPr/>
        </p:nvSpPr>
        <p:spPr>
          <a:xfrm>
            <a:off x="1146162" y="3808249"/>
            <a:ext cx="5485130" cy="0"/>
          </a:xfrm>
          <a:custGeom>
            <a:avLst/>
            <a:gdLst/>
            <a:ahLst/>
            <a:cxnLst/>
            <a:rect l="l" t="t" r="r" b="b"/>
            <a:pathLst>
              <a:path w="5485130">
                <a:moveTo>
                  <a:pt x="0" y="0"/>
                </a:moveTo>
                <a:lnTo>
                  <a:pt x="5484710" y="0"/>
                </a:lnTo>
              </a:path>
            </a:pathLst>
          </a:custGeom>
          <a:ln w="6350">
            <a:solidFill>
              <a:srgbClr val="B2B5B6"/>
            </a:solidFill>
            <a:prstDash val="lg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26" name="object 8"/>
          <p:cNvSpPr/>
          <p:nvPr/>
        </p:nvSpPr>
        <p:spPr>
          <a:xfrm>
            <a:off x="2781691" y="4722203"/>
            <a:ext cx="0" cy="408305"/>
          </a:xfrm>
          <a:custGeom>
            <a:avLst/>
            <a:gdLst/>
            <a:ahLst/>
            <a:cxnLst/>
            <a:rect l="l" t="t" r="r" b="b"/>
            <a:pathLst>
              <a:path h="408304">
                <a:moveTo>
                  <a:pt x="0" y="0"/>
                </a:moveTo>
                <a:lnTo>
                  <a:pt x="0" y="407962"/>
                </a:lnTo>
              </a:path>
            </a:pathLst>
          </a:custGeom>
          <a:ln w="1270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27" name="object 9"/>
          <p:cNvSpPr/>
          <p:nvPr/>
        </p:nvSpPr>
        <p:spPr>
          <a:xfrm>
            <a:off x="3446053" y="4984072"/>
            <a:ext cx="0" cy="372110"/>
          </a:xfrm>
          <a:custGeom>
            <a:avLst/>
            <a:gdLst/>
            <a:ahLst/>
            <a:cxnLst/>
            <a:rect l="l" t="t" r="r" b="b"/>
            <a:pathLst>
              <a:path h="372109">
                <a:moveTo>
                  <a:pt x="0" y="0"/>
                </a:moveTo>
                <a:lnTo>
                  <a:pt x="0" y="371602"/>
                </a:lnTo>
              </a:path>
            </a:pathLst>
          </a:custGeom>
          <a:ln w="1270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28" name="object 10"/>
          <p:cNvSpPr/>
          <p:nvPr/>
        </p:nvSpPr>
        <p:spPr>
          <a:xfrm>
            <a:off x="2318332" y="3242374"/>
            <a:ext cx="0" cy="331470"/>
          </a:xfrm>
          <a:custGeom>
            <a:avLst/>
            <a:gdLst/>
            <a:ahLst/>
            <a:cxnLst/>
            <a:rect l="l" t="t" r="r" b="b"/>
            <a:pathLst>
              <a:path h="331470">
                <a:moveTo>
                  <a:pt x="0" y="0"/>
                </a:moveTo>
                <a:lnTo>
                  <a:pt x="0" y="331114"/>
                </a:lnTo>
              </a:path>
            </a:pathLst>
          </a:custGeom>
          <a:ln w="1270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29" name="object 11"/>
          <p:cNvSpPr/>
          <p:nvPr/>
        </p:nvSpPr>
        <p:spPr>
          <a:xfrm>
            <a:off x="6506368" y="3317631"/>
            <a:ext cx="0" cy="183515"/>
          </a:xfrm>
          <a:custGeom>
            <a:avLst/>
            <a:gdLst/>
            <a:ahLst/>
            <a:cxnLst/>
            <a:rect l="l" t="t" r="r" b="b"/>
            <a:pathLst>
              <a:path h="183514">
                <a:moveTo>
                  <a:pt x="0" y="0"/>
                </a:moveTo>
                <a:lnTo>
                  <a:pt x="0" y="183426"/>
                </a:lnTo>
              </a:path>
            </a:pathLst>
          </a:custGeom>
          <a:ln w="1270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30" name="object 12"/>
          <p:cNvSpPr/>
          <p:nvPr/>
        </p:nvSpPr>
        <p:spPr>
          <a:xfrm>
            <a:off x="1146162" y="1752066"/>
            <a:ext cx="0" cy="4112260"/>
          </a:xfrm>
          <a:custGeom>
            <a:avLst/>
            <a:gdLst/>
            <a:ahLst/>
            <a:cxnLst/>
            <a:rect l="l" t="t" r="r" b="b"/>
            <a:pathLst>
              <a:path h="4112259">
                <a:moveTo>
                  <a:pt x="0" y="4111840"/>
                </a:moveTo>
                <a:lnTo>
                  <a:pt x="0" y="0"/>
                </a:lnTo>
              </a:path>
            </a:pathLst>
          </a:custGeom>
          <a:ln w="6350">
            <a:solidFill>
              <a:schemeClr val="tx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31" name="object 13"/>
          <p:cNvSpPr/>
          <p:nvPr/>
        </p:nvSpPr>
        <p:spPr>
          <a:xfrm>
            <a:off x="1146162" y="5863907"/>
            <a:ext cx="5485130" cy="0"/>
          </a:xfrm>
          <a:custGeom>
            <a:avLst/>
            <a:gdLst/>
            <a:ahLst/>
            <a:cxnLst/>
            <a:rect l="l" t="t" r="r" b="b"/>
            <a:pathLst>
              <a:path w="5485130">
                <a:moveTo>
                  <a:pt x="0" y="0"/>
                </a:moveTo>
                <a:lnTo>
                  <a:pt x="5484710" y="0"/>
                </a:lnTo>
              </a:path>
            </a:pathLst>
          </a:custGeom>
          <a:ln w="6350">
            <a:solidFill>
              <a:schemeClr val="tx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32" name="object 14"/>
          <p:cNvSpPr/>
          <p:nvPr/>
        </p:nvSpPr>
        <p:spPr>
          <a:xfrm>
            <a:off x="4683533" y="3824215"/>
            <a:ext cx="302260" cy="302260"/>
          </a:xfrm>
          <a:custGeom>
            <a:avLst/>
            <a:gdLst/>
            <a:ahLst/>
            <a:cxnLst/>
            <a:rect l="l" t="t" r="r" b="b"/>
            <a:pathLst>
              <a:path w="302260" h="302260">
                <a:moveTo>
                  <a:pt x="150914" y="0"/>
                </a:moveTo>
                <a:lnTo>
                  <a:pt x="103207" y="7694"/>
                </a:lnTo>
                <a:lnTo>
                  <a:pt x="61779" y="29120"/>
                </a:lnTo>
                <a:lnTo>
                  <a:pt x="29113" y="61790"/>
                </a:lnTo>
                <a:lnTo>
                  <a:pt x="7692" y="103217"/>
                </a:lnTo>
                <a:lnTo>
                  <a:pt x="0" y="150914"/>
                </a:lnTo>
                <a:lnTo>
                  <a:pt x="7692" y="198615"/>
                </a:lnTo>
                <a:lnTo>
                  <a:pt x="29113" y="240043"/>
                </a:lnTo>
                <a:lnTo>
                  <a:pt x="61779" y="272711"/>
                </a:lnTo>
                <a:lnTo>
                  <a:pt x="103207" y="294134"/>
                </a:lnTo>
                <a:lnTo>
                  <a:pt x="150914" y="301828"/>
                </a:lnTo>
                <a:lnTo>
                  <a:pt x="198610" y="294134"/>
                </a:lnTo>
                <a:lnTo>
                  <a:pt x="240037" y="272711"/>
                </a:lnTo>
                <a:lnTo>
                  <a:pt x="272707" y="240043"/>
                </a:lnTo>
                <a:lnTo>
                  <a:pt x="294133" y="198615"/>
                </a:lnTo>
                <a:lnTo>
                  <a:pt x="301828" y="150914"/>
                </a:lnTo>
                <a:lnTo>
                  <a:pt x="294133" y="103217"/>
                </a:lnTo>
                <a:lnTo>
                  <a:pt x="272707" y="61790"/>
                </a:lnTo>
                <a:lnTo>
                  <a:pt x="240037" y="29120"/>
                </a:lnTo>
                <a:lnTo>
                  <a:pt x="198610" y="7694"/>
                </a:lnTo>
                <a:lnTo>
                  <a:pt x="150914" y="0"/>
                </a:lnTo>
                <a:close/>
              </a:path>
            </a:pathLst>
          </a:custGeom>
          <a:solidFill>
            <a:schemeClr val="accent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33" name="object 15"/>
          <p:cNvSpPr/>
          <p:nvPr/>
        </p:nvSpPr>
        <p:spPr>
          <a:xfrm>
            <a:off x="4967250" y="4593097"/>
            <a:ext cx="302260" cy="302260"/>
          </a:xfrm>
          <a:custGeom>
            <a:avLst/>
            <a:gdLst/>
            <a:ahLst/>
            <a:cxnLst/>
            <a:rect l="l" t="t" r="r" b="b"/>
            <a:pathLst>
              <a:path w="302260" h="302259">
                <a:moveTo>
                  <a:pt x="150914" y="0"/>
                </a:moveTo>
                <a:lnTo>
                  <a:pt x="103207" y="7693"/>
                </a:lnTo>
                <a:lnTo>
                  <a:pt x="61779" y="29116"/>
                </a:lnTo>
                <a:lnTo>
                  <a:pt x="29113" y="61785"/>
                </a:lnTo>
                <a:lnTo>
                  <a:pt x="7692" y="103212"/>
                </a:lnTo>
                <a:lnTo>
                  <a:pt x="0" y="150914"/>
                </a:lnTo>
                <a:lnTo>
                  <a:pt x="7692" y="198610"/>
                </a:lnTo>
                <a:lnTo>
                  <a:pt x="29113" y="240037"/>
                </a:lnTo>
                <a:lnTo>
                  <a:pt x="61779" y="272707"/>
                </a:lnTo>
                <a:lnTo>
                  <a:pt x="103207" y="294133"/>
                </a:lnTo>
                <a:lnTo>
                  <a:pt x="150914" y="301828"/>
                </a:lnTo>
                <a:lnTo>
                  <a:pt x="198610" y="294133"/>
                </a:lnTo>
                <a:lnTo>
                  <a:pt x="240037" y="272707"/>
                </a:lnTo>
                <a:lnTo>
                  <a:pt x="272707" y="240037"/>
                </a:lnTo>
                <a:lnTo>
                  <a:pt x="294133" y="198610"/>
                </a:lnTo>
                <a:lnTo>
                  <a:pt x="301828" y="150914"/>
                </a:lnTo>
                <a:lnTo>
                  <a:pt x="294133" y="103212"/>
                </a:lnTo>
                <a:lnTo>
                  <a:pt x="272707" y="61785"/>
                </a:lnTo>
                <a:lnTo>
                  <a:pt x="240037" y="29116"/>
                </a:lnTo>
                <a:lnTo>
                  <a:pt x="198610" y="7693"/>
                </a:lnTo>
                <a:lnTo>
                  <a:pt x="150914" y="0"/>
                </a:lnTo>
                <a:close/>
              </a:path>
            </a:pathLst>
          </a:custGeom>
          <a:solidFill>
            <a:schemeClr val="accent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34" name="object 16"/>
          <p:cNvSpPr/>
          <p:nvPr/>
        </p:nvSpPr>
        <p:spPr>
          <a:xfrm>
            <a:off x="6361670" y="3501065"/>
            <a:ext cx="302260" cy="302260"/>
          </a:xfrm>
          <a:custGeom>
            <a:avLst/>
            <a:gdLst/>
            <a:ahLst/>
            <a:cxnLst/>
            <a:rect l="l" t="t" r="r" b="b"/>
            <a:pathLst>
              <a:path w="302259" h="302260">
                <a:moveTo>
                  <a:pt x="150914" y="0"/>
                </a:moveTo>
                <a:lnTo>
                  <a:pt x="103207" y="7693"/>
                </a:lnTo>
                <a:lnTo>
                  <a:pt x="61779" y="29116"/>
                </a:lnTo>
                <a:lnTo>
                  <a:pt x="29113" y="61785"/>
                </a:lnTo>
                <a:lnTo>
                  <a:pt x="7692" y="103212"/>
                </a:lnTo>
                <a:lnTo>
                  <a:pt x="0" y="150914"/>
                </a:lnTo>
                <a:lnTo>
                  <a:pt x="7692" y="198610"/>
                </a:lnTo>
                <a:lnTo>
                  <a:pt x="29113" y="240037"/>
                </a:lnTo>
                <a:lnTo>
                  <a:pt x="61779" y="272707"/>
                </a:lnTo>
                <a:lnTo>
                  <a:pt x="103207" y="294133"/>
                </a:lnTo>
                <a:lnTo>
                  <a:pt x="150914" y="301828"/>
                </a:lnTo>
                <a:lnTo>
                  <a:pt x="198610" y="294133"/>
                </a:lnTo>
                <a:lnTo>
                  <a:pt x="240037" y="272707"/>
                </a:lnTo>
                <a:lnTo>
                  <a:pt x="272707" y="240037"/>
                </a:lnTo>
                <a:lnTo>
                  <a:pt x="294133" y="198610"/>
                </a:lnTo>
                <a:lnTo>
                  <a:pt x="301828" y="150914"/>
                </a:lnTo>
                <a:lnTo>
                  <a:pt x="294133" y="103212"/>
                </a:lnTo>
                <a:lnTo>
                  <a:pt x="272707" y="61785"/>
                </a:lnTo>
                <a:lnTo>
                  <a:pt x="240037" y="29116"/>
                </a:lnTo>
                <a:lnTo>
                  <a:pt x="198610" y="7693"/>
                </a:lnTo>
                <a:lnTo>
                  <a:pt x="150914" y="0"/>
                </a:lnTo>
                <a:close/>
              </a:path>
            </a:pathLst>
          </a:custGeom>
          <a:solidFill>
            <a:schemeClr val="accent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35" name="object 17"/>
          <p:cNvSpPr/>
          <p:nvPr/>
        </p:nvSpPr>
        <p:spPr>
          <a:xfrm>
            <a:off x="2329309" y="3952362"/>
            <a:ext cx="302260" cy="302260"/>
          </a:xfrm>
          <a:custGeom>
            <a:avLst/>
            <a:gdLst/>
            <a:ahLst/>
            <a:cxnLst/>
            <a:rect l="l" t="t" r="r" b="b"/>
            <a:pathLst>
              <a:path w="302260" h="302260">
                <a:moveTo>
                  <a:pt x="150914" y="0"/>
                </a:moveTo>
                <a:lnTo>
                  <a:pt x="103212" y="7694"/>
                </a:lnTo>
                <a:lnTo>
                  <a:pt x="61785" y="29120"/>
                </a:lnTo>
                <a:lnTo>
                  <a:pt x="29116" y="61790"/>
                </a:lnTo>
                <a:lnTo>
                  <a:pt x="7693" y="103217"/>
                </a:lnTo>
                <a:lnTo>
                  <a:pt x="0" y="150914"/>
                </a:lnTo>
                <a:lnTo>
                  <a:pt x="7693" y="198615"/>
                </a:lnTo>
                <a:lnTo>
                  <a:pt x="29116" y="240043"/>
                </a:lnTo>
                <a:lnTo>
                  <a:pt x="61785" y="272711"/>
                </a:lnTo>
                <a:lnTo>
                  <a:pt x="103212" y="294134"/>
                </a:lnTo>
                <a:lnTo>
                  <a:pt x="150914" y="301828"/>
                </a:lnTo>
                <a:lnTo>
                  <a:pt x="198610" y="294134"/>
                </a:lnTo>
                <a:lnTo>
                  <a:pt x="240037" y="272711"/>
                </a:lnTo>
                <a:lnTo>
                  <a:pt x="272707" y="240043"/>
                </a:lnTo>
                <a:lnTo>
                  <a:pt x="294133" y="198615"/>
                </a:lnTo>
                <a:lnTo>
                  <a:pt x="301828" y="150914"/>
                </a:lnTo>
                <a:lnTo>
                  <a:pt x="294133" y="103217"/>
                </a:lnTo>
                <a:lnTo>
                  <a:pt x="272707" y="61790"/>
                </a:lnTo>
                <a:lnTo>
                  <a:pt x="240037" y="29120"/>
                </a:lnTo>
                <a:lnTo>
                  <a:pt x="198610" y="7694"/>
                </a:lnTo>
                <a:lnTo>
                  <a:pt x="150914" y="0"/>
                </a:lnTo>
                <a:close/>
              </a:path>
            </a:pathLst>
          </a:custGeom>
          <a:solidFill>
            <a:schemeClr val="accent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36" name="object 18"/>
          <p:cNvSpPr/>
          <p:nvPr/>
        </p:nvSpPr>
        <p:spPr>
          <a:xfrm>
            <a:off x="2172357" y="3573496"/>
            <a:ext cx="302260" cy="302260"/>
          </a:xfrm>
          <a:custGeom>
            <a:avLst/>
            <a:gdLst/>
            <a:ahLst/>
            <a:cxnLst/>
            <a:rect l="l" t="t" r="r" b="b"/>
            <a:pathLst>
              <a:path w="302260" h="302260">
                <a:moveTo>
                  <a:pt x="150914" y="0"/>
                </a:moveTo>
                <a:lnTo>
                  <a:pt x="103212" y="7693"/>
                </a:lnTo>
                <a:lnTo>
                  <a:pt x="61785" y="29116"/>
                </a:lnTo>
                <a:lnTo>
                  <a:pt x="29116" y="61785"/>
                </a:lnTo>
                <a:lnTo>
                  <a:pt x="7693" y="103212"/>
                </a:lnTo>
                <a:lnTo>
                  <a:pt x="0" y="150914"/>
                </a:lnTo>
                <a:lnTo>
                  <a:pt x="7693" y="198610"/>
                </a:lnTo>
                <a:lnTo>
                  <a:pt x="29116" y="240037"/>
                </a:lnTo>
                <a:lnTo>
                  <a:pt x="61785" y="272707"/>
                </a:lnTo>
                <a:lnTo>
                  <a:pt x="103212" y="294133"/>
                </a:lnTo>
                <a:lnTo>
                  <a:pt x="150914" y="301828"/>
                </a:lnTo>
                <a:lnTo>
                  <a:pt x="198615" y="294133"/>
                </a:lnTo>
                <a:lnTo>
                  <a:pt x="240043" y="272707"/>
                </a:lnTo>
                <a:lnTo>
                  <a:pt x="272711" y="240037"/>
                </a:lnTo>
                <a:lnTo>
                  <a:pt x="294134" y="198610"/>
                </a:lnTo>
                <a:lnTo>
                  <a:pt x="301828" y="150914"/>
                </a:lnTo>
                <a:lnTo>
                  <a:pt x="294134" y="103212"/>
                </a:lnTo>
                <a:lnTo>
                  <a:pt x="272711" y="61785"/>
                </a:lnTo>
                <a:lnTo>
                  <a:pt x="240043" y="29116"/>
                </a:lnTo>
                <a:lnTo>
                  <a:pt x="198615" y="7693"/>
                </a:lnTo>
                <a:lnTo>
                  <a:pt x="150914" y="0"/>
                </a:lnTo>
                <a:close/>
              </a:path>
            </a:pathLst>
          </a:custGeom>
          <a:solidFill>
            <a:schemeClr val="accent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37" name="object 19"/>
          <p:cNvSpPr/>
          <p:nvPr/>
        </p:nvSpPr>
        <p:spPr>
          <a:xfrm>
            <a:off x="3258920" y="4437089"/>
            <a:ext cx="302260" cy="302260"/>
          </a:xfrm>
          <a:custGeom>
            <a:avLst/>
            <a:gdLst/>
            <a:ahLst/>
            <a:cxnLst/>
            <a:rect l="l" t="t" r="r" b="b"/>
            <a:pathLst>
              <a:path w="302260" h="302259">
                <a:moveTo>
                  <a:pt x="150914" y="0"/>
                </a:moveTo>
                <a:lnTo>
                  <a:pt x="103212" y="7694"/>
                </a:lnTo>
                <a:lnTo>
                  <a:pt x="61785" y="29120"/>
                </a:lnTo>
                <a:lnTo>
                  <a:pt x="29116" y="61790"/>
                </a:lnTo>
                <a:lnTo>
                  <a:pt x="7693" y="103217"/>
                </a:lnTo>
                <a:lnTo>
                  <a:pt x="0" y="150914"/>
                </a:lnTo>
                <a:lnTo>
                  <a:pt x="7693" y="198615"/>
                </a:lnTo>
                <a:lnTo>
                  <a:pt x="29116" y="240043"/>
                </a:lnTo>
                <a:lnTo>
                  <a:pt x="61785" y="272711"/>
                </a:lnTo>
                <a:lnTo>
                  <a:pt x="103212" y="294134"/>
                </a:lnTo>
                <a:lnTo>
                  <a:pt x="150914" y="301828"/>
                </a:lnTo>
                <a:lnTo>
                  <a:pt x="198615" y="294134"/>
                </a:lnTo>
                <a:lnTo>
                  <a:pt x="240043" y="272711"/>
                </a:lnTo>
                <a:lnTo>
                  <a:pt x="272711" y="240043"/>
                </a:lnTo>
                <a:lnTo>
                  <a:pt x="294134" y="198615"/>
                </a:lnTo>
                <a:lnTo>
                  <a:pt x="301828" y="150914"/>
                </a:lnTo>
                <a:lnTo>
                  <a:pt x="294134" y="103217"/>
                </a:lnTo>
                <a:lnTo>
                  <a:pt x="272711" y="61790"/>
                </a:lnTo>
                <a:lnTo>
                  <a:pt x="240043" y="29120"/>
                </a:lnTo>
                <a:lnTo>
                  <a:pt x="198615" y="7694"/>
                </a:lnTo>
                <a:lnTo>
                  <a:pt x="150914" y="0"/>
                </a:lnTo>
                <a:close/>
              </a:path>
            </a:pathLst>
          </a:custGeom>
          <a:solidFill>
            <a:schemeClr val="accent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38" name="object 20"/>
          <p:cNvSpPr/>
          <p:nvPr/>
        </p:nvSpPr>
        <p:spPr>
          <a:xfrm>
            <a:off x="4967250" y="2799043"/>
            <a:ext cx="302260" cy="302260"/>
          </a:xfrm>
          <a:custGeom>
            <a:avLst/>
            <a:gdLst/>
            <a:ahLst/>
            <a:cxnLst/>
            <a:rect l="l" t="t" r="r" b="b"/>
            <a:pathLst>
              <a:path w="302260" h="302260">
                <a:moveTo>
                  <a:pt x="150914" y="0"/>
                </a:moveTo>
                <a:lnTo>
                  <a:pt x="103207" y="7693"/>
                </a:lnTo>
                <a:lnTo>
                  <a:pt x="61779" y="29116"/>
                </a:lnTo>
                <a:lnTo>
                  <a:pt x="29113" y="61785"/>
                </a:lnTo>
                <a:lnTo>
                  <a:pt x="7692" y="103212"/>
                </a:lnTo>
                <a:lnTo>
                  <a:pt x="0" y="150914"/>
                </a:lnTo>
                <a:lnTo>
                  <a:pt x="7692" y="198610"/>
                </a:lnTo>
                <a:lnTo>
                  <a:pt x="29113" y="240037"/>
                </a:lnTo>
                <a:lnTo>
                  <a:pt x="61779" y="272707"/>
                </a:lnTo>
                <a:lnTo>
                  <a:pt x="103207" y="294133"/>
                </a:lnTo>
                <a:lnTo>
                  <a:pt x="150914" y="301828"/>
                </a:lnTo>
                <a:lnTo>
                  <a:pt x="198610" y="294133"/>
                </a:lnTo>
                <a:lnTo>
                  <a:pt x="240037" y="272707"/>
                </a:lnTo>
                <a:lnTo>
                  <a:pt x="272707" y="240037"/>
                </a:lnTo>
                <a:lnTo>
                  <a:pt x="294133" y="198610"/>
                </a:lnTo>
                <a:lnTo>
                  <a:pt x="301828" y="150914"/>
                </a:lnTo>
                <a:lnTo>
                  <a:pt x="294133" y="103212"/>
                </a:lnTo>
                <a:lnTo>
                  <a:pt x="272707" y="61785"/>
                </a:lnTo>
                <a:lnTo>
                  <a:pt x="240037" y="29116"/>
                </a:lnTo>
                <a:lnTo>
                  <a:pt x="198610" y="7693"/>
                </a:lnTo>
                <a:lnTo>
                  <a:pt x="150914" y="0"/>
                </a:lnTo>
                <a:close/>
              </a:path>
            </a:pathLst>
          </a:custGeom>
          <a:solidFill>
            <a:schemeClr val="accent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39" name="object 21"/>
          <p:cNvSpPr/>
          <p:nvPr/>
        </p:nvSpPr>
        <p:spPr>
          <a:xfrm>
            <a:off x="5057787" y="4548524"/>
            <a:ext cx="302260" cy="302260"/>
          </a:xfrm>
          <a:custGeom>
            <a:avLst/>
            <a:gdLst/>
            <a:ahLst/>
            <a:cxnLst/>
            <a:rect l="l" t="t" r="r" b="b"/>
            <a:pathLst>
              <a:path w="302260" h="302259">
                <a:moveTo>
                  <a:pt x="150914" y="0"/>
                </a:moveTo>
                <a:lnTo>
                  <a:pt x="103212" y="7693"/>
                </a:lnTo>
                <a:lnTo>
                  <a:pt x="61785" y="29116"/>
                </a:lnTo>
                <a:lnTo>
                  <a:pt x="29116" y="61785"/>
                </a:lnTo>
                <a:lnTo>
                  <a:pt x="7693" y="103212"/>
                </a:lnTo>
                <a:lnTo>
                  <a:pt x="0" y="150914"/>
                </a:lnTo>
                <a:lnTo>
                  <a:pt x="7693" y="198615"/>
                </a:lnTo>
                <a:lnTo>
                  <a:pt x="29116" y="240043"/>
                </a:lnTo>
                <a:lnTo>
                  <a:pt x="61785" y="272711"/>
                </a:lnTo>
                <a:lnTo>
                  <a:pt x="103212" y="294134"/>
                </a:lnTo>
                <a:lnTo>
                  <a:pt x="150914" y="301828"/>
                </a:lnTo>
                <a:lnTo>
                  <a:pt x="198616" y="294134"/>
                </a:lnTo>
                <a:lnTo>
                  <a:pt x="240047" y="272711"/>
                </a:lnTo>
                <a:lnTo>
                  <a:pt x="272719" y="240043"/>
                </a:lnTo>
                <a:lnTo>
                  <a:pt x="294146" y="198615"/>
                </a:lnTo>
                <a:lnTo>
                  <a:pt x="301840" y="150914"/>
                </a:lnTo>
                <a:lnTo>
                  <a:pt x="294146" y="103212"/>
                </a:lnTo>
                <a:lnTo>
                  <a:pt x="272719" y="61785"/>
                </a:lnTo>
                <a:lnTo>
                  <a:pt x="240047" y="29116"/>
                </a:lnTo>
                <a:lnTo>
                  <a:pt x="198616" y="7693"/>
                </a:lnTo>
                <a:lnTo>
                  <a:pt x="150914" y="0"/>
                </a:lnTo>
                <a:close/>
              </a:path>
            </a:pathLst>
          </a:custGeom>
          <a:solidFill>
            <a:schemeClr val="accent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40" name="object 22"/>
          <p:cNvSpPr/>
          <p:nvPr/>
        </p:nvSpPr>
        <p:spPr>
          <a:xfrm>
            <a:off x="2631126" y="4420376"/>
            <a:ext cx="302260" cy="302260"/>
          </a:xfrm>
          <a:custGeom>
            <a:avLst/>
            <a:gdLst/>
            <a:ahLst/>
            <a:cxnLst/>
            <a:rect l="l" t="t" r="r" b="b"/>
            <a:pathLst>
              <a:path w="302260" h="302259">
                <a:moveTo>
                  <a:pt x="150914" y="0"/>
                </a:moveTo>
                <a:lnTo>
                  <a:pt x="103212" y="7693"/>
                </a:lnTo>
                <a:lnTo>
                  <a:pt x="61785" y="29116"/>
                </a:lnTo>
                <a:lnTo>
                  <a:pt x="29116" y="61785"/>
                </a:lnTo>
                <a:lnTo>
                  <a:pt x="7693" y="103212"/>
                </a:lnTo>
                <a:lnTo>
                  <a:pt x="0" y="150914"/>
                </a:lnTo>
                <a:lnTo>
                  <a:pt x="7693" y="198615"/>
                </a:lnTo>
                <a:lnTo>
                  <a:pt x="29116" y="240043"/>
                </a:lnTo>
                <a:lnTo>
                  <a:pt x="61785" y="272711"/>
                </a:lnTo>
                <a:lnTo>
                  <a:pt x="103212" y="294134"/>
                </a:lnTo>
                <a:lnTo>
                  <a:pt x="150914" y="301828"/>
                </a:lnTo>
                <a:lnTo>
                  <a:pt x="198615" y="294134"/>
                </a:lnTo>
                <a:lnTo>
                  <a:pt x="240043" y="272711"/>
                </a:lnTo>
                <a:lnTo>
                  <a:pt x="272711" y="240043"/>
                </a:lnTo>
                <a:lnTo>
                  <a:pt x="294134" y="198615"/>
                </a:lnTo>
                <a:lnTo>
                  <a:pt x="301828" y="150914"/>
                </a:lnTo>
                <a:lnTo>
                  <a:pt x="294134" y="103212"/>
                </a:lnTo>
                <a:lnTo>
                  <a:pt x="272711" y="61785"/>
                </a:lnTo>
                <a:lnTo>
                  <a:pt x="240043" y="29116"/>
                </a:lnTo>
                <a:lnTo>
                  <a:pt x="198615" y="7693"/>
                </a:lnTo>
                <a:lnTo>
                  <a:pt x="150914" y="0"/>
                </a:lnTo>
                <a:close/>
              </a:path>
            </a:pathLst>
          </a:custGeom>
          <a:solidFill>
            <a:schemeClr val="accent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41" name="object 23"/>
          <p:cNvSpPr/>
          <p:nvPr/>
        </p:nvSpPr>
        <p:spPr>
          <a:xfrm>
            <a:off x="3838419" y="4810387"/>
            <a:ext cx="302260" cy="302260"/>
          </a:xfrm>
          <a:custGeom>
            <a:avLst/>
            <a:gdLst/>
            <a:ahLst/>
            <a:cxnLst/>
            <a:rect l="l" t="t" r="r" b="b"/>
            <a:pathLst>
              <a:path w="302260" h="302259">
                <a:moveTo>
                  <a:pt x="150914" y="0"/>
                </a:moveTo>
                <a:lnTo>
                  <a:pt x="103217" y="7694"/>
                </a:lnTo>
                <a:lnTo>
                  <a:pt x="61790" y="29120"/>
                </a:lnTo>
                <a:lnTo>
                  <a:pt x="29120" y="61790"/>
                </a:lnTo>
                <a:lnTo>
                  <a:pt x="7694" y="103217"/>
                </a:lnTo>
                <a:lnTo>
                  <a:pt x="0" y="150914"/>
                </a:lnTo>
                <a:lnTo>
                  <a:pt x="7694" y="198615"/>
                </a:lnTo>
                <a:lnTo>
                  <a:pt x="29120" y="240043"/>
                </a:lnTo>
                <a:lnTo>
                  <a:pt x="61790" y="272711"/>
                </a:lnTo>
                <a:lnTo>
                  <a:pt x="103217" y="294134"/>
                </a:lnTo>
                <a:lnTo>
                  <a:pt x="150914" y="301828"/>
                </a:lnTo>
                <a:lnTo>
                  <a:pt x="198615" y="294134"/>
                </a:lnTo>
                <a:lnTo>
                  <a:pt x="240043" y="272711"/>
                </a:lnTo>
                <a:lnTo>
                  <a:pt x="272711" y="240043"/>
                </a:lnTo>
                <a:lnTo>
                  <a:pt x="294134" y="198615"/>
                </a:lnTo>
                <a:lnTo>
                  <a:pt x="301828" y="150914"/>
                </a:lnTo>
                <a:lnTo>
                  <a:pt x="294134" y="103217"/>
                </a:lnTo>
                <a:lnTo>
                  <a:pt x="272711" y="61790"/>
                </a:lnTo>
                <a:lnTo>
                  <a:pt x="240043" y="29120"/>
                </a:lnTo>
                <a:lnTo>
                  <a:pt x="198615" y="7694"/>
                </a:lnTo>
                <a:lnTo>
                  <a:pt x="150914" y="0"/>
                </a:lnTo>
                <a:close/>
              </a:path>
            </a:pathLst>
          </a:custGeom>
          <a:solidFill>
            <a:schemeClr val="accent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42" name="object 24"/>
          <p:cNvSpPr/>
          <p:nvPr/>
        </p:nvSpPr>
        <p:spPr>
          <a:xfrm>
            <a:off x="3295141" y="4682240"/>
            <a:ext cx="302260" cy="302260"/>
          </a:xfrm>
          <a:custGeom>
            <a:avLst/>
            <a:gdLst/>
            <a:ahLst/>
            <a:cxnLst/>
            <a:rect l="l" t="t" r="r" b="b"/>
            <a:pathLst>
              <a:path w="302260" h="302259">
                <a:moveTo>
                  <a:pt x="150914" y="0"/>
                </a:moveTo>
                <a:lnTo>
                  <a:pt x="103212" y="7694"/>
                </a:lnTo>
                <a:lnTo>
                  <a:pt x="61785" y="29120"/>
                </a:lnTo>
                <a:lnTo>
                  <a:pt x="29116" y="61790"/>
                </a:lnTo>
                <a:lnTo>
                  <a:pt x="7693" y="103217"/>
                </a:lnTo>
                <a:lnTo>
                  <a:pt x="0" y="150914"/>
                </a:lnTo>
                <a:lnTo>
                  <a:pt x="7693" y="198615"/>
                </a:lnTo>
                <a:lnTo>
                  <a:pt x="29116" y="240043"/>
                </a:lnTo>
                <a:lnTo>
                  <a:pt x="61785" y="272711"/>
                </a:lnTo>
                <a:lnTo>
                  <a:pt x="103212" y="294134"/>
                </a:lnTo>
                <a:lnTo>
                  <a:pt x="150914" y="301828"/>
                </a:lnTo>
                <a:lnTo>
                  <a:pt x="198615" y="294134"/>
                </a:lnTo>
                <a:lnTo>
                  <a:pt x="240043" y="272711"/>
                </a:lnTo>
                <a:lnTo>
                  <a:pt x="272711" y="240043"/>
                </a:lnTo>
                <a:lnTo>
                  <a:pt x="294134" y="198615"/>
                </a:lnTo>
                <a:lnTo>
                  <a:pt x="301828" y="150914"/>
                </a:lnTo>
                <a:lnTo>
                  <a:pt x="294134" y="103217"/>
                </a:lnTo>
                <a:lnTo>
                  <a:pt x="272711" y="61790"/>
                </a:lnTo>
                <a:lnTo>
                  <a:pt x="240043" y="29120"/>
                </a:lnTo>
                <a:lnTo>
                  <a:pt x="198615" y="7694"/>
                </a:lnTo>
                <a:lnTo>
                  <a:pt x="150914" y="0"/>
                </a:lnTo>
                <a:close/>
              </a:path>
            </a:pathLst>
          </a:custGeom>
          <a:solidFill>
            <a:schemeClr val="accent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43" name="object 25"/>
          <p:cNvSpPr/>
          <p:nvPr/>
        </p:nvSpPr>
        <p:spPr>
          <a:xfrm>
            <a:off x="4882728" y="5172535"/>
            <a:ext cx="302260" cy="302260"/>
          </a:xfrm>
          <a:custGeom>
            <a:avLst/>
            <a:gdLst/>
            <a:ahLst/>
            <a:cxnLst/>
            <a:rect l="l" t="t" r="r" b="b"/>
            <a:pathLst>
              <a:path w="302260" h="302259">
                <a:moveTo>
                  <a:pt x="150914" y="0"/>
                </a:moveTo>
                <a:lnTo>
                  <a:pt x="103212" y="7694"/>
                </a:lnTo>
                <a:lnTo>
                  <a:pt x="61785" y="29121"/>
                </a:lnTo>
                <a:lnTo>
                  <a:pt x="29116" y="61793"/>
                </a:lnTo>
                <a:lnTo>
                  <a:pt x="7693" y="103223"/>
                </a:lnTo>
                <a:lnTo>
                  <a:pt x="0" y="150926"/>
                </a:lnTo>
                <a:lnTo>
                  <a:pt x="7693" y="198623"/>
                </a:lnTo>
                <a:lnTo>
                  <a:pt x="29116" y="240050"/>
                </a:lnTo>
                <a:lnTo>
                  <a:pt x="61785" y="272720"/>
                </a:lnTo>
                <a:lnTo>
                  <a:pt x="103212" y="294146"/>
                </a:lnTo>
                <a:lnTo>
                  <a:pt x="150914" y="301840"/>
                </a:lnTo>
                <a:lnTo>
                  <a:pt x="198615" y="294146"/>
                </a:lnTo>
                <a:lnTo>
                  <a:pt x="240043" y="272720"/>
                </a:lnTo>
                <a:lnTo>
                  <a:pt x="272711" y="240050"/>
                </a:lnTo>
                <a:lnTo>
                  <a:pt x="294134" y="198623"/>
                </a:lnTo>
                <a:lnTo>
                  <a:pt x="301828" y="150926"/>
                </a:lnTo>
                <a:lnTo>
                  <a:pt x="294134" y="103223"/>
                </a:lnTo>
                <a:lnTo>
                  <a:pt x="272711" y="61793"/>
                </a:lnTo>
                <a:lnTo>
                  <a:pt x="240043" y="29121"/>
                </a:lnTo>
                <a:lnTo>
                  <a:pt x="198615" y="7694"/>
                </a:lnTo>
                <a:lnTo>
                  <a:pt x="150914" y="0"/>
                </a:lnTo>
                <a:close/>
              </a:path>
            </a:pathLst>
          </a:custGeom>
          <a:solidFill>
            <a:schemeClr val="accent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44" name="object 26"/>
          <p:cNvSpPr/>
          <p:nvPr/>
        </p:nvSpPr>
        <p:spPr>
          <a:xfrm>
            <a:off x="3796170" y="3913363"/>
            <a:ext cx="302260" cy="302260"/>
          </a:xfrm>
          <a:custGeom>
            <a:avLst/>
            <a:gdLst/>
            <a:ahLst/>
            <a:cxnLst/>
            <a:rect l="l" t="t" r="r" b="b"/>
            <a:pathLst>
              <a:path w="302260" h="302260">
                <a:moveTo>
                  <a:pt x="150914" y="0"/>
                </a:moveTo>
                <a:lnTo>
                  <a:pt x="103212" y="7693"/>
                </a:lnTo>
                <a:lnTo>
                  <a:pt x="61785" y="29116"/>
                </a:lnTo>
                <a:lnTo>
                  <a:pt x="29116" y="61785"/>
                </a:lnTo>
                <a:lnTo>
                  <a:pt x="7693" y="103212"/>
                </a:lnTo>
                <a:lnTo>
                  <a:pt x="0" y="150914"/>
                </a:lnTo>
                <a:lnTo>
                  <a:pt x="7693" y="198610"/>
                </a:lnTo>
                <a:lnTo>
                  <a:pt x="29116" y="240037"/>
                </a:lnTo>
                <a:lnTo>
                  <a:pt x="61785" y="272707"/>
                </a:lnTo>
                <a:lnTo>
                  <a:pt x="103212" y="294133"/>
                </a:lnTo>
                <a:lnTo>
                  <a:pt x="150914" y="301828"/>
                </a:lnTo>
                <a:lnTo>
                  <a:pt x="198610" y="294133"/>
                </a:lnTo>
                <a:lnTo>
                  <a:pt x="240037" y="272707"/>
                </a:lnTo>
                <a:lnTo>
                  <a:pt x="272707" y="240037"/>
                </a:lnTo>
                <a:lnTo>
                  <a:pt x="294133" y="198610"/>
                </a:lnTo>
                <a:lnTo>
                  <a:pt x="301828" y="150914"/>
                </a:lnTo>
                <a:lnTo>
                  <a:pt x="294133" y="103212"/>
                </a:lnTo>
                <a:lnTo>
                  <a:pt x="272707" y="61785"/>
                </a:lnTo>
                <a:lnTo>
                  <a:pt x="240037" y="29116"/>
                </a:lnTo>
                <a:lnTo>
                  <a:pt x="198610" y="7693"/>
                </a:lnTo>
                <a:lnTo>
                  <a:pt x="150914" y="0"/>
                </a:lnTo>
                <a:close/>
              </a:path>
            </a:pathLst>
          </a:custGeom>
          <a:solidFill>
            <a:schemeClr val="accent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45" name="object 27"/>
          <p:cNvSpPr/>
          <p:nvPr/>
        </p:nvSpPr>
        <p:spPr>
          <a:xfrm>
            <a:off x="3391724" y="3690498"/>
            <a:ext cx="302260" cy="302260"/>
          </a:xfrm>
          <a:custGeom>
            <a:avLst/>
            <a:gdLst/>
            <a:ahLst/>
            <a:cxnLst/>
            <a:rect l="l" t="t" r="r" b="b"/>
            <a:pathLst>
              <a:path w="302260" h="302260">
                <a:moveTo>
                  <a:pt x="150914" y="0"/>
                </a:moveTo>
                <a:lnTo>
                  <a:pt x="103212" y="7693"/>
                </a:lnTo>
                <a:lnTo>
                  <a:pt x="61785" y="29116"/>
                </a:lnTo>
                <a:lnTo>
                  <a:pt x="29116" y="61785"/>
                </a:lnTo>
                <a:lnTo>
                  <a:pt x="7693" y="103212"/>
                </a:lnTo>
                <a:lnTo>
                  <a:pt x="0" y="150914"/>
                </a:lnTo>
                <a:lnTo>
                  <a:pt x="7693" y="198610"/>
                </a:lnTo>
                <a:lnTo>
                  <a:pt x="29116" y="240037"/>
                </a:lnTo>
                <a:lnTo>
                  <a:pt x="61785" y="272707"/>
                </a:lnTo>
                <a:lnTo>
                  <a:pt x="103212" y="294133"/>
                </a:lnTo>
                <a:lnTo>
                  <a:pt x="150914" y="301828"/>
                </a:lnTo>
                <a:lnTo>
                  <a:pt x="198615" y="294133"/>
                </a:lnTo>
                <a:lnTo>
                  <a:pt x="240043" y="272707"/>
                </a:lnTo>
                <a:lnTo>
                  <a:pt x="272711" y="240037"/>
                </a:lnTo>
                <a:lnTo>
                  <a:pt x="294134" y="198610"/>
                </a:lnTo>
                <a:lnTo>
                  <a:pt x="301828" y="150914"/>
                </a:lnTo>
                <a:lnTo>
                  <a:pt x="294134" y="103212"/>
                </a:lnTo>
                <a:lnTo>
                  <a:pt x="272711" y="61785"/>
                </a:lnTo>
                <a:lnTo>
                  <a:pt x="240043" y="29116"/>
                </a:lnTo>
                <a:lnTo>
                  <a:pt x="198615" y="7693"/>
                </a:lnTo>
                <a:lnTo>
                  <a:pt x="150914" y="0"/>
                </a:lnTo>
                <a:close/>
              </a:path>
            </a:pathLst>
          </a:custGeom>
          <a:solidFill>
            <a:schemeClr val="accent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46" name="object 28"/>
          <p:cNvSpPr/>
          <p:nvPr/>
        </p:nvSpPr>
        <p:spPr>
          <a:xfrm>
            <a:off x="3089901" y="3400774"/>
            <a:ext cx="302260" cy="302260"/>
          </a:xfrm>
          <a:custGeom>
            <a:avLst/>
            <a:gdLst/>
            <a:ahLst/>
            <a:cxnLst/>
            <a:rect l="l" t="t" r="r" b="b"/>
            <a:pathLst>
              <a:path w="302260" h="302260">
                <a:moveTo>
                  <a:pt x="150914" y="0"/>
                </a:moveTo>
                <a:lnTo>
                  <a:pt x="103212" y="7693"/>
                </a:lnTo>
                <a:lnTo>
                  <a:pt x="61785" y="29116"/>
                </a:lnTo>
                <a:lnTo>
                  <a:pt x="29116" y="61785"/>
                </a:lnTo>
                <a:lnTo>
                  <a:pt x="7693" y="103212"/>
                </a:lnTo>
                <a:lnTo>
                  <a:pt x="0" y="150914"/>
                </a:lnTo>
                <a:lnTo>
                  <a:pt x="7693" y="198615"/>
                </a:lnTo>
                <a:lnTo>
                  <a:pt x="29116" y="240043"/>
                </a:lnTo>
                <a:lnTo>
                  <a:pt x="61785" y="272711"/>
                </a:lnTo>
                <a:lnTo>
                  <a:pt x="103212" y="294134"/>
                </a:lnTo>
                <a:lnTo>
                  <a:pt x="150914" y="301828"/>
                </a:lnTo>
                <a:lnTo>
                  <a:pt x="198615" y="294134"/>
                </a:lnTo>
                <a:lnTo>
                  <a:pt x="240043" y="272711"/>
                </a:lnTo>
                <a:lnTo>
                  <a:pt x="272711" y="240043"/>
                </a:lnTo>
                <a:lnTo>
                  <a:pt x="294134" y="198615"/>
                </a:lnTo>
                <a:lnTo>
                  <a:pt x="301828" y="150914"/>
                </a:lnTo>
                <a:lnTo>
                  <a:pt x="294134" y="103212"/>
                </a:lnTo>
                <a:lnTo>
                  <a:pt x="272711" y="61785"/>
                </a:lnTo>
                <a:lnTo>
                  <a:pt x="240043" y="29116"/>
                </a:lnTo>
                <a:lnTo>
                  <a:pt x="198615" y="7693"/>
                </a:lnTo>
                <a:lnTo>
                  <a:pt x="150914" y="0"/>
                </a:lnTo>
                <a:close/>
              </a:path>
            </a:pathLst>
          </a:custGeom>
          <a:solidFill>
            <a:schemeClr val="accent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47" name="object 29"/>
          <p:cNvSpPr/>
          <p:nvPr/>
        </p:nvSpPr>
        <p:spPr>
          <a:xfrm>
            <a:off x="2389671" y="4336804"/>
            <a:ext cx="302260" cy="302260"/>
          </a:xfrm>
          <a:custGeom>
            <a:avLst/>
            <a:gdLst/>
            <a:ahLst/>
            <a:cxnLst/>
            <a:rect l="l" t="t" r="r" b="b"/>
            <a:pathLst>
              <a:path w="302260" h="302259">
                <a:moveTo>
                  <a:pt x="150914" y="0"/>
                </a:moveTo>
                <a:lnTo>
                  <a:pt x="103212" y="7693"/>
                </a:lnTo>
                <a:lnTo>
                  <a:pt x="61785" y="29116"/>
                </a:lnTo>
                <a:lnTo>
                  <a:pt x="29116" y="61785"/>
                </a:lnTo>
                <a:lnTo>
                  <a:pt x="7693" y="103212"/>
                </a:lnTo>
                <a:lnTo>
                  <a:pt x="0" y="150914"/>
                </a:lnTo>
                <a:lnTo>
                  <a:pt x="7693" y="198610"/>
                </a:lnTo>
                <a:lnTo>
                  <a:pt x="29116" y="240037"/>
                </a:lnTo>
                <a:lnTo>
                  <a:pt x="61785" y="272707"/>
                </a:lnTo>
                <a:lnTo>
                  <a:pt x="103212" y="294133"/>
                </a:lnTo>
                <a:lnTo>
                  <a:pt x="150914" y="301828"/>
                </a:lnTo>
                <a:lnTo>
                  <a:pt x="198615" y="294133"/>
                </a:lnTo>
                <a:lnTo>
                  <a:pt x="240043" y="272707"/>
                </a:lnTo>
                <a:lnTo>
                  <a:pt x="272711" y="240037"/>
                </a:lnTo>
                <a:lnTo>
                  <a:pt x="294134" y="198610"/>
                </a:lnTo>
                <a:lnTo>
                  <a:pt x="301828" y="150914"/>
                </a:lnTo>
                <a:lnTo>
                  <a:pt x="294134" y="103212"/>
                </a:lnTo>
                <a:lnTo>
                  <a:pt x="272711" y="61785"/>
                </a:lnTo>
                <a:lnTo>
                  <a:pt x="240043" y="29116"/>
                </a:lnTo>
                <a:lnTo>
                  <a:pt x="198615" y="7693"/>
                </a:lnTo>
                <a:lnTo>
                  <a:pt x="150914" y="0"/>
                </a:lnTo>
                <a:close/>
              </a:path>
            </a:pathLst>
          </a:custGeom>
          <a:solidFill>
            <a:schemeClr val="accent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48" name="object 30"/>
          <p:cNvSpPr txBox="1"/>
          <p:nvPr/>
        </p:nvSpPr>
        <p:spPr>
          <a:xfrm>
            <a:off x="5029127" y="4958758"/>
            <a:ext cx="1704200" cy="153888"/>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000" b="0" i="0" u="none" strike="noStrike" kern="1200" cap="none" spc="-5" normalizeH="0" baseline="0" noProof="0" dirty="0">
                <a:ln>
                  <a:noFill/>
                </a:ln>
                <a:solidFill>
                  <a:srgbClr val="020002"/>
                </a:solidFill>
                <a:effectLst/>
                <a:uLnTx/>
                <a:uFillTx/>
                <a:ea typeface="+mn-ea"/>
                <a:cs typeface="Open Sans Light"/>
              </a:rPr>
              <a:t>Agriculture and</a:t>
            </a:r>
            <a:r>
              <a:rPr kumimoji="0" sz="1000" b="0" i="0" u="none" strike="noStrike" kern="1200" cap="none" spc="-85" normalizeH="0" baseline="0" noProof="0" dirty="0">
                <a:ln>
                  <a:noFill/>
                </a:ln>
                <a:solidFill>
                  <a:srgbClr val="020002"/>
                </a:solidFill>
                <a:effectLst/>
                <a:uLnTx/>
                <a:uFillTx/>
                <a:ea typeface="+mn-ea"/>
                <a:cs typeface="Open Sans Light"/>
              </a:rPr>
              <a:t> </a:t>
            </a:r>
            <a:r>
              <a:rPr kumimoji="0" sz="1000" b="0" i="0" u="none" strike="noStrike" kern="1200" cap="none" spc="-5" normalizeH="0" baseline="0" noProof="0" dirty="0">
                <a:ln>
                  <a:noFill/>
                </a:ln>
                <a:solidFill>
                  <a:srgbClr val="020002"/>
                </a:solidFill>
                <a:effectLst/>
                <a:uLnTx/>
                <a:uFillTx/>
                <a:ea typeface="+mn-ea"/>
                <a:cs typeface="Open Sans Light"/>
              </a:rPr>
              <a:t>Agribusiness</a:t>
            </a:r>
            <a:endParaRPr kumimoji="0" sz="1000" b="0" i="0" u="none" strike="noStrike" kern="1200" cap="none" spc="0" normalizeH="0" baseline="0" noProof="0" dirty="0">
              <a:ln>
                <a:noFill/>
              </a:ln>
              <a:solidFill>
                <a:srgbClr val="5C5C5C"/>
              </a:solidFill>
              <a:effectLst/>
              <a:uLnTx/>
              <a:uFillTx/>
              <a:ea typeface="+mn-ea"/>
              <a:cs typeface="Open Sans Light"/>
            </a:endParaRPr>
          </a:p>
        </p:txBody>
      </p:sp>
      <p:sp>
        <p:nvSpPr>
          <p:cNvPr id="49" name="object 31"/>
          <p:cNvSpPr txBox="1"/>
          <p:nvPr/>
        </p:nvSpPr>
        <p:spPr>
          <a:xfrm>
            <a:off x="6196205" y="3123331"/>
            <a:ext cx="800593" cy="153888"/>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rgbClr val="020002"/>
                </a:solidFill>
                <a:effectLst/>
                <a:uLnTx/>
                <a:uFillTx/>
                <a:ea typeface="+mn-ea"/>
                <a:cs typeface="Open Sans Light"/>
              </a:rPr>
              <a:t>Automotive</a:t>
            </a:r>
            <a:endParaRPr kumimoji="0" sz="1000" b="0" i="0" u="none" strike="noStrike" kern="1200" cap="none" spc="0" normalizeH="0" baseline="0" noProof="0" dirty="0">
              <a:ln>
                <a:noFill/>
              </a:ln>
              <a:solidFill>
                <a:srgbClr val="5C5C5C"/>
              </a:solidFill>
              <a:effectLst/>
              <a:uLnTx/>
              <a:uFillTx/>
              <a:ea typeface="+mn-ea"/>
              <a:cs typeface="Open Sans Light"/>
            </a:endParaRPr>
          </a:p>
        </p:txBody>
      </p:sp>
      <p:sp>
        <p:nvSpPr>
          <p:cNvPr id="50" name="object 32"/>
          <p:cNvSpPr txBox="1"/>
          <p:nvPr/>
        </p:nvSpPr>
        <p:spPr>
          <a:xfrm>
            <a:off x="2749021" y="3922126"/>
            <a:ext cx="3849005" cy="256480"/>
          </a:xfrm>
          <a:prstGeom prst="rect">
            <a:avLst/>
          </a:prstGeom>
        </p:spPr>
        <p:txBody>
          <a:bodyPr vert="horz" wrap="square" lIns="0" tIns="0" rIns="0" bIns="0" rtlCol="0">
            <a:spAutoFit/>
          </a:bodyPr>
          <a:lstStyle/>
          <a:p>
            <a:pPr marL="0" marR="5080" lvl="0" indent="0" algn="r" defTabSz="914400" rtl="0" eaLnBrk="1" fontAlgn="auto" latinLnBrk="0" hangingPunct="1">
              <a:lnSpc>
                <a:spcPts val="960"/>
              </a:lnSpc>
              <a:spcBef>
                <a:spcPts val="0"/>
              </a:spcBef>
              <a:spcAft>
                <a:spcPts val="0"/>
              </a:spcAft>
              <a:buClrTx/>
              <a:buSzTx/>
              <a:buFontTx/>
              <a:buNone/>
              <a:tabLst/>
              <a:defRPr/>
            </a:pPr>
            <a:r>
              <a:rPr kumimoji="0" lang="en-US" sz="1000" b="0" i="0" u="none" strike="noStrike" kern="1200" cap="none" spc="-5" normalizeH="0" baseline="0" noProof="0" dirty="0">
                <a:ln>
                  <a:noFill/>
                </a:ln>
                <a:solidFill>
                  <a:srgbClr val="020002"/>
                </a:solidFill>
                <a:effectLst/>
                <a:uLnTx/>
                <a:uFillTx/>
                <a:ea typeface="+mn-ea"/>
                <a:cs typeface="Open Sans Light"/>
              </a:rPr>
              <a:t> </a:t>
            </a:r>
            <a:r>
              <a:rPr kumimoji="0" sz="1000" b="0" i="0" u="none" strike="noStrike" kern="1200" cap="none" spc="-5" normalizeH="0" baseline="0" noProof="0" dirty="0">
                <a:ln>
                  <a:noFill/>
                </a:ln>
                <a:solidFill>
                  <a:srgbClr val="020002"/>
                </a:solidFill>
                <a:effectLst/>
                <a:uLnTx/>
                <a:uFillTx/>
                <a:ea typeface="+mn-ea"/>
                <a:cs typeface="Open Sans Light"/>
              </a:rPr>
              <a:t>Aerospace and</a:t>
            </a:r>
            <a:r>
              <a:rPr kumimoji="0" sz="1000" b="0" i="0" u="none" strike="noStrike" kern="1200" cap="none" spc="-85" normalizeH="0" baseline="0" noProof="0" dirty="0">
                <a:ln>
                  <a:noFill/>
                </a:ln>
                <a:solidFill>
                  <a:srgbClr val="020002"/>
                </a:solidFill>
                <a:effectLst/>
                <a:uLnTx/>
                <a:uFillTx/>
                <a:ea typeface="+mn-ea"/>
                <a:cs typeface="Open Sans Light"/>
              </a:rPr>
              <a:t> </a:t>
            </a:r>
            <a:r>
              <a:rPr kumimoji="0" sz="1000" b="0" i="0" u="none" strike="noStrike" kern="1200" cap="none" spc="0" normalizeH="0" baseline="0" noProof="0" dirty="0">
                <a:ln>
                  <a:noFill/>
                </a:ln>
                <a:solidFill>
                  <a:srgbClr val="020002"/>
                </a:solidFill>
                <a:effectLst/>
                <a:uLnTx/>
                <a:uFillTx/>
                <a:ea typeface="+mn-ea"/>
                <a:cs typeface="Open Sans Light"/>
              </a:rPr>
              <a:t>Defense</a:t>
            </a:r>
            <a:endParaRPr kumimoji="0" sz="1000" b="0" i="0" u="none" strike="noStrike" kern="1200" cap="none" spc="0" normalizeH="0" baseline="0" noProof="0" dirty="0">
              <a:ln>
                <a:noFill/>
              </a:ln>
              <a:solidFill>
                <a:srgbClr val="5C5C5C"/>
              </a:solidFill>
              <a:effectLst/>
              <a:uLnTx/>
              <a:uFillTx/>
              <a:ea typeface="+mn-ea"/>
              <a:cs typeface="Open Sans Light"/>
            </a:endParaRPr>
          </a:p>
          <a:p>
            <a:pPr marL="12700" marR="0" lvl="0" indent="0" algn="l" defTabSz="914400" rtl="0" eaLnBrk="1" fontAlgn="auto" latinLnBrk="0" hangingPunct="1">
              <a:lnSpc>
                <a:spcPts val="960"/>
              </a:lnSpc>
              <a:spcBef>
                <a:spcPts val="0"/>
              </a:spcBef>
              <a:spcAft>
                <a:spcPts val="0"/>
              </a:spcAft>
              <a:buClrTx/>
              <a:buSzTx/>
              <a:buFontTx/>
              <a:buNone/>
              <a:tabLst/>
              <a:defRPr/>
            </a:pPr>
            <a:r>
              <a:rPr kumimoji="0" sz="1000" b="0" i="0" u="none" strike="noStrike" kern="1200" cap="none" spc="0" normalizeH="0" baseline="0" noProof="0" dirty="0">
                <a:ln>
                  <a:noFill/>
                </a:ln>
                <a:solidFill>
                  <a:srgbClr val="020002"/>
                </a:solidFill>
                <a:effectLst/>
                <a:uLnTx/>
                <a:uFillTx/>
                <a:ea typeface="+mn-ea"/>
                <a:cs typeface="Open Sans Light"/>
              </a:rPr>
              <a:t>Chemicals</a:t>
            </a:r>
            <a:endParaRPr kumimoji="0" sz="1000" b="0" i="0" u="none" strike="noStrike" kern="1200" cap="none" spc="0" normalizeH="0" baseline="0" noProof="0" dirty="0">
              <a:ln>
                <a:noFill/>
              </a:ln>
              <a:solidFill>
                <a:srgbClr val="5C5C5C"/>
              </a:solidFill>
              <a:effectLst/>
              <a:uLnTx/>
              <a:uFillTx/>
              <a:ea typeface="+mn-ea"/>
              <a:cs typeface="Open Sans Light"/>
            </a:endParaRPr>
          </a:p>
        </p:txBody>
      </p:sp>
      <p:sp>
        <p:nvSpPr>
          <p:cNvPr id="51" name="object 33"/>
          <p:cNvSpPr txBox="1"/>
          <p:nvPr/>
        </p:nvSpPr>
        <p:spPr>
          <a:xfrm>
            <a:off x="1482678" y="3074472"/>
            <a:ext cx="1566037" cy="307777"/>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000" b="0" i="0" u="none" strike="noStrike" kern="1200" cap="none" spc="-5" normalizeH="0" baseline="0" noProof="0" dirty="0">
                <a:ln>
                  <a:noFill/>
                </a:ln>
                <a:solidFill>
                  <a:srgbClr val="020002"/>
                </a:solidFill>
                <a:effectLst/>
                <a:uLnTx/>
                <a:uFillTx/>
                <a:ea typeface="+mn-ea"/>
                <a:cs typeface="Open Sans Light"/>
              </a:rPr>
              <a:t>Construction and Real</a:t>
            </a:r>
            <a:r>
              <a:rPr kumimoji="0" sz="1000" b="0" i="0" u="none" strike="noStrike" kern="1200" cap="none" spc="-50" normalizeH="0" baseline="0" noProof="0" dirty="0">
                <a:ln>
                  <a:noFill/>
                </a:ln>
                <a:solidFill>
                  <a:srgbClr val="020002"/>
                </a:solidFill>
                <a:effectLst/>
                <a:uLnTx/>
                <a:uFillTx/>
                <a:ea typeface="+mn-ea"/>
                <a:cs typeface="Open Sans Light"/>
              </a:rPr>
              <a:t> </a:t>
            </a:r>
            <a:r>
              <a:rPr kumimoji="0" sz="1000" b="0" i="0" u="none" strike="noStrike" kern="1200" cap="none" spc="-5" normalizeH="0" baseline="0" noProof="0" dirty="0">
                <a:ln>
                  <a:noFill/>
                </a:ln>
                <a:solidFill>
                  <a:srgbClr val="020002"/>
                </a:solidFill>
                <a:effectLst/>
                <a:uLnTx/>
                <a:uFillTx/>
                <a:ea typeface="+mn-ea"/>
                <a:cs typeface="Open Sans Light"/>
              </a:rPr>
              <a:t>Estate</a:t>
            </a:r>
            <a:endParaRPr kumimoji="0" sz="1000" b="0" i="0" u="none" strike="noStrike" kern="1200" cap="none" spc="0" normalizeH="0" baseline="0" noProof="0" dirty="0">
              <a:ln>
                <a:noFill/>
              </a:ln>
              <a:solidFill>
                <a:srgbClr val="5C5C5C"/>
              </a:solidFill>
              <a:effectLst/>
              <a:uLnTx/>
              <a:uFillTx/>
              <a:ea typeface="+mn-ea"/>
              <a:cs typeface="Open Sans Light"/>
            </a:endParaRPr>
          </a:p>
        </p:txBody>
      </p:sp>
      <p:sp>
        <p:nvSpPr>
          <p:cNvPr id="52" name="object 34"/>
          <p:cNvSpPr txBox="1"/>
          <p:nvPr/>
        </p:nvSpPr>
        <p:spPr>
          <a:xfrm>
            <a:off x="3604695" y="4505565"/>
            <a:ext cx="877569" cy="307777"/>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rgbClr val="020002"/>
                </a:solidFill>
                <a:effectLst/>
                <a:uLnTx/>
                <a:uFillTx/>
                <a:ea typeface="+mn-ea"/>
                <a:cs typeface="Open Sans Light"/>
              </a:rPr>
              <a:t>Consumer</a:t>
            </a:r>
            <a:r>
              <a:rPr kumimoji="0" sz="1000" b="0" i="0" u="none" strike="noStrike" kern="1200" cap="none" spc="-100" normalizeH="0" baseline="0" noProof="0" dirty="0">
                <a:ln>
                  <a:noFill/>
                </a:ln>
                <a:solidFill>
                  <a:srgbClr val="020002"/>
                </a:solidFill>
                <a:effectLst/>
                <a:uLnTx/>
                <a:uFillTx/>
                <a:ea typeface="+mn-ea"/>
                <a:cs typeface="Open Sans Light"/>
              </a:rPr>
              <a:t> </a:t>
            </a:r>
            <a:r>
              <a:rPr kumimoji="0" sz="1000" b="0" i="0" u="none" strike="noStrike" kern="1200" cap="none" spc="-5" normalizeH="0" baseline="0" noProof="0" dirty="0">
                <a:ln>
                  <a:noFill/>
                </a:ln>
                <a:solidFill>
                  <a:srgbClr val="020002"/>
                </a:solidFill>
                <a:effectLst/>
                <a:uLnTx/>
                <a:uFillTx/>
                <a:ea typeface="+mn-ea"/>
                <a:cs typeface="Open Sans Light"/>
              </a:rPr>
              <a:t>Goods</a:t>
            </a:r>
            <a:endParaRPr kumimoji="0" sz="1000" b="0" i="0" u="none" strike="noStrike" kern="1200" cap="none" spc="0" normalizeH="0" baseline="0" noProof="0">
              <a:ln>
                <a:noFill/>
              </a:ln>
              <a:solidFill>
                <a:srgbClr val="5C5C5C"/>
              </a:solidFill>
              <a:effectLst/>
              <a:uLnTx/>
              <a:uFillTx/>
              <a:ea typeface="+mn-ea"/>
              <a:cs typeface="Open Sans Light"/>
            </a:endParaRPr>
          </a:p>
        </p:txBody>
      </p:sp>
      <p:sp>
        <p:nvSpPr>
          <p:cNvPr id="53" name="object 35"/>
          <p:cNvSpPr txBox="1"/>
          <p:nvPr/>
        </p:nvSpPr>
        <p:spPr>
          <a:xfrm>
            <a:off x="5414723" y="4609737"/>
            <a:ext cx="1049846" cy="307777"/>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rgbClr val="020002"/>
                </a:solidFill>
                <a:effectLst/>
                <a:uLnTx/>
                <a:uFillTx/>
                <a:ea typeface="+mn-ea"/>
                <a:cs typeface="Open Sans Light"/>
              </a:rPr>
              <a:t>Energy </a:t>
            </a:r>
            <a:r>
              <a:rPr kumimoji="0" sz="1000" b="0" i="0" u="none" strike="noStrike" kern="1200" cap="none" spc="-5" normalizeH="0" baseline="0" noProof="0" dirty="0">
                <a:ln>
                  <a:noFill/>
                </a:ln>
                <a:solidFill>
                  <a:srgbClr val="020002"/>
                </a:solidFill>
                <a:effectLst/>
                <a:uLnTx/>
                <a:uFillTx/>
                <a:ea typeface="+mn-ea"/>
                <a:cs typeface="Open Sans Light"/>
              </a:rPr>
              <a:t>and</a:t>
            </a:r>
            <a:r>
              <a:rPr kumimoji="0" sz="1000" b="0" i="0" u="none" strike="noStrike" kern="1200" cap="none" spc="-100" normalizeH="0" baseline="0" noProof="0" dirty="0">
                <a:ln>
                  <a:noFill/>
                </a:ln>
                <a:solidFill>
                  <a:srgbClr val="020002"/>
                </a:solidFill>
                <a:effectLst/>
                <a:uLnTx/>
                <a:uFillTx/>
                <a:ea typeface="+mn-ea"/>
                <a:cs typeface="Open Sans Light"/>
              </a:rPr>
              <a:t> </a:t>
            </a:r>
            <a:r>
              <a:rPr kumimoji="0" sz="1000" b="0" i="0" u="none" strike="noStrike" kern="1200" cap="none" spc="-5" normalizeH="0" baseline="0" noProof="0" dirty="0">
                <a:ln>
                  <a:noFill/>
                </a:ln>
                <a:solidFill>
                  <a:srgbClr val="020002"/>
                </a:solidFill>
                <a:effectLst/>
                <a:uLnTx/>
                <a:uFillTx/>
                <a:ea typeface="+mn-ea"/>
                <a:cs typeface="Open Sans Light"/>
              </a:rPr>
              <a:t>Utilities</a:t>
            </a:r>
            <a:endParaRPr kumimoji="0" sz="1000" b="0" i="0" u="none" strike="noStrike" kern="1200" cap="none" spc="0" normalizeH="0" baseline="0" noProof="0" dirty="0">
              <a:ln>
                <a:noFill/>
              </a:ln>
              <a:solidFill>
                <a:srgbClr val="5C5C5C"/>
              </a:solidFill>
              <a:effectLst/>
              <a:uLnTx/>
              <a:uFillTx/>
              <a:ea typeface="+mn-ea"/>
              <a:cs typeface="Open Sans Light"/>
            </a:endParaRPr>
          </a:p>
        </p:txBody>
      </p:sp>
      <p:sp>
        <p:nvSpPr>
          <p:cNvPr id="54" name="object 36"/>
          <p:cNvSpPr txBox="1"/>
          <p:nvPr/>
        </p:nvSpPr>
        <p:spPr>
          <a:xfrm>
            <a:off x="2243840" y="5166651"/>
            <a:ext cx="1074293" cy="307777"/>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000" b="0" i="0" u="none" strike="noStrike" kern="1200" cap="none" spc="-5" normalizeH="0" baseline="0" noProof="0" dirty="0">
                <a:ln>
                  <a:noFill/>
                </a:ln>
                <a:solidFill>
                  <a:srgbClr val="020002"/>
                </a:solidFill>
                <a:effectLst/>
                <a:uLnTx/>
                <a:uFillTx/>
                <a:ea typeface="+mn-ea"/>
                <a:cs typeface="Open Sans Light"/>
              </a:rPr>
              <a:t>Healthcare</a:t>
            </a:r>
            <a:r>
              <a:rPr kumimoji="0" sz="1000" b="0" i="0" u="none" strike="noStrike" kern="1200" cap="none" spc="-55" normalizeH="0" baseline="0" noProof="0" dirty="0">
                <a:ln>
                  <a:noFill/>
                </a:ln>
                <a:solidFill>
                  <a:srgbClr val="020002"/>
                </a:solidFill>
                <a:effectLst/>
                <a:uLnTx/>
                <a:uFillTx/>
                <a:ea typeface="+mn-ea"/>
                <a:cs typeface="Open Sans Light"/>
              </a:rPr>
              <a:t> </a:t>
            </a:r>
            <a:r>
              <a:rPr kumimoji="0" sz="1000" b="0" i="0" u="none" strike="noStrike" kern="1200" cap="none" spc="-5" normalizeH="0" baseline="0" noProof="0" dirty="0">
                <a:ln>
                  <a:noFill/>
                </a:ln>
                <a:solidFill>
                  <a:srgbClr val="020002"/>
                </a:solidFill>
                <a:effectLst/>
                <a:uLnTx/>
                <a:uFillTx/>
                <a:ea typeface="+mn-ea"/>
                <a:cs typeface="Open Sans Light"/>
              </a:rPr>
              <a:t>Services</a:t>
            </a:r>
            <a:endParaRPr kumimoji="0" sz="1000" b="0" i="0" u="none" strike="noStrike" kern="1200" cap="none" spc="0" normalizeH="0" baseline="0" noProof="0" dirty="0">
              <a:ln>
                <a:noFill/>
              </a:ln>
              <a:solidFill>
                <a:srgbClr val="5C5C5C"/>
              </a:solidFill>
              <a:effectLst/>
              <a:uLnTx/>
              <a:uFillTx/>
              <a:ea typeface="+mn-ea"/>
              <a:cs typeface="Open Sans Light"/>
            </a:endParaRPr>
          </a:p>
        </p:txBody>
      </p:sp>
      <p:sp>
        <p:nvSpPr>
          <p:cNvPr id="73" name="object 37"/>
          <p:cNvSpPr txBox="1"/>
          <p:nvPr/>
        </p:nvSpPr>
        <p:spPr>
          <a:xfrm>
            <a:off x="4178989" y="4873999"/>
            <a:ext cx="807720" cy="307777"/>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000" b="0" i="0" u="none" strike="noStrike" kern="1200" cap="none" spc="-5" normalizeH="0" baseline="0" noProof="0" dirty="0">
                <a:ln>
                  <a:noFill/>
                </a:ln>
                <a:solidFill>
                  <a:srgbClr val="020002"/>
                </a:solidFill>
                <a:effectLst/>
                <a:uLnTx/>
                <a:uFillTx/>
                <a:ea typeface="+mn-ea"/>
                <a:cs typeface="Open Sans Light"/>
              </a:rPr>
              <a:t>Logistics</a:t>
            </a:r>
            <a:r>
              <a:rPr kumimoji="0" lang="en-US" sz="1000" b="0" i="0" u="none" strike="noStrike" kern="1200" cap="none" spc="0" normalizeH="0" baseline="0" noProof="0" dirty="0">
                <a:ln>
                  <a:noFill/>
                </a:ln>
                <a:solidFill>
                  <a:srgbClr val="5C5C5C"/>
                </a:solidFill>
                <a:effectLst/>
                <a:uLnTx/>
                <a:uFillTx/>
                <a:ea typeface="+mn-ea"/>
                <a:cs typeface="Open Sans Light"/>
              </a:rPr>
              <a:t> </a:t>
            </a:r>
            <a:r>
              <a:rPr kumimoji="0" lang="en-US" sz="1000" b="0" i="0" u="none" strike="noStrike" kern="1200" cap="none" spc="0" normalizeH="0" baseline="0" noProof="0" dirty="0">
                <a:ln>
                  <a:noFill/>
                </a:ln>
                <a:solidFill>
                  <a:srgbClr val="020002"/>
                </a:solidFill>
                <a:effectLst/>
                <a:uLnTx/>
                <a:uFillTx/>
                <a:ea typeface="+mn-ea"/>
                <a:cs typeface="Open Sans Light"/>
              </a:rPr>
              <a:t>&amp; </a:t>
            </a:r>
            <a:r>
              <a:rPr kumimoji="0" sz="1000" b="0" i="0" u="none" strike="noStrike" kern="1200" cap="none" spc="-105" normalizeH="0" baseline="0" noProof="0" dirty="0">
                <a:ln>
                  <a:noFill/>
                </a:ln>
                <a:solidFill>
                  <a:srgbClr val="020002"/>
                </a:solidFill>
                <a:effectLst/>
                <a:uLnTx/>
                <a:uFillTx/>
                <a:ea typeface="+mn-ea"/>
                <a:cs typeface="Open Sans Light"/>
              </a:rPr>
              <a:t> </a:t>
            </a:r>
            <a:r>
              <a:rPr kumimoji="0" sz="1000" b="0" i="0" u="none" strike="noStrike" kern="1200" cap="none" spc="0" normalizeH="0" baseline="0" noProof="0" dirty="0">
                <a:ln>
                  <a:noFill/>
                </a:ln>
                <a:solidFill>
                  <a:srgbClr val="020002"/>
                </a:solidFill>
                <a:effectLst/>
                <a:uLnTx/>
                <a:uFillTx/>
                <a:ea typeface="+mn-ea"/>
                <a:cs typeface="Open Sans Light"/>
              </a:rPr>
              <a:t>Distribution</a:t>
            </a:r>
            <a:endParaRPr kumimoji="0" sz="1000" b="0" i="0" u="none" strike="noStrike" kern="1200" cap="none" spc="0" normalizeH="0" baseline="0" noProof="0" dirty="0">
              <a:ln>
                <a:noFill/>
              </a:ln>
              <a:solidFill>
                <a:srgbClr val="5C5C5C"/>
              </a:solidFill>
              <a:effectLst/>
              <a:uLnTx/>
              <a:uFillTx/>
              <a:ea typeface="+mn-ea"/>
              <a:cs typeface="Open Sans Light"/>
            </a:endParaRPr>
          </a:p>
        </p:txBody>
      </p:sp>
      <p:sp>
        <p:nvSpPr>
          <p:cNvPr id="74" name="object 38"/>
          <p:cNvSpPr txBox="1"/>
          <p:nvPr/>
        </p:nvSpPr>
        <p:spPr>
          <a:xfrm>
            <a:off x="3051285" y="5373375"/>
            <a:ext cx="926037" cy="153888"/>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000" b="0" i="0" u="none" strike="noStrike" kern="1200" cap="none" spc="-5" normalizeH="0" baseline="0" noProof="0" dirty="0">
                <a:ln>
                  <a:noFill/>
                </a:ln>
                <a:solidFill>
                  <a:srgbClr val="020002"/>
                </a:solidFill>
                <a:effectLst/>
                <a:uLnTx/>
                <a:uFillTx/>
                <a:ea typeface="+mn-ea"/>
                <a:cs typeface="Open Sans Light"/>
              </a:rPr>
              <a:t>Manufacturing</a:t>
            </a:r>
            <a:endParaRPr kumimoji="0" sz="1000" b="0" i="0" u="none" strike="noStrike" kern="1200" cap="none" spc="0" normalizeH="0" baseline="0" noProof="0" dirty="0">
              <a:ln>
                <a:noFill/>
              </a:ln>
              <a:solidFill>
                <a:srgbClr val="5C5C5C"/>
              </a:solidFill>
              <a:effectLst/>
              <a:uLnTx/>
              <a:uFillTx/>
              <a:ea typeface="+mn-ea"/>
              <a:cs typeface="Open Sans Light"/>
            </a:endParaRPr>
          </a:p>
        </p:txBody>
      </p:sp>
      <p:sp>
        <p:nvSpPr>
          <p:cNvPr id="75" name="object 39"/>
          <p:cNvSpPr txBox="1"/>
          <p:nvPr/>
        </p:nvSpPr>
        <p:spPr>
          <a:xfrm>
            <a:off x="5261786" y="5247722"/>
            <a:ext cx="641922" cy="307777"/>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000" b="0" i="0" u="none" strike="noStrike" kern="1200" cap="none" spc="-5" normalizeH="0" baseline="0" noProof="0" dirty="0">
                <a:ln>
                  <a:noFill/>
                </a:ln>
                <a:solidFill>
                  <a:srgbClr val="020002"/>
                </a:solidFill>
                <a:effectLst/>
                <a:uLnTx/>
                <a:uFillTx/>
                <a:ea typeface="+mn-ea"/>
                <a:cs typeface="Open Sans Light"/>
              </a:rPr>
              <a:t>Oil </a:t>
            </a:r>
            <a:r>
              <a:rPr kumimoji="0" sz="1000" b="0" i="0" u="none" strike="noStrike" kern="1200" cap="none" spc="0" normalizeH="0" baseline="0" noProof="0" dirty="0">
                <a:ln>
                  <a:noFill/>
                </a:ln>
                <a:solidFill>
                  <a:srgbClr val="020002"/>
                </a:solidFill>
                <a:effectLst/>
                <a:uLnTx/>
                <a:uFillTx/>
                <a:ea typeface="+mn-ea"/>
                <a:cs typeface="Open Sans Light"/>
              </a:rPr>
              <a:t>and</a:t>
            </a:r>
            <a:r>
              <a:rPr kumimoji="0" sz="1000" b="0" i="0" u="none" strike="noStrike" kern="1200" cap="none" spc="-95" normalizeH="0" baseline="0" noProof="0" dirty="0">
                <a:ln>
                  <a:noFill/>
                </a:ln>
                <a:solidFill>
                  <a:srgbClr val="020002"/>
                </a:solidFill>
                <a:effectLst/>
                <a:uLnTx/>
                <a:uFillTx/>
                <a:ea typeface="+mn-ea"/>
                <a:cs typeface="Open Sans Light"/>
              </a:rPr>
              <a:t> </a:t>
            </a:r>
            <a:r>
              <a:rPr kumimoji="0" sz="1000" b="0" i="0" u="none" strike="noStrike" kern="1200" cap="none" spc="-5" normalizeH="0" baseline="0" noProof="0" dirty="0">
                <a:ln>
                  <a:noFill/>
                </a:ln>
                <a:solidFill>
                  <a:srgbClr val="020002"/>
                </a:solidFill>
                <a:effectLst/>
                <a:uLnTx/>
                <a:uFillTx/>
                <a:ea typeface="+mn-ea"/>
                <a:cs typeface="Open Sans Light"/>
              </a:rPr>
              <a:t>Gas</a:t>
            </a:r>
            <a:endParaRPr kumimoji="0" sz="1000" b="0" i="0" u="none" strike="noStrike" kern="1200" cap="none" spc="0" normalizeH="0" baseline="0" noProof="0" dirty="0">
              <a:ln>
                <a:noFill/>
              </a:ln>
              <a:solidFill>
                <a:srgbClr val="5C5C5C"/>
              </a:solidFill>
              <a:effectLst/>
              <a:uLnTx/>
              <a:uFillTx/>
              <a:ea typeface="+mn-ea"/>
              <a:cs typeface="Open Sans Light"/>
            </a:endParaRPr>
          </a:p>
        </p:txBody>
      </p:sp>
      <p:sp>
        <p:nvSpPr>
          <p:cNvPr id="76" name="object 40"/>
          <p:cNvSpPr txBox="1"/>
          <p:nvPr/>
        </p:nvSpPr>
        <p:spPr>
          <a:xfrm>
            <a:off x="4253475" y="4229213"/>
            <a:ext cx="1750060" cy="307777"/>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rgbClr val="020002"/>
                </a:solidFill>
                <a:effectLst/>
                <a:uLnTx/>
                <a:uFillTx/>
                <a:ea typeface="+mn-ea"/>
                <a:cs typeface="Open Sans Light"/>
              </a:rPr>
              <a:t>Pharmaceuticals </a:t>
            </a:r>
            <a:r>
              <a:rPr kumimoji="0" sz="1000" b="0" i="0" u="none" strike="noStrike" kern="1200" cap="none" spc="-5" normalizeH="0" baseline="0" noProof="0" dirty="0">
                <a:ln>
                  <a:noFill/>
                </a:ln>
                <a:solidFill>
                  <a:srgbClr val="020002"/>
                </a:solidFill>
                <a:effectLst/>
                <a:uLnTx/>
                <a:uFillTx/>
                <a:ea typeface="+mn-ea"/>
                <a:cs typeface="Open Sans Light"/>
              </a:rPr>
              <a:t>and</a:t>
            </a:r>
            <a:r>
              <a:rPr kumimoji="0" sz="1000" b="0" i="0" u="none" strike="noStrike" kern="1200" cap="none" spc="-95" normalizeH="0" baseline="0" noProof="0" dirty="0">
                <a:ln>
                  <a:noFill/>
                </a:ln>
                <a:solidFill>
                  <a:srgbClr val="020002"/>
                </a:solidFill>
                <a:effectLst/>
                <a:uLnTx/>
                <a:uFillTx/>
                <a:ea typeface="+mn-ea"/>
                <a:cs typeface="Open Sans Light"/>
              </a:rPr>
              <a:t> </a:t>
            </a:r>
            <a:r>
              <a:rPr kumimoji="0" sz="1000" b="0" i="0" u="none" strike="noStrike" kern="1200" cap="none" spc="0" normalizeH="0" baseline="0" noProof="0" dirty="0">
                <a:ln>
                  <a:noFill/>
                </a:ln>
                <a:solidFill>
                  <a:srgbClr val="020002"/>
                </a:solidFill>
                <a:effectLst/>
                <a:uLnTx/>
                <a:uFillTx/>
                <a:ea typeface="+mn-ea"/>
                <a:cs typeface="Open Sans Light"/>
              </a:rPr>
              <a:t>Biotechnology</a:t>
            </a:r>
            <a:endParaRPr kumimoji="0" sz="1000" b="0" i="0" u="none" strike="noStrike" kern="1200" cap="none" spc="0" normalizeH="0" baseline="0" noProof="0" dirty="0">
              <a:ln>
                <a:noFill/>
              </a:ln>
              <a:solidFill>
                <a:srgbClr val="5C5C5C"/>
              </a:solidFill>
              <a:effectLst/>
              <a:uLnTx/>
              <a:uFillTx/>
              <a:ea typeface="+mn-ea"/>
              <a:cs typeface="Open Sans Light"/>
            </a:endParaRPr>
          </a:p>
        </p:txBody>
      </p:sp>
      <p:sp>
        <p:nvSpPr>
          <p:cNvPr id="77" name="object 41"/>
          <p:cNvSpPr txBox="1"/>
          <p:nvPr/>
        </p:nvSpPr>
        <p:spPr>
          <a:xfrm>
            <a:off x="3786823" y="3760710"/>
            <a:ext cx="379971" cy="153888"/>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000" b="0" i="0" u="none" strike="noStrike" kern="1200" cap="none" spc="-5" normalizeH="0" baseline="0" noProof="0" dirty="0">
                <a:ln>
                  <a:noFill/>
                </a:ln>
                <a:solidFill>
                  <a:srgbClr val="020002"/>
                </a:solidFill>
                <a:effectLst/>
                <a:uLnTx/>
                <a:uFillTx/>
                <a:ea typeface="+mn-ea"/>
                <a:cs typeface="Open Sans Light"/>
              </a:rPr>
              <a:t>Retail</a:t>
            </a:r>
            <a:endParaRPr kumimoji="0" sz="1000" b="0" i="0" u="none" strike="noStrike" kern="1200" cap="none" spc="0" normalizeH="0" baseline="0" noProof="0" dirty="0">
              <a:ln>
                <a:noFill/>
              </a:ln>
              <a:solidFill>
                <a:srgbClr val="5C5C5C"/>
              </a:solidFill>
              <a:effectLst/>
              <a:uLnTx/>
              <a:uFillTx/>
              <a:ea typeface="+mn-ea"/>
              <a:cs typeface="Open Sans Light"/>
            </a:endParaRPr>
          </a:p>
        </p:txBody>
      </p:sp>
      <p:sp>
        <p:nvSpPr>
          <p:cNvPr id="78" name="object 42"/>
          <p:cNvSpPr txBox="1"/>
          <p:nvPr/>
        </p:nvSpPr>
        <p:spPr>
          <a:xfrm>
            <a:off x="3481498" y="3466008"/>
            <a:ext cx="2328724" cy="153888"/>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000" b="0" i="0" u="none" strike="noStrike" kern="1200" cap="none" spc="-5" normalizeH="0" baseline="0" noProof="0" dirty="0">
                <a:ln>
                  <a:noFill/>
                </a:ln>
                <a:solidFill>
                  <a:srgbClr val="020002"/>
                </a:solidFill>
                <a:effectLst/>
                <a:uLnTx/>
                <a:uFillTx/>
                <a:ea typeface="+mn-ea"/>
                <a:cs typeface="Open Sans Light"/>
              </a:rPr>
              <a:t>Telecommunications/Communications</a:t>
            </a:r>
            <a:endParaRPr kumimoji="0" sz="1000" b="0" i="0" u="none" strike="noStrike" kern="1200" cap="none" spc="0" normalizeH="0" baseline="0" noProof="0" dirty="0">
              <a:ln>
                <a:noFill/>
              </a:ln>
              <a:solidFill>
                <a:srgbClr val="5C5C5C"/>
              </a:solidFill>
              <a:effectLst/>
              <a:uLnTx/>
              <a:uFillTx/>
              <a:ea typeface="+mn-ea"/>
              <a:cs typeface="Open Sans Light"/>
            </a:endParaRPr>
          </a:p>
        </p:txBody>
      </p:sp>
      <p:sp>
        <p:nvSpPr>
          <p:cNvPr id="79" name="object 44"/>
          <p:cNvSpPr txBox="1"/>
          <p:nvPr/>
        </p:nvSpPr>
        <p:spPr>
          <a:xfrm>
            <a:off x="731930" y="5800534"/>
            <a:ext cx="236854" cy="13080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850" b="0" i="0" u="none" strike="noStrike" kern="1200" cap="none" spc="5" normalizeH="0" baseline="0" noProof="0" dirty="0">
                <a:ln>
                  <a:noFill/>
                </a:ln>
                <a:solidFill>
                  <a:srgbClr val="020002"/>
                </a:solidFill>
                <a:effectLst/>
                <a:uLnTx/>
                <a:uFillTx/>
                <a:ea typeface="+mn-ea"/>
                <a:cs typeface="Open Sans Light"/>
              </a:rPr>
              <a:t>3</a:t>
            </a:r>
            <a:r>
              <a:rPr kumimoji="0" sz="850" b="0" i="0" u="none" strike="noStrike" kern="1200" cap="none" spc="-15" normalizeH="0" baseline="0" noProof="0" dirty="0">
                <a:ln>
                  <a:noFill/>
                </a:ln>
                <a:solidFill>
                  <a:srgbClr val="020002"/>
                </a:solidFill>
                <a:effectLst/>
                <a:uLnTx/>
                <a:uFillTx/>
                <a:ea typeface="+mn-ea"/>
                <a:cs typeface="Open Sans Light"/>
              </a:rPr>
              <a:t>.</a:t>
            </a:r>
            <a:r>
              <a:rPr kumimoji="0" sz="850" b="0" i="0" u="none" strike="noStrike" kern="1200" cap="none" spc="5" normalizeH="0" baseline="0" noProof="0" dirty="0">
                <a:ln>
                  <a:noFill/>
                </a:ln>
                <a:solidFill>
                  <a:srgbClr val="020002"/>
                </a:solidFill>
                <a:effectLst/>
                <a:uLnTx/>
                <a:uFillTx/>
                <a:ea typeface="+mn-ea"/>
                <a:cs typeface="Open Sans Light"/>
              </a:rPr>
              <a:t>8</a:t>
            </a:r>
            <a:r>
              <a:rPr kumimoji="0" sz="850" b="0" i="0" u="none" strike="noStrike" kern="1200" cap="none" spc="0" normalizeH="0" baseline="0" noProof="0" dirty="0">
                <a:ln>
                  <a:noFill/>
                </a:ln>
                <a:solidFill>
                  <a:srgbClr val="020002"/>
                </a:solidFill>
                <a:effectLst/>
                <a:uLnTx/>
                <a:uFillTx/>
                <a:ea typeface="+mn-ea"/>
                <a:cs typeface="Open Sans Light"/>
              </a:rPr>
              <a:t>0</a:t>
            </a:r>
            <a:endParaRPr kumimoji="0" sz="850" b="0" i="0" u="none" strike="noStrike" kern="1200" cap="none" spc="0" normalizeH="0" baseline="0" noProof="0">
              <a:ln>
                <a:noFill/>
              </a:ln>
              <a:solidFill>
                <a:srgbClr val="5C5C5C"/>
              </a:solidFill>
              <a:effectLst/>
              <a:uLnTx/>
              <a:uFillTx/>
              <a:ea typeface="+mn-ea"/>
              <a:cs typeface="Open Sans Light"/>
            </a:endParaRPr>
          </a:p>
        </p:txBody>
      </p:sp>
      <p:sp>
        <p:nvSpPr>
          <p:cNvPr id="80" name="object 45"/>
          <p:cNvSpPr txBox="1"/>
          <p:nvPr/>
        </p:nvSpPr>
        <p:spPr>
          <a:xfrm>
            <a:off x="732038" y="5287987"/>
            <a:ext cx="236854" cy="13080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850" b="0" i="0" u="none" strike="noStrike" kern="1200" cap="none" spc="5" normalizeH="0" baseline="0" noProof="0" dirty="0">
                <a:ln>
                  <a:noFill/>
                </a:ln>
                <a:solidFill>
                  <a:srgbClr val="020002"/>
                </a:solidFill>
                <a:effectLst/>
                <a:uLnTx/>
                <a:uFillTx/>
                <a:ea typeface="+mn-ea"/>
                <a:cs typeface="Open Sans Light"/>
              </a:rPr>
              <a:t>4</a:t>
            </a:r>
            <a:r>
              <a:rPr kumimoji="0" sz="850" b="0" i="0" u="none" strike="noStrike" kern="1200" cap="none" spc="-15" normalizeH="0" baseline="0" noProof="0" dirty="0">
                <a:ln>
                  <a:noFill/>
                </a:ln>
                <a:solidFill>
                  <a:srgbClr val="020002"/>
                </a:solidFill>
                <a:effectLst/>
                <a:uLnTx/>
                <a:uFillTx/>
                <a:ea typeface="+mn-ea"/>
                <a:cs typeface="Open Sans Light"/>
              </a:rPr>
              <a:t>.</a:t>
            </a:r>
            <a:r>
              <a:rPr kumimoji="0" sz="850" b="0" i="0" u="none" strike="noStrike" kern="1200" cap="none" spc="5" normalizeH="0" baseline="0" noProof="0" dirty="0">
                <a:ln>
                  <a:noFill/>
                </a:ln>
                <a:solidFill>
                  <a:srgbClr val="020002"/>
                </a:solidFill>
                <a:effectLst/>
                <a:uLnTx/>
                <a:uFillTx/>
                <a:ea typeface="+mn-ea"/>
                <a:cs typeface="Open Sans Light"/>
              </a:rPr>
              <a:t>1</a:t>
            </a:r>
            <a:r>
              <a:rPr kumimoji="0" sz="850" b="0" i="0" u="none" strike="noStrike" kern="1200" cap="none" spc="0" normalizeH="0" baseline="0" noProof="0" dirty="0">
                <a:ln>
                  <a:noFill/>
                </a:ln>
                <a:solidFill>
                  <a:srgbClr val="020002"/>
                </a:solidFill>
                <a:effectLst/>
                <a:uLnTx/>
                <a:uFillTx/>
                <a:ea typeface="+mn-ea"/>
                <a:cs typeface="Open Sans Light"/>
              </a:rPr>
              <a:t>0</a:t>
            </a:r>
            <a:endParaRPr kumimoji="0" sz="850" b="0" i="0" u="none" strike="noStrike" kern="1200" cap="none" spc="0" normalizeH="0" baseline="0" noProof="0">
              <a:ln>
                <a:noFill/>
              </a:ln>
              <a:solidFill>
                <a:srgbClr val="5C5C5C"/>
              </a:solidFill>
              <a:effectLst/>
              <a:uLnTx/>
              <a:uFillTx/>
              <a:ea typeface="+mn-ea"/>
              <a:cs typeface="Open Sans Light"/>
            </a:endParaRPr>
          </a:p>
        </p:txBody>
      </p:sp>
      <p:sp>
        <p:nvSpPr>
          <p:cNvPr id="81" name="object 46"/>
          <p:cNvSpPr txBox="1"/>
          <p:nvPr/>
        </p:nvSpPr>
        <p:spPr>
          <a:xfrm>
            <a:off x="732146" y="4775440"/>
            <a:ext cx="236854" cy="13080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850" b="0" i="0" u="none" strike="noStrike" kern="1200" cap="none" spc="5" normalizeH="0" baseline="0" noProof="0" dirty="0">
                <a:ln>
                  <a:noFill/>
                </a:ln>
                <a:solidFill>
                  <a:srgbClr val="020002"/>
                </a:solidFill>
                <a:effectLst/>
                <a:uLnTx/>
                <a:uFillTx/>
                <a:ea typeface="+mn-ea"/>
                <a:cs typeface="Open Sans Light"/>
              </a:rPr>
              <a:t>4</a:t>
            </a:r>
            <a:r>
              <a:rPr kumimoji="0" sz="850" b="0" i="0" u="none" strike="noStrike" kern="1200" cap="none" spc="-15" normalizeH="0" baseline="0" noProof="0" dirty="0">
                <a:ln>
                  <a:noFill/>
                </a:ln>
                <a:solidFill>
                  <a:srgbClr val="020002"/>
                </a:solidFill>
                <a:effectLst/>
                <a:uLnTx/>
                <a:uFillTx/>
                <a:ea typeface="+mn-ea"/>
                <a:cs typeface="Open Sans Light"/>
              </a:rPr>
              <a:t>.</a:t>
            </a:r>
            <a:r>
              <a:rPr kumimoji="0" sz="850" b="0" i="0" u="none" strike="noStrike" kern="1200" cap="none" spc="5" normalizeH="0" baseline="0" noProof="0" dirty="0">
                <a:ln>
                  <a:noFill/>
                </a:ln>
                <a:solidFill>
                  <a:srgbClr val="020002"/>
                </a:solidFill>
                <a:effectLst/>
                <a:uLnTx/>
                <a:uFillTx/>
                <a:ea typeface="+mn-ea"/>
                <a:cs typeface="Open Sans Light"/>
              </a:rPr>
              <a:t>4</a:t>
            </a:r>
            <a:r>
              <a:rPr kumimoji="0" sz="850" b="0" i="0" u="none" strike="noStrike" kern="1200" cap="none" spc="0" normalizeH="0" baseline="0" noProof="0" dirty="0">
                <a:ln>
                  <a:noFill/>
                </a:ln>
                <a:solidFill>
                  <a:srgbClr val="020002"/>
                </a:solidFill>
                <a:effectLst/>
                <a:uLnTx/>
                <a:uFillTx/>
                <a:ea typeface="+mn-ea"/>
                <a:cs typeface="Open Sans Light"/>
              </a:rPr>
              <a:t>0</a:t>
            </a:r>
            <a:endParaRPr kumimoji="0" sz="850" b="0" i="0" u="none" strike="noStrike" kern="1200" cap="none" spc="0" normalizeH="0" baseline="0" noProof="0">
              <a:ln>
                <a:noFill/>
              </a:ln>
              <a:solidFill>
                <a:srgbClr val="5C5C5C"/>
              </a:solidFill>
              <a:effectLst/>
              <a:uLnTx/>
              <a:uFillTx/>
              <a:ea typeface="+mn-ea"/>
              <a:cs typeface="Open Sans Light"/>
            </a:endParaRPr>
          </a:p>
        </p:txBody>
      </p:sp>
      <p:sp>
        <p:nvSpPr>
          <p:cNvPr id="82" name="object 47"/>
          <p:cNvSpPr txBox="1"/>
          <p:nvPr/>
        </p:nvSpPr>
        <p:spPr>
          <a:xfrm>
            <a:off x="732254" y="4257280"/>
            <a:ext cx="236854" cy="13080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850" b="0" i="0" u="none" strike="noStrike" kern="1200" cap="none" spc="5" normalizeH="0" baseline="0" noProof="0" dirty="0">
                <a:ln>
                  <a:noFill/>
                </a:ln>
                <a:solidFill>
                  <a:srgbClr val="020002"/>
                </a:solidFill>
                <a:effectLst/>
                <a:uLnTx/>
                <a:uFillTx/>
                <a:ea typeface="+mn-ea"/>
                <a:cs typeface="Open Sans Light"/>
              </a:rPr>
              <a:t>4</a:t>
            </a:r>
            <a:r>
              <a:rPr kumimoji="0" sz="850" b="0" i="0" u="none" strike="noStrike" kern="1200" cap="none" spc="-15" normalizeH="0" baseline="0" noProof="0" dirty="0">
                <a:ln>
                  <a:noFill/>
                </a:ln>
                <a:solidFill>
                  <a:srgbClr val="020002"/>
                </a:solidFill>
                <a:effectLst/>
                <a:uLnTx/>
                <a:uFillTx/>
                <a:ea typeface="+mn-ea"/>
                <a:cs typeface="Open Sans Light"/>
              </a:rPr>
              <a:t>.</a:t>
            </a:r>
            <a:r>
              <a:rPr kumimoji="0" sz="850" b="0" i="0" u="none" strike="noStrike" kern="1200" cap="none" spc="5" normalizeH="0" baseline="0" noProof="0" dirty="0">
                <a:ln>
                  <a:noFill/>
                </a:ln>
                <a:solidFill>
                  <a:srgbClr val="020002"/>
                </a:solidFill>
                <a:effectLst/>
                <a:uLnTx/>
                <a:uFillTx/>
                <a:ea typeface="+mn-ea"/>
                <a:cs typeface="Open Sans Light"/>
              </a:rPr>
              <a:t>7</a:t>
            </a:r>
            <a:r>
              <a:rPr kumimoji="0" sz="850" b="0" i="0" u="none" strike="noStrike" kern="1200" cap="none" spc="0" normalizeH="0" baseline="0" noProof="0" dirty="0">
                <a:ln>
                  <a:noFill/>
                </a:ln>
                <a:solidFill>
                  <a:srgbClr val="020002"/>
                </a:solidFill>
                <a:effectLst/>
                <a:uLnTx/>
                <a:uFillTx/>
                <a:ea typeface="+mn-ea"/>
                <a:cs typeface="Open Sans Light"/>
              </a:rPr>
              <a:t>0</a:t>
            </a:r>
            <a:endParaRPr kumimoji="0" sz="850" b="0" i="0" u="none" strike="noStrike" kern="1200" cap="none" spc="0" normalizeH="0" baseline="0" noProof="0">
              <a:ln>
                <a:noFill/>
              </a:ln>
              <a:solidFill>
                <a:srgbClr val="5C5C5C"/>
              </a:solidFill>
              <a:effectLst/>
              <a:uLnTx/>
              <a:uFillTx/>
              <a:ea typeface="+mn-ea"/>
              <a:cs typeface="Open Sans Light"/>
            </a:endParaRPr>
          </a:p>
        </p:txBody>
      </p:sp>
      <p:sp>
        <p:nvSpPr>
          <p:cNvPr id="83" name="object 48"/>
          <p:cNvSpPr txBox="1"/>
          <p:nvPr/>
        </p:nvSpPr>
        <p:spPr>
          <a:xfrm>
            <a:off x="732362" y="3744734"/>
            <a:ext cx="236854" cy="13080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850" b="0" i="0" u="none" strike="noStrike" kern="1200" cap="none" spc="5" normalizeH="0" baseline="0" noProof="0" dirty="0">
                <a:ln>
                  <a:noFill/>
                </a:ln>
                <a:solidFill>
                  <a:srgbClr val="020002"/>
                </a:solidFill>
                <a:effectLst/>
                <a:uLnTx/>
                <a:uFillTx/>
                <a:ea typeface="+mn-ea"/>
                <a:cs typeface="Open Sans Light"/>
              </a:rPr>
              <a:t>5</a:t>
            </a:r>
            <a:r>
              <a:rPr kumimoji="0" sz="850" b="0" i="0" u="none" strike="noStrike" kern="1200" cap="none" spc="-15" normalizeH="0" baseline="0" noProof="0" dirty="0">
                <a:ln>
                  <a:noFill/>
                </a:ln>
                <a:solidFill>
                  <a:srgbClr val="020002"/>
                </a:solidFill>
                <a:effectLst/>
                <a:uLnTx/>
                <a:uFillTx/>
                <a:ea typeface="+mn-ea"/>
                <a:cs typeface="Open Sans Light"/>
              </a:rPr>
              <a:t>.</a:t>
            </a:r>
            <a:r>
              <a:rPr kumimoji="0" sz="850" b="0" i="0" u="none" strike="noStrike" kern="1200" cap="none" spc="5" normalizeH="0" baseline="0" noProof="0" dirty="0">
                <a:ln>
                  <a:noFill/>
                </a:ln>
                <a:solidFill>
                  <a:srgbClr val="020002"/>
                </a:solidFill>
                <a:effectLst/>
                <a:uLnTx/>
                <a:uFillTx/>
                <a:ea typeface="+mn-ea"/>
                <a:cs typeface="Open Sans Light"/>
              </a:rPr>
              <a:t>0</a:t>
            </a:r>
            <a:r>
              <a:rPr kumimoji="0" sz="850" b="0" i="0" u="none" strike="noStrike" kern="1200" cap="none" spc="0" normalizeH="0" baseline="0" noProof="0" dirty="0">
                <a:ln>
                  <a:noFill/>
                </a:ln>
                <a:solidFill>
                  <a:srgbClr val="020002"/>
                </a:solidFill>
                <a:effectLst/>
                <a:uLnTx/>
                <a:uFillTx/>
                <a:ea typeface="+mn-ea"/>
                <a:cs typeface="Open Sans Light"/>
              </a:rPr>
              <a:t>0</a:t>
            </a:r>
            <a:endParaRPr kumimoji="0" sz="850" b="0" i="0" u="none" strike="noStrike" kern="1200" cap="none" spc="0" normalizeH="0" baseline="0" noProof="0">
              <a:ln>
                <a:noFill/>
              </a:ln>
              <a:solidFill>
                <a:srgbClr val="5C5C5C"/>
              </a:solidFill>
              <a:effectLst/>
              <a:uLnTx/>
              <a:uFillTx/>
              <a:ea typeface="+mn-ea"/>
              <a:cs typeface="Open Sans Light"/>
            </a:endParaRPr>
          </a:p>
        </p:txBody>
      </p:sp>
      <p:sp>
        <p:nvSpPr>
          <p:cNvPr id="84" name="object 49"/>
          <p:cNvSpPr txBox="1"/>
          <p:nvPr/>
        </p:nvSpPr>
        <p:spPr>
          <a:xfrm>
            <a:off x="732469" y="3232187"/>
            <a:ext cx="236854" cy="13080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850" b="0" i="0" u="none" strike="noStrike" kern="1200" cap="none" spc="5" normalizeH="0" baseline="0" noProof="0" dirty="0">
                <a:ln>
                  <a:noFill/>
                </a:ln>
                <a:solidFill>
                  <a:srgbClr val="020002"/>
                </a:solidFill>
                <a:effectLst/>
                <a:uLnTx/>
                <a:uFillTx/>
                <a:ea typeface="+mn-ea"/>
                <a:cs typeface="Open Sans Light"/>
              </a:rPr>
              <a:t>5</a:t>
            </a:r>
            <a:r>
              <a:rPr kumimoji="0" sz="850" b="0" i="0" u="none" strike="noStrike" kern="1200" cap="none" spc="-15" normalizeH="0" baseline="0" noProof="0" dirty="0">
                <a:ln>
                  <a:noFill/>
                </a:ln>
                <a:solidFill>
                  <a:srgbClr val="020002"/>
                </a:solidFill>
                <a:effectLst/>
                <a:uLnTx/>
                <a:uFillTx/>
                <a:ea typeface="+mn-ea"/>
                <a:cs typeface="Open Sans Light"/>
              </a:rPr>
              <a:t>.</a:t>
            </a:r>
            <a:r>
              <a:rPr kumimoji="0" sz="850" b="0" i="0" u="none" strike="noStrike" kern="1200" cap="none" spc="5" normalizeH="0" baseline="0" noProof="0" dirty="0">
                <a:ln>
                  <a:noFill/>
                </a:ln>
                <a:solidFill>
                  <a:srgbClr val="020002"/>
                </a:solidFill>
                <a:effectLst/>
                <a:uLnTx/>
                <a:uFillTx/>
                <a:ea typeface="+mn-ea"/>
                <a:cs typeface="Open Sans Light"/>
              </a:rPr>
              <a:t>3</a:t>
            </a:r>
            <a:r>
              <a:rPr kumimoji="0" sz="850" b="0" i="0" u="none" strike="noStrike" kern="1200" cap="none" spc="0" normalizeH="0" baseline="0" noProof="0" dirty="0">
                <a:ln>
                  <a:noFill/>
                </a:ln>
                <a:solidFill>
                  <a:srgbClr val="020002"/>
                </a:solidFill>
                <a:effectLst/>
                <a:uLnTx/>
                <a:uFillTx/>
                <a:ea typeface="+mn-ea"/>
                <a:cs typeface="Open Sans Light"/>
              </a:rPr>
              <a:t>0</a:t>
            </a:r>
            <a:endParaRPr kumimoji="0" sz="850" b="0" i="0" u="none" strike="noStrike" kern="1200" cap="none" spc="0" normalizeH="0" baseline="0" noProof="0">
              <a:ln>
                <a:noFill/>
              </a:ln>
              <a:solidFill>
                <a:srgbClr val="5C5C5C"/>
              </a:solidFill>
              <a:effectLst/>
              <a:uLnTx/>
              <a:uFillTx/>
              <a:ea typeface="+mn-ea"/>
              <a:cs typeface="Open Sans Light"/>
            </a:endParaRPr>
          </a:p>
        </p:txBody>
      </p:sp>
      <p:sp>
        <p:nvSpPr>
          <p:cNvPr id="85" name="object 51"/>
          <p:cNvSpPr txBox="1"/>
          <p:nvPr/>
        </p:nvSpPr>
        <p:spPr>
          <a:xfrm>
            <a:off x="1133462" y="6001090"/>
            <a:ext cx="236854" cy="13080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850" b="0" i="0" u="none" strike="noStrike" kern="1200" cap="none" spc="5" normalizeH="0" baseline="0" noProof="0" dirty="0">
                <a:ln>
                  <a:noFill/>
                </a:ln>
                <a:solidFill>
                  <a:srgbClr val="020002"/>
                </a:solidFill>
                <a:effectLst/>
                <a:uLnTx/>
                <a:uFillTx/>
                <a:ea typeface="+mn-ea"/>
                <a:cs typeface="Open Sans Light"/>
              </a:rPr>
              <a:t>2</a:t>
            </a:r>
            <a:r>
              <a:rPr kumimoji="0" sz="850" b="0" i="0" u="none" strike="noStrike" kern="1200" cap="none" spc="-15" normalizeH="0" baseline="0" noProof="0" dirty="0">
                <a:ln>
                  <a:noFill/>
                </a:ln>
                <a:solidFill>
                  <a:srgbClr val="020002"/>
                </a:solidFill>
                <a:effectLst/>
                <a:uLnTx/>
                <a:uFillTx/>
                <a:ea typeface="+mn-ea"/>
                <a:cs typeface="Open Sans Light"/>
              </a:rPr>
              <a:t>.</a:t>
            </a:r>
            <a:r>
              <a:rPr kumimoji="0" sz="850" b="0" i="0" u="none" strike="noStrike" kern="1200" cap="none" spc="5" normalizeH="0" baseline="0" noProof="0" dirty="0">
                <a:ln>
                  <a:noFill/>
                </a:ln>
                <a:solidFill>
                  <a:srgbClr val="020002"/>
                </a:solidFill>
                <a:effectLst/>
                <a:uLnTx/>
                <a:uFillTx/>
                <a:ea typeface="+mn-ea"/>
                <a:cs typeface="Open Sans Light"/>
              </a:rPr>
              <a:t>2</a:t>
            </a:r>
            <a:r>
              <a:rPr kumimoji="0" sz="850" b="0" i="0" u="none" strike="noStrike" kern="1200" cap="none" spc="0" normalizeH="0" baseline="0" noProof="0" dirty="0">
                <a:ln>
                  <a:noFill/>
                </a:ln>
                <a:solidFill>
                  <a:srgbClr val="020002"/>
                </a:solidFill>
                <a:effectLst/>
                <a:uLnTx/>
                <a:uFillTx/>
                <a:ea typeface="+mn-ea"/>
                <a:cs typeface="Open Sans Light"/>
              </a:rPr>
              <a:t>0</a:t>
            </a:r>
            <a:endParaRPr kumimoji="0" sz="850" b="0" i="0" u="none" strike="noStrike" kern="1200" cap="none" spc="0" normalizeH="0" baseline="0" noProof="0">
              <a:ln>
                <a:noFill/>
              </a:ln>
              <a:solidFill>
                <a:srgbClr val="5C5C5C"/>
              </a:solidFill>
              <a:effectLst/>
              <a:uLnTx/>
              <a:uFillTx/>
              <a:ea typeface="+mn-ea"/>
              <a:cs typeface="Open Sans Light"/>
            </a:endParaRPr>
          </a:p>
        </p:txBody>
      </p:sp>
      <p:sp>
        <p:nvSpPr>
          <p:cNvPr id="86" name="object 52"/>
          <p:cNvSpPr txBox="1"/>
          <p:nvPr/>
        </p:nvSpPr>
        <p:spPr>
          <a:xfrm>
            <a:off x="1889760" y="6001090"/>
            <a:ext cx="236854" cy="13080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850" b="0" i="0" u="none" strike="noStrike" kern="1200" cap="none" spc="5" normalizeH="0" baseline="0" noProof="0" dirty="0">
                <a:ln>
                  <a:noFill/>
                </a:ln>
                <a:solidFill>
                  <a:srgbClr val="020002"/>
                </a:solidFill>
                <a:effectLst/>
                <a:uLnTx/>
                <a:uFillTx/>
                <a:ea typeface="+mn-ea"/>
                <a:cs typeface="Open Sans Light"/>
              </a:rPr>
              <a:t>2</a:t>
            </a:r>
            <a:r>
              <a:rPr kumimoji="0" sz="850" b="0" i="0" u="none" strike="noStrike" kern="1200" cap="none" spc="-15" normalizeH="0" baseline="0" noProof="0" dirty="0">
                <a:ln>
                  <a:noFill/>
                </a:ln>
                <a:solidFill>
                  <a:srgbClr val="020002"/>
                </a:solidFill>
                <a:effectLst/>
                <a:uLnTx/>
                <a:uFillTx/>
                <a:ea typeface="+mn-ea"/>
                <a:cs typeface="Open Sans Light"/>
              </a:rPr>
              <a:t>.</a:t>
            </a:r>
            <a:r>
              <a:rPr kumimoji="0" sz="850" b="0" i="0" u="none" strike="noStrike" kern="1200" cap="none" spc="5" normalizeH="0" baseline="0" noProof="0" dirty="0">
                <a:ln>
                  <a:noFill/>
                </a:ln>
                <a:solidFill>
                  <a:srgbClr val="020002"/>
                </a:solidFill>
                <a:effectLst/>
                <a:uLnTx/>
                <a:uFillTx/>
                <a:ea typeface="+mn-ea"/>
                <a:cs typeface="Open Sans Light"/>
              </a:rPr>
              <a:t>5</a:t>
            </a:r>
            <a:r>
              <a:rPr kumimoji="0" sz="850" b="0" i="0" u="none" strike="noStrike" kern="1200" cap="none" spc="0" normalizeH="0" baseline="0" noProof="0" dirty="0">
                <a:ln>
                  <a:noFill/>
                </a:ln>
                <a:solidFill>
                  <a:srgbClr val="020002"/>
                </a:solidFill>
                <a:effectLst/>
                <a:uLnTx/>
                <a:uFillTx/>
                <a:ea typeface="+mn-ea"/>
                <a:cs typeface="Open Sans Light"/>
              </a:rPr>
              <a:t>0</a:t>
            </a:r>
            <a:endParaRPr kumimoji="0" sz="850" b="0" i="0" u="none" strike="noStrike" kern="1200" cap="none" spc="0" normalizeH="0" baseline="0" noProof="0">
              <a:ln>
                <a:noFill/>
              </a:ln>
              <a:solidFill>
                <a:srgbClr val="5C5C5C"/>
              </a:solidFill>
              <a:effectLst/>
              <a:uLnTx/>
              <a:uFillTx/>
              <a:ea typeface="+mn-ea"/>
              <a:cs typeface="Open Sans Light"/>
            </a:endParaRPr>
          </a:p>
        </p:txBody>
      </p:sp>
      <p:sp>
        <p:nvSpPr>
          <p:cNvPr id="87" name="object 53"/>
          <p:cNvSpPr txBox="1"/>
          <p:nvPr/>
        </p:nvSpPr>
        <p:spPr>
          <a:xfrm>
            <a:off x="5439479" y="6001090"/>
            <a:ext cx="236854" cy="13080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850" b="0" i="0" u="none" strike="noStrike" kern="1200" cap="none" spc="5" normalizeH="0" baseline="0" noProof="0" dirty="0">
                <a:ln>
                  <a:noFill/>
                </a:ln>
                <a:solidFill>
                  <a:srgbClr val="020002"/>
                </a:solidFill>
                <a:effectLst/>
                <a:uLnTx/>
                <a:uFillTx/>
                <a:ea typeface="+mn-ea"/>
                <a:cs typeface="Open Sans Light"/>
              </a:rPr>
              <a:t>3</a:t>
            </a:r>
            <a:r>
              <a:rPr kumimoji="0" sz="850" b="0" i="0" u="none" strike="noStrike" kern="1200" cap="none" spc="-15" normalizeH="0" baseline="0" noProof="0" dirty="0">
                <a:ln>
                  <a:noFill/>
                </a:ln>
                <a:solidFill>
                  <a:srgbClr val="020002"/>
                </a:solidFill>
                <a:effectLst/>
                <a:uLnTx/>
                <a:uFillTx/>
                <a:ea typeface="+mn-ea"/>
                <a:cs typeface="Open Sans Light"/>
              </a:rPr>
              <a:t>.</a:t>
            </a:r>
            <a:r>
              <a:rPr kumimoji="0" sz="850" b="0" i="0" u="none" strike="noStrike" kern="1200" cap="none" spc="5" normalizeH="0" baseline="0" noProof="0" dirty="0">
                <a:ln>
                  <a:noFill/>
                </a:ln>
                <a:solidFill>
                  <a:srgbClr val="020002"/>
                </a:solidFill>
                <a:effectLst/>
                <a:uLnTx/>
                <a:uFillTx/>
                <a:ea typeface="+mn-ea"/>
                <a:cs typeface="Open Sans Light"/>
              </a:rPr>
              <a:t>7</a:t>
            </a:r>
            <a:r>
              <a:rPr kumimoji="0" sz="850" b="0" i="0" u="none" strike="noStrike" kern="1200" cap="none" spc="0" normalizeH="0" baseline="0" noProof="0" dirty="0">
                <a:ln>
                  <a:noFill/>
                </a:ln>
                <a:solidFill>
                  <a:srgbClr val="020002"/>
                </a:solidFill>
                <a:effectLst/>
                <a:uLnTx/>
                <a:uFillTx/>
                <a:ea typeface="+mn-ea"/>
                <a:cs typeface="Open Sans Light"/>
              </a:rPr>
              <a:t>0</a:t>
            </a:r>
            <a:endParaRPr kumimoji="0" sz="850" b="0" i="0" u="none" strike="noStrike" kern="1200" cap="none" spc="0" normalizeH="0" baseline="0" noProof="0" dirty="0">
              <a:ln>
                <a:noFill/>
              </a:ln>
              <a:solidFill>
                <a:srgbClr val="5C5C5C"/>
              </a:solidFill>
              <a:effectLst/>
              <a:uLnTx/>
              <a:uFillTx/>
              <a:ea typeface="+mn-ea"/>
              <a:cs typeface="Open Sans Light"/>
            </a:endParaRPr>
          </a:p>
        </p:txBody>
      </p:sp>
      <p:sp>
        <p:nvSpPr>
          <p:cNvPr id="88" name="object 54"/>
          <p:cNvSpPr txBox="1"/>
          <p:nvPr/>
        </p:nvSpPr>
        <p:spPr>
          <a:xfrm>
            <a:off x="6386741" y="6001090"/>
            <a:ext cx="236854" cy="13080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850" b="0" i="0" u="none" strike="noStrike" kern="1200" cap="none" spc="5" normalizeH="0" baseline="0" noProof="0" dirty="0">
                <a:ln>
                  <a:noFill/>
                </a:ln>
                <a:solidFill>
                  <a:srgbClr val="020002"/>
                </a:solidFill>
                <a:effectLst/>
                <a:uLnTx/>
                <a:uFillTx/>
                <a:ea typeface="+mn-ea"/>
                <a:cs typeface="Open Sans Light"/>
              </a:rPr>
              <a:t>4</a:t>
            </a:r>
            <a:r>
              <a:rPr kumimoji="0" sz="850" b="0" i="0" u="none" strike="noStrike" kern="1200" cap="none" spc="-15" normalizeH="0" baseline="0" noProof="0" dirty="0">
                <a:ln>
                  <a:noFill/>
                </a:ln>
                <a:solidFill>
                  <a:srgbClr val="020002"/>
                </a:solidFill>
                <a:effectLst/>
                <a:uLnTx/>
                <a:uFillTx/>
                <a:ea typeface="+mn-ea"/>
                <a:cs typeface="Open Sans Light"/>
              </a:rPr>
              <a:t>.</a:t>
            </a:r>
            <a:r>
              <a:rPr kumimoji="0" sz="850" b="0" i="0" u="none" strike="noStrike" kern="1200" cap="none" spc="5" normalizeH="0" baseline="0" noProof="0" dirty="0">
                <a:ln>
                  <a:noFill/>
                </a:ln>
                <a:solidFill>
                  <a:srgbClr val="020002"/>
                </a:solidFill>
                <a:effectLst/>
                <a:uLnTx/>
                <a:uFillTx/>
                <a:ea typeface="+mn-ea"/>
                <a:cs typeface="Open Sans Light"/>
              </a:rPr>
              <a:t>0</a:t>
            </a:r>
            <a:r>
              <a:rPr kumimoji="0" sz="850" b="0" i="0" u="none" strike="noStrike" kern="1200" cap="none" spc="0" normalizeH="0" baseline="0" noProof="0" dirty="0">
                <a:ln>
                  <a:noFill/>
                </a:ln>
                <a:solidFill>
                  <a:srgbClr val="020002"/>
                </a:solidFill>
                <a:effectLst/>
                <a:uLnTx/>
                <a:uFillTx/>
                <a:ea typeface="+mn-ea"/>
                <a:cs typeface="Open Sans Light"/>
              </a:rPr>
              <a:t>0</a:t>
            </a:r>
            <a:endParaRPr kumimoji="0" sz="850" b="0" i="0" u="none" strike="noStrike" kern="1200" cap="none" spc="0" normalizeH="0" baseline="0" noProof="0">
              <a:ln>
                <a:noFill/>
              </a:ln>
              <a:solidFill>
                <a:srgbClr val="5C5C5C"/>
              </a:solidFill>
              <a:effectLst/>
              <a:uLnTx/>
              <a:uFillTx/>
              <a:ea typeface="+mn-ea"/>
              <a:cs typeface="Open Sans Light"/>
            </a:endParaRPr>
          </a:p>
        </p:txBody>
      </p:sp>
      <p:sp>
        <p:nvSpPr>
          <p:cNvPr id="89" name="object 55"/>
          <p:cNvSpPr txBox="1"/>
          <p:nvPr/>
        </p:nvSpPr>
        <p:spPr>
          <a:xfrm>
            <a:off x="433142" y="3017410"/>
            <a:ext cx="153888" cy="1982343"/>
          </a:xfrm>
          <a:prstGeom prst="rect">
            <a:avLst/>
          </a:prstGeom>
        </p:spPr>
        <p:txBody>
          <a:bodyPr vert="vert270" wrap="square" lIns="0" tIns="19685" rIns="0" bIns="0" rtlCol="0">
            <a:spAutoFit/>
          </a:bodyPr>
          <a:lstStyle/>
          <a:p>
            <a:pPr marL="12700" marR="0" lvl="0" indent="0" algn="ctr" defTabSz="914400" rtl="0" eaLnBrk="1" fontAlgn="auto" latinLnBrk="0" hangingPunct="1">
              <a:lnSpc>
                <a:spcPct val="100000"/>
              </a:lnSpc>
              <a:spcBef>
                <a:spcPts val="155"/>
              </a:spcBef>
              <a:spcAft>
                <a:spcPts val="0"/>
              </a:spcAft>
              <a:buClrTx/>
              <a:buSzTx/>
              <a:buFontTx/>
              <a:buNone/>
              <a:tabLst/>
              <a:defRPr/>
            </a:pPr>
            <a:r>
              <a:rPr kumimoji="0" sz="1000" b="1" i="0" u="none" strike="noStrike" kern="1200" cap="none" spc="-5" normalizeH="0" baseline="0" noProof="0" dirty="0">
                <a:ln>
                  <a:noFill/>
                </a:ln>
                <a:solidFill>
                  <a:srgbClr val="020002"/>
                </a:solidFill>
                <a:effectLst/>
                <a:uLnTx/>
                <a:uFillTx/>
                <a:ea typeface="+mn-ea"/>
                <a:cs typeface="Open Sans"/>
              </a:rPr>
              <a:t>Digi</a:t>
            </a:r>
            <a:r>
              <a:rPr kumimoji="0" sz="1000" b="1" i="0" u="none" strike="noStrike" kern="1200" cap="none" spc="0" normalizeH="0" baseline="0" noProof="0" dirty="0">
                <a:ln>
                  <a:noFill/>
                </a:ln>
                <a:solidFill>
                  <a:srgbClr val="020002"/>
                </a:solidFill>
                <a:effectLst/>
                <a:uLnTx/>
                <a:uFillTx/>
                <a:ea typeface="+mn-ea"/>
                <a:cs typeface="Open Sans"/>
              </a:rPr>
              <a:t>t</a:t>
            </a:r>
            <a:r>
              <a:rPr kumimoji="0" sz="1000" b="1" i="0" u="none" strike="noStrike" kern="1200" cap="none" spc="-5" normalizeH="0" baseline="0" noProof="0" dirty="0">
                <a:ln>
                  <a:noFill/>
                </a:ln>
                <a:solidFill>
                  <a:srgbClr val="020002"/>
                </a:solidFill>
                <a:effectLst/>
                <a:uLnTx/>
                <a:uFillTx/>
                <a:ea typeface="+mn-ea"/>
                <a:cs typeface="Open Sans"/>
              </a:rPr>
              <a:t>a</a:t>
            </a:r>
            <a:r>
              <a:rPr kumimoji="0" sz="1000" b="1" i="0" u="none" strike="noStrike" kern="1200" cap="none" spc="0" normalizeH="0" baseline="0" noProof="0" dirty="0">
                <a:ln>
                  <a:noFill/>
                </a:ln>
                <a:solidFill>
                  <a:srgbClr val="020002"/>
                </a:solidFill>
                <a:effectLst/>
                <a:uLnTx/>
                <a:uFillTx/>
                <a:ea typeface="+mn-ea"/>
                <a:cs typeface="Open Sans"/>
              </a:rPr>
              <a:t>l </a:t>
            </a:r>
            <a:r>
              <a:rPr kumimoji="0" sz="1000" b="1" i="0" u="none" strike="noStrike" kern="1200" cap="none" spc="-5" normalizeH="0" baseline="0" noProof="0" dirty="0">
                <a:ln>
                  <a:noFill/>
                </a:ln>
                <a:solidFill>
                  <a:srgbClr val="020002"/>
                </a:solidFill>
                <a:effectLst/>
                <a:uLnTx/>
                <a:uFillTx/>
                <a:ea typeface="+mn-ea"/>
                <a:cs typeface="Open Sans"/>
              </a:rPr>
              <a:t>ma</a:t>
            </a:r>
            <a:r>
              <a:rPr kumimoji="0" sz="1000" b="1" i="0" u="none" strike="noStrike" kern="1200" cap="none" spc="0" normalizeH="0" baseline="0" noProof="0" dirty="0">
                <a:ln>
                  <a:noFill/>
                </a:ln>
                <a:solidFill>
                  <a:srgbClr val="020002"/>
                </a:solidFill>
                <a:effectLst/>
                <a:uLnTx/>
                <a:uFillTx/>
                <a:ea typeface="+mn-ea"/>
                <a:cs typeface="Open Sans"/>
              </a:rPr>
              <a:t>t</a:t>
            </a:r>
            <a:r>
              <a:rPr kumimoji="0" sz="1000" b="1" i="0" u="none" strike="noStrike" kern="1200" cap="none" spc="-5" normalizeH="0" baseline="0" noProof="0" dirty="0">
                <a:ln>
                  <a:noFill/>
                </a:ln>
                <a:solidFill>
                  <a:srgbClr val="020002"/>
                </a:solidFill>
                <a:effectLst/>
                <a:uLnTx/>
                <a:uFillTx/>
                <a:ea typeface="+mn-ea"/>
                <a:cs typeface="Open Sans"/>
              </a:rPr>
              <a:t>u</a:t>
            </a:r>
            <a:r>
              <a:rPr kumimoji="0" sz="1000" b="1" i="0" u="none" strike="noStrike" kern="1200" cap="none" spc="0" normalizeH="0" baseline="0" noProof="0" dirty="0">
                <a:ln>
                  <a:noFill/>
                </a:ln>
                <a:solidFill>
                  <a:srgbClr val="020002"/>
                </a:solidFill>
                <a:effectLst/>
                <a:uLnTx/>
                <a:uFillTx/>
                <a:ea typeface="+mn-ea"/>
                <a:cs typeface="Open Sans"/>
              </a:rPr>
              <a:t>ri</a:t>
            </a:r>
            <a:r>
              <a:rPr kumimoji="0" sz="1000" b="1" i="0" u="none" strike="noStrike" kern="1200" cap="none" spc="-5" normalizeH="0" baseline="0" noProof="0" dirty="0">
                <a:ln>
                  <a:noFill/>
                </a:ln>
                <a:solidFill>
                  <a:srgbClr val="020002"/>
                </a:solidFill>
                <a:effectLst/>
                <a:uLnTx/>
                <a:uFillTx/>
                <a:ea typeface="+mn-ea"/>
                <a:cs typeface="Open Sans"/>
              </a:rPr>
              <a:t>t</a:t>
            </a:r>
            <a:r>
              <a:rPr kumimoji="0" sz="1000" b="1" i="0" u="none" strike="noStrike" kern="1200" cap="none" spc="0" normalizeH="0" baseline="0" noProof="0" dirty="0">
                <a:ln>
                  <a:noFill/>
                </a:ln>
                <a:solidFill>
                  <a:srgbClr val="020002"/>
                </a:solidFill>
                <a:effectLst/>
                <a:uLnTx/>
                <a:uFillTx/>
                <a:ea typeface="+mn-ea"/>
                <a:cs typeface="Open Sans"/>
              </a:rPr>
              <a:t>y</a:t>
            </a:r>
            <a:r>
              <a:rPr kumimoji="0" sz="1000" b="1" i="0" u="none" strike="noStrike" kern="1200" cap="none" spc="-5" normalizeH="0" baseline="0" noProof="0" dirty="0">
                <a:ln>
                  <a:noFill/>
                </a:ln>
                <a:solidFill>
                  <a:srgbClr val="020002"/>
                </a:solidFill>
                <a:effectLst/>
                <a:uLnTx/>
                <a:uFillTx/>
                <a:ea typeface="+mn-ea"/>
                <a:cs typeface="Open Sans"/>
              </a:rPr>
              <a:t> </a:t>
            </a:r>
            <a:r>
              <a:rPr kumimoji="0" sz="1000" b="1" i="0" u="none" strike="noStrike" kern="1200" cap="none" spc="0" normalizeH="0" baseline="0" noProof="0" dirty="0">
                <a:ln>
                  <a:noFill/>
                </a:ln>
                <a:solidFill>
                  <a:srgbClr val="020002"/>
                </a:solidFill>
                <a:effectLst/>
                <a:uLnTx/>
                <a:uFillTx/>
                <a:ea typeface="+mn-ea"/>
                <a:cs typeface="Open Sans"/>
              </a:rPr>
              <a:t>(1</a:t>
            </a:r>
            <a:r>
              <a:rPr kumimoji="0" sz="1000" b="1" i="0" u="none" strike="noStrike" kern="1200" cap="none" spc="-5" normalizeH="0" baseline="0" noProof="0" dirty="0">
                <a:ln>
                  <a:noFill/>
                </a:ln>
                <a:solidFill>
                  <a:srgbClr val="020002"/>
                </a:solidFill>
                <a:effectLst/>
                <a:uLnTx/>
                <a:uFillTx/>
                <a:ea typeface="+mn-ea"/>
                <a:cs typeface="Open Sans"/>
              </a:rPr>
              <a:t> </a:t>
            </a:r>
            <a:r>
              <a:rPr kumimoji="0" sz="1000" b="1" i="0" u="none" strike="noStrike" kern="1200" cap="none" spc="0" normalizeH="0" baseline="0" noProof="0" dirty="0">
                <a:ln>
                  <a:noFill/>
                </a:ln>
                <a:solidFill>
                  <a:srgbClr val="020002"/>
                </a:solidFill>
                <a:effectLst/>
                <a:uLnTx/>
                <a:uFillTx/>
                <a:ea typeface="+mn-ea"/>
                <a:cs typeface="Open Sans"/>
              </a:rPr>
              <a:t>to</a:t>
            </a:r>
            <a:r>
              <a:rPr kumimoji="0" sz="1000" b="1" i="0" u="none" strike="noStrike" kern="1200" cap="none" spc="-5" normalizeH="0" baseline="0" noProof="0" dirty="0">
                <a:ln>
                  <a:noFill/>
                </a:ln>
                <a:solidFill>
                  <a:srgbClr val="020002"/>
                </a:solidFill>
                <a:effectLst/>
                <a:uLnTx/>
                <a:uFillTx/>
                <a:ea typeface="+mn-ea"/>
                <a:cs typeface="Open Sans"/>
              </a:rPr>
              <a:t> 1</a:t>
            </a:r>
            <a:r>
              <a:rPr kumimoji="0" sz="1000" b="1" i="0" u="none" strike="noStrike" kern="1200" cap="none" spc="0" normalizeH="0" baseline="0" noProof="0" dirty="0">
                <a:ln>
                  <a:noFill/>
                </a:ln>
                <a:solidFill>
                  <a:srgbClr val="020002"/>
                </a:solidFill>
                <a:effectLst/>
                <a:uLnTx/>
                <a:uFillTx/>
                <a:ea typeface="+mn-ea"/>
                <a:cs typeface="Open Sans"/>
              </a:rPr>
              <a:t>0</a:t>
            </a:r>
            <a:r>
              <a:rPr kumimoji="0" sz="1000" b="1" i="0" u="none" strike="noStrike" kern="1200" cap="none" spc="-5" normalizeH="0" baseline="0" noProof="0" dirty="0">
                <a:ln>
                  <a:noFill/>
                </a:ln>
                <a:solidFill>
                  <a:srgbClr val="020002"/>
                </a:solidFill>
                <a:effectLst/>
                <a:uLnTx/>
                <a:uFillTx/>
                <a:ea typeface="+mn-ea"/>
                <a:cs typeface="Open Sans"/>
              </a:rPr>
              <a:t> </a:t>
            </a:r>
            <a:r>
              <a:rPr kumimoji="0" sz="1000" b="1" i="0" u="none" strike="noStrike" kern="1200" cap="none" spc="0" normalizeH="0" baseline="0" noProof="0" dirty="0">
                <a:ln>
                  <a:noFill/>
                </a:ln>
                <a:solidFill>
                  <a:srgbClr val="020002"/>
                </a:solidFill>
                <a:effectLst/>
                <a:uLnTx/>
                <a:uFillTx/>
                <a:ea typeface="+mn-ea"/>
                <a:cs typeface="Open Sans"/>
              </a:rPr>
              <a:t>s</a:t>
            </a:r>
            <a:r>
              <a:rPr kumimoji="0" sz="1000" b="1" i="0" u="none" strike="noStrike" kern="1200" cap="none" spc="-5" normalizeH="0" baseline="0" noProof="0" dirty="0">
                <a:ln>
                  <a:noFill/>
                </a:ln>
                <a:solidFill>
                  <a:srgbClr val="020002"/>
                </a:solidFill>
                <a:effectLst/>
                <a:uLnTx/>
                <a:uFillTx/>
                <a:ea typeface="+mn-ea"/>
                <a:cs typeface="Open Sans"/>
              </a:rPr>
              <a:t>cale</a:t>
            </a:r>
            <a:r>
              <a:rPr kumimoji="0" sz="1000" b="1" i="0" u="none" strike="noStrike" kern="1200" cap="none" spc="0" normalizeH="0" baseline="0" noProof="0" dirty="0">
                <a:ln>
                  <a:noFill/>
                </a:ln>
                <a:solidFill>
                  <a:srgbClr val="020002"/>
                </a:solidFill>
                <a:effectLst/>
                <a:uLnTx/>
                <a:uFillTx/>
                <a:ea typeface="+mn-ea"/>
                <a:cs typeface="Open Sans"/>
              </a:rPr>
              <a:t>)</a:t>
            </a:r>
            <a:endParaRPr kumimoji="0" sz="1000" b="0" i="0" u="none" strike="noStrike" kern="1200" cap="none" spc="0" normalizeH="0" baseline="0" noProof="0" dirty="0">
              <a:ln>
                <a:noFill/>
              </a:ln>
              <a:solidFill>
                <a:srgbClr val="5C5C5C"/>
              </a:solidFill>
              <a:effectLst/>
              <a:uLnTx/>
              <a:uFillTx/>
              <a:ea typeface="+mn-ea"/>
              <a:cs typeface="Open Sans"/>
            </a:endParaRPr>
          </a:p>
        </p:txBody>
      </p:sp>
      <p:sp>
        <p:nvSpPr>
          <p:cNvPr id="90" name="object 56"/>
          <p:cNvSpPr txBox="1"/>
          <p:nvPr/>
        </p:nvSpPr>
        <p:spPr>
          <a:xfrm>
            <a:off x="2328204" y="6001090"/>
            <a:ext cx="2890533" cy="364202"/>
          </a:xfrm>
          <a:prstGeom prst="rect">
            <a:avLst/>
          </a:prstGeom>
        </p:spPr>
        <p:txBody>
          <a:bodyPr vert="horz" wrap="square" lIns="0" tIns="0" rIns="0" bIns="0" rtlCol="0">
            <a:spAutoFit/>
          </a:bodyPr>
          <a:lstStyle/>
          <a:p>
            <a:pPr marL="19050" marR="0" lvl="0" indent="0" algn="ctr" defTabSz="914400" rtl="0" eaLnBrk="1" fontAlgn="auto" latinLnBrk="0" hangingPunct="1">
              <a:lnSpc>
                <a:spcPct val="100000"/>
              </a:lnSpc>
              <a:spcBef>
                <a:spcPts val="0"/>
              </a:spcBef>
              <a:spcAft>
                <a:spcPts val="0"/>
              </a:spcAft>
              <a:buClrTx/>
              <a:buSzTx/>
              <a:buFontTx/>
              <a:buNone/>
              <a:tabLst>
                <a:tab pos="906780" algn="l"/>
                <a:tab pos="1793875" algn="l"/>
              </a:tabLst>
              <a:defRPr/>
            </a:pPr>
            <a:r>
              <a:rPr kumimoji="0" sz="900" b="0" i="0" u="none" strike="noStrike" kern="1200" cap="none" spc="-5" normalizeH="0" baseline="0" noProof="0" dirty="0">
                <a:ln>
                  <a:noFill/>
                </a:ln>
                <a:solidFill>
                  <a:srgbClr val="020002"/>
                </a:solidFill>
                <a:effectLst/>
                <a:uLnTx/>
                <a:uFillTx/>
                <a:ea typeface="+mn-ea"/>
                <a:cs typeface="Open Sans Light"/>
              </a:rPr>
              <a:t>2.80	3.10	3.40</a:t>
            </a:r>
            <a:endParaRPr kumimoji="0" sz="900" b="0" i="0" u="none" strike="noStrike" kern="1200" cap="none" spc="0" normalizeH="0" baseline="0" noProof="0" dirty="0">
              <a:ln>
                <a:noFill/>
              </a:ln>
              <a:solidFill>
                <a:srgbClr val="5C5C5C"/>
              </a:solidFill>
              <a:effectLst/>
              <a:uLnTx/>
              <a:uFillTx/>
              <a:ea typeface="+mn-ea"/>
              <a:cs typeface="Open Sans Light"/>
            </a:endParaRPr>
          </a:p>
          <a:p>
            <a:pPr marL="0" marR="0" lvl="0" indent="0" algn="ctr" defTabSz="914400" rtl="0" eaLnBrk="1" fontAlgn="auto" latinLnBrk="0" hangingPunct="1">
              <a:lnSpc>
                <a:spcPct val="100000"/>
              </a:lnSpc>
              <a:spcBef>
                <a:spcPts val="540"/>
              </a:spcBef>
              <a:spcAft>
                <a:spcPts val="0"/>
              </a:spcAft>
              <a:buClrTx/>
              <a:buSzTx/>
              <a:buFontTx/>
              <a:buNone/>
              <a:tabLst/>
              <a:defRPr/>
            </a:pPr>
            <a:r>
              <a:rPr kumimoji="0" sz="1050" b="1" i="0" u="none" strike="noStrike" kern="1200" cap="none" spc="-5" normalizeH="0" baseline="0" noProof="0" dirty="0">
                <a:ln>
                  <a:noFill/>
                </a:ln>
                <a:solidFill>
                  <a:srgbClr val="020002"/>
                </a:solidFill>
                <a:effectLst/>
                <a:uLnTx/>
                <a:uFillTx/>
                <a:ea typeface="+mn-ea"/>
                <a:cs typeface="Open Sans"/>
              </a:rPr>
              <a:t>Enterprise digital strategy horizon (in</a:t>
            </a:r>
            <a:r>
              <a:rPr kumimoji="0" sz="1050" b="1" i="0" u="none" strike="noStrike" kern="1200" cap="none" spc="-70" normalizeH="0" baseline="0" noProof="0" dirty="0">
                <a:ln>
                  <a:noFill/>
                </a:ln>
                <a:solidFill>
                  <a:srgbClr val="020002"/>
                </a:solidFill>
                <a:effectLst/>
                <a:uLnTx/>
                <a:uFillTx/>
                <a:ea typeface="+mn-ea"/>
                <a:cs typeface="Open Sans"/>
              </a:rPr>
              <a:t> </a:t>
            </a:r>
            <a:r>
              <a:rPr kumimoji="0" sz="1050" b="1" i="0" u="none" strike="noStrike" kern="1200" cap="none" spc="-5" normalizeH="0" baseline="0" noProof="0" dirty="0">
                <a:ln>
                  <a:noFill/>
                </a:ln>
                <a:solidFill>
                  <a:srgbClr val="020002"/>
                </a:solidFill>
                <a:effectLst/>
                <a:uLnTx/>
                <a:uFillTx/>
                <a:ea typeface="+mn-ea"/>
                <a:cs typeface="Open Sans"/>
              </a:rPr>
              <a:t>years)</a:t>
            </a:r>
            <a:endParaRPr kumimoji="0" sz="1050" b="0" i="0" u="none" strike="noStrike" kern="1200" cap="none" spc="0" normalizeH="0" baseline="0" noProof="0" dirty="0">
              <a:ln>
                <a:noFill/>
              </a:ln>
              <a:solidFill>
                <a:srgbClr val="5C5C5C"/>
              </a:solidFill>
              <a:effectLst/>
              <a:uLnTx/>
              <a:uFillTx/>
              <a:ea typeface="+mn-ea"/>
              <a:cs typeface="Open Sans"/>
            </a:endParaRPr>
          </a:p>
        </p:txBody>
      </p:sp>
      <p:sp>
        <p:nvSpPr>
          <p:cNvPr id="91" name="object 57"/>
          <p:cNvSpPr/>
          <p:nvPr/>
        </p:nvSpPr>
        <p:spPr>
          <a:xfrm>
            <a:off x="3947082" y="4215190"/>
            <a:ext cx="255904" cy="89535"/>
          </a:xfrm>
          <a:custGeom>
            <a:avLst/>
            <a:gdLst/>
            <a:ahLst/>
            <a:cxnLst/>
            <a:rect l="l" t="t" r="r" b="b"/>
            <a:pathLst>
              <a:path w="255904" h="89535">
                <a:moveTo>
                  <a:pt x="0" y="0"/>
                </a:moveTo>
                <a:lnTo>
                  <a:pt x="0" y="89090"/>
                </a:lnTo>
                <a:lnTo>
                  <a:pt x="255879" y="89090"/>
                </a:lnTo>
              </a:path>
            </a:pathLst>
          </a:custGeom>
          <a:ln w="1270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92" name="object 58"/>
          <p:cNvSpPr/>
          <p:nvPr/>
        </p:nvSpPr>
        <p:spPr>
          <a:xfrm>
            <a:off x="3391730" y="3551689"/>
            <a:ext cx="54610" cy="0"/>
          </a:xfrm>
          <a:custGeom>
            <a:avLst/>
            <a:gdLst/>
            <a:ahLst/>
            <a:cxnLst/>
            <a:rect l="l" t="t" r="r" b="b"/>
            <a:pathLst>
              <a:path w="54610">
                <a:moveTo>
                  <a:pt x="0" y="0"/>
                </a:moveTo>
                <a:lnTo>
                  <a:pt x="54317" y="0"/>
                </a:lnTo>
              </a:path>
            </a:pathLst>
          </a:custGeom>
          <a:ln w="1270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93" name="object 59"/>
          <p:cNvSpPr/>
          <p:nvPr/>
        </p:nvSpPr>
        <p:spPr>
          <a:xfrm>
            <a:off x="5269073" y="2949958"/>
            <a:ext cx="54610" cy="0"/>
          </a:xfrm>
          <a:custGeom>
            <a:avLst/>
            <a:gdLst/>
            <a:ahLst/>
            <a:cxnLst/>
            <a:rect l="l" t="t" r="r" b="b"/>
            <a:pathLst>
              <a:path w="54610">
                <a:moveTo>
                  <a:pt x="0" y="0"/>
                </a:moveTo>
                <a:lnTo>
                  <a:pt x="54317" y="0"/>
                </a:lnTo>
              </a:path>
            </a:pathLst>
          </a:custGeom>
          <a:ln w="1270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94" name="object 60"/>
          <p:cNvSpPr/>
          <p:nvPr/>
        </p:nvSpPr>
        <p:spPr>
          <a:xfrm>
            <a:off x="4974517" y="3963838"/>
            <a:ext cx="54610" cy="0"/>
          </a:xfrm>
          <a:custGeom>
            <a:avLst/>
            <a:gdLst/>
            <a:ahLst/>
            <a:cxnLst/>
            <a:rect l="l" t="t" r="r" b="b"/>
            <a:pathLst>
              <a:path w="54610">
                <a:moveTo>
                  <a:pt x="0" y="0"/>
                </a:moveTo>
                <a:lnTo>
                  <a:pt x="54317" y="0"/>
                </a:lnTo>
              </a:path>
            </a:pathLst>
          </a:custGeom>
          <a:ln w="1270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95" name="object 61"/>
          <p:cNvSpPr/>
          <p:nvPr/>
        </p:nvSpPr>
        <p:spPr>
          <a:xfrm>
            <a:off x="3684308" y="3824217"/>
            <a:ext cx="54610" cy="0"/>
          </a:xfrm>
          <a:custGeom>
            <a:avLst/>
            <a:gdLst/>
            <a:ahLst/>
            <a:cxnLst/>
            <a:rect l="l" t="t" r="r" b="b"/>
            <a:pathLst>
              <a:path w="54610">
                <a:moveTo>
                  <a:pt x="0" y="0"/>
                </a:moveTo>
                <a:lnTo>
                  <a:pt x="54330" y="0"/>
                </a:lnTo>
              </a:path>
            </a:pathLst>
          </a:custGeom>
          <a:ln w="1270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96" name="object 62"/>
          <p:cNvSpPr/>
          <p:nvPr/>
        </p:nvSpPr>
        <p:spPr>
          <a:xfrm>
            <a:off x="3559007" y="4588004"/>
            <a:ext cx="54610" cy="0"/>
          </a:xfrm>
          <a:custGeom>
            <a:avLst/>
            <a:gdLst/>
            <a:ahLst/>
            <a:cxnLst/>
            <a:rect l="l" t="t" r="r" b="b"/>
            <a:pathLst>
              <a:path w="54610">
                <a:moveTo>
                  <a:pt x="0" y="0"/>
                </a:moveTo>
                <a:lnTo>
                  <a:pt x="54330" y="0"/>
                </a:lnTo>
              </a:path>
            </a:pathLst>
          </a:custGeom>
          <a:ln w="1270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97" name="object 63"/>
          <p:cNvSpPr/>
          <p:nvPr/>
        </p:nvSpPr>
        <p:spPr>
          <a:xfrm>
            <a:off x="4130476" y="4961301"/>
            <a:ext cx="54610" cy="0"/>
          </a:xfrm>
          <a:custGeom>
            <a:avLst/>
            <a:gdLst/>
            <a:ahLst/>
            <a:cxnLst/>
            <a:rect l="l" t="t" r="r" b="b"/>
            <a:pathLst>
              <a:path w="54610">
                <a:moveTo>
                  <a:pt x="0" y="0"/>
                </a:moveTo>
                <a:lnTo>
                  <a:pt x="54330" y="0"/>
                </a:lnTo>
              </a:path>
            </a:pathLst>
          </a:custGeom>
          <a:ln w="1270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98" name="object 64"/>
          <p:cNvSpPr/>
          <p:nvPr/>
        </p:nvSpPr>
        <p:spPr>
          <a:xfrm>
            <a:off x="5346910" y="4682292"/>
            <a:ext cx="54610" cy="0"/>
          </a:xfrm>
          <a:custGeom>
            <a:avLst/>
            <a:gdLst/>
            <a:ahLst/>
            <a:cxnLst/>
            <a:rect l="l" t="t" r="r" b="b"/>
            <a:pathLst>
              <a:path w="54610">
                <a:moveTo>
                  <a:pt x="0" y="0"/>
                </a:moveTo>
                <a:lnTo>
                  <a:pt x="54317" y="0"/>
                </a:lnTo>
              </a:path>
            </a:pathLst>
          </a:custGeom>
          <a:ln w="1270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99" name="object 65"/>
          <p:cNvSpPr/>
          <p:nvPr/>
        </p:nvSpPr>
        <p:spPr>
          <a:xfrm>
            <a:off x="5181537" y="5323462"/>
            <a:ext cx="54610" cy="0"/>
          </a:xfrm>
          <a:custGeom>
            <a:avLst/>
            <a:gdLst/>
            <a:ahLst/>
            <a:cxnLst/>
            <a:rect l="l" t="t" r="r" b="b"/>
            <a:pathLst>
              <a:path w="54610">
                <a:moveTo>
                  <a:pt x="0" y="0"/>
                </a:moveTo>
                <a:lnTo>
                  <a:pt x="54330" y="0"/>
                </a:lnTo>
              </a:path>
            </a:pathLst>
          </a:custGeom>
          <a:ln w="1270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100" name="object 66"/>
          <p:cNvSpPr/>
          <p:nvPr/>
        </p:nvSpPr>
        <p:spPr>
          <a:xfrm>
            <a:off x="2630227" y="4086743"/>
            <a:ext cx="54610" cy="0"/>
          </a:xfrm>
          <a:custGeom>
            <a:avLst/>
            <a:gdLst/>
            <a:ahLst/>
            <a:cxnLst/>
            <a:rect l="l" t="t" r="r" b="b"/>
            <a:pathLst>
              <a:path w="54610">
                <a:moveTo>
                  <a:pt x="0" y="0"/>
                </a:moveTo>
                <a:lnTo>
                  <a:pt x="54317" y="0"/>
                </a:lnTo>
              </a:path>
            </a:pathLst>
          </a:custGeom>
          <a:ln w="12700">
            <a:solidFill>
              <a:schemeClr val="accent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101" name="object 67"/>
          <p:cNvSpPr/>
          <p:nvPr/>
        </p:nvSpPr>
        <p:spPr>
          <a:xfrm>
            <a:off x="3666411" y="2147737"/>
            <a:ext cx="54610" cy="0"/>
          </a:xfrm>
          <a:custGeom>
            <a:avLst/>
            <a:gdLst/>
            <a:ahLst/>
            <a:cxnLst/>
            <a:rect l="l" t="t" r="r" b="b"/>
            <a:pathLst>
              <a:path w="54610">
                <a:moveTo>
                  <a:pt x="0" y="0"/>
                </a:moveTo>
                <a:lnTo>
                  <a:pt x="54330" y="0"/>
                </a:lnTo>
              </a:path>
            </a:pathLst>
          </a:custGeom>
          <a:ln w="1270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102" name="object 68"/>
          <p:cNvSpPr/>
          <p:nvPr/>
        </p:nvSpPr>
        <p:spPr>
          <a:xfrm>
            <a:off x="3373617" y="1996730"/>
            <a:ext cx="302260" cy="302260"/>
          </a:xfrm>
          <a:custGeom>
            <a:avLst/>
            <a:gdLst/>
            <a:ahLst/>
            <a:cxnLst/>
            <a:rect l="l" t="t" r="r" b="b"/>
            <a:pathLst>
              <a:path w="302260" h="302260">
                <a:moveTo>
                  <a:pt x="150914" y="0"/>
                </a:moveTo>
                <a:lnTo>
                  <a:pt x="103212" y="7694"/>
                </a:lnTo>
                <a:lnTo>
                  <a:pt x="61785" y="29120"/>
                </a:lnTo>
                <a:lnTo>
                  <a:pt x="29116" y="61790"/>
                </a:lnTo>
                <a:lnTo>
                  <a:pt x="7693" y="103217"/>
                </a:lnTo>
                <a:lnTo>
                  <a:pt x="0" y="150914"/>
                </a:lnTo>
                <a:lnTo>
                  <a:pt x="7693" y="198615"/>
                </a:lnTo>
                <a:lnTo>
                  <a:pt x="29116" y="240043"/>
                </a:lnTo>
                <a:lnTo>
                  <a:pt x="61785" y="272711"/>
                </a:lnTo>
                <a:lnTo>
                  <a:pt x="103212" y="294134"/>
                </a:lnTo>
                <a:lnTo>
                  <a:pt x="150914" y="301828"/>
                </a:lnTo>
                <a:lnTo>
                  <a:pt x="198610" y="294134"/>
                </a:lnTo>
                <a:lnTo>
                  <a:pt x="240037" y="272711"/>
                </a:lnTo>
                <a:lnTo>
                  <a:pt x="272707" y="240043"/>
                </a:lnTo>
                <a:lnTo>
                  <a:pt x="294133" y="198615"/>
                </a:lnTo>
                <a:lnTo>
                  <a:pt x="301828" y="150914"/>
                </a:lnTo>
                <a:lnTo>
                  <a:pt x="294133" y="103217"/>
                </a:lnTo>
                <a:lnTo>
                  <a:pt x="272707" y="61790"/>
                </a:lnTo>
                <a:lnTo>
                  <a:pt x="240037" y="29120"/>
                </a:lnTo>
                <a:lnTo>
                  <a:pt x="198610" y="7694"/>
                </a:lnTo>
                <a:lnTo>
                  <a:pt x="150914" y="0"/>
                </a:lnTo>
                <a:close/>
              </a:path>
            </a:pathLst>
          </a:custGeom>
          <a:solidFill>
            <a:schemeClr val="accent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103" name="object 69"/>
          <p:cNvSpPr/>
          <p:nvPr/>
        </p:nvSpPr>
        <p:spPr>
          <a:xfrm>
            <a:off x="5109368" y="4887873"/>
            <a:ext cx="0" cy="41275"/>
          </a:xfrm>
          <a:custGeom>
            <a:avLst/>
            <a:gdLst/>
            <a:ahLst/>
            <a:cxnLst/>
            <a:rect l="l" t="t" r="r" b="b"/>
            <a:pathLst>
              <a:path h="41275">
                <a:moveTo>
                  <a:pt x="0" y="0"/>
                </a:moveTo>
                <a:lnTo>
                  <a:pt x="0" y="40767"/>
                </a:lnTo>
              </a:path>
            </a:pathLst>
          </a:custGeom>
          <a:ln w="1270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ea typeface="+mn-ea"/>
              <a:cs typeface="+mn-cs"/>
            </a:endParaRPr>
          </a:p>
        </p:txBody>
      </p:sp>
      <p:sp>
        <p:nvSpPr>
          <p:cNvPr id="104" name="object 42"/>
          <p:cNvSpPr txBox="1"/>
          <p:nvPr/>
        </p:nvSpPr>
        <p:spPr>
          <a:xfrm>
            <a:off x="3803493" y="2082334"/>
            <a:ext cx="1884045" cy="153888"/>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 normalizeH="0" baseline="0" noProof="0" dirty="0">
                <a:ln>
                  <a:noFill/>
                </a:ln>
                <a:solidFill>
                  <a:srgbClr val="020002"/>
                </a:solidFill>
                <a:effectLst/>
                <a:uLnTx/>
                <a:uFillTx/>
                <a:ea typeface="+mn-ea"/>
                <a:cs typeface="Open Sans Light"/>
              </a:rPr>
              <a:t>IT and Technology</a:t>
            </a:r>
            <a:endParaRPr kumimoji="0" sz="1000" b="0" i="0" u="none" strike="noStrike" kern="1200" cap="none" spc="0" normalizeH="0" baseline="0" noProof="0" dirty="0">
              <a:ln>
                <a:noFill/>
              </a:ln>
              <a:solidFill>
                <a:srgbClr val="5C5C5C"/>
              </a:solidFill>
              <a:effectLst/>
              <a:uLnTx/>
              <a:uFillTx/>
              <a:ea typeface="+mn-ea"/>
              <a:cs typeface="Open Sans Light"/>
            </a:endParaRPr>
          </a:p>
        </p:txBody>
      </p:sp>
      <p:sp>
        <p:nvSpPr>
          <p:cNvPr id="105" name="object 42"/>
          <p:cNvSpPr txBox="1"/>
          <p:nvPr/>
        </p:nvSpPr>
        <p:spPr>
          <a:xfrm>
            <a:off x="5401520" y="2887012"/>
            <a:ext cx="1884045" cy="153888"/>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 normalizeH="0" baseline="0" noProof="0" dirty="0">
                <a:ln>
                  <a:noFill/>
                </a:ln>
                <a:solidFill>
                  <a:srgbClr val="020002"/>
                </a:solidFill>
                <a:effectLst/>
                <a:uLnTx/>
                <a:uFillTx/>
                <a:ea typeface="+mn-ea"/>
                <a:cs typeface="Open Sans Light"/>
              </a:rPr>
              <a:t>Electronics</a:t>
            </a:r>
            <a:endParaRPr kumimoji="0" sz="1000" b="0" i="0" u="none" strike="noStrike" kern="1200" cap="none" spc="0" normalizeH="0" baseline="0" noProof="0" dirty="0">
              <a:ln>
                <a:noFill/>
              </a:ln>
              <a:solidFill>
                <a:srgbClr val="5C5C5C"/>
              </a:solidFill>
              <a:effectLst/>
              <a:uLnTx/>
              <a:uFillTx/>
              <a:ea typeface="+mn-ea"/>
              <a:cs typeface="Open Sans Light"/>
            </a:endParaRPr>
          </a:p>
        </p:txBody>
      </p:sp>
      <p:sp>
        <p:nvSpPr>
          <p:cNvPr id="106" name="object 41"/>
          <p:cNvSpPr txBox="1"/>
          <p:nvPr/>
        </p:nvSpPr>
        <p:spPr>
          <a:xfrm>
            <a:off x="1391964" y="4368673"/>
            <a:ext cx="889013" cy="46166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 normalizeH="0" baseline="0" noProof="0" dirty="0">
                <a:ln>
                  <a:noFill/>
                </a:ln>
                <a:solidFill>
                  <a:srgbClr val="020002"/>
                </a:solidFill>
                <a:effectLst/>
                <a:uLnTx/>
                <a:uFillTx/>
                <a:ea typeface="+mn-ea"/>
                <a:cs typeface="Open Sans Light"/>
              </a:rPr>
              <a:t>Transportation, Travel, Tourism</a:t>
            </a:r>
            <a:endParaRPr kumimoji="0" sz="1000" b="0" i="0" u="none" strike="noStrike" kern="1200" cap="none" spc="0" normalizeH="0" baseline="0" noProof="0" dirty="0">
              <a:ln>
                <a:noFill/>
              </a:ln>
              <a:solidFill>
                <a:srgbClr val="5C5C5C"/>
              </a:solidFill>
              <a:effectLst/>
              <a:uLnTx/>
              <a:uFillTx/>
              <a:ea typeface="+mn-ea"/>
              <a:cs typeface="Open Sans Light"/>
            </a:endParaRPr>
          </a:p>
        </p:txBody>
      </p:sp>
      <p:sp>
        <p:nvSpPr>
          <p:cNvPr id="107" name="Rectangle 106"/>
          <p:cNvSpPr/>
          <p:nvPr/>
        </p:nvSpPr>
        <p:spPr>
          <a:xfrm>
            <a:off x="7587481" y="2515566"/>
            <a:ext cx="3890881" cy="2862322"/>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2000" b="0" i="0" u="none" strike="noStrike" kern="1200" cap="none" spc="5" normalizeH="0" baseline="0" noProof="0" dirty="0">
                <a:ln>
                  <a:noFill/>
                </a:ln>
                <a:solidFill>
                  <a:srgbClr val="3F3F3F"/>
                </a:solidFill>
                <a:effectLst/>
                <a:uLnTx/>
                <a:uFillTx/>
                <a:ea typeface="+mn-ea"/>
                <a:cs typeface="Open Sans Light"/>
              </a:rPr>
              <a:t>The </a:t>
            </a:r>
            <a:r>
              <a:rPr kumimoji="0" lang="en-US" sz="2000" b="0" i="0" u="none" strike="noStrike" kern="1200" cap="none" spc="0" normalizeH="0" baseline="0" noProof="0" dirty="0">
                <a:ln>
                  <a:noFill/>
                </a:ln>
                <a:solidFill>
                  <a:srgbClr val="3F3F3F"/>
                </a:solidFill>
                <a:effectLst/>
                <a:uLnTx/>
                <a:uFillTx/>
                <a:ea typeface="+mn-ea"/>
                <a:cs typeface="Open Sans Light"/>
              </a:rPr>
              <a:t>use </a:t>
            </a:r>
            <a:r>
              <a:rPr kumimoji="0" lang="en-US" sz="2000" b="0" i="0" u="none" strike="noStrike" kern="1200" cap="none" spc="-5" normalizeH="0" baseline="0" noProof="0" dirty="0">
                <a:ln>
                  <a:noFill/>
                </a:ln>
                <a:solidFill>
                  <a:srgbClr val="3F3F3F"/>
                </a:solidFill>
                <a:effectLst/>
                <a:uLnTx/>
                <a:uFillTx/>
                <a:ea typeface="+mn-ea"/>
                <a:cs typeface="Open Sans Light"/>
              </a:rPr>
              <a:t>of </a:t>
            </a:r>
            <a:r>
              <a:rPr kumimoji="0" lang="en-US" sz="2000" b="0" i="0" u="none" strike="noStrike" kern="1200" cap="none" spc="0" normalizeH="0" baseline="0" noProof="0" dirty="0">
                <a:ln>
                  <a:noFill/>
                </a:ln>
                <a:solidFill>
                  <a:srgbClr val="3F3F3F"/>
                </a:solidFill>
                <a:effectLst/>
                <a:uLnTx/>
                <a:uFillTx/>
                <a:ea typeface="+mn-ea"/>
                <a:cs typeface="Open Sans Light"/>
              </a:rPr>
              <a:t>digital initiatives </a:t>
            </a:r>
            <a:r>
              <a:rPr kumimoji="0" lang="en-US" sz="2000" b="0" i="0" u="none" strike="noStrike" kern="1200" cap="none" spc="-5" normalizeH="0" baseline="0" noProof="0" dirty="0">
                <a:ln>
                  <a:noFill/>
                </a:ln>
                <a:solidFill>
                  <a:srgbClr val="3F3F3F"/>
                </a:solidFill>
                <a:effectLst/>
                <a:uLnTx/>
                <a:uFillTx/>
                <a:ea typeface="+mn-ea"/>
                <a:cs typeface="Open Sans Light"/>
              </a:rPr>
              <a:t>in </a:t>
            </a:r>
            <a:r>
              <a:rPr kumimoji="0" lang="en-US" sz="2000" b="0" i="0" u="none" strike="noStrike" kern="1200" cap="none" spc="0" normalizeH="0" baseline="0" noProof="0" dirty="0">
                <a:ln>
                  <a:noFill/>
                </a:ln>
                <a:solidFill>
                  <a:srgbClr val="3F3F3F"/>
                </a:solidFill>
                <a:effectLst/>
                <a:uLnTx/>
                <a:uFillTx/>
                <a:ea typeface="+mn-ea"/>
                <a:cs typeface="Open Sans Light"/>
              </a:rPr>
              <a:t>other industries has </a:t>
            </a:r>
            <a:r>
              <a:rPr kumimoji="0" lang="en-US" sz="2000" b="0" i="0" u="none" strike="noStrike" kern="1200" cap="none" spc="-5" normalizeH="0" baseline="0" noProof="0" dirty="0">
                <a:ln>
                  <a:noFill/>
                </a:ln>
                <a:solidFill>
                  <a:srgbClr val="3F3F3F"/>
                </a:solidFill>
                <a:effectLst/>
                <a:uLnTx/>
                <a:uFillTx/>
                <a:ea typeface="+mn-ea"/>
                <a:cs typeface="Open Sans Light"/>
              </a:rPr>
              <a:t>resulted in </a:t>
            </a:r>
            <a:r>
              <a:rPr kumimoji="0" lang="en-US" sz="2000" b="0" i="0" u="none" strike="noStrike" kern="1200" cap="none" spc="0" normalizeH="0" baseline="0" noProof="0" dirty="0">
                <a:ln>
                  <a:noFill/>
                </a:ln>
                <a:solidFill>
                  <a:srgbClr val="3F3F3F"/>
                </a:solidFill>
                <a:effectLst/>
                <a:uLnTx/>
                <a:uFillTx/>
                <a:ea typeface="+mn-ea"/>
                <a:cs typeface="Open Sans Light"/>
              </a:rPr>
              <a:t>a dramatic </a:t>
            </a:r>
            <a:r>
              <a:rPr kumimoji="0" lang="en-US" sz="2000" b="0" i="0" u="none" strike="noStrike" kern="1200" cap="none" spc="-5" normalizeH="0" baseline="0" noProof="0" dirty="0">
                <a:ln>
                  <a:noFill/>
                </a:ln>
                <a:solidFill>
                  <a:srgbClr val="3F3F3F"/>
                </a:solidFill>
                <a:effectLst/>
                <a:uLnTx/>
                <a:uFillTx/>
                <a:ea typeface="+mn-ea"/>
                <a:cs typeface="Open Sans Light"/>
              </a:rPr>
              <a:t>increase in </a:t>
            </a:r>
            <a:r>
              <a:rPr kumimoji="0" lang="en-US" sz="2000" b="0" i="0" u="none" strike="noStrike" kern="1200" cap="none" spc="0" normalizeH="0" baseline="0" noProof="0" dirty="0">
                <a:ln>
                  <a:noFill/>
                </a:ln>
                <a:solidFill>
                  <a:srgbClr val="3F3F3F"/>
                </a:solidFill>
                <a:effectLst/>
                <a:uLnTx/>
                <a:uFillTx/>
                <a:ea typeface="+mn-ea"/>
                <a:cs typeface="Open Sans Light"/>
              </a:rPr>
              <a:t>business </a:t>
            </a:r>
            <a:r>
              <a:rPr kumimoji="0" lang="en-US" sz="2000" b="0" i="0" u="none" strike="noStrike" kern="1200" cap="none" spc="5" normalizeH="0" baseline="0" noProof="0" dirty="0">
                <a:ln>
                  <a:noFill/>
                </a:ln>
                <a:solidFill>
                  <a:srgbClr val="3F3F3F"/>
                </a:solidFill>
                <a:effectLst/>
                <a:uLnTx/>
                <a:uFillTx/>
                <a:ea typeface="+mn-ea"/>
                <a:cs typeface="Open Sans Light"/>
              </a:rPr>
              <a:t>benefits, </a:t>
            </a:r>
            <a:r>
              <a:rPr kumimoji="0" lang="en-US" sz="2000" b="0" i="0" u="none" strike="noStrike" kern="1200" cap="none" spc="-5" normalizeH="0" baseline="0" noProof="0" dirty="0">
                <a:ln>
                  <a:noFill/>
                </a:ln>
                <a:solidFill>
                  <a:srgbClr val="3F3F3F"/>
                </a:solidFill>
                <a:effectLst/>
                <a:uLnTx/>
                <a:uFillTx/>
                <a:ea typeface="+mn-ea"/>
                <a:cs typeface="Open Sans Light"/>
              </a:rPr>
              <a:t>ranging </a:t>
            </a:r>
            <a:r>
              <a:rPr kumimoji="0" lang="en-US" sz="2000" b="0" i="0" u="none" strike="noStrike" kern="1200" cap="none" spc="0" normalizeH="0" baseline="0" noProof="0" dirty="0">
                <a:ln>
                  <a:noFill/>
                </a:ln>
                <a:solidFill>
                  <a:srgbClr val="3F3F3F"/>
                </a:solidFill>
                <a:effectLst/>
                <a:uLnTx/>
                <a:uFillTx/>
                <a:ea typeface="+mn-ea"/>
                <a:cs typeface="Open Sans Light"/>
              </a:rPr>
              <a:t>from  </a:t>
            </a:r>
            <a:r>
              <a:rPr kumimoji="0" lang="en-US" sz="2000" b="1" i="0" u="none" strike="noStrike" kern="1200" cap="none" spc="-5" normalizeH="0" baseline="0" noProof="0" dirty="0">
                <a:ln>
                  <a:noFill/>
                </a:ln>
                <a:solidFill>
                  <a:srgbClr val="81BC00"/>
                </a:solidFill>
                <a:effectLst/>
                <a:uLnTx/>
                <a:uFillTx/>
                <a:ea typeface="+mn-ea"/>
                <a:cs typeface="Open Sans Light"/>
              </a:rPr>
              <a:t>greater </a:t>
            </a:r>
            <a:r>
              <a:rPr kumimoji="0" lang="en-US" sz="2000" b="1" i="0" u="none" strike="noStrike" kern="1200" cap="none" spc="0" normalizeH="0" baseline="0" noProof="0" dirty="0">
                <a:ln>
                  <a:noFill/>
                </a:ln>
                <a:solidFill>
                  <a:srgbClr val="81BC00"/>
                </a:solidFill>
                <a:effectLst/>
                <a:uLnTx/>
                <a:uFillTx/>
                <a:ea typeface="+mn-ea"/>
                <a:cs typeface="Open Sans Light"/>
              </a:rPr>
              <a:t>customer </a:t>
            </a:r>
            <a:r>
              <a:rPr kumimoji="0" lang="en-US" sz="2000" b="1" i="0" u="none" strike="noStrike" kern="1200" cap="none" spc="-5" normalizeH="0" baseline="0" noProof="0" dirty="0">
                <a:ln>
                  <a:noFill/>
                </a:ln>
                <a:solidFill>
                  <a:srgbClr val="81BC00"/>
                </a:solidFill>
                <a:effectLst/>
                <a:uLnTx/>
                <a:uFillTx/>
                <a:ea typeface="+mn-ea"/>
                <a:cs typeface="Open Sans Light"/>
              </a:rPr>
              <a:t>engagement </a:t>
            </a:r>
            <a:r>
              <a:rPr kumimoji="0" lang="en-US" sz="2000" b="0" i="0" u="none" strike="noStrike" kern="1200" cap="none" spc="-5" normalizeH="0" baseline="0" noProof="0" dirty="0">
                <a:ln>
                  <a:noFill/>
                </a:ln>
                <a:solidFill>
                  <a:srgbClr val="3F3F3F"/>
                </a:solidFill>
                <a:effectLst/>
                <a:uLnTx/>
                <a:uFillTx/>
                <a:ea typeface="+mn-ea"/>
                <a:cs typeface="Open Sans Light"/>
              </a:rPr>
              <a:t>to </a:t>
            </a:r>
            <a:r>
              <a:rPr kumimoji="0" lang="en-US" sz="2000" b="1" i="0" u="none" strike="noStrike" kern="1200" cap="none" spc="-5" normalizeH="0" baseline="0" noProof="0" dirty="0">
                <a:ln>
                  <a:noFill/>
                </a:ln>
                <a:solidFill>
                  <a:srgbClr val="81BC00"/>
                </a:solidFill>
                <a:effectLst/>
                <a:uLnTx/>
                <a:uFillTx/>
                <a:ea typeface="+mn-ea"/>
                <a:cs typeface="Open Sans Light"/>
              </a:rPr>
              <a:t>optimized </a:t>
            </a:r>
            <a:r>
              <a:rPr kumimoji="0" lang="en-US" sz="2000" b="1" i="0" u="none" strike="noStrike" kern="1200" cap="none" spc="0" normalizeH="0" baseline="0" noProof="0" dirty="0">
                <a:ln>
                  <a:noFill/>
                </a:ln>
                <a:solidFill>
                  <a:srgbClr val="81BC00"/>
                </a:solidFill>
                <a:effectLst/>
                <a:uLnTx/>
                <a:uFillTx/>
                <a:ea typeface="+mn-ea"/>
                <a:cs typeface="Open Sans Light"/>
              </a:rPr>
              <a:t>supply </a:t>
            </a:r>
            <a:r>
              <a:rPr kumimoji="0" lang="en-US" sz="2000" b="1" i="0" u="none" strike="noStrike" kern="1200" cap="none" spc="5" normalizeH="0" baseline="0" noProof="0" dirty="0">
                <a:ln>
                  <a:noFill/>
                </a:ln>
                <a:solidFill>
                  <a:srgbClr val="81BC00"/>
                </a:solidFill>
                <a:effectLst/>
                <a:uLnTx/>
                <a:uFillTx/>
                <a:ea typeface="+mn-ea"/>
                <a:cs typeface="Open Sans Light"/>
              </a:rPr>
              <a:t>networks</a:t>
            </a:r>
            <a:r>
              <a:rPr kumimoji="0" lang="en-US" sz="2000" b="0" i="0" u="none" strike="noStrike" kern="1200" cap="none" spc="5" normalizeH="0" baseline="0" noProof="0" dirty="0">
                <a:ln>
                  <a:noFill/>
                </a:ln>
                <a:solidFill>
                  <a:srgbClr val="231F20"/>
                </a:solidFill>
                <a:effectLst/>
                <a:uLnTx/>
                <a:uFillTx/>
                <a:ea typeface="+mn-ea"/>
                <a:cs typeface="Open Sans Light"/>
              </a:rPr>
              <a:t>. </a:t>
            </a:r>
            <a:endParaRPr kumimoji="0" lang="en-US" sz="2000" b="0" i="0" u="none" strike="noStrike" kern="1200" cap="none" spc="0" normalizeH="0" baseline="0" noProof="0" dirty="0">
              <a:ln>
                <a:noFill/>
              </a:ln>
              <a:solidFill>
                <a:srgbClr val="5C5C5C"/>
              </a:solidFill>
              <a:effectLst/>
              <a:uLnTx/>
              <a:uFillTx/>
              <a:ea typeface="+mn-ea"/>
            </a:endParaRPr>
          </a:p>
        </p:txBody>
      </p:sp>
    </p:spTree>
    <p:extLst>
      <p:ext uri="{BB962C8B-B14F-4D97-AF65-F5344CB8AC3E}">
        <p14:creationId xmlns:p14="http://schemas.microsoft.com/office/powerpoint/2010/main" val="1223656149"/>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extLst>
              <p:ext uri="{D42A27DB-BD31-4B8C-83A1-F6EECF244321}">
                <p14:modId xmlns:p14="http://schemas.microsoft.com/office/powerpoint/2010/main" val="1824436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0532"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Overall U.S. Integrated OR market </a:t>
            </a:r>
          </a:p>
        </p:txBody>
      </p:sp>
      <p:sp>
        <p:nvSpPr>
          <p:cNvPr id="3" name="Text Placeholder 2"/>
          <p:cNvSpPr>
            <a:spLocks noGrp="1"/>
          </p:cNvSpPr>
          <p:nvPr>
            <p:ph type="body" sz="quarter" idx="14"/>
          </p:nvPr>
        </p:nvSpPr>
        <p:spPr/>
        <p:txBody>
          <a:bodyPr/>
          <a:lstStyle/>
          <a:p>
            <a:pPr>
              <a:buClr>
                <a:srgbClr val="787878"/>
              </a:buClr>
              <a:defRPr/>
            </a:pPr>
            <a:r>
              <a:rPr lang="en-US" spc="-75" dirty="0">
                <a:solidFill>
                  <a:prstClr val="black"/>
                </a:solidFill>
                <a:cs typeface="Arial" panose="020B0604020202020204" pitchFamily="34" charset="0"/>
              </a:rPr>
              <a:t>The U.S. Integrated OR market is expected to grow at 3-4% CAGR, to $2.5Bn by 2022</a:t>
            </a:r>
          </a:p>
        </p:txBody>
      </p:sp>
      <p:sp>
        <p:nvSpPr>
          <p:cNvPr id="5" name="Text Placeholder 4"/>
          <p:cNvSpPr>
            <a:spLocks noGrp="1"/>
          </p:cNvSpPr>
          <p:nvPr>
            <p:ph type="body" sz="quarter" idx="15"/>
          </p:nvPr>
        </p:nvSpPr>
        <p:spPr/>
        <p:txBody>
          <a:bodyPr/>
          <a:lstStyle/>
          <a:p>
            <a:r>
              <a:rPr lang="en-US" dirty="0"/>
              <a:t>Data Visualization &amp; Infographics</a:t>
            </a:r>
          </a:p>
        </p:txBody>
      </p:sp>
      <p:sp>
        <p:nvSpPr>
          <p:cNvPr id="72" name="TextBox 71">
            <a:extLst>
              <a:ext uri="{FF2B5EF4-FFF2-40B4-BE49-F238E27FC236}">
                <a16:creationId xmlns:a16="http://schemas.microsoft.com/office/drawing/2014/main" id="{69EECFC5-12F5-4D21-97B4-004BB837D2AD}"/>
              </a:ext>
            </a:extLst>
          </p:cNvPr>
          <p:cNvSpPr txBox="1"/>
          <p:nvPr/>
        </p:nvSpPr>
        <p:spPr>
          <a:xfrm>
            <a:off x="836838" y="1673152"/>
            <a:ext cx="3766843" cy="276999"/>
          </a:xfrm>
          <a:prstGeom prst="rect">
            <a:avLst/>
          </a:prstGeom>
          <a:solidFill>
            <a:schemeClr val="bg1"/>
          </a:solidFill>
        </p:spPr>
        <p:txBody>
          <a:bodyPr wrap="square" rtlCol="0">
            <a:spAutoFit/>
          </a:bodyPr>
          <a:lstStyle/>
          <a:p>
            <a:pPr lvl="0">
              <a:defRPr/>
            </a:pPr>
            <a:r>
              <a:rPr lang="en-US" sz="1200" b="1" cap="all" spc="200" dirty="0">
                <a:solidFill>
                  <a:srgbClr val="000000"/>
                </a:solidFill>
              </a:rPr>
              <a:t>U.S. Total Equipment Market</a:t>
            </a:r>
          </a:p>
        </p:txBody>
      </p:sp>
      <p:sp>
        <p:nvSpPr>
          <p:cNvPr id="108" name="TextBox 107">
            <a:extLst>
              <a:ext uri="{FF2B5EF4-FFF2-40B4-BE49-F238E27FC236}">
                <a16:creationId xmlns:a16="http://schemas.microsoft.com/office/drawing/2014/main" id="{69EECFC5-12F5-4D21-97B4-004BB837D2AD}"/>
              </a:ext>
            </a:extLst>
          </p:cNvPr>
          <p:cNvSpPr txBox="1"/>
          <p:nvPr/>
        </p:nvSpPr>
        <p:spPr>
          <a:xfrm>
            <a:off x="6432973" y="1673152"/>
            <a:ext cx="3169248" cy="276999"/>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spc="200" dirty="0">
                <a:solidFill>
                  <a:srgbClr val="000000"/>
                </a:solidFill>
                <a:latin typeface="Open Sans"/>
              </a:rPr>
              <a:t>KEY TAKEAWAYS</a:t>
            </a:r>
            <a:endParaRPr kumimoji="0" lang="en-US" sz="1200" b="1" i="0" u="none" strike="noStrike" kern="1200" cap="none" spc="200" normalizeH="0" baseline="0" noProof="0" dirty="0">
              <a:ln>
                <a:noFill/>
              </a:ln>
              <a:solidFill>
                <a:srgbClr val="000000"/>
              </a:solidFill>
              <a:effectLst/>
              <a:uLnTx/>
              <a:uFillTx/>
              <a:latin typeface="Open Sans"/>
              <a:ea typeface="+mn-ea"/>
              <a:cs typeface="+mn-cs"/>
            </a:endParaRPr>
          </a:p>
        </p:txBody>
      </p:sp>
      <p:sp>
        <p:nvSpPr>
          <p:cNvPr id="109" name="object 30"/>
          <p:cNvSpPr/>
          <p:nvPr/>
        </p:nvSpPr>
        <p:spPr>
          <a:xfrm flipV="1">
            <a:off x="903513" y="1930505"/>
            <a:ext cx="4495337" cy="45719"/>
          </a:xfrm>
          <a:custGeom>
            <a:avLst/>
            <a:gdLst/>
            <a:ahLst/>
            <a:cxnLst/>
            <a:rect l="l" t="t" r="r" b="b"/>
            <a:pathLst>
              <a:path w="3257550">
                <a:moveTo>
                  <a:pt x="0" y="0"/>
                </a:moveTo>
                <a:lnTo>
                  <a:pt x="3257550" y="0"/>
                </a:lnTo>
              </a:path>
            </a:pathLst>
          </a:custGeom>
          <a:ln w="57912">
            <a:solidFill>
              <a:schemeClr val="accent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16" name="object 30"/>
          <p:cNvSpPr/>
          <p:nvPr/>
        </p:nvSpPr>
        <p:spPr>
          <a:xfrm flipV="1">
            <a:off x="6432973" y="1930505"/>
            <a:ext cx="4495337" cy="45719"/>
          </a:xfrm>
          <a:custGeom>
            <a:avLst/>
            <a:gdLst/>
            <a:ahLst/>
            <a:cxnLst/>
            <a:rect l="l" t="t" r="r" b="b"/>
            <a:pathLst>
              <a:path w="3257550">
                <a:moveTo>
                  <a:pt x="0" y="0"/>
                </a:moveTo>
                <a:lnTo>
                  <a:pt x="3257550" y="0"/>
                </a:lnTo>
              </a:path>
            </a:pathLst>
          </a:custGeom>
          <a:ln w="57912">
            <a:solidFill>
              <a:schemeClr val="accent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17" name="TextBox 116"/>
          <p:cNvSpPr txBox="1"/>
          <p:nvPr/>
        </p:nvSpPr>
        <p:spPr>
          <a:xfrm>
            <a:off x="6432973" y="2177658"/>
            <a:ext cx="4384184" cy="3642911"/>
          </a:xfrm>
          <a:prstGeom prst="rect">
            <a:avLst/>
          </a:prstGeom>
          <a:noFill/>
        </p:spPr>
        <p:txBody>
          <a:bodyPr wrap="square" lIns="36000" tIns="36000" rIns="36000" bIns="36000" rtlCol="0" anchor="ctr" anchorCtr="0">
            <a:spAutoFit/>
          </a:bodyPr>
          <a:lstStyle/>
          <a:p>
            <a:pPr marL="171450" indent="-171450" fontAlgn="base">
              <a:spcBef>
                <a:spcPts val="600"/>
              </a:spcBef>
              <a:spcAft>
                <a:spcPts val="600"/>
              </a:spcAft>
              <a:buSzPct val="100000"/>
              <a:buFont typeface="Wingdings" panose="05000000000000000000" pitchFamily="2" charset="2"/>
              <a:buChar char="§"/>
            </a:pPr>
            <a:r>
              <a:rPr kumimoji="1" lang="en-US" sz="1200" dirty="0">
                <a:solidFill>
                  <a:prstClr val="black"/>
                </a:solidFill>
                <a:ea typeface="ＭＳ Ｐゴシック"/>
                <a:cs typeface="Arial" charset="0"/>
              </a:rPr>
              <a:t>The </a:t>
            </a:r>
            <a:r>
              <a:rPr kumimoji="1" lang="en-US" sz="1200" b="1" i="1" dirty="0">
                <a:solidFill>
                  <a:srgbClr val="012169"/>
                </a:solidFill>
                <a:ea typeface="ＭＳ Ｐゴシック"/>
                <a:cs typeface="Arial" charset="0"/>
              </a:rPr>
              <a:t>rate of innovation </a:t>
            </a:r>
            <a:r>
              <a:rPr kumimoji="1" lang="en-US" sz="1200" dirty="0">
                <a:solidFill>
                  <a:prstClr val="black"/>
                </a:solidFill>
                <a:ea typeface="ＭＳ Ｐゴシック"/>
                <a:cs typeface="Arial" charset="0"/>
              </a:rPr>
              <a:t>introducing new technologically advanced OR capabilities such as system integration, higher definition imaging, and telemedicine is a key driver of the overall U.S. OR integration and equipment market</a:t>
            </a:r>
          </a:p>
          <a:p>
            <a:pPr marL="171450" indent="-171450" fontAlgn="base">
              <a:spcBef>
                <a:spcPts val="1200"/>
              </a:spcBef>
              <a:spcAft>
                <a:spcPts val="1200"/>
              </a:spcAft>
              <a:buSzPct val="100000"/>
              <a:buFont typeface="Wingdings" panose="05000000000000000000" pitchFamily="2" charset="2"/>
              <a:buChar char="§"/>
            </a:pPr>
            <a:r>
              <a:rPr kumimoji="1" lang="en-US" sz="1200" dirty="0">
                <a:solidFill>
                  <a:prstClr val="black"/>
                </a:solidFill>
                <a:ea typeface="ＭＳ Ｐゴシック"/>
                <a:cs typeface="Arial" charset="0"/>
              </a:rPr>
              <a:t>As the </a:t>
            </a:r>
            <a:r>
              <a:rPr kumimoji="1" lang="en-US" sz="1200" b="1" i="1" dirty="0">
                <a:solidFill>
                  <a:srgbClr val="012169"/>
                </a:solidFill>
                <a:ea typeface="ＭＳ Ｐゴシック"/>
                <a:cs typeface="Arial" charset="0"/>
              </a:rPr>
              <a:t>number of OR surgeries is growing </a:t>
            </a:r>
            <a:r>
              <a:rPr kumimoji="1" lang="en-US" sz="1200" dirty="0">
                <a:solidFill>
                  <a:prstClr val="black"/>
                </a:solidFill>
                <a:ea typeface="ＭＳ Ｐゴシック"/>
                <a:cs typeface="Arial" charset="0"/>
              </a:rPr>
              <a:t>due to proliferation of chronic diseases and minimally invasive procedures targeting aging demographics, so too will hospitals’ demand for cost-effective integrated ORs</a:t>
            </a:r>
          </a:p>
          <a:p>
            <a:pPr marL="171450" indent="-171450" fontAlgn="base">
              <a:spcBef>
                <a:spcPts val="600"/>
              </a:spcBef>
              <a:spcAft>
                <a:spcPts val="600"/>
              </a:spcAft>
              <a:buSzPct val="100000"/>
              <a:buFont typeface="Wingdings" panose="05000000000000000000" pitchFamily="2" charset="2"/>
              <a:buChar char="§"/>
            </a:pPr>
            <a:r>
              <a:rPr kumimoji="1" lang="en-US" sz="1200" dirty="0">
                <a:solidFill>
                  <a:prstClr val="black"/>
                </a:solidFill>
                <a:ea typeface="ＭＳ Ｐゴシック"/>
                <a:cs typeface="Arial" charset="0"/>
              </a:rPr>
              <a:t>Market trends show </a:t>
            </a:r>
            <a:r>
              <a:rPr kumimoji="1" lang="en-US" sz="1200" b="1" i="1" dirty="0">
                <a:solidFill>
                  <a:srgbClr val="012169"/>
                </a:solidFill>
                <a:ea typeface="ＭＳ Ｐゴシック"/>
                <a:cs typeface="Arial" charset="0"/>
              </a:rPr>
              <a:t>increased opportunities</a:t>
            </a:r>
            <a:r>
              <a:rPr kumimoji="1" lang="en-US" sz="1200" dirty="0">
                <a:solidFill>
                  <a:prstClr val="black"/>
                </a:solidFill>
                <a:ea typeface="ＭＳ Ｐゴシック"/>
                <a:cs typeface="Arial" charset="0"/>
              </a:rPr>
              <a:t> for vendors to bid for integrated solution packages that include service and maintenance as the install base of integrated ORs grows</a:t>
            </a:r>
          </a:p>
          <a:p>
            <a:pPr marL="171450" indent="-171450" fontAlgn="base">
              <a:spcBef>
                <a:spcPts val="600"/>
              </a:spcBef>
              <a:spcAft>
                <a:spcPts val="600"/>
              </a:spcAft>
              <a:buSzPct val="100000"/>
              <a:buFont typeface="Wingdings" panose="05000000000000000000" pitchFamily="2" charset="2"/>
              <a:buChar char="§"/>
            </a:pPr>
            <a:r>
              <a:rPr kumimoji="1" lang="en-US" sz="1200" dirty="0">
                <a:solidFill>
                  <a:prstClr val="black"/>
                </a:solidFill>
                <a:ea typeface="ＭＳ Ｐゴシック"/>
                <a:cs typeface="Arial" charset="0"/>
              </a:rPr>
              <a:t>Hospitals and Ambulatory Surgical Centers (ASCs) view the OR as a revenue generator, </a:t>
            </a:r>
            <a:r>
              <a:rPr kumimoji="1" lang="en-US" sz="1200" b="1" i="1" dirty="0">
                <a:solidFill>
                  <a:srgbClr val="012169"/>
                </a:solidFill>
                <a:ea typeface="ＭＳ Ｐゴシック"/>
                <a:cs typeface="Arial" charset="0"/>
              </a:rPr>
              <a:t>prompting additional investments</a:t>
            </a:r>
            <a:r>
              <a:rPr kumimoji="1" lang="en-US" sz="1200" dirty="0">
                <a:solidFill>
                  <a:prstClr val="black"/>
                </a:solidFill>
                <a:ea typeface="ＭＳ Ｐゴシック"/>
                <a:cs typeface="Arial" charset="0"/>
              </a:rPr>
              <a:t> to increase utilization and efficiency primarily through OR renovations and system integration upgrades</a:t>
            </a:r>
          </a:p>
        </p:txBody>
      </p:sp>
      <p:graphicFrame>
        <p:nvGraphicFramePr>
          <p:cNvPr id="16" name="Chart 15">
            <a:extLst>
              <a:ext uri="{FF2B5EF4-FFF2-40B4-BE49-F238E27FC236}">
                <a16:creationId xmlns:a16="http://schemas.microsoft.com/office/drawing/2014/main" id="{212E249E-79A6-44B8-B274-C4C1136CA43F}"/>
              </a:ext>
            </a:extLst>
          </p:cNvPr>
          <p:cNvGraphicFramePr/>
          <p:nvPr>
            <p:extLst>
              <p:ext uri="{D42A27DB-BD31-4B8C-83A1-F6EECF244321}">
                <p14:modId xmlns:p14="http://schemas.microsoft.com/office/powerpoint/2010/main" val="1156598444"/>
              </p:ext>
            </p:extLst>
          </p:nvPr>
        </p:nvGraphicFramePr>
        <p:xfrm>
          <a:off x="542056" y="2051856"/>
          <a:ext cx="4856794" cy="441876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24855809"/>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1556"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Value to Client</a:t>
            </a:r>
          </a:p>
        </p:txBody>
      </p:sp>
      <p:sp>
        <p:nvSpPr>
          <p:cNvPr id="3" name="Text Placeholder 2"/>
          <p:cNvSpPr>
            <a:spLocks noGrp="1"/>
          </p:cNvSpPr>
          <p:nvPr>
            <p:ph type="body" sz="quarter" idx="14"/>
          </p:nvPr>
        </p:nvSpPr>
        <p:spPr/>
        <p:txBody>
          <a:bodyPr/>
          <a:lstStyle/>
          <a:p>
            <a:pPr>
              <a:buClr>
                <a:srgbClr val="787878"/>
              </a:buClr>
              <a:defRPr/>
            </a:pPr>
            <a:r>
              <a:rPr lang="en-US" spc="-75" dirty="0">
                <a:solidFill>
                  <a:prstClr val="black"/>
                </a:solidFill>
                <a:cs typeface="Arial" panose="020B0604020202020204" pitchFamily="34" charset="0"/>
              </a:rPr>
              <a:t>Our ambition is to ‘own specialty’ and the adjacencies that accompany it</a:t>
            </a:r>
          </a:p>
        </p:txBody>
      </p:sp>
      <p:sp>
        <p:nvSpPr>
          <p:cNvPr id="5" name="Text Placeholder 4"/>
          <p:cNvSpPr>
            <a:spLocks noGrp="1"/>
          </p:cNvSpPr>
          <p:nvPr>
            <p:ph type="body" sz="quarter" idx="15"/>
          </p:nvPr>
        </p:nvSpPr>
        <p:spPr/>
        <p:txBody>
          <a:bodyPr/>
          <a:lstStyle/>
          <a:p>
            <a:r>
              <a:rPr lang="en-US" dirty="0"/>
              <a:t>Data Visualization &amp; Infographics</a:t>
            </a:r>
          </a:p>
        </p:txBody>
      </p:sp>
      <p:sp>
        <p:nvSpPr>
          <p:cNvPr id="24" name="Content Placeholder 2"/>
          <p:cNvSpPr txBox="1">
            <a:spLocks/>
          </p:cNvSpPr>
          <p:nvPr/>
        </p:nvSpPr>
        <p:spPr>
          <a:xfrm>
            <a:off x="8001282" y="2300123"/>
            <a:ext cx="3731681" cy="3476964"/>
          </a:xfrm>
          <a:prstGeom prst="rect">
            <a:avLst/>
          </a:prstGeom>
        </p:spPr>
        <p:txBody>
          <a:bodyPr anchor="t">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US" sz="1400" dirty="0">
                <a:solidFill>
                  <a:srgbClr val="000000"/>
                </a:solidFill>
              </a:rPr>
              <a:t>We will start by focusing on shelf-stable specialty products for full-service restaurants. Over time, Specialty Co. could gain momentum to expand its market penetration to a broader specialty food segment.</a:t>
            </a:r>
          </a:p>
          <a:p>
            <a:pPr>
              <a:spcBef>
                <a:spcPts val="600"/>
              </a:spcBef>
            </a:pPr>
            <a:r>
              <a:rPr lang="en-US" sz="1400" dirty="0">
                <a:solidFill>
                  <a:srgbClr val="000000"/>
                </a:solidFill>
              </a:rPr>
              <a:t>The long-term marketplace will need to generate revenues from commission-based specialty sales AND through value-added service offerings and sales of adjacent products such as kitchenware. Our research shows all successful marketplaces go ‘beyond the commission’ and include value-added services that create marketplace stickiness.</a:t>
            </a:r>
          </a:p>
        </p:txBody>
      </p:sp>
      <p:grpSp>
        <p:nvGrpSpPr>
          <p:cNvPr id="25" name="Group 24"/>
          <p:cNvGrpSpPr/>
          <p:nvPr/>
        </p:nvGrpSpPr>
        <p:grpSpPr>
          <a:xfrm>
            <a:off x="513498" y="1856915"/>
            <a:ext cx="7183343" cy="4337454"/>
            <a:chOff x="513498" y="1736095"/>
            <a:chExt cx="7183343" cy="4337454"/>
          </a:xfrm>
        </p:grpSpPr>
        <p:grpSp>
          <p:nvGrpSpPr>
            <p:cNvPr id="27" name="Group 26"/>
            <p:cNvGrpSpPr/>
            <p:nvPr/>
          </p:nvGrpSpPr>
          <p:grpSpPr>
            <a:xfrm>
              <a:off x="513498" y="1736095"/>
              <a:ext cx="7183343" cy="4337454"/>
              <a:chOff x="395514" y="1743469"/>
              <a:chExt cx="7183343" cy="4337454"/>
            </a:xfrm>
          </p:grpSpPr>
          <p:grpSp>
            <p:nvGrpSpPr>
              <p:cNvPr id="30" name="Group 29"/>
              <p:cNvGrpSpPr/>
              <p:nvPr/>
            </p:nvGrpSpPr>
            <p:grpSpPr>
              <a:xfrm>
                <a:off x="395514" y="1769398"/>
                <a:ext cx="7066019" cy="4311525"/>
                <a:chOff x="497756" y="1876711"/>
                <a:chExt cx="7066019" cy="4311525"/>
              </a:xfrm>
            </p:grpSpPr>
            <p:sp>
              <p:nvSpPr>
                <p:cNvPr id="54" name="Oval 2"/>
                <p:cNvSpPr>
                  <a:spLocks noChangeArrowheads="1"/>
                </p:cNvSpPr>
                <p:nvPr/>
              </p:nvSpPr>
              <p:spPr bwMode="auto">
                <a:xfrm rot="5400000">
                  <a:off x="1884990" y="509451"/>
                  <a:ext cx="4311525" cy="7046045"/>
                </a:xfrm>
                <a:prstGeom prst="ellipse">
                  <a:avLst/>
                </a:prstGeom>
                <a:solidFill>
                  <a:schemeClr val="bg1"/>
                </a:solidFill>
                <a:ln w="28575">
                  <a:solidFill>
                    <a:schemeClr val="accent1"/>
                  </a:solidFill>
                  <a:prstDash val="dash"/>
                  <a:round/>
                  <a:headEnd/>
                  <a:tailEnd/>
                </a:ln>
              </p:spPr>
              <p:txBody>
                <a:bodyPr wrap="none" lIns="91440" tIns="91440" rIns="91440" bIns="374400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grpSp>
              <p:nvGrpSpPr>
                <p:cNvPr id="55" name="Group 54"/>
                <p:cNvGrpSpPr/>
                <p:nvPr/>
              </p:nvGrpSpPr>
              <p:grpSpPr>
                <a:xfrm>
                  <a:off x="497756" y="1984024"/>
                  <a:ext cx="6118139" cy="4096899"/>
                  <a:chOff x="600996" y="1902911"/>
                  <a:chExt cx="5631340" cy="4096899"/>
                </a:xfrm>
              </p:grpSpPr>
              <p:sp>
                <p:nvSpPr>
                  <p:cNvPr id="56" name="Oval 2"/>
                  <p:cNvSpPr>
                    <a:spLocks noChangeArrowheads="1"/>
                  </p:cNvSpPr>
                  <p:nvPr/>
                </p:nvSpPr>
                <p:spPr bwMode="auto">
                  <a:xfrm rot="5400000">
                    <a:off x="1367648" y="1136264"/>
                    <a:ext cx="4096899" cy="5630193"/>
                  </a:xfrm>
                  <a:prstGeom prst="ellipse">
                    <a:avLst/>
                  </a:prstGeom>
                  <a:solidFill>
                    <a:schemeClr val="accent1">
                      <a:lumMod val="20000"/>
                      <a:lumOff val="80000"/>
                    </a:schemeClr>
                  </a:solidFill>
                  <a:ln w="12700">
                    <a:noFill/>
                    <a:round/>
                    <a:headEnd/>
                    <a:tailEnd/>
                  </a:ln>
                </p:spPr>
                <p:txBody>
                  <a:bodyPr wrap="none" lIns="91440" tIns="91440" rIns="91440" bIns="374400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57" name="Oval 3"/>
                  <p:cNvSpPr>
                    <a:spLocks noChangeArrowheads="1"/>
                  </p:cNvSpPr>
                  <p:nvPr/>
                </p:nvSpPr>
                <p:spPr bwMode="auto">
                  <a:xfrm rot="5400000">
                    <a:off x="1280119" y="1608379"/>
                    <a:ext cx="3327727" cy="4685960"/>
                  </a:xfrm>
                  <a:prstGeom prst="ellipse">
                    <a:avLst/>
                  </a:prstGeom>
                  <a:solidFill>
                    <a:schemeClr val="accent1">
                      <a:lumMod val="40000"/>
                      <a:lumOff val="60000"/>
                    </a:schemeClr>
                  </a:solidFill>
                  <a:ln w="12700">
                    <a:noFill/>
                    <a:round/>
                    <a:headEnd/>
                    <a:tailEnd/>
                  </a:ln>
                </p:spPr>
                <p:txBody>
                  <a:bodyPr wrap="none" lIns="91440" tIns="91440" rIns="91440" bIns="316800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58" name="Oval 4"/>
                  <p:cNvSpPr>
                    <a:spLocks noChangeArrowheads="1"/>
                  </p:cNvSpPr>
                  <p:nvPr/>
                </p:nvSpPr>
                <p:spPr bwMode="auto">
                  <a:xfrm rot="5400000">
                    <a:off x="1140644" y="2001809"/>
                    <a:ext cx="2819811" cy="3899100"/>
                  </a:xfrm>
                  <a:prstGeom prst="ellipse">
                    <a:avLst/>
                  </a:prstGeom>
                  <a:solidFill>
                    <a:schemeClr val="accent1">
                      <a:lumMod val="60000"/>
                      <a:lumOff val="40000"/>
                    </a:schemeClr>
                  </a:solidFill>
                  <a:ln w="12700">
                    <a:noFill/>
                    <a:round/>
                    <a:headEnd/>
                    <a:tailEnd/>
                  </a:ln>
                </p:spPr>
                <p:txBody>
                  <a:bodyPr wrap="none" lIns="91440" tIns="91440" rIns="91440" bIns="252000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ea typeface="+mn-ea"/>
                      <a:cs typeface="+mn-cs"/>
                    </a:endParaRPr>
                  </a:p>
                </p:txBody>
              </p:sp>
              <p:sp>
                <p:nvSpPr>
                  <p:cNvPr id="59" name="Oval 5"/>
                  <p:cNvSpPr>
                    <a:spLocks noChangeArrowheads="1"/>
                  </p:cNvSpPr>
                  <p:nvPr/>
                </p:nvSpPr>
                <p:spPr bwMode="auto">
                  <a:xfrm rot="5400000">
                    <a:off x="1028389" y="2411804"/>
                    <a:ext cx="2224323" cy="3079110"/>
                  </a:xfrm>
                  <a:prstGeom prst="ellipse">
                    <a:avLst/>
                  </a:prstGeom>
                  <a:solidFill>
                    <a:srgbClr val="7B9CD7"/>
                  </a:solidFill>
                  <a:ln w="12700">
                    <a:noFill/>
                    <a:round/>
                    <a:headEnd/>
                    <a:tailEnd/>
                  </a:ln>
                </p:spPr>
                <p:txBody>
                  <a:bodyPr wrap="none" lIns="91440" tIns="91440" rIns="91440" bIns="190800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ea typeface="+mn-ea"/>
                      <a:cs typeface="+mn-cs"/>
                    </a:endParaRPr>
                  </a:p>
                </p:txBody>
              </p:sp>
              <p:sp>
                <p:nvSpPr>
                  <p:cNvPr id="60" name="Oval 6"/>
                  <p:cNvSpPr>
                    <a:spLocks noChangeArrowheads="1"/>
                  </p:cNvSpPr>
                  <p:nvPr/>
                </p:nvSpPr>
                <p:spPr bwMode="auto">
                  <a:xfrm rot="5400000">
                    <a:off x="922402" y="2822837"/>
                    <a:ext cx="1614240" cy="2257046"/>
                  </a:xfrm>
                  <a:prstGeom prst="ellipse">
                    <a:avLst/>
                  </a:prstGeom>
                  <a:solidFill>
                    <a:schemeClr val="accent1">
                      <a:lumMod val="75000"/>
                    </a:schemeClr>
                  </a:solidFill>
                  <a:ln w="12700">
                    <a:noFill/>
                    <a:round/>
                    <a:headEnd/>
                    <a:tailEnd/>
                  </a:ln>
                </p:spPr>
                <p:txBody>
                  <a:bodyPr wrap="none" lIns="91440" tIns="91440" rIns="91440" bIns="129600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ea typeface="+mn-ea"/>
                      <a:cs typeface="+mn-cs"/>
                    </a:endParaRPr>
                  </a:p>
                </p:txBody>
              </p:sp>
              <p:grpSp>
                <p:nvGrpSpPr>
                  <p:cNvPr id="61" name="Group 60"/>
                  <p:cNvGrpSpPr/>
                  <p:nvPr/>
                </p:nvGrpSpPr>
                <p:grpSpPr>
                  <a:xfrm>
                    <a:off x="864387" y="3299609"/>
                    <a:ext cx="1730270" cy="1218646"/>
                    <a:chOff x="900896" y="3299609"/>
                    <a:chExt cx="1730270" cy="1218646"/>
                  </a:xfrm>
                </p:grpSpPr>
                <p:sp>
                  <p:nvSpPr>
                    <p:cNvPr id="74" name="Rectangle 73"/>
                    <p:cNvSpPr/>
                    <p:nvPr/>
                  </p:nvSpPr>
                  <p:spPr>
                    <a:xfrm>
                      <a:off x="1156784" y="3299609"/>
                      <a:ext cx="1218494"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ea typeface="+mn-ea"/>
                          <a:cs typeface="+mn-cs"/>
                        </a:rPr>
                        <a:t>$12M</a:t>
                      </a:r>
                    </a:p>
                  </p:txBody>
                </p:sp>
                <p:sp>
                  <p:nvSpPr>
                    <p:cNvPr id="75" name="TextBox 74"/>
                    <p:cNvSpPr txBox="1"/>
                    <p:nvPr/>
                  </p:nvSpPr>
                  <p:spPr>
                    <a:xfrm>
                      <a:off x="900896" y="3748814"/>
                      <a:ext cx="1730270"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ea typeface="+mn-ea"/>
                          <a:cs typeface="+mn-cs"/>
                        </a:rPr>
                        <a:t>1.5%</a:t>
                      </a:r>
                      <a:r>
                        <a:rPr kumimoji="0" lang="en-US" sz="1100" b="0" i="0" u="none" strike="noStrike" kern="1200" cap="none" spc="0" normalizeH="0" baseline="30000" noProof="0" dirty="0">
                          <a:ln>
                            <a:noFill/>
                          </a:ln>
                          <a:solidFill>
                            <a:prstClr val="white"/>
                          </a:solidFill>
                          <a:effectLst/>
                          <a:uLnTx/>
                          <a:uFillTx/>
                          <a:ea typeface="+mn-ea"/>
                          <a:cs typeface="+mn-cs"/>
                        </a:rPr>
                        <a:t>1</a:t>
                      </a:r>
                      <a:r>
                        <a:rPr kumimoji="0" lang="en-US" sz="1100" b="0" i="0" u="none" strike="noStrike" kern="1200" cap="none" spc="0" normalizeH="0" baseline="0" noProof="0" dirty="0">
                          <a:ln>
                            <a:noFill/>
                          </a:ln>
                          <a:solidFill>
                            <a:prstClr val="white"/>
                          </a:solidFill>
                          <a:effectLst/>
                          <a:uLnTx/>
                          <a:uFillTx/>
                          <a:ea typeface="+mn-ea"/>
                          <a:cs typeface="+mn-cs"/>
                        </a:rPr>
                        <a:t> of Shelf-Stable Specialty for Full-Service Restauran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ea typeface="+mn-ea"/>
                          <a:cs typeface="+mn-cs"/>
                        </a:rPr>
                        <a:t>(Commission</a:t>
                      </a:r>
                      <a:r>
                        <a:rPr kumimoji="0" lang="en-US" sz="1100" b="0" i="0" u="none" strike="noStrike" kern="1200" cap="none" spc="0" normalizeH="0" baseline="30000" noProof="0" dirty="0">
                          <a:ln>
                            <a:noFill/>
                          </a:ln>
                          <a:solidFill>
                            <a:prstClr val="white"/>
                          </a:solidFill>
                          <a:effectLst/>
                          <a:uLnTx/>
                          <a:uFillTx/>
                          <a:ea typeface="+mn-ea"/>
                          <a:cs typeface="+mn-cs"/>
                        </a:rPr>
                        <a:t>2</a:t>
                      </a:r>
                      <a:r>
                        <a:rPr kumimoji="0" lang="en-US" sz="1100" b="0" i="0" u="none" strike="noStrike" kern="1200" cap="none" spc="0" normalizeH="0" baseline="0" noProof="0" dirty="0">
                          <a:ln>
                            <a:noFill/>
                          </a:ln>
                          <a:solidFill>
                            <a:prstClr val="white"/>
                          </a:solidFill>
                          <a:effectLst/>
                          <a:uLnTx/>
                          <a:uFillTx/>
                          <a:ea typeface="+mn-ea"/>
                          <a:cs typeface="+mn-cs"/>
                        </a:rPr>
                        <a:t> Only)</a:t>
                      </a:r>
                    </a:p>
                  </p:txBody>
                </p:sp>
              </p:grpSp>
              <p:grpSp>
                <p:nvGrpSpPr>
                  <p:cNvPr id="62" name="Group 61"/>
                  <p:cNvGrpSpPr/>
                  <p:nvPr/>
                </p:nvGrpSpPr>
                <p:grpSpPr>
                  <a:xfrm>
                    <a:off x="2719767" y="3387325"/>
                    <a:ext cx="1022573" cy="1005631"/>
                    <a:chOff x="2697645" y="3387325"/>
                    <a:chExt cx="1022573" cy="1005631"/>
                  </a:xfrm>
                </p:grpSpPr>
                <p:sp>
                  <p:nvSpPr>
                    <p:cNvPr id="72" name="Rectangle 71"/>
                    <p:cNvSpPr/>
                    <p:nvPr/>
                  </p:nvSpPr>
                  <p:spPr>
                    <a:xfrm>
                      <a:off x="2741303" y="3387325"/>
                      <a:ext cx="858815"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ea typeface="+mn-ea"/>
                          <a:cs typeface="+mn-cs"/>
                        </a:rPr>
                        <a:t>$93M</a:t>
                      </a:r>
                    </a:p>
                  </p:txBody>
                </p:sp>
                <p:sp>
                  <p:nvSpPr>
                    <p:cNvPr id="73" name="TextBox 72"/>
                    <p:cNvSpPr txBox="1"/>
                    <p:nvPr/>
                  </p:nvSpPr>
                  <p:spPr>
                    <a:xfrm>
                      <a:off x="2697645" y="3685070"/>
                      <a:ext cx="1022573"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mn-ea"/>
                          <a:cs typeface="+mn-cs"/>
                        </a:rPr>
                        <a:t>6%</a:t>
                      </a:r>
                      <a:r>
                        <a:rPr kumimoji="0" lang="en-US" sz="1000" b="0" i="0" u="none" strike="noStrike" kern="1200" cap="none" spc="0" normalizeH="0" baseline="30000" noProof="0" dirty="0">
                          <a:ln>
                            <a:noFill/>
                          </a:ln>
                          <a:solidFill>
                            <a:prstClr val="black"/>
                          </a:solidFill>
                          <a:effectLst/>
                          <a:uLnTx/>
                          <a:uFillTx/>
                          <a:ea typeface="+mn-ea"/>
                          <a:cs typeface="+mn-cs"/>
                        </a:rPr>
                        <a:t>3</a:t>
                      </a:r>
                      <a:r>
                        <a:rPr kumimoji="0" lang="en-US" sz="1000" b="0" i="0" u="none" strike="noStrike" kern="1200" cap="none" spc="0" normalizeH="0" baseline="0" noProof="0" dirty="0">
                          <a:ln>
                            <a:noFill/>
                          </a:ln>
                          <a:solidFill>
                            <a:prstClr val="black"/>
                          </a:solidFill>
                          <a:effectLst/>
                          <a:uLnTx/>
                          <a:uFillTx/>
                          <a:ea typeface="+mn-ea"/>
                          <a:cs typeface="+mn-cs"/>
                        </a:rPr>
                        <a:t> of All Specialty for Full-Service Restaurants</a:t>
                      </a:r>
                    </a:p>
                  </p:txBody>
                </p:sp>
              </p:grpSp>
              <p:grpSp>
                <p:nvGrpSpPr>
                  <p:cNvPr id="63" name="Group 62"/>
                  <p:cNvGrpSpPr/>
                  <p:nvPr/>
                </p:nvGrpSpPr>
                <p:grpSpPr>
                  <a:xfrm>
                    <a:off x="3536962" y="3387074"/>
                    <a:ext cx="983065" cy="1005882"/>
                    <a:chOff x="3536962" y="3387074"/>
                    <a:chExt cx="983065" cy="1005882"/>
                  </a:xfrm>
                </p:grpSpPr>
                <p:sp>
                  <p:nvSpPr>
                    <p:cNvPr id="70" name="Rectangle 69"/>
                    <p:cNvSpPr/>
                    <p:nvPr/>
                  </p:nvSpPr>
                  <p:spPr>
                    <a:xfrm>
                      <a:off x="3536962" y="3387074"/>
                      <a:ext cx="897252"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ea typeface="+mn-ea"/>
                          <a:cs typeface="+mn-cs"/>
                        </a:rPr>
                        <a:t>$349M</a:t>
                      </a:r>
                    </a:p>
                  </p:txBody>
                </p:sp>
                <p:sp>
                  <p:nvSpPr>
                    <p:cNvPr id="71" name="TextBox 70"/>
                    <p:cNvSpPr txBox="1"/>
                    <p:nvPr/>
                  </p:nvSpPr>
                  <p:spPr>
                    <a:xfrm>
                      <a:off x="3585083" y="3685070"/>
                      <a:ext cx="934944"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mn-ea"/>
                          <a:cs typeface="+mn-cs"/>
                        </a:rPr>
                        <a:t>6% of Specialty for All Foodservice</a:t>
                      </a:r>
                    </a:p>
                  </p:txBody>
                </p:sp>
              </p:grpSp>
              <p:grpSp>
                <p:nvGrpSpPr>
                  <p:cNvPr id="64" name="Group 63"/>
                  <p:cNvGrpSpPr/>
                  <p:nvPr/>
                </p:nvGrpSpPr>
                <p:grpSpPr>
                  <a:xfrm>
                    <a:off x="4337759" y="3387325"/>
                    <a:ext cx="1025043" cy="1005882"/>
                    <a:chOff x="3544360" y="3387074"/>
                    <a:chExt cx="1025043" cy="1005882"/>
                  </a:xfrm>
                </p:grpSpPr>
                <p:sp>
                  <p:nvSpPr>
                    <p:cNvPr id="68" name="Rectangle 67"/>
                    <p:cNvSpPr/>
                    <p:nvPr/>
                  </p:nvSpPr>
                  <p:spPr>
                    <a:xfrm>
                      <a:off x="3550122" y="3387074"/>
                      <a:ext cx="902720"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ea typeface="+mn-ea"/>
                          <a:cs typeface="+mn-cs"/>
                        </a:rPr>
                        <a:t>$697M</a:t>
                      </a:r>
                    </a:p>
                  </p:txBody>
                </p:sp>
                <p:sp>
                  <p:nvSpPr>
                    <p:cNvPr id="69" name="TextBox 68"/>
                    <p:cNvSpPr txBox="1"/>
                    <p:nvPr/>
                  </p:nvSpPr>
                  <p:spPr>
                    <a:xfrm>
                      <a:off x="3544360" y="3685070"/>
                      <a:ext cx="1025043"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mn-ea"/>
                          <a:cs typeface="+mn-cs"/>
                        </a:rPr>
                        <a:t>6% of Specialty for Foodservi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mn-ea"/>
                          <a:cs typeface="+mn-cs"/>
                        </a:rPr>
                        <a:t>w/ Value-Add Services</a:t>
                      </a:r>
                      <a:r>
                        <a:rPr kumimoji="0" lang="en-US" sz="1000" b="0" i="0" u="none" strike="noStrike" kern="1200" cap="none" spc="0" normalizeH="0" baseline="30000" noProof="0" dirty="0">
                          <a:ln>
                            <a:noFill/>
                          </a:ln>
                          <a:solidFill>
                            <a:prstClr val="black"/>
                          </a:solidFill>
                          <a:effectLst/>
                          <a:uLnTx/>
                          <a:uFillTx/>
                          <a:ea typeface="+mn-ea"/>
                          <a:cs typeface="+mn-cs"/>
                        </a:rPr>
                        <a:t>4</a:t>
                      </a:r>
                    </a:p>
                  </p:txBody>
                </p:sp>
              </p:grpSp>
              <p:grpSp>
                <p:nvGrpSpPr>
                  <p:cNvPr id="65" name="Group 64"/>
                  <p:cNvGrpSpPr/>
                  <p:nvPr/>
                </p:nvGrpSpPr>
                <p:grpSpPr>
                  <a:xfrm>
                    <a:off x="5233811" y="3387325"/>
                    <a:ext cx="998525" cy="1313659"/>
                    <a:chOff x="3526211" y="3387074"/>
                    <a:chExt cx="998525" cy="1313659"/>
                  </a:xfrm>
                </p:grpSpPr>
                <p:sp>
                  <p:nvSpPr>
                    <p:cNvPr id="66" name="Rectangle 65"/>
                    <p:cNvSpPr/>
                    <p:nvPr/>
                  </p:nvSpPr>
                  <p:spPr>
                    <a:xfrm>
                      <a:off x="3535192" y="3387074"/>
                      <a:ext cx="980562"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ea typeface="+mn-ea"/>
                          <a:cs typeface="+mn-cs"/>
                        </a:rPr>
                        <a:t>$2.6B</a:t>
                      </a:r>
                    </a:p>
                  </p:txBody>
                </p:sp>
                <p:sp>
                  <p:nvSpPr>
                    <p:cNvPr id="67" name="TextBox 66"/>
                    <p:cNvSpPr txBox="1"/>
                    <p:nvPr/>
                  </p:nvSpPr>
                  <p:spPr>
                    <a:xfrm>
                      <a:off x="3526211" y="3685070"/>
                      <a:ext cx="998525"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mn-ea"/>
                          <a:cs typeface="+mn-cs"/>
                        </a:rPr>
                        <a:t>6% of Specialty for Foodservice &amp; Retail w/ Value-Add Services</a:t>
                      </a:r>
                    </a:p>
                  </p:txBody>
                </p:sp>
              </p:grpSp>
            </p:grpSp>
          </p:grpSp>
          <p:sp>
            <p:nvSpPr>
              <p:cNvPr id="34" name="Rectangle 33"/>
              <p:cNvSpPr/>
              <p:nvPr/>
            </p:nvSpPr>
            <p:spPr>
              <a:xfrm>
                <a:off x="6351995" y="3361125"/>
                <a:ext cx="1065326"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ea typeface="+mn-ea"/>
                    <a:cs typeface="+mn-cs"/>
                  </a:rPr>
                  <a:t>&gt;$2.6B</a:t>
                </a:r>
              </a:p>
            </p:txBody>
          </p:sp>
          <p:sp>
            <p:nvSpPr>
              <p:cNvPr id="35" name="TextBox 34"/>
              <p:cNvSpPr txBox="1"/>
              <p:nvPr/>
            </p:nvSpPr>
            <p:spPr>
              <a:xfrm>
                <a:off x="6434389" y="3659121"/>
                <a:ext cx="1052175"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ea typeface="+mn-ea"/>
                    <a:cs typeface="+mn-cs"/>
                  </a:rPr>
                  <a:t>Adjacent products beyond specialty food</a:t>
                </a:r>
              </a:p>
            </p:txBody>
          </p:sp>
          <p:cxnSp>
            <p:nvCxnSpPr>
              <p:cNvPr id="41" name="Straight Connector 40"/>
              <p:cNvCxnSpPr>
                <a:stCxn id="44" idx="1"/>
              </p:cNvCxnSpPr>
              <p:nvPr/>
            </p:nvCxnSpPr>
            <p:spPr>
              <a:xfrm flipH="1" flipV="1">
                <a:off x="911346" y="2482243"/>
                <a:ext cx="0" cy="948756"/>
              </a:xfrm>
              <a:prstGeom prst="line">
                <a:avLst/>
              </a:prstGeom>
              <a:ln w="19050" cmpd="sng">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sp>
            <p:nvSpPr>
              <p:cNvPr id="44" name="Oval 43"/>
              <p:cNvSpPr>
                <a:spLocks noChangeAspect="1"/>
              </p:cNvSpPr>
              <p:nvPr/>
            </p:nvSpPr>
            <p:spPr>
              <a:xfrm rot="2614625">
                <a:off x="821216" y="3430968"/>
                <a:ext cx="198707" cy="198707"/>
              </a:xfrm>
              <a:prstGeom prst="ellipse">
                <a:avLst/>
              </a:prstGeom>
              <a:solidFill>
                <a:srgbClr val="F4DF48"/>
              </a:solidFill>
              <a:ln w="381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E95331"/>
                  </a:solidFill>
                  <a:effectLst/>
                  <a:uLnTx/>
                  <a:uFillTx/>
                  <a:ea typeface="+mn-ea"/>
                  <a:cs typeface="+mn-cs"/>
                </a:endParaRPr>
              </a:p>
            </p:txBody>
          </p:sp>
          <p:sp>
            <p:nvSpPr>
              <p:cNvPr id="46" name="TextBox 45"/>
              <p:cNvSpPr txBox="1"/>
              <p:nvPr/>
            </p:nvSpPr>
            <p:spPr>
              <a:xfrm>
                <a:off x="415488" y="2047040"/>
                <a:ext cx="1891350" cy="430887"/>
              </a:xfrm>
              <a:prstGeom prst="rect">
                <a:avLst/>
              </a:prstGeom>
              <a:solidFill>
                <a:schemeClr val="bg1"/>
              </a:solidFill>
              <a:ln w="28575">
                <a:solidFill>
                  <a:srgbClr val="F4DF48"/>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Base business case: commission-only</a:t>
                </a:r>
                <a:endParaRPr kumimoji="0" lang="en-US" sz="1100" b="1" i="0" u="none" strike="noStrike" kern="1200" cap="none" spc="0" normalizeH="0" baseline="0" noProof="0" dirty="0">
                  <a:ln>
                    <a:noFill/>
                  </a:ln>
                  <a:solidFill>
                    <a:prstClr val="black"/>
                  </a:solidFill>
                  <a:effectLst/>
                  <a:uLnTx/>
                  <a:uFillTx/>
                  <a:ea typeface="+mn-ea"/>
                  <a:cs typeface="+mn-cs"/>
                </a:endParaRPr>
              </a:p>
            </p:txBody>
          </p:sp>
          <p:grpSp>
            <p:nvGrpSpPr>
              <p:cNvPr id="47" name="Group 46"/>
              <p:cNvGrpSpPr/>
              <p:nvPr/>
            </p:nvGrpSpPr>
            <p:grpSpPr>
              <a:xfrm>
                <a:off x="4860271" y="1743469"/>
                <a:ext cx="2718586" cy="1617656"/>
                <a:chOff x="4860271" y="1743469"/>
                <a:chExt cx="2718586" cy="1617656"/>
              </a:xfrm>
            </p:grpSpPr>
            <p:sp>
              <p:nvSpPr>
                <p:cNvPr id="51" name="TextBox 50"/>
                <p:cNvSpPr txBox="1"/>
                <p:nvPr/>
              </p:nvSpPr>
              <p:spPr>
                <a:xfrm>
                  <a:off x="4860271" y="1743469"/>
                  <a:ext cx="2718586" cy="769441"/>
                </a:xfrm>
                <a:prstGeom prst="rect">
                  <a:avLst/>
                </a:prstGeom>
                <a:solidFill>
                  <a:schemeClr val="bg1"/>
                </a:solidFill>
                <a:ln w="28575">
                  <a:solidFill>
                    <a:srgbClr val="F4DF48"/>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Potential value-added services include online marketing, branding, fulfillment, manufacturing, and ingredient sourcing</a:t>
                  </a:r>
                </a:p>
              </p:txBody>
            </p:sp>
            <p:cxnSp>
              <p:nvCxnSpPr>
                <p:cNvPr id="52" name="Elbow Connector 51"/>
                <p:cNvCxnSpPr>
                  <a:stCxn id="53" idx="1"/>
                  <a:endCxn id="51" idx="2"/>
                </p:cNvCxnSpPr>
                <p:nvPr/>
              </p:nvCxnSpPr>
              <p:spPr>
                <a:xfrm rot="5400000" flipH="1" flipV="1">
                  <a:off x="5271581" y="2214467"/>
                  <a:ext cx="649539" cy="1246427"/>
                </a:xfrm>
                <a:prstGeom prst="bentConnector3">
                  <a:avLst>
                    <a:gd name="adj1" fmla="val 50000"/>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53" name="Oval 52"/>
                <p:cNvSpPr>
                  <a:spLocks noChangeAspect="1"/>
                </p:cNvSpPr>
                <p:nvPr/>
              </p:nvSpPr>
              <p:spPr>
                <a:xfrm rot="2614625">
                  <a:off x="4876251" y="3162418"/>
                  <a:ext cx="198707" cy="198707"/>
                </a:xfrm>
                <a:prstGeom prst="ellipse">
                  <a:avLst/>
                </a:prstGeom>
                <a:solidFill>
                  <a:srgbClr val="F4DF48"/>
                </a:solidFill>
                <a:ln w="381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E95331"/>
                    </a:solidFill>
                    <a:effectLst/>
                    <a:uLnTx/>
                    <a:uFillTx/>
                    <a:ea typeface="+mn-ea"/>
                    <a:cs typeface="+mn-cs"/>
                  </a:endParaRPr>
                </a:p>
              </p:txBody>
            </p:sp>
          </p:grpSp>
          <p:sp>
            <p:nvSpPr>
              <p:cNvPr id="48" name="TextBox 47"/>
              <p:cNvSpPr txBox="1"/>
              <p:nvPr/>
            </p:nvSpPr>
            <p:spPr>
              <a:xfrm>
                <a:off x="4597352" y="5219269"/>
                <a:ext cx="2981505" cy="600164"/>
              </a:xfrm>
              <a:prstGeom prst="rect">
                <a:avLst/>
              </a:prstGeom>
              <a:solidFill>
                <a:schemeClr val="bg1"/>
              </a:solidFill>
              <a:ln w="28575">
                <a:solidFill>
                  <a:srgbClr val="F4DF48"/>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Specialty food touches many adjacencies such as kitchenware, kitchen décor, and pet food</a:t>
                </a:r>
              </a:p>
            </p:txBody>
          </p:sp>
          <p:cxnSp>
            <p:nvCxnSpPr>
              <p:cNvPr id="49" name="Elbow Connector 48"/>
              <p:cNvCxnSpPr>
                <a:stCxn id="50" idx="5"/>
                <a:endCxn id="48" idx="0"/>
              </p:cNvCxnSpPr>
              <p:nvPr/>
            </p:nvCxnSpPr>
            <p:spPr>
              <a:xfrm rot="5400000">
                <a:off x="6289345" y="4601919"/>
                <a:ext cx="416110" cy="818590"/>
              </a:xfrm>
              <a:prstGeom prst="bentConnector3">
                <a:avLst>
                  <a:gd name="adj1" fmla="val 50000"/>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50" name="Oval 49"/>
              <p:cNvSpPr>
                <a:spLocks noChangeAspect="1"/>
              </p:cNvSpPr>
              <p:nvPr/>
            </p:nvSpPr>
            <p:spPr>
              <a:xfrm rot="2614625">
                <a:off x="6804874" y="4604483"/>
                <a:ext cx="198707" cy="198707"/>
              </a:xfrm>
              <a:prstGeom prst="ellipse">
                <a:avLst/>
              </a:prstGeom>
              <a:solidFill>
                <a:srgbClr val="F4DF48"/>
              </a:solidFill>
              <a:ln w="381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E95331"/>
                  </a:solidFill>
                  <a:effectLst/>
                  <a:uLnTx/>
                  <a:uFillTx/>
                  <a:ea typeface="+mn-ea"/>
                  <a:cs typeface="+mn-cs"/>
                </a:endParaRPr>
              </a:p>
            </p:txBody>
          </p:sp>
        </p:grpSp>
        <p:cxnSp>
          <p:nvCxnSpPr>
            <p:cNvPr id="28" name="Straight Arrow Connector 27"/>
            <p:cNvCxnSpPr/>
            <p:nvPr/>
          </p:nvCxnSpPr>
          <p:spPr>
            <a:xfrm>
              <a:off x="2380578" y="3530321"/>
              <a:ext cx="457200" cy="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02812120"/>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2580"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3514" y="694944"/>
            <a:ext cx="10363200" cy="594360"/>
          </a:xfrm>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Client Co. Scenarios</a:t>
            </a:r>
          </a:p>
        </p:txBody>
      </p:sp>
      <p:sp>
        <p:nvSpPr>
          <p:cNvPr id="3" name="Text Placeholder 2"/>
          <p:cNvSpPr>
            <a:spLocks noGrp="1"/>
          </p:cNvSpPr>
          <p:nvPr>
            <p:ph type="body" sz="quarter" idx="14"/>
          </p:nvPr>
        </p:nvSpPr>
        <p:spPr/>
        <p:txBody>
          <a:bodyPr/>
          <a:lstStyle/>
          <a:p>
            <a:pPr>
              <a:buClr>
                <a:srgbClr val="787878"/>
              </a:buClr>
              <a:defRPr/>
            </a:pPr>
            <a:r>
              <a:rPr lang="en-US" dirty="0"/>
              <a:t>Additional strategic addressable market scenarios, US</a:t>
            </a:r>
            <a:endParaRPr lang="en-US" spc="-75" dirty="0">
              <a:solidFill>
                <a:prstClr val="black"/>
              </a:solidFill>
              <a:cs typeface="Arial" panose="020B0604020202020204" pitchFamily="34" charset="0"/>
            </a:endParaRPr>
          </a:p>
        </p:txBody>
      </p:sp>
      <p:sp>
        <p:nvSpPr>
          <p:cNvPr id="5" name="Text Placeholder 4"/>
          <p:cNvSpPr>
            <a:spLocks noGrp="1"/>
          </p:cNvSpPr>
          <p:nvPr>
            <p:ph type="body" sz="quarter" idx="15"/>
          </p:nvPr>
        </p:nvSpPr>
        <p:spPr/>
        <p:txBody>
          <a:bodyPr/>
          <a:lstStyle/>
          <a:p>
            <a:r>
              <a:rPr lang="en-US" dirty="0"/>
              <a:t>Data Visualization &amp; Infographics</a:t>
            </a:r>
          </a:p>
        </p:txBody>
      </p:sp>
      <p:graphicFrame>
        <p:nvGraphicFramePr>
          <p:cNvPr id="117" name="Table 116"/>
          <p:cNvGraphicFramePr>
            <a:graphicFrameLocks noGrp="1"/>
          </p:cNvGraphicFramePr>
          <p:nvPr>
            <p:extLst>
              <p:ext uri="{D42A27DB-BD31-4B8C-83A1-F6EECF244321}">
                <p14:modId xmlns:p14="http://schemas.microsoft.com/office/powerpoint/2010/main" val="1241020516"/>
              </p:ext>
            </p:extLst>
          </p:nvPr>
        </p:nvGraphicFramePr>
        <p:xfrm>
          <a:off x="917690" y="4709012"/>
          <a:ext cx="4714162" cy="1703438"/>
        </p:xfrm>
        <a:graphic>
          <a:graphicData uri="http://schemas.openxmlformats.org/drawingml/2006/table">
            <a:tbl>
              <a:tblPr/>
              <a:tblGrid>
                <a:gridCol w="2357081">
                  <a:extLst>
                    <a:ext uri="{9D8B030D-6E8A-4147-A177-3AD203B41FA5}">
                      <a16:colId xmlns:a16="http://schemas.microsoft.com/office/drawing/2014/main" val="1535200587"/>
                    </a:ext>
                  </a:extLst>
                </a:gridCol>
                <a:gridCol w="2357081">
                  <a:extLst>
                    <a:ext uri="{9D8B030D-6E8A-4147-A177-3AD203B41FA5}">
                      <a16:colId xmlns:a16="http://schemas.microsoft.com/office/drawing/2014/main" val="1736065697"/>
                    </a:ext>
                  </a:extLst>
                </a:gridCol>
              </a:tblGrid>
              <a:tr h="207519">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0" marR="0" lvl="0" indent="0" algn="l" defTabSz="914400" rtl="0" eaLnBrk="1" fontAlgn="auto" latinLnBrk="0" hangingPunct="1">
                        <a:lnSpc>
                          <a:spcPct val="100000"/>
                        </a:lnSpc>
                        <a:spcBef>
                          <a:spcPts val="0"/>
                        </a:spcBef>
                        <a:spcAft>
                          <a:spcPts val="0"/>
                        </a:spcAft>
                        <a:buClr>
                          <a:srgbClr val="787878"/>
                        </a:buClr>
                        <a:buSzTx/>
                        <a:buFontTx/>
                        <a:buNone/>
                        <a:tabLst/>
                        <a:defRPr/>
                      </a:pPr>
                      <a:r>
                        <a:rPr lang="en-US" sz="1000" b="1" dirty="0">
                          <a:latin typeface="+mn-lt"/>
                        </a:rPr>
                        <a:t>BENEFITS</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7DE39"/>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050" b="1" dirty="0">
                          <a:latin typeface="+mn-lt"/>
                        </a:rPr>
                        <a:t>CHALLENGES</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7DE39"/>
                    </a:solidFill>
                  </a:tcPr>
                </a:tc>
                <a:extLst>
                  <a:ext uri="{0D108BD9-81ED-4DB2-BD59-A6C34878D82A}">
                    <a16:rowId xmlns:a16="http://schemas.microsoft.com/office/drawing/2014/main" val="707080910"/>
                  </a:ext>
                </a:extLst>
              </a:tr>
              <a:tr h="1495919">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000" b="0" i="0" dirty="0">
                          <a:latin typeface="+mn-lt"/>
                          <a:ea typeface="Montserrat Light" charset="0"/>
                          <a:cs typeface="Montserrat Light" charset="0"/>
                        </a:rPr>
                        <a:t>Limited</a:t>
                      </a:r>
                      <a:r>
                        <a:rPr lang="en-US" sz="1000" b="0" i="0" baseline="0" dirty="0">
                          <a:latin typeface="+mn-lt"/>
                          <a:ea typeface="Montserrat Light" charset="0"/>
                          <a:cs typeface="Montserrat Light" charset="0"/>
                        </a:rPr>
                        <a:t> behavioral change required of consumer (focus on D2C, e-commerce)</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000" b="0" i="0" baseline="0" dirty="0">
                          <a:latin typeface="+mn-lt"/>
                          <a:ea typeface="Montserrat Light" charset="0"/>
                          <a:cs typeface="Montserrat Light" charset="0"/>
                        </a:rPr>
                        <a:t>Focus on regions opens opportunity to leverage store network</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000" b="0" i="0" baseline="0" dirty="0">
                          <a:latin typeface="+mn-lt"/>
                          <a:ea typeface="Montserrat Light" charset="0"/>
                          <a:cs typeface="Montserrat Light" charset="0"/>
                        </a:rPr>
                        <a:t>Non-shelf-stable product focus could be a marketplace differentiator</a:t>
                      </a:r>
                      <a:endParaRPr lang="en-US" sz="1000" b="0" i="0" dirty="0">
                        <a:latin typeface="+mn-lt"/>
                        <a:ea typeface="Montserrat Light" charset="0"/>
                        <a:cs typeface="Montserrat Light" charset="0"/>
                      </a:endParaRPr>
                    </a:p>
                  </a:txBody>
                  <a:tcPr marL="45720" marR="45720">
                    <a:lnL w="12700" cap="flat" cmpd="sng" algn="ctr">
                      <a:solidFill>
                        <a:srgbClr val="FFFFFF">
                          <a:lumMod val="85000"/>
                        </a:srgbClr>
                      </a:solidFill>
                      <a:prstDash val="solid"/>
                      <a:round/>
                      <a:headEnd type="none" w="med" len="med"/>
                      <a:tailEnd type="none" w="med" len="med"/>
                    </a:lnL>
                    <a:lnR w="12700" cap="flat" cmpd="sng" algn="ctr">
                      <a:solidFill>
                        <a:srgbClr val="FFFFFF">
                          <a:lumMod val="85000"/>
                        </a:srgb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000" b="0" i="0" dirty="0">
                          <a:latin typeface="+mn-lt"/>
                          <a:ea typeface="Montserrat Light" charset="0"/>
                          <a:cs typeface="Montserrat Light" charset="0"/>
                        </a:rPr>
                        <a:t>Focus</a:t>
                      </a:r>
                      <a:r>
                        <a:rPr lang="en-US" sz="1000" b="0" i="0" baseline="0" dirty="0">
                          <a:latin typeface="+mn-lt"/>
                          <a:ea typeface="Montserrat Light" charset="0"/>
                          <a:cs typeface="Montserrat Light" charset="0"/>
                        </a:rPr>
                        <a:t> on retail D2C market implies smaller basket size and greater transaction volatility</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000" b="0" i="0" baseline="0" dirty="0">
                          <a:latin typeface="+mn-lt"/>
                          <a:ea typeface="Montserrat Light" charset="0"/>
                          <a:cs typeface="Montserrat Light" charset="0"/>
                        </a:rPr>
                        <a:t>Limited brand permission among end consumers (versus operators)</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000" b="0" i="0" baseline="0" dirty="0">
                          <a:latin typeface="+mn-lt"/>
                          <a:ea typeface="Montserrat Light" charset="0"/>
                          <a:cs typeface="Montserrat Light" charset="0"/>
                        </a:rPr>
                        <a:t>Significant cost and time to drive individual consumers to e-commerce platform</a:t>
                      </a:r>
                    </a:p>
                  </a:txBody>
                  <a:tcPr marL="45720" marR="45720">
                    <a:lnL w="12700" cap="flat" cmpd="sng" algn="ctr">
                      <a:solidFill>
                        <a:srgbClr val="FFFFFF">
                          <a:lumMod val="85000"/>
                        </a:srgbClr>
                      </a:solidFill>
                      <a:prstDash val="solid"/>
                      <a:round/>
                      <a:headEnd type="none" w="med" len="med"/>
                      <a:tailEnd type="none" w="med" len="med"/>
                    </a:lnL>
                    <a:lnR w="12700" cap="flat" cmpd="sng" algn="ctr">
                      <a:solidFill>
                        <a:srgbClr val="FFFFFF">
                          <a:lumMod val="85000"/>
                        </a:srgb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3508108"/>
                  </a:ext>
                </a:extLst>
              </a:tr>
            </a:tbl>
          </a:graphicData>
        </a:graphic>
      </p:graphicFrame>
      <p:sp>
        <p:nvSpPr>
          <p:cNvPr id="118" name="TextBox 117"/>
          <p:cNvSpPr txBox="1"/>
          <p:nvPr/>
        </p:nvSpPr>
        <p:spPr>
          <a:xfrm>
            <a:off x="1950753" y="1693455"/>
            <a:ext cx="3681099"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D2C &amp; ONLINE RETAIL IN REGION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NON SHELF-STABLE PRODUCTS </a:t>
            </a:r>
          </a:p>
        </p:txBody>
      </p:sp>
      <p:sp>
        <p:nvSpPr>
          <p:cNvPr id="119" name="TextBox 118"/>
          <p:cNvSpPr txBox="1"/>
          <p:nvPr/>
        </p:nvSpPr>
        <p:spPr>
          <a:xfrm>
            <a:off x="3750523" y="2350131"/>
            <a:ext cx="1791812"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ea typeface="+mn-ea"/>
                <a:cs typeface="+mn-cs"/>
              </a:rPr>
              <a:t>TOTAL ADDRESSABLE </a:t>
            </a:r>
          </a:p>
        </p:txBody>
      </p:sp>
      <p:grpSp>
        <p:nvGrpSpPr>
          <p:cNvPr id="120" name="Group 119"/>
          <p:cNvGrpSpPr/>
          <p:nvPr/>
        </p:nvGrpSpPr>
        <p:grpSpPr>
          <a:xfrm>
            <a:off x="1753288" y="2276322"/>
            <a:ext cx="920329" cy="1840540"/>
            <a:chOff x="4548304" y="2275909"/>
            <a:chExt cx="2123471" cy="4246670"/>
          </a:xfrm>
        </p:grpSpPr>
        <p:sp>
          <p:nvSpPr>
            <p:cNvPr id="121" name="object 8"/>
            <p:cNvSpPr/>
            <p:nvPr/>
          </p:nvSpPr>
          <p:spPr>
            <a:xfrm>
              <a:off x="4548304" y="2275909"/>
              <a:ext cx="2123138" cy="4246276"/>
            </a:xfrm>
            <a:custGeom>
              <a:avLst/>
              <a:gdLst/>
              <a:ahLst/>
              <a:cxnLst/>
              <a:rect l="l" t="t" r="r" b="b"/>
              <a:pathLst>
                <a:path w="1775460" h="3550920">
                  <a:moveTo>
                    <a:pt x="1775460" y="0"/>
                  </a:moveTo>
                  <a:lnTo>
                    <a:pt x="1727388" y="638"/>
                  </a:lnTo>
                  <a:lnTo>
                    <a:pt x="1679632" y="2542"/>
                  </a:lnTo>
                  <a:lnTo>
                    <a:pt x="1632207" y="5695"/>
                  </a:lnTo>
                  <a:lnTo>
                    <a:pt x="1585130" y="10082"/>
                  </a:lnTo>
                  <a:lnTo>
                    <a:pt x="1538417" y="15686"/>
                  </a:lnTo>
                  <a:lnTo>
                    <a:pt x="1492084" y="22491"/>
                  </a:lnTo>
                  <a:lnTo>
                    <a:pt x="1446146" y="30482"/>
                  </a:lnTo>
                  <a:lnTo>
                    <a:pt x="1400621" y="39641"/>
                  </a:lnTo>
                  <a:lnTo>
                    <a:pt x="1355524" y="49953"/>
                  </a:lnTo>
                  <a:lnTo>
                    <a:pt x="1310871" y="61403"/>
                  </a:lnTo>
                  <a:lnTo>
                    <a:pt x="1266679" y="73972"/>
                  </a:lnTo>
                  <a:lnTo>
                    <a:pt x="1222963" y="87647"/>
                  </a:lnTo>
                  <a:lnTo>
                    <a:pt x="1179740" y="102410"/>
                  </a:lnTo>
                  <a:lnTo>
                    <a:pt x="1137026" y="118245"/>
                  </a:lnTo>
                  <a:lnTo>
                    <a:pt x="1094836" y="135137"/>
                  </a:lnTo>
                  <a:lnTo>
                    <a:pt x="1053187" y="153069"/>
                  </a:lnTo>
                  <a:lnTo>
                    <a:pt x="1012096" y="172025"/>
                  </a:lnTo>
                  <a:lnTo>
                    <a:pt x="971577" y="191988"/>
                  </a:lnTo>
                  <a:lnTo>
                    <a:pt x="931648" y="212944"/>
                  </a:lnTo>
                  <a:lnTo>
                    <a:pt x="892324" y="234876"/>
                  </a:lnTo>
                  <a:lnTo>
                    <a:pt x="853621" y="257767"/>
                  </a:lnTo>
                  <a:lnTo>
                    <a:pt x="815556" y="281601"/>
                  </a:lnTo>
                  <a:lnTo>
                    <a:pt x="778145" y="306364"/>
                  </a:lnTo>
                  <a:lnTo>
                    <a:pt x="741404" y="332037"/>
                  </a:lnTo>
                  <a:lnTo>
                    <a:pt x="705348" y="358606"/>
                  </a:lnTo>
                  <a:lnTo>
                    <a:pt x="669994" y="386054"/>
                  </a:lnTo>
                  <a:lnTo>
                    <a:pt x="635359" y="414365"/>
                  </a:lnTo>
                  <a:lnTo>
                    <a:pt x="601457" y="443523"/>
                  </a:lnTo>
                  <a:lnTo>
                    <a:pt x="568306" y="473511"/>
                  </a:lnTo>
                  <a:lnTo>
                    <a:pt x="535922" y="504315"/>
                  </a:lnTo>
                  <a:lnTo>
                    <a:pt x="504319" y="535917"/>
                  </a:lnTo>
                  <a:lnTo>
                    <a:pt x="473516" y="568301"/>
                  </a:lnTo>
                  <a:lnTo>
                    <a:pt x="443527" y="601452"/>
                  </a:lnTo>
                  <a:lnTo>
                    <a:pt x="414369" y="635353"/>
                  </a:lnTo>
                  <a:lnTo>
                    <a:pt x="386058" y="669989"/>
                  </a:lnTo>
                  <a:lnTo>
                    <a:pt x="358610" y="705343"/>
                  </a:lnTo>
                  <a:lnTo>
                    <a:pt x="332041" y="741398"/>
                  </a:lnTo>
                  <a:lnTo>
                    <a:pt x="306367" y="778140"/>
                  </a:lnTo>
                  <a:lnTo>
                    <a:pt x="281605" y="815551"/>
                  </a:lnTo>
                  <a:lnTo>
                    <a:pt x="257770" y="853616"/>
                  </a:lnTo>
                  <a:lnTo>
                    <a:pt x="234878" y="892318"/>
                  </a:lnTo>
                  <a:lnTo>
                    <a:pt x="212947" y="931642"/>
                  </a:lnTo>
                  <a:lnTo>
                    <a:pt x="191991" y="971572"/>
                  </a:lnTo>
                  <a:lnTo>
                    <a:pt x="172027" y="1012090"/>
                  </a:lnTo>
                  <a:lnTo>
                    <a:pt x="153071" y="1053182"/>
                  </a:lnTo>
                  <a:lnTo>
                    <a:pt x="135139" y="1094831"/>
                  </a:lnTo>
                  <a:lnTo>
                    <a:pt x="118247" y="1137021"/>
                  </a:lnTo>
                  <a:lnTo>
                    <a:pt x="102411" y="1179735"/>
                  </a:lnTo>
                  <a:lnTo>
                    <a:pt x="87648" y="1222959"/>
                  </a:lnTo>
                  <a:lnTo>
                    <a:pt x="73973" y="1266675"/>
                  </a:lnTo>
                  <a:lnTo>
                    <a:pt x="61403" y="1310867"/>
                  </a:lnTo>
                  <a:lnTo>
                    <a:pt x="49954" y="1355520"/>
                  </a:lnTo>
                  <a:lnTo>
                    <a:pt x="39642" y="1400617"/>
                  </a:lnTo>
                  <a:lnTo>
                    <a:pt x="30482" y="1446143"/>
                  </a:lnTo>
                  <a:lnTo>
                    <a:pt x="22491" y="1492081"/>
                  </a:lnTo>
                  <a:lnTo>
                    <a:pt x="15686" y="1538414"/>
                  </a:lnTo>
                  <a:lnTo>
                    <a:pt x="10082" y="1585128"/>
                  </a:lnTo>
                  <a:lnTo>
                    <a:pt x="5695" y="1632205"/>
                  </a:lnTo>
                  <a:lnTo>
                    <a:pt x="2542" y="1679631"/>
                  </a:lnTo>
                  <a:lnTo>
                    <a:pt x="638" y="1727387"/>
                  </a:lnTo>
                  <a:lnTo>
                    <a:pt x="0" y="1775460"/>
                  </a:lnTo>
                  <a:lnTo>
                    <a:pt x="638" y="1823531"/>
                  </a:lnTo>
                  <a:lnTo>
                    <a:pt x="2542" y="1871287"/>
                  </a:lnTo>
                  <a:lnTo>
                    <a:pt x="5695" y="1918712"/>
                  </a:lnTo>
                  <a:lnTo>
                    <a:pt x="10082" y="1965789"/>
                  </a:lnTo>
                  <a:lnTo>
                    <a:pt x="15686" y="2012502"/>
                  </a:lnTo>
                  <a:lnTo>
                    <a:pt x="22491" y="2058835"/>
                  </a:lnTo>
                  <a:lnTo>
                    <a:pt x="30482" y="2104773"/>
                  </a:lnTo>
                  <a:lnTo>
                    <a:pt x="39642" y="2150298"/>
                  </a:lnTo>
                  <a:lnTo>
                    <a:pt x="49954" y="2195395"/>
                  </a:lnTo>
                  <a:lnTo>
                    <a:pt x="61403" y="2240048"/>
                  </a:lnTo>
                  <a:lnTo>
                    <a:pt x="73973" y="2284240"/>
                  </a:lnTo>
                  <a:lnTo>
                    <a:pt x="87648" y="2327956"/>
                  </a:lnTo>
                  <a:lnTo>
                    <a:pt x="102411" y="2371179"/>
                  </a:lnTo>
                  <a:lnTo>
                    <a:pt x="118247" y="2413893"/>
                  </a:lnTo>
                  <a:lnTo>
                    <a:pt x="135139" y="2456083"/>
                  </a:lnTo>
                  <a:lnTo>
                    <a:pt x="153071" y="2497732"/>
                  </a:lnTo>
                  <a:lnTo>
                    <a:pt x="172027" y="2538823"/>
                  </a:lnTo>
                  <a:lnTo>
                    <a:pt x="191991" y="2579342"/>
                  </a:lnTo>
                  <a:lnTo>
                    <a:pt x="212947" y="2619271"/>
                  </a:lnTo>
                  <a:lnTo>
                    <a:pt x="234878" y="2658595"/>
                  </a:lnTo>
                  <a:lnTo>
                    <a:pt x="257770" y="2697298"/>
                  </a:lnTo>
                  <a:lnTo>
                    <a:pt x="281605" y="2735363"/>
                  </a:lnTo>
                  <a:lnTo>
                    <a:pt x="306367" y="2772774"/>
                  </a:lnTo>
                  <a:lnTo>
                    <a:pt x="332041" y="2809515"/>
                  </a:lnTo>
                  <a:lnTo>
                    <a:pt x="358610" y="2845571"/>
                  </a:lnTo>
                  <a:lnTo>
                    <a:pt x="386058" y="2880925"/>
                  </a:lnTo>
                  <a:lnTo>
                    <a:pt x="414369" y="2915560"/>
                  </a:lnTo>
                  <a:lnTo>
                    <a:pt x="443527" y="2949462"/>
                  </a:lnTo>
                  <a:lnTo>
                    <a:pt x="473516" y="2982613"/>
                  </a:lnTo>
                  <a:lnTo>
                    <a:pt x="504319" y="3014997"/>
                  </a:lnTo>
                  <a:lnTo>
                    <a:pt x="535922" y="3046600"/>
                  </a:lnTo>
                  <a:lnTo>
                    <a:pt x="568306" y="3077403"/>
                  </a:lnTo>
                  <a:lnTo>
                    <a:pt x="601457" y="3107392"/>
                  </a:lnTo>
                  <a:lnTo>
                    <a:pt x="635359" y="3136550"/>
                  </a:lnTo>
                  <a:lnTo>
                    <a:pt x="669994" y="3164861"/>
                  </a:lnTo>
                  <a:lnTo>
                    <a:pt x="705348" y="3192309"/>
                  </a:lnTo>
                  <a:lnTo>
                    <a:pt x="741404" y="3218878"/>
                  </a:lnTo>
                  <a:lnTo>
                    <a:pt x="778145" y="3244552"/>
                  </a:lnTo>
                  <a:lnTo>
                    <a:pt x="815556" y="3269314"/>
                  </a:lnTo>
                  <a:lnTo>
                    <a:pt x="853621" y="3293149"/>
                  </a:lnTo>
                  <a:lnTo>
                    <a:pt x="892324" y="3316041"/>
                  </a:lnTo>
                  <a:lnTo>
                    <a:pt x="931648" y="3337972"/>
                  </a:lnTo>
                  <a:lnTo>
                    <a:pt x="971577" y="3358928"/>
                  </a:lnTo>
                  <a:lnTo>
                    <a:pt x="1012096" y="3378892"/>
                  </a:lnTo>
                  <a:lnTo>
                    <a:pt x="1053187" y="3397848"/>
                  </a:lnTo>
                  <a:lnTo>
                    <a:pt x="1094836" y="3415780"/>
                  </a:lnTo>
                  <a:lnTo>
                    <a:pt x="1137026" y="3432672"/>
                  </a:lnTo>
                  <a:lnTo>
                    <a:pt x="1179740" y="3448508"/>
                  </a:lnTo>
                  <a:lnTo>
                    <a:pt x="1222963" y="3463271"/>
                  </a:lnTo>
                  <a:lnTo>
                    <a:pt x="1266679" y="3476946"/>
                  </a:lnTo>
                  <a:lnTo>
                    <a:pt x="1310871" y="3489516"/>
                  </a:lnTo>
                  <a:lnTo>
                    <a:pt x="1355524" y="3500965"/>
                  </a:lnTo>
                  <a:lnTo>
                    <a:pt x="1400621" y="3511277"/>
                  </a:lnTo>
                  <a:lnTo>
                    <a:pt x="1446146" y="3520437"/>
                  </a:lnTo>
                  <a:lnTo>
                    <a:pt x="1492084" y="3528428"/>
                  </a:lnTo>
                  <a:lnTo>
                    <a:pt x="1538417" y="3535233"/>
                  </a:lnTo>
                  <a:lnTo>
                    <a:pt x="1585130" y="3540837"/>
                  </a:lnTo>
                  <a:lnTo>
                    <a:pt x="1632207" y="3545224"/>
                  </a:lnTo>
                  <a:lnTo>
                    <a:pt x="1679632" y="3548377"/>
                  </a:lnTo>
                  <a:lnTo>
                    <a:pt x="1727388" y="3550281"/>
                  </a:lnTo>
                  <a:lnTo>
                    <a:pt x="1775460" y="3550920"/>
                  </a:lnTo>
                  <a:lnTo>
                    <a:pt x="1775460" y="0"/>
                  </a:lnTo>
                  <a:close/>
                </a:path>
              </a:pathLst>
            </a:custGeom>
            <a:solidFill>
              <a:srgbClr val="FFF2C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dirty="0">
                <a:ln>
                  <a:noFill/>
                </a:ln>
                <a:solidFill>
                  <a:srgbClr val="000000"/>
                </a:solidFill>
                <a:effectLst/>
                <a:uLnTx/>
                <a:uFillTx/>
                <a:ea typeface="+mn-ea"/>
                <a:cs typeface="+mn-cs"/>
              </a:endParaRPr>
            </a:p>
          </p:txBody>
        </p:sp>
        <p:sp>
          <p:nvSpPr>
            <p:cNvPr id="122" name="object 9"/>
            <p:cNvSpPr/>
            <p:nvPr/>
          </p:nvSpPr>
          <p:spPr>
            <a:xfrm>
              <a:off x="5003913" y="3239157"/>
              <a:ext cx="1667529" cy="3283422"/>
            </a:xfrm>
            <a:custGeom>
              <a:avLst/>
              <a:gdLst/>
              <a:ahLst/>
              <a:cxnLst/>
              <a:rect l="l" t="t" r="r" b="b"/>
              <a:pathLst>
                <a:path w="1394460" h="2745740">
                  <a:moveTo>
                    <a:pt x="1394460" y="0"/>
                  </a:moveTo>
                  <a:lnTo>
                    <a:pt x="1345504" y="830"/>
                  </a:lnTo>
                  <a:lnTo>
                    <a:pt x="1296973" y="3302"/>
                  </a:lnTo>
                  <a:lnTo>
                    <a:pt x="1248893" y="7389"/>
                  </a:lnTo>
                  <a:lnTo>
                    <a:pt x="1201291" y="13063"/>
                  </a:lnTo>
                  <a:lnTo>
                    <a:pt x="1154197" y="20299"/>
                  </a:lnTo>
                  <a:lnTo>
                    <a:pt x="1107637" y="29067"/>
                  </a:lnTo>
                  <a:lnTo>
                    <a:pt x="1061639" y="39341"/>
                  </a:lnTo>
                  <a:lnTo>
                    <a:pt x="1016230" y="51094"/>
                  </a:lnTo>
                  <a:lnTo>
                    <a:pt x="971439" y="64299"/>
                  </a:lnTo>
                  <a:lnTo>
                    <a:pt x="927293" y="78927"/>
                  </a:lnTo>
                  <a:lnTo>
                    <a:pt x="883819" y="94953"/>
                  </a:lnTo>
                  <a:lnTo>
                    <a:pt x="841046" y="112349"/>
                  </a:lnTo>
                  <a:lnTo>
                    <a:pt x="799000" y="131087"/>
                  </a:lnTo>
                  <a:lnTo>
                    <a:pt x="757710" y="151141"/>
                  </a:lnTo>
                  <a:lnTo>
                    <a:pt x="717204" y="172483"/>
                  </a:lnTo>
                  <a:lnTo>
                    <a:pt x="677508" y="195086"/>
                  </a:lnTo>
                  <a:lnTo>
                    <a:pt x="638651" y="218923"/>
                  </a:lnTo>
                  <a:lnTo>
                    <a:pt x="600659" y="243966"/>
                  </a:lnTo>
                  <a:lnTo>
                    <a:pt x="563562" y="270189"/>
                  </a:lnTo>
                  <a:lnTo>
                    <a:pt x="527386" y="297563"/>
                  </a:lnTo>
                  <a:lnTo>
                    <a:pt x="492160" y="326063"/>
                  </a:lnTo>
                  <a:lnTo>
                    <a:pt x="457910" y="355660"/>
                  </a:lnTo>
                  <a:lnTo>
                    <a:pt x="424664" y="386328"/>
                  </a:lnTo>
                  <a:lnTo>
                    <a:pt x="392451" y="418039"/>
                  </a:lnTo>
                  <a:lnTo>
                    <a:pt x="361297" y="450765"/>
                  </a:lnTo>
                  <a:lnTo>
                    <a:pt x="331231" y="484481"/>
                  </a:lnTo>
                  <a:lnTo>
                    <a:pt x="302280" y="519158"/>
                  </a:lnTo>
                  <a:lnTo>
                    <a:pt x="274471" y="554770"/>
                  </a:lnTo>
                  <a:lnTo>
                    <a:pt x="247833" y="591288"/>
                  </a:lnTo>
                  <a:lnTo>
                    <a:pt x="222393" y="628687"/>
                  </a:lnTo>
                  <a:lnTo>
                    <a:pt x="198178" y="666938"/>
                  </a:lnTo>
                  <a:lnTo>
                    <a:pt x="175217" y="706014"/>
                  </a:lnTo>
                  <a:lnTo>
                    <a:pt x="153537" y="745889"/>
                  </a:lnTo>
                  <a:lnTo>
                    <a:pt x="133165" y="786535"/>
                  </a:lnTo>
                  <a:lnTo>
                    <a:pt x="114130" y="827924"/>
                  </a:lnTo>
                  <a:lnTo>
                    <a:pt x="96458" y="870030"/>
                  </a:lnTo>
                  <a:lnTo>
                    <a:pt x="80178" y="912826"/>
                  </a:lnTo>
                  <a:lnTo>
                    <a:pt x="65318" y="956283"/>
                  </a:lnTo>
                  <a:lnTo>
                    <a:pt x="51904" y="1000376"/>
                  </a:lnTo>
                  <a:lnTo>
                    <a:pt x="39965" y="1045076"/>
                  </a:lnTo>
                  <a:lnTo>
                    <a:pt x="29528" y="1090356"/>
                  </a:lnTo>
                  <a:lnTo>
                    <a:pt x="20620" y="1136190"/>
                  </a:lnTo>
                  <a:lnTo>
                    <a:pt x="13271" y="1182550"/>
                  </a:lnTo>
                  <a:lnTo>
                    <a:pt x="7506" y="1229408"/>
                  </a:lnTo>
                  <a:lnTo>
                    <a:pt x="3354" y="1276738"/>
                  </a:lnTo>
                  <a:lnTo>
                    <a:pt x="843" y="1324513"/>
                  </a:lnTo>
                  <a:lnTo>
                    <a:pt x="0" y="1372704"/>
                  </a:lnTo>
                  <a:lnTo>
                    <a:pt x="843" y="1420896"/>
                  </a:lnTo>
                  <a:lnTo>
                    <a:pt x="3354" y="1468670"/>
                  </a:lnTo>
                  <a:lnTo>
                    <a:pt x="7506" y="1516001"/>
                  </a:lnTo>
                  <a:lnTo>
                    <a:pt x="13271" y="1562859"/>
                  </a:lnTo>
                  <a:lnTo>
                    <a:pt x="20620" y="1609219"/>
                  </a:lnTo>
                  <a:lnTo>
                    <a:pt x="29528" y="1655053"/>
                  </a:lnTo>
                  <a:lnTo>
                    <a:pt x="39965" y="1700333"/>
                  </a:lnTo>
                  <a:lnTo>
                    <a:pt x="51904" y="1745033"/>
                  </a:lnTo>
                  <a:lnTo>
                    <a:pt x="65318" y="1789126"/>
                  </a:lnTo>
                  <a:lnTo>
                    <a:pt x="80178" y="1832583"/>
                  </a:lnTo>
                  <a:lnTo>
                    <a:pt x="96458" y="1875378"/>
                  </a:lnTo>
                  <a:lnTo>
                    <a:pt x="114130" y="1917485"/>
                  </a:lnTo>
                  <a:lnTo>
                    <a:pt x="133165" y="1958874"/>
                  </a:lnTo>
                  <a:lnTo>
                    <a:pt x="153537" y="1999520"/>
                  </a:lnTo>
                  <a:lnTo>
                    <a:pt x="175217" y="2039395"/>
                  </a:lnTo>
                  <a:lnTo>
                    <a:pt x="198178" y="2078471"/>
                  </a:lnTo>
                  <a:lnTo>
                    <a:pt x="222393" y="2116722"/>
                  </a:lnTo>
                  <a:lnTo>
                    <a:pt x="247833" y="2154121"/>
                  </a:lnTo>
                  <a:lnTo>
                    <a:pt x="274471" y="2190639"/>
                  </a:lnTo>
                  <a:lnTo>
                    <a:pt x="302280" y="2226251"/>
                  </a:lnTo>
                  <a:lnTo>
                    <a:pt x="331231" y="2260928"/>
                  </a:lnTo>
                  <a:lnTo>
                    <a:pt x="361297" y="2294643"/>
                  </a:lnTo>
                  <a:lnTo>
                    <a:pt x="392451" y="2327370"/>
                  </a:lnTo>
                  <a:lnTo>
                    <a:pt x="424664" y="2359081"/>
                  </a:lnTo>
                  <a:lnTo>
                    <a:pt x="457910" y="2389749"/>
                  </a:lnTo>
                  <a:lnTo>
                    <a:pt x="492160" y="2419346"/>
                  </a:lnTo>
                  <a:lnTo>
                    <a:pt x="527386" y="2447845"/>
                  </a:lnTo>
                  <a:lnTo>
                    <a:pt x="563562" y="2475220"/>
                  </a:lnTo>
                  <a:lnTo>
                    <a:pt x="600659" y="2501443"/>
                  </a:lnTo>
                  <a:lnTo>
                    <a:pt x="638651" y="2526486"/>
                  </a:lnTo>
                  <a:lnTo>
                    <a:pt x="677508" y="2550323"/>
                  </a:lnTo>
                  <a:lnTo>
                    <a:pt x="717204" y="2572926"/>
                  </a:lnTo>
                  <a:lnTo>
                    <a:pt x="757710" y="2594268"/>
                  </a:lnTo>
                  <a:lnTo>
                    <a:pt x="799000" y="2614321"/>
                  </a:lnTo>
                  <a:lnTo>
                    <a:pt x="841046" y="2633060"/>
                  </a:lnTo>
                  <a:lnTo>
                    <a:pt x="883819" y="2650456"/>
                  </a:lnTo>
                  <a:lnTo>
                    <a:pt x="927293" y="2666481"/>
                  </a:lnTo>
                  <a:lnTo>
                    <a:pt x="971439" y="2681110"/>
                  </a:lnTo>
                  <a:lnTo>
                    <a:pt x="1016230" y="2694315"/>
                  </a:lnTo>
                  <a:lnTo>
                    <a:pt x="1061639" y="2706068"/>
                  </a:lnTo>
                  <a:lnTo>
                    <a:pt x="1107637" y="2716342"/>
                  </a:lnTo>
                  <a:lnTo>
                    <a:pt x="1154197" y="2725110"/>
                  </a:lnTo>
                  <a:lnTo>
                    <a:pt x="1201291" y="2732345"/>
                  </a:lnTo>
                  <a:lnTo>
                    <a:pt x="1248893" y="2738020"/>
                  </a:lnTo>
                  <a:lnTo>
                    <a:pt x="1296973" y="2742107"/>
                  </a:lnTo>
                  <a:lnTo>
                    <a:pt x="1345504" y="2744579"/>
                  </a:lnTo>
                  <a:lnTo>
                    <a:pt x="1394460" y="2745409"/>
                  </a:lnTo>
                  <a:lnTo>
                    <a:pt x="1394460" y="0"/>
                  </a:lnTo>
                  <a:close/>
                </a:path>
              </a:pathLst>
            </a:custGeom>
            <a:solidFill>
              <a:srgbClr val="F7DE3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dirty="0">
                <a:ln>
                  <a:noFill/>
                </a:ln>
                <a:solidFill>
                  <a:srgbClr val="000000"/>
                </a:solidFill>
                <a:effectLst/>
                <a:uLnTx/>
                <a:uFillTx/>
                <a:ea typeface="+mn-ea"/>
                <a:cs typeface="+mn-cs"/>
              </a:endParaRPr>
            </a:p>
          </p:txBody>
        </p:sp>
        <p:sp>
          <p:nvSpPr>
            <p:cNvPr id="123" name="object 10"/>
            <p:cNvSpPr/>
            <p:nvPr/>
          </p:nvSpPr>
          <p:spPr>
            <a:xfrm>
              <a:off x="5468633" y="4153063"/>
              <a:ext cx="1199770" cy="2369167"/>
            </a:xfrm>
            <a:custGeom>
              <a:avLst/>
              <a:gdLst/>
              <a:ahLst/>
              <a:cxnLst/>
              <a:rect l="l" t="t" r="r" b="b"/>
              <a:pathLst>
                <a:path w="1003300" h="1981200">
                  <a:moveTo>
                    <a:pt x="1003300" y="0"/>
                  </a:moveTo>
                  <a:lnTo>
                    <a:pt x="954689" y="1142"/>
                  </a:lnTo>
                  <a:lnTo>
                    <a:pt x="906676" y="4534"/>
                  </a:lnTo>
                  <a:lnTo>
                    <a:pt x="859312" y="10124"/>
                  </a:lnTo>
                  <a:lnTo>
                    <a:pt x="812651" y="17861"/>
                  </a:lnTo>
                  <a:lnTo>
                    <a:pt x="766744" y="27692"/>
                  </a:lnTo>
                  <a:lnTo>
                    <a:pt x="721645" y="39565"/>
                  </a:lnTo>
                  <a:lnTo>
                    <a:pt x="677405" y="53429"/>
                  </a:lnTo>
                  <a:lnTo>
                    <a:pt x="634078" y="69232"/>
                  </a:lnTo>
                  <a:lnTo>
                    <a:pt x="591715" y="86921"/>
                  </a:lnTo>
                  <a:lnTo>
                    <a:pt x="550370" y="106445"/>
                  </a:lnTo>
                  <a:lnTo>
                    <a:pt x="510096" y="127753"/>
                  </a:lnTo>
                  <a:lnTo>
                    <a:pt x="470943" y="150791"/>
                  </a:lnTo>
                  <a:lnTo>
                    <a:pt x="432966" y="175508"/>
                  </a:lnTo>
                  <a:lnTo>
                    <a:pt x="396217" y="201853"/>
                  </a:lnTo>
                  <a:lnTo>
                    <a:pt x="360748" y="229773"/>
                  </a:lnTo>
                  <a:lnTo>
                    <a:pt x="326612" y="259217"/>
                  </a:lnTo>
                  <a:lnTo>
                    <a:pt x="293862" y="290133"/>
                  </a:lnTo>
                  <a:lnTo>
                    <a:pt x="262549" y="322468"/>
                  </a:lnTo>
                  <a:lnTo>
                    <a:pt x="232727" y="356171"/>
                  </a:lnTo>
                  <a:lnTo>
                    <a:pt x="204448" y="391190"/>
                  </a:lnTo>
                  <a:lnTo>
                    <a:pt x="177764" y="427473"/>
                  </a:lnTo>
                  <a:lnTo>
                    <a:pt x="152729" y="464968"/>
                  </a:lnTo>
                  <a:lnTo>
                    <a:pt x="129395" y="503624"/>
                  </a:lnTo>
                  <a:lnTo>
                    <a:pt x="107814" y="543388"/>
                  </a:lnTo>
                  <a:lnTo>
                    <a:pt x="88039" y="584208"/>
                  </a:lnTo>
                  <a:lnTo>
                    <a:pt x="70122" y="626033"/>
                  </a:lnTo>
                  <a:lnTo>
                    <a:pt x="54116" y="668811"/>
                  </a:lnTo>
                  <a:lnTo>
                    <a:pt x="40074" y="712490"/>
                  </a:lnTo>
                  <a:lnTo>
                    <a:pt x="28048" y="757017"/>
                  </a:lnTo>
                  <a:lnTo>
                    <a:pt x="18091" y="802342"/>
                  </a:lnTo>
                  <a:lnTo>
                    <a:pt x="10255" y="848412"/>
                  </a:lnTo>
                  <a:lnTo>
                    <a:pt x="4592" y="895175"/>
                  </a:lnTo>
                  <a:lnTo>
                    <a:pt x="1156" y="942580"/>
                  </a:lnTo>
                  <a:lnTo>
                    <a:pt x="0" y="990574"/>
                  </a:lnTo>
                  <a:lnTo>
                    <a:pt x="1156" y="1038569"/>
                  </a:lnTo>
                  <a:lnTo>
                    <a:pt x="4592" y="1085975"/>
                  </a:lnTo>
                  <a:lnTo>
                    <a:pt x="10255" y="1132739"/>
                  </a:lnTo>
                  <a:lnTo>
                    <a:pt x="18091" y="1178810"/>
                  </a:lnTo>
                  <a:lnTo>
                    <a:pt x="28048" y="1224136"/>
                  </a:lnTo>
                  <a:lnTo>
                    <a:pt x="40074" y="1268664"/>
                  </a:lnTo>
                  <a:lnTo>
                    <a:pt x="54116" y="1312343"/>
                  </a:lnTo>
                  <a:lnTo>
                    <a:pt x="70122" y="1355122"/>
                  </a:lnTo>
                  <a:lnTo>
                    <a:pt x="88039" y="1396948"/>
                  </a:lnTo>
                  <a:lnTo>
                    <a:pt x="107814" y="1437769"/>
                  </a:lnTo>
                  <a:lnTo>
                    <a:pt x="129395" y="1477533"/>
                  </a:lnTo>
                  <a:lnTo>
                    <a:pt x="152729" y="1516189"/>
                  </a:lnTo>
                  <a:lnTo>
                    <a:pt x="177764" y="1553685"/>
                  </a:lnTo>
                  <a:lnTo>
                    <a:pt x="204448" y="1589969"/>
                  </a:lnTo>
                  <a:lnTo>
                    <a:pt x="232727" y="1624988"/>
                  </a:lnTo>
                  <a:lnTo>
                    <a:pt x="262549" y="1658691"/>
                  </a:lnTo>
                  <a:lnTo>
                    <a:pt x="293862" y="1691027"/>
                  </a:lnTo>
                  <a:lnTo>
                    <a:pt x="326612" y="1721942"/>
                  </a:lnTo>
                  <a:lnTo>
                    <a:pt x="360748" y="1751386"/>
                  </a:lnTo>
                  <a:lnTo>
                    <a:pt x="396217" y="1779307"/>
                  </a:lnTo>
                  <a:lnTo>
                    <a:pt x="432966" y="1805652"/>
                  </a:lnTo>
                  <a:lnTo>
                    <a:pt x="470943" y="1830369"/>
                  </a:lnTo>
                  <a:lnTo>
                    <a:pt x="510096" y="1853408"/>
                  </a:lnTo>
                  <a:lnTo>
                    <a:pt x="550370" y="1874715"/>
                  </a:lnTo>
                  <a:lnTo>
                    <a:pt x="591715" y="1894239"/>
                  </a:lnTo>
                  <a:lnTo>
                    <a:pt x="634078" y="1911929"/>
                  </a:lnTo>
                  <a:lnTo>
                    <a:pt x="677405" y="1927731"/>
                  </a:lnTo>
                  <a:lnTo>
                    <a:pt x="721645" y="1941595"/>
                  </a:lnTo>
                  <a:lnTo>
                    <a:pt x="766744" y="1953469"/>
                  </a:lnTo>
                  <a:lnTo>
                    <a:pt x="812651" y="1963300"/>
                  </a:lnTo>
                  <a:lnTo>
                    <a:pt x="859312" y="1971036"/>
                  </a:lnTo>
                  <a:lnTo>
                    <a:pt x="906676" y="1976627"/>
                  </a:lnTo>
                  <a:lnTo>
                    <a:pt x="954689" y="1980019"/>
                  </a:lnTo>
                  <a:lnTo>
                    <a:pt x="1003300" y="1981161"/>
                  </a:lnTo>
                  <a:lnTo>
                    <a:pt x="1003300" y="0"/>
                  </a:lnTo>
                  <a:close/>
                </a:path>
              </a:pathLst>
            </a:custGeom>
            <a:solidFill>
              <a:srgbClr val="FFC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dirty="0">
                <a:ln>
                  <a:noFill/>
                </a:ln>
                <a:solidFill>
                  <a:srgbClr val="000000"/>
                </a:solidFill>
                <a:effectLst/>
                <a:uLnTx/>
                <a:uFillTx/>
                <a:ea typeface="+mn-ea"/>
                <a:cs typeface="+mn-cs"/>
              </a:endParaRPr>
            </a:p>
          </p:txBody>
        </p:sp>
        <p:sp>
          <p:nvSpPr>
            <p:cNvPr id="124" name="object 52"/>
            <p:cNvSpPr/>
            <p:nvPr/>
          </p:nvSpPr>
          <p:spPr>
            <a:xfrm>
              <a:off x="5939004" y="5136692"/>
              <a:ext cx="732771" cy="1385811"/>
            </a:xfrm>
            <a:custGeom>
              <a:avLst/>
              <a:gdLst/>
              <a:ahLst/>
              <a:cxnLst/>
              <a:rect l="l" t="t" r="r" b="b"/>
              <a:pathLst>
                <a:path w="612775" h="1158875">
                  <a:moveTo>
                    <a:pt x="612495" y="0"/>
                  </a:moveTo>
                  <a:lnTo>
                    <a:pt x="562260" y="1920"/>
                  </a:lnTo>
                  <a:lnTo>
                    <a:pt x="513144" y="7582"/>
                  </a:lnTo>
                  <a:lnTo>
                    <a:pt x="465304" y="16835"/>
                  </a:lnTo>
                  <a:lnTo>
                    <a:pt x="418897" y="29532"/>
                  </a:lnTo>
                  <a:lnTo>
                    <a:pt x="374082" y="45524"/>
                  </a:lnTo>
                  <a:lnTo>
                    <a:pt x="331016" y="64660"/>
                  </a:lnTo>
                  <a:lnTo>
                    <a:pt x="289856" y="86792"/>
                  </a:lnTo>
                  <a:lnTo>
                    <a:pt x="250761" y="111771"/>
                  </a:lnTo>
                  <a:lnTo>
                    <a:pt x="213887" y="139448"/>
                  </a:lnTo>
                  <a:lnTo>
                    <a:pt x="179393" y="169673"/>
                  </a:lnTo>
                  <a:lnTo>
                    <a:pt x="147436" y="202298"/>
                  </a:lnTo>
                  <a:lnTo>
                    <a:pt x="118174" y="237174"/>
                  </a:lnTo>
                  <a:lnTo>
                    <a:pt x="91764" y="274151"/>
                  </a:lnTo>
                  <a:lnTo>
                    <a:pt x="68364" y="313080"/>
                  </a:lnTo>
                  <a:lnTo>
                    <a:pt x="48132" y="353813"/>
                  </a:lnTo>
                  <a:lnTo>
                    <a:pt x="31224" y="396200"/>
                  </a:lnTo>
                  <a:lnTo>
                    <a:pt x="17800" y="440093"/>
                  </a:lnTo>
                  <a:lnTo>
                    <a:pt x="8016" y="485341"/>
                  </a:lnTo>
                  <a:lnTo>
                    <a:pt x="2030" y="531797"/>
                  </a:lnTo>
                  <a:lnTo>
                    <a:pt x="0" y="579310"/>
                  </a:lnTo>
                  <a:lnTo>
                    <a:pt x="2030" y="626822"/>
                  </a:lnTo>
                  <a:lnTo>
                    <a:pt x="8016" y="673275"/>
                  </a:lnTo>
                  <a:lnTo>
                    <a:pt x="17800" y="718522"/>
                  </a:lnTo>
                  <a:lnTo>
                    <a:pt x="31224" y="762413"/>
                  </a:lnTo>
                  <a:lnTo>
                    <a:pt x="48132" y="804799"/>
                  </a:lnTo>
                  <a:lnTo>
                    <a:pt x="68364" y="845531"/>
                  </a:lnTo>
                  <a:lnTo>
                    <a:pt x="91764" y="884460"/>
                  </a:lnTo>
                  <a:lnTo>
                    <a:pt x="118174" y="921436"/>
                  </a:lnTo>
                  <a:lnTo>
                    <a:pt x="147436" y="956311"/>
                  </a:lnTo>
                  <a:lnTo>
                    <a:pt x="179393" y="988936"/>
                  </a:lnTo>
                  <a:lnTo>
                    <a:pt x="213887" y="1019161"/>
                  </a:lnTo>
                  <a:lnTo>
                    <a:pt x="250761" y="1046837"/>
                  </a:lnTo>
                  <a:lnTo>
                    <a:pt x="289856" y="1071816"/>
                  </a:lnTo>
                  <a:lnTo>
                    <a:pt x="331016" y="1093948"/>
                  </a:lnTo>
                  <a:lnTo>
                    <a:pt x="374082" y="1113084"/>
                  </a:lnTo>
                  <a:lnTo>
                    <a:pt x="418897" y="1129075"/>
                  </a:lnTo>
                  <a:lnTo>
                    <a:pt x="465304" y="1141772"/>
                  </a:lnTo>
                  <a:lnTo>
                    <a:pt x="513144" y="1151026"/>
                  </a:lnTo>
                  <a:lnTo>
                    <a:pt x="562260" y="1156687"/>
                  </a:lnTo>
                  <a:lnTo>
                    <a:pt x="612495" y="1158608"/>
                  </a:lnTo>
                  <a:lnTo>
                    <a:pt x="612495" y="0"/>
                  </a:lnTo>
                  <a:close/>
                </a:path>
              </a:pathLst>
            </a:custGeom>
            <a:solidFill>
              <a:srgbClr val="E2AC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dirty="0">
                <a:ln>
                  <a:noFill/>
                </a:ln>
                <a:solidFill>
                  <a:srgbClr val="000000"/>
                </a:solidFill>
                <a:effectLst/>
                <a:uLnTx/>
                <a:uFillTx/>
                <a:ea typeface="+mn-ea"/>
                <a:cs typeface="+mn-cs"/>
              </a:endParaRPr>
            </a:p>
          </p:txBody>
        </p:sp>
      </p:grpSp>
      <p:sp>
        <p:nvSpPr>
          <p:cNvPr id="125" name="object 29"/>
          <p:cNvSpPr txBox="1"/>
          <p:nvPr/>
        </p:nvSpPr>
        <p:spPr>
          <a:xfrm>
            <a:off x="2741137" y="2759794"/>
            <a:ext cx="1009386" cy="255839"/>
          </a:xfrm>
          <a:prstGeom prst="rect">
            <a:avLst/>
          </a:prstGeom>
          <a:solidFill>
            <a:srgbClr val="F7DE39"/>
          </a:solidFill>
        </p:spPr>
        <p:txBody>
          <a:bodyPr vert="horz" wrap="square" lIns="0" tIns="9144" rIns="0" bIns="0" rtlCol="0">
            <a:spAutoFit/>
          </a:bodyPr>
          <a:lstStyle/>
          <a:p>
            <a:pPr marL="0" marR="0" lvl="0" indent="0" algn="ctr" defTabSz="914400" rtl="0" eaLnBrk="1" fontAlgn="auto" latinLnBrk="0" hangingPunct="1">
              <a:lnSpc>
                <a:spcPct val="100000"/>
              </a:lnSpc>
              <a:spcBef>
                <a:spcPts val="75"/>
              </a:spcBef>
              <a:spcAft>
                <a:spcPts val="0"/>
              </a:spcAft>
              <a:buClrTx/>
              <a:buSzTx/>
              <a:buFontTx/>
              <a:buNone/>
              <a:tabLst/>
              <a:defRPr/>
            </a:pPr>
            <a:r>
              <a:rPr kumimoji="0" sz="1600" b="1" i="0" u="none" strike="noStrike" kern="0" cap="none" spc="20" normalizeH="0" baseline="0" noProof="0" dirty="0">
                <a:ln>
                  <a:noFill/>
                </a:ln>
                <a:solidFill>
                  <a:srgbClr val="000000"/>
                </a:solidFill>
                <a:effectLst/>
                <a:uLnTx/>
                <a:uFillTx/>
                <a:ea typeface="+mn-ea"/>
                <a:cs typeface="Trebuchet MS"/>
              </a:rPr>
              <a:t>$</a:t>
            </a:r>
            <a:r>
              <a:rPr kumimoji="0" lang="en-US" sz="1600" b="1" i="0" u="none" strike="noStrike" kern="0" cap="none" spc="20" normalizeH="0" baseline="0" noProof="0" dirty="0">
                <a:ln>
                  <a:noFill/>
                </a:ln>
                <a:solidFill>
                  <a:srgbClr val="000000"/>
                </a:solidFill>
                <a:effectLst/>
                <a:uLnTx/>
                <a:uFillTx/>
                <a:ea typeface="+mn-ea"/>
                <a:cs typeface="Trebuchet MS"/>
              </a:rPr>
              <a:t>35</a:t>
            </a:r>
            <a:r>
              <a:rPr kumimoji="0" sz="1600" b="1" i="0" u="none" strike="noStrike" kern="0" cap="none" spc="20" normalizeH="0" baseline="0" noProof="0" dirty="0">
                <a:ln>
                  <a:noFill/>
                </a:ln>
                <a:solidFill>
                  <a:srgbClr val="000000"/>
                </a:solidFill>
                <a:effectLst/>
                <a:uLnTx/>
                <a:uFillTx/>
                <a:ea typeface="+mn-ea"/>
                <a:cs typeface="Trebuchet MS"/>
              </a:rPr>
              <a:t>B</a:t>
            </a:r>
            <a:endParaRPr kumimoji="0" sz="1600" b="0" i="0" u="none" strike="noStrike" kern="0" cap="none" spc="0" normalizeH="0" baseline="0" noProof="0" dirty="0">
              <a:ln>
                <a:noFill/>
              </a:ln>
              <a:solidFill>
                <a:srgbClr val="000000"/>
              </a:solidFill>
              <a:effectLst/>
              <a:uLnTx/>
              <a:uFillTx/>
              <a:ea typeface="+mn-ea"/>
              <a:cs typeface="Trebuchet MS"/>
            </a:endParaRPr>
          </a:p>
        </p:txBody>
      </p:sp>
      <p:sp>
        <p:nvSpPr>
          <p:cNvPr id="126" name="object 29"/>
          <p:cNvSpPr txBox="1"/>
          <p:nvPr/>
        </p:nvSpPr>
        <p:spPr>
          <a:xfrm>
            <a:off x="2741137" y="3183447"/>
            <a:ext cx="1009386" cy="255839"/>
          </a:xfrm>
          <a:prstGeom prst="rect">
            <a:avLst/>
          </a:prstGeom>
          <a:solidFill>
            <a:srgbClr val="FFC000"/>
          </a:solidFill>
        </p:spPr>
        <p:txBody>
          <a:bodyPr vert="horz" wrap="square" lIns="0" tIns="9525" rIns="0" bIns="0" rtlCol="0">
            <a:spAutoFit/>
          </a:bodyPr>
          <a:lstStyle/>
          <a:p>
            <a:pPr marL="0" marR="0" lvl="0" indent="0" algn="ctr" defTabSz="914400" rtl="0" eaLnBrk="1" fontAlgn="auto" latinLnBrk="0" hangingPunct="1">
              <a:lnSpc>
                <a:spcPct val="100000"/>
              </a:lnSpc>
              <a:spcBef>
                <a:spcPts val="75"/>
              </a:spcBef>
              <a:spcAft>
                <a:spcPts val="0"/>
              </a:spcAft>
              <a:buClrTx/>
              <a:buSzTx/>
              <a:buFontTx/>
              <a:buNone/>
              <a:tabLst/>
              <a:defRPr/>
            </a:pPr>
            <a:r>
              <a:rPr kumimoji="0" sz="1600" b="1" i="0" u="none" strike="noStrike" kern="0" cap="none" spc="20" normalizeH="0" baseline="0" noProof="0" dirty="0">
                <a:ln>
                  <a:noFill/>
                </a:ln>
                <a:solidFill>
                  <a:srgbClr val="000000"/>
                </a:solidFill>
                <a:effectLst/>
                <a:uLnTx/>
                <a:uFillTx/>
                <a:ea typeface="+mn-ea"/>
                <a:cs typeface="Trebuchet MS"/>
              </a:rPr>
              <a:t>$</a:t>
            </a:r>
            <a:r>
              <a:rPr kumimoji="0" lang="en-US" sz="1600" b="1" i="0" u="none" strike="noStrike" kern="0" cap="none" spc="20" normalizeH="0" baseline="0" noProof="0" dirty="0">
                <a:ln>
                  <a:noFill/>
                </a:ln>
                <a:solidFill>
                  <a:srgbClr val="000000"/>
                </a:solidFill>
                <a:effectLst/>
                <a:uLnTx/>
                <a:uFillTx/>
                <a:ea typeface="+mn-ea"/>
                <a:cs typeface="Trebuchet MS"/>
              </a:rPr>
              <a:t>25</a:t>
            </a:r>
            <a:r>
              <a:rPr kumimoji="0" sz="1600" b="1" i="0" u="none" strike="noStrike" kern="0" cap="none" spc="20" normalizeH="0" baseline="0" noProof="0" dirty="0">
                <a:ln>
                  <a:noFill/>
                </a:ln>
                <a:solidFill>
                  <a:srgbClr val="000000"/>
                </a:solidFill>
                <a:effectLst/>
                <a:uLnTx/>
                <a:uFillTx/>
                <a:ea typeface="+mn-ea"/>
                <a:cs typeface="Trebuchet MS"/>
              </a:rPr>
              <a:t>B</a:t>
            </a:r>
            <a:endParaRPr kumimoji="0" sz="1600" b="0" i="0" u="none" strike="noStrike" kern="0" cap="none" spc="0" normalizeH="0" baseline="0" noProof="0" dirty="0">
              <a:ln>
                <a:noFill/>
              </a:ln>
              <a:solidFill>
                <a:srgbClr val="000000"/>
              </a:solidFill>
              <a:effectLst/>
              <a:uLnTx/>
              <a:uFillTx/>
              <a:ea typeface="+mn-ea"/>
              <a:cs typeface="Trebuchet MS"/>
            </a:endParaRPr>
          </a:p>
        </p:txBody>
      </p:sp>
      <p:sp>
        <p:nvSpPr>
          <p:cNvPr id="127" name="object 29"/>
          <p:cNvSpPr txBox="1"/>
          <p:nvPr/>
        </p:nvSpPr>
        <p:spPr>
          <a:xfrm>
            <a:off x="2741137" y="2336141"/>
            <a:ext cx="1009386" cy="255839"/>
          </a:xfrm>
          <a:prstGeom prst="rect">
            <a:avLst/>
          </a:prstGeom>
          <a:solidFill>
            <a:srgbClr val="FFF2CC"/>
          </a:solidFill>
        </p:spPr>
        <p:txBody>
          <a:bodyPr vert="horz" wrap="square" lIns="0" tIns="9525" rIns="0" bIns="0" rtlCol="0">
            <a:spAutoFit/>
          </a:bodyPr>
          <a:lstStyle/>
          <a:p>
            <a:pPr marL="168275" marR="0" lvl="0" indent="0" algn="l" defTabSz="914400" rtl="0" eaLnBrk="1" fontAlgn="auto" latinLnBrk="0" hangingPunct="1">
              <a:lnSpc>
                <a:spcPct val="100000"/>
              </a:lnSpc>
              <a:spcBef>
                <a:spcPts val="75"/>
              </a:spcBef>
              <a:spcAft>
                <a:spcPts val="0"/>
              </a:spcAft>
              <a:buClrTx/>
              <a:buSzTx/>
              <a:buFontTx/>
              <a:buNone/>
              <a:tabLst/>
              <a:defRPr/>
            </a:pPr>
            <a:r>
              <a:rPr kumimoji="0" sz="1600" b="1" i="0" u="none" strike="noStrike" kern="0" cap="none" spc="20" normalizeH="0" baseline="0" noProof="0" dirty="0">
                <a:ln>
                  <a:noFill/>
                </a:ln>
                <a:solidFill>
                  <a:prstClr val="black"/>
                </a:solidFill>
                <a:effectLst/>
                <a:uLnTx/>
                <a:uFillTx/>
                <a:ea typeface="+mn-ea"/>
                <a:cs typeface="Trebuchet MS"/>
              </a:rPr>
              <a:t>$</a:t>
            </a:r>
            <a:r>
              <a:rPr kumimoji="0" lang="en-US" sz="1600" b="1" i="0" u="none" strike="noStrike" kern="0" cap="none" spc="20" normalizeH="0" baseline="0" noProof="0" dirty="0">
                <a:ln>
                  <a:noFill/>
                </a:ln>
                <a:solidFill>
                  <a:prstClr val="black"/>
                </a:solidFill>
                <a:effectLst/>
                <a:uLnTx/>
                <a:uFillTx/>
                <a:ea typeface="+mn-ea"/>
                <a:cs typeface="Trebuchet MS"/>
              </a:rPr>
              <a:t>138</a:t>
            </a:r>
            <a:r>
              <a:rPr kumimoji="0" sz="1600" b="1" i="0" u="none" strike="noStrike" kern="0" cap="none" spc="20" normalizeH="0" baseline="0" noProof="0" dirty="0">
                <a:ln>
                  <a:noFill/>
                </a:ln>
                <a:solidFill>
                  <a:prstClr val="black"/>
                </a:solidFill>
                <a:effectLst/>
                <a:uLnTx/>
                <a:uFillTx/>
                <a:ea typeface="+mn-ea"/>
                <a:cs typeface="Trebuchet MS"/>
              </a:rPr>
              <a:t>B</a:t>
            </a:r>
            <a:endParaRPr kumimoji="0" sz="1600" b="0" i="0" u="none" strike="noStrike" kern="0" cap="none" spc="0" normalizeH="0" baseline="0" noProof="0" dirty="0">
              <a:ln>
                <a:noFill/>
              </a:ln>
              <a:solidFill>
                <a:prstClr val="black"/>
              </a:solidFill>
              <a:effectLst/>
              <a:uLnTx/>
              <a:uFillTx/>
              <a:ea typeface="+mn-ea"/>
              <a:cs typeface="Trebuchet MS"/>
            </a:endParaRPr>
          </a:p>
        </p:txBody>
      </p:sp>
      <p:sp>
        <p:nvSpPr>
          <p:cNvPr id="128" name="TextBox 127"/>
          <p:cNvSpPr txBox="1"/>
          <p:nvPr/>
        </p:nvSpPr>
        <p:spPr>
          <a:xfrm>
            <a:off x="3750523" y="2779990"/>
            <a:ext cx="1791812"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ea typeface="+mn-ea"/>
                <a:cs typeface="+mn-cs"/>
              </a:rPr>
              <a:t>RETAIL – D2C &amp; ONLINE</a:t>
            </a:r>
          </a:p>
        </p:txBody>
      </p:sp>
      <p:sp>
        <p:nvSpPr>
          <p:cNvPr id="129" name="object 29"/>
          <p:cNvSpPr txBox="1"/>
          <p:nvPr/>
        </p:nvSpPr>
        <p:spPr>
          <a:xfrm>
            <a:off x="2741137" y="3673093"/>
            <a:ext cx="1009386" cy="255839"/>
          </a:xfrm>
          <a:prstGeom prst="rect">
            <a:avLst/>
          </a:prstGeom>
          <a:solidFill>
            <a:srgbClr val="E2AC00"/>
          </a:solidFill>
        </p:spPr>
        <p:txBody>
          <a:bodyPr vert="horz" wrap="square" lIns="0" tIns="9525" rIns="0" bIns="0" rtlCol="0">
            <a:spAutoFit/>
          </a:bodyPr>
          <a:lstStyle/>
          <a:p>
            <a:pPr marL="0" marR="0" lvl="0" indent="0" algn="ctr" defTabSz="914400" rtl="0" eaLnBrk="1" fontAlgn="auto" latinLnBrk="0" hangingPunct="1">
              <a:lnSpc>
                <a:spcPct val="100000"/>
              </a:lnSpc>
              <a:spcBef>
                <a:spcPts val="75"/>
              </a:spcBef>
              <a:spcAft>
                <a:spcPts val="0"/>
              </a:spcAft>
              <a:buClrTx/>
              <a:buSzTx/>
              <a:buFontTx/>
              <a:buNone/>
              <a:tabLst/>
              <a:defRPr/>
            </a:pPr>
            <a:r>
              <a:rPr kumimoji="0" sz="1600" b="1" i="0" u="none" strike="noStrike" kern="0" cap="none" spc="20" normalizeH="0" baseline="0" noProof="0" dirty="0">
                <a:ln>
                  <a:noFill/>
                </a:ln>
                <a:solidFill>
                  <a:prstClr val="black"/>
                </a:solidFill>
                <a:effectLst/>
                <a:uLnTx/>
                <a:uFillTx/>
                <a:ea typeface="+mn-ea"/>
                <a:cs typeface="Trebuchet MS"/>
              </a:rPr>
              <a:t>$</a:t>
            </a:r>
            <a:r>
              <a:rPr kumimoji="0" lang="en-US" sz="1600" b="1" i="0" u="none" strike="noStrike" kern="0" cap="none" spc="20" normalizeH="0" baseline="0" noProof="0" dirty="0">
                <a:ln>
                  <a:noFill/>
                </a:ln>
                <a:solidFill>
                  <a:prstClr val="black"/>
                </a:solidFill>
                <a:effectLst/>
                <a:uLnTx/>
                <a:uFillTx/>
                <a:ea typeface="+mn-ea"/>
                <a:cs typeface="Trebuchet MS"/>
              </a:rPr>
              <a:t>10</a:t>
            </a:r>
            <a:r>
              <a:rPr kumimoji="0" sz="1600" b="1" i="0" u="none" strike="noStrike" kern="0" cap="none" spc="20" normalizeH="0" baseline="0" noProof="0" dirty="0">
                <a:ln>
                  <a:noFill/>
                </a:ln>
                <a:solidFill>
                  <a:prstClr val="black"/>
                </a:solidFill>
                <a:effectLst/>
                <a:uLnTx/>
                <a:uFillTx/>
                <a:ea typeface="+mn-ea"/>
                <a:cs typeface="Trebuchet MS"/>
              </a:rPr>
              <a:t>B</a:t>
            </a:r>
            <a:endParaRPr kumimoji="0" sz="1600" b="0" i="0" u="none" strike="noStrike" kern="0" cap="none" spc="0" normalizeH="0" baseline="0" noProof="0" dirty="0">
              <a:ln>
                <a:noFill/>
              </a:ln>
              <a:solidFill>
                <a:prstClr val="black"/>
              </a:solidFill>
              <a:effectLst/>
              <a:uLnTx/>
              <a:uFillTx/>
              <a:ea typeface="+mn-ea"/>
              <a:cs typeface="Trebuchet MS"/>
            </a:endParaRPr>
          </a:p>
        </p:txBody>
      </p:sp>
      <p:grpSp>
        <p:nvGrpSpPr>
          <p:cNvPr id="130" name="Group 129"/>
          <p:cNvGrpSpPr/>
          <p:nvPr/>
        </p:nvGrpSpPr>
        <p:grpSpPr>
          <a:xfrm>
            <a:off x="1007206" y="2448765"/>
            <a:ext cx="1490608" cy="1426950"/>
            <a:chOff x="1133666" y="2156935"/>
            <a:chExt cx="1490608" cy="1426950"/>
          </a:xfrm>
        </p:grpSpPr>
        <p:grpSp>
          <p:nvGrpSpPr>
            <p:cNvPr id="131" name="Group 130"/>
            <p:cNvGrpSpPr/>
            <p:nvPr/>
          </p:nvGrpSpPr>
          <p:grpSpPr>
            <a:xfrm>
              <a:off x="1197170" y="2156935"/>
              <a:ext cx="1280465" cy="200055"/>
              <a:chOff x="385447" y="2472204"/>
              <a:chExt cx="1280465" cy="200055"/>
            </a:xfrm>
          </p:grpSpPr>
          <p:cxnSp>
            <p:nvCxnSpPr>
              <p:cNvPr id="141" name="Straight Connector 140"/>
              <p:cNvCxnSpPr/>
              <p:nvPr/>
            </p:nvCxnSpPr>
            <p:spPr>
              <a:xfrm>
                <a:off x="996914" y="2551153"/>
                <a:ext cx="668998"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2" name="TextBox 141"/>
              <p:cNvSpPr txBox="1"/>
              <p:nvPr/>
            </p:nvSpPr>
            <p:spPr>
              <a:xfrm>
                <a:off x="385447" y="2472204"/>
                <a:ext cx="642404" cy="20005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ea typeface="+mn-ea"/>
                    <a:cs typeface="+mn-cs"/>
                  </a:rPr>
                  <a:t>TAM </a:t>
                </a:r>
              </a:p>
            </p:txBody>
          </p:sp>
        </p:grpSp>
        <p:grpSp>
          <p:nvGrpSpPr>
            <p:cNvPr id="132" name="Group 131"/>
            <p:cNvGrpSpPr/>
            <p:nvPr/>
          </p:nvGrpSpPr>
          <p:grpSpPr>
            <a:xfrm>
              <a:off x="1133666" y="2543460"/>
              <a:ext cx="1344375" cy="200055"/>
              <a:chOff x="321537" y="2472204"/>
              <a:chExt cx="1344375" cy="200055"/>
            </a:xfrm>
          </p:grpSpPr>
          <p:cxnSp>
            <p:nvCxnSpPr>
              <p:cNvPr id="139" name="Straight Connector 138"/>
              <p:cNvCxnSpPr/>
              <p:nvPr/>
            </p:nvCxnSpPr>
            <p:spPr>
              <a:xfrm>
                <a:off x="996914" y="2551153"/>
                <a:ext cx="668998"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0" name="TextBox 139"/>
              <p:cNvSpPr txBox="1"/>
              <p:nvPr/>
            </p:nvSpPr>
            <p:spPr>
              <a:xfrm>
                <a:off x="321537" y="2472204"/>
                <a:ext cx="706314" cy="20005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ea typeface="+mn-ea"/>
                    <a:cs typeface="+mn-cs"/>
                  </a:rPr>
                  <a:t>CHANNEL </a:t>
                </a:r>
              </a:p>
            </p:txBody>
          </p:sp>
        </p:grpSp>
        <p:grpSp>
          <p:nvGrpSpPr>
            <p:cNvPr id="133" name="Group 132"/>
            <p:cNvGrpSpPr/>
            <p:nvPr/>
          </p:nvGrpSpPr>
          <p:grpSpPr>
            <a:xfrm>
              <a:off x="1141302" y="3022494"/>
              <a:ext cx="1344375" cy="200055"/>
              <a:chOff x="321537" y="2472204"/>
              <a:chExt cx="1344375" cy="200055"/>
            </a:xfrm>
          </p:grpSpPr>
          <p:cxnSp>
            <p:nvCxnSpPr>
              <p:cNvPr id="137" name="Straight Connector 136"/>
              <p:cNvCxnSpPr/>
              <p:nvPr/>
            </p:nvCxnSpPr>
            <p:spPr>
              <a:xfrm>
                <a:off x="996914" y="2551153"/>
                <a:ext cx="668998"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8" name="TextBox 137"/>
              <p:cNvSpPr txBox="1"/>
              <p:nvPr/>
            </p:nvSpPr>
            <p:spPr>
              <a:xfrm>
                <a:off x="321537" y="2472204"/>
                <a:ext cx="706314" cy="20005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ea typeface="+mn-ea"/>
                    <a:cs typeface="+mn-cs"/>
                  </a:rPr>
                  <a:t>REGION </a:t>
                </a:r>
              </a:p>
            </p:txBody>
          </p:sp>
        </p:grpSp>
        <p:grpSp>
          <p:nvGrpSpPr>
            <p:cNvPr id="134" name="Group 133"/>
            <p:cNvGrpSpPr/>
            <p:nvPr/>
          </p:nvGrpSpPr>
          <p:grpSpPr>
            <a:xfrm>
              <a:off x="1279899" y="3383830"/>
              <a:ext cx="1344375" cy="200055"/>
              <a:chOff x="321537" y="2472204"/>
              <a:chExt cx="1344375" cy="200055"/>
            </a:xfrm>
          </p:grpSpPr>
          <p:cxnSp>
            <p:nvCxnSpPr>
              <p:cNvPr id="135" name="Straight Connector 134"/>
              <p:cNvCxnSpPr/>
              <p:nvPr/>
            </p:nvCxnSpPr>
            <p:spPr>
              <a:xfrm>
                <a:off x="996914" y="2551153"/>
                <a:ext cx="668998"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6" name="TextBox 135"/>
              <p:cNvSpPr txBox="1"/>
              <p:nvPr/>
            </p:nvSpPr>
            <p:spPr>
              <a:xfrm>
                <a:off x="321537" y="2472204"/>
                <a:ext cx="706314" cy="20005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ea typeface="+mn-ea"/>
                    <a:cs typeface="+mn-cs"/>
                  </a:rPr>
                  <a:t>CATEGORY </a:t>
                </a:r>
              </a:p>
            </p:txBody>
          </p:sp>
        </p:grpSp>
      </p:grpSp>
      <p:sp>
        <p:nvSpPr>
          <p:cNvPr id="143" name="TextBox 142"/>
          <p:cNvSpPr txBox="1"/>
          <p:nvPr/>
        </p:nvSpPr>
        <p:spPr>
          <a:xfrm>
            <a:off x="3750523" y="3204581"/>
            <a:ext cx="1791812"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ea typeface="+mn-ea"/>
                <a:cs typeface="+mn-cs"/>
              </a:rPr>
              <a:t>REGIONS </a:t>
            </a:r>
          </a:p>
        </p:txBody>
      </p:sp>
      <p:sp>
        <p:nvSpPr>
          <p:cNvPr id="144" name="TextBox 143"/>
          <p:cNvSpPr txBox="1"/>
          <p:nvPr/>
        </p:nvSpPr>
        <p:spPr>
          <a:xfrm>
            <a:off x="3750523" y="3689167"/>
            <a:ext cx="2162482"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ea typeface="+mn-ea"/>
                <a:cs typeface="+mn-cs"/>
              </a:rPr>
              <a:t>NON SHELF-STABLE PRODUCTS</a:t>
            </a:r>
          </a:p>
        </p:txBody>
      </p:sp>
      <p:sp>
        <p:nvSpPr>
          <p:cNvPr id="145" name="object 29"/>
          <p:cNvSpPr txBox="1"/>
          <p:nvPr/>
        </p:nvSpPr>
        <p:spPr>
          <a:xfrm>
            <a:off x="2743002" y="4236424"/>
            <a:ext cx="1009386" cy="255839"/>
          </a:xfrm>
          <a:prstGeom prst="rect">
            <a:avLst/>
          </a:prstGeom>
          <a:solidFill>
            <a:schemeClr val="bg1">
              <a:lumMod val="85000"/>
            </a:schemeClr>
          </a:solidFill>
        </p:spPr>
        <p:txBody>
          <a:bodyPr vert="horz" wrap="square" lIns="0" tIns="9525" rIns="0" bIns="0" rtlCol="0">
            <a:spAutoFit/>
          </a:bodyPr>
          <a:lstStyle/>
          <a:p>
            <a:pPr marL="0" marR="0" lvl="0" indent="0" algn="ctr" defTabSz="914400" rtl="0" eaLnBrk="1" fontAlgn="auto" latinLnBrk="0" hangingPunct="1">
              <a:lnSpc>
                <a:spcPct val="100000"/>
              </a:lnSpc>
              <a:spcBef>
                <a:spcPts val="75"/>
              </a:spcBef>
              <a:spcAft>
                <a:spcPts val="0"/>
              </a:spcAft>
              <a:buClrTx/>
              <a:buSzTx/>
              <a:buFontTx/>
              <a:buNone/>
              <a:tabLst/>
              <a:defRPr/>
            </a:pPr>
            <a:r>
              <a:rPr kumimoji="0" sz="1600" b="1" i="0" u="none" strike="noStrike" kern="0" cap="none" spc="20" normalizeH="0" baseline="0" noProof="0" dirty="0">
                <a:ln>
                  <a:noFill/>
                </a:ln>
                <a:solidFill>
                  <a:prstClr val="black"/>
                </a:solidFill>
                <a:effectLst/>
                <a:uLnTx/>
                <a:uFillTx/>
                <a:ea typeface="+mn-ea"/>
                <a:cs typeface="Trebuchet MS"/>
              </a:rPr>
              <a:t>$</a:t>
            </a:r>
            <a:r>
              <a:rPr kumimoji="0" lang="en-US" sz="1600" b="1" i="0" u="none" strike="noStrike" kern="0" cap="none" spc="20" normalizeH="0" baseline="0" noProof="0" dirty="0">
                <a:ln>
                  <a:noFill/>
                </a:ln>
                <a:solidFill>
                  <a:prstClr val="black"/>
                </a:solidFill>
                <a:effectLst/>
                <a:uLnTx/>
                <a:uFillTx/>
                <a:ea typeface="+mn-ea"/>
                <a:cs typeface="Trebuchet MS"/>
              </a:rPr>
              <a:t>15M</a:t>
            </a:r>
            <a:endParaRPr kumimoji="0" sz="1600" b="0" i="0" u="none" strike="noStrike" kern="0" cap="none" spc="0" normalizeH="0" baseline="0" noProof="0" dirty="0">
              <a:ln>
                <a:noFill/>
              </a:ln>
              <a:solidFill>
                <a:prstClr val="black"/>
              </a:solidFill>
              <a:effectLst/>
              <a:uLnTx/>
              <a:uFillTx/>
              <a:ea typeface="+mn-ea"/>
              <a:cs typeface="Trebuchet MS"/>
            </a:endParaRPr>
          </a:p>
        </p:txBody>
      </p:sp>
      <p:sp>
        <p:nvSpPr>
          <p:cNvPr id="146" name="TextBox 145"/>
          <p:cNvSpPr txBox="1"/>
          <p:nvPr/>
        </p:nvSpPr>
        <p:spPr>
          <a:xfrm>
            <a:off x="3750523" y="4179677"/>
            <a:ext cx="179181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ea typeface="+mn-ea"/>
                <a:cs typeface="+mn-cs"/>
              </a:rPr>
              <a:t>3% MARKET CAP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ea typeface="+mn-ea"/>
                <a:cs typeface="+mn-cs"/>
              </a:rPr>
              <a:t>5% COMMISSION</a:t>
            </a:r>
          </a:p>
        </p:txBody>
      </p:sp>
      <p:sp>
        <p:nvSpPr>
          <p:cNvPr id="147" name="TextBox 146"/>
          <p:cNvSpPr txBox="1"/>
          <p:nvPr/>
        </p:nvSpPr>
        <p:spPr>
          <a:xfrm>
            <a:off x="823033" y="1781302"/>
            <a:ext cx="117539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SCENARIO 2</a:t>
            </a:r>
          </a:p>
        </p:txBody>
      </p:sp>
      <p:cxnSp>
        <p:nvCxnSpPr>
          <p:cNvPr id="148" name="Straight Connector 147"/>
          <p:cNvCxnSpPr/>
          <p:nvPr/>
        </p:nvCxnSpPr>
        <p:spPr>
          <a:xfrm>
            <a:off x="917690" y="4616031"/>
            <a:ext cx="471416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50" name="TextBox 149"/>
          <p:cNvSpPr txBox="1"/>
          <p:nvPr/>
        </p:nvSpPr>
        <p:spPr>
          <a:xfrm>
            <a:off x="7434949" y="1699517"/>
            <a:ext cx="3681099"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FULL SERVICE RESTAURANTS IN US EAST NORTH CENTRAL REGION, SHELF-STABLE PRODUCTS</a:t>
            </a:r>
          </a:p>
        </p:txBody>
      </p:sp>
      <p:grpSp>
        <p:nvGrpSpPr>
          <p:cNvPr id="151" name="Group 150"/>
          <p:cNvGrpSpPr/>
          <p:nvPr/>
        </p:nvGrpSpPr>
        <p:grpSpPr>
          <a:xfrm>
            <a:off x="6491402" y="2282384"/>
            <a:ext cx="4624645" cy="2272687"/>
            <a:chOff x="1236407" y="1880950"/>
            <a:chExt cx="4624645" cy="2272687"/>
          </a:xfrm>
        </p:grpSpPr>
        <p:sp>
          <p:nvSpPr>
            <p:cNvPr id="154" name="TextBox 153"/>
            <p:cNvSpPr txBox="1"/>
            <p:nvPr/>
          </p:nvSpPr>
          <p:spPr>
            <a:xfrm>
              <a:off x="3979724" y="1954759"/>
              <a:ext cx="1791812"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ea typeface="+mn-ea"/>
                  <a:cs typeface="+mn-cs"/>
                </a:rPr>
                <a:t>TOTAL ADDRESSABLE </a:t>
              </a:r>
            </a:p>
          </p:txBody>
        </p:sp>
        <p:grpSp>
          <p:nvGrpSpPr>
            <p:cNvPr id="155" name="Group 154"/>
            <p:cNvGrpSpPr/>
            <p:nvPr/>
          </p:nvGrpSpPr>
          <p:grpSpPr>
            <a:xfrm>
              <a:off x="1982489" y="1880950"/>
              <a:ext cx="920329" cy="1840540"/>
              <a:chOff x="4548304" y="2275909"/>
              <a:chExt cx="2123471" cy="4246670"/>
            </a:xfrm>
          </p:grpSpPr>
          <p:sp>
            <p:nvSpPr>
              <p:cNvPr id="177" name="object 8"/>
              <p:cNvSpPr/>
              <p:nvPr/>
            </p:nvSpPr>
            <p:spPr>
              <a:xfrm>
                <a:off x="4548304" y="2275909"/>
                <a:ext cx="2123138" cy="4246276"/>
              </a:xfrm>
              <a:custGeom>
                <a:avLst/>
                <a:gdLst/>
                <a:ahLst/>
                <a:cxnLst/>
                <a:rect l="l" t="t" r="r" b="b"/>
                <a:pathLst>
                  <a:path w="1775460" h="3550920">
                    <a:moveTo>
                      <a:pt x="1775460" y="0"/>
                    </a:moveTo>
                    <a:lnTo>
                      <a:pt x="1727388" y="638"/>
                    </a:lnTo>
                    <a:lnTo>
                      <a:pt x="1679632" y="2542"/>
                    </a:lnTo>
                    <a:lnTo>
                      <a:pt x="1632207" y="5695"/>
                    </a:lnTo>
                    <a:lnTo>
                      <a:pt x="1585130" y="10082"/>
                    </a:lnTo>
                    <a:lnTo>
                      <a:pt x="1538417" y="15686"/>
                    </a:lnTo>
                    <a:lnTo>
                      <a:pt x="1492084" y="22491"/>
                    </a:lnTo>
                    <a:lnTo>
                      <a:pt x="1446146" y="30482"/>
                    </a:lnTo>
                    <a:lnTo>
                      <a:pt x="1400621" y="39641"/>
                    </a:lnTo>
                    <a:lnTo>
                      <a:pt x="1355524" y="49953"/>
                    </a:lnTo>
                    <a:lnTo>
                      <a:pt x="1310871" y="61403"/>
                    </a:lnTo>
                    <a:lnTo>
                      <a:pt x="1266679" y="73972"/>
                    </a:lnTo>
                    <a:lnTo>
                      <a:pt x="1222963" y="87647"/>
                    </a:lnTo>
                    <a:lnTo>
                      <a:pt x="1179740" y="102410"/>
                    </a:lnTo>
                    <a:lnTo>
                      <a:pt x="1137026" y="118245"/>
                    </a:lnTo>
                    <a:lnTo>
                      <a:pt x="1094836" y="135137"/>
                    </a:lnTo>
                    <a:lnTo>
                      <a:pt x="1053187" y="153069"/>
                    </a:lnTo>
                    <a:lnTo>
                      <a:pt x="1012096" y="172025"/>
                    </a:lnTo>
                    <a:lnTo>
                      <a:pt x="971577" y="191988"/>
                    </a:lnTo>
                    <a:lnTo>
                      <a:pt x="931648" y="212944"/>
                    </a:lnTo>
                    <a:lnTo>
                      <a:pt x="892324" y="234876"/>
                    </a:lnTo>
                    <a:lnTo>
                      <a:pt x="853621" y="257767"/>
                    </a:lnTo>
                    <a:lnTo>
                      <a:pt x="815556" y="281601"/>
                    </a:lnTo>
                    <a:lnTo>
                      <a:pt x="778145" y="306364"/>
                    </a:lnTo>
                    <a:lnTo>
                      <a:pt x="741404" y="332037"/>
                    </a:lnTo>
                    <a:lnTo>
                      <a:pt x="705348" y="358606"/>
                    </a:lnTo>
                    <a:lnTo>
                      <a:pt x="669994" y="386054"/>
                    </a:lnTo>
                    <a:lnTo>
                      <a:pt x="635359" y="414365"/>
                    </a:lnTo>
                    <a:lnTo>
                      <a:pt x="601457" y="443523"/>
                    </a:lnTo>
                    <a:lnTo>
                      <a:pt x="568306" y="473511"/>
                    </a:lnTo>
                    <a:lnTo>
                      <a:pt x="535922" y="504315"/>
                    </a:lnTo>
                    <a:lnTo>
                      <a:pt x="504319" y="535917"/>
                    </a:lnTo>
                    <a:lnTo>
                      <a:pt x="473516" y="568301"/>
                    </a:lnTo>
                    <a:lnTo>
                      <a:pt x="443527" y="601452"/>
                    </a:lnTo>
                    <a:lnTo>
                      <a:pt x="414369" y="635353"/>
                    </a:lnTo>
                    <a:lnTo>
                      <a:pt x="386058" y="669989"/>
                    </a:lnTo>
                    <a:lnTo>
                      <a:pt x="358610" y="705343"/>
                    </a:lnTo>
                    <a:lnTo>
                      <a:pt x="332041" y="741398"/>
                    </a:lnTo>
                    <a:lnTo>
                      <a:pt x="306367" y="778140"/>
                    </a:lnTo>
                    <a:lnTo>
                      <a:pt x="281605" y="815551"/>
                    </a:lnTo>
                    <a:lnTo>
                      <a:pt x="257770" y="853616"/>
                    </a:lnTo>
                    <a:lnTo>
                      <a:pt x="234878" y="892318"/>
                    </a:lnTo>
                    <a:lnTo>
                      <a:pt x="212947" y="931642"/>
                    </a:lnTo>
                    <a:lnTo>
                      <a:pt x="191991" y="971572"/>
                    </a:lnTo>
                    <a:lnTo>
                      <a:pt x="172027" y="1012090"/>
                    </a:lnTo>
                    <a:lnTo>
                      <a:pt x="153071" y="1053182"/>
                    </a:lnTo>
                    <a:lnTo>
                      <a:pt x="135139" y="1094831"/>
                    </a:lnTo>
                    <a:lnTo>
                      <a:pt x="118247" y="1137021"/>
                    </a:lnTo>
                    <a:lnTo>
                      <a:pt x="102411" y="1179735"/>
                    </a:lnTo>
                    <a:lnTo>
                      <a:pt x="87648" y="1222959"/>
                    </a:lnTo>
                    <a:lnTo>
                      <a:pt x="73973" y="1266675"/>
                    </a:lnTo>
                    <a:lnTo>
                      <a:pt x="61403" y="1310867"/>
                    </a:lnTo>
                    <a:lnTo>
                      <a:pt x="49954" y="1355520"/>
                    </a:lnTo>
                    <a:lnTo>
                      <a:pt x="39642" y="1400617"/>
                    </a:lnTo>
                    <a:lnTo>
                      <a:pt x="30482" y="1446143"/>
                    </a:lnTo>
                    <a:lnTo>
                      <a:pt x="22491" y="1492081"/>
                    </a:lnTo>
                    <a:lnTo>
                      <a:pt x="15686" y="1538414"/>
                    </a:lnTo>
                    <a:lnTo>
                      <a:pt x="10082" y="1585128"/>
                    </a:lnTo>
                    <a:lnTo>
                      <a:pt x="5695" y="1632205"/>
                    </a:lnTo>
                    <a:lnTo>
                      <a:pt x="2542" y="1679631"/>
                    </a:lnTo>
                    <a:lnTo>
                      <a:pt x="638" y="1727387"/>
                    </a:lnTo>
                    <a:lnTo>
                      <a:pt x="0" y="1775460"/>
                    </a:lnTo>
                    <a:lnTo>
                      <a:pt x="638" y="1823531"/>
                    </a:lnTo>
                    <a:lnTo>
                      <a:pt x="2542" y="1871287"/>
                    </a:lnTo>
                    <a:lnTo>
                      <a:pt x="5695" y="1918712"/>
                    </a:lnTo>
                    <a:lnTo>
                      <a:pt x="10082" y="1965789"/>
                    </a:lnTo>
                    <a:lnTo>
                      <a:pt x="15686" y="2012502"/>
                    </a:lnTo>
                    <a:lnTo>
                      <a:pt x="22491" y="2058835"/>
                    </a:lnTo>
                    <a:lnTo>
                      <a:pt x="30482" y="2104773"/>
                    </a:lnTo>
                    <a:lnTo>
                      <a:pt x="39642" y="2150298"/>
                    </a:lnTo>
                    <a:lnTo>
                      <a:pt x="49954" y="2195395"/>
                    </a:lnTo>
                    <a:lnTo>
                      <a:pt x="61403" y="2240048"/>
                    </a:lnTo>
                    <a:lnTo>
                      <a:pt x="73973" y="2284240"/>
                    </a:lnTo>
                    <a:lnTo>
                      <a:pt x="87648" y="2327956"/>
                    </a:lnTo>
                    <a:lnTo>
                      <a:pt x="102411" y="2371179"/>
                    </a:lnTo>
                    <a:lnTo>
                      <a:pt x="118247" y="2413893"/>
                    </a:lnTo>
                    <a:lnTo>
                      <a:pt x="135139" y="2456083"/>
                    </a:lnTo>
                    <a:lnTo>
                      <a:pt x="153071" y="2497732"/>
                    </a:lnTo>
                    <a:lnTo>
                      <a:pt x="172027" y="2538823"/>
                    </a:lnTo>
                    <a:lnTo>
                      <a:pt x="191991" y="2579342"/>
                    </a:lnTo>
                    <a:lnTo>
                      <a:pt x="212947" y="2619271"/>
                    </a:lnTo>
                    <a:lnTo>
                      <a:pt x="234878" y="2658595"/>
                    </a:lnTo>
                    <a:lnTo>
                      <a:pt x="257770" y="2697298"/>
                    </a:lnTo>
                    <a:lnTo>
                      <a:pt x="281605" y="2735363"/>
                    </a:lnTo>
                    <a:lnTo>
                      <a:pt x="306367" y="2772774"/>
                    </a:lnTo>
                    <a:lnTo>
                      <a:pt x="332041" y="2809515"/>
                    </a:lnTo>
                    <a:lnTo>
                      <a:pt x="358610" y="2845571"/>
                    </a:lnTo>
                    <a:lnTo>
                      <a:pt x="386058" y="2880925"/>
                    </a:lnTo>
                    <a:lnTo>
                      <a:pt x="414369" y="2915560"/>
                    </a:lnTo>
                    <a:lnTo>
                      <a:pt x="443527" y="2949462"/>
                    </a:lnTo>
                    <a:lnTo>
                      <a:pt x="473516" y="2982613"/>
                    </a:lnTo>
                    <a:lnTo>
                      <a:pt x="504319" y="3014997"/>
                    </a:lnTo>
                    <a:lnTo>
                      <a:pt x="535922" y="3046600"/>
                    </a:lnTo>
                    <a:lnTo>
                      <a:pt x="568306" y="3077403"/>
                    </a:lnTo>
                    <a:lnTo>
                      <a:pt x="601457" y="3107392"/>
                    </a:lnTo>
                    <a:lnTo>
                      <a:pt x="635359" y="3136550"/>
                    </a:lnTo>
                    <a:lnTo>
                      <a:pt x="669994" y="3164861"/>
                    </a:lnTo>
                    <a:lnTo>
                      <a:pt x="705348" y="3192309"/>
                    </a:lnTo>
                    <a:lnTo>
                      <a:pt x="741404" y="3218878"/>
                    </a:lnTo>
                    <a:lnTo>
                      <a:pt x="778145" y="3244552"/>
                    </a:lnTo>
                    <a:lnTo>
                      <a:pt x="815556" y="3269314"/>
                    </a:lnTo>
                    <a:lnTo>
                      <a:pt x="853621" y="3293149"/>
                    </a:lnTo>
                    <a:lnTo>
                      <a:pt x="892324" y="3316041"/>
                    </a:lnTo>
                    <a:lnTo>
                      <a:pt x="931648" y="3337972"/>
                    </a:lnTo>
                    <a:lnTo>
                      <a:pt x="971577" y="3358928"/>
                    </a:lnTo>
                    <a:lnTo>
                      <a:pt x="1012096" y="3378892"/>
                    </a:lnTo>
                    <a:lnTo>
                      <a:pt x="1053187" y="3397848"/>
                    </a:lnTo>
                    <a:lnTo>
                      <a:pt x="1094836" y="3415780"/>
                    </a:lnTo>
                    <a:lnTo>
                      <a:pt x="1137026" y="3432672"/>
                    </a:lnTo>
                    <a:lnTo>
                      <a:pt x="1179740" y="3448508"/>
                    </a:lnTo>
                    <a:lnTo>
                      <a:pt x="1222963" y="3463271"/>
                    </a:lnTo>
                    <a:lnTo>
                      <a:pt x="1266679" y="3476946"/>
                    </a:lnTo>
                    <a:lnTo>
                      <a:pt x="1310871" y="3489516"/>
                    </a:lnTo>
                    <a:lnTo>
                      <a:pt x="1355524" y="3500965"/>
                    </a:lnTo>
                    <a:lnTo>
                      <a:pt x="1400621" y="3511277"/>
                    </a:lnTo>
                    <a:lnTo>
                      <a:pt x="1446146" y="3520437"/>
                    </a:lnTo>
                    <a:lnTo>
                      <a:pt x="1492084" y="3528428"/>
                    </a:lnTo>
                    <a:lnTo>
                      <a:pt x="1538417" y="3535233"/>
                    </a:lnTo>
                    <a:lnTo>
                      <a:pt x="1585130" y="3540837"/>
                    </a:lnTo>
                    <a:lnTo>
                      <a:pt x="1632207" y="3545224"/>
                    </a:lnTo>
                    <a:lnTo>
                      <a:pt x="1679632" y="3548377"/>
                    </a:lnTo>
                    <a:lnTo>
                      <a:pt x="1727388" y="3550281"/>
                    </a:lnTo>
                    <a:lnTo>
                      <a:pt x="1775460" y="3550920"/>
                    </a:lnTo>
                    <a:lnTo>
                      <a:pt x="1775460" y="0"/>
                    </a:lnTo>
                    <a:close/>
                  </a:path>
                </a:pathLst>
              </a:custGeom>
              <a:solidFill>
                <a:srgbClr val="FFF2C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dirty="0">
                  <a:ln>
                    <a:noFill/>
                  </a:ln>
                  <a:solidFill>
                    <a:srgbClr val="000000"/>
                  </a:solidFill>
                  <a:effectLst/>
                  <a:uLnTx/>
                  <a:uFillTx/>
                  <a:ea typeface="+mn-ea"/>
                  <a:cs typeface="+mn-cs"/>
                </a:endParaRPr>
              </a:p>
            </p:txBody>
          </p:sp>
          <p:sp>
            <p:nvSpPr>
              <p:cNvPr id="178" name="object 9"/>
              <p:cNvSpPr/>
              <p:nvPr/>
            </p:nvSpPr>
            <p:spPr>
              <a:xfrm>
                <a:off x="5003913" y="3239157"/>
                <a:ext cx="1667529" cy="3283422"/>
              </a:xfrm>
              <a:custGeom>
                <a:avLst/>
                <a:gdLst/>
                <a:ahLst/>
                <a:cxnLst/>
                <a:rect l="l" t="t" r="r" b="b"/>
                <a:pathLst>
                  <a:path w="1394460" h="2745740">
                    <a:moveTo>
                      <a:pt x="1394460" y="0"/>
                    </a:moveTo>
                    <a:lnTo>
                      <a:pt x="1345504" y="830"/>
                    </a:lnTo>
                    <a:lnTo>
                      <a:pt x="1296973" y="3302"/>
                    </a:lnTo>
                    <a:lnTo>
                      <a:pt x="1248893" y="7389"/>
                    </a:lnTo>
                    <a:lnTo>
                      <a:pt x="1201291" y="13063"/>
                    </a:lnTo>
                    <a:lnTo>
                      <a:pt x="1154197" y="20299"/>
                    </a:lnTo>
                    <a:lnTo>
                      <a:pt x="1107637" y="29067"/>
                    </a:lnTo>
                    <a:lnTo>
                      <a:pt x="1061639" y="39341"/>
                    </a:lnTo>
                    <a:lnTo>
                      <a:pt x="1016230" y="51094"/>
                    </a:lnTo>
                    <a:lnTo>
                      <a:pt x="971439" y="64299"/>
                    </a:lnTo>
                    <a:lnTo>
                      <a:pt x="927293" y="78927"/>
                    </a:lnTo>
                    <a:lnTo>
                      <a:pt x="883819" y="94953"/>
                    </a:lnTo>
                    <a:lnTo>
                      <a:pt x="841046" y="112349"/>
                    </a:lnTo>
                    <a:lnTo>
                      <a:pt x="799000" y="131087"/>
                    </a:lnTo>
                    <a:lnTo>
                      <a:pt x="757710" y="151141"/>
                    </a:lnTo>
                    <a:lnTo>
                      <a:pt x="717204" y="172483"/>
                    </a:lnTo>
                    <a:lnTo>
                      <a:pt x="677508" y="195086"/>
                    </a:lnTo>
                    <a:lnTo>
                      <a:pt x="638651" y="218923"/>
                    </a:lnTo>
                    <a:lnTo>
                      <a:pt x="600659" y="243966"/>
                    </a:lnTo>
                    <a:lnTo>
                      <a:pt x="563562" y="270189"/>
                    </a:lnTo>
                    <a:lnTo>
                      <a:pt x="527386" y="297563"/>
                    </a:lnTo>
                    <a:lnTo>
                      <a:pt x="492160" y="326063"/>
                    </a:lnTo>
                    <a:lnTo>
                      <a:pt x="457910" y="355660"/>
                    </a:lnTo>
                    <a:lnTo>
                      <a:pt x="424664" y="386328"/>
                    </a:lnTo>
                    <a:lnTo>
                      <a:pt x="392451" y="418039"/>
                    </a:lnTo>
                    <a:lnTo>
                      <a:pt x="361297" y="450765"/>
                    </a:lnTo>
                    <a:lnTo>
                      <a:pt x="331231" y="484481"/>
                    </a:lnTo>
                    <a:lnTo>
                      <a:pt x="302280" y="519158"/>
                    </a:lnTo>
                    <a:lnTo>
                      <a:pt x="274471" y="554770"/>
                    </a:lnTo>
                    <a:lnTo>
                      <a:pt x="247833" y="591288"/>
                    </a:lnTo>
                    <a:lnTo>
                      <a:pt x="222393" y="628687"/>
                    </a:lnTo>
                    <a:lnTo>
                      <a:pt x="198178" y="666938"/>
                    </a:lnTo>
                    <a:lnTo>
                      <a:pt x="175217" y="706014"/>
                    </a:lnTo>
                    <a:lnTo>
                      <a:pt x="153537" y="745889"/>
                    </a:lnTo>
                    <a:lnTo>
                      <a:pt x="133165" y="786535"/>
                    </a:lnTo>
                    <a:lnTo>
                      <a:pt x="114130" y="827924"/>
                    </a:lnTo>
                    <a:lnTo>
                      <a:pt x="96458" y="870030"/>
                    </a:lnTo>
                    <a:lnTo>
                      <a:pt x="80178" y="912826"/>
                    </a:lnTo>
                    <a:lnTo>
                      <a:pt x="65318" y="956283"/>
                    </a:lnTo>
                    <a:lnTo>
                      <a:pt x="51904" y="1000376"/>
                    </a:lnTo>
                    <a:lnTo>
                      <a:pt x="39965" y="1045076"/>
                    </a:lnTo>
                    <a:lnTo>
                      <a:pt x="29528" y="1090356"/>
                    </a:lnTo>
                    <a:lnTo>
                      <a:pt x="20620" y="1136190"/>
                    </a:lnTo>
                    <a:lnTo>
                      <a:pt x="13271" y="1182550"/>
                    </a:lnTo>
                    <a:lnTo>
                      <a:pt x="7506" y="1229408"/>
                    </a:lnTo>
                    <a:lnTo>
                      <a:pt x="3354" y="1276738"/>
                    </a:lnTo>
                    <a:lnTo>
                      <a:pt x="843" y="1324513"/>
                    </a:lnTo>
                    <a:lnTo>
                      <a:pt x="0" y="1372704"/>
                    </a:lnTo>
                    <a:lnTo>
                      <a:pt x="843" y="1420896"/>
                    </a:lnTo>
                    <a:lnTo>
                      <a:pt x="3354" y="1468670"/>
                    </a:lnTo>
                    <a:lnTo>
                      <a:pt x="7506" y="1516001"/>
                    </a:lnTo>
                    <a:lnTo>
                      <a:pt x="13271" y="1562859"/>
                    </a:lnTo>
                    <a:lnTo>
                      <a:pt x="20620" y="1609219"/>
                    </a:lnTo>
                    <a:lnTo>
                      <a:pt x="29528" y="1655053"/>
                    </a:lnTo>
                    <a:lnTo>
                      <a:pt x="39965" y="1700333"/>
                    </a:lnTo>
                    <a:lnTo>
                      <a:pt x="51904" y="1745033"/>
                    </a:lnTo>
                    <a:lnTo>
                      <a:pt x="65318" y="1789126"/>
                    </a:lnTo>
                    <a:lnTo>
                      <a:pt x="80178" y="1832583"/>
                    </a:lnTo>
                    <a:lnTo>
                      <a:pt x="96458" y="1875378"/>
                    </a:lnTo>
                    <a:lnTo>
                      <a:pt x="114130" y="1917485"/>
                    </a:lnTo>
                    <a:lnTo>
                      <a:pt x="133165" y="1958874"/>
                    </a:lnTo>
                    <a:lnTo>
                      <a:pt x="153537" y="1999520"/>
                    </a:lnTo>
                    <a:lnTo>
                      <a:pt x="175217" y="2039395"/>
                    </a:lnTo>
                    <a:lnTo>
                      <a:pt x="198178" y="2078471"/>
                    </a:lnTo>
                    <a:lnTo>
                      <a:pt x="222393" y="2116722"/>
                    </a:lnTo>
                    <a:lnTo>
                      <a:pt x="247833" y="2154121"/>
                    </a:lnTo>
                    <a:lnTo>
                      <a:pt x="274471" y="2190639"/>
                    </a:lnTo>
                    <a:lnTo>
                      <a:pt x="302280" y="2226251"/>
                    </a:lnTo>
                    <a:lnTo>
                      <a:pt x="331231" y="2260928"/>
                    </a:lnTo>
                    <a:lnTo>
                      <a:pt x="361297" y="2294643"/>
                    </a:lnTo>
                    <a:lnTo>
                      <a:pt x="392451" y="2327370"/>
                    </a:lnTo>
                    <a:lnTo>
                      <a:pt x="424664" y="2359081"/>
                    </a:lnTo>
                    <a:lnTo>
                      <a:pt x="457910" y="2389749"/>
                    </a:lnTo>
                    <a:lnTo>
                      <a:pt x="492160" y="2419346"/>
                    </a:lnTo>
                    <a:lnTo>
                      <a:pt x="527386" y="2447845"/>
                    </a:lnTo>
                    <a:lnTo>
                      <a:pt x="563562" y="2475220"/>
                    </a:lnTo>
                    <a:lnTo>
                      <a:pt x="600659" y="2501443"/>
                    </a:lnTo>
                    <a:lnTo>
                      <a:pt x="638651" y="2526486"/>
                    </a:lnTo>
                    <a:lnTo>
                      <a:pt x="677508" y="2550323"/>
                    </a:lnTo>
                    <a:lnTo>
                      <a:pt x="717204" y="2572926"/>
                    </a:lnTo>
                    <a:lnTo>
                      <a:pt x="757710" y="2594268"/>
                    </a:lnTo>
                    <a:lnTo>
                      <a:pt x="799000" y="2614321"/>
                    </a:lnTo>
                    <a:lnTo>
                      <a:pt x="841046" y="2633060"/>
                    </a:lnTo>
                    <a:lnTo>
                      <a:pt x="883819" y="2650456"/>
                    </a:lnTo>
                    <a:lnTo>
                      <a:pt x="927293" y="2666481"/>
                    </a:lnTo>
                    <a:lnTo>
                      <a:pt x="971439" y="2681110"/>
                    </a:lnTo>
                    <a:lnTo>
                      <a:pt x="1016230" y="2694315"/>
                    </a:lnTo>
                    <a:lnTo>
                      <a:pt x="1061639" y="2706068"/>
                    </a:lnTo>
                    <a:lnTo>
                      <a:pt x="1107637" y="2716342"/>
                    </a:lnTo>
                    <a:lnTo>
                      <a:pt x="1154197" y="2725110"/>
                    </a:lnTo>
                    <a:lnTo>
                      <a:pt x="1201291" y="2732345"/>
                    </a:lnTo>
                    <a:lnTo>
                      <a:pt x="1248893" y="2738020"/>
                    </a:lnTo>
                    <a:lnTo>
                      <a:pt x="1296973" y="2742107"/>
                    </a:lnTo>
                    <a:lnTo>
                      <a:pt x="1345504" y="2744579"/>
                    </a:lnTo>
                    <a:lnTo>
                      <a:pt x="1394460" y="2745409"/>
                    </a:lnTo>
                    <a:lnTo>
                      <a:pt x="1394460" y="0"/>
                    </a:lnTo>
                    <a:close/>
                  </a:path>
                </a:pathLst>
              </a:custGeom>
              <a:solidFill>
                <a:srgbClr val="F7DE3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dirty="0">
                  <a:ln>
                    <a:noFill/>
                  </a:ln>
                  <a:solidFill>
                    <a:srgbClr val="000000"/>
                  </a:solidFill>
                  <a:effectLst/>
                  <a:uLnTx/>
                  <a:uFillTx/>
                  <a:ea typeface="+mn-ea"/>
                  <a:cs typeface="+mn-cs"/>
                </a:endParaRPr>
              </a:p>
            </p:txBody>
          </p:sp>
          <p:sp>
            <p:nvSpPr>
              <p:cNvPr id="179" name="object 10"/>
              <p:cNvSpPr/>
              <p:nvPr/>
            </p:nvSpPr>
            <p:spPr>
              <a:xfrm>
                <a:off x="5468633" y="4153063"/>
                <a:ext cx="1199770" cy="2369167"/>
              </a:xfrm>
              <a:custGeom>
                <a:avLst/>
                <a:gdLst/>
                <a:ahLst/>
                <a:cxnLst/>
                <a:rect l="l" t="t" r="r" b="b"/>
                <a:pathLst>
                  <a:path w="1003300" h="1981200">
                    <a:moveTo>
                      <a:pt x="1003300" y="0"/>
                    </a:moveTo>
                    <a:lnTo>
                      <a:pt x="954689" y="1142"/>
                    </a:lnTo>
                    <a:lnTo>
                      <a:pt x="906676" y="4534"/>
                    </a:lnTo>
                    <a:lnTo>
                      <a:pt x="859312" y="10124"/>
                    </a:lnTo>
                    <a:lnTo>
                      <a:pt x="812651" y="17861"/>
                    </a:lnTo>
                    <a:lnTo>
                      <a:pt x="766744" y="27692"/>
                    </a:lnTo>
                    <a:lnTo>
                      <a:pt x="721645" y="39565"/>
                    </a:lnTo>
                    <a:lnTo>
                      <a:pt x="677405" y="53429"/>
                    </a:lnTo>
                    <a:lnTo>
                      <a:pt x="634078" y="69232"/>
                    </a:lnTo>
                    <a:lnTo>
                      <a:pt x="591715" y="86921"/>
                    </a:lnTo>
                    <a:lnTo>
                      <a:pt x="550370" y="106445"/>
                    </a:lnTo>
                    <a:lnTo>
                      <a:pt x="510096" y="127753"/>
                    </a:lnTo>
                    <a:lnTo>
                      <a:pt x="470943" y="150791"/>
                    </a:lnTo>
                    <a:lnTo>
                      <a:pt x="432966" y="175508"/>
                    </a:lnTo>
                    <a:lnTo>
                      <a:pt x="396217" y="201853"/>
                    </a:lnTo>
                    <a:lnTo>
                      <a:pt x="360748" y="229773"/>
                    </a:lnTo>
                    <a:lnTo>
                      <a:pt x="326612" y="259217"/>
                    </a:lnTo>
                    <a:lnTo>
                      <a:pt x="293862" y="290133"/>
                    </a:lnTo>
                    <a:lnTo>
                      <a:pt x="262549" y="322468"/>
                    </a:lnTo>
                    <a:lnTo>
                      <a:pt x="232727" y="356171"/>
                    </a:lnTo>
                    <a:lnTo>
                      <a:pt x="204448" y="391190"/>
                    </a:lnTo>
                    <a:lnTo>
                      <a:pt x="177764" y="427473"/>
                    </a:lnTo>
                    <a:lnTo>
                      <a:pt x="152729" y="464968"/>
                    </a:lnTo>
                    <a:lnTo>
                      <a:pt x="129395" y="503624"/>
                    </a:lnTo>
                    <a:lnTo>
                      <a:pt x="107814" y="543388"/>
                    </a:lnTo>
                    <a:lnTo>
                      <a:pt x="88039" y="584208"/>
                    </a:lnTo>
                    <a:lnTo>
                      <a:pt x="70122" y="626033"/>
                    </a:lnTo>
                    <a:lnTo>
                      <a:pt x="54116" y="668811"/>
                    </a:lnTo>
                    <a:lnTo>
                      <a:pt x="40074" y="712490"/>
                    </a:lnTo>
                    <a:lnTo>
                      <a:pt x="28048" y="757017"/>
                    </a:lnTo>
                    <a:lnTo>
                      <a:pt x="18091" y="802342"/>
                    </a:lnTo>
                    <a:lnTo>
                      <a:pt x="10255" y="848412"/>
                    </a:lnTo>
                    <a:lnTo>
                      <a:pt x="4592" y="895175"/>
                    </a:lnTo>
                    <a:lnTo>
                      <a:pt x="1156" y="942580"/>
                    </a:lnTo>
                    <a:lnTo>
                      <a:pt x="0" y="990574"/>
                    </a:lnTo>
                    <a:lnTo>
                      <a:pt x="1156" y="1038569"/>
                    </a:lnTo>
                    <a:lnTo>
                      <a:pt x="4592" y="1085975"/>
                    </a:lnTo>
                    <a:lnTo>
                      <a:pt x="10255" y="1132739"/>
                    </a:lnTo>
                    <a:lnTo>
                      <a:pt x="18091" y="1178810"/>
                    </a:lnTo>
                    <a:lnTo>
                      <a:pt x="28048" y="1224136"/>
                    </a:lnTo>
                    <a:lnTo>
                      <a:pt x="40074" y="1268664"/>
                    </a:lnTo>
                    <a:lnTo>
                      <a:pt x="54116" y="1312343"/>
                    </a:lnTo>
                    <a:lnTo>
                      <a:pt x="70122" y="1355122"/>
                    </a:lnTo>
                    <a:lnTo>
                      <a:pt x="88039" y="1396948"/>
                    </a:lnTo>
                    <a:lnTo>
                      <a:pt x="107814" y="1437769"/>
                    </a:lnTo>
                    <a:lnTo>
                      <a:pt x="129395" y="1477533"/>
                    </a:lnTo>
                    <a:lnTo>
                      <a:pt x="152729" y="1516189"/>
                    </a:lnTo>
                    <a:lnTo>
                      <a:pt x="177764" y="1553685"/>
                    </a:lnTo>
                    <a:lnTo>
                      <a:pt x="204448" y="1589969"/>
                    </a:lnTo>
                    <a:lnTo>
                      <a:pt x="232727" y="1624988"/>
                    </a:lnTo>
                    <a:lnTo>
                      <a:pt x="262549" y="1658691"/>
                    </a:lnTo>
                    <a:lnTo>
                      <a:pt x="293862" y="1691027"/>
                    </a:lnTo>
                    <a:lnTo>
                      <a:pt x="326612" y="1721942"/>
                    </a:lnTo>
                    <a:lnTo>
                      <a:pt x="360748" y="1751386"/>
                    </a:lnTo>
                    <a:lnTo>
                      <a:pt x="396217" y="1779307"/>
                    </a:lnTo>
                    <a:lnTo>
                      <a:pt x="432966" y="1805652"/>
                    </a:lnTo>
                    <a:lnTo>
                      <a:pt x="470943" y="1830369"/>
                    </a:lnTo>
                    <a:lnTo>
                      <a:pt x="510096" y="1853408"/>
                    </a:lnTo>
                    <a:lnTo>
                      <a:pt x="550370" y="1874715"/>
                    </a:lnTo>
                    <a:lnTo>
                      <a:pt x="591715" y="1894239"/>
                    </a:lnTo>
                    <a:lnTo>
                      <a:pt x="634078" y="1911929"/>
                    </a:lnTo>
                    <a:lnTo>
                      <a:pt x="677405" y="1927731"/>
                    </a:lnTo>
                    <a:lnTo>
                      <a:pt x="721645" y="1941595"/>
                    </a:lnTo>
                    <a:lnTo>
                      <a:pt x="766744" y="1953469"/>
                    </a:lnTo>
                    <a:lnTo>
                      <a:pt x="812651" y="1963300"/>
                    </a:lnTo>
                    <a:lnTo>
                      <a:pt x="859312" y="1971036"/>
                    </a:lnTo>
                    <a:lnTo>
                      <a:pt x="906676" y="1976627"/>
                    </a:lnTo>
                    <a:lnTo>
                      <a:pt x="954689" y="1980019"/>
                    </a:lnTo>
                    <a:lnTo>
                      <a:pt x="1003300" y="1981161"/>
                    </a:lnTo>
                    <a:lnTo>
                      <a:pt x="1003300" y="0"/>
                    </a:lnTo>
                    <a:close/>
                  </a:path>
                </a:pathLst>
              </a:custGeom>
              <a:solidFill>
                <a:srgbClr val="FFC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dirty="0">
                  <a:ln>
                    <a:noFill/>
                  </a:ln>
                  <a:solidFill>
                    <a:srgbClr val="000000"/>
                  </a:solidFill>
                  <a:effectLst/>
                  <a:uLnTx/>
                  <a:uFillTx/>
                  <a:ea typeface="+mn-ea"/>
                  <a:cs typeface="+mn-cs"/>
                </a:endParaRPr>
              </a:p>
            </p:txBody>
          </p:sp>
          <p:sp>
            <p:nvSpPr>
              <p:cNvPr id="180" name="object 52"/>
              <p:cNvSpPr/>
              <p:nvPr/>
            </p:nvSpPr>
            <p:spPr>
              <a:xfrm>
                <a:off x="5939004" y="5136692"/>
                <a:ext cx="732771" cy="1385811"/>
              </a:xfrm>
              <a:custGeom>
                <a:avLst/>
                <a:gdLst/>
                <a:ahLst/>
                <a:cxnLst/>
                <a:rect l="l" t="t" r="r" b="b"/>
                <a:pathLst>
                  <a:path w="612775" h="1158875">
                    <a:moveTo>
                      <a:pt x="612495" y="0"/>
                    </a:moveTo>
                    <a:lnTo>
                      <a:pt x="562260" y="1920"/>
                    </a:lnTo>
                    <a:lnTo>
                      <a:pt x="513144" y="7582"/>
                    </a:lnTo>
                    <a:lnTo>
                      <a:pt x="465304" y="16835"/>
                    </a:lnTo>
                    <a:lnTo>
                      <a:pt x="418897" y="29532"/>
                    </a:lnTo>
                    <a:lnTo>
                      <a:pt x="374082" y="45524"/>
                    </a:lnTo>
                    <a:lnTo>
                      <a:pt x="331016" y="64660"/>
                    </a:lnTo>
                    <a:lnTo>
                      <a:pt x="289856" y="86792"/>
                    </a:lnTo>
                    <a:lnTo>
                      <a:pt x="250761" y="111771"/>
                    </a:lnTo>
                    <a:lnTo>
                      <a:pt x="213887" y="139448"/>
                    </a:lnTo>
                    <a:lnTo>
                      <a:pt x="179393" y="169673"/>
                    </a:lnTo>
                    <a:lnTo>
                      <a:pt x="147436" y="202298"/>
                    </a:lnTo>
                    <a:lnTo>
                      <a:pt x="118174" y="237174"/>
                    </a:lnTo>
                    <a:lnTo>
                      <a:pt x="91764" y="274151"/>
                    </a:lnTo>
                    <a:lnTo>
                      <a:pt x="68364" y="313080"/>
                    </a:lnTo>
                    <a:lnTo>
                      <a:pt x="48132" y="353813"/>
                    </a:lnTo>
                    <a:lnTo>
                      <a:pt x="31224" y="396200"/>
                    </a:lnTo>
                    <a:lnTo>
                      <a:pt x="17800" y="440093"/>
                    </a:lnTo>
                    <a:lnTo>
                      <a:pt x="8016" y="485341"/>
                    </a:lnTo>
                    <a:lnTo>
                      <a:pt x="2030" y="531797"/>
                    </a:lnTo>
                    <a:lnTo>
                      <a:pt x="0" y="579310"/>
                    </a:lnTo>
                    <a:lnTo>
                      <a:pt x="2030" y="626822"/>
                    </a:lnTo>
                    <a:lnTo>
                      <a:pt x="8016" y="673275"/>
                    </a:lnTo>
                    <a:lnTo>
                      <a:pt x="17800" y="718522"/>
                    </a:lnTo>
                    <a:lnTo>
                      <a:pt x="31224" y="762413"/>
                    </a:lnTo>
                    <a:lnTo>
                      <a:pt x="48132" y="804799"/>
                    </a:lnTo>
                    <a:lnTo>
                      <a:pt x="68364" y="845531"/>
                    </a:lnTo>
                    <a:lnTo>
                      <a:pt x="91764" y="884460"/>
                    </a:lnTo>
                    <a:lnTo>
                      <a:pt x="118174" y="921436"/>
                    </a:lnTo>
                    <a:lnTo>
                      <a:pt x="147436" y="956311"/>
                    </a:lnTo>
                    <a:lnTo>
                      <a:pt x="179393" y="988936"/>
                    </a:lnTo>
                    <a:lnTo>
                      <a:pt x="213887" y="1019161"/>
                    </a:lnTo>
                    <a:lnTo>
                      <a:pt x="250761" y="1046837"/>
                    </a:lnTo>
                    <a:lnTo>
                      <a:pt x="289856" y="1071816"/>
                    </a:lnTo>
                    <a:lnTo>
                      <a:pt x="331016" y="1093948"/>
                    </a:lnTo>
                    <a:lnTo>
                      <a:pt x="374082" y="1113084"/>
                    </a:lnTo>
                    <a:lnTo>
                      <a:pt x="418897" y="1129075"/>
                    </a:lnTo>
                    <a:lnTo>
                      <a:pt x="465304" y="1141772"/>
                    </a:lnTo>
                    <a:lnTo>
                      <a:pt x="513144" y="1151026"/>
                    </a:lnTo>
                    <a:lnTo>
                      <a:pt x="562260" y="1156687"/>
                    </a:lnTo>
                    <a:lnTo>
                      <a:pt x="612495" y="1158608"/>
                    </a:lnTo>
                    <a:lnTo>
                      <a:pt x="612495" y="0"/>
                    </a:lnTo>
                    <a:close/>
                  </a:path>
                </a:pathLst>
              </a:custGeom>
              <a:solidFill>
                <a:srgbClr val="E2AC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dirty="0">
                  <a:ln>
                    <a:noFill/>
                  </a:ln>
                  <a:solidFill>
                    <a:srgbClr val="000000"/>
                  </a:solidFill>
                  <a:effectLst/>
                  <a:uLnTx/>
                  <a:uFillTx/>
                  <a:ea typeface="+mn-ea"/>
                  <a:cs typeface="+mn-cs"/>
                </a:endParaRPr>
              </a:p>
            </p:txBody>
          </p:sp>
        </p:grpSp>
        <p:sp>
          <p:nvSpPr>
            <p:cNvPr id="156" name="object 29"/>
            <p:cNvSpPr txBox="1"/>
            <p:nvPr/>
          </p:nvSpPr>
          <p:spPr>
            <a:xfrm>
              <a:off x="2970338" y="2364422"/>
              <a:ext cx="1009386" cy="255839"/>
            </a:xfrm>
            <a:prstGeom prst="rect">
              <a:avLst/>
            </a:prstGeom>
            <a:solidFill>
              <a:srgbClr val="F7DE39"/>
            </a:solidFill>
          </p:spPr>
          <p:txBody>
            <a:bodyPr vert="horz" wrap="square" lIns="0" tIns="9144" rIns="0" bIns="0" rtlCol="0">
              <a:spAutoFit/>
            </a:bodyPr>
            <a:lstStyle/>
            <a:p>
              <a:pPr marL="0" marR="0" lvl="0" indent="0" algn="ctr" defTabSz="914400" rtl="0" eaLnBrk="1" fontAlgn="auto" latinLnBrk="0" hangingPunct="1">
                <a:lnSpc>
                  <a:spcPct val="100000"/>
                </a:lnSpc>
                <a:spcBef>
                  <a:spcPts val="75"/>
                </a:spcBef>
                <a:spcAft>
                  <a:spcPts val="0"/>
                </a:spcAft>
                <a:buClrTx/>
                <a:buSzTx/>
                <a:buFontTx/>
                <a:buNone/>
                <a:tabLst/>
                <a:defRPr/>
              </a:pPr>
              <a:r>
                <a:rPr kumimoji="0" sz="1600" b="1" i="0" u="none" strike="noStrike" kern="0" cap="none" spc="20" normalizeH="0" baseline="0" noProof="0" dirty="0">
                  <a:ln>
                    <a:noFill/>
                  </a:ln>
                  <a:solidFill>
                    <a:srgbClr val="000000"/>
                  </a:solidFill>
                  <a:effectLst/>
                  <a:uLnTx/>
                  <a:uFillTx/>
                  <a:ea typeface="+mn-ea"/>
                  <a:cs typeface="Trebuchet MS"/>
                </a:rPr>
                <a:t>$</a:t>
              </a:r>
              <a:r>
                <a:rPr kumimoji="0" lang="en-US" sz="1600" b="1" i="0" u="none" strike="noStrike" kern="0" cap="none" spc="20" normalizeH="0" baseline="0" noProof="0" dirty="0">
                  <a:ln>
                    <a:noFill/>
                  </a:ln>
                  <a:solidFill>
                    <a:srgbClr val="000000"/>
                  </a:solidFill>
                  <a:effectLst/>
                  <a:uLnTx/>
                  <a:uFillTx/>
                  <a:ea typeface="+mn-ea"/>
                  <a:cs typeface="Trebuchet MS"/>
                </a:rPr>
                <a:t>9</a:t>
              </a:r>
              <a:r>
                <a:rPr kumimoji="0" sz="1600" b="1" i="0" u="none" strike="noStrike" kern="0" cap="none" spc="20" normalizeH="0" baseline="0" noProof="0" dirty="0">
                  <a:ln>
                    <a:noFill/>
                  </a:ln>
                  <a:solidFill>
                    <a:srgbClr val="000000"/>
                  </a:solidFill>
                  <a:effectLst/>
                  <a:uLnTx/>
                  <a:uFillTx/>
                  <a:ea typeface="+mn-ea"/>
                  <a:cs typeface="Trebuchet MS"/>
                </a:rPr>
                <a:t>B</a:t>
              </a:r>
              <a:endParaRPr kumimoji="0" sz="1600" b="0" i="0" u="none" strike="noStrike" kern="0" cap="none" spc="0" normalizeH="0" baseline="0" noProof="0" dirty="0">
                <a:ln>
                  <a:noFill/>
                </a:ln>
                <a:solidFill>
                  <a:srgbClr val="000000"/>
                </a:solidFill>
                <a:effectLst/>
                <a:uLnTx/>
                <a:uFillTx/>
                <a:ea typeface="+mn-ea"/>
                <a:cs typeface="Trebuchet MS"/>
              </a:endParaRPr>
            </a:p>
          </p:txBody>
        </p:sp>
        <p:sp>
          <p:nvSpPr>
            <p:cNvPr id="157" name="object 29"/>
            <p:cNvSpPr txBox="1"/>
            <p:nvPr/>
          </p:nvSpPr>
          <p:spPr>
            <a:xfrm>
              <a:off x="2970338" y="2788075"/>
              <a:ext cx="1009386" cy="255839"/>
            </a:xfrm>
            <a:prstGeom prst="rect">
              <a:avLst/>
            </a:prstGeom>
            <a:solidFill>
              <a:srgbClr val="FFC000"/>
            </a:solidFill>
          </p:spPr>
          <p:txBody>
            <a:bodyPr vert="horz" wrap="square" lIns="0" tIns="9525" rIns="0" bIns="0" rtlCol="0">
              <a:spAutoFit/>
            </a:bodyPr>
            <a:lstStyle/>
            <a:p>
              <a:pPr marL="0" marR="0" lvl="0" indent="0" algn="ctr" defTabSz="914400" rtl="0" eaLnBrk="1" fontAlgn="auto" latinLnBrk="0" hangingPunct="1">
                <a:lnSpc>
                  <a:spcPct val="100000"/>
                </a:lnSpc>
                <a:spcBef>
                  <a:spcPts val="75"/>
                </a:spcBef>
                <a:spcAft>
                  <a:spcPts val="0"/>
                </a:spcAft>
                <a:buClrTx/>
                <a:buSzTx/>
                <a:buFontTx/>
                <a:buNone/>
                <a:tabLst/>
                <a:defRPr/>
              </a:pPr>
              <a:r>
                <a:rPr kumimoji="0" sz="1600" b="1" i="0" u="none" strike="noStrike" kern="0" cap="none" spc="20" normalizeH="0" baseline="0" noProof="0" dirty="0">
                  <a:ln>
                    <a:noFill/>
                  </a:ln>
                  <a:solidFill>
                    <a:srgbClr val="000000"/>
                  </a:solidFill>
                  <a:effectLst/>
                  <a:uLnTx/>
                  <a:uFillTx/>
                  <a:ea typeface="+mn-ea"/>
                  <a:cs typeface="Trebuchet MS"/>
                </a:rPr>
                <a:t>$</a:t>
              </a:r>
              <a:r>
                <a:rPr kumimoji="0" lang="en-US" sz="1600" b="1" i="0" u="none" strike="noStrike" kern="0" cap="none" spc="20" normalizeH="0" baseline="0" noProof="0" dirty="0">
                  <a:ln>
                    <a:noFill/>
                  </a:ln>
                  <a:solidFill>
                    <a:srgbClr val="000000"/>
                  </a:solidFill>
                  <a:effectLst/>
                  <a:uLnTx/>
                  <a:uFillTx/>
                  <a:ea typeface="+mn-ea"/>
                  <a:cs typeface="Trebuchet MS"/>
                </a:rPr>
                <a:t>1</a:t>
              </a:r>
              <a:r>
                <a:rPr kumimoji="0" sz="1600" b="1" i="0" u="none" strike="noStrike" kern="0" cap="none" spc="20" normalizeH="0" baseline="0" noProof="0" dirty="0">
                  <a:ln>
                    <a:noFill/>
                  </a:ln>
                  <a:solidFill>
                    <a:srgbClr val="000000"/>
                  </a:solidFill>
                  <a:effectLst/>
                  <a:uLnTx/>
                  <a:uFillTx/>
                  <a:ea typeface="+mn-ea"/>
                  <a:cs typeface="Trebuchet MS"/>
                </a:rPr>
                <a:t>B</a:t>
              </a:r>
              <a:endParaRPr kumimoji="0" sz="1600" b="0" i="0" u="none" strike="noStrike" kern="0" cap="none" spc="0" normalizeH="0" baseline="0" noProof="0" dirty="0">
                <a:ln>
                  <a:noFill/>
                </a:ln>
                <a:solidFill>
                  <a:srgbClr val="000000"/>
                </a:solidFill>
                <a:effectLst/>
                <a:uLnTx/>
                <a:uFillTx/>
                <a:ea typeface="+mn-ea"/>
                <a:cs typeface="Trebuchet MS"/>
              </a:endParaRPr>
            </a:p>
          </p:txBody>
        </p:sp>
        <p:sp>
          <p:nvSpPr>
            <p:cNvPr id="158" name="object 29"/>
            <p:cNvSpPr txBox="1"/>
            <p:nvPr/>
          </p:nvSpPr>
          <p:spPr>
            <a:xfrm>
              <a:off x="2970338" y="1940769"/>
              <a:ext cx="1009386" cy="255839"/>
            </a:xfrm>
            <a:prstGeom prst="rect">
              <a:avLst/>
            </a:prstGeom>
            <a:solidFill>
              <a:srgbClr val="FFF2CC"/>
            </a:solidFill>
          </p:spPr>
          <p:txBody>
            <a:bodyPr vert="horz" wrap="square" lIns="0" tIns="9525" rIns="0" bIns="0" rtlCol="0">
              <a:spAutoFit/>
            </a:bodyPr>
            <a:lstStyle/>
            <a:p>
              <a:pPr marL="168275" marR="0" lvl="0" indent="0" algn="l" defTabSz="914400" rtl="0" eaLnBrk="1" fontAlgn="auto" latinLnBrk="0" hangingPunct="1">
                <a:lnSpc>
                  <a:spcPct val="100000"/>
                </a:lnSpc>
                <a:spcBef>
                  <a:spcPts val="75"/>
                </a:spcBef>
                <a:spcAft>
                  <a:spcPts val="0"/>
                </a:spcAft>
                <a:buClrTx/>
                <a:buSzTx/>
                <a:buFontTx/>
                <a:buNone/>
                <a:tabLst/>
                <a:defRPr/>
              </a:pPr>
              <a:r>
                <a:rPr kumimoji="0" sz="1600" b="1" i="0" u="none" strike="noStrike" kern="0" cap="none" spc="20" normalizeH="0" baseline="0" noProof="0" dirty="0">
                  <a:ln>
                    <a:noFill/>
                  </a:ln>
                  <a:solidFill>
                    <a:prstClr val="black"/>
                  </a:solidFill>
                  <a:effectLst/>
                  <a:uLnTx/>
                  <a:uFillTx/>
                  <a:ea typeface="+mn-ea"/>
                  <a:cs typeface="Trebuchet MS"/>
                </a:rPr>
                <a:t>$</a:t>
              </a:r>
              <a:r>
                <a:rPr kumimoji="0" lang="en-US" sz="1600" b="1" i="0" u="none" strike="noStrike" kern="0" cap="none" spc="20" normalizeH="0" baseline="0" noProof="0" dirty="0">
                  <a:ln>
                    <a:noFill/>
                  </a:ln>
                  <a:solidFill>
                    <a:prstClr val="black"/>
                  </a:solidFill>
                  <a:effectLst/>
                  <a:uLnTx/>
                  <a:uFillTx/>
                  <a:ea typeface="+mn-ea"/>
                  <a:cs typeface="Trebuchet MS"/>
                </a:rPr>
                <a:t>138</a:t>
              </a:r>
              <a:r>
                <a:rPr kumimoji="0" sz="1600" b="1" i="0" u="none" strike="noStrike" kern="0" cap="none" spc="20" normalizeH="0" baseline="0" noProof="0" dirty="0">
                  <a:ln>
                    <a:noFill/>
                  </a:ln>
                  <a:solidFill>
                    <a:prstClr val="black"/>
                  </a:solidFill>
                  <a:effectLst/>
                  <a:uLnTx/>
                  <a:uFillTx/>
                  <a:ea typeface="+mn-ea"/>
                  <a:cs typeface="Trebuchet MS"/>
                </a:rPr>
                <a:t>B</a:t>
              </a:r>
              <a:endParaRPr kumimoji="0" sz="1600" b="0" i="0" u="none" strike="noStrike" kern="0" cap="none" spc="0" normalizeH="0" baseline="0" noProof="0" dirty="0">
                <a:ln>
                  <a:noFill/>
                </a:ln>
                <a:solidFill>
                  <a:prstClr val="black"/>
                </a:solidFill>
                <a:effectLst/>
                <a:uLnTx/>
                <a:uFillTx/>
                <a:ea typeface="+mn-ea"/>
                <a:cs typeface="Trebuchet MS"/>
              </a:endParaRPr>
            </a:p>
          </p:txBody>
        </p:sp>
        <p:sp>
          <p:nvSpPr>
            <p:cNvPr id="159" name="TextBox 158"/>
            <p:cNvSpPr txBox="1"/>
            <p:nvPr/>
          </p:nvSpPr>
          <p:spPr>
            <a:xfrm>
              <a:off x="3979723" y="2384618"/>
              <a:ext cx="1881329"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ea typeface="+mn-ea"/>
                  <a:cs typeface="+mn-cs"/>
                </a:rPr>
                <a:t>FULL SERVICE RESTAURANTS</a:t>
              </a:r>
            </a:p>
          </p:txBody>
        </p:sp>
        <p:sp>
          <p:nvSpPr>
            <p:cNvPr id="160" name="object 29"/>
            <p:cNvSpPr txBox="1"/>
            <p:nvPr/>
          </p:nvSpPr>
          <p:spPr>
            <a:xfrm>
              <a:off x="2970338" y="3277721"/>
              <a:ext cx="1009386" cy="255839"/>
            </a:xfrm>
            <a:prstGeom prst="rect">
              <a:avLst/>
            </a:prstGeom>
            <a:solidFill>
              <a:srgbClr val="E2AC00"/>
            </a:solidFill>
          </p:spPr>
          <p:txBody>
            <a:bodyPr vert="horz" wrap="square" lIns="0" tIns="9525" rIns="0" bIns="0" rtlCol="0">
              <a:spAutoFit/>
            </a:bodyPr>
            <a:lstStyle/>
            <a:p>
              <a:pPr marL="0" marR="0" lvl="0" indent="0" algn="ctr" defTabSz="914400" rtl="0" eaLnBrk="1" fontAlgn="auto" latinLnBrk="0" hangingPunct="1">
                <a:lnSpc>
                  <a:spcPct val="100000"/>
                </a:lnSpc>
                <a:spcBef>
                  <a:spcPts val="75"/>
                </a:spcBef>
                <a:spcAft>
                  <a:spcPts val="0"/>
                </a:spcAft>
                <a:buClrTx/>
                <a:buSzTx/>
                <a:buFontTx/>
                <a:buNone/>
                <a:tabLst/>
                <a:defRPr/>
              </a:pPr>
              <a:r>
                <a:rPr kumimoji="0" sz="1600" b="1" i="0" u="none" strike="noStrike" kern="0" cap="none" spc="20" normalizeH="0" baseline="0" noProof="0" dirty="0">
                  <a:ln>
                    <a:noFill/>
                  </a:ln>
                  <a:solidFill>
                    <a:prstClr val="black"/>
                  </a:solidFill>
                  <a:effectLst/>
                  <a:uLnTx/>
                  <a:uFillTx/>
                  <a:ea typeface="+mn-ea"/>
                  <a:cs typeface="Trebuchet MS"/>
                </a:rPr>
                <a:t>$</a:t>
              </a:r>
              <a:r>
                <a:rPr kumimoji="0" lang="en-US" sz="1600" b="1" i="0" u="none" strike="noStrike" kern="0" cap="none" spc="20" normalizeH="0" baseline="0" noProof="0" dirty="0">
                  <a:ln>
                    <a:noFill/>
                  </a:ln>
                  <a:solidFill>
                    <a:prstClr val="black"/>
                  </a:solidFill>
                  <a:effectLst/>
                  <a:uLnTx/>
                  <a:uFillTx/>
                  <a:ea typeface="+mn-ea"/>
                  <a:cs typeface="Trebuchet MS"/>
                </a:rPr>
                <a:t>650M</a:t>
              </a:r>
              <a:endParaRPr kumimoji="0" sz="1600" b="0" i="0" u="none" strike="noStrike" kern="0" cap="none" spc="0" normalizeH="0" baseline="0" noProof="0" dirty="0">
                <a:ln>
                  <a:noFill/>
                </a:ln>
                <a:solidFill>
                  <a:prstClr val="black"/>
                </a:solidFill>
                <a:effectLst/>
                <a:uLnTx/>
                <a:uFillTx/>
                <a:ea typeface="+mn-ea"/>
                <a:cs typeface="Trebuchet MS"/>
              </a:endParaRPr>
            </a:p>
          </p:txBody>
        </p:sp>
        <p:grpSp>
          <p:nvGrpSpPr>
            <p:cNvPr id="161" name="Group 160"/>
            <p:cNvGrpSpPr/>
            <p:nvPr/>
          </p:nvGrpSpPr>
          <p:grpSpPr>
            <a:xfrm>
              <a:off x="1299911" y="2053393"/>
              <a:ext cx="1280465" cy="200055"/>
              <a:chOff x="385447" y="2472204"/>
              <a:chExt cx="1280465" cy="200055"/>
            </a:xfrm>
          </p:grpSpPr>
          <p:cxnSp>
            <p:nvCxnSpPr>
              <p:cNvPr id="175" name="Straight Connector 174"/>
              <p:cNvCxnSpPr/>
              <p:nvPr/>
            </p:nvCxnSpPr>
            <p:spPr>
              <a:xfrm>
                <a:off x="996914" y="2551153"/>
                <a:ext cx="668998"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76" name="TextBox 175"/>
              <p:cNvSpPr txBox="1"/>
              <p:nvPr/>
            </p:nvSpPr>
            <p:spPr>
              <a:xfrm>
                <a:off x="385447" y="2472204"/>
                <a:ext cx="642404" cy="20005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ea typeface="+mn-ea"/>
                    <a:cs typeface="+mn-cs"/>
                  </a:rPr>
                  <a:t>TAM </a:t>
                </a:r>
              </a:p>
            </p:txBody>
          </p:sp>
        </p:grpSp>
        <p:grpSp>
          <p:nvGrpSpPr>
            <p:cNvPr id="162" name="Group 161"/>
            <p:cNvGrpSpPr/>
            <p:nvPr/>
          </p:nvGrpSpPr>
          <p:grpSpPr>
            <a:xfrm>
              <a:off x="1236407" y="2439918"/>
              <a:ext cx="1344375" cy="200055"/>
              <a:chOff x="321537" y="2472204"/>
              <a:chExt cx="1344375" cy="200055"/>
            </a:xfrm>
          </p:grpSpPr>
          <p:cxnSp>
            <p:nvCxnSpPr>
              <p:cNvPr id="173" name="Straight Connector 172"/>
              <p:cNvCxnSpPr/>
              <p:nvPr/>
            </p:nvCxnSpPr>
            <p:spPr>
              <a:xfrm>
                <a:off x="996914" y="2551153"/>
                <a:ext cx="668998"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74" name="TextBox 173"/>
              <p:cNvSpPr txBox="1"/>
              <p:nvPr/>
            </p:nvSpPr>
            <p:spPr>
              <a:xfrm>
                <a:off x="321537" y="2472204"/>
                <a:ext cx="706314" cy="20005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ea typeface="+mn-ea"/>
                    <a:cs typeface="+mn-cs"/>
                  </a:rPr>
                  <a:t> CHANNEL </a:t>
                </a:r>
              </a:p>
            </p:txBody>
          </p:sp>
        </p:grpSp>
        <p:grpSp>
          <p:nvGrpSpPr>
            <p:cNvPr id="163" name="Group 162"/>
            <p:cNvGrpSpPr/>
            <p:nvPr/>
          </p:nvGrpSpPr>
          <p:grpSpPr>
            <a:xfrm>
              <a:off x="1244043" y="2918952"/>
              <a:ext cx="1344375" cy="200055"/>
              <a:chOff x="321537" y="2472204"/>
              <a:chExt cx="1344375" cy="200055"/>
            </a:xfrm>
          </p:grpSpPr>
          <p:cxnSp>
            <p:nvCxnSpPr>
              <p:cNvPr id="171" name="Straight Connector 170"/>
              <p:cNvCxnSpPr/>
              <p:nvPr/>
            </p:nvCxnSpPr>
            <p:spPr>
              <a:xfrm>
                <a:off x="996914" y="2551153"/>
                <a:ext cx="668998"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72" name="TextBox 171"/>
              <p:cNvSpPr txBox="1"/>
              <p:nvPr/>
            </p:nvSpPr>
            <p:spPr>
              <a:xfrm>
                <a:off x="321537" y="2472204"/>
                <a:ext cx="706314" cy="20005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ea typeface="+mn-ea"/>
                    <a:cs typeface="+mn-cs"/>
                  </a:rPr>
                  <a:t>REGION </a:t>
                </a:r>
              </a:p>
            </p:txBody>
          </p:sp>
        </p:grpSp>
        <p:grpSp>
          <p:nvGrpSpPr>
            <p:cNvPr id="164" name="Group 163"/>
            <p:cNvGrpSpPr/>
            <p:nvPr/>
          </p:nvGrpSpPr>
          <p:grpSpPr>
            <a:xfrm>
              <a:off x="1382640" y="3280288"/>
              <a:ext cx="1344375" cy="200055"/>
              <a:chOff x="321537" y="2472204"/>
              <a:chExt cx="1344375" cy="200055"/>
            </a:xfrm>
          </p:grpSpPr>
          <p:cxnSp>
            <p:nvCxnSpPr>
              <p:cNvPr id="169" name="Straight Connector 168"/>
              <p:cNvCxnSpPr/>
              <p:nvPr/>
            </p:nvCxnSpPr>
            <p:spPr>
              <a:xfrm>
                <a:off x="996914" y="2551153"/>
                <a:ext cx="668998"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70" name="TextBox 169"/>
              <p:cNvSpPr txBox="1"/>
              <p:nvPr/>
            </p:nvSpPr>
            <p:spPr>
              <a:xfrm>
                <a:off x="321537" y="2472204"/>
                <a:ext cx="706314" cy="20005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ea typeface="+mn-ea"/>
                    <a:cs typeface="+mn-cs"/>
                  </a:rPr>
                  <a:t>CATEGORY </a:t>
                </a:r>
              </a:p>
            </p:txBody>
          </p:sp>
        </p:grpSp>
        <p:sp>
          <p:nvSpPr>
            <p:cNvPr id="165" name="TextBox 164"/>
            <p:cNvSpPr txBox="1"/>
            <p:nvPr/>
          </p:nvSpPr>
          <p:spPr>
            <a:xfrm>
              <a:off x="3979724" y="2809209"/>
              <a:ext cx="1791812"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ea typeface="+mn-ea"/>
                  <a:cs typeface="+mn-cs"/>
                </a:rPr>
                <a:t>EAST NORTH CENTRAL </a:t>
              </a:r>
            </a:p>
          </p:txBody>
        </p:sp>
        <p:sp>
          <p:nvSpPr>
            <p:cNvPr id="166" name="TextBox 165"/>
            <p:cNvSpPr txBox="1"/>
            <p:nvPr/>
          </p:nvSpPr>
          <p:spPr>
            <a:xfrm>
              <a:off x="3979724" y="3293795"/>
              <a:ext cx="1791812"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ea typeface="+mn-ea"/>
                  <a:cs typeface="+mn-cs"/>
                </a:rPr>
                <a:t>SHELF-STABLE PRODUCTS</a:t>
              </a:r>
            </a:p>
          </p:txBody>
        </p:sp>
        <p:sp>
          <p:nvSpPr>
            <p:cNvPr id="167" name="object 29"/>
            <p:cNvSpPr txBox="1"/>
            <p:nvPr/>
          </p:nvSpPr>
          <p:spPr>
            <a:xfrm>
              <a:off x="2972203" y="3841052"/>
              <a:ext cx="1009386" cy="255839"/>
            </a:xfrm>
            <a:prstGeom prst="rect">
              <a:avLst/>
            </a:prstGeom>
            <a:solidFill>
              <a:schemeClr val="bg1">
                <a:lumMod val="85000"/>
              </a:schemeClr>
            </a:solidFill>
          </p:spPr>
          <p:txBody>
            <a:bodyPr vert="horz" wrap="square" lIns="0" tIns="9525" rIns="0" bIns="0" rtlCol="0">
              <a:spAutoFit/>
            </a:bodyPr>
            <a:lstStyle/>
            <a:p>
              <a:pPr marL="0" marR="0" lvl="0" indent="0" algn="ctr" defTabSz="914400" rtl="0" eaLnBrk="1" fontAlgn="auto" latinLnBrk="0" hangingPunct="1">
                <a:lnSpc>
                  <a:spcPct val="100000"/>
                </a:lnSpc>
                <a:spcBef>
                  <a:spcPts val="75"/>
                </a:spcBef>
                <a:spcAft>
                  <a:spcPts val="0"/>
                </a:spcAft>
                <a:buClrTx/>
                <a:buSzTx/>
                <a:buFontTx/>
                <a:buNone/>
                <a:tabLst/>
                <a:defRPr/>
              </a:pPr>
              <a:r>
                <a:rPr kumimoji="0" sz="1600" b="1" i="0" u="none" strike="noStrike" kern="0" cap="none" spc="20" normalizeH="0" baseline="0" noProof="0" dirty="0">
                  <a:ln>
                    <a:noFill/>
                  </a:ln>
                  <a:solidFill>
                    <a:prstClr val="black"/>
                  </a:solidFill>
                  <a:effectLst/>
                  <a:uLnTx/>
                  <a:uFillTx/>
                  <a:ea typeface="+mn-ea"/>
                  <a:cs typeface="Trebuchet MS"/>
                </a:rPr>
                <a:t>$</a:t>
              </a:r>
              <a:r>
                <a:rPr kumimoji="0" lang="en-US" sz="1600" b="1" i="0" u="none" strike="noStrike" kern="0" cap="none" spc="20" normalizeH="0" baseline="0" noProof="0" dirty="0">
                  <a:ln>
                    <a:noFill/>
                  </a:ln>
                  <a:solidFill>
                    <a:prstClr val="black"/>
                  </a:solidFill>
                  <a:effectLst/>
                  <a:uLnTx/>
                  <a:uFillTx/>
                  <a:ea typeface="+mn-ea"/>
                  <a:cs typeface="Trebuchet MS"/>
                </a:rPr>
                <a:t>1M</a:t>
              </a:r>
              <a:endParaRPr kumimoji="0" sz="1600" b="0" i="0" u="none" strike="noStrike" kern="0" cap="none" spc="0" normalizeH="0" baseline="0" noProof="0" dirty="0">
                <a:ln>
                  <a:noFill/>
                </a:ln>
                <a:solidFill>
                  <a:prstClr val="black"/>
                </a:solidFill>
                <a:effectLst/>
                <a:uLnTx/>
                <a:uFillTx/>
                <a:ea typeface="+mn-ea"/>
                <a:cs typeface="Trebuchet MS"/>
              </a:endParaRPr>
            </a:p>
          </p:txBody>
        </p:sp>
        <p:sp>
          <p:nvSpPr>
            <p:cNvPr id="168" name="TextBox 167"/>
            <p:cNvSpPr txBox="1"/>
            <p:nvPr/>
          </p:nvSpPr>
          <p:spPr>
            <a:xfrm>
              <a:off x="3979724" y="3784305"/>
              <a:ext cx="179181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ea typeface="+mn-ea"/>
                  <a:cs typeface="+mn-cs"/>
                </a:rPr>
                <a:t>3% MARKET CAP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ea typeface="+mn-ea"/>
                  <a:cs typeface="+mn-cs"/>
                </a:rPr>
                <a:t>5% COMMISSION</a:t>
              </a:r>
            </a:p>
          </p:txBody>
        </p:sp>
      </p:grpSp>
      <p:sp>
        <p:nvSpPr>
          <p:cNvPr id="152" name="TextBox 151"/>
          <p:cNvSpPr txBox="1"/>
          <p:nvPr/>
        </p:nvSpPr>
        <p:spPr>
          <a:xfrm>
            <a:off x="6307229" y="1787364"/>
            <a:ext cx="117539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SCENARIO 3</a:t>
            </a:r>
          </a:p>
        </p:txBody>
      </p:sp>
      <p:cxnSp>
        <p:nvCxnSpPr>
          <p:cNvPr id="153" name="Straight Connector 152"/>
          <p:cNvCxnSpPr/>
          <p:nvPr/>
        </p:nvCxnSpPr>
        <p:spPr>
          <a:xfrm>
            <a:off x="6401886" y="4616031"/>
            <a:ext cx="471416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81" name="Table 180"/>
          <p:cNvGraphicFramePr>
            <a:graphicFrameLocks noGrp="1"/>
          </p:cNvGraphicFramePr>
          <p:nvPr>
            <p:extLst>
              <p:ext uri="{D42A27DB-BD31-4B8C-83A1-F6EECF244321}">
                <p14:modId xmlns:p14="http://schemas.microsoft.com/office/powerpoint/2010/main" val="3386623170"/>
              </p:ext>
            </p:extLst>
          </p:nvPr>
        </p:nvGraphicFramePr>
        <p:xfrm>
          <a:off x="6401886" y="4709012"/>
          <a:ext cx="4714162" cy="1703438"/>
        </p:xfrm>
        <a:graphic>
          <a:graphicData uri="http://schemas.openxmlformats.org/drawingml/2006/table">
            <a:tbl>
              <a:tblPr/>
              <a:tblGrid>
                <a:gridCol w="2357081">
                  <a:extLst>
                    <a:ext uri="{9D8B030D-6E8A-4147-A177-3AD203B41FA5}">
                      <a16:colId xmlns:a16="http://schemas.microsoft.com/office/drawing/2014/main" val="1535200587"/>
                    </a:ext>
                  </a:extLst>
                </a:gridCol>
                <a:gridCol w="2357081">
                  <a:extLst>
                    <a:ext uri="{9D8B030D-6E8A-4147-A177-3AD203B41FA5}">
                      <a16:colId xmlns:a16="http://schemas.microsoft.com/office/drawing/2014/main" val="1736065697"/>
                    </a:ext>
                  </a:extLst>
                </a:gridCol>
              </a:tblGrid>
              <a:tr h="207519">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0" marR="0" lvl="0" indent="0" algn="l" defTabSz="914400" rtl="0" eaLnBrk="1" fontAlgn="auto" latinLnBrk="0" hangingPunct="1">
                        <a:lnSpc>
                          <a:spcPct val="100000"/>
                        </a:lnSpc>
                        <a:spcBef>
                          <a:spcPts val="0"/>
                        </a:spcBef>
                        <a:spcAft>
                          <a:spcPts val="0"/>
                        </a:spcAft>
                        <a:buClr>
                          <a:srgbClr val="787878"/>
                        </a:buClr>
                        <a:buSzTx/>
                        <a:buFontTx/>
                        <a:buNone/>
                        <a:tabLst/>
                        <a:defRPr/>
                      </a:pPr>
                      <a:r>
                        <a:rPr lang="en-US" sz="1000" b="1" dirty="0">
                          <a:latin typeface="+mn-lt"/>
                        </a:rPr>
                        <a:t>BENEFITS</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7DE39"/>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050" b="1" dirty="0">
                          <a:latin typeface="+mn-lt"/>
                        </a:rPr>
                        <a:t>CHALLENGES</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7DE39"/>
                    </a:solidFill>
                  </a:tcPr>
                </a:tc>
                <a:extLst>
                  <a:ext uri="{0D108BD9-81ED-4DB2-BD59-A6C34878D82A}">
                    <a16:rowId xmlns:a16="http://schemas.microsoft.com/office/drawing/2014/main" val="707080910"/>
                  </a:ext>
                </a:extLst>
              </a:tr>
              <a:tr h="1495919">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000" b="0" i="0" dirty="0">
                          <a:latin typeface="+mn-lt"/>
                          <a:ea typeface="Montserrat Light" charset="0"/>
                          <a:cs typeface="Montserrat Light" charset="0"/>
                        </a:rPr>
                        <a:t>E</a:t>
                      </a:r>
                      <a:r>
                        <a:rPr lang="en-US" sz="1000" b="0" i="0" baseline="0" dirty="0">
                          <a:latin typeface="+mn-lt"/>
                          <a:ea typeface="Montserrat Light" charset="0"/>
                          <a:cs typeface="Montserrat Light" charset="0"/>
                        </a:rPr>
                        <a:t>xisting relationships with full service restaurants</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000" b="0" i="0" baseline="0" dirty="0">
                          <a:latin typeface="+mn-lt"/>
                          <a:ea typeface="Montserrat Light" charset="0"/>
                          <a:cs typeface="Montserrat Light" charset="0"/>
                        </a:rPr>
                        <a:t>Focus on the Midwest region increases chance of significant market penetration</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000" b="0" i="0" baseline="0" dirty="0">
                          <a:latin typeface="+mn-lt"/>
                          <a:ea typeface="Montserrat Light" charset="0"/>
                          <a:cs typeface="Montserrat Light" charset="0"/>
                        </a:rPr>
                        <a:t>Delivery of shelf-stable products only makes drop-ship more feasible and viable</a:t>
                      </a:r>
                      <a:endParaRPr lang="en-US" sz="1000" b="0" i="0" dirty="0">
                        <a:latin typeface="+mn-lt"/>
                        <a:ea typeface="Montserrat Light" charset="0"/>
                        <a:cs typeface="Montserrat Light" charset="0"/>
                      </a:endParaRPr>
                    </a:p>
                  </a:txBody>
                  <a:tcPr marL="45720" marR="45720">
                    <a:lnL w="12700" cap="flat" cmpd="sng" algn="ctr">
                      <a:solidFill>
                        <a:srgbClr val="FFFFFF">
                          <a:lumMod val="85000"/>
                        </a:srgbClr>
                      </a:solidFill>
                      <a:prstDash val="solid"/>
                      <a:round/>
                      <a:headEnd type="none" w="med" len="med"/>
                      <a:tailEnd type="none" w="med" len="med"/>
                    </a:lnL>
                    <a:lnR w="12700" cap="flat" cmpd="sng" algn="ctr">
                      <a:solidFill>
                        <a:srgbClr val="FFFFFF">
                          <a:lumMod val="85000"/>
                        </a:srgb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000" b="0" i="0" baseline="0" dirty="0">
                          <a:latin typeface="+mn-lt"/>
                          <a:ea typeface="Montserrat Light" charset="0"/>
                          <a:cs typeface="Montserrat Light" charset="0"/>
                        </a:rPr>
                        <a:t>Behavioral change required for many (adoption of e-commerce for ordering)</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000" b="0" i="0" baseline="0" dirty="0">
                          <a:latin typeface="+mn-lt"/>
                          <a:ea typeface="Montserrat Light" charset="0"/>
                          <a:cs typeface="Montserrat Light" charset="0"/>
                        </a:rPr>
                        <a:t>Scope limits future revenue potential and halo effect</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000" b="0" i="0" baseline="0" dirty="0">
                          <a:latin typeface="+mn-lt"/>
                          <a:ea typeface="Montserrat Light" charset="0"/>
                          <a:cs typeface="Montserrat Light" charset="0"/>
                        </a:rPr>
                        <a:t>Risk of competitor offering non-shelf stable specialty solution and taking all specialty business</a:t>
                      </a:r>
                    </a:p>
                  </a:txBody>
                  <a:tcPr marL="45720" marR="45720">
                    <a:lnL w="12700" cap="flat" cmpd="sng" algn="ctr">
                      <a:solidFill>
                        <a:srgbClr val="FFFFFF">
                          <a:lumMod val="85000"/>
                        </a:srgbClr>
                      </a:solidFill>
                      <a:prstDash val="solid"/>
                      <a:round/>
                      <a:headEnd type="none" w="med" len="med"/>
                      <a:tailEnd type="none" w="med" len="med"/>
                    </a:lnL>
                    <a:lnR w="12700" cap="flat" cmpd="sng" algn="ctr">
                      <a:solidFill>
                        <a:srgbClr val="FFFFFF">
                          <a:lumMod val="85000"/>
                        </a:srgb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3508108"/>
                  </a:ext>
                </a:extLst>
              </a:tr>
            </a:tbl>
          </a:graphicData>
        </a:graphic>
      </p:graphicFrame>
    </p:spTree>
    <p:extLst>
      <p:ext uri="{BB962C8B-B14F-4D97-AF65-F5344CB8AC3E}">
        <p14:creationId xmlns:p14="http://schemas.microsoft.com/office/powerpoint/2010/main" val="4249467058"/>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1ED25C1-89D8-4405-A678-9A3BF25B1F2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04"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C1ED25C1-89D8-4405-A678-9A3BF25B1F2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3556769-DD7D-4FD5-B5BD-657BC07C76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E4EB3266-D320-486B-B31D-3DB09276A060}"/>
              </a:ext>
            </a:extLst>
          </p:cNvPr>
          <p:cNvSpPr>
            <a:spLocks noGrp="1"/>
          </p:cNvSpPr>
          <p:nvPr>
            <p:ph type="title"/>
          </p:nvPr>
        </p:nvSpPr>
        <p:spPr/>
        <p:txBody>
          <a:bodyPr/>
          <a:lstStyle/>
          <a:p>
            <a:r>
              <a:rPr lang="en-US" dirty="0"/>
              <a:t>Demand for new device platforms</a:t>
            </a:r>
          </a:p>
        </p:txBody>
      </p:sp>
      <p:sp>
        <p:nvSpPr>
          <p:cNvPr id="13" name="Text Placeholder 12">
            <a:extLst>
              <a:ext uri="{FF2B5EF4-FFF2-40B4-BE49-F238E27FC236}">
                <a16:creationId xmlns:a16="http://schemas.microsoft.com/office/drawing/2014/main" id="{8B6B4E6E-C73E-443D-833B-F063BA3069C7}"/>
              </a:ext>
            </a:extLst>
          </p:cNvPr>
          <p:cNvSpPr>
            <a:spLocks noGrp="1"/>
          </p:cNvSpPr>
          <p:nvPr>
            <p:ph type="body" sz="quarter" idx="14"/>
          </p:nvPr>
        </p:nvSpPr>
        <p:spPr>
          <a:xfrm>
            <a:off x="914721" y="1353312"/>
            <a:ext cx="10362880" cy="475488"/>
          </a:xfrm>
        </p:spPr>
        <p:txBody>
          <a:bodyPr/>
          <a:lstStyle/>
          <a:p>
            <a:r>
              <a:rPr lang="en-US" dirty="0"/>
              <a:t>Subtitle</a:t>
            </a:r>
          </a:p>
        </p:txBody>
      </p:sp>
      <p:sp>
        <p:nvSpPr>
          <p:cNvPr id="20" name="Text Placeholder 19">
            <a:extLst>
              <a:ext uri="{FF2B5EF4-FFF2-40B4-BE49-F238E27FC236}">
                <a16:creationId xmlns:a16="http://schemas.microsoft.com/office/drawing/2014/main" id="{15C0B53A-AD81-4CA5-BE5F-E65596B5EAD3}"/>
              </a:ext>
            </a:extLst>
          </p:cNvPr>
          <p:cNvSpPr>
            <a:spLocks noGrp="1"/>
          </p:cNvSpPr>
          <p:nvPr>
            <p:ph type="body" sz="quarter" idx="15"/>
          </p:nvPr>
        </p:nvSpPr>
        <p:spPr>
          <a:xfrm>
            <a:off x="914970" y="466344"/>
            <a:ext cx="4244543" cy="228600"/>
          </a:xfrm>
        </p:spPr>
        <p:txBody>
          <a:bodyPr/>
          <a:lstStyle/>
          <a:p>
            <a:r>
              <a:rPr lang="en-US" dirty="0"/>
              <a:t>Data Visualization &amp; Infographics</a:t>
            </a:r>
          </a:p>
        </p:txBody>
      </p:sp>
      <p:sp>
        <p:nvSpPr>
          <p:cNvPr id="5" name="TextBox 4">
            <a:extLst>
              <a:ext uri="{FF2B5EF4-FFF2-40B4-BE49-F238E27FC236}">
                <a16:creationId xmlns:a16="http://schemas.microsoft.com/office/drawing/2014/main" id="{330B652B-59E2-4DDB-A0F9-897C4510FC62}"/>
              </a:ext>
            </a:extLst>
          </p:cNvPr>
          <p:cNvSpPr txBox="1"/>
          <p:nvPr/>
        </p:nvSpPr>
        <p:spPr>
          <a:xfrm>
            <a:off x="5476568" y="2841606"/>
            <a:ext cx="5801032" cy="476726"/>
          </a:xfrm>
          <a:prstGeom prst="wedgeRoundRectCallout">
            <a:avLst>
              <a:gd name="adj1" fmla="val -55473"/>
              <a:gd name="adj2" fmla="val -5328"/>
              <a:gd name="adj3" fmla="val 16667"/>
            </a:avLst>
          </a:prstGeom>
          <a:noFill/>
          <a:ln w="19050">
            <a:solidFill>
              <a:schemeClr val="accent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Stryker</a:t>
            </a:r>
            <a:r>
              <a:rPr kumimoji="0" lang="en-US" sz="1100" b="0" i="0" u="none" strike="noStrike" kern="1200" cap="none" spc="0" normalizeH="0" baseline="0" noProof="0" dirty="0">
                <a:ln>
                  <a:noFill/>
                </a:ln>
                <a:solidFill>
                  <a:srgbClr val="000000"/>
                </a:solidFill>
                <a:effectLst/>
                <a:uLnTx/>
                <a:uFillTx/>
                <a:latin typeface="Open Sans"/>
                <a:ea typeface="+mn-ea"/>
                <a:cs typeface="+mn-cs"/>
              </a:rPr>
              <a:t> acquired K2M, the maker of </a:t>
            </a:r>
            <a:r>
              <a:rPr kumimoji="0" lang="en-US" sz="1100" b="1" i="0" u="none" strike="noStrike" kern="1200" cap="none" spc="0" normalizeH="0" baseline="0" noProof="0" dirty="0">
                <a:ln>
                  <a:noFill/>
                </a:ln>
                <a:solidFill>
                  <a:srgbClr val="000000"/>
                </a:solidFill>
                <a:effectLst/>
                <a:uLnTx/>
                <a:uFillTx/>
                <a:latin typeface="Open Sans"/>
                <a:ea typeface="+mn-ea"/>
                <a:cs typeface="+mn-cs"/>
              </a:rPr>
              <a:t>3-D printed</a:t>
            </a:r>
            <a:r>
              <a:rPr kumimoji="0" lang="en-US" sz="1100" b="0" i="0" u="none" strike="noStrike" kern="1200" cap="none" spc="0" normalizeH="0" baseline="0" noProof="0" dirty="0">
                <a:ln>
                  <a:noFill/>
                </a:ln>
                <a:solidFill>
                  <a:srgbClr val="000000"/>
                </a:solidFill>
                <a:effectLst/>
                <a:uLnTx/>
                <a:uFillTx/>
                <a:latin typeface="Open Sans"/>
                <a:ea typeface="+mn-ea"/>
                <a:cs typeface="+mn-cs"/>
              </a:rPr>
              <a:t> implantable, </a:t>
            </a:r>
            <a:r>
              <a:rPr kumimoji="0" lang="en-US" sz="1100" b="1" i="0" u="none" strike="noStrike" kern="1200" cap="none" spc="0" normalizeH="0" baseline="0" noProof="0" dirty="0">
                <a:ln>
                  <a:noFill/>
                </a:ln>
                <a:solidFill>
                  <a:srgbClr val="000000"/>
                </a:solidFill>
                <a:effectLst/>
                <a:uLnTx/>
                <a:uFillTx/>
                <a:latin typeface="Open Sans"/>
                <a:ea typeface="+mn-ea"/>
                <a:cs typeface="+mn-cs"/>
              </a:rPr>
              <a:t>minimally invasive </a:t>
            </a:r>
            <a:r>
              <a:rPr kumimoji="0" lang="en-US" sz="1100" b="0" i="0" u="none" strike="noStrike" kern="1200" cap="none" spc="0" normalizeH="0" baseline="0" noProof="0" dirty="0">
                <a:ln>
                  <a:noFill/>
                </a:ln>
                <a:solidFill>
                  <a:srgbClr val="000000"/>
                </a:solidFill>
                <a:effectLst/>
                <a:uLnTx/>
                <a:uFillTx/>
                <a:latin typeface="Open Sans"/>
                <a:ea typeface="+mn-ea"/>
                <a:cs typeface="+mn-cs"/>
              </a:rPr>
              <a:t>spine products, to help boost its spine division.</a:t>
            </a:r>
          </a:p>
        </p:txBody>
      </p:sp>
      <p:sp>
        <p:nvSpPr>
          <p:cNvPr id="6" name="TextBox 5">
            <a:extLst>
              <a:ext uri="{FF2B5EF4-FFF2-40B4-BE49-F238E27FC236}">
                <a16:creationId xmlns:a16="http://schemas.microsoft.com/office/drawing/2014/main" id="{8686B96B-CA6D-43B1-A9B7-BC44DE9BAE79}"/>
              </a:ext>
            </a:extLst>
          </p:cNvPr>
          <p:cNvSpPr txBox="1"/>
          <p:nvPr/>
        </p:nvSpPr>
        <p:spPr>
          <a:xfrm>
            <a:off x="5476568" y="2217666"/>
            <a:ext cx="5801032" cy="476726"/>
          </a:xfrm>
          <a:prstGeom prst="wedgeRoundRectCallout">
            <a:avLst>
              <a:gd name="adj1" fmla="val -52647"/>
              <a:gd name="adj2" fmla="val 16242"/>
              <a:gd name="adj3" fmla="val 16667"/>
            </a:avLst>
          </a:prstGeom>
          <a:noFill/>
          <a:ln w="19050">
            <a:solidFill>
              <a:schemeClr val="accent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Medtronic</a:t>
            </a:r>
            <a:r>
              <a:rPr kumimoji="0" lang="en-US" sz="1100" b="0" i="0" u="none" strike="noStrike" kern="1200" cap="none" spc="0" normalizeH="0" baseline="0" noProof="0" dirty="0">
                <a:ln>
                  <a:noFill/>
                </a:ln>
                <a:solidFill>
                  <a:srgbClr val="000000"/>
                </a:solidFill>
                <a:effectLst/>
                <a:uLnTx/>
                <a:uFillTx/>
                <a:latin typeface="Open Sans"/>
                <a:ea typeface="+mn-ea"/>
                <a:cs typeface="+mn-cs"/>
              </a:rPr>
              <a:t> to acquire </a:t>
            </a:r>
            <a:r>
              <a:rPr kumimoji="0" lang="en-US" sz="1100" b="1" i="0" u="none" strike="noStrike" kern="1200" cap="none" spc="0" normalizeH="0" baseline="0" noProof="0" dirty="0" err="1">
                <a:ln>
                  <a:noFill/>
                </a:ln>
                <a:solidFill>
                  <a:srgbClr val="000000"/>
                </a:solidFill>
                <a:effectLst/>
                <a:uLnTx/>
                <a:uFillTx/>
                <a:latin typeface="Open Sans"/>
                <a:ea typeface="+mn-ea"/>
                <a:cs typeface="+mn-cs"/>
              </a:rPr>
              <a:t>Mazor</a:t>
            </a:r>
            <a:r>
              <a:rPr kumimoji="0" lang="en-US" sz="1100" b="1" i="0" u="none" strike="noStrike" kern="1200" cap="none" spc="0" normalizeH="0" baseline="0" noProof="0" dirty="0">
                <a:ln>
                  <a:noFill/>
                </a:ln>
                <a:solidFill>
                  <a:srgbClr val="000000"/>
                </a:solidFill>
                <a:effectLst/>
                <a:uLnTx/>
                <a:uFillTx/>
                <a:latin typeface="Open Sans"/>
                <a:ea typeface="+mn-ea"/>
                <a:cs typeface="+mn-cs"/>
              </a:rPr>
              <a:t> Robotics</a:t>
            </a:r>
            <a:r>
              <a:rPr kumimoji="0" lang="en-US" sz="1100" b="0" i="0" u="none" strike="noStrike" kern="1200" cap="none" spc="0" normalizeH="0" baseline="0" noProof="0" dirty="0">
                <a:ln>
                  <a:noFill/>
                </a:ln>
                <a:solidFill>
                  <a:srgbClr val="000000"/>
                </a:solidFill>
                <a:effectLst/>
                <a:uLnTx/>
                <a:uFillTx/>
                <a:latin typeface="Open Sans"/>
                <a:ea typeface="+mn-ea"/>
                <a:cs typeface="+mn-cs"/>
              </a:rPr>
              <a:t>, creator of </a:t>
            </a:r>
            <a:r>
              <a:rPr kumimoji="0" lang="en-US" sz="1100" b="1" i="0" u="none" strike="noStrike" kern="1200" cap="none" spc="0" normalizeH="0" baseline="0" noProof="0" dirty="0">
                <a:ln>
                  <a:noFill/>
                </a:ln>
                <a:solidFill>
                  <a:srgbClr val="000000"/>
                </a:solidFill>
                <a:effectLst/>
                <a:uLnTx/>
                <a:uFillTx/>
                <a:latin typeface="Open Sans"/>
                <a:ea typeface="+mn-ea"/>
                <a:cs typeface="+mn-cs"/>
              </a:rPr>
              <a:t>robotic guidance </a:t>
            </a:r>
            <a:r>
              <a:rPr kumimoji="0" lang="en-US" sz="1100" b="0" i="0" u="none" strike="noStrike" kern="1200" cap="none" spc="0" normalizeH="0" baseline="0" noProof="0" dirty="0">
                <a:ln>
                  <a:noFill/>
                </a:ln>
                <a:solidFill>
                  <a:srgbClr val="000000"/>
                </a:solidFill>
                <a:effectLst/>
                <a:uLnTx/>
                <a:uFillTx/>
                <a:latin typeface="Open Sans"/>
                <a:ea typeface="+mn-ea"/>
                <a:cs typeface="+mn-cs"/>
              </a:rPr>
              <a:t>systems for spine surgery using precise</a:t>
            </a:r>
            <a:r>
              <a:rPr kumimoji="0" lang="en-US" sz="1100" b="1" i="0" u="none" strike="noStrike" kern="1200" cap="none" spc="0" normalizeH="0" baseline="0" noProof="0" dirty="0">
                <a:ln>
                  <a:noFill/>
                </a:ln>
                <a:solidFill>
                  <a:srgbClr val="000000"/>
                </a:solidFill>
                <a:effectLst/>
                <a:uLnTx/>
                <a:uFillTx/>
                <a:latin typeface="Open Sans"/>
                <a:ea typeface="+mn-ea"/>
                <a:cs typeface="+mn-cs"/>
              </a:rPr>
              <a:t> anatomical visualization.</a:t>
            </a:r>
            <a:r>
              <a:rPr kumimoji="0" lang="en-US" sz="1100" b="0" i="0" u="none" strike="noStrike" kern="1200" cap="none" spc="0" normalizeH="0" baseline="0" noProof="0" dirty="0">
                <a:ln>
                  <a:noFill/>
                </a:ln>
                <a:solidFill>
                  <a:srgbClr val="000000"/>
                </a:solidFill>
                <a:effectLst/>
                <a:uLnTx/>
                <a:uFillTx/>
                <a:latin typeface="Open Sans"/>
                <a:ea typeface="+mn-ea"/>
                <a:cs typeface="+mn-cs"/>
              </a:rPr>
              <a:t> </a:t>
            </a:r>
          </a:p>
        </p:txBody>
      </p:sp>
      <p:sp>
        <p:nvSpPr>
          <p:cNvPr id="7" name="TextBox 6">
            <a:extLst>
              <a:ext uri="{FF2B5EF4-FFF2-40B4-BE49-F238E27FC236}">
                <a16:creationId xmlns:a16="http://schemas.microsoft.com/office/drawing/2014/main" id="{D2A9E75F-A61A-490E-9E30-D71A6BFD7A6C}"/>
              </a:ext>
            </a:extLst>
          </p:cNvPr>
          <p:cNvSpPr txBox="1"/>
          <p:nvPr/>
        </p:nvSpPr>
        <p:spPr>
          <a:xfrm>
            <a:off x="5476568" y="4089486"/>
            <a:ext cx="5801032" cy="476726"/>
          </a:xfrm>
          <a:prstGeom prst="wedgeRoundRectCallout">
            <a:avLst>
              <a:gd name="adj1" fmla="val -52834"/>
              <a:gd name="adj2" fmla="val -2270"/>
              <a:gd name="adj3" fmla="val 16667"/>
            </a:avLst>
          </a:prstGeom>
          <a:noFill/>
          <a:ln w="19050">
            <a:solidFill>
              <a:schemeClr val="accent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J&amp;J </a:t>
            </a:r>
            <a:r>
              <a:rPr kumimoji="0" lang="en-US" sz="1100" b="0" i="0" u="none" strike="noStrike" kern="1200" cap="none" spc="0" normalizeH="0" baseline="0" noProof="0" dirty="0">
                <a:ln>
                  <a:noFill/>
                </a:ln>
                <a:solidFill>
                  <a:srgbClr val="000000"/>
                </a:solidFill>
                <a:effectLst/>
                <a:uLnTx/>
                <a:uFillTx/>
                <a:latin typeface="Open Sans"/>
                <a:ea typeface="+mn-ea"/>
                <a:cs typeface="+mn-cs"/>
              </a:rPr>
              <a:t>acquired </a:t>
            </a:r>
            <a:r>
              <a:rPr kumimoji="0" lang="en-US" sz="1100" b="1" i="0" u="none" strike="noStrike" kern="1200" cap="none" spc="0" normalizeH="0" baseline="0" noProof="0" dirty="0" err="1">
                <a:ln>
                  <a:noFill/>
                </a:ln>
                <a:solidFill>
                  <a:srgbClr val="000000"/>
                </a:solidFill>
                <a:effectLst/>
                <a:uLnTx/>
                <a:uFillTx/>
                <a:latin typeface="Open Sans"/>
                <a:ea typeface="+mn-ea"/>
                <a:cs typeface="+mn-cs"/>
              </a:rPr>
              <a:t>Orthotaxy</a:t>
            </a:r>
            <a:r>
              <a:rPr kumimoji="0" lang="en-US" sz="1100" b="0" i="0" u="none" strike="noStrike" kern="1200" cap="none" spc="0" normalizeH="0" baseline="0" noProof="0" dirty="0">
                <a:ln>
                  <a:noFill/>
                </a:ln>
                <a:solidFill>
                  <a:srgbClr val="000000"/>
                </a:solidFill>
                <a:effectLst/>
                <a:uLnTx/>
                <a:uFillTx/>
                <a:latin typeface="Open Sans"/>
                <a:ea typeface="+mn-ea"/>
                <a:cs typeface="+mn-cs"/>
              </a:rPr>
              <a:t>, a </a:t>
            </a:r>
            <a:r>
              <a:rPr kumimoji="0" lang="en-US" sz="1100" b="1" i="0" u="none" strike="noStrike" kern="1200" cap="none" spc="0" normalizeH="0" baseline="0" noProof="0" dirty="0">
                <a:ln>
                  <a:noFill/>
                </a:ln>
                <a:solidFill>
                  <a:srgbClr val="000000"/>
                </a:solidFill>
                <a:effectLst/>
                <a:uLnTx/>
                <a:uFillTx/>
                <a:latin typeface="Open Sans"/>
                <a:ea typeface="+mn-ea"/>
                <a:cs typeface="+mn-cs"/>
              </a:rPr>
              <a:t>software developer</a:t>
            </a:r>
            <a:r>
              <a:rPr kumimoji="0" lang="en-US" sz="1100" b="0" i="0" u="none" strike="noStrike" kern="1200" cap="none" spc="0" normalizeH="0" baseline="0" noProof="0" dirty="0">
                <a:ln>
                  <a:noFill/>
                </a:ln>
                <a:solidFill>
                  <a:srgbClr val="000000"/>
                </a:solidFill>
                <a:effectLst/>
                <a:uLnTx/>
                <a:uFillTx/>
                <a:latin typeface="Open Sans"/>
                <a:ea typeface="+mn-ea"/>
                <a:cs typeface="+mn-cs"/>
              </a:rPr>
              <a:t> for surgery technology, to help develop a </a:t>
            </a:r>
            <a:r>
              <a:rPr kumimoji="0" lang="en-US" sz="1100" b="1" i="0" u="none" strike="noStrike" kern="1200" cap="none" spc="0" normalizeH="0" baseline="0" noProof="0" dirty="0">
                <a:ln>
                  <a:noFill/>
                </a:ln>
                <a:solidFill>
                  <a:srgbClr val="000000"/>
                </a:solidFill>
                <a:effectLst/>
                <a:uLnTx/>
                <a:uFillTx/>
                <a:latin typeface="Open Sans"/>
                <a:ea typeface="+mn-ea"/>
                <a:cs typeface="+mn-cs"/>
              </a:rPr>
              <a:t>robotics-assisted </a:t>
            </a:r>
            <a:r>
              <a:rPr kumimoji="0" lang="en-US" sz="1100" b="0" i="0" u="none" strike="noStrike" kern="1200" cap="none" spc="0" normalizeH="0" baseline="0" noProof="0" dirty="0">
                <a:ln>
                  <a:noFill/>
                </a:ln>
                <a:solidFill>
                  <a:srgbClr val="000000"/>
                </a:solidFill>
                <a:effectLst/>
                <a:uLnTx/>
                <a:uFillTx/>
                <a:latin typeface="Open Sans"/>
                <a:ea typeface="+mn-ea"/>
                <a:cs typeface="+mn-cs"/>
              </a:rPr>
              <a:t>orthopedic surgery solution.</a:t>
            </a:r>
          </a:p>
        </p:txBody>
      </p:sp>
      <p:sp>
        <p:nvSpPr>
          <p:cNvPr id="8" name="TextBox 7">
            <a:extLst>
              <a:ext uri="{FF2B5EF4-FFF2-40B4-BE49-F238E27FC236}">
                <a16:creationId xmlns:a16="http://schemas.microsoft.com/office/drawing/2014/main" id="{F5E12943-3DE9-4856-A0B6-22B6657BBBCB}"/>
              </a:ext>
            </a:extLst>
          </p:cNvPr>
          <p:cNvSpPr txBox="1"/>
          <p:nvPr/>
        </p:nvSpPr>
        <p:spPr>
          <a:xfrm>
            <a:off x="5476568" y="3482572"/>
            <a:ext cx="5801032" cy="476726"/>
          </a:xfrm>
          <a:prstGeom prst="wedgeRoundRectCallout">
            <a:avLst>
              <a:gd name="adj1" fmla="val -54525"/>
              <a:gd name="adj2" fmla="val 7182"/>
              <a:gd name="adj3" fmla="val 16667"/>
            </a:avLst>
          </a:prstGeom>
          <a:noFill/>
          <a:ln w="19050">
            <a:solidFill>
              <a:schemeClr val="accent1"/>
            </a:solidFill>
          </a:ln>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UK CMR Surgical </a:t>
            </a:r>
            <a:r>
              <a:rPr kumimoji="0" lang="en-US" sz="1100" b="0" i="0" u="none" strike="noStrike" kern="1200" cap="none" spc="0" normalizeH="0" baseline="0" noProof="0" dirty="0">
                <a:ln>
                  <a:noFill/>
                </a:ln>
                <a:solidFill>
                  <a:srgbClr val="000000"/>
                </a:solidFill>
                <a:effectLst/>
                <a:uLnTx/>
                <a:uFillTx/>
                <a:latin typeface="Open Sans"/>
                <a:ea typeface="+mn-ea"/>
                <a:cs typeface="+mn-cs"/>
              </a:rPr>
              <a:t>launched surgical robot </a:t>
            </a:r>
            <a:r>
              <a:rPr kumimoji="0" lang="en-US" sz="1100" b="1" i="0" u="none" strike="noStrike" kern="1200" cap="none" spc="0" normalizeH="0" baseline="0" noProof="0" dirty="0" err="1">
                <a:ln>
                  <a:noFill/>
                </a:ln>
                <a:solidFill>
                  <a:srgbClr val="000000"/>
                </a:solidFill>
                <a:effectLst/>
                <a:uLnTx/>
                <a:uFillTx/>
                <a:latin typeface="Open Sans"/>
                <a:ea typeface="+mn-ea"/>
                <a:cs typeface="+mn-cs"/>
              </a:rPr>
              <a:t>Versius</a:t>
            </a:r>
            <a:r>
              <a:rPr kumimoji="0" lang="en-US" sz="1100" b="1" i="0" u="none" strike="noStrike" kern="1200" cap="none" spc="0" normalizeH="0" baseline="0" noProof="0" dirty="0">
                <a:ln>
                  <a:noFill/>
                </a:ln>
                <a:solidFill>
                  <a:srgbClr val="000000"/>
                </a:solidFill>
                <a:effectLst/>
                <a:uLnTx/>
                <a:uFillTx/>
                <a:latin typeface="Open Sans"/>
                <a:ea typeface="+mn-ea"/>
                <a:cs typeface="+mn-cs"/>
              </a:rPr>
              <a:t> </a:t>
            </a:r>
            <a:r>
              <a:rPr kumimoji="0" lang="en-US" sz="1100" b="0" i="0" u="none" strike="noStrike" kern="1200" cap="none" spc="0" normalizeH="0" baseline="0" noProof="0" dirty="0">
                <a:ln>
                  <a:noFill/>
                </a:ln>
                <a:solidFill>
                  <a:srgbClr val="000000"/>
                </a:solidFill>
                <a:effectLst/>
                <a:uLnTx/>
                <a:uFillTx/>
                <a:latin typeface="Open Sans"/>
                <a:ea typeface="+mn-ea"/>
                <a:cs typeface="+mn-cs"/>
              </a:rPr>
              <a:t>after receiving £75 million of investment funding in June 2018.</a:t>
            </a:r>
          </a:p>
        </p:txBody>
      </p:sp>
      <p:sp>
        <p:nvSpPr>
          <p:cNvPr id="9" name="TextBox 8">
            <a:extLst>
              <a:ext uri="{FF2B5EF4-FFF2-40B4-BE49-F238E27FC236}">
                <a16:creationId xmlns:a16="http://schemas.microsoft.com/office/drawing/2014/main" id="{789529A0-F526-49FA-9E47-07365AE756E0}"/>
              </a:ext>
            </a:extLst>
          </p:cNvPr>
          <p:cNvSpPr txBox="1"/>
          <p:nvPr/>
        </p:nvSpPr>
        <p:spPr>
          <a:xfrm>
            <a:off x="5476568" y="4713426"/>
            <a:ext cx="5801032" cy="476726"/>
          </a:xfrm>
          <a:prstGeom prst="wedgeRoundRectCallout">
            <a:avLst>
              <a:gd name="adj1" fmla="val -53378"/>
              <a:gd name="adj2" fmla="val 12771"/>
              <a:gd name="adj3" fmla="val 16667"/>
            </a:avLst>
          </a:prstGeom>
          <a:noFill/>
          <a:ln w="19050">
            <a:solidFill>
              <a:schemeClr val="accent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Smith &amp; Nephew </a:t>
            </a:r>
            <a:r>
              <a:rPr kumimoji="0" lang="en-US" sz="1100" b="0" i="0" u="none" strike="noStrike" kern="1200" cap="none" spc="0" normalizeH="0" baseline="0" noProof="0" dirty="0">
                <a:ln>
                  <a:noFill/>
                </a:ln>
                <a:solidFill>
                  <a:srgbClr val="000000"/>
                </a:solidFill>
                <a:effectLst/>
                <a:uLnTx/>
                <a:uFillTx/>
                <a:latin typeface="Open Sans"/>
                <a:ea typeface="+mn-ea"/>
                <a:cs typeface="+mn-cs"/>
              </a:rPr>
              <a:t>acquired </a:t>
            </a:r>
            <a:r>
              <a:rPr kumimoji="0" lang="en-US" sz="1100" b="1" i="0" u="none" strike="noStrike" kern="1200" cap="none" spc="0" normalizeH="0" baseline="0" noProof="0" dirty="0">
                <a:ln>
                  <a:noFill/>
                </a:ln>
                <a:solidFill>
                  <a:srgbClr val="000000"/>
                </a:solidFill>
                <a:effectLst/>
                <a:uLnTx/>
                <a:uFillTx/>
                <a:latin typeface="Open Sans"/>
                <a:ea typeface="+mn-ea"/>
                <a:cs typeface="+mn-cs"/>
              </a:rPr>
              <a:t>Blue Belt Technologies</a:t>
            </a:r>
            <a:r>
              <a:rPr kumimoji="0" lang="en-US" sz="1100" b="0" i="0" u="none" strike="noStrike" kern="1200" cap="none" spc="0" normalizeH="0" baseline="0" noProof="0" dirty="0">
                <a:ln>
                  <a:noFill/>
                </a:ln>
                <a:solidFill>
                  <a:srgbClr val="000000"/>
                </a:solidFill>
                <a:effectLst/>
                <a:uLnTx/>
                <a:uFillTx/>
                <a:latin typeface="Open Sans"/>
                <a:ea typeface="+mn-ea"/>
                <a:cs typeface="+mn-cs"/>
              </a:rPr>
              <a:t>, creator of NAVIO, a </a:t>
            </a:r>
            <a:r>
              <a:rPr kumimoji="0" lang="en-US" sz="1100" b="1" i="0" u="none" strike="noStrike" kern="1200" cap="none" spc="0" normalizeH="0" baseline="0" noProof="0" dirty="0">
                <a:ln>
                  <a:noFill/>
                </a:ln>
                <a:solidFill>
                  <a:srgbClr val="000000"/>
                </a:solidFill>
                <a:effectLst/>
                <a:uLnTx/>
                <a:uFillTx/>
                <a:latin typeface="Open Sans"/>
                <a:ea typeface="+mn-ea"/>
                <a:cs typeface="+mn-cs"/>
              </a:rPr>
              <a:t>robotics-assisted surgical system </a:t>
            </a:r>
            <a:r>
              <a:rPr kumimoji="0" lang="en-US" sz="1100" b="0" i="0" u="none" strike="noStrike" kern="1200" cap="none" spc="0" normalizeH="0" baseline="0" noProof="0" dirty="0">
                <a:ln>
                  <a:noFill/>
                </a:ln>
                <a:solidFill>
                  <a:srgbClr val="000000"/>
                </a:solidFill>
                <a:effectLst/>
                <a:uLnTx/>
                <a:uFillTx/>
                <a:latin typeface="Open Sans"/>
                <a:ea typeface="+mn-ea"/>
                <a:cs typeface="+mn-cs"/>
              </a:rPr>
              <a:t>used for knee replacement surgery.</a:t>
            </a:r>
          </a:p>
        </p:txBody>
      </p:sp>
      <p:sp>
        <p:nvSpPr>
          <p:cNvPr id="10" name="TextBox 9">
            <a:extLst>
              <a:ext uri="{FF2B5EF4-FFF2-40B4-BE49-F238E27FC236}">
                <a16:creationId xmlns:a16="http://schemas.microsoft.com/office/drawing/2014/main" id="{606383C9-FE59-4C6A-B078-2B8CD5AF42B8}"/>
              </a:ext>
            </a:extLst>
          </p:cNvPr>
          <p:cNvSpPr txBox="1"/>
          <p:nvPr/>
        </p:nvSpPr>
        <p:spPr>
          <a:xfrm>
            <a:off x="5476568" y="5337366"/>
            <a:ext cx="5801032" cy="476726"/>
          </a:xfrm>
          <a:prstGeom prst="wedgeRoundRectCallout">
            <a:avLst>
              <a:gd name="adj1" fmla="val -52987"/>
              <a:gd name="adj2" fmla="val 43906"/>
              <a:gd name="adj3" fmla="val 16667"/>
            </a:avLst>
          </a:prstGeom>
          <a:noFill/>
          <a:ln w="19050">
            <a:solidFill>
              <a:schemeClr val="accent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J&amp;J </a:t>
            </a:r>
            <a:r>
              <a:rPr kumimoji="0" lang="en-US" sz="1100" b="0" i="0" u="none" strike="noStrike" kern="1200" cap="none" spc="0" normalizeH="0" baseline="0" noProof="0" dirty="0">
                <a:ln>
                  <a:noFill/>
                </a:ln>
                <a:solidFill>
                  <a:srgbClr val="000000"/>
                </a:solidFill>
                <a:effectLst/>
                <a:uLnTx/>
                <a:uFillTx/>
                <a:latin typeface="Open Sans"/>
                <a:ea typeface="+mn-ea"/>
                <a:cs typeface="+mn-cs"/>
              </a:rPr>
              <a:t>and </a:t>
            </a:r>
            <a:r>
              <a:rPr kumimoji="0" lang="en-US" sz="1100" b="1" i="0" u="none" strike="noStrike" kern="1200" cap="none" spc="0" normalizeH="0" baseline="0" noProof="0" dirty="0">
                <a:ln>
                  <a:noFill/>
                </a:ln>
                <a:solidFill>
                  <a:srgbClr val="000000"/>
                </a:solidFill>
                <a:effectLst/>
                <a:uLnTx/>
                <a:uFillTx/>
                <a:latin typeface="Open Sans"/>
                <a:ea typeface="+mn-ea"/>
                <a:cs typeface="+mn-cs"/>
              </a:rPr>
              <a:t>Google </a:t>
            </a:r>
            <a:r>
              <a:rPr kumimoji="0" lang="en-US" sz="1100" b="0" i="0" u="none" strike="noStrike" kern="1200" cap="none" spc="0" normalizeH="0" baseline="0" noProof="0" dirty="0">
                <a:ln>
                  <a:noFill/>
                </a:ln>
                <a:solidFill>
                  <a:srgbClr val="000000"/>
                </a:solidFill>
                <a:effectLst/>
                <a:uLnTx/>
                <a:uFillTx/>
                <a:latin typeface="Open Sans"/>
                <a:ea typeface="+mn-ea"/>
                <a:cs typeface="+mn-cs"/>
              </a:rPr>
              <a:t>formed joint venture </a:t>
            </a:r>
            <a:r>
              <a:rPr kumimoji="0" lang="en-US" sz="1100" b="1" i="0" u="none" strike="noStrike" kern="1200" cap="none" spc="0" normalizeH="0" baseline="0" noProof="0" dirty="0">
                <a:ln>
                  <a:noFill/>
                </a:ln>
                <a:solidFill>
                  <a:srgbClr val="000000"/>
                </a:solidFill>
                <a:effectLst/>
                <a:uLnTx/>
                <a:uFillTx/>
                <a:latin typeface="Open Sans"/>
                <a:ea typeface="+mn-ea"/>
                <a:cs typeface="+mn-cs"/>
              </a:rPr>
              <a:t>Verb Surgical </a:t>
            </a:r>
            <a:r>
              <a:rPr kumimoji="0" lang="en-US" sz="1100" b="0" i="0" u="none" strike="noStrike" kern="1200" cap="none" spc="0" normalizeH="0" baseline="0" noProof="0" dirty="0">
                <a:ln>
                  <a:noFill/>
                </a:ln>
                <a:solidFill>
                  <a:srgbClr val="000000"/>
                </a:solidFill>
                <a:effectLst/>
                <a:uLnTx/>
                <a:uFillTx/>
                <a:latin typeface="Open Sans"/>
                <a:ea typeface="+mn-ea"/>
                <a:cs typeface="+mn-cs"/>
              </a:rPr>
              <a:t>to create a new platform for digital surgery that leverages AI, robotics and data visualization.</a:t>
            </a:r>
          </a:p>
        </p:txBody>
      </p:sp>
      <p:sp>
        <p:nvSpPr>
          <p:cNvPr id="11" name="TextBox 10">
            <a:extLst>
              <a:ext uri="{FF2B5EF4-FFF2-40B4-BE49-F238E27FC236}">
                <a16:creationId xmlns:a16="http://schemas.microsoft.com/office/drawing/2014/main" id="{73D85FAD-2321-45CD-9E88-AC686BB9EE59}"/>
              </a:ext>
            </a:extLst>
          </p:cNvPr>
          <p:cNvSpPr txBox="1"/>
          <p:nvPr/>
        </p:nvSpPr>
        <p:spPr>
          <a:xfrm>
            <a:off x="914400" y="5888471"/>
            <a:ext cx="1036320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Open Sans"/>
                <a:ea typeface="+mn-ea"/>
                <a:cs typeface="+mn-cs"/>
              </a:rPr>
              <a:t>From 2012 – 2018, acquisitions in the MD space have increased dramatically and largely focused on expanding capabilities related to robotics, MIT, AI, digital visualization and alternative manufacturing</a:t>
            </a:r>
          </a:p>
        </p:txBody>
      </p:sp>
      <p:sp>
        <p:nvSpPr>
          <p:cNvPr id="12" name="TextBox 11">
            <a:extLst>
              <a:ext uri="{FF2B5EF4-FFF2-40B4-BE49-F238E27FC236}">
                <a16:creationId xmlns:a16="http://schemas.microsoft.com/office/drawing/2014/main" id="{BC52CE3E-2547-4070-8FA1-4551A4D28FF8}"/>
              </a:ext>
            </a:extLst>
          </p:cNvPr>
          <p:cNvSpPr txBox="1"/>
          <p:nvPr/>
        </p:nvSpPr>
        <p:spPr>
          <a:xfrm>
            <a:off x="7032487" y="1834503"/>
            <a:ext cx="231581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Open Sans"/>
                <a:ea typeface="+mn-ea"/>
                <a:cs typeface="+mn-cs"/>
              </a:rPr>
              <a:t>Industry Examples</a:t>
            </a:r>
          </a:p>
        </p:txBody>
      </p:sp>
      <p:grpSp>
        <p:nvGrpSpPr>
          <p:cNvPr id="36" name="Group 35">
            <a:extLst>
              <a:ext uri="{FF2B5EF4-FFF2-40B4-BE49-F238E27FC236}">
                <a16:creationId xmlns:a16="http://schemas.microsoft.com/office/drawing/2014/main" id="{1B2C8E1D-07DC-4E7F-9735-5348D923BB76}"/>
              </a:ext>
            </a:extLst>
          </p:cNvPr>
          <p:cNvGrpSpPr/>
          <p:nvPr/>
        </p:nvGrpSpPr>
        <p:grpSpPr>
          <a:xfrm>
            <a:off x="914400" y="4608961"/>
            <a:ext cx="4085871" cy="918713"/>
            <a:chOff x="407721" y="4216486"/>
            <a:chExt cx="4085871" cy="918713"/>
          </a:xfrm>
        </p:grpSpPr>
        <p:sp>
          <p:nvSpPr>
            <p:cNvPr id="26" name="TextBox 25">
              <a:extLst>
                <a:ext uri="{FF2B5EF4-FFF2-40B4-BE49-F238E27FC236}">
                  <a16:creationId xmlns:a16="http://schemas.microsoft.com/office/drawing/2014/main" id="{A66B1960-D809-4465-B94F-622ABF150910}"/>
                </a:ext>
              </a:extLst>
            </p:cNvPr>
            <p:cNvSpPr txBox="1"/>
            <p:nvPr/>
          </p:nvSpPr>
          <p:spPr>
            <a:xfrm>
              <a:off x="1546231" y="4216486"/>
              <a:ext cx="2947361" cy="83099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The </a:t>
              </a:r>
              <a:r>
                <a:rPr kumimoji="0" lang="en-US" sz="1200" b="1" i="0" u="none" strike="noStrike" kern="1200" cap="none" spc="0" normalizeH="0" baseline="0" noProof="0" dirty="0">
                  <a:ln>
                    <a:noFill/>
                  </a:ln>
                  <a:solidFill>
                    <a:schemeClr val="accent3"/>
                  </a:solidFill>
                  <a:effectLst/>
                  <a:uLnTx/>
                  <a:uFillTx/>
                  <a:latin typeface="Open Sans"/>
                  <a:ea typeface="+mn-ea"/>
                  <a:cs typeface="+mn-cs"/>
                </a:rPr>
                <a:t>global 3D printing MD</a:t>
              </a:r>
              <a:r>
                <a:rPr kumimoji="0" lang="en-US" sz="1200" b="1" i="0" u="none" strike="noStrike" kern="1200" cap="none" spc="0" normalizeH="0" baseline="0" noProof="0" dirty="0">
                  <a:ln>
                    <a:noFill/>
                  </a:ln>
                  <a:solidFill>
                    <a:srgbClr val="002060"/>
                  </a:solidFill>
                  <a:effectLst/>
                  <a:uLnTx/>
                  <a:uFillTx/>
                  <a:latin typeface="Open Sans"/>
                  <a:ea typeface="+mn-ea"/>
                  <a:cs typeface="+mn-cs"/>
                </a:rPr>
                <a:t> </a:t>
              </a:r>
              <a:r>
                <a:rPr kumimoji="0" lang="en-US" sz="1200" b="0" i="0" u="none" strike="noStrike" kern="1200" cap="none" spc="0" normalizeH="0" baseline="0" noProof="0" dirty="0">
                  <a:ln>
                    <a:noFill/>
                  </a:ln>
                  <a:solidFill>
                    <a:srgbClr val="000000"/>
                  </a:solidFill>
                  <a:effectLst/>
                  <a:uLnTx/>
                  <a:uFillTx/>
                  <a:latin typeface="Open Sans"/>
                  <a:ea typeface="+mn-ea"/>
                  <a:cs typeface="+mn-cs"/>
                </a:rPr>
                <a:t>market was valued at </a:t>
              </a:r>
              <a:r>
                <a:rPr kumimoji="0" lang="en-US" sz="1200" b="1" i="0" u="none" strike="noStrike" kern="1200" cap="none" spc="0" normalizeH="0" baseline="0" noProof="0" dirty="0">
                  <a:ln>
                    <a:noFill/>
                  </a:ln>
                  <a:solidFill>
                    <a:schemeClr val="accent3"/>
                  </a:solidFill>
                  <a:effectLst/>
                  <a:uLnTx/>
                  <a:uFillTx/>
                  <a:latin typeface="Open Sans"/>
                  <a:ea typeface="+mn-ea"/>
                  <a:cs typeface="+mn-cs"/>
                </a:rPr>
                <a:t>$0.89 billion in 2017 </a:t>
              </a:r>
              <a:r>
                <a:rPr kumimoji="0" lang="en-US" sz="1200" b="0" i="0" u="none" strike="noStrike" kern="1200" cap="none" spc="0" normalizeH="0" baseline="0" noProof="0" dirty="0">
                  <a:ln>
                    <a:noFill/>
                  </a:ln>
                  <a:solidFill>
                    <a:srgbClr val="000000"/>
                  </a:solidFill>
                  <a:effectLst/>
                  <a:uLnTx/>
                  <a:uFillTx/>
                  <a:latin typeface="Open Sans"/>
                  <a:ea typeface="+mn-ea"/>
                  <a:cs typeface="+mn-cs"/>
                </a:rPr>
                <a:t>and is expected to generate revenue of </a:t>
              </a:r>
              <a:r>
                <a:rPr kumimoji="0" lang="en-US" sz="1200" b="1" i="0" u="none" strike="noStrike" kern="1200" cap="none" spc="0" normalizeH="0" baseline="0" noProof="0" dirty="0">
                  <a:ln>
                    <a:noFill/>
                  </a:ln>
                  <a:solidFill>
                    <a:schemeClr val="accent3"/>
                  </a:solidFill>
                  <a:effectLst/>
                  <a:uLnTx/>
                  <a:uFillTx/>
                  <a:latin typeface="Open Sans"/>
                  <a:ea typeface="+mn-ea"/>
                  <a:cs typeface="+mn-cs"/>
                </a:rPr>
                <a:t>$2.34 billion by 2024</a:t>
              </a:r>
            </a:p>
          </p:txBody>
        </p:sp>
        <p:grpSp>
          <p:nvGrpSpPr>
            <p:cNvPr id="27" name="Group 26">
              <a:extLst>
                <a:ext uri="{FF2B5EF4-FFF2-40B4-BE49-F238E27FC236}">
                  <a16:creationId xmlns:a16="http://schemas.microsoft.com/office/drawing/2014/main" id="{E6D3789F-BDF5-4F7A-9B4A-9444A8F743B7}"/>
                </a:ext>
              </a:extLst>
            </p:cNvPr>
            <p:cNvGrpSpPr/>
            <p:nvPr/>
          </p:nvGrpSpPr>
          <p:grpSpPr>
            <a:xfrm>
              <a:off x="407721" y="4436546"/>
              <a:ext cx="1077079" cy="698653"/>
              <a:chOff x="196928" y="4626359"/>
              <a:chExt cx="1077079" cy="698653"/>
            </a:xfrm>
          </p:grpSpPr>
          <p:sp>
            <p:nvSpPr>
              <p:cNvPr id="28" name="TextBox 27">
                <a:extLst>
                  <a:ext uri="{FF2B5EF4-FFF2-40B4-BE49-F238E27FC236}">
                    <a16:creationId xmlns:a16="http://schemas.microsoft.com/office/drawing/2014/main" id="{4E5B05D1-7BAE-4948-86CB-96577B679868}"/>
                  </a:ext>
                </a:extLst>
              </p:cNvPr>
              <p:cNvSpPr txBox="1"/>
              <p:nvPr/>
            </p:nvSpPr>
            <p:spPr>
              <a:xfrm>
                <a:off x="196928" y="4894125"/>
                <a:ext cx="1077079"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accent3"/>
                    </a:solidFill>
                    <a:effectLst/>
                    <a:uLnTx/>
                    <a:uFillTx/>
                    <a:latin typeface="Open Sans"/>
                    <a:ea typeface="+mn-ea"/>
                    <a:cs typeface="+mn-cs"/>
                  </a:rPr>
                  <a:t>increase over 7 years</a:t>
                </a:r>
              </a:p>
            </p:txBody>
          </p:sp>
          <p:sp>
            <p:nvSpPr>
              <p:cNvPr id="29" name="TextBox 28">
                <a:extLst>
                  <a:ext uri="{FF2B5EF4-FFF2-40B4-BE49-F238E27FC236}">
                    <a16:creationId xmlns:a16="http://schemas.microsoft.com/office/drawing/2014/main" id="{EF172481-BCD4-446B-95DA-417E49C862AF}"/>
                  </a:ext>
                </a:extLst>
              </p:cNvPr>
              <p:cNvSpPr txBox="1"/>
              <p:nvPr/>
            </p:nvSpPr>
            <p:spPr>
              <a:xfrm>
                <a:off x="255321" y="4626359"/>
                <a:ext cx="960292"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accent3"/>
                    </a:solidFill>
                    <a:effectLst/>
                    <a:uLnTx/>
                    <a:uFillTx/>
                    <a:latin typeface="Open Sans"/>
                    <a:ea typeface="+mn-ea"/>
                    <a:cs typeface="+mn-cs"/>
                  </a:rPr>
                  <a:t>&gt; 60%</a:t>
                </a:r>
              </a:p>
            </p:txBody>
          </p:sp>
        </p:grpSp>
      </p:grpSp>
      <p:grpSp>
        <p:nvGrpSpPr>
          <p:cNvPr id="35" name="Group 34">
            <a:extLst>
              <a:ext uri="{FF2B5EF4-FFF2-40B4-BE49-F238E27FC236}">
                <a16:creationId xmlns:a16="http://schemas.microsoft.com/office/drawing/2014/main" id="{653EEC87-0B9F-4CD6-94E1-9EA0EC22EDE5}"/>
              </a:ext>
            </a:extLst>
          </p:cNvPr>
          <p:cNvGrpSpPr/>
          <p:nvPr/>
        </p:nvGrpSpPr>
        <p:grpSpPr>
          <a:xfrm>
            <a:off x="965567" y="3308425"/>
            <a:ext cx="4034704" cy="1169919"/>
            <a:chOff x="458888" y="2915950"/>
            <a:chExt cx="4034704" cy="1169919"/>
          </a:xfrm>
        </p:grpSpPr>
        <p:sp>
          <p:nvSpPr>
            <p:cNvPr id="21" name="TextBox 20">
              <a:extLst>
                <a:ext uri="{FF2B5EF4-FFF2-40B4-BE49-F238E27FC236}">
                  <a16:creationId xmlns:a16="http://schemas.microsoft.com/office/drawing/2014/main" id="{3FD73ADB-C680-4143-ACD9-83DE97C7446F}"/>
                </a:ext>
              </a:extLst>
            </p:cNvPr>
            <p:cNvSpPr txBox="1"/>
            <p:nvPr/>
          </p:nvSpPr>
          <p:spPr>
            <a:xfrm>
              <a:off x="458888" y="2944163"/>
              <a:ext cx="2462775"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The </a:t>
              </a:r>
              <a:r>
                <a:rPr kumimoji="0" lang="en-US" sz="1200" b="1" i="0" u="none" strike="noStrike" kern="1200" cap="none" spc="0" normalizeH="0" baseline="0" noProof="0" dirty="0">
                  <a:ln>
                    <a:noFill/>
                  </a:ln>
                  <a:solidFill>
                    <a:schemeClr val="accent1"/>
                  </a:solidFill>
                  <a:effectLst/>
                  <a:uLnTx/>
                  <a:uFillTx/>
                  <a:latin typeface="Open Sans"/>
                  <a:ea typeface="+mn-ea"/>
                  <a:cs typeface="+mn-cs"/>
                </a:rPr>
                <a:t>medical robotics market </a:t>
              </a:r>
              <a:r>
                <a:rPr kumimoji="0" lang="en-US" sz="1200" b="0" i="0" u="none" strike="noStrike" kern="1200" cap="none" spc="0" normalizeH="0" baseline="0" noProof="0" dirty="0">
                  <a:ln>
                    <a:noFill/>
                  </a:ln>
                  <a:solidFill>
                    <a:srgbClr val="000000"/>
                  </a:solidFill>
                  <a:effectLst/>
                  <a:uLnTx/>
                  <a:uFillTx/>
                  <a:latin typeface="Open Sans"/>
                  <a:ea typeface="+mn-ea"/>
                  <a:cs typeface="+mn-cs"/>
                </a:rPr>
                <a:t>is forecast to grow approximately </a:t>
              </a:r>
              <a:r>
                <a:rPr kumimoji="0" lang="en-US" sz="1200" b="1" i="0" u="none" strike="noStrike" kern="1200" cap="none" spc="0" normalizeH="0" baseline="0" noProof="0" dirty="0">
                  <a:ln>
                    <a:noFill/>
                  </a:ln>
                  <a:solidFill>
                    <a:schemeClr val="accent1"/>
                  </a:solidFill>
                  <a:effectLst/>
                  <a:uLnTx/>
                  <a:uFillTx/>
                  <a:latin typeface="Open Sans"/>
                  <a:ea typeface="+mn-ea"/>
                  <a:cs typeface="+mn-cs"/>
                </a:rPr>
                <a:t>60%</a:t>
              </a:r>
              <a:r>
                <a:rPr kumimoji="0" lang="en-US" sz="1200" b="1" i="0" u="none" strike="noStrike" kern="1200" cap="none" spc="0" normalizeH="0" baseline="0" noProof="0" dirty="0">
                  <a:ln>
                    <a:noFill/>
                  </a:ln>
                  <a:solidFill>
                    <a:srgbClr val="92D050"/>
                  </a:solidFill>
                  <a:effectLst/>
                  <a:uLnTx/>
                  <a:uFillTx/>
                  <a:latin typeface="Open Sans"/>
                  <a:ea typeface="+mn-ea"/>
                  <a:cs typeface="+mn-cs"/>
                </a:rPr>
                <a:t> </a:t>
              </a:r>
              <a:r>
                <a:rPr kumimoji="0" lang="en-US" sz="1200" b="0" i="0" u="none" strike="noStrike" kern="1200" cap="none" spc="0" normalizeH="0" baseline="0" noProof="0" dirty="0">
                  <a:ln>
                    <a:noFill/>
                  </a:ln>
                  <a:solidFill>
                    <a:srgbClr val="000000"/>
                  </a:solidFill>
                  <a:effectLst/>
                  <a:uLnTx/>
                  <a:uFillTx/>
                  <a:latin typeface="Open Sans"/>
                  <a:ea typeface="+mn-ea"/>
                  <a:cs typeface="+mn-cs"/>
                </a:rPr>
                <a:t>over the next </a:t>
              </a:r>
              <a:r>
                <a:rPr kumimoji="0" lang="en-US" sz="1200" b="1" i="0" u="none" strike="noStrike" kern="1200" cap="none" spc="0" normalizeH="0" baseline="0" noProof="0" dirty="0">
                  <a:ln>
                    <a:noFill/>
                  </a:ln>
                  <a:solidFill>
                    <a:schemeClr val="accent1"/>
                  </a:solidFill>
                  <a:effectLst/>
                  <a:uLnTx/>
                  <a:uFillTx/>
                  <a:latin typeface="Open Sans"/>
                  <a:ea typeface="+mn-ea"/>
                  <a:cs typeface="+mn-cs"/>
                </a:rPr>
                <a:t>5 years </a:t>
              </a:r>
            </a:p>
          </p:txBody>
        </p:sp>
        <p:grpSp>
          <p:nvGrpSpPr>
            <p:cNvPr id="22" name="Group 21">
              <a:extLst>
                <a:ext uri="{FF2B5EF4-FFF2-40B4-BE49-F238E27FC236}">
                  <a16:creationId xmlns:a16="http://schemas.microsoft.com/office/drawing/2014/main" id="{797898E8-CFB3-432A-92B4-DC2B09747A96}"/>
                </a:ext>
              </a:extLst>
            </p:cNvPr>
            <p:cNvGrpSpPr/>
            <p:nvPr/>
          </p:nvGrpSpPr>
          <p:grpSpPr>
            <a:xfrm>
              <a:off x="3030552" y="2915950"/>
              <a:ext cx="1463040" cy="948978"/>
              <a:chOff x="3030552" y="2953167"/>
              <a:chExt cx="1463040" cy="948978"/>
            </a:xfrm>
          </p:grpSpPr>
          <p:sp>
            <p:nvSpPr>
              <p:cNvPr id="23" name="TextBox 22">
                <a:extLst>
                  <a:ext uri="{FF2B5EF4-FFF2-40B4-BE49-F238E27FC236}">
                    <a16:creationId xmlns:a16="http://schemas.microsoft.com/office/drawing/2014/main" id="{5BCEFC58-BBB1-4C34-B949-B4626C70F093}"/>
                  </a:ext>
                </a:extLst>
              </p:cNvPr>
              <p:cNvSpPr txBox="1"/>
              <p:nvPr/>
            </p:nvSpPr>
            <p:spPr>
              <a:xfrm>
                <a:off x="3030552" y="2953167"/>
                <a:ext cx="1463040" cy="94897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3800"/>
                  </a:spcBef>
                  <a:spcAft>
                    <a:spcPts val="0"/>
                  </a:spcAft>
                  <a:buClrTx/>
                  <a:buSzTx/>
                  <a:buFontTx/>
                  <a:buNone/>
                  <a:tabLst/>
                  <a:defRPr/>
                </a:pPr>
                <a:r>
                  <a:rPr kumimoji="0" lang="en-US" sz="1200" b="1" i="0" u="none" strike="noStrike" kern="1200" cap="none" spc="0" normalizeH="0" baseline="0" noProof="0" dirty="0">
                    <a:ln>
                      <a:noFill/>
                    </a:ln>
                    <a:solidFill>
                      <a:schemeClr val="accent1"/>
                    </a:solidFill>
                    <a:effectLst/>
                    <a:uLnTx/>
                    <a:uFillTx/>
                    <a:latin typeface="Open Sans"/>
                    <a:ea typeface="+mn-ea"/>
                    <a:cs typeface="+mn-cs"/>
                  </a:rPr>
                  <a:t>$6.46 B – 2018</a:t>
                </a:r>
              </a:p>
              <a:p>
                <a:pPr marL="0" marR="0" lvl="0" indent="0" algn="l" defTabSz="914400" rtl="0" eaLnBrk="1" fontAlgn="auto" latinLnBrk="0" hangingPunct="1">
                  <a:lnSpc>
                    <a:spcPct val="100000"/>
                  </a:lnSpc>
                  <a:spcBef>
                    <a:spcPts val="3800"/>
                  </a:spcBef>
                  <a:spcAft>
                    <a:spcPts val="0"/>
                  </a:spcAft>
                  <a:buClrTx/>
                  <a:buSzTx/>
                  <a:buFontTx/>
                  <a:buNone/>
                  <a:tabLst/>
                  <a:defRPr/>
                </a:pPr>
                <a:r>
                  <a:rPr kumimoji="0" lang="en-US" sz="1200" b="1" i="0" u="none" strike="noStrike" kern="1200" cap="none" spc="0" normalizeH="0" baseline="0" noProof="0" dirty="0">
                    <a:ln>
                      <a:noFill/>
                    </a:ln>
                    <a:solidFill>
                      <a:schemeClr val="accent1"/>
                    </a:solidFill>
                    <a:effectLst/>
                    <a:uLnTx/>
                    <a:uFillTx/>
                    <a:latin typeface="Open Sans"/>
                    <a:ea typeface="+mn-ea"/>
                    <a:cs typeface="+mn-cs"/>
                  </a:rPr>
                  <a:t>$16.5 B - 2023</a:t>
                </a:r>
              </a:p>
            </p:txBody>
          </p:sp>
          <p:sp>
            <p:nvSpPr>
              <p:cNvPr id="24" name="Freeform 220">
                <a:extLst>
                  <a:ext uri="{FF2B5EF4-FFF2-40B4-BE49-F238E27FC236}">
                    <a16:creationId xmlns:a16="http://schemas.microsoft.com/office/drawing/2014/main" id="{1CF9B56E-47C6-459D-9F27-CAD4B22B29A2}"/>
                  </a:ext>
                </a:extLst>
              </p:cNvPr>
              <p:cNvSpPr>
                <a:spLocks/>
              </p:cNvSpPr>
              <p:nvPr/>
            </p:nvSpPr>
            <p:spPr bwMode="auto">
              <a:xfrm rot="15647017" flipH="1">
                <a:off x="3535984" y="3365887"/>
                <a:ext cx="490522" cy="153477"/>
              </a:xfrm>
              <a:custGeom>
                <a:avLst/>
                <a:gdLst>
                  <a:gd name="T0" fmla="*/ 77 w 162"/>
                  <a:gd name="T1" fmla="*/ 36 h 51"/>
                  <a:gd name="T2" fmla="*/ 61 w 162"/>
                  <a:gd name="T3" fmla="*/ 36 h 51"/>
                  <a:gd name="T4" fmla="*/ 50 w 162"/>
                  <a:gd name="T5" fmla="*/ 35 h 51"/>
                  <a:gd name="T6" fmla="*/ 41 w 162"/>
                  <a:gd name="T7" fmla="*/ 35 h 51"/>
                  <a:gd name="T8" fmla="*/ 14 w 162"/>
                  <a:gd name="T9" fmla="*/ 29 h 51"/>
                  <a:gd name="T10" fmla="*/ 14 w 162"/>
                  <a:gd name="T11" fmla="*/ 29 h 51"/>
                  <a:gd name="T12" fmla="*/ 6 w 162"/>
                  <a:gd name="T13" fmla="*/ 19 h 51"/>
                  <a:gd name="T14" fmla="*/ 11 w 162"/>
                  <a:gd name="T15" fmla="*/ 19 h 51"/>
                  <a:gd name="T16" fmla="*/ 15 w 162"/>
                  <a:gd name="T17" fmla="*/ 21 h 51"/>
                  <a:gd name="T18" fmla="*/ 26 w 162"/>
                  <a:gd name="T19" fmla="*/ 23 h 51"/>
                  <a:gd name="T20" fmla="*/ 41 w 162"/>
                  <a:gd name="T21" fmla="*/ 25 h 51"/>
                  <a:gd name="T22" fmla="*/ 43 w 162"/>
                  <a:gd name="T23" fmla="*/ 26 h 51"/>
                  <a:gd name="T24" fmla="*/ 62 w 162"/>
                  <a:gd name="T25" fmla="*/ 27 h 51"/>
                  <a:gd name="T26" fmla="*/ 63 w 162"/>
                  <a:gd name="T27" fmla="*/ 27 h 51"/>
                  <a:gd name="T28" fmla="*/ 81 w 162"/>
                  <a:gd name="T29" fmla="*/ 27 h 51"/>
                  <a:gd name="T30" fmla="*/ 81 w 162"/>
                  <a:gd name="T31" fmla="*/ 27 h 51"/>
                  <a:gd name="T32" fmla="*/ 105 w 162"/>
                  <a:gd name="T33" fmla="*/ 23 h 51"/>
                  <a:gd name="T34" fmla="*/ 106 w 162"/>
                  <a:gd name="T35" fmla="*/ 23 h 51"/>
                  <a:gd name="T36" fmla="*/ 126 w 162"/>
                  <a:gd name="T37" fmla="*/ 18 h 51"/>
                  <a:gd name="T38" fmla="*/ 108 w 162"/>
                  <a:gd name="T39" fmla="*/ 10 h 51"/>
                  <a:gd name="T40" fmla="*/ 107 w 162"/>
                  <a:gd name="T41" fmla="*/ 8 h 51"/>
                  <a:gd name="T42" fmla="*/ 107 w 162"/>
                  <a:gd name="T43" fmla="*/ 7 h 51"/>
                  <a:gd name="T44" fmla="*/ 113 w 162"/>
                  <a:gd name="T45" fmla="*/ 0 h 51"/>
                  <a:gd name="T46" fmla="*/ 126 w 162"/>
                  <a:gd name="T47" fmla="*/ 4 h 51"/>
                  <a:gd name="T48" fmla="*/ 126 w 162"/>
                  <a:gd name="T49" fmla="*/ 4 h 51"/>
                  <a:gd name="T50" fmla="*/ 137 w 162"/>
                  <a:gd name="T51" fmla="*/ 6 h 51"/>
                  <a:gd name="T52" fmla="*/ 138 w 162"/>
                  <a:gd name="T53" fmla="*/ 6 h 51"/>
                  <a:gd name="T54" fmla="*/ 138 w 162"/>
                  <a:gd name="T55" fmla="*/ 7 h 51"/>
                  <a:gd name="T56" fmla="*/ 156 w 162"/>
                  <a:gd name="T57" fmla="*/ 4 h 51"/>
                  <a:gd name="T58" fmla="*/ 157 w 162"/>
                  <a:gd name="T59" fmla="*/ 4 h 51"/>
                  <a:gd name="T60" fmla="*/ 160 w 162"/>
                  <a:gd name="T61" fmla="*/ 17 h 51"/>
                  <a:gd name="T62" fmla="*/ 160 w 162"/>
                  <a:gd name="T63" fmla="*/ 18 h 51"/>
                  <a:gd name="T64" fmla="*/ 150 w 162"/>
                  <a:gd name="T65" fmla="*/ 24 h 51"/>
                  <a:gd name="T66" fmla="*/ 149 w 162"/>
                  <a:gd name="T67" fmla="*/ 24 h 51"/>
                  <a:gd name="T68" fmla="*/ 127 w 162"/>
                  <a:gd name="T69" fmla="*/ 51 h 51"/>
                  <a:gd name="T70" fmla="*/ 123 w 162"/>
                  <a:gd name="T71" fmla="*/ 46 h 51"/>
                  <a:gd name="T72" fmla="*/ 123 w 162"/>
                  <a:gd name="T73" fmla="*/ 45 h 51"/>
                  <a:gd name="T74" fmla="*/ 124 w 162"/>
                  <a:gd name="T75" fmla="*/ 45 h 51"/>
                  <a:gd name="T76" fmla="*/ 133 w 162"/>
                  <a:gd name="T77" fmla="*/ 26 h 51"/>
                  <a:gd name="T78" fmla="*/ 126 w 162"/>
                  <a:gd name="T79" fmla="*/ 28 h 51"/>
                  <a:gd name="T80" fmla="*/ 126 w 162"/>
                  <a:gd name="T81" fmla="*/ 28 h 51"/>
                  <a:gd name="T82" fmla="*/ 77 w 162"/>
                  <a:gd name="T83" fmla="*/ 3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2" h="51">
                    <a:moveTo>
                      <a:pt x="77" y="36"/>
                    </a:moveTo>
                    <a:cubicBezTo>
                      <a:pt x="73" y="38"/>
                      <a:pt x="68" y="35"/>
                      <a:pt x="61" y="36"/>
                    </a:cubicBezTo>
                    <a:cubicBezTo>
                      <a:pt x="58" y="34"/>
                      <a:pt x="52" y="35"/>
                      <a:pt x="50" y="35"/>
                    </a:cubicBezTo>
                    <a:cubicBezTo>
                      <a:pt x="46" y="34"/>
                      <a:pt x="44" y="37"/>
                      <a:pt x="41" y="35"/>
                    </a:cubicBezTo>
                    <a:cubicBezTo>
                      <a:pt x="33" y="33"/>
                      <a:pt x="21" y="30"/>
                      <a:pt x="14" y="29"/>
                    </a:cubicBezTo>
                    <a:cubicBezTo>
                      <a:pt x="14" y="29"/>
                      <a:pt x="14" y="29"/>
                      <a:pt x="14" y="29"/>
                    </a:cubicBezTo>
                    <a:cubicBezTo>
                      <a:pt x="11" y="27"/>
                      <a:pt x="0" y="25"/>
                      <a:pt x="6" y="19"/>
                    </a:cubicBezTo>
                    <a:cubicBezTo>
                      <a:pt x="8" y="19"/>
                      <a:pt x="9" y="19"/>
                      <a:pt x="11" y="19"/>
                    </a:cubicBezTo>
                    <a:cubicBezTo>
                      <a:pt x="12" y="21"/>
                      <a:pt x="14" y="21"/>
                      <a:pt x="15" y="21"/>
                    </a:cubicBezTo>
                    <a:cubicBezTo>
                      <a:pt x="17" y="23"/>
                      <a:pt x="24" y="24"/>
                      <a:pt x="26" y="23"/>
                    </a:cubicBezTo>
                    <a:cubicBezTo>
                      <a:pt x="32" y="23"/>
                      <a:pt x="37" y="26"/>
                      <a:pt x="41" y="25"/>
                    </a:cubicBezTo>
                    <a:cubicBezTo>
                      <a:pt x="41" y="26"/>
                      <a:pt x="42" y="26"/>
                      <a:pt x="43" y="26"/>
                    </a:cubicBezTo>
                    <a:cubicBezTo>
                      <a:pt x="50" y="27"/>
                      <a:pt x="56" y="28"/>
                      <a:pt x="62" y="27"/>
                    </a:cubicBezTo>
                    <a:cubicBezTo>
                      <a:pt x="63" y="27"/>
                      <a:pt x="63" y="27"/>
                      <a:pt x="63" y="27"/>
                    </a:cubicBezTo>
                    <a:cubicBezTo>
                      <a:pt x="67" y="28"/>
                      <a:pt x="77" y="28"/>
                      <a:pt x="81" y="27"/>
                    </a:cubicBezTo>
                    <a:cubicBezTo>
                      <a:pt x="81" y="27"/>
                      <a:pt x="81" y="27"/>
                      <a:pt x="81" y="27"/>
                    </a:cubicBezTo>
                    <a:cubicBezTo>
                      <a:pt x="87" y="27"/>
                      <a:pt x="99" y="25"/>
                      <a:pt x="105" y="23"/>
                    </a:cubicBezTo>
                    <a:cubicBezTo>
                      <a:pt x="106" y="23"/>
                      <a:pt x="106" y="23"/>
                      <a:pt x="106" y="23"/>
                    </a:cubicBezTo>
                    <a:cubicBezTo>
                      <a:pt x="113" y="23"/>
                      <a:pt x="120" y="20"/>
                      <a:pt x="126" y="18"/>
                    </a:cubicBezTo>
                    <a:cubicBezTo>
                      <a:pt x="122" y="13"/>
                      <a:pt x="114" y="13"/>
                      <a:pt x="108" y="10"/>
                    </a:cubicBezTo>
                    <a:cubicBezTo>
                      <a:pt x="108" y="10"/>
                      <a:pt x="108" y="8"/>
                      <a:pt x="107" y="8"/>
                    </a:cubicBezTo>
                    <a:cubicBezTo>
                      <a:pt x="107" y="8"/>
                      <a:pt x="107" y="8"/>
                      <a:pt x="107" y="7"/>
                    </a:cubicBezTo>
                    <a:cubicBezTo>
                      <a:pt x="110" y="6"/>
                      <a:pt x="107" y="0"/>
                      <a:pt x="113" y="0"/>
                    </a:cubicBezTo>
                    <a:cubicBezTo>
                      <a:pt x="116" y="2"/>
                      <a:pt x="123" y="4"/>
                      <a:pt x="126" y="4"/>
                    </a:cubicBezTo>
                    <a:cubicBezTo>
                      <a:pt x="126" y="4"/>
                      <a:pt x="126" y="4"/>
                      <a:pt x="126" y="4"/>
                    </a:cubicBezTo>
                    <a:cubicBezTo>
                      <a:pt x="129" y="5"/>
                      <a:pt x="136" y="6"/>
                      <a:pt x="137" y="6"/>
                    </a:cubicBezTo>
                    <a:cubicBezTo>
                      <a:pt x="138" y="6"/>
                      <a:pt x="138" y="6"/>
                      <a:pt x="138" y="6"/>
                    </a:cubicBezTo>
                    <a:cubicBezTo>
                      <a:pt x="138" y="6"/>
                      <a:pt x="138" y="6"/>
                      <a:pt x="138" y="7"/>
                    </a:cubicBezTo>
                    <a:cubicBezTo>
                      <a:pt x="146" y="5"/>
                      <a:pt x="150" y="7"/>
                      <a:pt x="156" y="4"/>
                    </a:cubicBezTo>
                    <a:cubicBezTo>
                      <a:pt x="156" y="4"/>
                      <a:pt x="156" y="4"/>
                      <a:pt x="157" y="4"/>
                    </a:cubicBezTo>
                    <a:cubicBezTo>
                      <a:pt x="162" y="5"/>
                      <a:pt x="159" y="14"/>
                      <a:pt x="160" y="17"/>
                    </a:cubicBezTo>
                    <a:cubicBezTo>
                      <a:pt x="160" y="17"/>
                      <a:pt x="160" y="17"/>
                      <a:pt x="160" y="18"/>
                    </a:cubicBezTo>
                    <a:cubicBezTo>
                      <a:pt x="157" y="20"/>
                      <a:pt x="152" y="20"/>
                      <a:pt x="150" y="24"/>
                    </a:cubicBezTo>
                    <a:cubicBezTo>
                      <a:pt x="150" y="24"/>
                      <a:pt x="150" y="24"/>
                      <a:pt x="149" y="24"/>
                    </a:cubicBezTo>
                    <a:cubicBezTo>
                      <a:pt x="141" y="28"/>
                      <a:pt x="137" y="44"/>
                      <a:pt x="127" y="51"/>
                    </a:cubicBezTo>
                    <a:cubicBezTo>
                      <a:pt x="125" y="50"/>
                      <a:pt x="124" y="47"/>
                      <a:pt x="123" y="46"/>
                    </a:cubicBezTo>
                    <a:cubicBezTo>
                      <a:pt x="123" y="46"/>
                      <a:pt x="123" y="45"/>
                      <a:pt x="123" y="45"/>
                    </a:cubicBezTo>
                    <a:cubicBezTo>
                      <a:pt x="123" y="45"/>
                      <a:pt x="123" y="45"/>
                      <a:pt x="124" y="45"/>
                    </a:cubicBezTo>
                    <a:cubicBezTo>
                      <a:pt x="127" y="39"/>
                      <a:pt x="133" y="32"/>
                      <a:pt x="133" y="26"/>
                    </a:cubicBezTo>
                    <a:cubicBezTo>
                      <a:pt x="131" y="26"/>
                      <a:pt x="128" y="26"/>
                      <a:pt x="126" y="28"/>
                    </a:cubicBezTo>
                    <a:cubicBezTo>
                      <a:pt x="126" y="28"/>
                      <a:pt x="126" y="28"/>
                      <a:pt x="126" y="28"/>
                    </a:cubicBezTo>
                    <a:cubicBezTo>
                      <a:pt x="113" y="31"/>
                      <a:pt x="92" y="35"/>
                      <a:pt x="77" y="36"/>
                    </a:cubicBezTo>
                    <a:close/>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cxnSp>
          <p:nvCxnSpPr>
            <p:cNvPr id="31" name="Straight Connector 30">
              <a:extLst>
                <a:ext uri="{FF2B5EF4-FFF2-40B4-BE49-F238E27FC236}">
                  <a16:creationId xmlns:a16="http://schemas.microsoft.com/office/drawing/2014/main" id="{3BF5FB1D-FD13-4A6D-A940-FEC126A26981}"/>
                </a:ext>
              </a:extLst>
            </p:cNvPr>
            <p:cNvCxnSpPr/>
            <p:nvPr/>
          </p:nvCxnSpPr>
          <p:spPr>
            <a:xfrm flipV="1">
              <a:off x="1149805" y="4075709"/>
              <a:ext cx="2631440" cy="1016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grpSp>
      <p:grpSp>
        <p:nvGrpSpPr>
          <p:cNvPr id="33" name="Group 32">
            <a:extLst>
              <a:ext uri="{FF2B5EF4-FFF2-40B4-BE49-F238E27FC236}">
                <a16:creationId xmlns:a16="http://schemas.microsoft.com/office/drawing/2014/main" id="{184AFB7E-D72F-47E1-9A27-6CDC436E495E}"/>
              </a:ext>
            </a:extLst>
          </p:cNvPr>
          <p:cNvGrpSpPr/>
          <p:nvPr/>
        </p:nvGrpSpPr>
        <p:grpSpPr>
          <a:xfrm>
            <a:off x="893833" y="2064316"/>
            <a:ext cx="4106438" cy="1132319"/>
            <a:chOff x="893833" y="2155956"/>
            <a:chExt cx="4106438" cy="1132319"/>
          </a:xfrm>
        </p:grpSpPr>
        <p:sp>
          <p:nvSpPr>
            <p:cNvPr id="14" name="TextBox 13">
              <a:extLst>
                <a:ext uri="{FF2B5EF4-FFF2-40B4-BE49-F238E27FC236}">
                  <a16:creationId xmlns:a16="http://schemas.microsoft.com/office/drawing/2014/main" id="{D3FCFD0D-F0CB-4F50-9AD0-D44E102CF621}"/>
                </a:ext>
              </a:extLst>
            </p:cNvPr>
            <p:cNvSpPr txBox="1"/>
            <p:nvPr/>
          </p:nvSpPr>
          <p:spPr>
            <a:xfrm>
              <a:off x="1948438" y="2155956"/>
              <a:ext cx="3051833" cy="64633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The global </a:t>
              </a:r>
              <a:r>
                <a:rPr kumimoji="0" lang="en-US" sz="1200" b="1" i="0" u="none" strike="noStrike" kern="1200" cap="none" spc="0" normalizeH="0" baseline="0" noProof="0" dirty="0">
                  <a:ln>
                    <a:noFill/>
                  </a:ln>
                  <a:solidFill>
                    <a:schemeClr val="accent2"/>
                  </a:solidFill>
                  <a:effectLst/>
                  <a:uLnTx/>
                  <a:uFillTx/>
                  <a:latin typeface="Open Sans"/>
                  <a:ea typeface="+mn-ea"/>
                  <a:cs typeface="+mn-cs"/>
                </a:rPr>
                <a:t>MIT surgical instruments</a:t>
              </a:r>
              <a:r>
                <a:rPr kumimoji="0" lang="en-US" sz="1200" b="0" i="0" u="none" strike="noStrike" kern="1200" cap="none" spc="0" normalizeH="0" baseline="0" noProof="0" dirty="0">
                  <a:ln>
                    <a:noFill/>
                  </a:ln>
                  <a:solidFill>
                    <a:srgbClr val="62B5E5"/>
                  </a:solidFill>
                  <a:effectLst/>
                  <a:uLnTx/>
                  <a:uFillTx/>
                  <a:latin typeface="Open Sans"/>
                  <a:ea typeface="+mn-ea"/>
                  <a:cs typeface="+mn-cs"/>
                </a:rPr>
                <a:t> </a:t>
              </a:r>
              <a:r>
                <a:rPr kumimoji="0" lang="en-US" sz="1200" b="0" i="0" u="none" strike="noStrike" kern="1200" cap="none" spc="0" normalizeH="0" baseline="0" noProof="0" dirty="0">
                  <a:ln>
                    <a:noFill/>
                  </a:ln>
                  <a:solidFill>
                    <a:srgbClr val="000000"/>
                  </a:solidFill>
                  <a:effectLst/>
                  <a:uLnTx/>
                  <a:uFillTx/>
                  <a:latin typeface="Open Sans"/>
                  <a:ea typeface="+mn-ea"/>
                  <a:cs typeface="+mn-cs"/>
                </a:rPr>
                <a:t>market is expected to grow from </a:t>
              </a:r>
              <a:r>
                <a:rPr kumimoji="0" lang="en-US" sz="1200" b="1" i="0" u="none" strike="noStrike" kern="1200" cap="none" spc="0" normalizeH="0" baseline="0" noProof="0" dirty="0">
                  <a:ln>
                    <a:noFill/>
                  </a:ln>
                  <a:solidFill>
                    <a:schemeClr val="accent2"/>
                  </a:solidFill>
                  <a:effectLst/>
                  <a:uLnTx/>
                  <a:uFillTx/>
                  <a:latin typeface="Open Sans"/>
                  <a:ea typeface="+mn-ea"/>
                  <a:cs typeface="+mn-cs"/>
                </a:rPr>
                <a:t>$10.50 billion </a:t>
              </a:r>
              <a:r>
                <a:rPr kumimoji="0" lang="en-US" sz="1200" b="0" i="0" u="none" strike="noStrike" kern="1200" cap="none" spc="0" normalizeH="0" baseline="0" noProof="0" dirty="0">
                  <a:ln>
                    <a:noFill/>
                  </a:ln>
                  <a:solidFill>
                    <a:srgbClr val="000000"/>
                  </a:solidFill>
                  <a:effectLst/>
                  <a:uLnTx/>
                  <a:uFillTx/>
                  <a:latin typeface="Open Sans"/>
                  <a:ea typeface="+mn-ea"/>
                  <a:cs typeface="+mn-cs"/>
                </a:rPr>
                <a:t>to </a:t>
              </a:r>
              <a:r>
                <a:rPr kumimoji="0" lang="en-US" sz="1200" b="1" i="0" u="none" strike="noStrike" kern="1200" cap="none" spc="0" normalizeH="0" baseline="0" noProof="0" dirty="0">
                  <a:ln>
                    <a:noFill/>
                  </a:ln>
                  <a:solidFill>
                    <a:schemeClr val="accent2"/>
                  </a:solidFill>
                  <a:effectLst/>
                  <a:uLnTx/>
                  <a:uFillTx/>
                  <a:latin typeface="Open Sans"/>
                  <a:ea typeface="+mn-ea"/>
                  <a:cs typeface="+mn-cs"/>
                </a:rPr>
                <a:t>$23.87 billion </a:t>
              </a:r>
              <a:r>
                <a:rPr kumimoji="0" lang="en-US" sz="1200" b="0" i="0" u="none" strike="noStrike" kern="1200" cap="none" spc="0" normalizeH="0" baseline="0" noProof="0" dirty="0">
                  <a:ln>
                    <a:noFill/>
                  </a:ln>
                  <a:solidFill>
                    <a:srgbClr val="000000"/>
                  </a:solidFill>
                  <a:effectLst/>
                  <a:uLnTx/>
                  <a:uFillTx/>
                  <a:latin typeface="Open Sans"/>
                  <a:ea typeface="+mn-ea"/>
                  <a:cs typeface="+mn-cs"/>
                </a:rPr>
                <a:t>by 2023</a:t>
              </a:r>
              <a:endParaRPr kumimoji="0" lang="en-US" sz="1200" b="1" i="0" u="none" strike="noStrike" kern="1200" cap="none" spc="0" normalizeH="0" baseline="0" noProof="0" dirty="0">
                <a:ln>
                  <a:noFill/>
                </a:ln>
                <a:solidFill>
                  <a:srgbClr val="62B5E5"/>
                </a:solidFill>
                <a:effectLst/>
                <a:uLnTx/>
                <a:uFillTx/>
                <a:latin typeface="Open Sans"/>
                <a:ea typeface="+mn-ea"/>
                <a:cs typeface="+mn-cs"/>
              </a:endParaRPr>
            </a:p>
          </p:txBody>
        </p:sp>
        <p:cxnSp>
          <p:nvCxnSpPr>
            <p:cNvPr id="30" name="Straight Connector 29">
              <a:extLst>
                <a:ext uri="{FF2B5EF4-FFF2-40B4-BE49-F238E27FC236}">
                  <a16:creationId xmlns:a16="http://schemas.microsoft.com/office/drawing/2014/main" id="{5B8D7F7A-9B04-4298-9BA1-CCD68BA2783D}"/>
                </a:ext>
              </a:extLst>
            </p:cNvPr>
            <p:cNvCxnSpPr/>
            <p:nvPr/>
          </p:nvCxnSpPr>
          <p:spPr>
            <a:xfrm flipV="1">
              <a:off x="1656484" y="3278115"/>
              <a:ext cx="2631440" cy="1016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93B86A4D-31F3-478C-B24C-8612D4F4195B}"/>
                </a:ext>
              </a:extLst>
            </p:cNvPr>
            <p:cNvGrpSpPr/>
            <p:nvPr/>
          </p:nvGrpSpPr>
          <p:grpSpPr>
            <a:xfrm>
              <a:off x="893833" y="2189597"/>
              <a:ext cx="1243810" cy="766578"/>
              <a:chOff x="893833" y="2189597"/>
              <a:chExt cx="1243810" cy="766578"/>
            </a:xfrm>
          </p:grpSpPr>
          <p:sp>
            <p:nvSpPr>
              <p:cNvPr id="18" name="TextBox 17">
                <a:extLst>
                  <a:ext uri="{FF2B5EF4-FFF2-40B4-BE49-F238E27FC236}">
                    <a16:creationId xmlns:a16="http://schemas.microsoft.com/office/drawing/2014/main" id="{29FC3FB4-59FB-470B-9C76-E332FFB62917}"/>
                  </a:ext>
                </a:extLst>
              </p:cNvPr>
              <p:cNvSpPr txBox="1"/>
              <p:nvPr/>
            </p:nvSpPr>
            <p:spPr>
              <a:xfrm>
                <a:off x="1337652" y="2279066"/>
                <a:ext cx="79999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chemeClr val="accent2"/>
                    </a:solidFill>
                    <a:effectLst/>
                    <a:uLnTx/>
                    <a:uFillTx/>
                    <a:latin typeface="Open Sans"/>
                    <a:ea typeface="+mn-ea"/>
                    <a:cs typeface="+mn-cs"/>
                  </a:rPr>
                  <a:t>56%</a:t>
                </a:r>
              </a:p>
            </p:txBody>
          </p:sp>
          <p:sp>
            <p:nvSpPr>
              <p:cNvPr id="17" name="TextBox 16">
                <a:extLst>
                  <a:ext uri="{FF2B5EF4-FFF2-40B4-BE49-F238E27FC236}">
                    <a16:creationId xmlns:a16="http://schemas.microsoft.com/office/drawing/2014/main" id="{93C5A3A0-7F10-497C-959A-3B48CFB212A2}"/>
                  </a:ext>
                </a:extLst>
              </p:cNvPr>
              <p:cNvSpPr txBox="1"/>
              <p:nvPr/>
            </p:nvSpPr>
            <p:spPr>
              <a:xfrm>
                <a:off x="942375" y="2679176"/>
                <a:ext cx="119526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chemeClr val="accent2"/>
                    </a:solidFill>
                    <a:effectLst/>
                    <a:uLnTx/>
                    <a:uFillTx/>
                    <a:latin typeface="Open Sans"/>
                    <a:ea typeface="+mn-ea"/>
                    <a:cs typeface="+mn-cs"/>
                  </a:rPr>
                  <a:t>2016 -2023 </a:t>
                </a:r>
              </a:p>
            </p:txBody>
          </p:sp>
          <p:sp>
            <p:nvSpPr>
              <p:cNvPr id="38" name="TextBox 37">
                <a:extLst>
                  <a:ext uri="{FF2B5EF4-FFF2-40B4-BE49-F238E27FC236}">
                    <a16:creationId xmlns:a16="http://schemas.microsoft.com/office/drawing/2014/main" id="{633EE012-3ADD-4B55-A75A-B8FA00D4BEA5}"/>
                  </a:ext>
                </a:extLst>
              </p:cNvPr>
              <p:cNvSpPr txBox="1"/>
              <p:nvPr/>
            </p:nvSpPr>
            <p:spPr>
              <a:xfrm>
                <a:off x="893833" y="2189597"/>
                <a:ext cx="499475"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chemeClr val="accent2"/>
                    </a:solidFill>
                    <a:effectLst/>
                    <a:uLnTx/>
                    <a:uFillTx/>
                    <a:latin typeface="Open Sans"/>
                    <a:ea typeface="+mn-ea"/>
                    <a:cs typeface="+mn-cs"/>
                    <a:sym typeface="Wingdings 3" panose="05040102010807070707" pitchFamily="18" charset="2"/>
                  </a:rPr>
                  <a:t></a:t>
                </a:r>
                <a:endParaRPr kumimoji="0" lang="en-US" b="1" i="0" u="none" strike="noStrike" kern="1200" cap="none" spc="0" normalizeH="0" baseline="0" noProof="0" dirty="0">
                  <a:ln>
                    <a:noFill/>
                  </a:ln>
                  <a:solidFill>
                    <a:schemeClr val="accent2"/>
                  </a:solidFill>
                  <a:effectLst/>
                  <a:uLnTx/>
                  <a:uFillTx/>
                  <a:latin typeface="Open Sans"/>
                  <a:ea typeface="+mn-ea"/>
                  <a:cs typeface="+mn-cs"/>
                </a:endParaRPr>
              </a:p>
            </p:txBody>
          </p:sp>
        </p:grpSp>
      </p:grpSp>
    </p:spTree>
    <p:extLst>
      <p:ext uri="{BB962C8B-B14F-4D97-AF65-F5344CB8AC3E}">
        <p14:creationId xmlns:p14="http://schemas.microsoft.com/office/powerpoint/2010/main" val="2610095880"/>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0E1D79-BCA9-4DD6-8E3C-BC6BEEEFAD3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628" name="think-cell Slide" r:id="rId6" imgW="415" imgH="416" progId="TCLayout.ActiveDocument.1">
                  <p:embed/>
                </p:oleObj>
              </mc:Choice>
              <mc:Fallback>
                <p:oleObj name="think-cell Slide" r:id="rId6" imgW="415" imgH="416" progId="TCLayout.ActiveDocument.1">
                  <p:embed/>
                  <p:pic>
                    <p:nvPicPr>
                      <p:cNvPr id="5" name="Object 4" hidden="1">
                        <a:extLst>
                          <a:ext uri="{FF2B5EF4-FFF2-40B4-BE49-F238E27FC236}">
                            <a16:creationId xmlns:a16="http://schemas.microsoft.com/office/drawing/2014/main" id="{610E1D79-BCA9-4DD6-8E3C-BC6BEEEFAD3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8ED1261-0987-4285-B6D2-EAC632F69C2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23AFEB39-17D9-4BF5-9D57-07F8E3C5318A}"/>
              </a:ext>
            </a:extLst>
          </p:cNvPr>
          <p:cNvSpPr>
            <a:spLocks noGrp="1"/>
          </p:cNvSpPr>
          <p:nvPr>
            <p:ph type="title"/>
          </p:nvPr>
        </p:nvSpPr>
        <p:spPr/>
        <p:txBody>
          <a:bodyPr/>
          <a:lstStyle/>
          <a:p>
            <a:r>
              <a:rPr lang="en-US" dirty="0"/>
              <a:t>Client Inc. Overview</a:t>
            </a:r>
          </a:p>
        </p:txBody>
      </p:sp>
      <p:sp>
        <p:nvSpPr>
          <p:cNvPr id="3" name="Text Placeholder 2">
            <a:extLst>
              <a:ext uri="{FF2B5EF4-FFF2-40B4-BE49-F238E27FC236}">
                <a16:creationId xmlns:a16="http://schemas.microsoft.com/office/drawing/2014/main" id="{CDF07071-71ED-4D7D-9D39-E3FC7A895744}"/>
              </a:ext>
            </a:extLst>
          </p:cNvPr>
          <p:cNvSpPr>
            <a:spLocks noGrp="1"/>
          </p:cNvSpPr>
          <p:nvPr>
            <p:ph type="body" sz="quarter" idx="14"/>
          </p:nvPr>
        </p:nvSpPr>
        <p:spPr/>
        <p:txBody>
          <a:bodyPr/>
          <a:lstStyle/>
          <a:p>
            <a:r>
              <a:rPr lang="en-US" dirty="0"/>
              <a:t>A manufacturer of construction and mining equipment, diesel and natural gas engines, industrial gas turbines and diesel-electric locomotives.</a:t>
            </a:r>
          </a:p>
        </p:txBody>
      </p:sp>
      <p:sp>
        <p:nvSpPr>
          <p:cNvPr id="6" name="Text Placeholder 5">
            <a:extLst>
              <a:ext uri="{FF2B5EF4-FFF2-40B4-BE49-F238E27FC236}">
                <a16:creationId xmlns:a16="http://schemas.microsoft.com/office/drawing/2014/main" id="{1CAEAB2B-9C04-425A-B9F0-7C2FC9075A21}"/>
              </a:ext>
            </a:extLst>
          </p:cNvPr>
          <p:cNvSpPr>
            <a:spLocks noGrp="1"/>
          </p:cNvSpPr>
          <p:nvPr>
            <p:ph type="body" sz="quarter" idx="15"/>
          </p:nvPr>
        </p:nvSpPr>
        <p:spPr>
          <a:xfrm>
            <a:off x="914970" y="466344"/>
            <a:ext cx="4345287" cy="228600"/>
          </a:xfrm>
        </p:spPr>
        <p:txBody>
          <a:bodyPr/>
          <a:lstStyle/>
          <a:p>
            <a:r>
              <a:rPr lang="en-US" dirty="0"/>
              <a:t>Data Visualization &amp; Infographics</a:t>
            </a:r>
          </a:p>
        </p:txBody>
      </p:sp>
      <p:cxnSp>
        <p:nvCxnSpPr>
          <p:cNvPr id="8" name="Straight Connector 7">
            <a:extLst>
              <a:ext uri="{FF2B5EF4-FFF2-40B4-BE49-F238E27FC236}">
                <a16:creationId xmlns:a16="http://schemas.microsoft.com/office/drawing/2014/main" id="{0525AEA4-8AD4-483E-AC97-B3121416F902}"/>
              </a:ext>
            </a:extLst>
          </p:cNvPr>
          <p:cNvCxnSpPr>
            <a:cxnSpLocks/>
          </p:cNvCxnSpPr>
          <p:nvPr/>
        </p:nvCxnSpPr>
        <p:spPr>
          <a:xfrm>
            <a:off x="3875771" y="5602318"/>
            <a:ext cx="1846274"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D25997F1-B607-42EB-89B8-CEF44EE4AF6E}"/>
              </a:ext>
            </a:extLst>
          </p:cNvPr>
          <p:cNvGrpSpPr>
            <a:grpSpLocks noChangeAspect="1"/>
          </p:cNvGrpSpPr>
          <p:nvPr/>
        </p:nvGrpSpPr>
        <p:grpSpPr>
          <a:xfrm>
            <a:off x="3723311" y="2361586"/>
            <a:ext cx="651917" cy="651917"/>
            <a:chOff x="4071938" y="1660525"/>
            <a:chExt cx="522288" cy="522288"/>
          </a:xfrm>
          <a:solidFill>
            <a:schemeClr val="tx1"/>
          </a:solidFill>
        </p:grpSpPr>
        <p:sp>
          <p:nvSpPr>
            <p:cNvPr id="10" name="Freeform 20">
              <a:extLst>
                <a:ext uri="{FF2B5EF4-FFF2-40B4-BE49-F238E27FC236}">
                  <a16:creationId xmlns:a16="http://schemas.microsoft.com/office/drawing/2014/main" id="{9448520E-BC1D-4338-8EA4-4079A88A5034}"/>
                </a:ext>
              </a:extLst>
            </p:cNvPr>
            <p:cNvSpPr>
              <a:spLocks noEditPoints="1"/>
            </p:cNvSpPr>
            <p:nvPr/>
          </p:nvSpPr>
          <p:spPr bwMode="auto">
            <a:xfrm>
              <a:off x="4071938" y="1660525"/>
              <a:ext cx="522288" cy="522288"/>
            </a:xfrm>
            <a:custGeom>
              <a:avLst/>
              <a:gdLst>
                <a:gd name="T0" fmla="*/ 313 w 658"/>
                <a:gd name="T1" fmla="*/ 657 h 658"/>
                <a:gd name="T2" fmla="*/ 263 w 658"/>
                <a:gd name="T3" fmla="*/ 651 h 658"/>
                <a:gd name="T4" fmla="*/ 201 w 658"/>
                <a:gd name="T5" fmla="*/ 631 h 658"/>
                <a:gd name="T6" fmla="*/ 120 w 658"/>
                <a:gd name="T7" fmla="*/ 583 h 658"/>
                <a:gd name="T8" fmla="*/ 56 w 658"/>
                <a:gd name="T9" fmla="*/ 513 h 658"/>
                <a:gd name="T10" fmla="*/ 14 w 658"/>
                <a:gd name="T11" fmla="*/ 426 h 658"/>
                <a:gd name="T12" fmla="*/ 4 w 658"/>
                <a:gd name="T13" fmla="*/ 379 h 658"/>
                <a:gd name="T14" fmla="*/ 0 w 658"/>
                <a:gd name="T15" fmla="*/ 329 h 658"/>
                <a:gd name="T16" fmla="*/ 2 w 658"/>
                <a:gd name="T17" fmla="*/ 295 h 658"/>
                <a:gd name="T18" fmla="*/ 10 w 658"/>
                <a:gd name="T19" fmla="*/ 247 h 658"/>
                <a:gd name="T20" fmla="*/ 40 w 658"/>
                <a:gd name="T21" fmla="*/ 172 h 658"/>
                <a:gd name="T22" fmla="*/ 96 w 658"/>
                <a:gd name="T23" fmla="*/ 96 h 658"/>
                <a:gd name="T24" fmla="*/ 173 w 658"/>
                <a:gd name="T25" fmla="*/ 40 h 658"/>
                <a:gd name="T26" fmla="*/ 247 w 658"/>
                <a:gd name="T27" fmla="*/ 10 h 658"/>
                <a:gd name="T28" fmla="*/ 295 w 658"/>
                <a:gd name="T29" fmla="*/ 1 h 658"/>
                <a:gd name="T30" fmla="*/ 329 w 658"/>
                <a:gd name="T31" fmla="*/ 0 h 658"/>
                <a:gd name="T32" fmla="*/ 378 w 658"/>
                <a:gd name="T33" fmla="*/ 4 h 658"/>
                <a:gd name="T34" fmla="*/ 427 w 658"/>
                <a:gd name="T35" fmla="*/ 15 h 658"/>
                <a:gd name="T36" fmla="*/ 513 w 658"/>
                <a:gd name="T37" fmla="*/ 56 h 658"/>
                <a:gd name="T38" fmla="*/ 583 w 658"/>
                <a:gd name="T39" fmla="*/ 119 h 658"/>
                <a:gd name="T40" fmla="*/ 632 w 658"/>
                <a:gd name="T41" fmla="*/ 201 h 658"/>
                <a:gd name="T42" fmla="*/ 651 w 658"/>
                <a:gd name="T43" fmla="*/ 263 h 658"/>
                <a:gd name="T44" fmla="*/ 658 w 658"/>
                <a:gd name="T45" fmla="*/ 311 h 658"/>
                <a:gd name="T46" fmla="*/ 658 w 658"/>
                <a:gd name="T47" fmla="*/ 345 h 658"/>
                <a:gd name="T48" fmla="*/ 651 w 658"/>
                <a:gd name="T49" fmla="*/ 395 h 658"/>
                <a:gd name="T50" fmla="*/ 632 w 658"/>
                <a:gd name="T51" fmla="*/ 456 h 658"/>
                <a:gd name="T52" fmla="*/ 583 w 658"/>
                <a:gd name="T53" fmla="*/ 537 h 658"/>
                <a:gd name="T54" fmla="*/ 513 w 658"/>
                <a:gd name="T55" fmla="*/ 601 h 658"/>
                <a:gd name="T56" fmla="*/ 427 w 658"/>
                <a:gd name="T57" fmla="*/ 643 h 658"/>
                <a:gd name="T58" fmla="*/ 378 w 658"/>
                <a:gd name="T59" fmla="*/ 654 h 658"/>
                <a:gd name="T60" fmla="*/ 329 w 658"/>
                <a:gd name="T61" fmla="*/ 658 h 658"/>
                <a:gd name="T62" fmla="*/ 329 w 658"/>
                <a:gd name="T63" fmla="*/ 37 h 658"/>
                <a:gd name="T64" fmla="*/ 243 w 658"/>
                <a:gd name="T65" fmla="*/ 51 h 658"/>
                <a:gd name="T66" fmla="*/ 166 w 658"/>
                <a:gd name="T67" fmla="*/ 87 h 658"/>
                <a:gd name="T68" fmla="*/ 104 w 658"/>
                <a:gd name="T69" fmla="*/ 143 h 658"/>
                <a:gd name="T70" fmla="*/ 61 w 658"/>
                <a:gd name="T71" fmla="*/ 215 h 658"/>
                <a:gd name="T72" fmla="*/ 40 w 658"/>
                <a:gd name="T73" fmla="*/ 299 h 658"/>
                <a:gd name="T74" fmla="*/ 40 w 658"/>
                <a:gd name="T75" fmla="*/ 358 h 658"/>
                <a:gd name="T76" fmla="*/ 61 w 658"/>
                <a:gd name="T77" fmla="*/ 442 h 658"/>
                <a:gd name="T78" fmla="*/ 104 w 658"/>
                <a:gd name="T79" fmla="*/ 514 h 658"/>
                <a:gd name="T80" fmla="*/ 166 w 658"/>
                <a:gd name="T81" fmla="*/ 569 h 658"/>
                <a:gd name="T82" fmla="*/ 243 w 658"/>
                <a:gd name="T83" fmla="*/ 607 h 658"/>
                <a:gd name="T84" fmla="*/ 329 w 658"/>
                <a:gd name="T85" fmla="*/ 620 h 658"/>
                <a:gd name="T86" fmla="*/ 388 w 658"/>
                <a:gd name="T87" fmla="*/ 614 h 658"/>
                <a:gd name="T88" fmla="*/ 467 w 658"/>
                <a:gd name="T89" fmla="*/ 584 h 658"/>
                <a:gd name="T90" fmla="*/ 534 w 658"/>
                <a:gd name="T91" fmla="*/ 534 h 658"/>
                <a:gd name="T92" fmla="*/ 585 w 658"/>
                <a:gd name="T93" fmla="*/ 467 h 658"/>
                <a:gd name="T94" fmla="*/ 615 w 658"/>
                <a:gd name="T95" fmla="*/ 387 h 658"/>
                <a:gd name="T96" fmla="*/ 620 w 658"/>
                <a:gd name="T97" fmla="*/ 329 h 658"/>
                <a:gd name="T98" fmla="*/ 607 w 658"/>
                <a:gd name="T99" fmla="*/ 242 h 658"/>
                <a:gd name="T100" fmla="*/ 570 w 658"/>
                <a:gd name="T101" fmla="*/ 166 h 658"/>
                <a:gd name="T102" fmla="*/ 514 w 658"/>
                <a:gd name="T103" fmla="*/ 105 h 658"/>
                <a:gd name="T104" fmla="*/ 443 w 658"/>
                <a:gd name="T105" fmla="*/ 60 h 658"/>
                <a:gd name="T106" fmla="*/ 358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7"/>
                  </a:lnTo>
                  <a:lnTo>
                    <a:pt x="295" y="655"/>
                  </a:lnTo>
                  <a:lnTo>
                    <a:pt x="279" y="654"/>
                  </a:lnTo>
                  <a:lnTo>
                    <a:pt x="263" y="651"/>
                  </a:lnTo>
                  <a:lnTo>
                    <a:pt x="247" y="647"/>
                  </a:lnTo>
                  <a:lnTo>
                    <a:pt x="232" y="643"/>
                  </a:lnTo>
                  <a:lnTo>
                    <a:pt x="201" y="631"/>
                  </a:lnTo>
                  <a:lnTo>
                    <a:pt x="173" y="618"/>
                  </a:lnTo>
                  <a:lnTo>
                    <a:pt x="145" y="601"/>
                  </a:lnTo>
                  <a:lnTo>
                    <a:pt x="120" y="583"/>
                  </a:lnTo>
                  <a:lnTo>
                    <a:pt x="96" y="561"/>
                  </a:lnTo>
                  <a:lnTo>
                    <a:pt x="75" y="537"/>
                  </a:lnTo>
                  <a:lnTo>
                    <a:pt x="56" y="513"/>
                  </a:lnTo>
                  <a:lnTo>
                    <a:pt x="40" y="485"/>
                  </a:lnTo>
                  <a:lnTo>
                    <a:pt x="26" y="456"/>
                  </a:lnTo>
                  <a:lnTo>
                    <a:pt x="14" y="426"/>
                  </a:lnTo>
                  <a:lnTo>
                    <a:pt x="10" y="411"/>
                  </a:lnTo>
                  <a:lnTo>
                    <a:pt x="6" y="395"/>
                  </a:lnTo>
                  <a:lnTo>
                    <a:pt x="4" y="379"/>
                  </a:lnTo>
                  <a:lnTo>
                    <a:pt x="2" y="362"/>
                  </a:lnTo>
                  <a:lnTo>
                    <a:pt x="1" y="345"/>
                  </a:lnTo>
                  <a:lnTo>
                    <a:pt x="0" y="329"/>
                  </a:lnTo>
                  <a:lnTo>
                    <a:pt x="0" y="329"/>
                  </a:lnTo>
                  <a:lnTo>
                    <a:pt x="1" y="311"/>
                  </a:lnTo>
                  <a:lnTo>
                    <a:pt x="2" y="295"/>
                  </a:lnTo>
                  <a:lnTo>
                    <a:pt x="4" y="279"/>
                  </a:lnTo>
                  <a:lnTo>
                    <a:pt x="6" y="263"/>
                  </a:lnTo>
                  <a:lnTo>
                    <a:pt x="10" y="247"/>
                  </a:lnTo>
                  <a:lnTo>
                    <a:pt x="14" y="231"/>
                  </a:lnTo>
                  <a:lnTo>
                    <a:pt x="26" y="201"/>
                  </a:lnTo>
                  <a:lnTo>
                    <a:pt x="40" y="172"/>
                  </a:lnTo>
                  <a:lnTo>
                    <a:pt x="56" y="145"/>
                  </a:lnTo>
                  <a:lnTo>
                    <a:pt x="75" y="119"/>
                  </a:lnTo>
                  <a:lnTo>
                    <a:pt x="96" y="96"/>
                  </a:lnTo>
                  <a:lnTo>
                    <a:pt x="120" y="75"/>
                  </a:lnTo>
                  <a:lnTo>
                    <a:pt x="145" y="56"/>
                  </a:lnTo>
                  <a:lnTo>
                    <a:pt x="173" y="40"/>
                  </a:lnTo>
                  <a:lnTo>
                    <a:pt x="201" y="25"/>
                  </a:lnTo>
                  <a:lnTo>
                    <a:pt x="232" y="15"/>
                  </a:lnTo>
                  <a:lnTo>
                    <a:pt x="247" y="10"/>
                  </a:lnTo>
                  <a:lnTo>
                    <a:pt x="263" y="6"/>
                  </a:lnTo>
                  <a:lnTo>
                    <a:pt x="279" y="4"/>
                  </a:lnTo>
                  <a:lnTo>
                    <a:pt x="295" y="1"/>
                  </a:lnTo>
                  <a:lnTo>
                    <a:pt x="313" y="0"/>
                  </a:lnTo>
                  <a:lnTo>
                    <a:pt x="329" y="0"/>
                  </a:lnTo>
                  <a:lnTo>
                    <a:pt x="329" y="0"/>
                  </a:lnTo>
                  <a:lnTo>
                    <a:pt x="346" y="0"/>
                  </a:lnTo>
                  <a:lnTo>
                    <a:pt x="362" y="1"/>
                  </a:lnTo>
                  <a:lnTo>
                    <a:pt x="378" y="4"/>
                  </a:lnTo>
                  <a:lnTo>
                    <a:pt x="396" y="6"/>
                  </a:lnTo>
                  <a:lnTo>
                    <a:pt x="411" y="10"/>
                  </a:lnTo>
                  <a:lnTo>
                    <a:pt x="427" y="15"/>
                  </a:lnTo>
                  <a:lnTo>
                    <a:pt x="456" y="25"/>
                  </a:lnTo>
                  <a:lnTo>
                    <a:pt x="486" y="40"/>
                  </a:lnTo>
                  <a:lnTo>
                    <a:pt x="513" y="56"/>
                  </a:lnTo>
                  <a:lnTo>
                    <a:pt x="538" y="75"/>
                  </a:lnTo>
                  <a:lnTo>
                    <a:pt x="561" y="96"/>
                  </a:lnTo>
                  <a:lnTo>
                    <a:pt x="583" y="119"/>
                  </a:lnTo>
                  <a:lnTo>
                    <a:pt x="601" y="145"/>
                  </a:lnTo>
                  <a:lnTo>
                    <a:pt x="617" y="172"/>
                  </a:lnTo>
                  <a:lnTo>
                    <a:pt x="632" y="201"/>
                  </a:lnTo>
                  <a:lnTo>
                    <a:pt x="643" y="231"/>
                  </a:lnTo>
                  <a:lnTo>
                    <a:pt x="647" y="247"/>
                  </a:lnTo>
                  <a:lnTo>
                    <a:pt x="651" y="263"/>
                  </a:lnTo>
                  <a:lnTo>
                    <a:pt x="654" y="279"/>
                  </a:lnTo>
                  <a:lnTo>
                    <a:pt x="656" y="295"/>
                  </a:lnTo>
                  <a:lnTo>
                    <a:pt x="658" y="311"/>
                  </a:lnTo>
                  <a:lnTo>
                    <a:pt x="658" y="329"/>
                  </a:lnTo>
                  <a:lnTo>
                    <a:pt x="658" y="329"/>
                  </a:lnTo>
                  <a:lnTo>
                    <a:pt x="658" y="345"/>
                  </a:lnTo>
                  <a:lnTo>
                    <a:pt x="656" y="362"/>
                  </a:lnTo>
                  <a:lnTo>
                    <a:pt x="654" y="379"/>
                  </a:lnTo>
                  <a:lnTo>
                    <a:pt x="651" y="395"/>
                  </a:lnTo>
                  <a:lnTo>
                    <a:pt x="647" y="411"/>
                  </a:lnTo>
                  <a:lnTo>
                    <a:pt x="643" y="426"/>
                  </a:lnTo>
                  <a:lnTo>
                    <a:pt x="632" y="456"/>
                  </a:lnTo>
                  <a:lnTo>
                    <a:pt x="617" y="485"/>
                  </a:lnTo>
                  <a:lnTo>
                    <a:pt x="601" y="513"/>
                  </a:lnTo>
                  <a:lnTo>
                    <a:pt x="583" y="537"/>
                  </a:lnTo>
                  <a:lnTo>
                    <a:pt x="561" y="561"/>
                  </a:lnTo>
                  <a:lnTo>
                    <a:pt x="538" y="583"/>
                  </a:lnTo>
                  <a:lnTo>
                    <a:pt x="513" y="601"/>
                  </a:lnTo>
                  <a:lnTo>
                    <a:pt x="486" y="618"/>
                  </a:lnTo>
                  <a:lnTo>
                    <a:pt x="456" y="631"/>
                  </a:lnTo>
                  <a:lnTo>
                    <a:pt x="427" y="643"/>
                  </a:lnTo>
                  <a:lnTo>
                    <a:pt x="411" y="647"/>
                  </a:lnTo>
                  <a:lnTo>
                    <a:pt x="396" y="651"/>
                  </a:lnTo>
                  <a:lnTo>
                    <a:pt x="378" y="654"/>
                  </a:lnTo>
                  <a:lnTo>
                    <a:pt x="362" y="655"/>
                  </a:lnTo>
                  <a:lnTo>
                    <a:pt x="346" y="657"/>
                  </a:lnTo>
                  <a:lnTo>
                    <a:pt x="329" y="658"/>
                  </a:lnTo>
                  <a:lnTo>
                    <a:pt x="329" y="658"/>
                  </a:lnTo>
                  <a:close/>
                  <a:moveTo>
                    <a:pt x="329" y="37"/>
                  </a:moveTo>
                  <a:lnTo>
                    <a:pt x="329" y="37"/>
                  </a:lnTo>
                  <a:lnTo>
                    <a:pt x="299" y="39"/>
                  </a:lnTo>
                  <a:lnTo>
                    <a:pt x="271" y="43"/>
                  </a:lnTo>
                  <a:lnTo>
                    <a:pt x="243" y="51"/>
                  </a:lnTo>
                  <a:lnTo>
                    <a:pt x="216" y="60"/>
                  </a:lnTo>
                  <a:lnTo>
                    <a:pt x="190" y="72"/>
                  </a:lnTo>
                  <a:lnTo>
                    <a:pt x="166" y="87"/>
                  </a:lnTo>
                  <a:lnTo>
                    <a:pt x="143" y="105"/>
                  </a:lnTo>
                  <a:lnTo>
                    <a:pt x="123" y="123"/>
                  </a:lnTo>
                  <a:lnTo>
                    <a:pt x="104" y="143"/>
                  </a:lnTo>
                  <a:lnTo>
                    <a:pt x="88" y="166"/>
                  </a:lnTo>
                  <a:lnTo>
                    <a:pt x="73" y="190"/>
                  </a:lnTo>
                  <a:lnTo>
                    <a:pt x="61" y="215"/>
                  </a:lnTo>
                  <a:lnTo>
                    <a:pt x="51" y="242"/>
                  </a:lnTo>
                  <a:lnTo>
                    <a:pt x="44" y="270"/>
                  </a:lnTo>
                  <a:lnTo>
                    <a:pt x="40" y="299"/>
                  </a:lnTo>
                  <a:lnTo>
                    <a:pt x="37" y="329"/>
                  </a:lnTo>
                  <a:lnTo>
                    <a:pt x="37" y="329"/>
                  </a:lnTo>
                  <a:lnTo>
                    <a:pt x="40" y="358"/>
                  </a:lnTo>
                  <a:lnTo>
                    <a:pt x="44" y="387"/>
                  </a:lnTo>
                  <a:lnTo>
                    <a:pt x="51" y="415"/>
                  </a:lnTo>
                  <a:lnTo>
                    <a:pt x="61" y="442"/>
                  </a:lnTo>
                  <a:lnTo>
                    <a:pt x="73" y="467"/>
                  </a:lnTo>
                  <a:lnTo>
                    <a:pt x="88" y="491"/>
                  </a:lnTo>
                  <a:lnTo>
                    <a:pt x="104" y="514"/>
                  </a:lnTo>
                  <a:lnTo>
                    <a:pt x="123" y="534"/>
                  </a:lnTo>
                  <a:lnTo>
                    <a:pt x="143" y="553"/>
                  </a:lnTo>
                  <a:lnTo>
                    <a:pt x="166" y="569"/>
                  </a:lnTo>
                  <a:lnTo>
                    <a:pt x="190" y="584"/>
                  </a:lnTo>
                  <a:lnTo>
                    <a:pt x="216" y="596"/>
                  </a:lnTo>
                  <a:lnTo>
                    <a:pt x="243" y="607"/>
                  </a:lnTo>
                  <a:lnTo>
                    <a:pt x="271" y="614"/>
                  </a:lnTo>
                  <a:lnTo>
                    <a:pt x="299" y="618"/>
                  </a:lnTo>
                  <a:lnTo>
                    <a:pt x="329" y="620"/>
                  </a:lnTo>
                  <a:lnTo>
                    <a:pt x="329" y="620"/>
                  </a:lnTo>
                  <a:lnTo>
                    <a:pt x="358" y="618"/>
                  </a:lnTo>
                  <a:lnTo>
                    <a:pt x="388" y="614"/>
                  </a:lnTo>
                  <a:lnTo>
                    <a:pt x="416" y="607"/>
                  </a:lnTo>
                  <a:lnTo>
                    <a:pt x="443" y="596"/>
                  </a:lnTo>
                  <a:lnTo>
                    <a:pt x="467" y="584"/>
                  </a:lnTo>
                  <a:lnTo>
                    <a:pt x="491" y="569"/>
                  </a:lnTo>
                  <a:lnTo>
                    <a:pt x="514" y="553"/>
                  </a:lnTo>
                  <a:lnTo>
                    <a:pt x="534" y="534"/>
                  </a:lnTo>
                  <a:lnTo>
                    <a:pt x="553" y="514"/>
                  </a:lnTo>
                  <a:lnTo>
                    <a:pt x="570" y="491"/>
                  </a:lnTo>
                  <a:lnTo>
                    <a:pt x="585" y="467"/>
                  </a:lnTo>
                  <a:lnTo>
                    <a:pt x="597" y="442"/>
                  </a:lnTo>
                  <a:lnTo>
                    <a:pt x="607" y="415"/>
                  </a:lnTo>
                  <a:lnTo>
                    <a:pt x="615" y="387"/>
                  </a:lnTo>
                  <a:lnTo>
                    <a:pt x="619" y="358"/>
                  </a:lnTo>
                  <a:lnTo>
                    <a:pt x="620" y="329"/>
                  </a:lnTo>
                  <a:lnTo>
                    <a:pt x="620" y="329"/>
                  </a:lnTo>
                  <a:lnTo>
                    <a:pt x="619" y="299"/>
                  </a:lnTo>
                  <a:lnTo>
                    <a:pt x="615" y="270"/>
                  </a:lnTo>
                  <a:lnTo>
                    <a:pt x="607" y="242"/>
                  </a:lnTo>
                  <a:lnTo>
                    <a:pt x="597" y="215"/>
                  </a:lnTo>
                  <a:lnTo>
                    <a:pt x="585" y="190"/>
                  </a:lnTo>
                  <a:lnTo>
                    <a:pt x="570" y="166"/>
                  </a:lnTo>
                  <a:lnTo>
                    <a:pt x="553" y="143"/>
                  </a:lnTo>
                  <a:lnTo>
                    <a:pt x="534" y="123"/>
                  </a:lnTo>
                  <a:lnTo>
                    <a:pt x="514" y="105"/>
                  </a:lnTo>
                  <a:lnTo>
                    <a:pt x="491" y="87"/>
                  </a:lnTo>
                  <a:lnTo>
                    <a:pt x="467" y="72"/>
                  </a:lnTo>
                  <a:lnTo>
                    <a:pt x="443" y="60"/>
                  </a:lnTo>
                  <a:lnTo>
                    <a:pt x="416" y="51"/>
                  </a:lnTo>
                  <a:lnTo>
                    <a:pt x="388" y="43"/>
                  </a:lnTo>
                  <a:lnTo>
                    <a:pt x="358" y="39"/>
                  </a:lnTo>
                  <a:lnTo>
                    <a:pt x="329" y="37"/>
                  </a:lnTo>
                  <a:lnTo>
                    <a:pt x="329"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 name="Freeform 182">
              <a:extLst>
                <a:ext uri="{FF2B5EF4-FFF2-40B4-BE49-F238E27FC236}">
                  <a16:creationId xmlns:a16="http://schemas.microsoft.com/office/drawing/2014/main" id="{6945CFE0-C1BC-4124-BE9B-C80508770DB7}"/>
                </a:ext>
              </a:extLst>
            </p:cNvPr>
            <p:cNvSpPr>
              <a:spLocks/>
            </p:cNvSpPr>
            <p:nvPr/>
          </p:nvSpPr>
          <p:spPr bwMode="auto">
            <a:xfrm>
              <a:off x="4303713" y="1920875"/>
              <a:ext cx="60325" cy="104775"/>
            </a:xfrm>
            <a:custGeom>
              <a:avLst/>
              <a:gdLst>
                <a:gd name="T0" fmla="*/ 71 w 75"/>
                <a:gd name="T1" fmla="*/ 0 h 131"/>
                <a:gd name="T2" fmla="*/ 5 w 75"/>
                <a:gd name="T3" fmla="*/ 0 h 131"/>
                <a:gd name="T4" fmla="*/ 5 w 75"/>
                <a:gd name="T5" fmla="*/ 0 h 131"/>
                <a:gd name="T6" fmla="*/ 1 w 75"/>
                <a:gd name="T7" fmla="*/ 1 h 131"/>
                <a:gd name="T8" fmla="*/ 0 w 75"/>
                <a:gd name="T9" fmla="*/ 5 h 131"/>
                <a:gd name="T10" fmla="*/ 0 w 75"/>
                <a:gd name="T11" fmla="*/ 127 h 131"/>
                <a:gd name="T12" fmla="*/ 0 w 75"/>
                <a:gd name="T13" fmla="*/ 127 h 131"/>
                <a:gd name="T14" fmla="*/ 1 w 75"/>
                <a:gd name="T15" fmla="*/ 130 h 131"/>
                <a:gd name="T16" fmla="*/ 5 w 75"/>
                <a:gd name="T17" fmla="*/ 131 h 131"/>
                <a:gd name="T18" fmla="*/ 71 w 75"/>
                <a:gd name="T19" fmla="*/ 131 h 131"/>
                <a:gd name="T20" fmla="*/ 71 w 75"/>
                <a:gd name="T21" fmla="*/ 131 h 131"/>
                <a:gd name="T22" fmla="*/ 74 w 75"/>
                <a:gd name="T23" fmla="*/ 130 h 131"/>
                <a:gd name="T24" fmla="*/ 75 w 75"/>
                <a:gd name="T25" fmla="*/ 127 h 131"/>
                <a:gd name="T26" fmla="*/ 75 w 75"/>
                <a:gd name="T27" fmla="*/ 5 h 131"/>
                <a:gd name="T28" fmla="*/ 75 w 75"/>
                <a:gd name="T29" fmla="*/ 5 h 131"/>
                <a:gd name="T30" fmla="*/ 74 w 75"/>
                <a:gd name="T31" fmla="*/ 1 h 131"/>
                <a:gd name="T32" fmla="*/ 71 w 75"/>
                <a:gd name="T33" fmla="*/ 0 h 131"/>
                <a:gd name="T34" fmla="*/ 71 w 75"/>
                <a:gd name="T35"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 h="131">
                  <a:moveTo>
                    <a:pt x="71" y="0"/>
                  </a:moveTo>
                  <a:lnTo>
                    <a:pt x="5" y="0"/>
                  </a:lnTo>
                  <a:lnTo>
                    <a:pt x="5" y="0"/>
                  </a:lnTo>
                  <a:lnTo>
                    <a:pt x="1" y="1"/>
                  </a:lnTo>
                  <a:lnTo>
                    <a:pt x="0" y="5"/>
                  </a:lnTo>
                  <a:lnTo>
                    <a:pt x="0" y="127"/>
                  </a:lnTo>
                  <a:lnTo>
                    <a:pt x="0" y="127"/>
                  </a:lnTo>
                  <a:lnTo>
                    <a:pt x="1" y="130"/>
                  </a:lnTo>
                  <a:lnTo>
                    <a:pt x="5" y="131"/>
                  </a:lnTo>
                  <a:lnTo>
                    <a:pt x="71" y="131"/>
                  </a:lnTo>
                  <a:lnTo>
                    <a:pt x="71" y="131"/>
                  </a:lnTo>
                  <a:lnTo>
                    <a:pt x="74" y="130"/>
                  </a:lnTo>
                  <a:lnTo>
                    <a:pt x="75" y="127"/>
                  </a:lnTo>
                  <a:lnTo>
                    <a:pt x="75" y="5"/>
                  </a:lnTo>
                  <a:lnTo>
                    <a:pt x="75" y="5"/>
                  </a:lnTo>
                  <a:lnTo>
                    <a:pt x="74" y="1"/>
                  </a:lnTo>
                  <a:lnTo>
                    <a:pt x="71" y="0"/>
                  </a:lnTo>
                  <a:lnTo>
                    <a:pt x="7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 name="Freeform 183">
              <a:extLst>
                <a:ext uri="{FF2B5EF4-FFF2-40B4-BE49-F238E27FC236}">
                  <a16:creationId xmlns:a16="http://schemas.microsoft.com/office/drawing/2014/main" id="{7A317486-197C-427F-B313-6B4127D7EDC8}"/>
                </a:ext>
              </a:extLst>
            </p:cNvPr>
            <p:cNvSpPr>
              <a:spLocks/>
            </p:cNvSpPr>
            <p:nvPr/>
          </p:nvSpPr>
          <p:spPr bwMode="auto">
            <a:xfrm>
              <a:off x="4222751" y="1966913"/>
              <a:ext cx="58738" cy="58738"/>
            </a:xfrm>
            <a:custGeom>
              <a:avLst/>
              <a:gdLst>
                <a:gd name="T0" fmla="*/ 70 w 74"/>
                <a:gd name="T1" fmla="*/ 0 h 75"/>
                <a:gd name="T2" fmla="*/ 4 w 74"/>
                <a:gd name="T3" fmla="*/ 0 h 75"/>
                <a:gd name="T4" fmla="*/ 4 w 74"/>
                <a:gd name="T5" fmla="*/ 0 h 75"/>
                <a:gd name="T6" fmla="*/ 1 w 74"/>
                <a:gd name="T7" fmla="*/ 2 h 75"/>
                <a:gd name="T8" fmla="*/ 0 w 74"/>
                <a:gd name="T9" fmla="*/ 6 h 75"/>
                <a:gd name="T10" fmla="*/ 0 w 74"/>
                <a:gd name="T11" fmla="*/ 71 h 75"/>
                <a:gd name="T12" fmla="*/ 0 w 74"/>
                <a:gd name="T13" fmla="*/ 71 h 75"/>
                <a:gd name="T14" fmla="*/ 1 w 74"/>
                <a:gd name="T15" fmla="*/ 74 h 75"/>
                <a:gd name="T16" fmla="*/ 4 w 74"/>
                <a:gd name="T17" fmla="*/ 75 h 75"/>
                <a:gd name="T18" fmla="*/ 70 w 74"/>
                <a:gd name="T19" fmla="*/ 75 h 75"/>
                <a:gd name="T20" fmla="*/ 70 w 74"/>
                <a:gd name="T21" fmla="*/ 75 h 75"/>
                <a:gd name="T22" fmla="*/ 73 w 74"/>
                <a:gd name="T23" fmla="*/ 74 h 75"/>
                <a:gd name="T24" fmla="*/ 74 w 74"/>
                <a:gd name="T25" fmla="*/ 71 h 75"/>
                <a:gd name="T26" fmla="*/ 74 w 74"/>
                <a:gd name="T27" fmla="*/ 6 h 75"/>
                <a:gd name="T28" fmla="*/ 74 w 74"/>
                <a:gd name="T29" fmla="*/ 6 h 75"/>
                <a:gd name="T30" fmla="*/ 73 w 74"/>
                <a:gd name="T31" fmla="*/ 2 h 75"/>
                <a:gd name="T32" fmla="*/ 70 w 74"/>
                <a:gd name="T33" fmla="*/ 0 h 75"/>
                <a:gd name="T34" fmla="*/ 70 w 74"/>
                <a:gd name="T35"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75">
                  <a:moveTo>
                    <a:pt x="70" y="0"/>
                  </a:moveTo>
                  <a:lnTo>
                    <a:pt x="4" y="0"/>
                  </a:lnTo>
                  <a:lnTo>
                    <a:pt x="4" y="0"/>
                  </a:lnTo>
                  <a:lnTo>
                    <a:pt x="1" y="2"/>
                  </a:lnTo>
                  <a:lnTo>
                    <a:pt x="0" y="6"/>
                  </a:lnTo>
                  <a:lnTo>
                    <a:pt x="0" y="71"/>
                  </a:lnTo>
                  <a:lnTo>
                    <a:pt x="0" y="71"/>
                  </a:lnTo>
                  <a:lnTo>
                    <a:pt x="1" y="74"/>
                  </a:lnTo>
                  <a:lnTo>
                    <a:pt x="4" y="75"/>
                  </a:lnTo>
                  <a:lnTo>
                    <a:pt x="70" y="75"/>
                  </a:lnTo>
                  <a:lnTo>
                    <a:pt x="70" y="75"/>
                  </a:lnTo>
                  <a:lnTo>
                    <a:pt x="73" y="74"/>
                  </a:lnTo>
                  <a:lnTo>
                    <a:pt x="74" y="71"/>
                  </a:lnTo>
                  <a:lnTo>
                    <a:pt x="74" y="6"/>
                  </a:lnTo>
                  <a:lnTo>
                    <a:pt x="74" y="6"/>
                  </a:lnTo>
                  <a:lnTo>
                    <a:pt x="73" y="2"/>
                  </a:lnTo>
                  <a:lnTo>
                    <a:pt x="70" y="0"/>
                  </a:lnTo>
                  <a:lnTo>
                    <a:pt x="7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 name="Freeform 184">
              <a:extLst>
                <a:ext uri="{FF2B5EF4-FFF2-40B4-BE49-F238E27FC236}">
                  <a16:creationId xmlns:a16="http://schemas.microsoft.com/office/drawing/2014/main" id="{A026D7EF-E936-48BB-9012-1E605FA74058}"/>
                </a:ext>
              </a:extLst>
            </p:cNvPr>
            <p:cNvSpPr>
              <a:spLocks/>
            </p:cNvSpPr>
            <p:nvPr/>
          </p:nvSpPr>
          <p:spPr bwMode="auto">
            <a:xfrm>
              <a:off x="4386263" y="1876425"/>
              <a:ext cx="58738" cy="149225"/>
            </a:xfrm>
            <a:custGeom>
              <a:avLst/>
              <a:gdLst>
                <a:gd name="T0" fmla="*/ 70 w 76"/>
                <a:gd name="T1" fmla="*/ 0 h 188"/>
                <a:gd name="T2" fmla="*/ 6 w 76"/>
                <a:gd name="T3" fmla="*/ 0 h 188"/>
                <a:gd name="T4" fmla="*/ 6 w 76"/>
                <a:gd name="T5" fmla="*/ 0 h 188"/>
                <a:gd name="T6" fmla="*/ 2 w 76"/>
                <a:gd name="T7" fmla="*/ 2 h 188"/>
                <a:gd name="T8" fmla="*/ 0 w 76"/>
                <a:gd name="T9" fmla="*/ 6 h 188"/>
                <a:gd name="T10" fmla="*/ 0 w 76"/>
                <a:gd name="T11" fmla="*/ 184 h 188"/>
                <a:gd name="T12" fmla="*/ 0 w 76"/>
                <a:gd name="T13" fmla="*/ 184 h 188"/>
                <a:gd name="T14" fmla="*/ 2 w 76"/>
                <a:gd name="T15" fmla="*/ 187 h 188"/>
                <a:gd name="T16" fmla="*/ 6 w 76"/>
                <a:gd name="T17" fmla="*/ 188 h 188"/>
                <a:gd name="T18" fmla="*/ 70 w 76"/>
                <a:gd name="T19" fmla="*/ 188 h 188"/>
                <a:gd name="T20" fmla="*/ 70 w 76"/>
                <a:gd name="T21" fmla="*/ 188 h 188"/>
                <a:gd name="T22" fmla="*/ 74 w 76"/>
                <a:gd name="T23" fmla="*/ 187 h 188"/>
                <a:gd name="T24" fmla="*/ 76 w 76"/>
                <a:gd name="T25" fmla="*/ 184 h 188"/>
                <a:gd name="T26" fmla="*/ 76 w 76"/>
                <a:gd name="T27" fmla="*/ 6 h 188"/>
                <a:gd name="T28" fmla="*/ 76 w 76"/>
                <a:gd name="T29" fmla="*/ 6 h 188"/>
                <a:gd name="T30" fmla="*/ 74 w 76"/>
                <a:gd name="T31" fmla="*/ 2 h 188"/>
                <a:gd name="T32" fmla="*/ 70 w 76"/>
                <a:gd name="T33" fmla="*/ 0 h 188"/>
                <a:gd name="T34" fmla="*/ 70 w 76"/>
                <a:gd name="T35"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188">
                  <a:moveTo>
                    <a:pt x="70" y="0"/>
                  </a:moveTo>
                  <a:lnTo>
                    <a:pt x="6" y="0"/>
                  </a:lnTo>
                  <a:lnTo>
                    <a:pt x="6" y="0"/>
                  </a:lnTo>
                  <a:lnTo>
                    <a:pt x="2" y="2"/>
                  </a:lnTo>
                  <a:lnTo>
                    <a:pt x="0" y="6"/>
                  </a:lnTo>
                  <a:lnTo>
                    <a:pt x="0" y="184"/>
                  </a:lnTo>
                  <a:lnTo>
                    <a:pt x="0" y="184"/>
                  </a:lnTo>
                  <a:lnTo>
                    <a:pt x="2" y="187"/>
                  </a:lnTo>
                  <a:lnTo>
                    <a:pt x="6" y="188"/>
                  </a:lnTo>
                  <a:lnTo>
                    <a:pt x="70" y="188"/>
                  </a:lnTo>
                  <a:lnTo>
                    <a:pt x="70" y="188"/>
                  </a:lnTo>
                  <a:lnTo>
                    <a:pt x="74" y="187"/>
                  </a:lnTo>
                  <a:lnTo>
                    <a:pt x="76" y="184"/>
                  </a:lnTo>
                  <a:lnTo>
                    <a:pt x="76" y="6"/>
                  </a:lnTo>
                  <a:lnTo>
                    <a:pt x="76" y="6"/>
                  </a:lnTo>
                  <a:lnTo>
                    <a:pt x="74" y="2"/>
                  </a:lnTo>
                  <a:lnTo>
                    <a:pt x="70" y="0"/>
                  </a:lnTo>
                  <a:lnTo>
                    <a:pt x="7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4" name="Freeform 185">
              <a:extLst>
                <a:ext uri="{FF2B5EF4-FFF2-40B4-BE49-F238E27FC236}">
                  <a16:creationId xmlns:a16="http://schemas.microsoft.com/office/drawing/2014/main" id="{E84BEA60-F04E-4C64-B918-BCF82D932E10}"/>
                </a:ext>
              </a:extLst>
            </p:cNvPr>
            <p:cNvSpPr>
              <a:spLocks/>
            </p:cNvSpPr>
            <p:nvPr/>
          </p:nvSpPr>
          <p:spPr bwMode="auto">
            <a:xfrm>
              <a:off x="4252913" y="1792288"/>
              <a:ext cx="163513" cy="87313"/>
            </a:xfrm>
            <a:custGeom>
              <a:avLst/>
              <a:gdLst>
                <a:gd name="T0" fmla="*/ 102 w 205"/>
                <a:gd name="T1" fmla="*/ 110 h 110"/>
                <a:gd name="T2" fmla="*/ 102 w 205"/>
                <a:gd name="T3" fmla="*/ 110 h 110"/>
                <a:gd name="T4" fmla="*/ 106 w 205"/>
                <a:gd name="T5" fmla="*/ 110 h 110"/>
                <a:gd name="T6" fmla="*/ 108 w 205"/>
                <a:gd name="T7" fmla="*/ 109 h 110"/>
                <a:gd name="T8" fmla="*/ 188 w 205"/>
                <a:gd name="T9" fmla="*/ 30 h 110"/>
                <a:gd name="T10" fmla="*/ 188 w 205"/>
                <a:gd name="T11" fmla="*/ 65 h 110"/>
                <a:gd name="T12" fmla="*/ 188 w 205"/>
                <a:gd name="T13" fmla="*/ 65 h 110"/>
                <a:gd name="T14" fmla="*/ 188 w 205"/>
                <a:gd name="T15" fmla="*/ 69 h 110"/>
                <a:gd name="T16" fmla="*/ 189 w 205"/>
                <a:gd name="T17" fmla="*/ 71 h 110"/>
                <a:gd name="T18" fmla="*/ 192 w 205"/>
                <a:gd name="T19" fmla="*/ 73 h 110"/>
                <a:gd name="T20" fmla="*/ 196 w 205"/>
                <a:gd name="T21" fmla="*/ 74 h 110"/>
                <a:gd name="T22" fmla="*/ 196 w 205"/>
                <a:gd name="T23" fmla="*/ 74 h 110"/>
                <a:gd name="T24" fmla="*/ 200 w 205"/>
                <a:gd name="T25" fmla="*/ 73 h 110"/>
                <a:gd name="T26" fmla="*/ 202 w 205"/>
                <a:gd name="T27" fmla="*/ 71 h 110"/>
                <a:gd name="T28" fmla="*/ 204 w 205"/>
                <a:gd name="T29" fmla="*/ 69 h 110"/>
                <a:gd name="T30" fmla="*/ 205 w 205"/>
                <a:gd name="T31" fmla="*/ 65 h 110"/>
                <a:gd name="T32" fmla="*/ 205 w 205"/>
                <a:gd name="T33" fmla="*/ 8 h 110"/>
                <a:gd name="T34" fmla="*/ 205 w 205"/>
                <a:gd name="T35" fmla="*/ 8 h 110"/>
                <a:gd name="T36" fmla="*/ 204 w 205"/>
                <a:gd name="T37" fmla="*/ 6 h 110"/>
                <a:gd name="T38" fmla="*/ 204 w 205"/>
                <a:gd name="T39" fmla="*/ 6 h 110"/>
                <a:gd name="T40" fmla="*/ 202 w 205"/>
                <a:gd name="T41" fmla="*/ 3 h 110"/>
                <a:gd name="T42" fmla="*/ 198 w 205"/>
                <a:gd name="T43" fmla="*/ 0 h 110"/>
                <a:gd name="T44" fmla="*/ 198 w 205"/>
                <a:gd name="T45" fmla="*/ 0 h 110"/>
                <a:gd name="T46" fmla="*/ 196 w 205"/>
                <a:gd name="T47" fmla="*/ 0 h 110"/>
                <a:gd name="T48" fmla="*/ 139 w 205"/>
                <a:gd name="T49" fmla="*/ 0 h 110"/>
                <a:gd name="T50" fmla="*/ 139 w 205"/>
                <a:gd name="T51" fmla="*/ 0 h 110"/>
                <a:gd name="T52" fmla="*/ 137 w 205"/>
                <a:gd name="T53" fmla="*/ 0 h 110"/>
                <a:gd name="T54" fmla="*/ 134 w 205"/>
                <a:gd name="T55" fmla="*/ 3 h 110"/>
                <a:gd name="T56" fmla="*/ 131 w 205"/>
                <a:gd name="T57" fmla="*/ 6 h 110"/>
                <a:gd name="T58" fmla="*/ 131 w 205"/>
                <a:gd name="T59" fmla="*/ 8 h 110"/>
                <a:gd name="T60" fmla="*/ 131 w 205"/>
                <a:gd name="T61" fmla="*/ 8 h 110"/>
                <a:gd name="T62" fmla="*/ 131 w 205"/>
                <a:gd name="T63" fmla="*/ 12 h 110"/>
                <a:gd name="T64" fmla="*/ 134 w 205"/>
                <a:gd name="T65" fmla="*/ 15 h 110"/>
                <a:gd name="T66" fmla="*/ 137 w 205"/>
                <a:gd name="T67" fmla="*/ 16 h 110"/>
                <a:gd name="T68" fmla="*/ 139 w 205"/>
                <a:gd name="T69" fmla="*/ 18 h 110"/>
                <a:gd name="T70" fmla="*/ 174 w 205"/>
                <a:gd name="T71" fmla="*/ 18 h 110"/>
                <a:gd name="T72" fmla="*/ 102 w 205"/>
                <a:gd name="T73" fmla="*/ 90 h 110"/>
                <a:gd name="T74" fmla="*/ 61 w 205"/>
                <a:gd name="T75" fmla="*/ 50 h 110"/>
                <a:gd name="T76" fmla="*/ 61 w 205"/>
                <a:gd name="T77" fmla="*/ 50 h 110"/>
                <a:gd name="T78" fmla="*/ 59 w 205"/>
                <a:gd name="T79" fmla="*/ 47 h 110"/>
                <a:gd name="T80" fmla="*/ 55 w 205"/>
                <a:gd name="T81" fmla="*/ 47 h 110"/>
                <a:gd name="T82" fmla="*/ 52 w 205"/>
                <a:gd name="T83" fmla="*/ 47 h 110"/>
                <a:gd name="T84" fmla="*/ 49 w 205"/>
                <a:gd name="T85" fmla="*/ 50 h 110"/>
                <a:gd name="T86" fmla="*/ 2 w 205"/>
                <a:gd name="T87" fmla="*/ 96 h 110"/>
                <a:gd name="T88" fmla="*/ 2 w 205"/>
                <a:gd name="T89" fmla="*/ 96 h 110"/>
                <a:gd name="T90" fmla="*/ 0 w 205"/>
                <a:gd name="T91" fmla="*/ 100 h 110"/>
                <a:gd name="T92" fmla="*/ 0 w 205"/>
                <a:gd name="T93" fmla="*/ 102 h 110"/>
                <a:gd name="T94" fmla="*/ 0 w 205"/>
                <a:gd name="T95" fmla="*/ 105 h 110"/>
                <a:gd name="T96" fmla="*/ 2 w 205"/>
                <a:gd name="T97" fmla="*/ 109 h 110"/>
                <a:gd name="T98" fmla="*/ 2 w 205"/>
                <a:gd name="T99" fmla="*/ 109 h 110"/>
                <a:gd name="T100" fmla="*/ 5 w 205"/>
                <a:gd name="T101" fmla="*/ 110 h 110"/>
                <a:gd name="T102" fmla="*/ 8 w 205"/>
                <a:gd name="T103" fmla="*/ 110 h 110"/>
                <a:gd name="T104" fmla="*/ 12 w 205"/>
                <a:gd name="T105" fmla="*/ 110 h 110"/>
                <a:gd name="T106" fmla="*/ 14 w 205"/>
                <a:gd name="T107" fmla="*/ 109 h 110"/>
                <a:gd name="T108" fmla="*/ 55 w 205"/>
                <a:gd name="T109" fmla="*/ 67 h 110"/>
                <a:gd name="T110" fmla="*/ 96 w 205"/>
                <a:gd name="T111" fmla="*/ 109 h 110"/>
                <a:gd name="T112" fmla="*/ 96 w 205"/>
                <a:gd name="T113" fmla="*/ 109 h 110"/>
                <a:gd name="T114" fmla="*/ 99 w 205"/>
                <a:gd name="T115" fmla="*/ 110 h 110"/>
                <a:gd name="T116" fmla="*/ 102 w 205"/>
                <a:gd name="T117" fmla="*/ 110 h 110"/>
                <a:gd name="T118" fmla="*/ 102 w 205"/>
                <a:gd name="T119"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5" h="110">
                  <a:moveTo>
                    <a:pt x="102" y="110"/>
                  </a:moveTo>
                  <a:lnTo>
                    <a:pt x="102" y="110"/>
                  </a:lnTo>
                  <a:lnTo>
                    <a:pt x="106" y="110"/>
                  </a:lnTo>
                  <a:lnTo>
                    <a:pt x="108" y="109"/>
                  </a:lnTo>
                  <a:lnTo>
                    <a:pt x="188" y="30"/>
                  </a:lnTo>
                  <a:lnTo>
                    <a:pt x="188" y="65"/>
                  </a:lnTo>
                  <a:lnTo>
                    <a:pt x="188" y="65"/>
                  </a:lnTo>
                  <a:lnTo>
                    <a:pt x="188" y="69"/>
                  </a:lnTo>
                  <a:lnTo>
                    <a:pt x="189" y="71"/>
                  </a:lnTo>
                  <a:lnTo>
                    <a:pt x="192" y="73"/>
                  </a:lnTo>
                  <a:lnTo>
                    <a:pt x="196" y="74"/>
                  </a:lnTo>
                  <a:lnTo>
                    <a:pt x="196" y="74"/>
                  </a:lnTo>
                  <a:lnTo>
                    <a:pt x="200" y="73"/>
                  </a:lnTo>
                  <a:lnTo>
                    <a:pt x="202" y="71"/>
                  </a:lnTo>
                  <a:lnTo>
                    <a:pt x="204" y="69"/>
                  </a:lnTo>
                  <a:lnTo>
                    <a:pt x="205" y="65"/>
                  </a:lnTo>
                  <a:lnTo>
                    <a:pt x="205" y="8"/>
                  </a:lnTo>
                  <a:lnTo>
                    <a:pt x="205" y="8"/>
                  </a:lnTo>
                  <a:lnTo>
                    <a:pt x="204" y="6"/>
                  </a:lnTo>
                  <a:lnTo>
                    <a:pt x="204" y="6"/>
                  </a:lnTo>
                  <a:lnTo>
                    <a:pt x="202" y="3"/>
                  </a:lnTo>
                  <a:lnTo>
                    <a:pt x="198" y="0"/>
                  </a:lnTo>
                  <a:lnTo>
                    <a:pt x="198" y="0"/>
                  </a:lnTo>
                  <a:lnTo>
                    <a:pt x="196" y="0"/>
                  </a:lnTo>
                  <a:lnTo>
                    <a:pt x="139" y="0"/>
                  </a:lnTo>
                  <a:lnTo>
                    <a:pt x="139" y="0"/>
                  </a:lnTo>
                  <a:lnTo>
                    <a:pt x="137" y="0"/>
                  </a:lnTo>
                  <a:lnTo>
                    <a:pt x="134" y="3"/>
                  </a:lnTo>
                  <a:lnTo>
                    <a:pt x="131" y="6"/>
                  </a:lnTo>
                  <a:lnTo>
                    <a:pt x="131" y="8"/>
                  </a:lnTo>
                  <a:lnTo>
                    <a:pt x="131" y="8"/>
                  </a:lnTo>
                  <a:lnTo>
                    <a:pt x="131" y="12"/>
                  </a:lnTo>
                  <a:lnTo>
                    <a:pt x="134" y="15"/>
                  </a:lnTo>
                  <a:lnTo>
                    <a:pt x="137" y="16"/>
                  </a:lnTo>
                  <a:lnTo>
                    <a:pt x="139" y="18"/>
                  </a:lnTo>
                  <a:lnTo>
                    <a:pt x="174" y="18"/>
                  </a:lnTo>
                  <a:lnTo>
                    <a:pt x="102" y="90"/>
                  </a:lnTo>
                  <a:lnTo>
                    <a:pt x="61" y="50"/>
                  </a:lnTo>
                  <a:lnTo>
                    <a:pt x="61" y="50"/>
                  </a:lnTo>
                  <a:lnTo>
                    <a:pt x="59" y="47"/>
                  </a:lnTo>
                  <a:lnTo>
                    <a:pt x="55" y="47"/>
                  </a:lnTo>
                  <a:lnTo>
                    <a:pt x="52" y="47"/>
                  </a:lnTo>
                  <a:lnTo>
                    <a:pt x="49" y="50"/>
                  </a:lnTo>
                  <a:lnTo>
                    <a:pt x="2" y="96"/>
                  </a:lnTo>
                  <a:lnTo>
                    <a:pt x="2" y="96"/>
                  </a:lnTo>
                  <a:lnTo>
                    <a:pt x="0" y="100"/>
                  </a:lnTo>
                  <a:lnTo>
                    <a:pt x="0" y="102"/>
                  </a:lnTo>
                  <a:lnTo>
                    <a:pt x="0" y="105"/>
                  </a:lnTo>
                  <a:lnTo>
                    <a:pt x="2" y="109"/>
                  </a:lnTo>
                  <a:lnTo>
                    <a:pt x="2" y="109"/>
                  </a:lnTo>
                  <a:lnTo>
                    <a:pt x="5" y="110"/>
                  </a:lnTo>
                  <a:lnTo>
                    <a:pt x="8" y="110"/>
                  </a:lnTo>
                  <a:lnTo>
                    <a:pt x="12" y="110"/>
                  </a:lnTo>
                  <a:lnTo>
                    <a:pt x="14" y="109"/>
                  </a:lnTo>
                  <a:lnTo>
                    <a:pt x="55" y="67"/>
                  </a:lnTo>
                  <a:lnTo>
                    <a:pt x="96" y="109"/>
                  </a:lnTo>
                  <a:lnTo>
                    <a:pt x="96" y="109"/>
                  </a:lnTo>
                  <a:lnTo>
                    <a:pt x="99" y="110"/>
                  </a:lnTo>
                  <a:lnTo>
                    <a:pt x="102" y="110"/>
                  </a:lnTo>
                  <a:lnTo>
                    <a:pt x="102"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15" name="TextBox 14">
            <a:extLst>
              <a:ext uri="{FF2B5EF4-FFF2-40B4-BE49-F238E27FC236}">
                <a16:creationId xmlns:a16="http://schemas.microsoft.com/office/drawing/2014/main" id="{24D9A174-FFBC-419F-B303-8571BE61097B}"/>
              </a:ext>
            </a:extLst>
          </p:cNvPr>
          <p:cNvSpPr txBox="1"/>
          <p:nvPr/>
        </p:nvSpPr>
        <p:spPr bwMode="gray">
          <a:xfrm>
            <a:off x="915802" y="3171321"/>
            <a:ext cx="2060215" cy="430887"/>
          </a:xfrm>
          <a:prstGeom prst="rect">
            <a:avLst/>
          </a:prstGeom>
        </p:spPr>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Client was founded in </a:t>
            </a:r>
            <a:r>
              <a:rPr kumimoji="0" lang="en-US" sz="1400" b="1"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19XX</a:t>
            </a:r>
          </a:p>
        </p:txBody>
      </p:sp>
      <p:grpSp>
        <p:nvGrpSpPr>
          <p:cNvPr id="16" name="Group 15">
            <a:extLst>
              <a:ext uri="{FF2B5EF4-FFF2-40B4-BE49-F238E27FC236}">
                <a16:creationId xmlns:a16="http://schemas.microsoft.com/office/drawing/2014/main" id="{F5D554B9-91C0-4BE1-A1F8-6AE527520E19}"/>
              </a:ext>
            </a:extLst>
          </p:cNvPr>
          <p:cNvGrpSpPr>
            <a:grpSpLocks noChangeAspect="1"/>
          </p:cNvGrpSpPr>
          <p:nvPr/>
        </p:nvGrpSpPr>
        <p:grpSpPr>
          <a:xfrm>
            <a:off x="915802" y="4255884"/>
            <a:ext cx="651917" cy="651917"/>
            <a:chOff x="3194051" y="2502535"/>
            <a:chExt cx="522288" cy="522288"/>
          </a:xfrm>
          <a:solidFill>
            <a:schemeClr val="tx1"/>
          </a:solidFill>
        </p:grpSpPr>
        <p:sp>
          <p:nvSpPr>
            <p:cNvPr id="17" name="Freeform 28">
              <a:extLst>
                <a:ext uri="{FF2B5EF4-FFF2-40B4-BE49-F238E27FC236}">
                  <a16:creationId xmlns:a16="http://schemas.microsoft.com/office/drawing/2014/main" id="{79F45F84-25C1-4759-B8E7-A9C72E02A800}"/>
                </a:ext>
              </a:extLst>
            </p:cNvPr>
            <p:cNvSpPr>
              <a:spLocks noEditPoints="1"/>
            </p:cNvSpPr>
            <p:nvPr/>
          </p:nvSpPr>
          <p:spPr bwMode="auto">
            <a:xfrm>
              <a:off x="3194051" y="2502535"/>
              <a:ext cx="522288" cy="522288"/>
            </a:xfrm>
            <a:custGeom>
              <a:avLst/>
              <a:gdLst>
                <a:gd name="T0" fmla="*/ 312 w 659"/>
                <a:gd name="T1" fmla="*/ 657 h 657"/>
                <a:gd name="T2" fmla="*/ 262 w 659"/>
                <a:gd name="T3" fmla="*/ 652 h 657"/>
                <a:gd name="T4" fmla="*/ 202 w 659"/>
                <a:gd name="T5" fmla="*/ 632 h 657"/>
                <a:gd name="T6" fmla="*/ 120 w 659"/>
                <a:gd name="T7" fmla="*/ 583 h 657"/>
                <a:gd name="T8" fmla="*/ 57 w 659"/>
                <a:gd name="T9" fmla="*/ 512 h 657"/>
                <a:gd name="T10" fmla="*/ 15 w 659"/>
                <a:gd name="T11" fmla="*/ 426 h 657"/>
                <a:gd name="T12" fmla="*/ 4 w 659"/>
                <a:gd name="T13" fmla="*/ 379 h 657"/>
                <a:gd name="T14" fmla="*/ 0 w 659"/>
                <a:gd name="T15" fmla="*/ 329 h 657"/>
                <a:gd name="T16" fmla="*/ 2 w 659"/>
                <a:gd name="T17" fmla="*/ 296 h 657"/>
                <a:gd name="T18" fmla="*/ 11 w 659"/>
                <a:gd name="T19" fmla="*/ 247 h 657"/>
                <a:gd name="T20" fmla="*/ 41 w 659"/>
                <a:gd name="T21" fmla="*/ 172 h 657"/>
                <a:gd name="T22" fmla="*/ 97 w 659"/>
                <a:gd name="T23" fmla="*/ 97 h 657"/>
                <a:gd name="T24" fmla="*/ 172 w 659"/>
                <a:gd name="T25" fmla="*/ 40 h 657"/>
                <a:gd name="T26" fmla="*/ 248 w 659"/>
                <a:gd name="T27" fmla="*/ 11 h 657"/>
                <a:gd name="T28" fmla="*/ 296 w 659"/>
                <a:gd name="T29" fmla="*/ 1 h 657"/>
                <a:gd name="T30" fmla="*/ 330 w 659"/>
                <a:gd name="T31" fmla="*/ 0 h 657"/>
                <a:gd name="T32" fmla="*/ 379 w 659"/>
                <a:gd name="T33" fmla="*/ 4 h 657"/>
                <a:gd name="T34" fmla="*/ 426 w 659"/>
                <a:gd name="T35" fmla="*/ 15 h 657"/>
                <a:gd name="T36" fmla="*/ 514 w 659"/>
                <a:gd name="T37" fmla="*/ 56 h 657"/>
                <a:gd name="T38" fmla="*/ 584 w 659"/>
                <a:gd name="T39" fmla="*/ 120 h 657"/>
                <a:gd name="T40" fmla="*/ 632 w 659"/>
                <a:gd name="T41" fmla="*/ 202 h 657"/>
                <a:gd name="T42" fmla="*/ 652 w 659"/>
                <a:gd name="T43" fmla="*/ 262 h 657"/>
                <a:gd name="T44" fmla="*/ 658 w 659"/>
                <a:gd name="T45" fmla="*/ 312 h 657"/>
                <a:gd name="T46" fmla="*/ 658 w 659"/>
                <a:gd name="T47" fmla="*/ 345 h 657"/>
                <a:gd name="T48" fmla="*/ 652 w 659"/>
                <a:gd name="T49" fmla="*/ 395 h 657"/>
                <a:gd name="T50" fmla="*/ 632 w 659"/>
                <a:gd name="T51" fmla="*/ 457 h 657"/>
                <a:gd name="T52" fmla="*/ 584 w 659"/>
                <a:gd name="T53" fmla="*/ 538 h 657"/>
                <a:gd name="T54" fmla="*/ 514 w 659"/>
                <a:gd name="T55" fmla="*/ 602 h 657"/>
                <a:gd name="T56" fmla="*/ 426 w 659"/>
                <a:gd name="T57" fmla="*/ 642 h 657"/>
                <a:gd name="T58" fmla="*/ 379 w 659"/>
                <a:gd name="T59" fmla="*/ 654 h 657"/>
                <a:gd name="T60" fmla="*/ 330 w 659"/>
                <a:gd name="T61" fmla="*/ 657 h 657"/>
                <a:gd name="T62" fmla="*/ 330 w 659"/>
                <a:gd name="T63" fmla="*/ 38 h 657"/>
                <a:gd name="T64" fmla="*/ 242 w 659"/>
                <a:gd name="T65" fmla="*/ 51 h 657"/>
                <a:gd name="T66" fmla="*/ 167 w 659"/>
                <a:gd name="T67" fmla="*/ 87 h 657"/>
                <a:gd name="T68" fmla="*/ 105 w 659"/>
                <a:gd name="T69" fmla="*/ 144 h 657"/>
                <a:gd name="T70" fmla="*/ 61 w 659"/>
                <a:gd name="T71" fmla="*/ 215 h 657"/>
                <a:gd name="T72" fmla="*/ 39 w 659"/>
                <a:gd name="T73" fmla="*/ 300 h 657"/>
                <a:gd name="T74" fmla="*/ 39 w 659"/>
                <a:gd name="T75" fmla="*/ 359 h 657"/>
                <a:gd name="T76" fmla="*/ 61 w 659"/>
                <a:gd name="T77" fmla="*/ 442 h 657"/>
                <a:gd name="T78" fmla="*/ 105 w 659"/>
                <a:gd name="T79" fmla="*/ 515 h 657"/>
                <a:gd name="T80" fmla="*/ 167 w 659"/>
                <a:gd name="T81" fmla="*/ 570 h 657"/>
                <a:gd name="T82" fmla="*/ 242 w 659"/>
                <a:gd name="T83" fmla="*/ 607 h 657"/>
                <a:gd name="T84" fmla="*/ 330 w 659"/>
                <a:gd name="T85" fmla="*/ 620 h 657"/>
                <a:gd name="T86" fmla="*/ 387 w 659"/>
                <a:gd name="T87" fmla="*/ 614 h 657"/>
                <a:gd name="T88" fmla="*/ 468 w 659"/>
                <a:gd name="T89" fmla="*/ 585 h 657"/>
                <a:gd name="T90" fmla="*/ 535 w 659"/>
                <a:gd name="T91" fmla="*/ 535 h 657"/>
                <a:gd name="T92" fmla="*/ 585 w 659"/>
                <a:gd name="T93" fmla="*/ 468 h 657"/>
                <a:gd name="T94" fmla="*/ 615 w 659"/>
                <a:gd name="T95" fmla="*/ 387 h 657"/>
                <a:gd name="T96" fmla="*/ 621 w 659"/>
                <a:gd name="T97" fmla="*/ 329 h 657"/>
                <a:gd name="T98" fmla="*/ 608 w 659"/>
                <a:gd name="T99" fmla="*/ 242 h 657"/>
                <a:gd name="T100" fmla="*/ 570 w 659"/>
                <a:gd name="T101" fmla="*/ 167 h 657"/>
                <a:gd name="T102" fmla="*/ 515 w 659"/>
                <a:gd name="T103" fmla="*/ 105 h 657"/>
                <a:gd name="T104" fmla="*/ 443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6"/>
                  </a:lnTo>
                  <a:lnTo>
                    <a:pt x="280" y="654"/>
                  </a:lnTo>
                  <a:lnTo>
                    <a:pt x="262" y="652"/>
                  </a:lnTo>
                  <a:lnTo>
                    <a:pt x="248" y="648"/>
                  </a:lnTo>
                  <a:lnTo>
                    <a:pt x="232" y="642"/>
                  </a:lnTo>
                  <a:lnTo>
                    <a:pt x="202" y="632"/>
                  </a:lnTo>
                  <a:lnTo>
                    <a:pt x="172" y="618"/>
                  </a:lnTo>
                  <a:lnTo>
                    <a:pt x="146" y="602"/>
                  </a:lnTo>
                  <a:lnTo>
                    <a:pt x="120" y="583"/>
                  </a:lnTo>
                  <a:lnTo>
                    <a:pt x="97" y="562"/>
                  </a:lnTo>
                  <a:lnTo>
                    <a:pt x="76" y="538"/>
                  </a:lnTo>
                  <a:lnTo>
                    <a:pt x="57" y="512"/>
                  </a:lnTo>
                  <a:lnTo>
                    <a:pt x="41" y="485"/>
                  </a:lnTo>
                  <a:lnTo>
                    <a:pt x="26" y="457"/>
                  </a:lnTo>
                  <a:lnTo>
                    <a:pt x="15" y="426"/>
                  </a:lnTo>
                  <a:lnTo>
                    <a:pt x="11" y="411"/>
                  </a:lnTo>
                  <a:lnTo>
                    <a:pt x="7" y="395"/>
                  </a:lnTo>
                  <a:lnTo>
                    <a:pt x="4" y="379"/>
                  </a:lnTo>
                  <a:lnTo>
                    <a:pt x="2" y="363"/>
                  </a:lnTo>
                  <a:lnTo>
                    <a:pt x="0" y="345"/>
                  </a:lnTo>
                  <a:lnTo>
                    <a:pt x="0" y="329"/>
                  </a:lnTo>
                  <a:lnTo>
                    <a:pt x="0" y="329"/>
                  </a:lnTo>
                  <a:lnTo>
                    <a:pt x="0" y="312"/>
                  </a:lnTo>
                  <a:lnTo>
                    <a:pt x="2" y="296"/>
                  </a:lnTo>
                  <a:lnTo>
                    <a:pt x="4" y="279"/>
                  </a:lnTo>
                  <a:lnTo>
                    <a:pt x="7" y="262"/>
                  </a:lnTo>
                  <a:lnTo>
                    <a:pt x="11" y="247"/>
                  </a:lnTo>
                  <a:lnTo>
                    <a:pt x="15" y="231"/>
                  </a:lnTo>
                  <a:lnTo>
                    <a:pt x="26" y="202"/>
                  </a:lnTo>
                  <a:lnTo>
                    <a:pt x="41" y="172"/>
                  </a:lnTo>
                  <a:lnTo>
                    <a:pt x="57" y="145"/>
                  </a:lnTo>
                  <a:lnTo>
                    <a:pt x="76" y="120"/>
                  </a:lnTo>
                  <a:lnTo>
                    <a:pt x="97" y="97"/>
                  </a:lnTo>
                  <a:lnTo>
                    <a:pt x="120" y="75"/>
                  </a:lnTo>
                  <a:lnTo>
                    <a:pt x="146" y="56"/>
                  </a:lnTo>
                  <a:lnTo>
                    <a:pt x="172" y="40"/>
                  </a:lnTo>
                  <a:lnTo>
                    <a:pt x="202" y="25"/>
                  </a:lnTo>
                  <a:lnTo>
                    <a:pt x="232" y="15"/>
                  </a:lnTo>
                  <a:lnTo>
                    <a:pt x="248" y="11"/>
                  </a:lnTo>
                  <a:lnTo>
                    <a:pt x="262" y="7"/>
                  </a:lnTo>
                  <a:lnTo>
                    <a:pt x="280" y="4"/>
                  </a:lnTo>
                  <a:lnTo>
                    <a:pt x="296" y="1"/>
                  </a:lnTo>
                  <a:lnTo>
                    <a:pt x="312" y="0"/>
                  </a:lnTo>
                  <a:lnTo>
                    <a:pt x="330" y="0"/>
                  </a:lnTo>
                  <a:lnTo>
                    <a:pt x="330" y="0"/>
                  </a:lnTo>
                  <a:lnTo>
                    <a:pt x="346" y="0"/>
                  </a:lnTo>
                  <a:lnTo>
                    <a:pt x="363" y="1"/>
                  </a:lnTo>
                  <a:lnTo>
                    <a:pt x="379" y="4"/>
                  </a:lnTo>
                  <a:lnTo>
                    <a:pt x="395" y="7"/>
                  </a:lnTo>
                  <a:lnTo>
                    <a:pt x="412" y="11"/>
                  </a:lnTo>
                  <a:lnTo>
                    <a:pt x="426" y="15"/>
                  </a:lnTo>
                  <a:lnTo>
                    <a:pt x="457" y="25"/>
                  </a:lnTo>
                  <a:lnTo>
                    <a:pt x="486" y="40"/>
                  </a:lnTo>
                  <a:lnTo>
                    <a:pt x="514" y="56"/>
                  </a:lnTo>
                  <a:lnTo>
                    <a:pt x="538" y="75"/>
                  </a:lnTo>
                  <a:lnTo>
                    <a:pt x="562" y="97"/>
                  </a:lnTo>
                  <a:lnTo>
                    <a:pt x="584" y="120"/>
                  </a:lnTo>
                  <a:lnTo>
                    <a:pt x="602" y="145"/>
                  </a:lnTo>
                  <a:lnTo>
                    <a:pt x="619" y="172"/>
                  </a:lnTo>
                  <a:lnTo>
                    <a:pt x="632" y="202"/>
                  </a:lnTo>
                  <a:lnTo>
                    <a:pt x="644" y="231"/>
                  </a:lnTo>
                  <a:lnTo>
                    <a:pt x="648" y="247"/>
                  </a:lnTo>
                  <a:lnTo>
                    <a:pt x="652" y="262"/>
                  </a:lnTo>
                  <a:lnTo>
                    <a:pt x="655" y="279"/>
                  </a:lnTo>
                  <a:lnTo>
                    <a:pt x="656" y="296"/>
                  </a:lnTo>
                  <a:lnTo>
                    <a:pt x="658" y="312"/>
                  </a:lnTo>
                  <a:lnTo>
                    <a:pt x="659" y="329"/>
                  </a:lnTo>
                  <a:lnTo>
                    <a:pt x="659" y="329"/>
                  </a:lnTo>
                  <a:lnTo>
                    <a:pt x="658" y="345"/>
                  </a:lnTo>
                  <a:lnTo>
                    <a:pt x="656" y="363"/>
                  </a:lnTo>
                  <a:lnTo>
                    <a:pt x="655" y="379"/>
                  </a:lnTo>
                  <a:lnTo>
                    <a:pt x="652" y="395"/>
                  </a:lnTo>
                  <a:lnTo>
                    <a:pt x="648" y="411"/>
                  </a:lnTo>
                  <a:lnTo>
                    <a:pt x="644" y="426"/>
                  </a:lnTo>
                  <a:lnTo>
                    <a:pt x="632" y="457"/>
                  </a:lnTo>
                  <a:lnTo>
                    <a:pt x="619" y="485"/>
                  </a:lnTo>
                  <a:lnTo>
                    <a:pt x="602" y="512"/>
                  </a:lnTo>
                  <a:lnTo>
                    <a:pt x="584" y="538"/>
                  </a:lnTo>
                  <a:lnTo>
                    <a:pt x="562" y="562"/>
                  </a:lnTo>
                  <a:lnTo>
                    <a:pt x="538" y="583"/>
                  </a:lnTo>
                  <a:lnTo>
                    <a:pt x="514" y="602"/>
                  </a:lnTo>
                  <a:lnTo>
                    <a:pt x="486" y="618"/>
                  </a:lnTo>
                  <a:lnTo>
                    <a:pt x="457" y="632"/>
                  </a:lnTo>
                  <a:lnTo>
                    <a:pt x="426" y="642"/>
                  </a:lnTo>
                  <a:lnTo>
                    <a:pt x="412" y="648"/>
                  </a:lnTo>
                  <a:lnTo>
                    <a:pt x="395" y="652"/>
                  </a:lnTo>
                  <a:lnTo>
                    <a:pt x="379" y="654"/>
                  </a:lnTo>
                  <a:lnTo>
                    <a:pt x="363" y="656"/>
                  </a:lnTo>
                  <a:lnTo>
                    <a:pt x="346" y="657"/>
                  </a:lnTo>
                  <a:lnTo>
                    <a:pt x="330" y="657"/>
                  </a:lnTo>
                  <a:lnTo>
                    <a:pt x="330" y="657"/>
                  </a:lnTo>
                  <a:close/>
                  <a:moveTo>
                    <a:pt x="330" y="38"/>
                  </a:moveTo>
                  <a:lnTo>
                    <a:pt x="330" y="38"/>
                  </a:lnTo>
                  <a:lnTo>
                    <a:pt x="300" y="39"/>
                  </a:lnTo>
                  <a:lnTo>
                    <a:pt x="271" y="43"/>
                  </a:lnTo>
                  <a:lnTo>
                    <a:pt x="242" y="51"/>
                  </a:lnTo>
                  <a:lnTo>
                    <a:pt x="215" y="60"/>
                  </a:lnTo>
                  <a:lnTo>
                    <a:pt x="191" y="73"/>
                  </a:lnTo>
                  <a:lnTo>
                    <a:pt x="167" y="87"/>
                  </a:lnTo>
                  <a:lnTo>
                    <a:pt x="144" y="105"/>
                  </a:lnTo>
                  <a:lnTo>
                    <a:pt x="124" y="124"/>
                  </a:lnTo>
                  <a:lnTo>
                    <a:pt x="105" y="144"/>
                  </a:lnTo>
                  <a:lnTo>
                    <a:pt x="88" y="167"/>
                  </a:lnTo>
                  <a:lnTo>
                    <a:pt x="73" y="189"/>
                  </a:lnTo>
                  <a:lnTo>
                    <a:pt x="61" y="215"/>
                  </a:lnTo>
                  <a:lnTo>
                    <a:pt x="51" y="242"/>
                  </a:lnTo>
                  <a:lnTo>
                    <a:pt x="43" y="270"/>
                  </a:lnTo>
                  <a:lnTo>
                    <a:pt x="39" y="300"/>
                  </a:lnTo>
                  <a:lnTo>
                    <a:pt x="38" y="329"/>
                  </a:lnTo>
                  <a:lnTo>
                    <a:pt x="38" y="329"/>
                  </a:lnTo>
                  <a:lnTo>
                    <a:pt x="39" y="359"/>
                  </a:lnTo>
                  <a:lnTo>
                    <a:pt x="43" y="387"/>
                  </a:lnTo>
                  <a:lnTo>
                    <a:pt x="51" y="415"/>
                  </a:lnTo>
                  <a:lnTo>
                    <a:pt x="61" y="442"/>
                  </a:lnTo>
                  <a:lnTo>
                    <a:pt x="73" y="468"/>
                  </a:lnTo>
                  <a:lnTo>
                    <a:pt x="88" y="492"/>
                  </a:lnTo>
                  <a:lnTo>
                    <a:pt x="105" y="515"/>
                  </a:lnTo>
                  <a:lnTo>
                    <a:pt x="124" y="535"/>
                  </a:lnTo>
                  <a:lnTo>
                    <a:pt x="144" y="554"/>
                  </a:lnTo>
                  <a:lnTo>
                    <a:pt x="167" y="570"/>
                  </a:lnTo>
                  <a:lnTo>
                    <a:pt x="191" y="585"/>
                  </a:lnTo>
                  <a:lnTo>
                    <a:pt x="215" y="597"/>
                  </a:lnTo>
                  <a:lnTo>
                    <a:pt x="242" y="607"/>
                  </a:lnTo>
                  <a:lnTo>
                    <a:pt x="271" y="614"/>
                  </a:lnTo>
                  <a:lnTo>
                    <a:pt x="300" y="618"/>
                  </a:lnTo>
                  <a:lnTo>
                    <a:pt x="330" y="620"/>
                  </a:lnTo>
                  <a:lnTo>
                    <a:pt x="330" y="620"/>
                  </a:lnTo>
                  <a:lnTo>
                    <a:pt x="359" y="618"/>
                  </a:lnTo>
                  <a:lnTo>
                    <a:pt x="387" y="614"/>
                  </a:lnTo>
                  <a:lnTo>
                    <a:pt x="416" y="607"/>
                  </a:lnTo>
                  <a:lnTo>
                    <a:pt x="443" y="597"/>
                  </a:lnTo>
                  <a:lnTo>
                    <a:pt x="468" y="585"/>
                  </a:lnTo>
                  <a:lnTo>
                    <a:pt x="492" y="570"/>
                  </a:lnTo>
                  <a:lnTo>
                    <a:pt x="515" y="554"/>
                  </a:lnTo>
                  <a:lnTo>
                    <a:pt x="535" y="535"/>
                  </a:lnTo>
                  <a:lnTo>
                    <a:pt x="554" y="515"/>
                  </a:lnTo>
                  <a:lnTo>
                    <a:pt x="570" y="492"/>
                  </a:lnTo>
                  <a:lnTo>
                    <a:pt x="585" y="468"/>
                  </a:lnTo>
                  <a:lnTo>
                    <a:pt x="597" y="442"/>
                  </a:lnTo>
                  <a:lnTo>
                    <a:pt x="608" y="415"/>
                  </a:lnTo>
                  <a:lnTo>
                    <a:pt x="615" y="387"/>
                  </a:lnTo>
                  <a:lnTo>
                    <a:pt x="619" y="359"/>
                  </a:lnTo>
                  <a:lnTo>
                    <a:pt x="621" y="329"/>
                  </a:lnTo>
                  <a:lnTo>
                    <a:pt x="621" y="329"/>
                  </a:lnTo>
                  <a:lnTo>
                    <a:pt x="619" y="300"/>
                  </a:lnTo>
                  <a:lnTo>
                    <a:pt x="615" y="270"/>
                  </a:lnTo>
                  <a:lnTo>
                    <a:pt x="608" y="242"/>
                  </a:lnTo>
                  <a:lnTo>
                    <a:pt x="597" y="215"/>
                  </a:lnTo>
                  <a:lnTo>
                    <a:pt x="585" y="189"/>
                  </a:lnTo>
                  <a:lnTo>
                    <a:pt x="570" y="167"/>
                  </a:lnTo>
                  <a:lnTo>
                    <a:pt x="554" y="144"/>
                  </a:lnTo>
                  <a:lnTo>
                    <a:pt x="535" y="124"/>
                  </a:lnTo>
                  <a:lnTo>
                    <a:pt x="515" y="105"/>
                  </a:lnTo>
                  <a:lnTo>
                    <a:pt x="492" y="87"/>
                  </a:lnTo>
                  <a:lnTo>
                    <a:pt x="468" y="73"/>
                  </a:lnTo>
                  <a:lnTo>
                    <a:pt x="443" y="60"/>
                  </a:lnTo>
                  <a:lnTo>
                    <a:pt x="416" y="51"/>
                  </a:lnTo>
                  <a:lnTo>
                    <a:pt x="387" y="43"/>
                  </a:lnTo>
                  <a:lnTo>
                    <a:pt x="359" y="39"/>
                  </a:lnTo>
                  <a:lnTo>
                    <a:pt x="330" y="38"/>
                  </a:lnTo>
                  <a:lnTo>
                    <a:pt x="33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8" name="Freeform 132">
              <a:extLst>
                <a:ext uri="{FF2B5EF4-FFF2-40B4-BE49-F238E27FC236}">
                  <a16:creationId xmlns:a16="http://schemas.microsoft.com/office/drawing/2014/main" id="{9CCFEBC9-C7AF-4CC2-A8B1-5F0BA7F5869B}"/>
                </a:ext>
              </a:extLst>
            </p:cNvPr>
            <p:cNvSpPr>
              <a:spLocks/>
            </p:cNvSpPr>
            <p:nvPr/>
          </p:nvSpPr>
          <p:spPr bwMode="auto">
            <a:xfrm>
              <a:off x="3317876" y="2734310"/>
              <a:ext cx="77788" cy="136525"/>
            </a:xfrm>
            <a:custGeom>
              <a:avLst/>
              <a:gdLst>
                <a:gd name="T0" fmla="*/ 86 w 97"/>
                <a:gd name="T1" fmla="*/ 92 h 172"/>
                <a:gd name="T2" fmla="*/ 86 w 97"/>
                <a:gd name="T3" fmla="*/ 0 h 172"/>
                <a:gd name="T4" fmla="*/ 6 w 97"/>
                <a:gd name="T5" fmla="*/ 0 h 172"/>
                <a:gd name="T6" fmla="*/ 6 w 97"/>
                <a:gd name="T7" fmla="*/ 0 h 172"/>
                <a:gd name="T8" fmla="*/ 4 w 97"/>
                <a:gd name="T9" fmla="*/ 2 h 172"/>
                <a:gd name="T10" fmla="*/ 3 w 97"/>
                <a:gd name="T11" fmla="*/ 3 h 172"/>
                <a:gd name="T12" fmla="*/ 2 w 97"/>
                <a:gd name="T13" fmla="*/ 4 h 172"/>
                <a:gd name="T14" fmla="*/ 0 w 97"/>
                <a:gd name="T15" fmla="*/ 6 h 172"/>
                <a:gd name="T16" fmla="*/ 0 w 97"/>
                <a:gd name="T17" fmla="*/ 59 h 172"/>
                <a:gd name="T18" fmla="*/ 0 w 97"/>
                <a:gd name="T19" fmla="*/ 59 h 172"/>
                <a:gd name="T20" fmla="*/ 2 w 97"/>
                <a:gd name="T21" fmla="*/ 62 h 172"/>
                <a:gd name="T22" fmla="*/ 3 w 97"/>
                <a:gd name="T23" fmla="*/ 63 h 172"/>
                <a:gd name="T24" fmla="*/ 33 w 97"/>
                <a:gd name="T25" fmla="*/ 94 h 172"/>
                <a:gd name="T26" fmla="*/ 33 w 97"/>
                <a:gd name="T27" fmla="*/ 167 h 172"/>
                <a:gd name="T28" fmla="*/ 33 w 97"/>
                <a:gd name="T29" fmla="*/ 167 h 172"/>
                <a:gd name="T30" fmla="*/ 34 w 97"/>
                <a:gd name="T31" fmla="*/ 170 h 172"/>
                <a:gd name="T32" fmla="*/ 35 w 97"/>
                <a:gd name="T33" fmla="*/ 171 h 172"/>
                <a:gd name="T34" fmla="*/ 37 w 97"/>
                <a:gd name="T35" fmla="*/ 172 h 172"/>
                <a:gd name="T36" fmla="*/ 38 w 97"/>
                <a:gd name="T37" fmla="*/ 172 h 172"/>
                <a:gd name="T38" fmla="*/ 92 w 97"/>
                <a:gd name="T39" fmla="*/ 172 h 172"/>
                <a:gd name="T40" fmla="*/ 92 w 97"/>
                <a:gd name="T41" fmla="*/ 172 h 172"/>
                <a:gd name="T42" fmla="*/ 94 w 97"/>
                <a:gd name="T43" fmla="*/ 172 h 172"/>
                <a:gd name="T44" fmla="*/ 96 w 97"/>
                <a:gd name="T45" fmla="*/ 171 h 172"/>
                <a:gd name="T46" fmla="*/ 97 w 97"/>
                <a:gd name="T47" fmla="*/ 170 h 172"/>
                <a:gd name="T48" fmla="*/ 97 w 97"/>
                <a:gd name="T49" fmla="*/ 167 h 172"/>
                <a:gd name="T50" fmla="*/ 97 w 97"/>
                <a:gd name="T51" fmla="*/ 109 h 172"/>
                <a:gd name="T52" fmla="*/ 92 w 97"/>
                <a:gd name="T53" fmla="*/ 104 h 172"/>
                <a:gd name="T54" fmla="*/ 92 w 97"/>
                <a:gd name="T55" fmla="*/ 104 h 172"/>
                <a:gd name="T56" fmla="*/ 88 w 97"/>
                <a:gd name="T57" fmla="*/ 98 h 172"/>
                <a:gd name="T58" fmla="*/ 86 w 97"/>
                <a:gd name="T59" fmla="*/ 92 h 172"/>
                <a:gd name="T60" fmla="*/ 86 w 97"/>
                <a:gd name="T61" fmla="*/ 9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86" y="92"/>
                  </a:moveTo>
                  <a:lnTo>
                    <a:pt x="86" y="0"/>
                  </a:lnTo>
                  <a:lnTo>
                    <a:pt x="6" y="0"/>
                  </a:lnTo>
                  <a:lnTo>
                    <a:pt x="6" y="0"/>
                  </a:lnTo>
                  <a:lnTo>
                    <a:pt x="4" y="2"/>
                  </a:lnTo>
                  <a:lnTo>
                    <a:pt x="3" y="3"/>
                  </a:lnTo>
                  <a:lnTo>
                    <a:pt x="2" y="4"/>
                  </a:lnTo>
                  <a:lnTo>
                    <a:pt x="0" y="6"/>
                  </a:lnTo>
                  <a:lnTo>
                    <a:pt x="0" y="59"/>
                  </a:lnTo>
                  <a:lnTo>
                    <a:pt x="0" y="59"/>
                  </a:lnTo>
                  <a:lnTo>
                    <a:pt x="2" y="62"/>
                  </a:lnTo>
                  <a:lnTo>
                    <a:pt x="3" y="63"/>
                  </a:lnTo>
                  <a:lnTo>
                    <a:pt x="33" y="94"/>
                  </a:lnTo>
                  <a:lnTo>
                    <a:pt x="33" y="167"/>
                  </a:lnTo>
                  <a:lnTo>
                    <a:pt x="33" y="167"/>
                  </a:lnTo>
                  <a:lnTo>
                    <a:pt x="34" y="170"/>
                  </a:lnTo>
                  <a:lnTo>
                    <a:pt x="35" y="171"/>
                  </a:lnTo>
                  <a:lnTo>
                    <a:pt x="37" y="172"/>
                  </a:lnTo>
                  <a:lnTo>
                    <a:pt x="38" y="172"/>
                  </a:lnTo>
                  <a:lnTo>
                    <a:pt x="92" y="172"/>
                  </a:lnTo>
                  <a:lnTo>
                    <a:pt x="92" y="172"/>
                  </a:lnTo>
                  <a:lnTo>
                    <a:pt x="94" y="172"/>
                  </a:lnTo>
                  <a:lnTo>
                    <a:pt x="96" y="171"/>
                  </a:lnTo>
                  <a:lnTo>
                    <a:pt x="97" y="170"/>
                  </a:lnTo>
                  <a:lnTo>
                    <a:pt x="97" y="167"/>
                  </a:lnTo>
                  <a:lnTo>
                    <a:pt x="97" y="109"/>
                  </a:lnTo>
                  <a:lnTo>
                    <a:pt x="92" y="104"/>
                  </a:lnTo>
                  <a:lnTo>
                    <a:pt x="92" y="104"/>
                  </a:lnTo>
                  <a:lnTo>
                    <a:pt x="88" y="98"/>
                  </a:lnTo>
                  <a:lnTo>
                    <a:pt x="86" y="92"/>
                  </a:lnTo>
                  <a:lnTo>
                    <a:pt x="86"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9" name="Freeform 133">
              <a:extLst>
                <a:ext uri="{FF2B5EF4-FFF2-40B4-BE49-F238E27FC236}">
                  <a16:creationId xmlns:a16="http://schemas.microsoft.com/office/drawing/2014/main" id="{2BCD87BD-F875-47D1-945E-599C6C249FBB}"/>
                </a:ext>
              </a:extLst>
            </p:cNvPr>
            <p:cNvSpPr>
              <a:spLocks/>
            </p:cNvSpPr>
            <p:nvPr/>
          </p:nvSpPr>
          <p:spPr bwMode="auto">
            <a:xfrm>
              <a:off x="3514726" y="2734310"/>
              <a:ext cx="77788" cy="136525"/>
            </a:xfrm>
            <a:custGeom>
              <a:avLst/>
              <a:gdLst>
                <a:gd name="T0" fmla="*/ 91 w 97"/>
                <a:gd name="T1" fmla="*/ 0 h 172"/>
                <a:gd name="T2" fmla="*/ 11 w 97"/>
                <a:gd name="T3" fmla="*/ 0 h 172"/>
                <a:gd name="T4" fmla="*/ 11 w 97"/>
                <a:gd name="T5" fmla="*/ 92 h 172"/>
                <a:gd name="T6" fmla="*/ 11 w 97"/>
                <a:gd name="T7" fmla="*/ 92 h 172"/>
                <a:gd name="T8" fmla="*/ 9 w 97"/>
                <a:gd name="T9" fmla="*/ 98 h 172"/>
                <a:gd name="T10" fmla="*/ 7 w 97"/>
                <a:gd name="T11" fmla="*/ 104 h 172"/>
                <a:gd name="T12" fmla="*/ 0 w 97"/>
                <a:gd name="T13" fmla="*/ 109 h 172"/>
                <a:gd name="T14" fmla="*/ 0 w 97"/>
                <a:gd name="T15" fmla="*/ 167 h 172"/>
                <a:gd name="T16" fmla="*/ 0 w 97"/>
                <a:gd name="T17" fmla="*/ 167 h 172"/>
                <a:gd name="T18" fmla="*/ 1 w 97"/>
                <a:gd name="T19" fmla="*/ 170 h 172"/>
                <a:gd name="T20" fmla="*/ 1 w 97"/>
                <a:gd name="T21" fmla="*/ 171 h 172"/>
                <a:gd name="T22" fmla="*/ 4 w 97"/>
                <a:gd name="T23" fmla="*/ 172 h 172"/>
                <a:gd name="T24" fmla="*/ 5 w 97"/>
                <a:gd name="T25" fmla="*/ 172 h 172"/>
                <a:gd name="T26" fmla="*/ 59 w 97"/>
                <a:gd name="T27" fmla="*/ 172 h 172"/>
                <a:gd name="T28" fmla="*/ 59 w 97"/>
                <a:gd name="T29" fmla="*/ 172 h 172"/>
                <a:gd name="T30" fmla="*/ 62 w 97"/>
                <a:gd name="T31" fmla="*/ 172 h 172"/>
                <a:gd name="T32" fmla="*/ 63 w 97"/>
                <a:gd name="T33" fmla="*/ 171 h 172"/>
                <a:gd name="T34" fmla="*/ 64 w 97"/>
                <a:gd name="T35" fmla="*/ 170 h 172"/>
                <a:gd name="T36" fmla="*/ 64 w 97"/>
                <a:gd name="T37" fmla="*/ 167 h 172"/>
                <a:gd name="T38" fmla="*/ 64 w 97"/>
                <a:gd name="T39" fmla="*/ 94 h 172"/>
                <a:gd name="T40" fmla="*/ 95 w 97"/>
                <a:gd name="T41" fmla="*/ 63 h 172"/>
                <a:gd name="T42" fmla="*/ 95 w 97"/>
                <a:gd name="T43" fmla="*/ 63 h 172"/>
                <a:gd name="T44" fmla="*/ 97 w 97"/>
                <a:gd name="T45" fmla="*/ 62 h 172"/>
                <a:gd name="T46" fmla="*/ 97 w 97"/>
                <a:gd name="T47" fmla="*/ 59 h 172"/>
                <a:gd name="T48" fmla="*/ 97 w 97"/>
                <a:gd name="T49" fmla="*/ 6 h 172"/>
                <a:gd name="T50" fmla="*/ 97 w 97"/>
                <a:gd name="T51" fmla="*/ 6 h 172"/>
                <a:gd name="T52" fmla="*/ 97 w 97"/>
                <a:gd name="T53" fmla="*/ 4 h 172"/>
                <a:gd name="T54" fmla="*/ 95 w 97"/>
                <a:gd name="T55" fmla="*/ 3 h 172"/>
                <a:gd name="T56" fmla="*/ 94 w 97"/>
                <a:gd name="T57" fmla="*/ 2 h 172"/>
                <a:gd name="T58" fmla="*/ 91 w 97"/>
                <a:gd name="T59" fmla="*/ 0 h 172"/>
                <a:gd name="T60" fmla="*/ 91 w 97"/>
                <a:gd name="T6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91" y="0"/>
                  </a:moveTo>
                  <a:lnTo>
                    <a:pt x="11" y="0"/>
                  </a:lnTo>
                  <a:lnTo>
                    <a:pt x="11" y="92"/>
                  </a:lnTo>
                  <a:lnTo>
                    <a:pt x="11" y="92"/>
                  </a:lnTo>
                  <a:lnTo>
                    <a:pt x="9" y="98"/>
                  </a:lnTo>
                  <a:lnTo>
                    <a:pt x="7" y="104"/>
                  </a:lnTo>
                  <a:lnTo>
                    <a:pt x="0" y="109"/>
                  </a:lnTo>
                  <a:lnTo>
                    <a:pt x="0" y="167"/>
                  </a:lnTo>
                  <a:lnTo>
                    <a:pt x="0" y="167"/>
                  </a:lnTo>
                  <a:lnTo>
                    <a:pt x="1" y="170"/>
                  </a:lnTo>
                  <a:lnTo>
                    <a:pt x="1" y="171"/>
                  </a:lnTo>
                  <a:lnTo>
                    <a:pt x="4" y="172"/>
                  </a:lnTo>
                  <a:lnTo>
                    <a:pt x="5" y="172"/>
                  </a:lnTo>
                  <a:lnTo>
                    <a:pt x="59" y="172"/>
                  </a:lnTo>
                  <a:lnTo>
                    <a:pt x="59" y="172"/>
                  </a:lnTo>
                  <a:lnTo>
                    <a:pt x="62" y="172"/>
                  </a:lnTo>
                  <a:lnTo>
                    <a:pt x="63" y="171"/>
                  </a:lnTo>
                  <a:lnTo>
                    <a:pt x="64" y="170"/>
                  </a:lnTo>
                  <a:lnTo>
                    <a:pt x="64" y="167"/>
                  </a:lnTo>
                  <a:lnTo>
                    <a:pt x="64" y="94"/>
                  </a:lnTo>
                  <a:lnTo>
                    <a:pt x="95" y="63"/>
                  </a:lnTo>
                  <a:lnTo>
                    <a:pt x="95" y="63"/>
                  </a:lnTo>
                  <a:lnTo>
                    <a:pt x="97" y="62"/>
                  </a:lnTo>
                  <a:lnTo>
                    <a:pt x="97" y="59"/>
                  </a:lnTo>
                  <a:lnTo>
                    <a:pt x="97" y="6"/>
                  </a:lnTo>
                  <a:lnTo>
                    <a:pt x="97" y="6"/>
                  </a:lnTo>
                  <a:lnTo>
                    <a:pt x="97" y="4"/>
                  </a:lnTo>
                  <a:lnTo>
                    <a:pt x="95" y="3"/>
                  </a:lnTo>
                  <a:lnTo>
                    <a:pt x="94" y="2"/>
                  </a:lnTo>
                  <a:lnTo>
                    <a:pt x="91" y="0"/>
                  </a:lnTo>
                  <a:lnTo>
                    <a:pt x="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0" name="Freeform 134">
              <a:extLst>
                <a:ext uri="{FF2B5EF4-FFF2-40B4-BE49-F238E27FC236}">
                  <a16:creationId xmlns:a16="http://schemas.microsoft.com/office/drawing/2014/main" id="{0999BB99-A783-4468-B88E-F6596502BCD4}"/>
                </a:ext>
              </a:extLst>
            </p:cNvPr>
            <p:cNvSpPr>
              <a:spLocks/>
            </p:cNvSpPr>
            <p:nvPr/>
          </p:nvSpPr>
          <p:spPr bwMode="auto">
            <a:xfrm>
              <a:off x="3400426" y="2734310"/>
              <a:ext cx="111125" cy="171450"/>
            </a:xfrm>
            <a:custGeom>
              <a:avLst/>
              <a:gdLst>
                <a:gd name="T0" fmla="*/ 134 w 140"/>
                <a:gd name="T1" fmla="*/ 0 h 215"/>
                <a:gd name="T2" fmla="*/ 5 w 140"/>
                <a:gd name="T3" fmla="*/ 0 h 215"/>
                <a:gd name="T4" fmla="*/ 5 w 140"/>
                <a:gd name="T5" fmla="*/ 0 h 215"/>
                <a:gd name="T6" fmla="*/ 2 w 140"/>
                <a:gd name="T7" fmla="*/ 1 h 215"/>
                <a:gd name="T8" fmla="*/ 1 w 140"/>
                <a:gd name="T9" fmla="*/ 1 h 215"/>
                <a:gd name="T10" fmla="*/ 0 w 140"/>
                <a:gd name="T11" fmla="*/ 4 h 215"/>
                <a:gd name="T12" fmla="*/ 0 w 140"/>
                <a:gd name="T13" fmla="*/ 5 h 215"/>
                <a:gd name="T14" fmla="*/ 0 w 140"/>
                <a:gd name="T15" fmla="*/ 91 h 215"/>
                <a:gd name="T16" fmla="*/ 0 w 140"/>
                <a:gd name="T17" fmla="*/ 91 h 215"/>
                <a:gd name="T18" fmla="*/ 0 w 140"/>
                <a:gd name="T19" fmla="*/ 94 h 215"/>
                <a:gd name="T20" fmla="*/ 1 w 140"/>
                <a:gd name="T21" fmla="*/ 95 h 215"/>
                <a:gd name="T22" fmla="*/ 32 w 140"/>
                <a:gd name="T23" fmla="*/ 126 h 215"/>
                <a:gd name="T24" fmla="*/ 32 w 140"/>
                <a:gd name="T25" fmla="*/ 209 h 215"/>
                <a:gd name="T26" fmla="*/ 32 w 140"/>
                <a:gd name="T27" fmla="*/ 209 h 215"/>
                <a:gd name="T28" fmla="*/ 32 w 140"/>
                <a:gd name="T29" fmla="*/ 211 h 215"/>
                <a:gd name="T30" fmla="*/ 33 w 140"/>
                <a:gd name="T31" fmla="*/ 213 h 215"/>
                <a:gd name="T32" fmla="*/ 35 w 140"/>
                <a:gd name="T33" fmla="*/ 215 h 215"/>
                <a:gd name="T34" fmla="*/ 37 w 140"/>
                <a:gd name="T35" fmla="*/ 215 h 215"/>
                <a:gd name="T36" fmla="*/ 102 w 140"/>
                <a:gd name="T37" fmla="*/ 215 h 215"/>
                <a:gd name="T38" fmla="*/ 102 w 140"/>
                <a:gd name="T39" fmla="*/ 215 h 215"/>
                <a:gd name="T40" fmla="*/ 103 w 140"/>
                <a:gd name="T41" fmla="*/ 215 h 215"/>
                <a:gd name="T42" fmla="*/ 106 w 140"/>
                <a:gd name="T43" fmla="*/ 213 h 215"/>
                <a:gd name="T44" fmla="*/ 106 w 140"/>
                <a:gd name="T45" fmla="*/ 211 h 215"/>
                <a:gd name="T46" fmla="*/ 107 w 140"/>
                <a:gd name="T47" fmla="*/ 209 h 215"/>
                <a:gd name="T48" fmla="*/ 107 w 140"/>
                <a:gd name="T49" fmla="*/ 126 h 215"/>
                <a:gd name="T50" fmla="*/ 137 w 140"/>
                <a:gd name="T51" fmla="*/ 95 h 215"/>
                <a:gd name="T52" fmla="*/ 137 w 140"/>
                <a:gd name="T53" fmla="*/ 95 h 215"/>
                <a:gd name="T54" fmla="*/ 138 w 140"/>
                <a:gd name="T55" fmla="*/ 94 h 215"/>
                <a:gd name="T56" fmla="*/ 140 w 140"/>
                <a:gd name="T57" fmla="*/ 91 h 215"/>
                <a:gd name="T58" fmla="*/ 140 w 140"/>
                <a:gd name="T59" fmla="*/ 5 h 215"/>
                <a:gd name="T60" fmla="*/ 140 w 140"/>
                <a:gd name="T61" fmla="*/ 5 h 215"/>
                <a:gd name="T62" fmla="*/ 138 w 140"/>
                <a:gd name="T63" fmla="*/ 4 h 215"/>
                <a:gd name="T64" fmla="*/ 137 w 140"/>
                <a:gd name="T65" fmla="*/ 1 h 215"/>
                <a:gd name="T66" fmla="*/ 135 w 140"/>
                <a:gd name="T67" fmla="*/ 1 h 215"/>
                <a:gd name="T68" fmla="*/ 134 w 140"/>
                <a:gd name="T69" fmla="*/ 0 h 215"/>
                <a:gd name="T70" fmla="*/ 134 w 140"/>
                <a:gd name="T71"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0" h="215">
                  <a:moveTo>
                    <a:pt x="134" y="0"/>
                  </a:moveTo>
                  <a:lnTo>
                    <a:pt x="5" y="0"/>
                  </a:lnTo>
                  <a:lnTo>
                    <a:pt x="5" y="0"/>
                  </a:lnTo>
                  <a:lnTo>
                    <a:pt x="2" y="1"/>
                  </a:lnTo>
                  <a:lnTo>
                    <a:pt x="1" y="1"/>
                  </a:lnTo>
                  <a:lnTo>
                    <a:pt x="0" y="4"/>
                  </a:lnTo>
                  <a:lnTo>
                    <a:pt x="0" y="5"/>
                  </a:lnTo>
                  <a:lnTo>
                    <a:pt x="0" y="91"/>
                  </a:lnTo>
                  <a:lnTo>
                    <a:pt x="0" y="91"/>
                  </a:lnTo>
                  <a:lnTo>
                    <a:pt x="0" y="94"/>
                  </a:lnTo>
                  <a:lnTo>
                    <a:pt x="1" y="95"/>
                  </a:lnTo>
                  <a:lnTo>
                    <a:pt x="32" y="126"/>
                  </a:lnTo>
                  <a:lnTo>
                    <a:pt x="32" y="209"/>
                  </a:lnTo>
                  <a:lnTo>
                    <a:pt x="32" y="209"/>
                  </a:lnTo>
                  <a:lnTo>
                    <a:pt x="32" y="211"/>
                  </a:lnTo>
                  <a:lnTo>
                    <a:pt x="33" y="213"/>
                  </a:lnTo>
                  <a:lnTo>
                    <a:pt x="35" y="215"/>
                  </a:lnTo>
                  <a:lnTo>
                    <a:pt x="37" y="215"/>
                  </a:lnTo>
                  <a:lnTo>
                    <a:pt x="102" y="215"/>
                  </a:lnTo>
                  <a:lnTo>
                    <a:pt x="102" y="215"/>
                  </a:lnTo>
                  <a:lnTo>
                    <a:pt x="103" y="215"/>
                  </a:lnTo>
                  <a:lnTo>
                    <a:pt x="106" y="213"/>
                  </a:lnTo>
                  <a:lnTo>
                    <a:pt x="106" y="211"/>
                  </a:lnTo>
                  <a:lnTo>
                    <a:pt x="107" y="209"/>
                  </a:lnTo>
                  <a:lnTo>
                    <a:pt x="107" y="126"/>
                  </a:lnTo>
                  <a:lnTo>
                    <a:pt x="137" y="95"/>
                  </a:lnTo>
                  <a:lnTo>
                    <a:pt x="137" y="95"/>
                  </a:lnTo>
                  <a:lnTo>
                    <a:pt x="138" y="94"/>
                  </a:lnTo>
                  <a:lnTo>
                    <a:pt x="140" y="91"/>
                  </a:lnTo>
                  <a:lnTo>
                    <a:pt x="140" y="5"/>
                  </a:lnTo>
                  <a:lnTo>
                    <a:pt x="140" y="5"/>
                  </a:lnTo>
                  <a:lnTo>
                    <a:pt x="138" y="4"/>
                  </a:lnTo>
                  <a:lnTo>
                    <a:pt x="137" y="1"/>
                  </a:lnTo>
                  <a:lnTo>
                    <a:pt x="135" y="1"/>
                  </a:lnTo>
                  <a:lnTo>
                    <a:pt x="134" y="0"/>
                  </a:lnTo>
                  <a:lnTo>
                    <a:pt x="1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1" name="Freeform 135">
              <a:extLst>
                <a:ext uri="{FF2B5EF4-FFF2-40B4-BE49-F238E27FC236}">
                  <a16:creationId xmlns:a16="http://schemas.microsoft.com/office/drawing/2014/main" id="{B70C11CA-C200-4300-8BF4-D4D26B43CA08}"/>
                </a:ext>
              </a:extLst>
            </p:cNvPr>
            <p:cNvSpPr>
              <a:spLocks/>
            </p:cNvSpPr>
            <p:nvPr/>
          </p:nvSpPr>
          <p:spPr bwMode="auto">
            <a:xfrm>
              <a:off x="3513138" y="2650173"/>
              <a:ext cx="63500" cy="61913"/>
            </a:xfrm>
            <a:custGeom>
              <a:avLst/>
              <a:gdLst>
                <a:gd name="T0" fmla="*/ 41 w 80"/>
                <a:gd name="T1" fmla="*/ 79 h 79"/>
                <a:gd name="T2" fmla="*/ 41 w 80"/>
                <a:gd name="T3" fmla="*/ 79 h 79"/>
                <a:gd name="T4" fmla="*/ 49 w 80"/>
                <a:gd name="T5" fmla="*/ 79 h 79"/>
                <a:gd name="T6" fmla="*/ 55 w 80"/>
                <a:gd name="T7" fmla="*/ 77 h 79"/>
                <a:gd name="T8" fmla="*/ 62 w 80"/>
                <a:gd name="T9" fmla="*/ 73 h 79"/>
                <a:gd name="T10" fmla="*/ 69 w 80"/>
                <a:gd name="T11" fmla="*/ 69 h 79"/>
                <a:gd name="T12" fmla="*/ 73 w 80"/>
                <a:gd name="T13" fmla="*/ 62 h 79"/>
                <a:gd name="T14" fmla="*/ 77 w 80"/>
                <a:gd name="T15" fmla="*/ 55 h 79"/>
                <a:gd name="T16" fmla="*/ 80 w 80"/>
                <a:gd name="T17" fmla="*/ 48 h 79"/>
                <a:gd name="T18" fmla="*/ 80 w 80"/>
                <a:gd name="T19" fmla="*/ 40 h 79"/>
                <a:gd name="T20" fmla="*/ 80 w 80"/>
                <a:gd name="T21" fmla="*/ 40 h 79"/>
                <a:gd name="T22" fmla="*/ 80 w 80"/>
                <a:gd name="T23" fmla="*/ 32 h 79"/>
                <a:gd name="T24" fmla="*/ 77 w 80"/>
                <a:gd name="T25" fmla="*/ 24 h 79"/>
                <a:gd name="T26" fmla="*/ 73 w 80"/>
                <a:gd name="T27" fmla="*/ 18 h 79"/>
                <a:gd name="T28" fmla="*/ 69 w 80"/>
                <a:gd name="T29" fmla="*/ 12 h 79"/>
                <a:gd name="T30" fmla="*/ 62 w 80"/>
                <a:gd name="T31" fmla="*/ 7 h 79"/>
                <a:gd name="T32" fmla="*/ 55 w 80"/>
                <a:gd name="T33" fmla="*/ 4 h 79"/>
                <a:gd name="T34" fmla="*/ 49 w 80"/>
                <a:gd name="T35" fmla="*/ 1 h 79"/>
                <a:gd name="T36" fmla="*/ 41 w 80"/>
                <a:gd name="T37" fmla="*/ 0 h 79"/>
                <a:gd name="T38" fmla="*/ 41 w 80"/>
                <a:gd name="T39" fmla="*/ 0 h 79"/>
                <a:gd name="T40" fmla="*/ 32 w 80"/>
                <a:gd name="T41" fmla="*/ 1 h 79"/>
                <a:gd name="T42" fmla="*/ 24 w 80"/>
                <a:gd name="T43" fmla="*/ 4 h 79"/>
                <a:gd name="T44" fmla="*/ 18 w 80"/>
                <a:gd name="T45" fmla="*/ 7 h 79"/>
                <a:gd name="T46" fmla="*/ 12 w 80"/>
                <a:gd name="T47" fmla="*/ 12 h 79"/>
                <a:gd name="T48" fmla="*/ 7 w 80"/>
                <a:gd name="T49" fmla="*/ 18 h 79"/>
                <a:gd name="T50" fmla="*/ 4 w 80"/>
                <a:gd name="T51" fmla="*/ 24 h 79"/>
                <a:gd name="T52" fmla="*/ 2 w 80"/>
                <a:gd name="T53" fmla="*/ 32 h 79"/>
                <a:gd name="T54" fmla="*/ 0 w 80"/>
                <a:gd name="T55" fmla="*/ 40 h 79"/>
                <a:gd name="T56" fmla="*/ 0 w 80"/>
                <a:gd name="T57" fmla="*/ 40 h 79"/>
                <a:gd name="T58" fmla="*/ 2 w 80"/>
                <a:gd name="T59" fmla="*/ 48 h 79"/>
                <a:gd name="T60" fmla="*/ 4 w 80"/>
                <a:gd name="T61" fmla="*/ 55 h 79"/>
                <a:gd name="T62" fmla="*/ 7 w 80"/>
                <a:gd name="T63" fmla="*/ 62 h 79"/>
                <a:gd name="T64" fmla="*/ 12 w 80"/>
                <a:gd name="T65" fmla="*/ 69 h 79"/>
                <a:gd name="T66" fmla="*/ 18 w 80"/>
                <a:gd name="T67" fmla="*/ 73 h 79"/>
                <a:gd name="T68" fmla="*/ 24 w 80"/>
                <a:gd name="T69" fmla="*/ 77 h 79"/>
                <a:gd name="T70" fmla="*/ 32 w 80"/>
                <a:gd name="T71" fmla="*/ 79 h 79"/>
                <a:gd name="T72" fmla="*/ 41 w 80"/>
                <a:gd name="T73" fmla="*/ 79 h 79"/>
                <a:gd name="T74" fmla="*/ 41 w 80"/>
                <a:gd name="T75"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79"/>
                  </a:moveTo>
                  <a:lnTo>
                    <a:pt x="41" y="79"/>
                  </a:lnTo>
                  <a:lnTo>
                    <a:pt x="49" y="79"/>
                  </a:lnTo>
                  <a:lnTo>
                    <a:pt x="55"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5" y="4"/>
                  </a:lnTo>
                  <a:lnTo>
                    <a:pt x="49" y="1"/>
                  </a:lnTo>
                  <a:lnTo>
                    <a:pt x="41" y="0"/>
                  </a:lnTo>
                  <a:lnTo>
                    <a:pt x="41" y="0"/>
                  </a:lnTo>
                  <a:lnTo>
                    <a:pt x="32" y="1"/>
                  </a:lnTo>
                  <a:lnTo>
                    <a:pt x="24" y="4"/>
                  </a:lnTo>
                  <a:lnTo>
                    <a:pt x="18" y="7"/>
                  </a:lnTo>
                  <a:lnTo>
                    <a:pt x="12" y="12"/>
                  </a:lnTo>
                  <a:lnTo>
                    <a:pt x="7" y="18"/>
                  </a:lnTo>
                  <a:lnTo>
                    <a:pt x="4" y="24"/>
                  </a:lnTo>
                  <a:lnTo>
                    <a:pt x="2" y="32"/>
                  </a:lnTo>
                  <a:lnTo>
                    <a:pt x="0" y="40"/>
                  </a:lnTo>
                  <a:lnTo>
                    <a:pt x="0" y="40"/>
                  </a:lnTo>
                  <a:lnTo>
                    <a:pt x="2" y="48"/>
                  </a:lnTo>
                  <a:lnTo>
                    <a:pt x="4" y="55"/>
                  </a:lnTo>
                  <a:lnTo>
                    <a:pt x="7" y="62"/>
                  </a:lnTo>
                  <a:lnTo>
                    <a:pt x="12" y="69"/>
                  </a:lnTo>
                  <a:lnTo>
                    <a:pt x="18" y="73"/>
                  </a:lnTo>
                  <a:lnTo>
                    <a:pt x="24" y="77"/>
                  </a:lnTo>
                  <a:lnTo>
                    <a:pt x="32" y="79"/>
                  </a:lnTo>
                  <a:lnTo>
                    <a:pt x="41" y="79"/>
                  </a:lnTo>
                  <a:lnTo>
                    <a:pt x="4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2" name="Freeform 136">
              <a:extLst>
                <a:ext uri="{FF2B5EF4-FFF2-40B4-BE49-F238E27FC236}">
                  <a16:creationId xmlns:a16="http://schemas.microsoft.com/office/drawing/2014/main" id="{D8D8290A-F48F-4B9E-9F3D-33EBFB7715DC}"/>
                </a:ext>
              </a:extLst>
            </p:cNvPr>
            <p:cNvSpPr>
              <a:spLocks/>
            </p:cNvSpPr>
            <p:nvPr/>
          </p:nvSpPr>
          <p:spPr bwMode="auto">
            <a:xfrm>
              <a:off x="3333751" y="2650173"/>
              <a:ext cx="63500" cy="61913"/>
            </a:xfrm>
            <a:custGeom>
              <a:avLst/>
              <a:gdLst>
                <a:gd name="T0" fmla="*/ 41 w 80"/>
                <a:gd name="T1" fmla="*/ 0 h 79"/>
                <a:gd name="T2" fmla="*/ 41 w 80"/>
                <a:gd name="T3" fmla="*/ 0 h 79"/>
                <a:gd name="T4" fmla="*/ 33 w 80"/>
                <a:gd name="T5" fmla="*/ 1 h 79"/>
                <a:gd name="T6" fmla="*/ 25 w 80"/>
                <a:gd name="T7" fmla="*/ 4 h 79"/>
                <a:gd name="T8" fmla="*/ 18 w 80"/>
                <a:gd name="T9" fmla="*/ 7 h 79"/>
                <a:gd name="T10" fmla="*/ 13 w 80"/>
                <a:gd name="T11" fmla="*/ 12 h 79"/>
                <a:gd name="T12" fmla="*/ 7 w 80"/>
                <a:gd name="T13" fmla="*/ 18 h 79"/>
                <a:gd name="T14" fmla="*/ 4 w 80"/>
                <a:gd name="T15" fmla="*/ 24 h 79"/>
                <a:gd name="T16" fmla="*/ 2 w 80"/>
                <a:gd name="T17" fmla="*/ 32 h 79"/>
                <a:gd name="T18" fmla="*/ 0 w 80"/>
                <a:gd name="T19" fmla="*/ 40 h 79"/>
                <a:gd name="T20" fmla="*/ 0 w 80"/>
                <a:gd name="T21" fmla="*/ 40 h 79"/>
                <a:gd name="T22" fmla="*/ 2 w 80"/>
                <a:gd name="T23" fmla="*/ 48 h 79"/>
                <a:gd name="T24" fmla="*/ 4 w 80"/>
                <a:gd name="T25" fmla="*/ 55 h 79"/>
                <a:gd name="T26" fmla="*/ 7 w 80"/>
                <a:gd name="T27" fmla="*/ 62 h 79"/>
                <a:gd name="T28" fmla="*/ 13 w 80"/>
                <a:gd name="T29" fmla="*/ 69 h 79"/>
                <a:gd name="T30" fmla="*/ 18 w 80"/>
                <a:gd name="T31" fmla="*/ 73 h 79"/>
                <a:gd name="T32" fmla="*/ 25 w 80"/>
                <a:gd name="T33" fmla="*/ 77 h 79"/>
                <a:gd name="T34" fmla="*/ 33 w 80"/>
                <a:gd name="T35" fmla="*/ 79 h 79"/>
                <a:gd name="T36" fmla="*/ 41 w 80"/>
                <a:gd name="T37" fmla="*/ 79 h 79"/>
                <a:gd name="T38" fmla="*/ 41 w 80"/>
                <a:gd name="T39" fmla="*/ 79 h 79"/>
                <a:gd name="T40" fmla="*/ 49 w 80"/>
                <a:gd name="T41" fmla="*/ 79 h 79"/>
                <a:gd name="T42" fmla="*/ 56 w 80"/>
                <a:gd name="T43" fmla="*/ 77 h 79"/>
                <a:gd name="T44" fmla="*/ 62 w 80"/>
                <a:gd name="T45" fmla="*/ 73 h 79"/>
                <a:gd name="T46" fmla="*/ 69 w 80"/>
                <a:gd name="T47" fmla="*/ 69 h 79"/>
                <a:gd name="T48" fmla="*/ 73 w 80"/>
                <a:gd name="T49" fmla="*/ 62 h 79"/>
                <a:gd name="T50" fmla="*/ 77 w 80"/>
                <a:gd name="T51" fmla="*/ 55 h 79"/>
                <a:gd name="T52" fmla="*/ 80 w 80"/>
                <a:gd name="T53" fmla="*/ 48 h 79"/>
                <a:gd name="T54" fmla="*/ 80 w 80"/>
                <a:gd name="T55" fmla="*/ 40 h 79"/>
                <a:gd name="T56" fmla="*/ 80 w 80"/>
                <a:gd name="T57" fmla="*/ 40 h 79"/>
                <a:gd name="T58" fmla="*/ 80 w 80"/>
                <a:gd name="T59" fmla="*/ 32 h 79"/>
                <a:gd name="T60" fmla="*/ 77 w 80"/>
                <a:gd name="T61" fmla="*/ 24 h 79"/>
                <a:gd name="T62" fmla="*/ 73 w 80"/>
                <a:gd name="T63" fmla="*/ 18 h 79"/>
                <a:gd name="T64" fmla="*/ 69 w 80"/>
                <a:gd name="T65" fmla="*/ 12 h 79"/>
                <a:gd name="T66" fmla="*/ 62 w 80"/>
                <a:gd name="T67" fmla="*/ 7 h 79"/>
                <a:gd name="T68" fmla="*/ 56 w 80"/>
                <a:gd name="T69" fmla="*/ 4 h 79"/>
                <a:gd name="T70" fmla="*/ 49 w 80"/>
                <a:gd name="T71" fmla="*/ 1 h 79"/>
                <a:gd name="T72" fmla="*/ 41 w 80"/>
                <a:gd name="T73" fmla="*/ 0 h 79"/>
                <a:gd name="T74" fmla="*/ 41 w 80"/>
                <a:gd name="T75"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0"/>
                  </a:moveTo>
                  <a:lnTo>
                    <a:pt x="41" y="0"/>
                  </a:lnTo>
                  <a:lnTo>
                    <a:pt x="33" y="1"/>
                  </a:lnTo>
                  <a:lnTo>
                    <a:pt x="25" y="4"/>
                  </a:lnTo>
                  <a:lnTo>
                    <a:pt x="18" y="7"/>
                  </a:lnTo>
                  <a:lnTo>
                    <a:pt x="13" y="12"/>
                  </a:lnTo>
                  <a:lnTo>
                    <a:pt x="7" y="18"/>
                  </a:lnTo>
                  <a:lnTo>
                    <a:pt x="4" y="24"/>
                  </a:lnTo>
                  <a:lnTo>
                    <a:pt x="2" y="32"/>
                  </a:lnTo>
                  <a:lnTo>
                    <a:pt x="0" y="40"/>
                  </a:lnTo>
                  <a:lnTo>
                    <a:pt x="0" y="40"/>
                  </a:lnTo>
                  <a:lnTo>
                    <a:pt x="2" y="48"/>
                  </a:lnTo>
                  <a:lnTo>
                    <a:pt x="4" y="55"/>
                  </a:lnTo>
                  <a:lnTo>
                    <a:pt x="7" y="62"/>
                  </a:lnTo>
                  <a:lnTo>
                    <a:pt x="13" y="69"/>
                  </a:lnTo>
                  <a:lnTo>
                    <a:pt x="18" y="73"/>
                  </a:lnTo>
                  <a:lnTo>
                    <a:pt x="25" y="77"/>
                  </a:lnTo>
                  <a:lnTo>
                    <a:pt x="33" y="79"/>
                  </a:lnTo>
                  <a:lnTo>
                    <a:pt x="41" y="79"/>
                  </a:lnTo>
                  <a:lnTo>
                    <a:pt x="41" y="79"/>
                  </a:lnTo>
                  <a:lnTo>
                    <a:pt x="49" y="79"/>
                  </a:lnTo>
                  <a:lnTo>
                    <a:pt x="56"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6" y="4"/>
                  </a:lnTo>
                  <a:lnTo>
                    <a:pt x="49" y="1"/>
                  </a:lnTo>
                  <a:lnTo>
                    <a:pt x="41" y="0"/>
                  </a:lnTo>
                  <a:lnTo>
                    <a:pt x="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3" name="Freeform 137">
              <a:extLst>
                <a:ext uri="{FF2B5EF4-FFF2-40B4-BE49-F238E27FC236}">
                  <a16:creationId xmlns:a16="http://schemas.microsoft.com/office/drawing/2014/main" id="{1427CBF1-3E0F-4AC7-BDC2-F27507050082}"/>
                </a:ext>
              </a:extLst>
            </p:cNvPr>
            <p:cNvSpPr>
              <a:spLocks/>
            </p:cNvSpPr>
            <p:nvPr/>
          </p:nvSpPr>
          <p:spPr bwMode="auto">
            <a:xfrm>
              <a:off x="3414713" y="2632710"/>
              <a:ext cx="80963" cy="79375"/>
            </a:xfrm>
            <a:custGeom>
              <a:avLst/>
              <a:gdLst>
                <a:gd name="T0" fmla="*/ 51 w 102"/>
                <a:gd name="T1" fmla="*/ 100 h 100"/>
                <a:gd name="T2" fmla="*/ 51 w 102"/>
                <a:gd name="T3" fmla="*/ 100 h 100"/>
                <a:gd name="T4" fmla="*/ 60 w 102"/>
                <a:gd name="T5" fmla="*/ 99 h 100"/>
                <a:gd name="T6" fmla="*/ 69 w 102"/>
                <a:gd name="T7" fmla="*/ 96 h 100"/>
                <a:gd name="T8" fmla="*/ 79 w 102"/>
                <a:gd name="T9" fmla="*/ 92 h 100"/>
                <a:gd name="T10" fmla="*/ 86 w 102"/>
                <a:gd name="T11" fmla="*/ 86 h 100"/>
                <a:gd name="T12" fmla="*/ 92 w 102"/>
                <a:gd name="T13" fmla="*/ 78 h 100"/>
                <a:gd name="T14" fmla="*/ 98 w 102"/>
                <a:gd name="T15" fmla="*/ 69 h 100"/>
                <a:gd name="T16" fmla="*/ 100 w 102"/>
                <a:gd name="T17" fmla="*/ 60 h 100"/>
                <a:gd name="T18" fmla="*/ 102 w 102"/>
                <a:gd name="T19" fmla="*/ 49 h 100"/>
                <a:gd name="T20" fmla="*/ 102 w 102"/>
                <a:gd name="T21" fmla="*/ 49 h 100"/>
                <a:gd name="T22" fmla="*/ 100 w 102"/>
                <a:gd name="T23" fmla="*/ 40 h 100"/>
                <a:gd name="T24" fmla="*/ 98 w 102"/>
                <a:gd name="T25" fmla="*/ 30 h 100"/>
                <a:gd name="T26" fmla="*/ 92 w 102"/>
                <a:gd name="T27" fmla="*/ 21 h 100"/>
                <a:gd name="T28" fmla="*/ 86 w 102"/>
                <a:gd name="T29" fmla="*/ 14 h 100"/>
                <a:gd name="T30" fmla="*/ 79 w 102"/>
                <a:gd name="T31" fmla="*/ 8 h 100"/>
                <a:gd name="T32" fmla="*/ 69 w 102"/>
                <a:gd name="T33" fmla="*/ 4 h 100"/>
                <a:gd name="T34" fmla="*/ 60 w 102"/>
                <a:gd name="T35" fmla="*/ 0 h 100"/>
                <a:gd name="T36" fmla="*/ 51 w 102"/>
                <a:gd name="T37" fmla="*/ 0 h 100"/>
                <a:gd name="T38" fmla="*/ 51 w 102"/>
                <a:gd name="T39" fmla="*/ 0 h 100"/>
                <a:gd name="T40" fmla="*/ 40 w 102"/>
                <a:gd name="T41" fmla="*/ 0 h 100"/>
                <a:gd name="T42" fmla="*/ 30 w 102"/>
                <a:gd name="T43" fmla="*/ 4 h 100"/>
                <a:gd name="T44" fmla="*/ 22 w 102"/>
                <a:gd name="T45" fmla="*/ 8 h 100"/>
                <a:gd name="T46" fmla="*/ 14 w 102"/>
                <a:gd name="T47" fmla="*/ 14 h 100"/>
                <a:gd name="T48" fmla="*/ 8 w 102"/>
                <a:gd name="T49" fmla="*/ 21 h 100"/>
                <a:gd name="T50" fmla="*/ 4 w 102"/>
                <a:gd name="T51" fmla="*/ 30 h 100"/>
                <a:gd name="T52" fmla="*/ 1 w 102"/>
                <a:gd name="T53" fmla="*/ 40 h 100"/>
                <a:gd name="T54" fmla="*/ 0 w 102"/>
                <a:gd name="T55" fmla="*/ 49 h 100"/>
                <a:gd name="T56" fmla="*/ 0 w 102"/>
                <a:gd name="T57" fmla="*/ 49 h 100"/>
                <a:gd name="T58" fmla="*/ 1 w 102"/>
                <a:gd name="T59" fmla="*/ 60 h 100"/>
                <a:gd name="T60" fmla="*/ 4 w 102"/>
                <a:gd name="T61" fmla="*/ 69 h 100"/>
                <a:gd name="T62" fmla="*/ 8 w 102"/>
                <a:gd name="T63" fmla="*/ 78 h 100"/>
                <a:gd name="T64" fmla="*/ 14 w 102"/>
                <a:gd name="T65" fmla="*/ 86 h 100"/>
                <a:gd name="T66" fmla="*/ 22 w 102"/>
                <a:gd name="T67" fmla="*/ 92 h 100"/>
                <a:gd name="T68" fmla="*/ 30 w 102"/>
                <a:gd name="T69" fmla="*/ 96 h 100"/>
                <a:gd name="T70" fmla="*/ 40 w 102"/>
                <a:gd name="T71" fmla="*/ 99 h 100"/>
                <a:gd name="T72" fmla="*/ 51 w 102"/>
                <a:gd name="T73" fmla="*/ 100 h 100"/>
                <a:gd name="T74" fmla="*/ 51 w 102"/>
                <a:gd name="T75"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0">
                  <a:moveTo>
                    <a:pt x="51" y="100"/>
                  </a:moveTo>
                  <a:lnTo>
                    <a:pt x="51" y="100"/>
                  </a:lnTo>
                  <a:lnTo>
                    <a:pt x="60" y="99"/>
                  </a:lnTo>
                  <a:lnTo>
                    <a:pt x="69" y="96"/>
                  </a:lnTo>
                  <a:lnTo>
                    <a:pt x="79" y="92"/>
                  </a:lnTo>
                  <a:lnTo>
                    <a:pt x="86" y="86"/>
                  </a:lnTo>
                  <a:lnTo>
                    <a:pt x="92" y="78"/>
                  </a:lnTo>
                  <a:lnTo>
                    <a:pt x="98" y="69"/>
                  </a:lnTo>
                  <a:lnTo>
                    <a:pt x="100" y="60"/>
                  </a:lnTo>
                  <a:lnTo>
                    <a:pt x="102" y="49"/>
                  </a:lnTo>
                  <a:lnTo>
                    <a:pt x="102" y="49"/>
                  </a:lnTo>
                  <a:lnTo>
                    <a:pt x="100" y="40"/>
                  </a:lnTo>
                  <a:lnTo>
                    <a:pt x="98" y="30"/>
                  </a:lnTo>
                  <a:lnTo>
                    <a:pt x="92" y="21"/>
                  </a:lnTo>
                  <a:lnTo>
                    <a:pt x="86" y="14"/>
                  </a:lnTo>
                  <a:lnTo>
                    <a:pt x="79" y="8"/>
                  </a:lnTo>
                  <a:lnTo>
                    <a:pt x="69" y="4"/>
                  </a:lnTo>
                  <a:lnTo>
                    <a:pt x="60" y="0"/>
                  </a:lnTo>
                  <a:lnTo>
                    <a:pt x="51" y="0"/>
                  </a:lnTo>
                  <a:lnTo>
                    <a:pt x="51" y="0"/>
                  </a:lnTo>
                  <a:lnTo>
                    <a:pt x="40" y="0"/>
                  </a:lnTo>
                  <a:lnTo>
                    <a:pt x="30" y="4"/>
                  </a:lnTo>
                  <a:lnTo>
                    <a:pt x="22" y="8"/>
                  </a:lnTo>
                  <a:lnTo>
                    <a:pt x="14" y="14"/>
                  </a:lnTo>
                  <a:lnTo>
                    <a:pt x="8" y="21"/>
                  </a:lnTo>
                  <a:lnTo>
                    <a:pt x="4" y="30"/>
                  </a:lnTo>
                  <a:lnTo>
                    <a:pt x="1" y="40"/>
                  </a:lnTo>
                  <a:lnTo>
                    <a:pt x="0" y="49"/>
                  </a:lnTo>
                  <a:lnTo>
                    <a:pt x="0" y="49"/>
                  </a:lnTo>
                  <a:lnTo>
                    <a:pt x="1" y="60"/>
                  </a:lnTo>
                  <a:lnTo>
                    <a:pt x="4" y="69"/>
                  </a:lnTo>
                  <a:lnTo>
                    <a:pt x="8" y="78"/>
                  </a:lnTo>
                  <a:lnTo>
                    <a:pt x="14" y="86"/>
                  </a:lnTo>
                  <a:lnTo>
                    <a:pt x="22" y="92"/>
                  </a:lnTo>
                  <a:lnTo>
                    <a:pt x="30" y="96"/>
                  </a:lnTo>
                  <a:lnTo>
                    <a:pt x="40" y="99"/>
                  </a:lnTo>
                  <a:lnTo>
                    <a:pt x="51" y="100"/>
                  </a:lnTo>
                  <a:lnTo>
                    <a:pt x="51"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24" name="TextBox 23">
            <a:extLst>
              <a:ext uri="{FF2B5EF4-FFF2-40B4-BE49-F238E27FC236}">
                <a16:creationId xmlns:a16="http://schemas.microsoft.com/office/drawing/2014/main" id="{DBC914CE-24B2-4C4A-ABEA-2B5DD2C9AE8B}"/>
              </a:ext>
            </a:extLst>
          </p:cNvPr>
          <p:cNvSpPr txBox="1"/>
          <p:nvPr/>
        </p:nvSpPr>
        <p:spPr bwMode="gray">
          <a:xfrm>
            <a:off x="3699975" y="3171321"/>
            <a:ext cx="2060215" cy="430887"/>
          </a:xfrm>
          <a:prstGeom prst="rect">
            <a:avLst/>
          </a:prstGeom>
        </p:spPr>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2017 sales and revenu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 </a:t>
            </a:r>
            <a:r>
              <a:rPr kumimoji="0" lang="en-US" sz="1400" b="1"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42 Billion </a:t>
            </a:r>
          </a:p>
        </p:txBody>
      </p:sp>
      <p:sp>
        <p:nvSpPr>
          <p:cNvPr id="25" name="TextBox 24">
            <a:extLst>
              <a:ext uri="{FF2B5EF4-FFF2-40B4-BE49-F238E27FC236}">
                <a16:creationId xmlns:a16="http://schemas.microsoft.com/office/drawing/2014/main" id="{B1BDE29E-1E47-4D96-AF63-901BE6A0168A}"/>
              </a:ext>
            </a:extLst>
          </p:cNvPr>
          <p:cNvSpPr txBox="1"/>
          <p:nvPr/>
        </p:nvSpPr>
        <p:spPr bwMode="gray">
          <a:xfrm>
            <a:off x="915802" y="5069755"/>
            <a:ext cx="2169100" cy="646331"/>
          </a:xfrm>
          <a:prstGeom prst="rect">
            <a:avLst/>
          </a:prstGeom>
        </p:spPr>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Dealers serve </a:t>
            </a:r>
            <a:r>
              <a:rPr kumimoji="0" lang="en-US" sz="1400" b="1"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182</a:t>
            </a:r>
            <a:r>
              <a:rPr kumimoji="0" lang="en-US" sz="14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 countries and operate </a:t>
            </a:r>
            <a:r>
              <a:rPr kumimoji="0" lang="en-US" sz="1400" b="1"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3,504</a:t>
            </a:r>
            <a:r>
              <a:rPr kumimoji="0" lang="en-US" sz="14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 places of business</a:t>
            </a:r>
          </a:p>
        </p:txBody>
      </p:sp>
      <p:sp>
        <p:nvSpPr>
          <p:cNvPr id="26" name="TextBox 25">
            <a:extLst>
              <a:ext uri="{FF2B5EF4-FFF2-40B4-BE49-F238E27FC236}">
                <a16:creationId xmlns:a16="http://schemas.microsoft.com/office/drawing/2014/main" id="{AEFDCB13-0409-4000-B1CB-E125683C391A}"/>
              </a:ext>
            </a:extLst>
          </p:cNvPr>
          <p:cNvSpPr txBox="1"/>
          <p:nvPr/>
        </p:nvSpPr>
        <p:spPr bwMode="gray">
          <a:xfrm>
            <a:off x="3699975" y="5069755"/>
            <a:ext cx="2060215" cy="769441"/>
          </a:xfrm>
          <a:prstGeom prst="rect">
            <a:avLst/>
          </a:prstGeom>
        </p:spPr>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3</a:t>
            </a:r>
            <a:r>
              <a:rPr kumimoji="0" lang="en-US" sz="1400" b="1" i="0" u="none" strike="noStrike" kern="1200" cap="none" spc="0" normalizeH="0" baseline="0" noProof="0" dirty="0">
                <a:ln>
                  <a:noFill/>
                </a:ln>
                <a:solidFill>
                  <a:srgbClr val="000000"/>
                </a:solidFill>
                <a:effectLst/>
                <a:uLnTx/>
                <a:uFillTx/>
                <a:latin typeface="Open Sans"/>
                <a:ea typeface="+mn-ea"/>
                <a:cs typeface="+mn-cs"/>
              </a:rPr>
              <a:t> </a:t>
            </a:r>
            <a:r>
              <a:rPr kumimoji="0" lang="en-US" sz="1400" b="1"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Product Segments:</a:t>
            </a:r>
          </a:p>
          <a:p>
            <a:pPr marL="192024" marR="0" lvl="0" indent="-173736" algn="l" defTabSz="914400"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Resource Industries</a:t>
            </a:r>
          </a:p>
          <a:p>
            <a:pPr marL="192024" marR="0" lvl="0" indent="-173736" algn="l" defTabSz="914400"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kumimoji="0" lang="en-US" sz="1200" b="1"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Construction Industries</a:t>
            </a:r>
          </a:p>
          <a:p>
            <a:pPr marL="192024" marR="0" lvl="0" indent="-173736" algn="l" defTabSz="914400"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Energy &amp; Transportation </a:t>
            </a:r>
          </a:p>
        </p:txBody>
      </p:sp>
      <p:grpSp>
        <p:nvGrpSpPr>
          <p:cNvPr id="27" name="Group 26">
            <a:extLst>
              <a:ext uri="{FF2B5EF4-FFF2-40B4-BE49-F238E27FC236}">
                <a16:creationId xmlns:a16="http://schemas.microsoft.com/office/drawing/2014/main" id="{679E017D-9337-4A67-8FAB-9EB736C8F3B2}"/>
              </a:ext>
            </a:extLst>
          </p:cNvPr>
          <p:cNvGrpSpPr>
            <a:grpSpLocks noChangeAspect="1"/>
          </p:cNvGrpSpPr>
          <p:nvPr/>
        </p:nvGrpSpPr>
        <p:grpSpPr>
          <a:xfrm>
            <a:off x="914400" y="2359020"/>
            <a:ext cx="652494" cy="654484"/>
            <a:chOff x="5837238" y="5020310"/>
            <a:chExt cx="520700" cy="522288"/>
          </a:xfrm>
        </p:grpSpPr>
        <p:sp>
          <p:nvSpPr>
            <p:cNvPr id="28" name="Freeform 43">
              <a:extLst>
                <a:ext uri="{FF2B5EF4-FFF2-40B4-BE49-F238E27FC236}">
                  <a16:creationId xmlns:a16="http://schemas.microsoft.com/office/drawing/2014/main" id="{0266623F-F533-4A13-82C0-0FE737E05388}"/>
                </a:ext>
              </a:extLst>
            </p:cNvPr>
            <p:cNvSpPr>
              <a:spLocks noEditPoints="1"/>
            </p:cNvSpPr>
            <p:nvPr/>
          </p:nvSpPr>
          <p:spPr bwMode="auto">
            <a:xfrm>
              <a:off x="5837238" y="5020310"/>
              <a:ext cx="520700" cy="522288"/>
            </a:xfrm>
            <a:custGeom>
              <a:avLst/>
              <a:gdLst>
                <a:gd name="T0" fmla="*/ 312 w 658"/>
                <a:gd name="T1" fmla="*/ 657 h 657"/>
                <a:gd name="T2" fmla="*/ 262 w 658"/>
                <a:gd name="T3" fmla="*/ 650 h 657"/>
                <a:gd name="T4" fmla="*/ 201 w 658"/>
                <a:gd name="T5" fmla="*/ 632 h 657"/>
                <a:gd name="T6" fmla="*/ 120 w 658"/>
                <a:gd name="T7" fmla="*/ 582 h 657"/>
                <a:gd name="T8" fmla="*/ 57 w 658"/>
                <a:gd name="T9" fmla="*/ 512 h 657"/>
                <a:gd name="T10" fmla="*/ 15 w 658"/>
                <a:gd name="T11" fmla="*/ 426 h 657"/>
                <a:gd name="T12" fmla="*/ 4 w 658"/>
                <a:gd name="T13" fmla="*/ 379 h 657"/>
                <a:gd name="T14" fmla="*/ 0 w 658"/>
                <a:gd name="T15" fmla="*/ 328 h 657"/>
                <a:gd name="T16" fmla="*/ 2 w 658"/>
                <a:gd name="T17" fmla="*/ 294 h 657"/>
                <a:gd name="T18" fmla="*/ 10 w 658"/>
                <a:gd name="T19" fmla="*/ 246 h 657"/>
                <a:gd name="T20" fmla="*/ 39 w 658"/>
                <a:gd name="T21" fmla="*/ 172 h 657"/>
                <a:gd name="T22" fmla="*/ 96 w 658"/>
                <a:gd name="T23" fmla="*/ 95 h 657"/>
                <a:gd name="T24" fmla="*/ 172 w 658"/>
                <a:gd name="T25" fmla="*/ 39 h 657"/>
                <a:gd name="T26" fmla="*/ 246 w 658"/>
                <a:gd name="T27" fmla="*/ 9 h 657"/>
                <a:gd name="T28" fmla="*/ 295 w 658"/>
                <a:gd name="T29" fmla="*/ 1 h 657"/>
                <a:gd name="T30" fmla="*/ 328 w 658"/>
                <a:gd name="T31" fmla="*/ 0 h 657"/>
                <a:gd name="T32" fmla="*/ 379 w 658"/>
                <a:gd name="T33" fmla="*/ 3 h 657"/>
                <a:gd name="T34" fmla="*/ 426 w 658"/>
                <a:gd name="T35" fmla="*/ 15 h 657"/>
                <a:gd name="T36" fmla="*/ 512 w 658"/>
                <a:gd name="T37" fmla="*/ 56 h 657"/>
                <a:gd name="T38" fmla="*/ 582 w 658"/>
                <a:gd name="T39" fmla="*/ 120 h 657"/>
                <a:gd name="T40" fmla="*/ 632 w 658"/>
                <a:gd name="T41" fmla="*/ 200 h 657"/>
                <a:gd name="T42" fmla="*/ 651 w 658"/>
                <a:gd name="T43" fmla="*/ 262 h 657"/>
                <a:gd name="T44" fmla="*/ 658 w 658"/>
                <a:gd name="T45" fmla="*/ 312 h 657"/>
                <a:gd name="T46" fmla="*/ 658 w 658"/>
                <a:gd name="T47" fmla="*/ 345 h 657"/>
                <a:gd name="T48" fmla="*/ 651 w 658"/>
                <a:gd name="T49" fmla="*/ 395 h 657"/>
                <a:gd name="T50" fmla="*/ 632 w 658"/>
                <a:gd name="T51" fmla="*/ 457 h 657"/>
                <a:gd name="T52" fmla="*/ 582 w 658"/>
                <a:gd name="T53" fmla="*/ 538 h 657"/>
                <a:gd name="T54" fmla="*/ 512 w 658"/>
                <a:gd name="T55" fmla="*/ 601 h 657"/>
                <a:gd name="T56" fmla="*/ 426 w 658"/>
                <a:gd name="T57" fmla="*/ 642 h 657"/>
                <a:gd name="T58" fmla="*/ 379 w 658"/>
                <a:gd name="T59" fmla="*/ 653 h 657"/>
                <a:gd name="T60" fmla="*/ 328 w 658"/>
                <a:gd name="T61" fmla="*/ 657 h 657"/>
                <a:gd name="T62" fmla="*/ 328 w 658"/>
                <a:gd name="T63" fmla="*/ 38 h 657"/>
                <a:gd name="T64" fmla="*/ 242 w 658"/>
                <a:gd name="T65" fmla="*/ 50 h 657"/>
                <a:gd name="T66" fmla="*/ 166 w 658"/>
                <a:gd name="T67" fmla="*/ 87 h 657"/>
                <a:gd name="T68" fmla="*/ 104 w 658"/>
                <a:gd name="T69" fmla="*/ 144 h 657"/>
                <a:gd name="T70" fmla="*/ 61 w 658"/>
                <a:gd name="T71" fmla="*/ 215 h 657"/>
                <a:gd name="T72" fmla="*/ 39 w 658"/>
                <a:gd name="T73" fmla="*/ 298 h 657"/>
                <a:gd name="T74" fmla="*/ 39 w 658"/>
                <a:gd name="T75" fmla="*/ 359 h 657"/>
                <a:gd name="T76" fmla="*/ 61 w 658"/>
                <a:gd name="T77" fmla="*/ 442 h 657"/>
                <a:gd name="T78" fmla="*/ 104 w 658"/>
                <a:gd name="T79" fmla="*/ 513 h 657"/>
                <a:gd name="T80" fmla="*/ 166 w 658"/>
                <a:gd name="T81" fmla="*/ 570 h 657"/>
                <a:gd name="T82" fmla="*/ 242 w 658"/>
                <a:gd name="T83" fmla="*/ 606 h 657"/>
                <a:gd name="T84" fmla="*/ 328 w 658"/>
                <a:gd name="T85" fmla="*/ 620 h 657"/>
                <a:gd name="T86" fmla="*/ 387 w 658"/>
                <a:gd name="T87" fmla="*/ 614 h 657"/>
                <a:gd name="T88" fmla="*/ 468 w 658"/>
                <a:gd name="T89" fmla="*/ 585 h 657"/>
                <a:gd name="T90" fmla="*/ 535 w 658"/>
                <a:gd name="T91" fmla="*/ 535 h 657"/>
                <a:gd name="T92" fmla="*/ 585 w 658"/>
                <a:gd name="T93" fmla="*/ 468 h 657"/>
                <a:gd name="T94" fmla="*/ 615 w 658"/>
                <a:gd name="T95" fmla="*/ 387 h 657"/>
                <a:gd name="T96" fmla="*/ 620 w 658"/>
                <a:gd name="T97" fmla="*/ 328 h 657"/>
                <a:gd name="T98" fmla="*/ 607 w 658"/>
                <a:gd name="T99" fmla="*/ 242 h 657"/>
                <a:gd name="T100" fmla="*/ 570 w 658"/>
                <a:gd name="T101" fmla="*/ 165 h 657"/>
                <a:gd name="T102" fmla="*/ 514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8" y="657"/>
                  </a:moveTo>
                  <a:lnTo>
                    <a:pt x="328" y="657"/>
                  </a:lnTo>
                  <a:lnTo>
                    <a:pt x="312" y="657"/>
                  </a:lnTo>
                  <a:lnTo>
                    <a:pt x="295" y="656"/>
                  </a:lnTo>
                  <a:lnTo>
                    <a:pt x="279" y="653"/>
                  </a:lnTo>
                  <a:lnTo>
                    <a:pt x="262" y="650"/>
                  </a:lnTo>
                  <a:lnTo>
                    <a:pt x="246" y="646"/>
                  </a:lnTo>
                  <a:lnTo>
                    <a:pt x="232" y="642"/>
                  </a:lnTo>
                  <a:lnTo>
                    <a:pt x="201" y="632"/>
                  </a:lnTo>
                  <a:lnTo>
                    <a:pt x="172" y="618"/>
                  </a:lnTo>
                  <a:lnTo>
                    <a:pt x="146" y="601"/>
                  </a:lnTo>
                  <a:lnTo>
                    <a:pt x="120" y="582"/>
                  </a:lnTo>
                  <a:lnTo>
                    <a:pt x="96" y="560"/>
                  </a:lnTo>
                  <a:lnTo>
                    <a:pt x="76" y="538"/>
                  </a:lnTo>
                  <a:lnTo>
                    <a:pt x="57" y="512"/>
                  </a:lnTo>
                  <a:lnTo>
                    <a:pt x="39" y="485"/>
                  </a:lnTo>
                  <a:lnTo>
                    <a:pt x="26" y="457"/>
                  </a:lnTo>
                  <a:lnTo>
                    <a:pt x="15" y="426"/>
                  </a:lnTo>
                  <a:lnTo>
                    <a:pt x="10" y="411"/>
                  </a:lnTo>
                  <a:lnTo>
                    <a:pt x="7" y="395"/>
                  </a:lnTo>
                  <a:lnTo>
                    <a:pt x="4" y="379"/>
                  </a:lnTo>
                  <a:lnTo>
                    <a:pt x="2" y="362"/>
                  </a:lnTo>
                  <a:lnTo>
                    <a:pt x="0" y="345"/>
                  </a:lnTo>
                  <a:lnTo>
                    <a:pt x="0" y="328"/>
                  </a:lnTo>
                  <a:lnTo>
                    <a:pt x="0" y="328"/>
                  </a:lnTo>
                  <a:lnTo>
                    <a:pt x="0" y="312"/>
                  </a:lnTo>
                  <a:lnTo>
                    <a:pt x="2" y="294"/>
                  </a:lnTo>
                  <a:lnTo>
                    <a:pt x="4" y="278"/>
                  </a:lnTo>
                  <a:lnTo>
                    <a:pt x="7" y="262"/>
                  </a:lnTo>
                  <a:lnTo>
                    <a:pt x="10" y="246"/>
                  </a:lnTo>
                  <a:lnTo>
                    <a:pt x="15" y="231"/>
                  </a:lnTo>
                  <a:lnTo>
                    <a:pt x="26" y="200"/>
                  </a:lnTo>
                  <a:lnTo>
                    <a:pt x="39" y="172"/>
                  </a:lnTo>
                  <a:lnTo>
                    <a:pt x="57" y="145"/>
                  </a:lnTo>
                  <a:lnTo>
                    <a:pt x="76" y="120"/>
                  </a:lnTo>
                  <a:lnTo>
                    <a:pt x="96" y="95"/>
                  </a:lnTo>
                  <a:lnTo>
                    <a:pt x="120" y="75"/>
                  </a:lnTo>
                  <a:lnTo>
                    <a:pt x="146" y="56"/>
                  </a:lnTo>
                  <a:lnTo>
                    <a:pt x="172" y="39"/>
                  </a:lnTo>
                  <a:lnTo>
                    <a:pt x="201" y="25"/>
                  </a:lnTo>
                  <a:lnTo>
                    <a:pt x="232" y="15"/>
                  </a:lnTo>
                  <a:lnTo>
                    <a:pt x="246" y="9"/>
                  </a:lnTo>
                  <a:lnTo>
                    <a:pt x="262" y="7"/>
                  </a:lnTo>
                  <a:lnTo>
                    <a:pt x="279" y="3"/>
                  </a:lnTo>
                  <a:lnTo>
                    <a:pt x="295" y="1"/>
                  </a:lnTo>
                  <a:lnTo>
                    <a:pt x="312" y="0"/>
                  </a:lnTo>
                  <a:lnTo>
                    <a:pt x="328" y="0"/>
                  </a:lnTo>
                  <a:lnTo>
                    <a:pt x="328" y="0"/>
                  </a:lnTo>
                  <a:lnTo>
                    <a:pt x="346" y="0"/>
                  </a:lnTo>
                  <a:lnTo>
                    <a:pt x="362" y="1"/>
                  </a:lnTo>
                  <a:lnTo>
                    <a:pt x="379" y="3"/>
                  </a:lnTo>
                  <a:lnTo>
                    <a:pt x="396" y="7"/>
                  </a:lnTo>
                  <a:lnTo>
                    <a:pt x="412" y="9"/>
                  </a:lnTo>
                  <a:lnTo>
                    <a:pt x="426" y="15"/>
                  </a:lnTo>
                  <a:lnTo>
                    <a:pt x="457" y="25"/>
                  </a:lnTo>
                  <a:lnTo>
                    <a:pt x="486" y="39"/>
                  </a:lnTo>
                  <a:lnTo>
                    <a:pt x="512" y="56"/>
                  </a:lnTo>
                  <a:lnTo>
                    <a:pt x="538" y="75"/>
                  </a:lnTo>
                  <a:lnTo>
                    <a:pt x="561" y="95"/>
                  </a:lnTo>
                  <a:lnTo>
                    <a:pt x="582" y="120"/>
                  </a:lnTo>
                  <a:lnTo>
                    <a:pt x="601" y="145"/>
                  </a:lnTo>
                  <a:lnTo>
                    <a:pt x="619" y="172"/>
                  </a:lnTo>
                  <a:lnTo>
                    <a:pt x="632" y="200"/>
                  </a:lnTo>
                  <a:lnTo>
                    <a:pt x="643" y="231"/>
                  </a:lnTo>
                  <a:lnTo>
                    <a:pt x="648" y="246"/>
                  </a:lnTo>
                  <a:lnTo>
                    <a:pt x="651" y="262"/>
                  </a:lnTo>
                  <a:lnTo>
                    <a:pt x="654" y="278"/>
                  </a:lnTo>
                  <a:lnTo>
                    <a:pt x="656" y="294"/>
                  </a:lnTo>
                  <a:lnTo>
                    <a:pt x="658" y="312"/>
                  </a:lnTo>
                  <a:lnTo>
                    <a:pt x="658" y="328"/>
                  </a:lnTo>
                  <a:lnTo>
                    <a:pt x="658" y="328"/>
                  </a:lnTo>
                  <a:lnTo>
                    <a:pt x="658" y="345"/>
                  </a:lnTo>
                  <a:lnTo>
                    <a:pt x="656" y="362"/>
                  </a:lnTo>
                  <a:lnTo>
                    <a:pt x="654" y="379"/>
                  </a:lnTo>
                  <a:lnTo>
                    <a:pt x="651" y="395"/>
                  </a:lnTo>
                  <a:lnTo>
                    <a:pt x="648" y="411"/>
                  </a:lnTo>
                  <a:lnTo>
                    <a:pt x="643" y="426"/>
                  </a:lnTo>
                  <a:lnTo>
                    <a:pt x="632" y="457"/>
                  </a:lnTo>
                  <a:lnTo>
                    <a:pt x="619" y="485"/>
                  </a:lnTo>
                  <a:lnTo>
                    <a:pt x="601" y="512"/>
                  </a:lnTo>
                  <a:lnTo>
                    <a:pt x="582" y="538"/>
                  </a:lnTo>
                  <a:lnTo>
                    <a:pt x="561" y="560"/>
                  </a:lnTo>
                  <a:lnTo>
                    <a:pt x="538" y="582"/>
                  </a:lnTo>
                  <a:lnTo>
                    <a:pt x="512" y="601"/>
                  </a:lnTo>
                  <a:lnTo>
                    <a:pt x="486" y="618"/>
                  </a:lnTo>
                  <a:lnTo>
                    <a:pt x="457" y="632"/>
                  </a:lnTo>
                  <a:lnTo>
                    <a:pt x="426" y="642"/>
                  </a:lnTo>
                  <a:lnTo>
                    <a:pt x="412" y="646"/>
                  </a:lnTo>
                  <a:lnTo>
                    <a:pt x="396" y="650"/>
                  </a:lnTo>
                  <a:lnTo>
                    <a:pt x="379" y="653"/>
                  </a:lnTo>
                  <a:lnTo>
                    <a:pt x="362" y="656"/>
                  </a:lnTo>
                  <a:lnTo>
                    <a:pt x="346" y="657"/>
                  </a:lnTo>
                  <a:lnTo>
                    <a:pt x="328" y="657"/>
                  </a:lnTo>
                  <a:lnTo>
                    <a:pt x="328" y="657"/>
                  </a:lnTo>
                  <a:close/>
                  <a:moveTo>
                    <a:pt x="328" y="38"/>
                  </a:moveTo>
                  <a:lnTo>
                    <a:pt x="328" y="38"/>
                  </a:lnTo>
                  <a:lnTo>
                    <a:pt x="299" y="39"/>
                  </a:lnTo>
                  <a:lnTo>
                    <a:pt x="271" y="43"/>
                  </a:lnTo>
                  <a:lnTo>
                    <a:pt x="242" y="50"/>
                  </a:lnTo>
                  <a:lnTo>
                    <a:pt x="215" y="60"/>
                  </a:lnTo>
                  <a:lnTo>
                    <a:pt x="190" y="73"/>
                  </a:lnTo>
                  <a:lnTo>
                    <a:pt x="166" y="87"/>
                  </a:lnTo>
                  <a:lnTo>
                    <a:pt x="144" y="103"/>
                  </a:lnTo>
                  <a:lnTo>
                    <a:pt x="123" y="122"/>
                  </a:lnTo>
                  <a:lnTo>
                    <a:pt x="104" y="144"/>
                  </a:lnTo>
                  <a:lnTo>
                    <a:pt x="88" y="165"/>
                  </a:lnTo>
                  <a:lnTo>
                    <a:pt x="73" y="189"/>
                  </a:lnTo>
                  <a:lnTo>
                    <a:pt x="61" y="215"/>
                  </a:lnTo>
                  <a:lnTo>
                    <a:pt x="50" y="242"/>
                  </a:lnTo>
                  <a:lnTo>
                    <a:pt x="43" y="270"/>
                  </a:lnTo>
                  <a:lnTo>
                    <a:pt x="39" y="298"/>
                  </a:lnTo>
                  <a:lnTo>
                    <a:pt x="38" y="328"/>
                  </a:lnTo>
                  <a:lnTo>
                    <a:pt x="38" y="328"/>
                  </a:lnTo>
                  <a:lnTo>
                    <a:pt x="39" y="359"/>
                  </a:lnTo>
                  <a:lnTo>
                    <a:pt x="43" y="387"/>
                  </a:lnTo>
                  <a:lnTo>
                    <a:pt x="50" y="415"/>
                  </a:lnTo>
                  <a:lnTo>
                    <a:pt x="61" y="442"/>
                  </a:lnTo>
                  <a:lnTo>
                    <a:pt x="73" y="468"/>
                  </a:lnTo>
                  <a:lnTo>
                    <a:pt x="88" y="492"/>
                  </a:lnTo>
                  <a:lnTo>
                    <a:pt x="104" y="513"/>
                  </a:lnTo>
                  <a:lnTo>
                    <a:pt x="123" y="535"/>
                  </a:lnTo>
                  <a:lnTo>
                    <a:pt x="144" y="554"/>
                  </a:lnTo>
                  <a:lnTo>
                    <a:pt x="166" y="570"/>
                  </a:lnTo>
                  <a:lnTo>
                    <a:pt x="190" y="585"/>
                  </a:lnTo>
                  <a:lnTo>
                    <a:pt x="215" y="597"/>
                  </a:lnTo>
                  <a:lnTo>
                    <a:pt x="242" y="606"/>
                  </a:lnTo>
                  <a:lnTo>
                    <a:pt x="271" y="614"/>
                  </a:lnTo>
                  <a:lnTo>
                    <a:pt x="299" y="618"/>
                  </a:lnTo>
                  <a:lnTo>
                    <a:pt x="328" y="620"/>
                  </a:lnTo>
                  <a:lnTo>
                    <a:pt x="328" y="620"/>
                  </a:lnTo>
                  <a:lnTo>
                    <a:pt x="359" y="618"/>
                  </a:lnTo>
                  <a:lnTo>
                    <a:pt x="387" y="614"/>
                  </a:lnTo>
                  <a:lnTo>
                    <a:pt x="416" y="606"/>
                  </a:lnTo>
                  <a:lnTo>
                    <a:pt x="443" y="597"/>
                  </a:lnTo>
                  <a:lnTo>
                    <a:pt x="468" y="585"/>
                  </a:lnTo>
                  <a:lnTo>
                    <a:pt x="492" y="570"/>
                  </a:lnTo>
                  <a:lnTo>
                    <a:pt x="514" y="554"/>
                  </a:lnTo>
                  <a:lnTo>
                    <a:pt x="535" y="535"/>
                  </a:lnTo>
                  <a:lnTo>
                    <a:pt x="554" y="513"/>
                  </a:lnTo>
                  <a:lnTo>
                    <a:pt x="570" y="492"/>
                  </a:lnTo>
                  <a:lnTo>
                    <a:pt x="585" y="468"/>
                  </a:lnTo>
                  <a:lnTo>
                    <a:pt x="597" y="442"/>
                  </a:lnTo>
                  <a:lnTo>
                    <a:pt x="607" y="415"/>
                  </a:lnTo>
                  <a:lnTo>
                    <a:pt x="615" y="387"/>
                  </a:lnTo>
                  <a:lnTo>
                    <a:pt x="619" y="359"/>
                  </a:lnTo>
                  <a:lnTo>
                    <a:pt x="620" y="328"/>
                  </a:lnTo>
                  <a:lnTo>
                    <a:pt x="620" y="328"/>
                  </a:lnTo>
                  <a:lnTo>
                    <a:pt x="619" y="298"/>
                  </a:lnTo>
                  <a:lnTo>
                    <a:pt x="615" y="270"/>
                  </a:lnTo>
                  <a:lnTo>
                    <a:pt x="607" y="242"/>
                  </a:lnTo>
                  <a:lnTo>
                    <a:pt x="597" y="215"/>
                  </a:lnTo>
                  <a:lnTo>
                    <a:pt x="585" y="189"/>
                  </a:lnTo>
                  <a:lnTo>
                    <a:pt x="570" y="165"/>
                  </a:lnTo>
                  <a:lnTo>
                    <a:pt x="554" y="144"/>
                  </a:lnTo>
                  <a:lnTo>
                    <a:pt x="535" y="122"/>
                  </a:lnTo>
                  <a:lnTo>
                    <a:pt x="514" y="103"/>
                  </a:lnTo>
                  <a:lnTo>
                    <a:pt x="492" y="87"/>
                  </a:lnTo>
                  <a:lnTo>
                    <a:pt x="468" y="73"/>
                  </a:lnTo>
                  <a:lnTo>
                    <a:pt x="443" y="60"/>
                  </a:lnTo>
                  <a:lnTo>
                    <a:pt x="416" y="50"/>
                  </a:lnTo>
                  <a:lnTo>
                    <a:pt x="387" y="43"/>
                  </a:lnTo>
                  <a:lnTo>
                    <a:pt x="359" y="39"/>
                  </a:lnTo>
                  <a:lnTo>
                    <a:pt x="328" y="38"/>
                  </a:lnTo>
                  <a:lnTo>
                    <a:pt x="328"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9" name="Freeform 180">
              <a:extLst>
                <a:ext uri="{FF2B5EF4-FFF2-40B4-BE49-F238E27FC236}">
                  <a16:creationId xmlns:a16="http://schemas.microsoft.com/office/drawing/2014/main" id="{F6F024CD-5636-4CC8-88A2-A3190C227BA3}"/>
                </a:ext>
              </a:extLst>
            </p:cNvPr>
            <p:cNvSpPr>
              <a:spLocks/>
            </p:cNvSpPr>
            <p:nvPr/>
          </p:nvSpPr>
          <p:spPr bwMode="auto">
            <a:xfrm>
              <a:off x="6022976" y="5137785"/>
              <a:ext cx="17463" cy="58738"/>
            </a:xfrm>
            <a:custGeom>
              <a:avLst/>
              <a:gdLst>
                <a:gd name="T0" fmla="*/ 5 w 21"/>
                <a:gd name="T1" fmla="*/ 72 h 72"/>
                <a:gd name="T2" fmla="*/ 16 w 21"/>
                <a:gd name="T3" fmla="*/ 72 h 72"/>
                <a:gd name="T4" fmla="*/ 16 w 21"/>
                <a:gd name="T5" fmla="*/ 72 h 72"/>
                <a:gd name="T6" fmla="*/ 17 w 21"/>
                <a:gd name="T7" fmla="*/ 72 h 72"/>
                <a:gd name="T8" fmla="*/ 18 w 21"/>
                <a:gd name="T9" fmla="*/ 71 h 72"/>
                <a:gd name="T10" fmla="*/ 20 w 21"/>
                <a:gd name="T11" fmla="*/ 70 h 72"/>
                <a:gd name="T12" fmla="*/ 21 w 21"/>
                <a:gd name="T13" fmla="*/ 67 h 72"/>
                <a:gd name="T14" fmla="*/ 21 w 21"/>
                <a:gd name="T15" fmla="*/ 5 h 72"/>
                <a:gd name="T16" fmla="*/ 21 w 21"/>
                <a:gd name="T17" fmla="*/ 5 h 72"/>
                <a:gd name="T18" fmla="*/ 20 w 21"/>
                <a:gd name="T19" fmla="*/ 4 h 72"/>
                <a:gd name="T20" fmla="*/ 18 w 21"/>
                <a:gd name="T21" fmla="*/ 2 h 72"/>
                <a:gd name="T22" fmla="*/ 17 w 21"/>
                <a:gd name="T23" fmla="*/ 1 h 72"/>
                <a:gd name="T24" fmla="*/ 16 w 21"/>
                <a:gd name="T25" fmla="*/ 0 h 72"/>
                <a:gd name="T26" fmla="*/ 5 w 21"/>
                <a:gd name="T27" fmla="*/ 0 h 72"/>
                <a:gd name="T28" fmla="*/ 5 w 21"/>
                <a:gd name="T29" fmla="*/ 0 h 72"/>
                <a:gd name="T30" fmla="*/ 4 w 21"/>
                <a:gd name="T31" fmla="*/ 1 h 72"/>
                <a:gd name="T32" fmla="*/ 1 w 21"/>
                <a:gd name="T33" fmla="*/ 2 h 72"/>
                <a:gd name="T34" fmla="*/ 0 w 21"/>
                <a:gd name="T35" fmla="*/ 4 h 72"/>
                <a:gd name="T36" fmla="*/ 0 w 21"/>
                <a:gd name="T37" fmla="*/ 5 h 72"/>
                <a:gd name="T38" fmla="*/ 0 w 21"/>
                <a:gd name="T39" fmla="*/ 67 h 72"/>
                <a:gd name="T40" fmla="*/ 0 w 21"/>
                <a:gd name="T41" fmla="*/ 67 h 72"/>
                <a:gd name="T42" fmla="*/ 0 w 21"/>
                <a:gd name="T43" fmla="*/ 70 h 72"/>
                <a:gd name="T44" fmla="*/ 1 w 21"/>
                <a:gd name="T45" fmla="*/ 71 h 72"/>
                <a:gd name="T46" fmla="*/ 4 w 21"/>
                <a:gd name="T47" fmla="*/ 72 h 72"/>
                <a:gd name="T48" fmla="*/ 5 w 21"/>
                <a:gd name="T49" fmla="*/ 72 h 72"/>
                <a:gd name="T50" fmla="*/ 5 w 21"/>
                <a:gd name="T5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 h="72">
                  <a:moveTo>
                    <a:pt x="5" y="72"/>
                  </a:moveTo>
                  <a:lnTo>
                    <a:pt x="16" y="72"/>
                  </a:lnTo>
                  <a:lnTo>
                    <a:pt x="16" y="72"/>
                  </a:lnTo>
                  <a:lnTo>
                    <a:pt x="17" y="72"/>
                  </a:lnTo>
                  <a:lnTo>
                    <a:pt x="18" y="71"/>
                  </a:lnTo>
                  <a:lnTo>
                    <a:pt x="20" y="70"/>
                  </a:lnTo>
                  <a:lnTo>
                    <a:pt x="21" y="67"/>
                  </a:lnTo>
                  <a:lnTo>
                    <a:pt x="21" y="5"/>
                  </a:lnTo>
                  <a:lnTo>
                    <a:pt x="21" y="5"/>
                  </a:lnTo>
                  <a:lnTo>
                    <a:pt x="20" y="4"/>
                  </a:lnTo>
                  <a:lnTo>
                    <a:pt x="18" y="2"/>
                  </a:lnTo>
                  <a:lnTo>
                    <a:pt x="17" y="1"/>
                  </a:lnTo>
                  <a:lnTo>
                    <a:pt x="16" y="0"/>
                  </a:lnTo>
                  <a:lnTo>
                    <a:pt x="5" y="0"/>
                  </a:lnTo>
                  <a:lnTo>
                    <a:pt x="5" y="0"/>
                  </a:lnTo>
                  <a:lnTo>
                    <a:pt x="4" y="1"/>
                  </a:lnTo>
                  <a:lnTo>
                    <a:pt x="1" y="2"/>
                  </a:lnTo>
                  <a:lnTo>
                    <a:pt x="0" y="4"/>
                  </a:lnTo>
                  <a:lnTo>
                    <a:pt x="0" y="5"/>
                  </a:lnTo>
                  <a:lnTo>
                    <a:pt x="0" y="67"/>
                  </a:lnTo>
                  <a:lnTo>
                    <a:pt x="0" y="67"/>
                  </a:lnTo>
                  <a:lnTo>
                    <a:pt x="0" y="70"/>
                  </a:lnTo>
                  <a:lnTo>
                    <a:pt x="1" y="71"/>
                  </a:lnTo>
                  <a:lnTo>
                    <a:pt x="4" y="72"/>
                  </a:lnTo>
                  <a:lnTo>
                    <a:pt x="5" y="72"/>
                  </a:lnTo>
                  <a:lnTo>
                    <a:pt x="5" y="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0" name="Freeform 181">
              <a:extLst>
                <a:ext uri="{FF2B5EF4-FFF2-40B4-BE49-F238E27FC236}">
                  <a16:creationId xmlns:a16="http://schemas.microsoft.com/office/drawing/2014/main" id="{A534D5B3-A0DC-4C39-839E-6E2F7F56B9B6}"/>
                </a:ext>
              </a:extLst>
            </p:cNvPr>
            <p:cNvSpPr>
              <a:spLocks/>
            </p:cNvSpPr>
            <p:nvPr/>
          </p:nvSpPr>
          <p:spPr bwMode="auto">
            <a:xfrm>
              <a:off x="6154738" y="5137785"/>
              <a:ext cx="17463" cy="58738"/>
            </a:xfrm>
            <a:custGeom>
              <a:avLst/>
              <a:gdLst>
                <a:gd name="T0" fmla="*/ 5 w 21"/>
                <a:gd name="T1" fmla="*/ 72 h 72"/>
                <a:gd name="T2" fmla="*/ 16 w 21"/>
                <a:gd name="T3" fmla="*/ 72 h 72"/>
                <a:gd name="T4" fmla="*/ 16 w 21"/>
                <a:gd name="T5" fmla="*/ 72 h 72"/>
                <a:gd name="T6" fmla="*/ 17 w 21"/>
                <a:gd name="T7" fmla="*/ 72 h 72"/>
                <a:gd name="T8" fmla="*/ 20 w 21"/>
                <a:gd name="T9" fmla="*/ 71 h 72"/>
                <a:gd name="T10" fmla="*/ 20 w 21"/>
                <a:gd name="T11" fmla="*/ 70 h 72"/>
                <a:gd name="T12" fmla="*/ 21 w 21"/>
                <a:gd name="T13" fmla="*/ 67 h 72"/>
                <a:gd name="T14" fmla="*/ 21 w 21"/>
                <a:gd name="T15" fmla="*/ 5 h 72"/>
                <a:gd name="T16" fmla="*/ 21 w 21"/>
                <a:gd name="T17" fmla="*/ 5 h 72"/>
                <a:gd name="T18" fmla="*/ 20 w 21"/>
                <a:gd name="T19" fmla="*/ 4 h 72"/>
                <a:gd name="T20" fmla="*/ 20 w 21"/>
                <a:gd name="T21" fmla="*/ 2 h 72"/>
                <a:gd name="T22" fmla="*/ 17 w 21"/>
                <a:gd name="T23" fmla="*/ 1 h 72"/>
                <a:gd name="T24" fmla="*/ 16 w 21"/>
                <a:gd name="T25" fmla="*/ 0 h 72"/>
                <a:gd name="T26" fmla="*/ 5 w 21"/>
                <a:gd name="T27" fmla="*/ 0 h 72"/>
                <a:gd name="T28" fmla="*/ 5 w 21"/>
                <a:gd name="T29" fmla="*/ 0 h 72"/>
                <a:gd name="T30" fmla="*/ 4 w 21"/>
                <a:gd name="T31" fmla="*/ 1 h 72"/>
                <a:gd name="T32" fmla="*/ 3 w 21"/>
                <a:gd name="T33" fmla="*/ 2 h 72"/>
                <a:gd name="T34" fmla="*/ 1 w 21"/>
                <a:gd name="T35" fmla="*/ 4 h 72"/>
                <a:gd name="T36" fmla="*/ 0 w 21"/>
                <a:gd name="T37" fmla="*/ 5 h 72"/>
                <a:gd name="T38" fmla="*/ 0 w 21"/>
                <a:gd name="T39" fmla="*/ 67 h 72"/>
                <a:gd name="T40" fmla="*/ 0 w 21"/>
                <a:gd name="T41" fmla="*/ 67 h 72"/>
                <a:gd name="T42" fmla="*/ 1 w 21"/>
                <a:gd name="T43" fmla="*/ 70 h 72"/>
                <a:gd name="T44" fmla="*/ 3 w 21"/>
                <a:gd name="T45" fmla="*/ 71 h 72"/>
                <a:gd name="T46" fmla="*/ 4 w 21"/>
                <a:gd name="T47" fmla="*/ 72 h 72"/>
                <a:gd name="T48" fmla="*/ 5 w 21"/>
                <a:gd name="T49" fmla="*/ 72 h 72"/>
                <a:gd name="T50" fmla="*/ 5 w 21"/>
                <a:gd name="T5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 h="72">
                  <a:moveTo>
                    <a:pt x="5" y="72"/>
                  </a:moveTo>
                  <a:lnTo>
                    <a:pt x="16" y="72"/>
                  </a:lnTo>
                  <a:lnTo>
                    <a:pt x="16" y="72"/>
                  </a:lnTo>
                  <a:lnTo>
                    <a:pt x="17" y="72"/>
                  </a:lnTo>
                  <a:lnTo>
                    <a:pt x="20" y="71"/>
                  </a:lnTo>
                  <a:lnTo>
                    <a:pt x="20" y="70"/>
                  </a:lnTo>
                  <a:lnTo>
                    <a:pt x="21" y="67"/>
                  </a:lnTo>
                  <a:lnTo>
                    <a:pt x="21" y="5"/>
                  </a:lnTo>
                  <a:lnTo>
                    <a:pt x="21" y="5"/>
                  </a:lnTo>
                  <a:lnTo>
                    <a:pt x="20" y="4"/>
                  </a:lnTo>
                  <a:lnTo>
                    <a:pt x="20" y="2"/>
                  </a:lnTo>
                  <a:lnTo>
                    <a:pt x="17" y="1"/>
                  </a:lnTo>
                  <a:lnTo>
                    <a:pt x="16" y="0"/>
                  </a:lnTo>
                  <a:lnTo>
                    <a:pt x="5" y="0"/>
                  </a:lnTo>
                  <a:lnTo>
                    <a:pt x="5" y="0"/>
                  </a:lnTo>
                  <a:lnTo>
                    <a:pt x="4" y="1"/>
                  </a:lnTo>
                  <a:lnTo>
                    <a:pt x="3" y="2"/>
                  </a:lnTo>
                  <a:lnTo>
                    <a:pt x="1" y="4"/>
                  </a:lnTo>
                  <a:lnTo>
                    <a:pt x="0" y="5"/>
                  </a:lnTo>
                  <a:lnTo>
                    <a:pt x="0" y="67"/>
                  </a:lnTo>
                  <a:lnTo>
                    <a:pt x="0" y="67"/>
                  </a:lnTo>
                  <a:lnTo>
                    <a:pt x="1" y="70"/>
                  </a:lnTo>
                  <a:lnTo>
                    <a:pt x="3" y="71"/>
                  </a:lnTo>
                  <a:lnTo>
                    <a:pt x="4" y="72"/>
                  </a:lnTo>
                  <a:lnTo>
                    <a:pt x="5" y="72"/>
                  </a:lnTo>
                  <a:lnTo>
                    <a:pt x="5" y="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1" name="Freeform 182">
              <a:extLst>
                <a:ext uri="{FF2B5EF4-FFF2-40B4-BE49-F238E27FC236}">
                  <a16:creationId xmlns:a16="http://schemas.microsoft.com/office/drawing/2014/main" id="{A8E58483-D0D8-4D77-874B-8FCBA579B034}"/>
                </a:ext>
              </a:extLst>
            </p:cNvPr>
            <p:cNvSpPr>
              <a:spLocks noEditPoints="1"/>
            </p:cNvSpPr>
            <p:nvPr/>
          </p:nvSpPr>
          <p:spPr bwMode="auto">
            <a:xfrm>
              <a:off x="5970588" y="5164773"/>
              <a:ext cx="254000" cy="228600"/>
            </a:xfrm>
            <a:custGeom>
              <a:avLst/>
              <a:gdLst>
                <a:gd name="T0" fmla="*/ 265 w 322"/>
                <a:gd name="T1" fmla="*/ 0 h 289"/>
                <a:gd name="T2" fmla="*/ 265 w 322"/>
                <a:gd name="T3" fmla="*/ 46 h 289"/>
                <a:gd name="T4" fmla="*/ 262 w 322"/>
                <a:gd name="T5" fmla="*/ 50 h 289"/>
                <a:gd name="T6" fmla="*/ 260 w 322"/>
                <a:gd name="T7" fmla="*/ 51 h 289"/>
                <a:gd name="T8" fmla="*/ 229 w 322"/>
                <a:gd name="T9" fmla="*/ 51 h 289"/>
                <a:gd name="T10" fmla="*/ 225 w 322"/>
                <a:gd name="T11" fmla="*/ 50 h 289"/>
                <a:gd name="T12" fmla="*/ 224 w 322"/>
                <a:gd name="T13" fmla="*/ 46 h 289"/>
                <a:gd name="T14" fmla="*/ 99 w 322"/>
                <a:gd name="T15" fmla="*/ 0 h 289"/>
                <a:gd name="T16" fmla="*/ 99 w 322"/>
                <a:gd name="T17" fmla="*/ 46 h 289"/>
                <a:gd name="T18" fmla="*/ 97 w 322"/>
                <a:gd name="T19" fmla="*/ 50 h 289"/>
                <a:gd name="T20" fmla="*/ 93 w 322"/>
                <a:gd name="T21" fmla="*/ 51 h 289"/>
                <a:gd name="T22" fmla="*/ 62 w 322"/>
                <a:gd name="T23" fmla="*/ 51 h 289"/>
                <a:gd name="T24" fmla="*/ 60 w 322"/>
                <a:gd name="T25" fmla="*/ 50 h 289"/>
                <a:gd name="T26" fmla="*/ 57 w 322"/>
                <a:gd name="T27" fmla="*/ 46 h 289"/>
                <a:gd name="T28" fmla="*/ 11 w 322"/>
                <a:gd name="T29" fmla="*/ 0 h 289"/>
                <a:gd name="T30" fmla="*/ 7 w 322"/>
                <a:gd name="T31" fmla="*/ 0 h 289"/>
                <a:gd name="T32" fmla="*/ 2 w 322"/>
                <a:gd name="T33" fmla="*/ 5 h 289"/>
                <a:gd name="T34" fmla="*/ 0 w 322"/>
                <a:gd name="T35" fmla="*/ 278 h 289"/>
                <a:gd name="T36" fmla="*/ 2 w 322"/>
                <a:gd name="T37" fmla="*/ 282 h 289"/>
                <a:gd name="T38" fmla="*/ 7 w 322"/>
                <a:gd name="T39" fmla="*/ 289 h 289"/>
                <a:gd name="T40" fmla="*/ 311 w 322"/>
                <a:gd name="T41" fmla="*/ 289 h 289"/>
                <a:gd name="T42" fmla="*/ 315 w 322"/>
                <a:gd name="T43" fmla="*/ 289 h 289"/>
                <a:gd name="T44" fmla="*/ 320 w 322"/>
                <a:gd name="T45" fmla="*/ 282 h 289"/>
                <a:gd name="T46" fmla="*/ 322 w 322"/>
                <a:gd name="T47" fmla="*/ 9 h 289"/>
                <a:gd name="T48" fmla="*/ 320 w 322"/>
                <a:gd name="T49" fmla="*/ 5 h 289"/>
                <a:gd name="T50" fmla="*/ 315 w 322"/>
                <a:gd name="T51" fmla="*/ 0 h 289"/>
                <a:gd name="T52" fmla="*/ 311 w 322"/>
                <a:gd name="T53" fmla="*/ 0 h 289"/>
                <a:gd name="T54" fmla="*/ 300 w 322"/>
                <a:gd name="T55" fmla="*/ 264 h 289"/>
                <a:gd name="T56" fmla="*/ 299 w 322"/>
                <a:gd name="T57" fmla="*/ 266 h 289"/>
                <a:gd name="T58" fmla="*/ 295 w 322"/>
                <a:gd name="T59" fmla="*/ 268 h 289"/>
                <a:gd name="T60" fmla="*/ 27 w 322"/>
                <a:gd name="T61" fmla="*/ 268 h 289"/>
                <a:gd name="T62" fmla="*/ 23 w 322"/>
                <a:gd name="T63" fmla="*/ 266 h 289"/>
                <a:gd name="T64" fmla="*/ 22 w 322"/>
                <a:gd name="T65" fmla="*/ 264 h 289"/>
                <a:gd name="T66" fmla="*/ 22 w 322"/>
                <a:gd name="T67" fmla="*/ 87 h 289"/>
                <a:gd name="T68" fmla="*/ 23 w 322"/>
                <a:gd name="T69" fmla="*/ 83 h 289"/>
                <a:gd name="T70" fmla="*/ 27 w 322"/>
                <a:gd name="T71" fmla="*/ 82 h 289"/>
                <a:gd name="T72" fmla="*/ 295 w 322"/>
                <a:gd name="T73" fmla="*/ 82 h 289"/>
                <a:gd name="T74" fmla="*/ 299 w 322"/>
                <a:gd name="T75" fmla="*/ 83 h 289"/>
                <a:gd name="T76" fmla="*/ 300 w 322"/>
                <a:gd name="T77" fmla="*/ 87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2" h="289">
                  <a:moveTo>
                    <a:pt x="311" y="0"/>
                  </a:moveTo>
                  <a:lnTo>
                    <a:pt x="265" y="0"/>
                  </a:lnTo>
                  <a:lnTo>
                    <a:pt x="265" y="46"/>
                  </a:lnTo>
                  <a:lnTo>
                    <a:pt x="265" y="46"/>
                  </a:lnTo>
                  <a:lnTo>
                    <a:pt x="264" y="48"/>
                  </a:lnTo>
                  <a:lnTo>
                    <a:pt x="262" y="50"/>
                  </a:lnTo>
                  <a:lnTo>
                    <a:pt x="261" y="51"/>
                  </a:lnTo>
                  <a:lnTo>
                    <a:pt x="260" y="51"/>
                  </a:lnTo>
                  <a:lnTo>
                    <a:pt x="229" y="51"/>
                  </a:lnTo>
                  <a:lnTo>
                    <a:pt x="229" y="51"/>
                  </a:lnTo>
                  <a:lnTo>
                    <a:pt x="226" y="51"/>
                  </a:lnTo>
                  <a:lnTo>
                    <a:pt x="225" y="50"/>
                  </a:lnTo>
                  <a:lnTo>
                    <a:pt x="224" y="48"/>
                  </a:lnTo>
                  <a:lnTo>
                    <a:pt x="224" y="46"/>
                  </a:lnTo>
                  <a:lnTo>
                    <a:pt x="224" y="0"/>
                  </a:lnTo>
                  <a:lnTo>
                    <a:pt x="99" y="0"/>
                  </a:lnTo>
                  <a:lnTo>
                    <a:pt x="99" y="46"/>
                  </a:lnTo>
                  <a:lnTo>
                    <a:pt x="99" y="46"/>
                  </a:lnTo>
                  <a:lnTo>
                    <a:pt x="99" y="48"/>
                  </a:lnTo>
                  <a:lnTo>
                    <a:pt x="97" y="50"/>
                  </a:lnTo>
                  <a:lnTo>
                    <a:pt x="96" y="51"/>
                  </a:lnTo>
                  <a:lnTo>
                    <a:pt x="93" y="51"/>
                  </a:lnTo>
                  <a:lnTo>
                    <a:pt x="62" y="51"/>
                  </a:lnTo>
                  <a:lnTo>
                    <a:pt x="62" y="51"/>
                  </a:lnTo>
                  <a:lnTo>
                    <a:pt x="61" y="51"/>
                  </a:lnTo>
                  <a:lnTo>
                    <a:pt x="60" y="50"/>
                  </a:lnTo>
                  <a:lnTo>
                    <a:pt x="58" y="48"/>
                  </a:lnTo>
                  <a:lnTo>
                    <a:pt x="57" y="46"/>
                  </a:lnTo>
                  <a:lnTo>
                    <a:pt x="57" y="0"/>
                  </a:lnTo>
                  <a:lnTo>
                    <a:pt x="11" y="0"/>
                  </a:lnTo>
                  <a:lnTo>
                    <a:pt x="11" y="0"/>
                  </a:lnTo>
                  <a:lnTo>
                    <a:pt x="7" y="0"/>
                  </a:lnTo>
                  <a:lnTo>
                    <a:pt x="3" y="3"/>
                  </a:lnTo>
                  <a:lnTo>
                    <a:pt x="2" y="5"/>
                  </a:lnTo>
                  <a:lnTo>
                    <a:pt x="0" y="9"/>
                  </a:lnTo>
                  <a:lnTo>
                    <a:pt x="0" y="278"/>
                  </a:lnTo>
                  <a:lnTo>
                    <a:pt x="0" y="278"/>
                  </a:lnTo>
                  <a:lnTo>
                    <a:pt x="2" y="282"/>
                  </a:lnTo>
                  <a:lnTo>
                    <a:pt x="3" y="286"/>
                  </a:lnTo>
                  <a:lnTo>
                    <a:pt x="7" y="289"/>
                  </a:lnTo>
                  <a:lnTo>
                    <a:pt x="11" y="289"/>
                  </a:lnTo>
                  <a:lnTo>
                    <a:pt x="311" y="289"/>
                  </a:lnTo>
                  <a:lnTo>
                    <a:pt x="311" y="289"/>
                  </a:lnTo>
                  <a:lnTo>
                    <a:pt x="315" y="289"/>
                  </a:lnTo>
                  <a:lnTo>
                    <a:pt x="319" y="286"/>
                  </a:lnTo>
                  <a:lnTo>
                    <a:pt x="320" y="282"/>
                  </a:lnTo>
                  <a:lnTo>
                    <a:pt x="322" y="278"/>
                  </a:lnTo>
                  <a:lnTo>
                    <a:pt x="322" y="9"/>
                  </a:lnTo>
                  <a:lnTo>
                    <a:pt x="322" y="9"/>
                  </a:lnTo>
                  <a:lnTo>
                    <a:pt x="320" y="5"/>
                  </a:lnTo>
                  <a:lnTo>
                    <a:pt x="319" y="3"/>
                  </a:lnTo>
                  <a:lnTo>
                    <a:pt x="315" y="0"/>
                  </a:lnTo>
                  <a:lnTo>
                    <a:pt x="311" y="0"/>
                  </a:lnTo>
                  <a:lnTo>
                    <a:pt x="311" y="0"/>
                  </a:lnTo>
                  <a:close/>
                  <a:moveTo>
                    <a:pt x="300" y="264"/>
                  </a:moveTo>
                  <a:lnTo>
                    <a:pt x="300" y="264"/>
                  </a:lnTo>
                  <a:lnTo>
                    <a:pt x="300" y="265"/>
                  </a:lnTo>
                  <a:lnTo>
                    <a:pt x="299" y="266"/>
                  </a:lnTo>
                  <a:lnTo>
                    <a:pt x="297" y="268"/>
                  </a:lnTo>
                  <a:lnTo>
                    <a:pt x="295" y="268"/>
                  </a:lnTo>
                  <a:lnTo>
                    <a:pt x="27" y="268"/>
                  </a:lnTo>
                  <a:lnTo>
                    <a:pt x="27" y="268"/>
                  </a:lnTo>
                  <a:lnTo>
                    <a:pt x="25" y="268"/>
                  </a:lnTo>
                  <a:lnTo>
                    <a:pt x="23" y="266"/>
                  </a:lnTo>
                  <a:lnTo>
                    <a:pt x="22" y="265"/>
                  </a:lnTo>
                  <a:lnTo>
                    <a:pt x="22" y="264"/>
                  </a:lnTo>
                  <a:lnTo>
                    <a:pt x="22" y="87"/>
                  </a:lnTo>
                  <a:lnTo>
                    <a:pt x="22" y="87"/>
                  </a:lnTo>
                  <a:lnTo>
                    <a:pt x="22" y="85"/>
                  </a:lnTo>
                  <a:lnTo>
                    <a:pt x="23" y="83"/>
                  </a:lnTo>
                  <a:lnTo>
                    <a:pt x="25" y="82"/>
                  </a:lnTo>
                  <a:lnTo>
                    <a:pt x="27" y="82"/>
                  </a:lnTo>
                  <a:lnTo>
                    <a:pt x="295" y="82"/>
                  </a:lnTo>
                  <a:lnTo>
                    <a:pt x="295" y="82"/>
                  </a:lnTo>
                  <a:lnTo>
                    <a:pt x="297" y="82"/>
                  </a:lnTo>
                  <a:lnTo>
                    <a:pt x="299" y="83"/>
                  </a:lnTo>
                  <a:lnTo>
                    <a:pt x="300" y="85"/>
                  </a:lnTo>
                  <a:lnTo>
                    <a:pt x="300" y="87"/>
                  </a:lnTo>
                  <a:lnTo>
                    <a:pt x="300" y="26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2" name="Freeform 183">
              <a:extLst>
                <a:ext uri="{FF2B5EF4-FFF2-40B4-BE49-F238E27FC236}">
                  <a16:creationId xmlns:a16="http://schemas.microsoft.com/office/drawing/2014/main" id="{BEAB11CB-1BAB-4C94-9A11-FCB3DD2DABB5}"/>
                </a:ext>
              </a:extLst>
            </p:cNvPr>
            <p:cNvSpPr>
              <a:spLocks/>
            </p:cNvSpPr>
            <p:nvPr/>
          </p:nvSpPr>
          <p:spPr bwMode="auto">
            <a:xfrm>
              <a:off x="6010276" y="5313998"/>
              <a:ext cx="44450" cy="36513"/>
            </a:xfrm>
            <a:custGeom>
              <a:avLst/>
              <a:gdLst>
                <a:gd name="T0" fmla="*/ 53 w 57"/>
                <a:gd name="T1" fmla="*/ 0 h 47"/>
                <a:gd name="T2" fmla="*/ 6 w 57"/>
                <a:gd name="T3" fmla="*/ 0 h 47"/>
                <a:gd name="T4" fmla="*/ 6 w 57"/>
                <a:gd name="T5" fmla="*/ 0 h 47"/>
                <a:gd name="T6" fmla="*/ 2 w 57"/>
                <a:gd name="T7" fmla="*/ 2 h 47"/>
                <a:gd name="T8" fmla="*/ 0 w 57"/>
                <a:gd name="T9" fmla="*/ 4 h 47"/>
                <a:gd name="T10" fmla="*/ 0 w 57"/>
                <a:gd name="T11" fmla="*/ 42 h 47"/>
                <a:gd name="T12" fmla="*/ 0 w 57"/>
                <a:gd name="T13" fmla="*/ 42 h 47"/>
                <a:gd name="T14" fmla="*/ 2 w 57"/>
                <a:gd name="T15" fmla="*/ 46 h 47"/>
                <a:gd name="T16" fmla="*/ 6 w 57"/>
                <a:gd name="T17" fmla="*/ 47 h 47"/>
                <a:gd name="T18" fmla="*/ 53 w 57"/>
                <a:gd name="T19" fmla="*/ 47 h 47"/>
                <a:gd name="T20" fmla="*/ 53 w 57"/>
                <a:gd name="T21" fmla="*/ 47 h 47"/>
                <a:gd name="T22" fmla="*/ 56 w 57"/>
                <a:gd name="T23" fmla="*/ 46 h 47"/>
                <a:gd name="T24" fmla="*/ 57 w 57"/>
                <a:gd name="T25" fmla="*/ 42 h 47"/>
                <a:gd name="T26" fmla="*/ 57 w 57"/>
                <a:gd name="T27" fmla="*/ 4 h 47"/>
                <a:gd name="T28" fmla="*/ 57 w 57"/>
                <a:gd name="T29" fmla="*/ 4 h 47"/>
                <a:gd name="T30" fmla="*/ 56 w 57"/>
                <a:gd name="T31" fmla="*/ 2 h 47"/>
                <a:gd name="T32" fmla="*/ 53 w 57"/>
                <a:gd name="T33" fmla="*/ 0 h 47"/>
                <a:gd name="T34" fmla="*/ 53 w 57"/>
                <a:gd name="T3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47">
                  <a:moveTo>
                    <a:pt x="53" y="0"/>
                  </a:moveTo>
                  <a:lnTo>
                    <a:pt x="6" y="0"/>
                  </a:lnTo>
                  <a:lnTo>
                    <a:pt x="6" y="0"/>
                  </a:lnTo>
                  <a:lnTo>
                    <a:pt x="2" y="2"/>
                  </a:lnTo>
                  <a:lnTo>
                    <a:pt x="0" y="4"/>
                  </a:lnTo>
                  <a:lnTo>
                    <a:pt x="0" y="42"/>
                  </a:lnTo>
                  <a:lnTo>
                    <a:pt x="0" y="42"/>
                  </a:lnTo>
                  <a:lnTo>
                    <a:pt x="2" y="46"/>
                  </a:lnTo>
                  <a:lnTo>
                    <a:pt x="6" y="47"/>
                  </a:lnTo>
                  <a:lnTo>
                    <a:pt x="53" y="47"/>
                  </a:lnTo>
                  <a:lnTo>
                    <a:pt x="53" y="47"/>
                  </a:lnTo>
                  <a:lnTo>
                    <a:pt x="56" y="46"/>
                  </a:lnTo>
                  <a:lnTo>
                    <a:pt x="57" y="42"/>
                  </a:lnTo>
                  <a:lnTo>
                    <a:pt x="57" y="4"/>
                  </a:lnTo>
                  <a:lnTo>
                    <a:pt x="57" y="4"/>
                  </a:lnTo>
                  <a:lnTo>
                    <a:pt x="56" y="2"/>
                  </a:lnTo>
                  <a:lnTo>
                    <a:pt x="53" y="0"/>
                  </a:lnTo>
                  <a:lnTo>
                    <a:pt x="5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3" name="Freeform 184">
              <a:extLst>
                <a:ext uri="{FF2B5EF4-FFF2-40B4-BE49-F238E27FC236}">
                  <a16:creationId xmlns:a16="http://schemas.microsoft.com/office/drawing/2014/main" id="{158B8D83-7917-49FF-B434-C0F35B759B39}"/>
                </a:ext>
              </a:extLst>
            </p:cNvPr>
            <p:cNvSpPr>
              <a:spLocks/>
            </p:cNvSpPr>
            <p:nvPr/>
          </p:nvSpPr>
          <p:spPr bwMode="auto">
            <a:xfrm>
              <a:off x="6010276" y="5255260"/>
              <a:ext cx="44450" cy="38100"/>
            </a:xfrm>
            <a:custGeom>
              <a:avLst/>
              <a:gdLst>
                <a:gd name="T0" fmla="*/ 53 w 57"/>
                <a:gd name="T1" fmla="*/ 0 h 47"/>
                <a:gd name="T2" fmla="*/ 6 w 57"/>
                <a:gd name="T3" fmla="*/ 0 h 47"/>
                <a:gd name="T4" fmla="*/ 6 w 57"/>
                <a:gd name="T5" fmla="*/ 0 h 47"/>
                <a:gd name="T6" fmla="*/ 2 w 57"/>
                <a:gd name="T7" fmla="*/ 1 h 47"/>
                <a:gd name="T8" fmla="*/ 0 w 57"/>
                <a:gd name="T9" fmla="*/ 4 h 47"/>
                <a:gd name="T10" fmla="*/ 0 w 57"/>
                <a:gd name="T11" fmla="*/ 41 h 47"/>
                <a:gd name="T12" fmla="*/ 0 w 57"/>
                <a:gd name="T13" fmla="*/ 41 h 47"/>
                <a:gd name="T14" fmla="*/ 2 w 57"/>
                <a:gd name="T15" fmla="*/ 45 h 47"/>
                <a:gd name="T16" fmla="*/ 6 w 57"/>
                <a:gd name="T17" fmla="*/ 47 h 47"/>
                <a:gd name="T18" fmla="*/ 53 w 57"/>
                <a:gd name="T19" fmla="*/ 47 h 47"/>
                <a:gd name="T20" fmla="*/ 53 w 57"/>
                <a:gd name="T21" fmla="*/ 47 h 47"/>
                <a:gd name="T22" fmla="*/ 56 w 57"/>
                <a:gd name="T23" fmla="*/ 45 h 47"/>
                <a:gd name="T24" fmla="*/ 57 w 57"/>
                <a:gd name="T25" fmla="*/ 41 h 47"/>
                <a:gd name="T26" fmla="*/ 57 w 57"/>
                <a:gd name="T27" fmla="*/ 4 h 47"/>
                <a:gd name="T28" fmla="*/ 57 w 57"/>
                <a:gd name="T29" fmla="*/ 4 h 47"/>
                <a:gd name="T30" fmla="*/ 56 w 57"/>
                <a:gd name="T31" fmla="*/ 1 h 47"/>
                <a:gd name="T32" fmla="*/ 53 w 57"/>
                <a:gd name="T33" fmla="*/ 0 h 47"/>
                <a:gd name="T34" fmla="*/ 53 w 57"/>
                <a:gd name="T3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47">
                  <a:moveTo>
                    <a:pt x="53" y="0"/>
                  </a:moveTo>
                  <a:lnTo>
                    <a:pt x="6" y="0"/>
                  </a:lnTo>
                  <a:lnTo>
                    <a:pt x="6" y="0"/>
                  </a:lnTo>
                  <a:lnTo>
                    <a:pt x="2" y="1"/>
                  </a:lnTo>
                  <a:lnTo>
                    <a:pt x="0" y="4"/>
                  </a:lnTo>
                  <a:lnTo>
                    <a:pt x="0" y="41"/>
                  </a:lnTo>
                  <a:lnTo>
                    <a:pt x="0" y="41"/>
                  </a:lnTo>
                  <a:lnTo>
                    <a:pt x="2" y="45"/>
                  </a:lnTo>
                  <a:lnTo>
                    <a:pt x="6" y="47"/>
                  </a:lnTo>
                  <a:lnTo>
                    <a:pt x="53" y="47"/>
                  </a:lnTo>
                  <a:lnTo>
                    <a:pt x="53" y="47"/>
                  </a:lnTo>
                  <a:lnTo>
                    <a:pt x="56" y="45"/>
                  </a:lnTo>
                  <a:lnTo>
                    <a:pt x="57" y="41"/>
                  </a:lnTo>
                  <a:lnTo>
                    <a:pt x="57" y="4"/>
                  </a:lnTo>
                  <a:lnTo>
                    <a:pt x="57" y="4"/>
                  </a:lnTo>
                  <a:lnTo>
                    <a:pt x="56" y="1"/>
                  </a:lnTo>
                  <a:lnTo>
                    <a:pt x="53" y="0"/>
                  </a:lnTo>
                  <a:lnTo>
                    <a:pt x="5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4" name="Freeform 185">
              <a:extLst>
                <a:ext uri="{FF2B5EF4-FFF2-40B4-BE49-F238E27FC236}">
                  <a16:creationId xmlns:a16="http://schemas.microsoft.com/office/drawing/2014/main" id="{9C3C303E-B2C2-45C2-85D4-91FAB009BDAB}"/>
                </a:ext>
              </a:extLst>
            </p:cNvPr>
            <p:cNvSpPr>
              <a:spLocks/>
            </p:cNvSpPr>
            <p:nvPr/>
          </p:nvSpPr>
          <p:spPr bwMode="auto">
            <a:xfrm>
              <a:off x="6076951" y="5313998"/>
              <a:ext cx="44450" cy="36513"/>
            </a:xfrm>
            <a:custGeom>
              <a:avLst/>
              <a:gdLst>
                <a:gd name="T0" fmla="*/ 51 w 56"/>
                <a:gd name="T1" fmla="*/ 0 h 47"/>
                <a:gd name="T2" fmla="*/ 5 w 56"/>
                <a:gd name="T3" fmla="*/ 0 h 47"/>
                <a:gd name="T4" fmla="*/ 5 w 56"/>
                <a:gd name="T5" fmla="*/ 0 h 47"/>
                <a:gd name="T6" fmla="*/ 1 w 56"/>
                <a:gd name="T7" fmla="*/ 2 h 47"/>
                <a:gd name="T8" fmla="*/ 0 w 56"/>
                <a:gd name="T9" fmla="*/ 4 h 47"/>
                <a:gd name="T10" fmla="*/ 0 w 56"/>
                <a:gd name="T11" fmla="*/ 42 h 47"/>
                <a:gd name="T12" fmla="*/ 0 w 56"/>
                <a:gd name="T13" fmla="*/ 42 h 47"/>
                <a:gd name="T14" fmla="*/ 1 w 56"/>
                <a:gd name="T15" fmla="*/ 46 h 47"/>
                <a:gd name="T16" fmla="*/ 5 w 56"/>
                <a:gd name="T17" fmla="*/ 47 h 47"/>
                <a:gd name="T18" fmla="*/ 51 w 56"/>
                <a:gd name="T19" fmla="*/ 47 h 47"/>
                <a:gd name="T20" fmla="*/ 51 w 56"/>
                <a:gd name="T21" fmla="*/ 47 h 47"/>
                <a:gd name="T22" fmla="*/ 55 w 56"/>
                <a:gd name="T23" fmla="*/ 46 h 47"/>
                <a:gd name="T24" fmla="*/ 56 w 56"/>
                <a:gd name="T25" fmla="*/ 42 h 47"/>
                <a:gd name="T26" fmla="*/ 56 w 56"/>
                <a:gd name="T27" fmla="*/ 4 h 47"/>
                <a:gd name="T28" fmla="*/ 56 w 56"/>
                <a:gd name="T29" fmla="*/ 4 h 47"/>
                <a:gd name="T30" fmla="*/ 55 w 56"/>
                <a:gd name="T31" fmla="*/ 2 h 47"/>
                <a:gd name="T32" fmla="*/ 51 w 56"/>
                <a:gd name="T33" fmla="*/ 0 h 47"/>
                <a:gd name="T34" fmla="*/ 51 w 56"/>
                <a:gd name="T3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 h="47">
                  <a:moveTo>
                    <a:pt x="51" y="0"/>
                  </a:moveTo>
                  <a:lnTo>
                    <a:pt x="5" y="0"/>
                  </a:lnTo>
                  <a:lnTo>
                    <a:pt x="5" y="0"/>
                  </a:lnTo>
                  <a:lnTo>
                    <a:pt x="1" y="2"/>
                  </a:lnTo>
                  <a:lnTo>
                    <a:pt x="0" y="4"/>
                  </a:lnTo>
                  <a:lnTo>
                    <a:pt x="0" y="42"/>
                  </a:lnTo>
                  <a:lnTo>
                    <a:pt x="0" y="42"/>
                  </a:lnTo>
                  <a:lnTo>
                    <a:pt x="1" y="46"/>
                  </a:lnTo>
                  <a:lnTo>
                    <a:pt x="5" y="47"/>
                  </a:lnTo>
                  <a:lnTo>
                    <a:pt x="51" y="47"/>
                  </a:lnTo>
                  <a:lnTo>
                    <a:pt x="51" y="47"/>
                  </a:lnTo>
                  <a:lnTo>
                    <a:pt x="55" y="46"/>
                  </a:lnTo>
                  <a:lnTo>
                    <a:pt x="56" y="42"/>
                  </a:lnTo>
                  <a:lnTo>
                    <a:pt x="56" y="4"/>
                  </a:lnTo>
                  <a:lnTo>
                    <a:pt x="56" y="4"/>
                  </a:lnTo>
                  <a:lnTo>
                    <a:pt x="55" y="2"/>
                  </a:lnTo>
                  <a:lnTo>
                    <a:pt x="5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5" name="Freeform 186">
              <a:extLst>
                <a:ext uri="{FF2B5EF4-FFF2-40B4-BE49-F238E27FC236}">
                  <a16:creationId xmlns:a16="http://schemas.microsoft.com/office/drawing/2014/main" id="{7A8C3622-9D53-4BA1-8E7B-031E105C2665}"/>
                </a:ext>
              </a:extLst>
            </p:cNvPr>
            <p:cNvSpPr>
              <a:spLocks/>
            </p:cNvSpPr>
            <p:nvPr/>
          </p:nvSpPr>
          <p:spPr bwMode="auto">
            <a:xfrm>
              <a:off x="6076951" y="5255260"/>
              <a:ext cx="44450" cy="38100"/>
            </a:xfrm>
            <a:custGeom>
              <a:avLst/>
              <a:gdLst>
                <a:gd name="T0" fmla="*/ 51 w 56"/>
                <a:gd name="T1" fmla="*/ 0 h 47"/>
                <a:gd name="T2" fmla="*/ 5 w 56"/>
                <a:gd name="T3" fmla="*/ 0 h 47"/>
                <a:gd name="T4" fmla="*/ 5 w 56"/>
                <a:gd name="T5" fmla="*/ 0 h 47"/>
                <a:gd name="T6" fmla="*/ 1 w 56"/>
                <a:gd name="T7" fmla="*/ 1 h 47"/>
                <a:gd name="T8" fmla="*/ 0 w 56"/>
                <a:gd name="T9" fmla="*/ 4 h 47"/>
                <a:gd name="T10" fmla="*/ 0 w 56"/>
                <a:gd name="T11" fmla="*/ 41 h 47"/>
                <a:gd name="T12" fmla="*/ 0 w 56"/>
                <a:gd name="T13" fmla="*/ 41 h 47"/>
                <a:gd name="T14" fmla="*/ 1 w 56"/>
                <a:gd name="T15" fmla="*/ 45 h 47"/>
                <a:gd name="T16" fmla="*/ 5 w 56"/>
                <a:gd name="T17" fmla="*/ 47 h 47"/>
                <a:gd name="T18" fmla="*/ 51 w 56"/>
                <a:gd name="T19" fmla="*/ 47 h 47"/>
                <a:gd name="T20" fmla="*/ 51 w 56"/>
                <a:gd name="T21" fmla="*/ 47 h 47"/>
                <a:gd name="T22" fmla="*/ 55 w 56"/>
                <a:gd name="T23" fmla="*/ 45 h 47"/>
                <a:gd name="T24" fmla="*/ 56 w 56"/>
                <a:gd name="T25" fmla="*/ 41 h 47"/>
                <a:gd name="T26" fmla="*/ 56 w 56"/>
                <a:gd name="T27" fmla="*/ 4 h 47"/>
                <a:gd name="T28" fmla="*/ 56 w 56"/>
                <a:gd name="T29" fmla="*/ 4 h 47"/>
                <a:gd name="T30" fmla="*/ 55 w 56"/>
                <a:gd name="T31" fmla="*/ 1 h 47"/>
                <a:gd name="T32" fmla="*/ 51 w 56"/>
                <a:gd name="T33" fmla="*/ 0 h 47"/>
                <a:gd name="T34" fmla="*/ 51 w 56"/>
                <a:gd name="T3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 h="47">
                  <a:moveTo>
                    <a:pt x="51" y="0"/>
                  </a:moveTo>
                  <a:lnTo>
                    <a:pt x="5" y="0"/>
                  </a:lnTo>
                  <a:lnTo>
                    <a:pt x="5" y="0"/>
                  </a:lnTo>
                  <a:lnTo>
                    <a:pt x="1" y="1"/>
                  </a:lnTo>
                  <a:lnTo>
                    <a:pt x="0" y="4"/>
                  </a:lnTo>
                  <a:lnTo>
                    <a:pt x="0" y="41"/>
                  </a:lnTo>
                  <a:lnTo>
                    <a:pt x="0" y="41"/>
                  </a:lnTo>
                  <a:lnTo>
                    <a:pt x="1" y="45"/>
                  </a:lnTo>
                  <a:lnTo>
                    <a:pt x="5" y="47"/>
                  </a:lnTo>
                  <a:lnTo>
                    <a:pt x="51" y="47"/>
                  </a:lnTo>
                  <a:lnTo>
                    <a:pt x="51" y="47"/>
                  </a:lnTo>
                  <a:lnTo>
                    <a:pt x="55" y="45"/>
                  </a:lnTo>
                  <a:lnTo>
                    <a:pt x="56" y="41"/>
                  </a:lnTo>
                  <a:lnTo>
                    <a:pt x="56" y="4"/>
                  </a:lnTo>
                  <a:lnTo>
                    <a:pt x="56" y="4"/>
                  </a:lnTo>
                  <a:lnTo>
                    <a:pt x="55" y="1"/>
                  </a:lnTo>
                  <a:lnTo>
                    <a:pt x="5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6" name="Freeform 187">
              <a:extLst>
                <a:ext uri="{FF2B5EF4-FFF2-40B4-BE49-F238E27FC236}">
                  <a16:creationId xmlns:a16="http://schemas.microsoft.com/office/drawing/2014/main" id="{56F82584-659C-483C-BCF8-0A14D141A55A}"/>
                </a:ext>
              </a:extLst>
            </p:cNvPr>
            <p:cNvSpPr>
              <a:spLocks/>
            </p:cNvSpPr>
            <p:nvPr/>
          </p:nvSpPr>
          <p:spPr bwMode="auto">
            <a:xfrm>
              <a:off x="6143626" y="5255260"/>
              <a:ext cx="42863" cy="38100"/>
            </a:xfrm>
            <a:custGeom>
              <a:avLst/>
              <a:gdLst>
                <a:gd name="T0" fmla="*/ 51 w 55"/>
                <a:gd name="T1" fmla="*/ 0 h 47"/>
                <a:gd name="T2" fmla="*/ 4 w 55"/>
                <a:gd name="T3" fmla="*/ 0 h 47"/>
                <a:gd name="T4" fmla="*/ 4 w 55"/>
                <a:gd name="T5" fmla="*/ 0 h 47"/>
                <a:gd name="T6" fmla="*/ 1 w 55"/>
                <a:gd name="T7" fmla="*/ 1 h 47"/>
                <a:gd name="T8" fmla="*/ 0 w 55"/>
                <a:gd name="T9" fmla="*/ 4 h 47"/>
                <a:gd name="T10" fmla="*/ 0 w 55"/>
                <a:gd name="T11" fmla="*/ 41 h 47"/>
                <a:gd name="T12" fmla="*/ 0 w 55"/>
                <a:gd name="T13" fmla="*/ 41 h 47"/>
                <a:gd name="T14" fmla="*/ 1 w 55"/>
                <a:gd name="T15" fmla="*/ 45 h 47"/>
                <a:gd name="T16" fmla="*/ 4 w 55"/>
                <a:gd name="T17" fmla="*/ 47 h 47"/>
                <a:gd name="T18" fmla="*/ 51 w 55"/>
                <a:gd name="T19" fmla="*/ 47 h 47"/>
                <a:gd name="T20" fmla="*/ 51 w 55"/>
                <a:gd name="T21" fmla="*/ 47 h 47"/>
                <a:gd name="T22" fmla="*/ 54 w 55"/>
                <a:gd name="T23" fmla="*/ 45 h 47"/>
                <a:gd name="T24" fmla="*/ 55 w 55"/>
                <a:gd name="T25" fmla="*/ 41 h 47"/>
                <a:gd name="T26" fmla="*/ 55 w 55"/>
                <a:gd name="T27" fmla="*/ 4 h 47"/>
                <a:gd name="T28" fmla="*/ 55 w 55"/>
                <a:gd name="T29" fmla="*/ 4 h 47"/>
                <a:gd name="T30" fmla="*/ 54 w 55"/>
                <a:gd name="T31" fmla="*/ 1 h 47"/>
                <a:gd name="T32" fmla="*/ 51 w 55"/>
                <a:gd name="T33" fmla="*/ 0 h 47"/>
                <a:gd name="T34" fmla="*/ 51 w 55"/>
                <a:gd name="T3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47">
                  <a:moveTo>
                    <a:pt x="51" y="0"/>
                  </a:moveTo>
                  <a:lnTo>
                    <a:pt x="4" y="0"/>
                  </a:lnTo>
                  <a:lnTo>
                    <a:pt x="4" y="0"/>
                  </a:lnTo>
                  <a:lnTo>
                    <a:pt x="1" y="1"/>
                  </a:lnTo>
                  <a:lnTo>
                    <a:pt x="0" y="4"/>
                  </a:lnTo>
                  <a:lnTo>
                    <a:pt x="0" y="41"/>
                  </a:lnTo>
                  <a:lnTo>
                    <a:pt x="0" y="41"/>
                  </a:lnTo>
                  <a:lnTo>
                    <a:pt x="1" y="45"/>
                  </a:lnTo>
                  <a:lnTo>
                    <a:pt x="4" y="47"/>
                  </a:lnTo>
                  <a:lnTo>
                    <a:pt x="51" y="47"/>
                  </a:lnTo>
                  <a:lnTo>
                    <a:pt x="51" y="47"/>
                  </a:lnTo>
                  <a:lnTo>
                    <a:pt x="54" y="45"/>
                  </a:lnTo>
                  <a:lnTo>
                    <a:pt x="55" y="41"/>
                  </a:lnTo>
                  <a:lnTo>
                    <a:pt x="55" y="4"/>
                  </a:lnTo>
                  <a:lnTo>
                    <a:pt x="55" y="4"/>
                  </a:lnTo>
                  <a:lnTo>
                    <a:pt x="54" y="1"/>
                  </a:lnTo>
                  <a:lnTo>
                    <a:pt x="5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37" name="Group 36">
            <a:extLst>
              <a:ext uri="{FF2B5EF4-FFF2-40B4-BE49-F238E27FC236}">
                <a16:creationId xmlns:a16="http://schemas.microsoft.com/office/drawing/2014/main" id="{0AC0896A-0111-4CE0-8B87-4E19221F2B47}"/>
              </a:ext>
            </a:extLst>
          </p:cNvPr>
          <p:cNvGrpSpPr>
            <a:grpSpLocks noChangeAspect="1"/>
          </p:cNvGrpSpPr>
          <p:nvPr/>
        </p:nvGrpSpPr>
        <p:grpSpPr>
          <a:xfrm>
            <a:off x="3723312" y="4259259"/>
            <a:ext cx="652498" cy="648543"/>
            <a:chOff x="10234613" y="5860098"/>
            <a:chExt cx="523875" cy="520700"/>
          </a:xfrm>
        </p:grpSpPr>
        <p:sp>
          <p:nvSpPr>
            <p:cNvPr id="38" name="Freeform 61">
              <a:extLst>
                <a:ext uri="{FF2B5EF4-FFF2-40B4-BE49-F238E27FC236}">
                  <a16:creationId xmlns:a16="http://schemas.microsoft.com/office/drawing/2014/main" id="{7FAAFEFA-4C8C-4C46-9EAF-FE72596BF8A3}"/>
                </a:ext>
              </a:extLst>
            </p:cNvPr>
            <p:cNvSpPr>
              <a:spLocks noEditPoints="1"/>
            </p:cNvSpPr>
            <p:nvPr/>
          </p:nvSpPr>
          <p:spPr bwMode="auto">
            <a:xfrm>
              <a:off x="10234613" y="5860098"/>
              <a:ext cx="523875" cy="520700"/>
            </a:xfrm>
            <a:custGeom>
              <a:avLst/>
              <a:gdLst>
                <a:gd name="T0" fmla="*/ 313 w 658"/>
                <a:gd name="T1" fmla="*/ 658 h 658"/>
                <a:gd name="T2" fmla="*/ 263 w 658"/>
                <a:gd name="T3" fmla="*/ 651 h 658"/>
                <a:gd name="T4" fmla="*/ 201 w 658"/>
                <a:gd name="T5" fmla="*/ 632 h 658"/>
                <a:gd name="T6" fmla="*/ 119 w 658"/>
                <a:gd name="T7" fmla="*/ 582 h 658"/>
                <a:gd name="T8" fmla="*/ 56 w 658"/>
                <a:gd name="T9" fmla="*/ 512 h 658"/>
                <a:gd name="T10" fmla="*/ 14 w 658"/>
                <a:gd name="T11" fmla="*/ 426 h 658"/>
                <a:gd name="T12" fmla="*/ 4 w 658"/>
                <a:gd name="T13" fmla="*/ 379 h 658"/>
                <a:gd name="T14" fmla="*/ 0 w 658"/>
                <a:gd name="T15" fmla="*/ 328 h 658"/>
                <a:gd name="T16" fmla="*/ 2 w 658"/>
                <a:gd name="T17" fmla="*/ 295 h 658"/>
                <a:gd name="T18" fmla="*/ 10 w 658"/>
                <a:gd name="T19" fmla="*/ 246 h 658"/>
                <a:gd name="T20" fmla="*/ 40 w 658"/>
                <a:gd name="T21" fmla="*/ 172 h 658"/>
                <a:gd name="T22" fmla="*/ 96 w 658"/>
                <a:gd name="T23" fmla="*/ 96 h 658"/>
                <a:gd name="T24" fmla="*/ 173 w 658"/>
                <a:gd name="T25" fmla="*/ 39 h 658"/>
                <a:gd name="T26" fmla="*/ 247 w 658"/>
                <a:gd name="T27" fmla="*/ 10 h 658"/>
                <a:gd name="T28" fmla="*/ 295 w 658"/>
                <a:gd name="T29" fmla="*/ 2 h 658"/>
                <a:gd name="T30" fmla="*/ 329 w 658"/>
                <a:gd name="T31" fmla="*/ 0 h 658"/>
                <a:gd name="T32" fmla="*/ 379 w 658"/>
                <a:gd name="T33" fmla="*/ 3 h 658"/>
                <a:gd name="T34" fmla="*/ 427 w 658"/>
                <a:gd name="T35" fmla="*/ 15 h 658"/>
                <a:gd name="T36" fmla="*/ 513 w 658"/>
                <a:gd name="T37" fmla="*/ 56 h 658"/>
                <a:gd name="T38" fmla="*/ 583 w 658"/>
                <a:gd name="T39" fmla="*/ 120 h 658"/>
                <a:gd name="T40" fmla="*/ 633 w 658"/>
                <a:gd name="T41" fmla="*/ 201 h 658"/>
                <a:gd name="T42" fmla="*/ 651 w 658"/>
                <a:gd name="T43" fmla="*/ 262 h 658"/>
                <a:gd name="T44" fmla="*/ 658 w 658"/>
                <a:gd name="T45" fmla="*/ 312 h 658"/>
                <a:gd name="T46" fmla="*/ 658 w 658"/>
                <a:gd name="T47" fmla="*/ 346 h 658"/>
                <a:gd name="T48" fmla="*/ 651 w 658"/>
                <a:gd name="T49" fmla="*/ 396 h 658"/>
                <a:gd name="T50" fmla="*/ 633 w 658"/>
                <a:gd name="T51" fmla="*/ 457 h 658"/>
                <a:gd name="T52" fmla="*/ 583 w 658"/>
                <a:gd name="T53" fmla="*/ 538 h 658"/>
                <a:gd name="T54" fmla="*/ 513 w 658"/>
                <a:gd name="T55" fmla="*/ 601 h 658"/>
                <a:gd name="T56" fmla="*/ 427 w 658"/>
                <a:gd name="T57" fmla="*/ 643 h 658"/>
                <a:gd name="T58" fmla="*/ 379 w 658"/>
                <a:gd name="T59" fmla="*/ 654 h 658"/>
                <a:gd name="T60" fmla="*/ 329 w 658"/>
                <a:gd name="T61" fmla="*/ 658 h 658"/>
                <a:gd name="T62" fmla="*/ 329 w 658"/>
                <a:gd name="T63" fmla="*/ 38 h 658"/>
                <a:gd name="T64" fmla="*/ 243 w 658"/>
                <a:gd name="T65" fmla="*/ 50 h 658"/>
                <a:gd name="T66" fmla="*/ 166 w 658"/>
                <a:gd name="T67" fmla="*/ 88 h 658"/>
                <a:gd name="T68" fmla="*/ 104 w 658"/>
                <a:gd name="T69" fmla="*/ 144 h 658"/>
                <a:gd name="T70" fmla="*/ 60 w 658"/>
                <a:gd name="T71" fmla="*/ 215 h 658"/>
                <a:gd name="T72" fmla="*/ 39 w 658"/>
                <a:gd name="T73" fmla="*/ 299 h 658"/>
                <a:gd name="T74" fmla="*/ 39 w 658"/>
                <a:gd name="T75" fmla="*/ 358 h 658"/>
                <a:gd name="T76" fmla="*/ 60 w 658"/>
                <a:gd name="T77" fmla="*/ 443 h 658"/>
                <a:gd name="T78" fmla="*/ 104 w 658"/>
                <a:gd name="T79" fmla="*/ 514 h 658"/>
                <a:gd name="T80" fmla="*/ 166 w 658"/>
                <a:gd name="T81" fmla="*/ 570 h 658"/>
                <a:gd name="T82" fmla="*/ 243 w 658"/>
                <a:gd name="T83" fmla="*/ 607 h 658"/>
                <a:gd name="T84" fmla="*/ 329 w 658"/>
                <a:gd name="T85" fmla="*/ 620 h 658"/>
                <a:gd name="T86" fmla="*/ 388 w 658"/>
                <a:gd name="T87" fmla="*/ 615 h 658"/>
                <a:gd name="T88" fmla="*/ 467 w 658"/>
                <a:gd name="T89" fmla="*/ 585 h 658"/>
                <a:gd name="T90" fmla="*/ 535 w 658"/>
                <a:gd name="T91" fmla="*/ 535 h 658"/>
                <a:gd name="T92" fmla="*/ 586 w 658"/>
                <a:gd name="T93" fmla="*/ 468 h 658"/>
                <a:gd name="T94" fmla="*/ 614 w 658"/>
                <a:gd name="T95" fmla="*/ 387 h 658"/>
                <a:gd name="T96" fmla="*/ 621 w 658"/>
                <a:gd name="T97" fmla="*/ 328 h 658"/>
                <a:gd name="T98" fmla="*/ 607 w 658"/>
                <a:gd name="T99" fmla="*/ 242 h 658"/>
                <a:gd name="T100" fmla="*/ 571 w 658"/>
                <a:gd name="T101" fmla="*/ 166 h 658"/>
                <a:gd name="T102" fmla="*/ 514 w 658"/>
                <a:gd name="T103" fmla="*/ 104 h 658"/>
                <a:gd name="T104" fmla="*/ 442 w 658"/>
                <a:gd name="T105" fmla="*/ 61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8"/>
                  </a:lnTo>
                  <a:lnTo>
                    <a:pt x="295" y="656"/>
                  </a:lnTo>
                  <a:lnTo>
                    <a:pt x="279" y="654"/>
                  </a:lnTo>
                  <a:lnTo>
                    <a:pt x="263" y="651"/>
                  </a:lnTo>
                  <a:lnTo>
                    <a:pt x="247" y="647"/>
                  </a:lnTo>
                  <a:lnTo>
                    <a:pt x="231" y="643"/>
                  </a:lnTo>
                  <a:lnTo>
                    <a:pt x="201" y="632"/>
                  </a:lnTo>
                  <a:lnTo>
                    <a:pt x="173" y="619"/>
                  </a:lnTo>
                  <a:lnTo>
                    <a:pt x="145" y="601"/>
                  </a:lnTo>
                  <a:lnTo>
                    <a:pt x="119" y="582"/>
                  </a:lnTo>
                  <a:lnTo>
                    <a:pt x="96" y="561"/>
                  </a:lnTo>
                  <a:lnTo>
                    <a:pt x="75" y="538"/>
                  </a:lnTo>
                  <a:lnTo>
                    <a:pt x="56" y="512"/>
                  </a:lnTo>
                  <a:lnTo>
                    <a:pt x="40" y="486"/>
                  </a:lnTo>
                  <a:lnTo>
                    <a:pt x="27" y="457"/>
                  </a:lnTo>
                  <a:lnTo>
                    <a:pt x="14" y="426"/>
                  </a:lnTo>
                  <a:lnTo>
                    <a:pt x="10" y="410"/>
                  </a:lnTo>
                  <a:lnTo>
                    <a:pt x="6" y="396"/>
                  </a:lnTo>
                  <a:lnTo>
                    <a:pt x="4" y="379"/>
                  </a:lnTo>
                  <a:lnTo>
                    <a:pt x="2" y="362"/>
                  </a:lnTo>
                  <a:lnTo>
                    <a:pt x="1" y="346"/>
                  </a:lnTo>
                  <a:lnTo>
                    <a:pt x="0" y="328"/>
                  </a:lnTo>
                  <a:lnTo>
                    <a:pt x="0" y="328"/>
                  </a:lnTo>
                  <a:lnTo>
                    <a:pt x="1" y="312"/>
                  </a:lnTo>
                  <a:lnTo>
                    <a:pt x="2" y="295"/>
                  </a:lnTo>
                  <a:lnTo>
                    <a:pt x="4" y="279"/>
                  </a:lnTo>
                  <a:lnTo>
                    <a:pt x="6" y="262"/>
                  </a:lnTo>
                  <a:lnTo>
                    <a:pt x="10" y="246"/>
                  </a:lnTo>
                  <a:lnTo>
                    <a:pt x="14" y="232"/>
                  </a:lnTo>
                  <a:lnTo>
                    <a:pt x="27" y="201"/>
                  </a:lnTo>
                  <a:lnTo>
                    <a:pt x="40" y="172"/>
                  </a:lnTo>
                  <a:lnTo>
                    <a:pt x="56" y="146"/>
                  </a:lnTo>
                  <a:lnTo>
                    <a:pt x="75" y="120"/>
                  </a:lnTo>
                  <a:lnTo>
                    <a:pt x="96" y="96"/>
                  </a:lnTo>
                  <a:lnTo>
                    <a:pt x="119" y="76"/>
                  </a:lnTo>
                  <a:lnTo>
                    <a:pt x="145" y="56"/>
                  </a:lnTo>
                  <a:lnTo>
                    <a:pt x="173" y="39"/>
                  </a:lnTo>
                  <a:lnTo>
                    <a:pt x="201" y="26"/>
                  </a:lnTo>
                  <a:lnTo>
                    <a:pt x="231" y="15"/>
                  </a:lnTo>
                  <a:lnTo>
                    <a:pt x="247" y="10"/>
                  </a:lnTo>
                  <a:lnTo>
                    <a:pt x="263" y="7"/>
                  </a:lnTo>
                  <a:lnTo>
                    <a:pt x="279" y="3"/>
                  </a:lnTo>
                  <a:lnTo>
                    <a:pt x="295" y="2"/>
                  </a:lnTo>
                  <a:lnTo>
                    <a:pt x="313" y="0"/>
                  </a:lnTo>
                  <a:lnTo>
                    <a:pt x="329" y="0"/>
                  </a:lnTo>
                  <a:lnTo>
                    <a:pt x="329" y="0"/>
                  </a:lnTo>
                  <a:lnTo>
                    <a:pt x="346" y="0"/>
                  </a:lnTo>
                  <a:lnTo>
                    <a:pt x="363" y="2"/>
                  </a:lnTo>
                  <a:lnTo>
                    <a:pt x="379" y="3"/>
                  </a:lnTo>
                  <a:lnTo>
                    <a:pt x="395" y="7"/>
                  </a:lnTo>
                  <a:lnTo>
                    <a:pt x="411" y="10"/>
                  </a:lnTo>
                  <a:lnTo>
                    <a:pt x="427" y="15"/>
                  </a:lnTo>
                  <a:lnTo>
                    <a:pt x="457" y="26"/>
                  </a:lnTo>
                  <a:lnTo>
                    <a:pt x="486" y="39"/>
                  </a:lnTo>
                  <a:lnTo>
                    <a:pt x="513" y="56"/>
                  </a:lnTo>
                  <a:lnTo>
                    <a:pt x="539" y="76"/>
                  </a:lnTo>
                  <a:lnTo>
                    <a:pt x="561" y="96"/>
                  </a:lnTo>
                  <a:lnTo>
                    <a:pt x="583" y="120"/>
                  </a:lnTo>
                  <a:lnTo>
                    <a:pt x="602" y="146"/>
                  </a:lnTo>
                  <a:lnTo>
                    <a:pt x="618" y="172"/>
                  </a:lnTo>
                  <a:lnTo>
                    <a:pt x="633" y="201"/>
                  </a:lnTo>
                  <a:lnTo>
                    <a:pt x="643" y="232"/>
                  </a:lnTo>
                  <a:lnTo>
                    <a:pt x="647" y="246"/>
                  </a:lnTo>
                  <a:lnTo>
                    <a:pt x="651" y="262"/>
                  </a:lnTo>
                  <a:lnTo>
                    <a:pt x="654" y="279"/>
                  </a:lnTo>
                  <a:lnTo>
                    <a:pt x="657" y="295"/>
                  </a:lnTo>
                  <a:lnTo>
                    <a:pt x="658" y="312"/>
                  </a:lnTo>
                  <a:lnTo>
                    <a:pt x="658" y="328"/>
                  </a:lnTo>
                  <a:lnTo>
                    <a:pt x="658" y="328"/>
                  </a:lnTo>
                  <a:lnTo>
                    <a:pt x="658" y="346"/>
                  </a:lnTo>
                  <a:lnTo>
                    <a:pt x="657" y="362"/>
                  </a:lnTo>
                  <a:lnTo>
                    <a:pt x="654" y="379"/>
                  </a:lnTo>
                  <a:lnTo>
                    <a:pt x="651" y="396"/>
                  </a:lnTo>
                  <a:lnTo>
                    <a:pt x="647" y="410"/>
                  </a:lnTo>
                  <a:lnTo>
                    <a:pt x="643" y="426"/>
                  </a:lnTo>
                  <a:lnTo>
                    <a:pt x="633" y="457"/>
                  </a:lnTo>
                  <a:lnTo>
                    <a:pt x="618" y="486"/>
                  </a:lnTo>
                  <a:lnTo>
                    <a:pt x="602" y="512"/>
                  </a:lnTo>
                  <a:lnTo>
                    <a:pt x="583" y="538"/>
                  </a:lnTo>
                  <a:lnTo>
                    <a:pt x="561" y="561"/>
                  </a:lnTo>
                  <a:lnTo>
                    <a:pt x="539" y="582"/>
                  </a:lnTo>
                  <a:lnTo>
                    <a:pt x="513" y="601"/>
                  </a:lnTo>
                  <a:lnTo>
                    <a:pt x="486" y="619"/>
                  </a:lnTo>
                  <a:lnTo>
                    <a:pt x="457" y="632"/>
                  </a:lnTo>
                  <a:lnTo>
                    <a:pt x="427" y="643"/>
                  </a:lnTo>
                  <a:lnTo>
                    <a:pt x="411" y="647"/>
                  </a:lnTo>
                  <a:lnTo>
                    <a:pt x="395" y="651"/>
                  </a:lnTo>
                  <a:lnTo>
                    <a:pt x="379" y="654"/>
                  </a:lnTo>
                  <a:lnTo>
                    <a:pt x="363" y="656"/>
                  </a:lnTo>
                  <a:lnTo>
                    <a:pt x="346" y="658"/>
                  </a:lnTo>
                  <a:lnTo>
                    <a:pt x="329" y="658"/>
                  </a:lnTo>
                  <a:lnTo>
                    <a:pt x="329" y="658"/>
                  </a:lnTo>
                  <a:close/>
                  <a:moveTo>
                    <a:pt x="329" y="38"/>
                  </a:moveTo>
                  <a:lnTo>
                    <a:pt x="329" y="38"/>
                  </a:lnTo>
                  <a:lnTo>
                    <a:pt x="299" y="39"/>
                  </a:lnTo>
                  <a:lnTo>
                    <a:pt x="270" y="43"/>
                  </a:lnTo>
                  <a:lnTo>
                    <a:pt x="243" y="50"/>
                  </a:lnTo>
                  <a:lnTo>
                    <a:pt x="216" y="61"/>
                  </a:lnTo>
                  <a:lnTo>
                    <a:pt x="191" y="73"/>
                  </a:lnTo>
                  <a:lnTo>
                    <a:pt x="166" y="88"/>
                  </a:lnTo>
                  <a:lnTo>
                    <a:pt x="143" y="104"/>
                  </a:lnTo>
                  <a:lnTo>
                    <a:pt x="123" y="123"/>
                  </a:lnTo>
                  <a:lnTo>
                    <a:pt x="104" y="144"/>
                  </a:lnTo>
                  <a:lnTo>
                    <a:pt x="87" y="166"/>
                  </a:lnTo>
                  <a:lnTo>
                    <a:pt x="74" y="190"/>
                  </a:lnTo>
                  <a:lnTo>
                    <a:pt x="60" y="215"/>
                  </a:lnTo>
                  <a:lnTo>
                    <a:pt x="51" y="242"/>
                  </a:lnTo>
                  <a:lnTo>
                    <a:pt x="44" y="271"/>
                  </a:lnTo>
                  <a:lnTo>
                    <a:pt x="39" y="299"/>
                  </a:lnTo>
                  <a:lnTo>
                    <a:pt x="37" y="328"/>
                  </a:lnTo>
                  <a:lnTo>
                    <a:pt x="37" y="328"/>
                  </a:lnTo>
                  <a:lnTo>
                    <a:pt x="39" y="358"/>
                  </a:lnTo>
                  <a:lnTo>
                    <a:pt x="44" y="387"/>
                  </a:lnTo>
                  <a:lnTo>
                    <a:pt x="51" y="416"/>
                  </a:lnTo>
                  <a:lnTo>
                    <a:pt x="60" y="443"/>
                  </a:lnTo>
                  <a:lnTo>
                    <a:pt x="74" y="468"/>
                  </a:lnTo>
                  <a:lnTo>
                    <a:pt x="87" y="491"/>
                  </a:lnTo>
                  <a:lnTo>
                    <a:pt x="104" y="514"/>
                  </a:lnTo>
                  <a:lnTo>
                    <a:pt x="123" y="535"/>
                  </a:lnTo>
                  <a:lnTo>
                    <a:pt x="143" y="554"/>
                  </a:lnTo>
                  <a:lnTo>
                    <a:pt x="166" y="570"/>
                  </a:lnTo>
                  <a:lnTo>
                    <a:pt x="191" y="585"/>
                  </a:lnTo>
                  <a:lnTo>
                    <a:pt x="216" y="597"/>
                  </a:lnTo>
                  <a:lnTo>
                    <a:pt x="243" y="607"/>
                  </a:lnTo>
                  <a:lnTo>
                    <a:pt x="270" y="615"/>
                  </a:lnTo>
                  <a:lnTo>
                    <a:pt x="299" y="619"/>
                  </a:lnTo>
                  <a:lnTo>
                    <a:pt x="329" y="620"/>
                  </a:lnTo>
                  <a:lnTo>
                    <a:pt x="329" y="620"/>
                  </a:lnTo>
                  <a:lnTo>
                    <a:pt x="359" y="619"/>
                  </a:lnTo>
                  <a:lnTo>
                    <a:pt x="388" y="615"/>
                  </a:lnTo>
                  <a:lnTo>
                    <a:pt x="415" y="607"/>
                  </a:lnTo>
                  <a:lnTo>
                    <a:pt x="442" y="597"/>
                  </a:lnTo>
                  <a:lnTo>
                    <a:pt x="467" y="585"/>
                  </a:lnTo>
                  <a:lnTo>
                    <a:pt x="492" y="570"/>
                  </a:lnTo>
                  <a:lnTo>
                    <a:pt x="514" y="554"/>
                  </a:lnTo>
                  <a:lnTo>
                    <a:pt x="535" y="535"/>
                  </a:lnTo>
                  <a:lnTo>
                    <a:pt x="553" y="514"/>
                  </a:lnTo>
                  <a:lnTo>
                    <a:pt x="571" y="491"/>
                  </a:lnTo>
                  <a:lnTo>
                    <a:pt x="586" y="468"/>
                  </a:lnTo>
                  <a:lnTo>
                    <a:pt x="598" y="443"/>
                  </a:lnTo>
                  <a:lnTo>
                    <a:pt x="607" y="416"/>
                  </a:lnTo>
                  <a:lnTo>
                    <a:pt x="614" y="387"/>
                  </a:lnTo>
                  <a:lnTo>
                    <a:pt x="619" y="358"/>
                  </a:lnTo>
                  <a:lnTo>
                    <a:pt x="621" y="328"/>
                  </a:lnTo>
                  <a:lnTo>
                    <a:pt x="621" y="328"/>
                  </a:lnTo>
                  <a:lnTo>
                    <a:pt x="619" y="299"/>
                  </a:lnTo>
                  <a:lnTo>
                    <a:pt x="614" y="271"/>
                  </a:lnTo>
                  <a:lnTo>
                    <a:pt x="607" y="242"/>
                  </a:lnTo>
                  <a:lnTo>
                    <a:pt x="598" y="215"/>
                  </a:lnTo>
                  <a:lnTo>
                    <a:pt x="586" y="190"/>
                  </a:lnTo>
                  <a:lnTo>
                    <a:pt x="571" y="166"/>
                  </a:lnTo>
                  <a:lnTo>
                    <a:pt x="553" y="144"/>
                  </a:lnTo>
                  <a:lnTo>
                    <a:pt x="535" y="123"/>
                  </a:lnTo>
                  <a:lnTo>
                    <a:pt x="514" y="104"/>
                  </a:lnTo>
                  <a:lnTo>
                    <a:pt x="492" y="88"/>
                  </a:lnTo>
                  <a:lnTo>
                    <a:pt x="467" y="73"/>
                  </a:lnTo>
                  <a:lnTo>
                    <a:pt x="442" y="61"/>
                  </a:lnTo>
                  <a:lnTo>
                    <a:pt x="415" y="50"/>
                  </a:lnTo>
                  <a:lnTo>
                    <a:pt x="388" y="43"/>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9" name="Freeform 264">
              <a:extLst>
                <a:ext uri="{FF2B5EF4-FFF2-40B4-BE49-F238E27FC236}">
                  <a16:creationId xmlns:a16="http://schemas.microsoft.com/office/drawing/2014/main" id="{B19D1332-40B6-401A-8AAC-0EAE32182876}"/>
                </a:ext>
              </a:extLst>
            </p:cNvPr>
            <p:cNvSpPr>
              <a:spLocks/>
            </p:cNvSpPr>
            <p:nvPr/>
          </p:nvSpPr>
          <p:spPr bwMode="auto">
            <a:xfrm>
              <a:off x="10460038" y="5983923"/>
              <a:ext cx="88900" cy="87313"/>
            </a:xfrm>
            <a:custGeom>
              <a:avLst/>
              <a:gdLst>
                <a:gd name="T0" fmla="*/ 55 w 112"/>
                <a:gd name="T1" fmla="*/ 0 h 111"/>
                <a:gd name="T2" fmla="*/ 55 w 112"/>
                <a:gd name="T3" fmla="*/ 0 h 111"/>
                <a:gd name="T4" fmla="*/ 45 w 112"/>
                <a:gd name="T5" fmla="*/ 2 h 111"/>
                <a:gd name="T6" fmla="*/ 34 w 112"/>
                <a:gd name="T7" fmla="*/ 4 h 111"/>
                <a:gd name="T8" fmla="*/ 24 w 112"/>
                <a:gd name="T9" fmla="*/ 10 h 111"/>
                <a:gd name="T10" fmla="*/ 16 w 112"/>
                <a:gd name="T11" fmla="*/ 16 h 111"/>
                <a:gd name="T12" fmla="*/ 10 w 112"/>
                <a:gd name="T13" fmla="*/ 25 h 111"/>
                <a:gd name="T14" fmla="*/ 4 w 112"/>
                <a:gd name="T15" fmla="*/ 34 h 111"/>
                <a:gd name="T16" fmla="*/ 2 w 112"/>
                <a:gd name="T17" fmla="*/ 45 h 111"/>
                <a:gd name="T18" fmla="*/ 0 w 112"/>
                <a:gd name="T19" fmla="*/ 55 h 111"/>
                <a:gd name="T20" fmla="*/ 0 w 112"/>
                <a:gd name="T21" fmla="*/ 55 h 111"/>
                <a:gd name="T22" fmla="*/ 2 w 112"/>
                <a:gd name="T23" fmla="*/ 66 h 111"/>
                <a:gd name="T24" fmla="*/ 4 w 112"/>
                <a:gd name="T25" fmla="*/ 77 h 111"/>
                <a:gd name="T26" fmla="*/ 10 w 112"/>
                <a:gd name="T27" fmla="*/ 86 h 111"/>
                <a:gd name="T28" fmla="*/ 16 w 112"/>
                <a:gd name="T29" fmla="*/ 94 h 111"/>
                <a:gd name="T30" fmla="*/ 24 w 112"/>
                <a:gd name="T31" fmla="*/ 101 h 111"/>
                <a:gd name="T32" fmla="*/ 34 w 112"/>
                <a:gd name="T33" fmla="*/ 106 h 111"/>
                <a:gd name="T34" fmla="*/ 45 w 112"/>
                <a:gd name="T35" fmla="*/ 111 h 111"/>
                <a:gd name="T36" fmla="*/ 55 w 112"/>
                <a:gd name="T37" fmla="*/ 111 h 111"/>
                <a:gd name="T38" fmla="*/ 55 w 112"/>
                <a:gd name="T39" fmla="*/ 111 h 111"/>
                <a:gd name="T40" fmla="*/ 67 w 112"/>
                <a:gd name="T41" fmla="*/ 111 h 111"/>
                <a:gd name="T42" fmla="*/ 77 w 112"/>
                <a:gd name="T43" fmla="*/ 106 h 111"/>
                <a:gd name="T44" fmla="*/ 86 w 112"/>
                <a:gd name="T45" fmla="*/ 101 h 111"/>
                <a:gd name="T46" fmla="*/ 94 w 112"/>
                <a:gd name="T47" fmla="*/ 94 h 111"/>
                <a:gd name="T48" fmla="*/ 102 w 112"/>
                <a:gd name="T49" fmla="*/ 86 h 111"/>
                <a:gd name="T50" fmla="*/ 106 w 112"/>
                <a:gd name="T51" fmla="*/ 77 h 111"/>
                <a:gd name="T52" fmla="*/ 110 w 112"/>
                <a:gd name="T53" fmla="*/ 66 h 111"/>
                <a:gd name="T54" fmla="*/ 112 w 112"/>
                <a:gd name="T55" fmla="*/ 55 h 111"/>
                <a:gd name="T56" fmla="*/ 112 w 112"/>
                <a:gd name="T57" fmla="*/ 55 h 111"/>
                <a:gd name="T58" fmla="*/ 110 w 112"/>
                <a:gd name="T59" fmla="*/ 45 h 111"/>
                <a:gd name="T60" fmla="*/ 106 w 112"/>
                <a:gd name="T61" fmla="*/ 34 h 111"/>
                <a:gd name="T62" fmla="*/ 102 w 112"/>
                <a:gd name="T63" fmla="*/ 25 h 111"/>
                <a:gd name="T64" fmla="*/ 94 w 112"/>
                <a:gd name="T65" fmla="*/ 16 h 111"/>
                <a:gd name="T66" fmla="*/ 86 w 112"/>
                <a:gd name="T67" fmla="*/ 10 h 111"/>
                <a:gd name="T68" fmla="*/ 77 w 112"/>
                <a:gd name="T69" fmla="*/ 4 h 111"/>
                <a:gd name="T70" fmla="*/ 67 w 112"/>
                <a:gd name="T71" fmla="*/ 2 h 111"/>
                <a:gd name="T72" fmla="*/ 55 w 112"/>
                <a:gd name="T73" fmla="*/ 0 h 111"/>
                <a:gd name="T74" fmla="*/ 55 w 112"/>
                <a:gd name="T7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111">
                  <a:moveTo>
                    <a:pt x="55" y="0"/>
                  </a:moveTo>
                  <a:lnTo>
                    <a:pt x="55" y="0"/>
                  </a:lnTo>
                  <a:lnTo>
                    <a:pt x="45" y="2"/>
                  </a:lnTo>
                  <a:lnTo>
                    <a:pt x="34" y="4"/>
                  </a:lnTo>
                  <a:lnTo>
                    <a:pt x="24" y="10"/>
                  </a:lnTo>
                  <a:lnTo>
                    <a:pt x="16" y="16"/>
                  </a:lnTo>
                  <a:lnTo>
                    <a:pt x="10" y="25"/>
                  </a:lnTo>
                  <a:lnTo>
                    <a:pt x="4" y="34"/>
                  </a:lnTo>
                  <a:lnTo>
                    <a:pt x="2" y="45"/>
                  </a:lnTo>
                  <a:lnTo>
                    <a:pt x="0" y="55"/>
                  </a:lnTo>
                  <a:lnTo>
                    <a:pt x="0" y="55"/>
                  </a:lnTo>
                  <a:lnTo>
                    <a:pt x="2" y="66"/>
                  </a:lnTo>
                  <a:lnTo>
                    <a:pt x="4" y="77"/>
                  </a:lnTo>
                  <a:lnTo>
                    <a:pt x="10" y="86"/>
                  </a:lnTo>
                  <a:lnTo>
                    <a:pt x="16" y="94"/>
                  </a:lnTo>
                  <a:lnTo>
                    <a:pt x="24" y="101"/>
                  </a:lnTo>
                  <a:lnTo>
                    <a:pt x="34" y="106"/>
                  </a:lnTo>
                  <a:lnTo>
                    <a:pt x="45" y="111"/>
                  </a:lnTo>
                  <a:lnTo>
                    <a:pt x="55" y="111"/>
                  </a:lnTo>
                  <a:lnTo>
                    <a:pt x="55" y="111"/>
                  </a:lnTo>
                  <a:lnTo>
                    <a:pt x="67" y="111"/>
                  </a:lnTo>
                  <a:lnTo>
                    <a:pt x="77" y="106"/>
                  </a:lnTo>
                  <a:lnTo>
                    <a:pt x="86" y="101"/>
                  </a:lnTo>
                  <a:lnTo>
                    <a:pt x="94" y="94"/>
                  </a:lnTo>
                  <a:lnTo>
                    <a:pt x="102" y="86"/>
                  </a:lnTo>
                  <a:lnTo>
                    <a:pt x="106" y="77"/>
                  </a:lnTo>
                  <a:lnTo>
                    <a:pt x="110" y="66"/>
                  </a:lnTo>
                  <a:lnTo>
                    <a:pt x="112" y="55"/>
                  </a:lnTo>
                  <a:lnTo>
                    <a:pt x="112" y="55"/>
                  </a:lnTo>
                  <a:lnTo>
                    <a:pt x="110" y="45"/>
                  </a:lnTo>
                  <a:lnTo>
                    <a:pt x="106" y="34"/>
                  </a:lnTo>
                  <a:lnTo>
                    <a:pt x="102" y="25"/>
                  </a:lnTo>
                  <a:lnTo>
                    <a:pt x="94" y="16"/>
                  </a:lnTo>
                  <a:lnTo>
                    <a:pt x="86" y="10"/>
                  </a:lnTo>
                  <a:lnTo>
                    <a:pt x="77" y="4"/>
                  </a:lnTo>
                  <a:lnTo>
                    <a:pt x="67" y="2"/>
                  </a:lnTo>
                  <a:lnTo>
                    <a:pt x="55" y="0"/>
                  </a:lnTo>
                  <a:lnTo>
                    <a:pt x="5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0" name="Freeform 265">
              <a:extLst>
                <a:ext uri="{FF2B5EF4-FFF2-40B4-BE49-F238E27FC236}">
                  <a16:creationId xmlns:a16="http://schemas.microsoft.com/office/drawing/2014/main" id="{29F4F26F-1642-4D4D-9588-35A28D454574}"/>
                </a:ext>
              </a:extLst>
            </p:cNvPr>
            <p:cNvSpPr>
              <a:spLocks/>
            </p:cNvSpPr>
            <p:nvPr/>
          </p:nvSpPr>
          <p:spPr bwMode="auto">
            <a:xfrm>
              <a:off x="10380663" y="6142673"/>
              <a:ext cx="87313" cy="88900"/>
            </a:xfrm>
            <a:custGeom>
              <a:avLst/>
              <a:gdLst>
                <a:gd name="T0" fmla="*/ 56 w 111"/>
                <a:gd name="T1" fmla="*/ 0 h 111"/>
                <a:gd name="T2" fmla="*/ 56 w 111"/>
                <a:gd name="T3" fmla="*/ 0 h 111"/>
                <a:gd name="T4" fmla="*/ 45 w 111"/>
                <a:gd name="T5" fmla="*/ 1 h 111"/>
                <a:gd name="T6" fmla="*/ 34 w 111"/>
                <a:gd name="T7" fmla="*/ 4 h 111"/>
                <a:gd name="T8" fmla="*/ 25 w 111"/>
                <a:gd name="T9" fmla="*/ 9 h 111"/>
                <a:gd name="T10" fmla="*/ 17 w 111"/>
                <a:gd name="T11" fmla="*/ 16 h 111"/>
                <a:gd name="T12" fmla="*/ 10 w 111"/>
                <a:gd name="T13" fmla="*/ 24 h 111"/>
                <a:gd name="T14" fmla="*/ 4 w 111"/>
                <a:gd name="T15" fmla="*/ 34 h 111"/>
                <a:gd name="T16" fmla="*/ 2 w 111"/>
                <a:gd name="T17" fmla="*/ 44 h 111"/>
                <a:gd name="T18" fmla="*/ 0 w 111"/>
                <a:gd name="T19" fmla="*/ 55 h 111"/>
                <a:gd name="T20" fmla="*/ 0 w 111"/>
                <a:gd name="T21" fmla="*/ 55 h 111"/>
                <a:gd name="T22" fmla="*/ 2 w 111"/>
                <a:gd name="T23" fmla="*/ 67 h 111"/>
                <a:gd name="T24" fmla="*/ 4 w 111"/>
                <a:gd name="T25" fmla="*/ 78 h 111"/>
                <a:gd name="T26" fmla="*/ 10 w 111"/>
                <a:gd name="T27" fmla="*/ 87 h 111"/>
                <a:gd name="T28" fmla="*/ 17 w 111"/>
                <a:gd name="T29" fmla="*/ 95 h 111"/>
                <a:gd name="T30" fmla="*/ 25 w 111"/>
                <a:gd name="T31" fmla="*/ 102 h 111"/>
                <a:gd name="T32" fmla="*/ 34 w 111"/>
                <a:gd name="T33" fmla="*/ 107 h 111"/>
                <a:gd name="T34" fmla="*/ 45 w 111"/>
                <a:gd name="T35" fmla="*/ 110 h 111"/>
                <a:gd name="T36" fmla="*/ 56 w 111"/>
                <a:gd name="T37" fmla="*/ 111 h 111"/>
                <a:gd name="T38" fmla="*/ 56 w 111"/>
                <a:gd name="T39" fmla="*/ 111 h 111"/>
                <a:gd name="T40" fmla="*/ 66 w 111"/>
                <a:gd name="T41" fmla="*/ 110 h 111"/>
                <a:gd name="T42" fmla="*/ 77 w 111"/>
                <a:gd name="T43" fmla="*/ 107 h 111"/>
                <a:gd name="T44" fmla="*/ 86 w 111"/>
                <a:gd name="T45" fmla="*/ 102 h 111"/>
                <a:gd name="T46" fmla="*/ 95 w 111"/>
                <a:gd name="T47" fmla="*/ 95 h 111"/>
                <a:gd name="T48" fmla="*/ 101 w 111"/>
                <a:gd name="T49" fmla="*/ 87 h 111"/>
                <a:gd name="T50" fmla="*/ 107 w 111"/>
                <a:gd name="T51" fmla="*/ 78 h 111"/>
                <a:gd name="T52" fmla="*/ 111 w 111"/>
                <a:gd name="T53" fmla="*/ 67 h 111"/>
                <a:gd name="T54" fmla="*/ 111 w 111"/>
                <a:gd name="T55" fmla="*/ 55 h 111"/>
                <a:gd name="T56" fmla="*/ 111 w 111"/>
                <a:gd name="T57" fmla="*/ 55 h 111"/>
                <a:gd name="T58" fmla="*/ 111 w 111"/>
                <a:gd name="T59" fmla="*/ 44 h 111"/>
                <a:gd name="T60" fmla="*/ 107 w 111"/>
                <a:gd name="T61" fmla="*/ 34 h 111"/>
                <a:gd name="T62" fmla="*/ 101 w 111"/>
                <a:gd name="T63" fmla="*/ 24 h 111"/>
                <a:gd name="T64" fmla="*/ 95 w 111"/>
                <a:gd name="T65" fmla="*/ 16 h 111"/>
                <a:gd name="T66" fmla="*/ 86 w 111"/>
                <a:gd name="T67" fmla="*/ 9 h 111"/>
                <a:gd name="T68" fmla="*/ 77 w 111"/>
                <a:gd name="T69" fmla="*/ 4 h 111"/>
                <a:gd name="T70" fmla="*/ 66 w 111"/>
                <a:gd name="T71" fmla="*/ 1 h 111"/>
                <a:gd name="T72" fmla="*/ 56 w 111"/>
                <a:gd name="T73" fmla="*/ 0 h 111"/>
                <a:gd name="T74" fmla="*/ 56 w 111"/>
                <a:gd name="T7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1" h="111">
                  <a:moveTo>
                    <a:pt x="56" y="0"/>
                  </a:moveTo>
                  <a:lnTo>
                    <a:pt x="56" y="0"/>
                  </a:lnTo>
                  <a:lnTo>
                    <a:pt x="45" y="1"/>
                  </a:lnTo>
                  <a:lnTo>
                    <a:pt x="34" y="4"/>
                  </a:lnTo>
                  <a:lnTo>
                    <a:pt x="25" y="9"/>
                  </a:lnTo>
                  <a:lnTo>
                    <a:pt x="17" y="16"/>
                  </a:lnTo>
                  <a:lnTo>
                    <a:pt x="10" y="24"/>
                  </a:lnTo>
                  <a:lnTo>
                    <a:pt x="4" y="34"/>
                  </a:lnTo>
                  <a:lnTo>
                    <a:pt x="2" y="44"/>
                  </a:lnTo>
                  <a:lnTo>
                    <a:pt x="0" y="55"/>
                  </a:lnTo>
                  <a:lnTo>
                    <a:pt x="0" y="55"/>
                  </a:lnTo>
                  <a:lnTo>
                    <a:pt x="2" y="67"/>
                  </a:lnTo>
                  <a:lnTo>
                    <a:pt x="4" y="78"/>
                  </a:lnTo>
                  <a:lnTo>
                    <a:pt x="10" y="87"/>
                  </a:lnTo>
                  <a:lnTo>
                    <a:pt x="17" y="95"/>
                  </a:lnTo>
                  <a:lnTo>
                    <a:pt x="25" y="102"/>
                  </a:lnTo>
                  <a:lnTo>
                    <a:pt x="34" y="107"/>
                  </a:lnTo>
                  <a:lnTo>
                    <a:pt x="45" y="110"/>
                  </a:lnTo>
                  <a:lnTo>
                    <a:pt x="56" y="111"/>
                  </a:lnTo>
                  <a:lnTo>
                    <a:pt x="56" y="111"/>
                  </a:lnTo>
                  <a:lnTo>
                    <a:pt x="66" y="110"/>
                  </a:lnTo>
                  <a:lnTo>
                    <a:pt x="77" y="107"/>
                  </a:lnTo>
                  <a:lnTo>
                    <a:pt x="86" y="102"/>
                  </a:lnTo>
                  <a:lnTo>
                    <a:pt x="95" y="95"/>
                  </a:lnTo>
                  <a:lnTo>
                    <a:pt x="101" y="87"/>
                  </a:lnTo>
                  <a:lnTo>
                    <a:pt x="107" y="78"/>
                  </a:lnTo>
                  <a:lnTo>
                    <a:pt x="111" y="67"/>
                  </a:lnTo>
                  <a:lnTo>
                    <a:pt x="111" y="55"/>
                  </a:lnTo>
                  <a:lnTo>
                    <a:pt x="111" y="55"/>
                  </a:lnTo>
                  <a:lnTo>
                    <a:pt x="111" y="44"/>
                  </a:lnTo>
                  <a:lnTo>
                    <a:pt x="107" y="34"/>
                  </a:lnTo>
                  <a:lnTo>
                    <a:pt x="101" y="24"/>
                  </a:lnTo>
                  <a:lnTo>
                    <a:pt x="95" y="16"/>
                  </a:lnTo>
                  <a:lnTo>
                    <a:pt x="86" y="9"/>
                  </a:lnTo>
                  <a:lnTo>
                    <a:pt x="77" y="4"/>
                  </a:lnTo>
                  <a:lnTo>
                    <a:pt x="66" y="1"/>
                  </a:lnTo>
                  <a:lnTo>
                    <a:pt x="56" y="0"/>
                  </a:lnTo>
                  <a:lnTo>
                    <a:pt x="5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1" name="Freeform 266">
              <a:extLst>
                <a:ext uri="{FF2B5EF4-FFF2-40B4-BE49-F238E27FC236}">
                  <a16:creationId xmlns:a16="http://schemas.microsoft.com/office/drawing/2014/main" id="{F8652FC2-7160-417B-9DE6-2B29BCE48B0B}"/>
                </a:ext>
              </a:extLst>
            </p:cNvPr>
            <p:cNvSpPr>
              <a:spLocks/>
            </p:cNvSpPr>
            <p:nvPr/>
          </p:nvSpPr>
          <p:spPr bwMode="auto">
            <a:xfrm>
              <a:off x="10541001" y="6142673"/>
              <a:ext cx="87313" cy="88900"/>
            </a:xfrm>
            <a:custGeom>
              <a:avLst/>
              <a:gdLst>
                <a:gd name="T0" fmla="*/ 55 w 112"/>
                <a:gd name="T1" fmla="*/ 0 h 111"/>
                <a:gd name="T2" fmla="*/ 55 w 112"/>
                <a:gd name="T3" fmla="*/ 0 h 111"/>
                <a:gd name="T4" fmla="*/ 44 w 112"/>
                <a:gd name="T5" fmla="*/ 1 h 111"/>
                <a:gd name="T6" fmla="*/ 34 w 112"/>
                <a:gd name="T7" fmla="*/ 4 h 111"/>
                <a:gd name="T8" fmla="*/ 24 w 112"/>
                <a:gd name="T9" fmla="*/ 9 h 111"/>
                <a:gd name="T10" fmla="*/ 16 w 112"/>
                <a:gd name="T11" fmla="*/ 16 h 111"/>
                <a:gd name="T12" fmla="*/ 9 w 112"/>
                <a:gd name="T13" fmla="*/ 24 h 111"/>
                <a:gd name="T14" fmla="*/ 4 w 112"/>
                <a:gd name="T15" fmla="*/ 34 h 111"/>
                <a:gd name="T16" fmla="*/ 1 w 112"/>
                <a:gd name="T17" fmla="*/ 44 h 111"/>
                <a:gd name="T18" fmla="*/ 0 w 112"/>
                <a:gd name="T19" fmla="*/ 55 h 111"/>
                <a:gd name="T20" fmla="*/ 0 w 112"/>
                <a:gd name="T21" fmla="*/ 55 h 111"/>
                <a:gd name="T22" fmla="*/ 1 w 112"/>
                <a:gd name="T23" fmla="*/ 67 h 111"/>
                <a:gd name="T24" fmla="*/ 4 w 112"/>
                <a:gd name="T25" fmla="*/ 78 h 111"/>
                <a:gd name="T26" fmla="*/ 9 w 112"/>
                <a:gd name="T27" fmla="*/ 87 h 111"/>
                <a:gd name="T28" fmla="*/ 16 w 112"/>
                <a:gd name="T29" fmla="*/ 95 h 111"/>
                <a:gd name="T30" fmla="*/ 24 w 112"/>
                <a:gd name="T31" fmla="*/ 102 h 111"/>
                <a:gd name="T32" fmla="*/ 34 w 112"/>
                <a:gd name="T33" fmla="*/ 107 h 111"/>
                <a:gd name="T34" fmla="*/ 44 w 112"/>
                <a:gd name="T35" fmla="*/ 110 h 111"/>
                <a:gd name="T36" fmla="*/ 55 w 112"/>
                <a:gd name="T37" fmla="*/ 111 h 111"/>
                <a:gd name="T38" fmla="*/ 55 w 112"/>
                <a:gd name="T39" fmla="*/ 111 h 111"/>
                <a:gd name="T40" fmla="*/ 67 w 112"/>
                <a:gd name="T41" fmla="*/ 110 h 111"/>
                <a:gd name="T42" fmla="*/ 77 w 112"/>
                <a:gd name="T43" fmla="*/ 107 h 111"/>
                <a:gd name="T44" fmla="*/ 87 w 112"/>
                <a:gd name="T45" fmla="*/ 102 h 111"/>
                <a:gd name="T46" fmla="*/ 95 w 112"/>
                <a:gd name="T47" fmla="*/ 95 h 111"/>
                <a:gd name="T48" fmla="*/ 102 w 112"/>
                <a:gd name="T49" fmla="*/ 87 h 111"/>
                <a:gd name="T50" fmla="*/ 106 w 112"/>
                <a:gd name="T51" fmla="*/ 78 h 111"/>
                <a:gd name="T52" fmla="*/ 110 w 112"/>
                <a:gd name="T53" fmla="*/ 67 h 111"/>
                <a:gd name="T54" fmla="*/ 112 w 112"/>
                <a:gd name="T55" fmla="*/ 55 h 111"/>
                <a:gd name="T56" fmla="*/ 112 w 112"/>
                <a:gd name="T57" fmla="*/ 55 h 111"/>
                <a:gd name="T58" fmla="*/ 110 w 112"/>
                <a:gd name="T59" fmla="*/ 44 h 111"/>
                <a:gd name="T60" fmla="*/ 106 w 112"/>
                <a:gd name="T61" fmla="*/ 34 h 111"/>
                <a:gd name="T62" fmla="*/ 102 w 112"/>
                <a:gd name="T63" fmla="*/ 24 h 111"/>
                <a:gd name="T64" fmla="*/ 95 w 112"/>
                <a:gd name="T65" fmla="*/ 16 h 111"/>
                <a:gd name="T66" fmla="*/ 87 w 112"/>
                <a:gd name="T67" fmla="*/ 9 h 111"/>
                <a:gd name="T68" fmla="*/ 77 w 112"/>
                <a:gd name="T69" fmla="*/ 4 h 111"/>
                <a:gd name="T70" fmla="*/ 67 w 112"/>
                <a:gd name="T71" fmla="*/ 1 h 111"/>
                <a:gd name="T72" fmla="*/ 55 w 112"/>
                <a:gd name="T73" fmla="*/ 0 h 111"/>
                <a:gd name="T74" fmla="*/ 55 w 112"/>
                <a:gd name="T7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111">
                  <a:moveTo>
                    <a:pt x="55" y="0"/>
                  </a:moveTo>
                  <a:lnTo>
                    <a:pt x="55" y="0"/>
                  </a:lnTo>
                  <a:lnTo>
                    <a:pt x="44" y="1"/>
                  </a:lnTo>
                  <a:lnTo>
                    <a:pt x="34" y="4"/>
                  </a:lnTo>
                  <a:lnTo>
                    <a:pt x="24" y="9"/>
                  </a:lnTo>
                  <a:lnTo>
                    <a:pt x="16" y="16"/>
                  </a:lnTo>
                  <a:lnTo>
                    <a:pt x="9" y="24"/>
                  </a:lnTo>
                  <a:lnTo>
                    <a:pt x="4" y="34"/>
                  </a:lnTo>
                  <a:lnTo>
                    <a:pt x="1" y="44"/>
                  </a:lnTo>
                  <a:lnTo>
                    <a:pt x="0" y="55"/>
                  </a:lnTo>
                  <a:lnTo>
                    <a:pt x="0" y="55"/>
                  </a:lnTo>
                  <a:lnTo>
                    <a:pt x="1" y="67"/>
                  </a:lnTo>
                  <a:lnTo>
                    <a:pt x="4" y="78"/>
                  </a:lnTo>
                  <a:lnTo>
                    <a:pt x="9" y="87"/>
                  </a:lnTo>
                  <a:lnTo>
                    <a:pt x="16" y="95"/>
                  </a:lnTo>
                  <a:lnTo>
                    <a:pt x="24" y="102"/>
                  </a:lnTo>
                  <a:lnTo>
                    <a:pt x="34" y="107"/>
                  </a:lnTo>
                  <a:lnTo>
                    <a:pt x="44" y="110"/>
                  </a:lnTo>
                  <a:lnTo>
                    <a:pt x="55" y="111"/>
                  </a:lnTo>
                  <a:lnTo>
                    <a:pt x="55" y="111"/>
                  </a:lnTo>
                  <a:lnTo>
                    <a:pt x="67" y="110"/>
                  </a:lnTo>
                  <a:lnTo>
                    <a:pt x="77" y="107"/>
                  </a:lnTo>
                  <a:lnTo>
                    <a:pt x="87" y="102"/>
                  </a:lnTo>
                  <a:lnTo>
                    <a:pt x="95" y="95"/>
                  </a:lnTo>
                  <a:lnTo>
                    <a:pt x="102" y="87"/>
                  </a:lnTo>
                  <a:lnTo>
                    <a:pt x="106" y="78"/>
                  </a:lnTo>
                  <a:lnTo>
                    <a:pt x="110" y="67"/>
                  </a:lnTo>
                  <a:lnTo>
                    <a:pt x="112" y="55"/>
                  </a:lnTo>
                  <a:lnTo>
                    <a:pt x="112" y="55"/>
                  </a:lnTo>
                  <a:lnTo>
                    <a:pt x="110" y="44"/>
                  </a:lnTo>
                  <a:lnTo>
                    <a:pt x="106" y="34"/>
                  </a:lnTo>
                  <a:lnTo>
                    <a:pt x="102" y="24"/>
                  </a:lnTo>
                  <a:lnTo>
                    <a:pt x="95" y="16"/>
                  </a:lnTo>
                  <a:lnTo>
                    <a:pt x="87" y="9"/>
                  </a:lnTo>
                  <a:lnTo>
                    <a:pt x="77" y="4"/>
                  </a:lnTo>
                  <a:lnTo>
                    <a:pt x="67" y="1"/>
                  </a:lnTo>
                  <a:lnTo>
                    <a:pt x="55" y="0"/>
                  </a:lnTo>
                  <a:lnTo>
                    <a:pt x="5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2" name="Freeform 267">
              <a:extLst>
                <a:ext uri="{FF2B5EF4-FFF2-40B4-BE49-F238E27FC236}">
                  <a16:creationId xmlns:a16="http://schemas.microsoft.com/office/drawing/2014/main" id="{9357E4DB-92E8-4692-963D-248A2889F3D9}"/>
                </a:ext>
              </a:extLst>
            </p:cNvPr>
            <p:cNvSpPr>
              <a:spLocks/>
            </p:cNvSpPr>
            <p:nvPr/>
          </p:nvSpPr>
          <p:spPr bwMode="auto">
            <a:xfrm>
              <a:off x="10458451" y="6077585"/>
              <a:ext cx="90488" cy="84138"/>
            </a:xfrm>
            <a:custGeom>
              <a:avLst/>
              <a:gdLst>
                <a:gd name="T0" fmla="*/ 67 w 113"/>
                <a:gd name="T1" fmla="*/ 52 h 105"/>
                <a:gd name="T2" fmla="*/ 67 w 113"/>
                <a:gd name="T3" fmla="*/ 0 h 105"/>
                <a:gd name="T4" fmla="*/ 67 w 113"/>
                <a:gd name="T5" fmla="*/ 0 h 105"/>
                <a:gd name="T6" fmla="*/ 56 w 113"/>
                <a:gd name="T7" fmla="*/ 1 h 105"/>
                <a:gd name="T8" fmla="*/ 56 w 113"/>
                <a:gd name="T9" fmla="*/ 1 h 105"/>
                <a:gd name="T10" fmla="*/ 47 w 113"/>
                <a:gd name="T11" fmla="*/ 0 h 105"/>
                <a:gd name="T12" fmla="*/ 47 w 113"/>
                <a:gd name="T13" fmla="*/ 52 h 105"/>
                <a:gd name="T14" fmla="*/ 0 w 113"/>
                <a:gd name="T15" fmla="*/ 89 h 105"/>
                <a:gd name="T16" fmla="*/ 0 w 113"/>
                <a:gd name="T17" fmla="*/ 89 h 105"/>
                <a:gd name="T18" fmla="*/ 7 w 113"/>
                <a:gd name="T19" fmla="*/ 97 h 105"/>
                <a:gd name="T20" fmla="*/ 12 w 113"/>
                <a:gd name="T21" fmla="*/ 105 h 105"/>
                <a:gd name="T22" fmla="*/ 56 w 113"/>
                <a:gd name="T23" fmla="*/ 70 h 105"/>
                <a:gd name="T24" fmla="*/ 101 w 113"/>
                <a:gd name="T25" fmla="*/ 105 h 105"/>
                <a:gd name="T26" fmla="*/ 101 w 113"/>
                <a:gd name="T27" fmla="*/ 105 h 105"/>
                <a:gd name="T28" fmla="*/ 106 w 113"/>
                <a:gd name="T29" fmla="*/ 97 h 105"/>
                <a:gd name="T30" fmla="*/ 113 w 113"/>
                <a:gd name="T31" fmla="*/ 89 h 105"/>
                <a:gd name="T32" fmla="*/ 67 w 113"/>
                <a:gd name="T33" fmla="*/ 5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 h="105">
                  <a:moveTo>
                    <a:pt x="67" y="52"/>
                  </a:moveTo>
                  <a:lnTo>
                    <a:pt x="67" y="0"/>
                  </a:lnTo>
                  <a:lnTo>
                    <a:pt x="67" y="0"/>
                  </a:lnTo>
                  <a:lnTo>
                    <a:pt x="56" y="1"/>
                  </a:lnTo>
                  <a:lnTo>
                    <a:pt x="56" y="1"/>
                  </a:lnTo>
                  <a:lnTo>
                    <a:pt x="47" y="0"/>
                  </a:lnTo>
                  <a:lnTo>
                    <a:pt x="47" y="52"/>
                  </a:lnTo>
                  <a:lnTo>
                    <a:pt x="0" y="89"/>
                  </a:lnTo>
                  <a:lnTo>
                    <a:pt x="0" y="89"/>
                  </a:lnTo>
                  <a:lnTo>
                    <a:pt x="7" y="97"/>
                  </a:lnTo>
                  <a:lnTo>
                    <a:pt x="12" y="105"/>
                  </a:lnTo>
                  <a:lnTo>
                    <a:pt x="56" y="70"/>
                  </a:lnTo>
                  <a:lnTo>
                    <a:pt x="101" y="105"/>
                  </a:lnTo>
                  <a:lnTo>
                    <a:pt x="101" y="105"/>
                  </a:lnTo>
                  <a:lnTo>
                    <a:pt x="106" y="97"/>
                  </a:lnTo>
                  <a:lnTo>
                    <a:pt x="113" y="89"/>
                  </a:lnTo>
                  <a:lnTo>
                    <a:pt x="67"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44" name="Group 43">
            <a:extLst>
              <a:ext uri="{FF2B5EF4-FFF2-40B4-BE49-F238E27FC236}">
                <a16:creationId xmlns:a16="http://schemas.microsoft.com/office/drawing/2014/main" id="{A0F72FA5-CBD1-45B9-B3A8-BA10662A7AA5}"/>
              </a:ext>
            </a:extLst>
          </p:cNvPr>
          <p:cNvGrpSpPr/>
          <p:nvPr/>
        </p:nvGrpSpPr>
        <p:grpSpPr>
          <a:xfrm>
            <a:off x="9360914" y="5678248"/>
            <a:ext cx="1366524" cy="215444"/>
            <a:chOff x="8453000" y="6003730"/>
            <a:chExt cx="1366524" cy="215444"/>
          </a:xfrm>
        </p:grpSpPr>
        <p:sp>
          <p:nvSpPr>
            <p:cNvPr id="45" name="Oval 44">
              <a:extLst>
                <a:ext uri="{FF2B5EF4-FFF2-40B4-BE49-F238E27FC236}">
                  <a16:creationId xmlns:a16="http://schemas.microsoft.com/office/drawing/2014/main" id="{3021EAA8-2860-49A8-AE5A-701A82370100}"/>
                </a:ext>
              </a:extLst>
            </p:cNvPr>
            <p:cNvSpPr/>
            <p:nvPr/>
          </p:nvSpPr>
          <p:spPr>
            <a:xfrm>
              <a:off x="8453000" y="6059850"/>
              <a:ext cx="103205" cy="10320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6" name="TextBox 45">
              <a:extLst>
                <a:ext uri="{FF2B5EF4-FFF2-40B4-BE49-F238E27FC236}">
                  <a16:creationId xmlns:a16="http://schemas.microsoft.com/office/drawing/2014/main" id="{7C3A4B09-978F-4CCB-B378-2B5FD6959591}"/>
                </a:ext>
              </a:extLst>
            </p:cNvPr>
            <p:cNvSpPr txBox="1"/>
            <p:nvPr/>
          </p:nvSpPr>
          <p:spPr>
            <a:xfrm>
              <a:off x="8530389" y="6003730"/>
              <a:ext cx="1289135"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a:ea typeface="+mn-ea"/>
                  <a:cs typeface="+mn-cs"/>
                </a:rPr>
                <a:t>Global Office Locations</a:t>
              </a:r>
            </a:p>
          </p:txBody>
        </p:sp>
      </p:grpSp>
      <p:grpSp>
        <p:nvGrpSpPr>
          <p:cNvPr id="47" name="Group 46">
            <a:extLst>
              <a:ext uri="{FF2B5EF4-FFF2-40B4-BE49-F238E27FC236}">
                <a16:creationId xmlns:a16="http://schemas.microsoft.com/office/drawing/2014/main" id="{B3D83E4E-EE38-4C36-9084-FA8A9180F6EE}"/>
              </a:ext>
            </a:extLst>
          </p:cNvPr>
          <p:cNvGrpSpPr/>
          <p:nvPr/>
        </p:nvGrpSpPr>
        <p:grpSpPr>
          <a:xfrm>
            <a:off x="7428836" y="5678248"/>
            <a:ext cx="1438659" cy="215444"/>
            <a:chOff x="8453000" y="6003730"/>
            <a:chExt cx="1438659" cy="215444"/>
          </a:xfrm>
        </p:grpSpPr>
        <p:sp>
          <p:nvSpPr>
            <p:cNvPr id="48" name="Oval 47">
              <a:extLst>
                <a:ext uri="{FF2B5EF4-FFF2-40B4-BE49-F238E27FC236}">
                  <a16:creationId xmlns:a16="http://schemas.microsoft.com/office/drawing/2014/main" id="{290377BC-67E3-41A8-8582-EB38D80A8DCF}"/>
                </a:ext>
              </a:extLst>
            </p:cNvPr>
            <p:cNvSpPr/>
            <p:nvPr/>
          </p:nvSpPr>
          <p:spPr>
            <a:xfrm>
              <a:off x="8453000" y="6059850"/>
              <a:ext cx="103205" cy="10320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9" name="TextBox 48">
              <a:extLst>
                <a:ext uri="{FF2B5EF4-FFF2-40B4-BE49-F238E27FC236}">
                  <a16:creationId xmlns:a16="http://schemas.microsoft.com/office/drawing/2014/main" id="{23B48DB0-032A-4A69-822A-59E4466AE74D}"/>
                </a:ext>
              </a:extLst>
            </p:cNvPr>
            <p:cNvSpPr txBox="1"/>
            <p:nvPr/>
          </p:nvSpPr>
          <p:spPr>
            <a:xfrm>
              <a:off x="8530389" y="6003730"/>
              <a:ext cx="136127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a:ea typeface="+mn-ea"/>
                  <a:cs typeface="+mn-cs"/>
                </a:rPr>
                <a:t>Headquarters: New York</a:t>
              </a:r>
            </a:p>
          </p:txBody>
        </p:sp>
      </p:grpSp>
      <p:grpSp>
        <p:nvGrpSpPr>
          <p:cNvPr id="50" name="Group 49">
            <a:extLst>
              <a:ext uri="{FF2B5EF4-FFF2-40B4-BE49-F238E27FC236}">
                <a16:creationId xmlns:a16="http://schemas.microsoft.com/office/drawing/2014/main" id="{07A0E841-5CBA-4281-888C-1940FF791207}"/>
              </a:ext>
            </a:extLst>
          </p:cNvPr>
          <p:cNvGrpSpPr/>
          <p:nvPr/>
        </p:nvGrpSpPr>
        <p:grpSpPr>
          <a:xfrm>
            <a:off x="6602020" y="2765980"/>
            <a:ext cx="4502342" cy="2764438"/>
            <a:chOff x="6577780" y="2644729"/>
            <a:chExt cx="4699819" cy="2885689"/>
          </a:xfrm>
        </p:grpSpPr>
        <p:pic>
          <p:nvPicPr>
            <p:cNvPr id="51" name="Picture 50">
              <a:extLst>
                <a:ext uri="{FF2B5EF4-FFF2-40B4-BE49-F238E27FC236}">
                  <a16:creationId xmlns:a16="http://schemas.microsoft.com/office/drawing/2014/main" id="{F2CFEDD9-D983-4CEE-A860-1B43432FC2D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577780" y="2644729"/>
              <a:ext cx="4699819" cy="2885689"/>
            </a:xfrm>
            <a:prstGeom prst="rect">
              <a:avLst/>
            </a:prstGeom>
          </p:spPr>
        </p:pic>
        <p:sp>
          <p:nvSpPr>
            <p:cNvPr id="52" name="Oval 51">
              <a:extLst>
                <a:ext uri="{FF2B5EF4-FFF2-40B4-BE49-F238E27FC236}">
                  <a16:creationId xmlns:a16="http://schemas.microsoft.com/office/drawing/2014/main" id="{C3E4A964-8269-4078-8D13-C2AAF5CF116C}"/>
                </a:ext>
              </a:extLst>
            </p:cNvPr>
            <p:cNvSpPr/>
            <p:nvPr/>
          </p:nvSpPr>
          <p:spPr>
            <a:xfrm>
              <a:off x="7627640" y="3889293"/>
              <a:ext cx="65103" cy="651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cxnSp>
        <p:nvCxnSpPr>
          <p:cNvPr id="53" name="Straight Connector 52">
            <a:extLst>
              <a:ext uri="{FF2B5EF4-FFF2-40B4-BE49-F238E27FC236}">
                <a16:creationId xmlns:a16="http://schemas.microsoft.com/office/drawing/2014/main" id="{C58F32D9-82A9-47D4-A7CB-1F70447A8083}"/>
              </a:ext>
            </a:extLst>
          </p:cNvPr>
          <p:cNvCxnSpPr/>
          <p:nvPr/>
        </p:nvCxnSpPr>
        <p:spPr>
          <a:xfrm>
            <a:off x="6475539" y="2396449"/>
            <a:ext cx="480206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FF095B21-9116-435A-A1C5-80CDFCB1EB21}"/>
              </a:ext>
            </a:extLst>
          </p:cNvPr>
          <p:cNvSpPr txBox="1"/>
          <p:nvPr/>
        </p:nvSpPr>
        <p:spPr bwMode="gray">
          <a:xfrm>
            <a:off x="7303557" y="2254564"/>
            <a:ext cx="3248262" cy="257829"/>
          </a:xfrm>
          <a:prstGeom prst="rect">
            <a:avLst/>
          </a:prstGeom>
          <a:solidFill>
            <a:schemeClr val="bg1"/>
          </a:solidFill>
        </p:spPr>
        <p:txBody>
          <a:bodyPr wrap="square" lIns="0" tIns="0" rIns="0" bIns="0" rtlCol="0" anchor="b" anchorCtr="0">
            <a:noAutofit/>
          </a:bodyP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lient’s Global Footprint</a:t>
            </a:r>
          </a:p>
        </p:txBody>
      </p:sp>
    </p:spTree>
    <p:extLst>
      <p:ext uri="{BB962C8B-B14F-4D97-AF65-F5344CB8AC3E}">
        <p14:creationId xmlns:p14="http://schemas.microsoft.com/office/powerpoint/2010/main" val="3481515498"/>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816BEC-BD48-4826-85CE-4FFCB41C8A4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652" name="think-cell Slide" r:id="rId6" imgW="415" imgH="416" progId="TCLayout.ActiveDocument.1">
                  <p:embed/>
                </p:oleObj>
              </mc:Choice>
              <mc:Fallback>
                <p:oleObj name="think-cell Slide" r:id="rId6" imgW="415" imgH="416" progId="TCLayout.ActiveDocument.1">
                  <p:embed/>
                  <p:pic>
                    <p:nvPicPr>
                      <p:cNvPr id="5" name="Object 4" hidden="1">
                        <a:extLst>
                          <a:ext uri="{FF2B5EF4-FFF2-40B4-BE49-F238E27FC236}">
                            <a16:creationId xmlns:a16="http://schemas.microsoft.com/office/drawing/2014/main" id="{74816BEC-BD48-4826-85CE-4FFCB41C8A4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35E1D75-043E-4B23-845A-1EC5DB2A015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AAD3583-53DD-4DC1-B2F9-09F3C917C4BD}"/>
              </a:ext>
            </a:extLst>
          </p:cNvPr>
          <p:cNvSpPr>
            <a:spLocks noGrp="1"/>
          </p:cNvSpPr>
          <p:nvPr>
            <p:ph type="title"/>
          </p:nvPr>
        </p:nvSpPr>
        <p:spPr/>
        <p:txBody>
          <a:bodyPr/>
          <a:lstStyle/>
          <a:p>
            <a:r>
              <a:rPr lang="en-US" dirty="0"/>
              <a:t>How is the current Grocery landscape changing?</a:t>
            </a:r>
          </a:p>
        </p:txBody>
      </p:sp>
      <p:sp>
        <p:nvSpPr>
          <p:cNvPr id="3" name="Text Placeholder 2">
            <a:extLst>
              <a:ext uri="{FF2B5EF4-FFF2-40B4-BE49-F238E27FC236}">
                <a16:creationId xmlns:a16="http://schemas.microsoft.com/office/drawing/2014/main" id="{974AE416-793A-45EC-A8D4-068B51985C54}"/>
              </a:ext>
            </a:extLst>
          </p:cNvPr>
          <p:cNvSpPr>
            <a:spLocks noGrp="1"/>
          </p:cNvSpPr>
          <p:nvPr>
            <p:ph type="body" sz="quarter" idx="14"/>
          </p:nvPr>
        </p:nvSpPr>
        <p:spPr/>
        <p:txBody>
          <a:bodyPr/>
          <a:lstStyle/>
          <a:p>
            <a:r>
              <a:rPr lang="en-US" sz="1100" dirty="0"/>
              <a:t>Ascend is the most effective solution to help Client address challenges in an increasingly omni-channel landscape</a:t>
            </a:r>
          </a:p>
        </p:txBody>
      </p:sp>
      <p:sp>
        <p:nvSpPr>
          <p:cNvPr id="7" name="Text Placeholder 6">
            <a:extLst>
              <a:ext uri="{FF2B5EF4-FFF2-40B4-BE49-F238E27FC236}">
                <a16:creationId xmlns:a16="http://schemas.microsoft.com/office/drawing/2014/main" id="{B8B92BE4-9377-4576-A8E5-8F5C522891A8}"/>
              </a:ext>
            </a:extLst>
          </p:cNvPr>
          <p:cNvSpPr>
            <a:spLocks noGrp="1"/>
          </p:cNvSpPr>
          <p:nvPr>
            <p:ph type="body" sz="quarter" idx="15"/>
          </p:nvPr>
        </p:nvSpPr>
        <p:spPr>
          <a:xfrm>
            <a:off x="914971" y="466344"/>
            <a:ext cx="4256212" cy="228600"/>
          </a:xfrm>
        </p:spPr>
        <p:txBody>
          <a:bodyPr/>
          <a:lstStyle/>
          <a:p>
            <a:r>
              <a:rPr lang="en-US" dirty="0"/>
              <a:t>Data Visualization &amp; Infographics</a:t>
            </a:r>
          </a:p>
        </p:txBody>
      </p:sp>
      <p:sp>
        <p:nvSpPr>
          <p:cNvPr id="6" name="TextBox 5">
            <a:extLst>
              <a:ext uri="{FF2B5EF4-FFF2-40B4-BE49-F238E27FC236}">
                <a16:creationId xmlns:a16="http://schemas.microsoft.com/office/drawing/2014/main" id="{010E974C-122B-4DB1-A7CE-CAD8977FC4B4}"/>
              </a:ext>
            </a:extLst>
          </p:cNvPr>
          <p:cNvSpPr txBox="1"/>
          <p:nvPr/>
        </p:nvSpPr>
        <p:spPr bwMode="gray">
          <a:xfrm>
            <a:off x="869440" y="6037879"/>
            <a:ext cx="2390649" cy="399127"/>
          </a:xfrm>
          <a:prstGeom prst="rect">
            <a:avLst/>
          </a:prstGeom>
        </p:spPr>
        <p:txBody>
          <a:bodyPr wrap="square" lIns="0" rIns="0" rtlCol="0" anchor="ctr" anchorCtr="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Source:</a:t>
            </a:r>
          </a:p>
          <a:p>
            <a:pPr marL="228600" marR="0" lvl="0" indent="-228600" algn="l" defTabSz="1219170" rtl="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Deloitte, The Grocery Digital Divide, 2017</a:t>
            </a:r>
          </a:p>
          <a:p>
            <a:pPr marL="228600" marR="0" lvl="0" indent="-228600" algn="l" defTabSz="1219170" rtl="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Deloitte, Global Spotlight on Grocery, 2018</a:t>
            </a:r>
          </a:p>
        </p:txBody>
      </p:sp>
      <p:sp>
        <p:nvSpPr>
          <p:cNvPr id="8" name="Rectangle 7">
            <a:extLst>
              <a:ext uri="{FF2B5EF4-FFF2-40B4-BE49-F238E27FC236}">
                <a16:creationId xmlns:a16="http://schemas.microsoft.com/office/drawing/2014/main" id="{4EC612F9-657D-437D-A0CA-11CDEE82D860}"/>
              </a:ext>
            </a:extLst>
          </p:cNvPr>
          <p:cNvSpPr/>
          <p:nvPr/>
        </p:nvSpPr>
        <p:spPr bwMode="gray">
          <a:xfrm>
            <a:off x="4341402" y="1700592"/>
            <a:ext cx="6935877" cy="2015903"/>
          </a:xfrm>
          <a:prstGeom prst="rect">
            <a:avLst/>
          </a:prstGeom>
          <a:solidFill>
            <a:schemeClr val="accent3">
              <a:lumMod val="20000"/>
              <a:lumOff val="80000"/>
              <a:alpha val="70000"/>
            </a:schemeClr>
          </a:solidFill>
          <a:ln w="63500" algn="ctr">
            <a:solidFill>
              <a:schemeClr val="accent3"/>
            </a:solidFill>
            <a:miter lim="800000"/>
            <a:headEnd/>
            <a:tailEnd/>
          </a:ln>
        </p:spPr>
        <p:txBody>
          <a:bodyPr wrap="square" lIns="88900" tIns="88900" rIns="88900" bIns="88900" rtlCol="0" anchor="t"/>
          <a:lstStyle/>
          <a:p>
            <a:pPr marL="0" marR="0" lvl="0" indent="0" algn="ctr" defTabSz="1219170" rtl="0" eaLnBrk="1" fontAlgn="auto" latinLnBrk="0" hangingPunct="1">
              <a:lnSpc>
                <a:spcPct val="106000"/>
              </a:lnSpc>
              <a:spcBef>
                <a:spcPts val="0"/>
              </a:spcBef>
              <a:spcAft>
                <a:spcPts val="600"/>
              </a:spcAft>
              <a:buClrTx/>
              <a:buSzTx/>
              <a:buFontTx/>
              <a:buNone/>
              <a:tabLst/>
              <a:defRPr/>
            </a:pPr>
            <a:r>
              <a:rPr kumimoji="0" lang="en-US" b="1" i="0" u="none" strike="noStrike" kern="1200" cap="none" spc="0" normalizeH="0" baseline="0" noProof="0" dirty="0">
                <a:ln>
                  <a:noFill/>
                </a:ln>
                <a:solidFill>
                  <a:srgbClr val="000000"/>
                </a:solidFill>
                <a:effectLst/>
                <a:uLnTx/>
                <a:uFillTx/>
                <a:ea typeface="+mn-ea"/>
                <a:cs typeface="+mn-cs"/>
              </a:rPr>
              <a:t>Omni-Channel Grocery Use is Emerging</a:t>
            </a:r>
            <a:r>
              <a:rPr kumimoji="0" lang="en-US" b="1" i="1" u="none" strike="noStrike" kern="1200" cap="none" spc="0" normalizeH="0" baseline="30000" noProof="0" dirty="0">
                <a:ln>
                  <a:noFill/>
                </a:ln>
                <a:solidFill>
                  <a:srgbClr val="000000"/>
                </a:solidFill>
                <a:effectLst/>
                <a:uLnTx/>
                <a:uFillTx/>
                <a:ea typeface="+mn-ea"/>
                <a:cs typeface="+mn-cs"/>
              </a:rPr>
              <a:t>1</a:t>
            </a:r>
            <a:r>
              <a:rPr kumimoji="0" lang="en-US" b="1" i="0" u="none" strike="noStrike" kern="1200" cap="none" spc="0" normalizeH="0" baseline="0" noProof="0" dirty="0">
                <a:ln>
                  <a:noFill/>
                </a:ln>
                <a:solidFill>
                  <a:srgbClr val="000000"/>
                </a:solidFill>
                <a:effectLst/>
                <a:uLnTx/>
                <a:uFillTx/>
                <a:ea typeface="+mn-ea"/>
                <a:cs typeface="+mn-cs"/>
              </a:rPr>
              <a:t>…</a:t>
            </a:r>
            <a:endParaRPr kumimoji="0" lang="en-US" b="1" i="0" u="none" strike="noStrike" kern="1200" cap="none" spc="0" normalizeH="0" baseline="30000" noProof="0" dirty="0">
              <a:ln>
                <a:noFill/>
              </a:ln>
              <a:solidFill>
                <a:srgbClr val="000000"/>
              </a:solidFill>
              <a:effectLst/>
              <a:uLnTx/>
              <a:uFillTx/>
              <a:ea typeface="+mn-ea"/>
              <a:cs typeface="+mn-cs"/>
            </a:endParaRPr>
          </a:p>
          <a:p>
            <a:pPr marL="0" marR="0" lvl="0" indent="0" algn="l" defTabSz="1219170" rtl="0" eaLnBrk="1" fontAlgn="auto" latinLnBrk="0" hangingPunct="1">
              <a:lnSpc>
                <a:spcPct val="106000"/>
              </a:lnSpc>
              <a:spcBef>
                <a:spcPts val="0"/>
              </a:spcBef>
              <a:spcAft>
                <a:spcPts val="600"/>
              </a:spcAft>
              <a:buClrTx/>
              <a:buSzTx/>
              <a:buFontTx/>
              <a:buNone/>
              <a:tabLst/>
              <a:defRPr/>
            </a:pPr>
            <a:endParaRPr kumimoji="0" lang="en-US" b="0" i="0" u="none" strike="noStrike" kern="1200" cap="none" spc="0" normalizeH="0" baseline="0" noProof="0" dirty="0">
              <a:ln>
                <a:noFill/>
              </a:ln>
              <a:solidFill>
                <a:srgbClr val="000000"/>
              </a:solidFill>
              <a:effectLst/>
              <a:uLnTx/>
              <a:uFillTx/>
              <a:ea typeface="+mn-ea"/>
              <a:cs typeface="+mn-cs"/>
            </a:endParaRPr>
          </a:p>
          <a:p>
            <a:pPr marL="0" marR="0" lvl="0" indent="0" algn="l" defTabSz="1219170" rtl="0" eaLnBrk="1" fontAlgn="auto" latinLnBrk="0" hangingPunct="1">
              <a:lnSpc>
                <a:spcPct val="106000"/>
              </a:lnSpc>
              <a:spcBef>
                <a:spcPts val="0"/>
              </a:spcBef>
              <a:spcAft>
                <a:spcPts val="600"/>
              </a:spcAft>
              <a:buClrTx/>
              <a:buSzTx/>
              <a:buFontTx/>
              <a:buNone/>
              <a:tabLst/>
              <a:defRPr/>
            </a:pPr>
            <a:endParaRPr kumimoji="0" lang="en-US" b="0" i="0" u="none" strike="noStrike" kern="1200" cap="none" spc="0" normalizeH="0" baseline="0" noProof="0" dirty="0">
              <a:ln>
                <a:noFill/>
              </a:ln>
              <a:solidFill>
                <a:srgbClr val="000000"/>
              </a:solidFill>
              <a:effectLst/>
              <a:uLnTx/>
              <a:uFillTx/>
              <a:ea typeface="+mn-ea"/>
              <a:cs typeface="+mn-cs"/>
            </a:endParaRPr>
          </a:p>
          <a:p>
            <a:pPr marL="0" marR="0" lvl="0" indent="0" algn="l" defTabSz="1219170" rtl="0" eaLnBrk="1" fontAlgn="auto" latinLnBrk="0" hangingPunct="1">
              <a:lnSpc>
                <a:spcPct val="106000"/>
              </a:lnSpc>
              <a:spcBef>
                <a:spcPts val="0"/>
              </a:spcBef>
              <a:spcAft>
                <a:spcPts val="600"/>
              </a:spcAft>
              <a:buClrTx/>
              <a:buSzTx/>
              <a:buFontTx/>
              <a:buNone/>
              <a:tabLst/>
              <a:defRPr/>
            </a:pPr>
            <a:endParaRPr kumimoji="0" lang="en-US" b="0" i="0" u="none" strike="noStrike" kern="1200" cap="none" spc="0" normalizeH="0" baseline="0" noProof="0" dirty="0">
              <a:ln>
                <a:noFill/>
              </a:ln>
              <a:solidFill>
                <a:srgbClr val="000000"/>
              </a:solidFill>
              <a:effectLst/>
              <a:uLnTx/>
              <a:uFillTx/>
              <a:ea typeface="+mn-ea"/>
              <a:cs typeface="+mn-cs"/>
            </a:endParaRPr>
          </a:p>
          <a:p>
            <a:pPr marL="0" marR="0" lvl="0" indent="0" algn="l" defTabSz="1219170" rtl="0" eaLnBrk="1" fontAlgn="auto" latinLnBrk="0" hangingPunct="1">
              <a:lnSpc>
                <a:spcPct val="106000"/>
              </a:lnSpc>
              <a:spcBef>
                <a:spcPts val="0"/>
              </a:spcBef>
              <a:spcAft>
                <a:spcPts val="60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9" name="Rectangle 8">
            <a:extLst>
              <a:ext uri="{FF2B5EF4-FFF2-40B4-BE49-F238E27FC236}">
                <a16:creationId xmlns:a16="http://schemas.microsoft.com/office/drawing/2014/main" id="{24E1C6D3-353B-4420-8AB2-EED1806EA33D}"/>
              </a:ext>
            </a:extLst>
          </p:cNvPr>
          <p:cNvSpPr/>
          <p:nvPr/>
        </p:nvSpPr>
        <p:spPr bwMode="gray">
          <a:xfrm>
            <a:off x="6236194" y="3846582"/>
            <a:ext cx="5041085" cy="2153580"/>
          </a:xfrm>
          <a:prstGeom prst="rect">
            <a:avLst/>
          </a:prstGeom>
          <a:solidFill>
            <a:schemeClr val="accent1">
              <a:lumMod val="10000"/>
              <a:lumOff val="90000"/>
              <a:alpha val="70000"/>
            </a:schemeClr>
          </a:solidFill>
          <a:ln w="63500" algn="ctr">
            <a:solidFill>
              <a:schemeClr val="accent1">
                <a:lumMod val="75000"/>
                <a:lumOff val="25000"/>
              </a:schemeClr>
            </a:solidFill>
            <a:miter lim="800000"/>
            <a:headEnd/>
            <a:tailEnd/>
          </a:ln>
        </p:spPr>
        <p:txBody>
          <a:bodyPr wrap="square" lIns="88900" tIns="88900" rIns="88900" bIns="88900" rtlCol="0" anchor="t"/>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ea typeface="+mn-ea"/>
                <a:cs typeface="+mn-cs"/>
              </a:rPr>
              <a:t>Ascend Enables…</a:t>
            </a:r>
          </a:p>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ea typeface="+mn-ea"/>
              <a:cs typeface="+mn-cs"/>
            </a:endParaRPr>
          </a:p>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ea typeface="+mn-ea"/>
              <a:cs typeface="+mn-cs"/>
            </a:endParaRPr>
          </a:p>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ea typeface="+mn-ea"/>
              <a:cs typeface="+mn-cs"/>
            </a:endParaRPr>
          </a:p>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ea typeface="+mn-ea"/>
              <a:cs typeface="+mn-cs"/>
            </a:endParaRPr>
          </a:p>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ea typeface="+mn-ea"/>
              <a:cs typeface="+mn-cs"/>
            </a:endParaRPr>
          </a:p>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ea typeface="+mn-ea"/>
              <a:cs typeface="+mn-cs"/>
            </a:endParaRPr>
          </a:p>
          <a:p>
            <a:pPr marL="0" marR="0" lvl="0" indent="0" algn="ctr" defTabSz="1219170" rtl="0" eaLnBrk="1" fontAlgn="auto" latinLnBrk="0" hangingPunct="1">
              <a:lnSpc>
                <a:spcPct val="106000"/>
              </a:lnSpc>
              <a:spcBef>
                <a:spcPts val="0"/>
              </a:spcBef>
              <a:spcAft>
                <a:spcPts val="0"/>
              </a:spcAft>
              <a:buClrTx/>
              <a:buSzTx/>
              <a:buFontTx/>
              <a:buNone/>
              <a:tabLst/>
              <a:defRPr/>
            </a:pPr>
            <a:br>
              <a:rPr kumimoji="0" lang="en-US" sz="1100" b="0" i="0" u="none" strike="noStrike" kern="1200" cap="none" spc="0" normalizeH="0" baseline="0" noProof="0" dirty="0">
                <a:ln>
                  <a:noFill/>
                </a:ln>
                <a:solidFill>
                  <a:srgbClr val="000000"/>
                </a:solidFill>
                <a:effectLst/>
                <a:uLnTx/>
                <a:uFillTx/>
                <a:ea typeface="+mn-ea"/>
                <a:cs typeface="+mn-cs"/>
              </a:rPr>
            </a:br>
            <a:endParaRPr kumimoji="0" lang="en-US" sz="1100" b="0" i="0" u="none" strike="noStrike" kern="1200" cap="none" spc="0" normalizeH="0" baseline="0" noProof="0" dirty="0">
              <a:ln>
                <a:noFill/>
              </a:ln>
              <a:solidFill>
                <a:srgbClr val="000000"/>
              </a:solidFill>
              <a:effectLst/>
              <a:uLnTx/>
              <a:uFillTx/>
              <a:ea typeface="+mn-ea"/>
              <a:cs typeface="+mn-cs"/>
            </a:endParaRPr>
          </a:p>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to make informed business decisions</a:t>
            </a:r>
          </a:p>
        </p:txBody>
      </p:sp>
      <p:sp>
        <p:nvSpPr>
          <p:cNvPr id="10" name="Rectangle 9">
            <a:extLst>
              <a:ext uri="{FF2B5EF4-FFF2-40B4-BE49-F238E27FC236}">
                <a16:creationId xmlns:a16="http://schemas.microsoft.com/office/drawing/2014/main" id="{F46B8702-F0AF-49EF-91CD-E2F22CD10882}"/>
              </a:ext>
            </a:extLst>
          </p:cNvPr>
          <p:cNvSpPr/>
          <p:nvPr/>
        </p:nvSpPr>
        <p:spPr bwMode="gray">
          <a:xfrm>
            <a:off x="914399" y="1686738"/>
            <a:ext cx="3282561" cy="2028944"/>
          </a:xfrm>
          <a:prstGeom prst="rect">
            <a:avLst/>
          </a:prstGeom>
          <a:solidFill>
            <a:schemeClr val="bg2">
              <a:lumMod val="20000"/>
              <a:lumOff val="80000"/>
              <a:alpha val="70000"/>
            </a:schemeClr>
          </a:solidFill>
          <a:ln w="63500" algn="ctr">
            <a:solidFill>
              <a:schemeClr val="bg2"/>
            </a:solidFill>
            <a:miter lim="800000"/>
            <a:headEnd/>
            <a:tailEnd/>
          </a:ln>
        </p:spPr>
        <p:txBody>
          <a:bodyPr wrap="square" lIns="88900" tIns="91440" rIns="88900" bIns="88900" rtlCol="0" anchor="t"/>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ea typeface="+mn-ea"/>
                <a:cs typeface="+mn-cs"/>
              </a:rPr>
              <a:t>Customers Demand</a:t>
            </a:r>
            <a:endParaRPr kumimoji="0" lang="en-US" b="1" i="0" u="none" strike="noStrike" kern="1200" cap="none" spc="0" normalizeH="0" baseline="30000" noProof="0" dirty="0">
              <a:ln>
                <a:noFill/>
              </a:ln>
              <a:solidFill>
                <a:srgbClr val="000000"/>
              </a:solidFill>
              <a:effectLst/>
              <a:uLnTx/>
              <a:uFillTx/>
              <a:ea typeface="+mn-ea"/>
              <a:cs typeface="+mn-cs"/>
            </a:endParaRPr>
          </a:p>
        </p:txBody>
      </p:sp>
      <p:sp>
        <p:nvSpPr>
          <p:cNvPr id="11" name="Chevron 6">
            <a:extLst>
              <a:ext uri="{FF2B5EF4-FFF2-40B4-BE49-F238E27FC236}">
                <a16:creationId xmlns:a16="http://schemas.microsoft.com/office/drawing/2014/main" id="{6C379B86-0E6F-49A4-87FE-73C4F7CD9CFF}"/>
              </a:ext>
            </a:extLst>
          </p:cNvPr>
          <p:cNvSpPr/>
          <p:nvPr/>
        </p:nvSpPr>
        <p:spPr bwMode="gray">
          <a:xfrm>
            <a:off x="983541" y="2118707"/>
            <a:ext cx="168426" cy="235620"/>
          </a:xfrm>
          <a:prstGeom prst="chevron">
            <a:avLst/>
          </a:prstGeom>
          <a:solidFill>
            <a:schemeClr val="bg1">
              <a:lumMod val="50000"/>
            </a:scheme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68B3"/>
              </a:solidFill>
              <a:effectLst/>
              <a:uLnTx/>
              <a:uFillTx/>
              <a:ea typeface="+mn-ea"/>
              <a:cs typeface="+mn-cs"/>
            </a:endParaRPr>
          </a:p>
        </p:txBody>
      </p:sp>
      <p:sp>
        <p:nvSpPr>
          <p:cNvPr id="12" name="TextBox 11">
            <a:extLst>
              <a:ext uri="{FF2B5EF4-FFF2-40B4-BE49-F238E27FC236}">
                <a16:creationId xmlns:a16="http://schemas.microsoft.com/office/drawing/2014/main" id="{97D7234E-82BC-431F-9705-59AF5CEFBDFB}"/>
              </a:ext>
            </a:extLst>
          </p:cNvPr>
          <p:cNvSpPr txBox="1"/>
          <p:nvPr/>
        </p:nvSpPr>
        <p:spPr>
          <a:xfrm>
            <a:off x="1253591" y="2144183"/>
            <a:ext cx="2863243" cy="184666"/>
          </a:xfrm>
          <a:prstGeom prst="rect">
            <a:avLst/>
          </a:prstGeom>
          <a:noFill/>
        </p:spPr>
        <p:txBody>
          <a:bodyPr wrap="square" lIns="0" tIns="0" rIns="0" bIns="0" rtlCol="0" anchor="ctr">
            <a:spAutoFit/>
          </a:bodyPr>
          <a:lstStyle/>
          <a:p>
            <a:pPr marL="0" marR="0" lvl="0" indent="0" algn="l" defTabSz="1219170" rtl="0" eaLnBrk="1" fontAlgn="auto" latinLnBrk="0" hangingPunct="1">
              <a:lnSpc>
                <a:spcPct val="100000"/>
              </a:lnSpc>
              <a:spcBef>
                <a:spcPts val="600"/>
              </a:spcBef>
              <a:spcAft>
                <a:spcPts val="0"/>
              </a:spcAft>
              <a:buClrTx/>
              <a:buSzPct val="100000"/>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The Right Product at the Right Time</a:t>
            </a:r>
          </a:p>
        </p:txBody>
      </p:sp>
      <p:sp>
        <p:nvSpPr>
          <p:cNvPr id="13" name="Chevron 6">
            <a:extLst>
              <a:ext uri="{FF2B5EF4-FFF2-40B4-BE49-F238E27FC236}">
                <a16:creationId xmlns:a16="http://schemas.microsoft.com/office/drawing/2014/main" id="{F4E4B007-6A7F-44D2-B47C-D5F4F8C027BF}"/>
              </a:ext>
            </a:extLst>
          </p:cNvPr>
          <p:cNvSpPr/>
          <p:nvPr/>
        </p:nvSpPr>
        <p:spPr bwMode="gray">
          <a:xfrm>
            <a:off x="983541" y="2505011"/>
            <a:ext cx="168426" cy="235620"/>
          </a:xfrm>
          <a:prstGeom prst="chevron">
            <a:avLst/>
          </a:prstGeom>
          <a:solidFill>
            <a:schemeClr val="bg1">
              <a:lumMod val="50000"/>
            </a:scheme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68B3"/>
              </a:solidFill>
              <a:effectLst/>
              <a:uLnTx/>
              <a:uFillTx/>
              <a:ea typeface="+mn-ea"/>
              <a:cs typeface="+mn-cs"/>
            </a:endParaRPr>
          </a:p>
        </p:txBody>
      </p:sp>
      <p:sp>
        <p:nvSpPr>
          <p:cNvPr id="14" name="TextBox 13">
            <a:extLst>
              <a:ext uri="{FF2B5EF4-FFF2-40B4-BE49-F238E27FC236}">
                <a16:creationId xmlns:a16="http://schemas.microsoft.com/office/drawing/2014/main" id="{2E4FD603-0FD8-4DAA-B8C0-AD1DD865EDCC}"/>
              </a:ext>
            </a:extLst>
          </p:cNvPr>
          <p:cNvSpPr txBox="1"/>
          <p:nvPr/>
        </p:nvSpPr>
        <p:spPr>
          <a:xfrm>
            <a:off x="1253591" y="2530488"/>
            <a:ext cx="2863243" cy="184666"/>
          </a:xfrm>
          <a:prstGeom prst="rect">
            <a:avLst/>
          </a:prstGeom>
          <a:noFill/>
        </p:spPr>
        <p:txBody>
          <a:bodyPr wrap="square" lIns="0" tIns="0" rIns="0" bIns="0" rtlCol="0" anchor="ctr">
            <a:spAutoFit/>
          </a:bodyPr>
          <a:lstStyle/>
          <a:p>
            <a:pPr marL="0" marR="0" lvl="0" indent="0" algn="l" defTabSz="1219170" rtl="0" eaLnBrk="1" fontAlgn="auto" latinLnBrk="0" hangingPunct="1">
              <a:lnSpc>
                <a:spcPct val="100000"/>
              </a:lnSpc>
              <a:spcBef>
                <a:spcPts val="600"/>
              </a:spcBef>
              <a:spcAft>
                <a:spcPts val="0"/>
              </a:spcAft>
              <a:buClrTx/>
              <a:buSzPct val="100000"/>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Flexible Fulfillment Options</a:t>
            </a:r>
          </a:p>
        </p:txBody>
      </p:sp>
      <p:sp>
        <p:nvSpPr>
          <p:cNvPr id="15" name="Chevron 6">
            <a:extLst>
              <a:ext uri="{FF2B5EF4-FFF2-40B4-BE49-F238E27FC236}">
                <a16:creationId xmlns:a16="http://schemas.microsoft.com/office/drawing/2014/main" id="{C57A24AD-C21A-4C37-9578-A88E3D75C9F5}"/>
              </a:ext>
            </a:extLst>
          </p:cNvPr>
          <p:cNvSpPr/>
          <p:nvPr/>
        </p:nvSpPr>
        <p:spPr bwMode="gray">
          <a:xfrm>
            <a:off x="983541" y="2935899"/>
            <a:ext cx="168426" cy="235620"/>
          </a:xfrm>
          <a:prstGeom prst="chevron">
            <a:avLst/>
          </a:prstGeom>
          <a:solidFill>
            <a:schemeClr val="bg1">
              <a:lumMod val="50000"/>
            </a:scheme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68B3"/>
              </a:solidFill>
              <a:effectLst/>
              <a:uLnTx/>
              <a:uFillTx/>
              <a:ea typeface="+mn-ea"/>
              <a:cs typeface="+mn-cs"/>
            </a:endParaRPr>
          </a:p>
        </p:txBody>
      </p:sp>
      <p:sp>
        <p:nvSpPr>
          <p:cNvPr id="16" name="TextBox 15">
            <a:extLst>
              <a:ext uri="{FF2B5EF4-FFF2-40B4-BE49-F238E27FC236}">
                <a16:creationId xmlns:a16="http://schemas.microsoft.com/office/drawing/2014/main" id="{91C45E0B-E2AF-4B96-8666-A4F46BF94361}"/>
              </a:ext>
            </a:extLst>
          </p:cNvPr>
          <p:cNvSpPr txBox="1"/>
          <p:nvPr/>
        </p:nvSpPr>
        <p:spPr>
          <a:xfrm>
            <a:off x="1253591" y="2961375"/>
            <a:ext cx="1910779" cy="184666"/>
          </a:xfrm>
          <a:prstGeom prst="rect">
            <a:avLst/>
          </a:prstGeom>
          <a:noFill/>
        </p:spPr>
        <p:txBody>
          <a:bodyPr wrap="none" lIns="0" tIns="0" rIns="0" bIns="0" rtlCol="0" anchor="ctr">
            <a:spAutoFit/>
          </a:bodyPr>
          <a:lstStyle/>
          <a:p>
            <a:pPr marL="0" marR="0" lvl="0" indent="0" algn="l" defTabSz="1219170" rtl="0" eaLnBrk="1" fontAlgn="auto" latinLnBrk="0" hangingPunct="1">
              <a:lnSpc>
                <a:spcPct val="100000"/>
              </a:lnSpc>
              <a:spcBef>
                <a:spcPts val="600"/>
              </a:spcBef>
              <a:spcAft>
                <a:spcPts val="0"/>
              </a:spcAft>
              <a:buClrTx/>
              <a:buSzPct val="100000"/>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A Convenient Experience</a:t>
            </a:r>
          </a:p>
        </p:txBody>
      </p:sp>
      <p:sp>
        <p:nvSpPr>
          <p:cNvPr id="17" name="Chevron 6">
            <a:extLst>
              <a:ext uri="{FF2B5EF4-FFF2-40B4-BE49-F238E27FC236}">
                <a16:creationId xmlns:a16="http://schemas.microsoft.com/office/drawing/2014/main" id="{149AD10C-EF96-4171-A921-7364451B71B0}"/>
              </a:ext>
            </a:extLst>
          </p:cNvPr>
          <p:cNvSpPr/>
          <p:nvPr/>
        </p:nvSpPr>
        <p:spPr bwMode="gray">
          <a:xfrm>
            <a:off x="983541" y="3366786"/>
            <a:ext cx="168426" cy="235620"/>
          </a:xfrm>
          <a:prstGeom prst="chevron">
            <a:avLst/>
          </a:prstGeom>
          <a:solidFill>
            <a:schemeClr val="bg1">
              <a:lumMod val="50000"/>
            </a:scheme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68B3"/>
              </a:solidFill>
              <a:effectLst/>
              <a:uLnTx/>
              <a:uFillTx/>
              <a:ea typeface="+mn-ea"/>
              <a:cs typeface="+mn-cs"/>
            </a:endParaRPr>
          </a:p>
        </p:txBody>
      </p:sp>
      <p:sp>
        <p:nvSpPr>
          <p:cNvPr id="18" name="TextBox 17">
            <a:extLst>
              <a:ext uri="{FF2B5EF4-FFF2-40B4-BE49-F238E27FC236}">
                <a16:creationId xmlns:a16="http://schemas.microsoft.com/office/drawing/2014/main" id="{104B2D9C-710C-47B4-B379-E7DAB131CBBC}"/>
              </a:ext>
            </a:extLst>
          </p:cNvPr>
          <p:cNvSpPr txBox="1"/>
          <p:nvPr/>
        </p:nvSpPr>
        <p:spPr>
          <a:xfrm>
            <a:off x="1253591" y="3392264"/>
            <a:ext cx="1407565" cy="184666"/>
          </a:xfrm>
          <a:prstGeom prst="rect">
            <a:avLst/>
          </a:prstGeom>
          <a:noFill/>
        </p:spPr>
        <p:txBody>
          <a:bodyPr wrap="none" lIns="0" tIns="0" rIns="0" bIns="0" rtlCol="0" anchor="ctr">
            <a:spAutoFit/>
          </a:bodyPr>
          <a:lstStyle/>
          <a:p>
            <a:pPr marL="0" marR="0" lvl="0" indent="0" algn="l" defTabSz="1219170" rtl="0" eaLnBrk="1" fontAlgn="auto" latinLnBrk="0" hangingPunct="1">
              <a:lnSpc>
                <a:spcPct val="100000"/>
              </a:lnSpc>
              <a:spcBef>
                <a:spcPts val="600"/>
              </a:spcBef>
              <a:spcAft>
                <a:spcPts val="0"/>
              </a:spcAft>
              <a:buClrTx/>
              <a:buSzPct val="100000"/>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Competitive Value</a:t>
            </a:r>
          </a:p>
        </p:txBody>
      </p:sp>
      <p:sp>
        <p:nvSpPr>
          <p:cNvPr id="28" name="Rectangle 27">
            <a:extLst>
              <a:ext uri="{FF2B5EF4-FFF2-40B4-BE49-F238E27FC236}">
                <a16:creationId xmlns:a16="http://schemas.microsoft.com/office/drawing/2014/main" id="{1432231E-769D-41BF-ABDC-43B020C0394D}"/>
              </a:ext>
            </a:extLst>
          </p:cNvPr>
          <p:cNvSpPr/>
          <p:nvPr/>
        </p:nvSpPr>
        <p:spPr bwMode="gray">
          <a:xfrm>
            <a:off x="6364853" y="5073970"/>
            <a:ext cx="1415247" cy="492722"/>
          </a:xfrm>
          <a:prstGeom prst="rect">
            <a:avLst/>
          </a:prstGeom>
          <a:noFill/>
          <a:ln w="19050" algn="ctr">
            <a:noFill/>
            <a:miter lim="800000"/>
            <a:headEnd/>
            <a:tailEnd/>
          </a:ln>
        </p:spPr>
        <p:txBody>
          <a:bodyPr wrap="square" lIns="88900" tIns="88900" rIns="88900" bIns="88900" rtlCol="0" anchor="t"/>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A single data source of truth</a:t>
            </a:r>
          </a:p>
        </p:txBody>
      </p:sp>
      <p:sp>
        <p:nvSpPr>
          <p:cNvPr id="29" name="Rectangle 28">
            <a:extLst>
              <a:ext uri="{FF2B5EF4-FFF2-40B4-BE49-F238E27FC236}">
                <a16:creationId xmlns:a16="http://schemas.microsoft.com/office/drawing/2014/main" id="{63C002B1-3B48-42EE-A216-2D403463A589}"/>
              </a:ext>
            </a:extLst>
          </p:cNvPr>
          <p:cNvSpPr/>
          <p:nvPr/>
        </p:nvSpPr>
        <p:spPr bwMode="gray">
          <a:xfrm>
            <a:off x="7856125" y="5073970"/>
            <a:ext cx="1801223" cy="269080"/>
          </a:xfrm>
          <a:prstGeom prst="rect">
            <a:avLst/>
          </a:prstGeom>
          <a:noFill/>
          <a:ln w="19050" algn="ctr">
            <a:noFill/>
            <a:miter lim="800000"/>
            <a:headEnd/>
            <a:tailEnd/>
          </a:ln>
        </p:spPr>
        <p:txBody>
          <a:bodyPr wrap="square" lIns="88900" tIns="88900" rIns="88900" bIns="88900" rtlCol="0" anchor="t"/>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Rapid, real-time insights</a:t>
            </a:r>
          </a:p>
        </p:txBody>
      </p:sp>
      <p:sp>
        <p:nvSpPr>
          <p:cNvPr id="30" name="Rectangle 29">
            <a:extLst>
              <a:ext uri="{FF2B5EF4-FFF2-40B4-BE49-F238E27FC236}">
                <a16:creationId xmlns:a16="http://schemas.microsoft.com/office/drawing/2014/main" id="{2B5486E8-35F2-4652-86A4-154643EE1602}"/>
              </a:ext>
            </a:extLst>
          </p:cNvPr>
          <p:cNvSpPr/>
          <p:nvPr/>
        </p:nvSpPr>
        <p:spPr bwMode="gray">
          <a:xfrm>
            <a:off x="9733374" y="5073970"/>
            <a:ext cx="1415247" cy="492722"/>
          </a:xfrm>
          <a:prstGeom prst="rect">
            <a:avLst/>
          </a:prstGeom>
          <a:noFill/>
          <a:ln w="19050" algn="ctr">
            <a:noFill/>
            <a:miter lim="800000"/>
            <a:headEnd/>
            <a:tailEnd/>
          </a:ln>
        </p:spPr>
        <p:txBody>
          <a:bodyPr wrap="square" lIns="88900" tIns="88900" rIns="88900" bIns="88900" rtlCol="0" anchor="t"/>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Scalability with Modern Technology</a:t>
            </a:r>
          </a:p>
        </p:txBody>
      </p:sp>
      <p:grpSp>
        <p:nvGrpSpPr>
          <p:cNvPr id="89" name="Group 88">
            <a:extLst>
              <a:ext uri="{FF2B5EF4-FFF2-40B4-BE49-F238E27FC236}">
                <a16:creationId xmlns:a16="http://schemas.microsoft.com/office/drawing/2014/main" id="{88E78682-BFE5-4606-874B-07C9A65EA83A}"/>
              </a:ext>
            </a:extLst>
          </p:cNvPr>
          <p:cNvGrpSpPr/>
          <p:nvPr/>
        </p:nvGrpSpPr>
        <p:grpSpPr>
          <a:xfrm>
            <a:off x="6738012" y="4265203"/>
            <a:ext cx="675579" cy="845074"/>
            <a:chOff x="6738012" y="4265203"/>
            <a:chExt cx="675579" cy="845074"/>
          </a:xfrm>
        </p:grpSpPr>
        <p:sp>
          <p:nvSpPr>
            <p:cNvPr id="19" name="Rounded Rectangle 129">
              <a:extLst>
                <a:ext uri="{FF2B5EF4-FFF2-40B4-BE49-F238E27FC236}">
                  <a16:creationId xmlns:a16="http://schemas.microsoft.com/office/drawing/2014/main" id="{1022AE2F-0F8B-4F90-A3EC-FD6BA6662A9A}"/>
                </a:ext>
              </a:extLst>
            </p:cNvPr>
            <p:cNvSpPr/>
            <p:nvPr/>
          </p:nvSpPr>
          <p:spPr bwMode="gray">
            <a:xfrm>
              <a:off x="6743033" y="4265203"/>
              <a:ext cx="665536" cy="221764"/>
            </a:xfrm>
            <a:prstGeom prst="roundRect">
              <a:avLst/>
            </a:prstGeom>
            <a:solidFill>
              <a:schemeClr val="accent1">
                <a:lumMod val="75000"/>
                <a:lumOff val="25000"/>
              </a:schemeClr>
            </a:solidFill>
            <a:ln w="19050" algn="ctr">
              <a:solidFill>
                <a:schemeClr val="accent1">
                  <a:lumMod val="75000"/>
                  <a:lumOff val="25000"/>
                </a:schemeClr>
              </a:solidFill>
              <a:miter lim="800000"/>
              <a:headEnd/>
              <a:tailEnd/>
            </a:ln>
          </p:spPr>
          <p:txBody>
            <a:bodyPr wrap="square" lIns="88900" tIns="4572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ea typeface="+mn-ea"/>
                  <a:cs typeface="+mn-cs"/>
                </a:rPr>
                <a:t>1</a:t>
              </a:r>
            </a:p>
          </p:txBody>
        </p:sp>
        <p:sp>
          <p:nvSpPr>
            <p:cNvPr id="20" name="Pentagon 130">
              <a:extLst>
                <a:ext uri="{FF2B5EF4-FFF2-40B4-BE49-F238E27FC236}">
                  <a16:creationId xmlns:a16="http://schemas.microsoft.com/office/drawing/2014/main" id="{DD8365B5-F874-4238-BDC0-A17686B5EFE5}"/>
                </a:ext>
              </a:extLst>
            </p:cNvPr>
            <p:cNvSpPr/>
            <p:nvPr/>
          </p:nvSpPr>
          <p:spPr bwMode="gray">
            <a:xfrm rot="5400000">
              <a:off x="6781193" y="4395475"/>
              <a:ext cx="589217" cy="675579"/>
            </a:xfrm>
            <a:prstGeom prst="homePlate">
              <a:avLst/>
            </a:prstGeom>
            <a:solidFill>
              <a:schemeClr val="bg1">
                <a:lumMod val="85000"/>
              </a:schemeClr>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mn-cs"/>
              </a:endParaRPr>
            </a:p>
          </p:txBody>
        </p:sp>
        <p:sp>
          <p:nvSpPr>
            <p:cNvPr id="21" name="Oval 20">
              <a:extLst>
                <a:ext uri="{FF2B5EF4-FFF2-40B4-BE49-F238E27FC236}">
                  <a16:creationId xmlns:a16="http://schemas.microsoft.com/office/drawing/2014/main" id="{EA676272-7B60-401E-8B9C-DFF198BABDB7}"/>
                </a:ext>
              </a:extLst>
            </p:cNvPr>
            <p:cNvSpPr/>
            <p:nvPr/>
          </p:nvSpPr>
          <p:spPr bwMode="gray">
            <a:xfrm>
              <a:off x="7020203" y="5006572"/>
              <a:ext cx="111196" cy="103705"/>
            </a:xfrm>
            <a:prstGeom prst="ellipse">
              <a:avLst/>
            </a:prstGeom>
            <a:solidFill>
              <a:schemeClr val="accent1">
                <a:lumMod val="75000"/>
                <a:lumOff val="25000"/>
              </a:schemeClr>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mn-cs"/>
              </a:endParaRPr>
            </a:p>
          </p:txBody>
        </p:sp>
        <p:pic>
          <p:nvPicPr>
            <p:cNvPr id="32" name="Graphic 31" descr="Database">
              <a:extLst>
                <a:ext uri="{FF2B5EF4-FFF2-40B4-BE49-F238E27FC236}">
                  <a16:creationId xmlns:a16="http://schemas.microsoft.com/office/drawing/2014/main" id="{023618AD-BAAD-40A0-AB42-8EB5B74228D2}"/>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823162" y="4444941"/>
              <a:ext cx="505278" cy="471239"/>
            </a:xfrm>
            <a:prstGeom prst="rect">
              <a:avLst/>
            </a:prstGeom>
          </p:spPr>
        </p:pic>
      </p:grpSp>
      <p:grpSp>
        <p:nvGrpSpPr>
          <p:cNvPr id="34" name="Group 33">
            <a:extLst>
              <a:ext uri="{FF2B5EF4-FFF2-40B4-BE49-F238E27FC236}">
                <a16:creationId xmlns:a16="http://schemas.microsoft.com/office/drawing/2014/main" id="{CF3A8BD5-0988-43BC-A181-00506EBBC674}"/>
              </a:ext>
            </a:extLst>
          </p:cNvPr>
          <p:cNvGrpSpPr/>
          <p:nvPr/>
        </p:nvGrpSpPr>
        <p:grpSpPr>
          <a:xfrm>
            <a:off x="7283009" y="2139537"/>
            <a:ext cx="1052663" cy="856478"/>
            <a:chOff x="9685338" y="6456365"/>
            <a:chExt cx="561975" cy="547685"/>
          </a:xfrm>
          <a:solidFill>
            <a:schemeClr val="accent3"/>
          </a:solidFill>
        </p:grpSpPr>
        <p:sp>
          <p:nvSpPr>
            <p:cNvPr id="69" name="Oval 479">
              <a:extLst>
                <a:ext uri="{FF2B5EF4-FFF2-40B4-BE49-F238E27FC236}">
                  <a16:creationId xmlns:a16="http://schemas.microsoft.com/office/drawing/2014/main" id="{E1F16EBC-AC63-4217-9731-8459CF74C134}"/>
                </a:ext>
              </a:extLst>
            </p:cNvPr>
            <p:cNvSpPr>
              <a:spLocks noChangeArrowheads="1"/>
            </p:cNvSpPr>
            <p:nvPr/>
          </p:nvSpPr>
          <p:spPr bwMode="auto">
            <a:xfrm>
              <a:off x="9785350" y="6754814"/>
              <a:ext cx="33337" cy="33337"/>
            </a:xfrm>
            <a:prstGeom prst="ellipse">
              <a:avLst/>
            </a:prstGeom>
            <a:grpFill/>
            <a:ln w="9525">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ea typeface="+mn-ea"/>
                <a:cs typeface="+mn-cs"/>
              </a:endParaRPr>
            </a:p>
          </p:txBody>
        </p:sp>
        <p:sp>
          <p:nvSpPr>
            <p:cNvPr id="70" name="Freeform 480">
              <a:extLst>
                <a:ext uri="{FF2B5EF4-FFF2-40B4-BE49-F238E27FC236}">
                  <a16:creationId xmlns:a16="http://schemas.microsoft.com/office/drawing/2014/main" id="{A92235EC-4081-4CC6-B3FB-1CFF846534F6}"/>
                </a:ext>
              </a:extLst>
            </p:cNvPr>
            <p:cNvSpPr>
              <a:spLocks noEditPoints="1"/>
            </p:cNvSpPr>
            <p:nvPr/>
          </p:nvSpPr>
          <p:spPr bwMode="auto">
            <a:xfrm>
              <a:off x="9893300" y="6456365"/>
              <a:ext cx="220662" cy="220662"/>
            </a:xfrm>
            <a:custGeom>
              <a:avLst/>
              <a:gdLst>
                <a:gd name="T0" fmla="*/ 47 w 93"/>
                <a:gd name="T1" fmla="*/ 93 h 93"/>
                <a:gd name="T2" fmla="*/ 93 w 93"/>
                <a:gd name="T3" fmla="*/ 47 h 93"/>
                <a:gd name="T4" fmla="*/ 47 w 93"/>
                <a:gd name="T5" fmla="*/ 0 h 93"/>
                <a:gd name="T6" fmla="*/ 0 w 93"/>
                <a:gd name="T7" fmla="*/ 47 h 93"/>
                <a:gd name="T8" fmla="*/ 47 w 93"/>
                <a:gd name="T9" fmla="*/ 93 h 93"/>
                <a:gd name="T10" fmla="*/ 47 w 93"/>
                <a:gd name="T11" fmla="*/ 10 h 93"/>
                <a:gd name="T12" fmla="*/ 83 w 93"/>
                <a:gd name="T13" fmla="*/ 47 h 93"/>
                <a:gd name="T14" fmla="*/ 47 w 93"/>
                <a:gd name="T15" fmla="*/ 83 h 93"/>
                <a:gd name="T16" fmla="*/ 10 w 93"/>
                <a:gd name="T17" fmla="*/ 47 h 93"/>
                <a:gd name="T18" fmla="*/ 47 w 93"/>
                <a:gd name="T19" fmla="*/ 1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3">
                  <a:moveTo>
                    <a:pt x="47" y="93"/>
                  </a:moveTo>
                  <a:cubicBezTo>
                    <a:pt x="72" y="93"/>
                    <a:pt x="93" y="72"/>
                    <a:pt x="93" y="47"/>
                  </a:cubicBezTo>
                  <a:cubicBezTo>
                    <a:pt x="93" y="21"/>
                    <a:pt x="72" y="0"/>
                    <a:pt x="47" y="0"/>
                  </a:cubicBezTo>
                  <a:cubicBezTo>
                    <a:pt x="21" y="0"/>
                    <a:pt x="0" y="21"/>
                    <a:pt x="0" y="47"/>
                  </a:cubicBezTo>
                  <a:cubicBezTo>
                    <a:pt x="0" y="72"/>
                    <a:pt x="21" y="93"/>
                    <a:pt x="47" y="93"/>
                  </a:cubicBezTo>
                  <a:close/>
                  <a:moveTo>
                    <a:pt x="47" y="10"/>
                  </a:moveTo>
                  <a:cubicBezTo>
                    <a:pt x="67" y="10"/>
                    <a:pt x="83" y="26"/>
                    <a:pt x="83" y="47"/>
                  </a:cubicBezTo>
                  <a:cubicBezTo>
                    <a:pt x="83" y="67"/>
                    <a:pt x="67" y="83"/>
                    <a:pt x="47" y="83"/>
                  </a:cubicBezTo>
                  <a:cubicBezTo>
                    <a:pt x="26" y="83"/>
                    <a:pt x="10" y="67"/>
                    <a:pt x="10" y="47"/>
                  </a:cubicBezTo>
                  <a:cubicBezTo>
                    <a:pt x="10" y="26"/>
                    <a:pt x="26" y="10"/>
                    <a:pt x="47" y="10"/>
                  </a:cubicBezTo>
                  <a:close/>
                </a:path>
              </a:pathLst>
            </a:custGeom>
            <a:grpFill/>
            <a:ln w="9525">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ea typeface="+mn-ea"/>
                <a:cs typeface="+mn-cs"/>
              </a:endParaRPr>
            </a:p>
          </p:txBody>
        </p:sp>
        <p:sp>
          <p:nvSpPr>
            <p:cNvPr id="71" name="Freeform 481">
              <a:extLst>
                <a:ext uri="{FF2B5EF4-FFF2-40B4-BE49-F238E27FC236}">
                  <a16:creationId xmlns:a16="http://schemas.microsoft.com/office/drawing/2014/main" id="{2C991608-7F85-43DF-BC26-175A4167A35D}"/>
                </a:ext>
              </a:extLst>
            </p:cNvPr>
            <p:cNvSpPr>
              <a:spLocks noEditPoints="1"/>
            </p:cNvSpPr>
            <p:nvPr/>
          </p:nvSpPr>
          <p:spPr bwMode="auto">
            <a:xfrm>
              <a:off x="9964738" y="6503990"/>
              <a:ext cx="77787" cy="128587"/>
            </a:xfrm>
            <a:custGeom>
              <a:avLst/>
              <a:gdLst>
                <a:gd name="T0" fmla="*/ 1 w 33"/>
                <a:gd name="T1" fmla="*/ 43 h 54"/>
                <a:gd name="T2" fmla="*/ 14 w 33"/>
                <a:gd name="T3" fmla="*/ 48 h 54"/>
                <a:gd name="T4" fmla="*/ 14 w 33"/>
                <a:gd name="T5" fmla="*/ 51 h 54"/>
                <a:gd name="T6" fmla="*/ 17 w 33"/>
                <a:gd name="T7" fmla="*/ 54 h 54"/>
                <a:gd name="T8" fmla="*/ 21 w 33"/>
                <a:gd name="T9" fmla="*/ 51 h 54"/>
                <a:gd name="T10" fmla="*/ 21 w 33"/>
                <a:gd name="T11" fmla="*/ 48 h 54"/>
                <a:gd name="T12" fmla="*/ 33 w 33"/>
                <a:gd name="T13" fmla="*/ 35 h 54"/>
                <a:gd name="T14" fmla="*/ 20 w 33"/>
                <a:gd name="T15" fmla="*/ 23 h 54"/>
                <a:gd name="T16" fmla="*/ 20 w 33"/>
                <a:gd name="T17" fmla="*/ 12 h 54"/>
                <a:gd name="T18" fmla="*/ 26 w 33"/>
                <a:gd name="T19" fmla="*/ 14 h 54"/>
                <a:gd name="T20" fmla="*/ 28 w 33"/>
                <a:gd name="T21" fmla="*/ 15 h 54"/>
                <a:gd name="T22" fmla="*/ 32 w 33"/>
                <a:gd name="T23" fmla="*/ 11 h 54"/>
                <a:gd name="T24" fmla="*/ 30 w 33"/>
                <a:gd name="T25" fmla="*/ 8 h 54"/>
                <a:gd name="T26" fmla="*/ 21 w 33"/>
                <a:gd name="T27" fmla="*/ 4 h 54"/>
                <a:gd name="T28" fmla="*/ 21 w 33"/>
                <a:gd name="T29" fmla="*/ 4 h 54"/>
                <a:gd name="T30" fmla="*/ 17 w 33"/>
                <a:gd name="T31" fmla="*/ 0 h 54"/>
                <a:gd name="T32" fmla="*/ 14 w 33"/>
                <a:gd name="T33" fmla="*/ 4 h 54"/>
                <a:gd name="T34" fmla="*/ 14 w 33"/>
                <a:gd name="T35" fmla="*/ 4 h 54"/>
                <a:gd name="T36" fmla="*/ 1 w 33"/>
                <a:gd name="T37" fmla="*/ 16 h 54"/>
                <a:gd name="T38" fmla="*/ 14 w 33"/>
                <a:gd name="T39" fmla="*/ 29 h 54"/>
                <a:gd name="T40" fmla="*/ 14 w 33"/>
                <a:gd name="T41" fmla="*/ 41 h 54"/>
                <a:gd name="T42" fmla="*/ 6 w 33"/>
                <a:gd name="T43" fmla="*/ 36 h 54"/>
                <a:gd name="T44" fmla="*/ 4 w 33"/>
                <a:gd name="T45" fmla="*/ 36 h 54"/>
                <a:gd name="T46" fmla="*/ 0 w 33"/>
                <a:gd name="T47" fmla="*/ 39 h 54"/>
                <a:gd name="T48" fmla="*/ 1 w 33"/>
                <a:gd name="T49" fmla="*/ 43 h 54"/>
                <a:gd name="T50" fmla="*/ 9 w 33"/>
                <a:gd name="T51" fmla="*/ 16 h 54"/>
                <a:gd name="T52" fmla="*/ 14 w 33"/>
                <a:gd name="T53" fmla="*/ 11 h 54"/>
                <a:gd name="T54" fmla="*/ 14 w 33"/>
                <a:gd name="T55" fmla="*/ 21 h 54"/>
                <a:gd name="T56" fmla="*/ 9 w 33"/>
                <a:gd name="T57" fmla="*/ 16 h 54"/>
                <a:gd name="T58" fmla="*/ 20 w 33"/>
                <a:gd name="T59" fmla="*/ 41 h 54"/>
                <a:gd name="T60" fmla="*/ 20 w 33"/>
                <a:gd name="T61" fmla="*/ 31 h 54"/>
                <a:gd name="T62" fmla="*/ 25 w 33"/>
                <a:gd name="T63" fmla="*/ 36 h 54"/>
                <a:gd name="T64" fmla="*/ 20 w 33"/>
                <a:gd name="T65"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 h="54">
                  <a:moveTo>
                    <a:pt x="1" y="43"/>
                  </a:moveTo>
                  <a:cubicBezTo>
                    <a:pt x="5" y="46"/>
                    <a:pt x="9" y="47"/>
                    <a:pt x="14" y="48"/>
                  </a:cubicBezTo>
                  <a:cubicBezTo>
                    <a:pt x="14" y="51"/>
                    <a:pt x="14" y="51"/>
                    <a:pt x="14" y="51"/>
                  </a:cubicBezTo>
                  <a:cubicBezTo>
                    <a:pt x="14" y="53"/>
                    <a:pt x="15" y="54"/>
                    <a:pt x="17" y="54"/>
                  </a:cubicBezTo>
                  <a:cubicBezTo>
                    <a:pt x="19" y="54"/>
                    <a:pt x="21" y="53"/>
                    <a:pt x="21" y="51"/>
                  </a:cubicBezTo>
                  <a:cubicBezTo>
                    <a:pt x="21" y="48"/>
                    <a:pt x="21" y="48"/>
                    <a:pt x="21" y="48"/>
                  </a:cubicBezTo>
                  <a:cubicBezTo>
                    <a:pt x="28" y="47"/>
                    <a:pt x="33" y="42"/>
                    <a:pt x="33" y="35"/>
                  </a:cubicBezTo>
                  <a:cubicBezTo>
                    <a:pt x="33" y="29"/>
                    <a:pt x="29" y="25"/>
                    <a:pt x="20" y="23"/>
                  </a:cubicBezTo>
                  <a:cubicBezTo>
                    <a:pt x="20" y="12"/>
                    <a:pt x="20" y="12"/>
                    <a:pt x="20" y="12"/>
                  </a:cubicBezTo>
                  <a:cubicBezTo>
                    <a:pt x="22" y="12"/>
                    <a:pt x="24" y="13"/>
                    <a:pt x="26" y="14"/>
                  </a:cubicBezTo>
                  <a:cubicBezTo>
                    <a:pt x="26" y="15"/>
                    <a:pt x="27" y="15"/>
                    <a:pt x="28" y="15"/>
                  </a:cubicBezTo>
                  <a:cubicBezTo>
                    <a:pt x="30" y="15"/>
                    <a:pt x="32" y="13"/>
                    <a:pt x="32" y="11"/>
                  </a:cubicBezTo>
                  <a:cubicBezTo>
                    <a:pt x="32" y="9"/>
                    <a:pt x="30" y="8"/>
                    <a:pt x="30" y="8"/>
                  </a:cubicBezTo>
                  <a:cubicBezTo>
                    <a:pt x="27" y="6"/>
                    <a:pt x="24" y="5"/>
                    <a:pt x="21" y="4"/>
                  </a:cubicBezTo>
                  <a:cubicBezTo>
                    <a:pt x="21" y="4"/>
                    <a:pt x="21" y="4"/>
                    <a:pt x="21" y="4"/>
                  </a:cubicBezTo>
                  <a:cubicBezTo>
                    <a:pt x="21" y="2"/>
                    <a:pt x="19" y="0"/>
                    <a:pt x="17" y="0"/>
                  </a:cubicBezTo>
                  <a:cubicBezTo>
                    <a:pt x="15" y="0"/>
                    <a:pt x="14" y="2"/>
                    <a:pt x="14" y="4"/>
                  </a:cubicBezTo>
                  <a:cubicBezTo>
                    <a:pt x="14" y="4"/>
                    <a:pt x="14" y="4"/>
                    <a:pt x="14" y="4"/>
                  </a:cubicBezTo>
                  <a:cubicBezTo>
                    <a:pt x="6" y="5"/>
                    <a:pt x="1" y="10"/>
                    <a:pt x="1" y="16"/>
                  </a:cubicBezTo>
                  <a:cubicBezTo>
                    <a:pt x="1" y="24"/>
                    <a:pt x="7" y="27"/>
                    <a:pt x="14" y="29"/>
                  </a:cubicBezTo>
                  <a:cubicBezTo>
                    <a:pt x="14" y="41"/>
                    <a:pt x="14" y="41"/>
                    <a:pt x="14" y="41"/>
                  </a:cubicBezTo>
                  <a:cubicBezTo>
                    <a:pt x="11" y="40"/>
                    <a:pt x="9" y="39"/>
                    <a:pt x="6" y="36"/>
                  </a:cubicBezTo>
                  <a:cubicBezTo>
                    <a:pt x="6" y="36"/>
                    <a:pt x="5" y="36"/>
                    <a:pt x="4" y="36"/>
                  </a:cubicBezTo>
                  <a:cubicBezTo>
                    <a:pt x="1" y="36"/>
                    <a:pt x="0" y="37"/>
                    <a:pt x="0" y="39"/>
                  </a:cubicBezTo>
                  <a:cubicBezTo>
                    <a:pt x="0" y="40"/>
                    <a:pt x="0" y="42"/>
                    <a:pt x="1" y="43"/>
                  </a:cubicBezTo>
                  <a:close/>
                  <a:moveTo>
                    <a:pt x="9" y="16"/>
                  </a:moveTo>
                  <a:cubicBezTo>
                    <a:pt x="9" y="14"/>
                    <a:pt x="11" y="12"/>
                    <a:pt x="14" y="11"/>
                  </a:cubicBezTo>
                  <a:cubicBezTo>
                    <a:pt x="14" y="21"/>
                    <a:pt x="14" y="21"/>
                    <a:pt x="14" y="21"/>
                  </a:cubicBezTo>
                  <a:cubicBezTo>
                    <a:pt x="9" y="19"/>
                    <a:pt x="9" y="18"/>
                    <a:pt x="9" y="16"/>
                  </a:cubicBezTo>
                  <a:close/>
                  <a:moveTo>
                    <a:pt x="20" y="41"/>
                  </a:moveTo>
                  <a:cubicBezTo>
                    <a:pt x="20" y="31"/>
                    <a:pt x="20" y="31"/>
                    <a:pt x="20" y="31"/>
                  </a:cubicBezTo>
                  <a:cubicBezTo>
                    <a:pt x="25" y="32"/>
                    <a:pt x="25" y="34"/>
                    <a:pt x="25" y="36"/>
                  </a:cubicBezTo>
                  <a:cubicBezTo>
                    <a:pt x="25" y="38"/>
                    <a:pt x="23" y="40"/>
                    <a:pt x="20" y="41"/>
                  </a:cubicBezTo>
                  <a:close/>
                </a:path>
              </a:pathLst>
            </a:custGeom>
            <a:grpFill/>
            <a:ln w="9525">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ea typeface="+mn-ea"/>
                <a:cs typeface="+mn-cs"/>
              </a:endParaRPr>
            </a:p>
          </p:txBody>
        </p:sp>
        <p:sp>
          <p:nvSpPr>
            <p:cNvPr id="72" name="Freeform 482">
              <a:extLst>
                <a:ext uri="{FF2B5EF4-FFF2-40B4-BE49-F238E27FC236}">
                  <a16:creationId xmlns:a16="http://schemas.microsoft.com/office/drawing/2014/main" id="{E352491B-746D-45EA-9AF6-06E2975F8DC3}"/>
                </a:ext>
              </a:extLst>
            </p:cNvPr>
            <p:cNvSpPr>
              <a:spLocks noEditPoints="1"/>
            </p:cNvSpPr>
            <p:nvPr/>
          </p:nvSpPr>
          <p:spPr bwMode="auto">
            <a:xfrm>
              <a:off x="9685338" y="6619875"/>
              <a:ext cx="561975" cy="384175"/>
            </a:xfrm>
            <a:custGeom>
              <a:avLst/>
              <a:gdLst>
                <a:gd name="T0" fmla="*/ 227 w 237"/>
                <a:gd name="T1" fmla="*/ 39 h 162"/>
                <a:gd name="T2" fmla="*/ 220 w 237"/>
                <a:gd name="T3" fmla="*/ 33 h 162"/>
                <a:gd name="T4" fmla="*/ 195 w 237"/>
                <a:gd name="T5" fmla="*/ 21 h 162"/>
                <a:gd name="T6" fmla="*/ 201 w 237"/>
                <a:gd name="T7" fmla="*/ 52 h 162"/>
                <a:gd name="T8" fmla="*/ 168 w 237"/>
                <a:gd name="T9" fmla="*/ 23 h 162"/>
                <a:gd name="T10" fmla="*/ 163 w 237"/>
                <a:gd name="T11" fmla="*/ 31 h 162"/>
                <a:gd name="T12" fmla="*/ 188 w 237"/>
                <a:gd name="T13" fmla="*/ 80 h 162"/>
                <a:gd name="T14" fmla="*/ 181 w 237"/>
                <a:gd name="T15" fmla="*/ 104 h 162"/>
                <a:gd name="T16" fmla="*/ 185 w 237"/>
                <a:gd name="T17" fmla="*/ 147 h 162"/>
                <a:gd name="T18" fmla="*/ 168 w 237"/>
                <a:gd name="T19" fmla="*/ 152 h 162"/>
                <a:gd name="T20" fmla="*/ 163 w 237"/>
                <a:gd name="T21" fmla="*/ 146 h 162"/>
                <a:gd name="T22" fmla="*/ 158 w 237"/>
                <a:gd name="T23" fmla="*/ 131 h 162"/>
                <a:gd name="T24" fmla="*/ 103 w 237"/>
                <a:gd name="T25" fmla="*/ 131 h 162"/>
                <a:gd name="T26" fmla="*/ 95 w 237"/>
                <a:gd name="T27" fmla="*/ 134 h 162"/>
                <a:gd name="T28" fmla="*/ 94 w 237"/>
                <a:gd name="T29" fmla="*/ 147 h 162"/>
                <a:gd name="T30" fmla="*/ 77 w 237"/>
                <a:gd name="T31" fmla="*/ 152 h 162"/>
                <a:gd name="T32" fmla="*/ 76 w 237"/>
                <a:gd name="T33" fmla="*/ 121 h 162"/>
                <a:gd name="T34" fmla="*/ 71 w 237"/>
                <a:gd name="T35" fmla="*/ 116 h 162"/>
                <a:gd name="T36" fmla="*/ 30 w 237"/>
                <a:gd name="T37" fmla="*/ 101 h 162"/>
                <a:gd name="T38" fmla="*/ 13 w 237"/>
                <a:gd name="T39" fmla="*/ 96 h 162"/>
                <a:gd name="T40" fmla="*/ 10 w 237"/>
                <a:gd name="T41" fmla="*/ 75 h 162"/>
                <a:gd name="T42" fmla="*/ 23 w 237"/>
                <a:gd name="T43" fmla="*/ 69 h 162"/>
                <a:gd name="T44" fmla="*/ 56 w 237"/>
                <a:gd name="T45" fmla="*/ 41 h 162"/>
                <a:gd name="T46" fmla="*/ 59 w 237"/>
                <a:gd name="T47" fmla="*/ 34 h 162"/>
                <a:gd name="T48" fmla="*/ 47 w 237"/>
                <a:gd name="T49" fmla="*/ 10 h 162"/>
                <a:gd name="T50" fmla="*/ 79 w 237"/>
                <a:gd name="T51" fmla="*/ 35 h 162"/>
                <a:gd name="T52" fmla="*/ 87 w 237"/>
                <a:gd name="T53" fmla="*/ 37 h 162"/>
                <a:gd name="T54" fmla="*/ 102 w 237"/>
                <a:gd name="T55" fmla="*/ 21 h 162"/>
                <a:gd name="T56" fmla="*/ 85 w 237"/>
                <a:gd name="T57" fmla="*/ 25 h 162"/>
                <a:gd name="T58" fmla="*/ 46 w 237"/>
                <a:gd name="T59" fmla="*/ 0 h 162"/>
                <a:gd name="T60" fmla="*/ 38 w 237"/>
                <a:gd name="T61" fmla="*/ 13 h 162"/>
                <a:gd name="T62" fmla="*/ 18 w 237"/>
                <a:gd name="T63" fmla="*/ 61 h 162"/>
                <a:gd name="T64" fmla="*/ 0 w 237"/>
                <a:gd name="T65" fmla="*/ 75 h 162"/>
                <a:gd name="T66" fmla="*/ 3 w 237"/>
                <a:gd name="T67" fmla="*/ 96 h 162"/>
                <a:gd name="T68" fmla="*/ 26 w 237"/>
                <a:gd name="T69" fmla="*/ 109 h 162"/>
                <a:gd name="T70" fmla="*/ 62 w 237"/>
                <a:gd name="T71" fmla="*/ 146 h 162"/>
                <a:gd name="T72" fmla="*/ 77 w 237"/>
                <a:gd name="T73" fmla="*/ 162 h 162"/>
                <a:gd name="T74" fmla="*/ 104 w 237"/>
                <a:gd name="T75" fmla="*/ 147 h 162"/>
                <a:gd name="T76" fmla="*/ 152 w 237"/>
                <a:gd name="T77" fmla="*/ 142 h 162"/>
                <a:gd name="T78" fmla="*/ 168 w 237"/>
                <a:gd name="T79" fmla="*/ 162 h 162"/>
                <a:gd name="T80" fmla="*/ 195 w 237"/>
                <a:gd name="T81" fmla="*/ 147 h 162"/>
                <a:gd name="T82" fmla="*/ 190 w 237"/>
                <a:gd name="T83" fmla="*/ 107 h 162"/>
                <a:gd name="T84" fmla="*/ 197 w 237"/>
                <a:gd name="T85" fmla="*/ 81 h 162"/>
                <a:gd name="T86" fmla="*/ 197 w 237"/>
                <a:gd name="T87" fmla="*/ 78 h 162"/>
                <a:gd name="T88" fmla="*/ 211 w 237"/>
                <a:gd name="T89" fmla="*/ 56 h 162"/>
                <a:gd name="T90" fmla="*/ 233 w 237"/>
                <a:gd name="T91" fmla="*/ 37 h 162"/>
                <a:gd name="T92" fmla="*/ 204 w 237"/>
                <a:gd name="T93" fmla="*/ 37 h 162"/>
                <a:gd name="T94" fmla="*/ 203 w 237"/>
                <a:gd name="T95" fmla="*/ 27 h 162"/>
                <a:gd name="T96" fmla="*/ 211 w 237"/>
                <a:gd name="T97" fmla="*/ 35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7" h="162">
                  <a:moveTo>
                    <a:pt x="233" y="37"/>
                  </a:moveTo>
                  <a:cubicBezTo>
                    <a:pt x="231" y="35"/>
                    <a:pt x="228" y="36"/>
                    <a:pt x="227" y="39"/>
                  </a:cubicBezTo>
                  <a:cubicBezTo>
                    <a:pt x="226" y="41"/>
                    <a:pt x="222" y="44"/>
                    <a:pt x="219" y="46"/>
                  </a:cubicBezTo>
                  <a:cubicBezTo>
                    <a:pt x="221" y="41"/>
                    <a:pt x="221" y="37"/>
                    <a:pt x="220" y="33"/>
                  </a:cubicBezTo>
                  <a:cubicBezTo>
                    <a:pt x="218" y="26"/>
                    <a:pt x="213" y="20"/>
                    <a:pt x="206" y="18"/>
                  </a:cubicBezTo>
                  <a:cubicBezTo>
                    <a:pt x="202" y="17"/>
                    <a:pt x="198" y="18"/>
                    <a:pt x="195" y="21"/>
                  </a:cubicBezTo>
                  <a:cubicBezTo>
                    <a:pt x="193" y="24"/>
                    <a:pt x="191" y="30"/>
                    <a:pt x="194" y="40"/>
                  </a:cubicBezTo>
                  <a:cubicBezTo>
                    <a:pt x="196" y="45"/>
                    <a:pt x="198" y="49"/>
                    <a:pt x="201" y="52"/>
                  </a:cubicBezTo>
                  <a:cubicBezTo>
                    <a:pt x="199" y="54"/>
                    <a:pt x="196" y="56"/>
                    <a:pt x="194" y="57"/>
                  </a:cubicBezTo>
                  <a:cubicBezTo>
                    <a:pt x="189" y="44"/>
                    <a:pt x="181" y="32"/>
                    <a:pt x="168" y="23"/>
                  </a:cubicBezTo>
                  <a:cubicBezTo>
                    <a:pt x="166" y="22"/>
                    <a:pt x="163" y="22"/>
                    <a:pt x="162" y="25"/>
                  </a:cubicBezTo>
                  <a:cubicBezTo>
                    <a:pt x="160" y="27"/>
                    <a:pt x="161" y="30"/>
                    <a:pt x="163" y="31"/>
                  </a:cubicBezTo>
                  <a:cubicBezTo>
                    <a:pt x="178" y="42"/>
                    <a:pt x="188" y="59"/>
                    <a:pt x="188" y="78"/>
                  </a:cubicBezTo>
                  <a:cubicBezTo>
                    <a:pt x="188" y="79"/>
                    <a:pt x="188" y="79"/>
                    <a:pt x="188" y="80"/>
                  </a:cubicBezTo>
                  <a:cubicBezTo>
                    <a:pt x="187" y="86"/>
                    <a:pt x="187" y="86"/>
                    <a:pt x="187" y="86"/>
                  </a:cubicBezTo>
                  <a:cubicBezTo>
                    <a:pt x="186" y="92"/>
                    <a:pt x="184" y="99"/>
                    <a:pt x="181" y="104"/>
                  </a:cubicBezTo>
                  <a:cubicBezTo>
                    <a:pt x="181" y="105"/>
                    <a:pt x="180" y="106"/>
                    <a:pt x="181" y="107"/>
                  </a:cubicBezTo>
                  <a:cubicBezTo>
                    <a:pt x="185" y="147"/>
                    <a:pt x="185" y="147"/>
                    <a:pt x="185" y="147"/>
                  </a:cubicBezTo>
                  <a:cubicBezTo>
                    <a:pt x="185" y="149"/>
                    <a:pt x="179" y="152"/>
                    <a:pt x="175" y="152"/>
                  </a:cubicBezTo>
                  <a:cubicBezTo>
                    <a:pt x="168" y="152"/>
                    <a:pt x="168" y="152"/>
                    <a:pt x="168" y="152"/>
                  </a:cubicBezTo>
                  <a:cubicBezTo>
                    <a:pt x="165" y="152"/>
                    <a:pt x="163" y="150"/>
                    <a:pt x="163" y="147"/>
                  </a:cubicBezTo>
                  <a:cubicBezTo>
                    <a:pt x="163" y="147"/>
                    <a:pt x="163" y="146"/>
                    <a:pt x="163" y="146"/>
                  </a:cubicBezTo>
                  <a:cubicBezTo>
                    <a:pt x="161" y="134"/>
                    <a:pt x="161" y="134"/>
                    <a:pt x="161" y="134"/>
                  </a:cubicBezTo>
                  <a:cubicBezTo>
                    <a:pt x="161" y="133"/>
                    <a:pt x="160" y="131"/>
                    <a:pt x="158" y="131"/>
                  </a:cubicBezTo>
                  <a:cubicBezTo>
                    <a:pt x="157" y="130"/>
                    <a:pt x="155" y="130"/>
                    <a:pt x="154" y="131"/>
                  </a:cubicBezTo>
                  <a:cubicBezTo>
                    <a:pt x="143" y="137"/>
                    <a:pt x="114" y="137"/>
                    <a:pt x="103" y="131"/>
                  </a:cubicBezTo>
                  <a:cubicBezTo>
                    <a:pt x="101" y="130"/>
                    <a:pt x="100" y="130"/>
                    <a:pt x="98" y="130"/>
                  </a:cubicBezTo>
                  <a:cubicBezTo>
                    <a:pt x="97" y="131"/>
                    <a:pt x="96" y="133"/>
                    <a:pt x="95" y="134"/>
                  </a:cubicBezTo>
                  <a:cubicBezTo>
                    <a:pt x="94" y="146"/>
                    <a:pt x="94" y="146"/>
                    <a:pt x="94" y="146"/>
                  </a:cubicBezTo>
                  <a:cubicBezTo>
                    <a:pt x="94" y="147"/>
                    <a:pt x="94" y="147"/>
                    <a:pt x="94" y="147"/>
                  </a:cubicBezTo>
                  <a:cubicBezTo>
                    <a:pt x="94" y="150"/>
                    <a:pt x="92" y="152"/>
                    <a:pt x="89" y="152"/>
                  </a:cubicBezTo>
                  <a:cubicBezTo>
                    <a:pt x="77" y="152"/>
                    <a:pt x="77" y="152"/>
                    <a:pt x="77" y="152"/>
                  </a:cubicBezTo>
                  <a:cubicBezTo>
                    <a:pt x="74" y="152"/>
                    <a:pt x="72" y="150"/>
                    <a:pt x="72" y="147"/>
                  </a:cubicBezTo>
                  <a:cubicBezTo>
                    <a:pt x="76" y="121"/>
                    <a:pt x="76" y="121"/>
                    <a:pt x="76" y="121"/>
                  </a:cubicBezTo>
                  <a:cubicBezTo>
                    <a:pt x="76" y="120"/>
                    <a:pt x="76" y="118"/>
                    <a:pt x="75" y="117"/>
                  </a:cubicBezTo>
                  <a:cubicBezTo>
                    <a:pt x="74" y="116"/>
                    <a:pt x="72" y="115"/>
                    <a:pt x="71" y="116"/>
                  </a:cubicBezTo>
                  <a:cubicBezTo>
                    <a:pt x="56" y="118"/>
                    <a:pt x="42" y="113"/>
                    <a:pt x="32" y="102"/>
                  </a:cubicBezTo>
                  <a:cubicBezTo>
                    <a:pt x="32" y="101"/>
                    <a:pt x="31" y="101"/>
                    <a:pt x="30" y="101"/>
                  </a:cubicBezTo>
                  <a:cubicBezTo>
                    <a:pt x="15" y="97"/>
                    <a:pt x="15" y="97"/>
                    <a:pt x="15" y="97"/>
                  </a:cubicBezTo>
                  <a:cubicBezTo>
                    <a:pt x="14" y="96"/>
                    <a:pt x="13" y="96"/>
                    <a:pt x="13" y="96"/>
                  </a:cubicBezTo>
                  <a:cubicBezTo>
                    <a:pt x="13" y="95"/>
                    <a:pt x="13" y="95"/>
                    <a:pt x="13" y="95"/>
                  </a:cubicBezTo>
                  <a:cubicBezTo>
                    <a:pt x="10" y="75"/>
                    <a:pt x="10" y="75"/>
                    <a:pt x="10" y="75"/>
                  </a:cubicBezTo>
                  <a:cubicBezTo>
                    <a:pt x="10" y="74"/>
                    <a:pt x="11" y="74"/>
                    <a:pt x="13" y="73"/>
                  </a:cubicBezTo>
                  <a:cubicBezTo>
                    <a:pt x="23" y="69"/>
                    <a:pt x="23" y="69"/>
                    <a:pt x="23" y="69"/>
                  </a:cubicBezTo>
                  <a:cubicBezTo>
                    <a:pt x="24" y="69"/>
                    <a:pt x="25" y="68"/>
                    <a:pt x="26" y="66"/>
                  </a:cubicBezTo>
                  <a:cubicBezTo>
                    <a:pt x="31" y="53"/>
                    <a:pt x="42" y="44"/>
                    <a:pt x="56" y="41"/>
                  </a:cubicBezTo>
                  <a:cubicBezTo>
                    <a:pt x="58" y="41"/>
                    <a:pt x="59" y="40"/>
                    <a:pt x="60" y="39"/>
                  </a:cubicBezTo>
                  <a:cubicBezTo>
                    <a:pt x="60" y="37"/>
                    <a:pt x="60" y="36"/>
                    <a:pt x="59" y="34"/>
                  </a:cubicBezTo>
                  <a:cubicBezTo>
                    <a:pt x="47" y="10"/>
                    <a:pt x="47" y="10"/>
                    <a:pt x="47" y="10"/>
                  </a:cubicBezTo>
                  <a:cubicBezTo>
                    <a:pt x="47" y="10"/>
                    <a:pt x="47" y="10"/>
                    <a:pt x="47" y="10"/>
                  </a:cubicBezTo>
                  <a:cubicBezTo>
                    <a:pt x="48" y="10"/>
                    <a:pt x="48" y="10"/>
                    <a:pt x="48" y="10"/>
                  </a:cubicBezTo>
                  <a:cubicBezTo>
                    <a:pt x="52" y="11"/>
                    <a:pt x="76" y="22"/>
                    <a:pt x="79" y="35"/>
                  </a:cubicBezTo>
                  <a:cubicBezTo>
                    <a:pt x="79" y="36"/>
                    <a:pt x="80" y="38"/>
                    <a:pt x="82" y="38"/>
                  </a:cubicBezTo>
                  <a:cubicBezTo>
                    <a:pt x="84" y="38"/>
                    <a:pt x="85" y="38"/>
                    <a:pt x="87" y="37"/>
                  </a:cubicBezTo>
                  <a:cubicBezTo>
                    <a:pt x="91" y="33"/>
                    <a:pt x="95" y="30"/>
                    <a:pt x="100" y="27"/>
                  </a:cubicBezTo>
                  <a:cubicBezTo>
                    <a:pt x="102" y="26"/>
                    <a:pt x="103" y="23"/>
                    <a:pt x="102" y="21"/>
                  </a:cubicBezTo>
                  <a:cubicBezTo>
                    <a:pt x="100" y="19"/>
                    <a:pt x="98" y="18"/>
                    <a:pt x="95" y="19"/>
                  </a:cubicBezTo>
                  <a:cubicBezTo>
                    <a:pt x="92" y="21"/>
                    <a:pt x="88" y="23"/>
                    <a:pt x="85" y="25"/>
                  </a:cubicBezTo>
                  <a:cubicBezTo>
                    <a:pt x="76" y="11"/>
                    <a:pt x="53" y="0"/>
                    <a:pt x="48" y="0"/>
                  </a:cubicBezTo>
                  <a:cubicBezTo>
                    <a:pt x="47" y="0"/>
                    <a:pt x="46" y="0"/>
                    <a:pt x="46" y="0"/>
                  </a:cubicBezTo>
                  <a:cubicBezTo>
                    <a:pt x="41" y="1"/>
                    <a:pt x="37" y="6"/>
                    <a:pt x="37" y="11"/>
                  </a:cubicBezTo>
                  <a:cubicBezTo>
                    <a:pt x="37" y="11"/>
                    <a:pt x="37" y="12"/>
                    <a:pt x="38" y="13"/>
                  </a:cubicBezTo>
                  <a:cubicBezTo>
                    <a:pt x="48" y="33"/>
                    <a:pt x="48" y="33"/>
                    <a:pt x="48" y="33"/>
                  </a:cubicBezTo>
                  <a:cubicBezTo>
                    <a:pt x="34" y="38"/>
                    <a:pt x="23" y="48"/>
                    <a:pt x="18" y="61"/>
                  </a:cubicBezTo>
                  <a:cubicBezTo>
                    <a:pt x="9" y="64"/>
                    <a:pt x="9" y="64"/>
                    <a:pt x="9" y="64"/>
                  </a:cubicBezTo>
                  <a:cubicBezTo>
                    <a:pt x="2" y="67"/>
                    <a:pt x="0" y="72"/>
                    <a:pt x="0" y="75"/>
                  </a:cubicBezTo>
                  <a:cubicBezTo>
                    <a:pt x="0" y="75"/>
                    <a:pt x="0" y="75"/>
                    <a:pt x="0" y="75"/>
                  </a:cubicBezTo>
                  <a:cubicBezTo>
                    <a:pt x="3" y="96"/>
                    <a:pt x="3" y="96"/>
                    <a:pt x="3" y="96"/>
                  </a:cubicBezTo>
                  <a:cubicBezTo>
                    <a:pt x="4" y="101"/>
                    <a:pt x="7" y="104"/>
                    <a:pt x="13" y="106"/>
                  </a:cubicBezTo>
                  <a:cubicBezTo>
                    <a:pt x="26" y="109"/>
                    <a:pt x="26" y="109"/>
                    <a:pt x="26" y="109"/>
                  </a:cubicBezTo>
                  <a:cubicBezTo>
                    <a:pt x="36" y="121"/>
                    <a:pt x="50" y="127"/>
                    <a:pt x="66" y="126"/>
                  </a:cubicBezTo>
                  <a:cubicBezTo>
                    <a:pt x="62" y="146"/>
                    <a:pt x="62" y="146"/>
                    <a:pt x="62" y="146"/>
                  </a:cubicBezTo>
                  <a:cubicBezTo>
                    <a:pt x="62" y="146"/>
                    <a:pt x="62" y="147"/>
                    <a:pt x="62" y="147"/>
                  </a:cubicBezTo>
                  <a:cubicBezTo>
                    <a:pt x="62" y="155"/>
                    <a:pt x="69" y="162"/>
                    <a:pt x="77" y="162"/>
                  </a:cubicBezTo>
                  <a:cubicBezTo>
                    <a:pt x="89" y="162"/>
                    <a:pt x="89" y="162"/>
                    <a:pt x="89" y="162"/>
                  </a:cubicBezTo>
                  <a:cubicBezTo>
                    <a:pt x="97" y="162"/>
                    <a:pt x="103" y="155"/>
                    <a:pt x="104" y="147"/>
                  </a:cubicBezTo>
                  <a:cubicBezTo>
                    <a:pt x="104" y="142"/>
                    <a:pt x="104" y="142"/>
                    <a:pt x="104" y="142"/>
                  </a:cubicBezTo>
                  <a:cubicBezTo>
                    <a:pt x="118" y="146"/>
                    <a:pt x="139" y="146"/>
                    <a:pt x="152" y="142"/>
                  </a:cubicBezTo>
                  <a:cubicBezTo>
                    <a:pt x="153" y="147"/>
                    <a:pt x="153" y="147"/>
                    <a:pt x="153" y="147"/>
                  </a:cubicBezTo>
                  <a:cubicBezTo>
                    <a:pt x="153" y="155"/>
                    <a:pt x="160" y="162"/>
                    <a:pt x="168" y="162"/>
                  </a:cubicBezTo>
                  <a:cubicBezTo>
                    <a:pt x="175" y="162"/>
                    <a:pt x="175" y="162"/>
                    <a:pt x="175" y="162"/>
                  </a:cubicBezTo>
                  <a:cubicBezTo>
                    <a:pt x="183" y="162"/>
                    <a:pt x="195" y="156"/>
                    <a:pt x="195" y="147"/>
                  </a:cubicBezTo>
                  <a:cubicBezTo>
                    <a:pt x="195" y="147"/>
                    <a:pt x="194" y="147"/>
                    <a:pt x="194" y="146"/>
                  </a:cubicBezTo>
                  <a:cubicBezTo>
                    <a:pt x="190" y="107"/>
                    <a:pt x="190" y="107"/>
                    <a:pt x="190" y="107"/>
                  </a:cubicBezTo>
                  <a:cubicBezTo>
                    <a:pt x="193" y="101"/>
                    <a:pt x="195" y="94"/>
                    <a:pt x="197" y="87"/>
                  </a:cubicBezTo>
                  <a:cubicBezTo>
                    <a:pt x="197" y="81"/>
                    <a:pt x="197" y="81"/>
                    <a:pt x="197" y="81"/>
                  </a:cubicBezTo>
                  <a:cubicBezTo>
                    <a:pt x="197" y="81"/>
                    <a:pt x="197" y="80"/>
                    <a:pt x="197" y="80"/>
                  </a:cubicBezTo>
                  <a:cubicBezTo>
                    <a:pt x="197" y="79"/>
                    <a:pt x="197" y="79"/>
                    <a:pt x="197" y="78"/>
                  </a:cubicBezTo>
                  <a:cubicBezTo>
                    <a:pt x="197" y="74"/>
                    <a:pt x="197" y="71"/>
                    <a:pt x="196" y="67"/>
                  </a:cubicBezTo>
                  <a:cubicBezTo>
                    <a:pt x="199" y="66"/>
                    <a:pt x="205" y="61"/>
                    <a:pt x="211" y="56"/>
                  </a:cubicBezTo>
                  <a:cubicBezTo>
                    <a:pt x="221" y="58"/>
                    <a:pt x="232" y="50"/>
                    <a:pt x="235" y="43"/>
                  </a:cubicBezTo>
                  <a:cubicBezTo>
                    <a:pt x="237" y="41"/>
                    <a:pt x="236" y="38"/>
                    <a:pt x="233" y="37"/>
                  </a:cubicBezTo>
                  <a:close/>
                  <a:moveTo>
                    <a:pt x="208" y="45"/>
                  </a:moveTo>
                  <a:cubicBezTo>
                    <a:pt x="206" y="43"/>
                    <a:pt x="205" y="41"/>
                    <a:pt x="204" y="37"/>
                  </a:cubicBezTo>
                  <a:cubicBezTo>
                    <a:pt x="201" y="31"/>
                    <a:pt x="202" y="28"/>
                    <a:pt x="203" y="28"/>
                  </a:cubicBezTo>
                  <a:cubicBezTo>
                    <a:pt x="203" y="27"/>
                    <a:pt x="203" y="27"/>
                    <a:pt x="203" y="27"/>
                  </a:cubicBezTo>
                  <a:cubicBezTo>
                    <a:pt x="204" y="27"/>
                    <a:pt x="204" y="27"/>
                    <a:pt x="204" y="27"/>
                  </a:cubicBezTo>
                  <a:cubicBezTo>
                    <a:pt x="207" y="28"/>
                    <a:pt x="210" y="31"/>
                    <a:pt x="211" y="35"/>
                  </a:cubicBezTo>
                  <a:cubicBezTo>
                    <a:pt x="212" y="38"/>
                    <a:pt x="210" y="42"/>
                    <a:pt x="208" y="45"/>
                  </a:cubicBezTo>
                  <a:close/>
                </a:path>
              </a:pathLst>
            </a:custGeom>
            <a:grpFill/>
            <a:ln w="9525">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ea typeface="+mn-ea"/>
                <a:cs typeface="+mn-cs"/>
              </a:endParaRPr>
            </a:p>
          </p:txBody>
        </p:sp>
      </p:grpSp>
      <p:sp>
        <p:nvSpPr>
          <p:cNvPr id="35" name="TextBox 34">
            <a:extLst>
              <a:ext uri="{FF2B5EF4-FFF2-40B4-BE49-F238E27FC236}">
                <a16:creationId xmlns:a16="http://schemas.microsoft.com/office/drawing/2014/main" id="{5B33883B-C7E9-4CE7-9BD4-739518E13F4A}"/>
              </a:ext>
            </a:extLst>
          </p:cNvPr>
          <p:cNvSpPr txBox="1"/>
          <p:nvPr/>
        </p:nvSpPr>
        <p:spPr bwMode="gray">
          <a:xfrm>
            <a:off x="9253827" y="3045561"/>
            <a:ext cx="1887973" cy="473773"/>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ea typeface="+mn-ea"/>
                <a:cs typeface="+mn-cs"/>
              </a:rPr>
              <a:t>Consumers who embrace digital before or during shopping end up </a:t>
            </a:r>
            <a:r>
              <a:rPr kumimoji="0" lang="en-US" sz="900" b="1" i="0" u="sng" strike="noStrike" kern="1200" cap="none" spc="0" normalizeH="0" baseline="0" noProof="0" dirty="0">
                <a:ln>
                  <a:noFill/>
                </a:ln>
                <a:solidFill>
                  <a:srgbClr val="000000"/>
                </a:solidFill>
                <a:effectLst/>
                <a:uLnTx/>
                <a:uFillTx/>
                <a:ea typeface="+mn-ea"/>
                <a:cs typeface="+mn-cs"/>
              </a:rPr>
              <a:t>converting 9% more frequently </a:t>
            </a:r>
            <a:r>
              <a:rPr kumimoji="0" lang="en-US" sz="900" b="1" i="0" u="none" strike="noStrike" kern="1200" cap="none" spc="0" normalizeH="0" baseline="0" noProof="0" dirty="0">
                <a:ln>
                  <a:noFill/>
                </a:ln>
                <a:solidFill>
                  <a:srgbClr val="000000"/>
                </a:solidFill>
                <a:effectLst/>
                <a:uLnTx/>
                <a:uFillTx/>
                <a:ea typeface="+mn-ea"/>
                <a:cs typeface="+mn-cs"/>
              </a:rPr>
              <a:t>than those who do not</a:t>
            </a:r>
          </a:p>
        </p:txBody>
      </p:sp>
      <p:sp>
        <p:nvSpPr>
          <p:cNvPr id="36" name="TextBox 35">
            <a:extLst>
              <a:ext uri="{FF2B5EF4-FFF2-40B4-BE49-F238E27FC236}">
                <a16:creationId xmlns:a16="http://schemas.microsoft.com/office/drawing/2014/main" id="{F7F5A612-4198-4FB5-A7BB-98677EBF3DF5}"/>
              </a:ext>
            </a:extLst>
          </p:cNvPr>
          <p:cNvSpPr txBox="1"/>
          <p:nvPr/>
        </p:nvSpPr>
        <p:spPr bwMode="gray">
          <a:xfrm>
            <a:off x="6865354" y="3045561"/>
            <a:ext cx="1887973" cy="473773"/>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ea typeface="+mn-ea"/>
                <a:cs typeface="+mn-cs"/>
              </a:rPr>
              <a:t>19% of the time the use of digital </a:t>
            </a:r>
            <a:r>
              <a:rPr kumimoji="0" lang="en-US" sz="900" b="1" i="0" u="sng" strike="noStrike" kern="1200" cap="none" spc="0" normalizeH="0" baseline="0" noProof="0" dirty="0">
                <a:ln>
                  <a:noFill/>
                </a:ln>
                <a:solidFill>
                  <a:srgbClr val="000000"/>
                </a:solidFill>
                <a:effectLst/>
                <a:uLnTx/>
                <a:uFillTx/>
                <a:ea typeface="+mn-ea"/>
                <a:cs typeface="+mn-cs"/>
              </a:rPr>
              <a:t>increases Grocery spending</a:t>
            </a:r>
          </a:p>
        </p:txBody>
      </p:sp>
      <p:sp>
        <p:nvSpPr>
          <p:cNvPr id="37" name="TextBox 36">
            <a:extLst>
              <a:ext uri="{FF2B5EF4-FFF2-40B4-BE49-F238E27FC236}">
                <a16:creationId xmlns:a16="http://schemas.microsoft.com/office/drawing/2014/main" id="{DCA62B10-374C-4298-889C-F13DD14FD21E}"/>
              </a:ext>
            </a:extLst>
          </p:cNvPr>
          <p:cNvSpPr txBox="1"/>
          <p:nvPr/>
        </p:nvSpPr>
        <p:spPr bwMode="gray">
          <a:xfrm>
            <a:off x="4831376" y="2318231"/>
            <a:ext cx="1178982" cy="473773"/>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ea typeface="+mn-ea"/>
                <a:cs typeface="+mn-cs"/>
              </a:rPr>
              <a:t>80%</a:t>
            </a:r>
          </a:p>
        </p:txBody>
      </p:sp>
      <p:sp>
        <p:nvSpPr>
          <p:cNvPr id="38" name="TextBox 37">
            <a:extLst>
              <a:ext uri="{FF2B5EF4-FFF2-40B4-BE49-F238E27FC236}">
                <a16:creationId xmlns:a16="http://schemas.microsoft.com/office/drawing/2014/main" id="{B1FC0E44-AABA-45F1-B6F4-A48E20AC3DF3}"/>
              </a:ext>
            </a:extLst>
          </p:cNvPr>
          <p:cNvSpPr txBox="1"/>
          <p:nvPr/>
        </p:nvSpPr>
        <p:spPr bwMode="gray">
          <a:xfrm>
            <a:off x="9628897" y="2381277"/>
            <a:ext cx="1178982" cy="473773"/>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ea typeface="+mn-ea"/>
                <a:cs typeface="+mn-cs"/>
              </a:rPr>
              <a:t>9%</a:t>
            </a:r>
          </a:p>
        </p:txBody>
      </p:sp>
      <p:sp>
        <p:nvSpPr>
          <p:cNvPr id="39" name="TextBox 38">
            <a:extLst>
              <a:ext uri="{FF2B5EF4-FFF2-40B4-BE49-F238E27FC236}">
                <a16:creationId xmlns:a16="http://schemas.microsoft.com/office/drawing/2014/main" id="{FC558C60-92F9-49EE-8921-B5A92219F1DA}"/>
              </a:ext>
            </a:extLst>
          </p:cNvPr>
          <p:cNvSpPr txBox="1"/>
          <p:nvPr/>
        </p:nvSpPr>
        <p:spPr bwMode="gray">
          <a:xfrm>
            <a:off x="4481757" y="3045561"/>
            <a:ext cx="1887973" cy="473773"/>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ea typeface="+mn-ea"/>
                <a:cs typeface="+mn-cs"/>
              </a:rPr>
              <a:t>80% of shoppers have used a digital device to </a:t>
            </a:r>
            <a:r>
              <a:rPr kumimoji="0" lang="en-US" sz="900" b="1" i="0" u="sng" strike="noStrike" kern="1200" cap="none" spc="0" normalizeH="0" baseline="0" noProof="0" dirty="0">
                <a:ln>
                  <a:noFill/>
                </a:ln>
                <a:solidFill>
                  <a:srgbClr val="000000"/>
                </a:solidFill>
                <a:effectLst/>
                <a:uLnTx/>
                <a:uFillTx/>
                <a:ea typeface="+mn-ea"/>
                <a:cs typeface="+mn-cs"/>
              </a:rPr>
              <a:t>browse or research</a:t>
            </a:r>
            <a:r>
              <a:rPr kumimoji="0" lang="en-US" sz="900" b="1" i="0" u="none" strike="noStrike" kern="1200" cap="none" spc="0" normalizeH="0" baseline="0" noProof="0" dirty="0">
                <a:ln>
                  <a:noFill/>
                </a:ln>
                <a:solidFill>
                  <a:srgbClr val="000000"/>
                </a:solidFill>
                <a:effectLst/>
                <a:uLnTx/>
                <a:uFillTx/>
                <a:ea typeface="+mn-ea"/>
                <a:cs typeface="+mn-cs"/>
              </a:rPr>
              <a:t> Grocery products</a:t>
            </a:r>
          </a:p>
        </p:txBody>
      </p:sp>
      <p:sp>
        <p:nvSpPr>
          <p:cNvPr id="40" name="TextBox 39">
            <a:extLst>
              <a:ext uri="{FF2B5EF4-FFF2-40B4-BE49-F238E27FC236}">
                <a16:creationId xmlns:a16="http://schemas.microsoft.com/office/drawing/2014/main" id="{952B4893-3727-4F75-9116-413AFF3A5D51}"/>
              </a:ext>
            </a:extLst>
          </p:cNvPr>
          <p:cNvSpPr txBox="1"/>
          <p:nvPr/>
        </p:nvSpPr>
        <p:spPr bwMode="gray">
          <a:xfrm>
            <a:off x="7396555" y="2506941"/>
            <a:ext cx="825569" cy="323022"/>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ea typeface="+mn-ea"/>
                <a:cs typeface="+mn-cs"/>
              </a:rPr>
              <a:t>19%</a:t>
            </a:r>
          </a:p>
        </p:txBody>
      </p:sp>
      <p:sp>
        <p:nvSpPr>
          <p:cNvPr id="41" name="Rectangle 40">
            <a:extLst>
              <a:ext uri="{FF2B5EF4-FFF2-40B4-BE49-F238E27FC236}">
                <a16:creationId xmlns:a16="http://schemas.microsoft.com/office/drawing/2014/main" id="{C6C16B39-9FA3-4757-B672-16CDD96D43BD}"/>
              </a:ext>
            </a:extLst>
          </p:cNvPr>
          <p:cNvSpPr/>
          <p:nvPr/>
        </p:nvSpPr>
        <p:spPr bwMode="gray">
          <a:xfrm>
            <a:off x="914399" y="3853970"/>
            <a:ext cx="5193136" cy="2145451"/>
          </a:xfrm>
          <a:prstGeom prst="rect">
            <a:avLst/>
          </a:prstGeom>
          <a:solidFill>
            <a:schemeClr val="accent2">
              <a:lumMod val="20000"/>
              <a:lumOff val="80000"/>
              <a:alpha val="70000"/>
            </a:schemeClr>
          </a:solidFill>
          <a:ln w="63500" algn="ctr">
            <a:solidFill>
              <a:schemeClr val="accent2"/>
            </a:solidFill>
            <a:miter lim="800000"/>
            <a:headEnd/>
            <a:tailEnd/>
          </a:ln>
        </p:spPr>
        <p:txBody>
          <a:bodyPr wrap="square" lIns="88900" tIns="91440" rIns="88900" bIns="88900" rtlCol="0" anchor="t"/>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ea typeface="+mn-ea"/>
                <a:cs typeface="+mn-cs"/>
              </a:rPr>
              <a:t>… But Quickly Accelerating</a:t>
            </a:r>
            <a:r>
              <a:rPr kumimoji="0" lang="en-US" b="1" i="1" u="none" strike="noStrike" kern="1200" cap="none" spc="0" normalizeH="0" baseline="30000" noProof="0" dirty="0">
                <a:ln>
                  <a:noFill/>
                </a:ln>
                <a:solidFill>
                  <a:srgbClr val="000000"/>
                </a:solidFill>
                <a:effectLst/>
                <a:uLnTx/>
                <a:uFillTx/>
                <a:ea typeface="+mn-ea"/>
                <a:cs typeface="+mn-cs"/>
              </a:rPr>
              <a:t>2</a:t>
            </a:r>
            <a:endParaRPr kumimoji="0" lang="en-US" b="1" i="0" u="none" strike="noStrike" kern="1200" cap="none" spc="0" normalizeH="0" baseline="30000" noProof="0" dirty="0">
              <a:ln>
                <a:noFill/>
              </a:ln>
              <a:solidFill>
                <a:srgbClr val="000000"/>
              </a:solidFill>
              <a:effectLst/>
              <a:uLnTx/>
              <a:uFillTx/>
              <a:ea typeface="+mn-ea"/>
              <a:cs typeface="+mn-cs"/>
            </a:endParaRPr>
          </a:p>
        </p:txBody>
      </p:sp>
      <p:sp>
        <p:nvSpPr>
          <p:cNvPr id="42" name="TextBox 41">
            <a:extLst>
              <a:ext uri="{FF2B5EF4-FFF2-40B4-BE49-F238E27FC236}">
                <a16:creationId xmlns:a16="http://schemas.microsoft.com/office/drawing/2014/main" id="{52BBFDC8-F768-4F3E-BB46-C6E63A459B08}"/>
              </a:ext>
            </a:extLst>
          </p:cNvPr>
          <p:cNvSpPr txBox="1"/>
          <p:nvPr/>
        </p:nvSpPr>
        <p:spPr bwMode="gray">
          <a:xfrm>
            <a:off x="972881" y="4793943"/>
            <a:ext cx="926343" cy="351676"/>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000000"/>
                </a:solidFill>
                <a:effectLst/>
                <a:uLnTx/>
                <a:uFillTx/>
                <a:ea typeface="+mn-ea"/>
                <a:cs typeface="+mn-cs"/>
              </a:rPr>
              <a:t>Already using</a:t>
            </a:r>
          </a:p>
        </p:txBody>
      </p:sp>
      <p:sp>
        <p:nvSpPr>
          <p:cNvPr id="43" name="TextBox 42">
            <a:extLst>
              <a:ext uri="{FF2B5EF4-FFF2-40B4-BE49-F238E27FC236}">
                <a16:creationId xmlns:a16="http://schemas.microsoft.com/office/drawing/2014/main" id="{972E7B3B-5D89-474E-BDCD-D71EFC83566F}"/>
              </a:ext>
            </a:extLst>
          </p:cNvPr>
          <p:cNvSpPr txBox="1"/>
          <p:nvPr/>
        </p:nvSpPr>
        <p:spPr bwMode="gray">
          <a:xfrm>
            <a:off x="972881" y="5481275"/>
            <a:ext cx="926343" cy="351676"/>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000000"/>
                </a:solidFill>
                <a:effectLst/>
                <a:uLnTx/>
                <a:uFillTx/>
                <a:ea typeface="+mn-ea"/>
                <a:cs typeface="+mn-cs"/>
              </a:rPr>
              <a:t>Willing to use</a:t>
            </a:r>
          </a:p>
        </p:txBody>
      </p:sp>
      <p:sp>
        <p:nvSpPr>
          <p:cNvPr id="44" name="TextBox 43">
            <a:extLst>
              <a:ext uri="{FF2B5EF4-FFF2-40B4-BE49-F238E27FC236}">
                <a16:creationId xmlns:a16="http://schemas.microsoft.com/office/drawing/2014/main" id="{A9220308-38F0-4E65-9CB3-F515E42D23CB}"/>
              </a:ext>
            </a:extLst>
          </p:cNvPr>
          <p:cNvSpPr txBox="1"/>
          <p:nvPr/>
        </p:nvSpPr>
        <p:spPr bwMode="gray">
          <a:xfrm>
            <a:off x="1862704" y="4493861"/>
            <a:ext cx="825569" cy="323022"/>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22%</a:t>
            </a:r>
          </a:p>
        </p:txBody>
      </p:sp>
      <p:sp>
        <p:nvSpPr>
          <p:cNvPr id="45" name="TextBox 44">
            <a:extLst>
              <a:ext uri="{FF2B5EF4-FFF2-40B4-BE49-F238E27FC236}">
                <a16:creationId xmlns:a16="http://schemas.microsoft.com/office/drawing/2014/main" id="{DCC1BB60-A43D-4FC1-AC6F-04F42407FC4C}"/>
              </a:ext>
            </a:extLst>
          </p:cNvPr>
          <p:cNvSpPr txBox="1"/>
          <p:nvPr/>
        </p:nvSpPr>
        <p:spPr bwMode="gray">
          <a:xfrm>
            <a:off x="1862704" y="5178980"/>
            <a:ext cx="825569" cy="323022"/>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55%</a:t>
            </a:r>
          </a:p>
        </p:txBody>
      </p:sp>
      <p:sp>
        <p:nvSpPr>
          <p:cNvPr id="46" name="TextBox 45">
            <a:extLst>
              <a:ext uri="{FF2B5EF4-FFF2-40B4-BE49-F238E27FC236}">
                <a16:creationId xmlns:a16="http://schemas.microsoft.com/office/drawing/2014/main" id="{F7252A42-CF31-49AB-8BC9-C8F2D2CED733}"/>
              </a:ext>
            </a:extLst>
          </p:cNvPr>
          <p:cNvSpPr txBox="1"/>
          <p:nvPr/>
        </p:nvSpPr>
        <p:spPr bwMode="gray">
          <a:xfrm>
            <a:off x="2928978" y="4493861"/>
            <a:ext cx="825569" cy="323022"/>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14%</a:t>
            </a:r>
          </a:p>
        </p:txBody>
      </p:sp>
      <p:sp>
        <p:nvSpPr>
          <p:cNvPr id="47" name="TextBox 46">
            <a:extLst>
              <a:ext uri="{FF2B5EF4-FFF2-40B4-BE49-F238E27FC236}">
                <a16:creationId xmlns:a16="http://schemas.microsoft.com/office/drawing/2014/main" id="{927A55DE-8519-4B20-A7EC-43863690A15C}"/>
              </a:ext>
            </a:extLst>
          </p:cNvPr>
          <p:cNvSpPr txBox="1"/>
          <p:nvPr/>
        </p:nvSpPr>
        <p:spPr bwMode="gray">
          <a:xfrm>
            <a:off x="2928978" y="5178980"/>
            <a:ext cx="825569" cy="323022"/>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54%</a:t>
            </a:r>
          </a:p>
        </p:txBody>
      </p:sp>
      <p:sp>
        <p:nvSpPr>
          <p:cNvPr id="48" name="TextBox 47">
            <a:extLst>
              <a:ext uri="{FF2B5EF4-FFF2-40B4-BE49-F238E27FC236}">
                <a16:creationId xmlns:a16="http://schemas.microsoft.com/office/drawing/2014/main" id="{22482900-B9B6-4756-AAD0-1806C22B38BB}"/>
              </a:ext>
            </a:extLst>
          </p:cNvPr>
          <p:cNvSpPr txBox="1"/>
          <p:nvPr/>
        </p:nvSpPr>
        <p:spPr bwMode="gray">
          <a:xfrm>
            <a:off x="3987018" y="4493861"/>
            <a:ext cx="825569" cy="323022"/>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14%</a:t>
            </a:r>
          </a:p>
        </p:txBody>
      </p:sp>
      <p:sp>
        <p:nvSpPr>
          <p:cNvPr id="49" name="TextBox 48">
            <a:extLst>
              <a:ext uri="{FF2B5EF4-FFF2-40B4-BE49-F238E27FC236}">
                <a16:creationId xmlns:a16="http://schemas.microsoft.com/office/drawing/2014/main" id="{847EC804-4DFB-41FD-908A-6EB2DB006B92}"/>
              </a:ext>
            </a:extLst>
          </p:cNvPr>
          <p:cNvSpPr txBox="1"/>
          <p:nvPr/>
        </p:nvSpPr>
        <p:spPr bwMode="gray">
          <a:xfrm>
            <a:off x="3987018" y="5178980"/>
            <a:ext cx="825569" cy="323022"/>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54%</a:t>
            </a:r>
          </a:p>
        </p:txBody>
      </p:sp>
      <p:grpSp>
        <p:nvGrpSpPr>
          <p:cNvPr id="50" name="Group 49">
            <a:extLst>
              <a:ext uri="{FF2B5EF4-FFF2-40B4-BE49-F238E27FC236}">
                <a16:creationId xmlns:a16="http://schemas.microsoft.com/office/drawing/2014/main" id="{5E62F56D-F01E-40C0-A3E4-A0E85BED3F55}"/>
              </a:ext>
            </a:extLst>
          </p:cNvPr>
          <p:cNvGrpSpPr/>
          <p:nvPr/>
        </p:nvGrpSpPr>
        <p:grpSpPr>
          <a:xfrm>
            <a:off x="1980743" y="5382223"/>
            <a:ext cx="3779931" cy="549779"/>
            <a:chOff x="1627754" y="4138604"/>
            <a:chExt cx="4104317" cy="640080"/>
          </a:xfrm>
        </p:grpSpPr>
        <p:pic>
          <p:nvPicPr>
            <p:cNvPr id="65" name="Graphic 64" descr="Shopping cart">
              <a:extLst>
                <a:ext uri="{FF2B5EF4-FFF2-40B4-BE49-F238E27FC236}">
                  <a16:creationId xmlns:a16="http://schemas.microsoft.com/office/drawing/2014/main" id="{A426F36D-E9BE-4026-8A43-7733B24CBF1F}"/>
                </a:ext>
              </a:extLst>
            </p:cNvPr>
            <p:cNvPicPr>
              <a:picLocks noChangeAspect="1"/>
            </p:cNvPicPr>
            <p:nvPr/>
          </p:nvPicPr>
          <p:blipFill>
            <a:blip r:embed="rId10" cstate="hq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627754" y="4138604"/>
              <a:ext cx="640080" cy="640080"/>
            </a:xfrm>
            <a:prstGeom prst="rect">
              <a:avLst/>
            </a:prstGeom>
          </p:spPr>
        </p:pic>
        <p:pic>
          <p:nvPicPr>
            <p:cNvPr id="66" name="Graphic 65" descr="Shopping cart">
              <a:extLst>
                <a:ext uri="{FF2B5EF4-FFF2-40B4-BE49-F238E27FC236}">
                  <a16:creationId xmlns:a16="http://schemas.microsoft.com/office/drawing/2014/main" id="{4FC7A9C8-BC1A-4721-82E1-245F5D59FE97}"/>
                </a:ext>
              </a:extLst>
            </p:cNvPr>
            <p:cNvPicPr>
              <a:picLocks noChangeAspect="1"/>
            </p:cNvPicPr>
            <p:nvPr/>
          </p:nvPicPr>
          <p:blipFill>
            <a:blip r:embed="rId10" cstate="hq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785534" y="4138604"/>
              <a:ext cx="640080" cy="640080"/>
            </a:xfrm>
            <a:prstGeom prst="rect">
              <a:avLst/>
            </a:prstGeom>
          </p:spPr>
        </p:pic>
        <p:pic>
          <p:nvPicPr>
            <p:cNvPr id="67" name="Graphic 66" descr="Shopping cart">
              <a:extLst>
                <a:ext uri="{FF2B5EF4-FFF2-40B4-BE49-F238E27FC236}">
                  <a16:creationId xmlns:a16="http://schemas.microsoft.com/office/drawing/2014/main" id="{C71D8A82-01D3-4DA7-BEF1-D3266D574624}"/>
                </a:ext>
              </a:extLst>
            </p:cNvPr>
            <p:cNvPicPr>
              <a:picLocks noChangeAspect="1"/>
            </p:cNvPicPr>
            <p:nvPr/>
          </p:nvPicPr>
          <p:blipFill>
            <a:blip r:embed="rId10" cstate="hq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934372" y="4138604"/>
              <a:ext cx="640080" cy="640080"/>
            </a:xfrm>
            <a:prstGeom prst="rect">
              <a:avLst/>
            </a:prstGeom>
          </p:spPr>
        </p:pic>
        <p:pic>
          <p:nvPicPr>
            <p:cNvPr id="68" name="Graphic 67" descr="Shopping cart">
              <a:extLst>
                <a:ext uri="{FF2B5EF4-FFF2-40B4-BE49-F238E27FC236}">
                  <a16:creationId xmlns:a16="http://schemas.microsoft.com/office/drawing/2014/main" id="{8DED3CC0-EB79-4EBD-A24F-7CB7CD857B28}"/>
                </a:ext>
              </a:extLst>
            </p:cNvPr>
            <p:cNvPicPr>
              <a:picLocks noChangeAspect="1"/>
            </p:cNvPicPr>
            <p:nvPr/>
          </p:nvPicPr>
          <p:blipFill>
            <a:blip r:embed="rId10" cstate="hq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091991" y="4138604"/>
              <a:ext cx="640080" cy="640080"/>
            </a:xfrm>
            <a:prstGeom prst="rect">
              <a:avLst/>
            </a:prstGeom>
          </p:spPr>
        </p:pic>
      </p:grpSp>
      <p:grpSp>
        <p:nvGrpSpPr>
          <p:cNvPr id="51" name="Group 50">
            <a:extLst>
              <a:ext uri="{FF2B5EF4-FFF2-40B4-BE49-F238E27FC236}">
                <a16:creationId xmlns:a16="http://schemas.microsoft.com/office/drawing/2014/main" id="{08FF0CB9-631A-4517-9145-D3C46D0B31F1}"/>
              </a:ext>
            </a:extLst>
          </p:cNvPr>
          <p:cNvGrpSpPr/>
          <p:nvPr/>
        </p:nvGrpSpPr>
        <p:grpSpPr>
          <a:xfrm>
            <a:off x="1980743" y="4711948"/>
            <a:ext cx="3779931" cy="549779"/>
            <a:chOff x="1627754" y="4991428"/>
            <a:chExt cx="4104317" cy="640080"/>
          </a:xfr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grpSpPr>
        <p:pic>
          <p:nvPicPr>
            <p:cNvPr id="61" name="Graphic 60" descr="Shopping cart">
              <a:extLst>
                <a:ext uri="{FF2B5EF4-FFF2-40B4-BE49-F238E27FC236}">
                  <a16:creationId xmlns:a16="http://schemas.microsoft.com/office/drawing/2014/main" id="{F1267398-97A7-4228-B4E7-C74715086A6A}"/>
                </a:ext>
              </a:extLst>
            </p:cNvPr>
            <p:cNvPicPr>
              <a:picLocks noChangeAspect="1"/>
            </p:cNvPicPr>
            <p:nvPr/>
          </p:nvPicPr>
          <p:blipFill>
            <a:blip r:embed="rId12" cstate="hq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627754" y="4991428"/>
              <a:ext cx="640080" cy="640080"/>
            </a:xfrm>
            <a:prstGeom prst="rect">
              <a:avLst/>
            </a:prstGeom>
          </p:spPr>
        </p:pic>
        <p:pic>
          <p:nvPicPr>
            <p:cNvPr id="62" name="Graphic 61" descr="Shopping cart">
              <a:extLst>
                <a:ext uri="{FF2B5EF4-FFF2-40B4-BE49-F238E27FC236}">
                  <a16:creationId xmlns:a16="http://schemas.microsoft.com/office/drawing/2014/main" id="{9CF2268B-E278-490D-850E-EE4C1C4A1FA3}"/>
                </a:ext>
              </a:extLst>
            </p:cNvPr>
            <p:cNvPicPr>
              <a:picLocks noChangeAspect="1"/>
            </p:cNvPicPr>
            <p:nvPr/>
          </p:nvPicPr>
          <p:blipFill>
            <a:blip r:embed="rId12" cstate="hq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785534" y="4991428"/>
              <a:ext cx="640080" cy="640080"/>
            </a:xfrm>
            <a:prstGeom prst="rect">
              <a:avLst/>
            </a:prstGeom>
          </p:spPr>
        </p:pic>
        <p:pic>
          <p:nvPicPr>
            <p:cNvPr id="63" name="Graphic 62" descr="Shopping cart">
              <a:extLst>
                <a:ext uri="{FF2B5EF4-FFF2-40B4-BE49-F238E27FC236}">
                  <a16:creationId xmlns:a16="http://schemas.microsoft.com/office/drawing/2014/main" id="{51AD3AB8-699C-4D0A-B735-12118C4A30AB}"/>
                </a:ext>
              </a:extLst>
            </p:cNvPr>
            <p:cNvPicPr>
              <a:picLocks noChangeAspect="1"/>
            </p:cNvPicPr>
            <p:nvPr/>
          </p:nvPicPr>
          <p:blipFill>
            <a:blip r:embed="rId12" cstate="hq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934372" y="4991428"/>
              <a:ext cx="640080" cy="640080"/>
            </a:xfrm>
            <a:prstGeom prst="rect">
              <a:avLst/>
            </a:prstGeom>
          </p:spPr>
        </p:pic>
        <p:pic>
          <p:nvPicPr>
            <p:cNvPr id="64" name="Graphic 63" descr="Shopping cart">
              <a:extLst>
                <a:ext uri="{FF2B5EF4-FFF2-40B4-BE49-F238E27FC236}">
                  <a16:creationId xmlns:a16="http://schemas.microsoft.com/office/drawing/2014/main" id="{05AC1558-9465-4F68-829C-31603E6134DB}"/>
                </a:ext>
              </a:extLst>
            </p:cNvPr>
            <p:cNvPicPr>
              <a:picLocks noChangeAspect="1"/>
            </p:cNvPicPr>
            <p:nvPr/>
          </p:nvPicPr>
          <p:blipFill>
            <a:blip r:embed="rId12" cstate="hq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091991" y="4991428"/>
              <a:ext cx="640080" cy="640080"/>
            </a:xfrm>
            <a:prstGeom prst="rect">
              <a:avLst/>
            </a:prstGeom>
          </p:spPr>
        </p:pic>
      </p:grpSp>
      <p:sp>
        <p:nvSpPr>
          <p:cNvPr id="52" name="TextBox 51">
            <a:extLst>
              <a:ext uri="{FF2B5EF4-FFF2-40B4-BE49-F238E27FC236}">
                <a16:creationId xmlns:a16="http://schemas.microsoft.com/office/drawing/2014/main" id="{EACAB286-7AFA-49D5-999C-6E18CE7CA156}"/>
              </a:ext>
            </a:extLst>
          </p:cNvPr>
          <p:cNvSpPr txBox="1"/>
          <p:nvPr/>
        </p:nvSpPr>
        <p:spPr bwMode="gray">
          <a:xfrm>
            <a:off x="5053144" y="4493861"/>
            <a:ext cx="825569" cy="323022"/>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12%</a:t>
            </a:r>
          </a:p>
        </p:txBody>
      </p:sp>
      <p:sp>
        <p:nvSpPr>
          <p:cNvPr id="53" name="TextBox 52">
            <a:extLst>
              <a:ext uri="{FF2B5EF4-FFF2-40B4-BE49-F238E27FC236}">
                <a16:creationId xmlns:a16="http://schemas.microsoft.com/office/drawing/2014/main" id="{49A35D76-EBA1-4A9C-BACE-FEF56539337C}"/>
              </a:ext>
            </a:extLst>
          </p:cNvPr>
          <p:cNvSpPr txBox="1"/>
          <p:nvPr/>
        </p:nvSpPr>
        <p:spPr bwMode="gray">
          <a:xfrm>
            <a:off x="5053144" y="5178980"/>
            <a:ext cx="825569" cy="323022"/>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57%</a:t>
            </a:r>
          </a:p>
        </p:txBody>
      </p:sp>
      <p:grpSp>
        <p:nvGrpSpPr>
          <p:cNvPr id="54" name="Group 53">
            <a:extLst>
              <a:ext uri="{FF2B5EF4-FFF2-40B4-BE49-F238E27FC236}">
                <a16:creationId xmlns:a16="http://schemas.microsoft.com/office/drawing/2014/main" id="{3142F54A-39CA-4420-B358-F04F6DD92D20}"/>
              </a:ext>
            </a:extLst>
          </p:cNvPr>
          <p:cNvGrpSpPr/>
          <p:nvPr/>
        </p:nvGrpSpPr>
        <p:grpSpPr>
          <a:xfrm>
            <a:off x="1715001" y="4239281"/>
            <a:ext cx="4251748" cy="384791"/>
            <a:chOff x="4502238" y="6300589"/>
            <a:chExt cx="4616624" cy="447994"/>
          </a:xfrm>
        </p:grpSpPr>
        <p:sp>
          <p:nvSpPr>
            <p:cNvPr id="57" name="TextBox 56">
              <a:extLst>
                <a:ext uri="{FF2B5EF4-FFF2-40B4-BE49-F238E27FC236}">
                  <a16:creationId xmlns:a16="http://schemas.microsoft.com/office/drawing/2014/main" id="{80B30575-EC87-45CB-8B04-99D91C3D0406}"/>
                </a:ext>
              </a:extLst>
            </p:cNvPr>
            <p:cNvSpPr txBox="1"/>
            <p:nvPr/>
          </p:nvSpPr>
          <p:spPr bwMode="gray">
            <a:xfrm>
              <a:off x="4502238" y="6300589"/>
              <a:ext cx="1152387" cy="447994"/>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ea typeface="+mn-ea"/>
                  <a:cs typeface="+mn-cs"/>
                </a:rPr>
                <a:t>Order Online for Delivery to Home</a:t>
              </a:r>
            </a:p>
          </p:txBody>
        </p:sp>
        <p:sp>
          <p:nvSpPr>
            <p:cNvPr id="58" name="TextBox 57">
              <a:extLst>
                <a:ext uri="{FF2B5EF4-FFF2-40B4-BE49-F238E27FC236}">
                  <a16:creationId xmlns:a16="http://schemas.microsoft.com/office/drawing/2014/main" id="{3E196612-81E1-485F-AD79-C390AB95BE9D}"/>
                </a:ext>
              </a:extLst>
            </p:cNvPr>
            <p:cNvSpPr txBox="1"/>
            <p:nvPr/>
          </p:nvSpPr>
          <p:spPr bwMode="gray">
            <a:xfrm>
              <a:off x="5660018" y="6300589"/>
              <a:ext cx="1152387" cy="447994"/>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ea typeface="+mn-ea"/>
                  <a:cs typeface="+mn-cs"/>
                </a:rPr>
                <a:t>Use Online Subscription</a:t>
              </a:r>
            </a:p>
          </p:txBody>
        </p:sp>
        <p:sp>
          <p:nvSpPr>
            <p:cNvPr id="59" name="TextBox 58">
              <a:extLst>
                <a:ext uri="{FF2B5EF4-FFF2-40B4-BE49-F238E27FC236}">
                  <a16:creationId xmlns:a16="http://schemas.microsoft.com/office/drawing/2014/main" id="{9C29C765-31EA-45C8-A191-A333746FC007}"/>
                </a:ext>
              </a:extLst>
            </p:cNvPr>
            <p:cNvSpPr txBox="1"/>
            <p:nvPr/>
          </p:nvSpPr>
          <p:spPr bwMode="gray">
            <a:xfrm>
              <a:off x="6808856" y="6300589"/>
              <a:ext cx="1152387" cy="447994"/>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ea typeface="+mn-ea"/>
                  <a:cs typeface="+mn-cs"/>
                </a:rPr>
                <a:t>Order Online &amp; Pick-Up Curbside</a:t>
              </a:r>
            </a:p>
          </p:txBody>
        </p:sp>
        <p:sp>
          <p:nvSpPr>
            <p:cNvPr id="60" name="TextBox 59">
              <a:extLst>
                <a:ext uri="{FF2B5EF4-FFF2-40B4-BE49-F238E27FC236}">
                  <a16:creationId xmlns:a16="http://schemas.microsoft.com/office/drawing/2014/main" id="{FAF08344-D15A-4357-A6A3-B81A0D71CA63}"/>
                </a:ext>
              </a:extLst>
            </p:cNvPr>
            <p:cNvSpPr txBox="1"/>
            <p:nvPr/>
          </p:nvSpPr>
          <p:spPr bwMode="gray">
            <a:xfrm>
              <a:off x="7966475" y="6300589"/>
              <a:ext cx="1152387" cy="447994"/>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ea typeface="+mn-ea"/>
                  <a:cs typeface="+mn-cs"/>
                </a:rPr>
                <a:t>Order Online &amp; Pick-Up in Store</a:t>
              </a:r>
            </a:p>
          </p:txBody>
        </p:sp>
      </p:grpSp>
      <p:pic>
        <p:nvPicPr>
          <p:cNvPr id="55" name="Graphic 54" descr="Laptop">
            <a:extLst>
              <a:ext uri="{FF2B5EF4-FFF2-40B4-BE49-F238E27FC236}">
                <a16:creationId xmlns:a16="http://schemas.microsoft.com/office/drawing/2014/main" id="{0BA4CA81-E66E-444F-8621-0D4E6175A03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843053" y="2079437"/>
            <a:ext cx="1155628" cy="1077776"/>
          </a:xfrm>
          <a:prstGeom prst="rect">
            <a:avLst/>
          </a:prstGeom>
        </p:spPr>
      </p:pic>
      <p:pic>
        <p:nvPicPr>
          <p:cNvPr id="56" name="Graphic 55" descr="Shopping bag">
            <a:extLst>
              <a:ext uri="{FF2B5EF4-FFF2-40B4-BE49-F238E27FC236}">
                <a16:creationId xmlns:a16="http://schemas.microsoft.com/office/drawing/2014/main" id="{689639FB-7FB4-48A6-8491-C7E826CF4C6D}"/>
              </a:ext>
            </a:extLst>
          </p:cNvPr>
          <p:cNvPicPr>
            <a:picLocks noChangeAspect="1"/>
          </p:cNvPicPr>
          <p:nvPr/>
        </p:nvPicPr>
        <p:blipFill>
          <a:blip r:embed="rId16" cstate="hq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829084" y="2175465"/>
            <a:ext cx="842130" cy="785397"/>
          </a:xfrm>
          <a:prstGeom prst="rect">
            <a:avLst/>
          </a:prstGeom>
        </p:spPr>
      </p:pic>
      <p:grpSp>
        <p:nvGrpSpPr>
          <p:cNvPr id="88" name="Group 87">
            <a:extLst>
              <a:ext uri="{FF2B5EF4-FFF2-40B4-BE49-F238E27FC236}">
                <a16:creationId xmlns:a16="http://schemas.microsoft.com/office/drawing/2014/main" id="{EFFE6FED-B030-43F3-8FD8-E21876E7439F}"/>
              </a:ext>
            </a:extLst>
          </p:cNvPr>
          <p:cNvGrpSpPr/>
          <p:nvPr/>
        </p:nvGrpSpPr>
        <p:grpSpPr>
          <a:xfrm>
            <a:off x="10103208" y="4265203"/>
            <a:ext cx="675579" cy="845074"/>
            <a:chOff x="10069818" y="4265203"/>
            <a:chExt cx="675579" cy="845074"/>
          </a:xfrm>
        </p:grpSpPr>
        <p:sp>
          <p:nvSpPr>
            <p:cNvPr id="22" name="Rounded Rectangle 142">
              <a:extLst>
                <a:ext uri="{FF2B5EF4-FFF2-40B4-BE49-F238E27FC236}">
                  <a16:creationId xmlns:a16="http://schemas.microsoft.com/office/drawing/2014/main" id="{A7FB3913-7137-4397-B739-E194B6C71367}"/>
                </a:ext>
              </a:extLst>
            </p:cNvPr>
            <p:cNvSpPr/>
            <p:nvPr/>
          </p:nvSpPr>
          <p:spPr bwMode="gray">
            <a:xfrm>
              <a:off x="10074839" y="4265203"/>
              <a:ext cx="665536" cy="221764"/>
            </a:xfrm>
            <a:prstGeom prst="roundRect">
              <a:avLst/>
            </a:prstGeom>
            <a:solidFill>
              <a:schemeClr val="accent1">
                <a:lumMod val="75000"/>
                <a:lumOff val="25000"/>
              </a:schemeClr>
            </a:solidFill>
            <a:ln w="19050" algn="ctr">
              <a:solidFill>
                <a:schemeClr val="accent1">
                  <a:lumMod val="75000"/>
                  <a:lumOff val="25000"/>
                </a:schemeClr>
              </a:solidFill>
              <a:miter lim="800000"/>
              <a:headEnd/>
              <a:tailEnd/>
            </a:ln>
          </p:spPr>
          <p:txBody>
            <a:bodyPr wrap="square" lIns="88900" tIns="4572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ea typeface="+mn-ea"/>
                  <a:cs typeface="+mn-cs"/>
                </a:rPr>
                <a:t>3</a:t>
              </a:r>
            </a:p>
          </p:txBody>
        </p:sp>
        <p:sp>
          <p:nvSpPr>
            <p:cNvPr id="24" name="Oval 23">
              <a:extLst>
                <a:ext uri="{FF2B5EF4-FFF2-40B4-BE49-F238E27FC236}">
                  <a16:creationId xmlns:a16="http://schemas.microsoft.com/office/drawing/2014/main" id="{35B9A09D-B3ED-42FC-B1C5-4834AD498644}"/>
                </a:ext>
              </a:extLst>
            </p:cNvPr>
            <p:cNvSpPr/>
            <p:nvPr/>
          </p:nvSpPr>
          <p:spPr bwMode="gray">
            <a:xfrm>
              <a:off x="10352009" y="5006572"/>
              <a:ext cx="111196" cy="103705"/>
            </a:xfrm>
            <a:prstGeom prst="ellipse">
              <a:avLst/>
            </a:prstGeom>
            <a:solidFill>
              <a:schemeClr val="accent1">
                <a:lumMod val="75000"/>
                <a:lumOff val="25000"/>
              </a:schemeClr>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mn-cs"/>
              </a:endParaRPr>
            </a:p>
          </p:txBody>
        </p:sp>
        <p:sp>
          <p:nvSpPr>
            <p:cNvPr id="85" name="Pentagon 130">
              <a:extLst>
                <a:ext uri="{FF2B5EF4-FFF2-40B4-BE49-F238E27FC236}">
                  <a16:creationId xmlns:a16="http://schemas.microsoft.com/office/drawing/2014/main" id="{7C3BBC81-8388-4CA7-9AE3-B549CCA3739E}"/>
                </a:ext>
              </a:extLst>
            </p:cNvPr>
            <p:cNvSpPr/>
            <p:nvPr/>
          </p:nvSpPr>
          <p:spPr bwMode="gray">
            <a:xfrm rot="5400000">
              <a:off x="10112999" y="4395475"/>
              <a:ext cx="589217" cy="675579"/>
            </a:xfrm>
            <a:prstGeom prst="homePlate">
              <a:avLst/>
            </a:prstGeom>
            <a:solidFill>
              <a:schemeClr val="bg1">
                <a:lumMod val="85000"/>
              </a:schemeClr>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mn-cs"/>
              </a:endParaRPr>
            </a:p>
          </p:txBody>
        </p:sp>
        <p:pic>
          <p:nvPicPr>
            <p:cNvPr id="33" name="Graphic 32" descr="Gold bars">
              <a:extLst>
                <a:ext uri="{FF2B5EF4-FFF2-40B4-BE49-F238E27FC236}">
                  <a16:creationId xmlns:a16="http://schemas.microsoft.com/office/drawing/2014/main" id="{1E92CD15-FADD-4566-B513-894D91A04FF2}"/>
                </a:ext>
              </a:extLst>
            </p:cNvPr>
            <p:cNvPicPr>
              <a:picLocks noChangeAspect="1"/>
            </p:cNvPicPr>
            <p:nvPr/>
          </p:nvPicPr>
          <p:blipFill>
            <a:blip r:embed="rId18" cstate="hq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0154968" y="4424800"/>
              <a:ext cx="505278" cy="471239"/>
            </a:xfrm>
            <a:prstGeom prst="rect">
              <a:avLst/>
            </a:prstGeom>
          </p:spPr>
        </p:pic>
      </p:grpSp>
      <p:grpSp>
        <p:nvGrpSpPr>
          <p:cNvPr id="87" name="Group 86">
            <a:extLst>
              <a:ext uri="{FF2B5EF4-FFF2-40B4-BE49-F238E27FC236}">
                <a16:creationId xmlns:a16="http://schemas.microsoft.com/office/drawing/2014/main" id="{6BE77B25-DE09-4085-8DF9-DA3EE3961029}"/>
              </a:ext>
            </a:extLst>
          </p:cNvPr>
          <p:cNvGrpSpPr/>
          <p:nvPr/>
        </p:nvGrpSpPr>
        <p:grpSpPr>
          <a:xfrm>
            <a:off x="8420610" y="4265203"/>
            <a:ext cx="675579" cy="845074"/>
            <a:chOff x="8372444" y="4265203"/>
            <a:chExt cx="675579" cy="845074"/>
          </a:xfrm>
        </p:grpSpPr>
        <p:sp>
          <p:nvSpPr>
            <p:cNvPr id="25" name="Rounded Rectangle 150">
              <a:extLst>
                <a:ext uri="{FF2B5EF4-FFF2-40B4-BE49-F238E27FC236}">
                  <a16:creationId xmlns:a16="http://schemas.microsoft.com/office/drawing/2014/main" id="{AE72ABEF-AEFF-443A-94AA-315ED67D6777}"/>
                </a:ext>
              </a:extLst>
            </p:cNvPr>
            <p:cNvSpPr/>
            <p:nvPr/>
          </p:nvSpPr>
          <p:spPr bwMode="gray">
            <a:xfrm>
              <a:off x="8377465" y="4265203"/>
              <a:ext cx="665536" cy="221764"/>
            </a:xfrm>
            <a:prstGeom prst="roundRect">
              <a:avLst/>
            </a:prstGeom>
            <a:solidFill>
              <a:schemeClr val="accent1">
                <a:lumMod val="75000"/>
                <a:lumOff val="25000"/>
              </a:schemeClr>
            </a:solidFill>
            <a:ln w="19050" algn="ctr">
              <a:solidFill>
                <a:schemeClr val="accent1">
                  <a:lumMod val="75000"/>
                  <a:lumOff val="25000"/>
                </a:schemeClr>
              </a:solidFill>
              <a:miter lim="800000"/>
              <a:headEnd/>
              <a:tailEnd/>
            </a:ln>
          </p:spPr>
          <p:txBody>
            <a:bodyPr wrap="square" lIns="88900" tIns="4572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ea typeface="+mn-ea"/>
                  <a:cs typeface="+mn-cs"/>
                </a:rPr>
                <a:t>2</a:t>
              </a:r>
            </a:p>
          </p:txBody>
        </p:sp>
        <p:sp>
          <p:nvSpPr>
            <p:cNvPr id="27" name="Oval 26">
              <a:extLst>
                <a:ext uri="{FF2B5EF4-FFF2-40B4-BE49-F238E27FC236}">
                  <a16:creationId xmlns:a16="http://schemas.microsoft.com/office/drawing/2014/main" id="{C17C4777-55CD-4A65-83B1-7A960D794303}"/>
                </a:ext>
              </a:extLst>
            </p:cNvPr>
            <p:cNvSpPr/>
            <p:nvPr/>
          </p:nvSpPr>
          <p:spPr bwMode="gray">
            <a:xfrm>
              <a:off x="8654635" y="5006572"/>
              <a:ext cx="111196" cy="103705"/>
            </a:xfrm>
            <a:prstGeom prst="ellipse">
              <a:avLst/>
            </a:prstGeom>
            <a:solidFill>
              <a:schemeClr val="accent1">
                <a:lumMod val="75000"/>
                <a:lumOff val="25000"/>
              </a:schemeClr>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mn-cs"/>
              </a:endParaRPr>
            </a:p>
          </p:txBody>
        </p:sp>
        <p:sp>
          <p:nvSpPr>
            <p:cNvPr id="83" name="Pentagon 130">
              <a:extLst>
                <a:ext uri="{FF2B5EF4-FFF2-40B4-BE49-F238E27FC236}">
                  <a16:creationId xmlns:a16="http://schemas.microsoft.com/office/drawing/2014/main" id="{6BEAC860-8FE5-48E5-83DC-A4DF969951DB}"/>
                </a:ext>
              </a:extLst>
            </p:cNvPr>
            <p:cNvSpPr/>
            <p:nvPr/>
          </p:nvSpPr>
          <p:spPr bwMode="gray">
            <a:xfrm rot="5400000">
              <a:off x="8415625" y="4395475"/>
              <a:ext cx="589217" cy="675579"/>
            </a:xfrm>
            <a:prstGeom prst="homePlate">
              <a:avLst/>
            </a:prstGeom>
            <a:solidFill>
              <a:schemeClr val="bg1">
                <a:lumMod val="85000"/>
              </a:schemeClr>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mn-cs"/>
              </a:endParaRPr>
            </a:p>
          </p:txBody>
        </p:sp>
        <p:pic>
          <p:nvPicPr>
            <p:cNvPr id="31" name="Graphic 30" descr="Stopwatch">
              <a:extLst>
                <a:ext uri="{FF2B5EF4-FFF2-40B4-BE49-F238E27FC236}">
                  <a16:creationId xmlns:a16="http://schemas.microsoft.com/office/drawing/2014/main" id="{ED4ED069-AFF2-49AA-93E6-9BF039671997}"/>
                </a:ext>
              </a:extLst>
            </p:cNvPr>
            <p:cNvPicPr>
              <a:picLocks noChangeAspect="1"/>
            </p:cNvPicPr>
            <p:nvPr/>
          </p:nvPicPr>
          <p:blipFill>
            <a:blip r:embed="rId20" cstate="hq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457594" y="4432590"/>
              <a:ext cx="505278" cy="471239"/>
            </a:xfrm>
            <a:prstGeom prst="rect">
              <a:avLst/>
            </a:prstGeom>
          </p:spPr>
        </p:pic>
      </p:grpSp>
    </p:spTree>
    <p:extLst>
      <p:ext uri="{BB962C8B-B14F-4D97-AF65-F5344CB8AC3E}">
        <p14:creationId xmlns:p14="http://schemas.microsoft.com/office/powerpoint/2010/main" val="18640595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12D955B-201D-4E1A-BFB0-903B4C86901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6" name="think-cell Slide" r:id="rId6" imgW="395" imgH="396" progId="TCLayout.ActiveDocument.1">
                  <p:embed/>
                </p:oleObj>
              </mc:Choice>
              <mc:Fallback>
                <p:oleObj name="think-cell Slide" r:id="rId6" imgW="395" imgH="396" progId="TCLayout.ActiveDocument.1">
                  <p:embed/>
                  <p:pic>
                    <p:nvPicPr>
                      <p:cNvPr id="8" name="Object 7" hidden="1">
                        <a:extLst>
                          <a:ext uri="{FF2B5EF4-FFF2-40B4-BE49-F238E27FC236}">
                            <a16:creationId xmlns:a16="http://schemas.microsoft.com/office/drawing/2014/main" id="{612D955B-201D-4E1A-BFB0-903B4C86901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7BAFEE7-9974-45D8-9846-49163BAAE2B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a:sym typeface="Chronicle Display Black"/>
            </a:endParaRPr>
          </a:p>
        </p:txBody>
      </p:sp>
      <p:sp>
        <p:nvSpPr>
          <p:cNvPr id="2" name="Title 1">
            <a:extLst>
              <a:ext uri="{FF2B5EF4-FFF2-40B4-BE49-F238E27FC236}">
                <a16:creationId xmlns:a16="http://schemas.microsoft.com/office/drawing/2014/main" id="{14D24859-9E6A-4B81-9B44-94501303CE1B}"/>
              </a:ext>
            </a:extLst>
          </p:cNvPr>
          <p:cNvSpPr>
            <a:spLocks noGrp="1"/>
          </p:cNvSpPr>
          <p:nvPr>
            <p:ph type="title"/>
          </p:nvPr>
        </p:nvSpPr>
        <p:spPr/>
        <p:txBody>
          <a:bodyPr/>
          <a:lstStyle/>
          <a:p>
            <a:r>
              <a:rPr lang="en-US" dirty="0"/>
              <a:t>Workshop Agenda</a:t>
            </a:r>
          </a:p>
        </p:txBody>
      </p:sp>
      <p:sp>
        <p:nvSpPr>
          <p:cNvPr id="3" name="Text Placeholder 2">
            <a:extLst>
              <a:ext uri="{FF2B5EF4-FFF2-40B4-BE49-F238E27FC236}">
                <a16:creationId xmlns:a16="http://schemas.microsoft.com/office/drawing/2014/main" id="{1A7BE2CA-DC8D-42CD-AB6D-CAA8FF7F7BF4}"/>
              </a:ext>
            </a:extLst>
          </p:cNvPr>
          <p:cNvSpPr>
            <a:spLocks noGrp="1"/>
          </p:cNvSpPr>
          <p:nvPr>
            <p:ph type="body" sz="quarter" idx="15"/>
          </p:nvPr>
        </p:nvSpPr>
        <p:spPr/>
        <p:txBody>
          <a:bodyPr/>
          <a:lstStyle/>
          <a:p>
            <a:r>
              <a:rPr lang="en-US" dirty="0"/>
              <a:t>Agenda &amp; Table of Contents</a:t>
            </a:r>
          </a:p>
        </p:txBody>
      </p:sp>
      <p:graphicFrame>
        <p:nvGraphicFramePr>
          <p:cNvPr id="5" name="Table 4">
            <a:extLst>
              <a:ext uri="{FF2B5EF4-FFF2-40B4-BE49-F238E27FC236}">
                <a16:creationId xmlns:a16="http://schemas.microsoft.com/office/drawing/2014/main" id="{66F62A72-86CD-4B46-A0EA-25B1C10B3F93}"/>
              </a:ext>
            </a:extLst>
          </p:cNvPr>
          <p:cNvGraphicFramePr>
            <a:graphicFrameLocks noGrp="1"/>
          </p:cNvGraphicFramePr>
          <p:nvPr/>
        </p:nvGraphicFramePr>
        <p:xfrm>
          <a:off x="469900" y="1801628"/>
          <a:ext cx="7818120" cy="2926080"/>
        </p:xfrm>
        <a:graphic>
          <a:graphicData uri="http://schemas.openxmlformats.org/drawingml/2006/table">
            <a:tbl>
              <a:tblPr firstRow="1" bandRow="1">
                <a:tableStyleId>{5C22544A-7EE6-4342-B048-85BDC9FD1C3A}</a:tableStyleId>
              </a:tblPr>
              <a:tblGrid>
                <a:gridCol w="5486400">
                  <a:extLst>
                    <a:ext uri="{9D8B030D-6E8A-4147-A177-3AD203B41FA5}">
                      <a16:colId xmlns:a16="http://schemas.microsoft.com/office/drawing/2014/main" val="20000"/>
                    </a:ext>
                  </a:extLst>
                </a:gridCol>
                <a:gridCol w="2331720">
                  <a:extLst>
                    <a:ext uri="{9D8B030D-6E8A-4147-A177-3AD203B41FA5}">
                      <a16:colId xmlns:a16="http://schemas.microsoft.com/office/drawing/2014/main" val="20001"/>
                    </a:ext>
                  </a:extLst>
                </a:gridCol>
              </a:tblGrid>
              <a:tr h="731520">
                <a:tc>
                  <a:txBody>
                    <a:bodyPr/>
                    <a:lstStyle/>
                    <a:p>
                      <a:r>
                        <a:rPr lang="en-US" sz="1600" b="0" dirty="0">
                          <a:solidFill>
                            <a:schemeClr val="tx1"/>
                          </a:solidFill>
                        </a:rPr>
                        <a:t>Executive Summary</a:t>
                      </a:r>
                    </a:p>
                  </a:txBody>
                  <a:tcPr anchor="ctr">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n-US" sz="1600" b="0" dirty="0">
                          <a:solidFill>
                            <a:schemeClr val="tx1"/>
                          </a:solidFill>
                        </a:rPr>
                        <a:t>8:00 – 8:15 AM</a:t>
                      </a:r>
                    </a:p>
                  </a:txBody>
                  <a:tcPr anchor="ctr">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731520">
                <a:tc>
                  <a:txBody>
                    <a:bodyPr/>
                    <a:lstStyle/>
                    <a:p>
                      <a:r>
                        <a:rPr lang="en-US" sz="1600" b="0" dirty="0">
                          <a:solidFill>
                            <a:schemeClr val="tx1"/>
                          </a:solidFill>
                        </a:rPr>
                        <a:t>Overview of Consumer</a:t>
                      </a:r>
                      <a:r>
                        <a:rPr lang="en-US" sz="1600" b="0" baseline="0" dirty="0">
                          <a:solidFill>
                            <a:schemeClr val="tx1"/>
                          </a:solidFill>
                        </a:rPr>
                        <a:t> Replacement Opportunities</a:t>
                      </a:r>
                      <a:endParaRPr lang="en-US" sz="1600" b="0" dirty="0">
                        <a:solidFill>
                          <a:schemeClr val="tx1"/>
                        </a:solidFill>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n-US" sz="1600" b="0" dirty="0">
                          <a:solidFill>
                            <a:schemeClr val="tx1"/>
                          </a:solidFill>
                        </a:rPr>
                        <a:t>8:15 – 9:00 AM</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731520">
                <a:tc>
                  <a:txBody>
                    <a:bodyPr/>
                    <a:lstStyle/>
                    <a:p>
                      <a:r>
                        <a:rPr lang="en-US" sz="1600" b="0" dirty="0">
                          <a:solidFill>
                            <a:schemeClr val="tx1"/>
                          </a:solidFill>
                        </a:rPr>
                        <a:t>Initial Observations in Commercial</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n-US" sz="1600" b="0" dirty="0">
                          <a:solidFill>
                            <a:schemeClr val="tx1"/>
                          </a:solidFill>
                        </a:rPr>
                        <a:t>9:00 – 9:30 AM</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731520">
                <a:tc>
                  <a:txBody>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lang="en-US" sz="1600" b="0" dirty="0">
                          <a:solidFill>
                            <a:schemeClr val="tx1"/>
                          </a:solidFill>
                        </a:rPr>
                        <a:t>Opportunity</a:t>
                      </a:r>
                      <a:r>
                        <a:rPr lang="en-US" sz="1600" b="0" baseline="0" dirty="0">
                          <a:solidFill>
                            <a:schemeClr val="tx1"/>
                          </a:solidFill>
                        </a:rPr>
                        <a:t> Prioritization and </a:t>
                      </a:r>
                      <a:r>
                        <a:rPr lang="en-US" sz="1600" b="0" dirty="0">
                          <a:solidFill>
                            <a:schemeClr val="tx1"/>
                          </a:solidFill>
                        </a:rPr>
                        <a:t>Next Steps</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lang="en-US" sz="1600" b="0" dirty="0">
                          <a:solidFill>
                            <a:schemeClr val="tx1"/>
                          </a:solidFill>
                        </a:rPr>
                        <a:t>9:30 – 10:00 AM</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7" name="Rectangle 6">
            <a:extLst>
              <a:ext uri="{FF2B5EF4-FFF2-40B4-BE49-F238E27FC236}">
                <a16:creationId xmlns:a16="http://schemas.microsoft.com/office/drawing/2014/main" id="{ED09F433-02B1-46C6-A210-26E2A9925249}"/>
              </a:ext>
            </a:extLst>
          </p:cNvPr>
          <p:cNvSpPr/>
          <p:nvPr/>
        </p:nvSpPr>
        <p:spPr bwMode="gray">
          <a:xfrm>
            <a:off x="9381744" y="128016"/>
            <a:ext cx="2578608" cy="1673612"/>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dirty="0">
                <a:ln>
                  <a:noFill/>
                </a:ln>
                <a:solidFill>
                  <a:prstClr val="white"/>
                </a:solidFill>
                <a:effectLst/>
                <a:uLnTx/>
                <a:uFillTx/>
                <a:latin typeface="Verdana"/>
                <a:ea typeface="+mn-ea"/>
                <a:cs typeface="+mn-cs"/>
              </a:rPr>
              <a:t>Agenda</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dirty="0">
                <a:ln>
                  <a:noFill/>
                </a:ln>
                <a:solidFill>
                  <a:prstClr val="white"/>
                </a:solidFill>
                <a:effectLst/>
                <a:uLnTx/>
                <a:uFillTx/>
                <a:latin typeface="Verdana"/>
                <a:ea typeface="+mn-ea"/>
                <a:cs typeface="+mn-cs"/>
              </a:rPr>
              <a:t>From: Enoch Han (NY)</a:t>
            </a:r>
          </a:p>
        </p:txBody>
      </p:sp>
      <p:pic>
        <p:nvPicPr>
          <p:cNvPr id="37898" name="Picture 10" descr="https://brandspace.deloitte.com/downloads/575fa486762af/lg_BAA943.jpg.jpg">
            <a:extLst>
              <a:ext uri="{FF2B5EF4-FFF2-40B4-BE49-F238E27FC236}">
                <a16:creationId xmlns:a16="http://schemas.microsoft.com/office/drawing/2014/main" id="{4E737D57-3A10-482E-8AED-CF5316DFC94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8730791" y="-1"/>
            <a:ext cx="3461210" cy="70512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8969139"/>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E8AC9B9-BD85-4653-9D49-379C1976A08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676" name="think-cell Slide" r:id="rId8" imgW="415" imgH="416" progId="TCLayout.ActiveDocument.1">
                  <p:embed/>
                </p:oleObj>
              </mc:Choice>
              <mc:Fallback>
                <p:oleObj name="think-cell Slide" r:id="rId8" imgW="415" imgH="416" progId="TCLayout.ActiveDocument.1">
                  <p:embed/>
                  <p:pic>
                    <p:nvPicPr>
                      <p:cNvPr id="4" name="Object 3" hidden="1">
                        <a:extLst>
                          <a:ext uri="{FF2B5EF4-FFF2-40B4-BE49-F238E27FC236}">
                            <a16:creationId xmlns:a16="http://schemas.microsoft.com/office/drawing/2014/main" id="{AE8AC9B9-BD85-4653-9D49-379C1976A0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D232501-E49B-4F54-9077-9DDA95F3CA5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841878E8-FE72-4785-9EC9-AB2F3E38E51B}"/>
              </a:ext>
            </a:extLst>
          </p:cNvPr>
          <p:cNvSpPr>
            <a:spLocks noGrp="1"/>
          </p:cNvSpPr>
          <p:nvPr>
            <p:ph type="title"/>
          </p:nvPr>
        </p:nvSpPr>
        <p:spPr/>
        <p:txBody>
          <a:bodyPr anchor="t"/>
          <a:lstStyle/>
          <a:p>
            <a:r>
              <a:rPr lang="en-US" dirty="0">
                <a:solidFill>
                  <a:srgbClr val="000000"/>
                </a:solidFill>
              </a:rPr>
              <a:t>Digital commerce is at a tipping point as companies seek growth</a:t>
            </a:r>
            <a:endParaRPr lang="en-US" dirty="0"/>
          </a:p>
        </p:txBody>
      </p:sp>
      <p:sp>
        <p:nvSpPr>
          <p:cNvPr id="64" name="Text Placeholder 63">
            <a:extLst>
              <a:ext uri="{FF2B5EF4-FFF2-40B4-BE49-F238E27FC236}">
                <a16:creationId xmlns:a16="http://schemas.microsoft.com/office/drawing/2014/main" id="{EFC43578-B9AB-4EAC-991D-3D1F7E4AFE80}"/>
              </a:ext>
            </a:extLst>
          </p:cNvPr>
          <p:cNvSpPr>
            <a:spLocks noGrp="1"/>
          </p:cNvSpPr>
          <p:nvPr>
            <p:ph type="body" sz="quarter" idx="15"/>
          </p:nvPr>
        </p:nvSpPr>
        <p:spPr>
          <a:xfrm>
            <a:off x="914971" y="466344"/>
            <a:ext cx="4610758" cy="165404"/>
          </a:xfrm>
        </p:spPr>
        <p:txBody>
          <a:bodyPr/>
          <a:lstStyle/>
          <a:p>
            <a:r>
              <a:rPr lang="en-US" dirty="0"/>
              <a:t>Data Visualization &amp; Infographics</a:t>
            </a:r>
          </a:p>
        </p:txBody>
      </p:sp>
      <p:graphicFrame>
        <p:nvGraphicFramePr>
          <p:cNvPr id="5" name="Chart 4">
            <a:extLst>
              <a:ext uri="{FF2B5EF4-FFF2-40B4-BE49-F238E27FC236}">
                <a16:creationId xmlns:a16="http://schemas.microsoft.com/office/drawing/2014/main" id="{00C76C47-5788-4A17-B7FA-CCBC191A8A3B}"/>
              </a:ext>
            </a:extLst>
          </p:cNvPr>
          <p:cNvGraphicFramePr/>
          <p:nvPr/>
        </p:nvGraphicFramePr>
        <p:xfrm>
          <a:off x="5102357" y="4487659"/>
          <a:ext cx="2366460" cy="1816853"/>
        </p:xfrm>
        <a:graphic>
          <a:graphicData uri="http://schemas.openxmlformats.org/drawingml/2006/chart">
            <c:chart xmlns:c="http://schemas.openxmlformats.org/drawingml/2006/chart" xmlns:r="http://schemas.openxmlformats.org/officeDocument/2006/relationships" r:id="rId10"/>
          </a:graphicData>
        </a:graphic>
      </p:graphicFrame>
      <p:cxnSp>
        <p:nvCxnSpPr>
          <p:cNvPr id="6" name="Straight Connector 5">
            <a:extLst>
              <a:ext uri="{FF2B5EF4-FFF2-40B4-BE49-F238E27FC236}">
                <a16:creationId xmlns:a16="http://schemas.microsoft.com/office/drawing/2014/main" id="{D5E03B07-C6CF-4E90-916F-2B21A5071193}"/>
              </a:ext>
            </a:extLst>
          </p:cNvPr>
          <p:cNvCxnSpPr/>
          <p:nvPr/>
        </p:nvCxnSpPr>
        <p:spPr>
          <a:xfrm>
            <a:off x="1149580" y="2090166"/>
            <a:ext cx="3019297" cy="0"/>
          </a:xfrm>
          <a:prstGeom prst="line">
            <a:avLst/>
          </a:prstGeom>
          <a:ln w="60960" cmpd="sng">
            <a:solidFill>
              <a:schemeClr val="accent1"/>
            </a:solidFill>
          </a:ln>
        </p:spPr>
        <p:style>
          <a:lnRef idx="2">
            <a:schemeClr val="accent1"/>
          </a:lnRef>
          <a:fillRef idx="0">
            <a:schemeClr val="accent1"/>
          </a:fillRef>
          <a:effectRef idx="1">
            <a:schemeClr val="accent1"/>
          </a:effectRef>
          <a:fontRef idx="minor">
            <a:schemeClr val="tx1"/>
          </a:fontRef>
        </p:style>
      </p:cxnSp>
      <p:sp>
        <p:nvSpPr>
          <p:cNvPr id="7" name="Text Placeholder 5">
            <a:extLst>
              <a:ext uri="{FF2B5EF4-FFF2-40B4-BE49-F238E27FC236}">
                <a16:creationId xmlns:a16="http://schemas.microsoft.com/office/drawing/2014/main" id="{23B7E636-21EA-4286-8F86-433CAE7FB9D4}"/>
              </a:ext>
            </a:extLst>
          </p:cNvPr>
          <p:cNvSpPr txBox="1">
            <a:spLocks/>
          </p:cNvSpPr>
          <p:nvPr/>
        </p:nvSpPr>
        <p:spPr>
          <a:xfrm>
            <a:off x="914398" y="1828800"/>
            <a:ext cx="3534697" cy="412528"/>
          </a:xfrm>
          <a:prstGeom prst="rect">
            <a:avLst/>
          </a:prstGeom>
        </p:spPr>
        <p:txBody>
          <a:bodyPr vert="horz" lIns="0" tIns="0" rIns="0" bIns="0" rtlCol="0">
            <a:noAutofit/>
          </a:bodyPr>
          <a:lstStyle>
            <a:lvl1pPr indent="0">
              <a:lnSpc>
                <a:spcPct val="100000"/>
              </a:lnSpc>
              <a:spcBef>
                <a:spcPts val="1000"/>
              </a:spcBef>
              <a:buClr>
                <a:schemeClr val="accent5"/>
              </a:buClr>
              <a:buSzPct val="75000"/>
              <a:buFont typeface="Arial" panose="020B0604020202020204" pitchFamily="34" charset="0"/>
              <a:buNone/>
              <a:defRPr lang="en-US" sz="900" b="1" kern="0" spc="250" baseline="0" dirty="0">
                <a:solidFill>
                  <a:schemeClr val="accent5"/>
                </a:solidFill>
                <a:ea typeface="Nexa Black" charset="0"/>
                <a:cs typeface="Nexa Black"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30000"/>
              </a:lnSpc>
              <a:spcBef>
                <a:spcPts val="1000"/>
              </a:spcBef>
              <a:spcAft>
                <a:spcPts val="0"/>
              </a:spcAft>
              <a:buClr>
                <a:srgbClr val="787878"/>
              </a:buClr>
              <a:buSzPct val="75000"/>
              <a:buFont typeface="Arial" panose="020B0604020202020204" pitchFamily="34" charset="0"/>
              <a:buNone/>
              <a:tabLst/>
              <a:defRPr/>
            </a:pPr>
            <a:r>
              <a:rPr kumimoji="0" lang="en-US" sz="1600" b="1" i="0" u="none" strike="noStrike" kern="0" cap="none" spc="250" normalizeH="0" baseline="0" noProof="0" dirty="0">
                <a:ln>
                  <a:noFill/>
                </a:ln>
                <a:solidFill>
                  <a:srgbClr val="000000"/>
                </a:solidFill>
                <a:effectLst/>
                <a:uLnTx/>
                <a:uFillTx/>
                <a:latin typeface="Open Sans"/>
              </a:rPr>
              <a:t>DIGITAL IS UBIQUITOUS</a:t>
            </a:r>
          </a:p>
        </p:txBody>
      </p:sp>
      <p:cxnSp>
        <p:nvCxnSpPr>
          <p:cNvPr id="8" name="Straight Connector 7">
            <a:extLst>
              <a:ext uri="{FF2B5EF4-FFF2-40B4-BE49-F238E27FC236}">
                <a16:creationId xmlns:a16="http://schemas.microsoft.com/office/drawing/2014/main" id="{5EB13F3E-7AC8-4E73-A6AF-933A07983174}"/>
              </a:ext>
            </a:extLst>
          </p:cNvPr>
          <p:cNvCxnSpPr/>
          <p:nvPr/>
        </p:nvCxnSpPr>
        <p:spPr>
          <a:xfrm>
            <a:off x="4831761" y="2090166"/>
            <a:ext cx="2562097" cy="0"/>
          </a:xfrm>
          <a:prstGeom prst="line">
            <a:avLst/>
          </a:prstGeom>
          <a:ln w="60960" cmpd="sng">
            <a:solidFill>
              <a:schemeClr val="accent4"/>
            </a:solidFill>
          </a:ln>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C8EF09F7-B5ED-4DA5-945B-0D1BE61100E4}"/>
              </a:ext>
            </a:extLst>
          </p:cNvPr>
          <p:cNvCxnSpPr/>
          <p:nvPr/>
        </p:nvCxnSpPr>
        <p:spPr>
          <a:xfrm>
            <a:off x="8311896" y="2090166"/>
            <a:ext cx="2700528" cy="0"/>
          </a:xfrm>
          <a:prstGeom prst="line">
            <a:avLst/>
          </a:prstGeom>
          <a:ln w="60960" cmpd="sng">
            <a:solidFill>
              <a:schemeClr val="accent3"/>
            </a:solidFill>
          </a:ln>
        </p:spPr>
        <p:style>
          <a:lnRef idx="2">
            <a:schemeClr val="accent1"/>
          </a:lnRef>
          <a:fillRef idx="0">
            <a:schemeClr val="accent1"/>
          </a:fillRef>
          <a:effectRef idx="1">
            <a:schemeClr val="accent1"/>
          </a:effectRef>
          <a:fontRef idx="minor">
            <a:schemeClr val="tx1"/>
          </a:fontRef>
        </p:style>
      </p:cxnSp>
      <p:sp>
        <p:nvSpPr>
          <p:cNvPr id="10" name="Text Placeholder 5">
            <a:extLst>
              <a:ext uri="{FF2B5EF4-FFF2-40B4-BE49-F238E27FC236}">
                <a16:creationId xmlns:a16="http://schemas.microsoft.com/office/drawing/2014/main" id="{466A3C80-7252-496A-82D8-E906FF0ECD84}"/>
              </a:ext>
            </a:extLst>
          </p:cNvPr>
          <p:cNvSpPr txBox="1">
            <a:spLocks/>
          </p:cNvSpPr>
          <p:nvPr/>
        </p:nvSpPr>
        <p:spPr>
          <a:xfrm>
            <a:off x="4360605" y="1828800"/>
            <a:ext cx="3534697" cy="412528"/>
          </a:xfrm>
          <a:prstGeom prst="rect">
            <a:avLst/>
          </a:prstGeom>
        </p:spPr>
        <p:txBody>
          <a:bodyPr vert="horz" lIns="0" tIns="0" rIns="0" bIns="0" rtlCol="0">
            <a:noAutofit/>
          </a:bodyPr>
          <a:lstStyle>
            <a:lvl1pPr indent="0">
              <a:lnSpc>
                <a:spcPct val="100000"/>
              </a:lnSpc>
              <a:spcBef>
                <a:spcPts val="1000"/>
              </a:spcBef>
              <a:buClr>
                <a:schemeClr val="accent5"/>
              </a:buClr>
              <a:buSzPct val="75000"/>
              <a:buFont typeface="Arial" panose="020B0604020202020204" pitchFamily="34" charset="0"/>
              <a:buNone/>
              <a:defRPr lang="en-US" sz="900" b="1" kern="0" spc="250" baseline="0" dirty="0">
                <a:solidFill>
                  <a:schemeClr val="accent5"/>
                </a:solidFill>
                <a:ea typeface="Nexa Black" charset="0"/>
                <a:cs typeface="Nexa Black"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30000"/>
              </a:lnSpc>
              <a:spcBef>
                <a:spcPts val="1000"/>
              </a:spcBef>
              <a:spcAft>
                <a:spcPts val="0"/>
              </a:spcAft>
              <a:buClr>
                <a:srgbClr val="787878"/>
              </a:buClr>
              <a:buSzPct val="75000"/>
              <a:buFont typeface="Arial" panose="020B0604020202020204" pitchFamily="34" charset="0"/>
              <a:buNone/>
              <a:tabLst/>
              <a:defRPr/>
            </a:pPr>
            <a:r>
              <a:rPr kumimoji="0" lang="en-US" sz="1600" b="1" i="0" u="none" strike="noStrike" kern="0" cap="none" spc="250" normalizeH="0" baseline="0" noProof="0" dirty="0">
                <a:ln>
                  <a:noFill/>
                </a:ln>
                <a:solidFill>
                  <a:srgbClr val="000000"/>
                </a:solidFill>
                <a:effectLst/>
                <a:uLnTx/>
                <a:uFillTx/>
                <a:latin typeface="Open Sans"/>
              </a:rPr>
              <a:t>ONLINE IS GROWING</a:t>
            </a:r>
          </a:p>
        </p:txBody>
      </p:sp>
      <p:sp>
        <p:nvSpPr>
          <p:cNvPr id="11" name="Text Placeholder 5">
            <a:extLst>
              <a:ext uri="{FF2B5EF4-FFF2-40B4-BE49-F238E27FC236}">
                <a16:creationId xmlns:a16="http://schemas.microsoft.com/office/drawing/2014/main" id="{8B9356A8-649C-4481-9BC7-CF1560CBE634}"/>
              </a:ext>
            </a:extLst>
          </p:cNvPr>
          <p:cNvSpPr txBox="1">
            <a:spLocks/>
          </p:cNvSpPr>
          <p:nvPr/>
        </p:nvSpPr>
        <p:spPr>
          <a:xfrm>
            <a:off x="7895302" y="1828800"/>
            <a:ext cx="3534697" cy="412528"/>
          </a:xfrm>
          <a:prstGeom prst="rect">
            <a:avLst/>
          </a:prstGeom>
        </p:spPr>
        <p:txBody>
          <a:bodyPr vert="horz" lIns="0" tIns="0" rIns="0" bIns="0" rtlCol="0">
            <a:noAutofit/>
          </a:bodyPr>
          <a:lstStyle>
            <a:lvl1pPr indent="0">
              <a:lnSpc>
                <a:spcPct val="100000"/>
              </a:lnSpc>
              <a:spcBef>
                <a:spcPts val="1000"/>
              </a:spcBef>
              <a:buClr>
                <a:schemeClr val="accent5"/>
              </a:buClr>
              <a:buSzPct val="75000"/>
              <a:buFont typeface="Arial" panose="020B0604020202020204" pitchFamily="34" charset="0"/>
              <a:buNone/>
              <a:defRPr lang="en-US" sz="900" b="1" kern="0" spc="250" baseline="0" dirty="0">
                <a:solidFill>
                  <a:schemeClr val="accent5"/>
                </a:solidFill>
                <a:ea typeface="Nexa Black" charset="0"/>
                <a:cs typeface="Nexa Black"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30000"/>
              </a:lnSpc>
              <a:spcBef>
                <a:spcPts val="1000"/>
              </a:spcBef>
              <a:spcAft>
                <a:spcPts val="0"/>
              </a:spcAft>
              <a:buClr>
                <a:srgbClr val="787878"/>
              </a:buClr>
              <a:buSzPct val="75000"/>
              <a:buFont typeface="Arial" panose="020B0604020202020204" pitchFamily="34" charset="0"/>
              <a:buNone/>
              <a:tabLst/>
              <a:defRPr/>
            </a:pPr>
            <a:r>
              <a:rPr kumimoji="0" lang="en-US" sz="1600" b="1" i="0" u="none" strike="noStrike" kern="0" cap="none" spc="250" normalizeH="0" baseline="0" noProof="0" dirty="0">
                <a:ln>
                  <a:noFill/>
                </a:ln>
                <a:solidFill>
                  <a:srgbClr val="000000"/>
                </a:solidFill>
                <a:effectLst/>
                <a:uLnTx/>
                <a:uFillTx/>
                <a:latin typeface="Open Sans"/>
              </a:rPr>
              <a:t>CPGS ARE INVESTING</a:t>
            </a:r>
          </a:p>
        </p:txBody>
      </p:sp>
      <p:sp>
        <p:nvSpPr>
          <p:cNvPr id="12" name="Text Placeholder 1">
            <a:extLst>
              <a:ext uri="{FF2B5EF4-FFF2-40B4-BE49-F238E27FC236}">
                <a16:creationId xmlns:a16="http://schemas.microsoft.com/office/drawing/2014/main" id="{809AADE7-161B-4F8C-962D-A62B9276D9D3}"/>
              </a:ext>
            </a:extLst>
          </p:cNvPr>
          <p:cNvSpPr txBox="1">
            <a:spLocks/>
          </p:cNvSpPr>
          <p:nvPr/>
        </p:nvSpPr>
        <p:spPr>
          <a:xfrm rot="16200000">
            <a:off x="120646" y="4144402"/>
            <a:ext cx="1596378" cy="348949"/>
          </a:xfrm>
          <a:prstGeom prst="rect">
            <a:avLst/>
          </a:prstGeom>
        </p:spPr>
        <p:txBody>
          <a:bodyPr vert="horz" lIns="0" tIns="0" rIns="91440" bIns="0" rtlCol="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
                <a:srgbClr val="92D400"/>
              </a:buClr>
              <a:buSzPct val="75000"/>
              <a:buFont typeface="Arial" panose="020B0604020202020204" pitchFamily="34" charset="0"/>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 of In-Store Grocery Sales Influenced Digitally</a:t>
            </a:r>
          </a:p>
        </p:txBody>
      </p:sp>
      <p:graphicFrame>
        <p:nvGraphicFramePr>
          <p:cNvPr id="13" name="Chart 12">
            <a:extLst>
              <a:ext uri="{FF2B5EF4-FFF2-40B4-BE49-F238E27FC236}">
                <a16:creationId xmlns:a16="http://schemas.microsoft.com/office/drawing/2014/main" id="{E11D1017-1C48-41ED-82E6-A87ABEDCCD6A}"/>
              </a:ext>
            </a:extLst>
          </p:cNvPr>
          <p:cNvGraphicFramePr/>
          <p:nvPr/>
        </p:nvGraphicFramePr>
        <p:xfrm>
          <a:off x="737648" y="2875940"/>
          <a:ext cx="3446150" cy="2970993"/>
        </p:xfrm>
        <a:graphic>
          <a:graphicData uri="http://schemas.openxmlformats.org/drawingml/2006/chart">
            <c:chart xmlns:c="http://schemas.openxmlformats.org/drawingml/2006/chart" xmlns:r="http://schemas.openxmlformats.org/officeDocument/2006/relationships" r:id="rId11"/>
          </a:graphicData>
        </a:graphic>
      </p:graphicFrame>
      <p:grpSp>
        <p:nvGrpSpPr>
          <p:cNvPr id="14" name="Group 13">
            <a:extLst>
              <a:ext uri="{FF2B5EF4-FFF2-40B4-BE49-F238E27FC236}">
                <a16:creationId xmlns:a16="http://schemas.microsoft.com/office/drawing/2014/main" id="{04A00DCD-6E3A-486C-8F6C-2BA5BCF42050}"/>
              </a:ext>
            </a:extLst>
          </p:cNvPr>
          <p:cNvGrpSpPr/>
          <p:nvPr/>
        </p:nvGrpSpPr>
        <p:grpSpPr>
          <a:xfrm>
            <a:off x="1168964" y="5721669"/>
            <a:ext cx="2671929" cy="188460"/>
            <a:chOff x="718520" y="3816727"/>
            <a:chExt cx="2671929" cy="188460"/>
          </a:xfrm>
        </p:grpSpPr>
        <p:sp>
          <p:nvSpPr>
            <p:cNvPr id="15" name="Rectangle 14">
              <a:extLst>
                <a:ext uri="{FF2B5EF4-FFF2-40B4-BE49-F238E27FC236}">
                  <a16:creationId xmlns:a16="http://schemas.microsoft.com/office/drawing/2014/main" id="{C7C86E36-3734-494E-B670-1FFBACDBD32B}"/>
                </a:ext>
              </a:extLst>
            </p:cNvPr>
            <p:cNvSpPr/>
            <p:nvPr/>
          </p:nvSpPr>
          <p:spPr>
            <a:xfrm>
              <a:off x="718520" y="3816727"/>
              <a:ext cx="475130" cy="188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lumMod val="65000"/>
                      <a:lumOff val="35000"/>
                    </a:srgbClr>
                  </a:solidFill>
                  <a:effectLst/>
                  <a:uLnTx/>
                  <a:uFillTx/>
                  <a:latin typeface="Open Sans"/>
                  <a:ea typeface="+mn-ea"/>
                  <a:cs typeface="+mn-cs"/>
                </a:rPr>
                <a:t>2014</a:t>
              </a:r>
            </a:p>
          </p:txBody>
        </p:sp>
        <p:sp>
          <p:nvSpPr>
            <p:cNvPr id="16" name="Rectangle 15">
              <a:extLst>
                <a:ext uri="{FF2B5EF4-FFF2-40B4-BE49-F238E27FC236}">
                  <a16:creationId xmlns:a16="http://schemas.microsoft.com/office/drawing/2014/main" id="{D4623F7A-7994-4426-ADCE-EBFC272A26E8}"/>
                </a:ext>
              </a:extLst>
            </p:cNvPr>
            <p:cNvSpPr/>
            <p:nvPr/>
          </p:nvSpPr>
          <p:spPr>
            <a:xfrm>
              <a:off x="1816920" y="3816727"/>
              <a:ext cx="475130" cy="188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lumMod val="65000"/>
                      <a:lumOff val="35000"/>
                    </a:srgbClr>
                  </a:solidFill>
                  <a:effectLst/>
                  <a:uLnTx/>
                  <a:uFillTx/>
                  <a:latin typeface="Open Sans"/>
                  <a:ea typeface="+mn-ea"/>
                  <a:cs typeface="+mn-cs"/>
                </a:rPr>
                <a:t>2015</a:t>
              </a:r>
            </a:p>
          </p:txBody>
        </p:sp>
        <p:sp>
          <p:nvSpPr>
            <p:cNvPr id="17" name="Rectangle 16">
              <a:extLst>
                <a:ext uri="{FF2B5EF4-FFF2-40B4-BE49-F238E27FC236}">
                  <a16:creationId xmlns:a16="http://schemas.microsoft.com/office/drawing/2014/main" id="{EB991174-2DE7-43FB-BA82-7D19EFCE9B97}"/>
                </a:ext>
              </a:extLst>
            </p:cNvPr>
            <p:cNvSpPr/>
            <p:nvPr/>
          </p:nvSpPr>
          <p:spPr>
            <a:xfrm>
              <a:off x="2915319" y="3816727"/>
              <a:ext cx="475130" cy="188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lumMod val="65000"/>
                      <a:lumOff val="35000"/>
                    </a:srgbClr>
                  </a:solidFill>
                  <a:effectLst/>
                  <a:uLnTx/>
                  <a:uFillTx/>
                  <a:latin typeface="Open Sans"/>
                  <a:ea typeface="+mn-ea"/>
                  <a:cs typeface="+mn-cs"/>
                </a:rPr>
                <a:t>2016</a:t>
              </a:r>
            </a:p>
          </p:txBody>
        </p:sp>
      </p:grpSp>
      <p:cxnSp>
        <p:nvCxnSpPr>
          <p:cNvPr id="18" name="Straight Connector 17">
            <a:extLst>
              <a:ext uri="{FF2B5EF4-FFF2-40B4-BE49-F238E27FC236}">
                <a16:creationId xmlns:a16="http://schemas.microsoft.com/office/drawing/2014/main" id="{BB0B8C6F-38A0-4C1B-B68C-14AE9942A6BD}"/>
              </a:ext>
            </a:extLst>
          </p:cNvPr>
          <p:cNvCxnSpPr/>
          <p:nvPr/>
        </p:nvCxnSpPr>
        <p:spPr>
          <a:xfrm flipV="1">
            <a:off x="1465197" y="3446045"/>
            <a:ext cx="1651619" cy="1347037"/>
          </a:xfrm>
          <a:prstGeom prst="line">
            <a:avLst/>
          </a:prstGeom>
          <a:ln>
            <a:solidFill>
              <a:schemeClr val="bg1">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Text Placeholder 5">
            <a:extLst>
              <a:ext uri="{FF2B5EF4-FFF2-40B4-BE49-F238E27FC236}">
                <a16:creationId xmlns:a16="http://schemas.microsoft.com/office/drawing/2014/main" id="{10E59AB3-4F55-4A95-81AC-67FA298F3C0E}"/>
              </a:ext>
            </a:extLst>
          </p:cNvPr>
          <p:cNvSpPr txBox="1">
            <a:spLocks/>
          </p:cNvSpPr>
          <p:nvPr/>
        </p:nvSpPr>
        <p:spPr>
          <a:xfrm>
            <a:off x="1000898" y="2468376"/>
            <a:ext cx="3267295" cy="430887"/>
          </a:xfrm>
          <a:prstGeom prst="rect">
            <a:avLst/>
          </a:prstGeom>
        </p:spPr>
        <p:txBody>
          <a:bodyPr wrap="square" lIns="0" tIns="0" rIns="0" bIns="0">
            <a:spAutoFit/>
          </a:bodyPr>
          <a:lstStyle>
            <a:defPPr>
              <a:defRPr lang="en-US"/>
            </a:defPPr>
            <a:lvl1pPr>
              <a:defRPr sz="1100" b="1"/>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mn-cs"/>
              </a:rPr>
              <a:t>Digital influences more than half </a:t>
            </a:r>
            <a:r>
              <a:rPr kumimoji="0" lang="en-US" sz="1400" b="0" i="0" u="none" strike="noStrike" kern="1200" cap="none" spc="0" normalizeH="0" baseline="0" noProof="0">
                <a:ln>
                  <a:noFill/>
                </a:ln>
                <a:solidFill>
                  <a:srgbClr val="000000"/>
                </a:solidFill>
                <a:effectLst/>
                <a:uLnTx/>
                <a:uFillTx/>
                <a:latin typeface="Open Sans"/>
                <a:ea typeface="+mn-ea"/>
                <a:cs typeface="+mn-cs"/>
              </a:rPr>
              <a:t>of in-store </a:t>
            </a:r>
            <a:r>
              <a:rPr kumimoji="0" lang="en-US" sz="1400" b="0" i="0" u="none" strike="noStrike" kern="1200" cap="none" spc="0" normalizeH="0" baseline="0" noProof="0" dirty="0">
                <a:ln>
                  <a:noFill/>
                </a:ln>
                <a:solidFill>
                  <a:srgbClr val="000000"/>
                </a:solidFill>
                <a:effectLst/>
                <a:uLnTx/>
                <a:uFillTx/>
                <a:latin typeface="Open Sans"/>
                <a:ea typeface="+mn-ea"/>
                <a:cs typeface="+mn-cs"/>
              </a:rPr>
              <a:t>grocery sales today…</a:t>
            </a:r>
          </a:p>
        </p:txBody>
      </p:sp>
      <p:sp>
        <p:nvSpPr>
          <p:cNvPr id="20" name="Rectangle 19">
            <a:extLst>
              <a:ext uri="{FF2B5EF4-FFF2-40B4-BE49-F238E27FC236}">
                <a16:creationId xmlns:a16="http://schemas.microsoft.com/office/drawing/2014/main" id="{64AAA9C5-CA85-48EA-9B02-BD7F4C65D510}"/>
              </a:ext>
            </a:extLst>
          </p:cNvPr>
          <p:cNvSpPr/>
          <p:nvPr/>
        </p:nvSpPr>
        <p:spPr>
          <a:xfrm>
            <a:off x="365760" y="3248072"/>
            <a:ext cx="727549" cy="194603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lumMod val="50000"/>
                </a:srgbClr>
              </a:solidFill>
              <a:effectLst/>
              <a:uLnTx/>
              <a:uFillTx/>
              <a:latin typeface="Open Sans"/>
              <a:ea typeface="+mn-ea"/>
              <a:cs typeface="+mn-cs"/>
            </a:endParaRPr>
          </a:p>
        </p:txBody>
      </p:sp>
      <p:sp>
        <p:nvSpPr>
          <p:cNvPr id="21" name="TextBox 20">
            <a:extLst>
              <a:ext uri="{FF2B5EF4-FFF2-40B4-BE49-F238E27FC236}">
                <a16:creationId xmlns:a16="http://schemas.microsoft.com/office/drawing/2014/main" id="{2C967C15-0F0F-4B7F-B898-FE6F4F54C486}"/>
              </a:ext>
            </a:extLst>
          </p:cNvPr>
          <p:cNvSpPr txBox="1"/>
          <p:nvPr/>
        </p:nvSpPr>
        <p:spPr>
          <a:xfrm>
            <a:off x="4831760" y="6160500"/>
            <a:ext cx="2889839" cy="123111"/>
          </a:xfrm>
          <a:prstGeom prst="rect">
            <a:avLst/>
          </a:prstGeom>
          <a:noFill/>
        </p:spPr>
        <p:txBody>
          <a:bodyPr wrap="square" lIns="0" tIns="0" rIns="0" bIns="0" rtlCol="0">
            <a:noAutofit/>
          </a:bodyPr>
          <a:lstStyle>
            <a:defPPr>
              <a:defRPr lang="en-US"/>
            </a:defPPr>
            <a:lvl1pPr>
              <a:defRPr sz="800">
                <a:solidFill>
                  <a:schemeClr val="bg1">
                    <a:lumMod val="5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50000"/>
                  </a:srgbClr>
                </a:solidFill>
                <a:effectLst/>
                <a:uLnTx/>
                <a:uFillTx/>
                <a:latin typeface="Open Sans"/>
                <a:ea typeface="+mn-ea"/>
                <a:cs typeface="+mn-cs"/>
              </a:rPr>
              <a:t>Source: Nielsen + FMI, 2017, Deloitte Grocery Digital Divide 2016</a:t>
            </a:r>
          </a:p>
        </p:txBody>
      </p:sp>
      <p:grpSp>
        <p:nvGrpSpPr>
          <p:cNvPr id="22" name="Group 21">
            <a:extLst>
              <a:ext uri="{FF2B5EF4-FFF2-40B4-BE49-F238E27FC236}">
                <a16:creationId xmlns:a16="http://schemas.microsoft.com/office/drawing/2014/main" id="{9C2532FF-E5CF-4BDD-867F-9FD07C3F9967}"/>
              </a:ext>
            </a:extLst>
          </p:cNvPr>
          <p:cNvGrpSpPr/>
          <p:nvPr/>
        </p:nvGrpSpPr>
        <p:grpSpPr>
          <a:xfrm>
            <a:off x="7067072" y="4790919"/>
            <a:ext cx="1050190" cy="374633"/>
            <a:chOff x="4926031" y="5421126"/>
            <a:chExt cx="1409896" cy="374633"/>
          </a:xfrm>
        </p:grpSpPr>
        <p:sp>
          <p:nvSpPr>
            <p:cNvPr id="23" name="Text Placeholder 5">
              <a:extLst>
                <a:ext uri="{FF2B5EF4-FFF2-40B4-BE49-F238E27FC236}">
                  <a16:creationId xmlns:a16="http://schemas.microsoft.com/office/drawing/2014/main" id="{7FC79D03-CEAA-4716-A9BE-74F3F591FAAD}"/>
                </a:ext>
              </a:extLst>
            </p:cNvPr>
            <p:cNvSpPr txBox="1">
              <a:spLocks/>
            </p:cNvSpPr>
            <p:nvPr/>
          </p:nvSpPr>
          <p:spPr>
            <a:xfrm>
              <a:off x="5172801" y="5596448"/>
              <a:ext cx="796208" cy="199311"/>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defPPr>
                <a:defRPr lang="en-US"/>
              </a:defPPr>
              <a:lvl1pPr indent="0" algn="ctr">
                <a:lnSpc>
                  <a:spcPct val="100000"/>
                </a:lnSpc>
                <a:spcBef>
                  <a:spcPct val="0"/>
                </a:spcBef>
                <a:spcAft>
                  <a:spcPct val="0"/>
                </a:spcAft>
                <a:buClr>
                  <a:schemeClr val="accent5"/>
                </a:buClr>
                <a:buSzPct val="75000"/>
                <a:buFont typeface="Arial" panose="020B0604020202020204" pitchFamily="34" charset="0"/>
                <a:buNone/>
                <a:defRPr sz="1000" b="1" spc="-30"/>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0000"/>
                </a:lnSpc>
                <a:spcBef>
                  <a:spcPct val="0"/>
                </a:spcBef>
                <a:spcAft>
                  <a:spcPct val="0"/>
                </a:spcAft>
                <a:buClr>
                  <a:srgbClr val="787878"/>
                </a:buClr>
                <a:buSzPct val="75000"/>
                <a:buFont typeface="Arial" panose="020B0604020202020204" pitchFamily="34" charset="0"/>
                <a:buNone/>
                <a:tabLst/>
                <a:defRPr/>
              </a:pPr>
              <a:r>
                <a:rPr kumimoji="0" lang="en-US" sz="900" b="0" i="1" u="none" strike="noStrike" kern="1200" cap="none" spc="-30" normalizeH="0" baseline="0" noProof="0" dirty="0">
                  <a:ln>
                    <a:noFill/>
                  </a:ln>
                  <a:solidFill>
                    <a:srgbClr val="FFFFFF">
                      <a:lumMod val="65000"/>
                    </a:srgbClr>
                  </a:solidFill>
                  <a:effectLst/>
                  <a:uLnTx/>
                  <a:uFillTx/>
                  <a:latin typeface="Open Sans"/>
                  <a:ea typeface="+mn-ea"/>
                  <a:cs typeface="+mn-cs"/>
                </a:rPr>
                <a:t>2025</a:t>
              </a:r>
            </a:p>
          </p:txBody>
        </p:sp>
        <p:sp>
          <p:nvSpPr>
            <p:cNvPr id="24" name="Text Placeholder 5">
              <a:extLst>
                <a:ext uri="{FF2B5EF4-FFF2-40B4-BE49-F238E27FC236}">
                  <a16:creationId xmlns:a16="http://schemas.microsoft.com/office/drawing/2014/main" id="{A3076F2C-74D9-4879-AE2D-7B8DA0065EF1}"/>
                </a:ext>
              </a:extLst>
            </p:cNvPr>
            <p:cNvSpPr txBox="1">
              <a:spLocks/>
            </p:cNvSpPr>
            <p:nvPr/>
          </p:nvSpPr>
          <p:spPr>
            <a:xfrm>
              <a:off x="5179930" y="5422537"/>
              <a:ext cx="1155997" cy="131939"/>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defPPr>
                <a:defRPr lang="en-US"/>
              </a:defPPr>
              <a:lvl1pPr indent="0" algn="ctr">
                <a:lnSpc>
                  <a:spcPct val="100000"/>
                </a:lnSpc>
                <a:spcBef>
                  <a:spcPct val="0"/>
                </a:spcBef>
                <a:spcAft>
                  <a:spcPct val="0"/>
                </a:spcAft>
                <a:buClr>
                  <a:schemeClr val="accent5"/>
                </a:buClr>
                <a:buSzPct val="75000"/>
                <a:buFont typeface="Arial" panose="020B0604020202020204" pitchFamily="34" charset="0"/>
                <a:buNone/>
                <a:defRPr sz="1000" b="1" spc="-30"/>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0000"/>
                </a:lnSpc>
                <a:spcBef>
                  <a:spcPct val="0"/>
                </a:spcBef>
                <a:spcAft>
                  <a:spcPct val="0"/>
                </a:spcAft>
                <a:buClr>
                  <a:srgbClr val="787878"/>
                </a:buClr>
                <a:buSzPct val="75000"/>
                <a:buFont typeface="Arial" panose="020B0604020202020204" pitchFamily="34" charset="0"/>
                <a:buNone/>
                <a:tabLst/>
                <a:defRPr/>
              </a:pPr>
              <a:r>
                <a:rPr kumimoji="0" lang="en-US" sz="900" b="0" i="1" u="none" strike="noStrike" kern="1200" cap="none" spc="-30" normalizeH="0" baseline="0" noProof="0" dirty="0">
                  <a:ln>
                    <a:noFill/>
                  </a:ln>
                  <a:solidFill>
                    <a:srgbClr val="FFFFFF">
                      <a:lumMod val="65000"/>
                    </a:srgbClr>
                  </a:solidFill>
                  <a:effectLst/>
                  <a:uLnTx/>
                  <a:uFillTx/>
                  <a:latin typeface="Open Sans"/>
                  <a:ea typeface="+mn-ea"/>
                  <a:cs typeface="+mn-cs"/>
                </a:rPr>
                <a:t>2016</a:t>
              </a:r>
            </a:p>
          </p:txBody>
        </p:sp>
        <p:sp>
          <p:nvSpPr>
            <p:cNvPr id="25" name="Rectangle 24">
              <a:extLst>
                <a:ext uri="{FF2B5EF4-FFF2-40B4-BE49-F238E27FC236}">
                  <a16:creationId xmlns:a16="http://schemas.microsoft.com/office/drawing/2014/main" id="{3C06D558-DBB9-42C9-A9CD-6D4C48F55CCD}"/>
                </a:ext>
              </a:extLst>
            </p:cNvPr>
            <p:cNvSpPr/>
            <p:nvPr>
              <p:custDataLst>
                <p:tags r:id="rId4"/>
              </p:custDataLst>
            </p:nvPr>
          </p:nvSpPr>
          <p:spPr bwMode="auto">
            <a:xfrm>
              <a:off x="4926031" y="5421126"/>
              <a:ext cx="179388" cy="133350"/>
            </a:xfrm>
            <a:prstGeom prst="rect">
              <a:avLst/>
            </a:prstGeom>
            <a:solidFill>
              <a:schemeClr val="accent4">
                <a:lumMod val="40000"/>
                <a:lumOff val="6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dirty="0">
                <a:ln>
                  <a:noFill/>
                </a:ln>
                <a:solidFill>
                  <a:srgbClr val="FFFFFF">
                    <a:lumMod val="65000"/>
                  </a:srgbClr>
                </a:solidFill>
                <a:effectLst/>
                <a:uLnTx/>
                <a:uFillTx/>
                <a:latin typeface="Open Sans"/>
                <a:ea typeface="+mn-ea"/>
                <a:cs typeface="+mn-cs"/>
              </a:endParaRPr>
            </a:p>
          </p:txBody>
        </p:sp>
        <p:sp>
          <p:nvSpPr>
            <p:cNvPr id="26" name="Rectangle 25">
              <a:extLst>
                <a:ext uri="{FF2B5EF4-FFF2-40B4-BE49-F238E27FC236}">
                  <a16:creationId xmlns:a16="http://schemas.microsoft.com/office/drawing/2014/main" id="{4F9B1563-5F77-473E-A072-301A0FDE98DC}"/>
                </a:ext>
              </a:extLst>
            </p:cNvPr>
            <p:cNvSpPr/>
            <p:nvPr>
              <p:custDataLst>
                <p:tags r:id="rId5"/>
              </p:custDataLst>
            </p:nvPr>
          </p:nvSpPr>
          <p:spPr bwMode="auto">
            <a:xfrm>
              <a:off x="4926031" y="5607737"/>
              <a:ext cx="179388" cy="133350"/>
            </a:xfrm>
            <a:prstGeom prst="rect">
              <a:avLst/>
            </a:prstGeom>
            <a:solidFill>
              <a:schemeClr val="accent4">
                <a:lumMod val="20000"/>
                <a:lumOff val="8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dirty="0">
                <a:ln>
                  <a:noFill/>
                </a:ln>
                <a:solidFill>
                  <a:srgbClr val="FFFFFF">
                    <a:lumMod val="65000"/>
                  </a:srgbClr>
                </a:solidFill>
                <a:effectLst/>
                <a:uLnTx/>
                <a:uFillTx/>
                <a:latin typeface="Open Sans"/>
                <a:ea typeface="+mn-ea"/>
                <a:cs typeface="+mn-cs"/>
              </a:endParaRPr>
            </a:p>
          </p:txBody>
        </p:sp>
      </p:grpSp>
      <p:graphicFrame>
        <p:nvGraphicFramePr>
          <p:cNvPr id="27" name="Table 26">
            <a:extLst>
              <a:ext uri="{FF2B5EF4-FFF2-40B4-BE49-F238E27FC236}">
                <a16:creationId xmlns:a16="http://schemas.microsoft.com/office/drawing/2014/main" id="{057BB05E-FF4B-4A71-9BB5-07918A189D25}"/>
              </a:ext>
            </a:extLst>
          </p:cNvPr>
          <p:cNvGraphicFramePr>
            <a:graphicFrameLocks noGrp="1"/>
          </p:cNvGraphicFramePr>
          <p:nvPr/>
        </p:nvGraphicFramePr>
        <p:xfrm>
          <a:off x="4425555" y="5002903"/>
          <a:ext cx="1393950" cy="783775"/>
        </p:xfrm>
        <a:graphic>
          <a:graphicData uri="http://schemas.openxmlformats.org/drawingml/2006/table">
            <a:tbl>
              <a:tblPr firstRow="1" bandRow="1">
                <a:tableStyleId>{5C22544A-7EE6-4342-B048-85BDC9FD1C3A}</a:tableStyleId>
              </a:tblPr>
              <a:tblGrid>
                <a:gridCol w="1393950">
                  <a:extLst>
                    <a:ext uri="{9D8B030D-6E8A-4147-A177-3AD203B41FA5}">
                      <a16:colId xmlns:a16="http://schemas.microsoft.com/office/drawing/2014/main" val="20000"/>
                    </a:ext>
                  </a:extLst>
                </a:gridCol>
              </a:tblGrid>
              <a:tr h="783775">
                <a:tc>
                  <a:txBody>
                    <a:bodyPr/>
                    <a:lstStyle/>
                    <a:p>
                      <a:pPr algn="r"/>
                      <a:r>
                        <a:rPr lang="en-US" sz="1100" b="0" kern="1200" dirty="0">
                          <a:solidFill>
                            <a:schemeClr val="tx1">
                              <a:lumMod val="65000"/>
                              <a:lumOff val="35000"/>
                            </a:schemeClr>
                          </a:solidFill>
                          <a:latin typeface="+mn-lt"/>
                          <a:ea typeface="+mn-ea"/>
                          <a:cs typeface="+mn-cs"/>
                        </a:rPr>
                        <a:t>Online grocery</a:t>
                      </a:r>
                      <a:r>
                        <a:rPr lang="en-US" sz="1100" b="0" kern="1200" baseline="0" dirty="0">
                          <a:solidFill>
                            <a:schemeClr val="tx1">
                              <a:lumMod val="65000"/>
                              <a:lumOff val="35000"/>
                            </a:schemeClr>
                          </a:solidFill>
                          <a:latin typeface="+mn-lt"/>
                          <a:ea typeface="+mn-ea"/>
                          <a:cs typeface="+mn-cs"/>
                        </a:rPr>
                        <a:t> s</a:t>
                      </a:r>
                      <a:r>
                        <a:rPr lang="en-US" sz="1100" b="0" kern="1200" dirty="0">
                          <a:solidFill>
                            <a:schemeClr val="tx1">
                              <a:lumMod val="65000"/>
                              <a:lumOff val="35000"/>
                            </a:schemeClr>
                          </a:solidFill>
                          <a:latin typeface="+mn-lt"/>
                          <a:ea typeface="+mn-ea"/>
                          <a:cs typeface="+mn-cs"/>
                        </a:rPr>
                        <a:t>hoppers</a:t>
                      </a:r>
                      <a:r>
                        <a:rPr lang="en-US" sz="1100" b="0" kern="1200" baseline="0" dirty="0">
                          <a:solidFill>
                            <a:schemeClr val="tx1">
                              <a:lumMod val="65000"/>
                              <a:lumOff val="35000"/>
                            </a:schemeClr>
                          </a:solidFill>
                          <a:latin typeface="+mn-lt"/>
                          <a:ea typeface="+mn-ea"/>
                          <a:cs typeface="+mn-cs"/>
                        </a:rPr>
                        <a:t> expecting to spend &gt;25% of food dollars online</a:t>
                      </a:r>
                      <a:endParaRPr lang="en-US" sz="1100" b="0" kern="1200" dirty="0">
                        <a:solidFill>
                          <a:schemeClr val="tx1">
                            <a:lumMod val="65000"/>
                            <a:lumOff val="35000"/>
                          </a:schemeClr>
                        </a:solidFill>
                        <a:latin typeface="+mn-lt"/>
                        <a:ea typeface="+mn-ea"/>
                        <a:cs typeface="+mn-cs"/>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28" name="TextBox 27">
            <a:extLst>
              <a:ext uri="{FF2B5EF4-FFF2-40B4-BE49-F238E27FC236}">
                <a16:creationId xmlns:a16="http://schemas.microsoft.com/office/drawing/2014/main" id="{1DA14C9C-49CE-434B-B7D9-F8A991BBE5BD}"/>
              </a:ext>
            </a:extLst>
          </p:cNvPr>
          <p:cNvSpPr txBox="1"/>
          <p:nvPr/>
        </p:nvSpPr>
        <p:spPr>
          <a:xfrm>
            <a:off x="8311896" y="6160500"/>
            <a:ext cx="3880104" cy="22806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50000"/>
                  </a:srgbClr>
                </a:solidFill>
                <a:effectLst/>
                <a:uLnTx/>
                <a:uFillTx/>
                <a:latin typeface="Open Sans"/>
                <a:ea typeface="+mn-ea"/>
                <a:cs typeface="+mn-cs"/>
              </a:rPr>
              <a:t>Sources: 1) </a:t>
            </a:r>
            <a:r>
              <a:rPr kumimoji="0" lang="en-US" sz="800" b="0" i="0" u="none" strike="noStrike" kern="1200" cap="none" spc="0" normalizeH="0" baseline="0" noProof="0" dirty="0">
                <a:ln>
                  <a:noFill/>
                </a:ln>
                <a:solidFill>
                  <a:srgbClr val="FFFFFF">
                    <a:lumMod val="50000"/>
                  </a:srgbClr>
                </a:solidFill>
                <a:effectLst/>
                <a:uLnTx/>
                <a:uFillTx/>
                <a:latin typeface="Open Sans"/>
                <a:ea typeface="+mn-ea"/>
                <a:cs typeface="+mn-cs"/>
                <a:hlinkClick r:id="rId12"/>
              </a:rPr>
              <a:t>Deloitte CAGNY Roundup</a:t>
            </a:r>
            <a:r>
              <a:rPr kumimoji="0" lang="en-US" sz="800" b="0" i="0" u="none" strike="noStrike" kern="1200" cap="none" spc="0" normalizeH="0" baseline="0" noProof="0" dirty="0">
                <a:ln>
                  <a:noFill/>
                </a:ln>
                <a:solidFill>
                  <a:srgbClr val="FFFFFF">
                    <a:lumMod val="50000"/>
                  </a:srgbClr>
                </a:solidFill>
                <a:effectLst/>
                <a:uLnTx/>
                <a:uFillTx/>
                <a:latin typeface="Open Sans"/>
                <a:ea typeface="+mn-ea"/>
                <a:cs typeface="+mn-cs"/>
              </a:rPr>
              <a:t>, 2) </a:t>
            </a:r>
            <a:r>
              <a:rPr kumimoji="0" lang="en-US" sz="800" b="0" i="0" u="none" strike="noStrike" kern="1200" cap="none" spc="0" normalizeH="0" baseline="0" noProof="0" dirty="0">
                <a:ln>
                  <a:noFill/>
                </a:ln>
                <a:solidFill>
                  <a:srgbClr val="FFFFFF">
                    <a:lumMod val="50000"/>
                  </a:srgbClr>
                </a:solidFill>
                <a:effectLst/>
                <a:uLnTx/>
                <a:uFillTx/>
                <a:latin typeface="Open Sans"/>
                <a:ea typeface="+mn-ea"/>
                <a:cs typeface="+mn-cs"/>
                <a:hlinkClick r:id="rId13"/>
              </a:rPr>
              <a:t>Bloomberg</a:t>
            </a:r>
            <a:r>
              <a:rPr kumimoji="0" lang="en-US" sz="800" b="0" i="0" u="none" strike="noStrike" kern="1200" cap="none" spc="0" normalizeH="0" baseline="0" noProof="0" dirty="0">
                <a:ln>
                  <a:noFill/>
                </a:ln>
                <a:solidFill>
                  <a:srgbClr val="FFFFFF">
                    <a:lumMod val="50000"/>
                  </a:srgbClr>
                </a:solidFill>
                <a:effectLst/>
                <a:uLnTx/>
                <a:uFillTx/>
                <a:latin typeface="Open Sans"/>
                <a:ea typeface="+mn-ea"/>
                <a:cs typeface="+mn-cs"/>
              </a:rPr>
              <a:t>, 3) </a:t>
            </a:r>
            <a:r>
              <a:rPr kumimoji="0" lang="en-US" sz="800" b="0" i="0" u="none" strike="noStrike" kern="1200" cap="none" spc="0" normalizeH="0" baseline="0" noProof="0" dirty="0">
                <a:ln>
                  <a:noFill/>
                </a:ln>
                <a:solidFill>
                  <a:srgbClr val="FFFFFF">
                    <a:lumMod val="50000"/>
                  </a:srgbClr>
                </a:solidFill>
                <a:effectLst/>
                <a:uLnTx/>
                <a:uFillTx/>
                <a:latin typeface="Open Sans"/>
                <a:ea typeface="+mn-ea"/>
                <a:cs typeface="+mn-cs"/>
                <a:hlinkClick r:id="rId14"/>
              </a:rPr>
              <a:t>Digiday</a:t>
            </a:r>
            <a:r>
              <a:rPr kumimoji="0" lang="en-US" sz="800" b="0" i="0" u="none" strike="noStrike" kern="1200" cap="none" spc="0" normalizeH="0" baseline="0" noProof="0" dirty="0">
                <a:ln>
                  <a:noFill/>
                </a:ln>
                <a:solidFill>
                  <a:srgbClr val="FFFFFF">
                    <a:lumMod val="50000"/>
                  </a:srgbClr>
                </a:solidFill>
                <a:effectLst/>
                <a:uLnTx/>
                <a:uFillTx/>
                <a:latin typeface="Open Sans"/>
                <a:ea typeface="+mn-ea"/>
                <a:cs typeface="+mn-cs"/>
              </a:rPr>
              <a:t>, 4) </a:t>
            </a:r>
            <a:r>
              <a:rPr kumimoji="0" lang="en-US" sz="800" b="0" i="0" u="none" strike="noStrike" kern="1200" cap="none" spc="0" normalizeH="0" baseline="0" noProof="0" dirty="0">
                <a:ln>
                  <a:noFill/>
                </a:ln>
                <a:solidFill>
                  <a:srgbClr val="FFFFFF">
                    <a:lumMod val="50000"/>
                  </a:srgbClr>
                </a:solidFill>
                <a:effectLst/>
                <a:uLnTx/>
                <a:uFillTx/>
                <a:latin typeface="Open Sans"/>
                <a:ea typeface="+mn-ea"/>
                <a:cs typeface="+mn-cs"/>
                <a:hlinkClick r:id="rId15"/>
              </a:rPr>
              <a:t>Fortune</a:t>
            </a:r>
            <a:endParaRPr kumimoji="0" lang="en-US" sz="800" b="0" i="0" u="none" strike="noStrike" kern="1200" cap="none" spc="0" normalizeH="0" baseline="0" noProof="0" dirty="0">
              <a:ln>
                <a:noFill/>
              </a:ln>
              <a:solidFill>
                <a:srgbClr val="FFFFFF">
                  <a:lumMod val="50000"/>
                </a:srgbClr>
              </a:solidFill>
              <a:effectLst/>
              <a:uLnTx/>
              <a:uFillTx/>
              <a:latin typeface="Open Sans"/>
              <a:ea typeface="+mn-ea"/>
              <a:cs typeface="+mn-cs"/>
            </a:endParaRPr>
          </a:p>
        </p:txBody>
      </p:sp>
      <p:cxnSp>
        <p:nvCxnSpPr>
          <p:cNvPr id="29" name="Straight Connector 28">
            <a:extLst>
              <a:ext uri="{FF2B5EF4-FFF2-40B4-BE49-F238E27FC236}">
                <a16:creationId xmlns:a16="http://schemas.microsoft.com/office/drawing/2014/main" id="{9F82874E-0191-4F7E-8CEF-D9423641F06D}"/>
              </a:ext>
            </a:extLst>
          </p:cNvPr>
          <p:cNvCxnSpPr/>
          <p:nvPr/>
        </p:nvCxnSpPr>
        <p:spPr>
          <a:xfrm>
            <a:off x="9450370" y="3801276"/>
            <a:ext cx="822960" cy="0"/>
          </a:xfrm>
          <a:prstGeom prst="line">
            <a:avLst/>
          </a:prstGeom>
          <a:ln w="28575" cmpd="sng">
            <a:solidFill>
              <a:schemeClr val="accent3">
                <a:lumMod val="40000"/>
                <a:lumOff val="60000"/>
              </a:schemeClr>
            </a:solidFill>
          </a:ln>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5EF464B8-0E45-47DC-AA50-E5075E459CC9}"/>
              </a:ext>
            </a:extLst>
          </p:cNvPr>
          <p:cNvCxnSpPr/>
          <p:nvPr/>
        </p:nvCxnSpPr>
        <p:spPr>
          <a:xfrm>
            <a:off x="10141645" y="3624952"/>
            <a:ext cx="822960" cy="0"/>
          </a:xfrm>
          <a:prstGeom prst="line">
            <a:avLst/>
          </a:prstGeom>
          <a:ln w="28575" cmpd="sng">
            <a:solidFill>
              <a:schemeClr val="accent3">
                <a:lumMod val="40000"/>
                <a:lumOff val="60000"/>
              </a:schemeClr>
            </a:solidFill>
          </a:ln>
        </p:spPr>
        <p:style>
          <a:lnRef idx="2">
            <a:schemeClr val="accent1"/>
          </a:lnRef>
          <a:fillRef idx="0">
            <a:schemeClr val="accent1"/>
          </a:fillRef>
          <a:effectRef idx="1">
            <a:schemeClr val="accent1"/>
          </a:effectRef>
          <a:fontRef idx="minor">
            <a:schemeClr val="tx1"/>
          </a:fontRef>
        </p:style>
      </p:cxnSp>
      <p:sp>
        <p:nvSpPr>
          <p:cNvPr id="31" name="Rectangle 30">
            <a:extLst>
              <a:ext uri="{FF2B5EF4-FFF2-40B4-BE49-F238E27FC236}">
                <a16:creationId xmlns:a16="http://schemas.microsoft.com/office/drawing/2014/main" id="{CCFFCF3B-3844-4A9C-B2C4-B629BE9115E3}"/>
              </a:ext>
            </a:extLst>
          </p:cNvPr>
          <p:cNvSpPr/>
          <p:nvPr/>
        </p:nvSpPr>
        <p:spPr>
          <a:xfrm>
            <a:off x="8607891" y="3323807"/>
            <a:ext cx="2404533" cy="1692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65000"/>
                    <a:lumOff val="35000"/>
                  </a:srgbClr>
                </a:solidFill>
                <a:effectLst/>
                <a:uLnTx/>
                <a:uFillTx/>
                <a:latin typeface="Open Sans"/>
                <a:ea typeface="+mn-ea"/>
                <a:cs typeface="+mn-cs"/>
              </a:rPr>
              <a:t>increased</a:t>
            </a:r>
            <a:r>
              <a:rPr kumimoji="0" lang="en-US" sz="1100" b="0" i="0" u="none" strike="noStrike" kern="1200" cap="none" spc="0" normalizeH="0" baseline="0" noProof="0" dirty="0">
                <a:ln>
                  <a:noFill/>
                </a:ln>
                <a:solidFill>
                  <a:srgbClr val="000000">
                    <a:lumMod val="65000"/>
                    <a:lumOff val="35000"/>
                  </a:srgbClr>
                </a:solidFill>
                <a:effectLst/>
                <a:uLnTx/>
                <a:uFillTx/>
                <a:latin typeface="Open Sans"/>
                <a:ea typeface="+mn-ea"/>
                <a:cs typeface="+mn-cs"/>
              </a:rPr>
              <a:t> </a:t>
            </a:r>
            <a:r>
              <a:rPr kumimoji="0" lang="en-US" sz="1100" b="1" i="0" u="none" strike="noStrike" kern="1200" cap="none" spc="0" normalizeH="0" baseline="0" noProof="0" dirty="0">
                <a:ln>
                  <a:noFill/>
                </a:ln>
                <a:solidFill>
                  <a:srgbClr val="000000">
                    <a:lumMod val="65000"/>
                    <a:lumOff val="35000"/>
                  </a:srgbClr>
                </a:solidFill>
                <a:effectLst/>
                <a:uLnTx/>
                <a:uFillTx/>
                <a:latin typeface="Open Sans"/>
                <a:ea typeface="+mn-ea"/>
                <a:cs typeface="+mn-cs"/>
              </a:rPr>
              <a:t>online sales by</a:t>
            </a:r>
          </a:p>
        </p:txBody>
      </p:sp>
      <p:pic>
        <p:nvPicPr>
          <p:cNvPr id="32" name="Picture 31">
            <a:extLst>
              <a:ext uri="{FF2B5EF4-FFF2-40B4-BE49-F238E27FC236}">
                <a16:creationId xmlns:a16="http://schemas.microsoft.com/office/drawing/2014/main" id="{C376212A-376A-41F6-AFA1-29C2818C9DDD}"/>
              </a:ext>
            </a:extLst>
          </p:cNvPr>
          <p:cNvPicPr>
            <a:picLocks noChangeAspect="1"/>
          </p:cNvPicPr>
          <p:nvPr/>
        </p:nvPicPr>
        <p:blipFill>
          <a:blip r:embed="rId16"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8131214" y="3004178"/>
            <a:ext cx="1023452" cy="283848"/>
          </a:xfrm>
          <a:prstGeom prst="rect">
            <a:avLst/>
          </a:prstGeom>
        </p:spPr>
      </p:pic>
      <p:sp>
        <p:nvSpPr>
          <p:cNvPr id="33" name="Rectangle 32">
            <a:extLst>
              <a:ext uri="{FF2B5EF4-FFF2-40B4-BE49-F238E27FC236}">
                <a16:creationId xmlns:a16="http://schemas.microsoft.com/office/drawing/2014/main" id="{9776BE1C-DB00-4607-A14F-C75ED83A1064}"/>
              </a:ext>
            </a:extLst>
          </p:cNvPr>
          <p:cNvSpPr/>
          <p:nvPr/>
        </p:nvSpPr>
        <p:spPr>
          <a:xfrm>
            <a:off x="9143790" y="3504754"/>
            <a:ext cx="2404533" cy="1692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65000"/>
                    <a:lumOff val="35000"/>
                  </a:srgbClr>
                </a:solidFill>
                <a:effectLst/>
                <a:uLnTx/>
                <a:uFillTx/>
                <a:latin typeface="Open Sans"/>
                <a:ea typeface="+mn-ea"/>
                <a:cs typeface="+mn-cs"/>
              </a:rPr>
              <a:t>after creating a 200-person</a:t>
            </a:r>
          </a:p>
        </p:txBody>
      </p:sp>
      <p:sp>
        <p:nvSpPr>
          <p:cNvPr id="34" name="Text Placeholder 5">
            <a:extLst>
              <a:ext uri="{FF2B5EF4-FFF2-40B4-BE49-F238E27FC236}">
                <a16:creationId xmlns:a16="http://schemas.microsoft.com/office/drawing/2014/main" id="{6CE3D1A1-F22B-41D6-A01B-C8F0FDFC5137}"/>
              </a:ext>
            </a:extLst>
          </p:cNvPr>
          <p:cNvSpPr txBox="1">
            <a:spLocks/>
          </p:cNvSpPr>
          <p:nvPr/>
        </p:nvSpPr>
        <p:spPr>
          <a:xfrm>
            <a:off x="10414822" y="3237176"/>
            <a:ext cx="1110674" cy="417739"/>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FDD300"/>
                </a:solidFill>
                <a:effectLst/>
                <a:uLnTx/>
                <a:uFillTx/>
                <a:latin typeface="Chronicle Display Black" charset="0"/>
                <a:ea typeface="Chronicle Display Black" charset="0"/>
                <a:cs typeface="Chronicle Display Black" charset="0"/>
              </a:rPr>
              <a:t>2X </a:t>
            </a:r>
            <a:r>
              <a:rPr kumimoji="0" lang="en-US" sz="1100" b="1" i="0" u="none" strike="noStrike" kern="1200" cap="none" spc="-30" normalizeH="0" baseline="0" noProof="0" dirty="0">
                <a:ln>
                  <a:noFill/>
                </a:ln>
                <a:solidFill>
                  <a:srgbClr val="000000">
                    <a:lumMod val="65000"/>
                    <a:lumOff val="35000"/>
                  </a:srgbClr>
                </a:solidFill>
                <a:effectLst/>
                <a:uLnTx/>
                <a:uFillTx/>
                <a:latin typeface="Open Sans"/>
                <a:ea typeface="Open Sans" charset="0"/>
                <a:cs typeface="Open Sans" charset="0"/>
              </a:rPr>
              <a:t>to </a:t>
            </a:r>
            <a:r>
              <a:rPr kumimoji="0" lang="en-US" sz="2000" b="1" i="0" u="none" strike="noStrike" kern="1200" cap="none" spc="0" normalizeH="0" baseline="0" noProof="0" dirty="0">
                <a:ln>
                  <a:noFill/>
                </a:ln>
                <a:solidFill>
                  <a:srgbClr val="FDD300"/>
                </a:solidFill>
                <a:effectLst/>
                <a:uLnTx/>
                <a:uFillTx/>
                <a:latin typeface="Chronicle Display Black" charset="0"/>
                <a:ea typeface="Chronicle Display Black" charset="0"/>
                <a:cs typeface="Chronicle Display Black" charset="0"/>
              </a:rPr>
              <a:t>$1B</a:t>
            </a:r>
            <a:endParaRPr kumimoji="0" lang="en-US" sz="1100" b="0" i="0" u="none" strike="noStrike" kern="1200" cap="none" spc="0" normalizeH="0" baseline="0" noProof="0" dirty="0">
              <a:ln>
                <a:noFill/>
              </a:ln>
              <a:solidFill>
                <a:srgbClr val="FDD300"/>
              </a:solidFill>
              <a:effectLst/>
              <a:uLnTx/>
              <a:uFillTx/>
              <a:latin typeface="Open Sans"/>
              <a:ea typeface="Chronicle Display Black" charset="0"/>
              <a:cs typeface="Chronicle Display Black" charset="0"/>
            </a:endParaRPr>
          </a:p>
        </p:txBody>
      </p:sp>
      <p:sp>
        <p:nvSpPr>
          <p:cNvPr id="35" name="Rectangle 34">
            <a:extLst>
              <a:ext uri="{FF2B5EF4-FFF2-40B4-BE49-F238E27FC236}">
                <a16:creationId xmlns:a16="http://schemas.microsoft.com/office/drawing/2014/main" id="{BDAE9BCB-0121-4077-9DF7-1EC87C1E161B}"/>
              </a:ext>
            </a:extLst>
          </p:cNvPr>
          <p:cNvSpPr/>
          <p:nvPr/>
        </p:nvSpPr>
        <p:spPr>
          <a:xfrm>
            <a:off x="9450370" y="3672985"/>
            <a:ext cx="2404533" cy="1692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65000"/>
                    <a:lumOff val="35000"/>
                  </a:srgbClr>
                </a:solidFill>
                <a:effectLst/>
                <a:uLnTx/>
                <a:uFillTx/>
                <a:latin typeface="Open Sans"/>
                <a:ea typeface="+mn-ea"/>
                <a:cs typeface="+mn-cs"/>
              </a:rPr>
              <a:t>business unit dedicated to digital</a:t>
            </a:r>
          </a:p>
        </p:txBody>
      </p:sp>
      <p:cxnSp>
        <p:nvCxnSpPr>
          <p:cNvPr id="36" name="Straight Connector 35">
            <a:extLst>
              <a:ext uri="{FF2B5EF4-FFF2-40B4-BE49-F238E27FC236}">
                <a16:creationId xmlns:a16="http://schemas.microsoft.com/office/drawing/2014/main" id="{C0E4C56D-1C29-48BB-A220-F26A74CD0B83}"/>
              </a:ext>
            </a:extLst>
          </p:cNvPr>
          <p:cNvCxnSpPr/>
          <p:nvPr/>
        </p:nvCxnSpPr>
        <p:spPr>
          <a:xfrm>
            <a:off x="8814355" y="4820990"/>
            <a:ext cx="822960" cy="0"/>
          </a:xfrm>
          <a:prstGeom prst="line">
            <a:avLst/>
          </a:prstGeom>
          <a:ln w="28575" cmpd="sng">
            <a:solidFill>
              <a:schemeClr val="accent3">
                <a:lumMod val="40000"/>
                <a:lumOff val="60000"/>
              </a:schemeClr>
            </a:solidFill>
          </a:ln>
        </p:spPr>
        <p:style>
          <a:lnRef idx="2">
            <a:schemeClr val="accent1"/>
          </a:lnRef>
          <a:fillRef idx="0">
            <a:schemeClr val="accent1"/>
          </a:fillRef>
          <a:effectRef idx="1">
            <a:schemeClr val="accent1"/>
          </a:effectRef>
          <a:fontRef idx="minor">
            <a:schemeClr val="tx1"/>
          </a:fontRef>
        </p:style>
      </p:cxnSp>
      <p:cxnSp>
        <p:nvCxnSpPr>
          <p:cNvPr id="37" name="Straight Connector 36">
            <a:extLst>
              <a:ext uri="{FF2B5EF4-FFF2-40B4-BE49-F238E27FC236}">
                <a16:creationId xmlns:a16="http://schemas.microsoft.com/office/drawing/2014/main" id="{B347583C-D709-419A-8422-7C2B6FFED194}"/>
              </a:ext>
            </a:extLst>
          </p:cNvPr>
          <p:cNvCxnSpPr/>
          <p:nvPr/>
        </p:nvCxnSpPr>
        <p:spPr>
          <a:xfrm>
            <a:off x="9925725" y="4820990"/>
            <a:ext cx="1920240" cy="0"/>
          </a:xfrm>
          <a:prstGeom prst="line">
            <a:avLst/>
          </a:prstGeom>
          <a:ln w="28575" cmpd="sng">
            <a:solidFill>
              <a:schemeClr val="accent3">
                <a:lumMod val="40000"/>
                <a:lumOff val="60000"/>
              </a:schemeClr>
            </a:solidFill>
          </a:ln>
        </p:spPr>
        <p:style>
          <a:lnRef idx="2">
            <a:schemeClr val="accent1"/>
          </a:lnRef>
          <a:fillRef idx="0">
            <a:schemeClr val="accent1"/>
          </a:fillRef>
          <a:effectRef idx="1">
            <a:schemeClr val="accent1"/>
          </a:effectRef>
          <a:fontRef idx="minor">
            <a:schemeClr val="tx1"/>
          </a:fontRef>
        </p:style>
      </p:cxnSp>
      <p:pic>
        <p:nvPicPr>
          <p:cNvPr id="38" name="Picture 37">
            <a:extLst>
              <a:ext uri="{FF2B5EF4-FFF2-40B4-BE49-F238E27FC236}">
                <a16:creationId xmlns:a16="http://schemas.microsoft.com/office/drawing/2014/main" id="{2B1BBE5F-3EDA-4AC8-BD2F-5F611E07E86C}"/>
              </a:ext>
            </a:extLst>
          </p:cNvPr>
          <p:cNvPicPr>
            <a:picLocks noChangeAspect="1"/>
          </p:cNvPicPr>
          <p:nvPr/>
        </p:nvPicPr>
        <p:blipFill>
          <a:blip r:embed="rId1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8376912" y="4196592"/>
            <a:ext cx="645722" cy="376671"/>
          </a:xfrm>
          <a:prstGeom prst="rect">
            <a:avLst/>
          </a:prstGeom>
        </p:spPr>
      </p:pic>
      <p:sp>
        <p:nvSpPr>
          <p:cNvPr id="39" name="Rectangle 38">
            <a:extLst>
              <a:ext uri="{FF2B5EF4-FFF2-40B4-BE49-F238E27FC236}">
                <a16:creationId xmlns:a16="http://schemas.microsoft.com/office/drawing/2014/main" id="{BE3787E0-2133-453E-9822-4B0B57A423E6}"/>
              </a:ext>
            </a:extLst>
          </p:cNvPr>
          <p:cNvSpPr/>
          <p:nvPr/>
        </p:nvSpPr>
        <p:spPr>
          <a:xfrm>
            <a:off x="9148914" y="4323032"/>
            <a:ext cx="2376582" cy="1692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65000"/>
                    <a:lumOff val="35000"/>
                  </a:srgbClr>
                </a:solidFill>
                <a:effectLst/>
                <a:uLnTx/>
                <a:uFillTx/>
                <a:latin typeface="Open Sans"/>
                <a:ea typeface="+mn-ea"/>
                <a:cs typeface="+mn-cs"/>
              </a:rPr>
              <a:t>increased</a:t>
            </a:r>
            <a:r>
              <a:rPr kumimoji="0" lang="en-US" sz="1100" b="0" i="0" u="none" strike="noStrike" kern="1200" cap="none" spc="0" normalizeH="0" baseline="0" noProof="0" dirty="0">
                <a:ln>
                  <a:noFill/>
                </a:ln>
                <a:solidFill>
                  <a:srgbClr val="000000">
                    <a:lumMod val="65000"/>
                    <a:lumOff val="35000"/>
                  </a:srgbClr>
                </a:solidFill>
                <a:effectLst/>
                <a:uLnTx/>
                <a:uFillTx/>
                <a:latin typeface="Open Sans"/>
                <a:ea typeface="+mn-ea"/>
                <a:cs typeface="+mn-cs"/>
              </a:rPr>
              <a:t> </a:t>
            </a:r>
            <a:r>
              <a:rPr kumimoji="0" lang="en-US" sz="1100" b="1" i="0" u="none" strike="noStrike" kern="1200" cap="none" spc="0" normalizeH="0" baseline="0" noProof="0" dirty="0">
                <a:ln>
                  <a:noFill/>
                </a:ln>
                <a:solidFill>
                  <a:srgbClr val="000000">
                    <a:lumMod val="65000"/>
                    <a:lumOff val="35000"/>
                  </a:srgbClr>
                </a:solidFill>
                <a:effectLst/>
                <a:uLnTx/>
                <a:uFillTx/>
                <a:latin typeface="Open Sans"/>
                <a:ea typeface="+mn-ea"/>
                <a:cs typeface="+mn-cs"/>
              </a:rPr>
              <a:t>Amazon sales by</a:t>
            </a:r>
            <a:endParaRPr kumimoji="0" lang="en-US" sz="1100" b="0" i="0" u="none" strike="noStrike" kern="1200" cap="none" spc="0" normalizeH="0" baseline="0" noProof="0" dirty="0">
              <a:ln>
                <a:noFill/>
              </a:ln>
              <a:solidFill>
                <a:srgbClr val="000000">
                  <a:lumMod val="65000"/>
                  <a:lumOff val="35000"/>
                </a:srgbClr>
              </a:solidFill>
              <a:effectLst/>
              <a:uLnTx/>
              <a:uFillTx/>
              <a:latin typeface="Open Sans"/>
              <a:ea typeface="+mn-ea"/>
              <a:cs typeface="+mn-cs"/>
            </a:endParaRPr>
          </a:p>
        </p:txBody>
      </p:sp>
      <p:sp>
        <p:nvSpPr>
          <p:cNvPr id="40" name="Rectangle 39">
            <a:extLst>
              <a:ext uri="{FF2B5EF4-FFF2-40B4-BE49-F238E27FC236}">
                <a16:creationId xmlns:a16="http://schemas.microsoft.com/office/drawing/2014/main" id="{32F8EE16-3922-49D5-AF21-31773CF06280}"/>
              </a:ext>
            </a:extLst>
          </p:cNvPr>
          <p:cNvSpPr/>
          <p:nvPr/>
        </p:nvSpPr>
        <p:spPr>
          <a:xfrm>
            <a:off x="9409101" y="4526773"/>
            <a:ext cx="1669884" cy="1692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65000"/>
                    <a:lumOff val="35000"/>
                  </a:srgbClr>
                </a:solidFill>
                <a:effectLst/>
                <a:uLnTx/>
                <a:uFillTx/>
                <a:latin typeface="Open Sans"/>
                <a:ea typeface="+mn-ea"/>
                <a:cs typeface="+mn-cs"/>
              </a:rPr>
              <a:t>through investments in</a:t>
            </a:r>
          </a:p>
        </p:txBody>
      </p:sp>
      <p:sp>
        <p:nvSpPr>
          <p:cNvPr id="41" name="Text Placeholder 5">
            <a:extLst>
              <a:ext uri="{FF2B5EF4-FFF2-40B4-BE49-F238E27FC236}">
                <a16:creationId xmlns:a16="http://schemas.microsoft.com/office/drawing/2014/main" id="{5C82EB72-9662-48FD-9954-CE84C7599A9A}"/>
              </a:ext>
            </a:extLst>
          </p:cNvPr>
          <p:cNvSpPr txBox="1">
            <a:spLocks/>
          </p:cNvSpPr>
          <p:nvPr/>
        </p:nvSpPr>
        <p:spPr>
          <a:xfrm>
            <a:off x="11078984" y="4233797"/>
            <a:ext cx="898604" cy="417739"/>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FDD300"/>
                </a:solidFill>
                <a:effectLst/>
                <a:uLnTx/>
                <a:uFillTx/>
                <a:latin typeface="Chronicle Display Black" charset="0"/>
                <a:ea typeface="Chronicle Display Black" charset="0"/>
                <a:cs typeface="Chronicle Display Black" charset="0"/>
              </a:rPr>
              <a:t>98%</a:t>
            </a:r>
            <a:endParaRPr kumimoji="0" lang="en-US" sz="1100" b="0" i="0" u="none" strike="noStrike" kern="1200" cap="none" spc="0" normalizeH="0" baseline="0" noProof="0" dirty="0">
              <a:ln>
                <a:noFill/>
              </a:ln>
              <a:solidFill>
                <a:srgbClr val="FDD300"/>
              </a:solidFill>
              <a:effectLst/>
              <a:uLnTx/>
              <a:uFillTx/>
              <a:latin typeface="Open Sans"/>
              <a:ea typeface="Chronicle Display Black" charset="0"/>
              <a:cs typeface="Chronicle Display Black" charset="0"/>
            </a:endParaRPr>
          </a:p>
        </p:txBody>
      </p:sp>
      <p:sp>
        <p:nvSpPr>
          <p:cNvPr id="42" name="Rectangle 41">
            <a:extLst>
              <a:ext uri="{FF2B5EF4-FFF2-40B4-BE49-F238E27FC236}">
                <a16:creationId xmlns:a16="http://schemas.microsoft.com/office/drawing/2014/main" id="{FEA3A7BD-9105-4F1C-9148-4B25EAD2E69A}"/>
              </a:ext>
            </a:extLst>
          </p:cNvPr>
          <p:cNvSpPr/>
          <p:nvPr/>
        </p:nvSpPr>
        <p:spPr>
          <a:xfrm>
            <a:off x="8877088" y="4695564"/>
            <a:ext cx="2935638" cy="1692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65000"/>
                    <a:lumOff val="35000"/>
                  </a:srgbClr>
                </a:solidFill>
                <a:effectLst/>
                <a:uLnTx/>
                <a:uFillTx/>
                <a:latin typeface="Open Sans"/>
                <a:ea typeface="+mn-ea"/>
                <a:cs typeface="+mn-cs"/>
              </a:rPr>
              <a:t>paid search and lookalike audience targeting</a:t>
            </a:r>
          </a:p>
        </p:txBody>
      </p:sp>
      <p:cxnSp>
        <p:nvCxnSpPr>
          <p:cNvPr id="43" name="Straight Connector 42">
            <a:extLst>
              <a:ext uri="{FF2B5EF4-FFF2-40B4-BE49-F238E27FC236}">
                <a16:creationId xmlns:a16="http://schemas.microsoft.com/office/drawing/2014/main" id="{AE48C144-7CDE-4BD0-83D3-69CA789709F2}"/>
              </a:ext>
            </a:extLst>
          </p:cNvPr>
          <p:cNvCxnSpPr/>
          <p:nvPr/>
        </p:nvCxnSpPr>
        <p:spPr>
          <a:xfrm>
            <a:off x="9936489" y="5697352"/>
            <a:ext cx="822960" cy="0"/>
          </a:xfrm>
          <a:prstGeom prst="line">
            <a:avLst/>
          </a:prstGeom>
          <a:ln w="28575" cmpd="sng">
            <a:solidFill>
              <a:schemeClr val="accent3">
                <a:lumMod val="40000"/>
                <a:lumOff val="60000"/>
              </a:schemeClr>
            </a:solidFill>
          </a:ln>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63B226F0-837D-46B5-AB0D-0CB0DEDCF50B}"/>
              </a:ext>
            </a:extLst>
          </p:cNvPr>
          <p:cNvCxnSpPr/>
          <p:nvPr/>
        </p:nvCxnSpPr>
        <p:spPr>
          <a:xfrm>
            <a:off x="8787573" y="5893206"/>
            <a:ext cx="1280160" cy="0"/>
          </a:xfrm>
          <a:prstGeom prst="line">
            <a:avLst/>
          </a:prstGeom>
          <a:ln w="28575" cmpd="sng">
            <a:solidFill>
              <a:schemeClr val="accent3">
                <a:lumMod val="40000"/>
                <a:lumOff val="60000"/>
              </a:schemeClr>
            </a:solidFill>
          </a:ln>
        </p:spPr>
        <p:style>
          <a:lnRef idx="2">
            <a:schemeClr val="accent1"/>
          </a:lnRef>
          <a:fillRef idx="0">
            <a:schemeClr val="accent1"/>
          </a:fillRef>
          <a:effectRef idx="1">
            <a:schemeClr val="accent1"/>
          </a:effectRef>
          <a:fontRef idx="minor">
            <a:schemeClr val="tx1"/>
          </a:fontRef>
        </p:style>
      </p:cxnSp>
      <p:sp>
        <p:nvSpPr>
          <p:cNvPr id="45" name="Rectangle 44">
            <a:extLst>
              <a:ext uri="{FF2B5EF4-FFF2-40B4-BE49-F238E27FC236}">
                <a16:creationId xmlns:a16="http://schemas.microsoft.com/office/drawing/2014/main" id="{FFD5FC61-3F59-4B9E-8D6D-A1455A2026EE}"/>
              </a:ext>
            </a:extLst>
          </p:cNvPr>
          <p:cNvSpPr/>
          <p:nvPr/>
        </p:nvSpPr>
        <p:spPr>
          <a:xfrm>
            <a:off x="9263258" y="5365418"/>
            <a:ext cx="417478" cy="1692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65000"/>
                    <a:lumOff val="35000"/>
                  </a:srgbClr>
                </a:solidFill>
                <a:effectLst/>
                <a:uLnTx/>
                <a:uFillTx/>
                <a:latin typeface="Open Sans"/>
                <a:ea typeface="+mn-ea"/>
                <a:cs typeface="+mn-cs"/>
              </a:rPr>
              <a:t>led </a:t>
            </a:r>
          </a:p>
        </p:txBody>
      </p:sp>
      <p:pic>
        <p:nvPicPr>
          <p:cNvPr id="46" name="Picture 45">
            <a:extLst>
              <a:ext uri="{FF2B5EF4-FFF2-40B4-BE49-F238E27FC236}">
                <a16:creationId xmlns:a16="http://schemas.microsoft.com/office/drawing/2014/main" id="{FF11ECD9-1C86-407B-8611-E3CB5F374744}"/>
              </a:ext>
            </a:extLst>
          </p:cNvPr>
          <p:cNvPicPr>
            <a:picLocks noChangeAspect="1"/>
          </p:cNvPicPr>
          <p:nvPr/>
        </p:nvPicPr>
        <p:blipFill>
          <a:blip r:embed="rId18"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8415925" y="5277722"/>
            <a:ext cx="743295" cy="226220"/>
          </a:xfrm>
          <a:prstGeom prst="rect">
            <a:avLst/>
          </a:prstGeom>
        </p:spPr>
      </p:pic>
      <p:sp>
        <p:nvSpPr>
          <p:cNvPr id="47" name="Text Placeholder 5">
            <a:extLst>
              <a:ext uri="{FF2B5EF4-FFF2-40B4-BE49-F238E27FC236}">
                <a16:creationId xmlns:a16="http://schemas.microsoft.com/office/drawing/2014/main" id="{C940B3BB-25DC-4FD9-AC2E-1938EEB315EF}"/>
              </a:ext>
            </a:extLst>
          </p:cNvPr>
          <p:cNvSpPr txBox="1">
            <a:spLocks/>
          </p:cNvSpPr>
          <p:nvPr/>
        </p:nvSpPr>
        <p:spPr>
          <a:xfrm>
            <a:off x="9534103" y="5264413"/>
            <a:ext cx="898604" cy="417739"/>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FDD300"/>
                </a:solidFill>
                <a:effectLst/>
                <a:uLnTx/>
                <a:uFillTx/>
                <a:latin typeface="Chronicle Display Black" charset="0"/>
                <a:ea typeface="Chronicle Display Black" charset="0"/>
                <a:cs typeface="Chronicle Display Black" charset="0"/>
              </a:rPr>
              <a:t>$77M</a:t>
            </a:r>
            <a:endParaRPr kumimoji="0" lang="en-US" sz="1100" b="0" i="0" u="none" strike="noStrike" kern="1200" cap="none" spc="0" normalizeH="0" baseline="0" noProof="0" dirty="0">
              <a:ln>
                <a:noFill/>
              </a:ln>
              <a:solidFill>
                <a:srgbClr val="FDD300"/>
              </a:solidFill>
              <a:effectLst/>
              <a:uLnTx/>
              <a:uFillTx/>
              <a:latin typeface="Open Sans"/>
              <a:ea typeface="Chronicle Display Black" charset="0"/>
              <a:cs typeface="Chronicle Display Black" charset="0"/>
            </a:endParaRPr>
          </a:p>
        </p:txBody>
      </p:sp>
      <p:sp>
        <p:nvSpPr>
          <p:cNvPr id="48" name="Rectangle 47">
            <a:extLst>
              <a:ext uri="{FF2B5EF4-FFF2-40B4-BE49-F238E27FC236}">
                <a16:creationId xmlns:a16="http://schemas.microsoft.com/office/drawing/2014/main" id="{318F4D8A-94E1-424C-97F2-E806E4B5D843}"/>
              </a:ext>
            </a:extLst>
          </p:cNvPr>
          <p:cNvSpPr/>
          <p:nvPr/>
        </p:nvSpPr>
        <p:spPr>
          <a:xfrm>
            <a:off x="10265398" y="5365418"/>
            <a:ext cx="1302162" cy="1692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65000"/>
                    <a:lumOff val="35000"/>
                  </a:srgbClr>
                </a:solidFill>
                <a:effectLst/>
                <a:uLnTx/>
                <a:uFillTx/>
                <a:latin typeface="Open Sans"/>
                <a:ea typeface="+mn-ea"/>
                <a:cs typeface="+mn-cs"/>
              </a:rPr>
              <a:t>fundraising effort</a:t>
            </a:r>
          </a:p>
        </p:txBody>
      </p:sp>
      <p:sp>
        <p:nvSpPr>
          <p:cNvPr id="49" name="Rectangle 48">
            <a:extLst>
              <a:ext uri="{FF2B5EF4-FFF2-40B4-BE49-F238E27FC236}">
                <a16:creationId xmlns:a16="http://schemas.microsoft.com/office/drawing/2014/main" id="{83E9C9C3-167F-4653-84E4-292A2015657E}"/>
              </a:ext>
            </a:extLst>
          </p:cNvPr>
          <p:cNvSpPr/>
          <p:nvPr/>
        </p:nvSpPr>
        <p:spPr>
          <a:xfrm flipH="1">
            <a:off x="8995046" y="5574141"/>
            <a:ext cx="1969252" cy="1692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65000"/>
                    <a:lumOff val="35000"/>
                  </a:srgbClr>
                </a:solidFill>
                <a:effectLst/>
                <a:uLnTx/>
                <a:uFillTx/>
                <a:latin typeface="Open Sans"/>
                <a:ea typeface="+mn-ea"/>
                <a:cs typeface="+mn-cs"/>
              </a:rPr>
              <a:t>for Freshly</a:t>
            </a:r>
            <a:r>
              <a:rPr kumimoji="0" lang="en-US" sz="1100" b="0" i="0" u="none" strike="noStrike" kern="1200" cap="none" spc="0" normalizeH="0" baseline="0" noProof="0" dirty="0">
                <a:ln>
                  <a:noFill/>
                </a:ln>
                <a:solidFill>
                  <a:srgbClr val="000000">
                    <a:lumMod val="65000"/>
                    <a:lumOff val="35000"/>
                  </a:srgbClr>
                </a:solidFill>
                <a:effectLst/>
                <a:uLnTx/>
                <a:uFillTx/>
                <a:latin typeface="Open Sans"/>
                <a:ea typeface="+mn-ea"/>
                <a:cs typeface="+mn-cs"/>
              </a:rPr>
              <a:t>, a fast-growing</a:t>
            </a:r>
          </a:p>
        </p:txBody>
      </p:sp>
      <p:sp>
        <p:nvSpPr>
          <p:cNvPr id="50" name="Rectangle 49">
            <a:extLst>
              <a:ext uri="{FF2B5EF4-FFF2-40B4-BE49-F238E27FC236}">
                <a16:creationId xmlns:a16="http://schemas.microsoft.com/office/drawing/2014/main" id="{219519DC-F1C1-4F17-94C1-0D872B6EB590}"/>
              </a:ext>
            </a:extLst>
          </p:cNvPr>
          <p:cNvSpPr/>
          <p:nvPr/>
        </p:nvSpPr>
        <p:spPr>
          <a:xfrm flipH="1">
            <a:off x="8817574" y="5754245"/>
            <a:ext cx="2795722" cy="1692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65000"/>
                    <a:lumOff val="35000"/>
                  </a:srgbClr>
                </a:solidFill>
                <a:effectLst/>
                <a:uLnTx/>
                <a:uFillTx/>
                <a:latin typeface="Open Sans"/>
                <a:ea typeface="+mn-ea"/>
                <a:cs typeface="+mn-cs"/>
              </a:rPr>
              <a:t>direct-to-consumer meal delivery startup</a:t>
            </a:r>
          </a:p>
        </p:txBody>
      </p:sp>
      <p:sp>
        <p:nvSpPr>
          <p:cNvPr id="51" name="TextBox 50">
            <a:extLst>
              <a:ext uri="{FF2B5EF4-FFF2-40B4-BE49-F238E27FC236}">
                <a16:creationId xmlns:a16="http://schemas.microsoft.com/office/drawing/2014/main" id="{1B596916-74E0-4BC4-A5F0-7A181EEB7A96}"/>
              </a:ext>
            </a:extLst>
          </p:cNvPr>
          <p:cNvSpPr txBox="1"/>
          <p:nvPr/>
        </p:nvSpPr>
        <p:spPr>
          <a:xfrm>
            <a:off x="1149580" y="6160500"/>
            <a:ext cx="2087110" cy="123111"/>
          </a:xfrm>
          <a:prstGeom prst="rect">
            <a:avLst/>
          </a:prstGeom>
          <a:noFill/>
        </p:spPr>
        <p:txBody>
          <a:bodyPr wrap="square" lIns="0" tIns="0" rIns="0" bIns="0" rtlCol="0">
            <a:noAutofit/>
          </a:bodyPr>
          <a:lstStyle>
            <a:defPPr>
              <a:defRPr lang="en-US"/>
            </a:defPPr>
            <a:lvl1pPr>
              <a:defRPr sz="800">
                <a:solidFill>
                  <a:schemeClr val="bg1">
                    <a:lumMod val="5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50000"/>
                  </a:srgbClr>
                </a:solidFill>
                <a:effectLst/>
                <a:uLnTx/>
                <a:uFillTx/>
                <a:latin typeface="Open Sans"/>
                <a:ea typeface="+mn-ea"/>
                <a:cs typeface="+mn-cs"/>
              </a:rPr>
              <a:t>Source: Deloitte Grocery Digital Divide 2016</a:t>
            </a:r>
          </a:p>
        </p:txBody>
      </p:sp>
      <p:sp>
        <p:nvSpPr>
          <p:cNvPr id="52" name="Text Placeholder 5">
            <a:extLst>
              <a:ext uri="{FF2B5EF4-FFF2-40B4-BE49-F238E27FC236}">
                <a16:creationId xmlns:a16="http://schemas.microsoft.com/office/drawing/2014/main" id="{F2780F25-DF43-488A-8A62-B8A256A0AD90}"/>
              </a:ext>
            </a:extLst>
          </p:cNvPr>
          <p:cNvSpPr txBox="1">
            <a:spLocks/>
          </p:cNvSpPr>
          <p:nvPr/>
        </p:nvSpPr>
        <p:spPr>
          <a:xfrm>
            <a:off x="4659573" y="2442081"/>
            <a:ext cx="3267295" cy="430887"/>
          </a:xfrm>
          <a:prstGeom prst="rect">
            <a:avLst/>
          </a:prstGeom>
        </p:spPr>
        <p:txBody>
          <a:bodyPr wrap="square" lIns="0" tIns="0" rIns="0" bIns="0">
            <a:spAutoFit/>
          </a:bodyPr>
          <a:lstStyle>
            <a:defPPr>
              <a:defRPr lang="en-US"/>
            </a:defPPr>
            <a:lvl1pPr>
              <a:defRPr sz="1100" b="1"/>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and consumers are </a:t>
            </a:r>
            <a:r>
              <a:rPr kumimoji="0" lang="en-US" sz="1400" b="1" i="0" u="none" strike="noStrike" kern="1200" cap="none" spc="0" normalizeH="0" baseline="0" noProof="0" dirty="0">
                <a:ln>
                  <a:noFill/>
                </a:ln>
                <a:solidFill>
                  <a:srgbClr val="000000"/>
                </a:solidFill>
                <a:effectLst/>
                <a:uLnTx/>
                <a:uFillTx/>
                <a:latin typeface="Open Sans"/>
                <a:ea typeface="+mn-ea"/>
                <a:cs typeface="+mn-cs"/>
              </a:rPr>
              <a:t>increasingly moving </a:t>
            </a:r>
            <a:r>
              <a:rPr kumimoji="0" lang="en-US" sz="1400" b="1" i="0" u="none" strike="noStrike" kern="1200" cap="none" spc="0" normalizeH="0" baseline="0" noProof="0">
                <a:ln>
                  <a:noFill/>
                </a:ln>
                <a:solidFill>
                  <a:srgbClr val="000000"/>
                </a:solidFill>
                <a:effectLst/>
                <a:uLnTx/>
                <a:uFillTx/>
                <a:latin typeface="Open Sans"/>
                <a:ea typeface="+mn-ea"/>
                <a:cs typeface="+mn-cs"/>
              </a:rPr>
              <a:t>to eCommerce</a:t>
            </a:r>
            <a:r>
              <a:rPr kumimoji="0" lang="en-US" sz="1400" b="0" i="0" u="none" strike="noStrike" kern="1200" cap="none" spc="0" normalizeH="0" baseline="0" noProof="0" dirty="0">
                <a:ln>
                  <a:noFill/>
                </a:ln>
                <a:solidFill>
                  <a:srgbClr val="000000"/>
                </a:solidFill>
                <a:effectLst/>
                <a:uLnTx/>
                <a:uFillTx/>
                <a:latin typeface="Open Sans"/>
                <a:ea typeface="+mn-ea"/>
                <a:cs typeface="+mn-cs"/>
              </a:rPr>
              <a:t>…</a:t>
            </a:r>
          </a:p>
        </p:txBody>
      </p:sp>
      <p:sp>
        <p:nvSpPr>
          <p:cNvPr id="53" name="Text Placeholder 5">
            <a:extLst>
              <a:ext uri="{FF2B5EF4-FFF2-40B4-BE49-F238E27FC236}">
                <a16:creationId xmlns:a16="http://schemas.microsoft.com/office/drawing/2014/main" id="{EA6271D1-4D88-444C-8563-A7224367DCFD}"/>
              </a:ext>
            </a:extLst>
          </p:cNvPr>
          <p:cNvSpPr txBox="1">
            <a:spLocks/>
          </p:cNvSpPr>
          <p:nvPr/>
        </p:nvSpPr>
        <p:spPr>
          <a:xfrm>
            <a:off x="4690385" y="3942633"/>
            <a:ext cx="3153572" cy="646331"/>
          </a:xfrm>
          <a:prstGeom prst="rect">
            <a:avLst/>
          </a:prstGeom>
        </p:spPr>
        <p:txBody>
          <a:bodyPr wrap="square" lIns="0" tIns="0" rIns="0" bIns="0">
            <a:spAutoFit/>
          </a:bodyPr>
          <a:lstStyle>
            <a:defPPr>
              <a:defRPr lang="en-US"/>
            </a:defPPr>
            <a:lvl1pPr>
              <a:defRPr sz="1100" b="1"/>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23% of households already purchase groceries online, and shoppers expect spend to rise</a:t>
            </a:r>
          </a:p>
        </p:txBody>
      </p:sp>
      <p:sp>
        <p:nvSpPr>
          <p:cNvPr id="54" name="Text Placeholder 5">
            <a:extLst>
              <a:ext uri="{FF2B5EF4-FFF2-40B4-BE49-F238E27FC236}">
                <a16:creationId xmlns:a16="http://schemas.microsoft.com/office/drawing/2014/main" id="{5B684D48-27AF-4702-95E9-3BDD9C85C885}"/>
              </a:ext>
            </a:extLst>
          </p:cNvPr>
          <p:cNvSpPr txBox="1">
            <a:spLocks/>
          </p:cNvSpPr>
          <p:nvPr/>
        </p:nvSpPr>
        <p:spPr>
          <a:xfrm>
            <a:off x="8302841" y="2442081"/>
            <a:ext cx="3442845" cy="430887"/>
          </a:xfrm>
          <a:prstGeom prst="rect">
            <a:avLst/>
          </a:prstGeom>
        </p:spPr>
        <p:txBody>
          <a:bodyPr wrap="square" lIns="0" tIns="0" rIns="0" bIns="0">
            <a:spAutoFit/>
          </a:bodyPr>
          <a:lstStyle>
            <a:defPPr>
              <a:defRPr lang="en-US"/>
            </a:defPPr>
            <a:lvl1pPr>
              <a:defRPr sz="1100" b="1"/>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with more than 1 in 2 CPGs </a:t>
            </a:r>
            <a:r>
              <a:rPr kumimoji="0" lang="en-US" sz="1400" b="0" i="0" u="none" strike="noStrike" kern="1200" cap="none" spc="0" normalizeH="0" baseline="0" noProof="0">
                <a:ln>
                  <a:noFill/>
                </a:ln>
                <a:solidFill>
                  <a:srgbClr val="000000"/>
                </a:solidFill>
                <a:effectLst/>
                <a:uLnTx/>
                <a:uFillTx/>
                <a:latin typeface="Open Sans"/>
                <a:ea typeface="+mn-ea"/>
                <a:cs typeface="+mn-cs"/>
              </a:rPr>
              <a:t>saying        </a:t>
            </a:r>
            <a:r>
              <a:rPr kumimoji="0" lang="en-US" sz="1400" b="1" i="0" u="none" strike="noStrike" kern="1200" cap="none" spc="0" normalizeH="0" baseline="0" noProof="0">
                <a:ln>
                  <a:noFill/>
                </a:ln>
                <a:solidFill>
                  <a:srgbClr val="000000"/>
                </a:solidFill>
                <a:effectLst/>
                <a:uLnTx/>
                <a:uFillTx/>
                <a:latin typeface="Open Sans"/>
                <a:ea typeface="+mn-ea"/>
                <a:cs typeface="+mn-cs"/>
              </a:rPr>
              <a:t>eCommerce </a:t>
            </a:r>
            <a:r>
              <a:rPr kumimoji="0" lang="en-US" sz="1400" b="1" i="0" u="none" strike="noStrike" kern="1200" cap="none" spc="0" normalizeH="0" baseline="0" noProof="0" dirty="0">
                <a:ln>
                  <a:noFill/>
                </a:ln>
                <a:solidFill>
                  <a:srgbClr val="000000"/>
                </a:solidFill>
                <a:effectLst/>
                <a:uLnTx/>
                <a:uFillTx/>
                <a:latin typeface="Open Sans"/>
                <a:ea typeface="+mn-ea"/>
                <a:cs typeface="+mn-cs"/>
              </a:rPr>
              <a:t>and DTC is a top priority</a:t>
            </a:r>
          </a:p>
        </p:txBody>
      </p:sp>
      <p:sp>
        <p:nvSpPr>
          <p:cNvPr id="55" name="Text Placeholder 5">
            <a:extLst>
              <a:ext uri="{FF2B5EF4-FFF2-40B4-BE49-F238E27FC236}">
                <a16:creationId xmlns:a16="http://schemas.microsoft.com/office/drawing/2014/main" id="{B38F297D-4D08-485C-BDC1-7A407465DBC2}"/>
              </a:ext>
            </a:extLst>
          </p:cNvPr>
          <p:cNvSpPr txBox="1">
            <a:spLocks/>
          </p:cNvSpPr>
          <p:nvPr/>
        </p:nvSpPr>
        <p:spPr>
          <a:xfrm>
            <a:off x="4865734" y="3073721"/>
            <a:ext cx="953576" cy="777136"/>
          </a:xfrm>
          <a:prstGeom prst="rect">
            <a:avLst/>
          </a:prstGeom>
        </p:spPr>
        <p:txBody>
          <a:bodyPr wrap="square" lIns="0" tIns="0" rIns="0" bIns="0">
            <a:spAutoFit/>
          </a:bodyPr>
          <a:lstStyle>
            <a:defPPr>
              <a:defRPr lang="en-US"/>
            </a:defPPr>
            <a:lvl1pPr>
              <a:defRPr sz="11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Open Sans"/>
                <a:ea typeface="+mn-ea"/>
                <a:cs typeface="+mn-cs"/>
              </a:rPr>
              <a:t>fro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EFAC5"/>
                </a:solidFill>
                <a:effectLst/>
                <a:uLnTx/>
                <a:uFillTx/>
                <a:latin typeface="Open Sans"/>
                <a:ea typeface="+mn-ea"/>
                <a:cs typeface="+mn-cs"/>
              </a:rPr>
              <a:t>$20.5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lumMod val="65000"/>
                    <a:lumOff val="35000"/>
                  </a:srgbClr>
                </a:solidFill>
                <a:effectLst/>
                <a:uLnTx/>
                <a:uFillTx/>
                <a:latin typeface="Open Sans"/>
                <a:ea typeface="+mn-ea"/>
                <a:cs typeface="+mn-cs"/>
              </a:rPr>
              <a:t>in 2016 online grocery sales</a:t>
            </a:r>
          </a:p>
        </p:txBody>
      </p:sp>
      <p:sp>
        <p:nvSpPr>
          <p:cNvPr id="56" name="Text Placeholder 5">
            <a:extLst>
              <a:ext uri="{FF2B5EF4-FFF2-40B4-BE49-F238E27FC236}">
                <a16:creationId xmlns:a16="http://schemas.microsoft.com/office/drawing/2014/main" id="{8D1D3A62-C47F-40CE-994C-A386BEE34DA7}"/>
              </a:ext>
            </a:extLst>
          </p:cNvPr>
          <p:cNvSpPr txBox="1">
            <a:spLocks/>
          </p:cNvSpPr>
          <p:nvPr/>
        </p:nvSpPr>
        <p:spPr>
          <a:xfrm>
            <a:off x="6125889" y="3073721"/>
            <a:ext cx="1070717" cy="623248"/>
          </a:xfrm>
          <a:prstGeom prst="rect">
            <a:avLst/>
          </a:prstGeom>
        </p:spPr>
        <p:txBody>
          <a:bodyPr wrap="square" lIns="0" tIns="0" rIns="0" bIns="0">
            <a:spAutoFit/>
          </a:bodyPr>
          <a:lstStyle>
            <a:defPPr>
              <a:defRPr lang="en-US"/>
            </a:defPPr>
            <a:lvl1pPr>
              <a:defRPr sz="11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lumMod val="65000"/>
                    <a:lumOff val="35000"/>
                  </a:srgbClr>
                </a:solidFill>
                <a:effectLst/>
                <a:uLnTx/>
                <a:uFillTx/>
                <a:latin typeface="Open Sans"/>
                <a:ea typeface="+mn-ea"/>
                <a:cs typeface="+mn-cs"/>
              </a:rPr>
              <a:t>t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EFAC5"/>
                </a:solidFill>
                <a:effectLst/>
                <a:uLnTx/>
                <a:uFillTx/>
                <a:latin typeface="Open Sans"/>
                <a:ea typeface="+mn-ea"/>
                <a:cs typeface="+mn-cs"/>
              </a:rPr>
              <a:t>$103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lumMod val="65000"/>
                    <a:lumOff val="35000"/>
                  </a:srgbClr>
                </a:solidFill>
                <a:effectLst/>
                <a:uLnTx/>
                <a:uFillTx/>
                <a:latin typeface="Open Sans"/>
                <a:ea typeface="+mn-ea"/>
                <a:cs typeface="+mn-cs"/>
              </a:rPr>
              <a:t>estimated in 2025</a:t>
            </a:r>
          </a:p>
        </p:txBody>
      </p:sp>
      <p:cxnSp>
        <p:nvCxnSpPr>
          <p:cNvPr id="57" name="Straight Arrow Connector 56">
            <a:extLst>
              <a:ext uri="{FF2B5EF4-FFF2-40B4-BE49-F238E27FC236}">
                <a16:creationId xmlns:a16="http://schemas.microsoft.com/office/drawing/2014/main" id="{B797CE8A-0FC8-4763-A67C-A14B647CFD5E}"/>
              </a:ext>
            </a:extLst>
          </p:cNvPr>
          <p:cNvCxnSpPr/>
          <p:nvPr/>
        </p:nvCxnSpPr>
        <p:spPr>
          <a:xfrm>
            <a:off x="5743108" y="3477494"/>
            <a:ext cx="505291" cy="0"/>
          </a:xfrm>
          <a:prstGeom prst="straightConnector1">
            <a:avLst/>
          </a:prstGeom>
          <a:ln>
            <a:solidFill>
              <a:schemeClr val="bg1">
                <a:lumMod val="7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58" name="Text Placeholder 5">
            <a:extLst>
              <a:ext uri="{FF2B5EF4-FFF2-40B4-BE49-F238E27FC236}">
                <a16:creationId xmlns:a16="http://schemas.microsoft.com/office/drawing/2014/main" id="{F1BCBE31-3612-4AC3-B1DB-AC23B10751AB}"/>
              </a:ext>
            </a:extLst>
          </p:cNvPr>
          <p:cNvSpPr txBox="1">
            <a:spLocks/>
          </p:cNvSpPr>
          <p:nvPr/>
        </p:nvSpPr>
        <p:spPr>
          <a:xfrm>
            <a:off x="3127362" y="3212910"/>
            <a:ext cx="1070717" cy="307777"/>
          </a:xfrm>
          <a:prstGeom prst="rect">
            <a:avLst/>
          </a:prstGeom>
        </p:spPr>
        <p:txBody>
          <a:bodyPr wrap="square" lIns="0" tIns="0" rIns="0" bIns="0">
            <a:spAutoFit/>
          </a:bodyPr>
          <a:lstStyle>
            <a:defPPr>
              <a:defRPr lang="en-US"/>
            </a:defPPr>
            <a:lvl1pPr>
              <a:defRPr sz="11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86F200"/>
                </a:solidFill>
                <a:effectLst/>
                <a:uLnTx/>
                <a:uFillTx/>
                <a:latin typeface="Open Sans"/>
                <a:ea typeface="+mn-ea"/>
                <a:cs typeface="+mn-cs"/>
              </a:rPr>
              <a:t>51%</a:t>
            </a:r>
          </a:p>
        </p:txBody>
      </p:sp>
    </p:spTree>
    <p:extLst>
      <p:ext uri="{BB962C8B-B14F-4D97-AF65-F5344CB8AC3E}">
        <p14:creationId xmlns:p14="http://schemas.microsoft.com/office/powerpoint/2010/main" val="384668982"/>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6" name="Object 65" hidden="1">
            <a:extLst>
              <a:ext uri="{FF2B5EF4-FFF2-40B4-BE49-F238E27FC236}">
                <a16:creationId xmlns:a16="http://schemas.microsoft.com/office/drawing/2014/main" id="{8996C0FB-E1A7-432A-B6C9-1A9C0C2161C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7700" name="think-cell Slide" r:id="rId6" imgW="415" imgH="416" progId="TCLayout.ActiveDocument.1">
                  <p:embed/>
                </p:oleObj>
              </mc:Choice>
              <mc:Fallback>
                <p:oleObj name="think-cell Slide" r:id="rId6" imgW="415" imgH="416" progId="TCLayout.ActiveDocument.1">
                  <p:embed/>
                  <p:pic>
                    <p:nvPicPr>
                      <p:cNvPr id="66" name="Object 65" hidden="1">
                        <a:extLst>
                          <a:ext uri="{FF2B5EF4-FFF2-40B4-BE49-F238E27FC236}">
                            <a16:creationId xmlns:a16="http://schemas.microsoft.com/office/drawing/2014/main" id="{8996C0FB-E1A7-432A-B6C9-1A9C0C2161C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a:extLst>
              <a:ext uri="{FF2B5EF4-FFF2-40B4-BE49-F238E27FC236}">
                <a16:creationId xmlns:a16="http://schemas.microsoft.com/office/drawing/2014/main" id="{1736965D-E1FB-42C2-BD42-0119678856A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FE0A04D-15D6-48AC-96D0-C3FCCB9A8C6D}"/>
              </a:ext>
            </a:extLst>
          </p:cNvPr>
          <p:cNvSpPr>
            <a:spLocks noGrp="1"/>
          </p:cNvSpPr>
          <p:nvPr>
            <p:ph type="title"/>
          </p:nvPr>
        </p:nvSpPr>
        <p:spPr/>
        <p:txBody>
          <a:bodyPr/>
          <a:lstStyle/>
          <a:p>
            <a:r>
              <a:rPr lang="en-US" dirty="0"/>
              <a:t>Digital customer journey for grocery</a:t>
            </a:r>
          </a:p>
        </p:txBody>
      </p:sp>
      <p:sp>
        <p:nvSpPr>
          <p:cNvPr id="3" name="Text Placeholder 2">
            <a:extLst>
              <a:ext uri="{FF2B5EF4-FFF2-40B4-BE49-F238E27FC236}">
                <a16:creationId xmlns:a16="http://schemas.microsoft.com/office/drawing/2014/main" id="{E3278F1B-DCA5-4179-924D-5EDA9D0BC633}"/>
              </a:ext>
            </a:extLst>
          </p:cNvPr>
          <p:cNvSpPr>
            <a:spLocks noGrp="1"/>
          </p:cNvSpPr>
          <p:nvPr>
            <p:ph type="body" sz="quarter" idx="14"/>
          </p:nvPr>
        </p:nvSpPr>
        <p:spPr/>
        <p:txBody>
          <a:bodyPr/>
          <a:lstStyle/>
          <a:p>
            <a:r>
              <a:rPr lang="en-US" dirty="0"/>
              <a:t>Digital is permeating the consumer grocery path-to-purchase, with the opportunity for digital to deliver a better experience</a:t>
            </a:r>
          </a:p>
        </p:txBody>
      </p:sp>
      <p:sp>
        <p:nvSpPr>
          <p:cNvPr id="4" name="Text Placeholder 3">
            <a:extLst>
              <a:ext uri="{FF2B5EF4-FFF2-40B4-BE49-F238E27FC236}">
                <a16:creationId xmlns:a16="http://schemas.microsoft.com/office/drawing/2014/main" id="{1C9678CE-9C7B-4CFA-8E11-FD28EE94FA3A}"/>
              </a:ext>
            </a:extLst>
          </p:cNvPr>
          <p:cNvSpPr>
            <a:spLocks noGrp="1"/>
          </p:cNvSpPr>
          <p:nvPr>
            <p:ph type="body" sz="quarter" idx="15"/>
          </p:nvPr>
        </p:nvSpPr>
        <p:spPr/>
        <p:txBody>
          <a:bodyPr/>
          <a:lstStyle/>
          <a:p>
            <a:r>
              <a:rPr lang="en-US" dirty="0"/>
              <a:t>Data Visualization &amp; Infographics</a:t>
            </a:r>
          </a:p>
        </p:txBody>
      </p:sp>
      <p:sp>
        <p:nvSpPr>
          <p:cNvPr id="5" name="TextBox 4">
            <a:extLst>
              <a:ext uri="{FF2B5EF4-FFF2-40B4-BE49-F238E27FC236}">
                <a16:creationId xmlns:a16="http://schemas.microsoft.com/office/drawing/2014/main" id="{3D47A442-7489-4035-BF3F-603004F2FEB9}"/>
              </a:ext>
            </a:extLst>
          </p:cNvPr>
          <p:cNvSpPr txBox="1"/>
          <p:nvPr/>
        </p:nvSpPr>
        <p:spPr>
          <a:xfrm>
            <a:off x="9732186" y="6523205"/>
            <a:ext cx="2271776"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50000"/>
                  </a:srgbClr>
                </a:solidFill>
                <a:effectLst/>
                <a:uLnTx/>
                <a:uFillTx/>
                <a:latin typeface="Open Sans"/>
                <a:ea typeface="+mn-ea"/>
                <a:cs typeface="+mn-cs"/>
              </a:rPr>
              <a:t>Source: Deloitte Grocery Digital Divide 2016</a:t>
            </a:r>
          </a:p>
        </p:txBody>
      </p:sp>
      <p:sp>
        <p:nvSpPr>
          <p:cNvPr id="6" name="Rectangle 5">
            <a:extLst>
              <a:ext uri="{FF2B5EF4-FFF2-40B4-BE49-F238E27FC236}">
                <a16:creationId xmlns:a16="http://schemas.microsoft.com/office/drawing/2014/main" id="{D99E80CA-88A1-4C64-8BD4-E1EF0AB4CE29}"/>
              </a:ext>
            </a:extLst>
          </p:cNvPr>
          <p:cNvSpPr/>
          <p:nvPr/>
        </p:nvSpPr>
        <p:spPr>
          <a:xfrm>
            <a:off x="0" y="1820665"/>
            <a:ext cx="12192000" cy="1650467"/>
          </a:xfrm>
          <a:prstGeom prst="rect">
            <a:avLst/>
          </a:prstGeom>
          <a:solidFill>
            <a:srgbClr val="B4B4B4">
              <a:lumMod val="20000"/>
              <a:lumOff val="8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Frutiger Next Pro Light"/>
              <a:ea typeface="+mn-ea"/>
              <a:cs typeface="+mn-cs"/>
            </a:endParaRPr>
          </a:p>
        </p:txBody>
      </p:sp>
      <p:sp>
        <p:nvSpPr>
          <p:cNvPr id="7" name="object 357">
            <a:extLst>
              <a:ext uri="{FF2B5EF4-FFF2-40B4-BE49-F238E27FC236}">
                <a16:creationId xmlns:a16="http://schemas.microsoft.com/office/drawing/2014/main" id="{C37F8D40-5220-4526-AE39-9555D7B3BAA7}"/>
              </a:ext>
            </a:extLst>
          </p:cNvPr>
          <p:cNvSpPr txBox="1"/>
          <p:nvPr/>
        </p:nvSpPr>
        <p:spPr>
          <a:xfrm>
            <a:off x="865031" y="3061168"/>
            <a:ext cx="2050625" cy="169277"/>
          </a:xfrm>
          <a:prstGeom prst="rect">
            <a:avLst/>
          </a:prstGeom>
        </p:spPr>
        <p:txBody>
          <a:bodyPr vert="horz" wrap="square" lIns="0" tIns="0" rIns="0" bIns="0" rtlCol="0">
            <a:spAutoFit/>
          </a:bodyPr>
          <a:lstStyle/>
          <a:p>
            <a:pPr marL="15876"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250" normalizeH="0" baseline="0" noProof="0" dirty="0">
                <a:ln>
                  <a:noFill/>
                </a:ln>
                <a:solidFill>
                  <a:srgbClr val="000000"/>
                </a:solidFill>
                <a:effectLst/>
                <a:uLnTx/>
                <a:uFillTx/>
                <a:latin typeface="Open Sans"/>
                <a:ea typeface="Nexa Black" charset="0"/>
                <a:cs typeface="Nexa Black" charset="0"/>
              </a:rPr>
              <a:t>FIND INSPIRATION</a:t>
            </a:r>
          </a:p>
        </p:txBody>
      </p:sp>
      <p:sp>
        <p:nvSpPr>
          <p:cNvPr id="8" name="object 357">
            <a:extLst>
              <a:ext uri="{FF2B5EF4-FFF2-40B4-BE49-F238E27FC236}">
                <a16:creationId xmlns:a16="http://schemas.microsoft.com/office/drawing/2014/main" id="{5BDB30DD-475D-4249-97CC-6CE8988FC03E}"/>
              </a:ext>
            </a:extLst>
          </p:cNvPr>
          <p:cNvSpPr txBox="1"/>
          <p:nvPr/>
        </p:nvSpPr>
        <p:spPr>
          <a:xfrm>
            <a:off x="9280667" y="3139374"/>
            <a:ext cx="1756806" cy="169277"/>
          </a:xfrm>
          <a:prstGeom prst="rect">
            <a:avLst/>
          </a:prstGeom>
        </p:spPr>
        <p:txBody>
          <a:bodyPr vert="horz" wrap="square" lIns="0" tIns="0" rIns="0" bIns="0" rtlCol="0">
            <a:spAutoFit/>
          </a:bodyPr>
          <a:lstStyle/>
          <a:p>
            <a:pPr marL="15876"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250" normalizeH="0" baseline="0" noProof="0" dirty="0">
                <a:ln>
                  <a:noFill/>
                </a:ln>
                <a:solidFill>
                  <a:srgbClr val="000000"/>
                </a:solidFill>
                <a:effectLst/>
                <a:uLnTx/>
                <a:uFillTx/>
                <a:latin typeface="Open Sans"/>
                <a:ea typeface="Nexa Black" charset="0"/>
                <a:cs typeface="Nexa Black" charset="0"/>
              </a:rPr>
              <a:t>RECONSIDER</a:t>
            </a:r>
            <a:endParaRPr kumimoji="0" sz="1100" b="1" i="0" u="none" strike="noStrike" kern="0" cap="none" spc="250" normalizeH="0" baseline="0" noProof="0" dirty="0">
              <a:ln>
                <a:noFill/>
              </a:ln>
              <a:solidFill>
                <a:srgbClr val="000000"/>
              </a:solidFill>
              <a:effectLst/>
              <a:uLnTx/>
              <a:uFillTx/>
              <a:latin typeface="Open Sans"/>
              <a:ea typeface="Nexa Black" charset="0"/>
              <a:cs typeface="Nexa Black" charset="0"/>
            </a:endParaRPr>
          </a:p>
        </p:txBody>
      </p:sp>
      <p:sp>
        <p:nvSpPr>
          <p:cNvPr id="9" name="Freeform 203">
            <a:extLst>
              <a:ext uri="{FF2B5EF4-FFF2-40B4-BE49-F238E27FC236}">
                <a16:creationId xmlns:a16="http://schemas.microsoft.com/office/drawing/2014/main" id="{3A4A1808-3B98-45AF-9AE6-BDFC8C439821}"/>
              </a:ext>
            </a:extLst>
          </p:cNvPr>
          <p:cNvSpPr/>
          <p:nvPr/>
        </p:nvSpPr>
        <p:spPr>
          <a:xfrm>
            <a:off x="914400" y="2169738"/>
            <a:ext cx="10720137" cy="874522"/>
          </a:xfrm>
          <a:custGeom>
            <a:avLst/>
            <a:gdLst>
              <a:gd name="connsiteX0" fmla="*/ 0 w 8617527"/>
              <a:gd name="connsiteY0" fmla="*/ 651164 h 1191491"/>
              <a:gd name="connsiteX1" fmla="*/ 2673927 w 8617527"/>
              <a:gd name="connsiteY1" fmla="*/ 0 h 1191491"/>
              <a:gd name="connsiteX2" fmla="*/ 6483927 w 8617527"/>
              <a:gd name="connsiteY2" fmla="*/ 1191491 h 1191491"/>
              <a:gd name="connsiteX3" fmla="*/ 8617527 w 8617527"/>
              <a:gd name="connsiteY3" fmla="*/ 498764 h 1191491"/>
              <a:gd name="connsiteX0" fmla="*/ 0 w 8617527"/>
              <a:gd name="connsiteY0" fmla="*/ 661463 h 1201790"/>
              <a:gd name="connsiteX1" fmla="*/ 2673927 w 8617527"/>
              <a:gd name="connsiteY1" fmla="*/ 10299 h 1201790"/>
              <a:gd name="connsiteX2" fmla="*/ 6483927 w 8617527"/>
              <a:gd name="connsiteY2" fmla="*/ 1201790 h 1201790"/>
              <a:gd name="connsiteX3" fmla="*/ 8617527 w 8617527"/>
              <a:gd name="connsiteY3" fmla="*/ 509063 h 1201790"/>
              <a:gd name="connsiteX0" fmla="*/ 0 w 8617527"/>
              <a:gd name="connsiteY0" fmla="*/ 651245 h 1191572"/>
              <a:gd name="connsiteX1" fmla="*/ 2673927 w 8617527"/>
              <a:gd name="connsiteY1" fmla="*/ 81 h 1191572"/>
              <a:gd name="connsiteX2" fmla="*/ 6483927 w 8617527"/>
              <a:gd name="connsiteY2" fmla="*/ 1191572 h 1191572"/>
              <a:gd name="connsiteX3" fmla="*/ 8617527 w 8617527"/>
              <a:gd name="connsiteY3" fmla="*/ 498845 h 1191572"/>
              <a:gd name="connsiteX0" fmla="*/ 0 w 8617527"/>
              <a:gd name="connsiteY0" fmla="*/ 651245 h 1217033"/>
              <a:gd name="connsiteX1" fmla="*/ 2673927 w 8617527"/>
              <a:gd name="connsiteY1" fmla="*/ 81 h 1217033"/>
              <a:gd name="connsiteX2" fmla="*/ 6483927 w 8617527"/>
              <a:gd name="connsiteY2" fmla="*/ 1191572 h 1217033"/>
              <a:gd name="connsiteX3" fmla="*/ 8617527 w 8617527"/>
              <a:gd name="connsiteY3" fmla="*/ 498845 h 1217033"/>
              <a:gd name="connsiteX0" fmla="*/ 0 w 8617527"/>
              <a:gd name="connsiteY0" fmla="*/ 651245 h 1191898"/>
              <a:gd name="connsiteX1" fmla="*/ 2673927 w 8617527"/>
              <a:gd name="connsiteY1" fmla="*/ 81 h 1191898"/>
              <a:gd name="connsiteX2" fmla="*/ 6483927 w 8617527"/>
              <a:gd name="connsiteY2" fmla="*/ 1191572 h 1191898"/>
              <a:gd name="connsiteX3" fmla="*/ 8617527 w 8617527"/>
              <a:gd name="connsiteY3" fmla="*/ 498845 h 1191898"/>
              <a:gd name="connsiteX0" fmla="*/ 0 w 8617527"/>
              <a:gd name="connsiteY0" fmla="*/ 651245 h 1191625"/>
              <a:gd name="connsiteX1" fmla="*/ 2673927 w 8617527"/>
              <a:gd name="connsiteY1" fmla="*/ 81 h 1191625"/>
              <a:gd name="connsiteX2" fmla="*/ 6483927 w 8617527"/>
              <a:gd name="connsiteY2" fmla="*/ 1191572 h 1191625"/>
              <a:gd name="connsiteX3" fmla="*/ 8617527 w 8617527"/>
              <a:gd name="connsiteY3" fmla="*/ 498845 h 1191625"/>
              <a:gd name="connsiteX0" fmla="*/ 0 w 8617527"/>
              <a:gd name="connsiteY0" fmla="*/ 651245 h 1196985"/>
              <a:gd name="connsiteX1" fmla="*/ 2673927 w 8617527"/>
              <a:gd name="connsiteY1" fmla="*/ 81 h 1196985"/>
              <a:gd name="connsiteX2" fmla="*/ 6483927 w 8617527"/>
              <a:gd name="connsiteY2" fmla="*/ 1191572 h 1196985"/>
              <a:gd name="connsiteX3" fmla="*/ 8617527 w 8617527"/>
              <a:gd name="connsiteY3" fmla="*/ 415718 h 1196985"/>
              <a:gd name="connsiteX0" fmla="*/ 0 w 8617527"/>
              <a:gd name="connsiteY0" fmla="*/ 662395 h 1235629"/>
              <a:gd name="connsiteX1" fmla="*/ 2673927 w 8617527"/>
              <a:gd name="connsiteY1" fmla="*/ 11231 h 1235629"/>
              <a:gd name="connsiteX2" fmla="*/ 6276108 w 8617527"/>
              <a:gd name="connsiteY2" fmla="*/ 1230431 h 1235629"/>
              <a:gd name="connsiteX3" fmla="*/ 8617527 w 8617527"/>
              <a:gd name="connsiteY3" fmla="*/ 426868 h 1235629"/>
              <a:gd name="connsiteX0" fmla="*/ 0 w 8617527"/>
              <a:gd name="connsiteY0" fmla="*/ 662395 h 1230431"/>
              <a:gd name="connsiteX1" fmla="*/ 2673927 w 8617527"/>
              <a:gd name="connsiteY1" fmla="*/ 11231 h 1230431"/>
              <a:gd name="connsiteX2" fmla="*/ 6276108 w 8617527"/>
              <a:gd name="connsiteY2" fmla="*/ 1230431 h 1230431"/>
              <a:gd name="connsiteX3" fmla="*/ 8617527 w 8617527"/>
              <a:gd name="connsiteY3" fmla="*/ 426868 h 1230431"/>
              <a:gd name="connsiteX0" fmla="*/ 0 w 8645236"/>
              <a:gd name="connsiteY0" fmla="*/ 662395 h 1238608"/>
              <a:gd name="connsiteX1" fmla="*/ 2673927 w 8645236"/>
              <a:gd name="connsiteY1" fmla="*/ 11231 h 1238608"/>
              <a:gd name="connsiteX2" fmla="*/ 6276108 w 8645236"/>
              <a:gd name="connsiteY2" fmla="*/ 1230431 h 1238608"/>
              <a:gd name="connsiteX3" fmla="*/ 8645236 w 8645236"/>
              <a:gd name="connsiteY3" fmla="*/ 509995 h 1238608"/>
              <a:gd name="connsiteX0" fmla="*/ 0 w 8645236"/>
              <a:gd name="connsiteY0" fmla="*/ 662395 h 1238608"/>
              <a:gd name="connsiteX1" fmla="*/ 2673927 w 8645236"/>
              <a:gd name="connsiteY1" fmla="*/ 11231 h 1238608"/>
              <a:gd name="connsiteX2" fmla="*/ 6276108 w 8645236"/>
              <a:gd name="connsiteY2" fmla="*/ 1230431 h 1238608"/>
              <a:gd name="connsiteX3" fmla="*/ 8645236 w 8645236"/>
              <a:gd name="connsiteY3" fmla="*/ 509995 h 1238608"/>
              <a:gd name="connsiteX0" fmla="*/ 0 w 8645282"/>
              <a:gd name="connsiteY0" fmla="*/ 662395 h 1236431"/>
              <a:gd name="connsiteX1" fmla="*/ 2673927 w 8645282"/>
              <a:gd name="connsiteY1" fmla="*/ 11231 h 1236431"/>
              <a:gd name="connsiteX2" fmla="*/ 6276108 w 8645282"/>
              <a:gd name="connsiteY2" fmla="*/ 1230431 h 1236431"/>
              <a:gd name="connsiteX3" fmla="*/ 8645236 w 8645282"/>
              <a:gd name="connsiteY3" fmla="*/ 509995 h 1236431"/>
              <a:gd name="connsiteX0" fmla="*/ 0 w 8631428"/>
              <a:gd name="connsiteY0" fmla="*/ 662395 h 1234327"/>
              <a:gd name="connsiteX1" fmla="*/ 2673927 w 8631428"/>
              <a:gd name="connsiteY1" fmla="*/ 11231 h 1234327"/>
              <a:gd name="connsiteX2" fmla="*/ 6276108 w 8631428"/>
              <a:gd name="connsiteY2" fmla="*/ 1230431 h 1234327"/>
              <a:gd name="connsiteX3" fmla="*/ 8631382 w 8631428"/>
              <a:gd name="connsiteY3" fmla="*/ 426868 h 1234327"/>
              <a:gd name="connsiteX0" fmla="*/ 0 w 8617574"/>
              <a:gd name="connsiteY0" fmla="*/ 1081098 h 1223539"/>
              <a:gd name="connsiteX1" fmla="*/ 2660073 w 8617574"/>
              <a:gd name="connsiteY1" fmla="*/ 443 h 1223539"/>
              <a:gd name="connsiteX2" fmla="*/ 6262254 w 8617574"/>
              <a:gd name="connsiteY2" fmla="*/ 1219643 h 1223539"/>
              <a:gd name="connsiteX3" fmla="*/ 8617528 w 8617574"/>
              <a:gd name="connsiteY3" fmla="*/ 416080 h 1223539"/>
              <a:gd name="connsiteX0" fmla="*/ 0 w 8617574"/>
              <a:gd name="connsiteY0" fmla="*/ 1039556 h 1181296"/>
              <a:gd name="connsiteX1" fmla="*/ 2660073 w 8617574"/>
              <a:gd name="connsiteY1" fmla="*/ 465 h 1181296"/>
              <a:gd name="connsiteX2" fmla="*/ 6262254 w 8617574"/>
              <a:gd name="connsiteY2" fmla="*/ 1178101 h 1181296"/>
              <a:gd name="connsiteX3" fmla="*/ 8617528 w 8617574"/>
              <a:gd name="connsiteY3" fmla="*/ 374538 h 1181296"/>
              <a:gd name="connsiteX0" fmla="*/ 0 w 8617574"/>
              <a:gd name="connsiteY0" fmla="*/ 1039761 h 1181501"/>
              <a:gd name="connsiteX1" fmla="*/ 2660073 w 8617574"/>
              <a:gd name="connsiteY1" fmla="*/ 670 h 1181501"/>
              <a:gd name="connsiteX2" fmla="*/ 6262254 w 8617574"/>
              <a:gd name="connsiteY2" fmla="*/ 1178306 h 1181501"/>
              <a:gd name="connsiteX3" fmla="*/ 8617528 w 8617574"/>
              <a:gd name="connsiteY3" fmla="*/ 374743 h 1181501"/>
              <a:gd name="connsiteX0" fmla="*/ 0 w 8617574"/>
              <a:gd name="connsiteY0" fmla="*/ 1039761 h 1181501"/>
              <a:gd name="connsiteX1" fmla="*/ 2660073 w 8617574"/>
              <a:gd name="connsiteY1" fmla="*/ 670 h 1181501"/>
              <a:gd name="connsiteX2" fmla="*/ 6262254 w 8617574"/>
              <a:gd name="connsiteY2" fmla="*/ 1178306 h 1181501"/>
              <a:gd name="connsiteX3" fmla="*/ 8617528 w 8617574"/>
              <a:gd name="connsiteY3" fmla="*/ 374743 h 1181501"/>
              <a:gd name="connsiteX0" fmla="*/ 0 w 8603720"/>
              <a:gd name="connsiteY0" fmla="*/ 1039774 h 1185059"/>
              <a:gd name="connsiteX1" fmla="*/ 2660073 w 8603720"/>
              <a:gd name="connsiteY1" fmla="*/ 683 h 1185059"/>
              <a:gd name="connsiteX2" fmla="*/ 6262254 w 8603720"/>
              <a:gd name="connsiteY2" fmla="*/ 1178319 h 1185059"/>
              <a:gd name="connsiteX3" fmla="*/ 8603674 w 8603720"/>
              <a:gd name="connsiteY3" fmla="*/ 513302 h 1185059"/>
              <a:gd name="connsiteX0" fmla="*/ 0 w 8646540"/>
              <a:gd name="connsiteY0" fmla="*/ 1039774 h 1183120"/>
              <a:gd name="connsiteX1" fmla="*/ 2660073 w 8646540"/>
              <a:gd name="connsiteY1" fmla="*/ 683 h 1183120"/>
              <a:gd name="connsiteX2" fmla="*/ 6262254 w 8646540"/>
              <a:gd name="connsiteY2" fmla="*/ 1178319 h 1183120"/>
              <a:gd name="connsiteX3" fmla="*/ 8646495 w 8646540"/>
              <a:gd name="connsiteY3" fmla="*/ 185311 h 1183120"/>
              <a:gd name="connsiteX0" fmla="*/ 0 w 8646549"/>
              <a:gd name="connsiteY0" fmla="*/ 1039497 h 1182843"/>
              <a:gd name="connsiteX1" fmla="*/ 2660073 w 8646549"/>
              <a:gd name="connsiteY1" fmla="*/ 406 h 1182843"/>
              <a:gd name="connsiteX2" fmla="*/ 6497771 w 8646549"/>
              <a:gd name="connsiteY2" fmla="*/ 1178042 h 1182843"/>
              <a:gd name="connsiteX3" fmla="*/ 8646495 w 8646549"/>
              <a:gd name="connsiteY3" fmla="*/ 185034 h 1182843"/>
              <a:gd name="connsiteX0" fmla="*/ 0 w 8646550"/>
              <a:gd name="connsiteY0" fmla="*/ 1039497 h 1178042"/>
              <a:gd name="connsiteX1" fmla="*/ 2660073 w 8646550"/>
              <a:gd name="connsiteY1" fmla="*/ 406 h 1178042"/>
              <a:gd name="connsiteX2" fmla="*/ 6497771 w 8646550"/>
              <a:gd name="connsiteY2" fmla="*/ 1178042 h 1178042"/>
              <a:gd name="connsiteX3" fmla="*/ 8646495 w 8646550"/>
              <a:gd name="connsiteY3" fmla="*/ 185034 h 1178042"/>
              <a:gd name="connsiteX0" fmla="*/ 0 w 8646550"/>
              <a:gd name="connsiteY0" fmla="*/ 1039497 h 1178052"/>
              <a:gd name="connsiteX1" fmla="*/ 2660073 w 8646550"/>
              <a:gd name="connsiteY1" fmla="*/ 406 h 1178052"/>
              <a:gd name="connsiteX2" fmla="*/ 6497771 w 8646550"/>
              <a:gd name="connsiteY2" fmla="*/ 1178042 h 1178052"/>
              <a:gd name="connsiteX3" fmla="*/ 8646495 w 8646550"/>
              <a:gd name="connsiteY3" fmla="*/ 185034 h 1178052"/>
              <a:gd name="connsiteX0" fmla="*/ 0 w 8646549"/>
              <a:gd name="connsiteY0" fmla="*/ 1039093 h 1048441"/>
              <a:gd name="connsiteX1" fmla="*/ 2660073 w 8646549"/>
              <a:gd name="connsiteY1" fmla="*/ 2 h 1048441"/>
              <a:gd name="connsiteX2" fmla="*/ 6465655 w 8646549"/>
              <a:gd name="connsiteY2" fmla="*/ 1048430 h 1048441"/>
              <a:gd name="connsiteX3" fmla="*/ 8646495 w 8646549"/>
              <a:gd name="connsiteY3" fmla="*/ 184630 h 1048441"/>
            </a:gdLst>
            <a:ahLst/>
            <a:cxnLst>
              <a:cxn ang="0">
                <a:pos x="connsiteX0" y="connsiteY0"/>
              </a:cxn>
              <a:cxn ang="0">
                <a:pos x="connsiteX1" y="connsiteY1"/>
              </a:cxn>
              <a:cxn ang="0">
                <a:pos x="connsiteX2" y="connsiteY2"/>
              </a:cxn>
              <a:cxn ang="0">
                <a:pos x="connsiteX3" y="connsiteY3"/>
              </a:cxn>
            </a:cxnLst>
            <a:rect l="l" t="t" r="r" b="b"/>
            <a:pathLst>
              <a:path w="8646549" h="1048441">
                <a:moveTo>
                  <a:pt x="0" y="1039093"/>
                </a:moveTo>
                <a:cubicBezTo>
                  <a:pt x="18473" y="946729"/>
                  <a:pt x="1582464" y="-1554"/>
                  <a:pt x="2660073" y="2"/>
                </a:cubicBezTo>
                <a:cubicBezTo>
                  <a:pt x="3737682" y="1558"/>
                  <a:pt x="5442940" y="1052446"/>
                  <a:pt x="6465655" y="1048430"/>
                </a:cubicBezTo>
                <a:cubicBezTo>
                  <a:pt x="7488370" y="1044414"/>
                  <a:pt x="8655731" y="180011"/>
                  <a:pt x="8646495" y="184630"/>
                </a:cubicBezTo>
              </a:path>
            </a:pathLst>
          </a:custGeom>
          <a:noFill/>
          <a:ln w="9525" cap="flat" cmpd="sng" algn="ctr">
            <a:solidFill>
              <a:schemeClr val="tx1"/>
            </a:solidFill>
            <a:prstDash val="sysDash"/>
            <a:miter lim="800000"/>
            <a:headEnd type="none" w="med" len="med"/>
            <a:tailEnd type="triangl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Frutiger Next Pro Light"/>
              <a:ea typeface="+mn-ea"/>
              <a:cs typeface="+mn-cs"/>
            </a:endParaRPr>
          </a:p>
        </p:txBody>
      </p:sp>
      <p:sp>
        <p:nvSpPr>
          <p:cNvPr id="10" name="object 357">
            <a:extLst>
              <a:ext uri="{FF2B5EF4-FFF2-40B4-BE49-F238E27FC236}">
                <a16:creationId xmlns:a16="http://schemas.microsoft.com/office/drawing/2014/main" id="{51D4E327-F6DB-4AF5-92E5-C07C9C622946}"/>
              </a:ext>
            </a:extLst>
          </p:cNvPr>
          <p:cNvSpPr txBox="1"/>
          <p:nvPr/>
        </p:nvSpPr>
        <p:spPr>
          <a:xfrm>
            <a:off x="4954712" y="2731095"/>
            <a:ext cx="2066022" cy="169277"/>
          </a:xfrm>
          <a:prstGeom prst="rect">
            <a:avLst/>
          </a:prstGeom>
        </p:spPr>
        <p:txBody>
          <a:bodyPr vert="horz" wrap="square" lIns="0" tIns="0" rIns="0" bIns="0" rtlCol="0">
            <a:spAutoFit/>
          </a:bodyPr>
          <a:lstStyle>
            <a:defPPr>
              <a:defRPr lang="en-US"/>
            </a:defPPr>
            <a:lvl1pPr marL="15876">
              <a:defRPr sz="1100" b="1" kern="0" spc="250">
                <a:solidFill>
                  <a:schemeClr val="tx2"/>
                </a:solidFill>
                <a:ea typeface="Nexa Black" charset="0"/>
                <a:cs typeface="Nexa Black" charset="0"/>
              </a:defRPr>
            </a:lvl1pPr>
          </a:lstStyle>
          <a:p>
            <a:pPr marL="15876"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250" normalizeH="0" baseline="0" noProof="0" dirty="0">
                <a:ln>
                  <a:noFill/>
                </a:ln>
                <a:solidFill>
                  <a:srgbClr val="000000"/>
                </a:solidFill>
                <a:effectLst/>
                <a:uLnTx/>
                <a:uFillTx/>
                <a:latin typeface="Open Sans"/>
              </a:rPr>
              <a:t>SELECT &amp; VALIDATE</a:t>
            </a:r>
            <a:endParaRPr kumimoji="0" sz="1100" b="1" i="0" u="none" strike="noStrike" kern="0" cap="none" spc="250" normalizeH="0" baseline="0" noProof="0" dirty="0">
              <a:ln>
                <a:noFill/>
              </a:ln>
              <a:solidFill>
                <a:srgbClr val="000000"/>
              </a:solidFill>
              <a:effectLst/>
              <a:uLnTx/>
              <a:uFillTx/>
              <a:latin typeface="Open Sans"/>
            </a:endParaRPr>
          </a:p>
        </p:txBody>
      </p:sp>
      <p:sp>
        <p:nvSpPr>
          <p:cNvPr id="11" name="Oval 10">
            <a:extLst>
              <a:ext uri="{FF2B5EF4-FFF2-40B4-BE49-F238E27FC236}">
                <a16:creationId xmlns:a16="http://schemas.microsoft.com/office/drawing/2014/main" id="{4B080C50-9B3C-4727-991C-E9D65D865597}"/>
              </a:ext>
            </a:extLst>
          </p:cNvPr>
          <p:cNvSpPr/>
          <p:nvPr/>
        </p:nvSpPr>
        <p:spPr>
          <a:xfrm>
            <a:off x="5844694" y="2261362"/>
            <a:ext cx="382409" cy="382409"/>
          </a:xfrm>
          <a:prstGeom prst="ellipse">
            <a:avLst/>
          </a:prstGeom>
          <a:solidFill>
            <a:srgbClr val="B4B4B4">
              <a:lumMod val="20000"/>
              <a:lumOff val="80000"/>
            </a:srgbClr>
          </a:solidFill>
          <a:ln w="15875" cap="flat" cmpd="sng" algn="ctr">
            <a:solidFill>
              <a:schemeClr val="tx1"/>
            </a:solidFill>
            <a:prstDash val="solid"/>
          </a:ln>
          <a:effectLst/>
        </p:spPr>
        <p:txBody>
          <a:bodyPr rtlCol="0" anchor="ctr"/>
          <a:lstStyle/>
          <a:p>
            <a:pPr marL="0" marR="0" lvl="0" indent="0" algn="ctr" defTabSz="81637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Open Sans"/>
              <a:ea typeface="Open Sans" panose="020B0606030504020204" pitchFamily="34" charset="0"/>
              <a:cs typeface="Open Sans" panose="020B0606030504020204" pitchFamily="34" charset="0"/>
            </a:endParaRPr>
          </a:p>
        </p:txBody>
      </p:sp>
      <p:sp>
        <p:nvSpPr>
          <p:cNvPr id="12" name="Oval 11">
            <a:extLst>
              <a:ext uri="{FF2B5EF4-FFF2-40B4-BE49-F238E27FC236}">
                <a16:creationId xmlns:a16="http://schemas.microsoft.com/office/drawing/2014/main" id="{7A191C1E-7625-43CD-8FB5-CD3A3B7AE488}"/>
              </a:ext>
            </a:extLst>
          </p:cNvPr>
          <p:cNvSpPr/>
          <p:nvPr/>
        </p:nvSpPr>
        <p:spPr>
          <a:xfrm>
            <a:off x="9911732" y="2684132"/>
            <a:ext cx="382409" cy="382409"/>
          </a:xfrm>
          <a:prstGeom prst="ellipse">
            <a:avLst/>
          </a:prstGeom>
          <a:solidFill>
            <a:srgbClr val="B4B4B4">
              <a:lumMod val="20000"/>
              <a:lumOff val="80000"/>
            </a:srgbClr>
          </a:solidFill>
          <a:ln w="15875" cap="flat" cmpd="sng" algn="ctr">
            <a:solidFill>
              <a:schemeClr val="tx1"/>
            </a:solidFill>
            <a:prstDash val="solid"/>
          </a:ln>
          <a:effectLst/>
        </p:spPr>
        <p:txBody>
          <a:bodyPr rtlCol="0" anchor="ctr"/>
          <a:lstStyle/>
          <a:p>
            <a:pPr marL="0" marR="0" lvl="0" indent="0" algn="ctr" defTabSz="81637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Open Sans"/>
              <a:ea typeface="Open Sans" panose="020B0606030504020204" pitchFamily="34" charset="0"/>
              <a:cs typeface="Open Sans" panose="020B0606030504020204" pitchFamily="34" charset="0"/>
            </a:endParaRPr>
          </a:p>
        </p:txBody>
      </p:sp>
      <p:grpSp>
        <p:nvGrpSpPr>
          <p:cNvPr id="13" name="Group 12">
            <a:extLst>
              <a:ext uri="{FF2B5EF4-FFF2-40B4-BE49-F238E27FC236}">
                <a16:creationId xmlns:a16="http://schemas.microsoft.com/office/drawing/2014/main" id="{5CD755A5-A9A3-4A7F-87B0-762F65CB47A9}"/>
              </a:ext>
            </a:extLst>
          </p:cNvPr>
          <p:cNvGrpSpPr/>
          <p:nvPr/>
        </p:nvGrpSpPr>
        <p:grpSpPr>
          <a:xfrm>
            <a:off x="5942027" y="2371755"/>
            <a:ext cx="187742" cy="184025"/>
            <a:chOff x="184150" y="5391150"/>
            <a:chExt cx="481012" cy="471487"/>
          </a:xfrm>
          <a:solidFill>
            <a:schemeClr val="tx1"/>
          </a:solidFill>
        </p:grpSpPr>
        <p:sp>
          <p:nvSpPr>
            <p:cNvPr id="14" name="Freeform 65">
              <a:extLst>
                <a:ext uri="{FF2B5EF4-FFF2-40B4-BE49-F238E27FC236}">
                  <a16:creationId xmlns:a16="http://schemas.microsoft.com/office/drawing/2014/main" id="{363B8003-ED0E-46EB-8127-E358A242EDCB}"/>
                </a:ext>
              </a:extLst>
            </p:cNvPr>
            <p:cNvSpPr>
              <a:spLocks noEditPoints="1"/>
            </p:cNvSpPr>
            <p:nvPr/>
          </p:nvSpPr>
          <p:spPr bwMode="auto">
            <a:xfrm>
              <a:off x="184150" y="5391150"/>
              <a:ext cx="481012" cy="471487"/>
            </a:xfrm>
            <a:custGeom>
              <a:avLst/>
              <a:gdLst>
                <a:gd name="T0" fmla="*/ 238 w 243"/>
                <a:gd name="T1" fmla="*/ 135 h 238"/>
                <a:gd name="T2" fmla="*/ 227 w 243"/>
                <a:gd name="T3" fmla="*/ 135 h 238"/>
                <a:gd name="T4" fmla="*/ 227 w 243"/>
                <a:gd name="T5" fmla="*/ 98 h 238"/>
                <a:gd name="T6" fmla="*/ 227 w 243"/>
                <a:gd name="T7" fmla="*/ 98 h 238"/>
                <a:gd name="T8" fmla="*/ 227 w 243"/>
                <a:gd name="T9" fmla="*/ 98 h 238"/>
                <a:gd name="T10" fmla="*/ 222 w 243"/>
                <a:gd name="T11" fmla="*/ 93 h 238"/>
                <a:gd name="T12" fmla="*/ 217 w 243"/>
                <a:gd name="T13" fmla="*/ 93 h 238"/>
                <a:gd name="T14" fmla="*/ 217 w 243"/>
                <a:gd name="T15" fmla="*/ 92 h 238"/>
                <a:gd name="T16" fmla="*/ 210 w 243"/>
                <a:gd name="T17" fmla="*/ 71 h 238"/>
                <a:gd name="T18" fmla="*/ 222 w 243"/>
                <a:gd name="T19" fmla="*/ 71 h 238"/>
                <a:gd name="T20" fmla="*/ 227 w 243"/>
                <a:gd name="T21" fmla="*/ 66 h 238"/>
                <a:gd name="T22" fmla="*/ 222 w 243"/>
                <a:gd name="T23" fmla="*/ 61 h 238"/>
                <a:gd name="T24" fmla="*/ 207 w 243"/>
                <a:gd name="T25" fmla="*/ 61 h 238"/>
                <a:gd name="T26" fmla="*/ 190 w 243"/>
                <a:gd name="T27" fmla="*/ 4 h 238"/>
                <a:gd name="T28" fmla="*/ 187 w 243"/>
                <a:gd name="T29" fmla="*/ 1 h 238"/>
                <a:gd name="T30" fmla="*/ 184 w 243"/>
                <a:gd name="T31" fmla="*/ 1 h 238"/>
                <a:gd name="T32" fmla="*/ 23 w 243"/>
                <a:gd name="T33" fmla="*/ 50 h 238"/>
                <a:gd name="T34" fmla="*/ 20 w 243"/>
                <a:gd name="T35" fmla="*/ 53 h 238"/>
                <a:gd name="T36" fmla="*/ 19 w 243"/>
                <a:gd name="T37" fmla="*/ 57 h 238"/>
                <a:gd name="T38" fmla="*/ 21 w 243"/>
                <a:gd name="T39" fmla="*/ 61 h 238"/>
                <a:gd name="T40" fmla="*/ 0 w 243"/>
                <a:gd name="T41" fmla="*/ 82 h 238"/>
                <a:gd name="T42" fmla="*/ 0 w 243"/>
                <a:gd name="T43" fmla="*/ 217 h 238"/>
                <a:gd name="T44" fmla="*/ 21 w 243"/>
                <a:gd name="T45" fmla="*/ 238 h 238"/>
                <a:gd name="T46" fmla="*/ 222 w 243"/>
                <a:gd name="T47" fmla="*/ 238 h 238"/>
                <a:gd name="T48" fmla="*/ 227 w 243"/>
                <a:gd name="T49" fmla="*/ 233 h 238"/>
                <a:gd name="T50" fmla="*/ 227 w 243"/>
                <a:gd name="T51" fmla="*/ 194 h 238"/>
                <a:gd name="T52" fmla="*/ 238 w 243"/>
                <a:gd name="T53" fmla="*/ 194 h 238"/>
                <a:gd name="T54" fmla="*/ 243 w 243"/>
                <a:gd name="T55" fmla="*/ 190 h 238"/>
                <a:gd name="T56" fmla="*/ 243 w 243"/>
                <a:gd name="T57" fmla="*/ 140 h 238"/>
                <a:gd name="T58" fmla="*/ 238 w 243"/>
                <a:gd name="T59" fmla="*/ 135 h 238"/>
                <a:gd name="T60" fmla="*/ 182 w 243"/>
                <a:gd name="T61" fmla="*/ 12 h 238"/>
                <a:gd name="T62" fmla="*/ 206 w 243"/>
                <a:gd name="T63" fmla="*/ 90 h 238"/>
                <a:gd name="T64" fmla="*/ 195 w 243"/>
                <a:gd name="T65" fmla="*/ 93 h 238"/>
                <a:gd name="T66" fmla="*/ 41 w 243"/>
                <a:gd name="T67" fmla="*/ 93 h 238"/>
                <a:gd name="T68" fmla="*/ 30 w 243"/>
                <a:gd name="T69" fmla="*/ 58 h 238"/>
                <a:gd name="T70" fmla="*/ 182 w 243"/>
                <a:gd name="T71" fmla="*/ 12 h 238"/>
                <a:gd name="T72" fmla="*/ 21 w 243"/>
                <a:gd name="T73" fmla="*/ 71 h 238"/>
                <a:gd name="T74" fmla="*/ 24 w 243"/>
                <a:gd name="T75" fmla="*/ 71 h 238"/>
                <a:gd name="T76" fmla="*/ 31 w 243"/>
                <a:gd name="T77" fmla="*/ 93 h 238"/>
                <a:gd name="T78" fmla="*/ 21 w 243"/>
                <a:gd name="T79" fmla="*/ 93 h 238"/>
                <a:gd name="T80" fmla="*/ 21 w 243"/>
                <a:gd name="T81" fmla="*/ 93 h 238"/>
                <a:gd name="T82" fmla="*/ 10 w 243"/>
                <a:gd name="T83" fmla="*/ 82 h 238"/>
                <a:gd name="T84" fmla="*/ 21 w 243"/>
                <a:gd name="T85" fmla="*/ 71 h 238"/>
                <a:gd name="T86" fmla="*/ 217 w 243"/>
                <a:gd name="T87" fmla="*/ 228 h 238"/>
                <a:gd name="T88" fmla="*/ 21 w 243"/>
                <a:gd name="T89" fmla="*/ 228 h 238"/>
                <a:gd name="T90" fmla="*/ 10 w 243"/>
                <a:gd name="T91" fmla="*/ 217 h 238"/>
                <a:gd name="T92" fmla="*/ 10 w 243"/>
                <a:gd name="T93" fmla="*/ 100 h 238"/>
                <a:gd name="T94" fmla="*/ 21 w 243"/>
                <a:gd name="T95" fmla="*/ 103 h 238"/>
                <a:gd name="T96" fmla="*/ 217 w 243"/>
                <a:gd name="T97" fmla="*/ 103 h 238"/>
                <a:gd name="T98" fmla="*/ 217 w 243"/>
                <a:gd name="T99" fmla="*/ 135 h 238"/>
                <a:gd name="T100" fmla="*/ 186 w 243"/>
                <a:gd name="T101" fmla="*/ 135 h 238"/>
                <a:gd name="T102" fmla="*/ 156 w 243"/>
                <a:gd name="T103" fmla="*/ 165 h 238"/>
                <a:gd name="T104" fmla="*/ 186 w 243"/>
                <a:gd name="T105" fmla="*/ 194 h 238"/>
                <a:gd name="T106" fmla="*/ 217 w 243"/>
                <a:gd name="T107" fmla="*/ 194 h 238"/>
                <a:gd name="T108" fmla="*/ 217 w 243"/>
                <a:gd name="T109" fmla="*/ 228 h 238"/>
                <a:gd name="T110" fmla="*/ 233 w 243"/>
                <a:gd name="T111" fmla="*/ 185 h 238"/>
                <a:gd name="T112" fmla="*/ 186 w 243"/>
                <a:gd name="T113" fmla="*/ 185 h 238"/>
                <a:gd name="T114" fmla="*/ 166 w 243"/>
                <a:gd name="T115" fmla="*/ 165 h 238"/>
                <a:gd name="T116" fmla="*/ 186 w 243"/>
                <a:gd name="T117" fmla="*/ 144 h 238"/>
                <a:gd name="T118" fmla="*/ 233 w 243"/>
                <a:gd name="T119" fmla="*/ 144 h 238"/>
                <a:gd name="T120" fmla="*/ 233 w 243"/>
                <a:gd name="T121" fmla="*/ 185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3" h="238">
                  <a:moveTo>
                    <a:pt x="238" y="135"/>
                  </a:moveTo>
                  <a:cubicBezTo>
                    <a:pt x="227" y="135"/>
                    <a:pt x="227" y="135"/>
                    <a:pt x="227" y="135"/>
                  </a:cubicBezTo>
                  <a:cubicBezTo>
                    <a:pt x="227" y="98"/>
                    <a:pt x="227" y="98"/>
                    <a:pt x="227" y="98"/>
                  </a:cubicBezTo>
                  <a:cubicBezTo>
                    <a:pt x="227" y="98"/>
                    <a:pt x="227" y="98"/>
                    <a:pt x="227" y="98"/>
                  </a:cubicBezTo>
                  <a:cubicBezTo>
                    <a:pt x="227" y="98"/>
                    <a:pt x="227" y="98"/>
                    <a:pt x="227" y="98"/>
                  </a:cubicBezTo>
                  <a:cubicBezTo>
                    <a:pt x="227" y="95"/>
                    <a:pt x="225" y="93"/>
                    <a:pt x="222" y="93"/>
                  </a:cubicBezTo>
                  <a:cubicBezTo>
                    <a:pt x="217" y="93"/>
                    <a:pt x="217" y="93"/>
                    <a:pt x="217" y="93"/>
                  </a:cubicBezTo>
                  <a:cubicBezTo>
                    <a:pt x="217" y="93"/>
                    <a:pt x="217" y="92"/>
                    <a:pt x="217" y="92"/>
                  </a:cubicBezTo>
                  <a:cubicBezTo>
                    <a:pt x="210" y="71"/>
                    <a:pt x="210" y="71"/>
                    <a:pt x="210" y="71"/>
                  </a:cubicBezTo>
                  <a:cubicBezTo>
                    <a:pt x="222" y="71"/>
                    <a:pt x="222" y="71"/>
                    <a:pt x="222" y="71"/>
                  </a:cubicBezTo>
                  <a:cubicBezTo>
                    <a:pt x="225" y="71"/>
                    <a:pt x="227" y="69"/>
                    <a:pt x="227" y="66"/>
                  </a:cubicBezTo>
                  <a:cubicBezTo>
                    <a:pt x="227" y="63"/>
                    <a:pt x="225" y="61"/>
                    <a:pt x="222" y="61"/>
                  </a:cubicBezTo>
                  <a:cubicBezTo>
                    <a:pt x="207" y="61"/>
                    <a:pt x="207" y="61"/>
                    <a:pt x="207" y="61"/>
                  </a:cubicBezTo>
                  <a:cubicBezTo>
                    <a:pt x="190" y="4"/>
                    <a:pt x="190" y="4"/>
                    <a:pt x="190" y="4"/>
                  </a:cubicBezTo>
                  <a:cubicBezTo>
                    <a:pt x="189" y="3"/>
                    <a:pt x="188" y="2"/>
                    <a:pt x="187" y="1"/>
                  </a:cubicBezTo>
                  <a:cubicBezTo>
                    <a:pt x="186" y="0"/>
                    <a:pt x="185" y="0"/>
                    <a:pt x="184" y="1"/>
                  </a:cubicBezTo>
                  <a:cubicBezTo>
                    <a:pt x="23" y="50"/>
                    <a:pt x="23" y="50"/>
                    <a:pt x="23" y="50"/>
                  </a:cubicBezTo>
                  <a:cubicBezTo>
                    <a:pt x="21" y="51"/>
                    <a:pt x="20" y="52"/>
                    <a:pt x="20" y="53"/>
                  </a:cubicBezTo>
                  <a:cubicBezTo>
                    <a:pt x="19" y="54"/>
                    <a:pt x="19" y="55"/>
                    <a:pt x="19" y="57"/>
                  </a:cubicBezTo>
                  <a:cubicBezTo>
                    <a:pt x="21" y="61"/>
                    <a:pt x="21" y="61"/>
                    <a:pt x="21" y="61"/>
                  </a:cubicBezTo>
                  <a:cubicBezTo>
                    <a:pt x="9" y="61"/>
                    <a:pt x="0" y="71"/>
                    <a:pt x="0" y="82"/>
                  </a:cubicBezTo>
                  <a:cubicBezTo>
                    <a:pt x="0" y="217"/>
                    <a:pt x="0" y="217"/>
                    <a:pt x="0" y="217"/>
                  </a:cubicBezTo>
                  <a:cubicBezTo>
                    <a:pt x="0" y="229"/>
                    <a:pt x="9" y="238"/>
                    <a:pt x="21" y="238"/>
                  </a:cubicBezTo>
                  <a:cubicBezTo>
                    <a:pt x="222" y="238"/>
                    <a:pt x="222" y="238"/>
                    <a:pt x="222" y="238"/>
                  </a:cubicBezTo>
                  <a:cubicBezTo>
                    <a:pt x="225" y="238"/>
                    <a:pt x="227" y="236"/>
                    <a:pt x="227" y="233"/>
                  </a:cubicBezTo>
                  <a:cubicBezTo>
                    <a:pt x="227" y="194"/>
                    <a:pt x="227" y="194"/>
                    <a:pt x="227" y="194"/>
                  </a:cubicBezTo>
                  <a:cubicBezTo>
                    <a:pt x="238" y="194"/>
                    <a:pt x="238" y="194"/>
                    <a:pt x="238" y="194"/>
                  </a:cubicBezTo>
                  <a:cubicBezTo>
                    <a:pt x="241" y="194"/>
                    <a:pt x="243" y="192"/>
                    <a:pt x="243" y="190"/>
                  </a:cubicBezTo>
                  <a:cubicBezTo>
                    <a:pt x="243" y="140"/>
                    <a:pt x="243" y="140"/>
                    <a:pt x="243" y="140"/>
                  </a:cubicBezTo>
                  <a:cubicBezTo>
                    <a:pt x="243" y="137"/>
                    <a:pt x="241" y="135"/>
                    <a:pt x="238" y="135"/>
                  </a:cubicBezTo>
                  <a:close/>
                  <a:moveTo>
                    <a:pt x="182" y="12"/>
                  </a:moveTo>
                  <a:cubicBezTo>
                    <a:pt x="206" y="90"/>
                    <a:pt x="206" y="90"/>
                    <a:pt x="206" y="90"/>
                  </a:cubicBezTo>
                  <a:cubicBezTo>
                    <a:pt x="195" y="93"/>
                    <a:pt x="195" y="93"/>
                    <a:pt x="195" y="93"/>
                  </a:cubicBezTo>
                  <a:cubicBezTo>
                    <a:pt x="41" y="93"/>
                    <a:pt x="41" y="93"/>
                    <a:pt x="41" y="93"/>
                  </a:cubicBezTo>
                  <a:cubicBezTo>
                    <a:pt x="30" y="58"/>
                    <a:pt x="30" y="58"/>
                    <a:pt x="30" y="58"/>
                  </a:cubicBezTo>
                  <a:lnTo>
                    <a:pt x="182" y="12"/>
                  </a:lnTo>
                  <a:close/>
                  <a:moveTo>
                    <a:pt x="21" y="71"/>
                  </a:moveTo>
                  <a:cubicBezTo>
                    <a:pt x="24" y="71"/>
                    <a:pt x="24" y="71"/>
                    <a:pt x="24" y="71"/>
                  </a:cubicBezTo>
                  <a:cubicBezTo>
                    <a:pt x="31" y="93"/>
                    <a:pt x="31" y="93"/>
                    <a:pt x="31" y="93"/>
                  </a:cubicBezTo>
                  <a:cubicBezTo>
                    <a:pt x="21" y="93"/>
                    <a:pt x="21" y="93"/>
                    <a:pt x="21" y="93"/>
                  </a:cubicBezTo>
                  <a:cubicBezTo>
                    <a:pt x="21" y="93"/>
                    <a:pt x="21" y="93"/>
                    <a:pt x="21" y="93"/>
                  </a:cubicBezTo>
                  <a:cubicBezTo>
                    <a:pt x="15" y="93"/>
                    <a:pt x="10" y="88"/>
                    <a:pt x="10" y="82"/>
                  </a:cubicBezTo>
                  <a:cubicBezTo>
                    <a:pt x="10" y="76"/>
                    <a:pt x="15" y="71"/>
                    <a:pt x="21" y="71"/>
                  </a:cubicBezTo>
                  <a:close/>
                  <a:moveTo>
                    <a:pt x="217" y="228"/>
                  </a:moveTo>
                  <a:cubicBezTo>
                    <a:pt x="21" y="228"/>
                    <a:pt x="21" y="228"/>
                    <a:pt x="21" y="228"/>
                  </a:cubicBezTo>
                  <a:cubicBezTo>
                    <a:pt x="15" y="228"/>
                    <a:pt x="10" y="223"/>
                    <a:pt x="10" y="217"/>
                  </a:cubicBezTo>
                  <a:cubicBezTo>
                    <a:pt x="10" y="100"/>
                    <a:pt x="10" y="100"/>
                    <a:pt x="10" y="100"/>
                  </a:cubicBezTo>
                  <a:cubicBezTo>
                    <a:pt x="13" y="102"/>
                    <a:pt x="17" y="103"/>
                    <a:pt x="21" y="103"/>
                  </a:cubicBezTo>
                  <a:cubicBezTo>
                    <a:pt x="217" y="103"/>
                    <a:pt x="217" y="103"/>
                    <a:pt x="217" y="103"/>
                  </a:cubicBezTo>
                  <a:cubicBezTo>
                    <a:pt x="217" y="135"/>
                    <a:pt x="217" y="135"/>
                    <a:pt x="217" y="135"/>
                  </a:cubicBezTo>
                  <a:cubicBezTo>
                    <a:pt x="186" y="135"/>
                    <a:pt x="186" y="135"/>
                    <a:pt x="186" y="135"/>
                  </a:cubicBezTo>
                  <a:cubicBezTo>
                    <a:pt x="169" y="135"/>
                    <a:pt x="156" y="148"/>
                    <a:pt x="156" y="165"/>
                  </a:cubicBezTo>
                  <a:cubicBezTo>
                    <a:pt x="156" y="181"/>
                    <a:pt x="169" y="194"/>
                    <a:pt x="186" y="194"/>
                  </a:cubicBezTo>
                  <a:cubicBezTo>
                    <a:pt x="217" y="194"/>
                    <a:pt x="217" y="194"/>
                    <a:pt x="217" y="194"/>
                  </a:cubicBezTo>
                  <a:lnTo>
                    <a:pt x="217" y="228"/>
                  </a:lnTo>
                  <a:close/>
                  <a:moveTo>
                    <a:pt x="233" y="185"/>
                  </a:moveTo>
                  <a:cubicBezTo>
                    <a:pt x="186" y="185"/>
                    <a:pt x="186" y="185"/>
                    <a:pt x="186" y="185"/>
                  </a:cubicBezTo>
                  <a:cubicBezTo>
                    <a:pt x="175" y="185"/>
                    <a:pt x="166" y="176"/>
                    <a:pt x="166" y="165"/>
                  </a:cubicBezTo>
                  <a:cubicBezTo>
                    <a:pt x="166" y="153"/>
                    <a:pt x="175" y="144"/>
                    <a:pt x="186" y="144"/>
                  </a:cubicBezTo>
                  <a:cubicBezTo>
                    <a:pt x="233" y="144"/>
                    <a:pt x="233" y="144"/>
                    <a:pt x="233" y="144"/>
                  </a:cubicBezTo>
                  <a:lnTo>
                    <a:pt x="233" y="18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92D400"/>
                </a:solidFill>
                <a:effectLst/>
                <a:uLnTx/>
                <a:uFillTx/>
                <a:latin typeface="Frutiger Next Pro Light"/>
                <a:ea typeface="+mn-ea"/>
                <a:cs typeface="+mn-cs"/>
              </a:endParaRPr>
            </a:p>
          </p:txBody>
        </p:sp>
        <p:sp>
          <p:nvSpPr>
            <p:cNvPr id="15" name="Oval 66">
              <a:extLst>
                <a:ext uri="{FF2B5EF4-FFF2-40B4-BE49-F238E27FC236}">
                  <a16:creationId xmlns:a16="http://schemas.microsoft.com/office/drawing/2014/main" id="{7098A380-8848-4B48-95EA-BC0B9348B335}"/>
                </a:ext>
              </a:extLst>
            </p:cNvPr>
            <p:cNvSpPr>
              <a:spLocks noChangeArrowheads="1"/>
            </p:cNvSpPr>
            <p:nvPr/>
          </p:nvSpPr>
          <p:spPr bwMode="auto">
            <a:xfrm>
              <a:off x="546100" y="5703888"/>
              <a:ext cx="25400" cy="254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92D400"/>
                </a:solidFill>
                <a:effectLst/>
                <a:uLnTx/>
                <a:uFillTx/>
                <a:latin typeface="Frutiger Next Pro Light"/>
                <a:ea typeface="+mn-ea"/>
                <a:cs typeface="+mn-cs"/>
              </a:endParaRPr>
            </a:p>
          </p:txBody>
        </p:sp>
      </p:grpSp>
      <p:grpSp>
        <p:nvGrpSpPr>
          <p:cNvPr id="16" name="Group 15">
            <a:extLst>
              <a:ext uri="{FF2B5EF4-FFF2-40B4-BE49-F238E27FC236}">
                <a16:creationId xmlns:a16="http://schemas.microsoft.com/office/drawing/2014/main" id="{3DC9FDD4-3DD8-4338-953D-244DF9DFA8A3}"/>
              </a:ext>
            </a:extLst>
          </p:cNvPr>
          <p:cNvGrpSpPr/>
          <p:nvPr/>
        </p:nvGrpSpPr>
        <p:grpSpPr>
          <a:xfrm>
            <a:off x="9986682" y="2778522"/>
            <a:ext cx="232509" cy="190657"/>
            <a:chOff x="5916613" y="3068638"/>
            <a:chExt cx="555625" cy="455612"/>
          </a:xfrm>
          <a:solidFill>
            <a:schemeClr val="tx1"/>
          </a:solidFill>
        </p:grpSpPr>
        <p:sp>
          <p:nvSpPr>
            <p:cNvPr id="17" name="Freeform 194">
              <a:extLst>
                <a:ext uri="{FF2B5EF4-FFF2-40B4-BE49-F238E27FC236}">
                  <a16:creationId xmlns:a16="http://schemas.microsoft.com/office/drawing/2014/main" id="{0EF60613-1E9F-48FF-94F1-8D5BC6E4627D}"/>
                </a:ext>
              </a:extLst>
            </p:cNvPr>
            <p:cNvSpPr>
              <a:spLocks noEditPoints="1"/>
            </p:cNvSpPr>
            <p:nvPr/>
          </p:nvSpPr>
          <p:spPr bwMode="auto">
            <a:xfrm>
              <a:off x="5916613" y="3068638"/>
              <a:ext cx="419100" cy="411163"/>
            </a:xfrm>
            <a:custGeom>
              <a:avLst/>
              <a:gdLst>
                <a:gd name="T0" fmla="*/ 178 w 178"/>
                <a:gd name="T1" fmla="*/ 66 h 175"/>
                <a:gd name="T2" fmla="*/ 117 w 178"/>
                <a:gd name="T3" fmla="*/ 0 h 175"/>
                <a:gd name="T4" fmla="*/ 61 w 178"/>
                <a:gd name="T5" fmla="*/ 0 h 175"/>
                <a:gd name="T6" fmla="*/ 0 w 178"/>
                <a:gd name="T7" fmla="*/ 66 h 175"/>
                <a:gd name="T8" fmla="*/ 46 w 178"/>
                <a:gd name="T9" fmla="*/ 130 h 175"/>
                <a:gd name="T10" fmla="*/ 46 w 178"/>
                <a:gd name="T11" fmla="*/ 170 h 175"/>
                <a:gd name="T12" fmla="*/ 49 w 178"/>
                <a:gd name="T13" fmla="*/ 174 h 175"/>
                <a:gd name="T14" fmla="*/ 51 w 178"/>
                <a:gd name="T15" fmla="*/ 175 h 175"/>
                <a:gd name="T16" fmla="*/ 54 w 178"/>
                <a:gd name="T17" fmla="*/ 174 h 175"/>
                <a:gd name="T18" fmla="*/ 101 w 178"/>
                <a:gd name="T19" fmla="*/ 132 h 175"/>
                <a:gd name="T20" fmla="*/ 117 w 178"/>
                <a:gd name="T21" fmla="*/ 132 h 175"/>
                <a:gd name="T22" fmla="*/ 178 w 178"/>
                <a:gd name="T23" fmla="*/ 66 h 175"/>
                <a:gd name="T24" fmla="*/ 99 w 178"/>
                <a:gd name="T25" fmla="*/ 123 h 175"/>
                <a:gd name="T26" fmla="*/ 96 w 178"/>
                <a:gd name="T27" fmla="*/ 124 h 175"/>
                <a:gd name="T28" fmla="*/ 55 w 178"/>
                <a:gd name="T29" fmla="*/ 159 h 175"/>
                <a:gd name="T30" fmla="*/ 55 w 178"/>
                <a:gd name="T31" fmla="*/ 126 h 175"/>
                <a:gd name="T32" fmla="*/ 52 w 178"/>
                <a:gd name="T33" fmla="*/ 122 h 175"/>
                <a:gd name="T34" fmla="*/ 9 w 178"/>
                <a:gd name="T35" fmla="*/ 66 h 175"/>
                <a:gd name="T36" fmla="*/ 61 w 178"/>
                <a:gd name="T37" fmla="*/ 10 h 175"/>
                <a:gd name="T38" fmla="*/ 117 w 178"/>
                <a:gd name="T39" fmla="*/ 10 h 175"/>
                <a:gd name="T40" fmla="*/ 168 w 178"/>
                <a:gd name="T41" fmla="*/ 66 h 175"/>
                <a:gd name="T42" fmla="*/ 117 w 178"/>
                <a:gd name="T43" fmla="*/ 123 h 175"/>
                <a:gd name="T44" fmla="*/ 99 w 178"/>
                <a:gd name="T45" fmla="*/ 12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8" h="175">
                  <a:moveTo>
                    <a:pt x="178" y="66"/>
                  </a:moveTo>
                  <a:cubicBezTo>
                    <a:pt x="178" y="30"/>
                    <a:pt x="150" y="0"/>
                    <a:pt x="117" y="0"/>
                  </a:cubicBezTo>
                  <a:cubicBezTo>
                    <a:pt x="61" y="0"/>
                    <a:pt x="61" y="0"/>
                    <a:pt x="61" y="0"/>
                  </a:cubicBezTo>
                  <a:cubicBezTo>
                    <a:pt x="27" y="0"/>
                    <a:pt x="0" y="30"/>
                    <a:pt x="0" y="66"/>
                  </a:cubicBezTo>
                  <a:cubicBezTo>
                    <a:pt x="0" y="97"/>
                    <a:pt x="19" y="123"/>
                    <a:pt x="46" y="130"/>
                  </a:cubicBezTo>
                  <a:cubicBezTo>
                    <a:pt x="46" y="170"/>
                    <a:pt x="46" y="170"/>
                    <a:pt x="46" y="170"/>
                  </a:cubicBezTo>
                  <a:cubicBezTo>
                    <a:pt x="46" y="172"/>
                    <a:pt x="47" y="174"/>
                    <a:pt x="49" y="174"/>
                  </a:cubicBezTo>
                  <a:cubicBezTo>
                    <a:pt x="49" y="175"/>
                    <a:pt x="50" y="175"/>
                    <a:pt x="51" y="175"/>
                  </a:cubicBezTo>
                  <a:cubicBezTo>
                    <a:pt x="52" y="175"/>
                    <a:pt x="53" y="174"/>
                    <a:pt x="54" y="174"/>
                  </a:cubicBezTo>
                  <a:cubicBezTo>
                    <a:pt x="101" y="132"/>
                    <a:pt x="101" y="132"/>
                    <a:pt x="101" y="132"/>
                  </a:cubicBezTo>
                  <a:cubicBezTo>
                    <a:pt x="117" y="132"/>
                    <a:pt x="117" y="132"/>
                    <a:pt x="117" y="132"/>
                  </a:cubicBezTo>
                  <a:cubicBezTo>
                    <a:pt x="150" y="132"/>
                    <a:pt x="178" y="103"/>
                    <a:pt x="178" y="66"/>
                  </a:cubicBezTo>
                  <a:close/>
                  <a:moveTo>
                    <a:pt x="99" y="123"/>
                  </a:moveTo>
                  <a:cubicBezTo>
                    <a:pt x="98" y="123"/>
                    <a:pt x="97" y="123"/>
                    <a:pt x="96" y="124"/>
                  </a:cubicBezTo>
                  <a:cubicBezTo>
                    <a:pt x="55" y="159"/>
                    <a:pt x="55" y="159"/>
                    <a:pt x="55" y="159"/>
                  </a:cubicBezTo>
                  <a:cubicBezTo>
                    <a:pt x="55" y="126"/>
                    <a:pt x="55" y="126"/>
                    <a:pt x="55" y="126"/>
                  </a:cubicBezTo>
                  <a:cubicBezTo>
                    <a:pt x="55" y="124"/>
                    <a:pt x="54" y="122"/>
                    <a:pt x="52" y="122"/>
                  </a:cubicBezTo>
                  <a:cubicBezTo>
                    <a:pt x="27" y="117"/>
                    <a:pt x="9" y="94"/>
                    <a:pt x="9" y="66"/>
                  </a:cubicBezTo>
                  <a:cubicBezTo>
                    <a:pt x="9" y="35"/>
                    <a:pt x="32" y="10"/>
                    <a:pt x="61" y="10"/>
                  </a:cubicBezTo>
                  <a:cubicBezTo>
                    <a:pt x="117" y="10"/>
                    <a:pt x="117" y="10"/>
                    <a:pt x="117" y="10"/>
                  </a:cubicBezTo>
                  <a:cubicBezTo>
                    <a:pt x="145" y="10"/>
                    <a:pt x="168" y="35"/>
                    <a:pt x="168" y="66"/>
                  </a:cubicBezTo>
                  <a:cubicBezTo>
                    <a:pt x="168" y="97"/>
                    <a:pt x="145" y="123"/>
                    <a:pt x="117" y="123"/>
                  </a:cubicBezTo>
                  <a:lnTo>
                    <a:pt x="99" y="12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92D400"/>
                </a:solidFill>
                <a:effectLst/>
                <a:uLnTx/>
                <a:uFillTx/>
                <a:latin typeface="Frutiger Next Pro Light"/>
                <a:ea typeface="+mn-ea"/>
                <a:cs typeface="+mn-cs"/>
              </a:endParaRPr>
            </a:p>
          </p:txBody>
        </p:sp>
        <p:sp>
          <p:nvSpPr>
            <p:cNvPr id="18" name="Freeform 195">
              <a:extLst>
                <a:ext uri="{FF2B5EF4-FFF2-40B4-BE49-F238E27FC236}">
                  <a16:creationId xmlns:a16="http://schemas.microsoft.com/office/drawing/2014/main" id="{D5A7E538-2C0E-48F1-9E14-C7A560DE8973}"/>
                </a:ext>
              </a:extLst>
            </p:cNvPr>
            <p:cNvSpPr>
              <a:spLocks/>
            </p:cNvSpPr>
            <p:nvPr/>
          </p:nvSpPr>
          <p:spPr bwMode="auto">
            <a:xfrm>
              <a:off x="6184900" y="3235325"/>
              <a:ext cx="287338" cy="288925"/>
            </a:xfrm>
            <a:custGeom>
              <a:avLst/>
              <a:gdLst>
                <a:gd name="T0" fmla="*/ 77 w 122"/>
                <a:gd name="T1" fmla="*/ 0 h 123"/>
                <a:gd name="T2" fmla="*/ 73 w 122"/>
                <a:gd name="T3" fmla="*/ 5 h 123"/>
                <a:gd name="T4" fmla="*/ 77 w 122"/>
                <a:gd name="T5" fmla="*/ 9 h 123"/>
                <a:gd name="T6" fmla="*/ 112 w 122"/>
                <a:gd name="T7" fmla="*/ 48 h 123"/>
                <a:gd name="T8" fmla="*/ 79 w 122"/>
                <a:gd name="T9" fmla="*/ 86 h 123"/>
                <a:gd name="T10" fmla="*/ 74 w 122"/>
                <a:gd name="T11" fmla="*/ 91 h 123"/>
                <a:gd name="T12" fmla="*/ 74 w 122"/>
                <a:gd name="T13" fmla="*/ 107 h 123"/>
                <a:gd name="T14" fmla="*/ 56 w 122"/>
                <a:gd name="T15" fmla="*/ 88 h 123"/>
                <a:gd name="T16" fmla="*/ 53 w 122"/>
                <a:gd name="T17" fmla="*/ 87 h 123"/>
                <a:gd name="T18" fmla="*/ 37 w 122"/>
                <a:gd name="T19" fmla="*/ 87 h 123"/>
                <a:gd name="T20" fmla="*/ 10 w 122"/>
                <a:gd name="T21" fmla="*/ 71 h 123"/>
                <a:gd name="T22" fmla="*/ 3 w 122"/>
                <a:gd name="T23" fmla="*/ 70 h 123"/>
                <a:gd name="T24" fmla="*/ 2 w 122"/>
                <a:gd name="T25" fmla="*/ 76 h 123"/>
                <a:gd name="T26" fmla="*/ 37 w 122"/>
                <a:gd name="T27" fmla="*/ 96 h 123"/>
                <a:gd name="T28" fmla="*/ 51 w 122"/>
                <a:gd name="T29" fmla="*/ 96 h 123"/>
                <a:gd name="T30" fmla="*/ 75 w 122"/>
                <a:gd name="T31" fmla="*/ 122 h 123"/>
                <a:gd name="T32" fmla="*/ 79 w 122"/>
                <a:gd name="T33" fmla="*/ 123 h 123"/>
                <a:gd name="T34" fmla="*/ 80 w 122"/>
                <a:gd name="T35" fmla="*/ 123 h 123"/>
                <a:gd name="T36" fmla="*/ 83 w 122"/>
                <a:gd name="T37" fmla="*/ 118 h 123"/>
                <a:gd name="T38" fmla="*/ 83 w 122"/>
                <a:gd name="T39" fmla="*/ 96 h 123"/>
                <a:gd name="T40" fmla="*/ 122 w 122"/>
                <a:gd name="T41" fmla="*/ 48 h 123"/>
                <a:gd name="T42" fmla="*/ 77 w 122"/>
                <a:gd name="T4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2" h="123">
                  <a:moveTo>
                    <a:pt x="77" y="0"/>
                  </a:moveTo>
                  <a:cubicBezTo>
                    <a:pt x="75" y="0"/>
                    <a:pt x="73" y="2"/>
                    <a:pt x="73" y="5"/>
                  </a:cubicBezTo>
                  <a:cubicBezTo>
                    <a:pt x="73" y="7"/>
                    <a:pt x="75" y="9"/>
                    <a:pt x="77" y="9"/>
                  </a:cubicBezTo>
                  <a:cubicBezTo>
                    <a:pt x="97" y="9"/>
                    <a:pt x="112" y="27"/>
                    <a:pt x="112" y="48"/>
                  </a:cubicBezTo>
                  <a:cubicBezTo>
                    <a:pt x="112" y="69"/>
                    <a:pt x="97" y="86"/>
                    <a:pt x="79" y="86"/>
                  </a:cubicBezTo>
                  <a:cubicBezTo>
                    <a:pt x="76" y="87"/>
                    <a:pt x="74" y="89"/>
                    <a:pt x="74" y="91"/>
                  </a:cubicBezTo>
                  <a:cubicBezTo>
                    <a:pt x="74" y="107"/>
                    <a:pt x="74" y="107"/>
                    <a:pt x="74" y="107"/>
                  </a:cubicBezTo>
                  <a:cubicBezTo>
                    <a:pt x="56" y="88"/>
                    <a:pt x="56" y="88"/>
                    <a:pt x="56" y="88"/>
                  </a:cubicBezTo>
                  <a:cubicBezTo>
                    <a:pt x="55" y="87"/>
                    <a:pt x="54" y="87"/>
                    <a:pt x="53" y="87"/>
                  </a:cubicBezTo>
                  <a:cubicBezTo>
                    <a:pt x="37" y="87"/>
                    <a:pt x="37" y="87"/>
                    <a:pt x="37" y="87"/>
                  </a:cubicBezTo>
                  <a:cubicBezTo>
                    <a:pt x="26" y="87"/>
                    <a:pt x="16" y="81"/>
                    <a:pt x="10" y="71"/>
                  </a:cubicBezTo>
                  <a:cubicBezTo>
                    <a:pt x="8" y="69"/>
                    <a:pt x="5" y="68"/>
                    <a:pt x="3" y="70"/>
                  </a:cubicBezTo>
                  <a:cubicBezTo>
                    <a:pt x="1" y="71"/>
                    <a:pt x="0" y="74"/>
                    <a:pt x="2" y="76"/>
                  </a:cubicBezTo>
                  <a:cubicBezTo>
                    <a:pt x="10" y="89"/>
                    <a:pt x="23" y="96"/>
                    <a:pt x="37" y="96"/>
                  </a:cubicBezTo>
                  <a:cubicBezTo>
                    <a:pt x="51" y="96"/>
                    <a:pt x="51" y="96"/>
                    <a:pt x="51" y="96"/>
                  </a:cubicBezTo>
                  <a:cubicBezTo>
                    <a:pt x="75" y="122"/>
                    <a:pt x="75" y="122"/>
                    <a:pt x="75" y="122"/>
                  </a:cubicBezTo>
                  <a:cubicBezTo>
                    <a:pt x="76" y="123"/>
                    <a:pt x="77" y="123"/>
                    <a:pt x="79" y="123"/>
                  </a:cubicBezTo>
                  <a:cubicBezTo>
                    <a:pt x="79" y="123"/>
                    <a:pt x="80" y="123"/>
                    <a:pt x="80" y="123"/>
                  </a:cubicBezTo>
                  <a:cubicBezTo>
                    <a:pt x="82" y="122"/>
                    <a:pt x="83" y="120"/>
                    <a:pt x="83" y="118"/>
                  </a:cubicBezTo>
                  <a:cubicBezTo>
                    <a:pt x="83" y="96"/>
                    <a:pt x="83" y="96"/>
                    <a:pt x="83" y="96"/>
                  </a:cubicBezTo>
                  <a:cubicBezTo>
                    <a:pt x="105" y="92"/>
                    <a:pt x="122" y="72"/>
                    <a:pt x="122" y="48"/>
                  </a:cubicBezTo>
                  <a:cubicBezTo>
                    <a:pt x="122" y="22"/>
                    <a:pt x="102" y="0"/>
                    <a:pt x="7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92D400"/>
                </a:solidFill>
                <a:effectLst/>
                <a:uLnTx/>
                <a:uFillTx/>
                <a:latin typeface="Frutiger Next Pro Light"/>
                <a:ea typeface="+mn-ea"/>
                <a:cs typeface="+mn-cs"/>
              </a:endParaRPr>
            </a:p>
          </p:txBody>
        </p:sp>
        <p:sp>
          <p:nvSpPr>
            <p:cNvPr id="19" name="Freeform 196">
              <a:extLst>
                <a:ext uri="{FF2B5EF4-FFF2-40B4-BE49-F238E27FC236}">
                  <a16:creationId xmlns:a16="http://schemas.microsoft.com/office/drawing/2014/main" id="{F593772D-C025-466F-8FAA-2B14951AB5DE}"/>
                </a:ext>
              </a:extLst>
            </p:cNvPr>
            <p:cNvSpPr>
              <a:spLocks/>
            </p:cNvSpPr>
            <p:nvPr/>
          </p:nvSpPr>
          <p:spPr bwMode="auto">
            <a:xfrm>
              <a:off x="6013450" y="3178175"/>
              <a:ext cx="223838" cy="23813"/>
            </a:xfrm>
            <a:custGeom>
              <a:avLst/>
              <a:gdLst>
                <a:gd name="T0" fmla="*/ 95 w 95"/>
                <a:gd name="T1" fmla="*/ 5 h 10"/>
                <a:gd name="T2" fmla="*/ 90 w 95"/>
                <a:gd name="T3" fmla="*/ 0 h 10"/>
                <a:gd name="T4" fmla="*/ 5 w 95"/>
                <a:gd name="T5" fmla="*/ 0 h 10"/>
                <a:gd name="T6" fmla="*/ 0 w 95"/>
                <a:gd name="T7" fmla="*/ 5 h 10"/>
                <a:gd name="T8" fmla="*/ 5 w 95"/>
                <a:gd name="T9" fmla="*/ 10 h 10"/>
                <a:gd name="T10" fmla="*/ 90 w 95"/>
                <a:gd name="T11" fmla="*/ 10 h 10"/>
                <a:gd name="T12" fmla="*/ 95 w 95"/>
                <a:gd name="T13" fmla="*/ 5 h 10"/>
              </a:gdLst>
              <a:ahLst/>
              <a:cxnLst>
                <a:cxn ang="0">
                  <a:pos x="T0" y="T1"/>
                </a:cxn>
                <a:cxn ang="0">
                  <a:pos x="T2" y="T3"/>
                </a:cxn>
                <a:cxn ang="0">
                  <a:pos x="T4" y="T5"/>
                </a:cxn>
                <a:cxn ang="0">
                  <a:pos x="T6" y="T7"/>
                </a:cxn>
                <a:cxn ang="0">
                  <a:pos x="T8" y="T9"/>
                </a:cxn>
                <a:cxn ang="0">
                  <a:pos x="T10" y="T11"/>
                </a:cxn>
                <a:cxn ang="0">
                  <a:pos x="T12" y="T13"/>
                </a:cxn>
              </a:cxnLst>
              <a:rect l="0" t="0" r="r" b="b"/>
              <a:pathLst>
                <a:path w="95" h="10">
                  <a:moveTo>
                    <a:pt x="95" y="5"/>
                  </a:moveTo>
                  <a:cubicBezTo>
                    <a:pt x="95" y="2"/>
                    <a:pt x="93" y="0"/>
                    <a:pt x="90" y="0"/>
                  </a:cubicBezTo>
                  <a:cubicBezTo>
                    <a:pt x="5" y="0"/>
                    <a:pt x="5" y="0"/>
                    <a:pt x="5" y="0"/>
                  </a:cubicBezTo>
                  <a:cubicBezTo>
                    <a:pt x="2" y="0"/>
                    <a:pt x="0" y="2"/>
                    <a:pt x="0" y="5"/>
                  </a:cubicBezTo>
                  <a:cubicBezTo>
                    <a:pt x="0" y="8"/>
                    <a:pt x="2" y="10"/>
                    <a:pt x="5" y="10"/>
                  </a:cubicBezTo>
                  <a:cubicBezTo>
                    <a:pt x="90" y="10"/>
                    <a:pt x="90" y="10"/>
                    <a:pt x="90" y="10"/>
                  </a:cubicBezTo>
                  <a:cubicBezTo>
                    <a:pt x="93" y="10"/>
                    <a:pt x="95" y="8"/>
                    <a:pt x="95"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92D400"/>
                </a:solidFill>
                <a:effectLst/>
                <a:uLnTx/>
                <a:uFillTx/>
                <a:latin typeface="Frutiger Next Pro Light"/>
                <a:ea typeface="+mn-ea"/>
                <a:cs typeface="+mn-cs"/>
              </a:endParaRPr>
            </a:p>
          </p:txBody>
        </p:sp>
        <p:sp>
          <p:nvSpPr>
            <p:cNvPr id="20" name="Freeform 197">
              <a:extLst>
                <a:ext uri="{FF2B5EF4-FFF2-40B4-BE49-F238E27FC236}">
                  <a16:creationId xmlns:a16="http://schemas.microsoft.com/office/drawing/2014/main" id="{1A8373F4-2FD1-4A81-A2D8-39B52078785F}"/>
                </a:ext>
              </a:extLst>
            </p:cNvPr>
            <p:cNvSpPr>
              <a:spLocks/>
            </p:cNvSpPr>
            <p:nvPr/>
          </p:nvSpPr>
          <p:spPr bwMode="auto">
            <a:xfrm>
              <a:off x="6013450" y="3249613"/>
              <a:ext cx="122238" cy="23813"/>
            </a:xfrm>
            <a:custGeom>
              <a:avLst/>
              <a:gdLst>
                <a:gd name="T0" fmla="*/ 47 w 52"/>
                <a:gd name="T1" fmla="*/ 0 h 10"/>
                <a:gd name="T2" fmla="*/ 5 w 52"/>
                <a:gd name="T3" fmla="*/ 0 h 10"/>
                <a:gd name="T4" fmla="*/ 0 w 52"/>
                <a:gd name="T5" fmla="*/ 5 h 10"/>
                <a:gd name="T6" fmla="*/ 5 w 52"/>
                <a:gd name="T7" fmla="*/ 10 h 10"/>
                <a:gd name="T8" fmla="*/ 47 w 52"/>
                <a:gd name="T9" fmla="*/ 10 h 10"/>
                <a:gd name="T10" fmla="*/ 52 w 52"/>
                <a:gd name="T11" fmla="*/ 5 h 10"/>
                <a:gd name="T12" fmla="*/ 47 w 5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52" h="10">
                  <a:moveTo>
                    <a:pt x="47" y="0"/>
                  </a:moveTo>
                  <a:cubicBezTo>
                    <a:pt x="5" y="0"/>
                    <a:pt x="5" y="0"/>
                    <a:pt x="5" y="0"/>
                  </a:cubicBezTo>
                  <a:cubicBezTo>
                    <a:pt x="2" y="0"/>
                    <a:pt x="0" y="2"/>
                    <a:pt x="0" y="5"/>
                  </a:cubicBezTo>
                  <a:cubicBezTo>
                    <a:pt x="0" y="8"/>
                    <a:pt x="2" y="10"/>
                    <a:pt x="5" y="10"/>
                  </a:cubicBezTo>
                  <a:cubicBezTo>
                    <a:pt x="47" y="10"/>
                    <a:pt x="47" y="10"/>
                    <a:pt x="47" y="10"/>
                  </a:cubicBezTo>
                  <a:cubicBezTo>
                    <a:pt x="49" y="10"/>
                    <a:pt x="52" y="8"/>
                    <a:pt x="52" y="5"/>
                  </a:cubicBezTo>
                  <a:cubicBezTo>
                    <a:pt x="52" y="2"/>
                    <a:pt x="49" y="0"/>
                    <a:pt x="4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92D400"/>
                </a:solidFill>
                <a:effectLst/>
                <a:uLnTx/>
                <a:uFillTx/>
                <a:latin typeface="Frutiger Next Pro Light"/>
                <a:ea typeface="+mn-ea"/>
                <a:cs typeface="+mn-cs"/>
              </a:endParaRPr>
            </a:p>
          </p:txBody>
        </p:sp>
      </p:grpSp>
      <p:sp>
        <p:nvSpPr>
          <p:cNvPr id="21" name="Oval 20">
            <a:extLst>
              <a:ext uri="{FF2B5EF4-FFF2-40B4-BE49-F238E27FC236}">
                <a16:creationId xmlns:a16="http://schemas.microsoft.com/office/drawing/2014/main" id="{2B6A89E1-F255-4044-96F0-58BB64FBCD4F}"/>
              </a:ext>
            </a:extLst>
          </p:cNvPr>
          <p:cNvSpPr/>
          <p:nvPr/>
        </p:nvSpPr>
        <p:spPr>
          <a:xfrm>
            <a:off x="1367514" y="2540442"/>
            <a:ext cx="382409" cy="382409"/>
          </a:xfrm>
          <a:prstGeom prst="ellipse">
            <a:avLst/>
          </a:prstGeom>
          <a:solidFill>
            <a:srgbClr val="B4B4B4">
              <a:lumMod val="20000"/>
              <a:lumOff val="80000"/>
            </a:srgbClr>
          </a:solidFill>
          <a:ln w="15875" cap="flat" cmpd="sng" algn="ctr">
            <a:solidFill>
              <a:schemeClr val="tx1"/>
            </a:solidFill>
            <a:prstDash val="solid"/>
          </a:ln>
          <a:effectLst/>
        </p:spPr>
        <p:txBody>
          <a:bodyPr rtlCol="0" anchor="ctr"/>
          <a:lstStyle/>
          <a:p>
            <a:pPr marL="0" marR="0" lvl="0" indent="0" algn="ctr" defTabSz="81637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Open Sans"/>
              <a:ea typeface="Open Sans" panose="020B0606030504020204" pitchFamily="34" charset="0"/>
              <a:cs typeface="Open Sans" panose="020B0606030504020204" pitchFamily="34" charset="0"/>
            </a:endParaRPr>
          </a:p>
        </p:txBody>
      </p:sp>
      <p:grpSp>
        <p:nvGrpSpPr>
          <p:cNvPr id="22" name="Group 21">
            <a:extLst>
              <a:ext uri="{FF2B5EF4-FFF2-40B4-BE49-F238E27FC236}">
                <a16:creationId xmlns:a16="http://schemas.microsoft.com/office/drawing/2014/main" id="{C352BF6F-B8C5-45BA-A2E9-4A2135F8BD37}"/>
              </a:ext>
            </a:extLst>
          </p:cNvPr>
          <p:cNvGrpSpPr/>
          <p:nvPr/>
        </p:nvGrpSpPr>
        <p:grpSpPr>
          <a:xfrm>
            <a:off x="1477414" y="2661473"/>
            <a:ext cx="161622" cy="184498"/>
            <a:chOff x="9547225" y="3155950"/>
            <a:chExt cx="515938" cy="588963"/>
          </a:xfrm>
          <a:solidFill>
            <a:schemeClr val="tx1"/>
          </a:solidFill>
        </p:grpSpPr>
        <p:sp>
          <p:nvSpPr>
            <p:cNvPr id="23" name="Freeform 430">
              <a:extLst>
                <a:ext uri="{FF2B5EF4-FFF2-40B4-BE49-F238E27FC236}">
                  <a16:creationId xmlns:a16="http://schemas.microsoft.com/office/drawing/2014/main" id="{6B361DE2-D20E-453F-9DB3-3430DDD2D58F}"/>
                </a:ext>
              </a:extLst>
            </p:cNvPr>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92D400"/>
                </a:solidFill>
                <a:effectLst/>
                <a:uLnTx/>
                <a:uFillTx/>
                <a:latin typeface="Frutiger Next Pro Light"/>
                <a:ea typeface="+mn-ea"/>
                <a:cs typeface="+mn-cs"/>
              </a:endParaRPr>
            </a:p>
          </p:txBody>
        </p:sp>
        <p:sp>
          <p:nvSpPr>
            <p:cNvPr id="24" name="Freeform 431">
              <a:extLst>
                <a:ext uri="{FF2B5EF4-FFF2-40B4-BE49-F238E27FC236}">
                  <a16:creationId xmlns:a16="http://schemas.microsoft.com/office/drawing/2014/main" id="{CC79179F-6CD9-4481-A199-F9FC6C703F56}"/>
                </a:ext>
              </a:extLst>
            </p:cNvPr>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92D400"/>
                </a:solidFill>
                <a:effectLst/>
                <a:uLnTx/>
                <a:uFillTx/>
                <a:latin typeface="Frutiger Next Pro Light"/>
                <a:ea typeface="+mn-ea"/>
                <a:cs typeface="+mn-cs"/>
              </a:endParaRPr>
            </a:p>
          </p:txBody>
        </p:sp>
      </p:grpSp>
      <p:sp>
        <p:nvSpPr>
          <p:cNvPr id="25" name="Oval 24">
            <a:extLst>
              <a:ext uri="{FF2B5EF4-FFF2-40B4-BE49-F238E27FC236}">
                <a16:creationId xmlns:a16="http://schemas.microsoft.com/office/drawing/2014/main" id="{89B05FB0-1F30-4155-A589-BD4FE579D8E3}"/>
              </a:ext>
            </a:extLst>
          </p:cNvPr>
          <p:cNvSpPr/>
          <p:nvPr/>
        </p:nvSpPr>
        <p:spPr>
          <a:xfrm>
            <a:off x="3416756" y="2025904"/>
            <a:ext cx="382409" cy="382409"/>
          </a:xfrm>
          <a:prstGeom prst="ellipse">
            <a:avLst/>
          </a:prstGeom>
          <a:solidFill>
            <a:srgbClr val="B4B4B4">
              <a:lumMod val="20000"/>
              <a:lumOff val="80000"/>
            </a:srgbClr>
          </a:solidFill>
          <a:ln w="15875" cap="flat" cmpd="sng" algn="ctr">
            <a:solidFill>
              <a:schemeClr val="tx1"/>
            </a:solidFill>
            <a:prstDash val="solid"/>
          </a:ln>
          <a:effectLst/>
        </p:spPr>
        <p:txBody>
          <a:bodyPr rtlCol="0" anchor="ctr"/>
          <a:lstStyle/>
          <a:p>
            <a:pPr marL="0" marR="0" lvl="0" indent="0" algn="ctr" defTabSz="81637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Open Sans"/>
              <a:ea typeface="Open Sans" panose="020B0606030504020204" pitchFamily="34" charset="0"/>
              <a:cs typeface="Open Sans" panose="020B0606030504020204" pitchFamily="34" charset="0"/>
            </a:endParaRPr>
          </a:p>
        </p:txBody>
      </p:sp>
      <p:grpSp>
        <p:nvGrpSpPr>
          <p:cNvPr id="26" name="Group 25">
            <a:extLst>
              <a:ext uri="{FF2B5EF4-FFF2-40B4-BE49-F238E27FC236}">
                <a16:creationId xmlns:a16="http://schemas.microsoft.com/office/drawing/2014/main" id="{34F9197F-7959-4817-84DD-E8AB628C0D0C}"/>
              </a:ext>
            </a:extLst>
          </p:cNvPr>
          <p:cNvGrpSpPr/>
          <p:nvPr/>
        </p:nvGrpSpPr>
        <p:grpSpPr>
          <a:xfrm>
            <a:off x="3503294" y="2147457"/>
            <a:ext cx="209331" cy="149340"/>
            <a:chOff x="2786063" y="7188200"/>
            <a:chExt cx="520700" cy="371475"/>
          </a:xfrm>
          <a:solidFill>
            <a:schemeClr val="tx1"/>
          </a:solidFill>
        </p:grpSpPr>
        <p:sp>
          <p:nvSpPr>
            <p:cNvPr id="27" name="Freeform 155">
              <a:extLst>
                <a:ext uri="{FF2B5EF4-FFF2-40B4-BE49-F238E27FC236}">
                  <a16:creationId xmlns:a16="http://schemas.microsoft.com/office/drawing/2014/main" id="{93995C43-3CAB-418E-BEE8-FE7B5B504599}"/>
                </a:ext>
              </a:extLst>
            </p:cNvPr>
            <p:cNvSpPr>
              <a:spLocks/>
            </p:cNvSpPr>
            <p:nvPr/>
          </p:nvSpPr>
          <p:spPr bwMode="auto">
            <a:xfrm>
              <a:off x="2827338" y="7188200"/>
              <a:ext cx="438150" cy="276225"/>
            </a:xfrm>
            <a:custGeom>
              <a:avLst/>
              <a:gdLst>
                <a:gd name="T0" fmla="*/ 5 w 208"/>
                <a:gd name="T1" fmla="*/ 131 h 131"/>
                <a:gd name="T2" fmla="*/ 10 w 208"/>
                <a:gd name="T3" fmla="*/ 126 h 131"/>
                <a:gd name="T4" fmla="*/ 10 w 208"/>
                <a:gd name="T5" fmla="*/ 13 h 131"/>
                <a:gd name="T6" fmla="*/ 12 w 208"/>
                <a:gd name="T7" fmla="*/ 10 h 131"/>
                <a:gd name="T8" fmla="*/ 196 w 208"/>
                <a:gd name="T9" fmla="*/ 10 h 131"/>
                <a:gd name="T10" fmla="*/ 198 w 208"/>
                <a:gd name="T11" fmla="*/ 13 h 131"/>
                <a:gd name="T12" fmla="*/ 198 w 208"/>
                <a:gd name="T13" fmla="*/ 126 h 131"/>
                <a:gd name="T14" fmla="*/ 203 w 208"/>
                <a:gd name="T15" fmla="*/ 131 h 131"/>
                <a:gd name="T16" fmla="*/ 208 w 208"/>
                <a:gd name="T17" fmla="*/ 126 h 131"/>
                <a:gd name="T18" fmla="*/ 208 w 208"/>
                <a:gd name="T19" fmla="*/ 13 h 131"/>
                <a:gd name="T20" fmla="*/ 196 w 208"/>
                <a:gd name="T21" fmla="*/ 0 h 131"/>
                <a:gd name="T22" fmla="*/ 12 w 208"/>
                <a:gd name="T23" fmla="*/ 0 h 131"/>
                <a:gd name="T24" fmla="*/ 0 w 208"/>
                <a:gd name="T25" fmla="*/ 13 h 131"/>
                <a:gd name="T26" fmla="*/ 0 w 208"/>
                <a:gd name="T27" fmla="*/ 126 h 131"/>
                <a:gd name="T28" fmla="*/ 5 w 208"/>
                <a:gd name="T29"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8" h="131">
                  <a:moveTo>
                    <a:pt x="5" y="131"/>
                  </a:moveTo>
                  <a:cubicBezTo>
                    <a:pt x="7" y="131"/>
                    <a:pt x="10" y="129"/>
                    <a:pt x="10" y="126"/>
                  </a:cubicBezTo>
                  <a:cubicBezTo>
                    <a:pt x="10" y="13"/>
                    <a:pt x="10" y="13"/>
                    <a:pt x="10" y="13"/>
                  </a:cubicBezTo>
                  <a:cubicBezTo>
                    <a:pt x="10" y="11"/>
                    <a:pt x="11" y="10"/>
                    <a:pt x="12" y="10"/>
                  </a:cubicBezTo>
                  <a:cubicBezTo>
                    <a:pt x="196" y="10"/>
                    <a:pt x="196" y="10"/>
                    <a:pt x="196" y="10"/>
                  </a:cubicBezTo>
                  <a:cubicBezTo>
                    <a:pt x="197" y="10"/>
                    <a:pt x="198" y="11"/>
                    <a:pt x="198" y="13"/>
                  </a:cubicBezTo>
                  <a:cubicBezTo>
                    <a:pt x="198" y="126"/>
                    <a:pt x="198" y="126"/>
                    <a:pt x="198" y="126"/>
                  </a:cubicBezTo>
                  <a:cubicBezTo>
                    <a:pt x="198" y="129"/>
                    <a:pt x="200" y="131"/>
                    <a:pt x="203" y="131"/>
                  </a:cubicBezTo>
                  <a:cubicBezTo>
                    <a:pt x="206" y="131"/>
                    <a:pt x="208" y="129"/>
                    <a:pt x="208" y="126"/>
                  </a:cubicBezTo>
                  <a:cubicBezTo>
                    <a:pt x="208" y="13"/>
                    <a:pt x="208" y="13"/>
                    <a:pt x="208" y="13"/>
                  </a:cubicBezTo>
                  <a:cubicBezTo>
                    <a:pt x="208" y="6"/>
                    <a:pt x="202" y="0"/>
                    <a:pt x="196" y="0"/>
                  </a:cubicBezTo>
                  <a:cubicBezTo>
                    <a:pt x="12" y="0"/>
                    <a:pt x="12" y="0"/>
                    <a:pt x="12" y="0"/>
                  </a:cubicBezTo>
                  <a:cubicBezTo>
                    <a:pt x="5" y="0"/>
                    <a:pt x="0" y="6"/>
                    <a:pt x="0" y="13"/>
                  </a:cubicBezTo>
                  <a:cubicBezTo>
                    <a:pt x="0" y="126"/>
                    <a:pt x="0" y="126"/>
                    <a:pt x="0" y="126"/>
                  </a:cubicBezTo>
                  <a:cubicBezTo>
                    <a:pt x="0" y="129"/>
                    <a:pt x="2" y="131"/>
                    <a:pt x="5" y="13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787878"/>
                </a:solidFill>
                <a:effectLst/>
                <a:uLnTx/>
                <a:uFillTx/>
                <a:latin typeface="Open Sans"/>
                <a:ea typeface="+mn-ea"/>
                <a:cs typeface="+mn-cs"/>
              </a:endParaRPr>
            </a:p>
          </p:txBody>
        </p:sp>
        <p:sp>
          <p:nvSpPr>
            <p:cNvPr id="28" name="Freeform 156">
              <a:extLst>
                <a:ext uri="{FF2B5EF4-FFF2-40B4-BE49-F238E27FC236}">
                  <a16:creationId xmlns:a16="http://schemas.microsoft.com/office/drawing/2014/main" id="{F0A146E0-F11E-4A3F-A393-DC8DF728127F}"/>
                </a:ext>
              </a:extLst>
            </p:cNvPr>
            <p:cNvSpPr>
              <a:spLocks noEditPoints="1"/>
            </p:cNvSpPr>
            <p:nvPr/>
          </p:nvSpPr>
          <p:spPr bwMode="auto">
            <a:xfrm>
              <a:off x="2786063" y="7489825"/>
              <a:ext cx="520700" cy="69850"/>
            </a:xfrm>
            <a:custGeom>
              <a:avLst/>
              <a:gdLst>
                <a:gd name="T0" fmla="*/ 243 w 248"/>
                <a:gd name="T1" fmla="*/ 0 h 33"/>
                <a:gd name="T2" fmla="*/ 137 w 248"/>
                <a:gd name="T3" fmla="*/ 0 h 33"/>
                <a:gd name="T4" fmla="*/ 132 w 248"/>
                <a:gd name="T5" fmla="*/ 5 h 33"/>
                <a:gd name="T6" fmla="*/ 132 w 248"/>
                <a:gd name="T7" fmla="*/ 8 h 33"/>
                <a:gd name="T8" fmla="*/ 116 w 248"/>
                <a:gd name="T9" fmla="*/ 8 h 33"/>
                <a:gd name="T10" fmla="*/ 116 w 248"/>
                <a:gd name="T11" fmla="*/ 5 h 33"/>
                <a:gd name="T12" fmla="*/ 111 w 248"/>
                <a:gd name="T13" fmla="*/ 0 h 33"/>
                <a:gd name="T14" fmla="*/ 5 w 248"/>
                <a:gd name="T15" fmla="*/ 0 h 33"/>
                <a:gd name="T16" fmla="*/ 0 w 248"/>
                <a:gd name="T17" fmla="*/ 5 h 33"/>
                <a:gd name="T18" fmla="*/ 0 w 248"/>
                <a:gd name="T19" fmla="*/ 20 h 33"/>
                <a:gd name="T20" fmla="*/ 13 w 248"/>
                <a:gd name="T21" fmla="*/ 33 h 33"/>
                <a:gd name="T22" fmla="*/ 234 w 248"/>
                <a:gd name="T23" fmla="*/ 33 h 33"/>
                <a:gd name="T24" fmla="*/ 248 w 248"/>
                <a:gd name="T25" fmla="*/ 20 h 33"/>
                <a:gd name="T26" fmla="*/ 248 w 248"/>
                <a:gd name="T27" fmla="*/ 5 h 33"/>
                <a:gd name="T28" fmla="*/ 243 w 248"/>
                <a:gd name="T29" fmla="*/ 0 h 33"/>
                <a:gd name="T30" fmla="*/ 238 w 248"/>
                <a:gd name="T31" fmla="*/ 20 h 33"/>
                <a:gd name="T32" fmla="*/ 234 w 248"/>
                <a:gd name="T33" fmla="*/ 23 h 33"/>
                <a:gd name="T34" fmla="*/ 13 w 248"/>
                <a:gd name="T35" fmla="*/ 23 h 33"/>
                <a:gd name="T36" fmla="*/ 10 w 248"/>
                <a:gd name="T37" fmla="*/ 20 h 33"/>
                <a:gd name="T38" fmla="*/ 10 w 248"/>
                <a:gd name="T39" fmla="*/ 10 h 33"/>
                <a:gd name="T40" fmla="*/ 106 w 248"/>
                <a:gd name="T41" fmla="*/ 10 h 33"/>
                <a:gd name="T42" fmla="*/ 116 w 248"/>
                <a:gd name="T43" fmla="*/ 18 h 33"/>
                <a:gd name="T44" fmla="*/ 132 w 248"/>
                <a:gd name="T45" fmla="*/ 18 h 33"/>
                <a:gd name="T46" fmla="*/ 141 w 248"/>
                <a:gd name="T47" fmla="*/ 10 h 33"/>
                <a:gd name="T48" fmla="*/ 238 w 248"/>
                <a:gd name="T49" fmla="*/ 10 h 33"/>
                <a:gd name="T50" fmla="*/ 238 w 248"/>
                <a:gd name="T51" fmla="*/ 2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8" h="33">
                  <a:moveTo>
                    <a:pt x="243" y="0"/>
                  </a:moveTo>
                  <a:cubicBezTo>
                    <a:pt x="137" y="0"/>
                    <a:pt x="137" y="0"/>
                    <a:pt x="137" y="0"/>
                  </a:cubicBezTo>
                  <a:cubicBezTo>
                    <a:pt x="134" y="0"/>
                    <a:pt x="132" y="2"/>
                    <a:pt x="132" y="5"/>
                  </a:cubicBezTo>
                  <a:cubicBezTo>
                    <a:pt x="132" y="8"/>
                    <a:pt x="132" y="8"/>
                    <a:pt x="132" y="8"/>
                  </a:cubicBezTo>
                  <a:cubicBezTo>
                    <a:pt x="116" y="8"/>
                    <a:pt x="116" y="8"/>
                    <a:pt x="116" y="8"/>
                  </a:cubicBezTo>
                  <a:cubicBezTo>
                    <a:pt x="116" y="5"/>
                    <a:pt x="116" y="5"/>
                    <a:pt x="116" y="5"/>
                  </a:cubicBezTo>
                  <a:cubicBezTo>
                    <a:pt x="116" y="2"/>
                    <a:pt x="114" y="0"/>
                    <a:pt x="111" y="0"/>
                  </a:cubicBezTo>
                  <a:cubicBezTo>
                    <a:pt x="5" y="0"/>
                    <a:pt x="5" y="0"/>
                    <a:pt x="5" y="0"/>
                  </a:cubicBezTo>
                  <a:cubicBezTo>
                    <a:pt x="2" y="0"/>
                    <a:pt x="0" y="2"/>
                    <a:pt x="0" y="5"/>
                  </a:cubicBezTo>
                  <a:cubicBezTo>
                    <a:pt x="0" y="20"/>
                    <a:pt x="0" y="20"/>
                    <a:pt x="0" y="20"/>
                  </a:cubicBezTo>
                  <a:cubicBezTo>
                    <a:pt x="0" y="27"/>
                    <a:pt x="6" y="33"/>
                    <a:pt x="13" y="33"/>
                  </a:cubicBezTo>
                  <a:cubicBezTo>
                    <a:pt x="234" y="33"/>
                    <a:pt x="234" y="33"/>
                    <a:pt x="234" y="33"/>
                  </a:cubicBezTo>
                  <a:cubicBezTo>
                    <a:pt x="242" y="33"/>
                    <a:pt x="248" y="27"/>
                    <a:pt x="248" y="20"/>
                  </a:cubicBezTo>
                  <a:cubicBezTo>
                    <a:pt x="248" y="5"/>
                    <a:pt x="248" y="5"/>
                    <a:pt x="248" y="5"/>
                  </a:cubicBezTo>
                  <a:cubicBezTo>
                    <a:pt x="248" y="2"/>
                    <a:pt x="245" y="0"/>
                    <a:pt x="243" y="0"/>
                  </a:cubicBezTo>
                  <a:close/>
                  <a:moveTo>
                    <a:pt x="238" y="20"/>
                  </a:moveTo>
                  <a:cubicBezTo>
                    <a:pt x="238" y="22"/>
                    <a:pt x="236" y="23"/>
                    <a:pt x="234" y="23"/>
                  </a:cubicBezTo>
                  <a:cubicBezTo>
                    <a:pt x="13" y="23"/>
                    <a:pt x="13" y="23"/>
                    <a:pt x="13" y="23"/>
                  </a:cubicBezTo>
                  <a:cubicBezTo>
                    <a:pt x="11" y="23"/>
                    <a:pt x="10" y="22"/>
                    <a:pt x="10" y="20"/>
                  </a:cubicBezTo>
                  <a:cubicBezTo>
                    <a:pt x="10" y="10"/>
                    <a:pt x="10" y="10"/>
                    <a:pt x="10" y="10"/>
                  </a:cubicBezTo>
                  <a:cubicBezTo>
                    <a:pt x="106" y="10"/>
                    <a:pt x="106" y="10"/>
                    <a:pt x="106" y="10"/>
                  </a:cubicBezTo>
                  <a:cubicBezTo>
                    <a:pt x="107" y="14"/>
                    <a:pt x="111" y="18"/>
                    <a:pt x="116" y="18"/>
                  </a:cubicBezTo>
                  <a:cubicBezTo>
                    <a:pt x="132" y="18"/>
                    <a:pt x="132" y="18"/>
                    <a:pt x="132" y="18"/>
                  </a:cubicBezTo>
                  <a:cubicBezTo>
                    <a:pt x="137" y="18"/>
                    <a:pt x="141" y="14"/>
                    <a:pt x="141" y="10"/>
                  </a:cubicBezTo>
                  <a:cubicBezTo>
                    <a:pt x="238" y="10"/>
                    <a:pt x="238" y="10"/>
                    <a:pt x="238" y="10"/>
                  </a:cubicBezTo>
                  <a:lnTo>
                    <a:pt x="238" y="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787878"/>
                </a:solidFill>
                <a:effectLst/>
                <a:uLnTx/>
                <a:uFillTx/>
                <a:latin typeface="Open Sans"/>
                <a:ea typeface="+mn-ea"/>
                <a:cs typeface="+mn-cs"/>
              </a:endParaRPr>
            </a:p>
          </p:txBody>
        </p:sp>
        <p:sp>
          <p:nvSpPr>
            <p:cNvPr id="29" name="Freeform 157">
              <a:extLst>
                <a:ext uri="{FF2B5EF4-FFF2-40B4-BE49-F238E27FC236}">
                  <a16:creationId xmlns:a16="http://schemas.microsoft.com/office/drawing/2014/main" id="{860DEB65-1CB3-41A1-89EE-BB0CD79AED94}"/>
                </a:ext>
              </a:extLst>
            </p:cNvPr>
            <p:cNvSpPr>
              <a:spLocks/>
            </p:cNvSpPr>
            <p:nvPr/>
          </p:nvSpPr>
          <p:spPr bwMode="auto">
            <a:xfrm>
              <a:off x="2892425" y="7318375"/>
              <a:ext cx="92075" cy="66675"/>
            </a:xfrm>
            <a:custGeom>
              <a:avLst/>
              <a:gdLst>
                <a:gd name="T0" fmla="*/ 36 w 44"/>
                <a:gd name="T1" fmla="*/ 3 h 31"/>
                <a:gd name="T2" fmla="*/ 31 w 44"/>
                <a:gd name="T3" fmla="*/ 17 h 31"/>
                <a:gd name="T4" fmla="*/ 26 w 44"/>
                <a:gd name="T5" fmla="*/ 3 h 31"/>
                <a:gd name="T6" fmla="*/ 22 w 44"/>
                <a:gd name="T7" fmla="*/ 0 h 31"/>
                <a:gd name="T8" fmla="*/ 22 w 44"/>
                <a:gd name="T9" fmla="*/ 0 h 31"/>
                <a:gd name="T10" fmla="*/ 18 w 44"/>
                <a:gd name="T11" fmla="*/ 3 h 31"/>
                <a:gd name="T12" fmla="*/ 13 w 44"/>
                <a:gd name="T13" fmla="*/ 17 h 31"/>
                <a:gd name="T14" fmla="*/ 8 w 44"/>
                <a:gd name="T15" fmla="*/ 3 h 31"/>
                <a:gd name="T16" fmla="*/ 4 w 44"/>
                <a:gd name="T17" fmla="*/ 0 h 31"/>
                <a:gd name="T18" fmla="*/ 0 w 44"/>
                <a:gd name="T19" fmla="*/ 4 h 31"/>
                <a:gd name="T20" fmla="*/ 1 w 44"/>
                <a:gd name="T21" fmla="*/ 6 h 31"/>
                <a:gd name="T22" fmla="*/ 8 w 44"/>
                <a:gd name="T23" fmla="*/ 27 h 31"/>
                <a:gd name="T24" fmla="*/ 13 w 44"/>
                <a:gd name="T25" fmla="*/ 31 h 31"/>
                <a:gd name="T26" fmla="*/ 17 w 44"/>
                <a:gd name="T27" fmla="*/ 28 h 31"/>
                <a:gd name="T28" fmla="*/ 22 w 44"/>
                <a:gd name="T29" fmla="*/ 14 h 31"/>
                <a:gd name="T30" fmla="*/ 27 w 44"/>
                <a:gd name="T31" fmla="*/ 27 h 31"/>
                <a:gd name="T32" fmla="*/ 31 w 44"/>
                <a:gd name="T33" fmla="*/ 31 h 31"/>
                <a:gd name="T34" fmla="*/ 31 w 44"/>
                <a:gd name="T35" fmla="*/ 31 h 31"/>
                <a:gd name="T36" fmla="*/ 36 w 44"/>
                <a:gd name="T37" fmla="*/ 27 h 31"/>
                <a:gd name="T38" fmla="*/ 43 w 44"/>
                <a:gd name="T39" fmla="*/ 6 h 31"/>
                <a:gd name="T40" fmla="*/ 44 w 44"/>
                <a:gd name="T41" fmla="*/ 4 h 31"/>
                <a:gd name="T42" fmla="*/ 40 w 44"/>
                <a:gd name="T43" fmla="*/ 0 h 31"/>
                <a:gd name="T44" fmla="*/ 36 w 44"/>
                <a:gd name="T45"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31">
                  <a:moveTo>
                    <a:pt x="36" y="3"/>
                  </a:moveTo>
                  <a:cubicBezTo>
                    <a:pt x="31" y="17"/>
                    <a:pt x="31" y="17"/>
                    <a:pt x="31" y="17"/>
                  </a:cubicBezTo>
                  <a:cubicBezTo>
                    <a:pt x="26" y="3"/>
                    <a:pt x="26" y="3"/>
                    <a:pt x="26" y="3"/>
                  </a:cubicBezTo>
                  <a:cubicBezTo>
                    <a:pt x="26" y="1"/>
                    <a:pt x="24" y="0"/>
                    <a:pt x="22" y="0"/>
                  </a:cubicBezTo>
                  <a:cubicBezTo>
                    <a:pt x="22" y="0"/>
                    <a:pt x="22" y="0"/>
                    <a:pt x="22" y="0"/>
                  </a:cubicBezTo>
                  <a:cubicBezTo>
                    <a:pt x="20" y="0"/>
                    <a:pt x="18" y="1"/>
                    <a:pt x="18" y="3"/>
                  </a:cubicBezTo>
                  <a:cubicBezTo>
                    <a:pt x="13" y="17"/>
                    <a:pt x="13" y="17"/>
                    <a:pt x="13" y="17"/>
                  </a:cubicBezTo>
                  <a:cubicBezTo>
                    <a:pt x="8" y="3"/>
                    <a:pt x="8" y="3"/>
                    <a:pt x="8" y="3"/>
                  </a:cubicBezTo>
                  <a:cubicBezTo>
                    <a:pt x="8" y="1"/>
                    <a:pt x="6" y="0"/>
                    <a:pt x="4" y="0"/>
                  </a:cubicBezTo>
                  <a:cubicBezTo>
                    <a:pt x="2" y="0"/>
                    <a:pt x="0" y="2"/>
                    <a:pt x="0" y="4"/>
                  </a:cubicBezTo>
                  <a:cubicBezTo>
                    <a:pt x="0" y="5"/>
                    <a:pt x="0" y="5"/>
                    <a:pt x="1" y="6"/>
                  </a:cubicBezTo>
                  <a:cubicBezTo>
                    <a:pt x="8" y="27"/>
                    <a:pt x="8" y="27"/>
                    <a:pt x="8" y="27"/>
                  </a:cubicBezTo>
                  <a:cubicBezTo>
                    <a:pt x="9" y="30"/>
                    <a:pt x="11" y="31"/>
                    <a:pt x="13" y="31"/>
                  </a:cubicBezTo>
                  <a:cubicBezTo>
                    <a:pt x="15" y="31"/>
                    <a:pt x="17" y="30"/>
                    <a:pt x="17" y="28"/>
                  </a:cubicBezTo>
                  <a:cubicBezTo>
                    <a:pt x="22" y="14"/>
                    <a:pt x="22" y="14"/>
                    <a:pt x="22" y="14"/>
                  </a:cubicBezTo>
                  <a:cubicBezTo>
                    <a:pt x="27" y="27"/>
                    <a:pt x="27" y="27"/>
                    <a:pt x="27" y="27"/>
                  </a:cubicBezTo>
                  <a:cubicBezTo>
                    <a:pt x="27" y="30"/>
                    <a:pt x="29" y="31"/>
                    <a:pt x="31" y="31"/>
                  </a:cubicBezTo>
                  <a:cubicBezTo>
                    <a:pt x="31" y="31"/>
                    <a:pt x="31" y="31"/>
                    <a:pt x="31" y="31"/>
                  </a:cubicBezTo>
                  <a:cubicBezTo>
                    <a:pt x="33" y="31"/>
                    <a:pt x="35" y="30"/>
                    <a:pt x="36" y="27"/>
                  </a:cubicBezTo>
                  <a:cubicBezTo>
                    <a:pt x="43" y="6"/>
                    <a:pt x="43" y="6"/>
                    <a:pt x="43" y="6"/>
                  </a:cubicBezTo>
                  <a:cubicBezTo>
                    <a:pt x="44" y="6"/>
                    <a:pt x="44" y="5"/>
                    <a:pt x="44" y="4"/>
                  </a:cubicBezTo>
                  <a:cubicBezTo>
                    <a:pt x="44" y="2"/>
                    <a:pt x="42" y="0"/>
                    <a:pt x="40" y="0"/>
                  </a:cubicBezTo>
                  <a:cubicBezTo>
                    <a:pt x="38" y="0"/>
                    <a:pt x="36" y="1"/>
                    <a:pt x="36" y="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787878"/>
                </a:solidFill>
                <a:effectLst/>
                <a:uLnTx/>
                <a:uFillTx/>
                <a:latin typeface="Open Sans"/>
                <a:ea typeface="+mn-ea"/>
                <a:cs typeface="+mn-cs"/>
              </a:endParaRPr>
            </a:p>
          </p:txBody>
        </p:sp>
        <p:sp>
          <p:nvSpPr>
            <p:cNvPr id="30" name="Freeform 158">
              <a:extLst>
                <a:ext uri="{FF2B5EF4-FFF2-40B4-BE49-F238E27FC236}">
                  <a16:creationId xmlns:a16="http://schemas.microsoft.com/office/drawing/2014/main" id="{AB1B8961-0F34-446C-A385-77F7DDFF9C5C}"/>
                </a:ext>
              </a:extLst>
            </p:cNvPr>
            <p:cNvSpPr>
              <a:spLocks/>
            </p:cNvSpPr>
            <p:nvPr/>
          </p:nvSpPr>
          <p:spPr bwMode="auto">
            <a:xfrm>
              <a:off x="2987675" y="7318375"/>
              <a:ext cx="92075" cy="66675"/>
            </a:xfrm>
            <a:custGeom>
              <a:avLst/>
              <a:gdLst>
                <a:gd name="T0" fmla="*/ 36 w 44"/>
                <a:gd name="T1" fmla="*/ 3 h 31"/>
                <a:gd name="T2" fmla="*/ 31 w 44"/>
                <a:gd name="T3" fmla="*/ 17 h 31"/>
                <a:gd name="T4" fmla="*/ 27 w 44"/>
                <a:gd name="T5" fmla="*/ 3 h 31"/>
                <a:gd name="T6" fmla="*/ 22 w 44"/>
                <a:gd name="T7" fmla="*/ 0 h 31"/>
                <a:gd name="T8" fmla="*/ 22 w 44"/>
                <a:gd name="T9" fmla="*/ 0 h 31"/>
                <a:gd name="T10" fmla="*/ 18 w 44"/>
                <a:gd name="T11" fmla="*/ 3 h 31"/>
                <a:gd name="T12" fmla="*/ 13 w 44"/>
                <a:gd name="T13" fmla="*/ 17 h 31"/>
                <a:gd name="T14" fmla="*/ 9 w 44"/>
                <a:gd name="T15" fmla="*/ 3 h 31"/>
                <a:gd name="T16" fmla="*/ 4 w 44"/>
                <a:gd name="T17" fmla="*/ 0 h 31"/>
                <a:gd name="T18" fmla="*/ 0 w 44"/>
                <a:gd name="T19" fmla="*/ 4 h 31"/>
                <a:gd name="T20" fmla="*/ 1 w 44"/>
                <a:gd name="T21" fmla="*/ 6 h 31"/>
                <a:gd name="T22" fmla="*/ 8 w 44"/>
                <a:gd name="T23" fmla="*/ 27 h 31"/>
                <a:gd name="T24" fmla="*/ 13 w 44"/>
                <a:gd name="T25" fmla="*/ 31 h 31"/>
                <a:gd name="T26" fmla="*/ 17 w 44"/>
                <a:gd name="T27" fmla="*/ 28 h 31"/>
                <a:gd name="T28" fmla="*/ 22 w 44"/>
                <a:gd name="T29" fmla="*/ 14 h 31"/>
                <a:gd name="T30" fmla="*/ 27 w 44"/>
                <a:gd name="T31" fmla="*/ 27 h 31"/>
                <a:gd name="T32" fmla="*/ 31 w 44"/>
                <a:gd name="T33" fmla="*/ 31 h 31"/>
                <a:gd name="T34" fmla="*/ 31 w 44"/>
                <a:gd name="T35" fmla="*/ 31 h 31"/>
                <a:gd name="T36" fmla="*/ 36 w 44"/>
                <a:gd name="T37" fmla="*/ 27 h 31"/>
                <a:gd name="T38" fmla="*/ 44 w 44"/>
                <a:gd name="T39" fmla="*/ 6 h 31"/>
                <a:gd name="T40" fmla="*/ 44 w 44"/>
                <a:gd name="T41" fmla="*/ 4 h 31"/>
                <a:gd name="T42" fmla="*/ 40 w 44"/>
                <a:gd name="T43" fmla="*/ 0 h 31"/>
                <a:gd name="T44" fmla="*/ 36 w 44"/>
                <a:gd name="T45"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31">
                  <a:moveTo>
                    <a:pt x="36" y="3"/>
                  </a:moveTo>
                  <a:cubicBezTo>
                    <a:pt x="31" y="17"/>
                    <a:pt x="31" y="17"/>
                    <a:pt x="31" y="17"/>
                  </a:cubicBezTo>
                  <a:cubicBezTo>
                    <a:pt x="27" y="3"/>
                    <a:pt x="27" y="3"/>
                    <a:pt x="27" y="3"/>
                  </a:cubicBezTo>
                  <a:cubicBezTo>
                    <a:pt x="26" y="1"/>
                    <a:pt x="24" y="0"/>
                    <a:pt x="22" y="0"/>
                  </a:cubicBezTo>
                  <a:cubicBezTo>
                    <a:pt x="22" y="0"/>
                    <a:pt x="22" y="0"/>
                    <a:pt x="22" y="0"/>
                  </a:cubicBezTo>
                  <a:cubicBezTo>
                    <a:pt x="20" y="0"/>
                    <a:pt x="18" y="1"/>
                    <a:pt x="18" y="3"/>
                  </a:cubicBezTo>
                  <a:cubicBezTo>
                    <a:pt x="13" y="17"/>
                    <a:pt x="13" y="17"/>
                    <a:pt x="13" y="17"/>
                  </a:cubicBezTo>
                  <a:cubicBezTo>
                    <a:pt x="9" y="3"/>
                    <a:pt x="9" y="3"/>
                    <a:pt x="9" y="3"/>
                  </a:cubicBezTo>
                  <a:cubicBezTo>
                    <a:pt x="8" y="1"/>
                    <a:pt x="6" y="0"/>
                    <a:pt x="4" y="0"/>
                  </a:cubicBezTo>
                  <a:cubicBezTo>
                    <a:pt x="2" y="0"/>
                    <a:pt x="0" y="2"/>
                    <a:pt x="0" y="4"/>
                  </a:cubicBezTo>
                  <a:cubicBezTo>
                    <a:pt x="0" y="5"/>
                    <a:pt x="1" y="5"/>
                    <a:pt x="1" y="6"/>
                  </a:cubicBezTo>
                  <a:cubicBezTo>
                    <a:pt x="8" y="27"/>
                    <a:pt x="8" y="27"/>
                    <a:pt x="8" y="27"/>
                  </a:cubicBezTo>
                  <a:cubicBezTo>
                    <a:pt x="9" y="30"/>
                    <a:pt x="11" y="31"/>
                    <a:pt x="13" y="31"/>
                  </a:cubicBezTo>
                  <a:cubicBezTo>
                    <a:pt x="15" y="31"/>
                    <a:pt x="17" y="30"/>
                    <a:pt x="17" y="28"/>
                  </a:cubicBezTo>
                  <a:cubicBezTo>
                    <a:pt x="22" y="14"/>
                    <a:pt x="22" y="14"/>
                    <a:pt x="22" y="14"/>
                  </a:cubicBezTo>
                  <a:cubicBezTo>
                    <a:pt x="27" y="27"/>
                    <a:pt x="27" y="27"/>
                    <a:pt x="27" y="27"/>
                  </a:cubicBezTo>
                  <a:cubicBezTo>
                    <a:pt x="27" y="30"/>
                    <a:pt x="29" y="31"/>
                    <a:pt x="31" y="31"/>
                  </a:cubicBezTo>
                  <a:cubicBezTo>
                    <a:pt x="31" y="31"/>
                    <a:pt x="31" y="31"/>
                    <a:pt x="31" y="31"/>
                  </a:cubicBezTo>
                  <a:cubicBezTo>
                    <a:pt x="33" y="31"/>
                    <a:pt x="35" y="30"/>
                    <a:pt x="36" y="27"/>
                  </a:cubicBezTo>
                  <a:cubicBezTo>
                    <a:pt x="44" y="6"/>
                    <a:pt x="44" y="6"/>
                    <a:pt x="44" y="6"/>
                  </a:cubicBezTo>
                  <a:cubicBezTo>
                    <a:pt x="44" y="6"/>
                    <a:pt x="44" y="5"/>
                    <a:pt x="44" y="4"/>
                  </a:cubicBezTo>
                  <a:cubicBezTo>
                    <a:pt x="44" y="2"/>
                    <a:pt x="42" y="0"/>
                    <a:pt x="40" y="0"/>
                  </a:cubicBezTo>
                  <a:cubicBezTo>
                    <a:pt x="38" y="0"/>
                    <a:pt x="36" y="1"/>
                    <a:pt x="36" y="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787878"/>
                </a:solidFill>
                <a:effectLst/>
                <a:uLnTx/>
                <a:uFillTx/>
                <a:latin typeface="Open Sans"/>
                <a:ea typeface="+mn-ea"/>
                <a:cs typeface="+mn-cs"/>
              </a:endParaRPr>
            </a:p>
          </p:txBody>
        </p:sp>
        <p:sp>
          <p:nvSpPr>
            <p:cNvPr id="31" name="Freeform 159">
              <a:extLst>
                <a:ext uri="{FF2B5EF4-FFF2-40B4-BE49-F238E27FC236}">
                  <a16:creationId xmlns:a16="http://schemas.microsoft.com/office/drawing/2014/main" id="{A6591914-75AB-4E0C-A90A-C1C15827B309}"/>
                </a:ext>
              </a:extLst>
            </p:cNvPr>
            <p:cNvSpPr>
              <a:spLocks/>
            </p:cNvSpPr>
            <p:nvPr/>
          </p:nvSpPr>
          <p:spPr bwMode="auto">
            <a:xfrm>
              <a:off x="3081338" y="7318375"/>
              <a:ext cx="93663" cy="66675"/>
            </a:xfrm>
            <a:custGeom>
              <a:avLst/>
              <a:gdLst>
                <a:gd name="T0" fmla="*/ 40 w 44"/>
                <a:gd name="T1" fmla="*/ 0 h 31"/>
                <a:gd name="T2" fmla="*/ 36 w 44"/>
                <a:gd name="T3" fmla="*/ 3 h 31"/>
                <a:gd name="T4" fmla="*/ 31 w 44"/>
                <a:gd name="T5" fmla="*/ 17 h 31"/>
                <a:gd name="T6" fmla="*/ 27 w 44"/>
                <a:gd name="T7" fmla="*/ 3 h 31"/>
                <a:gd name="T8" fmla="*/ 22 w 44"/>
                <a:gd name="T9" fmla="*/ 0 h 31"/>
                <a:gd name="T10" fmla="*/ 22 w 44"/>
                <a:gd name="T11" fmla="*/ 0 h 31"/>
                <a:gd name="T12" fmla="*/ 18 w 44"/>
                <a:gd name="T13" fmla="*/ 3 h 31"/>
                <a:gd name="T14" fmla="*/ 13 w 44"/>
                <a:gd name="T15" fmla="*/ 17 h 31"/>
                <a:gd name="T16" fmla="*/ 9 w 44"/>
                <a:gd name="T17" fmla="*/ 3 h 31"/>
                <a:gd name="T18" fmla="*/ 5 w 44"/>
                <a:gd name="T19" fmla="*/ 0 h 31"/>
                <a:gd name="T20" fmla="*/ 0 w 44"/>
                <a:gd name="T21" fmla="*/ 4 h 31"/>
                <a:gd name="T22" fmla="*/ 1 w 44"/>
                <a:gd name="T23" fmla="*/ 6 h 31"/>
                <a:gd name="T24" fmla="*/ 8 w 44"/>
                <a:gd name="T25" fmla="*/ 27 h 31"/>
                <a:gd name="T26" fmla="*/ 13 w 44"/>
                <a:gd name="T27" fmla="*/ 31 h 31"/>
                <a:gd name="T28" fmla="*/ 18 w 44"/>
                <a:gd name="T29" fmla="*/ 28 h 31"/>
                <a:gd name="T30" fmla="*/ 22 w 44"/>
                <a:gd name="T31" fmla="*/ 14 h 31"/>
                <a:gd name="T32" fmla="*/ 27 w 44"/>
                <a:gd name="T33" fmla="*/ 27 h 31"/>
                <a:gd name="T34" fmla="*/ 31 w 44"/>
                <a:gd name="T35" fmla="*/ 31 h 31"/>
                <a:gd name="T36" fmla="*/ 32 w 44"/>
                <a:gd name="T37" fmla="*/ 31 h 31"/>
                <a:gd name="T38" fmla="*/ 36 w 44"/>
                <a:gd name="T39" fmla="*/ 27 h 31"/>
                <a:gd name="T40" fmla="*/ 44 w 44"/>
                <a:gd name="T41" fmla="*/ 6 h 31"/>
                <a:gd name="T42" fmla="*/ 44 w 44"/>
                <a:gd name="T43" fmla="*/ 4 h 31"/>
                <a:gd name="T44" fmla="*/ 40 w 44"/>
                <a:gd name="T4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31">
                  <a:moveTo>
                    <a:pt x="40" y="0"/>
                  </a:moveTo>
                  <a:cubicBezTo>
                    <a:pt x="38" y="0"/>
                    <a:pt x="37" y="1"/>
                    <a:pt x="36" y="3"/>
                  </a:cubicBezTo>
                  <a:cubicBezTo>
                    <a:pt x="31" y="17"/>
                    <a:pt x="31" y="17"/>
                    <a:pt x="31" y="17"/>
                  </a:cubicBezTo>
                  <a:cubicBezTo>
                    <a:pt x="27" y="3"/>
                    <a:pt x="27" y="3"/>
                    <a:pt x="27" y="3"/>
                  </a:cubicBezTo>
                  <a:cubicBezTo>
                    <a:pt x="26" y="1"/>
                    <a:pt x="24" y="0"/>
                    <a:pt x="22" y="0"/>
                  </a:cubicBezTo>
                  <a:cubicBezTo>
                    <a:pt x="22" y="0"/>
                    <a:pt x="22" y="0"/>
                    <a:pt x="22" y="0"/>
                  </a:cubicBezTo>
                  <a:cubicBezTo>
                    <a:pt x="20" y="0"/>
                    <a:pt x="18" y="1"/>
                    <a:pt x="18" y="3"/>
                  </a:cubicBezTo>
                  <a:cubicBezTo>
                    <a:pt x="13" y="17"/>
                    <a:pt x="13" y="17"/>
                    <a:pt x="13" y="17"/>
                  </a:cubicBezTo>
                  <a:cubicBezTo>
                    <a:pt x="9" y="3"/>
                    <a:pt x="9" y="3"/>
                    <a:pt x="9" y="3"/>
                  </a:cubicBezTo>
                  <a:cubicBezTo>
                    <a:pt x="8" y="1"/>
                    <a:pt x="7" y="0"/>
                    <a:pt x="5" y="0"/>
                  </a:cubicBezTo>
                  <a:cubicBezTo>
                    <a:pt x="2" y="0"/>
                    <a:pt x="0" y="2"/>
                    <a:pt x="0" y="4"/>
                  </a:cubicBezTo>
                  <a:cubicBezTo>
                    <a:pt x="0" y="5"/>
                    <a:pt x="1" y="5"/>
                    <a:pt x="1" y="6"/>
                  </a:cubicBezTo>
                  <a:cubicBezTo>
                    <a:pt x="8" y="27"/>
                    <a:pt x="8" y="27"/>
                    <a:pt x="8" y="27"/>
                  </a:cubicBezTo>
                  <a:cubicBezTo>
                    <a:pt x="9" y="30"/>
                    <a:pt x="11" y="31"/>
                    <a:pt x="13" y="31"/>
                  </a:cubicBezTo>
                  <a:cubicBezTo>
                    <a:pt x="15" y="31"/>
                    <a:pt x="17" y="30"/>
                    <a:pt x="18" y="28"/>
                  </a:cubicBezTo>
                  <a:cubicBezTo>
                    <a:pt x="22" y="14"/>
                    <a:pt x="22" y="14"/>
                    <a:pt x="22" y="14"/>
                  </a:cubicBezTo>
                  <a:cubicBezTo>
                    <a:pt x="27" y="27"/>
                    <a:pt x="27" y="27"/>
                    <a:pt x="27" y="27"/>
                  </a:cubicBezTo>
                  <a:cubicBezTo>
                    <a:pt x="28" y="30"/>
                    <a:pt x="29" y="31"/>
                    <a:pt x="31" y="31"/>
                  </a:cubicBezTo>
                  <a:cubicBezTo>
                    <a:pt x="32" y="31"/>
                    <a:pt x="32" y="31"/>
                    <a:pt x="32" y="31"/>
                  </a:cubicBezTo>
                  <a:cubicBezTo>
                    <a:pt x="34" y="31"/>
                    <a:pt x="35" y="30"/>
                    <a:pt x="36" y="27"/>
                  </a:cubicBezTo>
                  <a:cubicBezTo>
                    <a:pt x="44" y="6"/>
                    <a:pt x="44" y="6"/>
                    <a:pt x="44" y="6"/>
                  </a:cubicBezTo>
                  <a:cubicBezTo>
                    <a:pt x="44" y="6"/>
                    <a:pt x="44" y="5"/>
                    <a:pt x="44" y="4"/>
                  </a:cubicBezTo>
                  <a:cubicBezTo>
                    <a:pt x="44" y="2"/>
                    <a:pt x="42" y="0"/>
                    <a:pt x="4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787878"/>
                </a:solidFill>
                <a:effectLst/>
                <a:uLnTx/>
                <a:uFillTx/>
                <a:latin typeface="Open Sans"/>
                <a:ea typeface="+mn-ea"/>
                <a:cs typeface="+mn-cs"/>
              </a:endParaRPr>
            </a:p>
          </p:txBody>
        </p:sp>
        <p:sp>
          <p:nvSpPr>
            <p:cNvPr id="32" name="Freeform 160">
              <a:extLst>
                <a:ext uri="{FF2B5EF4-FFF2-40B4-BE49-F238E27FC236}">
                  <a16:creationId xmlns:a16="http://schemas.microsoft.com/office/drawing/2014/main" id="{EC500897-418E-42C8-BFEC-B000F013A955}"/>
                </a:ext>
              </a:extLst>
            </p:cNvPr>
            <p:cNvSpPr>
              <a:spLocks/>
            </p:cNvSpPr>
            <p:nvPr/>
          </p:nvSpPr>
          <p:spPr bwMode="auto">
            <a:xfrm>
              <a:off x="3175000" y="7362825"/>
              <a:ext cx="19050" cy="22225"/>
            </a:xfrm>
            <a:custGeom>
              <a:avLst/>
              <a:gdLst>
                <a:gd name="T0" fmla="*/ 5 w 9"/>
                <a:gd name="T1" fmla="*/ 10 h 10"/>
                <a:gd name="T2" fmla="*/ 9 w 9"/>
                <a:gd name="T3" fmla="*/ 5 h 10"/>
                <a:gd name="T4" fmla="*/ 9 w 9"/>
                <a:gd name="T5" fmla="*/ 5 h 10"/>
                <a:gd name="T6" fmla="*/ 5 w 9"/>
                <a:gd name="T7" fmla="*/ 0 h 10"/>
                <a:gd name="T8" fmla="*/ 0 w 9"/>
                <a:gd name="T9" fmla="*/ 5 h 10"/>
                <a:gd name="T10" fmla="*/ 0 w 9"/>
                <a:gd name="T11" fmla="*/ 5 h 10"/>
                <a:gd name="T12" fmla="*/ 5 w 9"/>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5" y="10"/>
                  </a:moveTo>
                  <a:cubicBezTo>
                    <a:pt x="7" y="10"/>
                    <a:pt x="9" y="8"/>
                    <a:pt x="9" y="5"/>
                  </a:cubicBezTo>
                  <a:cubicBezTo>
                    <a:pt x="9" y="5"/>
                    <a:pt x="9" y="5"/>
                    <a:pt x="9" y="5"/>
                  </a:cubicBezTo>
                  <a:cubicBezTo>
                    <a:pt x="9" y="2"/>
                    <a:pt x="7" y="0"/>
                    <a:pt x="5" y="0"/>
                  </a:cubicBezTo>
                  <a:cubicBezTo>
                    <a:pt x="2" y="0"/>
                    <a:pt x="0" y="2"/>
                    <a:pt x="0" y="5"/>
                  </a:cubicBezTo>
                  <a:cubicBezTo>
                    <a:pt x="0" y="5"/>
                    <a:pt x="0" y="5"/>
                    <a:pt x="0" y="5"/>
                  </a:cubicBezTo>
                  <a:cubicBezTo>
                    <a:pt x="0" y="8"/>
                    <a:pt x="2" y="10"/>
                    <a:pt x="5" y="1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787878"/>
                </a:solidFill>
                <a:effectLst/>
                <a:uLnTx/>
                <a:uFillTx/>
                <a:latin typeface="Open Sans"/>
                <a:ea typeface="+mn-ea"/>
                <a:cs typeface="+mn-cs"/>
              </a:endParaRPr>
            </a:p>
          </p:txBody>
        </p:sp>
      </p:grpSp>
      <p:sp>
        <p:nvSpPr>
          <p:cNvPr id="33" name="object 357">
            <a:extLst>
              <a:ext uri="{FF2B5EF4-FFF2-40B4-BE49-F238E27FC236}">
                <a16:creationId xmlns:a16="http://schemas.microsoft.com/office/drawing/2014/main" id="{A8742ABA-E234-47F4-AADC-40F1F2DC6473}"/>
              </a:ext>
            </a:extLst>
          </p:cNvPr>
          <p:cNvSpPr txBox="1"/>
          <p:nvPr/>
        </p:nvSpPr>
        <p:spPr>
          <a:xfrm>
            <a:off x="7376065" y="3178551"/>
            <a:ext cx="1756806" cy="169277"/>
          </a:xfrm>
          <a:prstGeom prst="rect">
            <a:avLst/>
          </a:prstGeom>
        </p:spPr>
        <p:txBody>
          <a:bodyPr vert="horz" wrap="square" lIns="0" tIns="0" rIns="0" bIns="0" rtlCol="0">
            <a:spAutoFit/>
          </a:bodyPr>
          <a:lstStyle>
            <a:defPPr>
              <a:defRPr lang="en-US"/>
            </a:defPPr>
            <a:lvl1pPr marL="15876">
              <a:defRPr sz="1100" b="1" kern="0" spc="250">
                <a:solidFill>
                  <a:schemeClr val="tx2"/>
                </a:solidFill>
                <a:ea typeface="Nexa Black" charset="0"/>
                <a:cs typeface="Nexa Black" charset="0"/>
              </a:defRPr>
            </a:lvl1pPr>
          </a:lstStyle>
          <a:p>
            <a:pPr marL="15876"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250" normalizeH="0" baseline="0" noProof="0" dirty="0">
                <a:ln>
                  <a:noFill/>
                </a:ln>
                <a:solidFill>
                  <a:srgbClr val="000000"/>
                </a:solidFill>
                <a:effectLst/>
                <a:uLnTx/>
                <a:uFillTx/>
                <a:latin typeface="Open Sans"/>
              </a:rPr>
              <a:t>PURCHASE &amp; PAY</a:t>
            </a:r>
            <a:endParaRPr kumimoji="0" sz="1100" b="1" i="0" u="none" strike="noStrike" kern="0" cap="none" spc="250" normalizeH="0" baseline="0" noProof="0" dirty="0">
              <a:ln>
                <a:noFill/>
              </a:ln>
              <a:solidFill>
                <a:srgbClr val="000000"/>
              </a:solidFill>
              <a:effectLst/>
              <a:uLnTx/>
              <a:uFillTx/>
              <a:latin typeface="Open Sans"/>
            </a:endParaRPr>
          </a:p>
        </p:txBody>
      </p:sp>
      <p:sp>
        <p:nvSpPr>
          <p:cNvPr id="34" name="Oval 33">
            <a:extLst>
              <a:ext uri="{FF2B5EF4-FFF2-40B4-BE49-F238E27FC236}">
                <a16:creationId xmlns:a16="http://schemas.microsoft.com/office/drawing/2014/main" id="{AB8270D1-CFFE-4C45-AD15-129F8956135D}"/>
              </a:ext>
            </a:extLst>
          </p:cNvPr>
          <p:cNvSpPr/>
          <p:nvPr/>
        </p:nvSpPr>
        <p:spPr>
          <a:xfrm>
            <a:off x="8055641" y="2775591"/>
            <a:ext cx="382409" cy="382409"/>
          </a:xfrm>
          <a:prstGeom prst="ellipse">
            <a:avLst/>
          </a:prstGeom>
          <a:solidFill>
            <a:srgbClr val="B4B4B4">
              <a:lumMod val="20000"/>
              <a:lumOff val="80000"/>
            </a:srgbClr>
          </a:solidFill>
          <a:ln w="15875" cap="flat" cmpd="sng" algn="ctr">
            <a:solidFill>
              <a:schemeClr val="tx1"/>
            </a:solidFill>
            <a:prstDash val="solid"/>
          </a:ln>
          <a:effectLst/>
        </p:spPr>
        <p:txBody>
          <a:bodyPr rtlCol="0" anchor="ctr"/>
          <a:lstStyle/>
          <a:p>
            <a:pPr marL="0" marR="0" lvl="0" indent="0" algn="ctr" defTabSz="81637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Open Sans"/>
              <a:ea typeface="Open Sans" panose="020B0606030504020204" pitchFamily="34" charset="0"/>
              <a:cs typeface="Open Sans" panose="020B0606030504020204" pitchFamily="34" charset="0"/>
            </a:endParaRPr>
          </a:p>
        </p:txBody>
      </p:sp>
      <p:grpSp>
        <p:nvGrpSpPr>
          <p:cNvPr id="35" name="Group 34">
            <a:extLst>
              <a:ext uri="{FF2B5EF4-FFF2-40B4-BE49-F238E27FC236}">
                <a16:creationId xmlns:a16="http://schemas.microsoft.com/office/drawing/2014/main" id="{B98C74F1-E18B-4515-A155-2F09C62E1C6A}"/>
              </a:ext>
            </a:extLst>
          </p:cNvPr>
          <p:cNvGrpSpPr/>
          <p:nvPr/>
        </p:nvGrpSpPr>
        <p:grpSpPr>
          <a:xfrm>
            <a:off x="8152974" y="2867829"/>
            <a:ext cx="187742" cy="184025"/>
            <a:chOff x="184150" y="5391150"/>
            <a:chExt cx="481012" cy="471487"/>
          </a:xfrm>
          <a:solidFill>
            <a:schemeClr val="tx1"/>
          </a:solidFill>
        </p:grpSpPr>
        <p:sp>
          <p:nvSpPr>
            <p:cNvPr id="36" name="Freeform 65">
              <a:extLst>
                <a:ext uri="{FF2B5EF4-FFF2-40B4-BE49-F238E27FC236}">
                  <a16:creationId xmlns:a16="http://schemas.microsoft.com/office/drawing/2014/main" id="{8646DBDF-9959-4511-9EFC-29491E66E3EC}"/>
                </a:ext>
              </a:extLst>
            </p:cNvPr>
            <p:cNvSpPr>
              <a:spLocks noEditPoints="1"/>
            </p:cNvSpPr>
            <p:nvPr/>
          </p:nvSpPr>
          <p:spPr bwMode="auto">
            <a:xfrm>
              <a:off x="184150" y="5391150"/>
              <a:ext cx="481012" cy="471487"/>
            </a:xfrm>
            <a:custGeom>
              <a:avLst/>
              <a:gdLst>
                <a:gd name="T0" fmla="*/ 238 w 243"/>
                <a:gd name="T1" fmla="*/ 135 h 238"/>
                <a:gd name="T2" fmla="*/ 227 w 243"/>
                <a:gd name="T3" fmla="*/ 135 h 238"/>
                <a:gd name="T4" fmla="*/ 227 w 243"/>
                <a:gd name="T5" fmla="*/ 98 h 238"/>
                <a:gd name="T6" fmla="*/ 227 w 243"/>
                <a:gd name="T7" fmla="*/ 98 h 238"/>
                <a:gd name="T8" fmla="*/ 227 w 243"/>
                <a:gd name="T9" fmla="*/ 98 h 238"/>
                <a:gd name="T10" fmla="*/ 222 w 243"/>
                <a:gd name="T11" fmla="*/ 93 h 238"/>
                <a:gd name="T12" fmla="*/ 217 w 243"/>
                <a:gd name="T13" fmla="*/ 93 h 238"/>
                <a:gd name="T14" fmla="*/ 217 w 243"/>
                <a:gd name="T15" fmla="*/ 92 h 238"/>
                <a:gd name="T16" fmla="*/ 210 w 243"/>
                <a:gd name="T17" fmla="*/ 71 h 238"/>
                <a:gd name="T18" fmla="*/ 222 w 243"/>
                <a:gd name="T19" fmla="*/ 71 h 238"/>
                <a:gd name="T20" fmla="*/ 227 w 243"/>
                <a:gd name="T21" fmla="*/ 66 h 238"/>
                <a:gd name="T22" fmla="*/ 222 w 243"/>
                <a:gd name="T23" fmla="*/ 61 h 238"/>
                <a:gd name="T24" fmla="*/ 207 w 243"/>
                <a:gd name="T25" fmla="*/ 61 h 238"/>
                <a:gd name="T26" fmla="*/ 190 w 243"/>
                <a:gd name="T27" fmla="*/ 4 h 238"/>
                <a:gd name="T28" fmla="*/ 187 w 243"/>
                <a:gd name="T29" fmla="*/ 1 h 238"/>
                <a:gd name="T30" fmla="*/ 184 w 243"/>
                <a:gd name="T31" fmla="*/ 1 h 238"/>
                <a:gd name="T32" fmla="*/ 23 w 243"/>
                <a:gd name="T33" fmla="*/ 50 h 238"/>
                <a:gd name="T34" fmla="*/ 20 w 243"/>
                <a:gd name="T35" fmla="*/ 53 h 238"/>
                <a:gd name="T36" fmla="*/ 19 w 243"/>
                <a:gd name="T37" fmla="*/ 57 h 238"/>
                <a:gd name="T38" fmla="*/ 21 w 243"/>
                <a:gd name="T39" fmla="*/ 61 h 238"/>
                <a:gd name="T40" fmla="*/ 0 w 243"/>
                <a:gd name="T41" fmla="*/ 82 h 238"/>
                <a:gd name="T42" fmla="*/ 0 w 243"/>
                <a:gd name="T43" fmla="*/ 217 h 238"/>
                <a:gd name="T44" fmla="*/ 21 w 243"/>
                <a:gd name="T45" fmla="*/ 238 h 238"/>
                <a:gd name="T46" fmla="*/ 222 w 243"/>
                <a:gd name="T47" fmla="*/ 238 h 238"/>
                <a:gd name="T48" fmla="*/ 227 w 243"/>
                <a:gd name="T49" fmla="*/ 233 h 238"/>
                <a:gd name="T50" fmla="*/ 227 w 243"/>
                <a:gd name="T51" fmla="*/ 194 h 238"/>
                <a:gd name="T52" fmla="*/ 238 w 243"/>
                <a:gd name="T53" fmla="*/ 194 h 238"/>
                <a:gd name="T54" fmla="*/ 243 w 243"/>
                <a:gd name="T55" fmla="*/ 190 h 238"/>
                <a:gd name="T56" fmla="*/ 243 w 243"/>
                <a:gd name="T57" fmla="*/ 140 h 238"/>
                <a:gd name="T58" fmla="*/ 238 w 243"/>
                <a:gd name="T59" fmla="*/ 135 h 238"/>
                <a:gd name="T60" fmla="*/ 182 w 243"/>
                <a:gd name="T61" fmla="*/ 12 h 238"/>
                <a:gd name="T62" fmla="*/ 206 w 243"/>
                <a:gd name="T63" fmla="*/ 90 h 238"/>
                <a:gd name="T64" fmla="*/ 195 w 243"/>
                <a:gd name="T65" fmla="*/ 93 h 238"/>
                <a:gd name="T66" fmla="*/ 41 w 243"/>
                <a:gd name="T67" fmla="*/ 93 h 238"/>
                <a:gd name="T68" fmla="*/ 30 w 243"/>
                <a:gd name="T69" fmla="*/ 58 h 238"/>
                <a:gd name="T70" fmla="*/ 182 w 243"/>
                <a:gd name="T71" fmla="*/ 12 h 238"/>
                <a:gd name="T72" fmla="*/ 21 w 243"/>
                <a:gd name="T73" fmla="*/ 71 h 238"/>
                <a:gd name="T74" fmla="*/ 24 w 243"/>
                <a:gd name="T75" fmla="*/ 71 h 238"/>
                <a:gd name="T76" fmla="*/ 31 w 243"/>
                <a:gd name="T77" fmla="*/ 93 h 238"/>
                <a:gd name="T78" fmla="*/ 21 w 243"/>
                <a:gd name="T79" fmla="*/ 93 h 238"/>
                <a:gd name="T80" fmla="*/ 21 w 243"/>
                <a:gd name="T81" fmla="*/ 93 h 238"/>
                <a:gd name="T82" fmla="*/ 10 w 243"/>
                <a:gd name="T83" fmla="*/ 82 h 238"/>
                <a:gd name="T84" fmla="*/ 21 w 243"/>
                <a:gd name="T85" fmla="*/ 71 h 238"/>
                <a:gd name="T86" fmla="*/ 217 w 243"/>
                <a:gd name="T87" fmla="*/ 228 h 238"/>
                <a:gd name="T88" fmla="*/ 21 w 243"/>
                <a:gd name="T89" fmla="*/ 228 h 238"/>
                <a:gd name="T90" fmla="*/ 10 w 243"/>
                <a:gd name="T91" fmla="*/ 217 h 238"/>
                <a:gd name="T92" fmla="*/ 10 w 243"/>
                <a:gd name="T93" fmla="*/ 100 h 238"/>
                <a:gd name="T94" fmla="*/ 21 w 243"/>
                <a:gd name="T95" fmla="*/ 103 h 238"/>
                <a:gd name="T96" fmla="*/ 217 w 243"/>
                <a:gd name="T97" fmla="*/ 103 h 238"/>
                <a:gd name="T98" fmla="*/ 217 w 243"/>
                <a:gd name="T99" fmla="*/ 135 h 238"/>
                <a:gd name="T100" fmla="*/ 186 w 243"/>
                <a:gd name="T101" fmla="*/ 135 h 238"/>
                <a:gd name="T102" fmla="*/ 156 w 243"/>
                <a:gd name="T103" fmla="*/ 165 h 238"/>
                <a:gd name="T104" fmla="*/ 186 w 243"/>
                <a:gd name="T105" fmla="*/ 194 h 238"/>
                <a:gd name="T106" fmla="*/ 217 w 243"/>
                <a:gd name="T107" fmla="*/ 194 h 238"/>
                <a:gd name="T108" fmla="*/ 217 w 243"/>
                <a:gd name="T109" fmla="*/ 228 h 238"/>
                <a:gd name="T110" fmla="*/ 233 w 243"/>
                <a:gd name="T111" fmla="*/ 185 h 238"/>
                <a:gd name="T112" fmla="*/ 186 w 243"/>
                <a:gd name="T113" fmla="*/ 185 h 238"/>
                <a:gd name="T114" fmla="*/ 166 w 243"/>
                <a:gd name="T115" fmla="*/ 165 h 238"/>
                <a:gd name="T116" fmla="*/ 186 w 243"/>
                <a:gd name="T117" fmla="*/ 144 h 238"/>
                <a:gd name="T118" fmla="*/ 233 w 243"/>
                <a:gd name="T119" fmla="*/ 144 h 238"/>
                <a:gd name="T120" fmla="*/ 233 w 243"/>
                <a:gd name="T121" fmla="*/ 185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3" h="238">
                  <a:moveTo>
                    <a:pt x="238" y="135"/>
                  </a:moveTo>
                  <a:cubicBezTo>
                    <a:pt x="227" y="135"/>
                    <a:pt x="227" y="135"/>
                    <a:pt x="227" y="135"/>
                  </a:cubicBezTo>
                  <a:cubicBezTo>
                    <a:pt x="227" y="98"/>
                    <a:pt x="227" y="98"/>
                    <a:pt x="227" y="98"/>
                  </a:cubicBezTo>
                  <a:cubicBezTo>
                    <a:pt x="227" y="98"/>
                    <a:pt x="227" y="98"/>
                    <a:pt x="227" y="98"/>
                  </a:cubicBezTo>
                  <a:cubicBezTo>
                    <a:pt x="227" y="98"/>
                    <a:pt x="227" y="98"/>
                    <a:pt x="227" y="98"/>
                  </a:cubicBezTo>
                  <a:cubicBezTo>
                    <a:pt x="227" y="95"/>
                    <a:pt x="225" y="93"/>
                    <a:pt x="222" y="93"/>
                  </a:cubicBezTo>
                  <a:cubicBezTo>
                    <a:pt x="217" y="93"/>
                    <a:pt x="217" y="93"/>
                    <a:pt x="217" y="93"/>
                  </a:cubicBezTo>
                  <a:cubicBezTo>
                    <a:pt x="217" y="93"/>
                    <a:pt x="217" y="92"/>
                    <a:pt x="217" y="92"/>
                  </a:cubicBezTo>
                  <a:cubicBezTo>
                    <a:pt x="210" y="71"/>
                    <a:pt x="210" y="71"/>
                    <a:pt x="210" y="71"/>
                  </a:cubicBezTo>
                  <a:cubicBezTo>
                    <a:pt x="222" y="71"/>
                    <a:pt x="222" y="71"/>
                    <a:pt x="222" y="71"/>
                  </a:cubicBezTo>
                  <a:cubicBezTo>
                    <a:pt x="225" y="71"/>
                    <a:pt x="227" y="69"/>
                    <a:pt x="227" y="66"/>
                  </a:cubicBezTo>
                  <a:cubicBezTo>
                    <a:pt x="227" y="63"/>
                    <a:pt x="225" y="61"/>
                    <a:pt x="222" y="61"/>
                  </a:cubicBezTo>
                  <a:cubicBezTo>
                    <a:pt x="207" y="61"/>
                    <a:pt x="207" y="61"/>
                    <a:pt x="207" y="61"/>
                  </a:cubicBezTo>
                  <a:cubicBezTo>
                    <a:pt x="190" y="4"/>
                    <a:pt x="190" y="4"/>
                    <a:pt x="190" y="4"/>
                  </a:cubicBezTo>
                  <a:cubicBezTo>
                    <a:pt x="189" y="3"/>
                    <a:pt x="188" y="2"/>
                    <a:pt x="187" y="1"/>
                  </a:cubicBezTo>
                  <a:cubicBezTo>
                    <a:pt x="186" y="0"/>
                    <a:pt x="185" y="0"/>
                    <a:pt x="184" y="1"/>
                  </a:cubicBezTo>
                  <a:cubicBezTo>
                    <a:pt x="23" y="50"/>
                    <a:pt x="23" y="50"/>
                    <a:pt x="23" y="50"/>
                  </a:cubicBezTo>
                  <a:cubicBezTo>
                    <a:pt x="21" y="51"/>
                    <a:pt x="20" y="52"/>
                    <a:pt x="20" y="53"/>
                  </a:cubicBezTo>
                  <a:cubicBezTo>
                    <a:pt x="19" y="54"/>
                    <a:pt x="19" y="55"/>
                    <a:pt x="19" y="57"/>
                  </a:cubicBezTo>
                  <a:cubicBezTo>
                    <a:pt x="21" y="61"/>
                    <a:pt x="21" y="61"/>
                    <a:pt x="21" y="61"/>
                  </a:cubicBezTo>
                  <a:cubicBezTo>
                    <a:pt x="9" y="61"/>
                    <a:pt x="0" y="71"/>
                    <a:pt x="0" y="82"/>
                  </a:cubicBezTo>
                  <a:cubicBezTo>
                    <a:pt x="0" y="217"/>
                    <a:pt x="0" y="217"/>
                    <a:pt x="0" y="217"/>
                  </a:cubicBezTo>
                  <a:cubicBezTo>
                    <a:pt x="0" y="229"/>
                    <a:pt x="9" y="238"/>
                    <a:pt x="21" y="238"/>
                  </a:cubicBezTo>
                  <a:cubicBezTo>
                    <a:pt x="222" y="238"/>
                    <a:pt x="222" y="238"/>
                    <a:pt x="222" y="238"/>
                  </a:cubicBezTo>
                  <a:cubicBezTo>
                    <a:pt x="225" y="238"/>
                    <a:pt x="227" y="236"/>
                    <a:pt x="227" y="233"/>
                  </a:cubicBezTo>
                  <a:cubicBezTo>
                    <a:pt x="227" y="194"/>
                    <a:pt x="227" y="194"/>
                    <a:pt x="227" y="194"/>
                  </a:cubicBezTo>
                  <a:cubicBezTo>
                    <a:pt x="238" y="194"/>
                    <a:pt x="238" y="194"/>
                    <a:pt x="238" y="194"/>
                  </a:cubicBezTo>
                  <a:cubicBezTo>
                    <a:pt x="241" y="194"/>
                    <a:pt x="243" y="192"/>
                    <a:pt x="243" y="190"/>
                  </a:cubicBezTo>
                  <a:cubicBezTo>
                    <a:pt x="243" y="140"/>
                    <a:pt x="243" y="140"/>
                    <a:pt x="243" y="140"/>
                  </a:cubicBezTo>
                  <a:cubicBezTo>
                    <a:pt x="243" y="137"/>
                    <a:pt x="241" y="135"/>
                    <a:pt x="238" y="135"/>
                  </a:cubicBezTo>
                  <a:close/>
                  <a:moveTo>
                    <a:pt x="182" y="12"/>
                  </a:moveTo>
                  <a:cubicBezTo>
                    <a:pt x="206" y="90"/>
                    <a:pt x="206" y="90"/>
                    <a:pt x="206" y="90"/>
                  </a:cubicBezTo>
                  <a:cubicBezTo>
                    <a:pt x="195" y="93"/>
                    <a:pt x="195" y="93"/>
                    <a:pt x="195" y="93"/>
                  </a:cubicBezTo>
                  <a:cubicBezTo>
                    <a:pt x="41" y="93"/>
                    <a:pt x="41" y="93"/>
                    <a:pt x="41" y="93"/>
                  </a:cubicBezTo>
                  <a:cubicBezTo>
                    <a:pt x="30" y="58"/>
                    <a:pt x="30" y="58"/>
                    <a:pt x="30" y="58"/>
                  </a:cubicBezTo>
                  <a:lnTo>
                    <a:pt x="182" y="12"/>
                  </a:lnTo>
                  <a:close/>
                  <a:moveTo>
                    <a:pt x="21" y="71"/>
                  </a:moveTo>
                  <a:cubicBezTo>
                    <a:pt x="24" y="71"/>
                    <a:pt x="24" y="71"/>
                    <a:pt x="24" y="71"/>
                  </a:cubicBezTo>
                  <a:cubicBezTo>
                    <a:pt x="31" y="93"/>
                    <a:pt x="31" y="93"/>
                    <a:pt x="31" y="93"/>
                  </a:cubicBezTo>
                  <a:cubicBezTo>
                    <a:pt x="21" y="93"/>
                    <a:pt x="21" y="93"/>
                    <a:pt x="21" y="93"/>
                  </a:cubicBezTo>
                  <a:cubicBezTo>
                    <a:pt x="21" y="93"/>
                    <a:pt x="21" y="93"/>
                    <a:pt x="21" y="93"/>
                  </a:cubicBezTo>
                  <a:cubicBezTo>
                    <a:pt x="15" y="93"/>
                    <a:pt x="10" y="88"/>
                    <a:pt x="10" y="82"/>
                  </a:cubicBezTo>
                  <a:cubicBezTo>
                    <a:pt x="10" y="76"/>
                    <a:pt x="15" y="71"/>
                    <a:pt x="21" y="71"/>
                  </a:cubicBezTo>
                  <a:close/>
                  <a:moveTo>
                    <a:pt x="217" y="228"/>
                  </a:moveTo>
                  <a:cubicBezTo>
                    <a:pt x="21" y="228"/>
                    <a:pt x="21" y="228"/>
                    <a:pt x="21" y="228"/>
                  </a:cubicBezTo>
                  <a:cubicBezTo>
                    <a:pt x="15" y="228"/>
                    <a:pt x="10" y="223"/>
                    <a:pt x="10" y="217"/>
                  </a:cubicBezTo>
                  <a:cubicBezTo>
                    <a:pt x="10" y="100"/>
                    <a:pt x="10" y="100"/>
                    <a:pt x="10" y="100"/>
                  </a:cubicBezTo>
                  <a:cubicBezTo>
                    <a:pt x="13" y="102"/>
                    <a:pt x="17" y="103"/>
                    <a:pt x="21" y="103"/>
                  </a:cubicBezTo>
                  <a:cubicBezTo>
                    <a:pt x="217" y="103"/>
                    <a:pt x="217" y="103"/>
                    <a:pt x="217" y="103"/>
                  </a:cubicBezTo>
                  <a:cubicBezTo>
                    <a:pt x="217" y="135"/>
                    <a:pt x="217" y="135"/>
                    <a:pt x="217" y="135"/>
                  </a:cubicBezTo>
                  <a:cubicBezTo>
                    <a:pt x="186" y="135"/>
                    <a:pt x="186" y="135"/>
                    <a:pt x="186" y="135"/>
                  </a:cubicBezTo>
                  <a:cubicBezTo>
                    <a:pt x="169" y="135"/>
                    <a:pt x="156" y="148"/>
                    <a:pt x="156" y="165"/>
                  </a:cubicBezTo>
                  <a:cubicBezTo>
                    <a:pt x="156" y="181"/>
                    <a:pt x="169" y="194"/>
                    <a:pt x="186" y="194"/>
                  </a:cubicBezTo>
                  <a:cubicBezTo>
                    <a:pt x="217" y="194"/>
                    <a:pt x="217" y="194"/>
                    <a:pt x="217" y="194"/>
                  </a:cubicBezTo>
                  <a:lnTo>
                    <a:pt x="217" y="228"/>
                  </a:lnTo>
                  <a:close/>
                  <a:moveTo>
                    <a:pt x="233" y="185"/>
                  </a:moveTo>
                  <a:cubicBezTo>
                    <a:pt x="186" y="185"/>
                    <a:pt x="186" y="185"/>
                    <a:pt x="186" y="185"/>
                  </a:cubicBezTo>
                  <a:cubicBezTo>
                    <a:pt x="175" y="185"/>
                    <a:pt x="166" y="176"/>
                    <a:pt x="166" y="165"/>
                  </a:cubicBezTo>
                  <a:cubicBezTo>
                    <a:pt x="166" y="153"/>
                    <a:pt x="175" y="144"/>
                    <a:pt x="186" y="144"/>
                  </a:cubicBezTo>
                  <a:cubicBezTo>
                    <a:pt x="233" y="144"/>
                    <a:pt x="233" y="144"/>
                    <a:pt x="233" y="144"/>
                  </a:cubicBezTo>
                  <a:lnTo>
                    <a:pt x="233" y="18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92D400"/>
                </a:solidFill>
                <a:effectLst/>
                <a:uLnTx/>
                <a:uFillTx/>
                <a:latin typeface="Frutiger Next Pro Light"/>
                <a:ea typeface="+mn-ea"/>
                <a:cs typeface="+mn-cs"/>
              </a:endParaRPr>
            </a:p>
          </p:txBody>
        </p:sp>
        <p:sp>
          <p:nvSpPr>
            <p:cNvPr id="37" name="Oval 66">
              <a:extLst>
                <a:ext uri="{FF2B5EF4-FFF2-40B4-BE49-F238E27FC236}">
                  <a16:creationId xmlns:a16="http://schemas.microsoft.com/office/drawing/2014/main" id="{461FAFC5-F042-4BEA-802F-AE55ACDF0948}"/>
                </a:ext>
              </a:extLst>
            </p:cNvPr>
            <p:cNvSpPr>
              <a:spLocks noChangeArrowheads="1"/>
            </p:cNvSpPr>
            <p:nvPr/>
          </p:nvSpPr>
          <p:spPr bwMode="auto">
            <a:xfrm>
              <a:off x="546100" y="5703888"/>
              <a:ext cx="25400" cy="254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92D400"/>
                </a:solidFill>
                <a:effectLst/>
                <a:uLnTx/>
                <a:uFillTx/>
                <a:latin typeface="Frutiger Next Pro Light"/>
                <a:ea typeface="+mn-ea"/>
                <a:cs typeface="+mn-cs"/>
              </a:endParaRPr>
            </a:p>
          </p:txBody>
        </p:sp>
      </p:grpSp>
      <p:sp>
        <p:nvSpPr>
          <p:cNvPr id="38" name="object 357">
            <a:extLst>
              <a:ext uri="{FF2B5EF4-FFF2-40B4-BE49-F238E27FC236}">
                <a16:creationId xmlns:a16="http://schemas.microsoft.com/office/drawing/2014/main" id="{3B850EDE-B1EF-4C42-BC90-0EE581DE8D01}"/>
              </a:ext>
            </a:extLst>
          </p:cNvPr>
          <p:cNvSpPr txBox="1"/>
          <p:nvPr/>
        </p:nvSpPr>
        <p:spPr>
          <a:xfrm>
            <a:off x="2451800" y="2457781"/>
            <a:ext cx="2232256" cy="169277"/>
          </a:xfrm>
          <a:prstGeom prst="rect">
            <a:avLst/>
          </a:prstGeom>
        </p:spPr>
        <p:txBody>
          <a:bodyPr vert="horz" wrap="square" lIns="0" tIns="0" rIns="0" bIns="0" rtlCol="0">
            <a:spAutoFit/>
          </a:bodyPr>
          <a:lstStyle/>
          <a:p>
            <a:pPr marL="15876"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250" normalizeH="0" baseline="0" noProof="0" dirty="0">
                <a:ln>
                  <a:noFill/>
                </a:ln>
                <a:solidFill>
                  <a:srgbClr val="000000"/>
                </a:solidFill>
                <a:effectLst/>
                <a:uLnTx/>
                <a:uFillTx/>
                <a:latin typeface="Open Sans"/>
                <a:ea typeface="Nexa Black" charset="0"/>
                <a:cs typeface="Nexa Black" charset="0"/>
              </a:rPr>
              <a:t>BROWSE &amp; RESEARCH</a:t>
            </a:r>
            <a:endParaRPr kumimoji="0" sz="1100" b="1" i="0" u="none" strike="noStrike" kern="0" cap="none" spc="250" normalizeH="0" baseline="0" noProof="0" dirty="0">
              <a:ln>
                <a:noFill/>
              </a:ln>
              <a:solidFill>
                <a:srgbClr val="000000"/>
              </a:solidFill>
              <a:effectLst/>
              <a:uLnTx/>
              <a:uFillTx/>
              <a:latin typeface="Open Sans"/>
              <a:ea typeface="Nexa Black" charset="0"/>
              <a:cs typeface="Nexa Black" charset="0"/>
            </a:endParaRPr>
          </a:p>
        </p:txBody>
      </p:sp>
      <p:sp>
        <p:nvSpPr>
          <p:cNvPr id="39" name="Rectangle 38">
            <a:extLst>
              <a:ext uri="{FF2B5EF4-FFF2-40B4-BE49-F238E27FC236}">
                <a16:creationId xmlns:a16="http://schemas.microsoft.com/office/drawing/2014/main" id="{07CF6B3A-1C46-4BB7-B3E8-13F65EA628D6}"/>
              </a:ext>
            </a:extLst>
          </p:cNvPr>
          <p:cNvSpPr/>
          <p:nvPr/>
        </p:nvSpPr>
        <p:spPr>
          <a:xfrm flipV="1">
            <a:off x="0" y="3429202"/>
            <a:ext cx="12192000" cy="45719"/>
          </a:xfrm>
          <a:prstGeom prst="rect">
            <a:avLst/>
          </a:prstGeom>
          <a:solidFill>
            <a:schemeClr val="accent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Frutiger Next Pro Light"/>
              <a:ea typeface="+mn-ea"/>
              <a:cs typeface="+mn-cs"/>
            </a:endParaRPr>
          </a:p>
        </p:txBody>
      </p:sp>
      <p:sp>
        <p:nvSpPr>
          <p:cNvPr id="40" name="TextBox 39">
            <a:extLst>
              <a:ext uri="{FF2B5EF4-FFF2-40B4-BE49-F238E27FC236}">
                <a16:creationId xmlns:a16="http://schemas.microsoft.com/office/drawing/2014/main" id="{F77BF5F0-6168-422C-BFBC-5CE2DD35FBED}"/>
              </a:ext>
            </a:extLst>
          </p:cNvPr>
          <p:cNvSpPr txBox="1"/>
          <p:nvPr/>
        </p:nvSpPr>
        <p:spPr>
          <a:xfrm>
            <a:off x="2808933" y="3476942"/>
            <a:ext cx="99376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86F200"/>
                </a:solidFill>
                <a:effectLst/>
                <a:uLnTx/>
                <a:uFillTx/>
                <a:latin typeface="Chronicle Display Black"/>
                <a:ea typeface="+mn-ea"/>
                <a:cs typeface="+mn-cs"/>
              </a:rPr>
              <a:t>57% </a:t>
            </a:r>
          </a:p>
        </p:txBody>
      </p:sp>
      <p:sp>
        <p:nvSpPr>
          <p:cNvPr id="41" name="TextBox 40">
            <a:extLst>
              <a:ext uri="{FF2B5EF4-FFF2-40B4-BE49-F238E27FC236}">
                <a16:creationId xmlns:a16="http://schemas.microsoft.com/office/drawing/2014/main" id="{68F9CA24-C8FB-493C-8646-1DB70675BEC3}"/>
              </a:ext>
            </a:extLst>
          </p:cNvPr>
          <p:cNvSpPr txBox="1"/>
          <p:nvPr/>
        </p:nvSpPr>
        <p:spPr>
          <a:xfrm>
            <a:off x="3463198" y="3612016"/>
            <a:ext cx="1097353"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Frutiger Next Pro Light"/>
              </a:rPr>
              <a:t>of Beverage</a:t>
            </a:r>
            <a:endParaRPr kumimoji="0" lang="en-US" sz="1100" b="1" i="0" u="none" strike="noStrike" kern="1200" cap="none" spc="0" normalizeH="0" baseline="0" noProof="0" dirty="0">
              <a:ln>
                <a:noFill/>
              </a:ln>
              <a:solidFill>
                <a:srgbClr val="000000"/>
              </a:solidFill>
              <a:effectLst/>
              <a:uLnTx/>
              <a:uFillTx/>
              <a:latin typeface="Open Sans"/>
              <a:ea typeface="+mn-ea"/>
              <a:cs typeface="Frutiger Next Pro Light"/>
            </a:endParaRPr>
          </a:p>
        </p:txBody>
      </p:sp>
      <p:sp>
        <p:nvSpPr>
          <p:cNvPr id="42" name="TextBox 41">
            <a:extLst>
              <a:ext uri="{FF2B5EF4-FFF2-40B4-BE49-F238E27FC236}">
                <a16:creationId xmlns:a16="http://schemas.microsoft.com/office/drawing/2014/main" id="{9BC36641-C535-4828-AE3A-0A062275CBCC}"/>
              </a:ext>
            </a:extLst>
          </p:cNvPr>
          <p:cNvSpPr txBox="1"/>
          <p:nvPr/>
        </p:nvSpPr>
        <p:spPr>
          <a:xfrm>
            <a:off x="2813514" y="3789444"/>
            <a:ext cx="1850671"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Frutiger Next Pro Light"/>
              </a:rPr>
              <a:t>Shoppers</a:t>
            </a:r>
            <a:r>
              <a:rPr kumimoji="0" lang="en-US" sz="1100" b="1" i="0" u="none" strike="noStrike" kern="1200" cap="none" spc="0" normalizeH="0" baseline="0" noProof="0" dirty="0">
                <a:ln>
                  <a:noFill/>
                </a:ln>
                <a:solidFill>
                  <a:srgbClr val="000000"/>
                </a:solidFill>
                <a:effectLst/>
                <a:uLnTx/>
                <a:uFillTx/>
                <a:latin typeface="Open Sans"/>
                <a:ea typeface="+mn-ea"/>
                <a:cs typeface="Frutiger Next Pro Light"/>
              </a:rPr>
              <a:t> digital </a:t>
            </a:r>
            <a:r>
              <a:rPr kumimoji="0" lang="en-US" sz="1100" b="0" i="0" u="none" strike="noStrike" kern="1200" cap="none" spc="0" normalizeH="0" baseline="0" noProof="0" dirty="0">
                <a:ln>
                  <a:noFill/>
                </a:ln>
                <a:solidFill>
                  <a:srgbClr val="000000"/>
                </a:solidFill>
                <a:effectLst/>
                <a:uLnTx/>
                <a:uFillTx/>
                <a:latin typeface="Open Sans"/>
                <a:ea typeface="+mn-ea"/>
                <a:cs typeface="Frutiger Next Pro Light"/>
              </a:rPr>
              <a:t>to research..</a:t>
            </a:r>
          </a:p>
        </p:txBody>
      </p:sp>
      <p:sp>
        <p:nvSpPr>
          <p:cNvPr id="43" name="Rectangle 42">
            <a:extLst>
              <a:ext uri="{FF2B5EF4-FFF2-40B4-BE49-F238E27FC236}">
                <a16:creationId xmlns:a16="http://schemas.microsoft.com/office/drawing/2014/main" id="{089843F1-55D8-41EE-B725-2D8E2E05F7BA}"/>
              </a:ext>
            </a:extLst>
          </p:cNvPr>
          <p:cNvSpPr/>
          <p:nvPr/>
        </p:nvSpPr>
        <p:spPr>
          <a:xfrm>
            <a:off x="5076007" y="3276166"/>
            <a:ext cx="178370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86F200"/>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86F200"/>
                </a:solidFill>
                <a:effectLst/>
                <a:uLnTx/>
                <a:uFillTx/>
                <a:latin typeface="Chronicle Display Black"/>
                <a:ea typeface="+mn-ea"/>
                <a:cs typeface="+mn-cs"/>
              </a:rPr>
              <a:t>43%</a:t>
            </a:r>
          </a:p>
        </p:txBody>
      </p:sp>
      <p:sp>
        <p:nvSpPr>
          <p:cNvPr id="44" name="TextBox 43">
            <a:extLst>
              <a:ext uri="{FF2B5EF4-FFF2-40B4-BE49-F238E27FC236}">
                <a16:creationId xmlns:a16="http://schemas.microsoft.com/office/drawing/2014/main" id="{B636D095-453A-402E-8A58-AB4429CEBC76}"/>
              </a:ext>
            </a:extLst>
          </p:cNvPr>
          <p:cNvSpPr txBox="1"/>
          <p:nvPr/>
        </p:nvSpPr>
        <p:spPr>
          <a:xfrm>
            <a:off x="5714798" y="3594324"/>
            <a:ext cx="1434510" cy="261610"/>
          </a:xfrm>
          <a:prstGeom prst="rect">
            <a:avLst/>
          </a:prstGeom>
        </p:spPr>
        <p:txBody>
          <a:bodyPr wrap="square">
            <a:spAutoFit/>
          </a:bodyPr>
          <a:lstStyle>
            <a:defPPr>
              <a:defRPr lang="en-US"/>
            </a:defPPr>
            <a:lvl1pPr>
              <a:defRPr sz="1100">
                <a:solidFill>
                  <a:srgbClr val="5C5C5C"/>
                </a:solidFill>
                <a:cs typeface="Frutiger Next Pro 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rPr>
              <a:t>of Beverage  </a:t>
            </a:r>
          </a:p>
        </p:txBody>
      </p:sp>
      <p:sp>
        <p:nvSpPr>
          <p:cNvPr id="45" name="TextBox 44">
            <a:extLst>
              <a:ext uri="{FF2B5EF4-FFF2-40B4-BE49-F238E27FC236}">
                <a16:creationId xmlns:a16="http://schemas.microsoft.com/office/drawing/2014/main" id="{D23B9F0B-D930-4077-A040-33E2F32F32A2}"/>
              </a:ext>
            </a:extLst>
          </p:cNvPr>
          <p:cNvSpPr txBox="1"/>
          <p:nvPr/>
        </p:nvSpPr>
        <p:spPr>
          <a:xfrm>
            <a:off x="5065114" y="3771752"/>
            <a:ext cx="2031416" cy="600164"/>
          </a:xfrm>
          <a:prstGeom prst="rect">
            <a:avLst/>
          </a:prstGeom>
        </p:spPr>
        <p:txBody>
          <a:bodyPr wrap="square">
            <a:spAutoFit/>
          </a:bodyPr>
          <a:lstStyle>
            <a:defPPr>
              <a:defRPr lang="en-US"/>
            </a:defPPr>
            <a:lvl1pPr>
              <a:defRPr sz="1100">
                <a:solidFill>
                  <a:srgbClr val="5C5C5C"/>
                </a:solidFill>
                <a:cs typeface="Frutiger Next Pro 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rPr>
              <a:t>shoppers used a digital touchpoint to seek input (of 51% who seek input)</a:t>
            </a:r>
          </a:p>
        </p:txBody>
      </p:sp>
      <p:sp>
        <p:nvSpPr>
          <p:cNvPr id="46" name="Rectangle 45">
            <a:extLst>
              <a:ext uri="{FF2B5EF4-FFF2-40B4-BE49-F238E27FC236}">
                <a16:creationId xmlns:a16="http://schemas.microsoft.com/office/drawing/2014/main" id="{44608DA4-6418-41FA-BA47-239EEC8A5F7F}"/>
              </a:ext>
            </a:extLst>
          </p:cNvPr>
          <p:cNvSpPr/>
          <p:nvPr/>
        </p:nvSpPr>
        <p:spPr>
          <a:xfrm>
            <a:off x="7193833" y="3274407"/>
            <a:ext cx="178370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86F200"/>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86F200"/>
                </a:solidFill>
                <a:effectLst/>
                <a:uLnTx/>
                <a:uFillTx/>
                <a:latin typeface="Chronicle Display Black"/>
                <a:ea typeface="+mn-ea"/>
                <a:cs typeface="+mn-cs"/>
              </a:rPr>
              <a:t>51%</a:t>
            </a:r>
          </a:p>
        </p:txBody>
      </p:sp>
      <p:sp>
        <p:nvSpPr>
          <p:cNvPr id="47" name="TextBox 46">
            <a:extLst>
              <a:ext uri="{FF2B5EF4-FFF2-40B4-BE49-F238E27FC236}">
                <a16:creationId xmlns:a16="http://schemas.microsoft.com/office/drawing/2014/main" id="{5C96F67E-613C-409E-8546-7AAE605A9672}"/>
              </a:ext>
            </a:extLst>
          </p:cNvPr>
          <p:cNvSpPr txBox="1"/>
          <p:nvPr/>
        </p:nvSpPr>
        <p:spPr>
          <a:xfrm>
            <a:off x="7832624" y="3594324"/>
            <a:ext cx="1387826" cy="261610"/>
          </a:xfrm>
          <a:prstGeom prst="rect">
            <a:avLst/>
          </a:prstGeom>
        </p:spPr>
        <p:txBody>
          <a:bodyPr wrap="square">
            <a:spAutoFit/>
          </a:bodyPr>
          <a:lstStyle>
            <a:defPPr>
              <a:defRPr lang="en-US"/>
            </a:defPPr>
            <a:lvl1pPr>
              <a:defRPr sz="1100">
                <a:solidFill>
                  <a:srgbClr val="5C5C5C"/>
                </a:solidFill>
                <a:cs typeface="Frutiger Next Pro 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rPr>
              <a:t> of Beverage</a:t>
            </a:r>
          </a:p>
        </p:txBody>
      </p:sp>
      <p:sp>
        <p:nvSpPr>
          <p:cNvPr id="48" name="TextBox 47">
            <a:extLst>
              <a:ext uri="{FF2B5EF4-FFF2-40B4-BE49-F238E27FC236}">
                <a16:creationId xmlns:a16="http://schemas.microsoft.com/office/drawing/2014/main" id="{3986FA1F-0030-4B6F-8C07-D3FCD333A362}"/>
              </a:ext>
            </a:extLst>
          </p:cNvPr>
          <p:cNvSpPr txBox="1"/>
          <p:nvPr/>
        </p:nvSpPr>
        <p:spPr>
          <a:xfrm>
            <a:off x="7182940" y="3771752"/>
            <a:ext cx="2037510" cy="1446550"/>
          </a:xfrm>
          <a:prstGeom prst="rect">
            <a:avLst/>
          </a:prstGeom>
        </p:spPr>
        <p:txBody>
          <a:bodyPr wrap="square">
            <a:spAutoFit/>
          </a:bodyPr>
          <a:lstStyle>
            <a:defPPr>
              <a:defRPr lang="en-US"/>
            </a:defPPr>
            <a:lvl1pPr>
              <a:defRPr sz="1100">
                <a:solidFill>
                  <a:srgbClr val="5C5C5C"/>
                </a:solidFill>
                <a:cs typeface="Frutiger Next Pro 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rPr>
              <a:t>shoppers use digital in </a:t>
            </a:r>
            <a:r>
              <a:rPr kumimoji="0" lang="en-US" sz="1100" b="0" i="0" u="none" strike="noStrike" kern="1200" cap="none" spc="0" normalizeH="0" baseline="0" noProof="0">
                <a:ln>
                  <a:noFill/>
                </a:ln>
                <a:solidFill>
                  <a:srgbClr val="000000"/>
                </a:solidFill>
                <a:effectLst/>
                <a:uLnTx/>
                <a:uFillTx/>
                <a:latin typeface="Open Sans"/>
                <a:ea typeface="+mn-ea"/>
              </a:rPr>
              <a:t>store. </a:t>
            </a:r>
            <a:r>
              <a:rPr kumimoji="0" lang="en-US" sz="1100" b="1" i="0" u="none" strike="noStrike" kern="1200" cap="none" spc="0" normalizeH="0" baseline="0" noProof="0">
                <a:ln>
                  <a:noFill/>
                </a:ln>
                <a:solidFill>
                  <a:srgbClr val="000000"/>
                </a:solidFill>
                <a:effectLst/>
                <a:uLnTx/>
                <a:uFillTx/>
                <a:latin typeface="Open Sans"/>
                <a:ea typeface="+mn-ea"/>
              </a:rPr>
              <a:t>52</a:t>
            </a:r>
            <a:r>
              <a:rPr kumimoji="0" lang="en-US" sz="1100" b="1" i="0" u="none" strike="noStrike" kern="1200" cap="none" spc="0" normalizeH="0" baseline="0" noProof="0" dirty="0">
                <a:ln>
                  <a:noFill/>
                </a:ln>
                <a:solidFill>
                  <a:srgbClr val="000000"/>
                </a:solidFill>
                <a:effectLst/>
                <a:uLnTx/>
                <a:uFillTx/>
                <a:latin typeface="Open Sans"/>
                <a:ea typeface="+mn-ea"/>
              </a:rPr>
              <a:t>%</a:t>
            </a:r>
            <a:r>
              <a:rPr kumimoji="0" lang="en-US" sz="1100" b="0" i="0" u="none" strike="noStrike" kern="1200" cap="none" spc="0" normalizeH="0" baseline="0" noProof="0" dirty="0">
                <a:ln>
                  <a:noFill/>
                </a:ln>
                <a:solidFill>
                  <a:srgbClr val="000000"/>
                </a:solidFill>
                <a:effectLst/>
                <a:uLnTx/>
                <a:uFillTx/>
                <a:latin typeface="Open Sans"/>
                <a:ea typeface="+mn-ea"/>
              </a:rPr>
              <a:t> make </a:t>
            </a:r>
            <a:r>
              <a:rPr kumimoji="0" lang="en-US" sz="1100" b="1" i="0" u="none" strike="noStrike" kern="1200" cap="none" spc="0" normalizeH="0" baseline="0" noProof="0" dirty="0">
                <a:ln>
                  <a:noFill/>
                </a:ln>
                <a:solidFill>
                  <a:srgbClr val="000000"/>
                </a:solidFill>
                <a:effectLst/>
                <a:uLnTx/>
                <a:uFillTx/>
                <a:latin typeface="Open Sans"/>
                <a:ea typeface="+mn-ea"/>
              </a:rPr>
              <a:t>final </a:t>
            </a:r>
            <a:r>
              <a:rPr kumimoji="0" lang="en-US" sz="1100" b="1" i="0" u="none" strike="noStrike" kern="1200" cap="none" spc="0" normalizeH="0" baseline="0" noProof="0">
                <a:ln>
                  <a:noFill/>
                </a:ln>
                <a:solidFill>
                  <a:srgbClr val="000000"/>
                </a:solidFill>
                <a:effectLst/>
                <a:uLnTx/>
                <a:uFillTx/>
                <a:latin typeface="Open Sans"/>
                <a:ea typeface="+mn-ea"/>
              </a:rPr>
              <a:t>decision in-store</a:t>
            </a:r>
            <a:r>
              <a:rPr kumimoji="0" lang="en-US" sz="1100" b="0" i="0" u="none" strike="noStrike" kern="1200" cap="none" spc="0" normalizeH="0" baseline="0" noProof="0">
                <a:ln>
                  <a:noFill/>
                </a:ln>
                <a:solidFill>
                  <a:srgbClr val="000000"/>
                </a:solidFill>
                <a:effectLst/>
                <a:uLnTx/>
                <a:uFillTx/>
                <a:latin typeface="Open Sans"/>
                <a:ea typeface="+mn-ea"/>
              </a:rPr>
              <a:t>…however</a:t>
            </a:r>
            <a:r>
              <a:rPr kumimoji="0" lang="en-US" sz="1100" b="0" i="0" u="none" strike="noStrike" kern="1200" cap="none" spc="0" normalizeH="0" baseline="0" noProof="0" dirty="0">
                <a:ln>
                  <a:noFill/>
                </a:ln>
                <a:solidFill>
                  <a:srgbClr val="000000"/>
                </a:solidFill>
                <a:effectLst/>
                <a:uLnTx/>
                <a:uFillTx/>
                <a:latin typeface="Open Sans"/>
                <a:ea typeface="+mn-ea"/>
              </a:rPr>
              <a:t>, </a:t>
            </a:r>
            <a:r>
              <a:rPr kumimoji="0" lang="en-US" sz="1100" b="1" i="0" u="none" strike="noStrike" kern="1200" cap="none" spc="0" normalizeH="0" baseline="0" noProof="0" dirty="0">
                <a:ln>
                  <a:noFill/>
                </a:ln>
                <a:solidFill>
                  <a:srgbClr val="000000"/>
                </a:solidFill>
                <a:effectLst/>
                <a:uLnTx/>
                <a:uFillTx/>
                <a:latin typeface="Open Sans"/>
                <a:ea typeface="+mn-ea"/>
              </a:rPr>
              <a:t>92% aware </a:t>
            </a:r>
            <a:r>
              <a:rPr kumimoji="0" lang="en-US" sz="1100" b="0" i="0" u="none" strike="noStrike" kern="1200" cap="none" spc="0" normalizeH="0" baseline="0" noProof="0" dirty="0">
                <a:ln>
                  <a:noFill/>
                </a:ln>
                <a:solidFill>
                  <a:srgbClr val="000000"/>
                </a:solidFill>
                <a:effectLst/>
                <a:uLnTx/>
                <a:uFillTx/>
                <a:latin typeface="Open Sans"/>
                <a:ea typeface="+mn-ea"/>
              </a:rPr>
              <a:t>before store . Packaging highest in-store touchpoint 27%, followed by reviews 18%</a:t>
            </a:r>
          </a:p>
        </p:txBody>
      </p:sp>
      <p:sp>
        <p:nvSpPr>
          <p:cNvPr id="49" name="TextBox 48">
            <a:extLst>
              <a:ext uri="{FF2B5EF4-FFF2-40B4-BE49-F238E27FC236}">
                <a16:creationId xmlns:a16="http://schemas.microsoft.com/office/drawing/2014/main" id="{67FF4127-225E-43AE-A668-FEF0FE7BD2F7}"/>
              </a:ext>
            </a:extLst>
          </p:cNvPr>
          <p:cNvSpPr txBox="1"/>
          <p:nvPr/>
        </p:nvSpPr>
        <p:spPr>
          <a:xfrm>
            <a:off x="9466341" y="3472152"/>
            <a:ext cx="99376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86F200"/>
                </a:solidFill>
                <a:effectLst/>
                <a:uLnTx/>
                <a:uFillTx/>
                <a:latin typeface="Chronicle Display Black"/>
                <a:ea typeface="+mn-ea"/>
                <a:cs typeface="+mn-cs"/>
              </a:rPr>
              <a:t>32%</a:t>
            </a:r>
            <a:r>
              <a:rPr kumimoji="0" lang="en-US" sz="2400" b="0" i="0" u="none" strike="noStrike" kern="1200" cap="none" spc="0" normalizeH="0" baseline="0" noProof="0" dirty="0">
                <a:ln>
                  <a:noFill/>
                </a:ln>
                <a:solidFill>
                  <a:srgbClr val="787878"/>
                </a:solidFill>
                <a:effectLst/>
                <a:uLnTx/>
                <a:uFillTx/>
                <a:latin typeface="Chronicle Display Black"/>
                <a:ea typeface="+mn-ea"/>
                <a:cs typeface="+mn-cs"/>
              </a:rPr>
              <a:t> </a:t>
            </a:r>
          </a:p>
        </p:txBody>
      </p:sp>
      <p:sp>
        <p:nvSpPr>
          <p:cNvPr id="50" name="TextBox 49">
            <a:extLst>
              <a:ext uri="{FF2B5EF4-FFF2-40B4-BE49-F238E27FC236}">
                <a16:creationId xmlns:a16="http://schemas.microsoft.com/office/drawing/2014/main" id="{A43F95FC-E29B-4014-BEE5-825EA4603BB8}"/>
              </a:ext>
            </a:extLst>
          </p:cNvPr>
          <p:cNvSpPr txBox="1"/>
          <p:nvPr/>
        </p:nvSpPr>
        <p:spPr>
          <a:xfrm>
            <a:off x="10120606" y="3594324"/>
            <a:ext cx="1883356" cy="261610"/>
          </a:xfrm>
          <a:prstGeom prst="rect">
            <a:avLst/>
          </a:prstGeom>
          <a:noFill/>
        </p:spPr>
        <p:txBody>
          <a:bodyPr wrap="square" rtlCol="0">
            <a:spAutoFit/>
          </a:bodyPr>
          <a:lstStyle>
            <a:defPPr>
              <a:defRPr lang="en-US"/>
            </a:defPPr>
            <a:lvl1pPr>
              <a:defRPr sz="1100" b="1">
                <a:solidFill>
                  <a:srgbClr val="5C5C5C"/>
                </a:solidFill>
                <a:cs typeface="Frutiger Next Pro 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rPr>
              <a:t>of Beverage</a:t>
            </a:r>
          </a:p>
        </p:txBody>
      </p:sp>
      <p:sp>
        <p:nvSpPr>
          <p:cNvPr id="51" name="TextBox 50">
            <a:extLst>
              <a:ext uri="{FF2B5EF4-FFF2-40B4-BE49-F238E27FC236}">
                <a16:creationId xmlns:a16="http://schemas.microsoft.com/office/drawing/2014/main" id="{500F6454-D70F-42FE-A355-02279D0DA09F}"/>
              </a:ext>
            </a:extLst>
          </p:cNvPr>
          <p:cNvSpPr txBox="1"/>
          <p:nvPr/>
        </p:nvSpPr>
        <p:spPr>
          <a:xfrm>
            <a:off x="9470921" y="3771752"/>
            <a:ext cx="2042915"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shoppers </a:t>
            </a:r>
            <a:r>
              <a:rPr kumimoji="0" lang="en-US" sz="1100" b="1" i="0" u="none" strike="noStrike" kern="1200" cap="none" spc="0" normalizeH="0" baseline="0" noProof="0" dirty="0">
                <a:ln>
                  <a:noFill/>
                </a:ln>
                <a:solidFill>
                  <a:srgbClr val="000000"/>
                </a:solidFill>
                <a:effectLst/>
                <a:uLnTx/>
                <a:uFillTx/>
                <a:latin typeface="Open Sans"/>
                <a:ea typeface="+mn-ea"/>
                <a:cs typeface="+mn-cs"/>
              </a:rPr>
              <a:t>used social </a:t>
            </a:r>
            <a:r>
              <a:rPr kumimoji="0" lang="en-US" sz="1100" b="1" i="0" u="none" strike="noStrike" kern="1200" cap="none" spc="0" normalizeH="0" baseline="0" noProof="0" dirty="0">
                <a:ln>
                  <a:noFill/>
                </a:ln>
                <a:solidFill>
                  <a:srgbClr val="000000"/>
                </a:solidFill>
                <a:effectLst/>
                <a:uLnTx/>
                <a:uFillTx/>
                <a:latin typeface="Open Sans"/>
                <a:ea typeface="+mn-ea"/>
                <a:cs typeface="Frutiger Next Pro Light"/>
              </a:rPr>
              <a:t>media to help shop for products </a:t>
            </a:r>
            <a:r>
              <a:rPr kumimoji="0" lang="en-US" sz="1100" b="0" i="0" u="none" strike="noStrike" kern="1200" cap="none" spc="0" normalizeH="0" baseline="0" noProof="0" dirty="0">
                <a:ln>
                  <a:noFill/>
                </a:ln>
                <a:solidFill>
                  <a:srgbClr val="000000"/>
                </a:solidFill>
                <a:effectLst/>
                <a:uLnTx/>
                <a:uFillTx/>
                <a:latin typeface="Open Sans"/>
                <a:ea typeface="+mn-ea"/>
                <a:cs typeface="Frutiger Next Pro Light"/>
              </a:rPr>
              <a:t>either before, during, or after their trip</a:t>
            </a:r>
          </a:p>
        </p:txBody>
      </p:sp>
      <p:sp>
        <p:nvSpPr>
          <p:cNvPr id="52" name="Rectangle 51">
            <a:extLst>
              <a:ext uri="{FF2B5EF4-FFF2-40B4-BE49-F238E27FC236}">
                <a16:creationId xmlns:a16="http://schemas.microsoft.com/office/drawing/2014/main" id="{622EEE80-E8FD-4E10-B346-1D09E6125663}"/>
              </a:ext>
            </a:extLst>
          </p:cNvPr>
          <p:cNvSpPr/>
          <p:nvPr/>
        </p:nvSpPr>
        <p:spPr>
          <a:xfrm flipV="1">
            <a:off x="0" y="1794257"/>
            <a:ext cx="12192000" cy="45719"/>
          </a:xfrm>
          <a:prstGeom prst="rect">
            <a:avLst/>
          </a:prstGeom>
          <a:solidFill>
            <a:schemeClr val="accent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Frutiger Next Pro Light"/>
              <a:ea typeface="+mn-ea"/>
              <a:cs typeface="+mn-cs"/>
            </a:endParaRPr>
          </a:p>
        </p:txBody>
      </p:sp>
      <p:sp>
        <p:nvSpPr>
          <p:cNvPr id="53" name="TextBox 52">
            <a:extLst>
              <a:ext uri="{FF2B5EF4-FFF2-40B4-BE49-F238E27FC236}">
                <a16:creationId xmlns:a16="http://schemas.microsoft.com/office/drawing/2014/main" id="{5094FAAB-E1DA-49EA-A359-E6567D42AE96}"/>
              </a:ext>
            </a:extLst>
          </p:cNvPr>
          <p:cNvSpPr txBox="1"/>
          <p:nvPr/>
        </p:nvSpPr>
        <p:spPr>
          <a:xfrm>
            <a:off x="914400" y="1828935"/>
            <a:ext cx="3074800" cy="307777"/>
          </a:xfrm>
          <a:prstGeom prst="rect">
            <a:avLst/>
          </a:prstGeom>
          <a:noFill/>
        </p:spPr>
        <p:txBody>
          <a:bodyPr wrap="square" lIns="0" rtlCol="0" anchor="b">
            <a:spAutoFit/>
          </a:bodyPr>
          <a:lstStyle/>
          <a:p>
            <a:pPr marL="15876"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all" spc="250" normalizeH="0" baseline="0" noProof="0" dirty="0">
                <a:ln>
                  <a:noFill/>
                </a:ln>
                <a:solidFill>
                  <a:srgbClr val="000000"/>
                </a:solidFill>
                <a:effectLst/>
                <a:uLnTx/>
                <a:uFillTx/>
                <a:latin typeface="Open Sans"/>
                <a:ea typeface="Nexa Black" charset="0"/>
                <a:cs typeface="Nexa Black" charset="0"/>
              </a:rPr>
              <a:t>Path to Purchase</a:t>
            </a:r>
          </a:p>
        </p:txBody>
      </p:sp>
      <p:cxnSp>
        <p:nvCxnSpPr>
          <p:cNvPr id="54" name="Straight Connector 53">
            <a:extLst>
              <a:ext uri="{FF2B5EF4-FFF2-40B4-BE49-F238E27FC236}">
                <a16:creationId xmlns:a16="http://schemas.microsoft.com/office/drawing/2014/main" id="{B189115C-4CAD-4F8F-8D97-4EC8530879DA}"/>
              </a:ext>
            </a:extLst>
          </p:cNvPr>
          <p:cNvCxnSpPr/>
          <p:nvPr/>
        </p:nvCxnSpPr>
        <p:spPr>
          <a:xfrm>
            <a:off x="1621599" y="6160849"/>
            <a:ext cx="3108960" cy="0"/>
          </a:xfrm>
          <a:prstGeom prst="line">
            <a:avLst/>
          </a:prstGeom>
          <a:ln w="68580" cmpd="sng">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55" name="Straight Connector 54">
            <a:extLst>
              <a:ext uri="{FF2B5EF4-FFF2-40B4-BE49-F238E27FC236}">
                <a16:creationId xmlns:a16="http://schemas.microsoft.com/office/drawing/2014/main" id="{7FBA6FBA-E65F-4426-B31E-DDAF8AE162C3}"/>
              </a:ext>
            </a:extLst>
          </p:cNvPr>
          <p:cNvCxnSpPr/>
          <p:nvPr/>
        </p:nvCxnSpPr>
        <p:spPr>
          <a:xfrm>
            <a:off x="8120767" y="5539434"/>
            <a:ext cx="1371600" cy="0"/>
          </a:xfrm>
          <a:prstGeom prst="line">
            <a:avLst/>
          </a:prstGeom>
          <a:ln w="68580" cmpd="sng">
            <a:solidFill>
              <a:schemeClr val="accent2"/>
            </a:solidFill>
          </a:ln>
        </p:spPr>
        <p:style>
          <a:lnRef idx="2">
            <a:schemeClr val="accent1"/>
          </a:lnRef>
          <a:fillRef idx="0">
            <a:schemeClr val="accent1"/>
          </a:fillRef>
          <a:effectRef idx="1">
            <a:schemeClr val="accent1"/>
          </a:effectRef>
          <a:fontRef idx="minor">
            <a:schemeClr val="tx1"/>
          </a:fontRef>
        </p:style>
      </p:cxnSp>
      <p:sp>
        <p:nvSpPr>
          <p:cNvPr id="56" name="Rectangle 55">
            <a:extLst>
              <a:ext uri="{FF2B5EF4-FFF2-40B4-BE49-F238E27FC236}">
                <a16:creationId xmlns:a16="http://schemas.microsoft.com/office/drawing/2014/main" id="{B82A2619-D0E3-47AF-885A-53051E47CBB4}"/>
              </a:ext>
            </a:extLst>
          </p:cNvPr>
          <p:cNvSpPr/>
          <p:nvPr/>
        </p:nvSpPr>
        <p:spPr>
          <a:xfrm>
            <a:off x="627122" y="5210028"/>
            <a:ext cx="9894534" cy="954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5876" marR="0" lvl="0" indent="0" algn="ctr" defTabSz="914400" rtl="0" eaLnBrk="1" fontAlgn="auto" latinLnBrk="0" hangingPunct="1">
              <a:lnSpc>
                <a:spcPct val="150000"/>
              </a:lnSpc>
              <a:spcBef>
                <a:spcPts val="0"/>
              </a:spcBef>
              <a:spcAft>
                <a:spcPts val="0"/>
              </a:spcAft>
              <a:buClrTx/>
              <a:buSzTx/>
              <a:buFontTx/>
              <a:buNone/>
              <a:tabLst/>
              <a:defRPr/>
            </a:pPr>
            <a:r>
              <a:rPr kumimoji="0" lang="en-US" sz="1200" b="1" i="0" u="none" strike="noStrike" kern="0" cap="all" spc="250" normalizeH="0" baseline="0" noProof="0" dirty="0">
                <a:ln>
                  <a:noFill/>
                </a:ln>
                <a:solidFill>
                  <a:srgbClr val="000000"/>
                </a:solidFill>
                <a:effectLst/>
                <a:uLnTx/>
                <a:uFillTx/>
                <a:latin typeface="Open Sans"/>
                <a:ea typeface="Nexa Black" charset="0"/>
                <a:cs typeface="Nexa Black" charset="0"/>
              </a:rPr>
              <a:t>Despite this presence of digital and investment from CPGs, only </a:t>
            </a:r>
            <a:r>
              <a:rPr kumimoji="0" lang="en-US" sz="2400" b="1" i="0" u="none" strike="noStrike" kern="0" cap="all" spc="250" normalizeH="0" baseline="0" noProof="0" dirty="0">
                <a:ln>
                  <a:noFill/>
                </a:ln>
                <a:solidFill>
                  <a:srgbClr val="000000"/>
                </a:solidFill>
                <a:effectLst/>
                <a:uLnTx/>
                <a:uFillTx/>
                <a:latin typeface="Chronicle Display Black"/>
                <a:ea typeface="Nexa Black" charset="0"/>
                <a:cs typeface="Nexa Black" charset="0"/>
              </a:rPr>
              <a:t>33% </a:t>
            </a:r>
            <a:r>
              <a:rPr kumimoji="0" lang="en-US" sz="1200" b="1" i="0" u="none" strike="noStrike" kern="0" cap="all" spc="250" normalizeH="0" baseline="0" noProof="0" dirty="0">
                <a:ln>
                  <a:noFill/>
                </a:ln>
                <a:solidFill>
                  <a:srgbClr val="000000"/>
                </a:solidFill>
                <a:effectLst/>
                <a:uLnTx/>
                <a:uFillTx/>
                <a:latin typeface="Open Sans"/>
                <a:ea typeface="Nexa Black" charset="0"/>
                <a:cs typeface="Nexa Black" charset="0"/>
              </a:rPr>
              <a:t>of consumers believe that today’s grocery digital offerings make their </a:t>
            </a:r>
          </a:p>
          <a:p>
            <a:pPr marL="15876" marR="0" lvl="0" indent="0" algn="ctr" defTabSz="914400" rtl="0" eaLnBrk="1" fontAlgn="auto" latinLnBrk="0" hangingPunct="1">
              <a:lnSpc>
                <a:spcPct val="150000"/>
              </a:lnSpc>
              <a:spcBef>
                <a:spcPts val="0"/>
              </a:spcBef>
              <a:spcAft>
                <a:spcPts val="0"/>
              </a:spcAft>
              <a:buClrTx/>
              <a:buSzTx/>
              <a:buFontTx/>
              <a:buNone/>
              <a:tabLst/>
              <a:defRPr/>
            </a:pPr>
            <a:r>
              <a:rPr kumimoji="0" lang="en-US" sz="1200" b="1" i="0" u="none" strike="noStrike" kern="0" cap="all" spc="250" normalizeH="0" baseline="0" noProof="0" dirty="0">
                <a:ln>
                  <a:noFill/>
                </a:ln>
                <a:solidFill>
                  <a:srgbClr val="000000"/>
                </a:solidFill>
                <a:effectLst/>
                <a:uLnTx/>
                <a:uFillTx/>
                <a:latin typeface="Open Sans"/>
                <a:ea typeface="Nexa Black" charset="0"/>
                <a:cs typeface="Nexa Black" charset="0"/>
              </a:rPr>
              <a:t>shopping experience easier</a:t>
            </a:r>
            <a:r>
              <a:rPr kumimoji="0" lang="en-US" sz="1000" b="0" i="0" u="none" strike="noStrike" kern="0" cap="all" spc="250" normalizeH="0" baseline="0" noProof="0" dirty="0">
                <a:ln>
                  <a:noFill/>
                </a:ln>
                <a:solidFill>
                  <a:srgbClr val="000000"/>
                </a:solidFill>
                <a:effectLst/>
                <a:uLnTx/>
                <a:uFillTx/>
                <a:latin typeface="Open Sans"/>
                <a:ea typeface="Nexa Black" charset="0"/>
                <a:cs typeface="Nexa Black" charset="0"/>
              </a:rPr>
              <a:t> (versus 42% across other consumer categories)</a:t>
            </a:r>
          </a:p>
        </p:txBody>
      </p:sp>
      <p:cxnSp>
        <p:nvCxnSpPr>
          <p:cNvPr id="57" name="Straight Connector 56">
            <a:extLst>
              <a:ext uri="{FF2B5EF4-FFF2-40B4-BE49-F238E27FC236}">
                <a16:creationId xmlns:a16="http://schemas.microsoft.com/office/drawing/2014/main" id="{5F63C778-F6D8-4054-BE4D-7F950069FAC9}"/>
              </a:ext>
            </a:extLst>
          </p:cNvPr>
          <p:cNvCxnSpPr/>
          <p:nvPr/>
        </p:nvCxnSpPr>
        <p:spPr>
          <a:xfrm>
            <a:off x="1085614" y="5424757"/>
            <a:ext cx="0" cy="822960"/>
          </a:xfrm>
          <a:prstGeom prst="line">
            <a:avLst/>
          </a:prstGeom>
          <a:ln w="76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57A8F587-ED53-4ED5-A7C2-8EF4232C0EFC}"/>
              </a:ext>
            </a:extLst>
          </p:cNvPr>
          <p:cNvSpPr txBox="1"/>
          <p:nvPr/>
        </p:nvSpPr>
        <p:spPr>
          <a:xfrm>
            <a:off x="800690" y="3476942"/>
            <a:ext cx="99376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86F200"/>
                </a:solidFill>
                <a:effectLst/>
                <a:uLnTx/>
                <a:uFillTx/>
                <a:latin typeface="Chronicle Display Black"/>
                <a:ea typeface="+mn-ea"/>
                <a:cs typeface="+mn-cs"/>
              </a:rPr>
              <a:t>77% </a:t>
            </a:r>
          </a:p>
        </p:txBody>
      </p:sp>
      <p:sp>
        <p:nvSpPr>
          <p:cNvPr id="59" name="TextBox 58">
            <a:extLst>
              <a:ext uri="{FF2B5EF4-FFF2-40B4-BE49-F238E27FC236}">
                <a16:creationId xmlns:a16="http://schemas.microsoft.com/office/drawing/2014/main" id="{69A3BCAD-0A68-4378-8C14-DB50617AF20F}"/>
              </a:ext>
            </a:extLst>
          </p:cNvPr>
          <p:cNvSpPr txBox="1"/>
          <p:nvPr/>
        </p:nvSpPr>
        <p:spPr>
          <a:xfrm>
            <a:off x="1454955" y="3612016"/>
            <a:ext cx="1097353"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Frutiger Next Pro Light"/>
              </a:rPr>
              <a:t>of Beverage</a:t>
            </a:r>
            <a:endParaRPr kumimoji="0" lang="en-US" sz="1100" b="1" i="0" u="none" strike="noStrike" kern="1200" cap="none" spc="0" normalizeH="0" baseline="0" noProof="0" dirty="0">
              <a:ln>
                <a:noFill/>
              </a:ln>
              <a:solidFill>
                <a:srgbClr val="000000"/>
              </a:solidFill>
              <a:effectLst/>
              <a:uLnTx/>
              <a:uFillTx/>
              <a:latin typeface="Open Sans"/>
              <a:ea typeface="+mn-ea"/>
              <a:cs typeface="Frutiger Next Pro Light"/>
            </a:endParaRPr>
          </a:p>
        </p:txBody>
      </p:sp>
      <p:sp>
        <p:nvSpPr>
          <p:cNvPr id="60" name="TextBox 59">
            <a:extLst>
              <a:ext uri="{FF2B5EF4-FFF2-40B4-BE49-F238E27FC236}">
                <a16:creationId xmlns:a16="http://schemas.microsoft.com/office/drawing/2014/main" id="{A65F2711-A1B2-41BD-B67D-25E62C36FB7D}"/>
              </a:ext>
            </a:extLst>
          </p:cNvPr>
          <p:cNvSpPr txBox="1"/>
          <p:nvPr/>
        </p:nvSpPr>
        <p:spPr>
          <a:xfrm>
            <a:off x="805271" y="3789444"/>
            <a:ext cx="1850671"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Frutiger Next Pro Light"/>
              </a:rPr>
              <a:t>Shoppers</a:t>
            </a:r>
            <a:r>
              <a:rPr kumimoji="0" lang="en-US" sz="1100" b="1" i="0" u="none" strike="noStrike" kern="1200" cap="none" spc="0" normalizeH="0" baseline="0" noProof="0" dirty="0">
                <a:ln>
                  <a:noFill/>
                </a:ln>
                <a:solidFill>
                  <a:srgbClr val="000000"/>
                </a:solidFill>
                <a:effectLst/>
                <a:uLnTx/>
                <a:uFillTx/>
                <a:latin typeface="Open Sans"/>
                <a:ea typeface="+mn-ea"/>
                <a:cs typeface="Frutiger Next Pro Light"/>
              </a:rPr>
              <a:t> </a:t>
            </a:r>
            <a:r>
              <a:rPr kumimoji="0" lang="en-US" sz="1100" b="0" i="0" u="none" strike="noStrike" kern="1200" cap="none" spc="0" normalizeH="0" baseline="0" noProof="0" dirty="0">
                <a:ln>
                  <a:noFill/>
                </a:ln>
                <a:solidFill>
                  <a:srgbClr val="000000"/>
                </a:solidFill>
                <a:effectLst/>
                <a:uLnTx/>
                <a:uFillTx/>
                <a:latin typeface="Open Sans"/>
                <a:ea typeface="+mn-ea"/>
                <a:cs typeface="Frutiger Next Pro Light"/>
              </a:rPr>
              <a:t>use digital to become</a:t>
            </a:r>
            <a:r>
              <a:rPr kumimoji="0" lang="en-US" sz="1100" b="1" i="0" u="none" strike="noStrike" kern="1200" cap="none" spc="0" normalizeH="0" baseline="0" noProof="0" dirty="0">
                <a:ln>
                  <a:noFill/>
                </a:ln>
                <a:solidFill>
                  <a:srgbClr val="000000"/>
                </a:solidFill>
                <a:effectLst/>
                <a:uLnTx/>
                <a:uFillTx/>
                <a:latin typeface="Open Sans"/>
                <a:ea typeface="+mn-ea"/>
                <a:cs typeface="Frutiger Next Pro Light"/>
              </a:rPr>
              <a:t> aware</a:t>
            </a:r>
            <a:endParaRPr kumimoji="0" lang="en-US" sz="1100" b="0" i="0" u="none" strike="noStrike" kern="1200" cap="none" spc="0" normalizeH="0" baseline="0" noProof="0" dirty="0">
              <a:ln>
                <a:noFill/>
              </a:ln>
              <a:solidFill>
                <a:srgbClr val="000000"/>
              </a:solidFill>
              <a:effectLst/>
              <a:uLnTx/>
              <a:uFillTx/>
              <a:latin typeface="Open Sans"/>
              <a:ea typeface="+mn-ea"/>
              <a:cs typeface="Frutiger Next Pro Light"/>
            </a:endParaRPr>
          </a:p>
        </p:txBody>
      </p:sp>
      <p:sp>
        <p:nvSpPr>
          <p:cNvPr id="61" name="TextBox 60">
            <a:extLst>
              <a:ext uri="{FF2B5EF4-FFF2-40B4-BE49-F238E27FC236}">
                <a16:creationId xmlns:a16="http://schemas.microsoft.com/office/drawing/2014/main" id="{D3E04CE2-9EE1-4AA5-B4F0-CEECE86D5935}"/>
              </a:ext>
            </a:extLst>
          </p:cNvPr>
          <p:cNvSpPr txBox="1"/>
          <p:nvPr/>
        </p:nvSpPr>
        <p:spPr>
          <a:xfrm>
            <a:off x="2808933" y="4137803"/>
            <a:ext cx="99376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86F200"/>
                </a:solidFill>
                <a:effectLst/>
                <a:uLnTx/>
                <a:uFillTx/>
                <a:latin typeface="Chronicle Display Black"/>
                <a:ea typeface="+mn-ea"/>
                <a:cs typeface="+mn-cs"/>
              </a:rPr>
              <a:t>30% </a:t>
            </a:r>
          </a:p>
        </p:txBody>
      </p:sp>
      <p:sp>
        <p:nvSpPr>
          <p:cNvPr id="62" name="TextBox 61">
            <a:extLst>
              <a:ext uri="{FF2B5EF4-FFF2-40B4-BE49-F238E27FC236}">
                <a16:creationId xmlns:a16="http://schemas.microsoft.com/office/drawing/2014/main" id="{1C2D6B92-FDE1-4AB4-A16B-1EC32F9CD2F0}"/>
              </a:ext>
            </a:extLst>
          </p:cNvPr>
          <p:cNvSpPr txBox="1"/>
          <p:nvPr/>
        </p:nvSpPr>
        <p:spPr>
          <a:xfrm>
            <a:off x="3463198" y="4272877"/>
            <a:ext cx="1097353"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Frutiger Next Pro Light"/>
              </a:rPr>
              <a:t>of Beverage</a:t>
            </a:r>
            <a:endParaRPr kumimoji="0" lang="en-US" sz="1100" b="1" i="0" u="none" strike="noStrike" kern="1200" cap="none" spc="0" normalizeH="0" baseline="0" noProof="0" dirty="0">
              <a:ln>
                <a:noFill/>
              </a:ln>
              <a:solidFill>
                <a:srgbClr val="000000"/>
              </a:solidFill>
              <a:effectLst/>
              <a:uLnTx/>
              <a:uFillTx/>
              <a:latin typeface="Open Sans"/>
              <a:ea typeface="+mn-ea"/>
              <a:cs typeface="Frutiger Next Pro Light"/>
            </a:endParaRPr>
          </a:p>
        </p:txBody>
      </p:sp>
      <p:sp>
        <p:nvSpPr>
          <p:cNvPr id="63" name="TextBox 62">
            <a:extLst>
              <a:ext uri="{FF2B5EF4-FFF2-40B4-BE49-F238E27FC236}">
                <a16:creationId xmlns:a16="http://schemas.microsoft.com/office/drawing/2014/main" id="{037342F0-B28E-4C94-AB35-D804EB167910}"/>
              </a:ext>
            </a:extLst>
          </p:cNvPr>
          <p:cNvSpPr txBox="1"/>
          <p:nvPr/>
        </p:nvSpPr>
        <p:spPr>
          <a:xfrm>
            <a:off x="2813514" y="4450305"/>
            <a:ext cx="1850671"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Frutiger Next Pro Light"/>
              </a:rPr>
              <a:t>shoppers</a:t>
            </a:r>
            <a:r>
              <a:rPr kumimoji="0" lang="en-US" sz="1100" b="1" i="0" u="none" strike="noStrike" kern="1200" cap="none" spc="0" normalizeH="0" baseline="0" noProof="0" dirty="0">
                <a:ln>
                  <a:noFill/>
                </a:ln>
                <a:solidFill>
                  <a:srgbClr val="000000"/>
                </a:solidFill>
                <a:effectLst/>
                <a:uLnTx/>
                <a:uFillTx/>
                <a:latin typeface="Open Sans"/>
                <a:ea typeface="+mn-ea"/>
                <a:cs typeface="Frutiger Next Pro Light"/>
              </a:rPr>
              <a:t> use retailer websites</a:t>
            </a:r>
            <a:endParaRPr kumimoji="0" lang="en-US" sz="1100" b="0" i="0" u="none" strike="noStrike" kern="1200" cap="none" spc="0" normalizeH="0" baseline="0" noProof="0" dirty="0">
              <a:ln>
                <a:noFill/>
              </a:ln>
              <a:solidFill>
                <a:srgbClr val="000000"/>
              </a:solidFill>
              <a:effectLst/>
              <a:uLnTx/>
              <a:uFillTx/>
              <a:latin typeface="Open Sans"/>
              <a:ea typeface="+mn-ea"/>
              <a:cs typeface="Frutiger Next Pro Light"/>
            </a:endParaRPr>
          </a:p>
        </p:txBody>
      </p:sp>
    </p:spTree>
    <p:extLst>
      <p:ext uri="{BB962C8B-B14F-4D97-AF65-F5344CB8AC3E}">
        <p14:creationId xmlns:p14="http://schemas.microsoft.com/office/powerpoint/2010/main" val="686426558"/>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Object 45" hidden="1">
            <a:extLst>
              <a:ext uri="{FF2B5EF4-FFF2-40B4-BE49-F238E27FC236}">
                <a16:creationId xmlns:a16="http://schemas.microsoft.com/office/drawing/2014/main" id="{6C7741CA-EB94-49FC-A532-904048F17A5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724" name="think-cell Slide" r:id="rId6" imgW="415" imgH="416" progId="TCLayout.ActiveDocument.1">
                  <p:embed/>
                </p:oleObj>
              </mc:Choice>
              <mc:Fallback>
                <p:oleObj name="think-cell Slide" r:id="rId6" imgW="415" imgH="416" progId="TCLayout.ActiveDocument.1">
                  <p:embed/>
                  <p:pic>
                    <p:nvPicPr>
                      <p:cNvPr id="46" name="Object 45" hidden="1">
                        <a:extLst>
                          <a:ext uri="{FF2B5EF4-FFF2-40B4-BE49-F238E27FC236}">
                            <a16:creationId xmlns:a16="http://schemas.microsoft.com/office/drawing/2014/main" id="{6C7741CA-EB94-49FC-A532-904048F17A5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5" name="Rectangle 44" hidden="1">
            <a:extLst>
              <a:ext uri="{FF2B5EF4-FFF2-40B4-BE49-F238E27FC236}">
                <a16:creationId xmlns:a16="http://schemas.microsoft.com/office/drawing/2014/main" id="{E38AFA0D-0C00-4407-A0BE-E7197AD9522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ea typeface="Verdana" panose="020B0604030504040204" pitchFamily="34" charset="0"/>
              <a:cs typeface="Verdana" panose="020B0604030504040204" pitchFamily="34" charset="0"/>
              <a:sym typeface="Chronicle Display Black" pitchFamily="50" charset="0"/>
            </a:endParaRPr>
          </a:p>
        </p:txBody>
      </p:sp>
      <p:sp>
        <p:nvSpPr>
          <p:cNvPr id="2" name="Title 1">
            <a:extLst>
              <a:ext uri="{FF2B5EF4-FFF2-40B4-BE49-F238E27FC236}">
                <a16:creationId xmlns:a16="http://schemas.microsoft.com/office/drawing/2014/main" id="{54A25788-BB4E-4F87-92B1-65DA9A02F7F6}"/>
              </a:ext>
            </a:extLst>
          </p:cNvPr>
          <p:cNvSpPr>
            <a:spLocks noGrp="1"/>
          </p:cNvSpPr>
          <p:nvPr>
            <p:ph type="title"/>
          </p:nvPr>
        </p:nvSpPr>
        <p:spPr/>
        <p:txBody>
          <a:bodyPr/>
          <a:lstStyle/>
          <a:p>
            <a:r>
              <a:rPr lang="en-US" dirty="0">
                <a:ea typeface="Verdana" panose="020B0604030504040204" pitchFamily="34" charset="0"/>
                <a:cs typeface="Verdana" panose="020B0604030504040204" pitchFamily="34" charset="0"/>
              </a:rPr>
              <a:t>Market overview</a:t>
            </a:r>
            <a:endParaRPr lang="en-US" dirty="0"/>
          </a:p>
        </p:txBody>
      </p:sp>
      <p:sp>
        <p:nvSpPr>
          <p:cNvPr id="3" name="Text Placeholder 2">
            <a:extLst>
              <a:ext uri="{FF2B5EF4-FFF2-40B4-BE49-F238E27FC236}">
                <a16:creationId xmlns:a16="http://schemas.microsoft.com/office/drawing/2014/main" id="{D10C230C-92C7-4D3D-BA13-95F32AC6D8D8}"/>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839BB2E5-D916-43B8-8487-9F68F4802793}"/>
              </a:ext>
            </a:extLst>
          </p:cNvPr>
          <p:cNvSpPr>
            <a:spLocks noGrp="1"/>
          </p:cNvSpPr>
          <p:nvPr>
            <p:ph type="body" sz="quarter" idx="15"/>
          </p:nvPr>
        </p:nvSpPr>
        <p:spPr>
          <a:xfrm>
            <a:off x="914970" y="466344"/>
            <a:ext cx="4561597" cy="228600"/>
          </a:xfrm>
        </p:spPr>
        <p:txBody>
          <a:bodyPr/>
          <a:lstStyle/>
          <a:p>
            <a:r>
              <a:rPr lang="en-US" dirty="0"/>
              <a:t>Data Visualization &amp; Infographics</a:t>
            </a:r>
          </a:p>
        </p:txBody>
      </p:sp>
      <p:graphicFrame>
        <p:nvGraphicFramePr>
          <p:cNvPr id="50" name="Chart 49">
            <a:extLst>
              <a:ext uri="{FF2B5EF4-FFF2-40B4-BE49-F238E27FC236}">
                <a16:creationId xmlns:a16="http://schemas.microsoft.com/office/drawing/2014/main" id="{F10B4722-67E5-44C5-AB3F-218D7C309672}"/>
              </a:ext>
            </a:extLst>
          </p:cNvPr>
          <p:cNvGraphicFramePr/>
          <p:nvPr/>
        </p:nvGraphicFramePr>
        <p:xfrm>
          <a:off x="6407793" y="2030345"/>
          <a:ext cx="5116832" cy="2119806"/>
        </p:xfrm>
        <a:graphic>
          <a:graphicData uri="http://schemas.openxmlformats.org/drawingml/2006/chart">
            <c:chart xmlns:c="http://schemas.openxmlformats.org/drawingml/2006/chart" xmlns:r="http://schemas.openxmlformats.org/officeDocument/2006/relationships" r:id="rId8"/>
          </a:graphicData>
        </a:graphic>
      </p:graphicFrame>
      <p:sp>
        <p:nvSpPr>
          <p:cNvPr id="51" name="TextBox 50">
            <a:extLst>
              <a:ext uri="{FF2B5EF4-FFF2-40B4-BE49-F238E27FC236}">
                <a16:creationId xmlns:a16="http://schemas.microsoft.com/office/drawing/2014/main" id="{87DFB0DF-E57E-4430-B4F1-A7A83E6210B8}"/>
              </a:ext>
            </a:extLst>
          </p:cNvPr>
          <p:cNvSpPr txBox="1"/>
          <p:nvPr/>
        </p:nvSpPr>
        <p:spPr>
          <a:xfrm>
            <a:off x="6407793" y="1593130"/>
            <a:ext cx="51168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Patents are being awarded at an accelerating rate</a:t>
            </a:r>
          </a:p>
        </p:txBody>
      </p:sp>
      <p:pic>
        <p:nvPicPr>
          <p:cNvPr id="49" name="Picture 48">
            <a:extLst>
              <a:ext uri="{FF2B5EF4-FFF2-40B4-BE49-F238E27FC236}">
                <a16:creationId xmlns:a16="http://schemas.microsoft.com/office/drawing/2014/main" id="{F2A86EAF-9CFA-4393-A134-9E9660B60372}"/>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0" b="92982" l="0" r="100000">
                        <a14:foregroundMark x1="71429" y1="54386" x2="47253" y2="71930"/>
                        <a14:foregroundMark x1="59341" y1="43860" x2="59341" y2="43860"/>
                        <a14:foregroundMark x1="71429" y1="42105" x2="43956" y2="42105"/>
                      </a14:backgroundRemoval>
                    </a14:imgEffect>
                  </a14:imgLayer>
                </a14:imgProps>
              </a:ext>
              <a:ext uri="{28A0092B-C50C-407E-A947-70E740481C1C}">
                <a14:useLocalDpi xmlns:a14="http://schemas.microsoft.com/office/drawing/2010/main" val="0"/>
              </a:ext>
            </a:extLst>
          </a:blip>
          <a:srcRect/>
          <a:stretch/>
        </p:blipFill>
        <p:spPr>
          <a:xfrm rot="21314853">
            <a:off x="10105645" y="2269185"/>
            <a:ext cx="596349" cy="402410"/>
          </a:xfrm>
          <a:prstGeom prst="rect">
            <a:avLst/>
          </a:prstGeom>
        </p:spPr>
      </p:pic>
      <p:sp>
        <p:nvSpPr>
          <p:cNvPr id="52" name="TextBox 51">
            <a:extLst>
              <a:ext uri="{FF2B5EF4-FFF2-40B4-BE49-F238E27FC236}">
                <a16:creationId xmlns:a16="http://schemas.microsoft.com/office/drawing/2014/main" id="{13EA4FF5-0F0B-4586-AD2B-67ACD9254009}"/>
              </a:ext>
            </a:extLst>
          </p:cNvPr>
          <p:cNvSpPr txBox="1"/>
          <p:nvPr/>
        </p:nvSpPr>
        <p:spPr>
          <a:xfrm>
            <a:off x="1104361" y="4197157"/>
            <a:ext cx="507424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ea typeface="Open Sans" panose="020B0606030504020204" pitchFamily="34" charset="0"/>
                <a:cs typeface="Open Sans" panose="020B0606030504020204" pitchFamily="34" charset="0"/>
              </a:rPr>
              <a:t>IN THE MARKET TODAY</a:t>
            </a:r>
          </a:p>
        </p:txBody>
      </p:sp>
      <p:grpSp>
        <p:nvGrpSpPr>
          <p:cNvPr id="84" name="Group 83">
            <a:extLst>
              <a:ext uri="{FF2B5EF4-FFF2-40B4-BE49-F238E27FC236}">
                <a16:creationId xmlns:a16="http://schemas.microsoft.com/office/drawing/2014/main" id="{44297296-E4EF-42F6-9064-F0E6D8D3BA00}"/>
              </a:ext>
            </a:extLst>
          </p:cNvPr>
          <p:cNvGrpSpPr/>
          <p:nvPr/>
        </p:nvGrpSpPr>
        <p:grpSpPr>
          <a:xfrm>
            <a:off x="914400" y="4902147"/>
            <a:ext cx="3416531" cy="1474315"/>
            <a:chOff x="728759" y="4634149"/>
            <a:chExt cx="3416531" cy="1474315"/>
          </a:xfrm>
        </p:grpSpPr>
        <p:sp>
          <p:nvSpPr>
            <p:cNvPr id="54" name="TextBox 53">
              <a:extLst>
                <a:ext uri="{FF2B5EF4-FFF2-40B4-BE49-F238E27FC236}">
                  <a16:creationId xmlns:a16="http://schemas.microsoft.com/office/drawing/2014/main" id="{0054C937-EDFA-4112-806C-E9E699E21963}"/>
                </a:ext>
              </a:extLst>
            </p:cNvPr>
            <p:cNvSpPr txBox="1"/>
            <p:nvPr/>
          </p:nvSpPr>
          <p:spPr>
            <a:xfrm>
              <a:off x="838248" y="4634149"/>
              <a:ext cx="307799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1"/>
                  </a:solidFill>
                  <a:effectLst/>
                  <a:uLnTx/>
                  <a:uFillTx/>
                  <a:ea typeface="Open Sans" panose="020B0606030504020204" pitchFamily="34" charset="0"/>
                  <a:cs typeface="Open Sans" panose="020B0606030504020204" pitchFamily="34" charset="0"/>
                </a:rPr>
                <a:t>AM is being used to solve some of the hardest problems</a:t>
              </a:r>
            </a:p>
          </p:txBody>
        </p:sp>
        <p:grpSp>
          <p:nvGrpSpPr>
            <p:cNvPr id="80" name="Group 79">
              <a:extLst>
                <a:ext uri="{FF2B5EF4-FFF2-40B4-BE49-F238E27FC236}">
                  <a16:creationId xmlns:a16="http://schemas.microsoft.com/office/drawing/2014/main" id="{B92740C6-FBE1-4A3E-9C40-90A25670C749}"/>
                </a:ext>
              </a:extLst>
            </p:cNvPr>
            <p:cNvGrpSpPr/>
            <p:nvPr/>
          </p:nvGrpSpPr>
          <p:grpSpPr>
            <a:xfrm>
              <a:off x="728759" y="5336298"/>
              <a:ext cx="3416531" cy="772166"/>
              <a:chOff x="728759" y="5336298"/>
              <a:chExt cx="3416531" cy="772166"/>
            </a:xfrm>
          </p:grpSpPr>
          <p:pic>
            <p:nvPicPr>
              <p:cNvPr id="56" name="Picture 2" descr="BMW 507 race car">
                <a:extLst>
                  <a:ext uri="{FF2B5EF4-FFF2-40B4-BE49-F238E27FC236}">
                    <a16:creationId xmlns:a16="http://schemas.microsoft.com/office/drawing/2014/main" id="{2ACB7179-48CB-462A-B55B-B14B0E550357}"/>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28759" y="5395129"/>
                <a:ext cx="1268152" cy="713335"/>
              </a:xfrm>
              <a:prstGeom prst="rect">
                <a:avLst/>
              </a:prstGeom>
              <a:noFill/>
              <a:extLst>
                <a:ext uri="{909E8E84-426E-40DD-AFC4-6F175D3DCCD1}">
                  <a14:hiddenFill xmlns:a14="http://schemas.microsoft.com/office/drawing/2010/main">
                    <a:solidFill>
                      <a:srgbClr val="FFFFFF"/>
                    </a:solidFill>
                  </a14:hiddenFill>
                </a:ext>
              </a:extLst>
            </p:spPr>
          </p:pic>
          <p:sp>
            <p:nvSpPr>
              <p:cNvPr id="57" name="TextBox 56">
                <a:extLst>
                  <a:ext uri="{FF2B5EF4-FFF2-40B4-BE49-F238E27FC236}">
                    <a16:creationId xmlns:a16="http://schemas.microsoft.com/office/drawing/2014/main" id="{912D1FA4-3EEB-41A3-937E-806BB4A0ECFE}"/>
                  </a:ext>
                </a:extLst>
              </p:cNvPr>
              <p:cNvSpPr txBox="1"/>
              <p:nvPr/>
            </p:nvSpPr>
            <p:spPr>
              <a:xfrm>
                <a:off x="2006346" y="5336298"/>
                <a:ext cx="2138944"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In 2017, BMW repaired Elvis Presley’s BMW 507 using 3D printing since most of the parts were obsolete.</a:t>
                </a:r>
              </a:p>
            </p:txBody>
          </p:sp>
        </p:grpSp>
      </p:grpSp>
      <p:graphicFrame>
        <p:nvGraphicFramePr>
          <p:cNvPr id="62" name="Chart 61">
            <a:extLst>
              <a:ext uri="{FF2B5EF4-FFF2-40B4-BE49-F238E27FC236}">
                <a16:creationId xmlns:a16="http://schemas.microsoft.com/office/drawing/2014/main" id="{9F216EA3-402F-41FC-9991-1EECA9748906}"/>
              </a:ext>
            </a:extLst>
          </p:cNvPr>
          <p:cNvGraphicFramePr/>
          <p:nvPr/>
        </p:nvGraphicFramePr>
        <p:xfrm>
          <a:off x="914400" y="2047349"/>
          <a:ext cx="5116832" cy="2119806"/>
        </p:xfrm>
        <a:graphic>
          <a:graphicData uri="http://schemas.openxmlformats.org/drawingml/2006/chart">
            <c:chart xmlns:c="http://schemas.openxmlformats.org/drawingml/2006/chart" xmlns:r="http://schemas.openxmlformats.org/officeDocument/2006/relationships" r:id="rId12"/>
          </a:graphicData>
        </a:graphic>
      </p:graphicFrame>
      <p:sp>
        <p:nvSpPr>
          <p:cNvPr id="63" name="TextBox 62">
            <a:extLst>
              <a:ext uri="{FF2B5EF4-FFF2-40B4-BE49-F238E27FC236}">
                <a16:creationId xmlns:a16="http://schemas.microsoft.com/office/drawing/2014/main" id="{944AF5D7-D1E3-43B1-89FC-D6389A76E304}"/>
              </a:ext>
            </a:extLst>
          </p:cNvPr>
          <p:cNvSpPr txBox="1"/>
          <p:nvPr/>
        </p:nvSpPr>
        <p:spPr>
          <a:xfrm>
            <a:off x="914400" y="1593130"/>
            <a:ext cx="51168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Revenue worldwide is expected to exceed $20B by 2022</a:t>
            </a:r>
          </a:p>
        </p:txBody>
      </p:sp>
      <p:grpSp>
        <p:nvGrpSpPr>
          <p:cNvPr id="85" name="Group 84">
            <a:extLst>
              <a:ext uri="{FF2B5EF4-FFF2-40B4-BE49-F238E27FC236}">
                <a16:creationId xmlns:a16="http://schemas.microsoft.com/office/drawing/2014/main" id="{5DC846AB-AB4D-4524-9551-B0B2E0F51BBD}"/>
              </a:ext>
            </a:extLst>
          </p:cNvPr>
          <p:cNvGrpSpPr/>
          <p:nvPr/>
        </p:nvGrpSpPr>
        <p:grpSpPr>
          <a:xfrm>
            <a:off x="4859034" y="4902147"/>
            <a:ext cx="3077992" cy="1537227"/>
            <a:chOff x="4706434" y="4634149"/>
            <a:chExt cx="3077992" cy="1537227"/>
          </a:xfrm>
        </p:grpSpPr>
        <p:sp>
          <p:nvSpPr>
            <p:cNvPr id="65" name="TextBox 64">
              <a:extLst>
                <a:ext uri="{FF2B5EF4-FFF2-40B4-BE49-F238E27FC236}">
                  <a16:creationId xmlns:a16="http://schemas.microsoft.com/office/drawing/2014/main" id="{6B71EDE3-E985-4D5D-A75C-3F16D00C9143}"/>
                </a:ext>
              </a:extLst>
            </p:cNvPr>
            <p:cNvSpPr txBox="1"/>
            <p:nvPr/>
          </p:nvSpPr>
          <p:spPr>
            <a:xfrm>
              <a:off x="4706434" y="4634149"/>
              <a:ext cx="307799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1"/>
                  </a:solidFill>
                  <a:effectLst/>
                  <a:uLnTx/>
                  <a:uFillTx/>
                  <a:ea typeface="Open Sans" panose="020B0606030504020204" pitchFamily="34" charset="0"/>
                  <a:cs typeface="Open Sans" panose="020B0606030504020204" pitchFamily="34" charset="0"/>
                </a:rPr>
                <a:t>AM is more commonplace than you may even realize</a:t>
              </a:r>
            </a:p>
          </p:txBody>
        </p:sp>
        <p:grpSp>
          <p:nvGrpSpPr>
            <p:cNvPr id="81" name="Group 80">
              <a:extLst>
                <a:ext uri="{FF2B5EF4-FFF2-40B4-BE49-F238E27FC236}">
                  <a16:creationId xmlns:a16="http://schemas.microsoft.com/office/drawing/2014/main" id="{2B23F1B3-42F0-4C9F-983E-084B0B4E4D9F}"/>
                </a:ext>
              </a:extLst>
            </p:cNvPr>
            <p:cNvGrpSpPr/>
            <p:nvPr/>
          </p:nvGrpSpPr>
          <p:grpSpPr>
            <a:xfrm>
              <a:off x="4728646" y="5243965"/>
              <a:ext cx="3033569" cy="927411"/>
              <a:chOff x="4728646" y="5243965"/>
              <a:chExt cx="3033569" cy="927411"/>
            </a:xfrm>
          </p:grpSpPr>
          <p:sp>
            <p:nvSpPr>
              <p:cNvPr id="67" name="TextBox 66">
                <a:extLst>
                  <a:ext uri="{FF2B5EF4-FFF2-40B4-BE49-F238E27FC236}">
                    <a16:creationId xmlns:a16="http://schemas.microsoft.com/office/drawing/2014/main" id="{E5A722EF-3155-4D04-8394-68099136B311}"/>
                  </a:ext>
                </a:extLst>
              </p:cNvPr>
              <p:cNvSpPr txBox="1"/>
              <p:nvPr/>
            </p:nvSpPr>
            <p:spPr>
              <a:xfrm>
                <a:off x="5742831" y="5243965"/>
                <a:ext cx="2019384"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The last flight you took was likely was kept in the air with a GE (or Rolls-Royce) engine equipped with certified 3D printed components.</a:t>
                </a:r>
              </a:p>
            </p:txBody>
          </p:sp>
          <p:pic>
            <p:nvPicPr>
              <p:cNvPr id="68" name="Picture 4" descr="Image result for ge aviation engines">
                <a:extLst>
                  <a:ext uri="{FF2B5EF4-FFF2-40B4-BE49-F238E27FC236}">
                    <a16:creationId xmlns:a16="http://schemas.microsoft.com/office/drawing/2014/main" id="{961C6D12-CA2B-4D42-BDC9-1F3775782DFA}"/>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728646" y="5332216"/>
                <a:ext cx="1014185" cy="839160"/>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86" name="Group 85">
            <a:extLst>
              <a:ext uri="{FF2B5EF4-FFF2-40B4-BE49-F238E27FC236}">
                <a16:creationId xmlns:a16="http://schemas.microsoft.com/office/drawing/2014/main" id="{4835B00C-A98E-4268-9686-E2F50E53381D}"/>
              </a:ext>
            </a:extLst>
          </p:cNvPr>
          <p:cNvGrpSpPr/>
          <p:nvPr/>
        </p:nvGrpSpPr>
        <p:grpSpPr>
          <a:xfrm>
            <a:off x="8465129" y="4902147"/>
            <a:ext cx="3077992" cy="1572395"/>
            <a:chOff x="8465129" y="4634149"/>
            <a:chExt cx="3077992" cy="1572395"/>
          </a:xfrm>
        </p:grpSpPr>
        <p:sp>
          <p:nvSpPr>
            <p:cNvPr id="70" name="TextBox 69">
              <a:extLst>
                <a:ext uri="{FF2B5EF4-FFF2-40B4-BE49-F238E27FC236}">
                  <a16:creationId xmlns:a16="http://schemas.microsoft.com/office/drawing/2014/main" id="{7E22D7DA-CBC9-4F9A-AE24-64B30F315071}"/>
                </a:ext>
              </a:extLst>
            </p:cNvPr>
            <p:cNvSpPr txBox="1"/>
            <p:nvPr/>
          </p:nvSpPr>
          <p:spPr>
            <a:xfrm>
              <a:off x="8465129" y="4634149"/>
              <a:ext cx="307799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1"/>
                  </a:solidFill>
                  <a:effectLst/>
                  <a:uLnTx/>
                  <a:uFillTx/>
                  <a:ea typeface="Open Sans" panose="020B0606030504020204" pitchFamily="34" charset="0"/>
                  <a:cs typeface="Open Sans" panose="020B0606030504020204" pitchFamily="34" charset="0"/>
                </a:rPr>
                <a:t>AM is flipping entire industries and creating new ones</a:t>
              </a:r>
            </a:p>
          </p:txBody>
        </p:sp>
        <p:grpSp>
          <p:nvGrpSpPr>
            <p:cNvPr id="82" name="Group 81">
              <a:extLst>
                <a:ext uri="{FF2B5EF4-FFF2-40B4-BE49-F238E27FC236}">
                  <a16:creationId xmlns:a16="http://schemas.microsoft.com/office/drawing/2014/main" id="{2659127C-C8F4-4FAA-9668-3504BC83F533}"/>
                </a:ext>
              </a:extLst>
            </p:cNvPr>
            <p:cNvGrpSpPr/>
            <p:nvPr/>
          </p:nvGrpSpPr>
          <p:grpSpPr>
            <a:xfrm>
              <a:off x="8585036" y="5243965"/>
              <a:ext cx="2939589" cy="962579"/>
              <a:chOff x="8585036" y="5243965"/>
              <a:chExt cx="2939589" cy="962579"/>
            </a:xfrm>
          </p:grpSpPr>
          <p:grpSp>
            <p:nvGrpSpPr>
              <p:cNvPr id="72" name="Group 71">
                <a:extLst>
                  <a:ext uri="{FF2B5EF4-FFF2-40B4-BE49-F238E27FC236}">
                    <a16:creationId xmlns:a16="http://schemas.microsoft.com/office/drawing/2014/main" id="{125E78C0-D714-418C-893C-5E107F9ACC99}"/>
                  </a:ext>
                </a:extLst>
              </p:cNvPr>
              <p:cNvGrpSpPr/>
              <p:nvPr/>
            </p:nvGrpSpPr>
            <p:grpSpPr>
              <a:xfrm>
                <a:off x="8585036" y="5297049"/>
                <a:ext cx="818795" cy="909495"/>
                <a:chOff x="6650692" y="4345285"/>
                <a:chExt cx="1450546" cy="1772349"/>
              </a:xfrm>
            </p:grpSpPr>
            <p:pic>
              <p:nvPicPr>
                <p:cNvPr id="74" name="Picture 8" descr="Image result for 3d printed hearing aid">
                  <a:extLst>
                    <a:ext uri="{FF2B5EF4-FFF2-40B4-BE49-F238E27FC236}">
                      <a16:creationId xmlns:a16="http://schemas.microsoft.com/office/drawing/2014/main" id="{905936A1-9887-4888-AA12-9D48AB00D81E}"/>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650692" y="4345285"/>
                  <a:ext cx="1450546" cy="1039559"/>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6" descr="Image result for 3d printed invisalign">
                  <a:extLst>
                    <a:ext uri="{FF2B5EF4-FFF2-40B4-BE49-F238E27FC236}">
                      <a16:creationId xmlns:a16="http://schemas.microsoft.com/office/drawing/2014/main" id="{4A8FE926-1E5C-41C8-850D-52C87F265DD7}"/>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650692" y="5301458"/>
                  <a:ext cx="1450546" cy="816176"/>
                </a:xfrm>
                <a:prstGeom prst="rect">
                  <a:avLst/>
                </a:prstGeom>
                <a:noFill/>
                <a:extLst>
                  <a:ext uri="{909E8E84-426E-40DD-AFC4-6F175D3DCCD1}">
                    <a14:hiddenFill xmlns:a14="http://schemas.microsoft.com/office/drawing/2010/main">
                      <a:solidFill>
                        <a:srgbClr val="FFFFFF"/>
                      </a:solidFill>
                    </a14:hiddenFill>
                  </a:ext>
                </a:extLst>
              </p:spPr>
            </p:pic>
          </p:grpSp>
          <p:sp>
            <p:nvSpPr>
              <p:cNvPr id="73" name="TextBox 72">
                <a:extLst>
                  <a:ext uri="{FF2B5EF4-FFF2-40B4-BE49-F238E27FC236}">
                    <a16:creationId xmlns:a16="http://schemas.microsoft.com/office/drawing/2014/main" id="{E3146DC2-278A-43F3-A552-699EEBEE7A8A}"/>
                  </a:ext>
                </a:extLst>
              </p:cNvPr>
              <p:cNvSpPr txBox="1"/>
              <p:nvPr/>
            </p:nvSpPr>
            <p:spPr>
              <a:xfrm>
                <a:off x="9403830" y="5243965"/>
                <a:ext cx="2120795"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3D printing has enabled entirely patient customized devices such as hearing aids and </a:t>
                </a:r>
                <a:r>
                  <a:rPr kumimoji="0" lang="en-US" sz="1000" b="0" i="0" u="none" strike="noStrike" kern="1200" cap="none" spc="0" normalizeH="0" baseline="0" noProof="0" dirty="0" err="1">
                    <a:ln>
                      <a:noFill/>
                    </a:ln>
                    <a:solidFill>
                      <a:srgbClr val="000000"/>
                    </a:solidFill>
                    <a:effectLst/>
                    <a:uLnTx/>
                    <a:uFillTx/>
                    <a:ea typeface="+mn-ea"/>
                    <a:cs typeface="+mn-cs"/>
                  </a:rPr>
                  <a:t>Invisalign</a:t>
                </a:r>
                <a:r>
                  <a:rPr kumimoji="0" lang="en-US" sz="1000" b="0" i="0" u="none" strike="noStrike" kern="1200" cap="none" spc="0" normalizeH="0" baseline="0" noProof="0" dirty="0">
                    <a:ln>
                      <a:noFill/>
                    </a:ln>
                    <a:solidFill>
                      <a:srgbClr val="000000"/>
                    </a:solidFill>
                    <a:effectLst/>
                    <a:uLnTx/>
                    <a:uFillTx/>
                    <a:ea typeface="+mn-ea"/>
                    <a:cs typeface="+mn-cs"/>
                  </a:rPr>
                  <a:t> braces to guarantee fit and comfort.</a:t>
                </a:r>
              </a:p>
            </p:txBody>
          </p:sp>
        </p:grpSp>
      </p:grpSp>
      <p:grpSp>
        <p:nvGrpSpPr>
          <p:cNvPr id="83" name="Group 82">
            <a:extLst>
              <a:ext uri="{FF2B5EF4-FFF2-40B4-BE49-F238E27FC236}">
                <a16:creationId xmlns:a16="http://schemas.microsoft.com/office/drawing/2014/main" id="{F393EC67-D810-46F6-BC92-F9C3E7B233DA}"/>
              </a:ext>
            </a:extLst>
          </p:cNvPr>
          <p:cNvGrpSpPr/>
          <p:nvPr/>
        </p:nvGrpSpPr>
        <p:grpSpPr>
          <a:xfrm>
            <a:off x="1104361" y="4489045"/>
            <a:ext cx="10420264" cy="343745"/>
            <a:chOff x="678194" y="4221047"/>
            <a:chExt cx="10420264" cy="343745"/>
          </a:xfrm>
        </p:grpSpPr>
        <p:grpSp>
          <p:nvGrpSpPr>
            <p:cNvPr id="58" name="Group 57">
              <a:extLst>
                <a:ext uri="{FF2B5EF4-FFF2-40B4-BE49-F238E27FC236}">
                  <a16:creationId xmlns:a16="http://schemas.microsoft.com/office/drawing/2014/main" id="{2206D3FB-1388-4C7C-B23A-78209405BC62}"/>
                </a:ext>
              </a:extLst>
            </p:cNvPr>
            <p:cNvGrpSpPr/>
            <p:nvPr/>
          </p:nvGrpSpPr>
          <p:grpSpPr>
            <a:xfrm>
              <a:off x="683198" y="4221047"/>
              <a:ext cx="10415260" cy="343745"/>
              <a:chOff x="682975" y="4063735"/>
              <a:chExt cx="10415260" cy="343745"/>
            </a:xfrm>
            <a:solidFill>
              <a:schemeClr val="accent1"/>
            </a:solidFill>
          </p:grpSpPr>
          <p:sp>
            <p:nvSpPr>
              <p:cNvPr id="59" name="Isosceles Triangle 58">
                <a:extLst>
                  <a:ext uri="{FF2B5EF4-FFF2-40B4-BE49-F238E27FC236}">
                    <a16:creationId xmlns:a16="http://schemas.microsoft.com/office/drawing/2014/main" id="{31A4A873-D5C1-4B8D-9A63-4004FE7BB4DE}"/>
                  </a:ext>
                </a:extLst>
              </p:cNvPr>
              <p:cNvSpPr/>
              <p:nvPr/>
            </p:nvSpPr>
            <p:spPr>
              <a:xfrm rot="5400000">
                <a:off x="618239" y="4128471"/>
                <a:ext cx="343745" cy="214273"/>
              </a:xfrm>
              <a:prstGeom prst="triangle">
                <a:avLst/>
              </a:prstGeom>
              <a:grpFill/>
              <a:ln w="12700" cap="flat" cmpd="sng" algn="ctr">
                <a:solidFill>
                  <a:schemeClr val="accent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a typeface="+mn-ea"/>
                  <a:cs typeface="+mn-cs"/>
                </a:endParaRPr>
              </a:p>
            </p:txBody>
          </p:sp>
          <p:cxnSp>
            <p:nvCxnSpPr>
              <p:cNvPr id="60" name="Straight Connector 59">
                <a:extLst>
                  <a:ext uri="{FF2B5EF4-FFF2-40B4-BE49-F238E27FC236}">
                    <a16:creationId xmlns:a16="http://schemas.microsoft.com/office/drawing/2014/main" id="{2F10387F-BF52-4C20-AD09-B44D248928A7}"/>
                  </a:ext>
                </a:extLst>
              </p:cNvPr>
              <p:cNvCxnSpPr/>
              <p:nvPr/>
            </p:nvCxnSpPr>
            <p:spPr>
              <a:xfrm>
                <a:off x="682975" y="4230787"/>
                <a:ext cx="10415260" cy="0"/>
              </a:xfrm>
              <a:prstGeom prst="line">
                <a:avLst/>
              </a:prstGeom>
              <a:grpFill/>
              <a:ln w="28575" cap="flat" cmpd="sng" algn="ctr">
                <a:solidFill>
                  <a:schemeClr val="accent1"/>
                </a:solidFill>
                <a:prstDash val="solid"/>
                <a:miter lim="800000"/>
              </a:ln>
              <a:effectLst/>
            </p:spPr>
          </p:cxnSp>
        </p:grpSp>
        <p:sp>
          <p:nvSpPr>
            <p:cNvPr id="76" name="Isosceles Triangle 75">
              <a:extLst>
                <a:ext uri="{FF2B5EF4-FFF2-40B4-BE49-F238E27FC236}">
                  <a16:creationId xmlns:a16="http://schemas.microsoft.com/office/drawing/2014/main" id="{7EA62430-0A60-427B-9925-4D08121E438F}"/>
                </a:ext>
              </a:extLst>
            </p:cNvPr>
            <p:cNvSpPr/>
            <p:nvPr/>
          </p:nvSpPr>
          <p:spPr>
            <a:xfrm rot="5400000">
              <a:off x="639943" y="4324005"/>
              <a:ext cx="208095" cy="13159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ea typeface="+mn-ea"/>
                <a:cs typeface="+mn-cs"/>
              </a:endParaRPr>
            </a:p>
          </p:txBody>
        </p:sp>
      </p:grpSp>
    </p:spTree>
    <p:extLst>
      <p:ext uri="{BB962C8B-B14F-4D97-AF65-F5344CB8AC3E}">
        <p14:creationId xmlns:p14="http://schemas.microsoft.com/office/powerpoint/2010/main" val="4260832043"/>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FEF450-C040-4C8D-8820-088F457B5105}"/>
              </a:ext>
            </a:extLst>
          </p:cNvPr>
          <p:cNvSpPr>
            <a:spLocks noGrp="1"/>
          </p:cNvSpPr>
          <p:nvPr>
            <p:ph type="body" sz="quarter" idx="10"/>
          </p:nvPr>
        </p:nvSpPr>
        <p:spPr>
          <a:xfrm>
            <a:off x="952500" y="1206500"/>
            <a:ext cx="6287286" cy="2257425"/>
          </a:xfrm>
        </p:spPr>
        <p:txBody>
          <a:bodyPr/>
          <a:lstStyle/>
          <a:p>
            <a:r>
              <a:rPr lang="en-US" dirty="0">
                <a:solidFill>
                  <a:srgbClr val="000000"/>
                </a:solidFill>
              </a:rPr>
              <a:t>Tables</a:t>
            </a:r>
            <a:endParaRPr lang="en-US" sz="1200" spc="300" dirty="0">
              <a:solidFill>
                <a:srgbClr val="000000"/>
              </a:solidFill>
              <a:latin typeface="Open Sans"/>
            </a:endParaRPr>
          </a:p>
          <a:p>
            <a:endParaRPr lang="en-US" dirty="0"/>
          </a:p>
        </p:txBody>
      </p:sp>
      <p:grpSp>
        <p:nvGrpSpPr>
          <p:cNvPr id="3" name="Group 2">
            <a:extLst>
              <a:ext uri="{FF2B5EF4-FFF2-40B4-BE49-F238E27FC236}">
                <a16:creationId xmlns:a16="http://schemas.microsoft.com/office/drawing/2014/main" id="{6F768B69-235F-4C59-BD74-DA12580A23A3}"/>
              </a:ext>
            </a:extLst>
          </p:cNvPr>
          <p:cNvGrpSpPr/>
          <p:nvPr/>
        </p:nvGrpSpPr>
        <p:grpSpPr>
          <a:xfrm>
            <a:off x="2277508" y="6274108"/>
            <a:ext cx="7636984" cy="501266"/>
            <a:chOff x="2277508" y="6274107"/>
            <a:chExt cx="7636984" cy="583893"/>
          </a:xfrm>
        </p:grpSpPr>
        <p:sp>
          <p:nvSpPr>
            <p:cNvPr id="4" name="Text Placeholder 1">
              <a:extLst>
                <a:ext uri="{FF2B5EF4-FFF2-40B4-BE49-F238E27FC236}">
                  <a16:creationId xmlns:a16="http://schemas.microsoft.com/office/drawing/2014/main" id="{E0A7FD33-3EE0-444F-ADB6-7D450609A6BD}"/>
                </a:ext>
              </a:extLst>
            </p:cNvPr>
            <p:cNvSpPr txBox="1">
              <a:spLocks/>
            </p:cNvSpPr>
            <p:nvPr/>
          </p:nvSpPr>
          <p:spPr>
            <a:xfrm>
              <a:off x="2277508" y="6274107"/>
              <a:ext cx="7636984" cy="583893"/>
            </a:xfrm>
            <a:prstGeom prst="rect">
              <a:avLst/>
            </a:prstGeom>
          </p:spPr>
          <p:txBody>
            <a:bodyPr vert="horz"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800" dirty="0">
                  <a:solidFill>
                    <a:srgbClr val="000000"/>
                  </a:solidFill>
                  <a:latin typeface="+mn-lt"/>
                </a:rPr>
                <a:t>Click Here to Return to the Table of Contents</a:t>
              </a:r>
              <a:endParaRPr lang="en-US" sz="2800" dirty="0">
                <a:latin typeface="+mn-lt"/>
              </a:endParaRPr>
            </a:p>
          </p:txBody>
        </p:sp>
        <p:sp>
          <p:nvSpPr>
            <p:cNvPr id="5" name="Rectangle 4">
              <a:hlinkClick r:id="rId2" action="ppaction://hlinksldjump"/>
              <a:extLst>
                <a:ext uri="{FF2B5EF4-FFF2-40B4-BE49-F238E27FC236}">
                  <a16:creationId xmlns:a16="http://schemas.microsoft.com/office/drawing/2014/main" id="{A4AFD2E5-591B-42BE-9533-19A7E38D872F}"/>
                </a:ext>
              </a:extLst>
            </p:cNvPr>
            <p:cNvSpPr/>
            <p:nvPr/>
          </p:nvSpPr>
          <p:spPr>
            <a:xfrm>
              <a:off x="2401677" y="6274107"/>
              <a:ext cx="7425369" cy="4792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spTree>
    <p:extLst>
      <p:ext uri="{BB962C8B-B14F-4D97-AF65-F5344CB8AC3E}">
        <p14:creationId xmlns:p14="http://schemas.microsoft.com/office/powerpoint/2010/main" val="1255196771"/>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E1BCE28F-B596-40DF-BCB2-C2B33DADA1AC}"/>
              </a:ext>
            </a:extLst>
          </p:cNvPr>
          <p:cNvGraphicFramePr>
            <a:graphicFrameLocks noGrp="1"/>
          </p:cNvGraphicFramePr>
          <p:nvPr>
            <p:extLst>
              <p:ext uri="{D42A27DB-BD31-4B8C-83A1-F6EECF244321}">
                <p14:modId xmlns:p14="http://schemas.microsoft.com/office/powerpoint/2010/main" val="4230181725"/>
              </p:ext>
            </p:extLst>
          </p:nvPr>
        </p:nvGraphicFramePr>
        <p:xfrm>
          <a:off x="914400" y="1921228"/>
          <a:ext cx="10661716" cy="4293108"/>
        </p:xfrm>
        <a:graphic>
          <a:graphicData uri="http://schemas.openxmlformats.org/drawingml/2006/table">
            <a:tbl>
              <a:tblPr firstRow="1" bandRow="1">
                <a:tableStyleId>{5C22544A-7EE6-4342-B048-85BDC9FD1C3A}</a:tableStyleId>
              </a:tblPr>
              <a:tblGrid>
                <a:gridCol w="2550263">
                  <a:extLst>
                    <a:ext uri="{9D8B030D-6E8A-4147-A177-3AD203B41FA5}">
                      <a16:colId xmlns:a16="http://schemas.microsoft.com/office/drawing/2014/main" val="20000"/>
                    </a:ext>
                  </a:extLst>
                </a:gridCol>
                <a:gridCol w="1863761">
                  <a:extLst>
                    <a:ext uri="{9D8B030D-6E8A-4147-A177-3AD203B41FA5}">
                      <a16:colId xmlns:a16="http://schemas.microsoft.com/office/drawing/2014/main" val="20001"/>
                    </a:ext>
                  </a:extLst>
                </a:gridCol>
                <a:gridCol w="1863761">
                  <a:extLst>
                    <a:ext uri="{9D8B030D-6E8A-4147-A177-3AD203B41FA5}">
                      <a16:colId xmlns:a16="http://schemas.microsoft.com/office/drawing/2014/main" val="20002"/>
                    </a:ext>
                  </a:extLst>
                </a:gridCol>
                <a:gridCol w="4383931">
                  <a:extLst>
                    <a:ext uri="{9D8B030D-6E8A-4147-A177-3AD203B41FA5}">
                      <a16:colId xmlns:a16="http://schemas.microsoft.com/office/drawing/2014/main" val="20003"/>
                    </a:ext>
                  </a:extLst>
                </a:gridCol>
              </a:tblGrid>
              <a:tr h="432758">
                <a:tc>
                  <a:txBody>
                    <a:bodyPr/>
                    <a:lstStyle/>
                    <a:p>
                      <a:r>
                        <a:rPr lang="en-US" sz="1000" dirty="0">
                          <a:solidFill>
                            <a:schemeClr val="bg1"/>
                          </a:solidFill>
                        </a:rPr>
                        <a:t>Growth</a:t>
                      </a:r>
                      <a:r>
                        <a:rPr lang="en-US" sz="1000" baseline="0" dirty="0">
                          <a:solidFill>
                            <a:schemeClr val="bg1"/>
                          </a:solidFill>
                        </a:rPr>
                        <a:t> option risk</a:t>
                      </a:r>
                      <a:endParaRPr lang="en-US" sz="10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1">
                        <a:lumMod val="50000"/>
                        <a:lumOff val="50000"/>
                      </a:schemeClr>
                    </a:solidFill>
                  </a:tcPr>
                </a:tc>
                <a:tc>
                  <a:txBody>
                    <a:bodyPr/>
                    <a:lstStyle/>
                    <a:p>
                      <a:pPr algn="ctr"/>
                      <a:r>
                        <a:rPr lang="en-US" sz="1000" dirty="0">
                          <a:solidFill>
                            <a:schemeClr val="bg1"/>
                          </a:solidFill>
                        </a:rPr>
                        <a:t>Risk likelihoo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1">
                        <a:lumMod val="50000"/>
                        <a:lumOff val="50000"/>
                      </a:schemeClr>
                    </a:solidFill>
                  </a:tcPr>
                </a:tc>
                <a:tc>
                  <a:txBody>
                    <a:bodyPr/>
                    <a:lstStyle/>
                    <a:p>
                      <a:pPr algn="ctr"/>
                      <a:r>
                        <a:rPr lang="en-US" sz="1000" dirty="0">
                          <a:solidFill>
                            <a:schemeClr val="bg1"/>
                          </a:solidFill>
                        </a:rPr>
                        <a:t>Risk impact</a:t>
                      </a:r>
                    </a:p>
                    <a:p>
                      <a:pPr algn="ctr"/>
                      <a:r>
                        <a:rPr lang="en-US" sz="1000" dirty="0">
                          <a:solidFill>
                            <a:schemeClr val="bg1"/>
                          </a:solidFill>
                        </a:rPr>
                        <a:t>(if unmitigate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1">
                        <a:lumMod val="50000"/>
                        <a:lumOff val="50000"/>
                      </a:schemeClr>
                    </a:solidFill>
                  </a:tcPr>
                </a:tc>
                <a:tc>
                  <a:txBody>
                    <a:bodyPr/>
                    <a:lstStyle/>
                    <a:p>
                      <a:pPr algn="ctr"/>
                      <a:r>
                        <a:rPr lang="en-US" sz="1000" dirty="0">
                          <a:solidFill>
                            <a:schemeClr val="bg1"/>
                          </a:solidFill>
                        </a:rPr>
                        <a:t>Mitigation strateg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10000"/>
                  </a:ext>
                </a:extLst>
              </a:tr>
              <a:tr h="929865">
                <a:tc>
                  <a:txBody>
                    <a:bodyPr/>
                    <a:lstStyle/>
                    <a:p>
                      <a:r>
                        <a:rPr lang="en-US" sz="1000" b="1" dirty="0"/>
                        <a:t>Customer risk: </a:t>
                      </a:r>
                      <a:r>
                        <a:rPr lang="en-US" sz="1000" b="0" dirty="0"/>
                        <a:t>Resistance</a:t>
                      </a:r>
                      <a:r>
                        <a:rPr lang="en-US" sz="1000" b="0" baseline="0" dirty="0"/>
                        <a:t> from customers to purchase medical products from the client</a:t>
                      </a:r>
                      <a:endParaRPr lang="en-US" sz="1000" b="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10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10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19063" marR="0" indent="-119063" algn="l" defTabSz="914400" rtl="0" eaLnBrk="1" fontAlgn="auto" latinLnBrk="0" hangingPunct="1">
                        <a:lnSpc>
                          <a:spcPct val="100000"/>
                        </a:lnSpc>
                        <a:spcBef>
                          <a:spcPts val="300"/>
                        </a:spcBef>
                        <a:spcAft>
                          <a:spcPts val="0"/>
                        </a:spcAft>
                        <a:buClrTx/>
                        <a:buSzTx/>
                        <a:buFont typeface="Arial" pitchFamily="34" charset="0"/>
                        <a:buChar char="•"/>
                        <a:tabLst/>
                        <a:defRPr/>
                      </a:pPr>
                      <a:r>
                        <a:rPr lang="en-US" sz="1000" baseline="0" dirty="0"/>
                        <a:t>Hire experienced healthcare specialists / sales reps</a:t>
                      </a:r>
                    </a:p>
                    <a:p>
                      <a:pPr marL="119063" indent="-119063">
                        <a:spcBef>
                          <a:spcPts val="300"/>
                        </a:spcBef>
                        <a:buFont typeface="Arial" pitchFamily="34" charset="0"/>
                        <a:buChar char="•"/>
                      </a:pPr>
                      <a:r>
                        <a:rPr lang="en-US" sz="1000" baseline="0" dirty="0"/>
                        <a:t>Consider acquisition of small / mid-size healthcare distributor</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1"/>
                  </a:ext>
                </a:extLst>
              </a:tr>
              <a:tr h="1070755">
                <a:tc>
                  <a:txBody>
                    <a:bodyPr/>
                    <a:lstStyle/>
                    <a:p>
                      <a:r>
                        <a:rPr lang="en-US" sz="1000" b="1" dirty="0"/>
                        <a:t>Execution</a:t>
                      </a:r>
                      <a:r>
                        <a:rPr lang="en-US" sz="1000" b="1" baseline="0" dirty="0"/>
                        <a:t> risk: </a:t>
                      </a:r>
                      <a:r>
                        <a:rPr lang="en-US" sz="1000" b="0" dirty="0"/>
                        <a:t>Challenges</a:t>
                      </a:r>
                      <a:r>
                        <a:rPr lang="en-US" sz="1000" b="0" baseline="0" dirty="0"/>
                        <a:t> to obtaining manufacturer alignment to obtain competitive pricing</a:t>
                      </a:r>
                      <a:endParaRPr lang="en-US" sz="1000" b="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10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10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19063" indent="-119063">
                        <a:spcBef>
                          <a:spcPts val="300"/>
                        </a:spcBef>
                        <a:buFont typeface="Arial" pitchFamily="34" charset="0"/>
                        <a:buChar char="•"/>
                      </a:pPr>
                      <a:r>
                        <a:rPr lang="en-US" sz="1000" dirty="0"/>
                        <a:t>Use client’s distribution network</a:t>
                      </a:r>
                      <a:r>
                        <a:rPr lang="en-US" sz="1000" baseline="0" dirty="0"/>
                        <a:t> and access to regional / local nursing homes and clinics as a negotiation lever</a:t>
                      </a:r>
                    </a:p>
                    <a:p>
                      <a:pPr marL="119063" indent="-119063">
                        <a:spcBef>
                          <a:spcPts val="300"/>
                        </a:spcBef>
                        <a:buFont typeface="Arial" pitchFamily="34" charset="0"/>
                        <a:buChar char="•"/>
                      </a:pPr>
                      <a:r>
                        <a:rPr lang="en-US" sz="1000" baseline="0" dirty="0"/>
                        <a:t>Identify alternate sourcing options (e.g., international)</a:t>
                      </a:r>
                    </a:p>
                    <a:p>
                      <a:pPr marL="119063" indent="-119063">
                        <a:spcBef>
                          <a:spcPts val="300"/>
                        </a:spcBef>
                        <a:buFont typeface="Arial" pitchFamily="34" charset="0"/>
                        <a:buChar char="•"/>
                      </a:pPr>
                      <a:r>
                        <a:rPr lang="en-US" sz="1000" baseline="0" dirty="0"/>
                        <a:t>Leverage Facility Supplies spend with current suppliers that manufacture medical products</a:t>
                      </a:r>
                      <a:endParaRPr lang="en-US" sz="10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2"/>
                  </a:ext>
                </a:extLst>
              </a:tr>
              <a:tr h="929865">
                <a:tc>
                  <a:txBody>
                    <a:bodyPr/>
                    <a:lstStyle/>
                    <a:p>
                      <a:r>
                        <a:rPr lang="en-US" sz="1000" b="1" dirty="0"/>
                        <a:t>Execution</a:t>
                      </a:r>
                      <a:r>
                        <a:rPr lang="en-US" sz="1000" b="1" baseline="0" dirty="0"/>
                        <a:t> risk: </a:t>
                      </a:r>
                      <a:r>
                        <a:rPr lang="en-US" sz="1000" b="0" dirty="0"/>
                        <a:t>Erosion</a:t>
                      </a:r>
                      <a:r>
                        <a:rPr lang="en-US" sz="1000" b="0" baseline="0" dirty="0"/>
                        <a:t> of EBIT through membership rebates</a:t>
                      </a:r>
                      <a:endParaRPr lang="en-US" sz="1000" b="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10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10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19063" indent="-119063">
                        <a:buFont typeface="Arial" pitchFamily="34" charset="0"/>
                        <a:buChar char="•"/>
                      </a:pPr>
                      <a:r>
                        <a:rPr lang="en-US" sz="1000" dirty="0"/>
                        <a:t>Target </a:t>
                      </a:r>
                      <a:r>
                        <a:rPr lang="en-US" sz="1000" baseline="0" dirty="0"/>
                        <a:t>clinics and </a:t>
                      </a:r>
                      <a:r>
                        <a:rPr lang="en-US" sz="1000" dirty="0"/>
                        <a:t>small / mid-size</a:t>
                      </a:r>
                      <a:r>
                        <a:rPr lang="en-US" sz="1000" baseline="0" dirty="0"/>
                        <a:t> nursing homes that can be targeted without memberships</a:t>
                      </a:r>
                    </a:p>
                    <a:p>
                      <a:pPr marL="119063" indent="-119063">
                        <a:buFont typeface="Arial" pitchFamily="34" charset="0"/>
                        <a:buChar char="•"/>
                      </a:pPr>
                      <a:r>
                        <a:rPr lang="en-US" sz="1000" baseline="0" dirty="0"/>
                        <a:t>Make membership decision based on target regions and customer sub-segments (e.g., small versus large nursing homes)</a:t>
                      </a:r>
                      <a:endParaRPr lang="en-US" sz="10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3"/>
                  </a:ext>
                </a:extLst>
              </a:tr>
              <a:tr h="92986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t>Competitive</a:t>
                      </a:r>
                      <a:r>
                        <a:rPr lang="en-US" sz="1000" b="1" baseline="0" dirty="0"/>
                        <a:t> risk: </a:t>
                      </a:r>
                      <a:r>
                        <a:rPr lang="en-US" sz="1000" b="0" dirty="0">
                          <a:solidFill>
                            <a:schemeClr val="tx1"/>
                          </a:solidFill>
                        </a:rPr>
                        <a:t>Competitive move</a:t>
                      </a:r>
                      <a:r>
                        <a:rPr lang="en-US" sz="1000" b="0" baseline="0" dirty="0">
                          <a:solidFill>
                            <a:schemeClr val="tx1"/>
                          </a:solidFill>
                        </a:rPr>
                        <a:t> from med-surge companies</a:t>
                      </a:r>
                      <a:endParaRPr lang="en-US" sz="1000" b="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10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10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19063" indent="-119063">
                        <a:buFont typeface="Arial" pitchFamily="34" charset="0"/>
                        <a:buChar char="•"/>
                      </a:pPr>
                      <a:r>
                        <a:rPr lang="en-US" sz="1000" dirty="0"/>
                        <a:t>Build strong supplier relationships</a:t>
                      </a:r>
                      <a:endParaRPr lang="en-US" sz="1000" baseline="0" dirty="0"/>
                    </a:p>
                    <a:p>
                      <a:pPr marL="119063" indent="-119063">
                        <a:buFont typeface="Arial" pitchFamily="34" charset="0"/>
                        <a:buChar char="•"/>
                      </a:pPr>
                      <a:r>
                        <a:rPr lang="en-US" sz="1000" baseline="0" dirty="0"/>
                        <a:t>Build strong customer relationships by offering broad portfolio of client products (e.g., bundle Facility Solutions products with medical disposables)</a:t>
                      </a:r>
                      <a:endParaRPr lang="en-US" sz="10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p:txBody>
          <a:bodyPr/>
          <a:lstStyle/>
          <a:p>
            <a:r>
              <a:rPr lang="en-US" dirty="0"/>
              <a:t>Potential risks</a:t>
            </a:r>
          </a:p>
        </p:txBody>
      </p:sp>
      <p:sp>
        <p:nvSpPr>
          <p:cNvPr id="55" name="Text Placeholder 54">
            <a:extLst>
              <a:ext uri="{FF2B5EF4-FFF2-40B4-BE49-F238E27FC236}">
                <a16:creationId xmlns:a16="http://schemas.microsoft.com/office/drawing/2014/main" id="{BAD98991-B0ED-4C3F-A3FC-C23E0910764F}"/>
              </a:ext>
            </a:extLst>
          </p:cNvPr>
          <p:cNvSpPr>
            <a:spLocks noGrp="1"/>
          </p:cNvSpPr>
          <p:nvPr>
            <p:ph type="body" sz="quarter" idx="14"/>
          </p:nvPr>
        </p:nvSpPr>
        <p:spPr/>
        <p:txBody>
          <a:bodyPr/>
          <a:lstStyle/>
          <a:p>
            <a:r>
              <a:rPr lang="en-US" spc="0" dirty="0">
                <a:solidFill>
                  <a:srgbClr val="000000"/>
                </a:solidFill>
                <a:cs typeface="Arial" charset="0"/>
              </a:rPr>
              <a:t>The client will face multiple risks in entering a new products market – these risks can be mitigated by employing healthcare specialists and reps and forming strong partnerships with suppliers and customers</a:t>
            </a:r>
          </a:p>
          <a:p>
            <a:endParaRPr lang="en-US" dirty="0"/>
          </a:p>
        </p:txBody>
      </p:sp>
      <p:sp>
        <p:nvSpPr>
          <p:cNvPr id="56" name="Text Placeholder 55">
            <a:extLst>
              <a:ext uri="{FF2B5EF4-FFF2-40B4-BE49-F238E27FC236}">
                <a16:creationId xmlns:a16="http://schemas.microsoft.com/office/drawing/2014/main" id="{A14D566E-590D-4E1F-A739-07212EFBA8FF}"/>
              </a:ext>
            </a:extLst>
          </p:cNvPr>
          <p:cNvSpPr>
            <a:spLocks noGrp="1"/>
          </p:cNvSpPr>
          <p:nvPr>
            <p:ph type="body" sz="quarter" idx="15"/>
          </p:nvPr>
        </p:nvSpPr>
        <p:spPr/>
        <p:txBody>
          <a:bodyPr/>
          <a:lstStyle/>
          <a:p>
            <a:r>
              <a:rPr lang="en-US" dirty="0"/>
              <a:t>Table</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6" name="Rounded Rectangle 32">
            <a:extLst>
              <a:ext uri="{FF2B5EF4-FFF2-40B4-BE49-F238E27FC236}">
                <a16:creationId xmlns:a16="http://schemas.microsoft.com/office/drawing/2014/main" id="{F20226D7-4328-4F70-BF00-08470AE70CF8}"/>
              </a:ext>
            </a:extLst>
          </p:cNvPr>
          <p:cNvSpPr/>
          <p:nvPr/>
        </p:nvSpPr>
        <p:spPr bwMode="gray">
          <a:xfrm flipH="1">
            <a:off x="4389844" y="2480313"/>
            <a:ext cx="232383" cy="173468"/>
          </a:xfrm>
          <a:prstGeom prst="roundRect">
            <a:avLst>
              <a:gd name="adj" fmla="val 5209"/>
            </a:avLst>
          </a:prstGeom>
          <a:noFill/>
          <a:ln w="6350" cap="rnd" algn="ctr">
            <a:solidFill>
              <a:srgbClr val="C00000"/>
            </a:solidFill>
            <a:miter lim="800000"/>
            <a:headEnd/>
            <a:tailEnd/>
          </a:ln>
        </p:spPr>
        <p:txBody>
          <a:bodyPr lIns="18288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Arial" charset="0"/>
            </a:endParaRPr>
          </a:p>
        </p:txBody>
      </p:sp>
      <p:sp>
        <p:nvSpPr>
          <p:cNvPr id="7" name="Rounded Rectangle 33">
            <a:extLst>
              <a:ext uri="{FF2B5EF4-FFF2-40B4-BE49-F238E27FC236}">
                <a16:creationId xmlns:a16="http://schemas.microsoft.com/office/drawing/2014/main" id="{143D2332-324C-4E80-A539-56760540EF37}"/>
              </a:ext>
            </a:extLst>
          </p:cNvPr>
          <p:cNvSpPr/>
          <p:nvPr/>
        </p:nvSpPr>
        <p:spPr bwMode="gray">
          <a:xfrm flipH="1">
            <a:off x="4665510" y="2480313"/>
            <a:ext cx="457200" cy="173468"/>
          </a:xfrm>
          <a:prstGeom prst="roundRect">
            <a:avLst>
              <a:gd name="adj" fmla="val 5209"/>
            </a:avLst>
          </a:prstGeom>
          <a:noFill/>
          <a:ln w="12700" cap="rnd" algn="ctr">
            <a:noFill/>
            <a:miter lim="800000"/>
            <a:headEnd/>
            <a:tailEnd/>
          </a:ln>
        </p:spPr>
        <p:txBody>
          <a:bodyPr lIns="0" tIns="0" rIns="0" bIns="0" rtlCol="0" anchor="ctr" anchorCtr="0"/>
          <a:lstStyle/>
          <a:p>
            <a:pPr marL="0" marR="0" lvl="0" indent="0" algn="l" defTabSz="914400" rtl="0" eaLnBrk="0" fontAlgn="base" latinLnBrk="0" hangingPunct="0">
              <a:lnSpc>
                <a:spcPct val="106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lumMod val="75000"/>
                  </a:srgbClr>
                </a:solidFill>
                <a:effectLst/>
                <a:uLnTx/>
                <a:uFillTx/>
                <a:ea typeface="+mn-ea"/>
                <a:cs typeface="Arial" charset="0"/>
              </a:rPr>
              <a:t>High</a:t>
            </a:r>
          </a:p>
        </p:txBody>
      </p:sp>
      <p:sp>
        <p:nvSpPr>
          <p:cNvPr id="8" name="Rounded Rectangle 40">
            <a:extLst>
              <a:ext uri="{FF2B5EF4-FFF2-40B4-BE49-F238E27FC236}">
                <a16:creationId xmlns:a16="http://schemas.microsoft.com/office/drawing/2014/main" id="{24F201BF-BA10-49F9-B76D-E1472E883EF9}"/>
              </a:ext>
            </a:extLst>
          </p:cNvPr>
          <p:cNvSpPr/>
          <p:nvPr/>
        </p:nvSpPr>
        <p:spPr bwMode="gray">
          <a:xfrm flipH="1">
            <a:off x="4389844" y="2677439"/>
            <a:ext cx="232383" cy="173468"/>
          </a:xfrm>
          <a:prstGeom prst="roundRect">
            <a:avLst>
              <a:gd name="adj" fmla="val 5209"/>
            </a:avLst>
          </a:prstGeom>
          <a:solidFill>
            <a:srgbClr val="FFC000"/>
          </a:solidFill>
          <a:ln w="6350" cap="rnd" algn="ctr">
            <a:solidFill>
              <a:srgbClr val="FFC000"/>
            </a:solidFill>
            <a:miter lim="800000"/>
            <a:headEnd/>
            <a:tailEnd/>
          </a:ln>
        </p:spPr>
        <p:txBody>
          <a:bodyPr lIns="18288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Arial" charset="0"/>
            </a:endParaRPr>
          </a:p>
        </p:txBody>
      </p:sp>
      <p:sp>
        <p:nvSpPr>
          <p:cNvPr id="9" name="Rounded Rectangle 41">
            <a:extLst>
              <a:ext uri="{FF2B5EF4-FFF2-40B4-BE49-F238E27FC236}">
                <a16:creationId xmlns:a16="http://schemas.microsoft.com/office/drawing/2014/main" id="{36518065-17CC-4A09-9F03-27637D1272D7}"/>
              </a:ext>
            </a:extLst>
          </p:cNvPr>
          <p:cNvSpPr/>
          <p:nvPr/>
        </p:nvSpPr>
        <p:spPr bwMode="gray">
          <a:xfrm flipH="1">
            <a:off x="4665510" y="2677439"/>
            <a:ext cx="457200" cy="173468"/>
          </a:xfrm>
          <a:prstGeom prst="roundRect">
            <a:avLst>
              <a:gd name="adj" fmla="val 5209"/>
            </a:avLst>
          </a:prstGeom>
          <a:noFill/>
          <a:ln w="12700" cap="rnd" algn="ctr">
            <a:noFill/>
            <a:miter lim="800000"/>
            <a:headEnd/>
            <a:tailEnd/>
          </a:ln>
        </p:spPr>
        <p:txBody>
          <a:bodyPr lIns="0" tIns="0" rIns="0" bIns="0" rtlCol="0" anchor="ctr" anchorCtr="0"/>
          <a:lstStyle/>
          <a:p>
            <a:pPr marL="0" marR="0" lvl="0" indent="0" algn="l" defTabSz="914400" rtl="0" eaLnBrk="0" fontAlgn="base" latinLnBrk="0" hangingPunct="0">
              <a:lnSpc>
                <a:spcPct val="106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Arial" charset="0"/>
              </a:rPr>
              <a:t>Medium</a:t>
            </a:r>
          </a:p>
        </p:txBody>
      </p:sp>
      <p:sp>
        <p:nvSpPr>
          <p:cNvPr id="10" name="Rounded Rectangle 42">
            <a:extLst>
              <a:ext uri="{FF2B5EF4-FFF2-40B4-BE49-F238E27FC236}">
                <a16:creationId xmlns:a16="http://schemas.microsoft.com/office/drawing/2014/main" id="{49703F58-12B7-485B-9F38-CCF442FFF97D}"/>
              </a:ext>
            </a:extLst>
          </p:cNvPr>
          <p:cNvSpPr/>
          <p:nvPr/>
        </p:nvSpPr>
        <p:spPr bwMode="gray">
          <a:xfrm flipH="1">
            <a:off x="4389844" y="2874564"/>
            <a:ext cx="232383" cy="173468"/>
          </a:xfrm>
          <a:prstGeom prst="roundRect">
            <a:avLst>
              <a:gd name="adj" fmla="val 5209"/>
            </a:avLst>
          </a:prstGeom>
          <a:noFill/>
          <a:ln w="6350" cap="rnd" algn="ctr">
            <a:solidFill>
              <a:srgbClr val="00B050"/>
            </a:solidFill>
            <a:miter lim="800000"/>
            <a:headEnd/>
            <a:tailEnd/>
          </a:ln>
        </p:spPr>
        <p:txBody>
          <a:bodyPr lIns="18288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Arial" charset="0"/>
            </a:endParaRPr>
          </a:p>
        </p:txBody>
      </p:sp>
      <p:sp>
        <p:nvSpPr>
          <p:cNvPr id="11" name="Rounded Rectangle 55">
            <a:extLst>
              <a:ext uri="{FF2B5EF4-FFF2-40B4-BE49-F238E27FC236}">
                <a16:creationId xmlns:a16="http://schemas.microsoft.com/office/drawing/2014/main" id="{56916AE2-B5A8-4110-A3D9-5441F56EE59E}"/>
              </a:ext>
            </a:extLst>
          </p:cNvPr>
          <p:cNvSpPr/>
          <p:nvPr/>
        </p:nvSpPr>
        <p:spPr bwMode="gray">
          <a:xfrm flipH="1">
            <a:off x="4665510" y="2874564"/>
            <a:ext cx="457200" cy="173468"/>
          </a:xfrm>
          <a:prstGeom prst="roundRect">
            <a:avLst>
              <a:gd name="adj" fmla="val 5209"/>
            </a:avLst>
          </a:prstGeom>
          <a:noFill/>
          <a:ln w="12700" cap="rnd" algn="ctr">
            <a:noFill/>
            <a:miter lim="800000"/>
            <a:headEnd/>
            <a:tailEnd/>
          </a:ln>
        </p:spPr>
        <p:txBody>
          <a:bodyPr lIns="0" tIns="0" rIns="0" bIns="0" rtlCol="0" anchor="ctr" anchorCtr="0"/>
          <a:lstStyle/>
          <a:p>
            <a:pPr marL="0" marR="0" lvl="0" indent="0" algn="l" defTabSz="914400" rtl="0" eaLnBrk="0" fontAlgn="base" latinLnBrk="0" hangingPunct="0">
              <a:lnSpc>
                <a:spcPct val="106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lumMod val="75000"/>
                  </a:srgbClr>
                </a:solidFill>
                <a:effectLst/>
                <a:uLnTx/>
                <a:uFillTx/>
                <a:ea typeface="+mn-ea"/>
                <a:cs typeface="Arial" charset="0"/>
              </a:rPr>
              <a:t>Low</a:t>
            </a:r>
          </a:p>
        </p:txBody>
      </p:sp>
      <p:sp>
        <p:nvSpPr>
          <p:cNvPr id="12" name="Rounded Rectangle 64">
            <a:extLst>
              <a:ext uri="{FF2B5EF4-FFF2-40B4-BE49-F238E27FC236}">
                <a16:creationId xmlns:a16="http://schemas.microsoft.com/office/drawing/2014/main" id="{A878C678-4090-4E14-AEBD-8408A767E190}"/>
              </a:ext>
            </a:extLst>
          </p:cNvPr>
          <p:cNvSpPr/>
          <p:nvPr/>
        </p:nvSpPr>
        <p:spPr bwMode="gray">
          <a:xfrm flipH="1">
            <a:off x="4389844" y="5433644"/>
            <a:ext cx="232383" cy="173468"/>
          </a:xfrm>
          <a:prstGeom prst="roundRect">
            <a:avLst>
              <a:gd name="adj" fmla="val 5209"/>
            </a:avLst>
          </a:prstGeom>
          <a:noFill/>
          <a:ln w="6350" cap="rnd" algn="ctr">
            <a:solidFill>
              <a:srgbClr val="C00000"/>
            </a:solidFill>
            <a:miter lim="800000"/>
            <a:headEnd/>
            <a:tailEnd/>
          </a:ln>
        </p:spPr>
        <p:txBody>
          <a:bodyPr lIns="18288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Arial" charset="0"/>
            </a:endParaRPr>
          </a:p>
        </p:txBody>
      </p:sp>
      <p:sp>
        <p:nvSpPr>
          <p:cNvPr id="13" name="Rounded Rectangle 65">
            <a:extLst>
              <a:ext uri="{FF2B5EF4-FFF2-40B4-BE49-F238E27FC236}">
                <a16:creationId xmlns:a16="http://schemas.microsoft.com/office/drawing/2014/main" id="{0B3702F9-4B6F-4E04-B3E1-4FC6A81F052F}"/>
              </a:ext>
            </a:extLst>
          </p:cNvPr>
          <p:cNvSpPr/>
          <p:nvPr/>
        </p:nvSpPr>
        <p:spPr bwMode="gray">
          <a:xfrm flipH="1">
            <a:off x="4665510" y="5433644"/>
            <a:ext cx="457200" cy="173468"/>
          </a:xfrm>
          <a:prstGeom prst="roundRect">
            <a:avLst>
              <a:gd name="adj" fmla="val 5209"/>
            </a:avLst>
          </a:prstGeom>
          <a:noFill/>
          <a:ln w="12700" cap="rnd" algn="ctr">
            <a:noFill/>
            <a:miter lim="800000"/>
            <a:headEnd/>
            <a:tailEnd/>
          </a:ln>
        </p:spPr>
        <p:txBody>
          <a:bodyPr lIns="0" tIns="0" rIns="0" bIns="0" rtlCol="0" anchor="ctr" anchorCtr="0"/>
          <a:lstStyle/>
          <a:p>
            <a:pPr marL="0" marR="0" lvl="0" indent="0" algn="l" defTabSz="914400" rtl="0" eaLnBrk="0" fontAlgn="base" latinLnBrk="0" hangingPunct="0">
              <a:lnSpc>
                <a:spcPct val="106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lumMod val="75000"/>
                  </a:srgbClr>
                </a:solidFill>
                <a:effectLst/>
                <a:uLnTx/>
                <a:uFillTx/>
                <a:ea typeface="+mn-ea"/>
                <a:cs typeface="Arial" charset="0"/>
              </a:rPr>
              <a:t>High</a:t>
            </a:r>
          </a:p>
        </p:txBody>
      </p:sp>
      <p:sp>
        <p:nvSpPr>
          <p:cNvPr id="14" name="Rounded Rectangle 66">
            <a:extLst>
              <a:ext uri="{FF2B5EF4-FFF2-40B4-BE49-F238E27FC236}">
                <a16:creationId xmlns:a16="http://schemas.microsoft.com/office/drawing/2014/main" id="{335EF78A-6AE1-4797-AE36-0210288A5F68}"/>
              </a:ext>
            </a:extLst>
          </p:cNvPr>
          <p:cNvSpPr/>
          <p:nvPr/>
        </p:nvSpPr>
        <p:spPr bwMode="gray">
          <a:xfrm flipH="1">
            <a:off x="4389844" y="5630770"/>
            <a:ext cx="232383" cy="173468"/>
          </a:xfrm>
          <a:prstGeom prst="roundRect">
            <a:avLst>
              <a:gd name="adj" fmla="val 5209"/>
            </a:avLst>
          </a:prstGeom>
          <a:solidFill>
            <a:srgbClr val="FFC000"/>
          </a:solidFill>
          <a:ln w="6350" cap="rnd" algn="ctr">
            <a:solidFill>
              <a:srgbClr val="FFC000"/>
            </a:solidFill>
            <a:miter lim="800000"/>
            <a:headEnd/>
            <a:tailEnd/>
          </a:ln>
        </p:spPr>
        <p:txBody>
          <a:bodyPr lIns="18288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Arial" charset="0"/>
            </a:endParaRPr>
          </a:p>
        </p:txBody>
      </p:sp>
      <p:sp>
        <p:nvSpPr>
          <p:cNvPr id="15" name="Rounded Rectangle 67">
            <a:extLst>
              <a:ext uri="{FF2B5EF4-FFF2-40B4-BE49-F238E27FC236}">
                <a16:creationId xmlns:a16="http://schemas.microsoft.com/office/drawing/2014/main" id="{2E55DDB8-2314-437A-AFFC-4CFBB3738309}"/>
              </a:ext>
            </a:extLst>
          </p:cNvPr>
          <p:cNvSpPr/>
          <p:nvPr/>
        </p:nvSpPr>
        <p:spPr bwMode="gray">
          <a:xfrm flipH="1">
            <a:off x="4665510" y="5630770"/>
            <a:ext cx="457200" cy="173468"/>
          </a:xfrm>
          <a:prstGeom prst="roundRect">
            <a:avLst>
              <a:gd name="adj" fmla="val 5209"/>
            </a:avLst>
          </a:prstGeom>
          <a:noFill/>
          <a:ln w="12700" cap="rnd" algn="ctr">
            <a:noFill/>
            <a:miter lim="800000"/>
            <a:headEnd/>
            <a:tailEnd/>
          </a:ln>
        </p:spPr>
        <p:txBody>
          <a:bodyPr lIns="0" tIns="0" rIns="0" bIns="0" rtlCol="0" anchor="ctr" anchorCtr="0"/>
          <a:lstStyle/>
          <a:p>
            <a:pPr marL="0" marR="0" lvl="0" indent="0" algn="l" defTabSz="914400" rtl="0" eaLnBrk="0" fontAlgn="base" latinLnBrk="0" hangingPunct="0">
              <a:lnSpc>
                <a:spcPct val="106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lumMod val="75000"/>
                  </a:srgbClr>
                </a:solidFill>
                <a:effectLst/>
                <a:uLnTx/>
                <a:uFillTx/>
                <a:ea typeface="+mn-ea"/>
                <a:cs typeface="Arial" charset="0"/>
              </a:rPr>
              <a:t>Medium</a:t>
            </a:r>
          </a:p>
        </p:txBody>
      </p:sp>
      <p:sp>
        <p:nvSpPr>
          <p:cNvPr id="16" name="Rounded Rectangle 68">
            <a:extLst>
              <a:ext uri="{FF2B5EF4-FFF2-40B4-BE49-F238E27FC236}">
                <a16:creationId xmlns:a16="http://schemas.microsoft.com/office/drawing/2014/main" id="{7B1BB853-185F-4867-81A3-47D4ED575C54}"/>
              </a:ext>
            </a:extLst>
          </p:cNvPr>
          <p:cNvSpPr/>
          <p:nvPr/>
        </p:nvSpPr>
        <p:spPr bwMode="gray">
          <a:xfrm flipH="1">
            <a:off x="4389844" y="5827895"/>
            <a:ext cx="232383" cy="173468"/>
          </a:xfrm>
          <a:prstGeom prst="roundRect">
            <a:avLst>
              <a:gd name="adj" fmla="val 5209"/>
            </a:avLst>
          </a:prstGeom>
          <a:noFill/>
          <a:ln w="6350" cap="rnd" algn="ctr">
            <a:solidFill>
              <a:srgbClr val="00B050"/>
            </a:solidFill>
            <a:miter lim="800000"/>
            <a:headEnd/>
            <a:tailEnd/>
          </a:ln>
        </p:spPr>
        <p:txBody>
          <a:bodyPr lIns="18288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Arial" charset="0"/>
            </a:endParaRPr>
          </a:p>
        </p:txBody>
      </p:sp>
      <p:sp>
        <p:nvSpPr>
          <p:cNvPr id="17" name="Rounded Rectangle 69">
            <a:extLst>
              <a:ext uri="{FF2B5EF4-FFF2-40B4-BE49-F238E27FC236}">
                <a16:creationId xmlns:a16="http://schemas.microsoft.com/office/drawing/2014/main" id="{35C1E6BA-FC3D-4387-8E64-19FE3D8DFF1F}"/>
              </a:ext>
            </a:extLst>
          </p:cNvPr>
          <p:cNvSpPr/>
          <p:nvPr/>
        </p:nvSpPr>
        <p:spPr bwMode="gray">
          <a:xfrm flipH="1">
            <a:off x="4665510" y="5827895"/>
            <a:ext cx="457200" cy="173468"/>
          </a:xfrm>
          <a:prstGeom prst="roundRect">
            <a:avLst>
              <a:gd name="adj" fmla="val 5209"/>
            </a:avLst>
          </a:prstGeom>
          <a:noFill/>
          <a:ln w="12700" cap="rnd" algn="ctr">
            <a:noFill/>
            <a:miter lim="800000"/>
            <a:headEnd/>
            <a:tailEnd/>
          </a:ln>
        </p:spPr>
        <p:txBody>
          <a:bodyPr lIns="0" tIns="0" rIns="0" bIns="0" rtlCol="0" anchor="ctr" anchorCtr="0"/>
          <a:lstStyle/>
          <a:p>
            <a:pPr marL="0" marR="0" lvl="0" indent="0" algn="l" defTabSz="914400" rtl="0" eaLnBrk="0" fontAlgn="base" latinLnBrk="0" hangingPunct="0">
              <a:lnSpc>
                <a:spcPct val="106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Arial" charset="0"/>
              </a:rPr>
              <a:t>Low</a:t>
            </a:r>
          </a:p>
        </p:txBody>
      </p:sp>
      <p:sp>
        <p:nvSpPr>
          <p:cNvPr id="18" name="Rounded Rectangle 70">
            <a:extLst>
              <a:ext uri="{FF2B5EF4-FFF2-40B4-BE49-F238E27FC236}">
                <a16:creationId xmlns:a16="http://schemas.microsoft.com/office/drawing/2014/main" id="{27B3912C-A8C4-4783-915C-7CB1D8ED3726}"/>
              </a:ext>
            </a:extLst>
          </p:cNvPr>
          <p:cNvSpPr/>
          <p:nvPr/>
        </p:nvSpPr>
        <p:spPr bwMode="gray">
          <a:xfrm flipH="1">
            <a:off x="4379986" y="4496155"/>
            <a:ext cx="232383" cy="173468"/>
          </a:xfrm>
          <a:prstGeom prst="roundRect">
            <a:avLst>
              <a:gd name="adj" fmla="val 5209"/>
            </a:avLst>
          </a:prstGeom>
          <a:solidFill>
            <a:srgbClr val="C00000"/>
          </a:solidFill>
          <a:ln w="6350" cap="rnd" algn="ctr">
            <a:solidFill>
              <a:srgbClr val="C00000"/>
            </a:solidFill>
            <a:miter lim="800000"/>
            <a:headEnd/>
            <a:tailEnd/>
          </a:ln>
        </p:spPr>
        <p:txBody>
          <a:bodyPr lIns="18288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Arial" charset="0"/>
            </a:endParaRPr>
          </a:p>
        </p:txBody>
      </p:sp>
      <p:sp>
        <p:nvSpPr>
          <p:cNvPr id="19" name="Rounded Rectangle 71">
            <a:extLst>
              <a:ext uri="{FF2B5EF4-FFF2-40B4-BE49-F238E27FC236}">
                <a16:creationId xmlns:a16="http://schemas.microsoft.com/office/drawing/2014/main" id="{306BA1DA-6E19-4742-8597-10822CC77F4A}"/>
              </a:ext>
            </a:extLst>
          </p:cNvPr>
          <p:cNvSpPr/>
          <p:nvPr/>
        </p:nvSpPr>
        <p:spPr bwMode="gray">
          <a:xfrm flipH="1">
            <a:off x="4655652" y="4496155"/>
            <a:ext cx="457200" cy="173468"/>
          </a:xfrm>
          <a:prstGeom prst="roundRect">
            <a:avLst>
              <a:gd name="adj" fmla="val 5209"/>
            </a:avLst>
          </a:prstGeom>
          <a:noFill/>
          <a:ln w="12700" cap="rnd" algn="ctr">
            <a:noFill/>
            <a:miter lim="800000"/>
            <a:headEnd/>
            <a:tailEnd/>
          </a:ln>
        </p:spPr>
        <p:txBody>
          <a:bodyPr lIns="0" tIns="0" rIns="0" bIns="0" rtlCol="0" anchor="ctr" anchorCtr="0"/>
          <a:lstStyle/>
          <a:p>
            <a:pPr marL="0" marR="0" lvl="0" indent="0" algn="l" defTabSz="914400" rtl="0" eaLnBrk="0" fontAlgn="base" latinLnBrk="0" hangingPunct="0">
              <a:lnSpc>
                <a:spcPct val="106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Arial" charset="0"/>
              </a:rPr>
              <a:t>High</a:t>
            </a:r>
          </a:p>
        </p:txBody>
      </p:sp>
      <p:sp>
        <p:nvSpPr>
          <p:cNvPr id="20" name="Rounded Rectangle 72">
            <a:extLst>
              <a:ext uri="{FF2B5EF4-FFF2-40B4-BE49-F238E27FC236}">
                <a16:creationId xmlns:a16="http://schemas.microsoft.com/office/drawing/2014/main" id="{8DDD5FBE-A491-4CBF-A6A1-CB841CF95F0B}"/>
              </a:ext>
            </a:extLst>
          </p:cNvPr>
          <p:cNvSpPr/>
          <p:nvPr/>
        </p:nvSpPr>
        <p:spPr bwMode="gray">
          <a:xfrm flipH="1">
            <a:off x="4379986" y="4693281"/>
            <a:ext cx="232383" cy="173468"/>
          </a:xfrm>
          <a:prstGeom prst="roundRect">
            <a:avLst>
              <a:gd name="adj" fmla="val 5209"/>
            </a:avLst>
          </a:prstGeom>
          <a:noFill/>
          <a:ln w="6350" cap="rnd" algn="ctr">
            <a:solidFill>
              <a:srgbClr val="FFC000"/>
            </a:solidFill>
            <a:miter lim="800000"/>
            <a:headEnd/>
            <a:tailEnd/>
          </a:ln>
        </p:spPr>
        <p:txBody>
          <a:bodyPr lIns="18288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Arial" charset="0"/>
            </a:endParaRPr>
          </a:p>
        </p:txBody>
      </p:sp>
      <p:sp>
        <p:nvSpPr>
          <p:cNvPr id="21" name="Rounded Rectangle 73">
            <a:extLst>
              <a:ext uri="{FF2B5EF4-FFF2-40B4-BE49-F238E27FC236}">
                <a16:creationId xmlns:a16="http://schemas.microsoft.com/office/drawing/2014/main" id="{27552FCB-15C6-4496-B361-3AC79104A4BF}"/>
              </a:ext>
            </a:extLst>
          </p:cNvPr>
          <p:cNvSpPr/>
          <p:nvPr/>
        </p:nvSpPr>
        <p:spPr bwMode="gray">
          <a:xfrm flipH="1">
            <a:off x="4655652" y="4693281"/>
            <a:ext cx="457200" cy="173468"/>
          </a:xfrm>
          <a:prstGeom prst="roundRect">
            <a:avLst>
              <a:gd name="adj" fmla="val 5209"/>
            </a:avLst>
          </a:prstGeom>
          <a:noFill/>
          <a:ln w="12700" cap="rnd" algn="ctr">
            <a:noFill/>
            <a:miter lim="800000"/>
            <a:headEnd/>
            <a:tailEnd/>
          </a:ln>
        </p:spPr>
        <p:txBody>
          <a:bodyPr lIns="0" tIns="0" rIns="0" bIns="0" rtlCol="0" anchor="ctr" anchorCtr="0"/>
          <a:lstStyle/>
          <a:p>
            <a:pPr marL="0" marR="0" lvl="0" indent="0" algn="l" defTabSz="914400" rtl="0" eaLnBrk="0" fontAlgn="base" latinLnBrk="0" hangingPunct="0">
              <a:lnSpc>
                <a:spcPct val="106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lumMod val="75000"/>
                  </a:srgbClr>
                </a:solidFill>
                <a:effectLst/>
                <a:uLnTx/>
                <a:uFillTx/>
                <a:ea typeface="+mn-ea"/>
                <a:cs typeface="Arial" charset="0"/>
              </a:rPr>
              <a:t>Medium</a:t>
            </a:r>
          </a:p>
        </p:txBody>
      </p:sp>
      <p:sp>
        <p:nvSpPr>
          <p:cNvPr id="22" name="Rounded Rectangle 74">
            <a:extLst>
              <a:ext uri="{FF2B5EF4-FFF2-40B4-BE49-F238E27FC236}">
                <a16:creationId xmlns:a16="http://schemas.microsoft.com/office/drawing/2014/main" id="{D51BF322-1E46-44F2-8788-5596BB2D38B1}"/>
              </a:ext>
            </a:extLst>
          </p:cNvPr>
          <p:cNvSpPr/>
          <p:nvPr/>
        </p:nvSpPr>
        <p:spPr bwMode="gray">
          <a:xfrm flipH="1">
            <a:off x="4379986" y="4890406"/>
            <a:ext cx="232383" cy="173468"/>
          </a:xfrm>
          <a:prstGeom prst="roundRect">
            <a:avLst>
              <a:gd name="adj" fmla="val 5209"/>
            </a:avLst>
          </a:prstGeom>
          <a:noFill/>
          <a:ln w="6350" cap="rnd" algn="ctr">
            <a:solidFill>
              <a:srgbClr val="00B050"/>
            </a:solidFill>
            <a:miter lim="800000"/>
            <a:headEnd/>
            <a:tailEnd/>
          </a:ln>
        </p:spPr>
        <p:txBody>
          <a:bodyPr lIns="18288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Arial" charset="0"/>
            </a:endParaRPr>
          </a:p>
        </p:txBody>
      </p:sp>
      <p:sp>
        <p:nvSpPr>
          <p:cNvPr id="23" name="Rounded Rectangle 75">
            <a:extLst>
              <a:ext uri="{FF2B5EF4-FFF2-40B4-BE49-F238E27FC236}">
                <a16:creationId xmlns:a16="http://schemas.microsoft.com/office/drawing/2014/main" id="{6EF42B33-E8FF-4239-9C2C-DF59C44455CE}"/>
              </a:ext>
            </a:extLst>
          </p:cNvPr>
          <p:cNvSpPr/>
          <p:nvPr/>
        </p:nvSpPr>
        <p:spPr bwMode="gray">
          <a:xfrm flipH="1">
            <a:off x="4655652" y="4890406"/>
            <a:ext cx="457200" cy="173468"/>
          </a:xfrm>
          <a:prstGeom prst="roundRect">
            <a:avLst>
              <a:gd name="adj" fmla="val 5209"/>
            </a:avLst>
          </a:prstGeom>
          <a:noFill/>
          <a:ln w="12700" cap="rnd" algn="ctr">
            <a:noFill/>
            <a:miter lim="800000"/>
            <a:headEnd/>
            <a:tailEnd/>
          </a:ln>
        </p:spPr>
        <p:txBody>
          <a:bodyPr lIns="0" tIns="0" rIns="0" bIns="0" rtlCol="0" anchor="ctr" anchorCtr="0"/>
          <a:lstStyle/>
          <a:p>
            <a:pPr marL="0" marR="0" lvl="0" indent="0" algn="l" defTabSz="914400" rtl="0" eaLnBrk="0" fontAlgn="base" latinLnBrk="0" hangingPunct="0">
              <a:lnSpc>
                <a:spcPct val="106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lumMod val="75000"/>
                  </a:srgbClr>
                </a:solidFill>
                <a:effectLst/>
                <a:uLnTx/>
                <a:uFillTx/>
                <a:ea typeface="+mn-ea"/>
                <a:cs typeface="Arial" charset="0"/>
              </a:rPr>
              <a:t>Low</a:t>
            </a:r>
          </a:p>
        </p:txBody>
      </p:sp>
      <p:sp>
        <p:nvSpPr>
          <p:cNvPr id="24" name="Rounded Rectangle 76">
            <a:extLst>
              <a:ext uri="{FF2B5EF4-FFF2-40B4-BE49-F238E27FC236}">
                <a16:creationId xmlns:a16="http://schemas.microsoft.com/office/drawing/2014/main" id="{9EE3A37C-269D-4699-BF3B-4E357AEAA445}"/>
              </a:ext>
            </a:extLst>
          </p:cNvPr>
          <p:cNvSpPr/>
          <p:nvPr/>
        </p:nvSpPr>
        <p:spPr bwMode="gray">
          <a:xfrm flipH="1">
            <a:off x="4374515" y="3500063"/>
            <a:ext cx="232383" cy="173468"/>
          </a:xfrm>
          <a:prstGeom prst="roundRect">
            <a:avLst>
              <a:gd name="adj" fmla="val 5209"/>
            </a:avLst>
          </a:prstGeom>
          <a:noFill/>
          <a:ln w="6350" cap="rnd" algn="ctr">
            <a:solidFill>
              <a:srgbClr val="C00000"/>
            </a:solidFill>
            <a:miter lim="800000"/>
            <a:headEnd/>
            <a:tailEnd/>
          </a:ln>
        </p:spPr>
        <p:txBody>
          <a:bodyPr lIns="18288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Arial" charset="0"/>
            </a:endParaRPr>
          </a:p>
        </p:txBody>
      </p:sp>
      <p:sp>
        <p:nvSpPr>
          <p:cNvPr id="25" name="Rounded Rectangle 77">
            <a:extLst>
              <a:ext uri="{FF2B5EF4-FFF2-40B4-BE49-F238E27FC236}">
                <a16:creationId xmlns:a16="http://schemas.microsoft.com/office/drawing/2014/main" id="{81E960EB-9CA7-4A52-B0AE-FEE265AC726D}"/>
              </a:ext>
            </a:extLst>
          </p:cNvPr>
          <p:cNvSpPr/>
          <p:nvPr/>
        </p:nvSpPr>
        <p:spPr bwMode="gray">
          <a:xfrm flipH="1">
            <a:off x="4650181" y="3500063"/>
            <a:ext cx="457200" cy="173468"/>
          </a:xfrm>
          <a:prstGeom prst="roundRect">
            <a:avLst>
              <a:gd name="adj" fmla="val 5209"/>
            </a:avLst>
          </a:prstGeom>
          <a:noFill/>
          <a:ln w="12700" cap="rnd" algn="ctr">
            <a:noFill/>
            <a:miter lim="800000"/>
            <a:headEnd/>
            <a:tailEnd/>
          </a:ln>
        </p:spPr>
        <p:txBody>
          <a:bodyPr lIns="0" tIns="0" rIns="0" bIns="0" rtlCol="0" anchor="ctr" anchorCtr="0"/>
          <a:lstStyle/>
          <a:p>
            <a:pPr marL="0" marR="0" lvl="0" indent="0" algn="l" defTabSz="914400" rtl="0" eaLnBrk="0" fontAlgn="base" latinLnBrk="0" hangingPunct="0">
              <a:lnSpc>
                <a:spcPct val="106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lumMod val="75000"/>
                  </a:srgbClr>
                </a:solidFill>
                <a:effectLst/>
                <a:uLnTx/>
                <a:uFillTx/>
                <a:ea typeface="+mn-ea"/>
                <a:cs typeface="Arial" charset="0"/>
              </a:rPr>
              <a:t>High</a:t>
            </a:r>
          </a:p>
        </p:txBody>
      </p:sp>
      <p:sp>
        <p:nvSpPr>
          <p:cNvPr id="26" name="Rounded Rectangle 78">
            <a:extLst>
              <a:ext uri="{FF2B5EF4-FFF2-40B4-BE49-F238E27FC236}">
                <a16:creationId xmlns:a16="http://schemas.microsoft.com/office/drawing/2014/main" id="{6D450C9A-37F0-4A1C-A535-33EFACF4D072}"/>
              </a:ext>
            </a:extLst>
          </p:cNvPr>
          <p:cNvSpPr/>
          <p:nvPr/>
        </p:nvSpPr>
        <p:spPr bwMode="gray">
          <a:xfrm flipH="1">
            <a:off x="4374515" y="3697189"/>
            <a:ext cx="232383" cy="173468"/>
          </a:xfrm>
          <a:prstGeom prst="roundRect">
            <a:avLst>
              <a:gd name="adj" fmla="val 5209"/>
            </a:avLst>
          </a:prstGeom>
          <a:solidFill>
            <a:srgbClr val="FFC000"/>
          </a:solidFill>
          <a:ln w="6350" cap="rnd" algn="ctr">
            <a:solidFill>
              <a:srgbClr val="FFC000"/>
            </a:solidFill>
            <a:miter lim="800000"/>
            <a:headEnd/>
            <a:tailEnd/>
          </a:ln>
        </p:spPr>
        <p:txBody>
          <a:bodyPr lIns="18288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Arial" charset="0"/>
            </a:endParaRPr>
          </a:p>
        </p:txBody>
      </p:sp>
      <p:sp>
        <p:nvSpPr>
          <p:cNvPr id="27" name="Rounded Rectangle 79">
            <a:extLst>
              <a:ext uri="{FF2B5EF4-FFF2-40B4-BE49-F238E27FC236}">
                <a16:creationId xmlns:a16="http://schemas.microsoft.com/office/drawing/2014/main" id="{92E8BF56-69CE-4ACA-B76A-07352AEBCEB4}"/>
              </a:ext>
            </a:extLst>
          </p:cNvPr>
          <p:cNvSpPr/>
          <p:nvPr/>
        </p:nvSpPr>
        <p:spPr bwMode="gray">
          <a:xfrm flipH="1">
            <a:off x="4650181" y="3697189"/>
            <a:ext cx="457200" cy="173468"/>
          </a:xfrm>
          <a:prstGeom prst="roundRect">
            <a:avLst>
              <a:gd name="adj" fmla="val 5209"/>
            </a:avLst>
          </a:prstGeom>
          <a:noFill/>
          <a:ln w="12700" cap="rnd" algn="ctr">
            <a:noFill/>
            <a:miter lim="800000"/>
            <a:headEnd/>
            <a:tailEnd/>
          </a:ln>
        </p:spPr>
        <p:txBody>
          <a:bodyPr lIns="0" tIns="0" rIns="0" bIns="0" rtlCol="0" anchor="ctr" anchorCtr="0"/>
          <a:lstStyle/>
          <a:p>
            <a:pPr marL="0" marR="0" lvl="0" indent="0" algn="l" defTabSz="914400" rtl="0" eaLnBrk="0" fontAlgn="base" latinLnBrk="0" hangingPunct="0">
              <a:lnSpc>
                <a:spcPct val="106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Arial" charset="0"/>
              </a:rPr>
              <a:t>Medium</a:t>
            </a:r>
          </a:p>
        </p:txBody>
      </p:sp>
      <p:sp>
        <p:nvSpPr>
          <p:cNvPr id="28" name="Rounded Rectangle 80">
            <a:extLst>
              <a:ext uri="{FF2B5EF4-FFF2-40B4-BE49-F238E27FC236}">
                <a16:creationId xmlns:a16="http://schemas.microsoft.com/office/drawing/2014/main" id="{1709EE7A-F92D-4419-BDDC-878425E12703}"/>
              </a:ext>
            </a:extLst>
          </p:cNvPr>
          <p:cNvSpPr/>
          <p:nvPr/>
        </p:nvSpPr>
        <p:spPr bwMode="gray">
          <a:xfrm flipH="1">
            <a:off x="4374515" y="3894314"/>
            <a:ext cx="232383" cy="173468"/>
          </a:xfrm>
          <a:prstGeom prst="roundRect">
            <a:avLst>
              <a:gd name="adj" fmla="val 5209"/>
            </a:avLst>
          </a:prstGeom>
          <a:noFill/>
          <a:ln w="6350" cap="rnd" algn="ctr">
            <a:solidFill>
              <a:srgbClr val="00B050"/>
            </a:solidFill>
            <a:miter lim="800000"/>
            <a:headEnd/>
            <a:tailEnd/>
          </a:ln>
        </p:spPr>
        <p:txBody>
          <a:bodyPr lIns="18288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Arial" charset="0"/>
            </a:endParaRPr>
          </a:p>
        </p:txBody>
      </p:sp>
      <p:sp>
        <p:nvSpPr>
          <p:cNvPr id="29" name="Rounded Rectangle 81">
            <a:extLst>
              <a:ext uri="{FF2B5EF4-FFF2-40B4-BE49-F238E27FC236}">
                <a16:creationId xmlns:a16="http://schemas.microsoft.com/office/drawing/2014/main" id="{9E5A86A2-7CF6-40B7-8871-A02119BDB7F3}"/>
              </a:ext>
            </a:extLst>
          </p:cNvPr>
          <p:cNvSpPr/>
          <p:nvPr/>
        </p:nvSpPr>
        <p:spPr bwMode="gray">
          <a:xfrm flipH="1">
            <a:off x="4650181" y="3894314"/>
            <a:ext cx="457200" cy="173468"/>
          </a:xfrm>
          <a:prstGeom prst="roundRect">
            <a:avLst>
              <a:gd name="adj" fmla="val 5209"/>
            </a:avLst>
          </a:prstGeom>
          <a:noFill/>
          <a:ln w="12700" cap="rnd" algn="ctr">
            <a:noFill/>
            <a:miter lim="800000"/>
            <a:headEnd/>
            <a:tailEnd/>
          </a:ln>
        </p:spPr>
        <p:txBody>
          <a:bodyPr lIns="0" tIns="0" rIns="0" bIns="0" rtlCol="0" anchor="ctr" anchorCtr="0"/>
          <a:lstStyle/>
          <a:p>
            <a:pPr marL="0" marR="0" lvl="0" indent="0" algn="l" defTabSz="914400" rtl="0" eaLnBrk="0" fontAlgn="base" latinLnBrk="0" hangingPunct="0">
              <a:lnSpc>
                <a:spcPct val="106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lumMod val="75000"/>
                  </a:srgbClr>
                </a:solidFill>
                <a:effectLst/>
                <a:uLnTx/>
                <a:uFillTx/>
                <a:ea typeface="+mn-ea"/>
                <a:cs typeface="Arial" charset="0"/>
              </a:rPr>
              <a:t>Low</a:t>
            </a:r>
          </a:p>
        </p:txBody>
      </p:sp>
      <p:sp>
        <p:nvSpPr>
          <p:cNvPr id="30" name="Rounded Rectangle 35">
            <a:extLst>
              <a:ext uri="{FF2B5EF4-FFF2-40B4-BE49-F238E27FC236}">
                <a16:creationId xmlns:a16="http://schemas.microsoft.com/office/drawing/2014/main" id="{D6584026-682E-488B-819F-E28315F60F23}"/>
              </a:ext>
            </a:extLst>
          </p:cNvPr>
          <p:cNvSpPr/>
          <p:nvPr/>
        </p:nvSpPr>
        <p:spPr bwMode="gray">
          <a:xfrm flipH="1">
            <a:off x="5830192" y="2480313"/>
            <a:ext cx="232383" cy="173468"/>
          </a:xfrm>
          <a:prstGeom prst="roundRect">
            <a:avLst>
              <a:gd name="adj" fmla="val 5209"/>
            </a:avLst>
          </a:prstGeom>
          <a:solidFill>
            <a:srgbClr val="C00000"/>
          </a:solidFill>
          <a:ln w="6350" cap="rnd" algn="ctr">
            <a:solidFill>
              <a:srgbClr val="C00000"/>
            </a:solidFill>
            <a:miter lim="800000"/>
            <a:headEnd/>
            <a:tailEnd/>
          </a:ln>
        </p:spPr>
        <p:txBody>
          <a:bodyPr lIns="18288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Arial" charset="0"/>
            </a:endParaRPr>
          </a:p>
        </p:txBody>
      </p:sp>
      <p:sp>
        <p:nvSpPr>
          <p:cNvPr id="31" name="Rounded Rectangle 36">
            <a:extLst>
              <a:ext uri="{FF2B5EF4-FFF2-40B4-BE49-F238E27FC236}">
                <a16:creationId xmlns:a16="http://schemas.microsoft.com/office/drawing/2014/main" id="{37C6A3A9-3C6B-4ED3-8E8A-9BF8D3A04990}"/>
              </a:ext>
            </a:extLst>
          </p:cNvPr>
          <p:cNvSpPr/>
          <p:nvPr/>
        </p:nvSpPr>
        <p:spPr bwMode="gray">
          <a:xfrm flipH="1">
            <a:off x="6105858" y="2480313"/>
            <a:ext cx="457200" cy="173468"/>
          </a:xfrm>
          <a:prstGeom prst="roundRect">
            <a:avLst>
              <a:gd name="adj" fmla="val 5209"/>
            </a:avLst>
          </a:prstGeom>
          <a:noFill/>
          <a:ln w="12700" cap="rnd" algn="ctr">
            <a:noFill/>
            <a:miter lim="800000"/>
            <a:headEnd/>
            <a:tailEnd/>
          </a:ln>
        </p:spPr>
        <p:txBody>
          <a:bodyPr lIns="0" tIns="0" rIns="0" bIns="0" rtlCol="0" anchor="ctr" anchorCtr="0"/>
          <a:lstStyle/>
          <a:p>
            <a:pPr marL="0" marR="0" lvl="0" indent="0" algn="l" defTabSz="914400" rtl="0" eaLnBrk="0" fontAlgn="base" latinLnBrk="0" hangingPunct="0">
              <a:lnSpc>
                <a:spcPct val="106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Arial" charset="0"/>
              </a:rPr>
              <a:t>High</a:t>
            </a:r>
          </a:p>
        </p:txBody>
      </p:sp>
      <p:sp>
        <p:nvSpPr>
          <p:cNvPr id="32" name="Rounded Rectangle 37">
            <a:extLst>
              <a:ext uri="{FF2B5EF4-FFF2-40B4-BE49-F238E27FC236}">
                <a16:creationId xmlns:a16="http://schemas.microsoft.com/office/drawing/2014/main" id="{7180A2A8-2000-4F24-AB1D-65340C342039}"/>
              </a:ext>
            </a:extLst>
          </p:cNvPr>
          <p:cNvSpPr/>
          <p:nvPr/>
        </p:nvSpPr>
        <p:spPr bwMode="gray">
          <a:xfrm flipH="1">
            <a:off x="5830192" y="2677439"/>
            <a:ext cx="232383" cy="173468"/>
          </a:xfrm>
          <a:prstGeom prst="roundRect">
            <a:avLst>
              <a:gd name="adj" fmla="val 5209"/>
            </a:avLst>
          </a:prstGeom>
          <a:noFill/>
          <a:ln w="6350" cap="rnd" algn="ctr">
            <a:solidFill>
              <a:srgbClr val="FFC000"/>
            </a:solidFill>
            <a:miter lim="800000"/>
            <a:headEnd/>
            <a:tailEnd/>
          </a:ln>
        </p:spPr>
        <p:txBody>
          <a:bodyPr lIns="18288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Arial" charset="0"/>
            </a:endParaRPr>
          </a:p>
        </p:txBody>
      </p:sp>
      <p:sp>
        <p:nvSpPr>
          <p:cNvPr id="33" name="Rounded Rectangle 38">
            <a:extLst>
              <a:ext uri="{FF2B5EF4-FFF2-40B4-BE49-F238E27FC236}">
                <a16:creationId xmlns:a16="http://schemas.microsoft.com/office/drawing/2014/main" id="{E9701294-C160-4D4A-8D8A-476DB80C38C2}"/>
              </a:ext>
            </a:extLst>
          </p:cNvPr>
          <p:cNvSpPr/>
          <p:nvPr/>
        </p:nvSpPr>
        <p:spPr bwMode="gray">
          <a:xfrm flipH="1">
            <a:off x="6105858" y="2677439"/>
            <a:ext cx="457200" cy="173468"/>
          </a:xfrm>
          <a:prstGeom prst="roundRect">
            <a:avLst>
              <a:gd name="adj" fmla="val 5209"/>
            </a:avLst>
          </a:prstGeom>
          <a:noFill/>
          <a:ln w="12700" cap="rnd" algn="ctr">
            <a:noFill/>
            <a:miter lim="800000"/>
            <a:headEnd/>
            <a:tailEnd/>
          </a:ln>
        </p:spPr>
        <p:txBody>
          <a:bodyPr lIns="0" tIns="0" rIns="0" bIns="0" rtlCol="0" anchor="ctr" anchorCtr="0"/>
          <a:lstStyle/>
          <a:p>
            <a:pPr marL="0" marR="0" lvl="0" indent="0" algn="l" defTabSz="914400" rtl="0" eaLnBrk="0" fontAlgn="base" latinLnBrk="0" hangingPunct="0">
              <a:lnSpc>
                <a:spcPct val="106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lumMod val="75000"/>
                  </a:srgbClr>
                </a:solidFill>
                <a:effectLst/>
                <a:uLnTx/>
                <a:uFillTx/>
                <a:ea typeface="+mn-ea"/>
                <a:cs typeface="Arial" charset="0"/>
              </a:rPr>
              <a:t>Medium</a:t>
            </a:r>
          </a:p>
        </p:txBody>
      </p:sp>
      <p:sp>
        <p:nvSpPr>
          <p:cNvPr id="34" name="Rounded Rectangle 39">
            <a:extLst>
              <a:ext uri="{FF2B5EF4-FFF2-40B4-BE49-F238E27FC236}">
                <a16:creationId xmlns:a16="http://schemas.microsoft.com/office/drawing/2014/main" id="{B29EAA30-FC9D-4FB8-B0D0-B2D35A401847}"/>
              </a:ext>
            </a:extLst>
          </p:cNvPr>
          <p:cNvSpPr/>
          <p:nvPr/>
        </p:nvSpPr>
        <p:spPr bwMode="gray">
          <a:xfrm flipH="1">
            <a:off x="5830192" y="2874564"/>
            <a:ext cx="232383" cy="173468"/>
          </a:xfrm>
          <a:prstGeom prst="roundRect">
            <a:avLst>
              <a:gd name="adj" fmla="val 5209"/>
            </a:avLst>
          </a:prstGeom>
          <a:noFill/>
          <a:ln w="6350" cap="rnd" algn="ctr">
            <a:solidFill>
              <a:srgbClr val="00B050"/>
            </a:solidFill>
            <a:miter lim="800000"/>
            <a:headEnd/>
            <a:tailEnd/>
          </a:ln>
        </p:spPr>
        <p:txBody>
          <a:bodyPr lIns="18288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Arial" charset="0"/>
            </a:endParaRPr>
          </a:p>
        </p:txBody>
      </p:sp>
      <p:sp>
        <p:nvSpPr>
          <p:cNvPr id="35" name="Rounded Rectangle 43">
            <a:extLst>
              <a:ext uri="{FF2B5EF4-FFF2-40B4-BE49-F238E27FC236}">
                <a16:creationId xmlns:a16="http://schemas.microsoft.com/office/drawing/2014/main" id="{D55F1300-F088-4309-AEC7-9C6EF22320D4}"/>
              </a:ext>
            </a:extLst>
          </p:cNvPr>
          <p:cNvSpPr/>
          <p:nvPr/>
        </p:nvSpPr>
        <p:spPr bwMode="gray">
          <a:xfrm flipH="1">
            <a:off x="6105858" y="2874564"/>
            <a:ext cx="457200" cy="173468"/>
          </a:xfrm>
          <a:prstGeom prst="roundRect">
            <a:avLst>
              <a:gd name="adj" fmla="val 5209"/>
            </a:avLst>
          </a:prstGeom>
          <a:noFill/>
          <a:ln w="12700" cap="rnd" algn="ctr">
            <a:noFill/>
            <a:miter lim="800000"/>
            <a:headEnd/>
            <a:tailEnd/>
          </a:ln>
        </p:spPr>
        <p:txBody>
          <a:bodyPr lIns="0" tIns="0" rIns="0" bIns="0" rtlCol="0" anchor="ctr" anchorCtr="0"/>
          <a:lstStyle/>
          <a:p>
            <a:pPr marL="0" marR="0" lvl="0" indent="0" algn="l" defTabSz="914400" rtl="0" eaLnBrk="0" fontAlgn="base" latinLnBrk="0" hangingPunct="0">
              <a:lnSpc>
                <a:spcPct val="106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lumMod val="75000"/>
                  </a:srgbClr>
                </a:solidFill>
                <a:effectLst/>
                <a:uLnTx/>
                <a:uFillTx/>
                <a:ea typeface="+mn-ea"/>
                <a:cs typeface="Arial" charset="0"/>
              </a:rPr>
              <a:t>Low</a:t>
            </a:r>
          </a:p>
        </p:txBody>
      </p:sp>
      <p:sp>
        <p:nvSpPr>
          <p:cNvPr id="36" name="Rounded Rectangle 45">
            <a:extLst>
              <a:ext uri="{FF2B5EF4-FFF2-40B4-BE49-F238E27FC236}">
                <a16:creationId xmlns:a16="http://schemas.microsoft.com/office/drawing/2014/main" id="{7CCDFB6A-45A2-4431-9468-A346CBC0DC54}"/>
              </a:ext>
            </a:extLst>
          </p:cNvPr>
          <p:cNvSpPr/>
          <p:nvPr/>
        </p:nvSpPr>
        <p:spPr bwMode="gray">
          <a:xfrm flipH="1">
            <a:off x="5830192" y="5433644"/>
            <a:ext cx="232383" cy="173468"/>
          </a:xfrm>
          <a:prstGeom prst="roundRect">
            <a:avLst>
              <a:gd name="adj" fmla="val 5209"/>
            </a:avLst>
          </a:prstGeom>
          <a:noFill/>
          <a:ln w="6350" cap="rnd" algn="ctr">
            <a:solidFill>
              <a:srgbClr val="C00000"/>
            </a:solidFill>
            <a:miter lim="800000"/>
            <a:headEnd/>
            <a:tailEnd/>
          </a:ln>
        </p:spPr>
        <p:txBody>
          <a:bodyPr lIns="18288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Arial" charset="0"/>
            </a:endParaRPr>
          </a:p>
        </p:txBody>
      </p:sp>
      <p:sp>
        <p:nvSpPr>
          <p:cNvPr id="37" name="Rounded Rectangle 46">
            <a:extLst>
              <a:ext uri="{FF2B5EF4-FFF2-40B4-BE49-F238E27FC236}">
                <a16:creationId xmlns:a16="http://schemas.microsoft.com/office/drawing/2014/main" id="{156AED95-4A68-498A-93C0-D8E68E1C6CA5}"/>
              </a:ext>
            </a:extLst>
          </p:cNvPr>
          <p:cNvSpPr/>
          <p:nvPr/>
        </p:nvSpPr>
        <p:spPr bwMode="gray">
          <a:xfrm flipH="1">
            <a:off x="6105858" y="5433644"/>
            <a:ext cx="457200" cy="173468"/>
          </a:xfrm>
          <a:prstGeom prst="roundRect">
            <a:avLst>
              <a:gd name="adj" fmla="val 5209"/>
            </a:avLst>
          </a:prstGeom>
          <a:noFill/>
          <a:ln w="12700" cap="rnd" algn="ctr">
            <a:noFill/>
            <a:miter lim="800000"/>
            <a:headEnd/>
            <a:tailEnd/>
          </a:ln>
        </p:spPr>
        <p:txBody>
          <a:bodyPr lIns="0" tIns="0" rIns="0" bIns="0" rtlCol="0" anchor="ctr" anchorCtr="0"/>
          <a:lstStyle/>
          <a:p>
            <a:pPr marL="0" marR="0" lvl="0" indent="0" algn="l" defTabSz="914400" rtl="0" eaLnBrk="0" fontAlgn="base" latinLnBrk="0" hangingPunct="0">
              <a:lnSpc>
                <a:spcPct val="106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lumMod val="75000"/>
                  </a:srgbClr>
                </a:solidFill>
                <a:effectLst/>
                <a:uLnTx/>
                <a:uFillTx/>
                <a:ea typeface="+mn-ea"/>
                <a:cs typeface="Arial" charset="0"/>
              </a:rPr>
              <a:t>High</a:t>
            </a:r>
          </a:p>
        </p:txBody>
      </p:sp>
      <p:sp>
        <p:nvSpPr>
          <p:cNvPr id="38" name="Rounded Rectangle 47">
            <a:extLst>
              <a:ext uri="{FF2B5EF4-FFF2-40B4-BE49-F238E27FC236}">
                <a16:creationId xmlns:a16="http://schemas.microsoft.com/office/drawing/2014/main" id="{499196A2-AC0A-402B-AB46-51C521B8C9A6}"/>
              </a:ext>
            </a:extLst>
          </p:cNvPr>
          <p:cNvSpPr/>
          <p:nvPr/>
        </p:nvSpPr>
        <p:spPr bwMode="gray">
          <a:xfrm flipH="1">
            <a:off x="5830192" y="5630770"/>
            <a:ext cx="232383" cy="173468"/>
          </a:xfrm>
          <a:prstGeom prst="roundRect">
            <a:avLst>
              <a:gd name="adj" fmla="val 5209"/>
            </a:avLst>
          </a:prstGeom>
          <a:solidFill>
            <a:srgbClr val="FFC000"/>
          </a:solidFill>
          <a:ln w="6350" cap="rnd" algn="ctr">
            <a:solidFill>
              <a:srgbClr val="FFC000"/>
            </a:solidFill>
            <a:miter lim="800000"/>
            <a:headEnd/>
            <a:tailEnd/>
          </a:ln>
        </p:spPr>
        <p:txBody>
          <a:bodyPr lIns="18288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Arial" charset="0"/>
            </a:endParaRPr>
          </a:p>
        </p:txBody>
      </p:sp>
      <p:sp>
        <p:nvSpPr>
          <p:cNvPr id="39" name="Rounded Rectangle 48">
            <a:extLst>
              <a:ext uri="{FF2B5EF4-FFF2-40B4-BE49-F238E27FC236}">
                <a16:creationId xmlns:a16="http://schemas.microsoft.com/office/drawing/2014/main" id="{6636A14B-EA5D-4D77-8303-F3C25995ACF9}"/>
              </a:ext>
            </a:extLst>
          </p:cNvPr>
          <p:cNvSpPr/>
          <p:nvPr/>
        </p:nvSpPr>
        <p:spPr bwMode="gray">
          <a:xfrm flipH="1">
            <a:off x="6105858" y="5630770"/>
            <a:ext cx="457200" cy="173468"/>
          </a:xfrm>
          <a:prstGeom prst="roundRect">
            <a:avLst>
              <a:gd name="adj" fmla="val 5209"/>
            </a:avLst>
          </a:prstGeom>
          <a:noFill/>
          <a:ln w="12700" cap="rnd" algn="ctr">
            <a:noFill/>
            <a:miter lim="800000"/>
            <a:headEnd/>
            <a:tailEnd/>
          </a:ln>
        </p:spPr>
        <p:txBody>
          <a:bodyPr lIns="0" tIns="0" rIns="0" bIns="0" rtlCol="0" anchor="ctr" anchorCtr="0"/>
          <a:lstStyle/>
          <a:p>
            <a:pPr marL="0" marR="0" lvl="0" indent="0" algn="l" defTabSz="914400" rtl="0" eaLnBrk="0" fontAlgn="base" latinLnBrk="0" hangingPunct="0">
              <a:lnSpc>
                <a:spcPct val="106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Arial" charset="0"/>
              </a:rPr>
              <a:t>Medium</a:t>
            </a:r>
          </a:p>
        </p:txBody>
      </p:sp>
      <p:sp>
        <p:nvSpPr>
          <p:cNvPr id="40" name="Rounded Rectangle 49">
            <a:extLst>
              <a:ext uri="{FF2B5EF4-FFF2-40B4-BE49-F238E27FC236}">
                <a16:creationId xmlns:a16="http://schemas.microsoft.com/office/drawing/2014/main" id="{5F2B1157-1749-4715-919E-7E95BA682B3D}"/>
              </a:ext>
            </a:extLst>
          </p:cNvPr>
          <p:cNvSpPr/>
          <p:nvPr/>
        </p:nvSpPr>
        <p:spPr bwMode="gray">
          <a:xfrm flipH="1">
            <a:off x="5830192" y="5827895"/>
            <a:ext cx="232383" cy="173468"/>
          </a:xfrm>
          <a:prstGeom prst="roundRect">
            <a:avLst>
              <a:gd name="adj" fmla="val 5209"/>
            </a:avLst>
          </a:prstGeom>
          <a:noFill/>
          <a:ln w="6350" cap="rnd" algn="ctr">
            <a:solidFill>
              <a:srgbClr val="00B050"/>
            </a:solidFill>
            <a:miter lim="800000"/>
            <a:headEnd/>
            <a:tailEnd/>
          </a:ln>
        </p:spPr>
        <p:txBody>
          <a:bodyPr lIns="18288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Arial" charset="0"/>
            </a:endParaRPr>
          </a:p>
        </p:txBody>
      </p:sp>
      <p:sp>
        <p:nvSpPr>
          <p:cNvPr id="41" name="Rounded Rectangle 50">
            <a:extLst>
              <a:ext uri="{FF2B5EF4-FFF2-40B4-BE49-F238E27FC236}">
                <a16:creationId xmlns:a16="http://schemas.microsoft.com/office/drawing/2014/main" id="{C8DB8492-6AD4-49AF-A389-BBD5BDBE6465}"/>
              </a:ext>
            </a:extLst>
          </p:cNvPr>
          <p:cNvSpPr/>
          <p:nvPr/>
        </p:nvSpPr>
        <p:spPr bwMode="gray">
          <a:xfrm flipH="1">
            <a:off x="6105858" y="5827895"/>
            <a:ext cx="457200" cy="173468"/>
          </a:xfrm>
          <a:prstGeom prst="roundRect">
            <a:avLst>
              <a:gd name="adj" fmla="val 5209"/>
            </a:avLst>
          </a:prstGeom>
          <a:noFill/>
          <a:ln w="12700" cap="rnd" algn="ctr">
            <a:noFill/>
            <a:miter lim="800000"/>
            <a:headEnd/>
            <a:tailEnd/>
          </a:ln>
        </p:spPr>
        <p:txBody>
          <a:bodyPr lIns="0" tIns="0" rIns="0" bIns="0" rtlCol="0" anchor="ctr" anchorCtr="0"/>
          <a:lstStyle/>
          <a:p>
            <a:pPr marL="0" marR="0" lvl="0" indent="0" algn="l" defTabSz="914400" rtl="0" eaLnBrk="0" fontAlgn="base" latinLnBrk="0" hangingPunct="0">
              <a:lnSpc>
                <a:spcPct val="106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lumMod val="75000"/>
                  </a:srgbClr>
                </a:solidFill>
                <a:effectLst/>
                <a:uLnTx/>
                <a:uFillTx/>
                <a:ea typeface="+mn-ea"/>
                <a:cs typeface="Arial" charset="0"/>
              </a:rPr>
              <a:t>Low</a:t>
            </a:r>
          </a:p>
        </p:txBody>
      </p:sp>
      <p:sp>
        <p:nvSpPr>
          <p:cNvPr id="42" name="Rounded Rectangle 52">
            <a:extLst>
              <a:ext uri="{FF2B5EF4-FFF2-40B4-BE49-F238E27FC236}">
                <a16:creationId xmlns:a16="http://schemas.microsoft.com/office/drawing/2014/main" id="{AED452C9-B064-4D18-B181-840F2464F1D6}"/>
              </a:ext>
            </a:extLst>
          </p:cNvPr>
          <p:cNvSpPr/>
          <p:nvPr/>
        </p:nvSpPr>
        <p:spPr bwMode="gray">
          <a:xfrm flipH="1">
            <a:off x="5820334" y="4496155"/>
            <a:ext cx="232383" cy="173468"/>
          </a:xfrm>
          <a:prstGeom prst="roundRect">
            <a:avLst>
              <a:gd name="adj" fmla="val 5209"/>
            </a:avLst>
          </a:prstGeom>
          <a:noFill/>
          <a:ln w="6350" cap="rnd" algn="ctr">
            <a:solidFill>
              <a:srgbClr val="C00000"/>
            </a:solidFill>
            <a:miter lim="800000"/>
            <a:headEnd/>
            <a:tailEnd/>
          </a:ln>
        </p:spPr>
        <p:txBody>
          <a:bodyPr lIns="18288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Arial" charset="0"/>
            </a:endParaRPr>
          </a:p>
        </p:txBody>
      </p:sp>
      <p:sp>
        <p:nvSpPr>
          <p:cNvPr id="43" name="Rounded Rectangle 53">
            <a:extLst>
              <a:ext uri="{FF2B5EF4-FFF2-40B4-BE49-F238E27FC236}">
                <a16:creationId xmlns:a16="http://schemas.microsoft.com/office/drawing/2014/main" id="{325DA5DB-9CB9-48E2-8EBD-DDF447ED9E6B}"/>
              </a:ext>
            </a:extLst>
          </p:cNvPr>
          <p:cNvSpPr/>
          <p:nvPr/>
        </p:nvSpPr>
        <p:spPr bwMode="gray">
          <a:xfrm flipH="1">
            <a:off x="6096000" y="4496155"/>
            <a:ext cx="457200" cy="173468"/>
          </a:xfrm>
          <a:prstGeom prst="roundRect">
            <a:avLst>
              <a:gd name="adj" fmla="val 5209"/>
            </a:avLst>
          </a:prstGeom>
          <a:noFill/>
          <a:ln w="12700" cap="rnd" algn="ctr">
            <a:noFill/>
            <a:miter lim="800000"/>
            <a:headEnd/>
            <a:tailEnd/>
          </a:ln>
        </p:spPr>
        <p:txBody>
          <a:bodyPr lIns="0" tIns="0" rIns="0" bIns="0" rtlCol="0" anchor="ctr" anchorCtr="0"/>
          <a:lstStyle/>
          <a:p>
            <a:pPr marL="0" marR="0" lvl="0" indent="0" algn="l" defTabSz="914400" rtl="0" eaLnBrk="0" fontAlgn="base" latinLnBrk="0" hangingPunct="0">
              <a:lnSpc>
                <a:spcPct val="106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lumMod val="75000"/>
                  </a:srgbClr>
                </a:solidFill>
                <a:effectLst/>
                <a:uLnTx/>
                <a:uFillTx/>
                <a:ea typeface="+mn-ea"/>
                <a:cs typeface="Arial" charset="0"/>
              </a:rPr>
              <a:t>High</a:t>
            </a:r>
          </a:p>
        </p:txBody>
      </p:sp>
      <p:sp>
        <p:nvSpPr>
          <p:cNvPr id="44" name="Rounded Rectangle 54">
            <a:extLst>
              <a:ext uri="{FF2B5EF4-FFF2-40B4-BE49-F238E27FC236}">
                <a16:creationId xmlns:a16="http://schemas.microsoft.com/office/drawing/2014/main" id="{F48FAC2F-F965-43D8-BC05-DF59B638EA24}"/>
              </a:ext>
            </a:extLst>
          </p:cNvPr>
          <p:cNvSpPr/>
          <p:nvPr/>
        </p:nvSpPr>
        <p:spPr bwMode="gray">
          <a:xfrm flipH="1">
            <a:off x="5820334" y="4693281"/>
            <a:ext cx="232383" cy="173468"/>
          </a:xfrm>
          <a:prstGeom prst="roundRect">
            <a:avLst>
              <a:gd name="adj" fmla="val 5209"/>
            </a:avLst>
          </a:prstGeom>
          <a:solidFill>
            <a:srgbClr val="FFC000"/>
          </a:solidFill>
          <a:ln w="6350" cap="rnd" algn="ctr">
            <a:solidFill>
              <a:srgbClr val="FFC000"/>
            </a:solidFill>
            <a:miter lim="800000"/>
            <a:headEnd/>
            <a:tailEnd/>
          </a:ln>
        </p:spPr>
        <p:txBody>
          <a:bodyPr lIns="18288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Arial" charset="0"/>
            </a:endParaRPr>
          </a:p>
        </p:txBody>
      </p:sp>
      <p:sp>
        <p:nvSpPr>
          <p:cNvPr id="45" name="Rounded Rectangle 56">
            <a:extLst>
              <a:ext uri="{FF2B5EF4-FFF2-40B4-BE49-F238E27FC236}">
                <a16:creationId xmlns:a16="http://schemas.microsoft.com/office/drawing/2014/main" id="{62EEDEDA-2BA1-4029-9B92-0D3E00E577FA}"/>
              </a:ext>
            </a:extLst>
          </p:cNvPr>
          <p:cNvSpPr/>
          <p:nvPr/>
        </p:nvSpPr>
        <p:spPr bwMode="gray">
          <a:xfrm flipH="1">
            <a:off x="6096000" y="4693281"/>
            <a:ext cx="457200" cy="173468"/>
          </a:xfrm>
          <a:prstGeom prst="roundRect">
            <a:avLst>
              <a:gd name="adj" fmla="val 5209"/>
            </a:avLst>
          </a:prstGeom>
          <a:noFill/>
          <a:ln w="12700" cap="rnd" algn="ctr">
            <a:noFill/>
            <a:miter lim="800000"/>
            <a:headEnd/>
            <a:tailEnd/>
          </a:ln>
        </p:spPr>
        <p:txBody>
          <a:bodyPr lIns="0" tIns="0" rIns="0" bIns="0" rtlCol="0" anchor="ctr" anchorCtr="0"/>
          <a:lstStyle/>
          <a:p>
            <a:pPr marL="0" marR="0" lvl="0" indent="0" algn="l" defTabSz="914400" rtl="0" eaLnBrk="0" fontAlgn="base" latinLnBrk="0" hangingPunct="0">
              <a:lnSpc>
                <a:spcPct val="106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Arial" charset="0"/>
              </a:rPr>
              <a:t>Medium</a:t>
            </a:r>
          </a:p>
        </p:txBody>
      </p:sp>
      <p:sp>
        <p:nvSpPr>
          <p:cNvPr id="46" name="Rounded Rectangle 57">
            <a:extLst>
              <a:ext uri="{FF2B5EF4-FFF2-40B4-BE49-F238E27FC236}">
                <a16:creationId xmlns:a16="http://schemas.microsoft.com/office/drawing/2014/main" id="{4A4EA444-D3EF-4EAA-8476-08C015A34111}"/>
              </a:ext>
            </a:extLst>
          </p:cNvPr>
          <p:cNvSpPr/>
          <p:nvPr/>
        </p:nvSpPr>
        <p:spPr bwMode="gray">
          <a:xfrm flipH="1">
            <a:off x="5820334" y="4890406"/>
            <a:ext cx="232383" cy="173468"/>
          </a:xfrm>
          <a:prstGeom prst="roundRect">
            <a:avLst>
              <a:gd name="adj" fmla="val 5209"/>
            </a:avLst>
          </a:prstGeom>
          <a:noFill/>
          <a:ln w="6350" cap="rnd" algn="ctr">
            <a:solidFill>
              <a:srgbClr val="00B050"/>
            </a:solidFill>
            <a:miter lim="800000"/>
            <a:headEnd/>
            <a:tailEnd/>
          </a:ln>
        </p:spPr>
        <p:txBody>
          <a:bodyPr lIns="18288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Arial" charset="0"/>
            </a:endParaRPr>
          </a:p>
        </p:txBody>
      </p:sp>
      <p:sp>
        <p:nvSpPr>
          <p:cNvPr id="47" name="Rounded Rectangle 58">
            <a:extLst>
              <a:ext uri="{FF2B5EF4-FFF2-40B4-BE49-F238E27FC236}">
                <a16:creationId xmlns:a16="http://schemas.microsoft.com/office/drawing/2014/main" id="{AB956FD6-24A6-4CDC-8304-44183C4846BB}"/>
              </a:ext>
            </a:extLst>
          </p:cNvPr>
          <p:cNvSpPr/>
          <p:nvPr/>
        </p:nvSpPr>
        <p:spPr bwMode="gray">
          <a:xfrm flipH="1">
            <a:off x="6096000" y="4890406"/>
            <a:ext cx="457200" cy="173468"/>
          </a:xfrm>
          <a:prstGeom prst="roundRect">
            <a:avLst>
              <a:gd name="adj" fmla="val 5209"/>
            </a:avLst>
          </a:prstGeom>
          <a:noFill/>
          <a:ln w="12700" cap="rnd" algn="ctr">
            <a:noFill/>
            <a:miter lim="800000"/>
            <a:headEnd/>
            <a:tailEnd/>
          </a:ln>
        </p:spPr>
        <p:txBody>
          <a:bodyPr lIns="0" tIns="0" rIns="0" bIns="0" rtlCol="0" anchor="ctr" anchorCtr="0"/>
          <a:lstStyle/>
          <a:p>
            <a:pPr marL="0" marR="0" lvl="0" indent="0" algn="l" defTabSz="914400" rtl="0" eaLnBrk="0" fontAlgn="base" latinLnBrk="0" hangingPunct="0">
              <a:lnSpc>
                <a:spcPct val="106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lumMod val="75000"/>
                  </a:srgbClr>
                </a:solidFill>
                <a:effectLst/>
                <a:uLnTx/>
                <a:uFillTx/>
                <a:ea typeface="+mn-ea"/>
                <a:cs typeface="Arial" charset="0"/>
              </a:rPr>
              <a:t>Low</a:t>
            </a:r>
          </a:p>
        </p:txBody>
      </p:sp>
      <p:sp>
        <p:nvSpPr>
          <p:cNvPr id="48" name="Rounded Rectangle 60">
            <a:extLst>
              <a:ext uri="{FF2B5EF4-FFF2-40B4-BE49-F238E27FC236}">
                <a16:creationId xmlns:a16="http://schemas.microsoft.com/office/drawing/2014/main" id="{65CFCCDB-6A0B-4959-92F3-AD45EF0A349B}"/>
              </a:ext>
            </a:extLst>
          </p:cNvPr>
          <p:cNvSpPr/>
          <p:nvPr/>
        </p:nvSpPr>
        <p:spPr bwMode="gray">
          <a:xfrm flipH="1">
            <a:off x="5814863" y="3500063"/>
            <a:ext cx="232383" cy="173468"/>
          </a:xfrm>
          <a:prstGeom prst="roundRect">
            <a:avLst>
              <a:gd name="adj" fmla="val 5209"/>
            </a:avLst>
          </a:prstGeom>
          <a:solidFill>
            <a:srgbClr val="C00000"/>
          </a:solidFill>
          <a:ln w="6350" cap="rnd" algn="ctr">
            <a:solidFill>
              <a:srgbClr val="C00000"/>
            </a:solidFill>
            <a:miter lim="800000"/>
            <a:headEnd/>
            <a:tailEnd/>
          </a:ln>
        </p:spPr>
        <p:txBody>
          <a:bodyPr lIns="18288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Arial" charset="0"/>
            </a:endParaRPr>
          </a:p>
        </p:txBody>
      </p:sp>
      <p:sp>
        <p:nvSpPr>
          <p:cNvPr id="49" name="Rounded Rectangle 61">
            <a:extLst>
              <a:ext uri="{FF2B5EF4-FFF2-40B4-BE49-F238E27FC236}">
                <a16:creationId xmlns:a16="http://schemas.microsoft.com/office/drawing/2014/main" id="{4E124312-C8C0-4C4E-8767-B4EDDB352EE9}"/>
              </a:ext>
            </a:extLst>
          </p:cNvPr>
          <p:cNvSpPr/>
          <p:nvPr/>
        </p:nvSpPr>
        <p:spPr bwMode="gray">
          <a:xfrm flipH="1">
            <a:off x="6090529" y="3500063"/>
            <a:ext cx="457200" cy="173468"/>
          </a:xfrm>
          <a:prstGeom prst="roundRect">
            <a:avLst>
              <a:gd name="adj" fmla="val 5209"/>
            </a:avLst>
          </a:prstGeom>
          <a:noFill/>
          <a:ln w="12700" cap="rnd" algn="ctr">
            <a:noFill/>
            <a:miter lim="800000"/>
            <a:headEnd/>
            <a:tailEnd/>
          </a:ln>
        </p:spPr>
        <p:txBody>
          <a:bodyPr lIns="0" tIns="0" rIns="0" bIns="0" rtlCol="0" anchor="ctr" anchorCtr="0"/>
          <a:lstStyle/>
          <a:p>
            <a:pPr marL="0" marR="0" lvl="0" indent="0" algn="l" defTabSz="914400" rtl="0" eaLnBrk="0" fontAlgn="base" latinLnBrk="0" hangingPunct="0">
              <a:lnSpc>
                <a:spcPct val="106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lumMod val="75000"/>
                  </a:srgbClr>
                </a:solidFill>
                <a:effectLst/>
                <a:uLnTx/>
                <a:uFillTx/>
                <a:ea typeface="+mn-ea"/>
                <a:cs typeface="Arial" charset="0"/>
              </a:rPr>
              <a:t>High</a:t>
            </a:r>
          </a:p>
        </p:txBody>
      </p:sp>
      <p:sp>
        <p:nvSpPr>
          <p:cNvPr id="50" name="Rounded Rectangle 62">
            <a:extLst>
              <a:ext uri="{FF2B5EF4-FFF2-40B4-BE49-F238E27FC236}">
                <a16:creationId xmlns:a16="http://schemas.microsoft.com/office/drawing/2014/main" id="{E43D5079-90EB-4351-B26C-AFDF3A40AF67}"/>
              </a:ext>
            </a:extLst>
          </p:cNvPr>
          <p:cNvSpPr/>
          <p:nvPr/>
        </p:nvSpPr>
        <p:spPr bwMode="gray">
          <a:xfrm flipH="1">
            <a:off x="5814863" y="3697189"/>
            <a:ext cx="232383" cy="173468"/>
          </a:xfrm>
          <a:prstGeom prst="roundRect">
            <a:avLst>
              <a:gd name="adj" fmla="val 5209"/>
            </a:avLst>
          </a:prstGeom>
          <a:noFill/>
          <a:ln w="6350" cap="rnd" algn="ctr">
            <a:solidFill>
              <a:srgbClr val="FFC000"/>
            </a:solidFill>
            <a:miter lim="800000"/>
            <a:headEnd/>
            <a:tailEnd/>
          </a:ln>
        </p:spPr>
        <p:txBody>
          <a:bodyPr lIns="18288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Arial" charset="0"/>
            </a:endParaRPr>
          </a:p>
        </p:txBody>
      </p:sp>
      <p:sp>
        <p:nvSpPr>
          <p:cNvPr id="51" name="Rounded Rectangle 63">
            <a:extLst>
              <a:ext uri="{FF2B5EF4-FFF2-40B4-BE49-F238E27FC236}">
                <a16:creationId xmlns:a16="http://schemas.microsoft.com/office/drawing/2014/main" id="{905A1409-E942-44EC-ACA7-1146FF70D302}"/>
              </a:ext>
            </a:extLst>
          </p:cNvPr>
          <p:cNvSpPr/>
          <p:nvPr/>
        </p:nvSpPr>
        <p:spPr bwMode="gray">
          <a:xfrm flipH="1">
            <a:off x="6090529" y="3697189"/>
            <a:ext cx="457200" cy="173468"/>
          </a:xfrm>
          <a:prstGeom prst="roundRect">
            <a:avLst>
              <a:gd name="adj" fmla="val 5209"/>
            </a:avLst>
          </a:prstGeom>
          <a:noFill/>
          <a:ln w="12700" cap="rnd" algn="ctr">
            <a:noFill/>
            <a:miter lim="800000"/>
            <a:headEnd/>
            <a:tailEnd/>
          </a:ln>
        </p:spPr>
        <p:txBody>
          <a:bodyPr lIns="0" tIns="0" rIns="0" bIns="0" rtlCol="0" anchor="ctr" anchorCtr="0"/>
          <a:lstStyle/>
          <a:p>
            <a:pPr marL="0" marR="0" lvl="0" indent="0" algn="l" defTabSz="914400" rtl="0" eaLnBrk="0" fontAlgn="base" latinLnBrk="0" hangingPunct="0">
              <a:lnSpc>
                <a:spcPct val="106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Arial" charset="0"/>
              </a:rPr>
              <a:t>Medium</a:t>
            </a:r>
          </a:p>
        </p:txBody>
      </p:sp>
      <p:sp>
        <p:nvSpPr>
          <p:cNvPr id="52" name="Rounded Rectangle 82">
            <a:extLst>
              <a:ext uri="{FF2B5EF4-FFF2-40B4-BE49-F238E27FC236}">
                <a16:creationId xmlns:a16="http://schemas.microsoft.com/office/drawing/2014/main" id="{8066A5DB-9320-4133-96AC-83251F365A04}"/>
              </a:ext>
            </a:extLst>
          </p:cNvPr>
          <p:cNvSpPr/>
          <p:nvPr/>
        </p:nvSpPr>
        <p:spPr bwMode="gray">
          <a:xfrm flipH="1">
            <a:off x="5814863" y="3894314"/>
            <a:ext cx="232383" cy="173468"/>
          </a:xfrm>
          <a:prstGeom prst="roundRect">
            <a:avLst>
              <a:gd name="adj" fmla="val 5209"/>
            </a:avLst>
          </a:prstGeom>
          <a:noFill/>
          <a:ln w="6350" cap="rnd" algn="ctr">
            <a:solidFill>
              <a:srgbClr val="00B050"/>
            </a:solidFill>
            <a:miter lim="800000"/>
            <a:headEnd/>
            <a:tailEnd/>
          </a:ln>
        </p:spPr>
        <p:txBody>
          <a:bodyPr lIns="18288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Arial" charset="0"/>
            </a:endParaRPr>
          </a:p>
        </p:txBody>
      </p:sp>
      <p:sp>
        <p:nvSpPr>
          <p:cNvPr id="53" name="Rounded Rectangle 83">
            <a:extLst>
              <a:ext uri="{FF2B5EF4-FFF2-40B4-BE49-F238E27FC236}">
                <a16:creationId xmlns:a16="http://schemas.microsoft.com/office/drawing/2014/main" id="{24ECD8C5-E033-46D5-8BAE-D31D65C94897}"/>
              </a:ext>
            </a:extLst>
          </p:cNvPr>
          <p:cNvSpPr/>
          <p:nvPr/>
        </p:nvSpPr>
        <p:spPr bwMode="gray">
          <a:xfrm flipH="1">
            <a:off x="6090529" y="3894314"/>
            <a:ext cx="457200" cy="173468"/>
          </a:xfrm>
          <a:prstGeom prst="roundRect">
            <a:avLst>
              <a:gd name="adj" fmla="val 5209"/>
            </a:avLst>
          </a:prstGeom>
          <a:noFill/>
          <a:ln w="12700" cap="rnd" algn="ctr">
            <a:noFill/>
            <a:miter lim="800000"/>
            <a:headEnd/>
            <a:tailEnd/>
          </a:ln>
        </p:spPr>
        <p:txBody>
          <a:bodyPr lIns="0" tIns="0" rIns="0" bIns="0" rtlCol="0" anchor="ctr" anchorCtr="0"/>
          <a:lstStyle/>
          <a:p>
            <a:pPr marL="0" marR="0" lvl="0" indent="0" algn="l" defTabSz="914400" rtl="0" eaLnBrk="0" fontAlgn="base" latinLnBrk="0" hangingPunct="0">
              <a:lnSpc>
                <a:spcPct val="106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lumMod val="75000"/>
                  </a:srgbClr>
                </a:solidFill>
                <a:effectLst/>
                <a:uLnTx/>
                <a:uFillTx/>
                <a:ea typeface="+mn-ea"/>
                <a:cs typeface="Arial" charset="0"/>
              </a:rPr>
              <a:t>Low</a:t>
            </a:r>
          </a:p>
        </p:txBody>
      </p:sp>
    </p:spTree>
    <p:extLst>
      <p:ext uri="{BB962C8B-B14F-4D97-AF65-F5344CB8AC3E}">
        <p14:creationId xmlns:p14="http://schemas.microsoft.com/office/powerpoint/2010/main" val="548816133"/>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4F38E8-4552-4399-89BC-26C588C291C8}"/>
              </a:ext>
            </a:extLst>
          </p:cNvPr>
          <p:cNvSpPr>
            <a:spLocks noGrp="1"/>
          </p:cNvSpPr>
          <p:nvPr>
            <p:ph type="title"/>
          </p:nvPr>
        </p:nvSpPr>
        <p:spPr/>
        <p:txBody>
          <a:bodyPr/>
          <a:lstStyle/>
          <a:p>
            <a:r>
              <a:rPr lang="en-US" dirty="0"/>
              <a:t>Approach</a:t>
            </a:r>
          </a:p>
        </p:txBody>
      </p:sp>
      <p:sp>
        <p:nvSpPr>
          <p:cNvPr id="3" name="Text Placeholder 2">
            <a:extLst>
              <a:ext uri="{FF2B5EF4-FFF2-40B4-BE49-F238E27FC236}">
                <a16:creationId xmlns:a16="http://schemas.microsoft.com/office/drawing/2014/main" id="{64488157-B65A-41EE-83D0-DE5836C66D5F}"/>
              </a:ext>
            </a:extLst>
          </p:cNvPr>
          <p:cNvSpPr>
            <a:spLocks noGrp="1"/>
          </p:cNvSpPr>
          <p:nvPr>
            <p:ph type="body" sz="quarter" idx="14"/>
          </p:nvPr>
        </p:nvSpPr>
        <p:spPr/>
        <p:txBody>
          <a:bodyPr/>
          <a:lstStyle/>
          <a:p>
            <a:r>
              <a:rPr lang="en-US" dirty="0"/>
              <a:t>We recommend a 3-phase approach to successfully design and implement a robust personalization system  </a:t>
            </a:r>
          </a:p>
          <a:p>
            <a:endParaRPr lang="en-US" dirty="0"/>
          </a:p>
        </p:txBody>
      </p:sp>
      <p:sp>
        <p:nvSpPr>
          <p:cNvPr id="4" name="Text Placeholder 3">
            <a:extLst>
              <a:ext uri="{FF2B5EF4-FFF2-40B4-BE49-F238E27FC236}">
                <a16:creationId xmlns:a16="http://schemas.microsoft.com/office/drawing/2014/main" id="{9CBA9A72-002F-470D-8704-EB44BEDF740F}"/>
              </a:ext>
            </a:extLst>
          </p:cNvPr>
          <p:cNvSpPr>
            <a:spLocks noGrp="1"/>
          </p:cNvSpPr>
          <p:nvPr>
            <p:ph type="body" sz="quarter" idx="15"/>
          </p:nvPr>
        </p:nvSpPr>
        <p:spPr/>
        <p:txBody>
          <a:bodyPr/>
          <a:lstStyle/>
          <a:p>
            <a:r>
              <a:rPr lang="en-US" dirty="0"/>
              <a:t>TABLE</a:t>
            </a:r>
          </a:p>
        </p:txBody>
      </p:sp>
      <p:grpSp>
        <p:nvGrpSpPr>
          <p:cNvPr id="5" name="Group 4">
            <a:extLst>
              <a:ext uri="{FF2B5EF4-FFF2-40B4-BE49-F238E27FC236}">
                <a16:creationId xmlns:a16="http://schemas.microsoft.com/office/drawing/2014/main" id="{FB2F10D4-F5BB-4A57-B862-E513C10B3177}"/>
              </a:ext>
            </a:extLst>
          </p:cNvPr>
          <p:cNvGrpSpPr/>
          <p:nvPr/>
        </p:nvGrpSpPr>
        <p:grpSpPr>
          <a:xfrm>
            <a:off x="441814" y="2374855"/>
            <a:ext cx="11280286" cy="3983424"/>
            <a:chOff x="455965" y="2163112"/>
            <a:chExt cx="11280286" cy="3867692"/>
          </a:xfrm>
        </p:grpSpPr>
        <p:sp>
          <p:nvSpPr>
            <p:cNvPr id="6" name="Rectangle 5">
              <a:extLst>
                <a:ext uri="{FF2B5EF4-FFF2-40B4-BE49-F238E27FC236}">
                  <a16:creationId xmlns:a16="http://schemas.microsoft.com/office/drawing/2014/main" id="{45F13BDC-4BBC-40A5-9999-3BA0037DEEFD}"/>
                </a:ext>
              </a:extLst>
            </p:cNvPr>
            <p:cNvSpPr>
              <a:spLocks/>
            </p:cNvSpPr>
            <p:nvPr/>
          </p:nvSpPr>
          <p:spPr>
            <a:xfrm>
              <a:off x="1104916" y="2742997"/>
              <a:ext cx="10631335" cy="1020132"/>
            </a:xfrm>
            <a:prstGeom prst="rect">
              <a:avLst/>
            </a:prstGeom>
            <a:solidFill>
              <a:schemeClr val="bg1">
                <a:lumMod val="95000"/>
              </a:schemeClr>
            </a:solidFill>
            <a:ln w="28575" cap="flat">
              <a:noFill/>
              <a:prstDash val="sysDot"/>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Open Sans"/>
                <a:cs typeface="Open Sans"/>
                <a:sym typeface="Open Sans"/>
              </a:endParaRPr>
            </a:p>
          </p:txBody>
        </p:sp>
        <p:sp>
          <p:nvSpPr>
            <p:cNvPr id="7" name="Rectangle 6">
              <a:extLst>
                <a:ext uri="{FF2B5EF4-FFF2-40B4-BE49-F238E27FC236}">
                  <a16:creationId xmlns:a16="http://schemas.microsoft.com/office/drawing/2014/main" id="{81D25B5A-7205-4E55-8A16-A7DBD5AC4E20}"/>
                </a:ext>
              </a:extLst>
            </p:cNvPr>
            <p:cNvSpPr>
              <a:spLocks/>
            </p:cNvSpPr>
            <p:nvPr/>
          </p:nvSpPr>
          <p:spPr>
            <a:xfrm>
              <a:off x="1090764" y="3867807"/>
              <a:ext cx="10631335" cy="1020131"/>
            </a:xfrm>
            <a:prstGeom prst="rect">
              <a:avLst/>
            </a:prstGeom>
            <a:solidFill>
              <a:schemeClr val="bg1">
                <a:lumMod val="95000"/>
              </a:schemeClr>
            </a:solidFill>
            <a:ln w="28575" cap="flat">
              <a:noFill/>
              <a:prstDash val="sysDot"/>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Open Sans"/>
                <a:cs typeface="Open Sans"/>
                <a:sym typeface="Open Sans"/>
              </a:endParaRPr>
            </a:p>
          </p:txBody>
        </p:sp>
        <p:sp>
          <p:nvSpPr>
            <p:cNvPr id="8" name="Rectangle 7">
              <a:extLst>
                <a:ext uri="{FF2B5EF4-FFF2-40B4-BE49-F238E27FC236}">
                  <a16:creationId xmlns:a16="http://schemas.microsoft.com/office/drawing/2014/main" id="{51B056EA-5D5D-4345-AB94-AFA249B3083E}"/>
                </a:ext>
              </a:extLst>
            </p:cNvPr>
            <p:cNvSpPr>
              <a:spLocks/>
            </p:cNvSpPr>
            <p:nvPr/>
          </p:nvSpPr>
          <p:spPr>
            <a:xfrm>
              <a:off x="1090765" y="5012957"/>
              <a:ext cx="10631335" cy="1017846"/>
            </a:xfrm>
            <a:prstGeom prst="rect">
              <a:avLst/>
            </a:prstGeom>
            <a:solidFill>
              <a:schemeClr val="bg1">
                <a:lumMod val="95000"/>
              </a:schemeClr>
            </a:solidFill>
            <a:ln w="28575" cap="flat">
              <a:noFill/>
              <a:prstDash val="sysDot"/>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Open Sans"/>
                <a:cs typeface="Open Sans"/>
                <a:sym typeface="Open Sans"/>
              </a:endParaRPr>
            </a:p>
          </p:txBody>
        </p:sp>
        <p:sp>
          <p:nvSpPr>
            <p:cNvPr id="9" name="Rectangle 8">
              <a:extLst>
                <a:ext uri="{FF2B5EF4-FFF2-40B4-BE49-F238E27FC236}">
                  <a16:creationId xmlns:a16="http://schemas.microsoft.com/office/drawing/2014/main" id="{52B703CB-B5C3-432F-A093-276346D0D49E}"/>
                </a:ext>
              </a:extLst>
            </p:cNvPr>
            <p:cNvSpPr>
              <a:spLocks noChangeAspect="1"/>
            </p:cNvSpPr>
            <p:nvPr/>
          </p:nvSpPr>
          <p:spPr>
            <a:xfrm>
              <a:off x="458845" y="5012957"/>
              <a:ext cx="1112836" cy="1017847"/>
            </a:xfrm>
            <a:prstGeom prst="rect">
              <a:avLst/>
            </a:prstGeom>
            <a:solidFill>
              <a:schemeClr val="accent5"/>
            </a:solidFill>
            <a:ln>
              <a:noFill/>
            </a:ln>
            <a:effectLst/>
          </p:spPr>
          <p:style>
            <a:lnRef idx="0">
              <a:schemeClr val="accent1"/>
            </a:lnRef>
            <a:fillRef idx="3">
              <a:schemeClr val="accent1"/>
            </a:fillRef>
            <a:effectRef idx="3">
              <a:schemeClr val="accent1"/>
            </a:effectRef>
            <a:fontRef idx="minor">
              <a:schemeClr val="lt1"/>
            </a:fontRef>
          </p:style>
          <p:txBody>
            <a:bodyPr vert="horz" lIns="45720" tIns="45720" rIns="4572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ea typeface="Open Sans Extrabold" charset="0"/>
                  <a:cs typeface="Open Sans Extrabold" charset="0"/>
                </a:rPr>
                <a:t>Business Transformation &amp; PMO</a:t>
              </a:r>
            </a:p>
          </p:txBody>
        </p:sp>
        <p:sp>
          <p:nvSpPr>
            <p:cNvPr id="10" name="Rectangle 9">
              <a:extLst>
                <a:ext uri="{FF2B5EF4-FFF2-40B4-BE49-F238E27FC236}">
                  <a16:creationId xmlns:a16="http://schemas.microsoft.com/office/drawing/2014/main" id="{7A61DA53-C5DD-4DD2-B0CD-8974EEEB0751}"/>
                </a:ext>
              </a:extLst>
            </p:cNvPr>
            <p:cNvSpPr>
              <a:spLocks noChangeAspect="1"/>
            </p:cNvSpPr>
            <p:nvPr/>
          </p:nvSpPr>
          <p:spPr>
            <a:xfrm>
              <a:off x="458845" y="3880377"/>
              <a:ext cx="1112836" cy="1017847"/>
            </a:xfrm>
            <a:prstGeom prst="rect">
              <a:avLst/>
            </a:prstGeom>
            <a:solidFill>
              <a:schemeClr val="accent5"/>
            </a:solidFill>
            <a:ln>
              <a:noFill/>
            </a:ln>
            <a:effectLst/>
          </p:spPr>
          <p:style>
            <a:lnRef idx="0">
              <a:schemeClr val="accent1"/>
            </a:lnRef>
            <a:fillRef idx="3">
              <a:schemeClr val="accent1"/>
            </a:fillRef>
            <a:effectRef idx="3">
              <a:schemeClr val="accent1"/>
            </a:effectRef>
            <a:fontRef idx="minor">
              <a:schemeClr val="lt1"/>
            </a:fontRef>
          </p:style>
          <p:txBody>
            <a:bodyPr vert="horz" lIns="45720" tIns="45720" rIns="4572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ea typeface="Open Sans Extrabold" charset="0"/>
                  <a:cs typeface="Open Sans Extrabold" charset="0"/>
                </a:rPr>
                <a:t>Analytical Consulting</a:t>
              </a:r>
            </a:p>
          </p:txBody>
        </p:sp>
        <p:sp>
          <p:nvSpPr>
            <p:cNvPr id="11" name="Rectangle 10">
              <a:extLst>
                <a:ext uri="{FF2B5EF4-FFF2-40B4-BE49-F238E27FC236}">
                  <a16:creationId xmlns:a16="http://schemas.microsoft.com/office/drawing/2014/main" id="{7BAE0C60-F073-4170-A48C-150C6331A3A2}"/>
                </a:ext>
              </a:extLst>
            </p:cNvPr>
            <p:cNvSpPr>
              <a:spLocks noChangeAspect="1"/>
            </p:cNvSpPr>
            <p:nvPr/>
          </p:nvSpPr>
          <p:spPr>
            <a:xfrm>
              <a:off x="455965" y="2742998"/>
              <a:ext cx="1112836" cy="1020131"/>
            </a:xfrm>
            <a:prstGeom prst="rect">
              <a:avLst/>
            </a:prstGeom>
            <a:solidFill>
              <a:schemeClr val="accent5"/>
            </a:solidFill>
            <a:ln>
              <a:noFill/>
            </a:ln>
            <a:effectLst/>
          </p:spPr>
          <p:style>
            <a:lnRef idx="0">
              <a:schemeClr val="accent1"/>
            </a:lnRef>
            <a:fillRef idx="3">
              <a:schemeClr val="accent1"/>
            </a:fillRef>
            <a:effectRef idx="3">
              <a:schemeClr val="accent1"/>
            </a:effectRef>
            <a:fontRef idx="minor">
              <a:schemeClr val="lt1"/>
            </a:fontRef>
          </p:style>
          <p:txBody>
            <a:bodyPr vert="horz" lIns="45720" tIns="45720" rIns="4572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ea typeface="Open Sans Extrabold" charset="0"/>
                  <a:cs typeface="Open Sans Extrabold" charset="0"/>
                </a:rPr>
                <a:t>Technical Systems Integration</a:t>
              </a:r>
            </a:p>
          </p:txBody>
        </p:sp>
        <p:sp>
          <p:nvSpPr>
            <p:cNvPr id="12" name="TextBox 11">
              <a:extLst>
                <a:ext uri="{FF2B5EF4-FFF2-40B4-BE49-F238E27FC236}">
                  <a16:creationId xmlns:a16="http://schemas.microsoft.com/office/drawing/2014/main" id="{7BB53F0A-673E-4024-ABC2-B74E1B6E862E}"/>
                </a:ext>
              </a:extLst>
            </p:cNvPr>
            <p:cNvSpPr txBox="1"/>
            <p:nvPr/>
          </p:nvSpPr>
          <p:spPr>
            <a:xfrm>
              <a:off x="1970688" y="2713342"/>
              <a:ext cx="2904813" cy="10758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Define solution design’s technical requirements</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Determine platform requirements and hardware sizing</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Create personalization platform architecture</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Provide detailed pricing model</a:t>
              </a:r>
            </a:p>
          </p:txBody>
        </p:sp>
        <p:sp>
          <p:nvSpPr>
            <p:cNvPr id="13" name="TextBox 12">
              <a:extLst>
                <a:ext uri="{FF2B5EF4-FFF2-40B4-BE49-F238E27FC236}">
                  <a16:creationId xmlns:a16="http://schemas.microsoft.com/office/drawing/2014/main" id="{702094F7-BF35-4D89-BA80-D9440E388461}"/>
                </a:ext>
              </a:extLst>
            </p:cNvPr>
            <p:cNvSpPr txBox="1"/>
            <p:nvPr/>
          </p:nvSpPr>
          <p:spPr>
            <a:xfrm>
              <a:off x="1934753" y="5144605"/>
              <a:ext cx="2760173" cy="7470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Stand up program management office</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Align on estimated value and analytical model complexity to prioritize use cases and develop roadmap</a:t>
              </a:r>
            </a:p>
          </p:txBody>
        </p:sp>
        <p:sp>
          <p:nvSpPr>
            <p:cNvPr id="14" name="TextBox 13">
              <a:extLst>
                <a:ext uri="{FF2B5EF4-FFF2-40B4-BE49-F238E27FC236}">
                  <a16:creationId xmlns:a16="http://schemas.microsoft.com/office/drawing/2014/main" id="{AD044F4E-A931-4D30-AE24-2AC763760C95}"/>
                </a:ext>
              </a:extLst>
            </p:cNvPr>
            <p:cNvSpPr txBox="1"/>
            <p:nvPr/>
          </p:nvSpPr>
          <p:spPr>
            <a:xfrm>
              <a:off x="1934752" y="4089219"/>
              <a:ext cx="2760173" cy="60016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Define processes to stitch together batch outbound contact history with real-time contact history</a:t>
              </a:r>
            </a:p>
          </p:txBody>
        </p:sp>
        <p:sp>
          <p:nvSpPr>
            <p:cNvPr id="15" name="TextBox 14">
              <a:extLst>
                <a:ext uri="{FF2B5EF4-FFF2-40B4-BE49-F238E27FC236}">
                  <a16:creationId xmlns:a16="http://schemas.microsoft.com/office/drawing/2014/main" id="{0BE6B048-68C8-4449-9D1C-0C5E600DE86E}"/>
                </a:ext>
              </a:extLst>
            </p:cNvPr>
            <p:cNvSpPr txBox="1"/>
            <p:nvPr/>
          </p:nvSpPr>
          <p:spPr>
            <a:xfrm>
              <a:off x="5385833" y="2777137"/>
              <a:ext cx="2760173" cy="91144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Perform and participate in platform and end-to-end testing</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Develop and configure platform UI</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Install and configure personalization platform software</a:t>
              </a:r>
            </a:p>
          </p:txBody>
        </p:sp>
        <p:sp>
          <p:nvSpPr>
            <p:cNvPr id="16" name="TextBox 15">
              <a:extLst>
                <a:ext uri="{FF2B5EF4-FFF2-40B4-BE49-F238E27FC236}">
                  <a16:creationId xmlns:a16="http://schemas.microsoft.com/office/drawing/2014/main" id="{086D8D97-CDAE-48B4-BD07-EA216DB9DFAD}"/>
                </a:ext>
              </a:extLst>
            </p:cNvPr>
            <p:cNvSpPr txBox="1"/>
            <p:nvPr/>
          </p:nvSpPr>
          <p:spPr>
            <a:xfrm>
              <a:off x="5385834" y="5090505"/>
              <a:ext cx="2893709" cy="91144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Provide overall program management for technical systems and analytics workstreams</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Measure value and return on use cases</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Develop and implement training and knowledge transfer</a:t>
              </a:r>
            </a:p>
          </p:txBody>
        </p:sp>
        <p:sp>
          <p:nvSpPr>
            <p:cNvPr id="17" name="TextBox 16">
              <a:extLst>
                <a:ext uri="{FF2B5EF4-FFF2-40B4-BE49-F238E27FC236}">
                  <a16:creationId xmlns:a16="http://schemas.microsoft.com/office/drawing/2014/main" id="{1CC08EEF-7876-40E6-9ECA-7547C2E83052}"/>
                </a:ext>
              </a:extLst>
            </p:cNvPr>
            <p:cNvSpPr txBox="1"/>
            <p:nvPr/>
          </p:nvSpPr>
          <p:spPr>
            <a:xfrm>
              <a:off x="5385834" y="3837133"/>
              <a:ext cx="2760172" cy="10758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Standup and maintain machine learning algorithms</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Code, test and deploy the decision logic and offers</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Build reports/dashboard using out-of-the-box capabilities</a:t>
              </a:r>
            </a:p>
          </p:txBody>
        </p:sp>
        <p:sp>
          <p:nvSpPr>
            <p:cNvPr id="18" name="TextBox 17">
              <a:extLst>
                <a:ext uri="{FF2B5EF4-FFF2-40B4-BE49-F238E27FC236}">
                  <a16:creationId xmlns:a16="http://schemas.microsoft.com/office/drawing/2014/main" id="{41E52ED4-229D-4E0E-A2BD-BA8E4E8F6AB9}"/>
                </a:ext>
              </a:extLst>
            </p:cNvPr>
            <p:cNvSpPr txBox="1"/>
            <p:nvPr/>
          </p:nvSpPr>
          <p:spPr>
            <a:xfrm>
              <a:off x="8777015" y="2877700"/>
              <a:ext cx="2686115" cy="7470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Generate and maintain solution documentation</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Support the technical platforms against SLAs</a:t>
              </a:r>
            </a:p>
          </p:txBody>
        </p:sp>
        <p:sp>
          <p:nvSpPr>
            <p:cNvPr id="19" name="TextBox 18">
              <a:extLst>
                <a:ext uri="{FF2B5EF4-FFF2-40B4-BE49-F238E27FC236}">
                  <a16:creationId xmlns:a16="http://schemas.microsoft.com/office/drawing/2014/main" id="{EEA81638-A4D2-4E10-836B-2DA136AA51F2}"/>
                </a:ext>
              </a:extLst>
            </p:cNvPr>
            <p:cNvSpPr txBox="1"/>
            <p:nvPr/>
          </p:nvSpPr>
          <p:spPr>
            <a:xfrm>
              <a:off x="8777015" y="5074795"/>
              <a:ext cx="2945084" cy="91144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Provide overall program management for technical systems and analytics workstreams</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Measure value and return on use cases</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Develop and operationalize intake model for new use cases</a:t>
              </a:r>
            </a:p>
          </p:txBody>
        </p:sp>
        <p:sp>
          <p:nvSpPr>
            <p:cNvPr id="20" name="TextBox 19">
              <a:extLst>
                <a:ext uri="{FF2B5EF4-FFF2-40B4-BE49-F238E27FC236}">
                  <a16:creationId xmlns:a16="http://schemas.microsoft.com/office/drawing/2014/main" id="{7763B8CD-EAE6-488E-83F2-1BDD1475C573}"/>
                </a:ext>
              </a:extLst>
            </p:cNvPr>
            <p:cNvSpPr txBox="1"/>
            <p:nvPr/>
          </p:nvSpPr>
          <p:spPr>
            <a:xfrm>
              <a:off x="8777015" y="4097937"/>
              <a:ext cx="2901341" cy="58272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Provide guidance on how/when to adjust machine learning with data-based evidence</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Maintain production models and use cases</a:t>
              </a:r>
            </a:p>
          </p:txBody>
        </p:sp>
        <p:sp>
          <p:nvSpPr>
            <p:cNvPr id="21" name="TextBox 20">
              <a:extLst>
                <a:ext uri="{FF2B5EF4-FFF2-40B4-BE49-F238E27FC236}">
                  <a16:creationId xmlns:a16="http://schemas.microsoft.com/office/drawing/2014/main" id="{3E3CC3E3-C376-4420-AD50-5C4BF49C627B}"/>
                </a:ext>
              </a:extLst>
            </p:cNvPr>
            <p:cNvSpPr txBox="1"/>
            <p:nvPr/>
          </p:nvSpPr>
          <p:spPr>
            <a:xfrm>
              <a:off x="1887979" y="2225085"/>
              <a:ext cx="2873373" cy="38848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ea typeface="+mn-ea"/>
                  <a:cs typeface="+mn-cs"/>
                </a:rPr>
                <a:t>Focus on solution design, data model design and prioritizing capabilities</a:t>
              </a:r>
            </a:p>
          </p:txBody>
        </p:sp>
        <p:sp>
          <p:nvSpPr>
            <p:cNvPr id="22" name="TextBox 21">
              <a:extLst>
                <a:ext uri="{FF2B5EF4-FFF2-40B4-BE49-F238E27FC236}">
                  <a16:creationId xmlns:a16="http://schemas.microsoft.com/office/drawing/2014/main" id="{827364A1-CFA4-468A-97B0-7F64C32791DD}"/>
                </a:ext>
              </a:extLst>
            </p:cNvPr>
            <p:cNvSpPr txBox="1"/>
            <p:nvPr/>
          </p:nvSpPr>
          <p:spPr>
            <a:xfrm>
              <a:off x="5365865" y="2212774"/>
              <a:ext cx="2739836" cy="38848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ea typeface="+mn-ea"/>
                  <a:cs typeface="+mn-cs"/>
                </a:rPr>
                <a:t>Deliver technical system and analytics consulting capabilities</a:t>
              </a:r>
            </a:p>
          </p:txBody>
        </p:sp>
        <p:sp>
          <p:nvSpPr>
            <p:cNvPr id="23" name="TextBox 22">
              <a:extLst>
                <a:ext uri="{FF2B5EF4-FFF2-40B4-BE49-F238E27FC236}">
                  <a16:creationId xmlns:a16="http://schemas.microsoft.com/office/drawing/2014/main" id="{E10F698B-D12B-4E36-9933-D17B11E409B2}"/>
                </a:ext>
              </a:extLst>
            </p:cNvPr>
            <p:cNvSpPr txBox="1"/>
            <p:nvPr/>
          </p:nvSpPr>
          <p:spPr>
            <a:xfrm>
              <a:off x="8790998" y="2163112"/>
              <a:ext cx="2873373" cy="53790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ea typeface="+mn-ea"/>
                  <a:cs typeface="+mn-cs"/>
                </a:rPr>
                <a:t>Provide ongoing managed services to monitor the solution, build enhancements and provide analytical services</a:t>
              </a:r>
            </a:p>
          </p:txBody>
        </p:sp>
      </p:grpSp>
      <p:sp>
        <p:nvSpPr>
          <p:cNvPr id="25" name="Text Placeholder 2">
            <a:extLst>
              <a:ext uri="{FF2B5EF4-FFF2-40B4-BE49-F238E27FC236}">
                <a16:creationId xmlns:a16="http://schemas.microsoft.com/office/drawing/2014/main" id="{9632C2EE-30EA-43C2-B397-B4E9AA8AE31A}"/>
              </a:ext>
            </a:extLst>
          </p:cNvPr>
          <p:cNvSpPr txBox="1">
            <a:spLocks/>
          </p:cNvSpPr>
          <p:nvPr/>
        </p:nvSpPr>
        <p:spPr>
          <a:xfrm>
            <a:off x="469900" y="1057863"/>
            <a:ext cx="11252200" cy="475488"/>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12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26" name="Rectangle 25">
            <a:extLst>
              <a:ext uri="{FF2B5EF4-FFF2-40B4-BE49-F238E27FC236}">
                <a16:creationId xmlns:a16="http://schemas.microsoft.com/office/drawing/2014/main" id="{6AE63D26-7547-4F6E-9522-5F5159C2A503}"/>
              </a:ext>
            </a:extLst>
          </p:cNvPr>
          <p:cNvSpPr>
            <a:spLocks/>
          </p:cNvSpPr>
          <p:nvPr/>
        </p:nvSpPr>
        <p:spPr>
          <a:xfrm>
            <a:off x="1766755" y="1966444"/>
            <a:ext cx="3087520" cy="4391838"/>
          </a:xfrm>
          <a:prstGeom prst="rect">
            <a:avLst/>
          </a:prstGeom>
          <a:noFill/>
          <a:ln w="28575"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Open Sans"/>
              <a:cs typeface="Open Sans"/>
              <a:sym typeface="Open Sans"/>
            </a:endParaRPr>
          </a:p>
        </p:txBody>
      </p:sp>
      <p:sp>
        <p:nvSpPr>
          <p:cNvPr id="27" name="Rectangle 26">
            <a:extLst>
              <a:ext uri="{FF2B5EF4-FFF2-40B4-BE49-F238E27FC236}">
                <a16:creationId xmlns:a16="http://schemas.microsoft.com/office/drawing/2014/main" id="{A8806C75-92E7-4405-8DC0-788CFF1EBF0F}"/>
              </a:ext>
            </a:extLst>
          </p:cNvPr>
          <p:cNvSpPr>
            <a:spLocks noChangeAspect="1"/>
          </p:cNvSpPr>
          <p:nvPr/>
        </p:nvSpPr>
        <p:spPr>
          <a:xfrm>
            <a:off x="1766755" y="1708924"/>
            <a:ext cx="3087520" cy="559844"/>
          </a:xfrm>
          <a:prstGeom prst="rect">
            <a:avLst/>
          </a:prstGeom>
          <a:solidFill>
            <a:schemeClr val="accent1"/>
          </a:solidFill>
          <a:ln w="28575">
            <a:solidFill>
              <a:schemeClr val="accent1"/>
            </a:solidFill>
          </a:ln>
          <a:effectLst/>
        </p:spPr>
        <p:style>
          <a:lnRef idx="0">
            <a:schemeClr val="accent1"/>
          </a:lnRef>
          <a:fillRef idx="3">
            <a:schemeClr val="accent1"/>
          </a:fillRef>
          <a:effectRef idx="3">
            <a:schemeClr val="accent1"/>
          </a:effectRef>
          <a:fontRef idx="minor">
            <a:schemeClr val="lt1"/>
          </a:fontRef>
        </p:style>
        <p:txBody>
          <a:bodyPr lIns="182880" tIns="91440" rIns="91440" bIns="9144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300" normalizeH="0" baseline="0" noProof="0" dirty="0">
                <a:ln>
                  <a:noFill/>
                </a:ln>
                <a:solidFill>
                  <a:srgbClr val="000000"/>
                </a:solidFill>
                <a:effectLst/>
                <a:uLnTx/>
                <a:uFillTx/>
                <a:ea typeface="Open Sans Extrabold" charset="0"/>
                <a:cs typeface="Open Sans Extrabold" charset="0"/>
              </a:rPr>
              <a:t>DISCOVERY</a:t>
            </a:r>
          </a:p>
        </p:txBody>
      </p:sp>
      <p:sp>
        <p:nvSpPr>
          <p:cNvPr id="28" name="Rectangle 27">
            <a:extLst>
              <a:ext uri="{FF2B5EF4-FFF2-40B4-BE49-F238E27FC236}">
                <a16:creationId xmlns:a16="http://schemas.microsoft.com/office/drawing/2014/main" id="{AA111707-6944-46F5-80D6-25657B12EC56}"/>
              </a:ext>
            </a:extLst>
          </p:cNvPr>
          <p:cNvSpPr>
            <a:spLocks/>
          </p:cNvSpPr>
          <p:nvPr/>
        </p:nvSpPr>
        <p:spPr>
          <a:xfrm>
            <a:off x="5177872" y="1966397"/>
            <a:ext cx="3087520" cy="4391885"/>
          </a:xfrm>
          <a:prstGeom prst="rect">
            <a:avLst/>
          </a:prstGeom>
          <a:noFill/>
          <a:ln w="28575" cap="flat">
            <a:solidFill>
              <a:schemeClr val="accent3"/>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Open Sans"/>
              <a:cs typeface="Open Sans"/>
              <a:sym typeface="Open Sans"/>
            </a:endParaRPr>
          </a:p>
        </p:txBody>
      </p:sp>
      <p:sp>
        <p:nvSpPr>
          <p:cNvPr id="29" name="Rectangle 28">
            <a:extLst>
              <a:ext uri="{FF2B5EF4-FFF2-40B4-BE49-F238E27FC236}">
                <a16:creationId xmlns:a16="http://schemas.microsoft.com/office/drawing/2014/main" id="{1F0D8870-BF38-41CF-A012-FF0CAD5BCB21}"/>
              </a:ext>
            </a:extLst>
          </p:cNvPr>
          <p:cNvSpPr>
            <a:spLocks noChangeAspect="1"/>
          </p:cNvSpPr>
          <p:nvPr/>
        </p:nvSpPr>
        <p:spPr>
          <a:xfrm>
            <a:off x="5177872" y="1708924"/>
            <a:ext cx="3087520" cy="559844"/>
          </a:xfrm>
          <a:prstGeom prst="rect">
            <a:avLst/>
          </a:prstGeom>
          <a:solidFill>
            <a:schemeClr val="accent3"/>
          </a:solidFill>
          <a:ln w="28575">
            <a:solidFill>
              <a:schemeClr val="accent3"/>
            </a:solidFill>
          </a:ln>
          <a:effectLst/>
        </p:spPr>
        <p:style>
          <a:lnRef idx="0">
            <a:schemeClr val="accent3"/>
          </a:lnRef>
          <a:fillRef idx="3">
            <a:schemeClr val="accent3"/>
          </a:fillRef>
          <a:effectRef idx="3">
            <a:schemeClr val="accent3"/>
          </a:effectRef>
          <a:fontRef idx="minor">
            <a:schemeClr val="lt1"/>
          </a:fontRef>
        </p:style>
        <p:txBody>
          <a:bodyPr lIns="182880" tIns="91440" rIns="91440" bIns="9144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300" normalizeH="0" baseline="0" noProof="0" dirty="0">
                <a:ln>
                  <a:noFill/>
                </a:ln>
                <a:solidFill>
                  <a:srgbClr val="000000"/>
                </a:solidFill>
                <a:effectLst/>
                <a:uLnTx/>
                <a:uFillTx/>
                <a:ea typeface="Open Sans Extrabold" charset="0"/>
                <a:cs typeface="Open Sans Extrabold" charset="0"/>
              </a:rPr>
              <a:t>DELIVERY</a:t>
            </a:r>
            <a:endParaRPr kumimoji="0" lang="en-US" sz="1100" b="0" i="1" u="none" strike="noStrike" kern="1200" cap="none" spc="300" normalizeH="0" baseline="0" noProof="0" dirty="0">
              <a:ln>
                <a:noFill/>
              </a:ln>
              <a:solidFill>
                <a:srgbClr val="000000"/>
              </a:solidFill>
              <a:effectLst/>
              <a:uLnTx/>
              <a:uFillTx/>
              <a:ea typeface="Open Sans Extrabold" charset="0"/>
              <a:cs typeface="Open Sans Extrabold" charset="0"/>
            </a:endParaRPr>
          </a:p>
        </p:txBody>
      </p:sp>
      <p:sp>
        <p:nvSpPr>
          <p:cNvPr id="30" name="Rectangle 29">
            <a:extLst>
              <a:ext uri="{FF2B5EF4-FFF2-40B4-BE49-F238E27FC236}">
                <a16:creationId xmlns:a16="http://schemas.microsoft.com/office/drawing/2014/main" id="{F4A43AAD-ED71-4ECC-A7C1-940656B80F85}"/>
              </a:ext>
            </a:extLst>
          </p:cNvPr>
          <p:cNvSpPr>
            <a:spLocks/>
          </p:cNvSpPr>
          <p:nvPr/>
        </p:nvSpPr>
        <p:spPr>
          <a:xfrm>
            <a:off x="8620429" y="1966397"/>
            <a:ext cx="3087520" cy="4391885"/>
          </a:xfrm>
          <a:prstGeom prst="rect">
            <a:avLst/>
          </a:prstGeom>
          <a:noFill/>
          <a:ln w="28575" cap="flat">
            <a:solidFill>
              <a:schemeClr val="accent2"/>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Open Sans"/>
              <a:cs typeface="Open Sans"/>
              <a:sym typeface="Open Sans"/>
            </a:endParaRPr>
          </a:p>
        </p:txBody>
      </p:sp>
      <p:sp>
        <p:nvSpPr>
          <p:cNvPr id="31" name="Rectangle 30">
            <a:extLst>
              <a:ext uri="{FF2B5EF4-FFF2-40B4-BE49-F238E27FC236}">
                <a16:creationId xmlns:a16="http://schemas.microsoft.com/office/drawing/2014/main" id="{E0FAA5F0-90DA-4EA1-AFB2-4365FF326B70}"/>
              </a:ext>
            </a:extLst>
          </p:cNvPr>
          <p:cNvSpPr>
            <a:spLocks noChangeAspect="1"/>
          </p:cNvSpPr>
          <p:nvPr/>
        </p:nvSpPr>
        <p:spPr>
          <a:xfrm>
            <a:off x="8620429" y="1708312"/>
            <a:ext cx="3087520" cy="561656"/>
          </a:xfrm>
          <a:prstGeom prst="rect">
            <a:avLst/>
          </a:prstGeom>
          <a:solidFill>
            <a:schemeClr val="accent2"/>
          </a:solidFill>
          <a:ln w="28575">
            <a:solidFill>
              <a:schemeClr val="accent2"/>
            </a:solidFill>
          </a:ln>
          <a:effectLst/>
        </p:spPr>
        <p:style>
          <a:lnRef idx="0">
            <a:schemeClr val="accent2"/>
          </a:lnRef>
          <a:fillRef idx="3">
            <a:schemeClr val="accent2"/>
          </a:fillRef>
          <a:effectRef idx="3">
            <a:schemeClr val="accent2"/>
          </a:effectRef>
          <a:fontRef idx="minor">
            <a:schemeClr val="lt1"/>
          </a:fontRef>
        </p:style>
        <p:txBody>
          <a:bodyPr lIns="182880" tIns="91440" rIns="91440" bIns="9144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300" normalizeH="0" baseline="0" noProof="0" dirty="0">
                <a:ln>
                  <a:noFill/>
                </a:ln>
                <a:solidFill>
                  <a:srgbClr val="000000"/>
                </a:solidFill>
                <a:effectLst/>
                <a:uLnTx/>
                <a:uFillTx/>
                <a:ea typeface="Open Sans Extrabold" charset="0"/>
                <a:cs typeface="Open Sans Extrabold" charset="0"/>
              </a:rPr>
              <a:t>ONGOING </a:t>
            </a:r>
            <a:br>
              <a:rPr kumimoji="0" lang="en-US" sz="1100" b="1" i="0" u="none" strike="noStrike" kern="1200" cap="none" spc="300" normalizeH="0" baseline="0" noProof="0" dirty="0">
                <a:ln>
                  <a:noFill/>
                </a:ln>
                <a:solidFill>
                  <a:srgbClr val="000000"/>
                </a:solidFill>
                <a:effectLst/>
                <a:uLnTx/>
                <a:uFillTx/>
                <a:ea typeface="Open Sans Extrabold" charset="0"/>
                <a:cs typeface="Open Sans Extrabold" charset="0"/>
              </a:rPr>
            </a:br>
            <a:r>
              <a:rPr kumimoji="0" lang="en-US" sz="1100" b="1" i="0" u="none" strike="noStrike" kern="1200" cap="none" spc="300" normalizeH="0" baseline="0" noProof="0" dirty="0">
                <a:ln>
                  <a:noFill/>
                </a:ln>
                <a:solidFill>
                  <a:srgbClr val="000000"/>
                </a:solidFill>
                <a:effectLst/>
                <a:uLnTx/>
                <a:uFillTx/>
                <a:ea typeface="Open Sans Extrabold" charset="0"/>
                <a:cs typeface="Open Sans Extrabold" charset="0"/>
              </a:rPr>
              <a:t>MAINTENANCE </a:t>
            </a:r>
            <a:br>
              <a:rPr kumimoji="0" lang="en-US" sz="1100" b="1" i="0" u="none" strike="noStrike" kern="1200" cap="none" spc="300" normalizeH="0" baseline="0" noProof="0" dirty="0">
                <a:ln>
                  <a:noFill/>
                </a:ln>
                <a:solidFill>
                  <a:srgbClr val="000000"/>
                </a:solidFill>
                <a:effectLst/>
                <a:uLnTx/>
                <a:uFillTx/>
                <a:ea typeface="Open Sans Extrabold" charset="0"/>
                <a:cs typeface="Open Sans Extrabold" charset="0"/>
              </a:rPr>
            </a:br>
            <a:r>
              <a:rPr kumimoji="0" lang="en-US" sz="1100" b="1" i="0" u="none" strike="noStrike" kern="1200" cap="none" spc="300" normalizeH="0" baseline="0" noProof="0" dirty="0">
                <a:ln>
                  <a:noFill/>
                </a:ln>
                <a:solidFill>
                  <a:srgbClr val="000000"/>
                </a:solidFill>
                <a:effectLst/>
                <a:uLnTx/>
                <a:uFillTx/>
                <a:ea typeface="Open Sans Extrabold" charset="0"/>
                <a:cs typeface="Open Sans Extrabold" charset="0"/>
              </a:rPr>
              <a:t>&amp; SUPPORT</a:t>
            </a:r>
          </a:p>
        </p:txBody>
      </p:sp>
      <p:grpSp>
        <p:nvGrpSpPr>
          <p:cNvPr id="32" name="Group 31">
            <a:extLst>
              <a:ext uri="{FF2B5EF4-FFF2-40B4-BE49-F238E27FC236}">
                <a16:creationId xmlns:a16="http://schemas.microsoft.com/office/drawing/2014/main" id="{A260CBC9-256C-4C94-B4F0-2EC10D9FE3E4}"/>
              </a:ext>
            </a:extLst>
          </p:cNvPr>
          <p:cNvGrpSpPr/>
          <p:nvPr/>
        </p:nvGrpSpPr>
        <p:grpSpPr>
          <a:xfrm>
            <a:off x="1452179" y="1588551"/>
            <a:ext cx="619770" cy="619770"/>
            <a:chOff x="1627942" y="1556489"/>
            <a:chExt cx="619770" cy="619770"/>
          </a:xfrm>
        </p:grpSpPr>
        <p:sp>
          <p:nvSpPr>
            <p:cNvPr id="33" name="Oval 32">
              <a:extLst>
                <a:ext uri="{FF2B5EF4-FFF2-40B4-BE49-F238E27FC236}">
                  <a16:creationId xmlns:a16="http://schemas.microsoft.com/office/drawing/2014/main" id="{C55DB4B9-D570-4BAA-B825-16F435DD5AB0}"/>
                </a:ext>
              </a:extLst>
            </p:cNvPr>
            <p:cNvSpPr/>
            <p:nvPr/>
          </p:nvSpPr>
          <p:spPr>
            <a:xfrm>
              <a:off x="1627942" y="1556489"/>
              <a:ext cx="619770" cy="6197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ea typeface="+mn-ea"/>
                <a:cs typeface="+mn-cs"/>
              </a:endParaRPr>
            </a:p>
          </p:txBody>
        </p:sp>
        <p:sp>
          <p:nvSpPr>
            <p:cNvPr id="34" name="Freeform 11">
              <a:extLst>
                <a:ext uri="{FF2B5EF4-FFF2-40B4-BE49-F238E27FC236}">
                  <a16:creationId xmlns:a16="http://schemas.microsoft.com/office/drawing/2014/main" id="{C808DA0D-88E2-4AA5-A83B-88C6CD674EA4}"/>
                </a:ext>
              </a:extLst>
            </p:cNvPr>
            <p:cNvSpPr>
              <a:spLocks noEditPoints="1"/>
            </p:cNvSpPr>
            <p:nvPr/>
          </p:nvSpPr>
          <p:spPr bwMode="auto">
            <a:xfrm>
              <a:off x="1652733" y="1582313"/>
              <a:ext cx="570188" cy="568123"/>
            </a:xfrm>
            <a:custGeom>
              <a:avLst/>
              <a:gdLst>
                <a:gd name="T0" fmla="*/ 312 w 658"/>
                <a:gd name="T1" fmla="*/ 658 h 658"/>
                <a:gd name="T2" fmla="*/ 262 w 658"/>
                <a:gd name="T3" fmla="*/ 652 h 658"/>
                <a:gd name="T4" fmla="*/ 202 w 658"/>
                <a:gd name="T5" fmla="*/ 633 h 658"/>
                <a:gd name="T6" fmla="*/ 120 w 658"/>
                <a:gd name="T7" fmla="*/ 583 h 658"/>
                <a:gd name="T8" fmla="*/ 56 w 658"/>
                <a:gd name="T9" fmla="*/ 513 h 658"/>
                <a:gd name="T10" fmla="*/ 15 w 658"/>
                <a:gd name="T11" fmla="*/ 427 h 658"/>
                <a:gd name="T12" fmla="*/ 4 w 658"/>
                <a:gd name="T13" fmla="*/ 379 h 658"/>
                <a:gd name="T14" fmla="*/ 0 w 658"/>
                <a:gd name="T15" fmla="*/ 329 h 658"/>
                <a:gd name="T16" fmla="*/ 1 w 658"/>
                <a:gd name="T17" fmla="*/ 295 h 658"/>
                <a:gd name="T18" fmla="*/ 11 w 658"/>
                <a:gd name="T19" fmla="*/ 247 h 658"/>
                <a:gd name="T20" fmla="*/ 40 w 658"/>
                <a:gd name="T21" fmla="*/ 173 h 658"/>
                <a:gd name="T22" fmla="*/ 97 w 658"/>
                <a:gd name="T23" fmla="*/ 96 h 658"/>
                <a:gd name="T24" fmla="*/ 172 w 658"/>
                <a:gd name="T25" fmla="*/ 40 h 658"/>
                <a:gd name="T26" fmla="*/ 247 w 658"/>
                <a:gd name="T27" fmla="*/ 10 h 658"/>
                <a:gd name="T28" fmla="*/ 296 w 658"/>
                <a:gd name="T29" fmla="*/ 2 h 658"/>
                <a:gd name="T30" fmla="*/ 329 w 658"/>
                <a:gd name="T31" fmla="*/ 0 h 658"/>
                <a:gd name="T32" fmla="*/ 379 w 658"/>
                <a:gd name="T33" fmla="*/ 4 h 658"/>
                <a:gd name="T34" fmla="*/ 426 w 658"/>
                <a:gd name="T35" fmla="*/ 16 h 658"/>
                <a:gd name="T36" fmla="*/ 513 w 658"/>
                <a:gd name="T37" fmla="*/ 56 h 658"/>
                <a:gd name="T38" fmla="*/ 583 w 658"/>
                <a:gd name="T39" fmla="*/ 121 h 658"/>
                <a:gd name="T40" fmla="*/ 632 w 658"/>
                <a:gd name="T41" fmla="*/ 201 h 658"/>
                <a:gd name="T42" fmla="*/ 652 w 658"/>
                <a:gd name="T43" fmla="*/ 263 h 658"/>
                <a:gd name="T44" fmla="*/ 657 w 658"/>
                <a:gd name="T45" fmla="*/ 313 h 658"/>
                <a:gd name="T46" fmla="*/ 657 w 658"/>
                <a:gd name="T47" fmla="*/ 346 h 658"/>
                <a:gd name="T48" fmla="*/ 652 w 658"/>
                <a:gd name="T49" fmla="*/ 396 h 658"/>
                <a:gd name="T50" fmla="*/ 632 w 658"/>
                <a:gd name="T51" fmla="*/ 457 h 658"/>
                <a:gd name="T52" fmla="*/ 583 w 658"/>
                <a:gd name="T53" fmla="*/ 539 h 658"/>
                <a:gd name="T54" fmla="*/ 513 w 658"/>
                <a:gd name="T55" fmla="*/ 602 h 658"/>
                <a:gd name="T56" fmla="*/ 426 w 658"/>
                <a:gd name="T57" fmla="*/ 644 h 658"/>
                <a:gd name="T58" fmla="*/ 379 w 658"/>
                <a:gd name="T59" fmla="*/ 654 h 658"/>
                <a:gd name="T60" fmla="*/ 329 w 658"/>
                <a:gd name="T61" fmla="*/ 658 h 658"/>
                <a:gd name="T62" fmla="*/ 329 w 658"/>
                <a:gd name="T63" fmla="*/ 37 h 658"/>
                <a:gd name="T64" fmla="*/ 242 w 658"/>
                <a:gd name="T65" fmla="*/ 51 h 658"/>
                <a:gd name="T66" fmla="*/ 167 w 658"/>
                <a:gd name="T67" fmla="*/ 88 h 658"/>
                <a:gd name="T68" fmla="*/ 105 w 658"/>
                <a:gd name="T69" fmla="*/ 144 h 658"/>
                <a:gd name="T70" fmla="*/ 60 w 658"/>
                <a:gd name="T71" fmla="*/ 216 h 658"/>
                <a:gd name="T72" fmla="*/ 39 w 658"/>
                <a:gd name="T73" fmla="*/ 299 h 658"/>
                <a:gd name="T74" fmla="*/ 39 w 658"/>
                <a:gd name="T75" fmla="*/ 359 h 658"/>
                <a:gd name="T76" fmla="*/ 60 w 658"/>
                <a:gd name="T77" fmla="*/ 443 h 658"/>
                <a:gd name="T78" fmla="*/ 105 w 658"/>
                <a:gd name="T79" fmla="*/ 514 h 658"/>
                <a:gd name="T80" fmla="*/ 167 w 658"/>
                <a:gd name="T81" fmla="*/ 571 h 658"/>
                <a:gd name="T82" fmla="*/ 242 w 658"/>
                <a:gd name="T83" fmla="*/ 607 h 658"/>
                <a:gd name="T84" fmla="*/ 329 w 658"/>
                <a:gd name="T85" fmla="*/ 621 h 658"/>
                <a:gd name="T86" fmla="*/ 387 w 658"/>
                <a:gd name="T87" fmla="*/ 615 h 658"/>
                <a:gd name="T88" fmla="*/ 468 w 658"/>
                <a:gd name="T89" fmla="*/ 586 h 658"/>
                <a:gd name="T90" fmla="*/ 535 w 658"/>
                <a:gd name="T91" fmla="*/ 535 h 658"/>
                <a:gd name="T92" fmla="*/ 585 w 658"/>
                <a:gd name="T93" fmla="*/ 467 h 658"/>
                <a:gd name="T94" fmla="*/ 614 w 658"/>
                <a:gd name="T95" fmla="*/ 388 h 658"/>
                <a:gd name="T96" fmla="*/ 621 w 658"/>
                <a:gd name="T97" fmla="*/ 329 h 658"/>
                <a:gd name="T98" fmla="*/ 607 w 658"/>
                <a:gd name="T99" fmla="*/ 243 h 658"/>
                <a:gd name="T100" fmla="*/ 570 w 658"/>
                <a:gd name="T101" fmla="*/ 166 h 658"/>
                <a:gd name="T102" fmla="*/ 515 w 658"/>
                <a:gd name="T103" fmla="*/ 105 h 658"/>
                <a:gd name="T104" fmla="*/ 442 w 658"/>
                <a:gd name="T105" fmla="*/ 62 h 658"/>
                <a:gd name="T106" fmla="*/ 359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2" y="658"/>
                  </a:lnTo>
                  <a:lnTo>
                    <a:pt x="296" y="657"/>
                  </a:lnTo>
                  <a:lnTo>
                    <a:pt x="279" y="654"/>
                  </a:lnTo>
                  <a:lnTo>
                    <a:pt x="262" y="652"/>
                  </a:lnTo>
                  <a:lnTo>
                    <a:pt x="247" y="648"/>
                  </a:lnTo>
                  <a:lnTo>
                    <a:pt x="231" y="644"/>
                  </a:lnTo>
                  <a:lnTo>
                    <a:pt x="202" y="633"/>
                  </a:lnTo>
                  <a:lnTo>
                    <a:pt x="172" y="618"/>
                  </a:lnTo>
                  <a:lnTo>
                    <a:pt x="145" y="602"/>
                  </a:lnTo>
                  <a:lnTo>
                    <a:pt x="120" y="583"/>
                  </a:lnTo>
                  <a:lnTo>
                    <a:pt x="97" y="562"/>
                  </a:lnTo>
                  <a:lnTo>
                    <a:pt x="75" y="539"/>
                  </a:lnTo>
                  <a:lnTo>
                    <a:pt x="56" y="513"/>
                  </a:lnTo>
                  <a:lnTo>
                    <a:pt x="40" y="486"/>
                  </a:lnTo>
                  <a:lnTo>
                    <a:pt x="25" y="457"/>
                  </a:lnTo>
                  <a:lnTo>
                    <a:pt x="15" y="427"/>
                  </a:lnTo>
                  <a:lnTo>
                    <a:pt x="11" y="411"/>
                  </a:lnTo>
                  <a:lnTo>
                    <a:pt x="7" y="396"/>
                  </a:lnTo>
                  <a:lnTo>
                    <a:pt x="4" y="379"/>
                  </a:lnTo>
                  <a:lnTo>
                    <a:pt x="1" y="363"/>
                  </a:lnTo>
                  <a:lnTo>
                    <a:pt x="0" y="346"/>
                  </a:lnTo>
                  <a:lnTo>
                    <a:pt x="0" y="329"/>
                  </a:lnTo>
                  <a:lnTo>
                    <a:pt x="0" y="329"/>
                  </a:lnTo>
                  <a:lnTo>
                    <a:pt x="0" y="313"/>
                  </a:lnTo>
                  <a:lnTo>
                    <a:pt x="1" y="295"/>
                  </a:lnTo>
                  <a:lnTo>
                    <a:pt x="4" y="279"/>
                  </a:lnTo>
                  <a:lnTo>
                    <a:pt x="7" y="263"/>
                  </a:lnTo>
                  <a:lnTo>
                    <a:pt x="11" y="247"/>
                  </a:lnTo>
                  <a:lnTo>
                    <a:pt x="15" y="232"/>
                  </a:lnTo>
                  <a:lnTo>
                    <a:pt x="25" y="201"/>
                  </a:lnTo>
                  <a:lnTo>
                    <a:pt x="40" y="173"/>
                  </a:lnTo>
                  <a:lnTo>
                    <a:pt x="56" y="145"/>
                  </a:lnTo>
                  <a:lnTo>
                    <a:pt x="75" y="121"/>
                  </a:lnTo>
                  <a:lnTo>
                    <a:pt x="97" y="96"/>
                  </a:lnTo>
                  <a:lnTo>
                    <a:pt x="120" y="75"/>
                  </a:lnTo>
                  <a:lnTo>
                    <a:pt x="145" y="56"/>
                  </a:lnTo>
                  <a:lnTo>
                    <a:pt x="172" y="40"/>
                  </a:lnTo>
                  <a:lnTo>
                    <a:pt x="202" y="27"/>
                  </a:lnTo>
                  <a:lnTo>
                    <a:pt x="231" y="16"/>
                  </a:lnTo>
                  <a:lnTo>
                    <a:pt x="247" y="10"/>
                  </a:lnTo>
                  <a:lnTo>
                    <a:pt x="262" y="6"/>
                  </a:lnTo>
                  <a:lnTo>
                    <a:pt x="279" y="4"/>
                  </a:lnTo>
                  <a:lnTo>
                    <a:pt x="296" y="2"/>
                  </a:lnTo>
                  <a:lnTo>
                    <a:pt x="312" y="1"/>
                  </a:lnTo>
                  <a:lnTo>
                    <a:pt x="329" y="0"/>
                  </a:lnTo>
                  <a:lnTo>
                    <a:pt x="329" y="0"/>
                  </a:lnTo>
                  <a:lnTo>
                    <a:pt x="345" y="1"/>
                  </a:lnTo>
                  <a:lnTo>
                    <a:pt x="363" y="2"/>
                  </a:lnTo>
                  <a:lnTo>
                    <a:pt x="379" y="4"/>
                  </a:lnTo>
                  <a:lnTo>
                    <a:pt x="395" y="6"/>
                  </a:lnTo>
                  <a:lnTo>
                    <a:pt x="411" y="10"/>
                  </a:lnTo>
                  <a:lnTo>
                    <a:pt x="426" y="16"/>
                  </a:lnTo>
                  <a:lnTo>
                    <a:pt x="457" y="27"/>
                  </a:lnTo>
                  <a:lnTo>
                    <a:pt x="485" y="40"/>
                  </a:lnTo>
                  <a:lnTo>
                    <a:pt x="513" y="56"/>
                  </a:lnTo>
                  <a:lnTo>
                    <a:pt x="538" y="75"/>
                  </a:lnTo>
                  <a:lnTo>
                    <a:pt x="562" y="96"/>
                  </a:lnTo>
                  <a:lnTo>
                    <a:pt x="583" y="121"/>
                  </a:lnTo>
                  <a:lnTo>
                    <a:pt x="602" y="145"/>
                  </a:lnTo>
                  <a:lnTo>
                    <a:pt x="618" y="173"/>
                  </a:lnTo>
                  <a:lnTo>
                    <a:pt x="632" y="201"/>
                  </a:lnTo>
                  <a:lnTo>
                    <a:pt x="644" y="232"/>
                  </a:lnTo>
                  <a:lnTo>
                    <a:pt x="648" y="247"/>
                  </a:lnTo>
                  <a:lnTo>
                    <a:pt x="652" y="263"/>
                  </a:lnTo>
                  <a:lnTo>
                    <a:pt x="654" y="279"/>
                  </a:lnTo>
                  <a:lnTo>
                    <a:pt x="656" y="295"/>
                  </a:lnTo>
                  <a:lnTo>
                    <a:pt x="657" y="313"/>
                  </a:lnTo>
                  <a:lnTo>
                    <a:pt x="658" y="329"/>
                  </a:lnTo>
                  <a:lnTo>
                    <a:pt x="658" y="329"/>
                  </a:lnTo>
                  <a:lnTo>
                    <a:pt x="657" y="346"/>
                  </a:lnTo>
                  <a:lnTo>
                    <a:pt x="656" y="363"/>
                  </a:lnTo>
                  <a:lnTo>
                    <a:pt x="654" y="379"/>
                  </a:lnTo>
                  <a:lnTo>
                    <a:pt x="652" y="396"/>
                  </a:lnTo>
                  <a:lnTo>
                    <a:pt x="648" y="411"/>
                  </a:lnTo>
                  <a:lnTo>
                    <a:pt x="644" y="427"/>
                  </a:lnTo>
                  <a:lnTo>
                    <a:pt x="632" y="457"/>
                  </a:lnTo>
                  <a:lnTo>
                    <a:pt x="618" y="486"/>
                  </a:lnTo>
                  <a:lnTo>
                    <a:pt x="602" y="513"/>
                  </a:lnTo>
                  <a:lnTo>
                    <a:pt x="583" y="539"/>
                  </a:lnTo>
                  <a:lnTo>
                    <a:pt x="562" y="562"/>
                  </a:lnTo>
                  <a:lnTo>
                    <a:pt x="538" y="583"/>
                  </a:lnTo>
                  <a:lnTo>
                    <a:pt x="513" y="602"/>
                  </a:lnTo>
                  <a:lnTo>
                    <a:pt x="485" y="618"/>
                  </a:lnTo>
                  <a:lnTo>
                    <a:pt x="457" y="633"/>
                  </a:lnTo>
                  <a:lnTo>
                    <a:pt x="426" y="644"/>
                  </a:lnTo>
                  <a:lnTo>
                    <a:pt x="411" y="648"/>
                  </a:lnTo>
                  <a:lnTo>
                    <a:pt x="395" y="652"/>
                  </a:lnTo>
                  <a:lnTo>
                    <a:pt x="379" y="654"/>
                  </a:lnTo>
                  <a:lnTo>
                    <a:pt x="363" y="657"/>
                  </a:lnTo>
                  <a:lnTo>
                    <a:pt x="345" y="658"/>
                  </a:lnTo>
                  <a:lnTo>
                    <a:pt x="329" y="658"/>
                  </a:lnTo>
                  <a:lnTo>
                    <a:pt x="329" y="658"/>
                  </a:lnTo>
                  <a:close/>
                  <a:moveTo>
                    <a:pt x="329" y="37"/>
                  </a:moveTo>
                  <a:lnTo>
                    <a:pt x="329" y="37"/>
                  </a:lnTo>
                  <a:lnTo>
                    <a:pt x="300" y="40"/>
                  </a:lnTo>
                  <a:lnTo>
                    <a:pt x="270" y="44"/>
                  </a:lnTo>
                  <a:lnTo>
                    <a:pt x="242" y="51"/>
                  </a:lnTo>
                  <a:lnTo>
                    <a:pt x="215" y="62"/>
                  </a:lnTo>
                  <a:lnTo>
                    <a:pt x="191" y="74"/>
                  </a:lnTo>
                  <a:lnTo>
                    <a:pt x="167" y="88"/>
                  </a:lnTo>
                  <a:lnTo>
                    <a:pt x="144" y="105"/>
                  </a:lnTo>
                  <a:lnTo>
                    <a:pt x="124" y="123"/>
                  </a:lnTo>
                  <a:lnTo>
                    <a:pt x="105" y="144"/>
                  </a:lnTo>
                  <a:lnTo>
                    <a:pt x="87" y="166"/>
                  </a:lnTo>
                  <a:lnTo>
                    <a:pt x="73" y="191"/>
                  </a:lnTo>
                  <a:lnTo>
                    <a:pt x="60" y="216"/>
                  </a:lnTo>
                  <a:lnTo>
                    <a:pt x="51" y="243"/>
                  </a:lnTo>
                  <a:lnTo>
                    <a:pt x="43" y="271"/>
                  </a:lnTo>
                  <a:lnTo>
                    <a:pt x="39" y="299"/>
                  </a:lnTo>
                  <a:lnTo>
                    <a:pt x="38" y="329"/>
                  </a:lnTo>
                  <a:lnTo>
                    <a:pt x="38" y="329"/>
                  </a:lnTo>
                  <a:lnTo>
                    <a:pt x="39" y="359"/>
                  </a:lnTo>
                  <a:lnTo>
                    <a:pt x="43" y="388"/>
                  </a:lnTo>
                  <a:lnTo>
                    <a:pt x="51" y="416"/>
                  </a:lnTo>
                  <a:lnTo>
                    <a:pt x="60" y="443"/>
                  </a:lnTo>
                  <a:lnTo>
                    <a:pt x="73" y="467"/>
                  </a:lnTo>
                  <a:lnTo>
                    <a:pt x="87" y="492"/>
                  </a:lnTo>
                  <a:lnTo>
                    <a:pt x="105" y="514"/>
                  </a:lnTo>
                  <a:lnTo>
                    <a:pt x="124" y="535"/>
                  </a:lnTo>
                  <a:lnTo>
                    <a:pt x="144" y="553"/>
                  </a:lnTo>
                  <a:lnTo>
                    <a:pt x="167" y="571"/>
                  </a:lnTo>
                  <a:lnTo>
                    <a:pt x="191" y="586"/>
                  </a:lnTo>
                  <a:lnTo>
                    <a:pt x="215" y="598"/>
                  </a:lnTo>
                  <a:lnTo>
                    <a:pt x="242" y="607"/>
                  </a:lnTo>
                  <a:lnTo>
                    <a:pt x="270" y="615"/>
                  </a:lnTo>
                  <a:lnTo>
                    <a:pt x="300" y="619"/>
                  </a:lnTo>
                  <a:lnTo>
                    <a:pt x="329" y="621"/>
                  </a:lnTo>
                  <a:lnTo>
                    <a:pt x="329" y="621"/>
                  </a:lnTo>
                  <a:lnTo>
                    <a:pt x="359" y="619"/>
                  </a:lnTo>
                  <a:lnTo>
                    <a:pt x="387" y="615"/>
                  </a:lnTo>
                  <a:lnTo>
                    <a:pt x="415" y="607"/>
                  </a:lnTo>
                  <a:lnTo>
                    <a:pt x="442" y="598"/>
                  </a:lnTo>
                  <a:lnTo>
                    <a:pt x="468" y="586"/>
                  </a:lnTo>
                  <a:lnTo>
                    <a:pt x="492" y="571"/>
                  </a:lnTo>
                  <a:lnTo>
                    <a:pt x="515" y="553"/>
                  </a:lnTo>
                  <a:lnTo>
                    <a:pt x="535" y="535"/>
                  </a:lnTo>
                  <a:lnTo>
                    <a:pt x="554" y="514"/>
                  </a:lnTo>
                  <a:lnTo>
                    <a:pt x="570" y="492"/>
                  </a:lnTo>
                  <a:lnTo>
                    <a:pt x="585" y="467"/>
                  </a:lnTo>
                  <a:lnTo>
                    <a:pt x="597" y="443"/>
                  </a:lnTo>
                  <a:lnTo>
                    <a:pt x="607" y="416"/>
                  </a:lnTo>
                  <a:lnTo>
                    <a:pt x="614" y="388"/>
                  </a:lnTo>
                  <a:lnTo>
                    <a:pt x="618" y="359"/>
                  </a:lnTo>
                  <a:lnTo>
                    <a:pt x="621" y="329"/>
                  </a:lnTo>
                  <a:lnTo>
                    <a:pt x="621" y="329"/>
                  </a:lnTo>
                  <a:lnTo>
                    <a:pt x="618" y="299"/>
                  </a:lnTo>
                  <a:lnTo>
                    <a:pt x="614" y="271"/>
                  </a:lnTo>
                  <a:lnTo>
                    <a:pt x="607" y="243"/>
                  </a:lnTo>
                  <a:lnTo>
                    <a:pt x="597" y="216"/>
                  </a:lnTo>
                  <a:lnTo>
                    <a:pt x="585" y="191"/>
                  </a:lnTo>
                  <a:lnTo>
                    <a:pt x="570" y="166"/>
                  </a:lnTo>
                  <a:lnTo>
                    <a:pt x="554" y="144"/>
                  </a:lnTo>
                  <a:lnTo>
                    <a:pt x="535" y="123"/>
                  </a:lnTo>
                  <a:lnTo>
                    <a:pt x="515" y="105"/>
                  </a:lnTo>
                  <a:lnTo>
                    <a:pt x="492" y="88"/>
                  </a:lnTo>
                  <a:lnTo>
                    <a:pt x="468" y="74"/>
                  </a:lnTo>
                  <a:lnTo>
                    <a:pt x="442" y="62"/>
                  </a:lnTo>
                  <a:lnTo>
                    <a:pt x="415" y="51"/>
                  </a:lnTo>
                  <a:lnTo>
                    <a:pt x="387" y="44"/>
                  </a:lnTo>
                  <a:lnTo>
                    <a:pt x="359" y="40"/>
                  </a:lnTo>
                  <a:lnTo>
                    <a:pt x="329" y="37"/>
                  </a:lnTo>
                  <a:lnTo>
                    <a:pt x="329" y="37"/>
                  </a:lnTo>
                  <a:close/>
                </a:path>
              </a:pathLst>
            </a:custGeom>
            <a:solidFill>
              <a:schemeClr val="accent1"/>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ea typeface="+mn-ea"/>
                <a:cs typeface="+mn-cs"/>
              </a:endParaRPr>
            </a:p>
          </p:txBody>
        </p:sp>
        <p:sp>
          <p:nvSpPr>
            <p:cNvPr id="35" name="TextBox 34">
              <a:extLst>
                <a:ext uri="{FF2B5EF4-FFF2-40B4-BE49-F238E27FC236}">
                  <a16:creationId xmlns:a16="http://schemas.microsoft.com/office/drawing/2014/main" id="{0080EE3D-ED09-4B87-AFAA-1096EF61BD15}"/>
                </a:ext>
              </a:extLst>
            </p:cNvPr>
            <p:cNvSpPr txBox="1"/>
            <p:nvPr/>
          </p:nvSpPr>
          <p:spPr>
            <a:xfrm>
              <a:off x="1645377" y="1635542"/>
              <a:ext cx="584901" cy="461665"/>
            </a:xfrm>
            <a:prstGeom prst="rect">
              <a:avLst/>
            </a:prstGeom>
            <a:noFill/>
          </p:spPr>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ea typeface="+mn-ea"/>
                  <a:cs typeface="+mn-cs"/>
                </a:rPr>
                <a:t>1</a:t>
              </a:r>
            </a:p>
          </p:txBody>
        </p:sp>
      </p:grpSp>
      <p:grpSp>
        <p:nvGrpSpPr>
          <p:cNvPr id="36" name="Group 35">
            <a:extLst>
              <a:ext uri="{FF2B5EF4-FFF2-40B4-BE49-F238E27FC236}">
                <a16:creationId xmlns:a16="http://schemas.microsoft.com/office/drawing/2014/main" id="{A5D2047B-1E87-4F79-86C0-32FF3A689B55}"/>
              </a:ext>
            </a:extLst>
          </p:cNvPr>
          <p:cNvGrpSpPr/>
          <p:nvPr/>
        </p:nvGrpSpPr>
        <p:grpSpPr>
          <a:xfrm>
            <a:off x="4880685" y="1588551"/>
            <a:ext cx="619770" cy="619770"/>
            <a:chOff x="4991377" y="1556489"/>
            <a:chExt cx="619770" cy="619770"/>
          </a:xfrm>
        </p:grpSpPr>
        <p:sp>
          <p:nvSpPr>
            <p:cNvPr id="37" name="Oval 36">
              <a:extLst>
                <a:ext uri="{FF2B5EF4-FFF2-40B4-BE49-F238E27FC236}">
                  <a16:creationId xmlns:a16="http://schemas.microsoft.com/office/drawing/2014/main" id="{70DCBDA7-3CFD-42FC-A459-D1E19E6BBDC1}"/>
                </a:ext>
              </a:extLst>
            </p:cNvPr>
            <p:cNvSpPr/>
            <p:nvPr/>
          </p:nvSpPr>
          <p:spPr>
            <a:xfrm>
              <a:off x="4991377" y="1556489"/>
              <a:ext cx="619770" cy="6197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ea typeface="+mn-ea"/>
                <a:cs typeface="+mn-cs"/>
              </a:endParaRPr>
            </a:p>
          </p:txBody>
        </p:sp>
        <p:sp>
          <p:nvSpPr>
            <p:cNvPr id="38" name="Freeform 20">
              <a:extLst>
                <a:ext uri="{FF2B5EF4-FFF2-40B4-BE49-F238E27FC236}">
                  <a16:creationId xmlns:a16="http://schemas.microsoft.com/office/drawing/2014/main" id="{08AE8CCB-4C51-4E67-ACFA-117C356F72D2}"/>
                </a:ext>
              </a:extLst>
            </p:cNvPr>
            <p:cNvSpPr>
              <a:spLocks noEditPoints="1"/>
            </p:cNvSpPr>
            <p:nvPr/>
          </p:nvSpPr>
          <p:spPr bwMode="auto">
            <a:xfrm>
              <a:off x="5018064" y="1582313"/>
              <a:ext cx="570188" cy="568123"/>
            </a:xfrm>
            <a:custGeom>
              <a:avLst/>
              <a:gdLst>
                <a:gd name="T0" fmla="*/ 312 w 657"/>
                <a:gd name="T1" fmla="*/ 658 h 658"/>
                <a:gd name="T2" fmla="*/ 262 w 657"/>
                <a:gd name="T3" fmla="*/ 652 h 658"/>
                <a:gd name="T4" fmla="*/ 200 w 657"/>
                <a:gd name="T5" fmla="*/ 633 h 658"/>
                <a:gd name="T6" fmla="*/ 119 w 657"/>
                <a:gd name="T7" fmla="*/ 583 h 658"/>
                <a:gd name="T8" fmla="*/ 56 w 657"/>
                <a:gd name="T9" fmla="*/ 513 h 658"/>
                <a:gd name="T10" fmla="*/ 14 w 657"/>
                <a:gd name="T11" fmla="*/ 427 h 658"/>
                <a:gd name="T12" fmla="*/ 4 w 657"/>
                <a:gd name="T13" fmla="*/ 379 h 658"/>
                <a:gd name="T14" fmla="*/ 0 w 657"/>
                <a:gd name="T15" fmla="*/ 329 h 658"/>
                <a:gd name="T16" fmla="*/ 1 w 657"/>
                <a:gd name="T17" fmla="*/ 296 h 658"/>
                <a:gd name="T18" fmla="*/ 10 w 657"/>
                <a:gd name="T19" fmla="*/ 247 h 658"/>
                <a:gd name="T20" fmla="*/ 39 w 657"/>
                <a:gd name="T21" fmla="*/ 173 h 658"/>
                <a:gd name="T22" fmla="*/ 96 w 657"/>
                <a:gd name="T23" fmla="*/ 97 h 658"/>
                <a:gd name="T24" fmla="*/ 172 w 657"/>
                <a:gd name="T25" fmla="*/ 40 h 658"/>
                <a:gd name="T26" fmla="*/ 247 w 657"/>
                <a:gd name="T27" fmla="*/ 11 h 658"/>
                <a:gd name="T28" fmla="*/ 295 w 657"/>
                <a:gd name="T29" fmla="*/ 3 h 658"/>
                <a:gd name="T30" fmla="*/ 329 w 657"/>
                <a:gd name="T31" fmla="*/ 0 h 658"/>
                <a:gd name="T32" fmla="*/ 379 w 657"/>
                <a:gd name="T33" fmla="*/ 4 h 658"/>
                <a:gd name="T34" fmla="*/ 426 w 657"/>
                <a:gd name="T35" fmla="*/ 16 h 658"/>
                <a:gd name="T36" fmla="*/ 512 w 657"/>
                <a:gd name="T37" fmla="*/ 56 h 658"/>
                <a:gd name="T38" fmla="*/ 582 w 657"/>
                <a:gd name="T39" fmla="*/ 121 h 658"/>
                <a:gd name="T40" fmla="*/ 631 w 657"/>
                <a:gd name="T41" fmla="*/ 201 h 658"/>
                <a:gd name="T42" fmla="*/ 650 w 657"/>
                <a:gd name="T43" fmla="*/ 263 h 658"/>
                <a:gd name="T44" fmla="*/ 657 w 657"/>
                <a:gd name="T45" fmla="*/ 313 h 658"/>
                <a:gd name="T46" fmla="*/ 657 w 657"/>
                <a:gd name="T47" fmla="*/ 347 h 658"/>
                <a:gd name="T48" fmla="*/ 650 w 657"/>
                <a:gd name="T49" fmla="*/ 396 h 658"/>
                <a:gd name="T50" fmla="*/ 631 w 657"/>
                <a:gd name="T51" fmla="*/ 457 h 658"/>
                <a:gd name="T52" fmla="*/ 582 w 657"/>
                <a:gd name="T53" fmla="*/ 539 h 658"/>
                <a:gd name="T54" fmla="*/ 512 w 657"/>
                <a:gd name="T55" fmla="*/ 602 h 658"/>
                <a:gd name="T56" fmla="*/ 426 w 657"/>
                <a:gd name="T57" fmla="*/ 644 h 658"/>
                <a:gd name="T58" fmla="*/ 379 w 657"/>
                <a:gd name="T59" fmla="*/ 654 h 658"/>
                <a:gd name="T60" fmla="*/ 329 w 657"/>
                <a:gd name="T61" fmla="*/ 658 h 658"/>
                <a:gd name="T62" fmla="*/ 329 w 657"/>
                <a:gd name="T63" fmla="*/ 37 h 658"/>
                <a:gd name="T64" fmla="*/ 242 w 657"/>
                <a:gd name="T65" fmla="*/ 51 h 658"/>
                <a:gd name="T66" fmla="*/ 166 w 657"/>
                <a:gd name="T67" fmla="*/ 89 h 658"/>
                <a:gd name="T68" fmla="*/ 103 w 657"/>
                <a:gd name="T69" fmla="*/ 144 h 658"/>
                <a:gd name="T70" fmla="*/ 60 w 657"/>
                <a:gd name="T71" fmla="*/ 216 h 658"/>
                <a:gd name="T72" fmla="*/ 39 w 657"/>
                <a:gd name="T73" fmla="*/ 300 h 658"/>
                <a:gd name="T74" fmla="*/ 39 w 657"/>
                <a:gd name="T75" fmla="*/ 359 h 658"/>
                <a:gd name="T76" fmla="*/ 60 w 657"/>
                <a:gd name="T77" fmla="*/ 443 h 658"/>
                <a:gd name="T78" fmla="*/ 103 w 657"/>
                <a:gd name="T79" fmla="*/ 515 h 658"/>
                <a:gd name="T80" fmla="*/ 166 w 657"/>
                <a:gd name="T81" fmla="*/ 571 h 658"/>
                <a:gd name="T82" fmla="*/ 242 w 657"/>
                <a:gd name="T83" fmla="*/ 607 h 658"/>
                <a:gd name="T84" fmla="*/ 329 w 657"/>
                <a:gd name="T85" fmla="*/ 621 h 658"/>
                <a:gd name="T86" fmla="*/ 387 w 657"/>
                <a:gd name="T87" fmla="*/ 615 h 658"/>
                <a:gd name="T88" fmla="*/ 467 w 657"/>
                <a:gd name="T89" fmla="*/ 586 h 658"/>
                <a:gd name="T90" fmla="*/ 535 w 657"/>
                <a:gd name="T91" fmla="*/ 535 h 658"/>
                <a:gd name="T92" fmla="*/ 584 w 657"/>
                <a:gd name="T93" fmla="*/ 468 h 658"/>
                <a:gd name="T94" fmla="*/ 614 w 657"/>
                <a:gd name="T95" fmla="*/ 388 h 658"/>
                <a:gd name="T96" fmla="*/ 619 w 657"/>
                <a:gd name="T97" fmla="*/ 329 h 658"/>
                <a:gd name="T98" fmla="*/ 607 w 657"/>
                <a:gd name="T99" fmla="*/ 243 h 658"/>
                <a:gd name="T100" fmla="*/ 570 w 657"/>
                <a:gd name="T101" fmla="*/ 166 h 658"/>
                <a:gd name="T102" fmla="*/ 513 w 657"/>
                <a:gd name="T103" fmla="*/ 105 h 658"/>
                <a:gd name="T104" fmla="*/ 442 w 657"/>
                <a:gd name="T105" fmla="*/ 62 h 658"/>
                <a:gd name="T106" fmla="*/ 359 w 657"/>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8"/>
                  </a:lnTo>
                  <a:lnTo>
                    <a:pt x="295" y="657"/>
                  </a:lnTo>
                  <a:lnTo>
                    <a:pt x="278" y="654"/>
                  </a:lnTo>
                  <a:lnTo>
                    <a:pt x="262" y="652"/>
                  </a:lnTo>
                  <a:lnTo>
                    <a:pt x="247" y="648"/>
                  </a:lnTo>
                  <a:lnTo>
                    <a:pt x="231" y="644"/>
                  </a:lnTo>
                  <a:lnTo>
                    <a:pt x="200" y="633"/>
                  </a:lnTo>
                  <a:lnTo>
                    <a:pt x="172" y="618"/>
                  </a:lnTo>
                  <a:lnTo>
                    <a:pt x="145" y="602"/>
                  </a:lnTo>
                  <a:lnTo>
                    <a:pt x="119" y="583"/>
                  </a:lnTo>
                  <a:lnTo>
                    <a:pt x="96" y="562"/>
                  </a:lnTo>
                  <a:lnTo>
                    <a:pt x="75" y="539"/>
                  </a:lnTo>
                  <a:lnTo>
                    <a:pt x="56" y="513"/>
                  </a:lnTo>
                  <a:lnTo>
                    <a:pt x="39" y="486"/>
                  </a:lnTo>
                  <a:lnTo>
                    <a:pt x="25" y="457"/>
                  </a:lnTo>
                  <a:lnTo>
                    <a:pt x="14" y="427"/>
                  </a:lnTo>
                  <a:lnTo>
                    <a:pt x="10" y="411"/>
                  </a:lnTo>
                  <a:lnTo>
                    <a:pt x="6" y="396"/>
                  </a:lnTo>
                  <a:lnTo>
                    <a:pt x="4" y="379"/>
                  </a:lnTo>
                  <a:lnTo>
                    <a:pt x="1" y="363"/>
                  </a:lnTo>
                  <a:lnTo>
                    <a:pt x="0" y="347"/>
                  </a:lnTo>
                  <a:lnTo>
                    <a:pt x="0" y="329"/>
                  </a:lnTo>
                  <a:lnTo>
                    <a:pt x="0" y="329"/>
                  </a:lnTo>
                  <a:lnTo>
                    <a:pt x="0" y="313"/>
                  </a:lnTo>
                  <a:lnTo>
                    <a:pt x="1" y="296"/>
                  </a:lnTo>
                  <a:lnTo>
                    <a:pt x="4" y="279"/>
                  </a:lnTo>
                  <a:lnTo>
                    <a:pt x="6" y="263"/>
                  </a:lnTo>
                  <a:lnTo>
                    <a:pt x="10" y="247"/>
                  </a:lnTo>
                  <a:lnTo>
                    <a:pt x="14" y="232"/>
                  </a:lnTo>
                  <a:lnTo>
                    <a:pt x="25" y="201"/>
                  </a:lnTo>
                  <a:lnTo>
                    <a:pt x="39" y="173"/>
                  </a:lnTo>
                  <a:lnTo>
                    <a:pt x="56" y="145"/>
                  </a:lnTo>
                  <a:lnTo>
                    <a:pt x="75" y="121"/>
                  </a:lnTo>
                  <a:lnTo>
                    <a:pt x="96" y="97"/>
                  </a:lnTo>
                  <a:lnTo>
                    <a:pt x="119" y="75"/>
                  </a:lnTo>
                  <a:lnTo>
                    <a:pt x="145" y="56"/>
                  </a:lnTo>
                  <a:lnTo>
                    <a:pt x="172" y="40"/>
                  </a:lnTo>
                  <a:lnTo>
                    <a:pt x="200" y="27"/>
                  </a:lnTo>
                  <a:lnTo>
                    <a:pt x="231" y="16"/>
                  </a:lnTo>
                  <a:lnTo>
                    <a:pt x="247" y="11"/>
                  </a:lnTo>
                  <a:lnTo>
                    <a:pt x="262" y="7"/>
                  </a:lnTo>
                  <a:lnTo>
                    <a:pt x="278" y="4"/>
                  </a:lnTo>
                  <a:lnTo>
                    <a:pt x="295" y="3"/>
                  </a:lnTo>
                  <a:lnTo>
                    <a:pt x="312" y="1"/>
                  </a:lnTo>
                  <a:lnTo>
                    <a:pt x="329" y="0"/>
                  </a:lnTo>
                  <a:lnTo>
                    <a:pt x="329" y="0"/>
                  </a:lnTo>
                  <a:lnTo>
                    <a:pt x="345" y="1"/>
                  </a:lnTo>
                  <a:lnTo>
                    <a:pt x="363" y="3"/>
                  </a:lnTo>
                  <a:lnTo>
                    <a:pt x="379" y="4"/>
                  </a:lnTo>
                  <a:lnTo>
                    <a:pt x="395" y="7"/>
                  </a:lnTo>
                  <a:lnTo>
                    <a:pt x="411" y="11"/>
                  </a:lnTo>
                  <a:lnTo>
                    <a:pt x="426" y="16"/>
                  </a:lnTo>
                  <a:lnTo>
                    <a:pt x="457" y="27"/>
                  </a:lnTo>
                  <a:lnTo>
                    <a:pt x="485" y="40"/>
                  </a:lnTo>
                  <a:lnTo>
                    <a:pt x="512" y="56"/>
                  </a:lnTo>
                  <a:lnTo>
                    <a:pt x="537" y="75"/>
                  </a:lnTo>
                  <a:lnTo>
                    <a:pt x="561" y="97"/>
                  </a:lnTo>
                  <a:lnTo>
                    <a:pt x="582" y="121"/>
                  </a:lnTo>
                  <a:lnTo>
                    <a:pt x="602" y="145"/>
                  </a:lnTo>
                  <a:lnTo>
                    <a:pt x="618" y="173"/>
                  </a:lnTo>
                  <a:lnTo>
                    <a:pt x="631" y="201"/>
                  </a:lnTo>
                  <a:lnTo>
                    <a:pt x="642" y="232"/>
                  </a:lnTo>
                  <a:lnTo>
                    <a:pt x="648" y="247"/>
                  </a:lnTo>
                  <a:lnTo>
                    <a:pt x="650" y="263"/>
                  </a:lnTo>
                  <a:lnTo>
                    <a:pt x="654" y="279"/>
                  </a:lnTo>
                  <a:lnTo>
                    <a:pt x="656" y="296"/>
                  </a:lnTo>
                  <a:lnTo>
                    <a:pt x="657" y="313"/>
                  </a:lnTo>
                  <a:lnTo>
                    <a:pt x="657" y="329"/>
                  </a:lnTo>
                  <a:lnTo>
                    <a:pt x="657" y="329"/>
                  </a:lnTo>
                  <a:lnTo>
                    <a:pt x="657" y="347"/>
                  </a:lnTo>
                  <a:lnTo>
                    <a:pt x="656" y="363"/>
                  </a:lnTo>
                  <a:lnTo>
                    <a:pt x="654" y="379"/>
                  </a:lnTo>
                  <a:lnTo>
                    <a:pt x="650" y="396"/>
                  </a:lnTo>
                  <a:lnTo>
                    <a:pt x="648" y="411"/>
                  </a:lnTo>
                  <a:lnTo>
                    <a:pt x="642" y="427"/>
                  </a:lnTo>
                  <a:lnTo>
                    <a:pt x="631" y="457"/>
                  </a:lnTo>
                  <a:lnTo>
                    <a:pt x="618" y="486"/>
                  </a:lnTo>
                  <a:lnTo>
                    <a:pt x="602" y="513"/>
                  </a:lnTo>
                  <a:lnTo>
                    <a:pt x="582" y="539"/>
                  </a:lnTo>
                  <a:lnTo>
                    <a:pt x="561" y="562"/>
                  </a:lnTo>
                  <a:lnTo>
                    <a:pt x="537" y="583"/>
                  </a:lnTo>
                  <a:lnTo>
                    <a:pt x="512" y="602"/>
                  </a:lnTo>
                  <a:lnTo>
                    <a:pt x="485" y="618"/>
                  </a:lnTo>
                  <a:lnTo>
                    <a:pt x="457" y="633"/>
                  </a:lnTo>
                  <a:lnTo>
                    <a:pt x="426" y="644"/>
                  </a:lnTo>
                  <a:lnTo>
                    <a:pt x="411" y="648"/>
                  </a:lnTo>
                  <a:lnTo>
                    <a:pt x="395" y="652"/>
                  </a:lnTo>
                  <a:lnTo>
                    <a:pt x="379" y="654"/>
                  </a:lnTo>
                  <a:lnTo>
                    <a:pt x="363" y="657"/>
                  </a:lnTo>
                  <a:lnTo>
                    <a:pt x="345" y="658"/>
                  </a:lnTo>
                  <a:lnTo>
                    <a:pt x="329" y="658"/>
                  </a:lnTo>
                  <a:lnTo>
                    <a:pt x="329" y="658"/>
                  </a:lnTo>
                  <a:close/>
                  <a:moveTo>
                    <a:pt x="329" y="37"/>
                  </a:moveTo>
                  <a:lnTo>
                    <a:pt x="329" y="37"/>
                  </a:lnTo>
                  <a:lnTo>
                    <a:pt x="299" y="40"/>
                  </a:lnTo>
                  <a:lnTo>
                    <a:pt x="270" y="44"/>
                  </a:lnTo>
                  <a:lnTo>
                    <a:pt x="242" y="51"/>
                  </a:lnTo>
                  <a:lnTo>
                    <a:pt x="215" y="62"/>
                  </a:lnTo>
                  <a:lnTo>
                    <a:pt x="189" y="74"/>
                  </a:lnTo>
                  <a:lnTo>
                    <a:pt x="166" y="89"/>
                  </a:lnTo>
                  <a:lnTo>
                    <a:pt x="144" y="105"/>
                  </a:lnTo>
                  <a:lnTo>
                    <a:pt x="122" y="123"/>
                  </a:lnTo>
                  <a:lnTo>
                    <a:pt x="103" y="144"/>
                  </a:lnTo>
                  <a:lnTo>
                    <a:pt x="87" y="166"/>
                  </a:lnTo>
                  <a:lnTo>
                    <a:pt x="72" y="191"/>
                  </a:lnTo>
                  <a:lnTo>
                    <a:pt x="60" y="216"/>
                  </a:lnTo>
                  <a:lnTo>
                    <a:pt x="51" y="243"/>
                  </a:lnTo>
                  <a:lnTo>
                    <a:pt x="43" y="271"/>
                  </a:lnTo>
                  <a:lnTo>
                    <a:pt x="39" y="300"/>
                  </a:lnTo>
                  <a:lnTo>
                    <a:pt x="37" y="329"/>
                  </a:lnTo>
                  <a:lnTo>
                    <a:pt x="37" y="329"/>
                  </a:lnTo>
                  <a:lnTo>
                    <a:pt x="39" y="359"/>
                  </a:lnTo>
                  <a:lnTo>
                    <a:pt x="43" y="388"/>
                  </a:lnTo>
                  <a:lnTo>
                    <a:pt x="51" y="416"/>
                  </a:lnTo>
                  <a:lnTo>
                    <a:pt x="60" y="443"/>
                  </a:lnTo>
                  <a:lnTo>
                    <a:pt x="72" y="468"/>
                  </a:lnTo>
                  <a:lnTo>
                    <a:pt x="87" y="492"/>
                  </a:lnTo>
                  <a:lnTo>
                    <a:pt x="103" y="515"/>
                  </a:lnTo>
                  <a:lnTo>
                    <a:pt x="122" y="535"/>
                  </a:lnTo>
                  <a:lnTo>
                    <a:pt x="144" y="554"/>
                  </a:lnTo>
                  <a:lnTo>
                    <a:pt x="166" y="571"/>
                  </a:lnTo>
                  <a:lnTo>
                    <a:pt x="189" y="586"/>
                  </a:lnTo>
                  <a:lnTo>
                    <a:pt x="215" y="598"/>
                  </a:lnTo>
                  <a:lnTo>
                    <a:pt x="242" y="607"/>
                  </a:lnTo>
                  <a:lnTo>
                    <a:pt x="270" y="615"/>
                  </a:lnTo>
                  <a:lnTo>
                    <a:pt x="299" y="619"/>
                  </a:lnTo>
                  <a:lnTo>
                    <a:pt x="329" y="621"/>
                  </a:lnTo>
                  <a:lnTo>
                    <a:pt x="329" y="621"/>
                  </a:lnTo>
                  <a:lnTo>
                    <a:pt x="359" y="619"/>
                  </a:lnTo>
                  <a:lnTo>
                    <a:pt x="387" y="615"/>
                  </a:lnTo>
                  <a:lnTo>
                    <a:pt x="415" y="607"/>
                  </a:lnTo>
                  <a:lnTo>
                    <a:pt x="442" y="598"/>
                  </a:lnTo>
                  <a:lnTo>
                    <a:pt x="467" y="586"/>
                  </a:lnTo>
                  <a:lnTo>
                    <a:pt x="492" y="571"/>
                  </a:lnTo>
                  <a:lnTo>
                    <a:pt x="513" y="554"/>
                  </a:lnTo>
                  <a:lnTo>
                    <a:pt x="535" y="535"/>
                  </a:lnTo>
                  <a:lnTo>
                    <a:pt x="553" y="515"/>
                  </a:lnTo>
                  <a:lnTo>
                    <a:pt x="570" y="492"/>
                  </a:lnTo>
                  <a:lnTo>
                    <a:pt x="584" y="468"/>
                  </a:lnTo>
                  <a:lnTo>
                    <a:pt x="596" y="443"/>
                  </a:lnTo>
                  <a:lnTo>
                    <a:pt x="607" y="416"/>
                  </a:lnTo>
                  <a:lnTo>
                    <a:pt x="614" y="388"/>
                  </a:lnTo>
                  <a:lnTo>
                    <a:pt x="618" y="359"/>
                  </a:lnTo>
                  <a:lnTo>
                    <a:pt x="619" y="329"/>
                  </a:lnTo>
                  <a:lnTo>
                    <a:pt x="619" y="329"/>
                  </a:lnTo>
                  <a:lnTo>
                    <a:pt x="618" y="300"/>
                  </a:lnTo>
                  <a:lnTo>
                    <a:pt x="614" y="271"/>
                  </a:lnTo>
                  <a:lnTo>
                    <a:pt x="607" y="243"/>
                  </a:lnTo>
                  <a:lnTo>
                    <a:pt x="596" y="216"/>
                  </a:lnTo>
                  <a:lnTo>
                    <a:pt x="584" y="191"/>
                  </a:lnTo>
                  <a:lnTo>
                    <a:pt x="570" y="166"/>
                  </a:lnTo>
                  <a:lnTo>
                    <a:pt x="553" y="144"/>
                  </a:lnTo>
                  <a:lnTo>
                    <a:pt x="535" y="123"/>
                  </a:lnTo>
                  <a:lnTo>
                    <a:pt x="513" y="105"/>
                  </a:lnTo>
                  <a:lnTo>
                    <a:pt x="492" y="89"/>
                  </a:lnTo>
                  <a:lnTo>
                    <a:pt x="467" y="74"/>
                  </a:lnTo>
                  <a:lnTo>
                    <a:pt x="442" y="62"/>
                  </a:lnTo>
                  <a:lnTo>
                    <a:pt x="415" y="51"/>
                  </a:lnTo>
                  <a:lnTo>
                    <a:pt x="387" y="44"/>
                  </a:lnTo>
                  <a:lnTo>
                    <a:pt x="359" y="40"/>
                  </a:lnTo>
                  <a:lnTo>
                    <a:pt x="329" y="37"/>
                  </a:lnTo>
                  <a:lnTo>
                    <a:pt x="329" y="37"/>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ea typeface="+mn-ea"/>
                <a:cs typeface="+mn-cs"/>
              </a:endParaRPr>
            </a:p>
          </p:txBody>
        </p:sp>
        <p:sp>
          <p:nvSpPr>
            <p:cNvPr id="39" name="TextBox 38">
              <a:extLst>
                <a:ext uri="{FF2B5EF4-FFF2-40B4-BE49-F238E27FC236}">
                  <a16:creationId xmlns:a16="http://schemas.microsoft.com/office/drawing/2014/main" id="{E772F717-2254-4C36-9923-26EA95B81D80}"/>
                </a:ext>
              </a:extLst>
            </p:cNvPr>
            <p:cNvSpPr txBox="1"/>
            <p:nvPr/>
          </p:nvSpPr>
          <p:spPr>
            <a:xfrm>
              <a:off x="5008812" y="1635542"/>
              <a:ext cx="584901" cy="461665"/>
            </a:xfrm>
            <a:prstGeom prst="rect">
              <a:avLst/>
            </a:prstGeom>
            <a:noFill/>
          </p:spPr>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ea typeface="+mn-ea"/>
                  <a:cs typeface="+mn-cs"/>
                </a:rPr>
                <a:t>2</a:t>
              </a:r>
            </a:p>
          </p:txBody>
        </p:sp>
      </p:grpSp>
      <p:grpSp>
        <p:nvGrpSpPr>
          <p:cNvPr id="40" name="Group 39">
            <a:extLst>
              <a:ext uri="{FF2B5EF4-FFF2-40B4-BE49-F238E27FC236}">
                <a16:creationId xmlns:a16="http://schemas.microsoft.com/office/drawing/2014/main" id="{26D1EBFA-CD10-4C59-811D-824B9D08BE57}"/>
              </a:ext>
            </a:extLst>
          </p:cNvPr>
          <p:cNvGrpSpPr/>
          <p:nvPr/>
        </p:nvGrpSpPr>
        <p:grpSpPr>
          <a:xfrm>
            <a:off x="8319690" y="1588551"/>
            <a:ext cx="619770" cy="619770"/>
            <a:chOff x="8324725" y="1556489"/>
            <a:chExt cx="619770" cy="619770"/>
          </a:xfrm>
        </p:grpSpPr>
        <p:sp>
          <p:nvSpPr>
            <p:cNvPr id="41" name="Oval 40">
              <a:extLst>
                <a:ext uri="{FF2B5EF4-FFF2-40B4-BE49-F238E27FC236}">
                  <a16:creationId xmlns:a16="http://schemas.microsoft.com/office/drawing/2014/main" id="{54198103-9EA8-4935-85B7-884500D797FF}"/>
                </a:ext>
              </a:extLst>
            </p:cNvPr>
            <p:cNvSpPr/>
            <p:nvPr/>
          </p:nvSpPr>
          <p:spPr>
            <a:xfrm>
              <a:off x="8324725" y="1556489"/>
              <a:ext cx="619770" cy="6197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ea typeface="+mn-ea"/>
                <a:cs typeface="+mn-cs"/>
              </a:endParaRPr>
            </a:p>
          </p:txBody>
        </p:sp>
        <p:sp>
          <p:nvSpPr>
            <p:cNvPr id="42" name="Freeform 13">
              <a:extLst>
                <a:ext uri="{FF2B5EF4-FFF2-40B4-BE49-F238E27FC236}">
                  <a16:creationId xmlns:a16="http://schemas.microsoft.com/office/drawing/2014/main" id="{3A7A16D1-D092-428C-8F05-4271C2774259}"/>
                </a:ext>
              </a:extLst>
            </p:cNvPr>
            <p:cNvSpPr>
              <a:spLocks noEditPoints="1"/>
            </p:cNvSpPr>
            <p:nvPr/>
          </p:nvSpPr>
          <p:spPr bwMode="auto">
            <a:xfrm>
              <a:off x="8351409" y="1582313"/>
              <a:ext cx="570188" cy="568123"/>
            </a:xfrm>
            <a:custGeom>
              <a:avLst/>
              <a:gdLst>
                <a:gd name="T0" fmla="*/ 311 w 658"/>
                <a:gd name="T1" fmla="*/ 658 h 658"/>
                <a:gd name="T2" fmla="*/ 262 w 658"/>
                <a:gd name="T3" fmla="*/ 652 h 658"/>
                <a:gd name="T4" fmla="*/ 201 w 658"/>
                <a:gd name="T5" fmla="*/ 633 h 658"/>
                <a:gd name="T6" fmla="*/ 119 w 658"/>
                <a:gd name="T7" fmla="*/ 583 h 658"/>
                <a:gd name="T8" fmla="*/ 56 w 658"/>
                <a:gd name="T9" fmla="*/ 513 h 658"/>
                <a:gd name="T10" fmla="*/ 14 w 658"/>
                <a:gd name="T11" fmla="*/ 427 h 658"/>
                <a:gd name="T12" fmla="*/ 4 w 658"/>
                <a:gd name="T13" fmla="*/ 379 h 658"/>
                <a:gd name="T14" fmla="*/ 0 w 658"/>
                <a:gd name="T15" fmla="*/ 329 h 658"/>
                <a:gd name="T16" fmla="*/ 1 w 658"/>
                <a:gd name="T17" fmla="*/ 295 h 658"/>
                <a:gd name="T18" fmla="*/ 10 w 658"/>
                <a:gd name="T19" fmla="*/ 247 h 658"/>
                <a:gd name="T20" fmla="*/ 40 w 658"/>
                <a:gd name="T21" fmla="*/ 173 h 658"/>
                <a:gd name="T22" fmla="*/ 96 w 658"/>
                <a:gd name="T23" fmla="*/ 96 h 658"/>
                <a:gd name="T24" fmla="*/ 172 w 658"/>
                <a:gd name="T25" fmla="*/ 40 h 658"/>
                <a:gd name="T26" fmla="*/ 247 w 658"/>
                <a:gd name="T27" fmla="*/ 10 h 658"/>
                <a:gd name="T28" fmla="*/ 295 w 658"/>
                <a:gd name="T29" fmla="*/ 2 h 658"/>
                <a:gd name="T30" fmla="*/ 329 w 658"/>
                <a:gd name="T31" fmla="*/ 0 h 658"/>
                <a:gd name="T32" fmla="*/ 379 w 658"/>
                <a:gd name="T33" fmla="*/ 4 h 658"/>
                <a:gd name="T34" fmla="*/ 426 w 658"/>
                <a:gd name="T35" fmla="*/ 16 h 658"/>
                <a:gd name="T36" fmla="*/ 513 w 658"/>
                <a:gd name="T37" fmla="*/ 56 h 658"/>
                <a:gd name="T38" fmla="*/ 583 w 658"/>
                <a:gd name="T39" fmla="*/ 121 h 658"/>
                <a:gd name="T40" fmla="*/ 631 w 658"/>
                <a:gd name="T41" fmla="*/ 201 h 658"/>
                <a:gd name="T42" fmla="*/ 651 w 658"/>
                <a:gd name="T43" fmla="*/ 263 h 658"/>
                <a:gd name="T44" fmla="*/ 657 w 658"/>
                <a:gd name="T45" fmla="*/ 313 h 658"/>
                <a:gd name="T46" fmla="*/ 657 w 658"/>
                <a:gd name="T47" fmla="*/ 346 h 658"/>
                <a:gd name="T48" fmla="*/ 651 w 658"/>
                <a:gd name="T49" fmla="*/ 396 h 658"/>
                <a:gd name="T50" fmla="*/ 631 w 658"/>
                <a:gd name="T51" fmla="*/ 457 h 658"/>
                <a:gd name="T52" fmla="*/ 583 w 658"/>
                <a:gd name="T53" fmla="*/ 539 h 658"/>
                <a:gd name="T54" fmla="*/ 513 w 658"/>
                <a:gd name="T55" fmla="*/ 602 h 658"/>
                <a:gd name="T56" fmla="*/ 426 w 658"/>
                <a:gd name="T57" fmla="*/ 644 h 658"/>
                <a:gd name="T58" fmla="*/ 379 w 658"/>
                <a:gd name="T59" fmla="*/ 654 h 658"/>
                <a:gd name="T60" fmla="*/ 329 w 658"/>
                <a:gd name="T61" fmla="*/ 658 h 658"/>
                <a:gd name="T62" fmla="*/ 329 w 658"/>
                <a:gd name="T63" fmla="*/ 37 h 658"/>
                <a:gd name="T64" fmla="*/ 241 w 658"/>
                <a:gd name="T65" fmla="*/ 51 h 658"/>
                <a:gd name="T66" fmla="*/ 166 w 658"/>
                <a:gd name="T67" fmla="*/ 88 h 658"/>
                <a:gd name="T68" fmla="*/ 104 w 658"/>
                <a:gd name="T69" fmla="*/ 144 h 658"/>
                <a:gd name="T70" fmla="*/ 60 w 658"/>
                <a:gd name="T71" fmla="*/ 216 h 658"/>
                <a:gd name="T72" fmla="*/ 38 w 658"/>
                <a:gd name="T73" fmla="*/ 299 h 658"/>
                <a:gd name="T74" fmla="*/ 38 w 658"/>
                <a:gd name="T75" fmla="*/ 359 h 658"/>
                <a:gd name="T76" fmla="*/ 60 w 658"/>
                <a:gd name="T77" fmla="*/ 443 h 658"/>
                <a:gd name="T78" fmla="*/ 104 w 658"/>
                <a:gd name="T79" fmla="*/ 514 h 658"/>
                <a:gd name="T80" fmla="*/ 166 w 658"/>
                <a:gd name="T81" fmla="*/ 571 h 658"/>
                <a:gd name="T82" fmla="*/ 241 w 658"/>
                <a:gd name="T83" fmla="*/ 607 h 658"/>
                <a:gd name="T84" fmla="*/ 329 w 658"/>
                <a:gd name="T85" fmla="*/ 621 h 658"/>
                <a:gd name="T86" fmla="*/ 387 w 658"/>
                <a:gd name="T87" fmla="*/ 615 h 658"/>
                <a:gd name="T88" fmla="*/ 467 w 658"/>
                <a:gd name="T89" fmla="*/ 586 h 658"/>
                <a:gd name="T90" fmla="*/ 534 w 658"/>
                <a:gd name="T91" fmla="*/ 535 h 658"/>
                <a:gd name="T92" fmla="*/ 584 w 658"/>
                <a:gd name="T93" fmla="*/ 467 h 658"/>
                <a:gd name="T94" fmla="*/ 614 w 658"/>
                <a:gd name="T95" fmla="*/ 388 h 658"/>
                <a:gd name="T96" fmla="*/ 620 w 658"/>
                <a:gd name="T97" fmla="*/ 329 h 658"/>
                <a:gd name="T98" fmla="*/ 607 w 658"/>
                <a:gd name="T99" fmla="*/ 243 h 658"/>
                <a:gd name="T100" fmla="*/ 569 w 658"/>
                <a:gd name="T101" fmla="*/ 166 h 658"/>
                <a:gd name="T102" fmla="*/ 514 w 658"/>
                <a:gd name="T103" fmla="*/ 105 h 658"/>
                <a:gd name="T104" fmla="*/ 442 w 658"/>
                <a:gd name="T105" fmla="*/ 62 h 658"/>
                <a:gd name="T106" fmla="*/ 358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1" y="658"/>
                  </a:lnTo>
                  <a:lnTo>
                    <a:pt x="295" y="657"/>
                  </a:lnTo>
                  <a:lnTo>
                    <a:pt x="279" y="654"/>
                  </a:lnTo>
                  <a:lnTo>
                    <a:pt x="262" y="652"/>
                  </a:lnTo>
                  <a:lnTo>
                    <a:pt x="247" y="648"/>
                  </a:lnTo>
                  <a:lnTo>
                    <a:pt x="231" y="644"/>
                  </a:lnTo>
                  <a:lnTo>
                    <a:pt x="201" y="633"/>
                  </a:lnTo>
                  <a:lnTo>
                    <a:pt x="172" y="618"/>
                  </a:lnTo>
                  <a:lnTo>
                    <a:pt x="145" y="602"/>
                  </a:lnTo>
                  <a:lnTo>
                    <a:pt x="119" y="583"/>
                  </a:lnTo>
                  <a:lnTo>
                    <a:pt x="96" y="562"/>
                  </a:lnTo>
                  <a:lnTo>
                    <a:pt x="75" y="539"/>
                  </a:lnTo>
                  <a:lnTo>
                    <a:pt x="56" y="513"/>
                  </a:lnTo>
                  <a:lnTo>
                    <a:pt x="40" y="486"/>
                  </a:lnTo>
                  <a:lnTo>
                    <a:pt x="25" y="457"/>
                  </a:lnTo>
                  <a:lnTo>
                    <a:pt x="14" y="427"/>
                  </a:lnTo>
                  <a:lnTo>
                    <a:pt x="10" y="411"/>
                  </a:lnTo>
                  <a:lnTo>
                    <a:pt x="6" y="396"/>
                  </a:lnTo>
                  <a:lnTo>
                    <a:pt x="4" y="379"/>
                  </a:lnTo>
                  <a:lnTo>
                    <a:pt x="1" y="363"/>
                  </a:lnTo>
                  <a:lnTo>
                    <a:pt x="0" y="346"/>
                  </a:lnTo>
                  <a:lnTo>
                    <a:pt x="0" y="329"/>
                  </a:lnTo>
                  <a:lnTo>
                    <a:pt x="0" y="329"/>
                  </a:lnTo>
                  <a:lnTo>
                    <a:pt x="0" y="313"/>
                  </a:lnTo>
                  <a:lnTo>
                    <a:pt x="1" y="295"/>
                  </a:lnTo>
                  <a:lnTo>
                    <a:pt x="4" y="279"/>
                  </a:lnTo>
                  <a:lnTo>
                    <a:pt x="6" y="263"/>
                  </a:lnTo>
                  <a:lnTo>
                    <a:pt x="10" y="247"/>
                  </a:lnTo>
                  <a:lnTo>
                    <a:pt x="14" y="232"/>
                  </a:lnTo>
                  <a:lnTo>
                    <a:pt x="25" y="201"/>
                  </a:lnTo>
                  <a:lnTo>
                    <a:pt x="40" y="173"/>
                  </a:lnTo>
                  <a:lnTo>
                    <a:pt x="56" y="145"/>
                  </a:lnTo>
                  <a:lnTo>
                    <a:pt x="75" y="121"/>
                  </a:lnTo>
                  <a:lnTo>
                    <a:pt x="96" y="96"/>
                  </a:lnTo>
                  <a:lnTo>
                    <a:pt x="119" y="75"/>
                  </a:lnTo>
                  <a:lnTo>
                    <a:pt x="145" y="56"/>
                  </a:lnTo>
                  <a:lnTo>
                    <a:pt x="172" y="40"/>
                  </a:lnTo>
                  <a:lnTo>
                    <a:pt x="201" y="27"/>
                  </a:lnTo>
                  <a:lnTo>
                    <a:pt x="231" y="16"/>
                  </a:lnTo>
                  <a:lnTo>
                    <a:pt x="247" y="10"/>
                  </a:lnTo>
                  <a:lnTo>
                    <a:pt x="262" y="6"/>
                  </a:lnTo>
                  <a:lnTo>
                    <a:pt x="279" y="4"/>
                  </a:lnTo>
                  <a:lnTo>
                    <a:pt x="295" y="2"/>
                  </a:lnTo>
                  <a:lnTo>
                    <a:pt x="311" y="1"/>
                  </a:lnTo>
                  <a:lnTo>
                    <a:pt x="329" y="0"/>
                  </a:lnTo>
                  <a:lnTo>
                    <a:pt x="329" y="0"/>
                  </a:lnTo>
                  <a:lnTo>
                    <a:pt x="345" y="1"/>
                  </a:lnTo>
                  <a:lnTo>
                    <a:pt x="362" y="2"/>
                  </a:lnTo>
                  <a:lnTo>
                    <a:pt x="379" y="4"/>
                  </a:lnTo>
                  <a:lnTo>
                    <a:pt x="395" y="6"/>
                  </a:lnTo>
                  <a:lnTo>
                    <a:pt x="411" y="10"/>
                  </a:lnTo>
                  <a:lnTo>
                    <a:pt x="426" y="16"/>
                  </a:lnTo>
                  <a:lnTo>
                    <a:pt x="456" y="27"/>
                  </a:lnTo>
                  <a:lnTo>
                    <a:pt x="485" y="40"/>
                  </a:lnTo>
                  <a:lnTo>
                    <a:pt x="513" y="56"/>
                  </a:lnTo>
                  <a:lnTo>
                    <a:pt x="537" y="75"/>
                  </a:lnTo>
                  <a:lnTo>
                    <a:pt x="561" y="96"/>
                  </a:lnTo>
                  <a:lnTo>
                    <a:pt x="583" y="121"/>
                  </a:lnTo>
                  <a:lnTo>
                    <a:pt x="602" y="145"/>
                  </a:lnTo>
                  <a:lnTo>
                    <a:pt x="618" y="173"/>
                  </a:lnTo>
                  <a:lnTo>
                    <a:pt x="631" y="201"/>
                  </a:lnTo>
                  <a:lnTo>
                    <a:pt x="643" y="232"/>
                  </a:lnTo>
                  <a:lnTo>
                    <a:pt x="647" y="247"/>
                  </a:lnTo>
                  <a:lnTo>
                    <a:pt x="651" y="263"/>
                  </a:lnTo>
                  <a:lnTo>
                    <a:pt x="654" y="279"/>
                  </a:lnTo>
                  <a:lnTo>
                    <a:pt x="655" y="295"/>
                  </a:lnTo>
                  <a:lnTo>
                    <a:pt x="657" y="313"/>
                  </a:lnTo>
                  <a:lnTo>
                    <a:pt x="658" y="329"/>
                  </a:lnTo>
                  <a:lnTo>
                    <a:pt x="658" y="329"/>
                  </a:lnTo>
                  <a:lnTo>
                    <a:pt x="657" y="346"/>
                  </a:lnTo>
                  <a:lnTo>
                    <a:pt x="655" y="363"/>
                  </a:lnTo>
                  <a:lnTo>
                    <a:pt x="654" y="379"/>
                  </a:lnTo>
                  <a:lnTo>
                    <a:pt x="651" y="396"/>
                  </a:lnTo>
                  <a:lnTo>
                    <a:pt x="647" y="411"/>
                  </a:lnTo>
                  <a:lnTo>
                    <a:pt x="643" y="427"/>
                  </a:lnTo>
                  <a:lnTo>
                    <a:pt x="631" y="457"/>
                  </a:lnTo>
                  <a:lnTo>
                    <a:pt x="618" y="486"/>
                  </a:lnTo>
                  <a:lnTo>
                    <a:pt x="602" y="513"/>
                  </a:lnTo>
                  <a:lnTo>
                    <a:pt x="583" y="539"/>
                  </a:lnTo>
                  <a:lnTo>
                    <a:pt x="561" y="562"/>
                  </a:lnTo>
                  <a:lnTo>
                    <a:pt x="537" y="583"/>
                  </a:lnTo>
                  <a:lnTo>
                    <a:pt x="513" y="602"/>
                  </a:lnTo>
                  <a:lnTo>
                    <a:pt x="485" y="618"/>
                  </a:lnTo>
                  <a:lnTo>
                    <a:pt x="456" y="633"/>
                  </a:lnTo>
                  <a:lnTo>
                    <a:pt x="426" y="644"/>
                  </a:lnTo>
                  <a:lnTo>
                    <a:pt x="411" y="648"/>
                  </a:lnTo>
                  <a:lnTo>
                    <a:pt x="395" y="652"/>
                  </a:lnTo>
                  <a:lnTo>
                    <a:pt x="379" y="654"/>
                  </a:lnTo>
                  <a:lnTo>
                    <a:pt x="362" y="657"/>
                  </a:lnTo>
                  <a:lnTo>
                    <a:pt x="345" y="658"/>
                  </a:lnTo>
                  <a:lnTo>
                    <a:pt x="329" y="658"/>
                  </a:lnTo>
                  <a:lnTo>
                    <a:pt x="329" y="658"/>
                  </a:lnTo>
                  <a:close/>
                  <a:moveTo>
                    <a:pt x="329" y="37"/>
                  </a:moveTo>
                  <a:lnTo>
                    <a:pt x="329" y="37"/>
                  </a:lnTo>
                  <a:lnTo>
                    <a:pt x="299" y="40"/>
                  </a:lnTo>
                  <a:lnTo>
                    <a:pt x="270" y="44"/>
                  </a:lnTo>
                  <a:lnTo>
                    <a:pt x="241" y="51"/>
                  </a:lnTo>
                  <a:lnTo>
                    <a:pt x="215" y="62"/>
                  </a:lnTo>
                  <a:lnTo>
                    <a:pt x="190" y="74"/>
                  </a:lnTo>
                  <a:lnTo>
                    <a:pt x="166" y="88"/>
                  </a:lnTo>
                  <a:lnTo>
                    <a:pt x="143" y="105"/>
                  </a:lnTo>
                  <a:lnTo>
                    <a:pt x="123" y="123"/>
                  </a:lnTo>
                  <a:lnTo>
                    <a:pt x="104" y="144"/>
                  </a:lnTo>
                  <a:lnTo>
                    <a:pt x="87" y="166"/>
                  </a:lnTo>
                  <a:lnTo>
                    <a:pt x="72" y="191"/>
                  </a:lnTo>
                  <a:lnTo>
                    <a:pt x="60" y="216"/>
                  </a:lnTo>
                  <a:lnTo>
                    <a:pt x="51" y="243"/>
                  </a:lnTo>
                  <a:lnTo>
                    <a:pt x="43" y="271"/>
                  </a:lnTo>
                  <a:lnTo>
                    <a:pt x="38" y="299"/>
                  </a:lnTo>
                  <a:lnTo>
                    <a:pt x="37" y="329"/>
                  </a:lnTo>
                  <a:lnTo>
                    <a:pt x="37" y="329"/>
                  </a:lnTo>
                  <a:lnTo>
                    <a:pt x="38" y="359"/>
                  </a:lnTo>
                  <a:lnTo>
                    <a:pt x="43" y="388"/>
                  </a:lnTo>
                  <a:lnTo>
                    <a:pt x="51" y="416"/>
                  </a:lnTo>
                  <a:lnTo>
                    <a:pt x="60" y="443"/>
                  </a:lnTo>
                  <a:lnTo>
                    <a:pt x="72" y="467"/>
                  </a:lnTo>
                  <a:lnTo>
                    <a:pt x="87" y="492"/>
                  </a:lnTo>
                  <a:lnTo>
                    <a:pt x="104" y="514"/>
                  </a:lnTo>
                  <a:lnTo>
                    <a:pt x="123" y="535"/>
                  </a:lnTo>
                  <a:lnTo>
                    <a:pt x="143" y="553"/>
                  </a:lnTo>
                  <a:lnTo>
                    <a:pt x="166" y="571"/>
                  </a:lnTo>
                  <a:lnTo>
                    <a:pt x="190" y="586"/>
                  </a:lnTo>
                  <a:lnTo>
                    <a:pt x="215" y="598"/>
                  </a:lnTo>
                  <a:lnTo>
                    <a:pt x="241" y="607"/>
                  </a:lnTo>
                  <a:lnTo>
                    <a:pt x="270" y="615"/>
                  </a:lnTo>
                  <a:lnTo>
                    <a:pt x="299" y="619"/>
                  </a:lnTo>
                  <a:lnTo>
                    <a:pt x="329" y="621"/>
                  </a:lnTo>
                  <a:lnTo>
                    <a:pt x="329" y="621"/>
                  </a:lnTo>
                  <a:lnTo>
                    <a:pt x="358" y="619"/>
                  </a:lnTo>
                  <a:lnTo>
                    <a:pt x="387" y="615"/>
                  </a:lnTo>
                  <a:lnTo>
                    <a:pt x="415" y="607"/>
                  </a:lnTo>
                  <a:lnTo>
                    <a:pt x="442" y="598"/>
                  </a:lnTo>
                  <a:lnTo>
                    <a:pt x="467" y="586"/>
                  </a:lnTo>
                  <a:lnTo>
                    <a:pt x="491" y="571"/>
                  </a:lnTo>
                  <a:lnTo>
                    <a:pt x="514" y="553"/>
                  </a:lnTo>
                  <a:lnTo>
                    <a:pt x="534" y="535"/>
                  </a:lnTo>
                  <a:lnTo>
                    <a:pt x="553" y="514"/>
                  </a:lnTo>
                  <a:lnTo>
                    <a:pt x="569" y="492"/>
                  </a:lnTo>
                  <a:lnTo>
                    <a:pt x="584" y="467"/>
                  </a:lnTo>
                  <a:lnTo>
                    <a:pt x="596" y="443"/>
                  </a:lnTo>
                  <a:lnTo>
                    <a:pt x="607" y="416"/>
                  </a:lnTo>
                  <a:lnTo>
                    <a:pt x="614" y="388"/>
                  </a:lnTo>
                  <a:lnTo>
                    <a:pt x="618" y="359"/>
                  </a:lnTo>
                  <a:lnTo>
                    <a:pt x="620" y="329"/>
                  </a:lnTo>
                  <a:lnTo>
                    <a:pt x="620" y="329"/>
                  </a:lnTo>
                  <a:lnTo>
                    <a:pt x="618" y="299"/>
                  </a:lnTo>
                  <a:lnTo>
                    <a:pt x="614" y="271"/>
                  </a:lnTo>
                  <a:lnTo>
                    <a:pt x="607" y="243"/>
                  </a:lnTo>
                  <a:lnTo>
                    <a:pt x="596" y="216"/>
                  </a:lnTo>
                  <a:lnTo>
                    <a:pt x="584" y="191"/>
                  </a:lnTo>
                  <a:lnTo>
                    <a:pt x="569" y="166"/>
                  </a:lnTo>
                  <a:lnTo>
                    <a:pt x="553" y="144"/>
                  </a:lnTo>
                  <a:lnTo>
                    <a:pt x="534" y="123"/>
                  </a:lnTo>
                  <a:lnTo>
                    <a:pt x="514" y="105"/>
                  </a:lnTo>
                  <a:lnTo>
                    <a:pt x="491" y="88"/>
                  </a:lnTo>
                  <a:lnTo>
                    <a:pt x="467" y="74"/>
                  </a:lnTo>
                  <a:lnTo>
                    <a:pt x="442" y="62"/>
                  </a:lnTo>
                  <a:lnTo>
                    <a:pt x="415" y="51"/>
                  </a:lnTo>
                  <a:lnTo>
                    <a:pt x="387" y="44"/>
                  </a:lnTo>
                  <a:lnTo>
                    <a:pt x="358" y="40"/>
                  </a:lnTo>
                  <a:lnTo>
                    <a:pt x="329" y="37"/>
                  </a:lnTo>
                  <a:lnTo>
                    <a:pt x="329" y="37"/>
                  </a:ln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ea typeface="+mn-ea"/>
                <a:cs typeface="+mn-cs"/>
              </a:endParaRPr>
            </a:p>
          </p:txBody>
        </p:sp>
        <p:sp>
          <p:nvSpPr>
            <p:cNvPr id="43" name="TextBox 42">
              <a:extLst>
                <a:ext uri="{FF2B5EF4-FFF2-40B4-BE49-F238E27FC236}">
                  <a16:creationId xmlns:a16="http://schemas.microsoft.com/office/drawing/2014/main" id="{54372CAE-FA3A-41E1-AF29-7177A521441A}"/>
                </a:ext>
              </a:extLst>
            </p:cNvPr>
            <p:cNvSpPr txBox="1"/>
            <p:nvPr/>
          </p:nvSpPr>
          <p:spPr>
            <a:xfrm>
              <a:off x="8342160" y="1635542"/>
              <a:ext cx="584901" cy="461665"/>
            </a:xfrm>
            <a:prstGeom prst="rect">
              <a:avLst/>
            </a:prstGeom>
            <a:noFill/>
          </p:spPr>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ea typeface="+mn-ea"/>
                  <a:cs typeface="+mn-cs"/>
                </a:rPr>
                <a:t>3</a:t>
              </a:r>
            </a:p>
          </p:txBody>
        </p:sp>
      </p:grpSp>
    </p:spTree>
    <p:extLst>
      <p:ext uri="{BB962C8B-B14F-4D97-AF65-F5344CB8AC3E}">
        <p14:creationId xmlns:p14="http://schemas.microsoft.com/office/powerpoint/2010/main" val="246426389"/>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11C344-6203-45B5-9BFD-CEF3652D12E1}"/>
              </a:ext>
            </a:extLst>
          </p:cNvPr>
          <p:cNvSpPr>
            <a:spLocks noGrp="1"/>
          </p:cNvSpPr>
          <p:nvPr>
            <p:ph type="title"/>
          </p:nvPr>
        </p:nvSpPr>
        <p:spPr/>
        <p:txBody>
          <a:bodyPr/>
          <a:lstStyle/>
          <a:p>
            <a:r>
              <a:rPr lang="en-US" dirty="0"/>
              <a:t>Been there, seen that</a:t>
            </a:r>
          </a:p>
        </p:txBody>
      </p:sp>
      <p:sp>
        <p:nvSpPr>
          <p:cNvPr id="3" name="Text Placeholder 2">
            <a:extLst>
              <a:ext uri="{FF2B5EF4-FFF2-40B4-BE49-F238E27FC236}">
                <a16:creationId xmlns:a16="http://schemas.microsoft.com/office/drawing/2014/main" id="{E56831A2-84DB-484F-B281-ABDFD25E7828}"/>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FDF71772-F36B-4969-AC87-5B8196A81F0F}"/>
              </a:ext>
            </a:extLst>
          </p:cNvPr>
          <p:cNvSpPr>
            <a:spLocks noGrp="1"/>
          </p:cNvSpPr>
          <p:nvPr>
            <p:ph type="body" sz="quarter" idx="15"/>
          </p:nvPr>
        </p:nvSpPr>
        <p:spPr/>
        <p:txBody>
          <a:bodyPr/>
          <a:lstStyle/>
          <a:p>
            <a:r>
              <a:rPr lang="en-US" dirty="0"/>
              <a:t>TABLE</a:t>
            </a:r>
          </a:p>
        </p:txBody>
      </p:sp>
      <p:pic>
        <p:nvPicPr>
          <p:cNvPr id="5" name="Picture 4">
            <a:extLst>
              <a:ext uri="{FF2B5EF4-FFF2-40B4-BE49-F238E27FC236}">
                <a16:creationId xmlns:a16="http://schemas.microsoft.com/office/drawing/2014/main" id="{97F44BA1-7081-4FE2-8F45-6A194815C87F}"/>
              </a:ext>
            </a:extLst>
          </p:cNvPr>
          <p:cNvPicPr>
            <a:picLocks noChangeAspect="1"/>
          </p:cNvPicPr>
          <p:nvPr/>
        </p:nvPicPr>
        <p:blipFill rotWithShape="1">
          <a:blip r:embed="rId3">
            <a:duotone>
              <a:schemeClr val="accent5">
                <a:shade val="45000"/>
                <a:satMod val="135000"/>
              </a:schemeClr>
              <a:prstClr val="white"/>
            </a:duotone>
            <a:extLst>
              <a:ext uri="{28A0092B-C50C-407E-A947-70E740481C1C}">
                <a14:useLocalDpi xmlns:a14="http://schemas.microsoft.com/office/drawing/2010/main" val="0"/>
              </a:ext>
            </a:extLst>
          </a:blip>
          <a:srcRect/>
          <a:stretch/>
        </p:blipFill>
        <p:spPr>
          <a:xfrm>
            <a:off x="762" y="4856553"/>
            <a:ext cx="12190476" cy="2001447"/>
          </a:xfrm>
          <a:prstGeom prst="rect">
            <a:avLst/>
          </a:prstGeom>
        </p:spPr>
      </p:pic>
      <p:sp>
        <p:nvSpPr>
          <p:cNvPr id="7" name="Rectangle 6">
            <a:extLst>
              <a:ext uri="{FF2B5EF4-FFF2-40B4-BE49-F238E27FC236}">
                <a16:creationId xmlns:a16="http://schemas.microsoft.com/office/drawing/2014/main" id="{AF1C50A3-C434-4869-A052-6F4830AD16F0}"/>
              </a:ext>
            </a:extLst>
          </p:cNvPr>
          <p:cNvSpPr/>
          <p:nvPr/>
        </p:nvSpPr>
        <p:spPr>
          <a:xfrm>
            <a:off x="578693" y="1672363"/>
            <a:ext cx="1162794" cy="284891"/>
          </a:xfrm>
          <a:prstGeom prst="rect">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150" normalizeH="0" baseline="0" noProof="0" dirty="0">
                <a:ln>
                  <a:noFill/>
                </a:ln>
                <a:solidFill>
                  <a:srgbClr val="000000"/>
                </a:solidFill>
                <a:effectLst/>
                <a:uLnTx/>
                <a:uFillTx/>
                <a:ea typeface="Open Sans Extrabold" charset="0"/>
                <a:cs typeface="Open Sans Extrabold" charset="0"/>
              </a:rPr>
              <a:t>CLIENT</a:t>
            </a:r>
          </a:p>
        </p:txBody>
      </p:sp>
      <p:sp>
        <p:nvSpPr>
          <p:cNvPr id="8" name="Rectangle 7">
            <a:extLst>
              <a:ext uri="{FF2B5EF4-FFF2-40B4-BE49-F238E27FC236}">
                <a16:creationId xmlns:a16="http://schemas.microsoft.com/office/drawing/2014/main" id="{032B7A94-0D43-43A1-A556-6E74E1DAA1E3}"/>
              </a:ext>
            </a:extLst>
          </p:cNvPr>
          <p:cNvSpPr/>
          <p:nvPr/>
        </p:nvSpPr>
        <p:spPr>
          <a:xfrm>
            <a:off x="2038046" y="1672364"/>
            <a:ext cx="1489350" cy="284891"/>
          </a:xfrm>
          <a:prstGeom prst="rect">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150" normalizeH="0" baseline="0" noProof="0" dirty="0">
                <a:ln>
                  <a:noFill/>
                </a:ln>
                <a:solidFill>
                  <a:srgbClr val="000000"/>
                </a:solidFill>
                <a:effectLst/>
                <a:uLnTx/>
                <a:uFillTx/>
                <a:ea typeface="Open Sans Extrabold" charset="0"/>
                <a:cs typeface="Open Sans Extrabold" charset="0"/>
              </a:rPr>
              <a:t>PROJECT THEME</a:t>
            </a:r>
          </a:p>
        </p:txBody>
      </p:sp>
      <p:sp>
        <p:nvSpPr>
          <p:cNvPr id="9" name="Rectangle 8">
            <a:extLst>
              <a:ext uri="{FF2B5EF4-FFF2-40B4-BE49-F238E27FC236}">
                <a16:creationId xmlns:a16="http://schemas.microsoft.com/office/drawing/2014/main" id="{6C43DCBA-EC61-4F95-804B-4448DE7D5465}"/>
              </a:ext>
            </a:extLst>
          </p:cNvPr>
          <p:cNvSpPr/>
          <p:nvPr/>
        </p:nvSpPr>
        <p:spPr>
          <a:xfrm>
            <a:off x="3637041" y="1540974"/>
            <a:ext cx="1895184" cy="416281"/>
          </a:xfrm>
          <a:prstGeom prst="rect">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150" normalizeH="0" baseline="0" noProof="0" dirty="0">
                <a:ln>
                  <a:noFill/>
                </a:ln>
                <a:solidFill>
                  <a:srgbClr val="000000"/>
                </a:solidFill>
                <a:effectLst/>
                <a:uLnTx/>
                <a:uFillTx/>
                <a:ea typeface="Open Sans Extrabold" charset="0"/>
                <a:cs typeface="Open Sans Extrabold" charset="0"/>
              </a:rPr>
              <a:t>BUSINESS TRANSFORMATION</a:t>
            </a:r>
          </a:p>
        </p:txBody>
      </p:sp>
      <p:sp>
        <p:nvSpPr>
          <p:cNvPr id="10" name="Rectangle 9">
            <a:extLst>
              <a:ext uri="{FF2B5EF4-FFF2-40B4-BE49-F238E27FC236}">
                <a16:creationId xmlns:a16="http://schemas.microsoft.com/office/drawing/2014/main" id="{E2E669CD-0FBF-4D20-B912-AE183D8A5E80}"/>
              </a:ext>
            </a:extLst>
          </p:cNvPr>
          <p:cNvSpPr/>
          <p:nvPr/>
        </p:nvSpPr>
        <p:spPr>
          <a:xfrm>
            <a:off x="5832015" y="1724173"/>
            <a:ext cx="1844566" cy="233081"/>
          </a:xfrm>
          <a:prstGeom prst="rect">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150" normalizeH="0" baseline="0" noProof="0" dirty="0">
                <a:ln>
                  <a:noFill/>
                </a:ln>
                <a:solidFill>
                  <a:srgbClr val="000000"/>
                </a:solidFill>
                <a:effectLst/>
                <a:uLnTx/>
                <a:uFillTx/>
                <a:ea typeface="Open Sans Extrabold" charset="0"/>
                <a:cs typeface="Open Sans Extrabold" charset="0"/>
              </a:rPr>
              <a:t>HUMAN EXPERIENCE</a:t>
            </a:r>
          </a:p>
        </p:txBody>
      </p:sp>
      <p:sp>
        <p:nvSpPr>
          <p:cNvPr id="11" name="Rectangle 10">
            <a:extLst>
              <a:ext uri="{FF2B5EF4-FFF2-40B4-BE49-F238E27FC236}">
                <a16:creationId xmlns:a16="http://schemas.microsoft.com/office/drawing/2014/main" id="{08D852E3-D530-48A4-A770-3E7293BD62D2}"/>
              </a:ext>
            </a:extLst>
          </p:cNvPr>
          <p:cNvSpPr/>
          <p:nvPr/>
        </p:nvSpPr>
        <p:spPr>
          <a:xfrm>
            <a:off x="7756129" y="1672364"/>
            <a:ext cx="1880124" cy="284891"/>
          </a:xfrm>
          <a:prstGeom prst="rect">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150" normalizeH="0" baseline="0" noProof="0" dirty="0">
                <a:ln>
                  <a:noFill/>
                </a:ln>
                <a:solidFill>
                  <a:srgbClr val="000000"/>
                </a:solidFill>
                <a:effectLst/>
                <a:uLnTx/>
                <a:uFillTx/>
                <a:ea typeface="Open Sans Extrabold" charset="0"/>
                <a:cs typeface="Open Sans Extrabold" charset="0"/>
              </a:rPr>
              <a:t>BRAND INNOVATION</a:t>
            </a:r>
          </a:p>
        </p:txBody>
      </p:sp>
      <p:sp>
        <p:nvSpPr>
          <p:cNvPr id="12" name="Rectangle 11">
            <a:extLst>
              <a:ext uri="{FF2B5EF4-FFF2-40B4-BE49-F238E27FC236}">
                <a16:creationId xmlns:a16="http://schemas.microsoft.com/office/drawing/2014/main" id="{D492AC61-614F-4453-A6C9-5A2158611594}"/>
              </a:ext>
            </a:extLst>
          </p:cNvPr>
          <p:cNvSpPr/>
          <p:nvPr/>
        </p:nvSpPr>
        <p:spPr>
          <a:xfrm>
            <a:off x="9187341" y="1672364"/>
            <a:ext cx="2733260" cy="284891"/>
          </a:xfrm>
          <a:prstGeom prst="rect">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150" normalizeH="0" baseline="0" noProof="0" dirty="0">
                <a:ln>
                  <a:noFill/>
                </a:ln>
                <a:solidFill>
                  <a:srgbClr val="000000"/>
                </a:solidFill>
                <a:effectLst/>
                <a:uLnTx/>
                <a:uFillTx/>
                <a:ea typeface="Open Sans Extrabold" charset="0"/>
                <a:cs typeface="Open Sans Extrabold" charset="0"/>
              </a:rPr>
              <a:t>MARKETING OPERATIONS</a:t>
            </a:r>
          </a:p>
        </p:txBody>
      </p:sp>
      <p:sp>
        <p:nvSpPr>
          <p:cNvPr id="13" name="TextBox 12">
            <a:extLst>
              <a:ext uri="{FF2B5EF4-FFF2-40B4-BE49-F238E27FC236}">
                <a16:creationId xmlns:a16="http://schemas.microsoft.com/office/drawing/2014/main" id="{BF006030-45BF-4E1E-9369-B4C839A1D79A}"/>
              </a:ext>
            </a:extLst>
          </p:cNvPr>
          <p:cNvSpPr txBox="1"/>
          <p:nvPr/>
        </p:nvSpPr>
        <p:spPr>
          <a:xfrm>
            <a:off x="3850978" y="2033415"/>
            <a:ext cx="708505" cy="169277"/>
          </a:xfrm>
          <a:prstGeom prst="rect">
            <a:avLst/>
          </a:prstGeom>
          <a:noFill/>
        </p:spPr>
        <p:txBody>
          <a:bodyPr wrap="square" lIns="0" tIns="0" rtlCol="0">
            <a:spAutoFit/>
          </a:bodyPr>
          <a:lstStyle/>
          <a:p>
            <a:pPr marL="0" marR="0" lvl="0" indent="0" algn="ctr" defTabSz="914400" rtl="0" eaLnBrk="1" fontAlgn="auto" latinLnBrk="0" hangingPunct="1">
              <a:lnSpc>
                <a:spcPct val="100000"/>
              </a:lnSpc>
              <a:spcBef>
                <a:spcPts val="400"/>
              </a:spcBef>
              <a:spcAft>
                <a:spcPts val="600"/>
              </a:spcAft>
              <a:buClrTx/>
              <a:buSzTx/>
              <a:buFontTx/>
              <a:buNone/>
              <a:tabLst/>
              <a:defRPr/>
            </a:pPr>
            <a:r>
              <a:rPr kumimoji="0" lang="en-US" sz="800" b="0" i="0" u="none" strike="noStrike" kern="1200" cap="none" spc="0" normalizeH="0" baseline="0" noProof="0" dirty="0">
                <a:ln>
                  <a:noFill/>
                </a:ln>
                <a:solidFill>
                  <a:srgbClr val="787878"/>
                </a:solidFill>
                <a:effectLst/>
                <a:uLnTx/>
                <a:uFillTx/>
                <a:ea typeface="+mn-ea"/>
                <a:cs typeface="Frutiger Next Pro Medium"/>
              </a:rPr>
              <a:t>Strategy</a:t>
            </a:r>
            <a:endParaRPr kumimoji="0" lang="en-US" sz="800" b="0" i="0" u="none" strike="noStrike" kern="1200" cap="none" spc="0" normalizeH="0" baseline="0" noProof="0" dirty="0">
              <a:ln>
                <a:noFill/>
              </a:ln>
              <a:solidFill>
                <a:srgbClr val="787878"/>
              </a:solidFill>
              <a:effectLst/>
              <a:uLnTx/>
              <a:uFillTx/>
              <a:ea typeface="+mn-ea"/>
              <a:cs typeface="+mn-cs"/>
            </a:endParaRPr>
          </a:p>
        </p:txBody>
      </p:sp>
      <p:sp>
        <p:nvSpPr>
          <p:cNvPr id="14" name="TextBox 13">
            <a:extLst>
              <a:ext uri="{FF2B5EF4-FFF2-40B4-BE49-F238E27FC236}">
                <a16:creationId xmlns:a16="http://schemas.microsoft.com/office/drawing/2014/main" id="{008D7E57-FAA5-472A-BD71-EFAA00E38495}"/>
              </a:ext>
            </a:extLst>
          </p:cNvPr>
          <p:cNvSpPr txBox="1"/>
          <p:nvPr/>
        </p:nvSpPr>
        <p:spPr>
          <a:xfrm>
            <a:off x="4609784" y="1989461"/>
            <a:ext cx="1038388" cy="292388"/>
          </a:xfrm>
          <a:prstGeom prst="rect">
            <a:avLst/>
          </a:prstGeom>
          <a:noFill/>
        </p:spPr>
        <p:txBody>
          <a:bodyPr wrap="square" lIns="0" tIns="0" rtlCol="0">
            <a:spAutoFit/>
          </a:bodyPr>
          <a:lstStyle/>
          <a:p>
            <a:pPr marL="0" marR="0" lvl="0" indent="0" algn="ctr" defTabSz="914400" rtl="0" eaLnBrk="1" fontAlgn="auto" latinLnBrk="0" hangingPunct="1">
              <a:lnSpc>
                <a:spcPct val="100000"/>
              </a:lnSpc>
              <a:spcBef>
                <a:spcPts val="400"/>
              </a:spcBef>
              <a:spcAft>
                <a:spcPts val="600"/>
              </a:spcAft>
              <a:buClrTx/>
              <a:buSzTx/>
              <a:buFontTx/>
              <a:buNone/>
              <a:tabLst/>
              <a:defRPr/>
            </a:pPr>
            <a:r>
              <a:rPr kumimoji="0" lang="en-US" sz="800" b="0" i="0" u="none" strike="noStrike" kern="1200" cap="none" spc="0" normalizeH="0" baseline="0" noProof="0" dirty="0">
                <a:ln>
                  <a:noFill/>
                </a:ln>
                <a:solidFill>
                  <a:srgbClr val="787878"/>
                </a:solidFill>
                <a:effectLst/>
                <a:uLnTx/>
                <a:uFillTx/>
                <a:ea typeface="+mn-ea"/>
                <a:cs typeface="Frutiger Next Pro Medium"/>
              </a:rPr>
              <a:t>Product &amp; </a:t>
            </a:r>
            <a:br>
              <a:rPr kumimoji="0" lang="en-US" sz="800" b="0" i="0" u="none" strike="noStrike" kern="1200" cap="none" spc="0" normalizeH="0" baseline="0" noProof="0" dirty="0">
                <a:ln>
                  <a:noFill/>
                </a:ln>
                <a:solidFill>
                  <a:srgbClr val="787878"/>
                </a:solidFill>
                <a:effectLst/>
                <a:uLnTx/>
                <a:uFillTx/>
                <a:ea typeface="+mn-ea"/>
                <a:cs typeface="Frutiger Next Pro Medium"/>
              </a:rPr>
            </a:br>
            <a:r>
              <a:rPr kumimoji="0" lang="en-US" sz="800" b="0" i="0" u="none" strike="noStrike" kern="1200" cap="none" spc="0" normalizeH="0" baseline="0" noProof="0" dirty="0">
                <a:ln>
                  <a:noFill/>
                </a:ln>
                <a:solidFill>
                  <a:srgbClr val="787878"/>
                </a:solidFill>
                <a:effectLst/>
                <a:uLnTx/>
                <a:uFillTx/>
                <a:ea typeface="+mn-ea"/>
                <a:cs typeface="Frutiger Next Pro Medium"/>
              </a:rPr>
              <a:t>Service Design</a:t>
            </a:r>
            <a:endParaRPr kumimoji="0" lang="en-US" sz="800" b="0" i="0" u="none" strike="noStrike" kern="1200" cap="none" spc="0" normalizeH="0" baseline="0" noProof="0" dirty="0">
              <a:ln>
                <a:noFill/>
              </a:ln>
              <a:solidFill>
                <a:srgbClr val="787878"/>
              </a:solidFill>
              <a:effectLst/>
              <a:uLnTx/>
              <a:uFillTx/>
              <a:ea typeface="+mn-ea"/>
              <a:cs typeface="+mn-cs"/>
            </a:endParaRPr>
          </a:p>
        </p:txBody>
      </p:sp>
      <p:sp>
        <p:nvSpPr>
          <p:cNvPr id="15" name="TextBox 14">
            <a:extLst>
              <a:ext uri="{FF2B5EF4-FFF2-40B4-BE49-F238E27FC236}">
                <a16:creationId xmlns:a16="http://schemas.microsoft.com/office/drawing/2014/main" id="{6B6AA900-C137-475A-A301-33C6AF311303}"/>
              </a:ext>
            </a:extLst>
          </p:cNvPr>
          <p:cNvSpPr txBox="1"/>
          <p:nvPr/>
        </p:nvSpPr>
        <p:spPr>
          <a:xfrm>
            <a:off x="5566428" y="1989461"/>
            <a:ext cx="1166038" cy="292388"/>
          </a:xfrm>
          <a:prstGeom prst="rect">
            <a:avLst/>
          </a:prstGeom>
          <a:noFill/>
        </p:spPr>
        <p:txBody>
          <a:bodyPr wrap="square" lIns="0" tIns="0" rtlCol="0">
            <a:spAutoFit/>
          </a:bodyPr>
          <a:lstStyle/>
          <a:p>
            <a:pPr marL="0" marR="0" lvl="0" indent="0" algn="ctr" defTabSz="914400" rtl="0" eaLnBrk="1" fontAlgn="auto" latinLnBrk="0" hangingPunct="1">
              <a:lnSpc>
                <a:spcPct val="100000"/>
              </a:lnSpc>
              <a:spcBef>
                <a:spcPts val="400"/>
              </a:spcBef>
              <a:spcAft>
                <a:spcPts val="600"/>
              </a:spcAft>
              <a:buClrTx/>
              <a:buSzTx/>
              <a:buFontTx/>
              <a:buNone/>
              <a:tabLst/>
              <a:defRPr/>
            </a:pPr>
            <a:r>
              <a:rPr kumimoji="0" lang="en-US" sz="800" b="0" i="0" u="none" strike="noStrike" kern="1200" cap="none" spc="0" normalizeH="0" baseline="0" noProof="0" dirty="0">
                <a:ln>
                  <a:noFill/>
                </a:ln>
                <a:solidFill>
                  <a:srgbClr val="787878"/>
                </a:solidFill>
                <a:effectLst/>
                <a:uLnTx/>
                <a:uFillTx/>
                <a:ea typeface="+mn-ea"/>
                <a:cs typeface="+mn-cs"/>
              </a:rPr>
              <a:t>Physical/Digital Experience</a:t>
            </a:r>
          </a:p>
        </p:txBody>
      </p:sp>
      <p:sp>
        <p:nvSpPr>
          <p:cNvPr id="16" name="TextBox 15">
            <a:extLst>
              <a:ext uri="{FF2B5EF4-FFF2-40B4-BE49-F238E27FC236}">
                <a16:creationId xmlns:a16="http://schemas.microsoft.com/office/drawing/2014/main" id="{285FD264-8174-4F30-87EE-A50716446412}"/>
              </a:ext>
            </a:extLst>
          </p:cNvPr>
          <p:cNvSpPr txBox="1"/>
          <p:nvPr/>
        </p:nvSpPr>
        <p:spPr>
          <a:xfrm>
            <a:off x="6776129" y="1989461"/>
            <a:ext cx="861004" cy="292388"/>
          </a:xfrm>
          <a:prstGeom prst="rect">
            <a:avLst/>
          </a:prstGeom>
          <a:noFill/>
        </p:spPr>
        <p:txBody>
          <a:bodyPr wrap="square" lIns="0" tIns="0" rtlCol="0">
            <a:spAutoFit/>
          </a:bodyPr>
          <a:lstStyle/>
          <a:p>
            <a:pPr marL="0" marR="0" lvl="0" indent="0" algn="ctr" defTabSz="914400" rtl="0" eaLnBrk="1" fontAlgn="auto" latinLnBrk="0" hangingPunct="1">
              <a:lnSpc>
                <a:spcPct val="100000"/>
              </a:lnSpc>
              <a:spcBef>
                <a:spcPts val="400"/>
              </a:spcBef>
              <a:spcAft>
                <a:spcPts val="600"/>
              </a:spcAft>
              <a:buClrTx/>
              <a:buSzTx/>
              <a:buFontTx/>
              <a:buNone/>
              <a:tabLst/>
              <a:defRPr/>
            </a:pPr>
            <a:r>
              <a:rPr kumimoji="0" lang="en-US" sz="800" b="0" i="0" u="none" strike="noStrike" kern="1200" cap="none" spc="0" normalizeH="0" baseline="0" noProof="0" dirty="0">
                <a:ln>
                  <a:noFill/>
                </a:ln>
                <a:solidFill>
                  <a:srgbClr val="787878"/>
                </a:solidFill>
                <a:effectLst/>
                <a:uLnTx/>
                <a:uFillTx/>
                <a:ea typeface="+mn-ea"/>
                <a:cs typeface="Frutiger Next Pro Medium"/>
              </a:rPr>
              <a:t>UI/UX </a:t>
            </a:r>
            <a:br>
              <a:rPr kumimoji="0" lang="en-US" sz="800" b="0" i="0" u="none" strike="noStrike" kern="1200" cap="none" spc="0" normalizeH="0" baseline="0" noProof="0" dirty="0">
                <a:ln>
                  <a:noFill/>
                </a:ln>
                <a:solidFill>
                  <a:srgbClr val="787878"/>
                </a:solidFill>
                <a:effectLst/>
                <a:uLnTx/>
                <a:uFillTx/>
                <a:ea typeface="+mn-ea"/>
                <a:cs typeface="Frutiger Next Pro Medium"/>
              </a:rPr>
            </a:br>
            <a:r>
              <a:rPr kumimoji="0" lang="en-US" sz="800" b="0" i="0" u="none" strike="noStrike" kern="1200" cap="none" spc="0" normalizeH="0" baseline="0" noProof="0" dirty="0">
                <a:ln>
                  <a:noFill/>
                </a:ln>
                <a:solidFill>
                  <a:srgbClr val="787878"/>
                </a:solidFill>
                <a:effectLst/>
                <a:uLnTx/>
                <a:uFillTx/>
                <a:ea typeface="+mn-ea"/>
                <a:cs typeface="Frutiger Next Pro Medium"/>
              </a:rPr>
              <a:t>Design</a:t>
            </a:r>
            <a:endParaRPr kumimoji="0" lang="en-US" sz="800" b="0" i="0" u="none" strike="noStrike" kern="1200" cap="none" spc="0" normalizeH="0" baseline="0" noProof="0" dirty="0">
              <a:ln>
                <a:noFill/>
              </a:ln>
              <a:solidFill>
                <a:srgbClr val="787878"/>
              </a:solidFill>
              <a:effectLst/>
              <a:uLnTx/>
              <a:uFillTx/>
              <a:ea typeface="+mn-ea"/>
              <a:cs typeface="+mn-cs"/>
            </a:endParaRPr>
          </a:p>
        </p:txBody>
      </p:sp>
      <p:sp>
        <p:nvSpPr>
          <p:cNvPr id="17" name="TextBox 16">
            <a:extLst>
              <a:ext uri="{FF2B5EF4-FFF2-40B4-BE49-F238E27FC236}">
                <a16:creationId xmlns:a16="http://schemas.microsoft.com/office/drawing/2014/main" id="{4C101854-8411-4992-BE45-678863E22ECE}"/>
              </a:ext>
            </a:extLst>
          </p:cNvPr>
          <p:cNvSpPr txBox="1"/>
          <p:nvPr/>
        </p:nvSpPr>
        <p:spPr>
          <a:xfrm>
            <a:off x="7634860" y="1989461"/>
            <a:ext cx="1089990" cy="292388"/>
          </a:xfrm>
          <a:prstGeom prst="rect">
            <a:avLst/>
          </a:prstGeom>
          <a:noFill/>
        </p:spPr>
        <p:txBody>
          <a:bodyPr wrap="square" lIns="0" tIns="0" rtlCol="0">
            <a:spAutoFit/>
          </a:bodyPr>
          <a:lstStyle/>
          <a:p>
            <a:pPr marL="0" marR="0" lvl="0" indent="0" algn="ctr" defTabSz="914400" rtl="0" eaLnBrk="1" fontAlgn="auto" latinLnBrk="0" hangingPunct="1">
              <a:lnSpc>
                <a:spcPct val="100000"/>
              </a:lnSpc>
              <a:spcBef>
                <a:spcPts val="400"/>
              </a:spcBef>
              <a:spcAft>
                <a:spcPts val="600"/>
              </a:spcAft>
              <a:buClrTx/>
              <a:buSzTx/>
              <a:buFontTx/>
              <a:buNone/>
              <a:tabLst/>
              <a:defRPr/>
            </a:pPr>
            <a:r>
              <a:rPr kumimoji="0" lang="en-US" sz="800" b="0" i="0" u="none" strike="noStrike" kern="1200" cap="none" spc="0" normalizeH="0" baseline="0" noProof="0" dirty="0">
                <a:ln>
                  <a:noFill/>
                </a:ln>
                <a:solidFill>
                  <a:srgbClr val="787878"/>
                </a:solidFill>
                <a:effectLst/>
                <a:uLnTx/>
                <a:uFillTx/>
                <a:ea typeface="+mn-ea"/>
                <a:cs typeface="+mn-cs"/>
              </a:rPr>
              <a:t>Future Mobility Business</a:t>
            </a:r>
          </a:p>
        </p:txBody>
      </p:sp>
      <p:sp>
        <p:nvSpPr>
          <p:cNvPr id="18" name="TextBox 17">
            <a:extLst>
              <a:ext uri="{FF2B5EF4-FFF2-40B4-BE49-F238E27FC236}">
                <a16:creationId xmlns:a16="http://schemas.microsoft.com/office/drawing/2014/main" id="{C5DF83E4-E5C8-4190-B360-3B225AA7C0CC}"/>
              </a:ext>
            </a:extLst>
          </p:cNvPr>
          <p:cNvSpPr txBox="1"/>
          <p:nvPr/>
        </p:nvSpPr>
        <p:spPr>
          <a:xfrm>
            <a:off x="8667531" y="1989461"/>
            <a:ext cx="1089990" cy="292388"/>
          </a:xfrm>
          <a:prstGeom prst="rect">
            <a:avLst/>
          </a:prstGeom>
          <a:noFill/>
        </p:spPr>
        <p:txBody>
          <a:bodyPr wrap="square" lIns="0" tIns="0" rtlCol="0">
            <a:spAutoFit/>
          </a:bodyPr>
          <a:lstStyle/>
          <a:p>
            <a:pPr marL="0" marR="0" lvl="0" indent="0" algn="ctr" defTabSz="914400" rtl="0" eaLnBrk="1" fontAlgn="auto" latinLnBrk="0" hangingPunct="1">
              <a:lnSpc>
                <a:spcPct val="100000"/>
              </a:lnSpc>
              <a:spcBef>
                <a:spcPts val="400"/>
              </a:spcBef>
              <a:spcAft>
                <a:spcPts val="600"/>
              </a:spcAft>
              <a:buClrTx/>
              <a:buSzTx/>
              <a:buFontTx/>
              <a:buNone/>
              <a:tabLst/>
              <a:defRPr/>
            </a:pPr>
            <a:r>
              <a:rPr kumimoji="0" lang="en-US" sz="800" b="0" i="0" u="none" strike="noStrike" kern="1200" cap="none" spc="0" normalizeH="0" baseline="0" noProof="0" dirty="0">
                <a:ln>
                  <a:noFill/>
                </a:ln>
                <a:solidFill>
                  <a:srgbClr val="787878"/>
                </a:solidFill>
                <a:effectLst/>
                <a:uLnTx/>
                <a:uFillTx/>
                <a:ea typeface="+mn-ea"/>
                <a:cs typeface="+mn-cs"/>
              </a:rPr>
              <a:t>Analytics/</a:t>
            </a:r>
            <a:br>
              <a:rPr kumimoji="0" lang="en-US" sz="800" b="0" i="0" u="none" strike="noStrike" kern="1200" cap="none" spc="0" normalizeH="0" baseline="0" noProof="0" dirty="0">
                <a:ln>
                  <a:noFill/>
                </a:ln>
                <a:solidFill>
                  <a:srgbClr val="787878"/>
                </a:solidFill>
                <a:effectLst/>
                <a:uLnTx/>
                <a:uFillTx/>
                <a:ea typeface="+mn-ea"/>
                <a:cs typeface="+mn-cs"/>
              </a:rPr>
            </a:br>
            <a:r>
              <a:rPr kumimoji="0" lang="en-US" sz="800" b="0" i="0" u="none" strike="noStrike" kern="1200" cap="none" spc="0" normalizeH="0" baseline="0" noProof="0" dirty="0">
                <a:ln>
                  <a:noFill/>
                </a:ln>
                <a:solidFill>
                  <a:srgbClr val="787878"/>
                </a:solidFill>
                <a:effectLst/>
                <a:uLnTx/>
                <a:uFillTx/>
                <a:ea typeface="+mn-ea"/>
                <a:cs typeface="+mn-cs"/>
              </a:rPr>
              <a:t>Data Driven</a:t>
            </a:r>
          </a:p>
        </p:txBody>
      </p:sp>
      <p:sp>
        <p:nvSpPr>
          <p:cNvPr id="19" name="TextBox 18">
            <a:extLst>
              <a:ext uri="{FF2B5EF4-FFF2-40B4-BE49-F238E27FC236}">
                <a16:creationId xmlns:a16="http://schemas.microsoft.com/office/drawing/2014/main" id="{1EEA085C-1568-4312-A990-C4135EC1046D}"/>
              </a:ext>
            </a:extLst>
          </p:cNvPr>
          <p:cNvSpPr txBox="1"/>
          <p:nvPr/>
        </p:nvSpPr>
        <p:spPr>
          <a:xfrm>
            <a:off x="9936590" y="1986555"/>
            <a:ext cx="527206" cy="169277"/>
          </a:xfrm>
          <a:prstGeom prst="rect">
            <a:avLst/>
          </a:prstGeom>
          <a:noFill/>
        </p:spPr>
        <p:txBody>
          <a:bodyPr wrap="square" lIns="0" tIns="0" rtlCol="0">
            <a:spAutoFit/>
          </a:bodyPr>
          <a:lstStyle/>
          <a:p>
            <a:pPr marL="0" marR="0" lvl="0" indent="0" algn="ctr" defTabSz="914400" rtl="0" eaLnBrk="1" fontAlgn="auto" latinLnBrk="0" hangingPunct="1">
              <a:lnSpc>
                <a:spcPct val="100000"/>
              </a:lnSpc>
              <a:spcBef>
                <a:spcPts val="400"/>
              </a:spcBef>
              <a:spcAft>
                <a:spcPts val="600"/>
              </a:spcAft>
              <a:buClrTx/>
              <a:buSzTx/>
              <a:buFontTx/>
              <a:buNone/>
              <a:tabLst/>
              <a:defRPr/>
            </a:pPr>
            <a:r>
              <a:rPr kumimoji="0" lang="en-US" sz="800" b="0" i="0" u="none" strike="noStrike" kern="1200" cap="none" spc="0" normalizeH="0" baseline="0" noProof="0" dirty="0">
                <a:ln>
                  <a:noFill/>
                </a:ln>
                <a:solidFill>
                  <a:srgbClr val="787878"/>
                </a:solidFill>
                <a:effectLst/>
                <a:uLnTx/>
                <a:uFillTx/>
                <a:ea typeface="+mn-ea"/>
                <a:cs typeface="+mn-cs"/>
              </a:rPr>
              <a:t>Agile</a:t>
            </a:r>
          </a:p>
        </p:txBody>
      </p:sp>
      <p:sp>
        <p:nvSpPr>
          <p:cNvPr id="20" name="TextBox 19">
            <a:extLst>
              <a:ext uri="{FF2B5EF4-FFF2-40B4-BE49-F238E27FC236}">
                <a16:creationId xmlns:a16="http://schemas.microsoft.com/office/drawing/2014/main" id="{EFF8981B-2860-4A84-BE76-A40846A0A745}"/>
              </a:ext>
            </a:extLst>
          </p:cNvPr>
          <p:cNvSpPr txBox="1"/>
          <p:nvPr/>
        </p:nvSpPr>
        <p:spPr>
          <a:xfrm>
            <a:off x="10644146" y="1989461"/>
            <a:ext cx="1089990" cy="292388"/>
          </a:xfrm>
          <a:prstGeom prst="rect">
            <a:avLst/>
          </a:prstGeom>
          <a:noFill/>
        </p:spPr>
        <p:txBody>
          <a:bodyPr wrap="square" lIns="0" tIns="0" rtlCol="0">
            <a:spAutoFit/>
          </a:bodyPr>
          <a:lstStyle/>
          <a:p>
            <a:pPr marL="0" marR="0" lvl="0" indent="0" algn="ctr" defTabSz="914400" rtl="0" eaLnBrk="1" fontAlgn="auto" latinLnBrk="0" hangingPunct="1">
              <a:lnSpc>
                <a:spcPct val="100000"/>
              </a:lnSpc>
              <a:spcBef>
                <a:spcPts val="400"/>
              </a:spcBef>
              <a:spcAft>
                <a:spcPts val="600"/>
              </a:spcAft>
              <a:buClrTx/>
              <a:buSzTx/>
              <a:buFontTx/>
              <a:buNone/>
              <a:tabLst/>
              <a:defRPr/>
            </a:pPr>
            <a:r>
              <a:rPr kumimoji="0" lang="en-US" sz="800" b="0" i="0" u="none" strike="noStrike" kern="1200" cap="none" spc="0" normalizeH="0" baseline="0" noProof="0" dirty="0">
                <a:ln>
                  <a:noFill/>
                </a:ln>
                <a:solidFill>
                  <a:srgbClr val="787878"/>
                </a:solidFill>
                <a:effectLst/>
                <a:uLnTx/>
                <a:uFillTx/>
                <a:ea typeface="+mn-ea"/>
                <a:cs typeface="+mn-cs"/>
              </a:rPr>
              <a:t>Architecture &amp; Integration</a:t>
            </a:r>
          </a:p>
        </p:txBody>
      </p:sp>
      <p:graphicFrame>
        <p:nvGraphicFramePr>
          <p:cNvPr id="106" name="Table 105">
            <a:extLst>
              <a:ext uri="{FF2B5EF4-FFF2-40B4-BE49-F238E27FC236}">
                <a16:creationId xmlns:a16="http://schemas.microsoft.com/office/drawing/2014/main" id="{56B7EAC1-18D7-44E4-B7E8-BF2D1F97EEDD}"/>
              </a:ext>
            </a:extLst>
          </p:cNvPr>
          <p:cNvGraphicFramePr>
            <a:graphicFrameLocks noGrp="1"/>
          </p:cNvGraphicFramePr>
          <p:nvPr>
            <p:extLst>
              <p:ext uri="{D42A27DB-BD31-4B8C-83A1-F6EECF244321}">
                <p14:modId xmlns:p14="http://schemas.microsoft.com/office/powerpoint/2010/main" val="2658384116"/>
              </p:ext>
            </p:extLst>
          </p:nvPr>
        </p:nvGraphicFramePr>
        <p:xfrm>
          <a:off x="533766" y="2256593"/>
          <a:ext cx="11219981" cy="4093679"/>
        </p:xfrm>
        <a:graphic>
          <a:graphicData uri="http://schemas.openxmlformats.org/drawingml/2006/table">
            <a:tbl>
              <a:tblPr firstRow="1">
                <a:tableStyleId>{B301B821-A1FF-4177-AEE7-76D212191A09}</a:tableStyleId>
              </a:tblPr>
              <a:tblGrid>
                <a:gridCol w="1429935">
                  <a:extLst>
                    <a:ext uri="{9D8B030D-6E8A-4147-A177-3AD203B41FA5}">
                      <a16:colId xmlns:a16="http://schemas.microsoft.com/office/drawing/2014/main" val="2161876974"/>
                    </a:ext>
                  </a:extLst>
                </a:gridCol>
                <a:gridCol w="1836658">
                  <a:extLst>
                    <a:ext uri="{9D8B030D-6E8A-4147-A177-3AD203B41FA5}">
                      <a16:colId xmlns:a16="http://schemas.microsoft.com/office/drawing/2014/main" val="1734410148"/>
                    </a:ext>
                  </a:extLst>
                </a:gridCol>
                <a:gridCol w="791867">
                  <a:extLst>
                    <a:ext uri="{9D8B030D-6E8A-4147-A177-3AD203B41FA5}">
                      <a16:colId xmlns:a16="http://schemas.microsoft.com/office/drawing/2014/main" val="1054195620"/>
                    </a:ext>
                  </a:extLst>
                </a:gridCol>
                <a:gridCol w="1058294">
                  <a:extLst>
                    <a:ext uri="{9D8B030D-6E8A-4147-A177-3AD203B41FA5}">
                      <a16:colId xmlns:a16="http://schemas.microsoft.com/office/drawing/2014/main" val="2029870333"/>
                    </a:ext>
                  </a:extLst>
                </a:gridCol>
                <a:gridCol w="1094372">
                  <a:extLst>
                    <a:ext uri="{9D8B030D-6E8A-4147-A177-3AD203B41FA5}">
                      <a16:colId xmlns:a16="http://schemas.microsoft.com/office/drawing/2014/main" val="1707503459"/>
                    </a:ext>
                  </a:extLst>
                </a:gridCol>
                <a:gridCol w="901954">
                  <a:extLst>
                    <a:ext uri="{9D8B030D-6E8A-4147-A177-3AD203B41FA5}">
                      <a16:colId xmlns:a16="http://schemas.microsoft.com/office/drawing/2014/main" val="584931313"/>
                    </a:ext>
                  </a:extLst>
                </a:gridCol>
                <a:gridCol w="1070320">
                  <a:extLst>
                    <a:ext uri="{9D8B030D-6E8A-4147-A177-3AD203B41FA5}">
                      <a16:colId xmlns:a16="http://schemas.microsoft.com/office/drawing/2014/main" val="3844742603"/>
                    </a:ext>
                  </a:extLst>
                </a:gridCol>
                <a:gridCol w="1016202">
                  <a:extLst>
                    <a:ext uri="{9D8B030D-6E8A-4147-A177-3AD203B41FA5}">
                      <a16:colId xmlns:a16="http://schemas.microsoft.com/office/drawing/2014/main" val="363917008"/>
                    </a:ext>
                  </a:extLst>
                </a:gridCol>
                <a:gridCol w="895942">
                  <a:extLst>
                    <a:ext uri="{9D8B030D-6E8A-4147-A177-3AD203B41FA5}">
                      <a16:colId xmlns:a16="http://schemas.microsoft.com/office/drawing/2014/main" val="3431877853"/>
                    </a:ext>
                  </a:extLst>
                </a:gridCol>
                <a:gridCol w="1124437">
                  <a:extLst>
                    <a:ext uri="{9D8B030D-6E8A-4147-A177-3AD203B41FA5}">
                      <a16:colId xmlns:a16="http://schemas.microsoft.com/office/drawing/2014/main" val="219830375"/>
                    </a:ext>
                  </a:extLst>
                </a:gridCol>
              </a:tblGrid>
              <a:tr h="3624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kern="1200" noProof="0" dirty="0">
                          <a:solidFill>
                            <a:srgbClr val="000000"/>
                          </a:solidFill>
                          <a:latin typeface="+mn-lt"/>
                          <a:ea typeface="+mn-ea"/>
                          <a:cs typeface="+mn-cs"/>
                        </a:rPr>
                        <a:t>Large Telco Provider</a:t>
                      </a:r>
                    </a:p>
                  </a:txBody>
                  <a:tcPr anchor="ctr">
                    <a:lnL w="12700" cmpd="sng">
                      <a:noFill/>
                    </a:lnL>
                    <a:lnR w="12700" cap="flat" cmpd="sng" algn="ctr">
                      <a:solidFill>
                        <a:schemeClr val="bg1">
                          <a:lumMod val="95000"/>
                        </a:schemeClr>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mn-lt"/>
                          <a:ea typeface="+mn-ea"/>
                          <a:cs typeface="+mn-cs"/>
                        </a:rPr>
                        <a:t>Cross Channel Lead Management</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3"/>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3"/>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u="none" strike="noStrike" kern="0" cap="none" spc="0" normalizeH="0" baseline="0" noProof="0" dirty="0">
                          <a:ln>
                            <a:noFill/>
                          </a:ln>
                          <a:solidFill>
                            <a:schemeClr val="accent3"/>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b="0" dirty="0">
                        <a:solidFill>
                          <a:schemeClr val="accent3"/>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accent4"/>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4"/>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4"/>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10309034"/>
                  </a:ext>
                </a:extLst>
              </a:tr>
              <a:tr h="490720">
                <a:tc>
                  <a:txBody>
                    <a:bodyPr/>
                    <a:lstStyle/>
                    <a:p>
                      <a:pPr lvl="0">
                        <a:defRPr/>
                      </a:pPr>
                      <a:r>
                        <a:rPr lang="en-US" sz="1000" dirty="0">
                          <a:solidFill>
                            <a:srgbClr val="000000"/>
                          </a:solidFill>
                        </a:rPr>
                        <a:t>Global Airline</a:t>
                      </a:r>
                    </a:p>
                  </a:txBody>
                  <a:tcPr anchor="ctr">
                    <a:lnL w="12700" cmpd="sng">
                      <a:noFill/>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50" b="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Cross-selling and upselling airline products</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accent3"/>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u="none" strike="noStrike" kern="0" cap="none" spc="0" normalizeH="0" baseline="0" noProof="0" dirty="0">
                          <a:ln>
                            <a:noFill/>
                          </a:ln>
                          <a:solidFill>
                            <a:schemeClr val="accent3"/>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b="0" dirty="0">
                        <a:solidFill>
                          <a:schemeClr val="accent3"/>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4"/>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4"/>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40513513"/>
                  </a:ext>
                </a:extLst>
              </a:tr>
              <a:tr h="362478">
                <a:tc>
                  <a:txBody>
                    <a:bodyPr/>
                    <a:lstStyle/>
                    <a:p>
                      <a:pPr marL="0" lvl="0" algn="l" defTabSz="914400" rtl="0" eaLnBrk="1" latinLnBrk="0" hangingPunct="1">
                        <a:defRPr/>
                      </a:pPr>
                      <a:r>
                        <a:rPr lang="en-US" sz="1000" b="1" kern="1200" dirty="0">
                          <a:solidFill>
                            <a:srgbClr val="000000"/>
                          </a:solidFill>
                          <a:latin typeface="+mn-lt"/>
                          <a:ea typeface="+mn-ea"/>
                          <a:cs typeface="+mn-cs"/>
                        </a:rPr>
                        <a:t>International Telco Provider</a:t>
                      </a:r>
                    </a:p>
                  </a:txBody>
                  <a:tcPr anchor="ctr">
                    <a:lnL w="12700" cmpd="sng">
                      <a:noFill/>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b="1" dirty="0"/>
                        <a:t>Next Best Action</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solidFill>
                          <a:schemeClr val="tx1"/>
                        </a:solidFill>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3"/>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3"/>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u="none" strike="noStrike" kern="0" cap="none" spc="0" normalizeH="0" baseline="0" noProof="0" dirty="0">
                          <a:ln>
                            <a:noFill/>
                          </a:ln>
                          <a:solidFill>
                            <a:schemeClr val="accent3"/>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b="0" dirty="0">
                        <a:solidFill>
                          <a:schemeClr val="accent3"/>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4"/>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4"/>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4"/>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4"/>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12801191"/>
                  </a:ext>
                </a:extLst>
              </a:tr>
              <a:tr h="4014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1200" noProof="0" dirty="0">
                          <a:solidFill>
                            <a:srgbClr val="000000"/>
                          </a:solidFill>
                          <a:latin typeface="+mn-lt"/>
                          <a:ea typeface="+mn-ea"/>
                          <a:cs typeface="+mn-cs"/>
                        </a:rPr>
                        <a:t>Sports Team</a:t>
                      </a:r>
                    </a:p>
                  </a:txBody>
                  <a:tcPr anchor="ctr">
                    <a:lnL w="12700" cmpd="sng">
                      <a:noFill/>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dk1"/>
                          </a:solidFill>
                          <a:latin typeface="+mn-lt"/>
                          <a:ea typeface="+mn-ea"/>
                          <a:cs typeface="+mn-cs"/>
                        </a:rPr>
                        <a:t>Fan Experience Platform</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2"/>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3"/>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3"/>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4"/>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4"/>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10409203"/>
                  </a:ext>
                </a:extLst>
              </a:tr>
              <a:tr h="4014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rPr>
                        <a:t>Global CPG Manufacturer </a:t>
                      </a:r>
                    </a:p>
                  </a:txBody>
                  <a:tcPr anchor="ctr">
                    <a:lnL w="12700" cmpd="sng">
                      <a:noFill/>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Real-time Customer Engagement</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2"/>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2"/>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3"/>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3"/>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4"/>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4"/>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57698733"/>
                  </a:ext>
                </a:extLst>
              </a:tr>
              <a:tr h="4014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1200" noProof="0" dirty="0">
                          <a:solidFill>
                            <a:srgbClr val="000000"/>
                          </a:solidFill>
                          <a:latin typeface="+mn-lt"/>
                          <a:ea typeface="+mn-ea"/>
                          <a:cs typeface="+mn-cs"/>
                        </a:rPr>
                        <a:t>Sports Governing Body</a:t>
                      </a:r>
                    </a:p>
                  </a:txBody>
                  <a:tcPr anchor="ctr">
                    <a:lnL w="12700" cmpd="sng">
                      <a:noFill/>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rPr>
                        <a:t>Targeted Membership Strategy</a:t>
                      </a:r>
                      <a:endParaRPr kumimoji="0" lang="en-US" sz="1000" b="1" i="0" u="none" strike="noStrike" kern="1200" cap="none" spc="0" normalizeH="0" baseline="0" noProof="0" dirty="0">
                        <a:ln>
                          <a:noFill/>
                        </a:ln>
                        <a:solidFill>
                          <a:srgbClr val="000000"/>
                        </a:solidFill>
                        <a:effectLst/>
                        <a:uLnTx/>
                        <a:uFillTx/>
                        <a:latin typeface="+mn-lt"/>
                        <a:ea typeface="+mn-ea"/>
                        <a:cs typeface="+mn-cs"/>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2"/>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u="none" strike="noStrike" kern="0" cap="none" spc="0" normalizeH="0" baseline="0" noProof="0" dirty="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3"/>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3"/>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4"/>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4"/>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29913330"/>
                  </a:ext>
                </a:extLst>
              </a:tr>
              <a:tr h="4014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rgbClr val="000000"/>
                          </a:solidFill>
                          <a:latin typeface="+mn-lt"/>
                          <a:ea typeface="+mn-ea"/>
                          <a:cs typeface="+mn-cs"/>
                        </a:rPr>
                        <a:t>Pharmaceutical Company</a:t>
                      </a:r>
                    </a:p>
                  </a:txBody>
                  <a:tcPr anchor="ctr">
                    <a:lnL w="12700" cmpd="sng">
                      <a:noFill/>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Marketing Efficiency</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3"/>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3"/>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4"/>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4"/>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4"/>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4"/>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29117167"/>
                  </a:ext>
                </a:extLst>
              </a:tr>
              <a:tr h="4014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rPr>
                        <a:t>Telco Provider</a:t>
                      </a:r>
                    </a:p>
                  </a:txBody>
                  <a:tcPr anchor="ctr">
                    <a:lnL w="12700" cmpd="sng">
                      <a:noFill/>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Customer Insights Platform</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3"/>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3"/>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3"/>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3"/>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3EFAC5"/>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kumimoji="0" lang="en-US" sz="2000" b="0" i="0" u="none" strike="noStrike" kern="1200" cap="none" spc="0" normalizeH="0" baseline="0" noProof="0" dirty="0">
                        <a:ln>
                          <a:noFill/>
                        </a:ln>
                        <a:solidFill>
                          <a:srgbClr val="3EFAC5"/>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12289735"/>
                  </a:ext>
                </a:extLst>
              </a:tr>
              <a:tr h="4014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rPr>
                        <a:t>Science and Healthcare Client</a:t>
                      </a:r>
                    </a:p>
                  </a:txBody>
                  <a:tcPr anchor="ctr">
                    <a:lnL w="12700" cmpd="sng">
                      <a:noFill/>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t>RWE Analytics Platform on AWS</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u="none" strike="noStrike" kern="0" cap="none" spc="0" normalizeH="0" baseline="0" noProof="0" dirty="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3"/>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3"/>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3EFAC5"/>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kumimoji="0" lang="en-US" sz="2000" b="0" i="0" u="none" strike="noStrike" kern="1200" cap="none" spc="0" normalizeH="0" baseline="0" noProof="0" dirty="0">
                        <a:ln>
                          <a:noFill/>
                        </a:ln>
                        <a:solidFill>
                          <a:srgbClr val="3EFAC5"/>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13170637"/>
                  </a:ext>
                </a:extLst>
              </a:tr>
              <a:tr h="4014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kern="1200" dirty="0">
                          <a:solidFill>
                            <a:srgbClr val="000000"/>
                          </a:solidFill>
                          <a:latin typeface="+mn-lt"/>
                          <a:ea typeface="+mn-ea"/>
                          <a:cs typeface="+mn-cs"/>
                        </a:rPr>
                        <a:t>Adobe</a:t>
                      </a:r>
                    </a:p>
                  </a:txBody>
                  <a:tcPr anchor="ctr">
                    <a:lnL w="12700" cmpd="sng">
                      <a:noFill/>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r>
                        <a:rPr lang="en-US" sz="1000" dirty="0"/>
                        <a:t>Implementing Adobe, for Adobe</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2"/>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2"/>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0" cap="none" spc="0" normalizeH="0" baseline="0" noProof="0" dirty="0">
                          <a:ln>
                            <a:noFill/>
                          </a:ln>
                          <a:solidFill>
                            <a:schemeClr val="accent4"/>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lang="en-US" sz="2000" dirty="0">
                        <a:solidFill>
                          <a:schemeClr val="accent4"/>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3EFAC5"/>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itchFamily="2" charset="2"/>
                        </a:rPr>
                        <a:t></a:t>
                      </a:r>
                      <a:endParaRPr kumimoji="0" lang="en-US" sz="2000" b="0" i="0" u="none" strike="noStrike" kern="1200" cap="none" spc="0" normalizeH="0" baseline="0" noProof="0" dirty="0">
                        <a:ln>
                          <a:noFill/>
                        </a:ln>
                        <a:solidFill>
                          <a:srgbClr val="3EFAC5"/>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01048325"/>
                  </a:ext>
                </a:extLst>
              </a:tr>
            </a:tbl>
          </a:graphicData>
        </a:graphic>
      </p:graphicFrame>
    </p:spTree>
    <p:extLst>
      <p:ext uri="{BB962C8B-B14F-4D97-AF65-F5344CB8AC3E}">
        <p14:creationId xmlns:p14="http://schemas.microsoft.com/office/powerpoint/2010/main" val="3766816603"/>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ACF4C-F3D7-40C8-85D7-44C8918E31F2}"/>
              </a:ext>
            </a:extLst>
          </p:cNvPr>
          <p:cNvSpPr>
            <a:spLocks noGrp="1"/>
          </p:cNvSpPr>
          <p:nvPr>
            <p:ph type="title"/>
          </p:nvPr>
        </p:nvSpPr>
        <p:spPr/>
        <p:txBody>
          <a:bodyPr/>
          <a:lstStyle/>
          <a:p>
            <a:r>
              <a:rPr lang="en-US" dirty="0"/>
              <a:t>Performance-Based Discount “Menu” of Options</a:t>
            </a:r>
          </a:p>
        </p:txBody>
      </p:sp>
      <p:sp>
        <p:nvSpPr>
          <p:cNvPr id="3" name="Text Placeholder 2">
            <a:extLst>
              <a:ext uri="{FF2B5EF4-FFF2-40B4-BE49-F238E27FC236}">
                <a16:creationId xmlns:a16="http://schemas.microsoft.com/office/drawing/2014/main" id="{03BB12BE-3A6C-4FC7-9B63-E1E1A95A9506}"/>
              </a:ext>
            </a:extLst>
          </p:cNvPr>
          <p:cNvSpPr>
            <a:spLocks noGrp="1"/>
          </p:cNvSpPr>
          <p:nvPr>
            <p:ph type="body" sz="quarter" idx="14"/>
          </p:nvPr>
        </p:nvSpPr>
        <p:spPr>
          <a:xfrm>
            <a:off x="914721" y="1353312"/>
            <a:ext cx="10362880" cy="475488"/>
          </a:xfrm>
        </p:spPr>
        <p:txBody>
          <a:bodyPr/>
          <a:lstStyle/>
          <a:p>
            <a:r>
              <a:rPr lang="en-US" dirty="0"/>
              <a:t>Access to performance-based discount options will vary by tier and customer type</a:t>
            </a:r>
          </a:p>
          <a:p>
            <a:endParaRPr lang="en-US" dirty="0"/>
          </a:p>
        </p:txBody>
      </p:sp>
      <p:sp>
        <p:nvSpPr>
          <p:cNvPr id="4" name="Text Placeholder 3">
            <a:extLst>
              <a:ext uri="{FF2B5EF4-FFF2-40B4-BE49-F238E27FC236}">
                <a16:creationId xmlns:a16="http://schemas.microsoft.com/office/drawing/2014/main" id="{06790718-1C9D-4A00-928E-3345EBA383AD}"/>
              </a:ext>
            </a:extLst>
          </p:cNvPr>
          <p:cNvSpPr>
            <a:spLocks noGrp="1"/>
          </p:cNvSpPr>
          <p:nvPr>
            <p:ph type="body" sz="quarter" idx="15"/>
          </p:nvPr>
        </p:nvSpPr>
        <p:spPr/>
        <p:txBody>
          <a:bodyPr/>
          <a:lstStyle/>
          <a:p>
            <a:r>
              <a:rPr lang="en-US" dirty="0"/>
              <a:t>TABLE</a:t>
            </a:r>
          </a:p>
        </p:txBody>
      </p:sp>
      <p:sp>
        <p:nvSpPr>
          <p:cNvPr id="5" name="Rectangle 4">
            <a:extLst>
              <a:ext uri="{FF2B5EF4-FFF2-40B4-BE49-F238E27FC236}">
                <a16:creationId xmlns:a16="http://schemas.microsoft.com/office/drawing/2014/main" id="{D3F853DD-F977-4CC4-A3B6-2CD9C3728E34}"/>
              </a:ext>
            </a:extLst>
          </p:cNvPr>
          <p:cNvSpPr/>
          <p:nvPr/>
        </p:nvSpPr>
        <p:spPr>
          <a:xfrm>
            <a:off x="1862608" y="3794891"/>
            <a:ext cx="9500734" cy="248783"/>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18288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Open Sans Extrabold" charset="0"/>
                <a:cs typeface="Open Sans Extrabold" charset="0"/>
              </a:rPr>
              <a:t>Product Incentive	</a:t>
            </a:r>
          </a:p>
        </p:txBody>
      </p:sp>
      <p:sp>
        <p:nvSpPr>
          <p:cNvPr id="6" name="Text Placeholder 10">
            <a:extLst>
              <a:ext uri="{FF2B5EF4-FFF2-40B4-BE49-F238E27FC236}">
                <a16:creationId xmlns:a16="http://schemas.microsoft.com/office/drawing/2014/main" id="{460EA8EA-FC72-4129-B99F-04EBE5E05021}"/>
              </a:ext>
            </a:extLst>
          </p:cNvPr>
          <p:cNvSpPr txBox="1">
            <a:spLocks/>
          </p:cNvSpPr>
          <p:nvPr/>
        </p:nvSpPr>
        <p:spPr>
          <a:xfrm>
            <a:off x="718020" y="1934968"/>
            <a:ext cx="11252200" cy="455979"/>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8" name="Rectangle 7">
            <a:extLst>
              <a:ext uri="{FF2B5EF4-FFF2-40B4-BE49-F238E27FC236}">
                <a16:creationId xmlns:a16="http://schemas.microsoft.com/office/drawing/2014/main" id="{1443CB0F-2729-4CB9-89DC-53DF755C5771}"/>
              </a:ext>
            </a:extLst>
          </p:cNvPr>
          <p:cNvSpPr/>
          <p:nvPr/>
        </p:nvSpPr>
        <p:spPr>
          <a:xfrm>
            <a:off x="1862608" y="2192431"/>
            <a:ext cx="9500734" cy="248783"/>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18288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ea typeface="Open Sans Extrabold" charset="0"/>
                <a:cs typeface="Open Sans Extrabold" charset="0"/>
              </a:rPr>
              <a:t>Growth/Target Market</a:t>
            </a:r>
            <a:endParaRPr kumimoji="0" lang="en-US" sz="1200" b="1" i="0" u="none" strike="noStrike" kern="1200" cap="none" spc="0" normalizeH="0" baseline="0" noProof="0" dirty="0">
              <a:ln>
                <a:noFill/>
              </a:ln>
              <a:solidFill>
                <a:prstClr val="black"/>
              </a:solidFill>
              <a:effectLst/>
              <a:uLnTx/>
              <a:uFillTx/>
              <a:ea typeface="Open Sans Extrabold" charset="0"/>
              <a:cs typeface="Open Sans Extrabold" charset="0"/>
            </a:endParaRPr>
          </a:p>
        </p:txBody>
      </p:sp>
      <p:sp>
        <p:nvSpPr>
          <p:cNvPr id="9" name="Rectangle 8">
            <a:extLst>
              <a:ext uri="{FF2B5EF4-FFF2-40B4-BE49-F238E27FC236}">
                <a16:creationId xmlns:a16="http://schemas.microsoft.com/office/drawing/2014/main" id="{12C4EC4D-B110-494D-9A7F-18AEB27EBFA5}"/>
              </a:ext>
            </a:extLst>
          </p:cNvPr>
          <p:cNvSpPr/>
          <p:nvPr/>
        </p:nvSpPr>
        <p:spPr>
          <a:xfrm>
            <a:off x="1862608" y="2512923"/>
            <a:ext cx="9500734" cy="248783"/>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18288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Open Sans Extrabold" charset="0"/>
                <a:cs typeface="Open Sans Extrabold" charset="0"/>
              </a:rPr>
              <a:t>Co-Marketing</a:t>
            </a:r>
            <a:endParaRPr kumimoji="0" lang="en-US" sz="1100" b="1" i="0" u="none" strike="noStrike" kern="1200" cap="none" spc="300" normalizeH="0" baseline="0" noProof="0" dirty="0">
              <a:ln>
                <a:noFill/>
              </a:ln>
              <a:solidFill>
                <a:prstClr val="black"/>
              </a:solidFill>
              <a:effectLst/>
              <a:uLnTx/>
              <a:uFillTx/>
              <a:ea typeface="Open Sans Extrabold" charset="0"/>
              <a:cs typeface="Open Sans Extrabold" charset="0"/>
            </a:endParaRPr>
          </a:p>
        </p:txBody>
      </p:sp>
      <p:sp>
        <p:nvSpPr>
          <p:cNvPr id="10" name="Rectangle 9">
            <a:extLst>
              <a:ext uri="{FF2B5EF4-FFF2-40B4-BE49-F238E27FC236}">
                <a16:creationId xmlns:a16="http://schemas.microsoft.com/office/drawing/2014/main" id="{1D2286F3-236E-4C22-8D30-FF2FD45D3120}"/>
              </a:ext>
            </a:extLst>
          </p:cNvPr>
          <p:cNvSpPr/>
          <p:nvPr/>
        </p:nvSpPr>
        <p:spPr>
          <a:xfrm>
            <a:off x="1862608" y="2833415"/>
            <a:ext cx="9500734" cy="248783"/>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18288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ea typeface="Open Sans Extrabold" charset="0"/>
                <a:cs typeface="Open Sans Extrabold" charset="0"/>
              </a:rPr>
              <a:t>Digital Elevation &amp; Content</a:t>
            </a:r>
            <a:endParaRPr kumimoji="0" lang="en-US" sz="1200" b="1" i="0" u="none" strike="noStrike" kern="1200" cap="none" spc="0" normalizeH="0" baseline="0" noProof="0" dirty="0">
              <a:ln>
                <a:noFill/>
              </a:ln>
              <a:solidFill>
                <a:prstClr val="black"/>
              </a:solidFill>
              <a:effectLst/>
              <a:uLnTx/>
              <a:uFillTx/>
              <a:ea typeface="Open Sans Extrabold" charset="0"/>
              <a:cs typeface="Open Sans Extrabold" charset="0"/>
            </a:endParaRPr>
          </a:p>
        </p:txBody>
      </p:sp>
      <p:sp>
        <p:nvSpPr>
          <p:cNvPr id="11" name="Rectangle 10">
            <a:extLst>
              <a:ext uri="{FF2B5EF4-FFF2-40B4-BE49-F238E27FC236}">
                <a16:creationId xmlns:a16="http://schemas.microsoft.com/office/drawing/2014/main" id="{E958B713-2B50-43EE-8A41-3CD40D646855}"/>
              </a:ext>
            </a:extLst>
          </p:cNvPr>
          <p:cNvSpPr/>
          <p:nvPr/>
        </p:nvSpPr>
        <p:spPr>
          <a:xfrm>
            <a:off x="1862608" y="3153907"/>
            <a:ext cx="9500734" cy="248783"/>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18288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Open Sans Extrabold" charset="0"/>
                <a:cs typeface="Open Sans Extrabold" charset="0"/>
              </a:rPr>
              <a:t>Sell-Through Performance</a:t>
            </a:r>
          </a:p>
        </p:txBody>
      </p:sp>
      <p:sp>
        <p:nvSpPr>
          <p:cNvPr id="12" name="Rectangle 11">
            <a:extLst>
              <a:ext uri="{FF2B5EF4-FFF2-40B4-BE49-F238E27FC236}">
                <a16:creationId xmlns:a16="http://schemas.microsoft.com/office/drawing/2014/main" id="{27CCCEB4-FD72-425E-99DD-BCCA010EEAF1}"/>
              </a:ext>
            </a:extLst>
          </p:cNvPr>
          <p:cNvSpPr/>
          <p:nvPr/>
        </p:nvSpPr>
        <p:spPr>
          <a:xfrm>
            <a:off x="1862608" y="3474399"/>
            <a:ext cx="9500734" cy="248783"/>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18288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Open Sans Extrabold" charset="0"/>
                <a:cs typeface="Open Sans Extrabold" charset="0"/>
              </a:rPr>
              <a:t>Joint Business Planning</a:t>
            </a:r>
          </a:p>
        </p:txBody>
      </p:sp>
      <p:sp>
        <p:nvSpPr>
          <p:cNvPr id="13" name="Rectangle 12">
            <a:extLst>
              <a:ext uri="{FF2B5EF4-FFF2-40B4-BE49-F238E27FC236}">
                <a16:creationId xmlns:a16="http://schemas.microsoft.com/office/drawing/2014/main" id="{62B73AAD-FC7B-4E7D-BA4E-1D22BF855A61}"/>
              </a:ext>
            </a:extLst>
          </p:cNvPr>
          <p:cNvSpPr/>
          <p:nvPr/>
        </p:nvSpPr>
        <p:spPr>
          <a:xfrm>
            <a:off x="1862608" y="4115383"/>
            <a:ext cx="9500734" cy="248783"/>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18288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Open Sans Extrabold" charset="0"/>
                <a:cs typeface="Open Sans Extrabold" charset="0"/>
              </a:rPr>
              <a:t>Directive Assortment	</a:t>
            </a:r>
          </a:p>
        </p:txBody>
      </p:sp>
      <p:sp>
        <p:nvSpPr>
          <p:cNvPr id="14" name="Rectangle 13">
            <a:extLst>
              <a:ext uri="{FF2B5EF4-FFF2-40B4-BE49-F238E27FC236}">
                <a16:creationId xmlns:a16="http://schemas.microsoft.com/office/drawing/2014/main" id="{F50149C9-32AA-48C5-B8D1-51478E8A23DE}"/>
              </a:ext>
            </a:extLst>
          </p:cNvPr>
          <p:cNvSpPr/>
          <p:nvPr/>
        </p:nvSpPr>
        <p:spPr>
          <a:xfrm>
            <a:off x="1862608" y="4431050"/>
            <a:ext cx="9500734" cy="248783"/>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18288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ea typeface="Open Sans Extrabold" charset="0"/>
                <a:cs typeface="Open Sans Extrabold" charset="0"/>
              </a:rPr>
              <a:t>Closeout Product</a:t>
            </a:r>
            <a:endParaRPr kumimoji="0" lang="en-US" sz="1200" b="1" i="0" u="none" strike="noStrike" kern="1200" cap="none" spc="0" normalizeH="0" baseline="0" noProof="0" dirty="0">
              <a:ln>
                <a:noFill/>
              </a:ln>
              <a:solidFill>
                <a:prstClr val="black"/>
              </a:solidFill>
              <a:effectLst/>
              <a:uLnTx/>
              <a:uFillTx/>
              <a:ea typeface="Open Sans Extrabold" charset="0"/>
              <a:cs typeface="Open Sans Extrabold" charset="0"/>
            </a:endParaRPr>
          </a:p>
        </p:txBody>
      </p:sp>
      <p:sp>
        <p:nvSpPr>
          <p:cNvPr id="15" name="Rectangle 14">
            <a:extLst>
              <a:ext uri="{FF2B5EF4-FFF2-40B4-BE49-F238E27FC236}">
                <a16:creationId xmlns:a16="http://schemas.microsoft.com/office/drawing/2014/main" id="{ADC68A36-8E4E-49C3-85E4-7699E10FBD0F}"/>
              </a:ext>
            </a:extLst>
          </p:cNvPr>
          <p:cNvSpPr/>
          <p:nvPr/>
        </p:nvSpPr>
        <p:spPr>
          <a:xfrm>
            <a:off x="1862608" y="4751542"/>
            <a:ext cx="9500734" cy="248783"/>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18288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Open Sans Extrabold" charset="0"/>
                <a:cs typeface="Open Sans Extrabold" charset="0"/>
              </a:rPr>
              <a:t>Defect Pool</a:t>
            </a:r>
          </a:p>
        </p:txBody>
      </p:sp>
      <p:sp>
        <p:nvSpPr>
          <p:cNvPr id="16" name="Rectangle 15">
            <a:extLst>
              <a:ext uri="{FF2B5EF4-FFF2-40B4-BE49-F238E27FC236}">
                <a16:creationId xmlns:a16="http://schemas.microsoft.com/office/drawing/2014/main" id="{2F70F37A-9122-4C30-B3C9-3DDF11082299}"/>
              </a:ext>
            </a:extLst>
          </p:cNvPr>
          <p:cNvSpPr/>
          <p:nvPr/>
        </p:nvSpPr>
        <p:spPr>
          <a:xfrm>
            <a:off x="1862608" y="5072034"/>
            <a:ext cx="9500734" cy="248783"/>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18288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Open Sans Extrabold" charset="0"/>
                <a:cs typeface="Open Sans Extrabold" charset="0"/>
              </a:rPr>
              <a:t>Markdown/Margin Help</a:t>
            </a:r>
          </a:p>
        </p:txBody>
      </p:sp>
      <p:sp>
        <p:nvSpPr>
          <p:cNvPr id="17" name="Rectangle 16">
            <a:extLst>
              <a:ext uri="{FF2B5EF4-FFF2-40B4-BE49-F238E27FC236}">
                <a16:creationId xmlns:a16="http://schemas.microsoft.com/office/drawing/2014/main" id="{076BA55A-1615-4E72-86A3-E7FA03460A9B}"/>
              </a:ext>
            </a:extLst>
          </p:cNvPr>
          <p:cNvSpPr/>
          <p:nvPr/>
        </p:nvSpPr>
        <p:spPr>
          <a:xfrm>
            <a:off x="1862608" y="5392526"/>
            <a:ext cx="9500734" cy="248783"/>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18288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Open Sans Extrabold" charset="0"/>
                <a:cs typeface="Open Sans Extrabold" charset="0"/>
              </a:rPr>
              <a:t>Pricing Corrections (Reserve)</a:t>
            </a:r>
          </a:p>
        </p:txBody>
      </p:sp>
      <p:sp>
        <p:nvSpPr>
          <p:cNvPr id="18" name="Rectangle 17">
            <a:extLst>
              <a:ext uri="{FF2B5EF4-FFF2-40B4-BE49-F238E27FC236}">
                <a16:creationId xmlns:a16="http://schemas.microsoft.com/office/drawing/2014/main" id="{9E849F18-5917-419D-8E74-D26B5D17084B}"/>
              </a:ext>
            </a:extLst>
          </p:cNvPr>
          <p:cNvSpPr/>
          <p:nvPr/>
        </p:nvSpPr>
        <p:spPr>
          <a:xfrm>
            <a:off x="1862608" y="5713019"/>
            <a:ext cx="9500734" cy="248783"/>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18288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Open Sans Extrabold" charset="0"/>
                <a:cs typeface="Open Sans Extrabold" charset="0"/>
              </a:rPr>
              <a:t>Shipping &amp; Compliance (Reserve)</a:t>
            </a:r>
          </a:p>
        </p:txBody>
      </p:sp>
      <p:sp>
        <p:nvSpPr>
          <p:cNvPr id="19" name="TextBox 18">
            <a:extLst>
              <a:ext uri="{FF2B5EF4-FFF2-40B4-BE49-F238E27FC236}">
                <a16:creationId xmlns:a16="http://schemas.microsoft.com/office/drawing/2014/main" id="{C973868D-9FAA-47CF-AA7F-75441B13510C}"/>
              </a:ext>
            </a:extLst>
          </p:cNvPr>
          <p:cNvSpPr txBox="1"/>
          <p:nvPr/>
        </p:nvSpPr>
        <p:spPr>
          <a:xfrm>
            <a:off x="580114" y="4052429"/>
            <a:ext cx="870604" cy="394980"/>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200" b="1" i="0" u="none" strike="noStrike" kern="1200" cap="none" spc="0" normalizeH="0" baseline="0" noProof="0" dirty="0">
                <a:ln>
                  <a:noFill/>
                </a:ln>
                <a:solidFill>
                  <a:schemeClr val="accent1"/>
                </a:solidFill>
                <a:effectLst/>
                <a:uLnTx/>
                <a:uFillTx/>
                <a:ea typeface="+mn-ea"/>
                <a:cs typeface="+mn-cs"/>
              </a:rPr>
              <a:t>Product </a:t>
            </a:r>
          </a:p>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200" b="1" i="0" u="none" strike="noStrike" kern="1200" cap="none" spc="0" normalizeH="0" baseline="0" noProof="0" dirty="0">
                <a:ln>
                  <a:noFill/>
                </a:ln>
                <a:solidFill>
                  <a:schemeClr val="accent1"/>
                </a:solidFill>
                <a:effectLst/>
                <a:uLnTx/>
                <a:uFillTx/>
                <a:ea typeface="+mn-ea"/>
                <a:cs typeface="+mn-cs"/>
              </a:rPr>
              <a:t>Priorities</a:t>
            </a:r>
          </a:p>
        </p:txBody>
      </p:sp>
      <p:sp>
        <p:nvSpPr>
          <p:cNvPr id="20" name="Left Brace 19">
            <a:extLst>
              <a:ext uri="{FF2B5EF4-FFF2-40B4-BE49-F238E27FC236}">
                <a16:creationId xmlns:a16="http://schemas.microsoft.com/office/drawing/2014/main" id="{4B4B55E2-29C1-4472-9C49-24C3E958A537}"/>
              </a:ext>
            </a:extLst>
          </p:cNvPr>
          <p:cNvSpPr/>
          <p:nvPr/>
        </p:nvSpPr>
        <p:spPr>
          <a:xfrm>
            <a:off x="1581963" y="3834476"/>
            <a:ext cx="196926" cy="836577"/>
          </a:xfrm>
          <a:prstGeom prst="lef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1" name="Left Brace 20">
            <a:extLst>
              <a:ext uri="{FF2B5EF4-FFF2-40B4-BE49-F238E27FC236}">
                <a16:creationId xmlns:a16="http://schemas.microsoft.com/office/drawing/2014/main" id="{40EC714A-1BAA-4603-ACDC-D3A71AAE72CF}"/>
              </a:ext>
            </a:extLst>
          </p:cNvPr>
          <p:cNvSpPr/>
          <p:nvPr/>
        </p:nvSpPr>
        <p:spPr>
          <a:xfrm>
            <a:off x="1596262" y="2265705"/>
            <a:ext cx="198350" cy="1318316"/>
          </a:xfrm>
          <a:prstGeom prst="lef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2" name="TextBox 21">
            <a:extLst>
              <a:ext uri="{FF2B5EF4-FFF2-40B4-BE49-F238E27FC236}">
                <a16:creationId xmlns:a16="http://schemas.microsoft.com/office/drawing/2014/main" id="{8451DEBB-7597-4E9E-A5EA-FDE0ECCD0A37}"/>
              </a:ext>
            </a:extLst>
          </p:cNvPr>
          <p:cNvSpPr txBox="1"/>
          <p:nvPr/>
        </p:nvSpPr>
        <p:spPr>
          <a:xfrm>
            <a:off x="412011" y="2670011"/>
            <a:ext cx="1206810" cy="553998"/>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200" b="1" i="0" u="none" strike="noStrike" kern="1200" cap="none" spc="0" normalizeH="0" baseline="0" noProof="0" dirty="0">
                <a:ln>
                  <a:noFill/>
                </a:ln>
                <a:solidFill>
                  <a:schemeClr val="accent1"/>
                </a:solidFill>
                <a:effectLst/>
                <a:uLnTx/>
                <a:uFillTx/>
                <a:ea typeface="+mn-ea"/>
                <a:cs typeface="+mn-cs"/>
              </a:rPr>
              <a:t>Customer &amp; Consumer Experience</a:t>
            </a:r>
          </a:p>
        </p:txBody>
      </p:sp>
      <p:sp>
        <p:nvSpPr>
          <p:cNvPr id="23" name="Left Brace 22">
            <a:extLst>
              <a:ext uri="{FF2B5EF4-FFF2-40B4-BE49-F238E27FC236}">
                <a16:creationId xmlns:a16="http://schemas.microsoft.com/office/drawing/2014/main" id="{EF743B74-AF12-444B-9C67-4A526F18A9BD}"/>
              </a:ext>
            </a:extLst>
          </p:cNvPr>
          <p:cNvSpPr/>
          <p:nvPr/>
        </p:nvSpPr>
        <p:spPr>
          <a:xfrm>
            <a:off x="1596262" y="4788236"/>
            <a:ext cx="198350" cy="1130781"/>
          </a:xfrm>
          <a:prstGeom prst="lef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4" name="TextBox 23">
            <a:extLst>
              <a:ext uri="{FF2B5EF4-FFF2-40B4-BE49-F238E27FC236}">
                <a16:creationId xmlns:a16="http://schemas.microsoft.com/office/drawing/2014/main" id="{DEAC1AB9-0EF8-4A72-8B33-3B2CB060E5A9}"/>
              </a:ext>
            </a:extLst>
          </p:cNvPr>
          <p:cNvSpPr txBox="1"/>
          <p:nvPr/>
        </p:nvSpPr>
        <p:spPr>
          <a:xfrm>
            <a:off x="364772" y="5111977"/>
            <a:ext cx="1301289" cy="369332"/>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200" b="1" i="0" u="none" strike="noStrike" kern="1200" cap="none" spc="0" normalizeH="0" baseline="0" noProof="0" dirty="0">
                <a:ln>
                  <a:noFill/>
                </a:ln>
                <a:solidFill>
                  <a:schemeClr val="accent1"/>
                </a:solidFill>
                <a:effectLst/>
                <a:uLnTx/>
                <a:uFillTx/>
                <a:ea typeface="+mn-ea"/>
                <a:cs typeface="+mn-cs"/>
              </a:rPr>
              <a:t>Marketplace Management</a:t>
            </a:r>
          </a:p>
        </p:txBody>
      </p:sp>
      <p:sp>
        <p:nvSpPr>
          <p:cNvPr id="26" name="Rectangle 25">
            <a:extLst>
              <a:ext uri="{FF2B5EF4-FFF2-40B4-BE49-F238E27FC236}">
                <a16:creationId xmlns:a16="http://schemas.microsoft.com/office/drawing/2014/main" id="{49422BF9-BE03-4F94-847C-9F84BB52ABDE}"/>
              </a:ext>
            </a:extLst>
          </p:cNvPr>
          <p:cNvSpPr/>
          <p:nvPr/>
        </p:nvSpPr>
        <p:spPr>
          <a:xfrm>
            <a:off x="1861810" y="1650580"/>
            <a:ext cx="309700" cy="369332"/>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800" b="1" i="0" u="none" strike="noStrike" kern="1200" cap="none" spc="0" normalizeH="0" baseline="0" noProof="0" dirty="0">
                <a:ln>
                  <a:noFill/>
                </a:ln>
                <a:solidFill>
                  <a:prstClr val="black"/>
                </a:solidFill>
                <a:effectLst/>
                <a:uLnTx/>
                <a:uFillTx/>
                <a:ea typeface="+mn-ea"/>
                <a:cs typeface="+mn-cs"/>
              </a:rPr>
              <a:t>*</a:t>
            </a:r>
            <a:endParaRPr kumimoji="0" lang="en-US" sz="1100" b="1" i="0" u="none" strike="noStrike" kern="1200" cap="none" spc="0" normalizeH="0" baseline="0" noProof="0" dirty="0">
              <a:ln>
                <a:noFill/>
              </a:ln>
              <a:solidFill>
                <a:prstClr val="black"/>
              </a:solidFill>
              <a:effectLst/>
              <a:uLnTx/>
              <a:uFillTx/>
              <a:ea typeface="+mn-ea"/>
              <a:cs typeface="+mn-cs"/>
            </a:endParaRPr>
          </a:p>
        </p:txBody>
      </p:sp>
      <p:sp>
        <p:nvSpPr>
          <p:cNvPr id="27" name="Rectangle 26">
            <a:extLst>
              <a:ext uri="{FF2B5EF4-FFF2-40B4-BE49-F238E27FC236}">
                <a16:creationId xmlns:a16="http://schemas.microsoft.com/office/drawing/2014/main" id="{45D257F6-4348-4DC8-9403-EF1DF23C6299}"/>
              </a:ext>
            </a:extLst>
          </p:cNvPr>
          <p:cNvSpPr/>
          <p:nvPr/>
        </p:nvSpPr>
        <p:spPr>
          <a:xfrm>
            <a:off x="1883135" y="1838884"/>
            <a:ext cx="260509" cy="261610"/>
          </a:xfrm>
          <a:prstGeom prst="rect">
            <a:avLst/>
          </a:prstGeom>
        </p:spPr>
        <p:txBody>
          <a:bodyPr wrap="squar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X</a:t>
            </a:r>
          </a:p>
        </p:txBody>
      </p:sp>
      <p:sp>
        <p:nvSpPr>
          <p:cNvPr id="28" name="TextBox 27">
            <a:extLst>
              <a:ext uri="{FF2B5EF4-FFF2-40B4-BE49-F238E27FC236}">
                <a16:creationId xmlns:a16="http://schemas.microsoft.com/office/drawing/2014/main" id="{B87FC94A-5104-4ACF-BFB9-6028EBD3A117}"/>
              </a:ext>
            </a:extLst>
          </p:cNvPr>
          <p:cNvSpPr txBox="1"/>
          <p:nvPr/>
        </p:nvSpPr>
        <p:spPr>
          <a:xfrm>
            <a:off x="2106181" y="1737667"/>
            <a:ext cx="1088432" cy="138499"/>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lang="en-US" sz="900" dirty="0">
                <a:solidFill>
                  <a:prstClr val="black"/>
                </a:solidFill>
              </a:rPr>
              <a:t>Premier </a:t>
            </a:r>
            <a:r>
              <a:rPr kumimoji="0" lang="en-US" sz="900" b="0" i="0" u="none" strike="noStrike" kern="1200" cap="none" spc="0" normalizeH="0" baseline="0" noProof="0" dirty="0">
                <a:ln>
                  <a:noFill/>
                </a:ln>
                <a:solidFill>
                  <a:prstClr val="black"/>
                </a:solidFill>
                <a:effectLst/>
                <a:uLnTx/>
                <a:uFillTx/>
                <a:ea typeface="+mn-ea"/>
                <a:cs typeface="+mn-cs"/>
              </a:rPr>
              <a:t>Account</a:t>
            </a:r>
          </a:p>
        </p:txBody>
      </p:sp>
      <p:sp>
        <p:nvSpPr>
          <p:cNvPr id="29" name="TextBox 28">
            <a:extLst>
              <a:ext uri="{FF2B5EF4-FFF2-40B4-BE49-F238E27FC236}">
                <a16:creationId xmlns:a16="http://schemas.microsoft.com/office/drawing/2014/main" id="{22540AF2-3CC4-4983-9B72-6979619C72EC}"/>
              </a:ext>
            </a:extLst>
          </p:cNvPr>
          <p:cNvSpPr txBox="1"/>
          <p:nvPr/>
        </p:nvSpPr>
        <p:spPr>
          <a:xfrm>
            <a:off x="2106181" y="1900439"/>
            <a:ext cx="1088432" cy="138499"/>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900" b="0" i="0" u="none" strike="noStrike" kern="1200" cap="none" spc="0" normalizeH="0" baseline="0" noProof="0" dirty="0">
                <a:ln>
                  <a:noFill/>
                </a:ln>
                <a:solidFill>
                  <a:prstClr val="black"/>
                </a:solidFill>
                <a:effectLst/>
                <a:uLnTx/>
                <a:uFillTx/>
                <a:ea typeface="+mn-ea"/>
                <a:cs typeface="+mn-cs"/>
              </a:rPr>
              <a:t>All Accounts</a:t>
            </a:r>
          </a:p>
        </p:txBody>
      </p:sp>
      <p:sp>
        <p:nvSpPr>
          <p:cNvPr id="30" name="Rectangle 29">
            <a:extLst>
              <a:ext uri="{FF2B5EF4-FFF2-40B4-BE49-F238E27FC236}">
                <a16:creationId xmlns:a16="http://schemas.microsoft.com/office/drawing/2014/main" id="{3C67A9E0-C61B-4B87-B384-C544EDE29E73}"/>
              </a:ext>
            </a:extLst>
          </p:cNvPr>
          <p:cNvSpPr/>
          <p:nvPr/>
        </p:nvSpPr>
        <p:spPr bwMode="gray">
          <a:xfrm>
            <a:off x="1876163" y="1694298"/>
            <a:ext cx="1318249" cy="379897"/>
          </a:xfrm>
          <a:prstGeom prst="rect">
            <a:avLst/>
          </a:prstGeom>
          <a:noFill/>
          <a:ln w="63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31" name="Rectangle 30">
            <a:extLst>
              <a:ext uri="{FF2B5EF4-FFF2-40B4-BE49-F238E27FC236}">
                <a16:creationId xmlns:a16="http://schemas.microsoft.com/office/drawing/2014/main" id="{5BE209AF-1D64-47BF-A7A1-769FEEA3CAD7}"/>
              </a:ext>
            </a:extLst>
          </p:cNvPr>
          <p:cNvSpPr/>
          <p:nvPr/>
        </p:nvSpPr>
        <p:spPr>
          <a:xfrm>
            <a:off x="5367322" y="1763174"/>
            <a:ext cx="1004513" cy="4285478"/>
          </a:xfrm>
          <a:prstGeom prst="rect">
            <a:avLst/>
          </a:prstGeom>
          <a:solidFill>
            <a:srgbClr val="FFFFFF">
              <a:alpha val="70980"/>
            </a:srgbClr>
          </a:solid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spc="300" dirty="0">
                <a:solidFill>
                  <a:prstClr val="black"/>
                </a:solidFill>
                <a:ea typeface="Open Sans Extrabold" charset="0"/>
                <a:cs typeface="Open Sans Extrabold" charset="0"/>
              </a:rPr>
              <a:t>SEG A</a:t>
            </a:r>
            <a:endParaRPr kumimoji="0" lang="en-US" sz="1100" b="1" i="0" u="none" strike="noStrike" kern="1200" cap="none" spc="300" normalizeH="0" baseline="0" noProof="0" dirty="0">
              <a:ln>
                <a:noFill/>
              </a:ln>
              <a:solidFill>
                <a:prstClr val="black"/>
              </a:solidFill>
              <a:effectLst/>
              <a:uLnTx/>
              <a:uFillTx/>
              <a:ea typeface="Open Sans Extrabold" charset="0"/>
              <a:cs typeface="Open Sans Extrabold"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prstClr val="black"/>
              </a:solidFill>
              <a:effectLst/>
              <a:uLnTx/>
              <a:uFillTx/>
              <a:ea typeface="Open Sans Extrabold" charset="0"/>
              <a:cs typeface="Open Sans Extrabold"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ea typeface="Open Sans" charset="0"/>
              <a:cs typeface="Open Sans" charset="0"/>
            </a:endParaRPr>
          </a:p>
        </p:txBody>
      </p:sp>
      <p:sp>
        <p:nvSpPr>
          <p:cNvPr id="32" name="Rectangle 31">
            <a:extLst>
              <a:ext uri="{FF2B5EF4-FFF2-40B4-BE49-F238E27FC236}">
                <a16:creationId xmlns:a16="http://schemas.microsoft.com/office/drawing/2014/main" id="{64AC6744-F34A-423F-BA74-B747F992DA35}"/>
              </a:ext>
            </a:extLst>
          </p:cNvPr>
          <p:cNvSpPr/>
          <p:nvPr/>
        </p:nvSpPr>
        <p:spPr>
          <a:xfrm>
            <a:off x="5736368" y="5678449"/>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33" name="Rectangle 32">
            <a:extLst>
              <a:ext uri="{FF2B5EF4-FFF2-40B4-BE49-F238E27FC236}">
                <a16:creationId xmlns:a16="http://schemas.microsoft.com/office/drawing/2014/main" id="{1769864D-CD1B-4FC7-BE0E-76C4D033AFA3}"/>
              </a:ext>
            </a:extLst>
          </p:cNvPr>
          <p:cNvSpPr/>
          <p:nvPr/>
        </p:nvSpPr>
        <p:spPr>
          <a:xfrm>
            <a:off x="5736368" y="5372921"/>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34" name="Rectangle 33">
            <a:extLst>
              <a:ext uri="{FF2B5EF4-FFF2-40B4-BE49-F238E27FC236}">
                <a16:creationId xmlns:a16="http://schemas.microsoft.com/office/drawing/2014/main" id="{CC77CD31-F065-4A6E-B990-66AF36E0581E}"/>
              </a:ext>
            </a:extLst>
          </p:cNvPr>
          <p:cNvSpPr/>
          <p:nvPr/>
        </p:nvSpPr>
        <p:spPr>
          <a:xfrm>
            <a:off x="5736368" y="4745791"/>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35" name="Rectangle 34">
            <a:extLst>
              <a:ext uri="{FF2B5EF4-FFF2-40B4-BE49-F238E27FC236}">
                <a16:creationId xmlns:a16="http://schemas.microsoft.com/office/drawing/2014/main" id="{A7AF7F36-7401-4FBD-9850-32F655527C7D}"/>
              </a:ext>
            </a:extLst>
          </p:cNvPr>
          <p:cNvSpPr/>
          <p:nvPr/>
        </p:nvSpPr>
        <p:spPr>
          <a:xfrm>
            <a:off x="5736368" y="4100958"/>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36" name="Rectangle 35">
            <a:extLst>
              <a:ext uri="{FF2B5EF4-FFF2-40B4-BE49-F238E27FC236}">
                <a16:creationId xmlns:a16="http://schemas.microsoft.com/office/drawing/2014/main" id="{EC9B823B-FAAA-4326-BEA0-F869F6AAEF4E}"/>
              </a:ext>
            </a:extLst>
          </p:cNvPr>
          <p:cNvSpPr/>
          <p:nvPr/>
        </p:nvSpPr>
        <p:spPr>
          <a:xfrm>
            <a:off x="5736368" y="2202011"/>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37" name="Rectangle 36">
            <a:extLst>
              <a:ext uri="{FF2B5EF4-FFF2-40B4-BE49-F238E27FC236}">
                <a16:creationId xmlns:a16="http://schemas.microsoft.com/office/drawing/2014/main" id="{DF9BC2EF-025A-4AAC-ADF9-75149277E917}"/>
              </a:ext>
            </a:extLst>
          </p:cNvPr>
          <p:cNvSpPr/>
          <p:nvPr/>
        </p:nvSpPr>
        <p:spPr>
          <a:xfrm>
            <a:off x="5736368" y="2524046"/>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38" name="Rectangle 37">
            <a:extLst>
              <a:ext uri="{FF2B5EF4-FFF2-40B4-BE49-F238E27FC236}">
                <a16:creationId xmlns:a16="http://schemas.microsoft.com/office/drawing/2014/main" id="{00F233B2-3677-405F-88D1-3F776E538C1B}"/>
              </a:ext>
            </a:extLst>
          </p:cNvPr>
          <p:cNvSpPr/>
          <p:nvPr/>
        </p:nvSpPr>
        <p:spPr>
          <a:xfrm>
            <a:off x="5736368" y="2853610"/>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39" name="Rectangle 38">
            <a:extLst>
              <a:ext uri="{FF2B5EF4-FFF2-40B4-BE49-F238E27FC236}">
                <a16:creationId xmlns:a16="http://schemas.microsoft.com/office/drawing/2014/main" id="{A775FAD4-C9F0-4CDC-8D81-9C9563B7D59E}"/>
              </a:ext>
            </a:extLst>
          </p:cNvPr>
          <p:cNvSpPr/>
          <p:nvPr/>
        </p:nvSpPr>
        <p:spPr>
          <a:xfrm>
            <a:off x="5736368" y="3487839"/>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40" name="Rectangle 39">
            <a:extLst>
              <a:ext uri="{FF2B5EF4-FFF2-40B4-BE49-F238E27FC236}">
                <a16:creationId xmlns:a16="http://schemas.microsoft.com/office/drawing/2014/main" id="{0758A61D-48AC-4573-84CA-5AE9955F1AF2}"/>
              </a:ext>
            </a:extLst>
          </p:cNvPr>
          <p:cNvSpPr/>
          <p:nvPr/>
        </p:nvSpPr>
        <p:spPr>
          <a:xfrm>
            <a:off x="5736368" y="3138656"/>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41" name="Rectangle 40">
            <a:extLst>
              <a:ext uri="{FF2B5EF4-FFF2-40B4-BE49-F238E27FC236}">
                <a16:creationId xmlns:a16="http://schemas.microsoft.com/office/drawing/2014/main" id="{BFB7116F-4C71-4767-BA00-75E42A3DB001}"/>
              </a:ext>
            </a:extLst>
          </p:cNvPr>
          <p:cNvSpPr/>
          <p:nvPr/>
        </p:nvSpPr>
        <p:spPr>
          <a:xfrm>
            <a:off x="5736368" y="3795378"/>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42" name="Rectangle 41">
            <a:extLst>
              <a:ext uri="{FF2B5EF4-FFF2-40B4-BE49-F238E27FC236}">
                <a16:creationId xmlns:a16="http://schemas.microsoft.com/office/drawing/2014/main" id="{192E2792-6899-4E53-A02E-CC54D70A581D}"/>
              </a:ext>
            </a:extLst>
          </p:cNvPr>
          <p:cNvSpPr/>
          <p:nvPr/>
        </p:nvSpPr>
        <p:spPr>
          <a:xfrm>
            <a:off x="10180925" y="1763174"/>
            <a:ext cx="1004513" cy="4285478"/>
          </a:xfrm>
          <a:prstGeom prst="rect">
            <a:avLst/>
          </a:prstGeom>
          <a:solidFill>
            <a:srgbClr val="FFFFFF">
              <a:alpha val="70980"/>
            </a:srgbClr>
          </a:solidFill>
          <a:ln w="22225">
            <a:solidFill>
              <a:srgbClr val="FFCD00"/>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300" normalizeH="0" baseline="0" noProof="0" dirty="0">
                <a:ln>
                  <a:noFill/>
                </a:ln>
                <a:solidFill>
                  <a:prstClr val="black"/>
                </a:solidFill>
                <a:effectLst/>
                <a:uLnTx/>
                <a:uFillTx/>
                <a:ea typeface="Open Sans Extrabold" charset="0"/>
                <a:cs typeface="Open Sans Extrabold" charset="0"/>
              </a:rPr>
              <a:t>SEG 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prstClr val="black"/>
              </a:solidFill>
              <a:effectLst/>
              <a:uLnTx/>
              <a:uFillTx/>
              <a:ea typeface="Open Sans Extrabold" charset="0"/>
              <a:cs typeface="Open Sans Extrabold"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ea typeface="Open Sans" charset="0"/>
              <a:cs typeface="Open Sans" charset="0"/>
            </a:endParaRPr>
          </a:p>
        </p:txBody>
      </p:sp>
      <p:sp>
        <p:nvSpPr>
          <p:cNvPr id="43" name="Rectangle 42">
            <a:extLst>
              <a:ext uri="{FF2B5EF4-FFF2-40B4-BE49-F238E27FC236}">
                <a16:creationId xmlns:a16="http://schemas.microsoft.com/office/drawing/2014/main" id="{5B1C566A-671F-4B44-9995-7C03442A4C9A}"/>
              </a:ext>
            </a:extLst>
          </p:cNvPr>
          <p:cNvSpPr/>
          <p:nvPr/>
        </p:nvSpPr>
        <p:spPr>
          <a:xfrm>
            <a:off x="10549971" y="5687181"/>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44" name="Rectangle 43">
            <a:extLst>
              <a:ext uri="{FF2B5EF4-FFF2-40B4-BE49-F238E27FC236}">
                <a16:creationId xmlns:a16="http://schemas.microsoft.com/office/drawing/2014/main" id="{157E4D85-EE95-482E-A296-B237E1055589}"/>
              </a:ext>
            </a:extLst>
          </p:cNvPr>
          <p:cNvSpPr/>
          <p:nvPr/>
        </p:nvSpPr>
        <p:spPr>
          <a:xfrm>
            <a:off x="10549971" y="5381653"/>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45" name="Rectangle 44">
            <a:extLst>
              <a:ext uri="{FF2B5EF4-FFF2-40B4-BE49-F238E27FC236}">
                <a16:creationId xmlns:a16="http://schemas.microsoft.com/office/drawing/2014/main" id="{98B88780-C857-4124-B3D3-B8D8F9727CD4}"/>
              </a:ext>
            </a:extLst>
          </p:cNvPr>
          <p:cNvSpPr/>
          <p:nvPr/>
        </p:nvSpPr>
        <p:spPr>
          <a:xfrm>
            <a:off x="10549971" y="4422034"/>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46" name="Rectangle 45">
            <a:extLst>
              <a:ext uri="{FF2B5EF4-FFF2-40B4-BE49-F238E27FC236}">
                <a16:creationId xmlns:a16="http://schemas.microsoft.com/office/drawing/2014/main" id="{D49850A3-6E43-4469-9B41-5A4CFEAB7A3F}"/>
              </a:ext>
            </a:extLst>
          </p:cNvPr>
          <p:cNvSpPr/>
          <p:nvPr/>
        </p:nvSpPr>
        <p:spPr>
          <a:xfrm>
            <a:off x="7774124" y="1763174"/>
            <a:ext cx="1004513" cy="4285478"/>
          </a:xfrm>
          <a:prstGeom prst="rect">
            <a:avLst/>
          </a:prstGeom>
          <a:solidFill>
            <a:srgbClr val="FFFFFF">
              <a:alpha val="70980"/>
            </a:srgbClr>
          </a:solidFill>
          <a:ln w="2222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300" normalizeH="0" baseline="0" noProof="0" dirty="0">
                <a:ln>
                  <a:noFill/>
                </a:ln>
                <a:solidFill>
                  <a:prstClr val="black"/>
                </a:solidFill>
                <a:effectLst/>
                <a:uLnTx/>
                <a:uFillTx/>
                <a:ea typeface="Open Sans Extrabold" charset="0"/>
                <a:cs typeface="Open Sans Extrabold" charset="0"/>
              </a:rPr>
              <a:t>SEG</a:t>
            </a:r>
            <a:r>
              <a:rPr kumimoji="0" lang="en-US" sz="1050" b="1" i="0" u="none" strike="noStrike" kern="1200" cap="none" spc="300" normalizeH="0" noProof="0" dirty="0">
                <a:ln>
                  <a:noFill/>
                </a:ln>
                <a:solidFill>
                  <a:prstClr val="black"/>
                </a:solidFill>
                <a:effectLst/>
                <a:uLnTx/>
                <a:uFillTx/>
                <a:ea typeface="Open Sans Extrabold" charset="0"/>
                <a:cs typeface="Open Sans Extrabold" charset="0"/>
              </a:rPr>
              <a:t> C</a:t>
            </a:r>
            <a:endParaRPr kumimoji="0" lang="en-US" sz="1050" b="1" i="0" u="none" strike="noStrike" kern="1200" cap="none" spc="300" normalizeH="0" baseline="0" noProof="0" dirty="0">
              <a:ln>
                <a:noFill/>
              </a:ln>
              <a:solidFill>
                <a:prstClr val="black"/>
              </a:solidFill>
              <a:effectLst/>
              <a:uLnTx/>
              <a:uFillTx/>
              <a:ea typeface="Open Sans Extrabold" charset="0"/>
              <a:cs typeface="Open Sans Extrabold"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prstClr val="black"/>
              </a:solidFill>
              <a:effectLst/>
              <a:uLnTx/>
              <a:uFillTx/>
              <a:ea typeface="Open Sans Extrabold" charset="0"/>
              <a:cs typeface="Open Sans Extrabold"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ea typeface="Open Sans" charset="0"/>
              <a:cs typeface="Open Sans" charset="0"/>
            </a:endParaRPr>
          </a:p>
        </p:txBody>
      </p:sp>
      <p:sp>
        <p:nvSpPr>
          <p:cNvPr id="47" name="Rectangle 46">
            <a:extLst>
              <a:ext uri="{FF2B5EF4-FFF2-40B4-BE49-F238E27FC236}">
                <a16:creationId xmlns:a16="http://schemas.microsoft.com/office/drawing/2014/main" id="{C3738EF4-917A-4CF2-A6BB-407F6DC2ABC9}"/>
              </a:ext>
            </a:extLst>
          </p:cNvPr>
          <p:cNvSpPr/>
          <p:nvPr/>
        </p:nvSpPr>
        <p:spPr>
          <a:xfrm>
            <a:off x="8143171" y="5678449"/>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48" name="Rectangle 47">
            <a:extLst>
              <a:ext uri="{FF2B5EF4-FFF2-40B4-BE49-F238E27FC236}">
                <a16:creationId xmlns:a16="http://schemas.microsoft.com/office/drawing/2014/main" id="{4659E143-C4CF-44E8-A7EC-7BFF55FF34A5}"/>
              </a:ext>
            </a:extLst>
          </p:cNvPr>
          <p:cNvSpPr/>
          <p:nvPr/>
        </p:nvSpPr>
        <p:spPr>
          <a:xfrm>
            <a:off x="8143171" y="5372921"/>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49" name="Rectangle 48">
            <a:extLst>
              <a:ext uri="{FF2B5EF4-FFF2-40B4-BE49-F238E27FC236}">
                <a16:creationId xmlns:a16="http://schemas.microsoft.com/office/drawing/2014/main" id="{8B83FBA4-CEE6-4005-AF84-99C013C0CD1E}"/>
              </a:ext>
            </a:extLst>
          </p:cNvPr>
          <p:cNvSpPr/>
          <p:nvPr/>
        </p:nvSpPr>
        <p:spPr>
          <a:xfrm>
            <a:off x="8143171" y="5050859"/>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50" name="Rectangle 49">
            <a:extLst>
              <a:ext uri="{FF2B5EF4-FFF2-40B4-BE49-F238E27FC236}">
                <a16:creationId xmlns:a16="http://schemas.microsoft.com/office/drawing/2014/main" id="{BB4E69C5-EE6F-4389-A152-4A160A15B239}"/>
              </a:ext>
            </a:extLst>
          </p:cNvPr>
          <p:cNvSpPr/>
          <p:nvPr/>
        </p:nvSpPr>
        <p:spPr>
          <a:xfrm>
            <a:off x="8143171" y="4745791"/>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51" name="Rectangle 50">
            <a:extLst>
              <a:ext uri="{FF2B5EF4-FFF2-40B4-BE49-F238E27FC236}">
                <a16:creationId xmlns:a16="http://schemas.microsoft.com/office/drawing/2014/main" id="{1A9CD405-B901-4E42-A332-B5A97487CAC6}"/>
              </a:ext>
            </a:extLst>
          </p:cNvPr>
          <p:cNvSpPr/>
          <p:nvPr/>
        </p:nvSpPr>
        <p:spPr>
          <a:xfrm>
            <a:off x="8143171" y="4100958"/>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52" name="Rectangle 51">
            <a:extLst>
              <a:ext uri="{FF2B5EF4-FFF2-40B4-BE49-F238E27FC236}">
                <a16:creationId xmlns:a16="http://schemas.microsoft.com/office/drawing/2014/main" id="{450F2535-A66F-42D7-AAFD-D7C2A84B87BF}"/>
              </a:ext>
            </a:extLst>
          </p:cNvPr>
          <p:cNvSpPr/>
          <p:nvPr/>
        </p:nvSpPr>
        <p:spPr>
          <a:xfrm>
            <a:off x="8121531" y="2175634"/>
            <a:ext cx="309700" cy="369332"/>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800" b="1" i="0" u="none" strike="noStrike" kern="1200" cap="none" spc="0" normalizeH="0" baseline="0" noProof="0" dirty="0">
                <a:ln>
                  <a:noFill/>
                </a:ln>
                <a:solidFill>
                  <a:prstClr val="black"/>
                </a:solidFill>
                <a:effectLst/>
                <a:uLnTx/>
                <a:uFillTx/>
                <a:ea typeface="+mn-ea"/>
                <a:cs typeface="+mn-cs"/>
              </a:rPr>
              <a:t>*</a:t>
            </a:r>
            <a:endParaRPr kumimoji="0" lang="en-US" sz="1100" b="1" i="0" u="none" strike="noStrike" kern="1200" cap="none" spc="0" normalizeH="0" baseline="0" noProof="0" dirty="0">
              <a:ln>
                <a:noFill/>
              </a:ln>
              <a:solidFill>
                <a:prstClr val="black"/>
              </a:solidFill>
              <a:effectLst/>
              <a:uLnTx/>
              <a:uFillTx/>
              <a:ea typeface="+mn-ea"/>
              <a:cs typeface="+mn-cs"/>
            </a:endParaRPr>
          </a:p>
        </p:txBody>
      </p:sp>
      <p:sp>
        <p:nvSpPr>
          <p:cNvPr id="53" name="Rectangle 52">
            <a:extLst>
              <a:ext uri="{FF2B5EF4-FFF2-40B4-BE49-F238E27FC236}">
                <a16:creationId xmlns:a16="http://schemas.microsoft.com/office/drawing/2014/main" id="{B240CF18-A254-47C8-9740-1F3C9DD4BBE0}"/>
              </a:ext>
            </a:extLst>
          </p:cNvPr>
          <p:cNvSpPr/>
          <p:nvPr/>
        </p:nvSpPr>
        <p:spPr>
          <a:xfrm>
            <a:off x="8121531" y="2507623"/>
            <a:ext cx="309700" cy="369332"/>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800" b="1" i="0" u="none" strike="noStrike" kern="1200" cap="none" spc="0" normalizeH="0" baseline="0" noProof="0" dirty="0">
                <a:ln>
                  <a:noFill/>
                </a:ln>
                <a:solidFill>
                  <a:prstClr val="black"/>
                </a:solidFill>
                <a:effectLst/>
                <a:uLnTx/>
                <a:uFillTx/>
                <a:ea typeface="+mn-ea"/>
                <a:cs typeface="+mn-cs"/>
              </a:rPr>
              <a:t>*</a:t>
            </a:r>
            <a:endParaRPr kumimoji="0" lang="en-US" sz="1100" b="1" i="0" u="none" strike="noStrike" kern="1200" cap="none" spc="0" normalizeH="0" baseline="0" noProof="0" dirty="0">
              <a:ln>
                <a:noFill/>
              </a:ln>
              <a:solidFill>
                <a:prstClr val="black"/>
              </a:solidFill>
              <a:effectLst/>
              <a:uLnTx/>
              <a:uFillTx/>
              <a:ea typeface="+mn-ea"/>
              <a:cs typeface="+mn-cs"/>
            </a:endParaRPr>
          </a:p>
        </p:txBody>
      </p:sp>
      <p:sp>
        <p:nvSpPr>
          <p:cNvPr id="54" name="Rectangle 53">
            <a:extLst>
              <a:ext uri="{FF2B5EF4-FFF2-40B4-BE49-F238E27FC236}">
                <a16:creationId xmlns:a16="http://schemas.microsoft.com/office/drawing/2014/main" id="{4292ACDC-EF35-471D-BE4C-F10562CBC0CA}"/>
              </a:ext>
            </a:extLst>
          </p:cNvPr>
          <p:cNvSpPr/>
          <p:nvPr/>
        </p:nvSpPr>
        <p:spPr>
          <a:xfrm>
            <a:off x="8143171" y="2853610"/>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55" name="Rectangle 54">
            <a:extLst>
              <a:ext uri="{FF2B5EF4-FFF2-40B4-BE49-F238E27FC236}">
                <a16:creationId xmlns:a16="http://schemas.microsoft.com/office/drawing/2014/main" id="{5E90B971-1700-4192-8818-9E1A7ACECF24}"/>
              </a:ext>
            </a:extLst>
          </p:cNvPr>
          <p:cNvSpPr/>
          <p:nvPr/>
        </p:nvSpPr>
        <p:spPr>
          <a:xfrm>
            <a:off x="8121531" y="3137129"/>
            <a:ext cx="309700" cy="369332"/>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800" b="1" i="0" u="none" strike="noStrike" kern="1200" cap="none" spc="0" normalizeH="0" baseline="0" noProof="0" dirty="0">
                <a:ln>
                  <a:noFill/>
                </a:ln>
                <a:solidFill>
                  <a:prstClr val="black"/>
                </a:solidFill>
                <a:effectLst/>
                <a:uLnTx/>
                <a:uFillTx/>
                <a:ea typeface="+mn-ea"/>
                <a:cs typeface="+mn-cs"/>
              </a:rPr>
              <a:t>*</a:t>
            </a:r>
            <a:endParaRPr kumimoji="0" lang="en-US" sz="1100" b="1" i="0" u="none" strike="noStrike" kern="1200" cap="none" spc="0" normalizeH="0" baseline="0" noProof="0" dirty="0">
              <a:ln>
                <a:noFill/>
              </a:ln>
              <a:solidFill>
                <a:prstClr val="black"/>
              </a:solidFill>
              <a:effectLst/>
              <a:uLnTx/>
              <a:uFillTx/>
              <a:ea typeface="+mn-ea"/>
              <a:cs typeface="+mn-cs"/>
            </a:endParaRPr>
          </a:p>
        </p:txBody>
      </p:sp>
      <p:sp>
        <p:nvSpPr>
          <p:cNvPr id="56" name="Rectangle 55">
            <a:extLst>
              <a:ext uri="{FF2B5EF4-FFF2-40B4-BE49-F238E27FC236}">
                <a16:creationId xmlns:a16="http://schemas.microsoft.com/office/drawing/2014/main" id="{B0A9813A-7CDA-4991-8DDE-8D4E238373DD}"/>
              </a:ext>
            </a:extLst>
          </p:cNvPr>
          <p:cNvSpPr/>
          <p:nvPr/>
        </p:nvSpPr>
        <p:spPr>
          <a:xfrm>
            <a:off x="8121531" y="3466717"/>
            <a:ext cx="309700" cy="369332"/>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800" b="1" i="0" u="none" strike="noStrike" kern="1200" cap="none" spc="0" normalizeH="0" baseline="0" noProof="0" dirty="0">
                <a:ln>
                  <a:noFill/>
                </a:ln>
                <a:solidFill>
                  <a:prstClr val="black"/>
                </a:solidFill>
                <a:effectLst/>
                <a:uLnTx/>
                <a:uFillTx/>
                <a:ea typeface="+mn-ea"/>
                <a:cs typeface="+mn-cs"/>
              </a:rPr>
              <a:t>*</a:t>
            </a:r>
            <a:endParaRPr kumimoji="0" lang="en-US" sz="1100" b="1" i="0" u="none" strike="noStrike" kern="1200" cap="none" spc="0" normalizeH="0" baseline="0" noProof="0" dirty="0">
              <a:ln>
                <a:noFill/>
              </a:ln>
              <a:solidFill>
                <a:prstClr val="black"/>
              </a:solidFill>
              <a:effectLst/>
              <a:uLnTx/>
              <a:uFillTx/>
              <a:ea typeface="+mn-ea"/>
              <a:cs typeface="+mn-cs"/>
            </a:endParaRPr>
          </a:p>
        </p:txBody>
      </p:sp>
      <p:sp>
        <p:nvSpPr>
          <p:cNvPr id="57" name="Rectangle 56">
            <a:extLst>
              <a:ext uri="{FF2B5EF4-FFF2-40B4-BE49-F238E27FC236}">
                <a16:creationId xmlns:a16="http://schemas.microsoft.com/office/drawing/2014/main" id="{637A0844-3764-4981-A7A1-71408698771D}"/>
              </a:ext>
            </a:extLst>
          </p:cNvPr>
          <p:cNvSpPr/>
          <p:nvPr/>
        </p:nvSpPr>
        <p:spPr>
          <a:xfrm>
            <a:off x="8143171" y="3795378"/>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58" name="Rectangle 57">
            <a:extLst>
              <a:ext uri="{FF2B5EF4-FFF2-40B4-BE49-F238E27FC236}">
                <a16:creationId xmlns:a16="http://schemas.microsoft.com/office/drawing/2014/main" id="{1ECC0220-BDF5-4995-979A-99004371F99C}"/>
              </a:ext>
            </a:extLst>
          </p:cNvPr>
          <p:cNvSpPr/>
          <p:nvPr/>
        </p:nvSpPr>
        <p:spPr>
          <a:xfrm>
            <a:off x="8977525" y="1763174"/>
            <a:ext cx="1004513" cy="4285478"/>
          </a:xfrm>
          <a:prstGeom prst="rect">
            <a:avLst/>
          </a:prstGeom>
          <a:solidFill>
            <a:srgbClr val="FFFFFF">
              <a:alpha val="70980"/>
            </a:srgbClr>
          </a:solidFill>
          <a:ln w="2222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300" normalizeH="0" baseline="0" noProof="0" dirty="0">
                <a:ln>
                  <a:noFill/>
                </a:ln>
                <a:solidFill>
                  <a:prstClr val="black"/>
                </a:solidFill>
                <a:effectLst/>
                <a:uLnTx/>
                <a:uFillTx/>
                <a:ea typeface="Open Sans Extrabold" charset="0"/>
                <a:cs typeface="Open Sans Extrabold" charset="0"/>
              </a:rPr>
              <a:t>SEG 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prstClr val="black"/>
              </a:solidFill>
              <a:effectLst/>
              <a:uLnTx/>
              <a:uFillTx/>
              <a:ea typeface="Open Sans Extrabold" charset="0"/>
              <a:cs typeface="Open Sans Extrabold"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ea typeface="Open Sans" charset="0"/>
              <a:cs typeface="Open Sans" charset="0"/>
            </a:endParaRPr>
          </a:p>
        </p:txBody>
      </p:sp>
      <p:sp>
        <p:nvSpPr>
          <p:cNvPr id="59" name="Rectangle 58">
            <a:extLst>
              <a:ext uri="{FF2B5EF4-FFF2-40B4-BE49-F238E27FC236}">
                <a16:creationId xmlns:a16="http://schemas.microsoft.com/office/drawing/2014/main" id="{CA112BBC-1EDC-4619-B097-4990667868B0}"/>
              </a:ext>
            </a:extLst>
          </p:cNvPr>
          <p:cNvSpPr/>
          <p:nvPr/>
        </p:nvSpPr>
        <p:spPr>
          <a:xfrm>
            <a:off x="9346571" y="5678449"/>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60" name="Rectangle 59">
            <a:extLst>
              <a:ext uri="{FF2B5EF4-FFF2-40B4-BE49-F238E27FC236}">
                <a16:creationId xmlns:a16="http://schemas.microsoft.com/office/drawing/2014/main" id="{FB0D4C7E-734F-432E-8ADD-124219D15EA8}"/>
              </a:ext>
            </a:extLst>
          </p:cNvPr>
          <p:cNvSpPr/>
          <p:nvPr/>
        </p:nvSpPr>
        <p:spPr>
          <a:xfrm>
            <a:off x="9346571" y="5372921"/>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61" name="Rectangle 60">
            <a:extLst>
              <a:ext uri="{FF2B5EF4-FFF2-40B4-BE49-F238E27FC236}">
                <a16:creationId xmlns:a16="http://schemas.microsoft.com/office/drawing/2014/main" id="{12641956-D6BA-40B0-BC4E-4BC000E21244}"/>
              </a:ext>
            </a:extLst>
          </p:cNvPr>
          <p:cNvSpPr/>
          <p:nvPr/>
        </p:nvSpPr>
        <p:spPr>
          <a:xfrm>
            <a:off x="9346571" y="5050859"/>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62" name="Rectangle 61">
            <a:extLst>
              <a:ext uri="{FF2B5EF4-FFF2-40B4-BE49-F238E27FC236}">
                <a16:creationId xmlns:a16="http://schemas.microsoft.com/office/drawing/2014/main" id="{D6BBE5A8-FB4D-4ED5-986A-2ECFAD0FF68F}"/>
              </a:ext>
            </a:extLst>
          </p:cNvPr>
          <p:cNvSpPr/>
          <p:nvPr/>
        </p:nvSpPr>
        <p:spPr>
          <a:xfrm>
            <a:off x="9346571" y="4745791"/>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63" name="Rectangle 62">
            <a:extLst>
              <a:ext uri="{FF2B5EF4-FFF2-40B4-BE49-F238E27FC236}">
                <a16:creationId xmlns:a16="http://schemas.microsoft.com/office/drawing/2014/main" id="{D55A981A-5F92-4F5A-84D9-B8EC21B7FC7C}"/>
              </a:ext>
            </a:extLst>
          </p:cNvPr>
          <p:cNvSpPr/>
          <p:nvPr/>
        </p:nvSpPr>
        <p:spPr>
          <a:xfrm>
            <a:off x="9346571" y="4100958"/>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64" name="Rectangle 63">
            <a:extLst>
              <a:ext uri="{FF2B5EF4-FFF2-40B4-BE49-F238E27FC236}">
                <a16:creationId xmlns:a16="http://schemas.microsoft.com/office/drawing/2014/main" id="{AA5FB50E-4130-4117-A791-3B286E30C075}"/>
              </a:ext>
            </a:extLst>
          </p:cNvPr>
          <p:cNvSpPr/>
          <p:nvPr/>
        </p:nvSpPr>
        <p:spPr>
          <a:xfrm>
            <a:off x="9346571" y="4413302"/>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65" name="Rectangle 64">
            <a:extLst>
              <a:ext uri="{FF2B5EF4-FFF2-40B4-BE49-F238E27FC236}">
                <a16:creationId xmlns:a16="http://schemas.microsoft.com/office/drawing/2014/main" id="{D16D9C20-8E29-4D5B-AC1D-0D5D21097063}"/>
              </a:ext>
            </a:extLst>
          </p:cNvPr>
          <p:cNvSpPr/>
          <p:nvPr/>
        </p:nvSpPr>
        <p:spPr>
          <a:xfrm>
            <a:off x="9324931" y="2481496"/>
            <a:ext cx="309700" cy="369332"/>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800" b="1" i="0" u="none" strike="noStrike" kern="1200" cap="none" spc="0" normalizeH="0" baseline="0" noProof="0" dirty="0">
                <a:ln>
                  <a:noFill/>
                </a:ln>
                <a:solidFill>
                  <a:prstClr val="black"/>
                </a:solidFill>
                <a:effectLst/>
                <a:uLnTx/>
                <a:uFillTx/>
                <a:ea typeface="+mn-ea"/>
                <a:cs typeface="+mn-cs"/>
              </a:rPr>
              <a:t>*</a:t>
            </a:r>
            <a:endParaRPr kumimoji="0" lang="en-US" sz="1100" b="1" i="0" u="none" strike="noStrike" kern="1200" cap="none" spc="0" normalizeH="0" baseline="0" noProof="0" dirty="0">
              <a:ln>
                <a:noFill/>
              </a:ln>
              <a:solidFill>
                <a:prstClr val="black"/>
              </a:solidFill>
              <a:effectLst/>
              <a:uLnTx/>
              <a:uFillTx/>
              <a:ea typeface="+mn-ea"/>
              <a:cs typeface="+mn-cs"/>
            </a:endParaRPr>
          </a:p>
        </p:txBody>
      </p:sp>
      <p:sp>
        <p:nvSpPr>
          <p:cNvPr id="66" name="Rectangle 65">
            <a:extLst>
              <a:ext uri="{FF2B5EF4-FFF2-40B4-BE49-F238E27FC236}">
                <a16:creationId xmlns:a16="http://schemas.microsoft.com/office/drawing/2014/main" id="{2E3E11AE-EB98-47CC-AF93-2835FCB16123}"/>
              </a:ext>
            </a:extLst>
          </p:cNvPr>
          <p:cNvSpPr/>
          <p:nvPr/>
        </p:nvSpPr>
        <p:spPr>
          <a:xfrm>
            <a:off x="9324931" y="2829479"/>
            <a:ext cx="309700" cy="369332"/>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800" b="1" i="0" u="none" strike="noStrike" kern="1200" cap="none" spc="0" normalizeH="0" baseline="0" noProof="0" dirty="0">
                <a:ln>
                  <a:noFill/>
                </a:ln>
                <a:solidFill>
                  <a:prstClr val="black"/>
                </a:solidFill>
                <a:effectLst/>
                <a:uLnTx/>
                <a:uFillTx/>
                <a:ea typeface="+mn-ea"/>
                <a:cs typeface="+mn-cs"/>
              </a:rPr>
              <a:t>*</a:t>
            </a:r>
            <a:endParaRPr kumimoji="0" lang="en-US" sz="1100" b="1" i="0" u="none" strike="noStrike" kern="1200" cap="none" spc="0" normalizeH="0" baseline="0" noProof="0" dirty="0">
              <a:ln>
                <a:noFill/>
              </a:ln>
              <a:solidFill>
                <a:prstClr val="black"/>
              </a:solidFill>
              <a:effectLst/>
              <a:uLnTx/>
              <a:uFillTx/>
              <a:ea typeface="+mn-ea"/>
              <a:cs typeface="+mn-cs"/>
            </a:endParaRPr>
          </a:p>
        </p:txBody>
      </p:sp>
      <p:sp>
        <p:nvSpPr>
          <p:cNvPr id="67" name="Rectangle 66">
            <a:extLst>
              <a:ext uri="{FF2B5EF4-FFF2-40B4-BE49-F238E27FC236}">
                <a16:creationId xmlns:a16="http://schemas.microsoft.com/office/drawing/2014/main" id="{E343CF52-CBC2-43B6-8327-A4F32229C411}"/>
              </a:ext>
            </a:extLst>
          </p:cNvPr>
          <p:cNvSpPr/>
          <p:nvPr/>
        </p:nvSpPr>
        <p:spPr>
          <a:xfrm>
            <a:off x="9324931" y="3163256"/>
            <a:ext cx="309700" cy="369332"/>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800" b="1" i="0" u="none" strike="noStrike" kern="1200" cap="none" spc="0" normalizeH="0" baseline="0" noProof="0" dirty="0">
                <a:ln>
                  <a:noFill/>
                </a:ln>
                <a:solidFill>
                  <a:prstClr val="black"/>
                </a:solidFill>
                <a:effectLst/>
                <a:uLnTx/>
                <a:uFillTx/>
                <a:ea typeface="+mn-ea"/>
                <a:cs typeface="+mn-cs"/>
              </a:rPr>
              <a:t>*</a:t>
            </a:r>
            <a:endParaRPr kumimoji="0" lang="en-US" sz="1100" b="1" i="0" u="none" strike="noStrike" kern="1200" cap="none" spc="0" normalizeH="0" baseline="0" noProof="0" dirty="0">
              <a:ln>
                <a:noFill/>
              </a:ln>
              <a:solidFill>
                <a:prstClr val="black"/>
              </a:solidFill>
              <a:effectLst/>
              <a:uLnTx/>
              <a:uFillTx/>
              <a:ea typeface="+mn-ea"/>
              <a:cs typeface="+mn-cs"/>
            </a:endParaRPr>
          </a:p>
        </p:txBody>
      </p:sp>
      <p:sp>
        <p:nvSpPr>
          <p:cNvPr id="68" name="Rectangle 67">
            <a:extLst>
              <a:ext uri="{FF2B5EF4-FFF2-40B4-BE49-F238E27FC236}">
                <a16:creationId xmlns:a16="http://schemas.microsoft.com/office/drawing/2014/main" id="{482FB4D9-3AB4-4AF2-A93A-EDFBD6C75877}"/>
              </a:ext>
            </a:extLst>
          </p:cNvPr>
          <p:cNvSpPr/>
          <p:nvPr/>
        </p:nvSpPr>
        <p:spPr>
          <a:xfrm>
            <a:off x="9324931" y="3465699"/>
            <a:ext cx="309700" cy="369332"/>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800" b="1" i="0" u="none" strike="noStrike" kern="1200" cap="none" spc="0" normalizeH="0" baseline="0" noProof="0" dirty="0">
                <a:ln>
                  <a:noFill/>
                </a:ln>
                <a:solidFill>
                  <a:prstClr val="black"/>
                </a:solidFill>
                <a:effectLst/>
                <a:uLnTx/>
                <a:uFillTx/>
                <a:ea typeface="+mn-ea"/>
                <a:cs typeface="+mn-cs"/>
              </a:rPr>
              <a:t>*</a:t>
            </a:r>
            <a:endParaRPr kumimoji="0" lang="en-US" sz="1100" b="1" i="0" u="none" strike="noStrike" kern="1200" cap="none" spc="0" normalizeH="0" baseline="0" noProof="0" dirty="0">
              <a:ln>
                <a:noFill/>
              </a:ln>
              <a:solidFill>
                <a:prstClr val="black"/>
              </a:solidFill>
              <a:effectLst/>
              <a:uLnTx/>
              <a:uFillTx/>
              <a:ea typeface="+mn-ea"/>
              <a:cs typeface="+mn-cs"/>
            </a:endParaRPr>
          </a:p>
        </p:txBody>
      </p:sp>
      <p:sp>
        <p:nvSpPr>
          <p:cNvPr id="69" name="Rectangle 68">
            <a:extLst>
              <a:ext uri="{FF2B5EF4-FFF2-40B4-BE49-F238E27FC236}">
                <a16:creationId xmlns:a16="http://schemas.microsoft.com/office/drawing/2014/main" id="{9E5A20D9-948D-4E96-9D32-C74688DC98FA}"/>
              </a:ext>
            </a:extLst>
          </p:cNvPr>
          <p:cNvSpPr/>
          <p:nvPr/>
        </p:nvSpPr>
        <p:spPr>
          <a:xfrm>
            <a:off x="9346571" y="3795378"/>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70" name="Rectangle 69">
            <a:extLst>
              <a:ext uri="{FF2B5EF4-FFF2-40B4-BE49-F238E27FC236}">
                <a16:creationId xmlns:a16="http://schemas.microsoft.com/office/drawing/2014/main" id="{FE84F141-C208-4E25-A746-8B00873CB5EB}"/>
              </a:ext>
            </a:extLst>
          </p:cNvPr>
          <p:cNvSpPr/>
          <p:nvPr/>
        </p:nvSpPr>
        <p:spPr>
          <a:xfrm>
            <a:off x="6570723" y="1763174"/>
            <a:ext cx="1004513" cy="4285478"/>
          </a:xfrm>
          <a:prstGeom prst="rect">
            <a:avLst/>
          </a:prstGeom>
          <a:solidFill>
            <a:srgbClr val="FFFFFF">
              <a:alpha val="70980"/>
            </a:srgbClr>
          </a:solidFill>
          <a:ln w="222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300" normalizeH="0" baseline="0" noProof="0" dirty="0">
                <a:ln>
                  <a:noFill/>
                </a:ln>
                <a:solidFill>
                  <a:prstClr val="black"/>
                </a:solidFill>
                <a:effectLst/>
                <a:uLnTx/>
                <a:uFillTx/>
                <a:ea typeface="Open Sans Extrabold" charset="0"/>
                <a:cs typeface="Open Sans Extrabold" charset="0"/>
              </a:rPr>
              <a:t>SEG B</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prstClr val="black"/>
              </a:solidFill>
              <a:effectLst/>
              <a:uLnTx/>
              <a:uFillTx/>
              <a:ea typeface="Open Sans Extrabold" charset="0"/>
              <a:cs typeface="Open Sans Extrabold"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ea typeface="Open Sans" charset="0"/>
              <a:cs typeface="Open Sans" charset="0"/>
            </a:endParaRPr>
          </a:p>
        </p:txBody>
      </p:sp>
      <p:sp>
        <p:nvSpPr>
          <p:cNvPr id="71" name="Rectangle 70">
            <a:extLst>
              <a:ext uri="{FF2B5EF4-FFF2-40B4-BE49-F238E27FC236}">
                <a16:creationId xmlns:a16="http://schemas.microsoft.com/office/drawing/2014/main" id="{BACAA7F0-2481-49DB-B468-3AB45838E526}"/>
              </a:ext>
            </a:extLst>
          </p:cNvPr>
          <p:cNvSpPr/>
          <p:nvPr/>
        </p:nvSpPr>
        <p:spPr>
          <a:xfrm>
            <a:off x="6939769" y="5682526"/>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72" name="Rectangle 71">
            <a:extLst>
              <a:ext uri="{FF2B5EF4-FFF2-40B4-BE49-F238E27FC236}">
                <a16:creationId xmlns:a16="http://schemas.microsoft.com/office/drawing/2014/main" id="{5B9BCC03-7293-4D15-BD41-2029DC129A21}"/>
              </a:ext>
            </a:extLst>
          </p:cNvPr>
          <p:cNvSpPr/>
          <p:nvPr/>
        </p:nvSpPr>
        <p:spPr>
          <a:xfrm>
            <a:off x="6939769" y="5376998"/>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73" name="Rectangle 72">
            <a:extLst>
              <a:ext uri="{FF2B5EF4-FFF2-40B4-BE49-F238E27FC236}">
                <a16:creationId xmlns:a16="http://schemas.microsoft.com/office/drawing/2014/main" id="{A0372D9F-A5C6-4AC0-B1DB-1AA3F0277F3E}"/>
              </a:ext>
            </a:extLst>
          </p:cNvPr>
          <p:cNvSpPr/>
          <p:nvPr/>
        </p:nvSpPr>
        <p:spPr>
          <a:xfrm>
            <a:off x="6939769" y="5054936"/>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74" name="Rectangle 73">
            <a:extLst>
              <a:ext uri="{FF2B5EF4-FFF2-40B4-BE49-F238E27FC236}">
                <a16:creationId xmlns:a16="http://schemas.microsoft.com/office/drawing/2014/main" id="{C3929AFE-C69E-49D4-BF01-06B711005E93}"/>
              </a:ext>
            </a:extLst>
          </p:cNvPr>
          <p:cNvSpPr/>
          <p:nvPr/>
        </p:nvSpPr>
        <p:spPr>
          <a:xfrm>
            <a:off x="6939769" y="4749868"/>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75" name="Rectangle 74">
            <a:extLst>
              <a:ext uri="{FF2B5EF4-FFF2-40B4-BE49-F238E27FC236}">
                <a16:creationId xmlns:a16="http://schemas.microsoft.com/office/drawing/2014/main" id="{BC2873E3-A7A1-481B-9AC1-0AF112B08169}"/>
              </a:ext>
            </a:extLst>
          </p:cNvPr>
          <p:cNvSpPr/>
          <p:nvPr/>
        </p:nvSpPr>
        <p:spPr>
          <a:xfrm>
            <a:off x="6939769" y="4105035"/>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76" name="Rectangle 75">
            <a:extLst>
              <a:ext uri="{FF2B5EF4-FFF2-40B4-BE49-F238E27FC236}">
                <a16:creationId xmlns:a16="http://schemas.microsoft.com/office/drawing/2014/main" id="{875378BB-CF4A-48A0-89E6-F3EE990FE331}"/>
              </a:ext>
            </a:extLst>
          </p:cNvPr>
          <p:cNvSpPr/>
          <p:nvPr/>
        </p:nvSpPr>
        <p:spPr>
          <a:xfrm>
            <a:off x="6939769" y="2528123"/>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77" name="Rectangle 76">
            <a:extLst>
              <a:ext uri="{FF2B5EF4-FFF2-40B4-BE49-F238E27FC236}">
                <a16:creationId xmlns:a16="http://schemas.microsoft.com/office/drawing/2014/main" id="{0CD4A43C-A787-46F6-8CAE-0B742ED0E9C7}"/>
              </a:ext>
            </a:extLst>
          </p:cNvPr>
          <p:cNvSpPr/>
          <p:nvPr/>
        </p:nvSpPr>
        <p:spPr>
          <a:xfrm>
            <a:off x="6939769" y="2857687"/>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78" name="Rectangle 77">
            <a:extLst>
              <a:ext uri="{FF2B5EF4-FFF2-40B4-BE49-F238E27FC236}">
                <a16:creationId xmlns:a16="http://schemas.microsoft.com/office/drawing/2014/main" id="{24A1F9F9-DE29-4155-B170-6D3BB8D95294}"/>
              </a:ext>
            </a:extLst>
          </p:cNvPr>
          <p:cNvSpPr/>
          <p:nvPr/>
        </p:nvSpPr>
        <p:spPr>
          <a:xfrm>
            <a:off x="6918129" y="3141206"/>
            <a:ext cx="309700" cy="369332"/>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800" b="1" i="0" u="none" strike="noStrike" kern="1200" cap="none" spc="0" normalizeH="0" baseline="0" noProof="0" dirty="0">
                <a:ln>
                  <a:noFill/>
                </a:ln>
                <a:solidFill>
                  <a:prstClr val="black"/>
                </a:solidFill>
                <a:effectLst/>
                <a:uLnTx/>
                <a:uFillTx/>
                <a:ea typeface="+mn-ea"/>
                <a:cs typeface="+mn-cs"/>
              </a:rPr>
              <a:t>*</a:t>
            </a:r>
            <a:endParaRPr kumimoji="0" lang="en-US" sz="1100" b="1" i="0" u="none" strike="noStrike" kern="1200" cap="none" spc="0" normalizeH="0" baseline="0" noProof="0" dirty="0">
              <a:ln>
                <a:noFill/>
              </a:ln>
              <a:solidFill>
                <a:prstClr val="black"/>
              </a:solidFill>
              <a:effectLst/>
              <a:uLnTx/>
              <a:uFillTx/>
              <a:ea typeface="+mn-ea"/>
              <a:cs typeface="+mn-cs"/>
            </a:endParaRPr>
          </a:p>
        </p:txBody>
      </p:sp>
      <p:sp>
        <p:nvSpPr>
          <p:cNvPr id="79" name="Rectangle 78">
            <a:extLst>
              <a:ext uri="{FF2B5EF4-FFF2-40B4-BE49-F238E27FC236}">
                <a16:creationId xmlns:a16="http://schemas.microsoft.com/office/drawing/2014/main" id="{98C4B164-ECC1-4360-B640-32AB7CC864AE}"/>
              </a:ext>
            </a:extLst>
          </p:cNvPr>
          <p:cNvSpPr/>
          <p:nvPr/>
        </p:nvSpPr>
        <p:spPr>
          <a:xfrm>
            <a:off x="6918129" y="3452132"/>
            <a:ext cx="309700" cy="369332"/>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800" b="1" i="0" u="none" strike="noStrike" kern="1200" cap="none" spc="0" normalizeH="0" baseline="0" noProof="0" dirty="0">
                <a:ln>
                  <a:noFill/>
                </a:ln>
                <a:solidFill>
                  <a:prstClr val="black"/>
                </a:solidFill>
                <a:effectLst/>
                <a:uLnTx/>
                <a:uFillTx/>
                <a:ea typeface="+mn-ea"/>
                <a:cs typeface="+mn-cs"/>
              </a:rPr>
              <a:t>*</a:t>
            </a:r>
            <a:endParaRPr kumimoji="0" lang="en-US" sz="1100" b="1" i="0" u="none" strike="noStrike" kern="1200" cap="none" spc="0" normalizeH="0" baseline="0" noProof="0" dirty="0">
              <a:ln>
                <a:noFill/>
              </a:ln>
              <a:solidFill>
                <a:prstClr val="black"/>
              </a:solidFill>
              <a:effectLst/>
              <a:uLnTx/>
              <a:uFillTx/>
              <a:ea typeface="+mn-ea"/>
              <a:cs typeface="+mn-cs"/>
            </a:endParaRPr>
          </a:p>
        </p:txBody>
      </p:sp>
      <p:sp>
        <p:nvSpPr>
          <p:cNvPr id="80" name="Rectangle 79">
            <a:extLst>
              <a:ext uri="{FF2B5EF4-FFF2-40B4-BE49-F238E27FC236}">
                <a16:creationId xmlns:a16="http://schemas.microsoft.com/office/drawing/2014/main" id="{01B56754-0D07-4783-87A5-BFDFE9B471F8}"/>
              </a:ext>
            </a:extLst>
          </p:cNvPr>
          <p:cNvSpPr/>
          <p:nvPr/>
        </p:nvSpPr>
        <p:spPr>
          <a:xfrm>
            <a:off x="6939769" y="3799455"/>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
        <p:nvSpPr>
          <p:cNvPr id="81" name="Rectangle 80">
            <a:extLst>
              <a:ext uri="{FF2B5EF4-FFF2-40B4-BE49-F238E27FC236}">
                <a16:creationId xmlns:a16="http://schemas.microsoft.com/office/drawing/2014/main" id="{7FA95750-C58D-44B5-A839-2901217088F6}"/>
              </a:ext>
            </a:extLst>
          </p:cNvPr>
          <p:cNvSpPr/>
          <p:nvPr/>
        </p:nvSpPr>
        <p:spPr>
          <a:xfrm>
            <a:off x="6939769" y="2206088"/>
            <a:ext cx="266419" cy="261610"/>
          </a:xfrm>
          <a:prstGeom prst="rect">
            <a:avLst/>
          </a:prstGeom>
        </p:spPr>
        <p:txBody>
          <a:bodyPr wrap="none">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X</a:t>
            </a:r>
          </a:p>
        </p:txBody>
      </p:sp>
    </p:spTree>
    <p:extLst>
      <p:ext uri="{BB962C8B-B14F-4D97-AF65-F5344CB8AC3E}">
        <p14:creationId xmlns:p14="http://schemas.microsoft.com/office/powerpoint/2010/main" val="2263261837"/>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1C9B36-7F0D-49F8-8935-48664F2B4C88}"/>
              </a:ext>
            </a:extLst>
          </p:cNvPr>
          <p:cNvSpPr>
            <a:spLocks noGrp="1"/>
          </p:cNvSpPr>
          <p:nvPr>
            <p:ph type="title"/>
          </p:nvPr>
        </p:nvSpPr>
        <p:spPr/>
        <p:txBody>
          <a:bodyPr/>
          <a:lstStyle/>
          <a:p>
            <a:r>
              <a:rPr lang="en-US" dirty="0"/>
              <a:t>Future State Resourcing Needs</a:t>
            </a:r>
          </a:p>
        </p:txBody>
      </p:sp>
      <p:sp>
        <p:nvSpPr>
          <p:cNvPr id="3" name="Text Placeholder 2">
            <a:extLst>
              <a:ext uri="{FF2B5EF4-FFF2-40B4-BE49-F238E27FC236}">
                <a16:creationId xmlns:a16="http://schemas.microsoft.com/office/drawing/2014/main" id="{CFCB1991-88FB-4D16-B296-19A8BC6C5010}"/>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4E277692-1530-4A68-8DCC-427E90BC22FD}"/>
              </a:ext>
            </a:extLst>
          </p:cNvPr>
          <p:cNvSpPr>
            <a:spLocks noGrp="1"/>
          </p:cNvSpPr>
          <p:nvPr>
            <p:ph type="body" sz="quarter" idx="15"/>
          </p:nvPr>
        </p:nvSpPr>
        <p:spPr/>
        <p:txBody>
          <a:bodyPr/>
          <a:lstStyle/>
          <a:p>
            <a:r>
              <a:rPr lang="en-US" dirty="0"/>
              <a:t>TABLE</a:t>
            </a:r>
          </a:p>
        </p:txBody>
      </p:sp>
      <p:graphicFrame>
        <p:nvGraphicFramePr>
          <p:cNvPr id="5" name="Table 4">
            <a:extLst>
              <a:ext uri="{FF2B5EF4-FFF2-40B4-BE49-F238E27FC236}">
                <a16:creationId xmlns:a16="http://schemas.microsoft.com/office/drawing/2014/main" id="{91487EA8-90FB-40DB-BBB7-33684A93EBF9}"/>
              </a:ext>
            </a:extLst>
          </p:cNvPr>
          <p:cNvGraphicFramePr>
            <a:graphicFrameLocks noGrp="1"/>
          </p:cNvGraphicFramePr>
          <p:nvPr>
            <p:extLst>
              <p:ext uri="{D42A27DB-BD31-4B8C-83A1-F6EECF244321}">
                <p14:modId xmlns:p14="http://schemas.microsoft.com/office/powerpoint/2010/main" val="805465077"/>
              </p:ext>
            </p:extLst>
          </p:nvPr>
        </p:nvGraphicFramePr>
        <p:xfrm>
          <a:off x="914400" y="1609695"/>
          <a:ext cx="10768020" cy="4457700"/>
        </p:xfrm>
        <a:graphic>
          <a:graphicData uri="http://schemas.openxmlformats.org/drawingml/2006/table">
            <a:tbl>
              <a:tblPr firstRow="1" bandRow="1">
                <a:tableStyleId>{6E25E649-3F16-4E02-A733-19D2CDBF48F0}</a:tableStyleId>
              </a:tblPr>
              <a:tblGrid>
                <a:gridCol w="1149536">
                  <a:extLst>
                    <a:ext uri="{9D8B030D-6E8A-4147-A177-3AD203B41FA5}">
                      <a16:colId xmlns:a16="http://schemas.microsoft.com/office/drawing/2014/main" val="4038772435"/>
                    </a:ext>
                  </a:extLst>
                </a:gridCol>
                <a:gridCol w="1096055">
                  <a:extLst>
                    <a:ext uri="{9D8B030D-6E8A-4147-A177-3AD203B41FA5}">
                      <a16:colId xmlns:a16="http://schemas.microsoft.com/office/drawing/2014/main" val="2169892510"/>
                    </a:ext>
                  </a:extLst>
                </a:gridCol>
                <a:gridCol w="1096055">
                  <a:extLst>
                    <a:ext uri="{9D8B030D-6E8A-4147-A177-3AD203B41FA5}">
                      <a16:colId xmlns:a16="http://schemas.microsoft.com/office/drawing/2014/main" val="156077974"/>
                    </a:ext>
                  </a:extLst>
                </a:gridCol>
                <a:gridCol w="1096055">
                  <a:extLst>
                    <a:ext uri="{9D8B030D-6E8A-4147-A177-3AD203B41FA5}">
                      <a16:colId xmlns:a16="http://schemas.microsoft.com/office/drawing/2014/main" val="1103377713"/>
                    </a:ext>
                  </a:extLst>
                </a:gridCol>
                <a:gridCol w="1371600">
                  <a:extLst>
                    <a:ext uri="{9D8B030D-6E8A-4147-A177-3AD203B41FA5}">
                      <a16:colId xmlns:a16="http://schemas.microsoft.com/office/drawing/2014/main" val="2684944873"/>
                    </a:ext>
                  </a:extLst>
                </a:gridCol>
                <a:gridCol w="1266886">
                  <a:extLst>
                    <a:ext uri="{9D8B030D-6E8A-4147-A177-3AD203B41FA5}">
                      <a16:colId xmlns:a16="http://schemas.microsoft.com/office/drawing/2014/main" val="20001"/>
                    </a:ext>
                  </a:extLst>
                </a:gridCol>
                <a:gridCol w="959525">
                  <a:extLst>
                    <a:ext uri="{9D8B030D-6E8A-4147-A177-3AD203B41FA5}">
                      <a16:colId xmlns:a16="http://schemas.microsoft.com/office/drawing/2014/main" val="1481678881"/>
                    </a:ext>
                  </a:extLst>
                </a:gridCol>
                <a:gridCol w="1328609">
                  <a:extLst>
                    <a:ext uri="{9D8B030D-6E8A-4147-A177-3AD203B41FA5}">
                      <a16:colId xmlns:a16="http://schemas.microsoft.com/office/drawing/2014/main" val="1204272669"/>
                    </a:ext>
                  </a:extLst>
                </a:gridCol>
                <a:gridCol w="1403699">
                  <a:extLst>
                    <a:ext uri="{9D8B030D-6E8A-4147-A177-3AD203B41FA5}">
                      <a16:colId xmlns:a16="http://schemas.microsoft.com/office/drawing/2014/main" val="1899171641"/>
                    </a:ext>
                  </a:extLst>
                </a:gridCol>
              </a:tblGrid>
              <a:tr h="328236">
                <a:tc rowSpan="2">
                  <a:txBody>
                    <a:bodyPr/>
                    <a:lstStyle/>
                    <a:p>
                      <a:pPr algn="l" fontAlgn="b"/>
                      <a:endParaRPr lang="en-US" sz="1100" b="1" i="0" u="none" strike="noStrike" dirty="0">
                        <a:solidFill>
                          <a:schemeClr val="accent6"/>
                        </a:solidFill>
                        <a:effectLst/>
                        <a:latin typeface="+mn-lt"/>
                      </a:endParaRPr>
                    </a:p>
                  </a:txBody>
                  <a:tcPr marT="91440" marB="91440" anchor="ctr">
                    <a:lnL>
                      <a:noFill/>
                    </a:lnL>
                    <a:lnR w="12700" cap="flat" cmpd="sng" algn="ctr">
                      <a:solidFill>
                        <a:schemeClr val="bg1">
                          <a:lumMod val="85000"/>
                        </a:schemeClr>
                      </a:solidFill>
                      <a:prstDash val="solid"/>
                      <a:round/>
                      <a:headEnd type="none" w="med" len="med"/>
                      <a:tailEnd type="none" w="med" len="med"/>
                    </a:lnR>
                    <a:lnT w="254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b"/>
                      <a:r>
                        <a:rPr lang="en-US" sz="1050" b="1" i="0" u="none" strike="noStrike" dirty="0">
                          <a:solidFill>
                            <a:schemeClr val="accent6"/>
                          </a:solidFill>
                          <a:effectLst/>
                          <a:latin typeface="+mn-lt"/>
                        </a:rPr>
                        <a:t>Set Trade Terms</a:t>
                      </a:r>
                    </a:p>
                  </a:txBody>
                  <a:tcPr marT="91440" marB="91440" anchor="ctr">
                    <a:lnL w="12700" cap="flat" cmpd="sng" algn="ctr">
                      <a:solidFill>
                        <a:schemeClr val="bg1">
                          <a:lumMod val="85000"/>
                        </a:schemeClr>
                      </a:solidFill>
                      <a:prstDash val="solid"/>
                      <a:round/>
                      <a:headEnd type="none" w="med" len="med"/>
                      <a:tailEnd type="none" w="med" len="med"/>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hMerge="1">
                  <a:txBody>
                    <a:bodyPr/>
                    <a:lstStyle/>
                    <a:p>
                      <a:pPr algn="ctr" fontAlgn="b"/>
                      <a:endParaRPr lang="en-US" sz="1200" b="1" i="0" u="none" strike="noStrike" dirty="0">
                        <a:solidFill>
                          <a:schemeClr val="bg1"/>
                        </a:solidFill>
                        <a:effectLst/>
                        <a:latin typeface="+mn-lt"/>
                      </a:endParaRPr>
                    </a:p>
                  </a:txBody>
                  <a:tcPr marT="91440" marB="91440" anchor="ctr">
                    <a:lnL>
                      <a:noFill/>
                    </a:lnL>
                    <a:lnR>
                      <a:noFill/>
                    </a:lnR>
                    <a:lnT w="254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5974A6"/>
                    </a:solidFill>
                  </a:tcPr>
                </a:tc>
                <a:tc gridSpan="5">
                  <a:txBody>
                    <a:bodyPr/>
                    <a:lstStyle/>
                    <a:p>
                      <a:pPr algn="ctr" fontAlgn="b"/>
                      <a:r>
                        <a:rPr lang="en-US" sz="1050" b="1" i="0" u="none" strike="noStrike" dirty="0">
                          <a:solidFill>
                            <a:schemeClr val="accent6"/>
                          </a:solidFill>
                          <a:effectLst/>
                          <a:latin typeface="+mn-lt"/>
                        </a:rPr>
                        <a:t>Execute</a:t>
                      </a:r>
                      <a:r>
                        <a:rPr lang="en-US" sz="1050" b="1" i="0" u="none" strike="noStrike" dirty="0">
                          <a:solidFill>
                            <a:schemeClr val="bg1"/>
                          </a:solidFill>
                          <a:effectLst/>
                          <a:latin typeface="+mn-lt"/>
                        </a:rPr>
                        <a:t> </a:t>
                      </a:r>
                      <a:r>
                        <a:rPr lang="en-US" sz="1050" b="1" i="0" u="none" strike="noStrike" dirty="0">
                          <a:solidFill>
                            <a:schemeClr val="accent6"/>
                          </a:solidFill>
                          <a:effectLst/>
                          <a:latin typeface="+mn-lt"/>
                        </a:rPr>
                        <a:t>Policy</a:t>
                      </a:r>
                    </a:p>
                  </a:txBody>
                  <a:tcPr marT="91440" marB="9144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hMerge="1">
                  <a:txBody>
                    <a:bodyPr/>
                    <a:lstStyle/>
                    <a:p>
                      <a:pPr algn="ctr" fontAlgn="b"/>
                      <a:endParaRPr lang="en-US" sz="1200" b="1" i="0" u="none" strike="noStrike" dirty="0">
                        <a:solidFill>
                          <a:schemeClr val="bg1"/>
                        </a:solidFill>
                        <a:effectLst/>
                        <a:latin typeface="+mn-lt"/>
                      </a:endParaRPr>
                    </a:p>
                  </a:txBody>
                  <a:tcPr marT="91440" marB="91440" anchor="ctr">
                    <a:lnL>
                      <a:noFill/>
                    </a:lnL>
                    <a:lnR>
                      <a:noFill/>
                    </a:lnR>
                    <a:lnT w="254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5974A6"/>
                    </a:solidFill>
                  </a:tcPr>
                </a:tc>
                <a:tc hMerge="1">
                  <a:txBody>
                    <a:bodyPr/>
                    <a:lstStyle/>
                    <a:p>
                      <a:pPr marL="0" marR="0" lvl="0" indent="0" algn="ctr" defTabSz="1219170" rtl="0" eaLnBrk="1" fontAlgn="b" latinLnBrk="0" hangingPunct="1">
                        <a:lnSpc>
                          <a:spcPct val="100000"/>
                        </a:lnSpc>
                        <a:spcBef>
                          <a:spcPts val="0"/>
                        </a:spcBef>
                        <a:spcAft>
                          <a:spcPts val="0"/>
                        </a:spcAft>
                        <a:buClrTx/>
                        <a:buSzTx/>
                        <a:buFontTx/>
                        <a:buNone/>
                        <a:tabLst/>
                        <a:defRPr/>
                      </a:pPr>
                      <a:endParaRPr lang="en-US" sz="1200" b="1" i="0" u="none" strike="noStrike" kern="1200" dirty="0">
                        <a:solidFill>
                          <a:schemeClr val="bg1"/>
                        </a:solidFill>
                        <a:effectLst/>
                        <a:latin typeface="+mn-lt"/>
                        <a:ea typeface="+mn-ea"/>
                        <a:cs typeface="Calibri" panose="020F0502020204030204" pitchFamily="34" charset="0"/>
                      </a:endParaRPr>
                    </a:p>
                  </a:txBody>
                  <a:tcPr marT="91440" marB="91440" anchor="ctr">
                    <a:lnL>
                      <a:noFill/>
                    </a:lnL>
                    <a:lnR>
                      <a:noFill/>
                    </a:lnR>
                    <a:lnT w="254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5974A6"/>
                    </a:solidFill>
                  </a:tcPr>
                </a:tc>
                <a:tc hMerge="1">
                  <a:txBody>
                    <a:bodyPr/>
                    <a:lstStyle/>
                    <a:p>
                      <a:pPr marL="0" marR="0" lvl="0" indent="0" algn="ctr" defTabSz="1219170" rtl="0" eaLnBrk="1" fontAlgn="b" latinLnBrk="0" hangingPunct="1">
                        <a:lnSpc>
                          <a:spcPct val="100000"/>
                        </a:lnSpc>
                        <a:spcBef>
                          <a:spcPts val="0"/>
                        </a:spcBef>
                        <a:spcAft>
                          <a:spcPts val="0"/>
                        </a:spcAft>
                        <a:buClrTx/>
                        <a:buSzTx/>
                        <a:buFontTx/>
                        <a:buNone/>
                        <a:tabLst/>
                        <a:defRPr/>
                      </a:pPr>
                      <a:endParaRPr lang="en-US" sz="1200" b="1" i="0" u="none" strike="noStrike" kern="1200" dirty="0">
                        <a:solidFill>
                          <a:schemeClr val="bg1"/>
                        </a:solidFill>
                        <a:effectLst/>
                        <a:latin typeface="+mn-lt"/>
                        <a:ea typeface="+mn-ea"/>
                        <a:cs typeface="Calibri" panose="020F0502020204030204" pitchFamily="34" charset="0"/>
                      </a:endParaRPr>
                    </a:p>
                  </a:txBody>
                  <a:tcPr marT="91440" marB="91440" anchor="ctr">
                    <a:lnL>
                      <a:noFill/>
                    </a:lnL>
                    <a:lnR>
                      <a:noFill/>
                    </a:lnR>
                    <a:lnT w="254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5974A6"/>
                    </a:solidFill>
                  </a:tcPr>
                </a:tc>
                <a:tc hMerge="1">
                  <a:txBody>
                    <a:bodyPr/>
                    <a:lstStyle/>
                    <a:p>
                      <a:pPr marL="0" marR="0" lvl="0" indent="0" algn="ctr" defTabSz="1219170" rtl="0" eaLnBrk="1" fontAlgn="b" latinLnBrk="0" hangingPunct="1">
                        <a:lnSpc>
                          <a:spcPct val="100000"/>
                        </a:lnSpc>
                        <a:spcBef>
                          <a:spcPts val="0"/>
                        </a:spcBef>
                        <a:spcAft>
                          <a:spcPts val="0"/>
                        </a:spcAft>
                        <a:buClrTx/>
                        <a:buSzTx/>
                        <a:buFontTx/>
                        <a:buNone/>
                        <a:tabLst/>
                        <a:defRPr/>
                      </a:pPr>
                      <a:endParaRPr lang="en-US" sz="1200" b="1" i="0" u="none" strike="noStrike" kern="1200" dirty="0">
                        <a:solidFill>
                          <a:schemeClr val="bg1"/>
                        </a:solidFill>
                        <a:effectLst/>
                        <a:latin typeface="+mn-lt"/>
                        <a:ea typeface="+mn-ea"/>
                        <a:cs typeface="Calibri" panose="020F0502020204030204" pitchFamily="34" charset="0"/>
                      </a:endParaRPr>
                    </a:p>
                  </a:txBody>
                  <a:tcPr marT="91440" marB="91440" anchor="ctr">
                    <a:lnL>
                      <a:noFill/>
                    </a:lnL>
                    <a:lnR>
                      <a:noFill/>
                    </a:lnR>
                    <a:lnT w="254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5974A6"/>
                    </a:solidFill>
                  </a:tcPr>
                </a:tc>
                <a:tc>
                  <a:txBody>
                    <a:bodyPr/>
                    <a:lstStyle/>
                    <a:p>
                      <a:pPr marL="0" marR="0" lvl="0" indent="0" algn="ctr" defTabSz="1219170" rtl="0" eaLnBrk="1" fontAlgn="b" latinLnBrk="0" hangingPunct="1">
                        <a:lnSpc>
                          <a:spcPct val="100000"/>
                        </a:lnSpc>
                        <a:spcBef>
                          <a:spcPts val="0"/>
                        </a:spcBef>
                        <a:spcAft>
                          <a:spcPts val="0"/>
                        </a:spcAft>
                        <a:buClrTx/>
                        <a:buSzTx/>
                        <a:buFontTx/>
                        <a:buNone/>
                        <a:tabLst/>
                        <a:defRPr/>
                      </a:pPr>
                      <a:r>
                        <a:rPr lang="en-US" sz="1050" b="1" i="0" u="none" strike="noStrike" kern="1200" dirty="0">
                          <a:solidFill>
                            <a:schemeClr val="accent6"/>
                          </a:solidFill>
                          <a:effectLst/>
                          <a:latin typeface="+mn-lt"/>
                          <a:ea typeface="+mn-ea"/>
                          <a:cs typeface="Calibri" panose="020F0502020204030204" pitchFamily="34" charset="0"/>
                        </a:rPr>
                        <a:t>Measure Results</a:t>
                      </a:r>
                    </a:p>
                  </a:txBody>
                  <a:tcPr marT="91440" marB="91440" anchor="ctr">
                    <a:lnL>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583431147"/>
                  </a:ext>
                </a:extLst>
              </a:tr>
              <a:tr h="634590">
                <a:tc vMerge="1">
                  <a:txBody>
                    <a:bodyPr/>
                    <a:lstStyle/>
                    <a:p>
                      <a:pPr algn="l" fontAlgn="b"/>
                      <a:endParaRPr lang="en-US" sz="1100" b="1" i="0" u="none" strike="noStrike" dirty="0">
                        <a:solidFill>
                          <a:schemeClr val="tx1"/>
                        </a:solidFill>
                        <a:effectLst/>
                        <a:latin typeface="+mn-lt"/>
                      </a:endParaRPr>
                    </a:p>
                  </a:txBody>
                  <a:tcPr marT="91440" marB="9144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5974A6"/>
                    </a:solidFill>
                  </a:tcPr>
                </a:tc>
                <a:tc>
                  <a:txBody>
                    <a:bodyPr/>
                    <a:lstStyle/>
                    <a:p>
                      <a:pPr algn="ctr" fontAlgn="b"/>
                      <a:r>
                        <a:rPr lang="en-US" sz="1050" b="1" i="0" u="none" strike="noStrike" dirty="0">
                          <a:solidFill>
                            <a:schemeClr val="tx1"/>
                          </a:solidFill>
                          <a:effectLst/>
                          <a:latin typeface="+mn-lt"/>
                        </a:rPr>
                        <a:t>Refresh Trade Policy Scope</a:t>
                      </a:r>
                    </a:p>
                  </a:txBody>
                  <a:tcPr marT="91440" marB="9144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050" b="1" i="0" u="none" strike="noStrike" dirty="0">
                          <a:solidFill>
                            <a:schemeClr val="tx1"/>
                          </a:solidFill>
                          <a:effectLst/>
                          <a:latin typeface="+mn-lt"/>
                        </a:rPr>
                        <a:t>Set Trade Terms Policy </a:t>
                      </a:r>
                    </a:p>
                  </a:txBody>
                  <a:tcPr marT="91440" marB="9144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050" b="1" i="0" u="none" strike="noStrike" dirty="0">
                          <a:solidFill>
                            <a:schemeClr val="tx1"/>
                          </a:solidFill>
                          <a:effectLst/>
                          <a:latin typeface="+mn-lt"/>
                        </a:rPr>
                        <a:t>Generate Customer Trade Terms</a:t>
                      </a:r>
                    </a:p>
                  </a:txBody>
                  <a:tcPr marT="91440" marB="9144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050" b="1" i="0" u="none" strike="noStrike" dirty="0">
                          <a:solidFill>
                            <a:schemeClr val="tx1"/>
                          </a:solidFill>
                          <a:effectLst/>
                          <a:latin typeface="+mn-lt"/>
                        </a:rPr>
                        <a:t>Plan and Execute Accommodations</a:t>
                      </a:r>
                    </a:p>
                  </a:txBody>
                  <a:tcPr marT="91440" marB="9144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1219170" rtl="0" eaLnBrk="1" fontAlgn="b" latinLnBrk="0" hangingPunct="1">
                        <a:lnSpc>
                          <a:spcPct val="100000"/>
                        </a:lnSpc>
                        <a:spcBef>
                          <a:spcPts val="0"/>
                        </a:spcBef>
                        <a:spcAft>
                          <a:spcPts val="0"/>
                        </a:spcAft>
                        <a:buClrTx/>
                        <a:buSzTx/>
                        <a:buFontTx/>
                        <a:buNone/>
                        <a:tabLst/>
                        <a:defRPr/>
                      </a:pPr>
                      <a:r>
                        <a:rPr lang="en-US" sz="1050" b="1" i="0" u="none" strike="noStrike" kern="1200" dirty="0">
                          <a:solidFill>
                            <a:schemeClr val="tx1"/>
                          </a:solidFill>
                          <a:effectLst/>
                          <a:latin typeface="+mn-lt"/>
                          <a:ea typeface="+mn-ea"/>
                          <a:cs typeface="Calibri" panose="020F0502020204030204" pitchFamily="34" charset="0"/>
                        </a:rPr>
                        <a:t>Manage Policy Overrides </a:t>
                      </a:r>
                    </a:p>
                  </a:txBody>
                  <a:tcPr marT="91440" marB="9144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1219170" rtl="0" eaLnBrk="1" fontAlgn="b" latinLnBrk="0" hangingPunct="1">
                        <a:lnSpc>
                          <a:spcPct val="100000"/>
                        </a:lnSpc>
                        <a:spcBef>
                          <a:spcPts val="0"/>
                        </a:spcBef>
                        <a:spcAft>
                          <a:spcPts val="0"/>
                        </a:spcAft>
                        <a:buClrTx/>
                        <a:buSzTx/>
                        <a:buFontTx/>
                        <a:buNone/>
                        <a:tabLst/>
                        <a:defRPr/>
                      </a:pPr>
                      <a:r>
                        <a:rPr lang="en-US" sz="1050" b="1" i="0" u="none" strike="noStrike" kern="1200" dirty="0">
                          <a:solidFill>
                            <a:schemeClr val="tx1"/>
                          </a:solidFill>
                          <a:effectLst/>
                          <a:latin typeface="+mn-lt"/>
                          <a:ea typeface="+mn-ea"/>
                          <a:cs typeface="Calibri" panose="020F0502020204030204" pitchFamily="34" charset="0"/>
                        </a:rPr>
                        <a:t>Plan Trade Spend</a:t>
                      </a:r>
                    </a:p>
                  </a:txBody>
                  <a:tcPr marT="91440" marB="9144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1219170" rtl="0" eaLnBrk="1" fontAlgn="b" latinLnBrk="0" hangingPunct="1">
                        <a:lnSpc>
                          <a:spcPct val="100000"/>
                        </a:lnSpc>
                        <a:spcBef>
                          <a:spcPts val="0"/>
                        </a:spcBef>
                        <a:spcAft>
                          <a:spcPts val="0"/>
                        </a:spcAft>
                        <a:buClrTx/>
                        <a:buSzTx/>
                        <a:buFontTx/>
                        <a:buNone/>
                        <a:tabLst/>
                        <a:defRPr/>
                      </a:pPr>
                      <a:r>
                        <a:rPr lang="en-US" sz="1050" b="1" i="0" u="none" strike="noStrike" kern="1200" dirty="0">
                          <a:solidFill>
                            <a:schemeClr val="tx1"/>
                          </a:solidFill>
                          <a:effectLst/>
                          <a:latin typeface="+mn-lt"/>
                          <a:ea typeface="+mn-ea"/>
                          <a:cs typeface="Calibri" panose="020F0502020204030204" pitchFamily="34" charset="0"/>
                        </a:rPr>
                        <a:t>Execute Marketing Drive Funds</a:t>
                      </a:r>
                    </a:p>
                  </a:txBody>
                  <a:tcPr marT="91440" marB="9144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1219170" rtl="0" eaLnBrk="1" fontAlgn="b" latinLnBrk="0" hangingPunct="1">
                        <a:lnSpc>
                          <a:spcPct val="100000"/>
                        </a:lnSpc>
                        <a:spcBef>
                          <a:spcPts val="0"/>
                        </a:spcBef>
                        <a:spcAft>
                          <a:spcPts val="0"/>
                        </a:spcAft>
                        <a:buClrTx/>
                        <a:buSzTx/>
                        <a:buFontTx/>
                        <a:buNone/>
                        <a:tabLst/>
                        <a:defRPr/>
                      </a:pPr>
                      <a:r>
                        <a:rPr lang="en-US" sz="1050" b="1" i="0" u="none" strike="noStrike" kern="1200" dirty="0">
                          <a:solidFill>
                            <a:schemeClr val="tx1"/>
                          </a:solidFill>
                          <a:effectLst/>
                          <a:latin typeface="+mn-lt"/>
                          <a:ea typeface="+mn-ea"/>
                          <a:cs typeface="Calibri" panose="020F0502020204030204" pitchFamily="34" charset="0"/>
                        </a:rPr>
                        <a:t>Measure Compliance with Trade Terms</a:t>
                      </a:r>
                    </a:p>
                  </a:txBody>
                  <a:tcPr marT="91440" marB="9144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0"/>
                  </a:ext>
                </a:extLst>
              </a:tr>
              <a:tr h="342767">
                <a:tc>
                  <a:txBody>
                    <a:bodyPr/>
                    <a:lstStyle/>
                    <a:p>
                      <a:pPr marL="182880" algn="l" fontAlgn="b"/>
                      <a:r>
                        <a:rPr lang="en-US" sz="1050" b="1" i="0" u="none" strike="noStrike" dirty="0">
                          <a:solidFill>
                            <a:srgbClr val="000000"/>
                          </a:solidFill>
                          <a:effectLst/>
                          <a:latin typeface="+mn-lt"/>
                        </a:rPr>
                        <a:t>Marketing</a:t>
                      </a:r>
                    </a:p>
                  </a:txBody>
                  <a:tcPr marL="0" marR="0" marT="91440" marB="9144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219170" rtl="0" eaLnBrk="1" fontAlgn="b" latinLnBrk="0" hangingPunct="1"/>
                      <a:endParaRPr lang="en-US" sz="1800" b="1" i="0" u="none" strike="noStrike" kern="1200" dirty="0">
                        <a:solidFill>
                          <a:srgbClr val="000000"/>
                        </a:solidFill>
                        <a:effectLst/>
                        <a:latin typeface="+mn-lt"/>
                        <a:ea typeface="+mn-ea"/>
                        <a:cs typeface="+mn-cs"/>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219170" rtl="0" eaLnBrk="1" fontAlgn="b" latinLnBrk="0" hangingPunct="1"/>
                      <a:endParaRPr lang="en-US" sz="1800" b="1" i="0" u="none" strike="noStrike" kern="1200" dirty="0">
                        <a:solidFill>
                          <a:srgbClr val="000000"/>
                        </a:solidFill>
                        <a:effectLst/>
                        <a:latin typeface="+mn-lt"/>
                        <a:ea typeface="+mn-ea"/>
                        <a:cs typeface="+mn-cs"/>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219170" rtl="0" eaLnBrk="1" fontAlgn="b" latinLnBrk="0" hangingPunct="1"/>
                      <a:r>
                        <a:rPr lang="en-US" sz="1800" b="1" i="0" u="none" strike="noStrike" kern="1200" dirty="0">
                          <a:solidFill>
                            <a:srgbClr val="C00000"/>
                          </a:solidFill>
                          <a:effectLst/>
                          <a:latin typeface="+mn-lt"/>
                          <a:ea typeface="+mn-ea"/>
                          <a:cs typeface="+mn-cs"/>
                        </a:rPr>
                        <a:t>++</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219170" rtl="0" eaLnBrk="1" fontAlgn="b" latinLnBrk="0" hangingPunct="1"/>
                      <a:endParaRPr lang="en-US" sz="1800" b="1" i="0" u="none" strike="noStrike" kern="1200" dirty="0">
                        <a:solidFill>
                          <a:srgbClr val="000000"/>
                        </a:solidFill>
                        <a:effectLst/>
                        <a:latin typeface="+mn-lt"/>
                        <a:ea typeface="+mn-ea"/>
                        <a:cs typeface="+mn-cs"/>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0630655"/>
                  </a:ext>
                </a:extLst>
              </a:tr>
              <a:tr h="342767">
                <a:tc>
                  <a:txBody>
                    <a:bodyPr/>
                    <a:lstStyle/>
                    <a:p>
                      <a:pPr marL="182880" algn="l" fontAlgn="b"/>
                      <a:r>
                        <a:rPr lang="en-US" sz="1050" b="1" i="0" u="none" strike="noStrike" dirty="0">
                          <a:solidFill>
                            <a:srgbClr val="000000"/>
                          </a:solidFill>
                          <a:effectLst/>
                          <a:latin typeface="+mn-lt"/>
                        </a:rPr>
                        <a:t>Strategy </a:t>
                      </a:r>
                    </a:p>
                  </a:txBody>
                  <a:tcPr marL="0" marR="0" marT="91440" marB="9144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219170" rtl="0" eaLnBrk="1" fontAlgn="b" latinLnBrk="0" hangingPunct="1"/>
                      <a:endParaRPr lang="en-US" sz="1800" b="1" i="0" u="none" strike="noStrike" kern="1200" dirty="0">
                        <a:solidFill>
                          <a:srgbClr val="000000"/>
                        </a:solidFill>
                        <a:effectLst/>
                        <a:latin typeface="+mn-lt"/>
                        <a:ea typeface="+mn-ea"/>
                        <a:cs typeface="+mn-cs"/>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219170" rtl="0" eaLnBrk="1" fontAlgn="b" latinLnBrk="0" hangingPunct="1"/>
                      <a:endParaRPr lang="en-US" sz="1800" b="1" i="0" u="none" strike="noStrike" kern="1200" dirty="0">
                        <a:solidFill>
                          <a:srgbClr val="000000"/>
                        </a:solidFill>
                        <a:effectLst/>
                        <a:latin typeface="+mn-lt"/>
                        <a:ea typeface="+mn-ea"/>
                        <a:cs typeface="+mn-cs"/>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219170" rtl="0" eaLnBrk="1" fontAlgn="b" latinLnBrk="0" hangingPunct="1"/>
                      <a:endParaRPr lang="en-US" sz="1800" b="1" i="0" u="none" strike="noStrike" kern="1200" dirty="0">
                        <a:solidFill>
                          <a:srgbClr val="000000"/>
                        </a:solidFill>
                        <a:effectLst/>
                        <a:latin typeface="+mn-lt"/>
                        <a:ea typeface="+mn-ea"/>
                        <a:cs typeface="+mn-cs"/>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219170" rtl="0" eaLnBrk="1" fontAlgn="b" latinLnBrk="0" hangingPunct="1"/>
                      <a:endParaRPr lang="en-US" sz="1800" b="1" i="0" u="none" strike="noStrike" kern="1200" dirty="0">
                        <a:solidFill>
                          <a:srgbClr val="000000"/>
                        </a:solidFill>
                        <a:effectLst/>
                        <a:latin typeface="+mn-lt"/>
                        <a:ea typeface="+mn-ea"/>
                        <a:cs typeface="+mn-cs"/>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8181596"/>
                  </a:ext>
                </a:extLst>
              </a:tr>
              <a:tr h="342767">
                <a:tc>
                  <a:txBody>
                    <a:bodyPr/>
                    <a:lstStyle/>
                    <a:p>
                      <a:pPr marL="182880" algn="l" fontAlgn="b"/>
                      <a:r>
                        <a:rPr lang="en-US" sz="1050" b="1" i="0" u="none" strike="noStrike" dirty="0">
                          <a:solidFill>
                            <a:srgbClr val="000000"/>
                          </a:solidFill>
                          <a:effectLst/>
                          <a:latin typeface="+mn-lt"/>
                        </a:rPr>
                        <a:t>Sales</a:t>
                      </a:r>
                    </a:p>
                  </a:txBody>
                  <a:tcPr marL="0" marR="0" marT="91440" marB="9144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r>
                        <a:rPr lang="en-US" sz="1800" b="1" i="0" u="none" strike="noStrike" dirty="0">
                          <a:solidFill>
                            <a:srgbClr val="C00000"/>
                          </a:solidFill>
                          <a:effectLst/>
                          <a:latin typeface="+mn-lt"/>
                        </a:rPr>
                        <a:t>+</a:t>
                      </a:r>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r>
                        <a:rPr lang="en-US" sz="1800" b="1" i="0" u="none" strike="noStrike" dirty="0">
                          <a:solidFill>
                            <a:srgbClr val="C00000"/>
                          </a:solidFill>
                          <a:effectLst/>
                          <a:latin typeface="+mn-lt"/>
                        </a:rPr>
                        <a:t>+</a:t>
                      </a:r>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800" b="1" i="1" u="none" strike="noStrike" dirty="0">
                        <a:solidFill>
                          <a:srgbClr val="000000"/>
                        </a:solidFill>
                        <a:effectLst/>
                        <a:latin typeface="+mn-lt"/>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800" b="1" i="1" u="none" strike="noStrike" dirty="0">
                        <a:solidFill>
                          <a:srgbClr val="000000"/>
                        </a:solidFill>
                        <a:effectLst/>
                        <a:latin typeface="+mn-lt"/>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i="1" u="none" strike="noStrike" dirty="0">
                          <a:solidFill>
                            <a:srgbClr val="C00000"/>
                          </a:solidFill>
                          <a:effectLst/>
                          <a:latin typeface="+mn-lt"/>
                        </a:rPr>
                        <a:t>+</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800" b="1" i="1" u="none" strike="noStrike" dirty="0">
                        <a:solidFill>
                          <a:srgbClr val="000000"/>
                        </a:solidFill>
                        <a:effectLst/>
                        <a:latin typeface="+mn-lt"/>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42767">
                <a:tc>
                  <a:txBody>
                    <a:bodyPr/>
                    <a:lstStyle/>
                    <a:p>
                      <a:pPr marL="182880" algn="l" fontAlgn="b"/>
                      <a:r>
                        <a:rPr lang="en-US" sz="1050" b="1" i="0" u="none" strike="noStrike" dirty="0">
                          <a:solidFill>
                            <a:srgbClr val="000000"/>
                          </a:solidFill>
                          <a:effectLst/>
                          <a:latin typeface="+mn-lt"/>
                        </a:rPr>
                        <a:t>Planning</a:t>
                      </a:r>
                    </a:p>
                  </a:txBody>
                  <a:tcPr marL="0" marR="0" marT="91440" marB="9144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r>
                        <a:rPr lang="en-US" sz="1800" b="1" i="0" u="none" strike="noStrike" dirty="0">
                          <a:solidFill>
                            <a:srgbClr val="C00000"/>
                          </a:solidFill>
                          <a:effectLst/>
                          <a:latin typeface="+mn-lt"/>
                        </a:rPr>
                        <a:t>++</a:t>
                      </a: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r>
                        <a:rPr lang="en-US" sz="1800" b="1" i="0" u="none" strike="noStrike" dirty="0">
                          <a:solidFill>
                            <a:srgbClr val="C00000"/>
                          </a:solidFill>
                          <a:effectLst/>
                          <a:latin typeface="+mn-lt"/>
                        </a:rPr>
                        <a:t>+++</a:t>
                      </a: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r>
                        <a:rPr lang="en-US" sz="1800" b="1" i="0" u="none" strike="noStrike" dirty="0">
                          <a:solidFill>
                            <a:srgbClr val="C00000"/>
                          </a:solidFill>
                          <a:effectLst/>
                          <a:latin typeface="+mn-lt"/>
                        </a:rPr>
                        <a:t>+</a:t>
                      </a: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800" b="1" i="1" u="none" strike="noStrike" dirty="0">
                        <a:solidFill>
                          <a:srgbClr val="000000"/>
                        </a:solidFill>
                        <a:effectLst/>
                        <a:latin typeface="+mn-lt"/>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i="1" u="none" strike="noStrike" dirty="0">
                          <a:solidFill>
                            <a:srgbClr val="C00000"/>
                          </a:solidFill>
                          <a:effectLst/>
                          <a:latin typeface="+mn-lt"/>
                        </a:rPr>
                        <a:t>+++</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800" b="1" i="1" u="none" strike="noStrike" dirty="0">
                        <a:solidFill>
                          <a:srgbClr val="000000"/>
                        </a:solidFill>
                        <a:effectLst/>
                        <a:latin typeface="+mn-lt"/>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i="1" u="none" strike="noStrike" dirty="0">
                          <a:solidFill>
                            <a:srgbClr val="C00000"/>
                          </a:solidFill>
                          <a:effectLst/>
                          <a:latin typeface="+mn-lt"/>
                        </a:rPr>
                        <a:t>+++</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53926989"/>
                  </a:ext>
                </a:extLst>
              </a:tr>
              <a:tr h="342767">
                <a:tc>
                  <a:txBody>
                    <a:bodyPr/>
                    <a:lstStyle/>
                    <a:p>
                      <a:pPr marL="182880" algn="l" fontAlgn="b"/>
                      <a:r>
                        <a:rPr lang="en-US" sz="1050" b="1" i="0" u="none" strike="noStrike" dirty="0">
                          <a:solidFill>
                            <a:srgbClr val="000000"/>
                          </a:solidFill>
                          <a:effectLst/>
                          <a:latin typeface="+mn-lt"/>
                        </a:rPr>
                        <a:t>Finance</a:t>
                      </a:r>
                    </a:p>
                  </a:txBody>
                  <a:tcPr marL="0" marR="0" marT="91440" marB="9144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r>
                        <a:rPr lang="en-US" sz="1800" b="1" i="0" u="none" strike="noStrike" dirty="0">
                          <a:solidFill>
                            <a:srgbClr val="C00000"/>
                          </a:solidFill>
                          <a:effectLst/>
                          <a:latin typeface="+mn-lt"/>
                        </a:rPr>
                        <a:t>++</a:t>
                      </a: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800" b="1" i="1" u="none" strike="noStrike" dirty="0">
                        <a:solidFill>
                          <a:srgbClr val="000000"/>
                        </a:solidFill>
                        <a:effectLst/>
                        <a:latin typeface="+mn-lt"/>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i="1" u="none" strike="noStrike" dirty="0">
                          <a:solidFill>
                            <a:srgbClr val="C00000"/>
                          </a:solidFill>
                          <a:effectLst/>
                          <a:latin typeface="+mn-lt"/>
                        </a:rPr>
                        <a:t>++</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i="1" u="none" strike="noStrike" dirty="0">
                          <a:solidFill>
                            <a:srgbClr val="C00000"/>
                          </a:solidFill>
                          <a:effectLst/>
                          <a:latin typeface="+mn-lt"/>
                        </a:rPr>
                        <a:t>+</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800" b="1" i="1" u="none" strike="noStrike" dirty="0">
                          <a:solidFill>
                            <a:srgbClr val="C00000"/>
                          </a:solidFill>
                          <a:effectLst/>
                          <a:latin typeface="+mn-lt"/>
                        </a:rPr>
                        <a:t>+</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4697902"/>
                  </a:ext>
                </a:extLst>
              </a:tr>
              <a:tr h="342767">
                <a:tc>
                  <a:txBody>
                    <a:bodyPr/>
                    <a:lstStyle/>
                    <a:p>
                      <a:pPr marL="182880" algn="l" fontAlgn="b"/>
                      <a:r>
                        <a:rPr lang="en-US" sz="1050" b="1" i="0" u="none" strike="noStrike" dirty="0">
                          <a:solidFill>
                            <a:srgbClr val="000000"/>
                          </a:solidFill>
                          <a:effectLst/>
                          <a:latin typeface="+mn-lt"/>
                        </a:rPr>
                        <a:t>Controlling</a:t>
                      </a:r>
                    </a:p>
                  </a:txBody>
                  <a:tcPr marL="0" marR="0" marT="91440" marB="9144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800" b="1" i="1" u="none" strike="noStrike" dirty="0">
                        <a:solidFill>
                          <a:srgbClr val="000000"/>
                        </a:solidFill>
                        <a:effectLst/>
                        <a:latin typeface="+mn-lt"/>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800" b="1" i="1" u="none" strike="noStrike" dirty="0">
                        <a:solidFill>
                          <a:srgbClr val="000000"/>
                        </a:solidFill>
                        <a:effectLst/>
                        <a:latin typeface="+mn-lt"/>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800" b="1" i="1" u="none" strike="noStrike" dirty="0">
                        <a:solidFill>
                          <a:srgbClr val="000000"/>
                        </a:solidFill>
                        <a:effectLst/>
                        <a:latin typeface="+mn-lt"/>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800" b="1" i="1" u="none" strike="noStrike" dirty="0">
                        <a:solidFill>
                          <a:srgbClr val="000000"/>
                        </a:solidFill>
                        <a:effectLst/>
                        <a:latin typeface="+mn-lt"/>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0394492"/>
                  </a:ext>
                </a:extLst>
              </a:tr>
              <a:tr h="350119">
                <a:tc>
                  <a:txBody>
                    <a:bodyPr/>
                    <a:lstStyle/>
                    <a:p>
                      <a:pPr marL="182880" algn="l" fontAlgn="b"/>
                      <a:r>
                        <a:rPr lang="en-US" sz="1050" b="1" i="0" u="none" strike="noStrike" dirty="0">
                          <a:solidFill>
                            <a:srgbClr val="000000"/>
                          </a:solidFill>
                          <a:effectLst/>
                          <a:latin typeface="+mn-lt"/>
                        </a:rPr>
                        <a:t>Account Ops</a:t>
                      </a:r>
                    </a:p>
                  </a:txBody>
                  <a:tcPr marL="0" marR="0" marT="91440" marB="9144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r>
                        <a:rPr lang="en-US" sz="1800" b="1" i="0" u="none" strike="noStrike" dirty="0">
                          <a:solidFill>
                            <a:srgbClr val="C00000"/>
                          </a:solidFill>
                          <a:effectLst/>
                          <a:latin typeface="+mn-lt"/>
                        </a:rPr>
                        <a:t>+</a:t>
                      </a: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endParaRPr lang="en-US" sz="24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2400" b="1" i="0" u="none" strike="noStrike" dirty="0">
                        <a:solidFill>
                          <a:srgbClr val="00B050"/>
                        </a:solidFill>
                        <a:effectLst/>
                        <a:latin typeface="+mn-lt"/>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800" b="1" i="1" u="none" strike="noStrike" dirty="0">
                        <a:solidFill>
                          <a:srgbClr val="000000"/>
                        </a:solidFill>
                        <a:effectLst/>
                        <a:latin typeface="+mn-lt"/>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800" b="1" i="1" u="none" strike="noStrike" dirty="0">
                        <a:solidFill>
                          <a:srgbClr val="000000"/>
                        </a:solidFill>
                        <a:effectLst/>
                        <a:latin typeface="+mn-lt"/>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800" b="1" i="1" u="none" strike="noStrike" dirty="0">
                        <a:solidFill>
                          <a:srgbClr val="000000"/>
                        </a:solidFill>
                        <a:effectLst/>
                        <a:latin typeface="+mn-lt"/>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2898975"/>
                  </a:ext>
                </a:extLst>
              </a:tr>
              <a:tr h="342767">
                <a:tc>
                  <a:txBody>
                    <a:bodyPr/>
                    <a:lstStyle/>
                    <a:p>
                      <a:pPr marL="182880" algn="l" fontAlgn="b"/>
                      <a:r>
                        <a:rPr lang="en-US" sz="1050" b="1" i="0" u="none" strike="noStrike" dirty="0">
                          <a:solidFill>
                            <a:srgbClr val="000000"/>
                          </a:solidFill>
                          <a:effectLst/>
                          <a:latin typeface="+mn-lt"/>
                        </a:rPr>
                        <a:t>Legal / Risk</a:t>
                      </a:r>
                    </a:p>
                  </a:txBody>
                  <a:tcPr marL="0" marR="0" marT="91440" marB="9144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800" b="1" i="1" u="none" strike="noStrike" dirty="0">
                        <a:solidFill>
                          <a:srgbClr val="000000"/>
                        </a:solidFill>
                        <a:effectLst/>
                        <a:latin typeface="+mn-lt"/>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800" b="1" i="1" u="none" strike="noStrike" dirty="0">
                        <a:solidFill>
                          <a:srgbClr val="000000"/>
                        </a:solidFill>
                        <a:effectLst/>
                        <a:latin typeface="+mn-lt"/>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800" b="1" i="1" u="none" strike="noStrike" dirty="0">
                        <a:solidFill>
                          <a:srgbClr val="000000"/>
                        </a:solidFill>
                        <a:effectLst/>
                        <a:latin typeface="+mn-lt"/>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800" b="1" i="1" u="none" strike="noStrike" dirty="0">
                        <a:solidFill>
                          <a:srgbClr val="000000"/>
                        </a:solidFill>
                        <a:effectLst/>
                        <a:latin typeface="+mn-lt"/>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03840466"/>
                  </a:ext>
                </a:extLst>
              </a:tr>
              <a:tr h="342767">
                <a:tc>
                  <a:txBody>
                    <a:bodyPr/>
                    <a:lstStyle/>
                    <a:p>
                      <a:pPr marL="182880" algn="l" fontAlgn="b"/>
                      <a:r>
                        <a:rPr lang="en-US" sz="1050" b="1" i="0" u="none" strike="noStrike" dirty="0">
                          <a:solidFill>
                            <a:srgbClr val="000000"/>
                          </a:solidFill>
                          <a:effectLst/>
                          <a:latin typeface="+mn-lt"/>
                        </a:rPr>
                        <a:t>Merch</a:t>
                      </a:r>
                    </a:p>
                  </a:txBody>
                  <a:tcPr marL="0" marR="0" marT="91440" marB="9144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r>
                        <a:rPr lang="en-US" sz="1800" b="1" i="0" u="none" strike="noStrike" dirty="0">
                          <a:solidFill>
                            <a:srgbClr val="C00000"/>
                          </a:solidFill>
                          <a:effectLst/>
                          <a:latin typeface="+mn-lt"/>
                        </a:rPr>
                        <a:t>++</a:t>
                      </a: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800" b="1" i="1" u="none" strike="noStrike" dirty="0">
                        <a:solidFill>
                          <a:srgbClr val="000000"/>
                        </a:solidFill>
                        <a:effectLst/>
                        <a:latin typeface="+mn-lt"/>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800" b="1" i="1" u="none" strike="noStrike" dirty="0">
                        <a:solidFill>
                          <a:srgbClr val="000000"/>
                        </a:solidFill>
                        <a:effectLst/>
                        <a:latin typeface="+mn-lt"/>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800" b="1" i="1" u="none" strike="noStrike" dirty="0">
                        <a:solidFill>
                          <a:srgbClr val="000000"/>
                        </a:solidFill>
                        <a:effectLst/>
                        <a:latin typeface="+mn-lt"/>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800" b="1" i="1" u="none" strike="noStrike" dirty="0">
                        <a:solidFill>
                          <a:srgbClr val="000000"/>
                        </a:solidFill>
                        <a:effectLst/>
                        <a:latin typeface="+mn-lt"/>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5329625"/>
                  </a:ext>
                </a:extLst>
              </a:tr>
              <a:tr h="342767">
                <a:tc>
                  <a:txBody>
                    <a:bodyPr/>
                    <a:lstStyle/>
                    <a:p>
                      <a:pPr marL="182880" algn="l" fontAlgn="b"/>
                      <a:r>
                        <a:rPr lang="en-US" sz="1050" b="1" i="0" u="none" strike="noStrike" dirty="0">
                          <a:solidFill>
                            <a:srgbClr val="000000"/>
                          </a:solidFill>
                          <a:effectLst/>
                          <a:latin typeface="+mn-lt"/>
                        </a:rPr>
                        <a:t>Technology</a:t>
                      </a:r>
                    </a:p>
                  </a:txBody>
                  <a:tcPr marL="0" marR="0" marT="91440" marB="9144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endParaRPr lang="en-US" sz="1800" b="1" i="0" u="none" strike="noStrike" dirty="0">
                        <a:solidFill>
                          <a:srgbClr val="000000"/>
                        </a:solidFill>
                        <a:effectLst/>
                        <a:latin typeface="+mn-lt"/>
                      </a:endParaRPr>
                    </a:p>
                  </a:txBody>
                  <a:tcPr marL="0" marR="0" marT="0" marB="0" anchor="ctr" anchorCtr="1">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800" b="1" i="1" u="none" strike="noStrike" dirty="0">
                        <a:solidFill>
                          <a:srgbClr val="000000"/>
                        </a:solidFill>
                        <a:effectLst/>
                        <a:latin typeface="+mn-lt"/>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800" b="1" i="1" u="none" strike="noStrike" dirty="0">
                        <a:solidFill>
                          <a:srgbClr val="000000"/>
                        </a:solidFill>
                        <a:effectLst/>
                        <a:latin typeface="+mn-lt"/>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800" b="1" i="1" u="none" strike="noStrike" dirty="0">
                        <a:solidFill>
                          <a:srgbClr val="000000"/>
                        </a:solidFill>
                        <a:effectLst/>
                        <a:latin typeface="+mn-lt"/>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1" i="1" u="none" strike="noStrike" dirty="0">
                          <a:solidFill>
                            <a:srgbClr val="C00000"/>
                          </a:solidFill>
                          <a:effectLst/>
                          <a:latin typeface="+mn-lt"/>
                        </a:rPr>
                        <a:t>++</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1500680"/>
                  </a:ext>
                </a:extLst>
              </a:tr>
            </a:tbl>
          </a:graphicData>
        </a:graphic>
      </p:graphicFrame>
      <p:sp>
        <p:nvSpPr>
          <p:cNvPr id="6" name="Rectangle 5">
            <a:extLst>
              <a:ext uri="{FF2B5EF4-FFF2-40B4-BE49-F238E27FC236}">
                <a16:creationId xmlns:a16="http://schemas.microsoft.com/office/drawing/2014/main" id="{23AC4C23-A51E-4209-AC32-7AC263B0546F}"/>
              </a:ext>
            </a:extLst>
          </p:cNvPr>
          <p:cNvSpPr/>
          <p:nvPr/>
        </p:nvSpPr>
        <p:spPr>
          <a:xfrm>
            <a:off x="2385699" y="5022712"/>
            <a:ext cx="1535802" cy="984830"/>
          </a:xfrm>
          <a:prstGeom prst="rect">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Planning sees the most increase in workload and may need 1-2 additional resources</a:t>
            </a:r>
          </a:p>
        </p:txBody>
      </p:sp>
      <p:cxnSp>
        <p:nvCxnSpPr>
          <p:cNvPr id="7" name="Straight Connector 6">
            <a:extLst>
              <a:ext uri="{FF2B5EF4-FFF2-40B4-BE49-F238E27FC236}">
                <a16:creationId xmlns:a16="http://schemas.microsoft.com/office/drawing/2014/main" id="{13A76102-21D0-4CF7-82CF-7CB4441616F8}"/>
              </a:ext>
            </a:extLst>
          </p:cNvPr>
          <p:cNvCxnSpPr>
            <a:cxnSpLocks/>
            <a:stCxn id="6" idx="0"/>
          </p:cNvCxnSpPr>
          <p:nvPr/>
        </p:nvCxnSpPr>
        <p:spPr>
          <a:xfrm flipV="1">
            <a:off x="3153600" y="4006671"/>
            <a:ext cx="0" cy="1016041"/>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57F0FC1E-BB29-447C-9F75-63E27C7FD14A}"/>
              </a:ext>
            </a:extLst>
          </p:cNvPr>
          <p:cNvSpPr/>
          <p:nvPr/>
        </p:nvSpPr>
        <p:spPr>
          <a:xfrm>
            <a:off x="3139701" y="3644071"/>
            <a:ext cx="8542719" cy="353075"/>
          </a:xfrm>
          <a:prstGeom prst="rect">
            <a:avLst/>
          </a:prstGeom>
          <a:noFill/>
          <a:ln w="19050">
            <a:solidFill>
              <a:srgbClr val="86F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9" name="Rectangle 8">
            <a:extLst>
              <a:ext uri="{FF2B5EF4-FFF2-40B4-BE49-F238E27FC236}">
                <a16:creationId xmlns:a16="http://schemas.microsoft.com/office/drawing/2014/main" id="{0CCF3DC9-92B0-4E4F-8C4C-1711AEF00B9F}"/>
              </a:ext>
            </a:extLst>
          </p:cNvPr>
          <p:cNvSpPr/>
          <p:nvPr/>
        </p:nvSpPr>
        <p:spPr>
          <a:xfrm>
            <a:off x="9304957" y="4707551"/>
            <a:ext cx="1826314" cy="835742"/>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Some of Account Ops’ current responsibilities will eventually move to planning</a:t>
            </a:r>
          </a:p>
        </p:txBody>
      </p:sp>
      <p:sp>
        <p:nvSpPr>
          <p:cNvPr id="10" name="Rectangle 9">
            <a:extLst>
              <a:ext uri="{FF2B5EF4-FFF2-40B4-BE49-F238E27FC236}">
                <a16:creationId xmlns:a16="http://schemas.microsoft.com/office/drawing/2014/main" id="{DF5C3AAC-3CF7-48D1-882B-46A8206A3406}"/>
              </a:ext>
            </a:extLst>
          </p:cNvPr>
          <p:cNvSpPr/>
          <p:nvPr/>
        </p:nvSpPr>
        <p:spPr>
          <a:xfrm>
            <a:off x="5372334" y="3671793"/>
            <a:ext cx="1331285" cy="1367518"/>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cxnSp>
        <p:nvCxnSpPr>
          <p:cNvPr id="11" name="Straight Connector 10">
            <a:extLst>
              <a:ext uri="{FF2B5EF4-FFF2-40B4-BE49-F238E27FC236}">
                <a16:creationId xmlns:a16="http://schemas.microsoft.com/office/drawing/2014/main" id="{3B1A663B-14EC-47DA-BC66-4FEADB363416}"/>
              </a:ext>
            </a:extLst>
          </p:cNvPr>
          <p:cNvCxnSpPr>
            <a:cxnSpLocks/>
            <a:stCxn id="9" idx="1"/>
            <a:endCxn id="10" idx="3"/>
          </p:cNvCxnSpPr>
          <p:nvPr/>
        </p:nvCxnSpPr>
        <p:spPr>
          <a:xfrm flipH="1" flipV="1">
            <a:off x="6703619" y="4355552"/>
            <a:ext cx="2601338" cy="76987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06BC60F9-775E-46FE-921B-323AF5B565F7}"/>
              </a:ext>
            </a:extLst>
          </p:cNvPr>
          <p:cNvSpPr/>
          <p:nvPr/>
        </p:nvSpPr>
        <p:spPr>
          <a:xfrm>
            <a:off x="8273532" y="6163056"/>
            <a:ext cx="3368573" cy="59134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a:t>
            </a:r>
            <a:r>
              <a:rPr kumimoji="0" lang="en-US" sz="1200" b="1" i="0" u="none" strike="noStrike" kern="1200" cap="none" spc="0" normalizeH="0" baseline="0" noProof="0" dirty="0">
                <a:ln>
                  <a:noFill/>
                </a:ln>
                <a:solidFill>
                  <a:srgbClr val="FFFFFF"/>
                </a:solidFill>
                <a:effectLst/>
                <a:uLnTx/>
                <a:uFillTx/>
                <a:latin typeface="Open Sans"/>
                <a:ea typeface="+mn-ea"/>
                <a:cs typeface="+mn-cs"/>
              </a:rPr>
              <a:t> </a:t>
            </a:r>
            <a:r>
              <a:rPr kumimoji="0" lang="en-US" sz="1000" b="0" i="0" u="none" strike="noStrike" kern="1200" cap="none" spc="0" normalizeH="0" baseline="0" noProof="0" dirty="0">
                <a:ln>
                  <a:noFill/>
                </a:ln>
                <a:solidFill>
                  <a:srgbClr val="000000"/>
                </a:solidFill>
                <a:effectLst/>
                <a:uLnTx/>
                <a:uFillTx/>
                <a:latin typeface="Open Sans"/>
                <a:ea typeface="+mn-ea"/>
                <a:cs typeface="+mn-cs"/>
              </a:rPr>
              <a:t>Additional Workload Requir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a:t>
            </a:r>
            <a:r>
              <a:rPr kumimoji="0" lang="en-US" sz="1000" b="0" i="0" u="none" strike="noStrike" kern="1200" cap="none" spc="0" normalizeH="0" baseline="0" noProof="0" dirty="0">
                <a:ln>
                  <a:noFill/>
                </a:ln>
                <a:solidFill>
                  <a:srgbClr val="000000"/>
                </a:solidFill>
                <a:effectLst/>
                <a:uLnTx/>
                <a:uFillTx/>
                <a:latin typeface="Open Sans"/>
                <a:ea typeface="+mn-ea"/>
                <a:cs typeface="+mn-cs"/>
              </a:rPr>
              <a:t>   Less Workload Requir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a:t>
            </a:r>
            <a:r>
              <a:rPr kumimoji="0" lang="en-US" sz="1000" b="0" i="0" u="none" strike="noStrike" kern="1200" cap="none" spc="0" normalizeH="0" baseline="0" noProof="0" dirty="0">
                <a:ln>
                  <a:noFill/>
                </a:ln>
                <a:solidFill>
                  <a:srgbClr val="000000"/>
                </a:solidFill>
                <a:effectLst/>
                <a:uLnTx/>
                <a:uFillTx/>
                <a:latin typeface="Open Sans"/>
                <a:ea typeface="+mn-ea"/>
                <a:cs typeface="+mn-cs"/>
              </a:rPr>
              <a:t> to </a:t>
            </a:r>
            <a:r>
              <a:rPr kumimoji="0" lang="en-US" sz="1200" b="1" i="0" u="none" strike="noStrike" kern="1200" cap="none" spc="0" normalizeH="0" baseline="0" noProof="0" dirty="0">
                <a:ln>
                  <a:noFill/>
                </a:ln>
                <a:solidFill>
                  <a:srgbClr val="000000"/>
                </a:solidFill>
                <a:effectLst/>
                <a:uLnTx/>
                <a:uFillTx/>
                <a:latin typeface="Open Sans"/>
                <a:ea typeface="+mn-ea"/>
                <a:cs typeface="+mn-cs"/>
              </a:rPr>
              <a:t>+++</a:t>
            </a:r>
            <a:r>
              <a:rPr kumimoji="0" lang="en-US" sz="1000" b="0" i="0" u="none" strike="noStrike" kern="1200" cap="none" spc="0" normalizeH="0" baseline="0" noProof="0" dirty="0">
                <a:ln>
                  <a:noFill/>
                </a:ln>
                <a:solidFill>
                  <a:srgbClr val="000000"/>
                </a:solidFill>
                <a:effectLst/>
                <a:uLnTx/>
                <a:uFillTx/>
                <a:latin typeface="Open Sans"/>
                <a:ea typeface="+mn-ea"/>
                <a:cs typeface="+mn-cs"/>
              </a:rPr>
              <a:t> indicates magnitude of change</a:t>
            </a:r>
          </a:p>
        </p:txBody>
      </p:sp>
      <p:sp>
        <p:nvSpPr>
          <p:cNvPr id="14" name="Rectangle 13">
            <a:extLst>
              <a:ext uri="{FF2B5EF4-FFF2-40B4-BE49-F238E27FC236}">
                <a16:creationId xmlns:a16="http://schemas.microsoft.com/office/drawing/2014/main" id="{A25DA6DC-28FF-4B9C-BE2E-CD5FDD3087F4}"/>
              </a:ext>
            </a:extLst>
          </p:cNvPr>
          <p:cNvSpPr/>
          <p:nvPr/>
        </p:nvSpPr>
        <p:spPr>
          <a:xfrm>
            <a:off x="8004288" y="3653597"/>
            <a:ext cx="963094" cy="669790"/>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F3E47E66-25BC-48A2-A41F-DCB9D9884FE0}"/>
              </a:ext>
            </a:extLst>
          </p:cNvPr>
          <p:cNvSpPr/>
          <p:nvPr/>
        </p:nvSpPr>
        <p:spPr>
          <a:xfrm>
            <a:off x="5626940" y="2732341"/>
            <a:ext cx="2132385" cy="835742"/>
          </a:xfrm>
          <a:prstGeom prst="rect">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This process identifies the need for joint decision making using the same strategies, reports, etc.</a:t>
            </a:r>
          </a:p>
        </p:txBody>
      </p:sp>
      <p:cxnSp>
        <p:nvCxnSpPr>
          <p:cNvPr id="16" name="Straight Connector 15">
            <a:extLst>
              <a:ext uri="{FF2B5EF4-FFF2-40B4-BE49-F238E27FC236}">
                <a16:creationId xmlns:a16="http://schemas.microsoft.com/office/drawing/2014/main" id="{518FD1B8-71D3-4C2D-9821-7E80420C2E8F}"/>
              </a:ext>
            </a:extLst>
          </p:cNvPr>
          <p:cNvCxnSpPr>
            <a:cxnSpLocks/>
            <a:stCxn id="15" idx="3"/>
            <a:endCxn id="14" idx="0"/>
          </p:cNvCxnSpPr>
          <p:nvPr/>
        </p:nvCxnSpPr>
        <p:spPr>
          <a:xfrm>
            <a:off x="7759325" y="3150212"/>
            <a:ext cx="726510" cy="503385"/>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7" name="Minus Sign 16">
            <a:extLst>
              <a:ext uri="{FF2B5EF4-FFF2-40B4-BE49-F238E27FC236}">
                <a16:creationId xmlns:a16="http://schemas.microsoft.com/office/drawing/2014/main" id="{F1B9D73F-94DF-4D66-98E2-DF9911EC4415}"/>
              </a:ext>
            </a:extLst>
          </p:cNvPr>
          <p:cNvSpPr/>
          <p:nvPr/>
        </p:nvSpPr>
        <p:spPr>
          <a:xfrm>
            <a:off x="5919910" y="4780231"/>
            <a:ext cx="213006" cy="182880"/>
          </a:xfrm>
          <a:prstGeom prst="mathMinus">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8" name="Minus Sign 17">
            <a:extLst>
              <a:ext uri="{FF2B5EF4-FFF2-40B4-BE49-F238E27FC236}">
                <a16:creationId xmlns:a16="http://schemas.microsoft.com/office/drawing/2014/main" id="{442D3EF6-AEEC-436A-930D-E646C946E273}"/>
              </a:ext>
            </a:extLst>
          </p:cNvPr>
          <p:cNvSpPr/>
          <p:nvPr/>
        </p:nvSpPr>
        <p:spPr>
          <a:xfrm>
            <a:off x="7244123" y="4780231"/>
            <a:ext cx="209952" cy="182880"/>
          </a:xfrm>
          <a:prstGeom prst="mathMinus">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Tree>
    <p:extLst>
      <p:ext uri="{BB962C8B-B14F-4D97-AF65-F5344CB8AC3E}">
        <p14:creationId xmlns:p14="http://schemas.microsoft.com/office/powerpoint/2010/main" val="572236103"/>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5FC4EC-9E57-4C96-9EE7-0BA9E9D1C9BA}"/>
              </a:ext>
            </a:extLst>
          </p:cNvPr>
          <p:cNvSpPr>
            <a:spLocks noGrp="1"/>
          </p:cNvSpPr>
          <p:nvPr>
            <p:ph type="title"/>
          </p:nvPr>
        </p:nvSpPr>
        <p:spPr/>
        <p:txBody>
          <a:bodyPr/>
          <a:lstStyle/>
          <a:p>
            <a:r>
              <a:rPr lang="en-US" dirty="0"/>
              <a:t>FTE Headcount and Rationale by Phase</a:t>
            </a:r>
          </a:p>
        </p:txBody>
      </p:sp>
      <p:sp>
        <p:nvSpPr>
          <p:cNvPr id="3" name="Text Placeholder 2">
            <a:extLst>
              <a:ext uri="{FF2B5EF4-FFF2-40B4-BE49-F238E27FC236}">
                <a16:creationId xmlns:a16="http://schemas.microsoft.com/office/drawing/2014/main" id="{B2B465B3-383C-4DFF-B182-9292E17AEEE3}"/>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10BD92D2-3410-4CD3-A9DD-444CBAD4DE97}"/>
              </a:ext>
            </a:extLst>
          </p:cNvPr>
          <p:cNvSpPr>
            <a:spLocks noGrp="1"/>
          </p:cNvSpPr>
          <p:nvPr>
            <p:ph type="body" sz="quarter" idx="15"/>
          </p:nvPr>
        </p:nvSpPr>
        <p:spPr/>
        <p:txBody>
          <a:bodyPr/>
          <a:lstStyle/>
          <a:p>
            <a:r>
              <a:rPr lang="en-US" dirty="0"/>
              <a:t>Table</a:t>
            </a:r>
          </a:p>
        </p:txBody>
      </p:sp>
      <p:sp>
        <p:nvSpPr>
          <p:cNvPr id="5" name="Title 3">
            <a:extLst>
              <a:ext uri="{FF2B5EF4-FFF2-40B4-BE49-F238E27FC236}">
                <a16:creationId xmlns:a16="http://schemas.microsoft.com/office/drawing/2014/main" id="{21085F88-3208-44A8-B3F4-673178DB9361}"/>
              </a:ext>
            </a:extLst>
          </p:cNvPr>
          <p:cNvSpPr txBox="1">
            <a:spLocks/>
          </p:cNvSpPr>
          <p:nvPr/>
        </p:nvSpPr>
        <p:spPr>
          <a:xfrm>
            <a:off x="914399" y="1135135"/>
            <a:ext cx="6108525" cy="578304"/>
          </a:xfrm>
          <a:prstGeom prst="rect">
            <a:avLst/>
          </a:prstGeom>
        </p:spPr>
        <p:txBody>
          <a:bodyPr vert="horz" lIns="0" tIns="45720" rIns="0" bIns="0" rtlCol="0" anchor="b" anchorCtr="0">
            <a:norm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graphicFrame>
        <p:nvGraphicFramePr>
          <p:cNvPr id="6" name="Table 5">
            <a:extLst>
              <a:ext uri="{FF2B5EF4-FFF2-40B4-BE49-F238E27FC236}">
                <a16:creationId xmlns:a16="http://schemas.microsoft.com/office/drawing/2014/main" id="{703F42D5-B4C1-48AD-B56A-D120E492D59B}"/>
              </a:ext>
            </a:extLst>
          </p:cNvPr>
          <p:cNvGraphicFramePr>
            <a:graphicFrameLocks noGrp="1"/>
          </p:cNvGraphicFramePr>
          <p:nvPr>
            <p:extLst>
              <p:ext uri="{D42A27DB-BD31-4B8C-83A1-F6EECF244321}">
                <p14:modId xmlns:p14="http://schemas.microsoft.com/office/powerpoint/2010/main" val="2150051737"/>
              </p:ext>
            </p:extLst>
          </p:nvPr>
        </p:nvGraphicFramePr>
        <p:xfrm>
          <a:off x="490192" y="1828800"/>
          <a:ext cx="6971303" cy="4243743"/>
        </p:xfrm>
        <a:graphic>
          <a:graphicData uri="http://schemas.openxmlformats.org/drawingml/2006/table">
            <a:tbl>
              <a:tblPr firstRow="1" bandRow="1">
                <a:tableStyleId>{2D5ABB26-0587-4C30-8999-92F81FD0307C}</a:tableStyleId>
              </a:tblPr>
              <a:tblGrid>
                <a:gridCol w="1771713">
                  <a:extLst>
                    <a:ext uri="{9D8B030D-6E8A-4147-A177-3AD203B41FA5}">
                      <a16:colId xmlns:a16="http://schemas.microsoft.com/office/drawing/2014/main" val="1793945405"/>
                    </a:ext>
                  </a:extLst>
                </a:gridCol>
                <a:gridCol w="1039918">
                  <a:extLst>
                    <a:ext uri="{9D8B030D-6E8A-4147-A177-3AD203B41FA5}">
                      <a16:colId xmlns:a16="http://schemas.microsoft.com/office/drawing/2014/main" val="604218642"/>
                    </a:ext>
                  </a:extLst>
                </a:gridCol>
                <a:gridCol w="1039918">
                  <a:extLst>
                    <a:ext uri="{9D8B030D-6E8A-4147-A177-3AD203B41FA5}">
                      <a16:colId xmlns:a16="http://schemas.microsoft.com/office/drawing/2014/main" val="1337016310"/>
                    </a:ext>
                  </a:extLst>
                </a:gridCol>
                <a:gridCol w="1039918">
                  <a:extLst>
                    <a:ext uri="{9D8B030D-6E8A-4147-A177-3AD203B41FA5}">
                      <a16:colId xmlns:a16="http://schemas.microsoft.com/office/drawing/2014/main" val="2088390203"/>
                    </a:ext>
                  </a:extLst>
                </a:gridCol>
                <a:gridCol w="1039918">
                  <a:extLst>
                    <a:ext uri="{9D8B030D-6E8A-4147-A177-3AD203B41FA5}">
                      <a16:colId xmlns:a16="http://schemas.microsoft.com/office/drawing/2014/main" val="1956380837"/>
                    </a:ext>
                  </a:extLst>
                </a:gridCol>
                <a:gridCol w="1039918">
                  <a:extLst>
                    <a:ext uri="{9D8B030D-6E8A-4147-A177-3AD203B41FA5}">
                      <a16:colId xmlns:a16="http://schemas.microsoft.com/office/drawing/2014/main" val="3915346189"/>
                    </a:ext>
                  </a:extLst>
                </a:gridCol>
              </a:tblGrid>
              <a:tr h="342170">
                <a:tc>
                  <a:txBody>
                    <a:bodyPr/>
                    <a:lstStyle/>
                    <a:p>
                      <a:pPr marL="0" algn="ctr" defTabSz="914400" rtl="0" eaLnBrk="1" latinLnBrk="0" hangingPunct="1">
                        <a:spcAft>
                          <a:spcPts val="200"/>
                        </a:spcAft>
                      </a:pPr>
                      <a:endParaRPr lang="en-US" sz="900" b="1" kern="1200" dirty="0">
                        <a:solidFill>
                          <a:schemeClr val="tx1"/>
                        </a:solidFill>
                        <a:latin typeface="Montserrat" panose="00000500000000000000" pitchFamily="2" charset="0"/>
                        <a:ea typeface="+mn-ea"/>
                        <a:cs typeface="+mn-cs"/>
                      </a:endParaRPr>
                    </a:p>
                  </a:txBody>
                  <a:tcPr marL="45720" marR="45720" anchor="ctr">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914400" rtl="0" eaLnBrk="1" latinLnBrk="0" hangingPunct="1">
                        <a:spcAft>
                          <a:spcPts val="200"/>
                        </a:spcAft>
                        <a:buFont typeface="Arial" panose="020B0604020202020204" pitchFamily="34" charset="0"/>
                        <a:buNone/>
                      </a:pPr>
                      <a:r>
                        <a:rPr lang="en-US" sz="900" b="1" kern="1200" baseline="0" dirty="0">
                          <a:solidFill>
                            <a:schemeClr val="tx1"/>
                          </a:solidFill>
                          <a:latin typeface="+mn-lt"/>
                          <a:ea typeface="+mn-ea"/>
                          <a:cs typeface="+mn-cs"/>
                        </a:rPr>
                        <a:t>Annual Cost Per F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indent="0" algn="ctr" defTabSz="914400" rtl="0" eaLnBrk="1" latinLnBrk="0" hangingPunct="1">
                        <a:spcAft>
                          <a:spcPts val="200"/>
                        </a:spcAft>
                        <a:buFont typeface="Arial" panose="020B0604020202020204" pitchFamily="34" charset="0"/>
                        <a:buNone/>
                      </a:pPr>
                      <a:r>
                        <a:rPr lang="en-US" sz="900" b="1" kern="1200" baseline="0" dirty="0">
                          <a:solidFill>
                            <a:schemeClr val="tx1"/>
                          </a:solidFill>
                          <a:latin typeface="+mn-lt"/>
                          <a:ea typeface="+mn-ea"/>
                          <a:cs typeface="+mn-cs"/>
                        </a:rPr>
                        <a:t>Experiment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900" b="1" kern="1200" baseline="0" dirty="0">
                          <a:solidFill>
                            <a:schemeClr val="tx1"/>
                          </a:solidFill>
                          <a:latin typeface="+mn-lt"/>
                          <a:ea typeface="+mn-ea"/>
                          <a:cs typeface="+mn-cs"/>
                        </a:rPr>
                        <a:t>Operation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indent="0" algn="ctr" defTabSz="914400" rtl="0" eaLnBrk="1" latinLnBrk="0" hangingPunct="1">
                        <a:spcAft>
                          <a:spcPts val="200"/>
                        </a:spcAft>
                        <a:buFont typeface="Arial" panose="020B0604020202020204" pitchFamily="34" charset="0"/>
                        <a:buNone/>
                      </a:pPr>
                      <a:r>
                        <a:rPr lang="en-US" sz="900" b="1" kern="1200" baseline="0" dirty="0">
                          <a:solidFill>
                            <a:schemeClr val="tx1"/>
                          </a:solidFill>
                          <a:latin typeface="+mn-lt"/>
                          <a:ea typeface="+mn-ea"/>
                          <a:cs typeface="+mn-cs"/>
                        </a:rPr>
                        <a:t>Profici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indent="0" algn="ctr" defTabSz="914400" rtl="0" eaLnBrk="1" latinLnBrk="0" hangingPunct="1">
                        <a:spcAft>
                          <a:spcPts val="200"/>
                        </a:spcAft>
                        <a:buFont typeface="Arial" panose="020B0604020202020204" pitchFamily="34" charset="0"/>
                        <a:buNone/>
                      </a:pPr>
                      <a:r>
                        <a:rPr lang="en-US" sz="900" b="1" kern="1200" baseline="0" dirty="0">
                          <a:solidFill>
                            <a:schemeClr val="tx1"/>
                          </a:solidFill>
                          <a:latin typeface="+mn-lt"/>
                          <a:ea typeface="+mn-ea"/>
                          <a:cs typeface="+mn-cs"/>
                        </a:rPr>
                        <a:t>Strategi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519375929"/>
                  </a:ext>
                </a:extLst>
              </a:tr>
              <a:tr h="430887">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000" b="1" dirty="0">
                          <a:solidFill>
                            <a:schemeClr val="tx1"/>
                          </a:solidFill>
                          <a:latin typeface="+mn-lt"/>
                          <a:ea typeface="Open Sans" charset="0"/>
                          <a:cs typeface="Open Sans" charset="0"/>
                        </a:rPr>
                        <a:t>Market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defTabSz="914400" rtl="0" eaLnBrk="1" latinLnBrk="0" hangingPunct="1">
                        <a:spcAft>
                          <a:spcPts val="200"/>
                        </a:spcAft>
                        <a:buFont typeface="Arial" panose="020B0604020202020204" pitchFamily="34" charset="0"/>
                        <a:buNone/>
                      </a:pPr>
                      <a:r>
                        <a:rPr lang="en-US" sz="1100" b="0" kern="1200" baseline="0" dirty="0">
                          <a:solidFill>
                            <a:schemeClr val="tx1"/>
                          </a:solidFill>
                          <a:latin typeface="+mn-lt"/>
                          <a:ea typeface="+mn-ea"/>
                          <a:cs typeface="+mn-cs"/>
                        </a:rPr>
                        <a:t>$75K</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defTabSz="914400" rtl="0" eaLnBrk="1" latinLnBrk="0" hangingPunct="1">
                        <a:spcAft>
                          <a:spcPts val="200"/>
                        </a:spcAft>
                        <a:buFont typeface="Arial" panose="020B0604020202020204" pitchFamily="34" charset="0"/>
                        <a:buNone/>
                      </a:pPr>
                      <a:endParaRPr lang="en-US" sz="1100" b="0" kern="1200" baseline="0" dirty="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indent="0" algn="ctr" defTabSz="914400" rtl="0" eaLnBrk="1" latinLnBrk="0" hangingPunct="1">
                        <a:spcAft>
                          <a:spcPts val="200"/>
                        </a:spcAft>
                        <a:buFont typeface="Arial" panose="020B0604020202020204" pitchFamily="34" charset="0"/>
                        <a:buNone/>
                      </a:pPr>
                      <a:r>
                        <a:rPr lang="en-US" sz="1100" b="0" kern="1200" baseline="0" dirty="0">
                          <a:solidFill>
                            <a:schemeClr val="tx1"/>
                          </a:solidFill>
                          <a:latin typeface="+mn-lt"/>
                          <a:ea typeface="+mn-ea"/>
                          <a:cs typeface="+mn-cs"/>
                        </a:rPr>
                        <a:t>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914400" rtl="0" eaLnBrk="1" latinLnBrk="0" hangingPunct="1">
                        <a:spcAft>
                          <a:spcPts val="200"/>
                        </a:spcAft>
                        <a:buFont typeface="Arial" panose="020B0604020202020204" pitchFamily="34" charset="0"/>
                        <a:buNone/>
                      </a:pPr>
                      <a:r>
                        <a:rPr lang="en-US" sz="1100" b="0" kern="1200" baseline="0" dirty="0">
                          <a:solidFill>
                            <a:schemeClr val="tx1"/>
                          </a:solidFill>
                          <a:latin typeface="+mn-lt"/>
                          <a:ea typeface="+mn-ea"/>
                          <a:cs typeface="+mn-cs"/>
                        </a:rPr>
                        <a:t>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914400" rtl="0" eaLnBrk="1" latinLnBrk="0" hangingPunct="1">
                        <a:spcAft>
                          <a:spcPts val="200"/>
                        </a:spcAft>
                        <a:buFont typeface="Arial" panose="020B0604020202020204" pitchFamily="34" charset="0"/>
                        <a:buNone/>
                      </a:pPr>
                      <a:r>
                        <a:rPr lang="en-US" sz="1100" b="0" kern="1200" baseline="0" dirty="0">
                          <a:solidFill>
                            <a:schemeClr val="tx1"/>
                          </a:solidFill>
                          <a:latin typeface="+mn-lt"/>
                          <a:ea typeface="+mn-ea"/>
                          <a:cs typeface="+mn-cs"/>
                        </a:rPr>
                        <a:t>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08974932"/>
                  </a:ext>
                </a:extLst>
              </a:tr>
              <a:tr h="430887">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000" b="1" dirty="0">
                          <a:solidFill>
                            <a:schemeClr val="tx1"/>
                          </a:solidFill>
                          <a:latin typeface="+mn-lt"/>
                          <a:ea typeface="Open Sans" charset="0"/>
                          <a:cs typeface="Open Sans" charset="0"/>
                        </a:rPr>
                        <a:t>Suppor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defTabSz="914400" rtl="0" eaLnBrk="1" latinLnBrk="0" hangingPunct="1">
                        <a:spcAft>
                          <a:spcPts val="200"/>
                        </a:spcAft>
                        <a:buFont typeface="Arial" panose="020B0604020202020204" pitchFamily="34" charset="0"/>
                        <a:buNone/>
                      </a:pPr>
                      <a:r>
                        <a:rPr lang="en-US" sz="1100" b="0" kern="1200" baseline="0" dirty="0">
                          <a:solidFill>
                            <a:schemeClr val="tx1"/>
                          </a:solidFill>
                          <a:latin typeface="+mn-lt"/>
                          <a:ea typeface="+mn-ea"/>
                          <a:cs typeface="+mn-cs"/>
                        </a:rPr>
                        <a:t>$50K</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defTabSz="914400" rtl="0" eaLnBrk="1" latinLnBrk="0" hangingPunct="1">
                        <a:spcAft>
                          <a:spcPts val="200"/>
                        </a:spcAft>
                        <a:buFont typeface="Arial" panose="020B0604020202020204" pitchFamily="34" charset="0"/>
                        <a:buNone/>
                      </a:pPr>
                      <a:endParaRPr lang="en-US" sz="1100" b="0" kern="1200" baseline="0" dirty="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indent="0" algn="ctr" defTabSz="914400" rtl="0" eaLnBrk="1" latinLnBrk="0" hangingPunct="1">
                        <a:spcAft>
                          <a:spcPts val="200"/>
                        </a:spcAft>
                        <a:buFont typeface="Arial" panose="020B0604020202020204" pitchFamily="34" charset="0"/>
                        <a:buNone/>
                      </a:pPr>
                      <a:r>
                        <a:rPr lang="en-US" sz="1100" b="0" kern="1200" baseline="0" dirty="0">
                          <a:solidFill>
                            <a:schemeClr val="tx1"/>
                          </a:solidFill>
                          <a:latin typeface="+mn-lt"/>
                          <a:ea typeface="+mn-ea"/>
                          <a:cs typeface="+mn-cs"/>
                        </a:rPr>
                        <a:t>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914400" rtl="0" eaLnBrk="1" latinLnBrk="0" hangingPunct="1">
                        <a:spcAft>
                          <a:spcPts val="200"/>
                        </a:spcAft>
                        <a:buFont typeface="Arial" panose="020B0604020202020204" pitchFamily="34" charset="0"/>
                        <a:buNone/>
                      </a:pPr>
                      <a:r>
                        <a:rPr lang="en-US" sz="1100" b="0" kern="1200" baseline="0" dirty="0">
                          <a:solidFill>
                            <a:schemeClr val="tx1"/>
                          </a:solidFill>
                          <a:latin typeface="+mn-lt"/>
                          <a:ea typeface="+mn-ea"/>
                          <a:cs typeface="+mn-cs"/>
                        </a:rPr>
                        <a:t>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914400" rtl="0" eaLnBrk="1" latinLnBrk="0" hangingPunct="1">
                        <a:spcAft>
                          <a:spcPts val="200"/>
                        </a:spcAft>
                        <a:buFont typeface="Arial" panose="020B0604020202020204" pitchFamily="34" charset="0"/>
                        <a:buNone/>
                      </a:pPr>
                      <a:r>
                        <a:rPr lang="en-US" sz="1100" b="0" kern="1200" baseline="0" dirty="0">
                          <a:solidFill>
                            <a:schemeClr val="tx1"/>
                          </a:solidFill>
                          <a:latin typeface="+mn-lt"/>
                          <a:ea typeface="+mn-ea"/>
                          <a:cs typeface="+mn-cs"/>
                        </a:rPr>
                        <a:t>1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85970378"/>
                  </a:ext>
                </a:extLst>
              </a:tr>
              <a:tr h="430887">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000" b="1" dirty="0">
                          <a:solidFill>
                            <a:schemeClr val="tx1"/>
                          </a:solidFill>
                          <a:latin typeface="+mn-lt"/>
                          <a:ea typeface="Open Sans" charset="0"/>
                          <a:cs typeface="Open Sans" charset="0"/>
                        </a:rPr>
                        <a:t>Digit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defTabSz="914400" rtl="0" eaLnBrk="1" latinLnBrk="0" hangingPunct="1">
                        <a:spcAft>
                          <a:spcPts val="200"/>
                        </a:spcAft>
                        <a:buFont typeface="Arial" panose="020B0604020202020204" pitchFamily="34" charset="0"/>
                        <a:buNone/>
                      </a:pPr>
                      <a:r>
                        <a:rPr lang="en-US" sz="1100" b="0" kern="1200" baseline="0" dirty="0">
                          <a:solidFill>
                            <a:schemeClr val="tx1"/>
                          </a:solidFill>
                          <a:latin typeface="+mn-lt"/>
                          <a:ea typeface="+mn-ea"/>
                          <a:cs typeface="+mn-cs"/>
                        </a:rPr>
                        <a:t>$75K</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defTabSz="914400" rtl="0" eaLnBrk="1" latinLnBrk="0" hangingPunct="1">
                        <a:spcAft>
                          <a:spcPts val="200"/>
                        </a:spcAft>
                        <a:buFont typeface="Arial" panose="020B0604020202020204" pitchFamily="34" charset="0"/>
                        <a:buNone/>
                      </a:pPr>
                      <a:r>
                        <a:rPr lang="en-US" sz="1100" b="0" kern="1200" baseline="0" dirty="0">
                          <a:solidFill>
                            <a:schemeClr val="tx1"/>
                          </a:solidFill>
                          <a:latin typeface="+mn-lt"/>
                          <a:ea typeface="+mn-ea"/>
                          <a:cs typeface="+mn-cs"/>
                        </a:rPr>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914400" rtl="0" eaLnBrk="1" latinLnBrk="0" hangingPunct="1">
                        <a:spcAft>
                          <a:spcPts val="200"/>
                        </a:spcAft>
                        <a:buFont typeface="Arial" panose="020B0604020202020204" pitchFamily="34" charset="0"/>
                        <a:buNone/>
                      </a:pPr>
                      <a:r>
                        <a:rPr lang="en-US" sz="1100" b="0" kern="1200" baseline="0" dirty="0">
                          <a:solidFill>
                            <a:schemeClr val="tx1"/>
                          </a:solidFill>
                          <a:latin typeface="+mn-lt"/>
                          <a:ea typeface="+mn-ea"/>
                          <a:cs typeface="+mn-cs"/>
                        </a:rPr>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914400" rtl="0" eaLnBrk="1" latinLnBrk="0" hangingPunct="1">
                        <a:spcAft>
                          <a:spcPts val="200"/>
                        </a:spcAft>
                        <a:buFont typeface="Arial" panose="020B0604020202020204" pitchFamily="34" charset="0"/>
                        <a:buNone/>
                      </a:pPr>
                      <a:r>
                        <a:rPr lang="en-US" sz="1100" b="0" kern="1200" baseline="0" dirty="0">
                          <a:solidFill>
                            <a:schemeClr val="tx1"/>
                          </a:solidFill>
                          <a:latin typeface="+mn-lt"/>
                          <a:ea typeface="+mn-ea"/>
                          <a:cs typeface="+mn-cs"/>
                        </a:rPr>
                        <a:t>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914400" rtl="0" eaLnBrk="1" latinLnBrk="0" hangingPunct="1">
                        <a:spcAft>
                          <a:spcPts val="200"/>
                        </a:spcAft>
                        <a:buFont typeface="Arial" panose="020B0604020202020204" pitchFamily="34" charset="0"/>
                        <a:buNone/>
                      </a:pPr>
                      <a:r>
                        <a:rPr lang="en-US" sz="1100" b="0" kern="1200" baseline="0" dirty="0">
                          <a:solidFill>
                            <a:schemeClr val="tx1"/>
                          </a:solidFill>
                          <a:latin typeface="+mn-lt"/>
                          <a:ea typeface="+mn-ea"/>
                          <a:cs typeface="+mn-cs"/>
                        </a:rPr>
                        <a:t>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76497839"/>
                  </a:ext>
                </a:extLst>
              </a:tr>
              <a:tr h="430887">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000" b="1" dirty="0">
                          <a:solidFill>
                            <a:schemeClr val="tx1"/>
                          </a:solidFill>
                          <a:latin typeface="+mn-lt"/>
                          <a:ea typeface="Open Sans" charset="0"/>
                          <a:cs typeface="Open Sans" charset="0"/>
                        </a:rPr>
                        <a:t>Sa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defTabSz="914400" rtl="0" eaLnBrk="1" latinLnBrk="0" hangingPunct="1">
                        <a:spcAft>
                          <a:spcPts val="200"/>
                        </a:spcAft>
                        <a:buFont typeface="Arial" panose="020B0604020202020204" pitchFamily="34" charset="0"/>
                        <a:buNone/>
                      </a:pPr>
                      <a:r>
                        <a:rPr lang="en-US" sz="1100" kern="1200" baseline="0" dirty="0">
                          <a:solidFill>
                            <a:schemeClr val="tx1"/>
                          </a:solidFill>
                          <a:latin typeface="+mn-lt"/>
                          <a:ea typeface="+mn-ea"/>
                          <a:cs typeface="+mn-cs"/>
                        </a:rPr>
                        <a:t>$50K</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defTabSz="914400" rtl="0" eaLnBrk="1" latinLnBrk="0" hangingPunct="1">
                        <a:spcAft>
                          <a:spcPts val="200"/>
                        </a:spcAft>
                        <a:buFont typeface="Arial" panose="020B0604020202020204" pitchFamily="34" charset="0"/>
                        <a:buNone/>
                      </a:pPr>
                      <a:r>
                        <a:rPr lang="en-US" sz="1100" kern="1200" baseline="0" dirty="0">
                          <a:solidFill>
                            <a:schemeClr val="tx1"/>
                          </a:solidFill>
                          <a:latin typeface="+mn-lt"/>
                          <a:ea typeface="+mn-ea"/>
                          <a:cs typeface="+mn-cs"/>
                        </a:rPr>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914400" rtl="0" eaLnBrk="1" latinLnBrk="0" hangingPunct="1">
                        <a:spcAft>
                          <a:spcPts val="200"/>
                        </a:spcAft>
                        <a:buFont typeface="Arial" panose="020B0604020202020204" pitchFamily="34" charset="0"/>
                        <a:buNone/>
                      </a:pPr>
                      <a:r>
                        <a:rPr lang="en-US" sz="1100" b="0" kern="1200" baseline="0" dirty="0">
                          <a:solidFill>
                            <a:schemeClr val="tx1"/>
                          </a:solidFill>
                          <a:latin typeface="+mn-lt"/>
                          <a:ea typeface="+mn-ea"/>
                          <a:cs typeface="+mn-cs"/>
                        </a:rPr>
                        <a:t>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914400" rtl="0" eaLnBrk="1" latinLnBrk="0" hangingPunct="1">
                        <a:spcAft>
                          <a:spcPts val="200"/>
                        </a:spcAft>
                        <a:buFont typeface="Arial" panose="020B0604020202020204" pitchFamily="34" charset="0"/>
                        <a:buNone/>
                      </a:pPr>
                      <a:r>
                        <a:rPr lang="en-US" sz="1100" b="0" kern="1200" baseline="0" dirty="0">
                          <a:solidFill>
                            <a:schemeClr val="tx1"/>
                          </a:solidFill>
                          <a:latin typeface="+mn-lt"/>
                          <a:ea typeface="+mn-ea"/>
                          <a:cs typeface="+mn-cs"/>
                        </a:rPr>
                        <a:t>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914400" rtl="0" eaLnBrk="1" latinLnBrk="0" hangingPunct="1">
                        <a:spcAft>
                          <a:spcPts val="200"/>
                        </a:spcAft>
                        <a:buFont typeface="Arial" panose="020B0604020202020204" pitchFamily="34" charset="0"/>
                        <a:buNone/>
                      </a:pPr>
                      <a:r>
                        <a:rPr lang="en-US" sz="1100" b="0" kern="1200" baseline="0" dirty="0">
                          <a:solidFill>
                            <a:schemeClr val="tx1"/>
                          </a:solidFill>
                          <a:latin typeface="+mn-lt"/>
                          <a:ea typeface="+mn-ea"/>
                          <a:cs typeface="+mn-cs"/>
                        </a:rPr>
                        <a:t>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12108046"/>
                  </a:ext>
                </a:extLst>
              </a:tr>
              <a:tr h="430887">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000" b="1" dirty="0">
                          <a:solidFill>
                            <a:schemeClr val="tx1"/>
                          </a:solidFill>
                          <a:latin typeface="+mn-lt"/>
                          <a:ea typeface="Open Sans" charset="0"/>
                          <a:cs typeface="Open Sans" charset="0"/>
                        </a:rPr>
                        <a:t>Fulfill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defTabSz="914400" rtl="0" eaLnBrk="1" latinLnBrk="0" hangingPunct="1">
                        <a:spcAft>
                          <a:spcPts val="200"/>
                        </a:spcAft>
                        <a:buFont typeface="Arial" panose="020B0604020202020204" pitchFamily="34" charset="0"/>
                        <a:buNone/>
                      </a:pPr>
                      <a:r>
                        <a:rPr lang="en-US" sz="1100" kern="1200" baseline="0" dirty="0">
                          <a:solidFill>
                            <a:schemeClr val="tx1"/>
                          </a:solidFill>
                          <a:latin typeface="+mn-lt"/>
                          <a:ea typeface="+mn-ea"/>
                          <a:cs typeface="+mn-cs"/>
                        </a:rPr>
                        <a:t>$50K</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defTabSz="914400" rtl="0" eaLnBrk="1" latinLnBrk="0" hangingPunct="1">
                        <a:spcAft>
                          <a:spcPts val="200"/>
                        </a:spcAft>
                        <a:buFont typeface="Arial" panose="020B0604020202020204" pitchFamily="34" charset="0"/>
                        <a:buNone/>
                      </a:pPr>
                      <a:r>
                        <a:rPr lang="en-US" sz="1100" kern="1200" baseline="0" dirty="0">
                          <a:solidFill>
                            <a:schemeClr val="tx1"/>
                          </a:solidFill>
                          <a:latin typeface="+mn-lt"/>
                          <a:ea typeface="+mn-ea"/>
                          <a:cs typeface="+mn-cs"/>
                        </a:rPr>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914400" rtl="0" eaLnBrk="1" latinLnBrk="0" hangingPunct="1">
                        <a:spcAft>
                          <a:spcPts val="200"/>
                        </a:spcAft>
                        <a:buFont typeface="Arial" panose="020B0604020202020204" pitchFamily="34" charset="0"/>
                        <a:buNone/>
                      </a:pPr>
                      <a:r>
                        <a:rPr lang="en-US" sz="1100" b="0" kern="1200" baseline="0" dirty="0">
                          <a:solidFill>
                            <a:schemeClr val="tx1"/>
                          </a:solidFill>
                          <a:latin typeface="+mn-lt"/>
                          <a:ea typeface="+mn-ea"/>
                          <a:cs typeface="+mn-cs"/>
                        </a:rPr>
                        <a:t>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914400" rtl="0" eaLnBrk="1" latinLnBrk="0" hangingPunct="1">
                        <a:spcAft>
                          <a:spcPts val="200"/>
                        </a:spcAft>
                        <a:buFont typeface="Arial" panose="020B0604020202020204" pitchFamily="34" charset="0"/>
                        <a:buNone/>
                      </a:pPr>
                      <a:endParaRPr lang="en-US" sz="1100" b="0" kern="1200" baseline="0" dirty="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indent="0" algn="ctr" defTabSz="914400" rtl="0" eaLnBrk="1" latinLnBrk="0" hangingPunct="1">
                        <a:spcAft>
                          <a:spcPts val="200"/>
                        </a:spcAft>
                        <a:buFont typeface="Arial" panose="020B0604020202020204" pitchFamily="34" charset="0"/>
                        <a:buNone/>
                      </a:pPr>
                      <a:r>
                        <a:rPr lang="en-US" sz="1100" b="0" kern="1200" baseline="0" dirty="0">
                          <a:solidFill>
                            <a:schemeClr val="tx1"/>
                          </a:solidFill>
                          <a:latin typeface="+mn-lt"/>
                          <a:ea typeface="+mn-ea"/>
                          <a:cs typeface="+mn-cs"/>
                        </a:rPr>
                        <a:t>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20403855"/>
                  </a:ext>
                </a:extLst>
              </a:tr>
              <a:tr h="430887">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000" b="1" dirty="0">
                          <a:solidFill>
                            <a:schemeClr val="tx1"/>
                          </a:solidFill>
                          <a:latin typeface="+mn-lt"/>
                          <a:ea typeface="Open Sans" charset="0"/>
                          <a:cs typeface="Open Sans" charset="0"/>
                        </a:rPr>
                        <a:t>Corpora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defTabSz="914400" rtl="0" eaLnBrk="1" latinLnBrk="0" hangingPunct="1">
                        <a:spcAft>
                          <a:spcPts val="200"/>
                        </a:spcAft>
                        <a:buFont typeface="Arial" panose="020B0604020202020204" pitchFamily="34" charset="0"/>
                        <a:buNone/>
                      </a:pPr>
                      <a:r>
                        <a:rPr lang="en-US" sz="1100" kern="1200" baseline="0" dirty="0">
                          <a:solidFill>
                            <a:schemeClr val="tx1"/>
                          </a:solidFill>
                          <a:latin typeface="+mn-lt"/>
                          <a:ea typeface="+mn-ea"/>
                          <a:cs typeface="+mn-cs"/>
                        </a:rPr>
                        <a:t>$100K</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defTabSz="914400" rtl="0" eaLnBrk="1" latinLnBrk="0" hangingPunct="1">
                        <a:spcAft>
                          <a:spcPts val="200"/>
                        </a:spcAft>
                        <a:buFont typeface="Arial" panose="020B0604020202020204" pitchFamily="34" charset="0"/>
                        <a:buNone/>
                      </a:pPr>
                      <a:r>
                        <a:rPr lang="en-US" sz="1100" kern="1200" baseline="0" dirty="0">
                          <a:solidFill>
                            <a:schemeClr val="tx1"/>
                          </a:solidFill>
                          <a:latin typeface="+mn-lt"/>
                          <a:ea typeface="+mn-ea"/>
                          <a:cs typeface="+mn-cs"/>
                        </a:rPr>
                        <a:t>½</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1100" kern="1200" baseline="0" dirty="0">
                          <a:solidFill>
                            <a:schemeClr val="tx1"/>
                          </a:solidFill>
                          <a:latin typeface="+mn-lt"/>
                          <a:ea typeface="+mn-ea"/>
                          <a:cs typeface="+mn-cs"/>
                        </a:rPr>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1100" kern="1200" baseline="0" dirty="0">
                          <a:solidFill>
                            <a:schemeClr val="tx1"/>
                          </a:solidFill>
                          <a:latin typeface="+mn-lt"/>
                          <a:ea typeface="+mn-ea"/>
                          <a:cs typeface="+mn-cs"/>
                        </a:rPr>
                        <a:t>2 ½</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1100" kern="1200" baseline="0" dirty="0">
                          <a:solidFill>
                            <a:schemeClr val="tx1"/>
                          </a:solidFill>
                          <a:latin typeface="+mn-lt"/>
                          <a:ea typeface="+mn-ea"/>
                          <a:cs typeface="+mn-cs"/>
                        </a:rPr>
                        <a:t>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41472243"/>
                  </a:ext>
                </a:extLst>
              </a:tr>
              <a:tr h="430887">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000" b="1" dirty="0">
                          <a:solidFill>
                            <a:schemeClr val="tx1"/>
                          </a:solidFill>
                          <a:latin typeface="+mn-lt"/>
                          <a:ea typeface="Open Sans" charset="0"/>
                          <a:cs typeface="Open Sans" charset="0"/>
                        </a:rPr>
                        <a:t>Servic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defTabSz="914400" rtl="0" eaLnBrk="1" latinLnBrk="0" hangingPunct="1">
                        <a:spcAft>
                          <a:spcPts val="200"/>
                        </a:spcAft>
                        <a:buFont typeface="Arial" panose="020B0604020202020204" pitchFamily="34" charset="0"/>
                        <a:buNone/>
                      </a:pPr>
                      <a:r>
                        <a:rPr lang="en-US" sz="1100" kern="1200" baseline="0" dirty="0">
                          <a:solidFill>
                            <a:schemeClr val="tx1"/>
                          </a:solidFill>
                          <a:latin typeface="+mn-lt"/>
                          <a:ea typeface="+mn-ea"/>
                          <a:cs typeface="+mn-cs"/>
                        </a:rPr>
                        <a:t>$75K</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defTabSz="914400" rtl="0" eaLnBrk="1" latinLnBrk="0" hangingPunct="1">
                        <a:spcAft>
                          <a:spcPts val="200"/>
                        </a:spcAft>
                        <a:buFont typeface="Arial" panose="020B0604020202020204" pitchFamily="34" charset="0"/>
                        <a:buNone/>
                      </a:pPr>
                      <a:endParaRPr lang="en-US" sz="1100" kern="1200" baseline="0" dirty="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endParaRPr lang="en-US" sz="1100" kern="1200" baseline="0" dirty="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1100" kern="1200" baseline="0" dirty="0">
                          <a:solidFill>
                            <a:schemeClr val="tx1"/>
                          </a:solidFill>
                          <a:latin typeface="+mn-lt"/>
                          <a:ea typeface="+mn-ea"/>
                          <a:cs typeface="+mn-cs"/>
                        </a:rPr>
                        <a:t>½</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1100" kern="1200" baseline="0" dirty="0">
                          <a:solidFill>
                            <a:schemeClr val="tx1"/>
                          </a:solidFill>
                          <a:latin typeface="+mn-lt"/>
                          <a:ea typeface="+mn-ea"/>
                          <a:cs typeface="+mn-cs"/>
                        </a:rPr>
                        <a:t>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19693477"/>
                  </a:ext>
                </a:extLst>
              </a:tr>
              <a:tr h="430887">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000" b="1" dirty="0">
                          <a:solidFill>
                            <a:schemeClr val="bg1"/>
                          </a:solidFill>
                          <a:latin typeface="+mn-lt"/>
                          <a:ea typeface="Open Sans" charset="0"/>
                          <a:cs typeface="Open Sans" charset="0"/>
                        </a:rPr>
                        <a:t>Total F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marL="0" indent="0" algn="ctr" defTabSz="914400" rtl="0" eaLnBrk="1" latinLnBrk="0" hangingPunct="1">
                        <a:spcAft>
                          <a:spcPts val="200"/>
                        </a:spcAft>
                        <a:buFont typeface="Arial" panose="020B0604020202020204" pitchFamily="34" charset="0"/>
                        <a:buNone/>
                      </a:pPr>
                      <a:endParaRPr lang="en-US" sz="1100" b="1" kern="1200" baseline="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marL="0" indent="0" algn="ctr" defTabSz="914400" rtl="0" eaLnBrk="1" latinLnBrk="0" hangingPunct="1">
                        <a:spcAft>
                          <a:spcPts val="200"/>
                        </a:spcAft>
                        <a:buFont typeface="Arial" panose="020B0604020202020204" pitchFamily="34" charset="0"/>
                        <a:buNone/>
                      </a:pPr>
                      <a:r>
                        <a:rPr lang="en-US" sz="1100" b="1" kern="1200" baseline="0" dirty="0">
                          <a:solidFill>
                            <a:schemeClr val="bg1"/>
                          </a:solidFill>
                          <a:latin typeface="+mn-lt"/>
                          <a:ea typeface="+mn-ea"/>
                          <a:cs typeface="+mn-cs"/>
                        </a:rPr>
                        <a:t>3 ½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marL="0" marR="0" lvl="0" indent="0" algn="ctr"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1100" b="1" kern="1200" baseline="0" dirty="0">
                          <a:solidFill>
                            <a:schemeClr val="bg1"/>
                          </a:solidFill>
                          <a:latin typeface="+mn-lt"/>
                          <a:ea typeface="+mn-ea"/>
                          <a:cs typeface="+mn-cs"/>
                        </a:rPr>
                        <a:t>1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marL="0" marR="0" lvl="0" indent="0" algn="ctr"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1100" b="1" kern="1200" baseline="0" dirty="0">
                          <a:solidFill>
                            <a:schemeClr val="bg1"/>
                          </a:solidFill>
                          <a:latin typeface="+mn-lt"/>
                          <a:ea typeface="+mn-ea"/>
                          <a:cs typeface="+mn-cs"/>
                        </a:rPr>
                        <a:t>1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marL="0" marR="0" lvl="0" indent="0" algn="ctr"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1100" b="1" kern="1200" baseline="0" dirty="0">
                          <a:solidFill>
                            <a:schemeClr val="bg1"/>
                          </a:solidFill>
                          <a:latin typeface="+mn-lt"/>
                          <a:ea typeface="+mn-ea"/>
                          <a:cs typeface="+mn-cs"/>
                        </a:rPr>
                        <a:t>3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1629615388"/>
                  </a:ext>
                </a:extLst>
              </a:tr>
              <a:tr h="430887">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000" b="1" dirty="0">
                          <a:solidFill>
                            <a:schemeClr val="bg1"/>
                          </a:solidFill>
                          <a:latin typeface="+mn-lt"/>
                          <a:ea typeface="Open Sans" charset="0"/>
                          <a:cs typeface="Open Sans" charset="0"/>
                        </a:rPr>
                        <a:t>Annual FTE Cos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marL="0" indent="0" algn="ctr" defTabSz="914400" rtl="0" eaLnBrk="1" latinLnBrk="0" hangingPunct="1">
                        <a:spcAft>
                          <a:spcPts val="200"/>
                        </a:spcAft>
                        <a:buFont typeface="Arial" panose="020B0604020202020204" pitchFamily="34" charset="0"/>
                        <a:buNone/>
                      </a:pPr>
                      <a:endParaRPr lang="en-US" sz="1100" b="1" kern="1200" baseline="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marL="0" indent="0" algn="ctr" defTabSz="914400" rtl="0" eaLnBrk="1" latinLnBrk="0" hangingPunct="1">
                        <a:spcAft>
                          <a:spcPts val="200"/>
                        </a:spcAft>
                        <a:buFont typeface="Arial" panose="020B0604020202020204" pitchFamily="34" charset="0"/>
                        <a:buNone/>
                      </a:pPr>
                      <a:r>
                        <a:rPr lang="en-US" sz="1100" b="1" kern="1200" baseline="0" dirty="0">
                          <a:solidFill>
                            <a:schemeClr val="bg1"/>
                          </a:solidFill>
                          <a:latin typeface="+mn-lt"/>
                          <a:ea typeface="+mn-ea"/>
                          <a:cs typeface="+mn-cs"/>
                        </a:rPr>
                        <a:t>$225K</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marL="0" marR="0" lvl="0" indent="0" algn="ctr"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1100" b="1" kern="1200" baseline="0" dirty="0">
                          <a:solidFill>
                            <a:schemeClr val="bg1"/>
                          </a:solidFill>
                          <a:latin typeface="+mn-lt"/>
                          <a:ea typeface="+mn-ea"/>
                          <a:cs typeface="+mn-cs"/>
                        </a:rPr>
                        <a:t>$975K</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marL="0" marR="0" lvl="0" indent="0" algn="ctr"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1100" b="1" kern="1200" baseline="0" dirty="0">
                          <a:solidFill>
                            <a:schemeClr val="bg1"/>
                          </a:solidFill>
                          <a:latin typeface="+mn-lt"/>
                          <a:ea typeface="+mn-ea"/>
                          <a:cs typeface="+mn-cs"/>
                        </a:rPr>
                        <a:t>$1038K</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marL="0" marR="0" lvl="0" indent="0" algn="ctr"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1100" b="1" kern="1200" baseline="0" dirty="0">
                          <a:solidFill>
                            <a:schemeClr val="bg1"/>
                          </a:solidFill>
                          <a:latin typeface="+mn-lt"/>
                          <a:ea typeface="+mn-ea"/>
                          <a:cs typeface="+mn-cs"/>
                        </a:rPr>
                        <a:t>$2,150K</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1179315886"/>
                  </a:ext>
                </a:extLst>
              </a:tr>
            </a:tbl>
          </a:graphicData>
        </a:graphic>
      </p:graphicFrame>
      <p:grpSp>
        <p:nvGrpSpPr>
          <p:cNvPr id="69" name="Group 68"/>
          <p:cNvGrpSpPr/>
          <p:nvPr/>
        </p:nvGrpSpPr>
        <p:grpSpPr>
          <a:xfrm>
            <a:off x="2174999" y="1444825"/>
            <a:ext cx="5286496" cy="455969"/>
            <a:chOff x="2174999" y="1444825"/>
            <a:chExt cx="5286496" cy="455969"/>
          </a:xfrm>
        </p:grpSpPr>
        <p:sp>
          <p:nvSpPr>
            <p:cNvPr id="10" name="Right Triangle 4">
              <a:extLst>
                <a:ext uri="{FF2B5EF4-FFF2-40B4-BE49-F238E27FC236}">
                  <a16:creationId xmlns:a16="http://schemas.microsoft.com/office/drawing/2014/main" id="{F0BE48CC-015D-4993-B5CC-AA57AECF05E7}"/>
                </a:ext>
              </a:extLst>
            </p:cNvPr>
            <p:cNvSpPr/>
            <p:nvPr/>
          </p:nvSpPr>
          <p:spPr>
            <a:xfrm flipH="1">
              <a:off x="2174999" y="1499399"/>
              <a:ext cx="5286496" cy="330312"/>
            </a:xfrm>
            <a:custGeom>
              <a:avLst/>
              <a:gdLst>
                <a:gd name="connsiteX0" fmla="*/ 0 w 9590314"/>
                <a:gd name="connsiteY0" fmla="*/ 445325 h 445325"/>
                <a:gd name="connsiteX1" fmla="*/ 0 w 9590314"/>
                <a:gd name="connsiteY1" fmla="*/ 0 h 445325"/>
                <a:gd name="connsiteX2" fmla="*/ 9590314 w 9590314"/>
                <a:gd name="connsiteY2" fmla="*/ 445325 h 445325"/>
                <a:gd name="connsiteX3" fmla="*/ 0 w 9590314"/>
                <a:gd name="connsiteY3" fmla="*/ 445325 h 445325"/>
                <a:gd name="connsiteX0" fmla="*/ 0 w 9590314"/>
                <a:gd name="connsiteY0" fmla="*/ 445325 h 445325"/>
                <a:gd name="connsiteX1" fmla="*/ 0 w 9590314"/>
                <a:gd name="connsiteY1" fmla="*/ 0 h 445325"/>
                <a:gd name="connsiteX2" fmla="*/ 9590314 w 9590314"/>
                <a:gd name="connsiteY2" fmla="*/ 445325 h 445325"/>
                <a:gd name="connsiteX3" fmla="*/ 0 w 9590314"/>
                <a:gd name="connsiteY3" fmla="*/ 445325 h 445325"/>
                <a:gd name="connsiteX0" fmla="*/ 0 w 9661830"/>
                <a:gd name="connsiteY0" fmla="*/ 450706 h 450706"/>
                <a:gd name="connsiteX1" fmla="*/ 0 w 9661830"/>
                <a:gd name="connsiteY1" fmla="*/ 5381 h 450706"/>
                <a:gd name="connsiteX2" fmla="*/ 3557649 w 9661830"/>
                <a:gd name="connsiteY2" fmla="*/ 286475 h 450706"/>
                <a:gd name="connsiteX3" fmla="*/ 9590314 w 9661830"/>
                <a:gd name="connsiteY3" fmla="*/ 450706 h 450706"/>
                <a:gd name="connsiteX4" fmla="*/ 0 w 9661830"/>
                <a:gd name="connsiteY4" fmla="*/ 450706 h 450706"/>
                <a:gd name="connsiteX0" fmla="*/ 0 w 9661830"/>
                <a:gd name="connsiteY0" fmla="*/ 768493 h 768493"/>
                <a:gd name="connsiteX1" fmla="*/ 0 w 9661830"/>
                <a:gd name="connsiteY1" fmla="*/ 2535 h 768493"/>
                <a:gd name="connsiteX2" fmla="*/ 3557649 w 9661830"/>
                <a:gd name="connsiteY2" fmla="*/ 604262 h 768493"/>
                <a:gd name="connsiteX3" fmla="*/ 9590314 w 9661830"/>
                <a:gd name="connsiteY3" fmla="*/ 768493 h 768493"/>
                <a:gd name="connsiteX4" fmla="*/ 0 w 9661830"/>
                <a:gd name="connsiteY4" fmla="*/ 768493 h 768493"/>
                <a:gd name="connsiteX0" fmla="*/ 0 w 9661830"/>
                <a:gd name="connsiteY0" fmla="*/ 765958 h 765958"/>
                <a:gd name="connsiteX1" fmla="*/ 0 w 9661830"/>
                <a:gd name="connsiteY1" fmla="*/ 0 h 765958"/>
                <a:gd name="connsiteX2" fmla="*/ 3557649 w 9661830"/>
                <a:gd name="connsiteY2" fmla="*/ 601727 h 765958"/>
                <a:gd name="connsiteX3" fmla="*/ 9590314 w 9661830"/>
                <a:gd name="connsiteY3" fmla="*/ 765958 h 765958"/>
                <a:gd name="connsiteX4" fmla="*/ 0 w 9661830"/>
                <a:gd name="connsiteY4" fmla="*/ 765958 h 765958"/>
                <a:gd name="connsiteX0" fmla="*/ 0 w 9661830"/>
                <a:gd name="connsiteY0" fmla="*/ 944088 h 944088"/>
                <a:gd name="connsiteX1" fmla="*/ 0 w 9661830"/>
                <a:gd name="connsiteY1" fmla="*/ 0 h 944088"/>
                <a:gd name="connsiteX2" fmla="*/ 3557649 w 9661830"/>
                <a:gd name="connsiteY2" fmla="*/ 779857 h 944088"/>
                <a:gd name="connsiteX3" fmla="*/ 9590314 w 9661830"/>
                <a:gd name="connsiteY3" fmla="*/ 944088 h 944088"/>
                <a:gd name="connsiteX4" fmla="*/ 0 w 9661830"/>
                <a:gd name="connsiteY4" fmla="*/ 944088 h 944088"/>
                <a:gd name="connsiteX0" fmla="*/ 0 w 9661830"/>
                <a:gd name="connsiteY0" fmla="*/ 944088 h 944088"/>
                <a:gd name="connsiteX1" fmla="*/ 0 w 9661830"/>
                <a:gd name="connsiteY1" fmla="*/ 0 h 944088"/>
                <a:gd name="connsiteX2" fmla="*/ 3557649 w 9661830"/>
                <a:gd name="connsiteY2" fmla="*/ 779857 h 944088"/>
                <a:gd name="connsiteX3" fmla="*/ 9590314 w 9661830"/>
                <a:gd name="connsiteY3" fmla="*/ 944088 h 944088"/>
                <a:gd name="connsiteX4" fmla="*/ 0 w 9661830"/>
                <a:gd name="connsiteY4" fmla="*/ 944088 h 944088"/>
                <a:gd name="connsiteX0" fmla="*/ 0 w 9680886"/>
                <a:gd name="connsiteY0" fmla="*/ 944088 h 944088"/>
                <a:gd name="connsiteX1" fmla="*/ 0 w 9680886"/>
                <a:gd name="connsiteY1" fmla="*/ 0 h 944088"/>
                <a:gd name="connsiteX2" fmla="*/ 4768932 w 9680886"/>
                <a:gd name="connsiteY2" fmla="*/ 744231 h 944088"/>
                <a:gd name="connsiteX3" fmla="*/ 9590314 w 9680886"/>
                <a:gd name="connsiteY3" fmla="*/ 944088 h 944088"/>
                <a:gd name="connsiteX4" fmla="*/ 0 w 9680886"/>
                <a:gd name="connsiteY4" fmla="*/ 944088 h 944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0886" h="944088">
                  <a:moveTo>
                    <a:pt x="0" y="944088"/>
                  </a:moveTo>
                  <a:lnTo>
                    <a:pt x="0" y="0"/>
                  </a:lnTo>
                  <a:cubicBezTo>
                    <a:pt x="678048" y="465454"/>
                    <a:pt x="3170546" y="670010"/>
                    <a:pt x="4768932" y="744231"/>
                  </a:cubicBezTo>
                  <a:cubicBezTo>
                    <a:pt x="6367318" y="818452"/>
                    <a:pt x="10327739" y="898903"/>
                    <a:pt x="9590314" y="944088"/>
                  </a:cubicBezTo>
                  <a:lnTo>
                    <a:pt x="0" y="944088"/>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pic>
          <p:nvPicPr>
            <p:cNvPr id="11" name="Picture 10">
              <a:extLst>
                <a:ext uri="{FF2B5EF4-FFF2-40B4-BE49-F238E27FC236}">
                  <a16:creationId xmlns:a16="http://schemas.microsoft.com/office/drawing/2014/main" id="{5FF4D5B0-B82F-4FEB-9794-4E0862453D16}"/>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5388778" y="1590547"/>
              <a:ext cx="261350" cy="239203"/>
            </a:xfrm>
            <a:prstGeom prst="rect">
              <a:avLst/>
            </a:prstGeom>
          </p:spPr>
        </p:pic>
        <p:pic>
          <p:nvPicPr>
            <p:cNvPr id="12" name="Picture 11">
              <a:extLst>
                <a:ext uri="{FF2B5EF4-FFF2-40B4-BE49-F238E27FC236}">
                  <a16:creationId xmlns:a16="http://schemas.microsoft.com/office/drawing/2014/main" id="{B0D537AC-D416-4165-BB9F-F9B020F39A84}"/>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046140" y="1567012"/>
              <a:ext cx="283129" cy="259137"/>
            </a:xfrm>
            <a:prstGeom prst="rect">
              <a:avLst/>
            </a:prstGeom>
          </p:spPr>
        </p:pic>
        <p:pic>
          <p:nvPicPr>
            <p:cNvPr id="13" name="Picture 12">
              <a:extLst>
                <a:ext uri="{FF2B5EF4-FFF2-40B4-BE49-F238E27FC236}">
                  <a16:creationId xmlns:a16="http://schemas.microsoft.com/office/drawing/2014/main" id="{4854B451-A54A-4A9B-8AC4-AE68F3B4CAA8}"/>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2713605" y="1641657"/>
              <a:ext cx="283129" cy="259137"/>
            </a:xfrm>
            <a:prstGeom prst="rect">
              <a:avLst/>
            </a:prstGeom>
          </p:spPr>
        </p:pic>
        <p:sp>
          <p:nvSpPr>
            <p:cNvPr id="14" name="Right Arrow 14">
              <a:extLst>
                <a:ext uri="{FF2B5EF4-FFF2-40B4-BE49-F238E27FC236}">
                  <a16:creationId xmlns:a16="http://schemas.microsoft.com/office/drawing/2014/main" id="{D3081C51-362A-4800-88E4-358E59C1BAB9}"/>
                </a:ext>
              </a:extLst>
            </p:cNvPr>
            <p:cNvSpPr/>
            <p:nvPr/>
          </p:nvSpPr>
          <p:spPr>
            <a:xfrm>
              <a:off x="3336335" y="1680500"/>
              <a:ext cx="290334" cy="106996"/>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15" name="Right Arrow 15">
              <a:extLst>
                <a:ext uri="{FF2B5EF4-FFF2-40B4-BE49-F238E27FC236}">
                  <a16:creationId xmlns:a16="http://schemas.microsoft.com/office/drawing/2014/main" id="{98B2F6B4-E5C7-4006-836D-253C476158F4}"/>
                </a:ext>
              </a:extLst>
            </p:cNvPr>
            <p:cNvSpPr/>
            <p:nvPr/>
          </p:nvSpPr>
          <p:spPr>
            <a:xfrm>
              <a:off x="4657944" y="1679608"/>
              <a:ext cx="290334" cy="106996"/>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16" name="Right Arrow 16">
              <a:extLst>
                <a:ext uri="{FF2B5EF4-FFF2-40B4-BE49-F238E27FC236}">
                  <a16:creationId xmlns:a16="http://schemas.microsoft.com/office/drawing/2014/main" id="{6833F431-5804-454D-A211-D316A250880F}"/>
                </a:ext>
              </a:extLst>
            </p:cNvPr>
            <p:cNvSpPr/>
            <p:nvPr/>
          </p:nvSpPr>
          <p:spPr>
            <a:xfrm>
              <a:off x="5979553" y="1678716"/>
              <a:ext cx="290334" cy="106996"/>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pic>
          <p:nvPicPr>
            <p:cNvPr id="9" name="Picture 8">
              <a:extLst>
                <a:ext uri="{FF2B5EF4-FFF2-40B4-BE49-F238E27FC236}">
                  <a16:creationId xmlns:a16="http://schemas.microsoft.com/office/drawing/2014/main" id="{BB5C0078-000E-4F21-8E64-E4BB22C7F376}"/>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6859368" y="1444825"/>
              <a:ext cx="343388" cy="314290"/>
            </a:xfrm>
            <a:prstGeom prst="rect">
              <a:avLst/>
            </a:prstGeom>
          </p:spPr>
        </p:pic>
      </p:grpSp>
      <p:grpSp>
        <p:nvGrpSpPr>
          <p:cNvPr id="70" name="Group 69"/>
          <p:cNvGrpSpPr/>
          <p:nvPr/>
        </p:nvGrpSpPr>
        <p:grpSpPr>
          <a:xfrm>
            <a:off x="2294511" y="2718020"/>
            <a:ext cx="304405" cy="240933"/>
            <a:chOff x="2294511" y="2718020"/>
            <a:chExt cx="304405" cy="240933"/>
          </a:xfrm>
        </p:grpSpPr>
        <p:sp>
          <p:nvSpPr>
            <p:cNvPr id="18" name="Oval 17">
              <a:extLst>
                <a:ext uri="{FF2B5EF4-FFF2-40B4-BE49-F238E27FC236}">
                  <a16:creationId xmlns:a16="http://schemas.microsoft.com/office/drawing/2014/main" id="{5FB0EA17-FEF5-4316-8755-01D4B64A6B6B}"/>
                </a:ext>
              </a:extLst>
            </p:cNvPr>
            <p:cNvSpPr/>
            <p:nvPr/>
          </p:nvSpPr>
          <p:spPr>
            <a:xfrm>
              <a:off x="2326578" y="2718020"/>
              <a:ext cx="240933" cy="24093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black"/>
                </a:solidFill>
                <a:effectLst/>
                <a:uLnTx/>
                <a:uFillTx/>
                <a:ea typeface="+mn-ea"/>
                <a:cs typeface="+mn-cs"/>
              </a:endParaRPr>
            </a:p>
          </p:txBody>
        </p:sp>
        <p:sp>
          <p:nvSpPr>
            <p:cNvPr id="19" name="TextBox 18">
              <a:extLst>
                <a:ext uri="{FF2B5EF4-FFF2-40B4-BE49-F238E27FC236}">
                  <a16:creationId xmlns:a16="http://schemas.microsoft.com/office/drawing/2014/main" id="{F189A44E-0E4D-4675-8C8F-0E4EE9210BFA}"/>
                </a:ext>
              </a:extLst>
            </p:cNvPr>
            <p:cNvSpPr txBox="1"/>
            <p:nvPr/>
          </p:nvSpPr>
          <p:spPr>
            <a:xfrm>
              <a:off x="2294511" y="2731757"/>
              <a:ext cx="304405"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solidFill>
                  <a:effectLst/>
                  <a:uLnTx/>
                  <a:uFillTx/>
                  <a:ea typeface="+mn-ea"/>
                  <a:cs typeface="+mn-cs"/>
                </a:rPr>
                <a:t>i.</a:t>
              </a:r>
            </a:p>
          </p:txBody>
        </p:sp>
      </p:grpSp>
      <p:grpSp>
        <p:nvGrpSpPr>
          <p:cNvPr id="72" name="Group 71"/>
          <p:cNvGrpSpPr/>
          <p:nvPr/>
        </p:nvGrpSpPr>
        <p:grpSpPr>
          <a:xfrm>
            <a:off x="4456687" y="4021439"/>
            <a:ext cx="304405" cy="240933"/>
            <a:chOff x="4456687" y="4021439"/>
            <a:chExt cx="304405" cy="240933"/>
          </a:xfrm>
        </p:grpSpPr>
        <p:sp>
          <p:nvSpPr>
            <p:cNvPr id="21" name="Oval 20">
              <a:extLst>
                <a:ext uri="{FF2B5EF4-FFF2-40B4-BE49-F238E27FC236}">
                  <a16:creationId xmlns:a16="http://schemas.microsoft.com/office/drawing/2014/main" id="{41E54E62-1B7B-48E7-BD77-3DF9F7678021}"/>
                </a:ext>
              </a:extLst>
            </p:cNvPr>
            <p:cNvSpPr/>
            <p:nvPr/>
          </p:nvSpPr>
          <p:spPr>
            <a:xfrm>
              <a:off x="4488754" y="4021439"/>
              <a:ext cx="240933" cy="24093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black"/>
                </a:solidFill>
                <a:effectLst/>
                <a:uLnTx/>
                <a:uFillTx/>
                <a:ea typeface="+mn-ea"/>
                <a:cs typeface="+mn-cs"/>
              </a:endParaRPr>
            </a:p>
          </p:txBody>
        </p:sp>
        <p:sp>
          <p:nvSpPr>
            <p:cNvPr id="22" name="TextBox 21">
              <a:extLst>
                <a:ext uri="{FF2B5EF4-FFF2-40B4-BE49-F238E27FC236}">
                  <a16:creationId xmlns:a16="http://schemas.microsoft.com/office/drawing/2014/main" id="{A70CBCB5-226F-44FF-8140-91258E8C297B}"/>
                </a:ext>
              </a:extLst>
            </p:cNvPr>
            <p:cNvSpPr txBox="1"/>
            <p:nvPr/>
          </p:nvSpPr>
          <p:spPr>
            <a:xfrm>
              <a:off x="4456687" y="4035176"/>
              <a:ext cx="304405"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solidFill>
                  <a:effectLst/>
                  <a:uLnTx/>
                  <a:uFillTx/>
                  <a:ea typeface="+mn-ea"/>
                  <a:cs typeface="+mn-cs"/>
                </a:rPr>
                <a:t>ii.</a:t>
              </a:r>
            </a:p>
          </p:txBody>
        </p:sp>
      </p:grpSp>
      <p:grpSp>
        <p:nvGrpSpPr>
          <p:cNvPr id="74" name="Group 73"/>
          <p:cNvGrpSpPr/>
          <p:nvPr/>
        </p:nvGrpSpPr>
        <p:grpSpPr>
          <a:xfrm>
            <a:off x="5519453" y="2293328"/>
            <a:ext cx="304405" cy="240933"/>
            <a:chOff x="5519453" y="2293328"/>
            <a:chExt cx="304405" cy="240933"/>
          </a:xfrm>
        </p:grpSpPr>
        <p:sp>
          <p:nvSpPr>
            <p:cNvPr id="24" name="Oval 23">
              <a:extLst>
                <a:ext uri="{FF2B5EF4-FFF2-40B4-BE49-F238E27FC236}">
                  <a16:creationId xmlns:a16="http://schemas.microsoft.com/office/drawing/2014/main" id="{A3634998-866B-4521-A89C-C5CBD0001212}"/>
                </a:ext>
              </a:extLst>
            </p:cNvPr>
            <p:cNvSpPr/>
            <p:nvPr/>
          </p:nvSpPr>
          <p:spPr>
            <a:xfrm>
              <a:off x="5551520" y="2293328"/>
              <a:ext cx="240933" cy="24093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prstClr val="black"/>
                </a:solidFill>
                <a:effectLst/>
                <a:uLnTx/>
                <a:uFillTx/>
                <a:ea typeface="+mn-ea"/>
                <a:cs typeface="+mn-cs"/>
              </a:endParaRPr>
            </a:p>
          </p:txBody>
        </p:sp>
        <p:sp>
          <p:nvSpPr>
            <p:cNvPr id="25" name="TextBox 24">
              <a:extLst>
                <a:ext uri="{FF2B5EF4-FFF2-40B4-BE49-F238E27FC236}">
                  <a16:creationId xmlns:a16="http://schemas.microsoft.com/office/drawing/2014/main" id="{E1DBC97E-F286-43D3-B40E-6E667BC92609}"/>
                </a:ext>
              </a:extLst>
            </p:cNvPr>
            <p:cNvSpPr txBox="1"/>
            <p:nvPr/>
          </p:nvSpPr>
          <p:spPr>
            <a:xfrm>
              <a:off x="5519453" y="2307065"/>
              <a:ext cx="304405"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solidFill>
                  <a:effectLst/>
                  <a:uLnTx/>
                  <a:uFillTx/>
                  <a:ea typeface="+mn-ea"/>
                  <a:cs typeface="+mn-cs"/>
                </a:rPr>
                <a:t>iii.</a:t>
              </a:r>
            </a:p>
          </p:txBody>
        </p:sp>
      </p:grpSp>
      <p:grpSp>
        <p:nvGrpSpPr>
          <p:cNvPr id="73" name="Group 72"/>
          <p:cNvGrpSpPr/>
          <p:nvPr/>
        </p:nvGrpSpPr>
        <p:grpSpPr>
          <a:xfrm>
            <a:off x="6554963" y="2723308"/>
            <a:ext cx="304405" cy="240933"/>
            <a:chOff x="6554963" y="2723308"/>
            <a:chExt cx="304405" cy="240933"/>
          </a:xfrm>
        </p:grpSpPr>
        <p:sp>
          <p:nvSpPr>
            <p:cNvPr id="27" name="Oval 26">
              <a:extLst>
                <a:ext uri="{FF2B5EF4-FFF2-40B4-BE49-F238E27FC236}">
                  <a16:creationId xmlns:a16="http://schemas.microsoft.com/office/drawing/2014/main" id="{94444BD0-5F29-4BD9-A3F4-E305428C5244}"/>
                </a:ext>
              </a:extLst>
            </p:cNvPr>
            <p:cNvSpPr/>
            <p:nvPr/>
          </p:nvSpPr>
          <p:spPr>
            <a:xfrm>
              <a:off x="6587030" y="2723308"/>
              <a:ext cx="240933" cy="24093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black"/>
                </a:solidFill>
                <a:effectLst/>
                <a:uLnTx/>
                <a:uFillTx/>
                <a:ea typeface="+mn-ea"/>
                <a:cs typeface="+mn-cs"/>
              </a:endParaRPr>
            </a:p>
          </p:txBody>
        </p:sp>
        <p:sp>
          <p:nvSpPr>
            <p:cNvPr id="28" name="TextBox 27">
              <a:extLst>
                <a:ext uri="{FF2B5EF4-FFF2-40B4-BE49-F238E27FC236}">
                  <a16:creationId xmlns:a16="http://schemas.microsoft.com/office/drawing/2014/main" id="{FD2F41A1-BD53-4991-8765-FB8B4B527279}"/>
                </a:ext>
              </a:extLst>
            </p:cNvPr>
            <p:cNvSpPr txBox="1"/>
            <p:nvPr/>
          </p:nvSpPr>
          <p:spPr>
            <a:xfrm>
              <a:off x="6554963" y="2737045"/>
              <a:ext cx="304405"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solidFill>
                  <a:effectLst/>
                  <a:uLnTx/>
                  <a:uFillTx/>
                  <a:ea typeface="+mn-ea"/>
                  <a:cs typeface="+mn-cs"/>
                </a:rPr>
                <a:t>iv.</a:t>
              </a:r>
            </a:p>
          </p:txBody>
        </p:sp>
      </p:grpSp>
      <p:grpSp>
        <p:nvGrpSpPr>
          <p:cNvPr id="71" name="Group 70"/>
          <p:cNvGrpSpPr/>
          <p:nvPr/>
        </p:nvGrpSpPr>
        <p:grpSpPr>
          <a:xfrm>
            <a:off x="6558223" y="4876291"/>
            <a:ext cx="304405" cy="240933"/>
            <a:chOff x="6558223" y="4876291"/>
            <a:chExt cx="304405" cy="240933"/>
          </a:xfrm>
        </p:grpSpPr>
        <p:sp>
          <p:nvSpPr>
            <p:cNvPr id="30" name="Oval 29">
              <a:extLst>
                <a:ext uri="{FF2B5EF4-FFF2-40B4-BE49-F238E27FC236}">
                  <a16:creationId xmlns:a16="http://schemas.microsoft.com/office/drawing/2014/main" id="{2D63440A-C28C-4C25-A8EF-EE2BB1603546}"/>
                </a:ext>
              </a:extLst>
            </p:cNvPr>
            <p:cNvSpPr/>
            <p:nvPr/>
          </p:nvSpPr>
          <p:spPr>
            <a:xfrm>
              <a:off x="6590290" y="4876291"/>
              <a:ext cx="240933" cy="24093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black"/>
                </a:solidFill>
                <a:effectLst/>
                <a:uLnTx/>
                <a:uFillTx/>
                <a:ea typeface="+mn-ea"/>
                <a:cs typeface="+mn-cs"/>
              </a:endParaRPr>
            </a:p>
          </p:txBody>
        </p:sp>
        <p:sp>
          <p:nvSpPr>
            <p:cNvPr id="31" name="TextBox 30">
              <a:extLst>
                <a:ext uri="{FF2B5EF4-FFF2-40B4-BE49-F238E27FC236}">
                  <a16:creationId xmlns:a16="http://schemas.microsoft.com/office/drawing/2014/main" id="{945A3561-360E-4854-966C-5CD23A7844AC}"/>
                </a:ext>
              </a:extLst>
            </p:cNvPr>
            <p:cNvSpPr txBox="1"/>
            <p:nvPr/>
          </p:nvSpPr>
          <p:spPr>
            <a:xfrm>
              <a:off x="6558223" y="4890028"/>
              <a:ext cx="304405"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solidFill>
                  <a:effectLst/>
                  <a:uLnTx/>
                  <a:uFillTx/>
                  <a:ea typeface="+mn-ea"/>
                  <a:cs typeface="+mn-cs"/>
                </a:rPr>
                <a:t>v.</a:t>
              </a:r>
            </a:p>
          </p:txBody>
        </p:sp>
      </p:grpSp>
      <p:grpSp>
        <p:nvGrpSpPr>
          <p:cNvPr id="68" name="Group 67"/>
          <p:cNvGrpSpPr/>
          <p:nvPr/>
        </p:nvGrpSpPr>
        <p:grpSpPr>
          <a:xfrm>
            <a:off x="7734308" y="2311363"/>
            <a:ext cx="4188541" cy="3533727"/>
            <a:chOff x="7734308" y="2311363"/>
            <a:chExt cx="4188541" cy="3533727"/>
          </a:xfrm>
        </p:grpSpPr>
        <p:grpSp>
          <p:nvGrpSpPr>
            <p:cNvPr id="63" name="Group 62"/>
            <p:cNvGrpSpPr/>
            <p:nvPr/>
          </p:nvGrpSpPr>
          <p:grpSpPr>
            <a:xfrm>
              <a:off x="7734308" y="2311363"/>
              <a:ext cx="4123288" cy="400110"/>
              <a:chOff x="7734308" y="2311363"/>
              <a:chExt cx="4123288" cy="400110"/>
            </a:xfrm>
          </p:grpSpPr>
          <p:grpSp>
            <p:nvGrpSpPr>
              <p:cNvPr id="62" name="Group 61"/>
              <p:cNvGrpSpPr/>
              <p:nvPr/>
            </p:nvGrpSpPr>
            <p:grpSpPr>
              <a:xfrm>
                <a:off x="7734308" y="2311363"/>
                <a:ext cx="346587" cy="274320"/>
                <a:chOff x="7734308" y="2311363"/>
                <a:chExt cx="346587" cy="274320"/>
              </a:xfrm>
            </p:grpSpPr>
            <p:sp>
              <p:nvSpPr>
                <p:cNvPr id="35" name="Oval 34">
                  <a:extLst>
                    <a:ext uri="{FF2B5EF4-FFF2-40B4-BE49-F238E27FC236}">
                      <a16:creationId xmlns:a16="http://schemas.microsoft.com/office/drawing/2014/main" id="{6BB0C9D7-8209-4B9D-A92A-435A00A6BBC3}"/>
                    </a:ext>
                  </a:extLst>
                </p:cNvPr>
                <p:cNvSpPr/>
                <p:nvPr/>
              </p:nvSpPr>
              <p:spPr>
                <a:xfrm>
                  <a:off x="7770819" y="2311363"/>
                  <a:ext cx="274320" cy="2743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ea typeface="+mn-ea"/>
                    <a:cs typeface="+mn-cs"/>
                  </a:endParaRPr>
                </a:p>
              </p:txBody>
            </p:sp>
            <p:sp>
              <p:nvSpPr>
                <p:cNvPr id="36" name="TextBox 35">
                  <a:extLst>
                    <a:ext uri="{FF2B5EF4-FFF2-40B4-BE49-F238E27FC236}">
                      <a16:creationId xmlns:a16="http://schemas.microsoft.com/office/drawing/2014/main" id="{EB211198-E962-4F0C-895A-D9F4C605054F}"/>
                    </a:ext>
                  </a:extLst>
                </p:cNvPr>
                <p:cNvSpPr txBox="1"/>
                <p:nvPr/>
              </p:nvSpPr>
              <p:spPr>
                <a:xfrm>
                  <a:off x="7734308" y="2327004"/>
                  <a:ext cx="346587"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i.</a:t>
                  </a:r>
                </a:p>
              </p:txBody>
            </p:sp>
          </p:grpSp>
          <p:sp>
            <p:nvSpPr>
              <p:cNvPr id="34" name="TextBox 33">
                <a:extLst>
                  <a:ext uri="{FF2B5EF4-FFF2-40B4-BE49-F238E27FC236}">
                    <a16:creationId xmlns:a16="http://schemas.microsoft.com/office/drawing/2014/main" id="{32A02F17-6997-4436-930A-0F20894DF9BD}"/>
                  </a:ext>
                </a:extLst>
              </p:cNvPr>
              <p:cNvSpPr txBox="1"/>
              <p:nvPr/>
            </p:nvSpPr>
            <p:spPr>
              <a:xfrm>
                <a:off x="8030390" y="2311363"/>
                <a:ext cx="3827206"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mn-ea"/>
                    <a:cs typeface="+mn-cs"/>
                  </a:rPr>
                  <a:t>Vendor and Buyer Support staff are likely to be working remotely (or offshore), incurring less overhead expense. </a:t>
                </a:r>
              </a:p>
            </p:txBody>
          </p:sp>
        </p:grpSp>
        <p:grpSp>
          <p:nvGrpSpPr>
            <p:cNvPr id="64" name="Group 63"/>
            <p:cNvGrpSpPr/>
            <p:nvPr/>
          </p:nvGrpSpPr>
          <p:grpSpPr>
            <a:xfrm>
              <a:off x="7734308" y="3017823"/>
              <a:ext cx="4152030" cy="400110"/>
              <a:chOff x="7734308" y="3017823"/>
              <a:chExt cx="4152030" cy="400110"/>
            </a:xfrm>
          </p:grpSpPr>
          <p:grpSp>
            <p:nvGrpSpPr>
              <p:cNvPr id="61" name="Group 60"/>
              <p:cNvGrpSpPr/>
              <p:nvPr/>
            </p:nvGrpSpPr>
            <p:grpSpPr>
              <a:xfrm>
                <a:off x="7734308" y="3017823"/>
                <a:ext cx="346587" cy="274320"/>
                <a:chOff x="7734308" y="3017823"/>
                <a:chExt cx="346587" cy="274320"/>
              </a:xfrm>
            </p:grpSpPr>
            <p:sp>
              <p:nvSpPr>
                <p:cNvPr id="40" name="Oval 39">
                  <a:extLst>
                    <a:ext uri="{FF2B5EF4-FFF2-40B4-BE49-F238E27FC236}">
                      <a16:creationId xmlns:a16="http://schemas.microsoft.com/office/drawing/2014/main" id="{AC0E73D4-EED5-496F-BD62-04FA75AB269B}"/>
                    </a:ext>
                  </a:extLst>
                </p:cNvPr>
                <p:cNvSpPr/>
                <p:nvPr/>
              </p:nvSpPr>
              <p:spPr>
                <a:xfrm>
                  <a:off x="7770819" y="3017823"/>
                  <a:ext cx="274320" cy="2743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ea typeface="+mn-ea"/>
                    <a:cs typeface="+mn-cs"/>
                  </a:endParaRPr>
                </a:p>
              </p:txBody>
            </p:sp>
            <p:sp>
              <p:nvSpPr>
                <p:cNvPr id="41" name="TextBox 40">
                  <a:extLst>
                    <a:ext uri="{FF2B5EF4-FFF2-40B4-BE49-F238E27FC236}">
                      <a16:creationId xmlns:a16="http://schemas.microsoft.com/office/drawing/2014/main" id="{A93DEAE5-8BD7-4631-9584-21B3B17B67C0}"/>
                    </a:ext>
                  </a:extLst>
                </p:cNvPr>
                <p:cNvSpPr txBox="1"/>
                <p:nvPr/>
              </p:nvSpPr>
              <p:spPr>
                <a:xfrm>
                  <a:off x="7734308" y="3033464"/>
                  <a:ext cx="346587"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ii.</a:t>
                  </a:r>
                </a:p>
              </p:txBody>
            </p:sp>
          </p:grpSp>
          <p:sp>
            <p:nvSpPr>
              <p:cNvPr id="39" name="TextBox 38">
                <a:extLst>
                  <a:ext uri="{FF2B5EF4-FFF2-40B4-BE49-F238E27FC236}">
                    <a16:creationId xmlns:a16="http://schemas.microsoft.com/office/drawing/2014/main" id="{B8764CE7-2530-4DB9-95C7-AFCD24465DE1}"/>
                  </a:ext>
                </a:extLst>
              </p:cNvPr>
              <p:cNvSpPr txBox="1"/>
              <p:nvPr/>
            </p:nvSpPr>
            <p:spPr>
              <a:xfrm>
                <a:off x="8059132" y="3017823"/>
                <a:ext cx="3827206"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mn-ea"/>
                    <a:cs typeface="+mn-cs"/>
                  </a:rPr>
                  <a:t>Fulfillment resources will be required to manage orders and inventory in operational phase (</a:t>
                </a:r>
              </a:p>
            </p:txBody>
          </p:sp>
        </p:grpSp>
        <p:grpSp>
          <p:nvGrpSpPr>
            <p:cNvPr id="65" name="Group 64"/>
            <p:cNvGrpSpPr/>
            <p:nvPr/>
          </p:nvGrpSpPr>
          <p:grpSpPr>
            <a:xfrm>
              <a:off x="7734308" y="3724283"/>
              <a:ext cx="4159044" cy="707886"/>
              <a:chOff x="7734308" y="3724283"/>
              <a:chExt cx="4159044" cy="707886"/>
            </a:xfrm>
          </p:grpSpPr>
          <p:grpSp>
            <p:nvGrpSpPr>
              <p:cNvPr id="60" name="Group 59"/>
              <p:cNvGrpSpPr/>
              <p:nvPr/>
            </p:nvGrpSpPr>
            <p:grpSpPr>
              <a:xfrm>
                <a:off x="7734308" y="3724283"/>
                <a:ext cx="346587" cy="274320"/>
                <a:chOff x="7734308" y="3724283"/>
                <a:chExt cx="346587" cy="274320"/>
              </a:xfrm>
            </p:grpSpPr>
            <p:sp>
              <p:nvSpPr>
                <p:cNvPr id="45" name="Oval 44">
                  <a:extLst>
                    <a:ext uri="{FF2B5EF4-FFF2-40B4-BE49-F238E27FC236}">
                      <a16:creationId xmlns:a16="http://schemas.microsoft.com/office/drawing/2014/main" id="{4994DA15-7F61-4474-8820-C2D67497CBA0}"/>
                    </a:ext>
                  </a:extLst>
                </p:cNvPr>
                <p:cNvSpPr/>
                <p:nvPr/>
              </p:nvSpPr>
              <p:spPr>
                <a:xfrm>
                  <a:off x="7770819" y="3724283"/>
                  <a:ext cx="274320" cy="2743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ea typeface="+mn-ea"/>
                    <a:cs typeface="+mn-cs"/>
                  </a:endParaRPr>
                </a:p>
              </p:txBody>
            </p:sp>
            <p:sp>
              <p:nvSpPr>
                <p:cNvPr id="46" name="TextBox 45">
                  <a:extLst>
                    <a:ext uri="{FF2B5EF4-FFF2-40B4-BE49-F238E27FC236}">
                      <a16:creationId xmlns:a16="http://schemas.microsoft.com/office/drawing/2014/main" id="{A3A04226-7515-4E33-AE21-288DEB641DB7}"/>
                    </a:ext>
                  </a:extLst>
                </p:cNvPr>
                <p:cNvSpPr txBox="1"/>
                <p:nvPr/>
              </p:nvSpPr>
              <p:spPr>
                <a:xfrm>
                  <a:off x="7734308" y="3739924"/>
                  <a:ext cx="346587"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iii.</a:t>
                  </a:r>
                </a:p>
              </p:txBody>
            </p:sp>
          </p:grpSp>
          <p:sp>
            <p:nvSpPr>
              <p:cNvPr id="44" name="TextBox 43">
                <a:extLst>
                  <a:ext uri="{FF2B5EF4-FFF2-40B4-BE49-F238E27FC236}">
                    <a16:creationId xmlns:a16="http://schemas.microsoft.com/office/drawing/2014/main" id="{0FD95A65-6615-4AE1-AE6D-1E368AE19BAD}"/>
                  </a:ext>
                </a:extLst>
              </p:cNvPr>
              <p:cNvSpPr txBox="1"/>
              <p:nvPr/>
            </p:nvSpPr>
            <p:spPr>
              <a:xfrm>
                <a:off x="8066146" y="3724283"/>
                <a:ext cx="3827206"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mn-ea"/>
                    <a:cs typeface="+mn-cs"/>
                  </a:rPr>
                  <a:t>A dedicated marketing team is required in proficient phase; capability will consist of team lead, outbound campaign manager, email/direct mail manager, and social media manager</a:t>
                </a:r>
              </a:p>
            </p:txBody>
          </p:sp>
        </p:grpSp>
        <p:grpSp>
          <p:nvGrpSpPr>
            <p:cNvPr id="66" name="Group 65"/>
            <p:cNvGrpSpPr/>
            <p:nvPr/>
          </p:nvGrpSpPr>
          <p:grpSpPr>
            <a:xfrm>
              <a:off x="7734308" y="4430743"/>
              <a:ext cx="4159044" cy="400110"/>
              <a:chOff x="7734308" y="4430743"/>
              <a:chExt cx="4159044" cy="400110"/>
            </a:xfrm>
          </p:grpSpPr>
          <p:grpSp>
            <p:nvGrpSpPr>
              <p:cNvPr id="59" name="Group 58"/>
              <p:cNvGrpSpPr/>
              <p:nvPr/>
            </p:nvGrpSpPr>
            <p:grpSpPr>
              <a:xfrm>
                <a:off x="7734308" y="4430743"/>
                <a:ext cx="346587" cy="274320"/>
                <a:chOff x="7734308" y="4430743"/>
                <a:chExt cx="346587" cy="274320"/>
              </a:xfrm>
            </p:grpSpPr>
            <p:sp>
              <p:nvSpPr>
                <p:cNvPr id="50" name="Oval 49">
                  <a:extLst>
                    <a:ext uri="{FF2B5EF4-FFF2-40B4-BE49-F238E27FC236}">
                      <a16:creationId xmlns:a16="http://schemas.microsoft.com/office/drawing/2014/main" id="{175BB273-31AD-40B4-9F24-E52563BFBCB6}"/>
                    </a:ext>
                  </a:extLst>
                </p:cNvPr>
                <p:cNvSpPr/>
                <p:nvPr/>
              </p:nvSpPr>
              <p:spPr>
                <a:xfrm>
                  <a:off x="7770819" y="4430743"/>
                  <a:ext cx="274320" cy="2743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ea typeface="+mn-ea"/>
                    <a:cs typeface="+mn-cs"/>
                  </a:endParaRPr>
                </a:p>
              </p:txBody>
            </p:sp>
            <p:sp>
              <p:nvSpPr>
                <p:cNvPr id="51" name="TextBox 50">
                  <a:extLst>
                    <a:ext uri="{FF2B5EF4-FFF2-40B4-BE49-F238E27FC236}">
                      <a16:creationId xmlns:a16="http://schemas.microsoft.com/office/drawing/2014/main" id="{CBF1DF88-DACE-4540-9DB5-FD8843988276}"/>
                    </a:ext>
                  </a:extLst>
                </p:cNvPr>
                <p:cNvSpPr txBox="1"/>
                <p:nvPr/>
              </p:nvSpPr>
              <p:spPr>
                <a:xfrm>
                  <a:off x="7734308" y="4446384"/>
                  <a:ext cx="346587"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iv.</a:t>
                  </a:r>
                </a:p>
              </p:txBody>
            </p:sp>
          </p:grpSp>
          <p:sp>
            <p:nvSpPr>
              <p:cNvPr id="49" name="TextBox 48">
                <a:extLst>
                  <a:ext uri="{FF2B5EF4-FFF2-40B4-BE49-F238E27FC236}">
                    <a16:creationId xmlns:a16="http://schemas.microsoft.com/office/drawing/2014/main" id="{CEFAB511-5B48-4890-BE5C-C608644F8FD3}"/>
                  </a:ext>
                </a:extLst>
              </p:cNvPr>
              <p:cNvSpPr txBox="1"/>
              <p:nvPr/>
            </p:nvSpPr>
            <p:spPr>
              <a:xfrm>
                <a:off x="8066146" y="4430743"/>
                <a:ext cx="3827206"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mn-ea"/>
                    <a:cs typeface="+mn-cs"/>
                  </a:rPr>
                  <a:t>Vendor and buyer support will be critical to manage experience; </a:t>
                </a:r>
              </a:p>
            </p:txBody>
          </p:sp>
        </p:grpSp>
        <p:grpSp>
          <p:nvGrpSpPr>
            <p:cNvPr id="67" name="Group 66"/>
            <p:cNvGrpSpPr/>
            <p:nvPr/>
          </p:nvGrpSpPr>
          <p:grpSpPr>
            <a:xfrm>
              <a:off x="7734308" y="5137204"/>
              <a:ext cx="4188541" cy="707886"/>
              <a:chOff x="7734308" y="5137204"/>
              <a:chExt cx="4188541" cy="707886"/>
            </a:xfrm>
          </p:grpSpPr>
          <p:grpSp>
            <p:nvGrpSpPr>
              <p:cNvPr id="58" name="Group 57"/>
              <p:cNvGrpSpPr/>
              <p:nvPr/>
            </p:nvGrpSpPr>
            <p:grpSpPr>
              <a:xfrm>
                <a:off x="7734308" y="5137204"/>
                <a:ext cx="346587" cy="274320"/>
                <a:chOff x="7734308" y="5137204"/>
                <a:chExt cx="346587" cy="274320"/>
              </a:xfrm>
            </p:grpSpPr>
            <p:sp>
              <p:nvSpPr>
                <p:cNvPr id="55" name="Oval 54">
                  <a:extLst>
                    <a:ext uri="{FF2B5EF4-FFF2-40B4-BE49-F238E27FC236}">
                      <a16:creationId xmlns:a16="http://schemas.microsoft.com/office/drawing/2014/main" id="{B23EAEF6-2D1D-443E-AF38-D1BC65AB271E}"/>
                    </a:ext>
                  </a:extLst>
                </p:cNvPr>
                <p:cNvSpPr/>
                <p:nvPr/>
              </p:nvSpPr>
              <p:spPr>
                <a:xfrm>
                  <a:off x="7770819" y="5137204"/>
                  <a:ext cx="274320" cy="2743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ea typeface="+mn-ea"/>
                    <a:cs typeface="+mn-cs"/>
                  </a:endParaRPr>
                </a:p>
              </p:txBody>
            </p:sp>
            <p:sp>
              <p:nvSpPr>
                <p:cNvPr id="56" name="TextBox 55">
                  <a:extLst>
                    <a:ext uri="{FF2B5EF4-FFF2-40B4-BE49-F238E27FC236}">
                      <a16:creationId xmlns:a16="http://schemas.microsoft.com/office/drawing/2014/main" id="{2D712A43-8ECC-43E9-960E-A679FAD723DA}"/>
                    </a:ext>
                  </a:extLst>
                </p:cNvPr>
                <p:cNvSpPr txBox="1"/>
                <p:nvPr/>
              </p:nvSpPr>
              <p:spPr>
                <a:xfrm>
                  <a:off x="7734308" y="5152845"/>
                  <a:ext cx="346587"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v.</a:t>
                  </a:r>
                </a:p>
              </p:txBody>
            </p:sp>
          </p:grpSp>
          <p:sp>
            <p:nvSpPr>
              <p:cNvPr id="54" name="TextBox 53">
                <a:extLst>
                  <a:ext uri="{FF2B5EF4-FFF2-40B4-BE49-F238E27FC236}">
                    <a16:creationId xmlns:a16="http://schemas.microsoft.com/office/drawing/2014/main" id="{296C0232-1992-419C-A938-42114BF897F3}"/>
                  </a:ext>
                </a:extLst>
              </p:cNvPr>
              <p:cNvSpPr txBox="1"/>
              <p:nvPr/>
            </p:nvSpPr>
            <p:spPr>
              <a:xfrm>
                <a:off x="8095643" y="5137204"/>
                <a:ext cx="3827206"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mn-ea"/>
                    <a:cs typeface="+mn-cs"/>
                  </a:rPr>
                  <a:t>As value-added services are introduced in the strategic phase, new FTEs will be onboarded to focus on development of service portfolio, initial customer acquisition, and overall marketplace growth</a:t>
                </a:r>
              </a:p>
            </p:txBody>
          </p:sp>
        </p:grpSp>
      </p:grpSp>
      <p:sp>
        <p:nvSpPr>
          <p:cNvPr id="57" name="TextBox 56">
            <a:extLst>
              <a:ext uri="{FF2B5EF4-FFF2-40B4-BE49-F238E27FC236}">
                <a16:creationId xmlns:a16="http://schemas.microsoft.com/office/drawing/2014/main" id="{D11574B4-4559-42E2-9BFE-70F5F44ECEC7}"/>
              </a:ext>
            </a:extLst>
          </p:cNvPr>
          <p:cNvSpPr txBox="1"/>
          <p:nvPr/>
        </p:nvSpPr>
        <p:spPr>
          <a:xfrm>
            <a:off x="7710658" y="1900794"/>
            <a:ext cx="382720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Select Headcount Rationale</a:t>
            </a:r>
          </a:p>
        </p:txBody>
      </p:sp>
    </p:spTree>
    <p:extLst>
      <p:ext uri="{BB962C8B-B14F-4D97-AF65-F5344CB8AC3E}">
        <p14:creationId xmlns:p14="http://schemas.microsoft.com/office/powerpoint/2010/main" val="5680340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Object 45" hidden="1">
            <a:extLst>
              <a:ext uri="{FF2B5EF4-FFF2-40B4-BE49-F238E27FC236}">
                <a16:creationId xmlns:a16="http://schemas.microsoft.com/office/drawing/2014/main" id="{737BC39B-3115-4EF9-B75C-D1ED012F000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4" name="think-cell Slide" r:id="rId5" imgW="395" imgH="396" progId="TCLayout.ActiveDocument.1">
                  <p:embed/>
                </p:oleObj>
              </mc:Choice>
              <mc:Fallback>
                <p:oleObj name="think-cell Slide" r:id="rId5" imgW="395" imgH="396" progId="TCLayout.ActiveDocument.1">
                  <p:embed/>
                  <p:pic>
                    <p:nvPicPr>
                      <p:cNvPr id="46" name="Object 45" hidden="1">
                        <a:extLst>
                          <a:ext uri="{FF2B5EF4-FFF2-40B4-BE49-F238E27FC236}">
                            <a16:creationId xmlns:a16="http://schemas.microsoft.com/office/drawing/2014/main" id="{737BC39B-3115-4EF9-B75C-D1ED012F000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4" name="Rectangle 23">
            <a:extLst>
              <a:ext uri="{FF2B5EF4-FFF2-40B4-BE49-F238E27FC236}">
                <a16:creationId xmlns:a16="http://schemas.microsoft.com/office/drawing/2014/main" id="{B76E5069-B1FA-49BF-A78E-0A35EB095B36}"/>
              </a:ext>
            </a:extLst>
          </p:cNvPr>
          <p:cNvSpPr/>
          <p:nvPr/>
        </p:nvSpPr>
        <p:spPr bwMode="gray">
          <a:xfrm>
            <a:off x="0" y="-1"/>
            <a:ext cx="12192000" cy="3061533"/>
          </a:xfrm>
          <a:prstGeom prst="rect">
            <a:avLst/>
          </a:prstGeom>
          <a:solidFill>
            <a:srgbClr val="012169">
              <a:lumMod val="20000"/>
              <a:lumOff val="80000"/>
            </a:srgbClr>
          </a:solidFill>
          <a:ln w="19050" algn="ctr">
            <a:noFill/>
            <a:miter lim="800000"/>
            <a:headEnd/>
            <a:tailEnd/>
          </a:ln>
        </p:spPr>
        <p:txBody>
          <a:bodyPr wrap="square" lIns="88900" tIns="88900" rIns="88900" bIns="88900"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Verdana"/>
            </a:endParaRPr>
          </a:p>
        </p:txBody>
      </p:sp>
      <p:sp>
        <p:nvSpPr>
          <p:cNvPr id="2" name="Title 1">
            <a:extLst>
              <a:ext uri="{FF2B5EF4-FFF2-40B4-BE49-F238E27FC236}">
                <a16:creationId xmlns:a16="http://schemas.microsoft.com/office/drawing/2014/main" id="{EAC6D209-3DD3-4CB7-AD68-DA2216B26798}"/>
              </a:ext>
            </a:extLst>
          </p:cNvPr>
          <p:cNvSpPr>
            <a:spLocks noGrp="1"/>
          </p:cNvSpPr>
          <p:nvPr>
            <p:ph type="title"/>
          </p:nvPr>
        </p:nvSpPr>
        <p:spPr/>
        <p:txBody>
          <a:bodyPr/>
          <a:lstStyle/>
          <a:p>
            <a:r>
              <a:rPr lang="en-US" dirty="0"/>
              <a:t>Agenda</a:t>
            </a:r>
          </a:p>
        </p:txBody>
      </p:sp>
      <p:sp>
        <p:nvSpPr>
          <p:cNvPr id="3" name="Text Placeholder 2">
            <a:extLst>
              <a:ext uri="{FF2B5EF4-FFF2-40B4-BE49-F238E27FC236}">
                <a16:creationId xmlns:a16="http://schemas.microsoft.com/office/drawing/2014/main" id="{FC5480AC-DF5E-418D-A0D7-0EC074D2E863}"/>
              </a:ext>
            </a:extLst>
          </p:cNvPr>
          <p:cNvSpPr>
            <a:spLocks noGrp="1"/>
          </p:cNvSpPr>
          <p:nvPr>
            <p:ph type="body" sz="quarter" idx="15"/>
          </p:nvPr>
        </p:nvSpPr>
        <p:spPr/>
        <p:txBody>
          <a:bodyPr/>
          <a:lstStyle/>
          <a:p>
            <a:r>
              <a:rPr lang="en-US" dirty="0"/>
              <a:t>Agenda &amp; Table of Contents</a:t>
            </a:r>
          </a:p>
        </p:txBody>
      </p:sp>
      <p:sp>
        <p:nvSpPr>
          <p:cNvPr id="25" name="Rectangle 24">
            <a:extLst>
              <a:ext uri="{FF2B5EF4-FFF2-40B4-BE49-F238E27FC236}">
                <a16:creationId xmlns:a16="http://schemas.microsoft.com/office/drawing/2014/main" id="{240A8CEE-E9EF-45A0-9E2A-B61BCD93BD38}"/>
              </a:ext>
            </a:extLst>
          </p:cNvPr>
          <p:cNvSpPr/>
          <p:nvPr/>
        </p:nvSpPr>
        <p:spPr bwMode="gray">
          <a:xfrm>
            <a:off x="280402" y="3072341"/>
            <a:ext cx="2743200" cy="547176"/>
          </a:xfrm>
          <a:prstGeom prst="rect">
            <a:avLst/>
          </a:prstGeom>
          <a:solidFill>
            <a:srgbClr val="012169">
              <a:lumMod val="60000"/>
              <a:lumOff val="40000"/>
            </a:srgbClr>
          </a:solidFill>
          <a:ln w="19050" algn="ctr">
            <a:noFill/>
            <a:miter lim="800000"/>
            <a:headEnd/>
            <a:tailEnd/>
          </a:ln>
        </p:spPr>
        <p:txBody>
          <a:bodyPr wrap="square" lIns="88900" tIns="88900" rIns="88900" bIns="88900"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endParaRPr>
          </a:p>
        </p:txBody>
      </p:sp>
      <p:sp>
        <p:nvSpPr>
          <p:cNvPr id="26" name="Rectangle 25">
            <a:extLst>
              <a:ext uri="{FF2B5EF4-FFF2-40B4-BE49-F238E27FC236}">
                <a16:creationId xmlns:a16="http://schemas.microsoft.com/office/drawing/2014/main" id="{C842747B-5D4C-4155-B627-D720AC5C863E}"/>
              </a:ext>
            </a:extLst>
          </p:cNvPr>
          <p:cNvSpPr/>
          <p:nvPr/>
        </p:nvSpPr>
        <p:spPr bwMode="gray">
          <a:xfrm>
            <a:off x="3251855" y="3045491"/>
            <a:ext cx="2743200" cy="710600"/>
          </a:xfrm>
          <a:prstGeom prst="rect">
            <a:avLst/>
          </a:prstGeom>
          <a:solidFill>
            <a:srgbClr val="012169">
              <a:lumMod val="60000"/>
              <a:lumOff val="40000"/>
            </a:srgbClr>
          </a:solidFill>
          <a:ln w="19050" algn="ctr">
            <a:noFill/>
            <a:miter lim="800000"/>
            <a:headEnd/>
            <a:tailEnd/>
          </a:ln>
        </p:spPr>
        <p:txBody>
          <a:bodyPr wrap="square" lIns="88900" tIns="88900" rIns="88900" bIns="88900"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endParaRPr>
          </a:p>
        </p:txBody>
      </p:sp>
      <p:sp>
        <p:nvSpPr>
          <p:cNvPr id="27" name="TextBox 26">
            <a:extLst>
              <a:ext uri="{FF2B5EF4-FFF2-40B4-BE49-F238E27FC236}">
                <a16:creationId xmlns:a16="http://schemas.microsoft.com/office/drawing/2014/main" id="{6C1D6AAF-8096-46AA-BAE4-593ABE1D770E}"/>
              </a:ext>
            </a:extLst>
          </p:cNvPr>
          <p:cNvSpPr txBox="1"/>
          <p:nvPr/>
        </p:nvSpPr>
        <p:spPr>
          <a:xfrm>
            <a:off x="514597" y="3219603"/>
            <a:ext cx="1607812" cy="1000274"/>
          </a:xfrm>
          <a:prstGeom prst="rect">
            <a:avLst/>
          </a:prstGeom>
          <a:noFill/>
        </p:spPr>
        <p:txBody>
          <a:bodyPr vert="horz" wrap="none" lIns="0" tIns="0" rIns="0" bIns="0" rtlCol="0">
            <a:spAutoFit/>
          </a:bodyPr>
          <a:lstStyle/>
          <a:p>
            <a:pPr defTabSz="1219170">
              <a:spcBef>
                <a:spcPts val="200"/>
              </a:spcBef>
              <a:buSzPct val="100000"/>
              <a:defRPr/>
            </a:pPr>
            <a:r>
              <a:rPr lang="en-US" sz="1600" b="1" cap="all" dirty="0">
                <a:solidFill>
                  <a:prstClr val="white"/>
                </a:solidFill>
                <a:ea typeface="Open Sans" panose="020B0606030504020204" pitchFamily="34" charset="0"/>
                <a:cs typeface="Open Sans" panose="020B0606030504020204" pitchFamily="34" charset="0"/>
              </a:rPr>
              <a:t>Introduction</a:t>
            </a:r>
          </a:p>
          <a:p>
            <a:pPr defTabSz="1219170">
              <a:spcBef>
                <a:spcPts val="200"/>
              </a:spcBef>
              <a:buSzPct val="100000"/>
              <a:defRPr/>
            </a:pPr>
            <a:endParaRPr lang="en-US" sz="1600" b="1" cap="all" dirty="0">
              <a:solidFill>
                <a:prstClr val="black"/>
              </a:solidFill>
              <a:ea typeface="Verdana" panose="020B0604030504040204" pitchFamily="34" charset="0"/>
              <a:cs typeface="Verdana" panose="020B0604030504040204" pitchFamily="34" charset="0"/>
            </a:endParaRPr>
          </a:p>
          <a:p>
            <a:pPr defTabSz="1219170">
              <a:spcBef>
                <a:spcPts val="200"/>
              </a:spcBef>
              <a:buSzPct val="100000"/>
              <a:defRPr/>
            </a:pPr>
            <a:endParaRPr lang="en-US" sz="1600" b="1" cap="all" dirty="0">
              <a:solidFill>
                <a:prstClr val="black"/>
              </a:solidFill>
              <a:ea typeface="Open Sans" panose="020B0606030504020204" pitchFamily="34" charset="0"/>
              <a:cs typeface="Open Sans" panose="020B0606030504020204" pitchFamily="34" charset="0"/>
            </a:endParaRPr>
          </a:p>
          <a:p>
            <a:pPr defTabSz="1219170">
              <a:spcBef>
                <a:spcPts val="200"/>
              </a:spcBef>
              <a:buSzPct val="100000"/>
              <a:defRPr/>
            </a:pPr>
            <a:endParaRPr lang="en-US" sz="1200" dirty="0">
              <a:solidFill>
                <a:prstClr val="black"/>
              </a:solidFill>
            </a:endParaRPr>
          </a:p>
        </p:txBody>
      </p:sp>
      <p:sp>
        <p:nvSpPr>
          <p:cNvPr id="28" name="Rectangle 27">
            <a:extLst>
              <a:ext uri="{FF2B5EF4-FFF2-40B4-BE49-F238E27FC236}">
                <a16:creationId xmlns:a16="http://schemas.microsoft.com/office/drawing/2014/main" id="{7A6D1FD5-354D-4AF5-888A-DF8A44EE19EA}"/>
              </a:ext>
            </a:extLst>
          </p:cNvPr>
          <p:cNvSpPr/>
          <p:nvPr/>
        </p:nvSpPr>
        <p:spPr>
          <a:xfrm>
            <a:off x="3409861" y="3111327"/>
            <a:ext cx="2803973" cy="1077218"/>
          </a:xfrm>
          <a:prstGeom prst="rect">
            <a:avLst/>
          </a:prstGeom>
        </p:spPr>
        <p:txBody>
          <a:bodyPr wrap="square">
            <a:spAutoFit/>
          </a:bodyPr>
          <a:lstStyle/>
          <a:p>
            <a:pPr defTabSz="500069">
              <a:defRPr/>
            </a:pPr>
            <a:r>
              <a:rPr lang="en-US" sz="1600" b="1" cap="all" dirty="0">
                <a:solidFill>
                  <a:prstClr val="white"/>
                </a:solidFill>
                <a:ea typeface="Open Sans" panose="020B0606030504020204" pitchFamily="34" charset="0"/>
                <a:cs typeface="Open Sans" panose="020B0606030504020204" pitchFamily="34" charset="0"/>
              </a:rPr>
              <a:t>How do we value</a:t>
            </a:r>
          </a:p>
          <a:p>
            <a:pPr defTabSz="500069">
              <a:defRPr/>
            </a:pPr>
            <a:r>
              <a:rPr lang="en-US" sz="1600" b="1" cap="all" dirty="0">
                <a:solidFill>
                  <a:prstClr val="white"/>
                </a:solidFill>
                <a:ea typeface="Open Sans" panose="020B0606030504020204" pitchFamily="34" charset="0"/>
                <a:cs typeface="Open Sans" panose="020B0606030504020204" pitchFamily="34" charset="0"/>
              </a:rPr>
              <a:t>the portfolio?</a:t>
            </a:r>
          </a:p>
          <a:p>
            <a:pPr defTabSz="500069">
              <a:defRPr/>
            </a:pPr>
            <a:endParaRPr lang="en-US" sz="1600" b="1" cap="all" dirty="0">
              <a:solidFill>
                <a:prstClr val="black"/>
              </a:solidFill>
              <a:ea typeface="Open Sans" panose="020B0606030504020204" pitchFamily="34" charset="0"/>
              <a:cs typeface="Open Sans" panose="020B0606030504020204" pitchFamily="34" charset="0"/>
            </a:endParaRPr>
          </a:p>
          <a:p>
            <a:pPr defTabSz="500069">
              <a:defRPr/>
            </a:pPr>
            <a:endParaRPr lang="en-US" sz="1600" b="1" cap="all" dirty="0">
              <a:solidFill>
                <a:prstClr val="black"/>
              </a:solidFill>
              <a:ea typeface="Open Sans" panose="020B0606030504020204" pitchFamily="34" charset="0"/>
              <a:cs typeface="Open Sans" panose="020B0606030504020204" pitchFamily="34" charset="0"/>
            </a:endParaRPr>
          </a:p>
        </p:txBody>
      </p:sp>
      <p:sp>
        <p:nvSpPr>
          <p:cNvPr id="30" name="Rectangle 29">
            <a:extLst>
              <a:ext uri="{FF2B5EF4-FFF2-40B4-BE49-F238E27FC236}">
                <a16:creationId xmlns:a16="http://schemas.microsoft.com/office/drawing/2014/main" id="{95739979-BF8A-4C0B-BE44-E527CDD81E84}"/>
              </a:ext>
            </a:extLst>
          </p:cNvPr>
          <p:cNvSpPr/>
          <p:nvPr/>
        </p:nvSpPr>
        <p:spPr>
          <a:xfrm>
            <a:off x="324400" y="3676786"/>
            <a:ext cx="2483679" cy="461665"/>
          </a:xfrm>
          <a:prstGeom prst="rect">
            <a:avLst/>
          </a:prstGeom>
        </p:spPr>
        <p:txBody>
          <a:bodyPr wrap="square">
            <a:spAutoFit/>
          </a:bodyPr>
          <a:lstStyle/>
          <a:p>
            <a:pPr marL="171450" indent="-171450" defTabSz="1219170">
              <a:spcBef>
                <a:spcPts val="200"/>
              </a:spcBef>
              <a:buSzPct val="100000"/>
              <a:buFont typeface="Arial" panose="020B0604020202020204" pitchFamily="34" charset="0"/>
              <a:buChar char="•"/>
              <a:defRPr/>
            </a:pPr>
            <a:r>
              <a:rPr lang="en-US" sz="1200" dirty="0">
                <a:solidFill>
                  <a:prstClr val="black"/>
                </a:solidFill>
              </a:rPr>
              <a:t>Discuss objectives for today’s session</a:t>
            </a:r>
          </a:p>
        </p:txBody>
      </p:sp>
      <p:sp>
        <p:nvSpPr>
          <p:cNvPr id="31" name="Rectangle 30">
            <a:extLst>
              <a:ext uri="{FF2B5EF4-FFF2-40B4-BE49-F238E27FC236}">
                <a16:creationId xmlns:a16="http://schemas.microsoft.com/office/drawing/2014/main" id="{C42B2B37-A2AD-4EC8-A32D-FCEDC1CEF163}"/>
              </a:ext>
            </a:extLst>
          </p:cNvPr>
          <p:cNvSpPr/>
          <p:nvPr/>
        </p:nvSpPr>
        <p:spPr>
          <a:xfrm>
            <a:off x="3254030" y="3862297"/>
            <a:ext cx="2524546" cy="1092607"/>
          </a:xfrm>
          <a:prstGeom prst="rect">
            <a:avLst/>
          </a:prstGeom>
        </p:spPr>
        <p:txBody>
          <a:bodyPr wrap="square">
            <a:spAutoFit/>
          </a:bodyPr>
          <a:lstStyle/>
          <a:p>
            <a:pPr marL="171450" lvl="1" indent="-171450" defTabSz="957263" fontAlgn="base">
              <a:spcBef>
                <a:spcPts val="600"/>
              </a:spcBef>
              <a:buSzPct val="100000"/>
              <a:buFont typeface="Arial" panose="020B0604020202020204" pitchFamily="34" charset="0"/>
              <a:buChar char="•"/>
              <a:defRPr/>
            </a:pPr>
            <a:r>
              <a:rPr lang="en-US" sz="1200" dirty="0">
                <a:solidFill>
                  <a:prstClr val="black"/>
                </a:solidFill>
              </a:rPr>
              <a:t>Frame how to think about the portfolio’s value </a:t>
            </a:r>
          </a:p>
          <a:p>
            <a:pPr marL="171450" lvl="1" indent="-171450" defTabSz="957263" fontAlgn="base">
              <a:spcBef>
                <a:spcPts val="600"/>
              </a:spcBef>
              <a:buSzPct val="100000"/>
              <a:buFont typeface="Arial" panose="020B0604020202020204" pitchFamily="34" charset="0"/>
              <a:buChar char="•"/>
              <a:defRPr/>
            </a:pPr>
            <a:r>
              <a:rPr lang="en-US" sz="1200" dirty="0">
                <a:solidFill>
                  <a:prstClr val="black"/>
                </a:solidFill>
              </a:rPr>
              <a:t>Discuss value creation estimates for select opportunities</a:t>
            </a:r>
          </a:p>
        </p:txBody>
      </p:sp>
      <p:sp>
        <p:nvSpPr>
          <p:cNvPr id="32" name="Rectangle 31">
            <a:extLst>
              <a:ext uri="{FF2B5EF4-FFF2-40B4-BE49-F238E27FC236}">
                <a16:creationId xmlns:a16="http://schemas.microsoft.com/office/drawing/2014/main" id="{76B15E86-C9F3-4895-BD4B-10067A51472D}"/>
              </a:ext>
            </a:extLst>
          </p:cNvPr>
          <p:cNvSpPr/>
          <p:nvPr/>
        </p:nvSpPr>
        <p:spPr bwMode="gray">
          <a:xfrm>
            <a:off x="6223308" y="3055255"/>
            <a:ext cx="2743200" cy="1071004"/>
          </a:xfrm>
          <a:prstGeom prst="rect">
            <a:avLst/>
          </a:prstGeom>
          <a:solidFill>
            <a:srgbClr val="012169">
              <a:lumMod val="60000"/>
              <a:lumOff val="40000"/>
            </a:srgbClr>
          </a:solidFill>
          <a:ln w="19050" algn="ctr">
            <a:noFill/>
            <a:miter lim="800000"/>
            <a:headEnd/>
            <a:tailEnd/>
          </a:ln>
        </p:spPr>
        <p:txBody>
          <a:bodyPr wrap="square" lIns="88900" tIns="88900" rIns="88900" bIns="88900"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endParaRPr>
          </a:p>
        </p:txBody>
      </p:sp>
      <p:sp>
        <p:nvSpPr>
          <p:cNvPr id="33" name="Rectangle 32">
            <a:extLst>
              <a:ext uri="{FF2B5EF4-FFF2-40B4-BE49-F238E27FC236}">
                <a16:creationId xmlns:a16="http://schemas.microsoft.com/office/drawing/2014/main" id="{090D574C-68E3-4489-82AA-508EC91F3A42}"/>
              </a:ext>
            </a:extLst>
          </p:cNvPr>
          <p:cNvSpPr/>
          <p:nvPr/>
        </p:nvSpPr>
        <p:spPr bwMode="gray">
          <a:xfrm>
            <a:off x="9194761" y="3045491"/>
            <a:ext cx="2743200" cy="547176"/>
          </a:xfrm>
          <a:prstGeom prst="rect">
            <a:avLst/>
          </a:prstGeom>
          <a:solidFill>
            <a:srgbClr val="012169">
              <a:lumMod val="60000"/>
              <a:lumOff val="40000"/>
            </a:srgbClr>
          </a:solidFill>
          <a:ln w="19050" algn="ctr">
            <a:noFill/>
            <a:miter lim="800000"/>
            <a:headEnd/>
            <a:tailEnd/>
          </a:ln>
        </p:spPr>
        <p:txBody>
          <a:bodyPr wrap="square" lIns="88900" tIns="88900" rIns="88900" bIns="88900"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endParaRPr>
          </a:p>
        </p:txBody>
      </p:sp>
      <p:sp>
        <p:nvSpPr>
          <p:cNvPr id="34" name="Rectangle 33">
            <a:extLst>
              <a:ext uri="{FF2B5EF4-FFF2-40B4-BE49-F238E27FC236}">
                <a16:creationId xmlns:a16="http://schemas.microsoft.com/office/drawing/2014/main" id="{3D5004E7-1ABF-4C42-9F0E-E4B5B1186D8F}"/>
              </a:ext>
            </a:extLst>
          </p:cNvPr>
          <p:cNvSpPr/>
          <p:nvPr/>
        </p:nvSpPr>
        <p:spPr>
          <a:xfrm>
            <a:off x="6252580" y="3179788"/>
            <a:ext cx="2829384" cy="1115690"/>
          </a:xfrm>
          <a:prstGeom prst="rect">
            <a:avLst/>
          </a:prstGeom>
        </p:spPr>
        <p:txBody>
          <a:bodyPr wrap="square">
            <a:spAutoFit/>
          </a:bodyPr>
          <a:lstStyle/>
          <a:p>
            <a:pPr defTabSz="684213" eaLnBrk="0" fontAlgn="base" hangingPunct="0">
              <a:spcBef>
                <a:spcPts val="300"/>
              </a:spcBef>
              <a:spcAft>
                <a:spcPct val="0"/>
              </a:spcAft>
              <a:buSzPct val="25000"/>
              <a:defRPr/>
            </a:pPr>
            <a:r>
              <a:rPr lang="en-US" sz="1600" b="1" cap="all" dirty="0">
                <a:solidFill>
                  <a:prstClr val="white"/>
                </a:solidFill>
                <a:ea typeface="Open Sans" panose="020B0606030504020204" pitchFamily="34" charset="0"/>
                <a:cs typeface="Open Sans" panose="020B0606030504020204" pitchFamily="34" charset="0"/>
              </a:rPr>
              <a:t>How do we harmonize the process with other business units?</a:t>
            </a:r>
          </a:p>
          <a:p>
            <a:pPr defTabSz="684213" eaLnBrk="0" fontAlgn="base" hangingPunct="0">
              <a:spcBef>
                <a:spcPts val="300"/>
              </a:spcBef>
              <a:spcAft>
                <a:spcPct val="0"/>
              </a:spcAft>
              <a:buSzPct val="25000"/>
              <a:defRPr/>
            </a:pPr>
            <a:endParaRPr lang="en-US" sz="1600" b="1" cap="all" dirty="0">
              <a:solidFill>
                <a:prstClr val="black"/>
              </a:solidFill>
              <a:ea typeface="Open Sans" panose="020B0606030504020204" pitchFamily="34" charset="0"/>
              <a:cs typeface="Open Sans" panose="020B0606030504020204" pitchFamily="34" charset="0"/>
            </a:endParaRPr>
          </a:p>
        </p:txBody>
      </p:sp>
      <p:sp>
        <p:nvSpPr>
          <p:cNvPr id="35" name="Rectangle 34">
            <a:extLst>
              <a:ext uri="{FF2B5EF4-FFF2-40B4-BE49-F238E27FC236}">
                <a16:creationId xmlns:a16="http://schemas.microsoft.com/office/drawing/2014/main" id="{D620F7D8-DCEF-4CDC-A523-4F92ED0FD2DE}"/>
              </a:ext>
            </a:extLst>
          </p:cNvPr>
          <p:cNvSpPr/>
          <p:nvPr/>
        </p:nvSpPr>
        <p:spPr>
          <a:xfrm>
            <a:off x="6259503" y="4203203"/>
            <a:ext cx="2709271" cy="1908215"/>
          </a:xfrm>
          <a:prstGeom prst="rect">
            <a:avLst/>
          </a:prstGeom>
        </p:spPr>
        <p:txBody>
          <a:bodyPr wrap="square">
            <a:spAutoFit/>
          </a:bodyPr>
          <a:lstStyle/>
          <a:p>
            <a:pPr marL="171450" lvl="2" indent="-171450" defTabSz="957263" fontAlgn="base">
              <a:spcBef>
                <a:spcPts val="600"/>
              </a:spcBef>
              <a:buSzPct val="100000"/>
              <a:buFont typeface="Arial" panose="020B0604020202020204" pitchFamily="34" charset="0"/>
              <a:buChar char="•"/>
              <a:defRPr/>
            </a:pPr>
            <a:r>
              <a:rPr lang="en-GB" sz="1200" dirty="0">
                <a:solidFill>
                  <a:prstClr val="black"/>
                </a:solidFill>
              </a:rPr>
              <a:t>Consider in which stages harmonization should occur (e.g., idea replenishment, in/out determination, prioritization)</a:t>
            </a:r>
          </a:p>
          <a:p>
            <a:pPr marL="171450" lvl="2" indent="-171450" defTabSz="957263" fontAlgn="base">
              <a:spcBef>
                <a:spcPts val="600"/>
              </a:spcBef>
              <a:buSzPct val="100000"/>
              <a:buFont typeface="Arial" panose="020B0604020202020204" pitchFamily="34" charset="0"/>
              <a:buChar char="•"/>
              <a:defRPr/>
            </a:pPr>
            <a:r>
              <a:rPr lang="en-GB" sz="1200" dirty="0">
                <a:solidFill>
                  <a:prstClr val="black"/>
                </a:solidFill>
              </a:rPr>
              <a:t>Describe idea generation and prioritization processes currently used by other business units</a:t>
            </a:r>
          </a:p>
          <a:p>
            <a:pPr marL="171450" lvl="2" indent="-171450" defTabSz="957263" fontAlgn="base">
              <a:spcBef>
                <a:spcPts val="600"/>
              </a:spcBef>
              <a:buSzPct val="100000"/>
              <a:buFont typeface="Arial" panose="020B0604020202020204" pitchFamily="34" charset="0"/>
              <a:buChar char="•"/>
              <a:defRPr/>
            </a:pPr>
            <a:r>
              <a:rPr lang="en-GB" sz="1200" dirty="0">
                <a:solidFill>
                  <a:prstClr val="black"/>
                </a:solidFill>
              </a:rPr>
              <a:t>Confirm next steps for the five gems for concept development</a:t>
            </a:r>
          </a:p>
        </p:txBody>
      </p:sp>
      <p:sp>
        <p:nvSpPr>
          <p:cNvPr id="36" name="Rectangle 35">
            <a:extLst>
              <a:ext uri="{FF2B5EF4-FFF2-40B4-BE49-F238E27FC236}">
                <a16:creationId xmlns:a16="http://schemas.microsoft.com/office/drawing/2014/main" id="{0C629AA1-0D90-4F53-9BDA-83ADCA4CF42C}"/>
              </a:ext>
            </a:extLst>
          </p:cNvPr>
          <p:cNvSpPr/>
          <p:nvPr/>
        </p:nvSpPr>
        <p:spPr>
          <a:xfrm>
            <a:off x="9345424" y="3149799"/>
            <a:ext cx="1364476" cy="338554"/>
          </a:xfrm>
          <a:prstGeom prst="rect">
            <a:avLst/>
          </a:prstGeom>
        </p:spPr>
        <p:txBody>
          <a:bodyPr wrap="none">
            <a:spAutoFit/>
          </a:bodyPr>
          <a:lstStyle/>
          <a:p>
            <a:pPr defTabSz="684213" eaLnBrk="0" fontAlgn="base" hangingPunct="0">
              <a:spcBef>
                <a:spcPts val="300"/>
              </a:spcBef>
              <a:spcAft>
                <a:spcPct val="0"/>
              </a:spcAft>
              <a:buSzPct val="25000"/>
              <a:defRPr/>
            </a:pPr>
            <a:r>
              <a:rPr lang="en-US" sz="1600" b="1" cap="all" dirty="0">
                <a:solidFill>
                  <a:prstClr val="white"/>
                </a:solidFill>
                <a:ea typeface="Open Sans" panose="020B0606030504020204" pitchFamily="34" charset="0"/>
                <a:cs typeface="Open Sans" panose="020B0606030504020204" pitchFamily="34" charset="0"/>
              </a:rPr>
              <a:t>Next Steps</a:t>
            </a:r>
          </a:p>
        </p:txBody>
      </p:sp>
      <p:sp>
        <p:nvSpPr>
          <p:cNvPr id="37" name="Rectangle 36">
            <a:extLst>
              <a:ext uri="{FF2B5EF4-FFF2-40B4-BE49-F238E27FC236}">
                <a16:creationId xmlns:a16="http://schemas.microsoft.com/office/drawing/2014/main" id="{873D103D-5FAE-44A1-B089-DBE7A34899AD}"/>
              </a:ext>
            </a:extLst>
          </p:cNvPr>
          <p:cNvSpPr/>
          <p:nvPr/>
        </p:nvSpPr>
        <p:spPr>
          <a:xfrm>
            <a:off x="9269242" y="3697292"/>
            <a:ext cx="2201602" cy="723275"/>
          </a:xfrm>
          <a:prstGeom prst="rect">
            <a:avLst/>
          </a:prstGeom>
        </p:spPr>
        <p:txBody>
          <a:bodyPr wrap="square">
            <a:spAutoFit/>
          </a:bodyPr>
          <a:lstStyle/>
          <a:p>
            <a:pPr marL="171450" lvl="2" indent="-171450" defTabSz="957263" fontAlgn="base">
              <a:spcBef>
                <a:spcPts val="600"/>
              </a:spcBef>
              <a:buSzPct val="100000"/>
              <a:buFont typeface="Arial" panose="020B0604020202020204" pitchFamily="34" charset="0"/>
              <a:buChar char="•"/>
              <a:defRPr/>
            </a:pPr>
            <a:r>
              <a:rPr lang="en-GB" sz="1200" dirty="0">
                <a:solidFill>
                  <a:prstClr val="black"/>
                </a:solidFill>
              </a:rPr>
              <a:t>Align on next steps following the session</a:t>
            </a:r>
          </a:p>
          <a:p>
            <a:pPr marL="0" lvl="2" defTabSz="957263" fontAlgn="base">
              <a:spcBef>
                <a:spcPts val="600"/>
              </a:spcBef>
              <a:buSzPct val="100000"/>
              <a:defRPr/>
            </a:pPr>
            <a:endParaRPr lang="en-GB" sz="1200" dirty="0">
              <a:solidFill>
                <a:prstClr val="black"/>
              </a:solidFill>
            </a:endParaRPr>
          </a:p>
        </p:txBody>
      </p:sp>
      <p:cxnSp>
        <p:nvCxnSpPr>
          <p:cNvPr id="38" name="Straight Connector 37">
            <a:extLst>
              <a:ext uri="{FF2B5EF4-FFF2-40B4-BE49-F238E27FC236}">
                <a16:creationId xmlns:a16="http://schemas.microsoft.com/office/drawing/2014/main" id="{3F74755F-79FA-4C50-B206-78BBF6D5D9C0}"/>
              </a:ext>
            </a:extLst>
          </p:cNvPr>
          <p:cNvCxnSpPr/>
          <p:nvPr/>
        </p:nvCxnSpPr>
        <p:spPr>
          <a:xfrm>
            <a:off x="0" y="3061533"/>
            <a:ext cx="12192000" cy="0"/>
          </a:xfrm>
          <a:prstGeom prst="line">
            <a:avLst/>
          </a:prstGeom>
          <a:noFill/>
          <a:ln w="50800" cap="flat" cmpd="sng" algn="ctr">
            <a:solidFill>
              <a:srgbClr val="012169">
                <a:lumMod val="60000"/>
                <a:lumOff val="40000"/>
              </a:srgbClr>
            </a:solidFill>
            <a:prstDash val="solid"/>
          </a:ln>
          <a:effectLst/>
        </p:spPr>
      </p:cxnSp>
      <p:sp>
        <p:nvSpPr>
          <p:cNvPr id="39" name="Title 2">
            <a:extLst>
              <a:ext uri="{FF2B5EF4-FFF2-40B4-BE49-F238E27FC236}">
                <a16:creationId xmlns:a16="http://schemas.microsoft.com/office/drawing/2014/main" id="{EF32EC63-2DD5-4BF1-972E-E8189D58111A}"/>
              </a:ext>
            </a:extLst>
          </p:cNvPr>
          <p:cNvSpPr txBox="1">
            <a:spLocks/>
          </p:cNvSpPr>
          <p:nvPr/>
        </p:nvSpPr>
        <p:spPr bwMode="gray">
          <a:xfrm>
            <a:off x="658299" y="1823479"/>
            <a:ext cx="3455281"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defTabSz="957263" fontAlgn="base">
              <a:spcBef>
                <a:spcPts val="600"/>
              </a:spcBef>
              <a:defRPr/>
            </a:pPr>
            <a:r>
              <a:rPr lang="en-GB" sz="3200" b="1" dirty="0">
                <a:solidFill>
                  <a:srgbClr val="012169">
                    <a:lumMod val="60000"/>
                    <a:lumOff val="40000"/>
                  </a:srgbClr>
                </a:solidFill>
                <a:latin typeface="+mn-lt"/>
              </a:rPr>
              <a:t>1:00 – </a:t>
            </a:r>
            <a:br>
              <a:rPr lang="en-GB" sz="3200" b="1" dirty="0">
                <a:solidFill>
                  <a:srgbClr val="012169">
                    <a:lumMod val="60000"/>
                    <a:lumOff val="40000"/>
                  </a:srgbClr>
                </a:solidFill>
                <a:latin typeface="+mn-lt"/>
              </a:rPr>
            </a:br>
            <a:r>
              <a:rPr lang="en-GB" sz="3200" b="1" dirty="0">
                <a:solidFill>
                  <a:srgbClr val="012169">
                    <a:lumMod val="60000"/>
                    <a:lumOff val="40000"/>
                  </a:srgbClr>
                </a:solidFill>
                <a:latin typeface="+mn-lt"/>
              </a:rPr>
              <a:t>1:10 pm</a:t>
            </a:r>
          </a:p>
        </p:txBody>
      </p:sp>
      <p:sp>
        <p:nvSpPr>
          <p:cNvPr id="40" name="Title 2">
            <a:extLst>
              <a:ext uri="{FF2B5EF4-FFF2-40B4-BE49-F238E27FC236}">
                <a16:creationId xmlns:a16="http://schemas.microsoft.com/office/drawing/2014/main" id="{5A234A90-4EDD-455F-8D5F-989C6911A0DD}"/>
              </a:ext>
            </a:extLst>
          </p:cNvPr>
          <p:cNvSpPr txBox="1">
            <a:spLocks/>
          </p:cNvSpPr>
          <p:nvPr/>
        </p:nvSpPr>
        <p:spPr bwMode="gray">
          <a:xfrm>
            <a:off x="3665104" y="1823479"/>
            <a:ext cx="29101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defTabSz="957263" fontAlgn="base">
              <a:spcBef>
                <a:spcPts val="600"/>
              </a:spcBef>
              <a:defRPr/>
            </a:pPr>
            <a:r>
              <a:rPr lang="en-GB" sz="3200" b="1" dirty="0">
                <a:solidFill>
                  <a:srgbClr val="012169">
                    <a:lumMod val="60000"/>
                    <a:lumOff val="40000"/>
                  </a:srgbClr>
                </a:solidFill>
                <a:latin typeface="+mn-lt"/>
              </a:rPr>
              <a:t>1:10 – </a:t>
            </a:r>
            <a:br>
              <a:rPr lang="en-GB" sz="3200" b="1" dirty="0">
                <a:solidFill>
                  <a:srgbClr val="012169">
                    <a:lumMod val="60000"/>
                    <a:lumOff val="40000"/>
                  </a:srgbClr>
                </a:solidFill>
                <a:latin typeface="+mn-lt"/>
              </a:rPr>
            </a:br>
            <a:r>
              <a:rPr lang="en-GB" sz="3200" b="1" dirty="0">
                <a:solidFill>
                  <a:srgbClr val="012169">
                    <a:lumMod val="60000"/>
                    <a:lumOff val="40000"/>
                  </a:srgbClr>
                </a:solidFill>
                <a:latin typeface="+mn-lt"/>
              </a:rPr>
              <a:t>2:10 pm</a:t>
            </a:r>
          </a:p>
        </p:txBody>
      </p:sp>
      <p:sp>
        <p:nvSpPr>
          <p:cNvPr id="41" name="Title 2">
            <a:extLst>
              <a:ext uri="{FF2B5EF4-FFF2-40B4-BE49-F238E27FC236}">
                <a16:creationId xmlns:a16="http://schemas.microsoft.com/office/drawing/2014/main" id="{E29589D7-AE14-4C62-95CD-505591BA86F2}"/>
              </a:ext>
            </a:extLst>
          </p:cNvPr>
          <p:cNvSpPr txBox="1">
            <a:spLocks/>
          </p:cNvSpPr>
          <p:nvPr/>
        </p:nvSpPr>
        <p:spPr bwMode="gray">
          <a:xfrm>
            <a:off x="6508919" y="1823479"/>
            <a:ext cx="29101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defTabSz="957263" fontAlgn="base">
              <a:spcBef>
                <a:spcPts val="600"/>
              </a:spcBef>
              <a:defRPr/>
            </a:pPr>
            <a:r>
              <a:rPr lang="en-GB" sz="3200" b="1" dirty="0">
                <a:solidFill>
                  <a:srgbClr val="012169">
                    <a:lumMod val="60000"/>
                    <a:lumOff val="40000"/>
                  </a:srgbClr>
                </a:solidFill>
                <a:latin typeface="+mn-lt"/>
              </a:rPr>
              <a:t>2:10 – </a:t>
            </a:r>
            <a:br>
              <a:rPr lang="en-GB" sz="3200" b="1" dirty="0">
                <a:solidFill>
                  <a:srgbClr val="012169">
                    <a:lumMod val="60000"/>
                    <a:lumOff val="40000"/>
                  </a:srgbClr>
                </a:solidFill>
                <a:latin typeface="+mn-lt"/>
              </a:rPr>
            </a:br>
            <a:r>
              <a:rPr lang="en-GB" sz="3200" b="1" dirty="0">
                <a:solidFill>
                  <a:srgbClr val="012169">
                    <a:lumMod val="60000"/>
                    <a:lumOff val="40000"/>
                  </a:srgbClr>
                </a:solidFill>
                <a:latin typeface="+mn-lt"/>
              </a:rPr>
              <a:t>2:50 pm</a:t>
            </a:r>
          </a:p>
        </p:txBody>
      </p:sp>
      <p:sp>
        <p:nvSpPr>
          <p:cNvPr id="42" name="Title 2">
            <a:extLst>
              <a:ext uri="{FF2B5EF4-FFF2-40B4-BE49-F238E27FC236}">
                <a16:creationId xmlns:a16="http://schemas.microsoft.com/office/drawing/2014/main" id="{0D104B21-D0ED-4E25-B47C-CFED8F7F1554}"/>
              </a:ext>
            </a:extLst>
          </p:cNvPr>
          <p:cNvSpPr txBox="1">
            <a:spLocks/>
          </p:cNvSpPr>
          <p:nvPr/>
        </p:nvSpPr>
        <p:spPr bwMode="gray">
          <a:xfrm>
            <a:off x="9673938" y="1823479"/>
            <a:ext cx="29101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defTabSz="957263" fontAlgn="base">
              <a:spcBef>
                <a:spcPts val="600"/>
              </a:spcBef>
              <a:defRPr/>
            </a:pPr>
            <a:r>
              <a:rPr lang="en-GB" sz="3200" b="1" dirty="0">
                <a:solidFill>
                  <a:srgbClr val="012169">
                    <a:lumMod val="60000"/>
                    <a:lumOff val="40000"/>
                  </a:srgbClr>
                </a:solidFill>
                <a:latin typeface="+mn-lt"/>
              </a:rPr>
              <a:t>2:50 – </a:t>
            </a:r>
            <a:br>
              <a:rPr lang="en-GB" sz="3200" b="1" dirty="0">
                <a:solidFill>
                  <a:srgbClr val="012169">
                    <a:lumMod val="60000"/>
                    <a:lumOff val="40000"/>
                  </a:srgbClr>
                </a:solidFill>
                <a:latin typeface="+mn-lt"/>
              </a:rPr>
            </a:br>
            <a:r>
              <a:rPr lang="en-GB" sz="3200" b="1" dirty="0">
                <a:solidFill>
                  <a:srgbClr val="012169">
                    <a:lumMod val="60000"/>
                    <a:lumOff val="40000"/>
                  </a:srgbClr>
                </a:solidFill>
                <a:latin typeface="+mn-lt"/>
              </a:rPr>
              <a:t>3:00 pm</a:t>
            </a:r>
          </a:p>
        </p:txBody>
      </p:sp>
    </p:spTree>
    <p:extLst>
      <p:ext uri="{BB962C8B-B14F-4D97-AF65-F5344CB8AC3E}">
        <p14:creationId xmlns:p14="http://schemas.microsoft.com/office/powerpoint/2010/main" val="4259905469"/>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C4E3A15-F688-4D11-B6A6-C3B2B73DCEA8}"/>
              </a:ext>
            </a:extLst>
          </p:cNvPr>
          <p:cNvGraphicFramePr>
            <a:graphicFrameLocks noChangeAspect="1"/>
          </p:cNvGraphicFramePr>
          <p:nvPr>
            <p:custDataLst>
              <p:tags r:id="rId2"/>
            </p:custDataLst>
            <p:extLst>
              <p:ext uri="{D42A27DB-BD31-4B8C-83A1-F6EECF244321}">
                <p14:modId xmlns:p14="http://schemas.microsoft.com/office/powerpoint/2010/main" val="3643195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9748" name="think-cell Slide" r:id="rId6" imgW="395" imgH="396" progId="TCLayout.ActiveDocument.1">
                  <p:embed/>
                </p:oleObj>
              </mc:Choice>
              <mc:Fallback>
                <p:oleObj name="think-cell Slide" r:id="rId6" imgW="395" imgH="396" progId="TCLayout.ActiveDocument.1">
                  <p:embed/>
                  <p:pic>
                    <p:nvPicPr>
                      <p:cNvPr id="11" name="Object 10" hidden="1">
                        <a:extLst>
                          <a:ext uri="{FF2B5EF4-FFF2-40B4-BE49-F238E27FC236}">
                            <a16:creationId xmlns:a16="http://schemas.microsoft.com/office/drawing/2014/main" id="{BC4E3A15-F688-4D11-B6A6-C3B2B73DCEA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E36185D4-6336-4742-A264-C0D52159F83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D07C6C27-EEEA-4915-B049-FB3E557BDA77}"/>
              </a:ext>
            </a:extLst>
          </p:cNvPr>
          <p:cNvSpPr>
            <a:spLocks noGrp="1"/>
          </p:cNvSpPr>
          <p:nvPr>
            <p:ph type="title"/>
          </p:nvPr>
        </p:nvSpPr>
        <p:spPr/>
        <p:txBody>
          <a:bodyPr/>
          <a:lstStyle/>
          <a:p>
            <a:r>
              <a:rPr lang="en-US" dirty="0"/>
              <a:t>New tools can best inform your pricing decisions </a:t>
            </a:r>
          </a:p>
        </p:txBody>
      </p:sp>
      <p:sp>
        <p:nvSpPr>
          <p:cNvPr id="3" name="Text Placeholder 2">
            <a:extLst>
              <a:ext uri="{FF2B5EF4-FFF2-40B4-BE49-F238E27FC236}">
                <a16:creationId xmlns:a16="http://schemas.microsoft.com/office/drawing/2014/main" id="{A4AEBA9F-7A22-42D8-86A9-CA82983490DE}"/>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59334F41-6E83-45B8-A53E-B99480085C71}"/>
              </a:ext>
            </a:extLst>
          </p:cNvPr>
          <p:cNvSpPr>
            <a:spLocks noGrp="1"/>
          </p:cNvSpPr>
          <p:nvPr>
            <p:ph type="body" sz="quarter" idx="15"/>
          </p:nvPr>
        </p:nvSpPr>
        <p:spPr/>
        <p:txBody>
          <a:bodyPr/>
          <a:lstStyle/>
          <a:p>
            <a:r>
              <a:rPr lang="en-US" dirty="0"/>
              <a:t>TABLE</a:t>
            </a:r>
          </a:p>
        </p:txBody>
      </p:sp>
      <p:sp>
        <p:nvSpPr>
          <p:cNvPr id="5" name="Title 1">
            <a:extLst>
              <a:ext uri="{FF2B5EF4-FFF2-40B4-BE49-F238E27FC236}">
                <a16:creationId xmlns:a16="http://schemas.microsoft.com/office/drawing/2014/main" id="{EEB8523A-5681-4986-BA61-1312A7B43F9A}"/>
              </a:ext>
            </a:extLst>
          </p:cNvPr>
          <p:cNvSpPr txBox="1">
            <a:spLocks/>
          </p:cNvSpPr>
          <p:nvPr/>
        </p:nvSpPr>
        <p:spPr>
          <a:xfrm>
            <a:off x="914400" y="723750"/>
            <a:ext cx="10780643"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graphicFrame>
        <p:nvGraphicFramePr>
          <p:cNvPr id="6" name="Table 5">
            <a:extLst>
              <a:ext uri="{FF2B5EF4-FFF2-40B4-BE49-F238E27FC236}">
                <a16:creationId xmlns:a16="http://schemas.microsoft.com/office/drawing/2014/main" id="{282C9AF2-FAB0-4550-A706-521336BA7170}"/>
              </a:ext>
            </a:extLst>
          </p:cNvPr>
          <p:cNvGraphicFramePr>
            <a:graphicFrameLocks noGrp="1"/>
          </p:cNvGraphicFramePr>
          <p:nvPr>
            <p:extLst>
              <p:ext uri="{D42A27DB-BD31-4B8C-83A1-F6EECF244321}">
                <p14:modId xmlns:p14="http://schemas.microsoft.com/office/powerpoint/2010/main" val="2924377372"/>
              </p:ext>
            </p:extLst>
          </p:nvPr>
        </p:nvGraphicFramePr>
        <p:xfrm>
          <a:off x="914399" y="1545336"/>
          <a:ext cx="10530062" cy="4846320"/>
        </p:xfrm>
        <a:graphic>
          <a:graphicData uri="http://schemas.openxmlformats.org/drawingml/2006/table">
            <a:tbl>
              <a:tblPr firstRow="1" bandRow="1">
                <a:tableStyleId>{5C22544A-7EE6-4342-B048-85BDC9FD1C3A}</a:tableStyleId>
              </a:tblPr>
              <a:tblGrid>
                <a:gridCol w="6437496">
                  <a:extLst>
                    <a:ext uri="{9D8B030D-6E8A-4147-A177-3AD203B41FA5}">
                      <a16:colId xmlns:a16="http://schemas.microsoft.com/office/drawing/2014/main" val="2315198677"/>
                    </a:ext>
                  </a:extLst>
                </a:gridCol>
                <a:gridCol w="2046283">
                  <a:extLst>
                    <a:ext uri="{9D8B030D-6E8A-4147-A177-3AD203B41FA5}">
                      <a16:colId xmlns:a16="http://schemas.microsoft.com/office/drawing/2014/main" val="1785226475"/>
                    </a:ext>
                  </a:extLst>
                </a:gridCol>
                <a:gridCol w="2046283">
                  <a:extLst>
                    <a:ext uri="{9D8B030D-6E8A-4147-A177-3AD203B41FA5}">
                      <a16:colId xmlns:a16="http://schemas.microsoft.com/office/drawing/2014/main" val="2879741606"/>
                    </a:ext>
                  </a:extLst>
                </a:gridCol>
              </a:tblGrid>
              <a:tr h="344366">
                <a:tc>
                  <a:txBody>
                    <a:bodyPr/>
                    <a:lstStyle/>
                    <a:p>
                      <a:endParaRPr lang="en-US"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1" i="0" dirty="0">
                          <a:solidFill>
                            <a:schemeClr val="bg1"/>
                          </a:solidFill>
                        </a:rPr>
                        <a:t>Current Pricing Solution</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i="0" dirty="0">
                          <a:solidFill>
                            <a:schemeClr val="tx1"/>
                          </a:solidFill>
                        </a:rPr>
                        <a:t>Deloitt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4114722256"/>
                  </a:ext>
                </a:extLst>
              </a:tr>
              <a:tr h="344366">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i="0" dirty="0">
                          <a:solidFill>
                            <a:schemeClr val="tx1"/>
                          </a:solidFill>
                        </a:rPr>
                        <a:t>Pricing Engine</a:t>
                      </a:r>
                    </a:p>
                  </a:txBody>
                  <a:tcPr anchor="ctr">
                    <a:lnL w="12700" cmpd="sng">
                      <a:noFill/>
                    </a:lnL>
                    <a:lnR w="12700" cmpd="sng">
                      <a:noFill/>
                    </a:lnR>
                    <a:lnT w="38100" cmpd="sng">
                      <a:noFill/>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dirty="0"/>
                    </a:p>
                  </a:txBody>
                  <a:tcPr anchor="ctr">
                    <a:lnL w="12700" cmpd="sng">
                      <a:noFill/>
                    </a:lnL>
                    <a:lnR w="12700" cmpd="sng">
                      <a:noFill/>
                    </a:lnR>
                    <a:lnT w="38100" cmpd="sng">
                      <a:noFill/>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dirty="0"/>
                    </a:p>
                  </a:txBody>
                  <a:tcPr anchor="ctr">
                    <a:lnL w="12700" cmpd="sng">
                      <a:noFill/>
                    </a:lnL>
                    <a:lnR w="12700" cmpd="sng">
                      <a:noFill/>
                    </a:lnR>
                    <a:lnT w="38100" cmpd="sng">
                      <a:noFill/>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45928755"/>
                  </a:ext>
                </a:extLst>
              </a:tr>
              <a:tr h="315669">
                <a:tc>
                  <a:txBody>
                    <a:bodyPr/>
                    <a:lstStyle/>
                    <a:p>
                      <a:pPr marL="0" indent="0">
                        <a:buFont typeface="Arial" panose="020B0604020202020204" pitchFamily="34" charset="0"/>
                        <a:buNone/>
                      </a:pPr>
                      <a:r>
                        <a:rPr lang="en-US" sz="1200" dirty="0"/>
                        <a:t>Machine learning</a:t>
                      </a:r>
                    </a:p>
                  </a:txBody>
                  <a:tcPr anchor="ctr">
                    <a:lnL w="12700" cmpd="sng">
                      <a:noFill/>
                    </a:lnL>
                    <a:lnR w="12700" cmpd="sng">
                      <a:noFill/>
                    </a:lnR>
                    <a:lnT w="12700" cap="flat" cmpd="sng" algn="ctr">
                      <a:no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b="1" dirty="0">
                        <a:solidFill>
                          <a:schemeClr val="tx1"/>
                        </a:solidFill>
                      </a:endParaRPr>
                    </a:p>
                  </a:txBody>
                  <a:tcPr anchor="ctr">
                    <a:lnL w="12700" cmpd="sng">
                      <a:noFill/>
                    </a:lnL>
                    <a:lnR w="12700" cmpd="sng">
                      <a:noFill/>
                    </a:lnR>
                    <a:lnT w="12700" cap="flat" cmpd="sng" algn="ctr">
                      <a:no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dirty="0">
                          <a:solidFill>
                            <a:schemeClr val="tx1"/>
                          </a:solidFill>
                          <a:sym typeface="Wingdings" panose="05000000000000000000" pitchFamily="2" charset="2"/>
                        </a:rPr>
                        <a:t></a:t>
                      </a:r>
                      <a:endParaRPr lang="en-US" sz="1600" b="1" dirty="0">
                        <a:solidFill>
                          <a:schemeClr val="tx1"/>
                        </a:solidFill>
                      </a:endParaRPr>
                    </a:p>
                  </a:txBody>
                  <a:tcPr anchor="ctr">
                    <a:lnL w="12700" cmpd="sng">
                      <a:noFill/>
                    </a:lnL>
                    <a:lnR w="12700" cmpd="sng">
                      <a:noFill/>
                    </a:lnR>
                    <a:lnT w="12700" cap="flat" cmpd="sng" algn="ctr">
                      <a:no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2561226"/>
                  </a:ext>
                </a:extLst>
              </a:tr>
              <a:tr h="315669">
                <a:tc>
                  <a:txBody>
                    <a:bodyPr/>
                    <a:lstStyle/>
                    <a:p>
                      <a:pPr marL="0" indent="0">
                        <a:buFont typeface="Arial" panose="020B0604020202020204" pitchFamily="34" charset="0"/>
                        <a:buNone/>
                      </a:pPr>
                      <a:r>
                        <a:rPr lang="en-US" sz="1200" dirty="0"/>
                        <a:t>Performance tracking &amp; reporting on previous recommendations</a:t>
                      </a: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b="1" dirty="0">
                        <a:solidFill>
                          <a:schemeClr val="tx1"/>
                        </a:solidFill>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dirty="0">
                          <a:solidFill>
                            <a:schemeClr val="tx1"/>
                          </a:solidFill>
                          <a:sym typeface="Wingdings" panose="05000000000000000000" pitchFamily="2" charset="2"/>
                        </a:rPr>
                        <a:t></a:t>
                      </a:r>
                      <a:endParaRPr lang="en-US" sz="1600" b="1" dirty="0">
                        <a:solidFill>
                          <a:schemeClr val="tx1"/>
                        </a:solidFill>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7824968"/>
                  </a:ext>
                </a:extLst>
              </a:tr>
              <a:tr h="315669">
                <a:tc>
                  <a:txBody>
                    <a:bodyPr/>
                    <a:lstStyle/>
                    <a:p>
                      <a:pPr marL="0" indent="0">
                        <a:buFont typeface="Arial" panose="020B0604020202020204" pitchFamily="34" charset="0"/>
                        <a:buNone/>
                      </a:pPr>
                      <a:r>
                        <a:rPr lang="en-US" sz="1200" dirty="0"/>
                        <a:t>Account for weather impact</a:t>
                      </a: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b="1" dirty="0">
                        <a:solidFill>
                          <a:schemeClr val="tx1"/>
                        </a:solidFill>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a:solidFill>
                            <a:schemeClr val="tx1"/>
                          </a:solidFill>
                          <a:sym typeface="Wingdings" panose="05000000000000000000" pitchFamily="2" charset="2"/>
                        </a:rPr>
                        <a:t></a:t>
                      </a:r>
                      <a:endParaRPr lang="en-US" sz="1600" b="1" dirty="0">
                        <a:solidFill>
                          <a:schemeClr val="tx1"/>
                        </a:solidFill>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83071482"/>
                  </a:ext>
                </a:extLst>
              </a:tr>
              <a:tr h="315669">
                <a:tc>
                  <a:txBody>
                    <a:bodyPr/>
                    <a:lstStyle/>
                    <a:p>
                      <a:pPr marL="0" indent="0">
                        <a:buFont typeface="Arial" panose="020B0604020202020204" pitchFamily="34" charset="0"/>
                        <a:buNone/>
                      </a:pPr>
                      <a:r>
                        <a:rPr lang="en-US" sz="1200" dirty="0"/>
                        <a:t>Substitution between a la carte and combo meals</a:t>
                      </a: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b="1" dirty="0">
                        <a:solidFill>
                          <a:schemeClr val="tx1"/>
                        </a:solidFill>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dirty="0">
                          <a:solidFill>
                            <a:schemeClr val="tx1"/>
                          </a:solidFill>
                          <a:sym typeface="Wingdings" panose="05000000000000000000" pitchFamily="2" charset="2"/>
                        </a:rPr>
                        <a:t></a:t>
                      </a:r>
                      <a:endParaRPr lang="en-US" sz="1600" b="1" dirty="0">
                        <a:solidFill>
                          <a:schemeClr val="tx1"/>
                        </a:solidFill>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3291965"/>
                  </a:ext>
                </a:extLst>
              </a:tr>
              <a:tr h="31566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chemeClr val="tx1"/>
                          </a:solidFill>
                        </a:rPr>
                        <a:t>Portal</a:t>
                      </a: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endParaRPr lang="en-US" sz="1600" b="1" dirty="0">
                        <a:solidFill>
                          <a:schemeClr val="tx1"/>
                        </a:solidFill>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endParaRPr lang="en-US" sz="1600" b="1" dirty="0">
                        <a:solidFill>
                          <a:schemeClr val="tx1"/>
                        </a:solidFill>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252496543"/>
                  </a:ext>
                </a:extLst>
              </a:tr>
              <a:tr h="315669">
                <a:tc>
                  <a:txBody>
                    <a:bodyPr/>
                    <a:lstStyle/>
                    <a:p>
                      <a:pPr marL="0" indent="0">
                        <a:buFont typeface="Arial" panose="020B0604020202020204" pitchFamily="34" charset="0"/>
                        <a:buNone/>
                      </a:pPr>
                      <a:r>
                        <a:rPr lang="en-US" sz="1200" dirty="0"/>
                        <a:t>State of the art user experience</a:t>
                      </a:r>
                    </a:p>
                  </a:txBody>
                  <a:tcPr anchor="ctr">
                    <a:lnL w="12700" cmpd="sng">
                      <a:noFill/>
                    </a:lnL>
                    <a:lnR w="12700" cmpd="sng">
                      <a:noFill/>
                    </a:lnR>
                    <a:lnT w="12700" cap="flat" cmpd="sng" algn="ctr">
                      <a:no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b="1" dirty="0">
                        <a:solidFill>
                          <a:schemeClr val="tx1"/>
                        </a:solidFill>
                      </a:endParaRPr>
                    </a:p>
                  </a:txBody>
                  <a:tcPr anchor="ctr">
                    <a:lnL w="12700" cmpd="sng">
                      <a:noFill/>
                    </a:lnL>
                    <a:lnR w="12700" cmpd="sng">
                      <a:noFill/>
                    </a:lnR>
                    <a:lnT w="12700" cap="flat" cmpd="sng" algn="ctr">
                      <a:no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dirty="0">
                          <a:solidFill>
                            <a:schemeClr val="tx1"/>
                          </a:solidFill>
                          <a:sym typeface="Wingdings" panose="05000000000000000000" pitchFamily="2" charset="2"/>
                        </a:rPr>
                        <a:t></a:t>
                      </a:r>
                      <a:endParaRPr lang="en-US" sz="1600" b="1" dirty="0">
                        <a:solidFill>
                          <a:schemeClr val="tx1"/>
                        </a:solidFill>
                      </a:endParaRPr>
                    </a:p>
                  </a:txBody>
                  <a:tcPr anchor="ctr">
                    <a:lnL w="12700" cmpd="sng">
                      <a:noFill/>
                    </a:lnL>
                    <a:lnR w="12700" cmpd="sng">
                      <a:noFill/>
                    </a:lnR>
                    <a:lnT w="12700" cap="flat" cmpd="sng" algn="ctr">
                      <a:no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0178206"/>
                  </a:ext>
                </a:extLst>
              </a:tr>
              <a:tr h="315669">
                <a:tc>
                  <a:txBody>
                    <a:bodyPr/>
                    <a:lstStyle/>
                    <a:p>
                      <a:pPr marL="0" indent="0">
                        <a:buFont typeface="Arial" panose="020B0604020202020204" pitchFamily="34" charset="0"/>
                        <a:buNone/>
                      </a:pPr>
                      <a:r>
                        <a:rPr lang="en-US" sz="1200" dirty="0"/>
                        <a:t>Competitor pricing in local trade area</a:t>
                      </a: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b="1" dirty="0">
                        <a:solidFill>
                          <a:schemeClr val="tx1"/>
                        </a:solidFill>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dirty="0">
                          <a:solidFill>
                            <a:schemeClr val="tx1"/>
                          </a:solidFill>
                          <a:sym typeface="Wingdings" panose="05000000000000000000" pitchFamily="2" charset="2"/>
                        </a:rPr>
                        <a:t></a:t>
                      </a:r>
                      <a:endParaRPr lang="en-US" sz="1600" b="1" dirty="0">
                        <a:solidFill>
                          <a:schemeClr val="tx1"/>
                        </a:solidFill>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2036077"/>
                  </a:ext>
                </a:extLst>
              </a:tr>
              <a:tr h="315669">
                <a:tc>
                  <a:txBody>
                    <a:bodyPr/>
                    <a:lstStyle/>
                    <a:p>
                      <a:pPr marL="0" indent="0">
                        <a:buFont typeface="Arial" panose="020B0604020202020204" pitchFamily="34" charset="0"/>
                        <a:buNone/>
                      </a:pPr>
                      <a:r>
                        <a:rPr lang="en-US" sz="1200" dirty="0"/>
                        <a:t>Any Price, Any Time</a:t>
                      </a: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b="1" dirty="0">
                        <a:solidFill>
                          <a:schemeClr val="tx1"/>
                        </a:solidFill>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dirty="0">
                          <a:solidFill>
                            <a:schemeClr val="tx1"/>
                          </a:solidFill>
                          <a:sym typeface="Wingdings" panose="05000000000000000000" pitchFamily="2" charset="2"/>
                        </a:rPr>
                        <a:t></a:t>
                      </a:r>
                      <a:endParaRPr lang="en-US" sz="1600" b="1" dirty="0">
                        <a:solidFill>
                          <a:schemeClr val="tx1"/>
                        </a:solidFill>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4492100"/>
                  </a:ext>
                </a:extLst>
              </a:tr>
              <a:tr h="315669">
                <a:tc>
                  <a:txBody>
                    <a:bodyPr/>
                    <a:lstStyle/>
                    <a:p>
                      <a:pPr marL="0" indent="0">
                        <a:buFont typeface="Arial" panose="020B0604020202020204" pitchFamily="34" charset="0"/>
                        <a:buNone/>
                      </a:pPr>
                      <a:r>
                        <a:rPr lang="en-US" sz="1200" dirty="0"/>
                        <a:t>Download price changes submitted (Excel and PDF)</a:t>
                      </a: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b="1" dirty="0">
                        <a:solidFill>
                          <a:schemeClr val="tx1"/>
                        </a:solidFill>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dirty="0">
                          <a:solidFill>
                            <a:schemeClr val="tx1"/>
                          </a:solidFill>
                          <a:sym typeface="Wingdings" panose="05000000000000000000" pitchFamily="2" charset="2"/>
                        </a:rPr>
                        <a:t></a:t>
                      </a:r>
                      <a:endParaRPr lang="en-US" sz="1600" b="1" dirty="0">
                        <a:solidFill>
                          <a:schemeClr val="tx1"/>
                        </a:solidFill>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0144670"/>
                  </a:ext>
                </a:extLst>
              </a:tr>
              <a:tr h="344366">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i="0" dirty="0">
                          <a:solidFill>
                            <a:schemeClr val="tx1"/>
                          </a:solidFill>
                        </a:rPr>
                        <a:t>Advisory Services</a:t>
                      </a: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endParaRPr lang="en-US" sz="1800" b="1" dirty="0">
                        <a:solidFill>
                          <a:schemeClr val="tx1"/>
                        </a:solidFill>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endParaRPr lang="en-US" sz="1800" b="1" dirty="0">
                        <a:solidFill>
                          <a:schemeClr val="tx1"/>
                        </a:solidFill>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451935114"/>
                  </a:ext>
                </a:extLst>
              </a:tr>
              <a:tr h="344366">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dirty="0">
                          <a:solidFill>
                            <a:schemeClr val="tx1"/>
                          </a:solidFill>
                        </a:rPr>
                        <a:t>Advisors located across the US that know your local market</a:t>
                      </a: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800" b="1" dirty="0">
                        <a:solidFill>
                          <a:schemeClr val="tx1"/>
                        </a:solidFill>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dirty="0">
                          <a:solidFill>
                            <a:schemeClr val="tx1"/>
                          </a:solidFill>
                          <a:sym typeface="Wingdings" panose="05000000000000000000" pitchFamily="2" charset="2"/>
                        </a:rPr>
                        <a:t></a:t>
                      </a:r>
                      <a:endParaRPr lang="en-US" sz="1600" b="1" dirty="0">
                        <a:solidFill>
                          <a:schemeClr val="tx1"/>
                        </a:solidFill>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4619895"/>
                  </a:ext>
                </a:extLst>
              </a:tr>
              <a:tr h="344366">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dirty="0">
                          <a:solidFill>
                            <a:schemeClr val="tx1"/>
                          </a:solidFill>
                        </a:rPr>
                        <a:t>Advisors certified in advanced pricing training</a:t>
                      </a: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800" b="1" dirty="0">
                        <a:solidFill>
                          <a:schemeClr val="tx1"/>
                        </a:solidFill>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dirty="0">
                          <a:solidFill>
                            <a:schemeClr val="tx1"/>
                          </a:solidFill>
                          <a:sym typeface="Wingdings" panose="05000000000000000000" pitchFamily="2" charset="2"/>
                        </a:rPr>
                        <a:t></a:t>
                      </a:r>
                      <a:endParaRPr lang="en-US" sz="1600" b="1" dirty="0">
                        <a:solidFill>
                          <a:schemeClr val="tx1"/>
                        </a:solidFill>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89384715"/>
                  </a:ext>
                </a:extLst>
              </a:tr>
            </a:tbl>
          </a:graphicData>
        </a:graphic>
      </p:graphicFrame>
    </p:spTree>
    <p:extLst>
      <p:ext uri="{BB962C8B-B14F-4D97-AF65-F5344CB8AC3E}">
        <p14:creationId xmlns:p14="http://schemas.microsoft.com/office/powerpoint/2010/main" val="919546861"/>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C4E3A15-F688-4D11-B6A6-C3B2B73DCEA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0772" name="think-cell Slide" r:id="rId6" imgW="395" imgH="396" progId="TCLayout.ActiveDocument.1">
                  <p:embed/>
                </p:oleObj>
              </mc:Choice>
              <mc:Fallback>
                <p:oleObj name="think-cell Slide" r:id="rId6" imgW="395" imgH="396" progId="TCLayout.ActiveDocument.1">
                  <p:embed/>
                  <p:pic>
                    <p:nvPicPr>
                      <p:cNvPr id="11" name="Object 10" hidden="1">
                        <a:extLst>
                          <a:ext uri="{FF2B5EF4-FFF2-40B4-BE49-F238E27FC236}">
                            <a16:creationId xmlns:a16="http://schemas.microsoft.com/office/drawing/2014/main" id="{BC4E3A15-F688-4D11-B6A6-C3B2B73DCEA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E36185D4-6336-4742-A264-C0D52159F83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D07C6C27-EEEA-4915-B049-FB3E557BDA77}"/>
              </a:ext>
            </a:extLst>
          </p:cNvPr>
          <p:cNvSpPr>
            <a:spLocks noGrp="1"/>
          </p:cNvSpPr>
          <p:nvPr>
            <p:ph type="title"/>
          </p:nvPr>
        </p:nvSpPr>
        <p:spPr/>
        <p:txBody>
          <a:bodyPr/>
          <a:lstStyle/>
          <a:p>
            <a:r>
              <a:rPr lang="en-US" dirty="0"/>
              <a:t>Our solution is offered at two subscription levels</a:t>
            </a:r>
          </a:p>
        </p:txBody>
      </p:sp>
      <p:sp>
        <p:nvSpPr>
          <p:cNvPr id="3" name="Text Placeholder 2">
            <a:extLst>
              <a:ext uri="{FF2B5EF4-FFF2-40B4-BE49-F238E27FC236}">
                <a16:creationId xmlns:a16="http://schemas.microsoft.com/office/drawing/2014/main" id="{A4AEBA9F-7A22-42D8-86A9-CA82983490DE}"/>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59334F41-6E83-45B8-A53E-B99480085C71}"/>
              </a:ext>
            </a:extLst>
          </p:cNvPr>
          <p:cNvSpPr>
            <a:spLocks noGrp="1"/>
          </p:cNvSpPr>
          <p:nvPr>
            <p:ph type="body" sz="quarter" idx="15"/>
          </p:nvPr>
        </p:nvSpPr>
        <p:spPr/>
        <p:txBody>
          <a:bodyPr/>
          <a:lstStyle/>
          <a:p>
            <a:r>
              <a:rPr lang="en-US" dirty="0"/>
              <a:t>TABLE</a:t>
            </a:r>
          </a:p>
        </p:txBody>
      </p:sp>
      <p:sp>
        <p:nvSpPr>
          <p:cNvPr id="5" name="Title 1">
            <a:extLst>
              <a:ext uri="{FF2B5EF4-FFF2-40B4-BE49-F238E27FC236}">
                <a16:creationId xmlns:a16="http://schemas.microsoft.com/office/drawing/2014/main" id="{EEB8523A-5681-4986-BA61-1312A7B43F9A}"/>
              </a:ext>
            </a:extLst>
          </p:cNvPr>
          <p:cNvSpPr txBox="1">
            <a:spLocks/>
          </p:cNvSpPr>
          <p:nvPr/>
        </p:nvSpPr>
        <p:spPr>
          <a:xfrm>
            <a:off x="914400" y="723750"/>
            <a:ext cx="10780643"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graphicFrame>
        <p:nvGraphicFramePr>
          <p:cNvPr id="12" name="Table 11">
            <a:extLst>
              <a:ext uri="{FF2B5EF4-FFF2-40B4-BE49-F238E27FC236}">
                <a16:creationId xmlns:a16="http://schemas.microsoft.com/office/drawing/2014/main" id="{B557A3EC-0489-41D6-9CC2-C2873A9B89C0}"/>
              </a:ext>
            </a:extLst>
          </p:cNvPr>
          <p:cNvGraphicFramePr>
            <a:graphicFrameLocks noGrp="1"/>
          </p:cNvGraphicFramePr>
          <p:nvPr>
            <p:extLst>
              <p:ext uri="{D42A27DB-BD31-4B8C-83A1-F6EECF244321}">
                <p14:modId xmlns:p14="http://schemas.microsoft.com/office/powerpoint/2010/main" val="3670759738"/>
              </p:ext>
            </p:extLst>
          </p:nvPr>
        </p:nvGraphicFramePr>
        <p:xfrm>
          <a:off x="1001630" y="1801247"/>
          <a:ext cx="10386861" cy="4213285"/>
        </p:xfrm>
        <a:graphic>
          <a:graphicData uri="http://schemas.openxmlformats.org/drawingml/2006/table">
            <a:tbl>
              <a:tblPr firstRow="1" bandRow="1">
                <a:tableStyleId>{5C22544A-7EE6-4342-B048-85BDC9FD1C3A}</a:tableStyleId>
              </a:tblPr>
              <a:tblGrid>
                <a:gridCol w="5431661">
                  <a:extLst>
                    <a:ext uri="{9D8B030D-6E8A-4147-A177-3AD203B41FA5}">
                      <a16:colId xmlns:a16="http://schemas.microsoft.com/office/drawing/2014/main" val="2590906525"/>
                    </a:ext>
                  </a:extLst>
                </a:gridCol>
                <a:gridCol w="2477600">
                  <a:extLst>
                    <a:ext uri="{9D8B030D-6E8A-4147-A177-3AD203B41FA5}">
                      <a16:colId xmlns:a16="http://schemas.microsoft.com/office/drawing/2014/main" val="2860503846"/>
                    </a:ext>
                  </a:extLst>
                </a:gridCol>
                <a:gridCol w="2477600">
                  <a:extLst>
                    <a:ext uri="{9D8B030D-6E8A-4147-A177-3AD203B41FA5}">
                      <a16:colId xmlns:a16="http://schemas.microsoft.com/office/drawing/2014/main" val="732471989"/>
                    </a:ext>
                  </a:extLst>
                </a:gridCol>
              </a:tblGrid>
              <a:tr h="595111">
                <a:tc>
                  <a:txBody>
                    <a:bodyPr/>
                    <a:lstStyle/>
                    <a:p>
                      <a:pPr marL="0" indent="0">
                        <a:lnSpc>
                          <a:spcPct val="110000"/>
                        </a:lnSpc>
                        <a:buFont typeface="Arial" panose="020B0604020202020204" pitchFamily="34" charset="0"/>
                        <a:buNone/>
                      </a:pPr>
                      <a:endParaRPr lang="en-US" sz="1100" b="0" dirty="0">
                        <a:solidFill>
                          <a:srgbClr val="000000"/>
                        </a:solidFill>
                        <a:latin typeface="+mn-lt"/>
                      </a:endParaRPr>
                    </a:p>
                  </a:txBody>
                  <a:tcPr marT="73152" marB="73152">
                    <a:lnR w="6350" cap="flat" cmpd="sng" algn="ctr">
                      <a:solidFill>
                        <a:srgbClr val="06E4A5"/>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mn-cs"/>
                        </a:rPr>
                        <a:t>Franchise</a:t>
                      </a:r>
                      <a:endParaRPr kumimoji="0" lang="en-US" sz="1400" b="1" i="1" u="none" strike="noStrike" kern="1200" cap="none" spc="0" normalizeH="0" baseline="0" noProof="0" dirty="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Open Sans"/>
                          <a:ea typeface="+mn-ea"/>
                          <a:cs typeface="+mn-cs"/>
                        </a:rPr>
                        <a:t>$328 per restaurant*</a:t>
                      </a:r>
                    </a:p>
                  </a:txBody>
                  <a:tcPr marL="0" marR="0">
                    <a:lnL w="6350" cap="flat" cmpd="sng" algn="ctr">
                      <a:solidFill>
                        <a:srgbClr val="06E4A5"/>
                      </a:solidFill>
                      <a:prstDash val="solid"/>
                      <a:round/>
                      <a:headEnd type="none" w="med" len="med"/>
                      <a:tailEnd type="none" w="med" len="med"/>
                    </a:lnL>
                    <a:lnR w="6350" cap="flat" cmpd="sng" algn="ctr">
                      <a:solidFill>
                        <a:schemeClr val="bg1">
                          <a:lumMod val="75000"/>
                        </a:schemeClr>
                      </a:solidFill>
                      <a:prstDash val="sysDot"/>
                      <a:round/>
                      <a:headEnd type="none" w="med" len="med"/>
                      <a:tailEnd type="none" w="med" len="med"/>
                    </a:lnR>
                    <a:lnT w="6350" cap="flat" cmpd="sng" algn="ctr">
                      <a:solidFill>
                        <a:srgbClr val="06E4A5"/>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8BFCD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mn-cs"/>
                        </a:rPr>
                        <a:t>Owner / Operato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Open Sans"/>
                          <a:ea typeface="+mn-ea"/>
                          <a:cs typeface="+mn-cs"/>
                        </a:rPr>
                        <a:t>$199 per restaurant</a:t>
                      </a:r>
                    </a:p>
                  </a:txBody>
                  <a:tcPr marL="0" marR="0">
                    <a:lnL w="6350" cap="flat" cmpd="sng" algn="ctr">
                      <a:solidFill>
                        <a:schemeClr val="bg1">
                          <a:lumMod val="75000"/>
                        </a:schemeClr>
                      </a:solidFill>
                      <a:prstDash val="sysDot"/>
                      <a:round/>
                      <a:headEnd type="none" w="med" len="med"/>
                      <a:tailEnd type="none" w="med" len="med"/>
                    </a:lnL>
                    <a:lnR w="6350" cap="flat" cmpd="sng" algn="ctr">
                      <a:solidFill>
                        <a:srgbClr val="06E4A5"/>
                      </a:solidFill>
                      <a:prstDash val="solid"/>
                      <a:round/>
                      <a:headEnd type="none" w="med" len="med"/>
                      <a:tailEnd type="none" w="med" len="med"/>
                    </a:lnR>
                    <a:lnT w="6350" cap="flat" cmpd="sng" algn="ctr">
                      <a:solidFill>
                        <a:srgbClr val="06E4A5"/>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8BFCDC"/>
                    </a:solidFill>
                  </a:tcPr>
                </a:tc>
                <a:extLst>
                  <a:ext uri="{0D108BD9-81ED-4DB2-BD59-A6C34878D82A}">
                    <a16:rowId xmlns:a16="http://schemas.microsoft.com/office/drawing/2014/main" val="309017078"/>
                  </a:ext>
                </a:extLst>
              </a:tr>
              <a:tr h="481570">
                <a:tc>
                  <a:txBody>
                    <a:bodyPr/>
                    <a:lstStyle/>
                    <a:p>
                      <a:pPr marR="0" lvl="0" algn="l" defTabSz="914400" rtl="0" eaLnBrk="1" fontAlgn="auto" latinLnBrk="0" hangingPunct="1">
                        <a:lnSpc>
                          <a:spcPct val="130000"/>
                        </a:lnSpc>
                        <a:spcBef>
                          <a:spcPts val="0"/>
                        </a:spcBef>
                        <a:spcAft>
                          <a:spcPts val="0"/>
                        </a:spcAft>
                        <a:buClrTx/>
                        <a:buSzTx/>
                        <a:tabLst/>
                        <a:defRPr/>
                      </a:pPr>
                      <a:r>
                        <a:rPr kumimoji="0" lang="en-US" sz="1600" b="1" i="0" u="none" strike="noStrike" kern="1200" cap="none" spc="0" normalizeH="0" baseline="0" noProof="0" dirty="0">
                          <a:ln>
                            <a:noFill/>
                          </a:ln>
                          <a:solidFill>
                            <a:srgbClr val="000000"/>
                          </a:solidFill>
                          <a:effectLst/>
                          <a:uLnTx/>
                          <a:uFillTx/>
                          <a:latin typeface="Chronicle Display" pitchFamily="50" charset="0"/>
                          <a:ea typeface="Open Sans" panose="020B0606030504020204" pitchFamily="34" charset="0"/>
                          <a:cs typeface="Open Sans" panose="020B0606030504020204" pitchFamily="34" charset="0"/>
                        </a:rPr>
                        <a:t>3</a:t>
                      </a:r>
                      <a:r>
                        <a:rPr kumimoji="0" lang="en-US" sz="1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staurant Level recommendations</a:t>
                      </a:r>
                      <a:endParaRPr kumimoji="0" lang="en-US" sz="1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T="73152" marB="73152">
                    <a:lnR w="6350" cap="flat" cmpd="sng" algn="ctr">
                      <a:solidFill>
                        <a:srgbClr val="06E4A5"/>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6E4A5"/>
                          </a:solidFill>
                          <a:effectLst/>
                          <a:uLnTx/>
                          <a:uFillTx/>
                          <a:latin typeface="Calibri" panose="020F0502020204030204"/>
                          <a:ea typeface="+mn-ea"/>
                          <a:cs typeface="+mn-cs"/>
                        </a:rPr>
                        <a:t>●</a:t>
                      </a:r>
                      <a:endParaRPr kumimoji="0" lang="en-US" sz="1100" b="0" i="0" u="none" strike="noStrike" kern="1200" cap="none" spc="0" normalizeH="0" baseline="0" noProof="0" dirty="0">
                        <a:ln>
                          <a:noFill/>
                        </a:ln>
                        <a:solidFill>
                          <a:srgbClr val="06E4A5"/>
                        </a:solidFill>
                        <a:effectLst/>
                        <a:uLnTx/>
                        <a:uFillTx/>
                        <a:latin typeface="Calibri" panose="020F0502020204030204"/>
                        <a:ea typeface="+mn-ea"/>
                        <a:cs typeface="+mn-cs"/>
                      </a:endParaRPr>
                    </a:p>
                  </a:txBody>
                  <a:tcPr anchor="ctr">
                    <a:lnL w="6350" cap="flat" cmpd="sng" algn="ctr">
                      <a:solidFill>
                        <a:srgbClr val="06E4A5"/>
                      </a:solidFill>
                      <a:prstDash val="solid"/>
                      <a:round/>
                      <a:headEnd type="none" w="med" len="med"/>
                      <a:tailEnd type="none" w="med" len="med"/>
                    </a:lnL>
                    <a:lnR w="6350" cap="flat" cmpd="sng" algn="ctr">
                      <a:solidFill>
                        <a:schemeClr val="bg1">
                          <a:lumMod val="75000"/>
                        </a:schemeClr>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6E4A5"/>
                          </a:solidFill>
                          <a:effectLst/>
                          <a:uLnTx/>
                          <a:uFillTx/>
                          <a:latin typeface="Calibri" panose="020F0502020204030204"/>
                          <a:ea typeface="+mn-ea"/>
                          <a:cs typeface="+mn-cs"/>
                        </a:rPr>
                        <a:t>●</a:t>
                      </a:r>
                      <a:endParaRPr kumimoji="0" lang="en-US" sz="1100" b="0" i="0" u="none" strike="noStrike" kern="1200" cap="none" spc="0" normalizeH="0" baseline="0" noProof="0" dirty="0">
                        <a:ln>
                          <a:noFill/>
                        </a:ln>
                        <a:solidFill>
                          <a:srgbClr val="06E4A5"/>
                        </a:solidFill>
                        <a:effectLst/>
                        <a:uLnTx/>
                        <a:uFillTx/>
                        <a:latin typeface="Calibri" panose="020F0502020204030204"/>
                        <a:ea typeface="+mn-ea"/>
                        <a:cs typeface="+mn-cs"/>
                      </a:endParaRPr>
                    </a:p>
                  </a:txBody>
                  <a:tcPr anchor="ctr">
                    <a:lnL w="6350" cap="flat" cmpd="sng" algn="ctr">
                      <a:solidFill>
                        <a:schemeClr val="bg1">
                          <a:lumMod val="75000"/>
                        </a:schemeClr>
                      </a:solidFill>
                      <a:prstDash val="sysDot"/>
                      <a:round/>
                      <a:headEnd type="none" w="med" len="med"/>
                      <a:tailEnd type="none" w="med" len="med"/>
                    </a:lnL>
                    <a:lnR w="6350" cap="flat" cmpd="sng" algn="ctr">
                      <a:solidFill>
                        <a:srgbClr val="06E4A5"/>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3900119691"/>
                  </a:ext>
                </a:extLst>
              </a:tr>
              <a:tr h="481570">
                <a:tc>
                  <a:txBody>
                    <a:bodyPr/>
                    <a:lstStyle/>
                    <a:p>
                      <a:pPr marR="0" lvl="0" algn="l" defTabSz="914400" rtl="0" eaLnBrk="1" fontAlgn="auto" latinLnBrk="0" hangingPunct="1">
                        <a:lnSpc>
                          <a:spcPct val="130000"/>
                        </a:lnSpc>
                        <a:spcBef>
                          <a:spcPts val="0"/>
                        </a:spcBef>
                        <a:spcAft>
                          <a:spcPts val="0"/>
                        </a:spcAft>
                        <a:buClrTx/>
                        <a:buSzTx/>
                        <a:tabLst/>
                        <a:defRPr/>
                      </a:pPr>
                      <a:r>
                        <a:rPr kumimoji="0" lang="en-US" sz="1600" b="1" i="0" u="none" strike="noStrike" kern="1200" cap="none" spc="0" normalizeH="0" baseline="0" noProof="0" dirty="0">
                          <a:ln>
                            <a:noFill/>
                          </a:ln>
                          <a:solidFill>
                            <a:srgbClr val="000000"/>
                          </a:solidFill>
                          <a:effectLst/>
                          <a:uLnTx/>
                          <a:uFillTx/>
                          <a:latin typeface="Chronicle Display" pitchFamily="50" charset="0"/>
                          <a:ea typeface="Open Sans" panose="020B0606030504020204" pitchFamily="34" charset="0"/>
                          <a:cs typeface="Open Sans" panose="020B0606030504020204" pitchFamily="34" charset="0"/>
                        </a:rPr>
                        <a:t>2</a:t>
                      </a:r>
                      <a:r>
                        <a:rPr kumimoji="0" lang="en-U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Off-cycle recommendation</a:t>
                      </a:r>
                      <a:endPar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txBody>
                  <a:tcPr marT="73152" marB="73152">
                    <a:lnR w="6350" cap="flat" cmpd="sng" algn="ctr">
                      <a:solidFill>
                        <a:srgbClr val="06E4A5"/>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6E4A5"/>
                          </a:solidFill>
                          <a:effectLst/>
                          <a:uLnTx/>
                          <a:uFillTx/>
                          <a:latin typeface="Calibri" panose="020F0502020204030204"/>
                          <a:ea typeface="+mn-ea"/>
                          <a:cs typeface="+mn-cs"/>
                        </a:rPr>
                        <a:t>●</a:t>
                      </a:r>
                      <a:endParaRPr kumimoji="0" lang="en-US" sz="1100" b="0" i="0" u="none" strike="noStrike" kern="1200" cap="none" spc="0" normalizeH="0" baseline="0" noProof="0" dirty="0">
                        <a:ln>
                          <a:noFill/>
                        </a:ln>
                        <a:solidFill>
                          <a:srgbClr val="06E4A5"/>
                        </a:solidFill>
                        <a:effectLst/>
                        <a:uLnTx/>
                        <a:uFillTx/>
                        <a:latin typeface="Calibri" panose="020F0502020204030204"/>
                        <a:ea typeface="+mn-ea"/>
                        <a:cs typeface="+mn-cs"/>
                      </a:endParaRPr>
                    </a:p>
                  </a:txBody>
                  <a:tcPr anchor="ctr">
                    <a:lnL w="6350" cap="flat" cmpd="sng" algn="ctr">
                      <a:solidFill>
                        <a:srgbClr val="06E4A5"/>
                      </a:solidFill>
                      <a:prstDash val="solid"/>
                      <a:round/>
                      <a:headEnd type="none" w="med" len="med"/>
                      <a:tailEnd type="none" w="med" len="med"/>
                    </a:lnL>
                    <a:lnR w="6350" cap="flat" cmpd="sng" algn="ctr">
                      <a:solidFill>
                        <a:schemeClr val="bg1">
                          <a:lumMod val="75000"/>
                        </a:schemeClr>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6E4A5"/>
                          </a:solidFill>
                          <a:effectLst/>
                          <a:uLnTx/>
                          <a:uFillTx/>
                          <a:latin typeface="Calibri" panose="020F0502020204030204"/>
                          <a:ea typeface="+mn-ea"/>
                          <a:cs typeface="+mn-cs"/>
                        </a:rPr>
                        <a:t>●</a:t>
                      </a:r>
                      <a:endParaRPr kumimoji="0" lang="en-US" sz="1100" b="0" i="0" u="none" strike="noStrike" kern="1200" cap="none" spc="0" normalizeH="0" baseline="0" noProof="0" dirty="0">
                        <a:ln>
                          <a:noFill/>
                        </a:ln>
                        <a:solidFill>
                          <a:srgbClr val="06E4A5"/>
                        </a:solidFill>
                        <a:effectLst/>
                        <a:uLnTx/>
                        <a:uFillTx/>
                        <a:latin typeface="Calibri" panose="020F0502020204030204"/>
                        <a:ea typeface="+mn-ea"/>
                        <a:cs typeface="+mn-cs"/>
                      </a:endParaRPr>
                    </a:p>
                  </a:txBody>
                  <a:tcPr anchor="ctr">
                    <a:lnL w="6350" cap="flat" cmpd="sng" algn="ctr">
                      <a:solidFill>
                        <a:schemeClr val="bg1">
                          <a:lumMod val="75000"/>
                        </a:schemeClr>
                      </a:solidFill>
                      <a:prstDash val="sysDot"/>
                      <a:round/>
                      <a:headEnd type="none" w="med" len="med"/>
                      <a:tailEnd type="none" w="med" len="med"/>
                    </a:lnL>
                    <a:lnR w="6350" cap="flat" cmpd="sng" algn="ctr">
                      <a:solidFill>
                        <a:srgbClr val="06E4A5"/>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2907994083"/>
                  </a:ext>
                </a:extLst>
              </a:tr>
              <a:tr h="448618">
                <a:tc>
                  <a:txBody>
                    <a:bodyPr/>
                    <a:lstStyle/>
                    <a:p>
                      <a:pPr defTabSz="767397">
                        <a:lnSpc>
                          <a:spcPct val="130000"/>
                        </a:lnSpc>
                        <a:defRPr/>
                      </a:pP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Local competitive price overviews</a:t>
                      </a:r>
                    </a:p>
                  </a:txBody>
                  <a:tcPr marT="73152" marB="73152">
                    <a:lnR w="6350" cap="flat" cmpd="sng" algn="ctr">
                      <a:solidFill>
                        <a:srgbClr val="06E4A5"/>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6E4A5"/>
                          </a:solidFill>
                          <a:effectLst/>
                          <a:uLnTx/>
                          <a:uFillTx/>
                          <a:latin typeface="Calibri" panose="020F0502020204030204"/>
                          <a:ea typeface="+mn-ea"/>
                          <a:cs typeface="+mn-cs"/>
                        </a:rPr>
                        <a:t>●</a:t>
                      </a:r>
                      <a:endParaRPr kumimoji="0" lang="en-US" sz="1100" b="0" i="0" u="none" strike="noStrike" kern="1200" cap="none" spc="0" normalizeH="0" baseline="0" noProof="0" dirty="0">
                        <a:ln>
                          <a:noFill/>
                        </a:ln>
                        <a:solidFill>
                          <a:srgbClr val="06E4A5"/>
                        </a:solidFill>
                        <a:effectLst/>
                        <a:uLnTx/>
                        <a:uFillTx/>
                        <a:latin typeface="Calibri" panose="020F0502020204030204"/>
                        <a:ea typeface="+mn-ea"/>
                        <a:cs typeface="+mn-cs"/>
                      </a:endParaRPr>
                    </a:p>
                  </a:txBody>
                  <a:tcPr anchor="ctr">
                    <a:lnL w="6350" cap="flat" cmpd="sng" algn="ctr">
                      <a:solidFill>
                        <a:srgbClr val="06E4A5"/>
                      </a:solidFill>
                      <a:prstDash val="solid"/>
                      <a:round/>
                      <a:headEnd type="none" w="med" len="med"/>
                      <a:tailEnd type="none" w="med" len="med"/>
                    </a:lnL>
                    <a:lnR w="6350" cap="flat" cmpd="sng" algn="ctr">
                      <a:solidFill>
                        <a:schemeClr val="bg1">
                          <a:lumMod val="75000"/>
                        </a:schemeClr>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6E4A5"/>
                          </a:solidFill>
                          <a:effectLst/>
                          <a:uLnTx/>
                          <a:uFillTx/>
                          <a:latin typeface="Calibri" panose="020F0502020204030204"/>
                          <a:ea typeface="+mn-ea"/>
                          <a:cs typeface="+mn-cs"/>
                        </a:rPr>
                        <a:t>●</a:t>
                      </a:r>
                      <a:endParaRPr kumimoji="0" lang="en-US" sz="1100" b="0" i="0" u="none" strike="noStrike" kern="1200" cap="none" spc="0" normalizeH="0" baseline="0" noProof="0" dirty="0">
                        <a:ln>
                          <a:noFill/>
                        </a:ln>
                        <a:solidFill>
                          <a:srgbClr val="06E4A5"/>
                        </a:solidFill>
                        <a:effectLst/>
                        <a:uLnTx/>
                        <a:uFillTx/>
                        <a:latin typeface="Calibri" panose="020F0502020204030204"/>
                        <a:ea typeface="+mn-ea"/>
                        <a:cs typeface="+mn-cs"/>
                      </a:endParaRPr>
                    </a:p>
                  </a:txBody>
                  <a:tcPr anchor="ctr">
                    <a:lnL w="6350" cap="flat" cmpd="sng" algn="ctr">
                      <a:solidFill>
                        <a:schemeClr val="bg1">
                          <a:lumMod val="75000"/>
                        </a:schemeClr>
                      </a:solidFill>
                      <a:prstDash val="sysDot"/>
                      <a:round/>
                      <a:headEnd type="none" w="med" len="med"/>
                      <a:tailEnd type="none" w="med" len="med"/>
                    </a:lnL>
                    <a:lnR w="6350" cap="flat" cmpd="sng" algn="ctr">
                      <a:solidFill>
                        <a:srgbClr val="06E4A5"/>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948670870"/>
                  </a:ext>
                </a:extLst>
              </a:tr>
              <a:tr h="448618">
                <a:tc>
                  <a:txBody>
                    <a:bodyPr/>
                    <a:lstStyle/>
                    <a:p>
                      <a:pPr lvl="0" defTabSz="767397">
                        <a:lnSpc>
                          <a:spcPct val="130000"/>
                        </a:lnSpc>
                        <a:defRPr/>
                      </a:pP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Restaurant Level: Quarterly performance results</a:t>
                      </a:r>
                    </a:p>
                  </a:txBody>
                  <a:tcPr marT="73152" marB="73152">
                    <a:lnR w="6350" cap="flat" cmpd="sng" algn="ctr">
                      <a:solidFill>
                        <a:srgbClr val="06E4A5"/>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6E4A5"/>
                          </a:solidFill>
                          <a:effectLst/>
                          <a:uLnTx/>
                          <a:uFillTx/>
                          <a:latin typeface="Calibri" panose="020F0502020204030204"/>
                          <a:ea typeface="+mn-ea"/>
                          <a:cs typeface="+mn-cs"/>
                        </a:rPr>
                        <a:t>●</a:t>
                      </a:r>
                      <a:endParaRPr kumimoji="0" lang="en-US" sz="1100" b="0" i="0" u="none" strike="noStrike" kern="1200" cap="none" spc="0" normalizeH="0" baseline="0" noProof="0" dirty="0">
                        <a:ln>
                          <a:noFill/>
                        </a:ln>
                        <a:solidFill>
                          <a:srgbClr val="06E4A5"/>
                        </a:solidFill>
                        <a:effectLst/>
                        <a:uLnTx/>
                        <a:uFillTx/>
                        <a:latin typeface="Calibri" panose="020F0502020204030204"/>
                        <a:ea typeface="+mn-ea"/>
                        <a:cs typeface="+mn-cs"/>
                      </a:endParaRPr>
                    </a:p>
                  </a:txBody>
                  <a:tcPr anchor="ctr">
                    <a:lnL w="6350" cap="flat" cmpd="sng" algn="ctr">
                      <a:solidFill>
                        <a:srgbClr val="06E4A5"/>
                      </a:solidFill>
                      <a:prstDash val="solid"/>
                      <a:round/>
                      <a:headEnd type="none" w="med" len="med"/>
                      <a:tailEnd type="none" w="med" len="med"/>
                    </a:lnL>
                    <a:lnR w="6350" cap="flat" cmpd="sng" algn="ctr">
                      <a:solidFill>
                        <a:schemeClr val="bg1">
                          <a:lumMod val="75000"/>
                        </a:schemeClr>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6E4A5"/>
                          </a:solidFill>
                          <a:effectLst/>
                          <a:uLnTx/>
                          <a:uFillTx/>
                          <a:latin typeface="Calibri" panose="020F0502020204030204"/>
                          <a:ea typeface="+mn-ea"/>
                          <a:cs typeface="+mn-cs"/>
                        </a:rPr>
                        <a:t>●</a:t>
                      </a:r>
                      <a:endParaRPr kumimoji="0" lang="en-US" sz="1100" b="0" i="0" u="none" strike="noStrike" kern="1200" cap="none" spc="0" normalizeH="0" baseline="0" noProof="0" dirty="0">
                        <a:ln>
                          <a:noFill/>
                        </a:ln>
                        <a:solidFill>
                          <a:srgbClr val="06E4A5"/>
                        </a:solidFill>
                        <a:effectLst/>
                        <a:uLnTx/>
                        <a:uFillTx/>
                        <a:latin typeface="Calibri" panose="020F0502020204030204"/>
                        <a:ea typeface="+mn-ea"/>
                        <a:cs typeface="+mn-cs"/>
                      </a:endParaRPr>
                    </a:p>
                  </a:txBody>
                  <a:tcPr anchor="ctr">
                    <a:lnL w="6350" cap="flat" cmpd="sng" algn="ctr">
                      <a:solidFill>
                        <a:schemeClr val="bg1">
                          <a:lumMod val="75000"/>
                        </a:schemeClr>
                      </a:solidFill>
                      <a:prstDash val="sysDot"/>
                      <a:round/>
                      <a:headEnd type="none" w="med" len="med"/>
                      <a:tailEnd type="none" w="med" len="med"/>
                    </a:lnL>
                    <a:lnR w="6350" cap="flat" cmpd="sng" algn="ctr">
                      <a:solidFill>
                        <a:srgbClr val="06E4A5"/>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2235189855"/>
                  </a:ext>
                </a:extLst>
              </a:tr>
              <a:tr h="448618">
                <a:tc>
                  <a:txBody>
                    <a:bodyPr/>
                    <a:lstStyle/>
                    <a:p>
                      <a:pPr lvl="0" defTabSz="767397">
                        <a:lnSpc>
                          <a:spcPct val="130000"/>
                        </a:lnSpc>
                        <a:defRPr/>
                      </a:pP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Dedicated Pricing Advisor [</a:t>
                      </a:r>
                      <a:r>
                        <a:rPr lang="en-US" sz="1400" i="1" dirty="0">
                          <a:solidFill>
                            <a:srgbClr val="000000"/>
                          </a:solidFill>
                          <a:latin typeface="Open Sans" panose="020B0606030504020204" pitchFamily="34" charset="0"/>
                          <a:ea typeface="Open Sans" panose="020B0606030504020204" pitchFamily="34" charset="0"/>
                          <a:cs typeface="Open Sans" panose="020B0606030504020204" pitchFamily="34" charset="0"/>
                        </a:rPr>
                        <a:t>Restaurant support</a:t>
                      </a: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a:t>
                      </a:r>
                    </a:p>
                  </a:txBody>
                  <a:tcPr marT="73152" marB="73152">
                    <a:lnR w="6350" cap="flat" cmpd="sng" algn="ctr">
                      <a:solidFill>
                        <a:srgbClr val="06E4A5"/>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38100" cap="flat" cmpd="sng" algn="ctr">
                      <a:solidFill>
                        <a:schemeClr val="accent4"/>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6E4A5"/>
                          </a:solidFill>
                          <a:effectLst/>
                          <a:uLnTx/>
                          <a:uFillTx/>
                          <a:latin typeface="Calibri" panose="020F0502020204030204"/>
                          <a:ea typeface="+mn-ea"/>
                          <a:cs typeface="+mn-cs"/>
                        </a:rPr>
                        <a:t>●</a:t>
                      </a:r>
                      <a:endParaRPr kumimoji="0" lang="en-US" sz="1100" b="0" i="0" u="none" strike="noStrike" kern="1200" cap="none" spc="0" normalizeH="0" baseline="0" noProof="0" dirty="0">
                        <a:ln>
                          <a:noFill/>
                        </a:ln>
                        <a:solidFill>
                          <a:srgbClr val="06E4A5"/>
                        </a:solidFill>
                        <a:effectLst/>
                        <a:uLnTx/>
                        <a:uFillTx/>
                        <a:latin typeface="Calibri" panose="020F0502020204030204"/>
                        <a:ea typeface="+mn-ea"/>
                        <a:cs typeface="+mn-cs"/>
                      </a:endParaRPr>
                    </a:p>
                  </a:txBody>
                  <a:tcPr anchor="ctr">
                    <a:lnL w="6350" cap="flat" cmpd="sng" algn="ctr">
                      <a:solidFill>
                        <a:srgbClr val="06E4A5"/>
                      </a:solidFill>
                      <a:prstDash val="solid"/>
                      <a:round/>
                      <a:headEnd type="none" w="med" len="med"/>
                      <a:tailEnd type="none" w="med" len="med"/>
                    </a:lnL>
                    <a:lnR w="6350" cap="flat" cmpd="sng" algn="ctr">
                      <a:solidFill>
                        <a:schemeClr val="bg1">
                          <a:lumMod val="75000"/>
                        </a:schemeClr>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38100" cap="flat" cmpd="sng" algn="ctr">
                      <a:solidFill>
                        <a:schemeClr val="accent4"/>
                      </a:solidFill>
                      <a:prstDash val="sysDash"/>
                      <a:round/>
                      <a:headEnd type="none" w="med" len="med"/>
                      <a:tailEnd type="none" w="med" len="med"/>
                    </a:lnB>
                    <a:noFill/>
                  </a:tcPr>
                </a:tc>
                <a:tc>
                  <a:txBody>
                    <a:bodyPr/>
                    <a:lstStyle/>
                    <a:p>
                      <a:pPr marL="0" marR="0" lvl="0" indent="0" algn="ctr"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6E4A5"/>
                          </a:solidFill>
                          <a:effectLst/>
                          <a:uLnTx/>
                          <a:uFillTx/>
                          <a:latin typeface="Calibri" panose="020F0502020204030204"/>
                          <a:ea typeface="+mn-ea"/>
                          <a:cs typeface="+mn-cs"/>
                        </a:rPr>
                        <a:t>●</a:t>
                      </a:r>
                      <a:endParaRPr kumimoji="0" lang="en-US" sz="1100" b="0" i="0" u="none" strike="noStrike" kern="1200" cap="none" spc="0" normalizeH="0" baseline="0" noProof="0" dirty="0">
                        <a:ln>
                          <a:noFill/>
                        </a:ln>
                        <a:solidFill>
                          <a:srgbClr val="06E4A5"/>
                        </a:solidFill>
                        <a:effectLst/>
                        <a:uLnTx/>
                        <a:uFillTx/>
                        <a:latin typeface="Calibri" panose="020F0502020204030204"/>
                        <a:ea typeface="+mn-ea"/>
                        <a:cs typeface="+mn-cs"/>
                      </a:endParaRPr>
                    </a:p>
                  </a:txBody>
                  <a:tcPr anchor="ctr">
                    <a:lnL w="6350" cap="flat" cmpd="sng" algn="ctr">
                      <a:solidFill>
                        <a:schemeClr val="bg1">
                          <a:lumMod val="75000"/>
                        </a:schemeClr>
                      </a:solidFill>
                      <a:prstDash val="sysDot"/>
                      <a:round/>
                      <a:headEnd type="none" w="med" len="med"/>
                      <a:tailEnd type="none" w="med" len="med"/>
                    </a:lnL>
                    <a:lnR w="6350" cap="flat" cmpd="sng" algn="ctr">
                      <a:solidFill>
                        <a:srgbClr val="06E4A5"/>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38100" cap="flat" cmpd="sng" algn="ctr">
                      <a:solidFill>
                        <a:schemeClr val="accent4"/>
                      </a:solidFill>
                      <a:prstDash val="sysDash"/>
                      <a:round/>
                      <a:headEnd type="none" w="med" len="med"/>
                      <a:tailEnd type="none" w="med" len="med"/>
                    </a:lnB>
                    <a:noFill/>
                  </a:tcPr>
                </a:tc>
                <a:extLst>
                  <a:ext uri="{0D108BD9-81ED-4DB2-BD59-A6C34878D82A}">
                    <a16:rowId xmlns:a16="http://schemas.microsoft.com/office/drawing/2014/main" val="2188259195"/>
                  </a:ext>
                </a:extLst>
              </a:tr>
              <a:tr h="439286">
                <a:tc>
                  <a:txBody>
                    <a:body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lang="en-US" sz="1600" dirty="0">
                          <a:solidFill>
                            <a:srgbClr val="000000"/>
                          </a:solidFill>
                          <a:latin typeface="Chronicle Display Black"/>
                        </a:rPr>
                        <a:t>3</a:t>
                      </a:r>
                      <a:r>
                        <a:rPr lang="en-US" sz="1400" dirty="0">
                          <a:solidFill>
                            <a:srgbClr val="000000"/>
                          </a:solidFill>
                          <a:latin typeface="Chronicle Display Black"/>
                        </a:rPr>
                        <a:t> </a:t>
                      </a: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Franchise Level recommendations</a:t>
                      </a:r>
                    </a:p>
                  </a:txBody>
                  <a:tcPr marT="73152" marB="73152">
                    <a:lnR w="6350" cap="flat" cmpd="sng" algn="ctr">
                      <a:solidFill>
                        <a:srgbClr val="06E4A5"/>
                      </a:solidFill>
                      <a:prstDash val="solid"/>
                      <a:round/>
                      <a:headEnd type="none" w="med" len="med"/>
                      <a:tailEnd type="none" w="med" len="med"/>
                    </a:lnR>
                    <a:lnT w="38100" cap="flat" cmpd="sng" algn="ctr">
                      <a:solidFill>
                        <a:schemeClr val="accent4"/>
                      </a:solidFill>
                      <a:prstDash val="sysDash"/>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6E4A5"/>
                          </a:solidFill>
                          <a:effectLst/>
                          <a:uLnTx/>
                          <a:uFillTx/>
                          <a:latin typeface="Calibri" panose="020F0502020204030204"/>
                          <a:ea typeface="+mn-ea"/>
                          <a:cs typeface="+mn-cs"/>
                        </a:rPr>
                        <a:t>●</a:t>
                      </a:r>
                      <a:endParaRPr kumimoji="0" lang="en-US" sz="1100" b="0" i="0" u="none" strike="noStrike" kern="1200" cap="none" spc="0" normalizeH="0" baseline="0" noProof="0" dirty="0">
                        <a:ln>
                          <a:noFill/>
                        </a:ln>
                        <a:solidFill>
                          <a:srgbClr val="06E4A5"/>
                        </a:solidFill>
                        <a:effectLst/>
                        <a:uLnTx/>
                        <a:uFillTx/>
                        <a:latin typeface="Calibri" panose="020F0502020204030204"/>
                        <a:ea typeface="+mn-ea"/>
                        <a:cs typeface="+mn-cs"/>
                      </a:endParaRPr>
                    </a:p>
                  </a:txBody>
                  <a:tcPr anchor="ctr">
                    <a:lnL w="6350" cap="flat" cmpd="sng" algn="ctr">
                      <a:solidFill>
                        <a:srgbClr val="06E4A5"/>
                      </a:solidFill>
                      <a:prstDash val="solid"/>
                      <a:round/>
                      <a:headEnd type="none" w="med" len="med"/>
                      <a:tailEnd type="none" w="med" len="med"/>
                    </a:lnL>
                    <a:lnR w="6350" cap="flat" cmpd="sng" algn="ctr">
                      <a:solidFill>
                        <a:schemeClr val="bg1">
                          <a:lumMod val="75000"/>
                        </a:schemeClr>
                      </a:solidFill>
                      <a:prstDash val="sysDot"/>
                      <a:round/>
                      <a:headEnd type="none" w="med" len="med"/>
                      <a:tailEnd type="none" w="med" len="med"/>
                    </a:lnR>
                    <a:lnT w="38100" cap="flat" cmpd="sng" algn="ctr">
                      <a:solidFill>
                        <a:schemeClr val="accent4"/>
                      </a:solidFill>
                      <a:prstDash val="sysDash"/>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auto" latinLnBrk="0" hangingPunct="1">
                        <a:lnSpc>
                          <a:spcPct val="110000"/>
                        </a:lnSpc>
                        <a:spcBef>
                          <a:spcPts val="0"/>
                        </a:spcBef>
                        <a:spcAft>
                          <a:spcPts val="0"/>
                        </a:spcAft>
                        <a:buClrTx/>
                        <a:buSzTx/>
                        <a:buFont typeface="Arial" panose="020B0604020202020204" pitchFamily="34" charset="0"/>
                        <a:buNone/>
                        <a:tabLst/>
                        <a:defRPr/>
                      </a:pPr>
                      <a:endParaRPr lang="en-US" sz="1100" dirty="0">
                        <a:solidFill>
                          <a:srgbClr val="000000"/>
                        </a:solidFill>
                        <a:latin typeface="+mn-lt"/>
                      </a:endParaRPr>
                    </a:p>
                  </a:txBody>
                  <a:tcPr anchor="ctr">
                    <a:lnL w="6350" cap="flat" cmpd="sng" algn="ctr">
                      <a:solidFill>
                        <a:schemeClr val="bg1">
                          <a:lumMod val="75000"/>
                        </a:schemeClr>
                      </a:solidFill>
                      <a:prstDash val="sysDot"/>
                      <a:round/>
                      <a:headEnd type="none" w="med" len="med"/>
                      <a:tailEnd type="none" w="med" len="med"/>
                    </a:lnL>
                    <a:lnR w="6350" cap="flat" cmpd="sng" algn="ctr">
                      <a:solidFill>
                        <a:srgbClr val="06E4A5"/>
                      </a:solidFill>
                      <a:prstDash val="solid"/>
                      <a:round/>
                      <a:headEnd type="none" w="med" len="med"/>
                      <a:tailEnd type="none" w="med" len="med"/>
                    </a:lnR>
                    <a:lnT w="38100" cap="flat" cmpd="sng" algn="ctr">
                      <a:solidFill>
                        <a:schemeClr val="accent4"/>
                      </a:solidFill>
                      <a:prstDash val="sysDash"/>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1912281160"/>
                  </a:ext>
                </a:extLst>
              </a:tr>
              <a:tr h="421276">
                <a:tc>
                  <a:txBody>
                    <a:body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Franchise Level: Quarterly + annual performance results</a:t>
                      </a:r>
                    </a:p>
                  </a:txBody>
                  <a:tcPr marT="73152" marB="73152">
                    <a:lnR w="6350" cap="flat" cmpd="sng" algn="ctr">
                      <a:solidFill>
                        <a:srgbClr val="06E4A5"/>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6E4A5"/>
                          </a:solidFill>
                          <a:effectLst/>
                          <a:uLnTx/>
                          <a:uFillTx/>
                          <a:latin typeface="Calibri" panose="020F0502020204030204"/>
                          <a:ea typeface="+mn-ea"/>
                          <a:cs typeface="+mn-cs"/>
                        </a:rPr>
                        <a:t>●</a:t>
                      </a:r>
                      <a:endParaRPr kumimoji="0" lang="en-US" sz="1100" b="0" i="0" u="none" strike="noStrike" kern="1200" cap="none" spc="0" normalizeH="0" baseline="0" noProof="0" dirty="0">
                        <a:ln>
                          <a:noFill/>
                        </a:ln>
                        <a:solidFill>
                          <a:srgbClr val="06E4A5"/>
                        </a:solidFill>
                        <a:effectLst/>
                        <a:uLnTx/>
                        <a:uFillTx/>
                        <a:latin typeface="Calibri" panose="020F0502020204030204"/>
                        <a:ea typeface="+mn-ea"/>
                        <a:cs typeface="+mn-cs"/>
                      </a:endParaRPr>
                    </a:p>
                  </a:txBody>
                  <a:tcPr anchor="ctr">
                    <a:lnL w="6350" cap="flat" cmpd="sng" algn="ctr">
                      <a:solidFill>
                        <a:srgbClr val="06E4A5"/>
                      </a:solidFill>
                      <a:prstDash val="solid"/>
                      <a:round/>
                      <a:headEnd type="none" w="med" len="med"/>
                      <a:tailEnd type="none" w="med" len="med"/>
                    </a:lnL>
                    <a:lnR w="6350" cap="flat" cmpd="sng" algn="ctr">
                      <a:solidFill>
                        <a:schemeClr val="bg1">
                          <a:lumMod val="75000"/>
                        </a:schemeClr>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auto" latinLnBrk="0" hangingPunct="1">
                        <a:lnSpc>
                          <a:spcPct val="110000"/>
                        </a:lnSpc>
                        <a:spcBef>
                          <a:spcPts val="0"/>
                        </a:spcBef>
                        <a:spcAft>
                          <a:spcPts val="0"/>
                        </a:spcAft>
                        <a:buClrTx/>
                        <a:buSzTx/>
                        <a:buFont typeface="Arial" panose="020B0604020202020204" pitchFamily="34" charset="0"/>
                        <a:buNone/>
                        <a:tabLst/>
                        <a:defRPr/>
                      </a:pPr>
                      <a:endParaRPr lang="en-US" sz="1100" dirty="0">
                        <a:solidFill>
                          <a:srgbClr val="000000"/>
                        </a:solidFill>
                        <a:latin typeface="+mn-lt"/>
                      </a:endParaRPr>
                    </a:p>
                  </a:txBody>
                  <a:tcPr anchor="ctr">
                    <a:lnL w="6350" cap="flat" cmpd="sng" algn="ctr">
                      <a:solidFill>
                        <a:schemeClr val="bg1">
                          <a:lumMod val="75000"/>
                        </a:schemeClr>
                      </a:solidFill>
                      <a:prstDash val="sysDot"/>
                      <a:round/>
                      <a:headEnd type="none" w="med" len="med"/>
                      <a:tailEnd type="none" w="med" len="med"/>
                    </a:lnL>
                    <a:lnR w="6350" cap="flat" cmpd="sng" algn="ctr">
                      <a:solidFill>
                        <a:srgbClr val="06E4A5"/>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3887542595"/>
                  </a:ext>
                </a:extLst>
              </a:tr>
              <a:tr h="448618">
                <a:tc>
                  <a:txBody>
                    <a:bodyPr/>
                    <a:lstStyle/>
                    <a:p>
                      <a:pPr lvl="0" defTabSz="767397">
                        <a:lnSpc>
                          <a:spcPct val="130000"/>
                        </a:lnSpc>
                        <a:defRPr/>
                      </a:pP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Dedicated Pricing Advisor [</a:t>
                      </a:r>
                      <a:r>
                        <a:rPr lang="en-US" sz="1400" i="1" dirty="0">
                          <a:solidFill>
                            <a:srgbClr val="000000"/>
                          </a:solidFill>
                          <a:latin typeface="Open Sans" panose="020B0606030504020204" pitchFamily="34" charset="0"/>
                          <a:ea typeface="Open Sans" panose="020B0606030504020204" pitchFamily="34" charset="0"/>
                          <a:cs typeface="Open Sans" panose="020B0606030504020204" pitchFamily="34" charset="0"/>
                        </a:rPr>
                        <a:t>Franchise support</a:t>
                      </a: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a:t>
                      </a:r>
                      <a:endParaRPr kumimoji="0" lang="en-US" sz="140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T="73152" marB="73152">
                    <a:lnR w="6350" cap="flat" cmpd="sng" algn="ctr">
                      <a:solidFill>
                        <a:srgbClr val="06E4A5"/>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6E4A5"/>
                          </a:solidFill>
                          <a:effectLst/>
                          <a:uLnTx/>
                          <a:uFillTx/>
                          <a:latin typeface="Calibri" panose="020F0502020204030204"/>
                          <a:ea typeface="+mn-ea"/>
                          <a:cs typeface="+mn-cs"/>
                        </a:rPr>
                        <a:t>●</a:t>
                      </a:r>
                      <a:endParaRPr kumimoji="0" lang="en-US" sz="1100" b="0" i="0" u="none" strike="noStrike" kern="1200" cap="none" spc="0" normalizeH="0" baseline="0" noProof="0" dirty="0">
                        <a:ln>
                          <a:noFill/>
                        </a:ln>
                        <a:solidFill>
                          <a:srgbClr val="06E4A5"/>
                        </a:solidFill>
                        <a:effectLst/>
                        <a:uLnTx/>
                        <a:uFillTx/>
                        <a:latin typeface="Calibri" panose="020F0502020204030204"/>
                        <a:ea typeface="+mn-ea"/>
                        <a:cs typeface="+mn-cs"/>
                      </a:endParaRPr>
                    </a:p>
                  </a:txBody>
                  <a:tcPr anchor="ctr">
                    <a:lnL w="6350" cap="flat" cmpd="sng" algn="ctr">
                      <a:solidFill>
                        <a:srgbClr val="06E4A5"/>
                      </a:solidFill>
                      <a:prstDash val="solid"/>
                      <a:round/>
                      <a:headEnd type="none" w="med" len="med"/>
                      <a:tailEnd type="none" w="med" len="med"/>
                    </a:lnL>
                    <a:lnR w="6350" cap="flat" cmpd="sng" algn="ctr">
                      <a:solidFill>
                        <a:schemeClr val="bg1">
                          <a:lumMod val="75000"/>
                        </a:schemeClr>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rgbClr val="06E4A5"/>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auto" latinLnBrk="0" hangingPunct="1">
                        <a:lnSpc>
                          <a:spcPct val="110000"/>
                        </a:lnSpc>
                        <a:spcBef>
                          <a:spcPts val="0"/>
                        </a:spcBef>
                        <a:spcAft>
                          <a:spcPts val="0"/>
                        </a:spcAft>
                        <a:buClrTx/>
                        <a:buSzTx/>
                        <a:buFont typeface="Arial" panose="020B0604020202020204" pitchFamily="34" charset="0"/>
                        <a:buNone/>
                        <a:tabLst/>
                        <a:defRPr/>
                      </a:pPr>
                      <a:endParaRPr lang="en-US" sz="1100" dirty="0">
                        <a:solidFill>
                          <a:srgbClr val="000000"/>
                        </a:solidFill>
                        <a:latin typeface="+mn-lt"/>
                      </a:endParaRPr>
                    </a:p>
                  </a:txBody>
                  <a:tcPr anchor="ctr">
                    <a:lnL w="6350" cap="flat" cmpd="sng" algn="ctr">
                      <a:solidFill>
                        <a:schemeClr val="bg1">
                          <a:lumMod val="75000"/>
                        </a:schemeClr>
                      </a:solidFill>
                      <a:prstDash val="sysDot"/>
                      <a:round/>
                      <a:headEnd type="none" w="med" len="med"/>
                      <a:tailEnd type="none" w="med" len="med"/>
                    </a:lnL>
                    <a:lnR w="6350" cap="flat" cmpd="sng" algn="ctr">
                      <a:solidFill>
                        <a:srgbClr val="06E4A5"/>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rgbClr val="06E4A5"/>
                      </a:solidFill>
                      <a:prstDash val="solid"/>
                      <a:round/>
                      <a:headEnd type="none" w="med" len="med"/>
                      <a:tailEnd type="none" w="med" len="med"/>
                    </a:lnB>
                    <a:noFill/>
                  </a:tcPr>
                </a:tc>
                <a:extLst>
                  <a:ext uri="{0D108BD9-81ED-4DB2-BD59-A6C34878D82A}">
                    <a16:rowId xmlns:a16="http://schemas.microsoft.com/office/drawing/2014/main" val="940519917"/>
                  </a:ext>
                </a:extLst>
              </a:tr>
            </a:tbl>
          </a:graphicData>
        </a:graphic>
      </p:graphicFrame>
      <p:sp>
        <p:nvSpPr>
          <p:cNvPr id="13" name="Rectangle 12">
            <a:extLst>
              <a:ext uri="{FF2B5EF4-FFF2-40B4-BE49-F238E27FC236}">
                <a16:creationId xmlns:a16="http://schemas.microsoft.com/office/drawing/2014/main" id="{3A37B4B5-25DD-4624-AED1-4930D697EBD6}"/>
              </a:ext>
            </a:extLst>
          </p:cNvPr>
          <p:cNvSpPr/>
          <p:nvPr/>
        </p:nvSpPr>
        <p:spPr>
          <a:xfrm>
            <a:off x="1004313" y="1959674"/>
            <a:ext cx="1674203" cy="292388"/>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t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ea typeface="+mn-ea"/>
                <a:cs typeface="+mn-cs"/>
              </a:rPr>
              <a:t>Services</a:t>
            </a:r>
          </a:p>
        </p:txBody>
      </p:sp>
      <p:cxnSp>
        <p:nvCxnSpPr>
          <p:cNvPr id="14" name="Straight Connector 13">
            <a:extLst>
              <a:ext uri="{FF2B5EF4-FFF2-40B4-BE49-F238E27FC236}">
                <a16:creationId xmlns:a16="http://schemas.microsoft.com/office/drawing/2014/main" id="{482BBF41-7FAB-4306-BA53-32F93DEF7678}"/>
              </a:ext>
            </a:extLst>
          </p:cNvPr>
          <p:cNvCxnSpPr/>
          <p:nvPr/>
        </p:nvCxnSpPr>
        <p:spPr>
          <a:xfrm>
            <a:off x="1089622" y="1896871"/>
            <a:ext cx="1331425" cy="0"/>
          </a:xfrm>
          <a:prstGeom prst="line">
            <a:avLst/>
          </a:prstGeom>
          <a:ln w="38100">
            <a:solidFill>
              <a:srgbClr val="06E4A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8E0DD1E-E055-4D63-BE5E-068E95275EF0}"/>
              </a:ext>
            </a:extLst>
          </p:cNvPr>
          <p:cNvCxnSpPr/>
          <p:nvPr/>
        </p:nvCxnSpPr>
        <p:spPr>
          <a:xfrm>
            <a:off x="6451728" y="1643654"/>
            <a:ext cx="4917203" cy="0"/>
          </a:xfrm>
          <a:prstGeom prst="line">
            <a:avLst/>
          </a:prstGeom>
          <a:ln>
            <a:solidFill>
              <a:srgbClr val="06E4A5"/>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338E1FB6-DA33-4408-8F37-9F7A8CD76303}"/>
              </a:ext>
            </a:extLst>
          </p:cNvPr>
          <p:cNvSpPr/>
          <p:nvPr/>
        </p:nvSpPr>
        <p:spPr>
          <a:xfrm>
            <a:off x="7482695" y="1489766"/>
            <a:ext cx="2855269" cy="307777"/>
          </a:xfrm>
          <a:prstGeom prst="rect">
            <a:avLst/>
          </a:prstGeom>
          <a:solidFill>
            <a:schemeClr val="bg1"/>
          </a:solidFill>
        </p:spPr>
        <p:txBody>
          <a:bodyPr wrap="none">
            <a:spAutoFit/>
          </a:bodyPr>
          <a:lstStyle/>
          <a:p>
            <a:pPr marL="0" marR="0" lvl="0" indent="0" algn="ctr" defTabSz="76739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mn-ea"/>
                <a:cs typeface="+mn-cs"/>
              </a:rPr>
              <a:t>Pricing Solution Subscriptions</a:t>
            </a:r>
          </a:p>
        </p:txBody>
      </p:sp>
      <p:sp>
        <p:nvSpPr>
          <p:cNvPr id="17" name="Rectangle 16">
            <a:extLst>
              <a:ext uri="{FF2B5EF4-FFF2-40B4-BE49-F238E27FC236}">
                <a16:creationId xmlns:a16="http://schemas.microsoft.com/office/drawing/2014/main" id="{EEBDD219-BEA4-4DE2-BBC7-16CC4026190D}"/>
              </a:ext>
            </a:extLst>
          </p:cNvPr>
          <p:cNvSpPr/>
          <p:nvPr/>
        </p:nvSpPr>
        <p:spPr>
          <a:xfrm>
            <a:off x="6437833" y="2416018"/>
            <a:ext cx="2461423" cy="3603958"/>
          </a:xfrm>
          <a:prstGeom prst="rect">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Tree>
    <p:extLst>
      <p:ext uri="{BB962C8B-B14F-4D97-AF65-F5344CB8AC3E}">
        <p14:creationId xmlns:p14="http://schemas.microsoft.com/office/powerpoint/2010/main" val="1573749940"/>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AF26C9E-C616-45D9-A316-3685B58C5238}"/>
              </a:ext>
            </a:extLst>
          </p:cNvPr>
          <p:cNvGraphicFramePr>
            <a:graphicFrameLocks noChangeAspect="1"/>
          </p:cNvGraphicFramePr>
          <p:nvPr>
            <p:custDataLst>
              <p:tags r:id="rId2"/>
            </p:custDataLst>
            <p:extLst>
              <p:ext uri="{D42A27DB-BD31-4B8C-83A1-F6EECF244321}">
                <p14:modId xmlns:p14="http://schemas.microsoft.com/office/powerpoint/2010/main" val="483653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1796" name="think-cell Slide" r:id="rId6" imgW="395" imgH="396" progId="TCLayout.ActiveDocument.1">
                  <p:embed/>
                </p:oleObj>
              </mc:Choice>
              <mc:Fallback>
                <p:oleObj name="think-cell Slide" r:id="rId6" imgW="395" imgH="396" progId="TCLayout.ActiveDocument.1">
                  <p:embed/>
                  <p:pic>
                    <p:nvPicPr>
                      <p:cNvPr id="9" name="Object 8" hidden="1">
                        <a:extLst>
                          <a:ext uri="{FF2B5EF4-FFF2-40B4-BE49-F238E27FC236}">
                            <a16:creationId xmlns:a16="http://schemas.microsoft.com/office/drawing/2014/main" id="{BAF26C9E-C616-45D9-A316-3685B58C523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55D6A42-CF06-43F1-9519-47B561F104E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5FC3D4CE-EABD-4AE3-AC2E-BB68582E6838}"/>
              </a:ext>
            </a:extLst>
          </p:cNvPr>
          <p:cNvSpPr>
            <a:spLocks noGrp="1"/>
          </p:cNvSpPr>
          <p:nvPr>
            <p:ph type="title"/>
          </p:nvPr>
        </p:nvSpPr>
        <p:spPr/>
        <p:txBody>
          <a:bodyPr/>
          <a:lstStyle/>
          <a:p>
            <a:r>
              <a:rPr lang="en-US" dirty="0"/>
              <a:t>Top 10 Deep Dive Accounts</a:t>
            </a:r>
          </a:p>
        </p:txBody>
      </p:sp>
      <p:sp>
        <p:nvSpPr>
          <p:cNvPr id="3" name="Text Placeholder 2">
            <a:extLst>
              <a:ext uri="{FF2B5EF4-FFF2-40B4-BE49-F238E27FC236}">
                <a16:creationId xmlns:a16="http://schemas.microsoft.com/office/drawing/2014/main" id="{789F467D-77A4-4FB3-BA12-46E3F8DAA37B}"/>
              </a:ext>
            </a:extLst>
          </p:cNvPr>
          <p:cNvSpPr>
            <a:spLocks noGrp="1"/>
          </p:cNvSpPr>
          <p:nvPr>
            <p:ph type="body" sz="quarter" idx="14"/>
          </p:nvPr>
        </p:nvSpPr>
        <p:spPr/>
        <p:txBody>
          <a:bodyPr/>
          <a:lstStyle/>
          <a:p>
            <a:pPr lvl="0">
              <a:buClr>
                <a:srgbClr val="787878"/>
              </a:buClr>
            </a:pPr>
            <a:r>
              <a:rPr lang="en-US" spc="0" dirty="0"/>
              <a:t>Objective is to deep dive into key accounts (existing and emerging), as well as a sample of accounts in verticals of strategic importance</a:t>
            </a:r>
          </a:p>
          <a:p>
            <a:endParaRPr lang="en-US" dirty="0"/>
          </a:p>
        </p:txBody>
      </p:sp>
      <p:sp>
        <p:nvSpPr>
          <p:cNvPr id="4" name="Text Placeholder 3">
            <a:extLst>
              <a:ext uri="{FF2B5EF4-FFF2-40B4-BE49-F238E27FC236}">
                <a16:creationId xmlns:a16="http://schemas.microsoft.com/office/drawing/2014/main" id="{0158A204-9F2C-478D-A00A-19D2A65BBFA8}"/>
              </a:ext>
            </a:extLst>
          </p:cNvPr>
          <p:cNvSpPr>
            <a:spLocks noGrp="1"/>
          </p:cNvSpPr>
          <p:nvPr>
            <p:ph type="body" sz="quarter" idx="15"/>
          </p:nvPr>
        </p:nvSpPr>
        <p:spPr/>
        <p:txBody>
          <a:bodyPr/>
          <a:lstStyle/>
          <a:p>
            <a:r>
              <a:rPr lang="en-US" dirty="0"/>
              <a:t>TABLE</a:t>
            </a:r>
          </a:p>
        </p:txBody>
      </p:sp>
      <p:sp>
        <p:nvSpPr>
          <p:cNvPr id="5" name="Text Placeholder 1">
            <a:extLst>
              <a:ext uri="{FF2B5EF4-FFF2-40B4-BE49-F238E27FC236}">
                <a16:creationId xmlns:a16="http://schemas.microsoft.com/office/drawing/2014/main" id="{33CFDA08-1BA2-423C-B39D-DD344CC2543E}"/>
              </a:ext>
            </a:extLst>
          </p:cNvPr>
          <p:cNvSpPr txBox="1">
            <a:spLocks/>
          </p:cNvSpPr>
          <p:nvPr/>
        </p:nvSpPr>
        <p:spPr>
          <a:xfrm>
            <a:off x="172427" y="2065263"/>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2000" b="0" kern="1200">
                <a:solidFill>
                  <a:srgbClr val="575757"/>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Tx/>
              <a:buNone/>
              <a:tabLst/>
              <a:defRPr/>
            </a:pPr>
            <a:endParaRPr kumimoji="0" lang="en-US" sz="2000" b="0" i="0" u="none" strike="noStrike" kern="1200" cap="none" spc="0" normalizeH="0" baseline="0" noProof="0" dirty="0">
              <a:ln>
                <a:noFill/>
              </a:ln>
              <a:solidFill>
                <a:srgbClr val="575757"/>
              </a:solidFill>
              <a:effectLst/>
              <a:uLnTx/>
              <a:uFillTx/>
              <a:latin typeface="Verdana"/>
              <a:ea typeface="+mn-ea"/>
              <a:cs typeface="+mn-cs"/>
            </a:endParaRPr>
          </a:p>
        </p:txBody>
      </p:sp>
      <p:graphicFrame>
        <p:nvGraphicFramePr>
          <p:cNvPr id="7" name="Table 6">
            <a:extLst>
              <a:ext uri="{FF2B5EF4-FFF2-40B4-BE49-F238E27FC236}">
                <a16:creationId xmlns:a16="http://schemas.microsoft.com/office/drawing/2014/main" id="{91369A5B-2944-486E-AAD8-33745D1F5068}"/>
              </a:ext>
            </a:extLst>
          </p:cNvPr>
          <p:cNvGraphicFramePr>
            <a:graphicFrameLocks noGrp="1"/>
          </p:cNvGraphicFramePr>
          <p:nvPr>
            <p:extLst>
              <p:ext uri="{D42A27DB-BD31-4B8C-83A1-F6EECF244321}">
                <p14:modId xmlns:p14="http://schemas.microsoft.com/office/powerpoint/2010/main" val="572766616"/>
              </p:ext>
            </p:extLst>
          </p:nvPr>
        </p:nvGraphicFramePr>
        <p:xfrm>
          <a:off x="914400" y="1949546"/>
          <a:ext cx="10199802" cy="4171874"/>
        </p:xfrm>
        <a:graphic>
          <a:graphicData uri="http://schemas.openxmlformats.org/drawingml/2006/table">
            <a:tbl>
              <a:tblPr firstRow="1" bandRow="1">
                <a:tableStyleId>{6E25E649-3F16-4E02-A733-19D2CDBF48F0}</a:tableStyleId>
              </a:tblPr>
              <a:tblGrid>
                <a:gridCol w="2138093">
                  <a:extLst>
                    <a:ext uri="{9D8B030D-6E8A-4147-A177-3AD203B41FA5}">
                      <a16:colId xmlns:a16="http://schemas.microsoft.com/office/drawing/2014/main" val="20000"/>
                    </a:ext>
                  </a:extLst>
                </a:gridCol>
                <a:gridCol w="1705578">
                  <a:extLst>
                    <a:ext uri="{9D8B030D-6E8A-4147-A177-3AD203B41FA5}">
                      <a16:colId xmlns:a16="http://schemas.microsoft.com/office/drawing/2014/main" val="20001"/>
                    </a:ext>
                  </a:extLst>
                </a:gridCol>
                <a:gridCol w="1705578">
                  <a:extLst>
                    <a:ext uri="{9D8B030D-6E8A-4147-A177-3AD203B41FA5}">
                      <a16:colId xmlns:a16="http://schemas.microsoft.com/office/drawing/2014/main" val="3657216970"/>
                    </a:ext>
                  </a:extLst>
                </a:gridCol>
                <a:gridCol w="4650553">
                  <a:extLst>
                    <a:ext uri="{9D8B030D-6E8A-4147-A177-3AD203B41FA5}">
                      <a16:colId xmlns:a16="http://schemas.microsoft.com/office/drawing/2014/main" val="20002"/>
                    </a:ext>
                  </a:extLst>
                </a:gridCol>
              </a:tblGrid>
              <a:tr h="322866">
                <a:tc>
                  <a:txBody>
                    <a:bodyPr/>
                    <a:lstStyle/>
                    <a:p>
                      <a:pPr algn="ctr"/>
                      <a:r>
                        <a:rPr lang="en-US" sz="1800" dirty="0">
                          <a:solidFill>
                            <a:schemeClr val="tx1"/>
                          </a:solidFill>
                          <a:latin typeface="+mn-lt"/>
                          <a:ea typeface="Verdana" panose="020B0604030504040204" pitchFamily="34" charset="0"/>
                          <a:cs typeface="Verdana" panose="020B0604030504040204" pitchFamily="34" charset="0"/>
                        </a:rPr>
                        <a:t>ACCOUNT</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dirty="0">
                          <a:solidFill>
                            <a:schemeClr val="tx1"/>
                          </a:solidFill>
                          <a:latin typeface="+mn-lt"/>
                          <a:ea typeface="Verdana" panose="020B0604030504040204" pitchFamily="34" charset="0"/>
                          <a:cs typeface="Verdana" panose="020B0604030504040204" pitchFamily="34" charset="0"/>
                        </a:rPr>
                        <a:t>Segment</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dirty="0">
                          <a:solidFill>
                            <a:schemeClr val="tx1"/>
                          </a:solidFill>
                          <a:latin typeface="+mn-lt"/>
                          <a:ea typeface="Verdana" panose="020B0604030504040204" pitchFamily="34" charset="0"/>
                          <a:cs typeface="Verdana" panose="020B0604030504040204" pitchFamily="34" charset="0"/>
                        </a:rPr>
                        <a:t>CHANNEL</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dirty="0">
                          <a:solidFill>
                            <a:schemeClr val="tx1"/>
                          </a:solidFill>
                          <a:latin typeface="+mn-lt"/>
                          <a:ea typeface="Verdana" panose="020B0604030504040204" pitchFamily="34" charset="0"/>
                          <a:cs typeface="Verdana" panose="020B0604030504040204" pitchFamily="34" charset="0"/>
                        </a:rPr>
                        <a:t> PRIMARY RATIONALE</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77455">
                <a:tc>
                  <a:txBody>
                    <a:bodyPr/>
                    <a:lstStyle/>
                    <a:p>
                      <a:pPr algn="ctr"/>
                      <a:r>
                        <a:rPr lang="en-US" sz="1600" b="1" dirty="0">
                          <a:latin typeface="+mn-lt"/>
                          <a:ea typeface="Verdana" panose="020B0604030504040204" pitchFamily="34" charset="0"/>
                          <a:cs typeface="Verdana" panose="020B0604030504040204" pitchFamily="34" charset="0"/>
                        </a:rPr>
                        <a:t>Account 1</a:t>
                      </a:r>
                    </a:p>
                  </a:txBody>
                  <a:tcPr anchor="ctr">
                    <a:lnL>
                      <a:noFill/>
                    </a:lnL>
                    <a:lnR w="6350" cap="flat" cmpd="sng" algn="ctr">
                      <a:solidFill>
                        <a:schemeClr val="accent5">
                          <a:lumMod val="40000"/>
                          <a:lumOff val="6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latin typeface="+mn-lt"/>
                          <a:ea typeface="Verdana" panose="020B0604030504040204" pitchFamily="34" charset="0"/>
                          <a:cs typeface="Verdana" panose="020B0604030504040204" pitchFamily="34" charset="0"/>
                        </a:rPr>
                        <a:t>SEGMENT A</a:t>
                      </a:r>
                    </a:p>
                  </a:txBody>
                  <a:tcPr anchor="ctr">
                    <a:lnL w="6350" cap="flat" cmpd="sng" algn="ctr">
                      <a:solidFill>
                        <a:schemeClr val="accent5">
                          <a:lumMod val="40000"/>
                          <a:lumOff val="60000"/>
                        </a:schemeClr>
                      </a:solidFill>
                      <a:prstDash val="solid"/>
                      <a:round/>
                      <a:headEnd type="none" w="med" len="med"/>
                      <a:tailEnd type="none" w="med" len="med"/>
                    </a:lnL>
                    <a:lnR w="6350" cap="flat" cmpd="sng" algn="ctr">
                      <a:solidFill>
                        <a:schemeClr val="accent5">
                          <a:lumMod val="40000"/>
                          <a:lumOff val="6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latin typeface="+mn-lt"/>
                          <a:ea typeface="Verdana" panose="020B0604030504040204" pitchFamily="34" charset="0"/>
                          <a:cs typeface="Verdana" panose="020B0604030504040204" pitchFamily="34" charset="0"/>
                        </a:rPr>
                        <a:t>FTC</a:t>
                      </a:r>
                    </a:p>
                  </a:txBody>
                  <a:tcPr anchor="ctr">
                    <a:lnL w="6350" cap="flat" cmpd="sng" algn="ctr">
                      <a:solidFill>
                        <a:schemeClr val="accent5">
                          <a:lumMod val="40000"/>
                          <a:lumOff val="60000"/>
                        </a:schemeClr>
                      </a:solidFill>
                      <a:prstDash val="solid"/>
                      <a:round/>
                      <a:headEnd type="none" w="med" len="med"/>
                      <a:tailEnd type="none" w="med" len="med"/>
                    </a:lnL>
                    <a:lnR w="6350" cap="flat" cmpd="sng" algn="ctr">
                      <a:solidFill>
                        <a:schemeClr val="accent5">
                          <a:lumMod val="40000"/>
                          <a:lumOff val="6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200" dirty="0">
                          <a:latin typeface="+mn-lt"/>
                          <a:ea typeface="Verdana" panose="020B0604030504040204" pitchFamily="34" charset="0"/>
                          <a:cs typeface="Verdana" panose="020B0604030504040204" pitchFamily="34" charset="0"/>
                        </a:rPr>
                        <a:t>KEY ACCOUNT</a:t>
                      </a:r>
                    </a:p>
                  </a:txBody>
                  <a:tcPr anchor="ctr">
                    <a:lnL w="6350" cap="flat" cmpd="sng" algn="ctr">
                      <a:solidFill>
                        <a:schemeClr val="accent5">
                          <a:lumMod val="40000"/>
                          <a:lumOff val="6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77455">
                <a:tc>
                  <a:txBody>
                    <a:bodyPr/>
                    <a:lstStyle/>
                    <a:p>
                      <a:pPr algn="ctr"/>
                      <a:r>
                        <a:rPr lang="en-US" sz="1600" b="1" dirty="0">
                          <a:latin typeface="+mn-lt"/>
                          <a:ea typeface="Verdana" panose="020B0604030504040204" pitchFamily="34" charset="0"/>
                          <a:cs typeface="Verdana" panose="020B0604030504040204" pitchFamily="34" charset="0"/>
                        </a:rPr>
                        <a:t>Account 2</a:t>
                      </a:r>
                    </a:p>
                  </a:txBody>
                  <a:tcPr anchor="ctr">
                    <a:lnL>
                      <a:noFill/>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latin typeface="+mn-lt"/>
                          <a:ea typeface="Verdana" panose="020B0604030504040204" pitchFamily="34" charset="0"/>
                          <a:cs typeface="Verdana" panose="020B0604030504040204" pitchFamily="34" charset="0"/>
                        </a:rPr>
                        <a:t>SEGMENT B</a:t>
                      </a:r>
                    </a:p>
                  </a:txBody>
                  <a:tcPr anchor="ctr">
                    <a:lnL w="6350" cap="flat" cmpd="sng" algn="ctr">
                      <a:solidFill>
                        <a:schemeClr val="accent5">
                          <a:lumMod val="40000"/>
                          <a:lumOff val="60000"/>
                        </a:schemeClr>
                      </a:solidFill>
                      <a:prstDash val="solid"/>
                      <a:round/>
                      <a:headEnd type="none" w="med" len="med"/>
                      <a:tailEnd type="none" w="med" len="med"/>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latin typeface="+mn-lt"/>
                          <a:ea typeface="Verdana" panose="020B0604030504040204" pitchFamily="34" charset="0"/>
                          <a:cs typeface="Verdana" panose="020B0604030504040204" pitchFamily="34" charset="0"/>
                        </a:rPr>
                        <a:t>DS</a:t>
                      </a:r>
                    </a:p>
                  </a:txBody>
                  <a:tcPr anchor="ctr">
                    <a:lnL w="6350" cap="flat" cmpd="sng" algn="ctr">
                      <a:solidFill>
                        <a:schemeClr val="accent5">
                          <a:lumMod val="40000"/>
                          <a:lumOff val="60000"/>
                        </a:schemeClr>
                      </a:solidFill>
                      <a:prstDash val="solid"/>
                      <a:round/>
                      <a:headEnd type="none" w="med" len="med"/>
                      <a:tailEnd type="none" w="med" len="med"/>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mn-lt"/>
                          <a:ea typeface="Verdana" panose="020B0604030504040204" pitchFamily="34" charset="0"/>
                          <a:cs typeface="Verdana" panose="020B0604030504040204" pitchFamily="34" charset="0"/>
                        </a:rPr>
                        <a:t>KEY ACCOUNT</a:t>
                      </a:r>
                    </a:p>
                  </a:txBody>
                  <a:tcPr anchor="ctr">
                    <a:lnL w="6350" cap="flat" cmpd="sng" algn="ctr">
                      <a:solidFill>
                        <a:schemeClr val="accent5">
                          <a:lumMod val="40000"/>
                          <a:lumOff val="6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96967">
                <a:tc>
                  <a:txBody>
                    <a:bodyPr/>
                    <a:lstStyle/>
                    <a:p>
                      <a:pPr algn="ctr"/>
                      <a:r>
                        <a:rPr lang="en-US" sz="1600" b="1" dirty="0">
                          <a:latin typeface="+mn-lt"/>
                          <a:ea typeface="Verdana" panose="020B0604030504040204" pitchFamily="34" charset="0"/>
                          <a:cs typeface="Verdana" panose="020B0604030504040204" pitchFamily="34" charset="0"/>
                        </a:rPr>
                        <a:t>Account 3</a:t>
                      </a:r>
                    </a:p>
                  </a:txBody>
                  <a:tcPr anchor="ctr">
                    <a:lnL>
                      <a:noFill/>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latin typeface="+mn-lt"/>
                          <a:ea typeface="Verdana" panose="020B0604030504040204" pitchFamily="34" charset="0"/>
                          <a:cs typeface="Verdana" panose="020B0604030504040204" pitchFamily="34" charset="0"/>
                        </a:rPr>
                        <a:t>SEGMENT A</a:t>
                      </a:r>
                    </a:p>
                  </a:txBody>
                  <a:tcPr anchor="ctr">
                    <a:lnL w="6350" cap="flat" cmpd="sng" algn="ctr">
                      <a:solidFill>
                        <a:schemeClr val="accent5">
                          <a:lumMod val="40000"/>
                          <a:lumOff val="60000"/>
                        </a:schemeClr>
                      </a:solidFill>
                      <a:prstDash val="solid"/>
                      <a:round/>
                      <a:headEnd type="none" w="med" len="med"/>
                      <a:tailEnd type="none" w="med" len="med"/>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latin typeface="+mn-lt"/>
                          <a:ea typeface="Verdana" panose="020B0604030504040204" pitchFamily="34" charset="0"/>
                          <a:cs typeface="Verdana" panose="020B0604030504040204" pitchFamily="34" charset="0"/>
                        </a:rPr>
                        <a:t>AS</a:t>
                      </a:r>
                    </a:p>
                  </a:txBody>
                  <a:tcPr anchor="ctr">
                    <a:lnL w="6350" cap="flat" cmpd="sng" algn="ctr">
                      <a:solidFill>
                        <a:schemeClr val="accent5">
                          <a:lumMod val="40000"/>
                          <a:lumOff val="60000"/>
                        </a:schemeClr>
                      </a:solidFill>
                      <a:prstDash val="solid"/>
                      <a:round/>
                      <a:headEnd type="none" w="med" len="med"/>
                      <a:tailEnd type="none" w="med" len="med"/>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mn-lt"/>
                          <a:ea typeface="Verdana" panose="020B0604030504040204" pitchFamily="34" charset="0"/>
                          <a:cs typeface="Verdana" panose="020B0604030504040204" pitchFamily="34" charset="0"/>
                        </a:rPr>
                        <a:t>KEY ACCOUNT</a:t>
                      </a:r>
                    </a:p>
                  </a:txBody>
                  <a:tcPr anchor="ctr">
                    <a:lnL w="6350" cap="flat" cmpd="sng" algn="ctr">
                      <a:solidFill>
                        <a:schemeClr val="accent5">
                          <a:lumMod val="40000"/>
                          <a:lumOff val="6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77455">
                <a:tc>
                  <a:txBody>
                    <a:bodyPr/>
                    <a:lstStyle/>
                    <a:p>
                      <a:pPr algn="ctr"/>
                      <a:r>
                        <a:rPr lang="en-US" sz="1600" b="1" dirty="0">
                          <a:latin typeface="+mn-lt"/>
                          <a:ea typeface="Verdana" panose="020B0604030504040204" pitchFamily="34" charset="0"/>
                          <a:cs typeface="Verdana" panose="020B0604030504040204" pitchFamily="34" charset="0"/>
                        </a:rPr>
                        <a:t>Account 4</a:t>
                      </a:r>
                    </a:p>
                  </a:txBody>
                  <a:tcPr anchor="ctr">
                    <a:lnL>
                      <a:noFill/>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latin typeface="+mn-lt"/>
                          <a:ea typeface="Verdana" panose="020B0604030504040204" pitchFamily="34" charset="0"/>
                          <a:cs typeface="Verdana" panose="020B0604030504040204" pitchFamily="34" charset="0"/>
                        </a:rPr>
                        <a:t>SEGMENT D</a:t>
                      </a:r>
                    </a:p>
                  </a:txBody>
                  <a:tcPr anchor="ctr">
                    <a:lnL w="6350" cap="flat" cmpd="sng" algn="ctr">
                      <a:solidFill>
                        <a:schemeClr val="accent5">
                          <a:lumMod val="40000"/>
                          <a:lumOff val="60000"/>
                        </a:schemeClr>
                      </a:solidFill>
                      <a:prstDash val="solid"/>
                      <a:round/>
                      <a:headEnd type="none" w="med" len="med"/>
                      <a:tailEnd type="none" w="med" len="med"/>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latin typeface="+mn-lt"/>
                          <a:ea typeface="Verdana" panose="020B0604030504040204" pitchFamily="34" charset="0"/>
                          <a:cs typeface="Verdana" panose="020B0604030504040204" pitchFamily="34" charset="0"/>
                        </a:rPr>
                        <a:t>DS</a:t>
                      </a:r>
                    </a:p>
                  </a:txBody>
                  <a:tcPr anchor="ctr">
                    <a:lnL w="6350" cap="flat" cmpd="sng" algn="ctr">
                      <a:solidFill>
                        <a:schemeClr val="accent5">
                          <a:lumMod val="40000"/>
                          <a:lumOff val="60000"/>
                        </a:schemeClr>
                      </a:solidFill>
                      <a:prstDash val="solid"/>
                      <a:round/>
                      <a:headEnd type="none" w="med" len="med"/>
                      <a:tailEnd type="none" w="med" len="med"/>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mn-lt"/>
                          <a:ea typeface="Verdana" panose="020B0604030504040204" pitchFamily="34" charset="0"/>
                          <a:cs typeface="Verdana" panose="020B0604030504040204" pitchFamily="34" charset="0"/>
                        </a:rPr>
                        <a:t>KEY ACCOUNT</a:t>
                      </a:r>
                    </a:p>
                  </a:txBody>
                  <a:tcPr anchor="ctr">
                    <a:lnL w="6350" cap="flat" cmpd="sng" algn="ctr">
                      <a:solidFill>
                        <a:schemeClr val="accent5">
                          <a:lumMod val="40000"/>
                          <a:lumOff val="6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77455">
                <a:tc>
                  <a:txBody>
                    <a:bodyPr/>
                    <a:lstStyle/>
                    <a:p>
                      <a:pPr algn="ctr"/>
                      <a:r>
                        <a:rPr lang="en-US" sz="1600" b="1" dirty="0">
                          <a:latin typeface="+mn-lt"/>
                          <a:ea typeface="Verdana" panose="020B0604030504040204" pitchFamily="34" charset="0"/>
                          <a:cs typeface="Verdana" panose="020B0604030504040204" pitchFamily="34" charset="0"/>
                        </a:rPr>
                        <a:t>Account 5</a:t>
                      </a:r>
                    </a:p>
                  </a:txBody>
                  <a:tcPr anchor="ctr">
                    <a:lnL>
                      <a:noFill/>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latin typeface="+mn-lt"/>
                          <a:ea typeface="Verdana" panose="020B0604030504040204" pitchFamily="34" charset="0"/>
                          <a:cs typeface="Verdana" panose="020B0604030504040204" pitchFamily="34" charset="0"/>
                        </a:rPr>
                        <a:t>SEGMENT E</a:t>
                      </a:r>
                    </a:p>
                  </a:txBody>
                  <a:tcPr anchor="ctr">
                    <a:lnL w="6350" cap="flat" cmpd="sng" algn="ctr">
                      <a:solidFill>
                        <a:schemeClr val="accent5">
                          <a:lumMod val="40000"/>
                          <a:lumOff val="60000"/>
                        </a:schemeClr>
                      </a:solidFill>
                      <a:prstDash val="solid"/>
                      <a:round/>
                      <a:headEnd type="none" w="med" len="med"/>
                      <a:tailEnd type="none" w="med" len="med"/>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latin typeface="+mn-lt"/>
                          <a:ea typeface="Verdana" panose="020B0604030504040204" pitchFamily="34" charset="0"/>
                          <a:cs typeface="Verdana" panose="020B0604030504040204" pitchFamily="34" charset="0"/>
                        </a:rPr>
                        <a:t>FF</a:t>
                      </a:r>
                    </a:p>
                  </a:txBody>
                  <a:tcPr anchor="ctr">
                    <a:lnL w="6350" cap="flat" cmpd="sng" algn="ctr">
                      <a:solidFill>
                        <a:schemeClr val="accent5">
                          <a:lumMod val="40000"/>
                          <a:lumOff val="60000"/>
                        </a:schemeClr>
                      </a:solidFill>
                      <a:prstDash val="solid"/>
                      <a:round/>
                      <a:headEnd type="none" w="med" len="med"/>
                      <a:tailEnd type="none" w="med" len="med"/>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mn-lt"/>
                          <a:ea typeface="Verdana" panose="020B0604030504040204" pitchFamily="34" charset="0"/>
                          <a:cs typeface="Verdana" panose="020B0604030504040204" pitchFamily="34" charset="0"/>
                        </a:rPr>
                        <a:t>KEY ACCOUNT</a:t>
                      </a:r>
                    </a:p>
                  </a:txBody>
                  <a:tcPr anchor="ctr">
                    <a:lnL w="6350" cap="flat" cmpd="sng" algn="ctr">
                      <a:solidFill>
                        <a:schemeClr val="accent5">
                          <a:lumMod val="40000"/>
                          <a:lumOff val="6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77455">
                <a:tc>
                  <a:txBody>
                    <a:bodyPr/>
                    <a:lstStyle/>
                    <a:p>
                      <a:pPr algn="ctr"/>
                      <a:r>
                        <a:rPr lang="en-US" sz="1600" b="1" dirty="0">
                          <a:latin typeface="+mn-lt"/>
                          <a:ea typeface="Verdana" panose="020B0604030504040204" pitchFamily="34" charset="0"/>
                          <a:cs typeface="Verdana" panose="020B0604030504040204" pitchFamily="34" charset="0"/>
                        </a:rPr>
                        <a:t>Account 6</a:t>
                      </a:r>
                    </a:p>
                  </a:txBody>
                  <a:tcPr anchor="ctr">
                    <a:lnL>
                      <a:noFill/>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latin typeface="+mn-lt"/>
                          <a:ea typeface="Verdana" panose="020B0604030504040204" pitchFamily="34" charset="0"/>
                          <a:cs typeface="Verdana" panose="020B0604030504040204" pitchFamily="34" charset="0"/>
                        </a:rPr>
                        <a:t>SEGMENT C</a:t>
                      </a:r>
                    </a:p>
                  </a:txBody>
                  <a:tcPr anchor="ctr">
                    <a:lnL w="6350" cap="flat" cmpd="sng" algn="ctr">
                      <a:solidFill>
                        <a:schemeClr val="accent5">
                          <a:lumMod val="40000"/>
                          <a:lumOff val="60000"/>
                        </a:schemeClr>
                      </a:solidFill>
                      <a:prstDash val="solid"/>
                      <a:round/>
                      <a:headEnd type="none" w="med" len="med"/>
                      <a:tailEnd type="none" w="med" len="med"/>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latin typeface="+mn-lt"/>
                          <a:ea typeface="Verdana" panose="020B0604030504040204" pitchFamily="34" charset="0"/>
                          <a:cs typeface="Verdana" panose="020B0604030504040204" pitchFamily="34" charset="0"/>
                        </a:rPr>
                        <a:t>DS</a:t>
                      </a:r>
                    </a:p>
                  </a:txBody>
                  <a:tcPr anchor="ctr">
                    <a:lnL w="6350" cap="flat" cmpd="sng" algn="ctr">
                      <a:solidFill>
                        <a:schemeClr val="accent5">
                          <a:lumMod val="40000"/>
                          <a:lumOff val="60000"/>
                        </a:schemeClr>
                      </a:solidFill>
                      <a:prstDash val="solid"/>
                      <a:round/>
                      <a:headEnd type="none" w="med" len="med"/>
                      <a:tailEnd type="none" w="med" len="med"/>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200" dirty="0">
                          <a:latin typeface="+mn-lt"/>
                          <a:ea typeface="Verdana" panose="020B0604030504040204" pitchFamily="34" charset="0"/>
                          <a:cs typeface="Verdana" panose="020B0604030504040204" pitchFamily="34" charset="0"/>
                        </a:rPr>
                        <a:t>EMERGING KEY ACCOUNT/</a:t>
                      </a:r>
                      <a:r>
                        <a:rPr lang="en-US" sz="1200" baseline="0" dirty="0">
                          <a:latin typeface="+mn-lt"/>
                          <a:ea typeface="Verdana" panose="020B0604030504040204" pitchFamily="34" charset="0"/>
                          <a:cs typeface="Verdana" panose="020B0604030504040204" pitchFamily="34" charset="0"/>
                        </a:rPr>
                        <a:t> </a:t>
                      </a:r>
                      <a:r>
                        <a:rPr lang="en-US" sz="1200" dirty="0">
                          <a:latin typeface="+mn-lt"/>
                          <a:ea typeface="Verdana" panose="020B0604030504040204" pitchFamily="34" charset="0"/>
                          <a:cs typeface="Verdana" panose="020B0604030504040204" pitchFamily="34" charset="0"/>
                        </a:rPr>
                        <a:t>DIGITAL PLATFORM</a:t>
                      </a:r>
                    </a:p>
                  </a:txBody>
                  <a:tcPr anchor="ctr">
                    <a:lnL w="6350" cap="flat" cmpd="sng" algn="ctr">
                      <a:solidFill>
                        <a:schemeClr val="accent5">
                          <a:lumMod val="40000"/>
                          <a:lumOff val="6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96967">
                <a:tc>
                  <a:txBody>
                    <a:bodyPr/>
                    <a:lstStyle/>
                    <a:p>
                      <a:pPr algn="ctr"/>
                      <a:r>
                        <a:rPr lang="en-US" sz="1600" b="1" dirty="0">
                          <a:latin typeface="+mn-lt"/>
                          <a:ea typeface="Verdana" panose="020B0604030504040204" pitchFamily="34" charset="0"/>
                          <a:cs typeface="Verdana" panose="020B0604030504040204" pitchFamily="34" charset="0"/>
                        </a:rPr>
                        <a:t>Account 7</a:t>
                      </a:r>
                    </a:p>
                  </a:txBody>
                  <a:tcPr anchor="ctr">
                    <a:lnL>
                      <a:noFill/>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latin typeface="+mn-lt"/>
                          <a:ea typeface="Verdana" panose="020B0604030504040204" pitchFamily="34" charset="0"/>
                          <a:cs typeface="Verdana" panose="020B0604030504040204" pitchFamily="34" charset="0"/>
                        </a:rPr>
                        <a:t>SEGMENT C</a:t>
                      </a:r>
                    </a:p>
                  </a:txBody>
                  <a:tcPr anchor="ctr">
                    <a:lnL w="6350" cap="flat" cmpd="sng" algn="ctr">
                      <a:solidFill>
                        <a:schemeClr val="accent5">
                          <a:lumMod val="40000"/>
                          <a:lumOff val="60000"/>
                        </a:schemeClr>
                      </a:solidFill>
                      <a:prstDash val="solid"/>
                      <a:round/>
                      <a:headEnd type="none" w="med" len="med"/>
                      <a:tailEnd type="none" w="med" len="med"/>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latin typeface="+mn-lt"/>
                          <a:ea typeface="Verdana" panose="020B0604030504040204" pitchFamily="34" charset="0"/>
                          <a:cs typeface="Verdana" panose="020B0604030504040204" pitchFamily="34" charset="0"/>
                        </a:rPr>
                        <a:t>FTC</a:t>
                      </a:r>
                    </a:p>
                  </a:txBody>
                  <a:tcPr anchor="ctr">
                    <a:lnL w="6350" cap="flat" cmpd="sng" algn="ctr">
                      <a:solidFill>
                        <a:schemeClr val="accent5">
                          <a:lumMod val="40000"/>
                          <a:lumOff val="60000"/>
                        </a:schemeClr>
                      </a:solidFill>
                      <a:prstDash val="solid"/>
                      <a:round/>
                      <a:headEnd type="none" w="med" len="med"/>
                      <a:tailEnd type="none" w="med" len="med"/>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200" dirty="0">
                          <a:latin typeface="+mn-lt"/>
                          <a:ea typeface="Verdana" panose="020B0604030504040204" pitchFamily="34" charset="0"/>
                          <a:cs typeface="Verdana" panose="020B0604030504040204" pitchFamily="34" charset="0"/>
                        </a:rPr>
                        <a:t>EMERGING KEY ACCOUNT/</a:t>
                      </a:r>
                      <a:r>
                        <a:rPr lang="en-US" sz="1200" baseline="0" dirty="0">
                          <a:latin typeface="+mn-lt"/>
                          <a:ea typeface="Verdana" panose="020B0604030504040204" pitchFamily="34" charset="0"/>
                          <a:cs typeface="Verdana" panose="020B0604030504040204" pitchFamily="34" charset="0"/>
                        </a:rPr>
                        <a:t> DIGITAL PUREPLAY</a:t>
                      </a:r>
                      <a:endParaRPr lang="en-US" sz="1200" dirty="0">
                        <a:latin typeface="+mn-lt"/>
                        <a:ea typeface="Verdana" panose="020B0604030504040204" pitchFamily="34" charset="0"/>
                        <a:cs typeface="Verdana" panose="020B0604030504040204" pitchFamily="34" charset="0"/>
                      </a:endParaRPr>
                    </a:p>
                  </a:txBody>
                  <a:tcPr anchor="ctr">
                    <a:lnL w="6350" cap="flat" cmpd="sng" algn="ctr">
                      <a:solidFill>
                        <a:schemeClr val="accent5">
                          <a:lumMod val="40000"/>
                          <a:lumOff val="6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293515">
                <a:tc>
                  <a:txBody>
                    <a:bodyPr/>
                    <a:lstStyle/>
                    <a:p>
                      <a:pPr algn="ctr"/>
                      <a:r>
                        <a:rPr lang="en-US" sz="1600" b="1" dirty="0">
                          <a:latin typeface="+mn-lt"/>
                          <a:ea typeface="Verdana" panose="020B0604030504040204" pitchFamily="34" charset="0"/>
                          <a:cs typeface="Verdana" panose="020B0604030504040204" pitchFamily="34" charset="0"/>
                        </a:rPr>
                        <a:t>Account 8</a:t>
                      </a:r>
                    </a:p>
                  </a:txBody>
                  <a:tcPr anchor="ctr">
                    <a:lnL>
                      <a:noFill/>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latin typeface="+mn-lt"/>
                          <a:ea typeface="Verdana" panose="020B0604030504040204" pitchFamily="34" charset="0"/>
                          <a:cs typeface="Verdana" panose="020B0604030504040204" pitchFamily="34" charset="0"/>
                        </a:rPr>
                        <a:t>SEGMENT B</a:t>
                      </a:r>
                    </a:p>
                  </a:txBody>
                  <a:tcPr anchor="ctr">
                    <a:lnL w="6350" cap="flat" cmpd="sng" algn="ctr">
                      <a:solidFill>
                        <a:schemeClr val="accent5">
                          <a:lumMod val="40000"/>
                          <a:lumOff val="60000"/>
                        </a:schemeClr>
                      </a:solidFill>
                      <a:prstDash val="solid"/>
                      <a:round/>
                      <a:headEnd type="none" w="med" len="med"/>
                      <a:tailEnd type="none" w="med" len="med"/>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latin typeface="+mn-lt"/>
                          <a:ea typeface="Verdana" panose="020B0604030504040204" pitchFamily="34" charset="0"/>
                          <a:cs typeface="Verdana" panose="020B0604030504040204" pitchFamily="34" charset="0"/>
                        </a:rPr>
                        <a:t>SS</a:t>
                      </a:r>
                    </a:p>
                  </a:txBody>
                  <a:tcPr anchor="ctr">
                    <a:lnL w="6350" cap="flat" cmpd="sng" algn="ctr">
                      <a:solidFill>
                        <a:schemeClr val="accent5">
                          <a:lumMod val="40000"/>
                          <a:lumOff val="60000"/>
                        </a:schemeClr>
                      </a:solidFill>
                      <a:prstDash val="solid"/>
                      <a:round/>
                      <a:headEnd type="none" w="med" len="med"/>
                      <a:tailEnd type="none" w="med" len="med"/>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200" dirty="0">
                          <a:latin typeface="+mn-lt"/>
                          <a:ea typeface="Verdana" panose="020B0604030504040204" pitchFamily="34" charset="0"/>
                          <a:cs typeface="Verdana" panose="020B0604030504040204" pitchFamily="34" charset="0"/>
                        </a:rPr>
                        <a:t>SPECIALTY</a:t>
                      </a:r>
                    </a:p>
                  </a:txBody>
                  <a:tcPr anchor="ctr">
                    <a:lnL w="6350" cap="flat" cmpd="sng" algn="ctr">
                      <a:solidFill>
                        <a:schemeClr val="accent5">
                          <a:lumMod val="40000"/>
                          <a:lumOff val="6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92658">
                <a:tc>
                  <a:txBody>
                    <a:bodyPr/>
                    <a:lstStyle/>
                    <a:p>
                      <a:pPr algn="ctr"/>
                      <a:r>
                        <a:rPr lang="en-US" sz="1600" b="1" dirty="0">
                          <a:latin typeface="+mn-lt"/>
                          <a:ea typeface="Verdana" panose="020B0604030504040204" pitchFamily="34" charset="0"/>
                          <a:cs typeface="Verdana" panose="020B0604030504040204" pitchFamily="34" charset="0"/>
                        </a:rPr>
                        <a:t>Account 9</a:t>
                      </a:r>
                    </a:p>
                  </a:txBody>
                  <a:tcPr anchor="ctr">
                    <a:lnL>
                      <a:noFill/>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latin typeface="+mn-lt"/>
                          <a:ea typeface="Verdana" panose="020B0604030504040204" pitchFamily="34" charset="0"/>
                          <a:cs typeface="Verdana" panose="020B0604030504040204" pitchFamily="34" charset="0"/>
                        </a:rPr>
                        <a:t>SEGMENT</a:t>
                      </a:r>
                      <a:r>
                        <a:rPr lang="en-US" sz="1200" baseline="0" dirty="0">
                          <a:latin typeface="+mn-lt"/>
                          <a:ea typeface="Verdana" panose="020B0604030504040204" pitchFamily="34" charset="0"/>
                          <a:cs typeface="Verdana" panose="020B0604030504040204" pitchFamily="34" charset="0"/>
                        </a:rPr>
                        <a:t> A</a:t>
                      </a:r>
                      <a:endParaRPr lang="en-US" sz="1200" dirty="0">
                        <a:latin typeface="+mn-lt"/>
                        <a:ea typeface="Verdana" panose="020B0604030504040204" pitchFamily="34" charset="0"/>
                        <a:cs typeface="Verdana" panose="020B0604030504040204" pitchFamily="34" charset="0"/>
                      </a:endParaRPr>
                    </a:p>
                  </a:txBody>
                  <a:tcPr anchor="ctr">
                    <a:lnL w="6350" cap="flat" cmpd="sng" algn="ctr">
                      <a:solidFill>
                        <a:schemeClr val="accent5">
                          <a:lumMod val="40000"/>
                          <a:lumOff val="60000"/>
                        </a:schemeClr>
                      </a:solidFill>
                      <a:prstDash val="solid"/>
                      <a:round/>
                      <a:headEnd type="none" w="med" len="med"/>
                      <a:tailEnd type="none" w="med" len="med"/>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latin typeface="+mn-lt"/>
                          <a:ea typeface="Verdana" panose="020B0604030504040204" pitchFamily="34" charset="0"/>
                          <a:cs typeface="Verdana" panose="020B0604030504040204" pitchFamily="34" charset="0"/>
                        </a:rPr>
                        <a:t>SS</a:t>
                      </a:r>
                    </a:p>
                  </a:txBody>
                  <a:tcPr anchor="ctr">
                    <a:lnL w="6350" cap="flat" cmpd="sng" algn="ctr">
                      <a:solidFill>
                        <a:schemeClr val="accent5">
                          <a:lumMod val="40000"/>
                          <a:lumOff val="60000"/>
                        </a:schemeClr>
                      </a:solidFill>
                      <a:prstDash val="solid"/>
                      <a:round/>
                      <a:headEnd type="none" w="med" len="med"/>
                      <a:tailEnd type="none" w="med" len="med"/>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200" dirty="0">
                          <a:latin typeface="+mn-lt"/>
                          <a:ea typeface="Verdana" panose="020B0604030504040204" pitchFamily="34" charset="0"/>
                          <a:cs typeface="Verdana" panose="020B0604030504040204" pitchFamily="34" charset="0"/>
                        </a:rPr>
                        <a:t>KEY</a:t>
                      </a:r>
                      <a:r>
                        <a:rPr lang="en-US" sz="1200" baseline="0" dirty="0">
                          <a:latin typeface="+mn-lt"/>
                          <a:ea typeface="Verdana" panose="020B0604030504040204" pitchFamily="34" charset="0"/>
                          <a:cs typeface="Verdana" panose="020B0604030504040204" pitchFamily="34" charset="0"/>
                        </a:rPr>
                        <a:t> ACCOUNT</a:t>
                      </a:r>
                      <a:endParaRPr lang="en-US" sz="1200" dirty="0">
                        <a:latin typeface="+mn-lt"/>
                        <a:ea typeface="Verdana" panose="020B0604030504040204" pitchFamily="34" charset="0"/>
                        <a:cs typeface="Verdana" panose="020B0604030504040204" pitchFamily="34" charset="0"/>
                      </a:endParaRPr>
                    </a:p>
                  </a:txBody>
                  <a:tcPr anchor="ctr">
                    <a:lnL w="6350" cap="flat" cmpd="sng" algn="ctr">
                      <a:solidFill>
                        <a:schemeClr val="accent5">
                          <a:lumMod val="40000"/>
                          <a:lumOff val="6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96967">
                <a:tc>
                  <a:txBody>
                    <a:bodyPr/>
                    <a:lstStyle/>
                    <a:p>
                      <a:pPr algn="ctr"/>
                      <a:r>
                        <a:rPr lang="en-US" sz="1600" b="1" dirty="0">
                          <a:latin typeface="+mn-lt"/>
                          <a:ea typeface="Verdana" panose="020B0604030504040204" pitchFamily="34" charset="0"/>
                          <a:cs typeface="Verdana" panose="020B0604030504040204" pitchFamily="34" charset="0"/>
                        </a:rPr>
                        <a:t>Account 10</a:t>
                      </a:r>
                    </a:p>
                  </a:txBody>
                  <a:tcPr anchor="ctr">
                    <a:lnL>
                      <a:noFill/>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latin typeface="+mn-lt"/>
                          <a:ea typeface="Verdana" panose="020B0604030504040204" pitchFamily="34" charset="0"/>
                          <a:cs typeface="Verdana" panose="020B0604030504040204" pitchFamily="34" charset="0"/>
                        </a:rPr>
                        <a:t>SEGMENT B</a:t>
                      </a:r>
                    </a:p>
                  </a:txBody>
                  <a:tcPr anchor="ctr">
                    <a:lnL w="6350" cap="flat" cmpd="sng" algn="ctr">
                      <a:solidFill>
                        <a:schemeClr val="accent5">
                          <a:lumMod val="40000"/>
                          <a:lumOff val="60000"/>
                        </a:schemeClr>
                      </a:solidFill>
                      <a:prstDash val="solid"/>
                      <a:round/>
                      <a:headEnd type="none" w="med" len="med"/>
                      <a:tailEnd type="none" w="med" len="med"/>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latin typeface="+mn-lt"/>
                          <a:ea typeface="Verdana" panose="020B0604030504040204" pitchFamily="34" charset="0"/>
                          <a:cs typeface="Verdana" panose="020B0604030504040204" pitchFamily="34" charset="0"/>
                        </a:rPr>
                        <a:t>FF</a:t>
                      </a:r>
                    </a:p>
                  </a:txBody>
                  <a:tcPr anchor="ctr">
                    <a:lnL w="6350" cap="flat" cmpd="sng" algn="ctr">
                      <a:solidFill>
                        <a:schemeClr val="accent5">
                          <a:lumMod val="40000"/>
                          <a:lumOff val="60000"/>
                        </a:schemeClr>
                      </a:solidFill>
                      <a:prstDash val="solid"/>
                      <a:round/>
                      <a:headEnd type="none" w="med" len="med"/>
                      <a:tailEnd type="none" w="med" len="med"/>
                    </a:lnL>
                    <a:lnR w="6350" cap="flat" cmpd="sng" algn="ctr">
                      <a:solidFill>
                        <a:schemeClr val="accent5">
                          <a:lumMod val="40000"/>
                          <a:lumOff val="60000"/>
                        </a:schemeClr>
                      </a:solid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200" dirty="0">
                          <a:latin typeface="+mn-lt"/>
                          <a:ea typeface="Verdana" panose="020B0604030504040204" pitchFamily="34" charset="0"/>
                          <a:cs typeface="Verdana" panose="020B0604030504040204" pitchFamily="34" charset="0"/>
                        </a:rPr>
                        <a:t>HIGH VOLUME</a:t>
                      </a:r>
                    </a:p>
                  </a:txBody>
                  <a:tcPr anchor="ctr">
                    <a:lnL w="6350" cap="flat" cmpd="sng" algn="ctr">
                      <a:solidFill>
                        <a:schemeClr val="accent5">
                          <a:lumMod val="40000"/>
                          <a:lumOff val="6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5">
                          <a:lumMod val="40000"/>
                          <a:lumOff val="60000"/>
                        </a:schemeClr>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52551890"/>
                  </a:ext>
                </a:extLst>
              </a:tr>
            </a:tbl>
          </a:graphicData>
        </a:graphic>
      </p:graphicFrame>
    </p:spTree>
    <p:extLst>
      <p:ext uri="{BB962C8B-B14F-4D97-AF65-F5344CB8AC3E}">
        <p14:creationId xmlns:p14="http://schemas.microsoft.com/office/powerpoint/2010/main" val="3523623656"/>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68D37D-AA65-4731-9A77-3327FF196C0F}"/>
              </a:ext>
            </a:extLst>
          </p:cNvPr>
          <p:cNvSpPr>
            <a:spLocks noGrp="1"/>
          </p:cNvSpPr>
          <p:nvPr>
            <p:ph type="title"/>
          </p:nvPr>
        </p:nvSpPr>
        <p:spPr/>
        <p:txBody>
          <a:bodyPr/>
          <a:lstStyle/>
          <a:p>
            <a:r>
              <a:rPr lang="en-US" dirty="0"/>
              <a:t>Current State Findings: Non-Standard Discounts</a:t>
            </a:r>
          </a:p>
        </p:txBody>
      </p:sp>
      <p:sp>
        <p:nvSpPr>
          <p:cNvPr id="3" name="Text Placeholder 2">
            <a:extLst>
              <a:ext uri="{FF2B5EF4-FFF2-40B4-BE49-F238E27FC236}">
                <a16:creationId xmlns:a16="http://schemas.microsoft.com/office/drawing/2014/main" id="{4497E3BE-049F-4441-9E25-721773620C9C}"/>
              </a:ext>
            </a:extLst>
          </p:cNvPr>
          <p:cNvSpPr>
            <a:spLocks noGrp="1"/>
          </p:cNvSpPr>
          <p:nvPr>
            <p:ph type="body" sz="quarter" idx="14"/>
          </p:nvPr>
        </p:nvSpPr>
        <p:spPr/>
        <p:txBody>
          <a:bodyPr/>
          <a:lstStyle/>
          <a:p>
            <a:r>
              <a:rPr lang="en-US" dirty="0"/>
              <a:t>Non-Standard discounts are currently used to react to customer demands rather than to drive desired behaviors</a:t>
            </a:r>
          </a:p>
          <a:p>
            <a:endParaRPr lang="en-US" dirty="0"/>
          </a:p>
        </p:txBody>
      </p:sp>
      <p:sp>
        <p:nvSpPr>
          <p:cNvPr id="4" name="Text Placeholder 3">
            <a:extLst>
              <a:ext uri="{FF2B5EF4-FFF2-40B4-BE49-F238E27FC236}">
                <a16:creationId xmlns:a16="http://schemas.microsoft.com/office/drawing/2014/main" id="{9D856942-B933-4F08-A4A2-457761E9D9B8}"/>
              </a:ext>
            </a:extLst>
          </p:cNvPr>
          <p:cNvSpPr>
            <a:spLocks noGrp="1"/>
          </p:cNvSpPr>
          <p:nvPr>
            <p:ph type="body" sz="quarter" idx="15"/>
          </p:nvPr>
        </p:nvSpPr>
        <p:spPr/>
        <p:txBody>
          <a:bodyPr/>
          <a:lstStyle/>
          <a:p>
            <a:r>
              <a:rPr lang="en-US" dirty="0"/>
              <a:t>TABLE</a:t>
            </a:r>
          </a:p>
        </p:txBody>
      </p:sp>
      <p:sp>
        <p:nvSpPr>
          <p:cNvPr id="5" name="Title 2">
            <a:extLst>
              <a:ext uri="{FF2B5EF4-FFF2-40B4-BE49-F238E27FC236}">
                <a16:creationId xmlns:a16="http://schemas.microsoft.com/office/drawing/2014/main" id="{CE6B95A6-AB87-4B02-B54C-0DBFF8A3CBD1}"/>
              </a:ext>
            </a:extLst>
          </p:cNvPr>
          <p:cNvSpPr txBox="1">
            <a:spLocks/>
          </p:cNvSpPr>
          <p:nvPr/>
        </p:nvSpPr>
        <p:spPr>
          <a:xfrm>
            <a:off x="469900" y="402587"/>
            <a:ext cx="11252200"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b="1" dirty="0"/>
          </a:p>
        </p:txBody>
      </p:sp>
      <p:sp>
        <p:nvSpPr>
          <p:cNvPr id="6" name="Text Placeholder 29">
            <a:extLst>
              <a:ext uri="{FF2B5EF4-FFF2-40B4-BE49-F238E27FC236}">
                <a16:creationId xmlns:a16="http://schemas.microsoft.com/office/drawing/2014/main" id="{C4D8A569-8E17-498F-9B96-5456D5914426}"/>
              </a:ext>
            </a:extLst>
          </p:cNvPr>
          <p:cNvSpPr txBox="1">
            <a:spLocks/>
          </p:cNvSpPr>
          <p:nvPr/>
        </p:nvSpPr>
        <p:spPr>
          <a:xfrm>
            <a:off x="708152" y="2152976"/>
            <a:ext cx="11252200" cy="411885"/>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graphicFrame>
        <p:nvGraphicFramePr>
          <p:cNvPr id="7" name="Table 6">
            <a:extLst>
              <a:ext uri="{FF2B5EF4-FFF2-40B4-BE49-F238E27FC236}">
                <a16:creationId xmlns:a16="http://schemas.microsoft.com/office/drawing/2014/main" id="{05E8840E-2669-4898-893C-01959AFDCDFB}"/>
              </a:ext>
            </a:extLst>
          </p:cNvPr>
          <p:cNvGraphicFramePr>
            <a:graphicFrameLocks noGrp="1"/>
          </p:cNvGraphicFramePr>
          <p:nvPr>
            <p:extLst>
              <p:ext uri="{D42A27DB-BD31-4B8C-83A1-F6EECF244321}">
                <p14:modId xmlns:p14="http://schemas.microsoft.com/office/powerpoint/2010/main" val="2406870830"/>
              </p:ext>
            </p:extLst>
          </p:nvPr>
        </p:nvGraphicFramePr>
        <p:xfrm>
          <a:off x="927671" y="1698869"/>
          <a:ext cx="4874992" cy="4607915"/>
        </p:xfrm>
        <a:graphic>
          <a:graphicData uri="http://schemas.openxmlformats.org/drawingml/2006/table">
            <a:tbl>
              <a:tblPr firstRow="1" bandRow="1">
                <a:tableStyleId>{6E25E649-3F16-4E02-A733-19D2CDBF48F0}</a:tableStyleId>
              </a:tblPr>
              <a:tblGrid>
                <a:gridCol w="2508601">
                  <a:extLst>
                    <a:ext uri="{9D8B030D-6E8A-4147-A177-3AD203B41FA5}">
                      <a16:colId xmlns:a16="http://schemas.microsoft.com/office/drawing/2014/main" val="20000"/>
                    </a:ext>
                  </a:extLst>
                </a:gridCol>
                <a:gridCol w="1421250">
                  <a:extLst>
                    <a:ext uri="{9D8B030D-6E8A-4147-A177-3AD203B41FA5}">
                      <a16:colId xmlns:a16="http://schemas.microsoft.com/office/drawing/2014/main" val="20001"/>
                    </a:ext>
                  </a:extLst>
                </a:gridCol>
                <a:gridCol w="945141">
                  <a:extLst>
                    <a:ext uri="{9D8B030D-6E8A-4147-A177-3AD203B41FA5}">
                      <a16:colId xmlns:a16="http://schemas.microsoft.com/office/drawing/2014/main" val="3657216970"/>
                    </a:ext>
                  </a:extLst>
                </a:gridCol>
              </a:tblGrid>
              <a:tr h="311864">
                <a:tc>
                  <a:txBody>
                    <a:bodyPr/>
                    <a:lstStyle/>
                    <a:p>
                      <a:pPr algn="l" fontAlgn="b"/>
                      <a:r>
                        <a:rPr lang="en-US" sz="1100" b="1" i="0" u="none" strike="noStrike" dirty="0">
                          <a:solidFill>
                            <a:schemeClr val="tx1"/>
                          </a:solidFill>
                          <a:effectLst/>
                        </a:rPr>
                        <a:t>Discount Type</a:t>
                      </a:r>
                      <a:endParaRPr lang="en-US" sz="1100" b="1" i="0" u="none" strike="noStrike" dirty="0">
                        <a:solidFill>
                          <a:schemeClr val="tx1"/>
                        </a:solidFill>
                        <a:effectLst/>
                        <a:latin typeface="Calibri" panose="020F0502020204030204" pitchFamily="34" charset="0"/>
                      </a:endParaRPr>
                    </a:p>
                  </a:txBody>
                  <a:tcPr anchor="ctr">
                    <a:lnL>
                      <a:noFill/>
                    </a:lnL>
                    <a:lnR>
                      <a:noFill/>
                    </a:lnR>
                    <a:lnT w="254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a:solidFill>
                            <a:schemeClr val="tx1"/>
                          </a:solidFill>
                          <a:effectLst/>
                        </a:rPr>
                        <a:t>$ Amount</a:t>
                      </a:r>
                      <a:endParaRPr lang="en-US" sz="1100" b="1" i="0" u="none" strike="noStrike" dirty="0">
                        <a:solidFill>
                          <a:schemeClr val="tx1"/>
                        </a:solidFill>
                        <a:effectLst/>
                        <a:latin typeface="Calibri" panose="020F0502020204030204" pitchFamily="34" charset="0"/>
                      </a:endParaRPr>
                    </a:p>
                  </a:txBody>
                  <a:tcPr anchor="ctr">
                    <a:lnL>
                      <a:noFill/>
                    </a:lnL>
                    <a:lnR>
                      <a:noFill/>
                    </a:lnR>
                    <a:lnT w="254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a:solidFill>
                            <a:schemeClr val="tx1"/>
                          </a:solidFill>
                          <a:effectLst/>
                        </a:rPr>
                        <a:t>% of</a:t>
                      </a:r>
                      <a:r>
                        <a:rPr lang="en-US" sz="1100" b="1" i="0" u="none" strike="noStrike" baseline="0" dirty="0">
                          <a:solidFill>
                            <a:schemeClr val="tx1"/>
                          </a:solidFill>
                          <a:effectLst/>
                        </a:rPr>
                        <a:t> </a:t>
                      </a:r>
                      <a:r>
                        <a:rPr lang="en-US" sz="1100" b="1" i="0" u="none" strike="noStrike" dirty="0">
                          <a:solidFill>
                            <a:schemeClr val="tx1"/>
                          </a:solidFill>
                          <a:effectLst/>
                        </a:rPr>
                        <a:t>Total</a:t>
                      </a:r>
                      <a:endParaRPr lang="en-US" sz="1100" b="1" i="0" u="none" strike="noStrike" dirty="0">
                        <a:solidFill>
                          <a:schemeClr val="tx1"/>
                        </a:solidFill>
                        <a:effectLst/>
                        <a:latin typeface="Calibri" panose="020F0502020204030204" pitchFamily="34" charset="0"/>
                      </a:endParaRPr>
                    </a:p>
                  </a:txBody>
                  <a:tcPr anchor="ctr">
                    <a:lnL>
                      <a:noFill/>
                    </a:lnL>
                    <a:lnR>
                      <a:noFill/>
                    </a:lnR>
                    <a:lnT w="254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11388">
                <a:tc>
                  <a:txBody>
                    <a:bodyPr/>
                    <a:lstStyle/>
                    <a:p>
                      <a:pPr marL="182880" algn="l" fontAlgn="b"/>
                      <a:r>
                        <a:rPr lang="en-US" sz="1050" b="0" i="0" u="none" strike="noStrike" dirty="0">
                          <a:solidFill>
                            <a:srgbClr val="000000"/>
                          </a:solidFill>
                          <a:effectLst/>
                          <a:latin typeface="+mn-lt"/>
                        </a:rPr>
                        <a:t>Standard Discount</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 83,389,966</a:t>
                      </a:r>
                    </a:p>
                  </a:txBody>
                  <a:tcPr marL="7620" marR="457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36.4%</a:t>
                      </a:r>
                    </a:p>
                  </a:txBody>
                  <a:tcPr marL="7620" marR="457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1404">
                <a:tc>
                  <a:txBody>
                    <a:bodyPr/>
                    <a:lstStyle/>
                    <a:p>
                      <a:pPr marL="182880" algn="l" fontAlgn="b"/>
                      <a:r>
                        <a:rPr lang="en-US" sz="1050" b="0" i="0" u="none" strike="noStrike" dirty="0">
                          <a:solidFill>
                            <a:srgbClr val="000000"/>
                          </a:solidFill>
                          <a:effectLst/>
                          <a:latin typeface="+mn-lt"/>
                        </a:rPr>
                        <a:t>Other Discount</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 77,226,997</a:t>
                      </a:r>
                    </a:p>
                  </a:txBody>
                  <a:tcPr marL="7620" marR="457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33.7%</a:t>
                      </a:r>
                    </a:p>
                  </a:txBody>
                  <a:tcPr marL="7620" marR="45720" marT="762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8181596"/>
                  </a:ext>
                </a:extLst>
              </a:tr>
              <a:tr h="281404">
                <a:tc>
                  <a:txBody>
                    <a:bodyPr/>
                    <a:lstStyle/>
                    <a:p>
                      <a:pPr marL="182880" algn="l" fontAlgn="b"/>
                      <a:r>
                        <a:rPr lang="en-US" sz="1050" b="0" i="0" u="none" strike="noStrike" dirty="0">
                          <a:solidFill>
                            <a:srgbClr val="000000"/>
                          </a:solidFill>
                          <a:effectLst/>
                          <a:latin typeface="+mn-lt"/>
                        </a:rPr>
                        <a:t>Sales Discount</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177,246</a:t>
                      </a:r>
                    </a:p>
                  </a:txBody>
                  <a:tcPr marL="7620" marR="45720" marT="762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0.1%</a:t>
                      </a:r>
                    </a:p>
                  </a:txBody>
                  <a:tcPr marL="7620" marR="45720" marT="762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1560318"/>
                  </a:ext>
                </a:extLst>
              </a:tr>
              <a:tr h="281404">
                <a:tc>
                  <a:txBody>
                    <a:bodyPr/>
                    <a:lstStyle/>
                    <a:p>
                      <a:pPr marL="182880" algn="l" fontAlgn="b"/>
                      <a:r>
                        <a:rPr lang="en-US" sz="1050" b="0" i="0" u="none" strike="noStrike" dirty="0">
                          <a:solidFill>
                            <a:srgbClr val="000000"/>
                          </a:solidFill>
                          <a:effectLst/>
                          <a:latin typeface="+mn-lt"/>
                        </a:rPr>
                        <a:t>Manual Discount</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31,696,003</a:t>
                      </a:r>
                    </a:p>
                  </a:txBody>
                  <a:tcPr marL="7620" marR="45720" marT="762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13.8%</a:t>
                      </a:r>
                    </a:p>
                  </a:txBody>
                  <a:tcPr marL="7620" marR="45720" marT="762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0467787"/>
                  </a:ext>
                </a:extLst>
              </a:tr>
              <a:tr h="281404">
                <a:tc>
                  <a:txBody>
                    <a:bodyPr/>
                    <a:lstStyle/>
                    <a:p>
                      <a:pPr marL="182880" algn="l" fontAlgn="b"/>
                      <a:r>
                        <a:rPr lang="en-US" sz="1050" b="0" i="0" u="none" strike="noStrike" dirty="0">
                          <a:solidFill>
                            <a:srgbClr val="000000"/>
                          </a:solidFill>
                          <a:effectLst/>
                          <a:latin typeface="+mn-lt"/>
                        </a:rPr>
                        <a:t>Closeout Discount</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 17,535,868</a:t>
                      </a:r>
                    </a:p>
                  </a:txBody>
                  <a:tcPr marL="7620" marR="45720" marT="762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7.6%</a:t>
                      </a:r>
                    </a:p>
                  </a:txBody>
                  <a:tcPr marL="7620" marR="45720" marT="762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6234327"/>
                  </a:ext>
                </a:extLst>
              </a:tr>
              <a:tr h="311864">
                <a:tc>
                  <a:txBody>
                    <a:bodyPr/>
                    <a:lstStyle/>
                    <a:p>
                      <a:pPr marL="182880" algn="l" fontAlgn="b"/>
                      <a:r>
                        <a:rPr lang="en-US" sz="1050" b="0" i="0" u="none" strike="noStrike" dirty="0">
                          <a:solidFill>
                            <a:srgbClr val="000000"/>
                          </a:solidFill>
                          <a:effectLst/>
                          <a:latin typeface="+mn-lt"/>
                        </a:rPr>
                        <a:t>Defect Discount</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 2,420,759</a:t>
                      </a:r>
                    </a:p>
                  </a:txBody>
                  <a:tcPr marL="7620" marR="45720" marT="762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1.1%</a:t>
                      </a:r>
                    </a:p>
                  </a:txBody>
                  <a:tcPr marL="7620" marR="45720" marT="762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95951">
                <a:tc>
                  <a:txBody>
                    <a:bodyPr/>
                    <a:lstStyle/>
                    <a:p>
                      <a:pPr marL="182880" algn="l" fontAlgn="b"/>
                      <a:r>
                        <a:rPr lang="en-US" sz="1050" b="0" i="0" u="none" strike="noStrike" dirty="0">
                          <a:solidFill>
                            <a:srgbClr val="000000"/>
                          </a:solidFill>
                          <a:effectLst/>
                          <a:latin typeface="+mn-lt"/>
                        </a:rPr>
                        <a:t>Plug</a:t>
                      </a:r>
                      <a:endParaRPr lang="en-US" sz="1050" b="0" i="0" u="none" strike="noStrike" baseline="30000" dirty="0">
                        <a:solidFill>
                          <a:srgbClr val="000000"/>
                        </a:solidFill>
                        <a:effectLst/>
                        <a:latin typeface="+mn-lt"/>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64,156</a:t>
                      </a:r>
                    </a:p>
                  </a:txBody>
                  <a:tcPr marL="7620" marR="45720" marT="762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0.0%</a:t>
                      </a:r>
                    </a:p>
                  </a:txBody>
                  <a:tcPr marL="7620" marR="45720" marT="762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81404">
                <a:tc>
                  <a:txBody>
                    <a:bodyPr/>
                    <a:lstStyle/>
                    <a:p>
                      <a:pPr marL="182880" algn="l" fontAlgn="b"/>
                      <a:r>
                        <a:rPr lang="en-US" sz="1050" b="0" i="0" u="none" strike="noStrike" dirty="0">
                          <a:solidFill>
                            <a:srgbClr val="000000"/>
                          </a:solidFill>
                          <a:effectLst/>
                          <a:latin typeface="+mn-lt"/>
                        </a:rPr>
                        <a:t>Adv. and Demand Creation</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 5,846,950</a:t>
                      </a:r>
                    </a:p>
                  </a:txBody>
                  <a:tcPr marL="7620" marR="45720" marT="762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2.6%</a:t>
                      </a:r>
                    </a:p>
                  </a:txBody>
                  <a:tcPr marL="7620" marR="45720" marT="762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81404">
                <a:tc>
                  <a:txBody>
                    <a:bodyPr/>
                    <a:lstStyle/>
                    <a:p>
                      <a:pPr marL="182880" algn="l" fontAlgn="b"/>
                      <a:r>
                        <a:rPr lang="en-US" sz="1050" b="0" i="0" u="none" strike="noStrike" dirty="0">
                          <a:solidFill>
                            <a:schemeClr val="tx1"/>
                          </a:solidFill>
                          <a:effectLst/>
                          <a:latin typeface="+mn-lt"/>
                        </a:rPr>
                        <a:t>Margin</a:t>
                      </a:r>
                      <a:r>
                        <a:rPr lang="en-US" sz="1050" b="0" i="0" u="none" strike="noStrike" dirty="0">
                          <a:solidFill>
                            <a:srgbClr val="FFB2D9"/>
                          </a:solidFill>
                          <a:effectLst/>
                          <a:latin typeface="+mn-lt"/>
                        </a:rPr>
                        <a:t> </a:t>
                      </a:r>
                      <a:r>
                        <a:rPr lang="en-US" sz="1050" b="0" i="0" u="none" strike="noStrike" dirty="0">
                          <a:solidFill>
                            <a:srgbClr val="000000"/>
                          </a:solidFill>
                          <a:effectLst/>
                          <a:latin typeface="+mn-lt"/>
                        </a:rPr>
                        <a:t>Assist Credit</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 6,997,510</a:t>
                      </a:r>
                    </a:p>
                  </a:txBody>
                  <a:tcPr marL="7620" marR="45720" marT="762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3.1%</a:t>
                      </a:r>
                    </a:p>
                  </a:txBody>
                  <a:tcPr marL="7620" marR="45720" marT="762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281404">
                <a:tc>
                  <a:txBody>
                    <a:bodyPr/>
                    <a:lstStyle/>
                    <a:p>
                      <a:pPr marL="182880" algn="l" fontAlgn="b"/>
                      <a:r>
                        <a:rPr lang="en-US" sz="1050" b="0" i="0" u="none" strike="noStrike" dirty="0">
                          <a:solidFill>
                            <a:srgbClr val="000000"/>
                          </a:solidFill>
                          <a:effectLst/>
                          <a:latin typeface="+mn-lt"/>
                        </a:rPr>
                        <a:t>Volume and New Store Rebates</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295,501</a:t>
                      </a:r>
                    </a:p>
                  </a:txBody>
                  <a:tcPr marL="7620" marR="45720" marT="762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0.1%</a:t>
                      </a:r>
                    </a:p>
                  </a:txBody>
                  <a:tcPr marL="7620" marR="45720" marT="762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85768932"/>
                  </a:ext>
                </a:extLst>
              </a:tr>
              <a:tr h="281404">
                <a:tc>
                  <a:txBody>
                    <a:bodyPr/>
                    <a:lstStyle/>
                    <a:p>
                      <a:pPr marL="182880" algn="l" fontAlgn="b"/>
                      <a:r>
                        <a:rPr lang="en-US" sz="1050" b="0" i="0" u="none" strike="noStrike" dirty="0">
                          <a:solidFill>
                            <a:srgbClr val="000000"/>
                          </a:solidFill>
                          <a:effectLst/>
                          <a:latin typeface="+mn-lt"/>
                        </a:rPr>
                        <a:t>Defective Allowance Credit</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 612,092</a:t>
                      </a:r>
                    </a:p>
                  </a:txBody>
                  <a:tcPr marL="7620" marR="45720" marT="762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0.3%</a:t>
                      </a:r>
                    </a:p>
                  </a:txBody>
                  <a:tcPr marL="7620" marR="45720" marT="762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0816371"/>
                  </a:ext>
                </a:extLst>
              </a:tr>
              <a:tr h="281404">
                <a:tc>
                  <a:txBody>
                    <a:bodyPr/>
                    <a:lstStyle/>
                    <a:p>
                      <a:pPr marL="182880" algn="l" fontAlgn="b"/>
                      <a:r>
                        <a:rPr lang="en-US" sz="1050" b="0" i="0" u="none" strike="noStrike" dirty="0">
                          <a:solidFill>
                            <a:srgbClr val="000000"/>
                          </a:solidFill>
                          <a:effectLst/>
                          <a:latin typeface="+mn-lt"/>
                        </a:rPr>
                        <a:t>Shipping Integrity Credit</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 709,311</a:t>
                      </a:r>
                    </a:p>
                  </a:txBody>
                  <a:tcPr marL="7620" marR="45720" marT="762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0.3%</a:t>
                      </a:r>
                    </a:p>
                  </a:txBody>
                  <a:tcPr marL="7620" marR="45720" marT="762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429069"/>
                  </a:ext>
                </a:extLst>
              </a:tr>
              <a:tr h="281404">
                <a:tc>
                  <a:txBody>
                    <a:bodyPr/>
                    <a:lstStyle/>
                    <a:p>
                      <a:pPr marL="182880" algn="l" fontAlgn="b"/>
                      <a:r>
                        <a:rPr lang="en-US" sz="1050" b="0" i="0" u="none" strike="noStrike" dirty="0">
                          <a:solidFill>
                            <a:srgbClr val="000000"/>
                          </a:solidFill>
                          <a:effectLst/>
                          <a:latin typeface="+mn-lt"/>
                        </a:rPr>
                        <a:t>Compliance Credit</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 969,993</a:t>
                      </a:r>
                    </a:p>
                  </a:txBody>
                  <a:tcPr marL="7620" marR="45720" marT="762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0.4%</a:t>
                      </a:r>
                    </a:p>
                  </a:txBody>
                  <a:tcPr marL="7620" marR="45720" marT="762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27058976"/>
                  </a:ext>
                </a:extLst>
              </a:tr>
              <a:tr h="281404">
                <a:tc>
                  <a:txBody>
                    <a:bodyPr/>
                    <a:lstStyle/>
                    <a:p>
                      <a:pPr marL="182880" algn="l" fontAlgn="b"/>
                      <a:r>
                        <a:rPr lang="en-US" sz="1050" b="0" i="0" u="none" strike="noStrike" dirty="0">
                          <a:solidFill>
                            <a:srgbClr val="000000"/>
                          </a:solidFill>
                          <a:effectLst/>
                          <a:latin typeface="+mn-lt"/>
                        </a:rPr>
                        <a:t>Pricing Adjustment Credit</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  1,348,214</a:t>
                      </a:r>
                    </a:p>
                  </a:txBody>
                  <a:tcPr marL="7620" marR="45720" marT="762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dirty="0">
                          <a:solidFill>
                            <a:srgbClr val="000000"/>
                          </a:solidFill>
                          <a:effectLst/>
                          <a:latin typeface="+mn-lt"/>
                        </a:rPr>
                        <a:t>0.6%</a:t>
                      </a:r>
                    </a:p>
                  </a:txBody>
                  <a:tcPr marL="7620" marR="45720" marT="762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4368107"/>
                  </a:ext>
                </a:extLst>
              </a:tr>
              <a:tr h="281404">
                <a:tc>
                  <a:txBody>
                    <a:bodyPr/>
                    <a:lstStyle/>
                    <a:p>
                      <a:pPr marL="182880" algn="l" fontAlgn="b"/>
                      <a:r>
                        <a:rPr lang="en-US" sz="1050" b="1" i="0" u="none" strike="noStrike" dirty="0">
                          <a:solidFill>
                            <a:srgbClr val="000000"/>
                          </a:solidFill>
                          <a:effectLst/>
                          <a:latin typeface="+mn-lt"/>
                        </a:rPr>
                        <a:t>Total</a:t>
                      </a:r>
                    </a:p>
                  </a:txBody>
                  <a:tcPr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1" i="0" u="none" strike="noStrike" dirty="0">
                          <a:solidFill>
                            <a:srgbClr val="000000"/>
                          </a:solidFill>
                          <a:effectLst/>
                          <a:latin typeface="+mn-lt"/>
                        </a:rPr>
                        <a:t>$229,290,565</a:t>
                      </a:r>
                    </a:p>
                  </a:txBody>
                  <a:tcPr marL="7620" marR="7620" marT="762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50" b="1" i="0" u="none" strike="noStrike" dirty="0">
                        <a:solidFill>
                          <a:srgbClr val="000000"/>
                        </a:solidFill>
                        <a:effectLst/>
                        <a:latin typeface="+mn-lt"/>
                      </a:endParaRPr>
                    </a:p>
                  </a:txBody>
                  <a:tcPr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1324841"/>
                  </a:ext>
                </a:extLst>
              </a:tr>
            </a:tbl>
          </a:graphicData>
        </a:graphic>
      </p:graphicFrame>
      <p:sp>
        <p:nvSpPr>
          <p:cNvPr id="8" name="Rectangle 7">
            <a:extLst>
              <a:ext uri="{FF2B5EF4-FFF2-40B4-BE49-F238E27FC236}">
                <a16:creationId xmlns:a16="http://schemas.microsoft.com/office/drawing/2014/main" id="{160D50C0-3D8D-4CCE-A4DB-F3A9FDAD569A}"/>
              </a:ext>
            </a:extLst>
          </p:cNvPr>
          <p:cNvSpPr/>
          <p:nvPr/>
        </p:nvSpPr>
        <p:spPr>
          <a:xfrm>
            <a:off x="927672" y="1698869"/>
            <a:ext cx="4874992" cy="4692787"/>
          </a:xfrm>
          <a:prstGeom prst="rect">
            <a:avLst/>
          </a:prstGeom>
          <a:noFill/>
          <a:ln w="19050">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grpSp>
        <p:nvGrpSpPr>
          <p:cNvPr id="9" name="Group 8">
            <a:extLst>
              <a:ext uri="{FF2B5EF4-FFF2-40B4-BE49-F238E27FC236}">
                <a16:creationId xmlns:a16="http://schemas.microsoft.com/office/drawing/2014/main" id="{440EC14A-8126-4BF5-8C16-0F83E278750C}"/>
              </a:ext>
            </a:extLst>
          </p:cNvPr>
          <p:cNvGrpSpPr/>
          <p:nvPr/>
        </p:nvGrpSpPr>
        <p:grpSpPr>
          <a:xfrm>
            <a:off x="708152" y="2284837"/>
            <a:ext cx="169278" cy="3392621"/>
            <a:chOff x="6638986" y="2460430"/>
            <a:chExt cx="115866" cy="1937140"/>
          </a:xfrm>
        </p:grpSpPr>
        <p:grpSp>
          <p:nvGrpSpPr>
            <p:cNvPr id="10" name="Group 9">
              <a:extLst>
                <a:ext uri="{FF2B5EF4-FFF2-40B4-BE49-F238E27FC236}">
                  <a16:creationId xmlns:a16="http://schemas.microsoft.com/office/drawing/2014/main" id="{17FD4A92-3463-49F4-BD0B-835A25B43740}"/>
                </a:ext>
              </a:extLst>
            </p:cNvPr>
            <p:cNvGrpSpPr/>
            <p:nvPr/>
          </p:nvGrpSpPr>
          <p:grpSpPr>
            <a:xfrm>
              <a:off x="6638986" y="2460430"/>
              <a:ext cx="115866" cy="1937139"/>
              <a:chOff x="6638986" y="2460430"/>
              <a:chExt cx="115866" cy="1937139"/>
            </a:xfrm>
          </p:grpSpPr>
          <p:cxnSp>
            <p:nvCxnSpPr>
              <p:cNvPr id="13" name="Straight Connector 12">
                <a:extLst>
                  <a:ext uri="{FF2B5EF4-FFF2-40B4-BE49-F238E27FC236}">
                    <a16:creationId xmlns:a16="http://schemas.microsoft.com/office/drawing/2014/main" id="{13360B68-76AC-446A-98C5-9C897534AA08}"/>
                  </a:ext>
                </a:extLst>
              </p:cNvPr>
              <p:cNvCxnSpPr/>
              <p:nvPr/>
            </p:nvCxnSpPr>
            <p:spPr>
              <a:xfrm rot="16200000">
                <a:off x="5728349" y="3429000"/>
                <a:ext cx="1937139"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49E4FDA3-294E-4751-AED0-96767460729B}"/>
                  </a:ext>
                </a:extLst>
              </p:cNvPr>
              <p:cNvSpPr txBox="1"/>
              <p:nvPr/>
            </p:nvSpPr>
            <p:spPr>
              <a:xfrm rot="16200000">
                <a:off x="6343842" y="3386214"/>
                <a:ext cx="706154" cy="115866"/>
              </a:xfrm>
              <a:prstGeom prst="rect">
                <a:avLst/>
              </a:prstGeom>
              <a:solidFill>
                <a:schemeClr val="bg1"/>
              </a:solidFill>
              <a:ln>
                <a:noFill/>
              </a:ln>
            </p:spPr>
            <p:txBody>
              <a:bodyPr vert="horz" wrap="square" lIns="0" tIns="0" rIns="0" bIns="0" rtlCol="0" anchor="ctr" anchorCtr="1">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1" i="0" u="none" strike="noStrike" kern="1200" cap="none" spc="0" normalizeH="0" baseline="0" noProof="0" dirty="0">
                    <a:ln>
                      <a:noFill/>
                    </a:ln>
                    <a:solidFill>
                      <a:schemeClr val="accent1"/>
                    </a:solidFill>
                    <a:effectLst/>
                    <a:uLnTx/>
                    <a:uFillTx/>
                    <a:ea typeface="+mn-ea"/>
                    <a:cs typeface="+mn-cs"/>
                  </a:rPr>
                  <a:t>Non-Standard</a:t>
                </a:r>
              </a:p>
            </p:txBody>
          </p:sp>
        </p:grpSp>
        <p:cxnSp>
          <p:nvCxnSpPr>
            <p:cNvPr id="11" name="Straight Connector 10">
              <a:extLst>
                <a:ext uri="{FF2B5EF4-FFF2-40B4-BE49-F238E27FC236}">
                  <a16:creationId xmlns:a16="http://schemas.microsoft.com/office/drawing/2014/main" id="{BCCE411D-C300-4349-9701-803D132699B8}"/>
                </a:ext>
              </a:extLst>
            </p:cNvPr>
            <p:cNvCxnSpPr/>
            <p:nvPr/>
          </p:nvCxnSpPr>
          <p:spPr>
            <a:xfrm rot="16200000">
              <a:off x="6699155" y="2408232"/>
              <a:ext cx="0" cy="104397"/>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4210E9C-711F-4C83-8431-D2D9E761EA7A}"/>
                </a:ext>
              </a:extLst>
            </p:cNvPr>
            <p:cNvCxnSpPr/>
            <p:nvPr/>
          </p:nvCxnSpPr>
          <p:spPr>
            <a:xfrm rot="16200000">
              <a:off x="6699155" y="4345371"/>
              <a:ext cx="0" cy="104397"/>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5" name="Right Brace 14">
            <a:extLst>
              <a:ext uri="{FF2B5EF4-FFF2-40B4-BE49-F238E27FC236}">
                <a16:creationId xmlns:a16="http://schemas.microsoft.com/office/drawing/2014/main" id="{01889AF5-97CE-4651-9C7B-494DCC5D78F3}"/>
              </a:ext>
            </a:extLst>
          </p:cNvPr>
          <p:cNvSpPr/>
          <p:nvPr/>
        </p:nvSpPr>
        <p:spPr>
          <a:xfrm>
            <a:off x="5866080" y="2957777"/>
            <a:ext cx="442507" cy="585376"/>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6" name="TextBox 15">
            <a:extLst>
              <a:ext uri="{FF2B5EF4-FFF2-40B4-BE49-F238E27FC236}">
                <a16:creationId xmlns:a16="http://schemas.microsoft.com/office/drawing/2014/main" id="{89C24F07-D1B0-4415-9D56-C65B4B7A64F1}"/>
              </a:ext>
            </a:extLst>
          </p:cNvPr>
          <p:cNvSpPr txBox="1"/>
          <p:nvPr/>
        </p:nvSpPr>
        <p:spPr>
          <a:xfrm>
            <a:off x="6429314" y="3075661"/>
            <a:ext cx="5229225" cy="369332"/>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Most non-standard discounting is allocated to </a:t>
            </a:r>
            <a:r>
              <a:rPr kumimoji="0" lang="en-US" sz="1200" b="1" i="0" u="none" strike="noStrike" kern="1200" cap="none" spc="0" normalizeH="0" baseline="0" noProof="0" dirty="0">
                <a:ln>
                  <a:noFill/>
                </a:ln>
                <a:solidFill>
                  <a:schemeClr val="accent1"/>
                </a:solidFill>
                <a:effectLst/>
                <a:uLnTx/>
                <a:uFillTx/>
                <a:ea typeface="+mn-ea"/>
                <a:cs typeface="+mn-cs"/>
              </a:rPr>
              <a:t>Manual Off-Price and Closeout Discounts</a:t>
            </a:r>
            <a:endParaRPr kumimoji="0" lang="en-US" sz="1200" b="0" i="0" u="none" strike="noStrike" kern="1200" cap="none" spc="0" normalizeH="0" baseline="0" noProof="0" dirty="0">
              <a:ln>
                <a:noFill/>
              </a:ln>
              <a:solidFill>
                <a:schemeClr val="accent1"/>
              </a:solidFill>
              <a:effectLst/>
              <a:uLnTx/>
              <a:uFillTx/>
              <a:ea typeface="+mn-ea"/>
              <a:cs typeface="+mn-cs"/>
            </a:endParaRPr>
          </a:p>
        </p:txBody>
      </p:sp>
      <p:sp>
        <p:nvSpPr>
          <p:cNvPr id="17" name="Right Brace 16">
            <a:extLst>
              <a:ext uri="{FF2B5EF4-FFF2-40B4-BE49-F238E27FC236}">
                <a16:creationId xmlns:a16="http://schemas.microsoft.com/office/drawing/2014/main" id="{B69D5413-2ACC-42C8-A0D5-184BF2F30C8E}"/>
              </a:ext>
            </a:extLst>
          </p:cNvPr>
          <p:cNvSpPr/>
          <p:nvPr/>
        </p:nvSpPr>
        <p:spPr>
          <a:xfrm>
            <a:off x="5866080" y="3559340"/>
            <a:ext cx="442507" cy="2558940"/>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8" name="TextBox 17">
            <a:extLst>
              <a:ext uri="{FF2B5EF4-FFF2-40B4-BE49-F238E27FC236}">
                <a16:creationId xmlns:a16="http://schemas.microsoft.com/office/drawing/2014/main" id="{F1EE3963-98D3-4234-94C0-F275A6F3512C}"/>
              </a:ext>
            </a:extLst>
          </p:cNvPr>
          <p:cNvSpPr txBox="1"/>
          <p:nvPr/>
        </p:nvSpPr>
        <p:spPr>
          <a:xfrm>
            <a:off x="6429314" y="4718219"/>
            <a:ext cx="5229225" cy="369332"/>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The non-standard buckets are </a:t>
            </a:r>
            <a:r>
              <a:rPr kumimoji="0" lang="en-US" sz="1200" b="1" i="0" u="none" strike="noStrike" kern="1200" cap="none" spc="0" normalizeH="0" baseline="0" noProof="0" dirty="0">
                <a:ln>
                  <a:noFill/>
                </a:ln>
                <a:solidFill>
                  <a:schemeClr val="accent1"/>
                </a:solidFill>
                <a:effectLst/>
                <a:uLnTx/>
                <a:uFillTx/>
                <a:ea typeface="+mn-ea"/>
                <a:cs typeface="+mn-cs"/>
              </a:rPr>
              <a:t>reactionary</a:t>
            </a:r>
            <a:r>
              <a:rPr kumimoji="0" lang="en-US" sz="1200" b="0" i="0" u="none" strike="noStrike" kern="1200" cap="none" spc="0" normalizeH="0" baseline="0" noProof="0" dirty="0">
                <a:ln>
                  <a:noFill/>
                </a:ln>
                <a:solidFill>
                  <a:srgbClr val="86BC25"/>
                </a:solidFill>
                <a:effectLst/>
                <a:uLnTx/>
                <a:uFillTx/>
                <a:ea typeface="+mn-ea"/>
                <a:cs typeface="+mn-cs"/>
              </a:rPr>
              <a:t> </a:t>
            </a:r>
            <a:r>
              <a:rPr kumimoji="0" lang="en-US" sz="1200" b="0" i="0" u="none" strike="noStrike" kern="1200" cap="none" spc="0" normalizeH="0" baseline="0" noProof="0" dirty="0">
                <a:ln>
                  <a:noFill/>
                </a:ln>
                <a:solidFill>
                  <a:prstClr val="black"/>
                </a:solidFill>
                <a:effectLst/>
                <a:uLnTx/>
                <a:uFillTx/>
                <a:ea typeface="+mn-ea"/>
                <a:cs typeface="+mn-cs"/>
              </a:rPr>
              <a:t>and </a:t>
            </a:r>
            <a:r>
              <a:rPr kumimoji="0" lang="en-US" sz="1200" b="1" i="0" u="none" strike="noStrike" kern="1200" cap="none" spc="0" normalizeH="0" baseline="0" noProof="0" dirty="0">
                <a:ln>
                  <a:noFill/>
                </a:ln>
                <a:solidFill>
                  <a:schemeClr val="accent1"/>
                </a:solidFill>
                <a:effectLst/>
                <a:uLnTx/>
                <a:uFillTx/>
                <a:ea typeface="+mn-ea"/>
                <a:cs typeface="+mn-cs"/>
              </a:rPr>
              <a:t>do not tie to customer performance</a:t>
            </a:r>
          </a:p>
        </p:txBody>
      </p:sp>
    </p:spTree>
    <p:extLst>
      <p:ext uri="{BB962C8B-B14F-4D97-AF65-F5344CB8AC3E}">
        <p14:creationId xmlns:p14="http://schemas.microsoft.com/office/powerpoint/2010/main" val="143289959"/>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02E65E-EFEC-4A62-A1A3-26A03D0B06EA}"/>
              </a:ext>
            </a:extLst>
          </p:cNvPr>
          <p:cNvSpPr>
            <a:spLocks noGrp="1"/>
          </p:cNvSpPr>
          <p:nvPr>
            <p:ph type="title"/>
          </p:nvPr>
        </p:nvSpPr>
        <p:spPr/>
        <p:txBody>
          <a:bodyPr/>
          <a:lstStyle/>
          <a:p>
            <a:r>
              <a:rPr lang="en-US" dirty="0"/>
              <a:t>Standard Discount Policy</a:t>
            </a:r>
          </a:p>
        </p:txBody>
      </p:sp>
      <p:sp>
        <p:nvSpPr>
          <p:cNvPr id="3" name="Text Placeholder 2">
            <a:extLst>
              <a:ext uri="{FF2B5EF4-FFF2-40B4-BE49-F238E27FC236}">
                <a16:creationId xmlns:a16="http://schemas.microsoft.com/office/drawing/2014/main" id="{5DDA9A66-12DF-4BDC-9957-38E998A27599}"/>
              </a:ext>
            </a:extLst>
          </p:cNvPr>
          <p:cNvSpPr>
            <a:spLocks noGrp="1"/>
          </p:cNvSpPr>
          <p:nvPr>
            <p:ph type="body" sz="quarter" idx="14"/>
          </p:nvPr>
        </p:nvSpPr>
        <p:spPr/>
        <p:txBody>
          <a:bodyPr/>
          <a:lstStyle/>
          <a:p>
            <a:r>
              <a:rPr lang="en-US" dirty="0"/>
              <a:t>Below is an illustrative view of how the standard discount will be structured to drive desired behavior</a:t>
            </a:r>
          </a:p>
          <a:p>
            <a:endParaRPr lang="en-US" dirty="0"/>
          </a:p>
        </p:txBody>
      </p:sp>
      <p:sp>
        <p:nvSpPr>
          <p:cNvPr id="4" name="Text Placeholder 3">
            <a:extLst>
              <a:ext uri="{FF2B5EF4-FFF2-40B4-BE49-F238E27FC236}">
                <a16:creationId xmlns:a16="http://schemas.microsoft.com/office/drawing/2014/main" id="{D66C725A-265C-4041-9820-94E6D9705D73}"/>
              </a:ext>
            </a:extLst>
          </p:cNvPr>
          <p:cNvSpPr>
            <a:spLocks noGrp="1"/>
          </p:cNvSpPr>
          <p:nvPr>
            <p:ph type="body" sz="quarter" idx="15"/>
          </p:nvPr>
        </p:nvSpPr>
        <p:spPr/>
        <p:txBody>
          <a:bodyPr/>
          <a:lstStyle/>
          <a:p>
            <a:r>
              <a:rPr lang="en-US" dirty="0"/>
              <a:t>TABLE</a:t>
            </a:r>
          </a:p>
        </p:txBody>
      </p:sp>
      <p:sp>
        <p:nvSpPr>
          <p:cNvPr id="5" name="Title 3">
            <a:extLst>
              <a:ext uri="{FF2B5EF4-FFF2-40B4-BE49-F238E27FC236}">
                <a16:creationId xmlns:a16="http://schemas.microsoft.com/office/drawing/2014/main" id="{015AD38D-ED16-454D-90D3-AA8E6B130333}"/>
              </a:ext>
            </a:extLst>
          </p:cNvPr>
          <p:cNvSpPr txBox="1">
            <a:spLocks/>
          </p:cNvSpPr>
          <p:nvPr/>
        </p:nvSpPr>
        <p:spPr>
          <a:xfrm>
            <a:off x="469900" y="402587"/>
            <a:ext cx="11252200"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b="1" dirty="0"/>
          </a:p>
        </p:txBody>
      </p:sp>
      <p:graphicFrame>
        <p:nvGraphicFramePr>
          <p:cNvPr id="7" name="Table 6">
            <a:extLst>
              <a:ext uri="{FF2B5EF4-FFF2-40B4-BE49-F238E27FC236}">
                <a16:creationId xmlns:a16="http://schemas.microsoft.com/office/drawing/2014/main" id="{07FDB363-126C-4517-AAD4-B5A31BB66A55}"/>
              </a:ext>
            </a:extLst>
          </p:cNvPr>
          <p:cNvGraphicFramePr>
            <a:graphicFrameLocks noGrp="1"/>
          </p:cNvGraphicFramePr>
          <p:nvPr>
            <p:extLst>
              <p:ext uri="{D42A27DB-BD31-4B8C-83A1-F6EECF244321}">
                <p14:modId xmlns:p14="http://schemas.microsoft.com/office/powerpoint/2010/main" val="923863406"/>
              </p:ext>
            </p:extLst>
          </p:nvPr>
        </p:nvGraphicFramePr>
        <p:xfrm>
          <a:off x="3444459" y="2644760"/>
          <a:ext cx="8390732" cy="2847610"/>
        </p:xfrm>
        <a:graphic>
          <a:graphicData uri="http://schemas.openxmlformats.org/drawingml/2006/table">
            <a:tbl>
              <a:tblPr firstRow="1" bandRow="1">
                <a:tableStyleId>{6E25E649-3F16-4E02-A733-19D2CDBF48F0}</a:tableStyleId>
              </a:tblPr>
              <a:tblGrid>
                <a:gridCol w="1101909">
                  <a:extLst>
                    <a:ext uri="{9D8B030D-6E8A-4147-A177-3AD203B41FA5}">
                      <a16:colId xmlns:a16="http://schemas.microsoft.com/office/drawing/2014/main" val="20002"/>
                    </a:ext>
                  </a:extLst>
                </a:gridCol>
                <a:gridCol w="1125416">
                  <a:extLst>
                    <a:ext uri="{9D8B030D-6E8A-4147-A177-3AD203B41FA5}">
                      <a16:colId xmlns:a16="http://schemas.microsoft.com/office/drawing/2014/main" val="20000"/>
                    </a:ext>
                  </a:extLst>
                </a:gridCol>
                <a:gridCol w="1134207">
                  <a:extLst>
                    <a:ext uri="{9D8B030D-6E8A-4147-A177-3AD203B41FA5}">
                      <a16:colId xmlns:a16="http://schemas.microsoft.com/office/drawing/2014/main" val="20003"/>
                    </a:ext>
                  </a:extLst>
                </a:gridCol>
                <a:gridCol w="1005840">
                  <a:extLst>
                    <a:ext uri="{9D8B030D-6E8A-4147-A177-3AD203B41FA5}">
                      <a16:colId xmlns:a16="http://schemas.microsoft.com/office/drawing/2014/main" val="2169892510"/>
                    </a:ext>
                  </a:extLst>
                </a:gridCol>
                <a:gridCol w="1005840">
                  <a:extLst>
                    <a:ext uri="{9D8B030D-6E8A-4147-A177-3AD203B41FA5}">
                      <a16:colId xmlns:a16="http://schemas.microsoft.com/office/drawing/2014/main" val="156077974"/>
                    </a:ext>
                  </a:extLst>
                </a:gridCol>
                <a:gridCol w="1005840">
                  <a:extLst>
                    <a:ext uri="{9D8B030D-6E8A-4147-A177-3AD203B41FA5}">
                      <a16:colId xmlns:a16="http://schemas.microsoft.com/office/drawing/2014/main" val="1103377713"/>
                    </a:ext>
                  </a:extLst>
                </a:gridCol>
                <a:gridCol w="1005840">
                  <a:extLst>
                    <a:ext uri="{9D8B030D-6E8A-4147-A177-3AD203B41FA5}">
                      <a16:colId xmlns:a16="http://schemas.microsoft.com/office/drawing/2014/main" val="20001"/>
                    </a:ext>
                  </a:extLst>
                </a:gridCol>
                <a:gridCol w="1005840">
                  <a:extLst>
                    <a:ext uri="{9D8B030D-6E8A-4147-A177-3AD203B41FA5}">
                      <a16:colId xmlns:a16="http://schemas.microsoft.com/office/drawing/2014/main" val="1700506119"/>
                    </a:ext>
                  </a:extLst>
                </a:gridCol>
              </a:tblGrid>
              <a:tr h="352210">
                <a:tc>
                  <a:txBody>
                    <a:bodyPr/>
                    <a:lstStyle/>
                    <a:p>
                      <a:pPr algn="ctr" fontAlgn="b"/>
                      <a:r>
                        <a:rPr lang="en-US" sz="1200" b="1" i="0" u="none" strike="noStrike" dirty="0">
                          <a:solidFill>
                            <a:schemeClr val="tx1"/>
                          </a:solidFill>
                          <a:effectLst/>
                          <a:latin typeface="+mn-lt"/>
                        </a:rPr>
                        <a:t>Discount Type</a:t>
                      </a:r>
                    </a:p>
                  </a:txBody>
                  <a:tcPr anchor="ctr">
                    <a:lnL>
                      <a:noFill/>
                    </a:lnL>
                    <a:lnR>
                      <a:noFill/>
                    </a:lnR>
                    <a:lnT w="254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a:solidFill>
                            <a:schemeClr val="tx1"/>
                          </a:solidFill>
                          <a:effectLst/>
                          <a:latin typeface="+mn-lt"/>
                        </a:rPr>
                        <a:t>Product Type</a:t>
                      </a:r>
                    </a:p>
                  </a:txBody>
                  <a:tcPr anchor="ctr">
                    <a:lnL>
                      <a:noFill/>
                    </a:lnL>
                    <a:lnR>
                      <a:noFill/>
                    </a:lnR>
                    <a:lnT w="254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a:solidFill>
                            <a:schemeClr val="tx1"/>
                          </a:solidFill>
                          <a:effectLst/>
                          <a:latin typeface="+mn-lt"/>
                        </a:rPr>
                        <a:t>Order Type</a:t>
                      </a:r>
                    </a:p>
                  </a:txBody>
                  <a:tcPr anchor="ctr">
                    <a:lnL>
                      <a:noFill/>
                    </a:lnL>
                    <a:lnR>
                      <a:noFill/>
                    </a:lnR>
                    <a:lnT w="254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a:solidFill>
                            <a:schemeClr val="tx1"/>
                          </a:solidFill>
                          <a:effectLst/>
                          <a:latin typeface="+mn-lt"/>
                        </a:rPr>
                        <a:t>Segment A</a:t>
                      </a:r>
                    </a:p>
                  </a:txBody>
                  <a:tcPr anchor="ctr">
                    <a:lnL>
                      <a:noFill/>
                    </a:lnL>
                    <a:lnR>
                      <a:noFill/>
                    </a:lnR>
                    <a:lnT w="254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a:solidFill>
                            <a:schemeClr val="tx1"/>
                          </a:solidFill>
                          <a:effectLst/>
                          <a:latin typeface="+mn-lt"/>
                        </a:rPr>
                        <a:t>Segment</a:t>
                      </a:r>
                      <a:r>
                        <a:rPr lang="en-US" sz="1200" b="1" i="0" u="none" strike="noStrike" baseline="0" dirty="0">
                          <a:solidFill>
                            <a:schemeClr val="tx1"/>
                          </a:solidFill>
                          <a:effectLst/>
                          <a:latin typeface="+mn-lt"/>
                        </a:rPr>
                        <a:t> B</a:t>
                      </a:r>
                      <a:endParaRPr lang="en-US" sz="1200" b="1" i="0" u="none" strike="noStrike" dirty="0">
                        <a:solidFill>
                          <a:schemeClr val="tx1"/>
                        </a:solidFill>
                        <a:effectLst/>
                        <a:latin typeface="+mn-lt"/>
                      </a:endParaRPr>
                    </a:p>
                  </a:txBody>
                  <a:tcPr anchor="ctr">
                    <a:lnL>
                      <a:noFill/>
                    </a:lnL>
                    <a:lnR>
                      <a:noFill/>
                    </a:lnR>
                    <a:lnT w="254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a:solidFill>
                            <a:schemeClr val="tx1"/>
                          </a:solidFill>
                          <a:effectLst/>
                          <a:latin typeface="+mn-lt"/>
                        </a:rPr>
                        <a:t>Segment C</a:t>
                      </a:r>
                    </a:p>
                  </a:txBody>
                  <a:tcPr anchor="ctr">
                    <a:lnL>
                      <a:noFill/>
                    </a:lnL>
                    <a:lnR>
                      <a:noFill/>
                    </a:lnR>
                    <a:lnT w="254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a:solidFill>
                            <a:schemeClr val="tx1"/>
                          </a:solidFill>
                          <a:effectLst/>
                          <a:latin typeface="+mn-lt"/>
                        </a:rPr>
                        <a:t>Segment D</a:t>
                      </a:r>
                    </a:p>
                  </a:txBody>
                  <a:tcPr anchor="ctr">
                    <a:lnL>
                      <a:noFill/>
                    </a:lnL>
                    <a:lnR>
                      <a:noFill/>
                    </a:lnR>
                    <a:lnT w="254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a:solidFill>
                            <a:schemeClr val="tx1"/>
                          </a:solidFill>
                          <a:effectLst/>
                          <a:latin typeface="+mn-lt"/>
                        </a:rPr>
                        <a:t>Segment E</a:t>
                      </a:r>
                    </a:p>
                  </a:txBody>
                  <a:tcPr anchor="ctr">
                    <a:lnL>
                      <a:noFill/>
                    </a:lnL>
                    <a:lnR>
                      <a:noFill/>
                    </a:lnR>
                    <a:lnT w="254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78082">
                <a:tc>
                  <a:txBody>
                    <a:bodyPr/>
                    <a:lstStyle/>
                    <a:p>
                      <a:pPr marL="0" indent="0" algn="l" fontAlgn="b"/>
                      <a:r>
                        <a:rPr lang="en-US" sz="1050" b="0" i="0" u="none" strike="noStrike" dirty="0">
                          <a:solidFill>
                            <a:schemeClr val="tx1"/>
                          </a:solidFill>
                          <a:effectLst/>
                          <a:latin typeface="+mn-lt"/>
                        </a:rPr>
                        <a:t>Standard</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r>
                        <a:rPr lang="en-US" sz="1050" b="0" i="0" u="none" strike="noStrike" dirty="0">
                          <a:solidFill>
                            <a:schemeClr val="tx1"/>
                          </a:solidFill>
                          <a:effectLst/>
                          <a:latin typeface="+mn-lt"/>
                        </a:rPr>
                        <a:t>Primary</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r>
                        <a:rPr lang="en-US" sz="1050" b="0" i="0" u="none" strike="noStrike" dirty="0">
                          <a:solidFill>
                            <a:schemeClr val="tx1"/>
                          </a:solidFill>
                          <a:effectLst/>
                          <a:latin typeface="+mn-lt"/>
                        </a:rPr>
                        <a:t>JIT</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algn="ctr" fontAlgn="b"/>
                      <a:r>
                        <a:rPr lang="en-US" sz="1050" b="0" i="0" u="none" strike="noStrike" dirty="0">
                          <a:solidFill>
                            <a:srgbClr val="000000"/>
                          </a:solidFill>
                          <a:effectLst/>
                          <a:latin typeface="+mn-lt"/>
                        </a:rPr>
                        <a:t>7%</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algn="ctr" fontAlgn="b"/>
                      <a:r>
                        <a:rPr lang="en-US" sz="1050" b="0" i="0" u="none" strike="noStrike">
                          <a:solidFill>
                            <a:srgbClr val="000000"/>
                          </a:solidFill>
                          <a:effectLst/>
                          <a:latin typeface="+mn-lt"/>
                        </a:rPr>
                        <a:t>7%</a:t>
                      </a:r>
                      <a:endParaRPr lang="en-US" sz="105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algn="ctr" fontAlgn="b"/>
                      <a:r>
                        <a:rPr lang="en-US" sz="1050" b="0" i="0" u="none" strike="noStrike">
                          <a:solidFill>
                            <a:srgbClr val="000000"/>
                          </a:solidFill>
                          <a:effectLst/>
                          <a:latin typeface="+mn-lt"/>
                        </a:rPr>
                        <a:t>7%</a:t>
                      </a:r>
                      <a:endParaRPr lang="en-US" sz="105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algn="ctr" fontAlgn="b"/>
                      <a:r>
                        <a:rPr lang="en-US" sz="1050" b="0" i="0" u="none" strike="noStrike" dirty="0">
                          <a:solidFill>
                            <a:srgbClr val="000000"/>
                          </a:solidFill>
                          <a:effectLst/>
                          <a:latin typeface="+mn-lt"/>
                        </a:rPr>
                        <a:t>7%</a:t>
                      </a:r>
                    </a:p>
                  </a:txBody>
                  <a:tcPr marL="7620" marR="7620" marT="762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algn="ctr" fontAlgn="b"/>
                      <a:r>
                        <a:rPr lang="en-US" sz="1100" b="0" i="1" u="none" strike="noStrike" dirty="0">
                          <a:solidFill>
                            <a:srgbClr val="000000"/>
                          </a:solidFill>
                          <a:effectLst/>
                          <a:latin typeface="+mn-lt"/>
                        </a:rPr>
                        <a:t>Value Policy is Described on Slide 26</a:t>
                      </a:r>
                    </a:p>
                  </a:txBody>
                  <a:tcPr marL="7620" marR="7620" marT="762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92035034"/>
                  </a:ext>
                </a:extLst>
              </a:tr>
              <a:tr h="478082">
                <a:tc>
                  <a:txBody>
                    <a:bodyPr/>
                    <a:lstStyle/>
                    <a:p>
                      <a:pPr marL="0" marR="0" lvl="0" indent="0" algn="l" defTabSz="1219170" rtl="0" eaLnBrk="1" fontAlgn="b" latinLnBrk="0" hangingPunct="1">
                        <a:lnSpc>
                          <a:spcPct val="100000"/>
                        </a:lnSpc>
                        <a:spcBef>
                          <a:spcPts val="0"/>
                        </a:spcBef>
                        <a:spcAft>
                          <a:spcPts val="0"/>
                        </a:spcAft>
                        <a:buClrTx/>
                        <a:buSzTx/>
                        <a:buFontTx/>
                        <a:buNone/>
                        <a:tabLst/>
                        <a:defRPr/>
                      </a:pPr>
                      <a:r>
                        <a:rPr lang="en-US" sz="1050" b="0" i="0" u="none" strike="noStrike" dirty="0">
                          <a:solidFill>
                            <a:schemeClr val="tx1"/>
                          </a:solidFill>
                          <a:effectLst/>
                          <a:latin typeface="+mn-lt"/>
                        </a:rPr>
                        <a:t>Standard</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b" latinLnBrk="0" hangingPunct="1">
                        <a:lnSpc>
                          <a:spcPct val="100000"/>
                        </a:lnSpc>
                        <a:spcBef>
                          <a:spcPts val="0"/>
                        </a:spcBef>
                        <a:spcAft>
                          <a:spcPts val="0"/>
                        </a:spcAft>
                        <a:buClrTx/>
                        <a:buSzTx/>
                        <a:buFontTx/>
                        <a:buNone/>
                        <a:tabLst/>
                        <a:defRPr/>
                      </a:pPr>
                      <a:r>
                        <a:rPr lang="en-US" sz="1050" b="0" i="0" u="none" strike="noStrike" dirty="0">
                          <a:solidFill>
                            <a:schemeClr val="tx1"/>
                          </a:solidFill>
                          <a:effectLst/>
                          <a:latin typeface="+mn-lt"/>
                        </a:rPr>
                        <a:t>Primary</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b" latinLnBrk="0" hangingPunct="1">
                        <a:lnSpc>
                          <a:spcPct val="100000"/>
                        </a:lnSpc>
                        <a:spcBef>
                          <a:spcPts val="0"/>
                        </a:spcBef>
                        <a:spcAft>
                          <a:spcPts val="0"/>
                        </a:spcAft>
                        <a:buClrTx/>
                        <a:buSzTx/>
                        <a:buFontTx/>
                        <a:buNone/>
                        <a:tabLst/>
                        <a:defRPr/>
                      </a:pPr>
                      <a:r>
                        <a:rPr lang="en-US" sz="1050" b="0" i="0" u="none" strike="noStrike" dirty="0">
                          <a:solidFill>
                            <a:schemeClr val="tx1"/>
                          </a:solidFill>
                          <a:effectLst/>
                          <a:latin typeface="+mn-lt"/>
                        </a:rPr>
                        <a:t>Future</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marR="0" lvl="0" indent="0" algn="ctr" defTabSz="1219170" rtl="0" eaLnBrk="1" fontAlgn="b" latinLnBrk="0" hangingPunct="1">
                        <a:lnSpc>
                          <a:spcPct val="100000"/>
                        </a:lnSpc>
                        <a:spcBef>
                          <a:spcPts val="0"/>
                        </a:spcBef>
                        <a:spcAft>
                          <a:spcPts val="0"/>
                        </a:spcAft>
                        <a:buClrTx/>
                        <a:buSzTx/>
                        <a:buFontTx/>
                        <a:buNone/>
                        <a:tabLst/>
                        <a:defRPr/>
                      </a:pPr>
                      <a:r>
                        <a:rPr lang="en-US" sz="1050" b="0" i="0" u="none" strike="noStrike" dirty="0">
                          <a:solidFill>
                            <a:srgbClr val="000000"/>
                          </a:solidFill>
                          <a:effectLst/>
                          <a:latin typeface="+mn-lt"/>
                        </a:rPr>
                        <a:t>7%</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algn="ctr" fontAlgn="b"/>
                      <a:r>
                        <a:rPr lang="en-US" sz="1050" b="0" i="0" u="none" strike="noStrike" dirty="0">
                          <a:solidFill>
                            <a:srgbClr val="000000"/>
                          </a:solidFill>
                          <a:effectLst/>
                          <a:latin typeface="+mn-lt"/>
                        </a:rPr>
                        <a:t>12%</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algn="ctr" fontAlgn="b"/>
                      <a:r>
                        <a:rPr lang="en-US" sz="1050" b="0" i="0" u="none" strike="noStrike" dirty="0">
                          <a:solidFill>
                            <a:srgbClr val="000000"/>
                          </a:solidFill>
                          <a:effectLst/>
                          <a:latin typeface="+mn-lt"/>
                        </a:rPr>
                        <a:t>12%</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mn-lt"/>
                        </a:rPr>
                        <a:t>12%</a:t>
                      </a:r>
                    </a:p>
                  </a:txBody>
                  <a:tcPr marL="7620" marR="7620" marT="762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extLst>
                  <a:ext uri="{0D108BD9-81ED-4DB2-BD59-A6C34878D82A}">
                    <a16:rowId xmlns:a16="http://schemas.microsoft.com/office/drawing/2014/main" val="10002"/>
                  </a:ext>
                </a:extLst>
              </a:tr>
              <a:tr h="478082">
                <a:tc>
                  <a:txBody>
                    <a:bodyPr/>
                    <a:lstStyle/>
                    <a:p>
                      <a:pPr marL="0" indent="0" algn="l" fontAlgn="b"/>
                      <a:r>
                        <a:rPr lang="en-US" sz="1050" b="0" i="0" u="none" strike="noStrike" dirty="0">
                          <a:solidFill>
                            <a:schemeClr val="tx1"/>
                          </a:solidFill>
                          <a:effectLst/>
                          <a:latin typeface="+mn-lt"/>
                        </a:rPr>
                        <a:t>Standard</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r>
                        <a:rPr lang="en-US" sz="1050" b="0" i="0" u="none" strike="noStrike" baseline="0" dirty="0">
                          <a:solidFill>
                            <a:schemeClr val="tx1"/>
                          </a:solidFill>
                          <a:effectLst/>
                          <a:latin typeface="+mn-lt"/>
                        </a:rPr>
                        <a:t>Secondary</a:t>
                      </a:r>
                      <a:endParaRPr lang="en-US" sz="1050" b="0" i="0" u="none" strike="noStrike" dirty="0">
                        <a:solidFill>
                          <a:schemeClr val="tx1"/>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r>
                        <a:rPr lang="en-US" sz="1050" b="0" i="0" u="none" strike="noStrike" dirty="0">
                          <a:solidFill>
                            <a:schemeClr val="tx1"/>
                          </a:solidFill>
                          <a:effectLst/>
                          <a:latin typeface="+mn-lt"/>
                        </a:rPr>
                        <a:t>JIT</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algn="ctr" fontAlgn="b"/>
                      <a:r>
                        <a:rPr lang="en-US" sz="1050" b="0" i="0" u="none" strike="noStrike" dirty="0">
                          <a:solidFill>
                            <a:srgbClr val="000000"/>
                          </a:solidFill>
                          <a:effectLst/>
                          <a:latin typeface="+mn-lt"/>
                        </a:rPr>
                        <a:t>7%</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algn="ctr" fontAlgn="b"/>
                      <a:r>
                        <a:rPr lang="en-US" sz="1050" b="0" i="0" u="none" strike="noStrike" dirty="0">
                          <a:solidFill>
                            <a:srgbClr val="000000"/>
                          </a:solidFill>
                          <a:effectLst/>
                          <a:latin typeface="+mn-lt"/>
                        </a:rPr>
                        <a:t>12%</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algn="ctr" fontAlgn="b"/>
                      <a:r>
                        <a:rPr lang="en-US" sz="1050" b="0" i="0" u="none" strike="noStrike" dirty="0">
                          <a:solidFill>
                            <a:srgbClr val="000000"/>
                          </a:solidFill>
                          <a:effectLst/>
                          <a:latin typeface="+mn-lt"/>
                        </a:rPr>
                        <a:t>12%</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mn-lt"/>
                        </a:rPr>
                        <a:t>12%</a:t>
                      </a:r>
                    </a:p>
                  </a:txBody>
                  <a:tcPr marL="7620" marR="7620" marT="762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fontAlgn="b"/>
                      <a:endParaRPr lang="en-US" sz="1100" b="0" i="0" u="none" strike="noStrike" dirty="0">
                        <a:solidFill>
                          <a:srgbClr val="000000"/>
                        </a:solidFill>
                        <a:effectLst/>
                        <a:latin typeface="+mn-lt"/>
                      </a:endParaRPr>
                    </a:p>
                  </a:txBody>
                  <a:tcPr marL="7620" marR="7620" marT="762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81139386"/>
                  </a:ext>
                </a:extLst>
              </a:tr>
              <a:tr h="478082">
                <a:tc>
                  <a:txBody>
                    <a:bodyPr/>
                    <a:lstStyle/>
                    <a:p>
                      <a:pPr marL="0" indent="0" algn="l" fontAlgn="b"/>
                      <a:r>
                        <a:rPr lang="en-US" sz="1050" b="0" i="0" u="none" strike="noStrike" dirty="0">
                          <a:solidFill>
                            <a:schemeClr val="tx1"/>
                          </a:solidFill>
                          <a:effectLst/>
                          <a:latin typeface="+mn-lt"/>
                        </a:rPr>
                        <a:t>Standard</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r>
                        <a:rPr lang="en-US" sz="1050" b="0" i="0" u="none" strike="noStrike" dirty="0">
                          <a:solidFill>
                            <a:schemeClr val="tx1"/>
                          </a:solidFill>
                          <a:effectLst/>
                          <a:latin typeface="+mn-lt"/>
                        </a:rPr>
                        <a:t>Secondary</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r>
                        <a:rPr lang="en-US" sz="1050" b="0" i="0" u="none" strike="noStrike" dirty="0">
                          <a:solidFill>
                            <a:schemeClr val="tx1"/>
                          </a:solidFill>
                          <a:effectLst/>
                          <a:latin typeface="+mn-lt"/>
                        </a:rPr>
                        <a:t>Future</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algn="ctr" fontAlgn="b"/>
                      <a:r>
                        <a:rPr lang="en-US" sz="1050" b="0" i="0" u="none" strike="noStrike" dirty="0">
                          <a:solidFill>
                            <a:srgbClr val="000000"/>
                          </a:solidFill>
                          <a:effectLst/>
                          <a:latin typeface="+mn-lt"/>
                        </a:rPr>
                        <a:t>7%</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algn="ctr" fontAlgn="b"/>
                      <a:r>
                        <a:rPr lang="en-US" sz="1050" b="0" i="0" u="none" strike="noStrike" dirty="0">
                          <a:solidFill>
                            <a:srgbClr val="000000"/>
                          </a:solidFill>
                          <a:effectLst/>
                          <a:latin typeface="+mn-lt"/>
                        </a:rPr>
                        <a:t>17%</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algn="ctr" fontAlgn="b"/>
                      <a:r>
                        <a:rPr lang="en-US" sz="1050" b="0" i="0" u="none" strike="noStrike" dirty="0">
                          <a:solidFill>
                            <a:srgbClr val="000000"/>
                          </a:solidFill>
                          <a:effectLst/>
                          <a:latin typeface="+mn-lt"/>
                        </a:rPr>
                        <a:t>17%</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mn-lt"/>
                        </a:rPr>
                        <a:t>17%</a:t>
                      </a:r>
                    </a:p>
                  </a:txBody>
                  <a:tcPr marL="7620" marR="7620" marT="762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fontAlgn="b"/>
                      <a:endParaRPr lang="en-US" sz="1100" b="0" i="0" u="none" strike="noStrike" dirty="0">
                        <a:solidFill>
                          <a:srgbClr val="000000"/>
                        </a:solidFill>
                        <a:effectLst/>
                        <a:latin typeface="+mn-lt"/>
                      </a:endParaRPr>
                    </a:p>
                  </a:txBody>
                  <a:tcPr marL="7620" marR="7620" marT="762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9063112"/>
                  </a:ext>
                </a:extLst>
              </a:tr>
              <a:tr h="478082">
                <a:tc gridSpan="3">
                  <a:txBody>
                    <a:bodyPr/>
                    <a:lstStyle/>
                    <a:p>
                      <a:pPr marL="0" indent="0" algn="l" fontAlgn="b"/>
                      <a:r>
                        <a:rPr lang="en-US" sz="1050" b="1" i="0" u="none" strike="noStrike" dirty="0">
                          <a:solidFill>
                            <a:srgbClr val="000000"/>
                          </a:solidFill>
                          <a:effectLst/>
                          <a:latin typeface="+mn-lt"/>
                        </a:rPr>
                        <a:t>Highest Potential</a:t>
                      </a:r>
                      <a:r>
                        <a:rPr lang="en-US" sz="1050" b="1" i="0" u="none" strike="noStrike" baseline="0" dirty="0">
                          <a:solidFill>
                            <a:srgbClr val="000000"/>
                          </a:solidFill>
                          <a:effectLst/>
                          <a:latin typeface="+mn-lt"/>
                        </a:rPr>
                        <a:t> Standard Discount</a:t>
                      </a:r>
                      <a:endParaRPr lang="en-US" sz="1050" b="1"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hMerge="1">
                  <a:txBody>
                    <a:bodyPr/>
                    <a:lstStyle/>
                    <a:p>
                      <a:pPr marL="0" indent="0" algn="l" fontAlgn="b"/>
                      <a:endParaRPr lang="en-US" sz="1050" b="1"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hMerge="1">
                  <a:txBody>
                    <a:bodyPr/>
                    <a:lstStyle/>
                    <a:p>
                      <a:pPr marL="0" indent="0" algn="l" fontAlgn="b"/>
                      <a:endParaRPr lang="en-US" sz="1050" b="1"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82880" algn="ctr" fontAlgn="b"/>
                      <a:r>
                        <a:rPr lang="en-US" sz="1050" b="1" i="0" u="none" strike="noStrike" dirty="0">
                          <a:solidFill>
                            <a:srgbClr val="000000"/>
                          </a:solidFill>
                          <a:effectLst/>
                          <a:latin typeface="+mn-lt"/>
                        </a:rPr>
                        <a:t>7%</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82880" algn="ctr" fontAlgn="b"/>
                      <a:r>
                        <a:rPr lang="en-US" sz="1050" b="1" i="0" u="none" strike="noStrike" dirty="0">
                          <a:solidFill>
                            <a:srgbClr val="000000"/>
                          </a:solidFill>
                          <a:effectLst/>
                          <a:latin typeface="+mn-lt"/>
                        </a:rPr>
                        <a:t>17%</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82880" marR="0" lvl="0" indent="0" algn="ctr" defTabSz="1219170" rtl="0" eaLnBrk="1" fontAlgn="b" latinLnBrk="0" hangingPunct="1">
                        <a:lnSpc>
                          <a:spcPct val="100000"/>
                        </a:lnSpc>
                        <a:spcBef>
                          <a:spcPts val="0"/>
                        </a:spcBef>
                        <a:spcAft>
                          <a:spcPts val="0"/>
                        </a:spcAft>
                        <a:buClrTx/>
                        <a:buSzTx/>
                        <a:buFontTx/>
                        <a:buNone/>
                        <a:tabLst/>
                        <a:defRPr/>
                      </a:pPr>
                      <a:r>
                        <a:rPr lang="en-US" sz="1050" b="1" i="0" u="none" strike="noStrike" dirty="0">
                          <a:solidFill>
                            <a:srgbClr val="000000"/>
                          </a:solidFill>
                          <a:effectLst/>
                          <a:latin typeface="+mn-lt"/>
                        </a:rPr>
                        <a:t>17%</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1219170" rtl="0" eaLnBrk="1" fontAlgn="b" latinLnBrk="0" hangingPunct="1">
                        <a:lnSpc>
                          <a:spcPct val="100000"/>
                        </a:lnSpc>
                        <a:spcBef>
                          <a:spcPts val="0"/>
                        </a:spcBef>
                        <a:spcAft>
                          <a:spcPts val="0"/>
                        </a:spcAft>
                        <a:buClrTx/>
                        <a:buSzTx/>
                        <a:buFontTx/>
                        <a:buNone/>
                        <a:tabLst/>
                        <a:defRPr/>
                      </a:pPr>
                      <a:r>
                        <a:rPr lang="en-US" sz="1100" b="1" i="0" u="none" strike="noStrike" dirty="0">
                          <a:solidFill>
                            <a:srgbClr val="000000"/>
                          </a:solidFill>
                          <a:effectLst/>
                          <a:latin typeface="+mn-lt"/>
                        </a:rPr>
                        <a:t>17%</a:t>
                      </a:r>
                    </a:p>
                  </a:txBody>
                  <a:tcPr marL="7620" marR="7620" marT="762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vMerge="1">
                  <a:txBody>
                    <a:bodyPr/>
                    <a:lstStyle/>
                    <a:p>
                      <a:pPr marL="0" marR="0" lvl="0" indent="0" algn="ctr" defTabSz="1219170" rtl="0" eaLnBrk="1" fontAlgn="b" latinLnBrk="0" hangingPunct="1">
                        <a:lnSpc>
                          <a:spcPct val="100000"/>
                        </a:lnSpc>
                        <a:spcBef>
                          <a:spcPts val="0"/>
                        </a:spcBef>
                        <a:spcAft>
                          <a:spcPts val="0"/>
                        </a:spcAft>
                        <a:buClrTx/>
                        <a:buSzTx/>
                        <a:buFontTx/>
                        <a:buNone/>
                        <a:tabLst/>
                        <a:defRPr/>
                      </a:pPr>
                      <a:endParaRPr lang="en-US" sz="1100" b="1" i="0" u="none" strike="noStrike" dirty="0">
                        <a:solidFill>
                          <a:srgbClr val="000000"/>
                        </a:solidFill>
                        <a:effectLst/>
                        <a:latin typeface="+mn-lt"/>
                      </a:endParaRPr>
                    </a:p>
                  </a:txBody>
                  <a:tcPr marL="7620" marR="7620" marT="762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1560318"/>
                  </a:ext>
                </a:extLst>
              </a:tr>
            </a:tbl>
          </a:graphicData>
        </a:graphic>
      </p:graphicFrame>
      <p:cxnSp>
        <p:nvCxnSpPr>
          <p:cNvPr id="8" name="Straight Connector 7">
            <a:extLst>
              <a:ext uri="{FF2B5EF4-FFF2-40B4-BE49-F238E27FC236}">
                <a16:creationId xmlns:a16="http://schemas.microsoft.com/office/drawing/2014/main" id="{41603B01-035B-4AF4-B37D-AF7DCF9446C1}"/>
              </a:ext>
            </a:extLst>
          </p:cNvPr>
          <p:cNvCxnSpPr>
            <a:endCxn id="9" idx="3"/>
          </p:cNvCxnSpPr>
          <p:nvPr/>
        </p:nvCxnSpPr>
        <p:spPr>
          <a:xfrm flipH="1">
            <a:off x="3050429" y="4417866"/>
            <a:ext cx="394030" cy="578832"/>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B4BE9114-D424-460B-B978-B03CF2D72C77}"/>
              </a:ext>
            </a:extLst>
          </p:cNvPr>
          <p:cNvSpPr/>
          <p:nvPr/>
        </p:nvSpPr>
        <p:spPr>
          <a:xfrm>
            <a:off x="668289" y="4227256"/>
            <a:ext cx="2382140" cy="1538883"/>
          </a:xfrm>
          <a:prstGeom prst="rect">
            <a:avLst/>
          </a:prstGeom>
          <a:solidFill>
            <a:schemeClr val="bg1"/>
          </a:solidFill>
          <a:ln w="38100">
            <a:solidFill>
              <a:schemeClr val="accent4"/>
            </a:solidFill>
          </a:ln>
        </p:spPr>
        <p:txBody>
          <a:bodyPr wrap="square" lIns="91440" tIns="91440" rIns="91440" bIns="9144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The differential between the JIT and Future </a:t>
            </a:r>
            <a:r>
              <a:rPr kumimoji="0" lang="en-US" sz="1100" b="1" i="0" u="none" strike="noStrike" kern="1200" cap="none" spc="0" normalizeH="0" baseline="0" noProof="0" dirty="0">
                <a:ln>
                  <a:noFill/>
                </a:ln>
                <a:solidFill>
                  <a:schemeClr val="accent2"/>
                </a:solidFill>
                <a:effectLst/>
                <a:uLnTx/>
                <a:uFillTx/>
                <a:ea typeface="+mn-ea"/>
                <a:cs typeface="+mn-cs"/>
              </a:rPr>
              <a:t>is meant to incentivize Futures, </a:t>
            </a:r>
            <a:r>
              <a:rPr kumimoji="0" lang="en-US" sz="1100" b="0" i="0" u="none" strike="noStrike" kern="1200" cap="none" spc="0" normalizeH="0" baseline="0" noProof="0" dirty="0">
                <a:ln>
                  <a:noFill/>
                </a:ln>
                <a:solidFill>
                  <a:prstClr val="black"/>
                </a:solidFill>
                <a:effectLst/>
                <a:uLnTx/>
                <a:uFillTx/>
                <a:ea typeface="+mn-ea"/>
                <a:cs typeface="+mn-cs"/>
              </a:rPr>
              <a:t>without creating a larger than necessary differential (data indicates mixed relationship between size of differential and larger mix of Futures orders)</a:t>
            </a:r>
          </a:p>
        </p:txBody>
      </p:sp>
      <p:cxnSp>
        <p:nvCxnSpPr>
          <p:cNvPr id="10" name="Straight Connector 9">
            <a:extLst>
              <a:ext uri="{FF2B5EF4-FFF2-40B4-BE49-F238E27FC236}">
                <a16:creationId xmlns:a16="http://schemas.microsoft.com/office/drawing/2014/main" id="{8C386283-A9E7-48C4-83FE-EFC9400DA868}"/>
              </a:ext>
            </a:extLst>
          </p:cNvPr>
          <p:cNvCxnSpPr/>
          <p:nvPr/>
        </p:nvCxnSpPr>
        <p:spPr>
          <a:xfrm flipV="1">
            <a:off x="8363918" y="5380570"/>
            <a:ext cx="2779" cy="896138"/>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E184DA34-3A1C-40E7-A610-718978324A58}"/>
              </a:ext>
            </a:extLst>
          </p:cNvPr>
          <p:cNvSpPr/>
          <p:nvPr/>
        </p:nvSpPr>
        <p:spPr>
          <a:xfrm>
            <a:off x="6844225" y="5732169"/>
            <a:ext cx="4433054" cy="861774"/>
          </a:xfrm>
          <a:prstGeom prst="rect">
            <a:avLst/>
          </a:prstGeom>
          <a:solidFill>
            <a:schemeClr val="bg1"/>
          </a:solidFill>
          <a:ln w="38100">
            <a:solidFill>
              <a:schemeClr val="accent1"/>
            </a:solidFill>
          </a:ln>
        </p:spPr>
        <p:txBody>
          <a:bodyPr wrap="square" lIns="91440" tIns="91440" rIns="91440" bIns="9144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Keeping the Standard Discount consistent across Segments</a:t>
            </a:r>
            <a:r>
              <a:rPr kumimoji="0" lang="en-US" sz="1100" b="0" i="0" u="none" strike="noStrike" kern="1200" cap="none" spc="0" normalizeH="0" noProof="0" dirty="0">
                <a:ln>
                  <a:noFill/>
                </a:ln>
                <a:solidFill>
                  <a:prstClr val="black"/>
                </a:solidFill>
                <a:effectLst/>
                <a:uLnTx/>
                <a:uFillTx/>
                <a:ea typeface="+mn-ea"/>
                <a:cs typeface="+mn-cs"/>
              </a:rPr>
              <a:t> </a:t>
            </a:r>
            <a:r>
              <a:rPr kumimoji="0" lang="en-US" sz="1100" b="0" i="0" u="none" strike="noStrike" kern="1200" cap="none" spc="0" normalizeH="0" baseline="0" noProof="0" dirty="0">
                <a:ln>
                  <a:noFill/>
                </a:ln>
                <a:solidFill>
                  <a:prstClr val="black"/>
                </a:solidFill>
                <a:effectLst/>
                <a:uLnTx/>
                <a:uFillTx/>
                <a:ea typeface="+mn-ea"/>
                <a:cs typeface="+mn-cs"/>
              </a:rPr>
              <a:t>will </a:t>
            </a:r>
            <a:r>
              <a:rPr kumimoji="0" lang="en-US" sz="1100" b="1" i="0" u="none" strike="noStrike" kern="1200" cap="none" spc="0" normalizeH="0" baseline="0" noProof="0" dirty="0">
                <a:ln>
                  <a:noFill/>
                </a:ln>
                <a:solidFill>
                  <a:schemeClr val="accent1"/>
                </a:solidFill>
                <a:effectLst/>
                <a:uLnTx/>
                <a:uFillTx/>
                <a:ea typeface="+mn-ea"/>
                <a:cs typeface="+mn-cs"/>
              </a:rPr>
              <a:t>reduce variability and be simpler for the Sales Force to execute. </a:t>
            </a:r>
            <a:r>
              <a:rPr kumimoji="0" lang="en-US" sz="1100" b="0" i="0" u="none" strike="noStrike" kern="1200" cap="none" spc="0" normalizeH="0" baseline="0" noProof="0" dirty="0">
                <a:ln>
                  <a:noFill/>
                </a:ln>
                <a:solidFill>
                  <a:prstClr val="black"/>
                </a:solidFill>
                <a:effectLst/>
                <a:uLnTx/>
                <a:uFillTx/>
                <a:ea typeface="+mn-ea"/>
                <a:cs typeface="+mn-cs"/>
              </a:rPr>
              <a:t>Differentiation for Account priorities will be driven through performance-based discounts.</a:t>
            </a:r>
          </a:p>
        </p:txBody>
      </p:sp>
      <p:cxnSp>
        <p:nvCxnSpPr>
          <p:cNvPr id="12" name="Straight Connector 11">
            <a:extLst>
              <a:ext uri="{FF2B5EF4-FFF2-40B4-BE49-F238E27FC236}">
                <a16:creationId xmlns:a16="http://schemas.microsoft.com/office/drawing/2014/main" id="{A6C4AE80-20D7-4DCF-BE90-EA248A56CBC7}"/>
              </a:ext>
            </a:extLst>
          </p:cNvPr>
          <p:cNvCxnSpPr>
            <a:stCxn id="13" idx="3"/>
          </p:cNvCxnSpPr>
          <p:nvPr/>
        </p:nvCxnSpPr>
        <p:spPr>
          <a:xfrm>
            <a:off x="3050429" y="3062410"/>
            <a:ext cx="394030" cy="419171"/>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03C34C6C-8123-4F16-8CD2-1D4BD7F1C6D7}"/>
              </a:ext>
            </a:extLst>
          </p:cNvPr>
          <p:cNvSpPr/>
          <p:nvPr/>
        </p:nvSpPr>
        <p:spPr>
          <a:xfrm>
            <a:off x="668289" y="2546884"/>
            <a:ext cx="2382140" cy="1031051"/>
          </a:xfrm>
          <a:prstGeom prst="rect">
            <a:avLst/>
          </a:prstGeom>
          <a:solidFill>
            <a:schemeClr val="bg1"/>
          </a:solidFill>
          <a:ln w="38100">
            <a:solidFill>
              <a:schemeClr val="accent3"/>
            </a:solidFill>
          </a:ln>
        </p:spPr>
        <p:txBody>
          <a:bodyPr wrap="square" lIns="91440" tIns="91440" rIns="91440" bIns="9144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100" b="1" i="0" u="none" strike="noStrike" kern="1200" cap="none" spc="0" normalizeH="0" baseline="0" noProof="0" dirty="0">
                <a:ln>
                  <a:noFill/>
                </a:ln>
                <a:solidFill>
                  <a:schemeClr val="accent3"/>
                </a:solidFill>
                <a:effectLst/>
                <a:uLnTx/>
                <a:uFillTx/>
                <a:ea typeface="+mn-ea"/>
                <a:cs typeface="+mn-cs"/>
              </a:rPr>
              <a:t>Primary products will receive a </a:t>
            </a:r>
            <a:r>
              <a:rPr kumimoji="0" lang="en-US" sz="1100" b="1" i="0" u="sng" strike="noStrike" kern="1200" cap="none" spc="0" normalizeH="0" baseline="0" noProof="0" dirty="0">
                <a:ln>
                  <a:noFill/>
                </a:ln>
                <a:solidFill>
                  <a:schemeClr val="accent3"/>
                </a:solidFill>
                <a:effectLst/>
                <a:uLnTx/>
                <a:uFillTx/>
                <a:ea typeface="+mn-ea"/>
                <a:cs typeface="+mn-cs"/>
              </a:rPr>
              <a:t>lower</a:t>
            </a:r>
            <a:r>
              <a:rPr kumimoji="0" lang="en-US" sz="1100" b="1" i="0" u="none" strike="noStrike" kern="1200" cap="none" spc="0" normalizeH="0" baseline="0" noProof="0" dirty="0">
                <a:ln>
                  <a:noFill/>
                </a:ln>
                <a:solidFill>
                  <a:schemeClr val="accent3"/>
                </a:solidFill>
                <a:effectLst/>
                <a:uLnTx/>
                <a:uFillTx/>
                <a:ea typeface="+mn-ea"/>
                <a:cs typeface="+mn-cs"/>
              </a:rPr>
              <a:t> discount than Secondary </a:t>
            </a:r>
            <a:r>
              <a:rPr kumimoji="0" lang="en-US" sz="1100" b="0" i="0" u="none" strike="noStrike" kern="1200" cap="none" spc="0" normalizeH="0" baseline="0" noProof="0" dirty="0">
                <a:ln>
                  <a:noFill/>
                </a:ln>
                <a:solidFill>
                  <a:prstClr val="black"/>
                </a:solidFill>
                <a:effectLst/>
                <a:uLnTx/>
                <a:uFillTx/>
                <a:ea typeface="+mn-ea"/>
                <a:cs typeface="+mn-cs"/>
              </a:rPr>
              <a:t>products</a:t>
            </a:r>
            <a:r>
              <a:rPr kumimoji="0" lang="en-US" sz="1100" b="1" i="0" u="none" strike="noStrike" kern="1200" cap="none" spc="0" normalizeH="0" baseline="0" noProof="0" dirty="0">
                <a:ln>
                  <a:noFill/>
                </a:ln>
                <a:solidFill>
                  <a:srgbClr val="62B5E5"/>
                </a:solidFill>
                <a:effectLst/>
                <a:uLnTx/>
                <a:uFillTx/>
                <a:ea typeface="+mn-ea"/>
                <a:cs typeface="+mn-cs"/>
              </a:rPr>
              <a:t> </a:t>
            </a:r>
            <a:r>
              <a:rPr kumimoji="0" lang="en-US" sz="1100" b="0" i="0" u="none" strike="noStrike" kern="1200" cap="none" spc="0" normalizeH="0" baseline="0" noProof="0" dirty="0">
                <a:ln>
                  <a:noFill/>
                </a:ln>
                <a:solidFill>
                  <a:prstClr val="black"/>
                </a:solidFill>
                <a:effectLst/>
                <a:uLnTx/>
                <a:uFillTx/>
                <a:ea typeface="+mn-ea"/>
                <a:cs typeface="+mn-cs"/>
              </a:rPr>
              <a:t>because Primary products are low-risk for the customer</a:t>
            </a:r>
          </a:p>
        </p:txBody>
      </p:sp>
      <p:sp>
        <p:nvSpPr>
          <p:cNvPr id="14" name="Rectangle 13">
            <a:extLst>
              <a:ext uri="{FF2B5EF4-FFF2-40B4-BE49-F238E27FC236}">
                <a16:creationId xmlns:a16="http://schemas.microsoft.com/office/drawing/2014/main" id="{38495295-C74D-4015-AA46-4FA4ACAAE9B3}"/>
              </a:ext>
            </a:extLst>
          </p:cNvPr>
          <p:cNvSpPr/>
          <p:nvPr/>
        </p:nvSpPr>
        <p:spPr>
          <a:xfrm>
            <a:off x="7023721" y="1729448"/>
            <a:ext cx="3210790" cy="692497"/>
          </a:xfrm>
          <a:prstGeom prst="rect">
            <a:avLst/>
          </a:prstGeom>
          <a:solidFill>
            <a:schemeClr val="bg1"/>
          </a:solidFill>
          <a:ln w="38100">
            <a:solidFill>
              <a:schemeClr val="bg1">
                <a:lumMod val="75000"/>
              </a:schemeClr>
            </a:solidFill>
          </a:ln>
        </p:spPr>
        <p:txBody>
          <a:bodyPr wrap="square" lIns="91440" tIns="91440" rIns="91440" bIns="9144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100" b="1" i="0" u="none" strike="noStrike" kern="1200" cap="none" spc="0" normalizeH="0" baseline="0" noProof="0" dirty="0">
                <a:ln>
                  <a:noFill/>
                </a:ln>
                <a:solidFill>
                  <a:schemeClr val="accent5"/>
                </a:solidFill>
                <a:effectLst/>
                <a:uLnTx/>
                <a:uFillTx/>
                <a:ea typeface="+mn-ea"/>
                <a:cs typeface="+mn-cs"/>
              </a:rPr>
              <a:t>Segment A receive a lower standard discount</a:t>
            </a:r>
            <a:r>
              <a:rPr kumimoji="0" lang="en-US" sz="1100" b="1" i="0" u="none" strike="noStrike" kern="1200" cap="none" spc="0" normalizeH="0" baseline="0" noProof="0" dirty="0">
                <a:ln>
                  <a:noFill/>
                </a:ln>
                <a:solidFill>
                  <a:schemeClr val="accent1"/>
                </a:solidFill>
                <a:effectLst/>
                <a:uLnTx/>
                <a:uFillTx/>
                <a:ea typeface="+mn-ea"/>
                <a:cs typeface="+mn-cs"/>
              </a:rPr>
              <a:t> </a:t>
            </a:r>
            <a:r>
              <a:rPr kumimoji="0" lang="en-US" sz="1100" b="0" i="0" u="none" strike="noStrike" kern="1200" cap="none" spc="0" normalizeH="0" baseline="0" noProof="0" dirty="0">
                <a:ln>
                  <a:noFill/>
                </a:ln>
                <a:solidFill>
                  <a:prstClr val="black"/>
                </a:solidFill>
                <a:effectLst/>
                <a:uLnTx/>
                <a:uFillTx/>
                <a:ea typeface="+mn-ea"/>
                <a:cs typeface="+mn-cs"/>
              </a:rPr>
              <a:t>to provide more flexibility within performance-based investment</a:t>
            </a:r>
          </a:p>
        </p:txBody>
      </p:sp>
      <p:cxnSp>
        <p:nvCxnSpPr>
          <p:cNvPr id="15" name="Straight Connector 14">
            <a:extLst>
              <a:ext uri="{FF2B5EF4-FFF2-40B4-BE49-F238E27FC236}">
                <a16:creationId xmlns:a16="http://schemas.microsoft.com/office/drawing/2014/main" id="{2C0EA8B4-0D03-4802-BD31-EF0561F955B7}"/>
              </a:ext>
            </a:extLst>
          </p:cNvPr>
          <p:cNvCxnSpPr/>
          <p:nvPr/>
        </p:nvCxnSpPr>
        <p:spPr>
          <a:xfrm flipV="1">
            <a:off x="7368700" y="2415791"/>
            <a:ext cx="3115" cy="222815"/>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0151966"/>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CDF9E9-73C4-438D-91AB-CF28B9E9C33E}"/>
              </a:ext>
            </a:extLst>
          </p:cNvPr>
          <p:cNvSpPr>
            <a:spLocks noGrp="1"/>
          </p:cNvSpPr>
          <p:nvPr>
            <p:ph type="title"/>
          </p:nvPr>
        </p:nvSpPr>
        <p:spPr/>
        <p:txBody>
          <a:bodyPr/>
          <a:lstStyle/>
          <a:p>
            <a:r>
              <a:rPr lang="en-US" dirty="0"/>
              <a:t>Moving Forward</a:t>
            </a:r>
          </a:p>
        </p:txBody>
      </p:sp>
      <p:sp>
        <p:nvSpPr>
          <p:cNvPr id="3" name="Text Placeholder 2">
            <a:extLst>
              <a:ext uri="{FF2B5EF4-FFF2-40B4-BE49-F238E27FC236}">
                <a16:creationId xmlns:a16="http://schemas.microsoft.com/office/drawing/2014/main" id="{C1334A83-E2EA-4A61-B84C-57949C190974}"/>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D76DACC6-82DB-4EF9-877B-35CCB7BEE04F}"/>
              </a:ext>
            </a:extLst>
          </p:cNvPr>
          <p:cNvSpPr>
            <a:spLocks noGrp="1"/>
          </p:cNvSpPr>
          <p:nvPr>
            <p:ph type="body" sz="quarter" idx="15"/>
          </p:nvPr>
        </p:nvSpPr>
        <p:spPr/>
        <p:txBody>
          <a:bodyPr/>
          <a:lstStyle/>
          <a:p>
            <a:r>
              <a:rPr lang="en-US" dirty="0"/>
              <a:t>TABLE</a:t>
            </a:r>
          </a:p>
        </p:txBody>
      </p:sp>
      <p:sp>
        <p:nvSpPr>
          <p:cNvPr id="5" name="Rectangle 4">
            <a:extLst>
              <a:ext uri="{FF2B5EF4-FFF2-40B4-BE49-F238E27FC236}">
                <a16:creationId xmlns:a16="http://schemas.microsoft.com/office/drawing/2014/main" id="{F5A0D851-5E23-4538-BA40-FFBADBB6C891}"/>
              </a:ext>
            </a:extLst>
          </p:cNvPr>
          <p:cNvSpPr/>
          <p:nvPr/>
        </p:nvSpPr>
        <p:spPr>
          <a:xfrm>
            <a:off x="6470210" y="3019862"/>
            <a:ext cx="1496109" cy="9144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b"/>
          <a:lstStyle/>
          <a:p>
            <a:pPr marL="0" marR="0" lvl="0" indent="-368300" algn="l" defTabSz="684213" rtl="0" eaLnBrk="1" fontAlgn="base" latinLnBrk="0" hangingPunct="1">
              <a:lnSpc>
                <a:spcPct val="100000"/>
              </a:lnSpc>
              <a:spcBef>
                <a:spcPct val="20000"/>
              </a:spcBef>
              <a:spcAft>
                <a:spcPct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Open Sans"/>
                <a:ea typeface="+mn-ea"/>
                <a:cs typeface="Arial" pitchFamily="34" charset="0"/>
              </a:rPr>
              <a:t>Data </a:t>
            </a:r>
            <a:br>
              <a:rPr kumimoji="0" lang="en-US" sz="1200" b="1" i="0" u="none" strike="noStrike" kern="0" cap="none" spc="0" normalizeH="0" baseline="0" noProof="0" dirty="0">
                <a:ln>
                  <a:noFill/>
                </a:ln>
                <a:solidFill>
                  <a:prstClr val="black"/>
                </a:solidFill>
                <a:effectLst/>
                <a:uLnTx/>
                <a:uFillTx/>
                <a:latin typeface="Open Sans"/>
                <a:ea typeface="+mn-ea"/>
                <a:cs typeface="Arial" pitchFamily="34" charset="0"/>
              </a:rPr>
            </a:br>
            <a:r>
              <a:rPr kumimoji="0" lang="en-US" sz="1200" b="1" i="0" u="none" strike="noStrike" kern="0" cap="none" spc="0" normalizeH="0" baseline="0" noProof="0" dirty="0">
                <a:ln>
                  <a:noFill/>
                </a:ln>
                <a:solidFill>
                  <a:prstClr val="black"/>
                </a:solidFill>
                <a:effectLst/>
                <a:uLnTx/>
                <a:uFillTx/>
                <a:latin typeface="Open Sans"/>
                <a:ea typeface="+mn-ea"/>
                <a:cs typeface="Arial" pitchFamily="34" charset="0"/>
              </a:rPr>
              <a:t>Analysis</a:t>
            </a:r>
            <a:endParaRPr kumimoji="0" lang="en-US" sz="1200" b="1" i="0" u="none" strike="noStrike" kern="1200" cap="none" spc="0" normalizeH="0" baseline="0" noProof="0" dirty="0">
              <a:ln>
                <a:noFill/>
              </a:ln>
              <a:solidFill>
                <a:prstClr val="black"/>
              </a:solidFill>
              <a:effectLst/>
              <a:uLnTx/>
              <a:uFillTx/>
              <a:latin typeface="Open Sans"/>
              <a:ea typeface="+mn-ea"/>
              <a:cs typeface="+mn-cs"/>
            </a:endParaRPr>
          </a:p>
        </p:txBody>
      </p:sp>
      <p:sp>
        <p:nvSpPr>
          <p:cNvPr id="6" name="Title 2">
            <a:extLst>
              <a:ext uri="{FF2B5EF4-FFF2-40B4-BE49-F238E27FC236}">
                <a16:creationId xmlns:a16="http://schemas.microsoft.com/office/drawing/2014/main" id="{51E0E2A0-88CB-49EC-95E5-F6D4072590C0}"/>
              </a:ext>
            </a:extLst>
          </p:cNvPr>
          <p:cNvSpPr txBox="1">
            <a:spLocks/>
          </p:cNvSpPr>
          <p:nvPr/>
        </p:nvSpPr>
        <p:spPr>
          <a:xfrm>
            <a:off x="914399" y="758959"/>
            <a:ext cx="11252200"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sp>
        <p:nvSpPr>
          <p:cNvPr id="7" name="Rectangle 6">
            <a:extLst>
              <a:ext uri="{FF2B5EF4-FFF2-40B4-BE49-F238E27FC236}">
                <a16:creationId xmlns:a16="http://schemas.microsoft.com/office/drawing/2014/main" id="{3A8F05C9-E7A2-443B-8F34-C9F94212D045}"/>
              </a:ext>
            </a:extLst>
          </p:cNvPr>
          <p:cNvSpPr/>
          <p:nvPr/>
        </p:nvSpPr>
        <p:spPr>
          <a:xfrm>
            <a:off x="914399" y="1793967"/>
            <a:ext cx="5046998" cy="4333998"/>
          </a:xfrm>
          <a:prstGeom prst="rect">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 name="TextBox 7">
            <a:extLst>
              <a:ext uri="{FF2B5EF4-FFF2-40B4-BE49-F238E27FC236}">
                <a16:creationId xmlns:a16="http://schemas.microsoft.com/office/drawing/2014/main" id="{4BD83525-F104-492A-B6FD-B4150C41EACA}"/>
              </a:ext>
            </a:extLst>
          </p:cNvPr>
          <p:cNvSpPr txBox="1"/>
          <p:nvPr/>
        </p:nvSpPr>
        <p:spPr>
          <a:xfrm>
            <a:off x="2468723" y="1655714"/>
            <a:ext cx="2103120" cy="307777"/>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dirty="0">
                <a:ln>
                  <a:noFill/>
                </a:ln>
                <a:solidFill>
                  <a:prstClr val="black"/>
                </a:solidFill>
                <a:effectLst/>
                <a:uLnTx/>
                <a:uFillTx/>
                <a:latin typeface="Open Sans"/>
                <a:ea typeface="+mn-ea"/>
                <a:cs typeface="+mn-cs"/>
              </a:rPr>
              <a:t>Pre-Thanksgiving</a:t>
            </a:r>
          </a:p>
        </p:txBody>
      </p:sp>
      <p:sp>
        <p:nvSpPr>
          <p:cNvPr id="9" name="Rectangle 8">
            <a:extLst>
              <a:ext uri="{FF2B5EF4-FFF2-40B4-BE49-F238E27FC236}">
                <a16:creationId xmlns:a16="http://schemas.microsoft.com/office/drawing/2014/main" id="{B5C2EACA-072B-4D3F-8F6C-6D0D7F46B0FE}"/>
              </a:ext>
            </a:extLst>
          </p:cNvPr>
          <p:cNvSpPr/>
          <p:nvPr/>
        </p:nvSpPr>
        <p:spPr>
          <a:xfrm>
            <a:off x="1016148" y="1997097"/>
            <a:ext cx="1496109" cy="9144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b"/>
          <a:lstStyle/>
          <a:p>
            <a:pPr marL="0" marR="0" lvl="0" indent="-368300" algn="l" defTabSz="684213" rtl="0" eaLnBrk="1" fontAlgn="base" latinLnBrk="0" hangingPunct="1">
              <a:lnSpc>
                <a:spcPct val="100000"/>
              </a:lnSpc>
              <a:spcBef>
                <a:spcPct val="20000"/>
              </a:spcBef>
              <a:spcAft>
                <a:spcPct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Open Sans"/>
                <a:ea typeface="+mn-ea"/>
                <a:cs typeface="Arial" pitchFamily="34" charset="0"/>
              </a:rPr>
              <a:t>Customer</a:t>
            </a:r>
          </a:p>
          <a:p>
            <a:pPr marL="0" marR="0" lvl="0" indent="-368300" algn="l" defTabSz="684213" rtl="0" eaLnBrk="1" fontAlgn="base" latinLnBrk="0" hangingPunct="1">
              <a:lnSpc>
                <a:spcPct val="100000"/>
              </a:lnSpc>
              <a:spcBef>
                <a:spcPct val="20000"/>
              </a:spcBef>
              <a:spcAft>
                <a:spcPct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Open Sans"/>
                <a:ea typeface="+mn-ea"/>
                <a:cs typeface="Arial" pitchFamily="34" charset="0"/>
              </a:rPr>
              <a:t>Interviews</a:t>
            </a:r>
          </a:p>
        </p:txBody>
      </p:sp>
      <p:sp>
        <p:nvSpPr>
          <p:cNvPr id="10" name="Rectangle 9">
            <a:extLst>
              <a:ext uri="{FF2B5EF4-FFF2-40B4-BE49-F238E27FC236}">
                <a16:creationId xmlns:a16="http://schemas.microsoft.com/office/drawing/2014/main" id="{3F3A58FB-FFA6-47E4-A9C5-DFA0FA3A022C}"/>
              </a:ext>
            </a:extLst>
          </p:cNvPr>
          <p:cNvSpPr/>
          <p:nvPr/>
        </p:nvSpPr>
        <p:spPr>
          <a:xfrm>
            <a:off x="2614006" y="1997097"/>
            <a:ext cx="3211493" cy="914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171450" marR="0" lvl="0" indent="-171450" algn="l" defTabSz="684213"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prstClr val="black"/>
                </a:solidFill>
                <a:effectLst/>
                <a:uLnTx/>
                <a:uFillTx/>
                <a:latin typeface="Open Sans"/>
                <a:ea typeface="+mn-ea"/>
                <a:cs typeface="+mn-cs"/>
              </a:rPr>
              <a:t>Conduct a few additional in-person interviews – supplement with phone calls as needed </a:t>
            </a:r>
          </a:p>
          <a:p>
            <a:pPr marL="171450" marR="0" lvl="0" indent="-171450" algn="l" defTabSz="684213"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prstClr val="black"/>
                </a:solidFill>
                <a:effectLst/>
                <a:uLnTx/>
                <a:uFillTx/>
                <a:latin typeface="Open Sans"/>
                <a:ea typeface="+mn-ea"/>
                <a:cs typeface="+mn-cs"/>
              </a:rPr>
              <a:t>Continue mystery shopping at Client dealerships as well as other competitors </a:t>
            </a:r>
          </a:p>
        </p:txBody>
      </p:sp>
      <p:sp>
        <p:nvSpPr>
          <p:cNvPr id="11" name="TextBox 10">
            <a:extLst>
              <a:ext uri="{FF2B5EF4-FFF2-40B4-BE49-F238E27FC236}">
                <a16:creationId xmlns:a16="http://schemas.microsoft.com/office/drawing/2014/main" id="{8FA178A2-AC54-45AC-B9EA-957BAFA5CF5B}"/>
              </a:ext>
            </a:extLst>
          </p:cNvPr>
          <p:cNvSpPr txBox="1"/>
          <p:nvPr/>
        </p:nvSpPr>
        <p:spPr>
          <a:xfrm>
            <a:off x="1039717" y="1997097"/>
            <a:ext cx="49740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Open Sans"/>
                <a:ea typeface="+mn-ea"/>
                <a:cs typeface="+mn-cs"/>
              </a:rPr>
              <a:t>01</a:t>
            </a: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17F91D1-427E-464F-9200-A7C4EFD89152}"/>
              </a:ext>
            </a:extLst>
          </p:cNvPr>
          <p:cNvSpPr/>
          <p:nvPr/>
        </p:nvSpPr>
        <p:spPr>
          <a:xfrm>
            <a:off x="1016148" y="3019862"/>
            <a:ext cx="1496109" cy="9144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b"/>
          <a:lstStyle/>
          <a:p>
            <a:pPr marL="0" marR="0" lvl="0" indent="-368300" algn="l" defTabSz="684213" rtl="0" eaLnBrk="1" fontAlgn="base" latinLnBrk="0" hangingPunct="1">
              <a:lnSpc>
                <a:spcPct val="100000"/>
              </a:lnSpc>
              <a:spcBef>
                <a:spcPct val="20000"/>
              </a:spcBef>
              <a:spcAft>
                <a:spcPct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Open Sans"/>
                <a:ea typeface="+mn-ea"/>
                <a:cs typeface="Arial" pitchFamily="34" charset="0"/>
              </a:rPr>
              <a:t>Interviews</a:t>
            </a:r>
            <a:endParaRPr kumimoji="0" lang="en-US" sz="1200" b="1" i="0" u="none" strike="noStrike" kern="1200" cap="none" spc="0" normalizeH="0" baseline="0" noProof="0" dirty="0">
              <a:ln>
                <a:noFill/>
              </a:ln>
              <a:solidFill>
                <a:prstClr val="black"/>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A5B800A5-B421-44A6-9FAB-06D5671DEBCC}"/>
              </a:ext>
            </a:extLst>
          </p:cNvPr>
          <p:cNvSpPr/>
          <p:nvPr/>
        </p:nvSpPr>
        <p:spPr>
          <a:xfrm>
            <a:off x="2614006" y="3019862"/>
            <a:ext cx="3211493" cy="914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171450" marR="0" lvl="0" indent="-171450" algn="l" defTabSz="684213"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prstClr val="black"/>
                </a:solidFill>
                <a:effectLst/>
                <a:uLnTx/>
                <a:uFillTx/>
                <a:latin typeface="Open Sans"/>
                <a:ea typeface="+mn-ea"/>
                <a:cs typeface="+mn-cs"/>
              </a:rPr>
              <a:t>Conduct internal interviews week of 11/12 and 11/19</a:t>
            </a:r>
          </a:p>
          <a:p>
            <a:pPr marL="171450" marR="0" lvl="0" indent="-171450" algn="l" defTabSz="684213"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prstClr val="black"/>
                </a:solidFill>
                <a:effectLst/>
                <a:uLnTx/>
                <a:uFillTx/>
                <a:latin typeface="Open Sans"/>
                <a:ea typeface="+mn-ea"/>
                <a:cs typeface="+mn-cs"/>
              </a:rPr>
              <a:t>Interview select field staff (regional)</a:t>
            </a:r>
          </a:p>
        </p:txBody>
      </p:sp>
      <p:sp>
        <p:nvSpPr>
          <p:cNvPr id="14" name="TextBox 13">
            <a:extLst>
              <a:ext uri="{FF2B5EF4-FFF2-40B4-BE49-F238E27FC236}">
                <a16:creationId xmlns:a16="http://schemas.microsoft.com/office/drawing/2014/main" id="{C6F56C50-84B1-4D7F-8978-899DC65B72F5}"/>
              </a:ext>
            </a:extLst>
          </p:cNvPr>
          <p:cNvSpPr txBox="1"/>
          <p:nvPr/>
        </p:nvSpPr>
        <p:spPr>
          <a:xfrm>
            <a:off x="1039717" y="3019862"/>
            <a:ext cx="49740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Open Sans"/>
                <a:ea typeface="+mn-ea"/>
                <a:cs typeface="+mn-cs"/>
              </a:rPr>
              <a:t>02</a:t>
            </a: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F99912D-5C93-41D5-B879-64FCD47F2C1A}"/>
              </a:ext>
            </a:extLst>
          </p:cNvPr>
          <p:cNvSpPr/>
          <p:nvPr/>
        </p:nvSpPr>
        <p:spPr>
          <a:xfrm>
            <a:off x="1016148" y="4042627"/>
            <a:ext cx="1496109" cy="9144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b"/>
          <a:lstStyle/>
          <a:p>
            <a:pPr marL="0" marR="0" lvl="0" indent="-368300" algn="l" defTabSz="684213" rtl="0" eaLnBrk="1" fontAlgn="base" latinLnBrk="0" hangingPunct="1">
              <a:lnSpc>
                <a:spcPct val="100000"/>
              </a:lnSpc>
              <a:spcBef>
                <a:spcPct val="20000"/>
              </a:spcBef>
              <a:spcAft>
                <a:spcPct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Open Sans"/>
                <a:ea typeface="+mn-ea"/>
                <a:cs typeface="Arial" pitchFamily="34" charset="0"/>
              </a:rPr>
              <a:t>Preliminary Opportunities</a:t>
            </a:r>
          </a:p>
        </p:txBody>
      </p:sp>
      <p:sp>
        <p:nvSpPr>
          <p:cNvPr id="16" name="Rectangle 15">
            <a:extLst>
              <a:ext uri="{FF2B5EF4-FFF2-40B4-BE49-F238E27FC236}">
                <a16:creationId xmlns:a16="http://schemas.microsoft.com/office/drawing/2014/main" id="{F6514BE2-F024-40AE-9617-9B1E130BE976}"/>
              </a:ext>
            </a:extLst>
          </p:cNvPr>
          <p:cNvSpPr/>
          <p:nvPr/>
        </p:nvSpPr>
        <p:spPr>
          <a:xfrm>
            <a:off x="2614006" y="4042627"/>
            <a:ext cx="3211493" cy="914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171450" marR="0" lvl="0" indent="-171450" algn="l" defTabSz="684213"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prstClr val="black"/>
                </a:solidFill>
                <a:effectLst/>
                <a:uLnTx/>
                <a:uFillTx/>
                <a:latin typeface="Open Sans"/>
                <a:ea typeface="+mn-ea"/>
                <a:cs typeface="+mn-cs"/>
              </a:rPr>
              <a:t>Utilize dealer and insights to develop a preliminary list of future opportunities</a:t>
            </a:r>
          </a:p>
          <a:p>
            <a:pPr marL="171450" marR="0" lvl="0" indent="-171450" algn="l" defTabSz="684213"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prstClr val="black"/>
                </a:solidFill>
                <a:effectLst/>
                <a:uLnTx/>
                <a:uFillTx/>
                <a:latin typeface="Open Sans"/>
                <a:ea typeface="+mn-ea"/>
                <a:cs typeface="+mn-cs"/>
              </a:rPr>
              <a:t>Prepare for discussion during 11/15 update meeting</a:t>
            </a:r>
          </a:p>
        </p:txBody>
      </p:sp>
      <p:sp>
        <p:nvSpPr>
          <p:cNvPr id="17" name="TextBox 16">
            <a:extLst>
              <a:ext uri="{FF2B5EF4-FFF2-40B4-BE49-F238E27FC236}">
                <a16:creationId xmlns:a16="http://schemas.microsoft.com/office/drawing/2014/main" id="{9F962668-CBF8-49EB-9D56-7925A1F2272C}"/>
              </a:ext>
            </a:extLst>
          </p:cNvPr>
          <p:cNvSpPr txBox="1"/>
          <p:nvPr/>
        </p:nvSpPr>
        <p:spPr>
          <a:xfrm>
            <a:off x="1039717" y="4042627"/>
            <a:ext cx="49740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Open Sans"/>
                <a:ea typeface="+mn-ea"/>
                <a:cs typeface="+mn-cs"/>
              </a:rPr>
              <a:t>03</a:t>
            </a: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8" name="Rectangle 17">
            <a:extLst>
              <a:ext uri="{FF2B5EF4-FFF2-40B4-BE49-F238E27FC236}">
                <a16:creationId xmlns:a16="http://schemas.microsoft.com/office/drawing/2014/main" id="{D698AAC5-05F3-447E-84B2-DF5D4C183290}"/>
              </a:ext>
            </a:extLst>
          </p:cNvPr>
          <p:cNvSpPr/>
          <p:nvPr/>
        </p:nvSpPr>
        <p:spPr>
          <a:xfrm>
            <a:off x="6369268" y="1795121"/>
            <a:ext cx="5046998" cy="4332844"/>
          </a:xfrm>
          <a:prstGeom prst="rect">
            <a:avLst/>
          </a:prstGeom>
          <a:ln>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9" name="TextBox 18">
            <a:extLst>
              <a:ext uri="{FF2B5EF4-FFF2-40B4-BE49-F238E27FC236}">
                <a16:creationId xmlns:a16="http://schemas.microsoft.com/office/drawing/2014/main" id="{602431DC-4585-4B3D-BCD7-D847099DB727}"/>
              </a:ext>
            </a:extLst>
          </p:cNvPr>
          <p:cNvSpPr txBox="1"/>
          <p:nvPr/>
        </p:nvSpPr>
        <p:spPr>
          <a:xfrm>
            <a:off x="7923592" y="1655714"/>
            <a:ext cx="2103120" cy="307777"/>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dirty="0">
                <a:ln>
                  <a:noFill/>
                </a:ln>
                <a:solidFill>
                  <a:prstClr val="black"/>
                </a:solidFill>
                <a:effectLst/>
                <a:uLnTx/>
                <a:uFillTx/>
                <a:latin typeface="Open Sans"/>
                <a:ea typeface="+mn-ea"/>
                <a:cs typeface="+mn-cs"/>
              </a:rPr>
              <a:t>Post-Thanksgiving</a:t>
            </a:r>
          </a:p>
        </p:txBody>
      </p:sp>
      <p:sp>
        <p:nvSpPr>
          <p:cNvPr id="20" name="Rectangle 19">
            <a:extLst>
              <a:ext uri="{FF2B5EF4-FFF2-40B4-BE49-F238E27FC236}">
                <a16:creationId xmlns:a16="http://schemas.microsoft.com/office/drawing/2014/main" id="{0196DBD4-A89B-46D4-A840-B94B54F5F934}"/>
              </a:ext>
            </a:extLst>
          </p:cNvPr>
          <p:cNvSpPr/>
          <p:nvPr/>
        </p:nvSpPr>
        <p:spPr>
          <a:xfrm>
            <a:off x="6471017" y="4077786"/>
            <a:ext cx="1496109" cy="9144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b"/>
          <a:lstStyle/>
          <a:p>
            <a:pPr marL="0" marR="0" lvl="0" indent="-368300" algn="l" defTabSz="684213" rtl="0" eaLnBrk="1" fontAlgn="base" latinLnBrk="0" hangingPunct="1">
              <a:lnSpc>
                <a:spcPct val="100000"/>
              </a:lnSpc>
              <a:spcBef>
                <a:spcPct val="20000"/>
              </a:spcBef>
              <a:spcAft>
                <a:spcPct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Open Sans"/>
                <a:ea typeface="+mn-ea"/>
                <a:cs typeface="Arial" pitchFamily="34" charset="0"/>
              </a:rPr>
              <a:t>Team Working Session #1</a:t>
            </a:r>
          </a:p>
        </p:txBody>
      </p:sp>
      <p:sp>
        <p:nvSpPr>
          <p:cNvPr id="21" name="Rectangle 20">
            <a:extLst>
              <a:ext uri="{FF2B5EF4-FFF2-40B4-BE49-F238E27FC236}">
                <a16:creationId xmlns:a16="http://schemas.microsoft.com/office/drawing/2014/main" id="{424D38C8-1BE5-4978-8481-D894B6A770D7}"/>
              </a:ext>
            </a:extLst>
          </p:cNvPr>
          <p:cNvSpPr/>
          <p:nvPr/>
        </p:nvSpPr>
        <p:spPr>
          <a:xfrm>
            <a:off x="8068875" y="4077786"/>
            <a:ext cx="3211493" cy="914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171450" marR="0" lvl="0" indent="-171450" algn="l" defTabSz="684213"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prstClr val="black"/>
                </a:solidFill>
                <a:effectLst/>
                <a:uLnTx/>
                <a:uFillTx/>
                <a:latin typeface="Open Sans"/>
                <a:ea typeface="+mn-ea"/>
                <a:cs typeface="+mn-cs"/>
              </a:rPr>
              <a:t>Prepare for first working session with aim of sharing internal and external analysis as well as preliminary opportunity space</a:t>
            </a:r>
          </a:p>
          <a:p>
            <a:pPr marL="171450" marR="0" lvl="0" indent="-171450" algn="l" defTabSz="684213"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prstClr val="black"/>
                </a:solidFill>
                <a:effectLst/>
                <a:uLnTx/>
                <a:uFillTx/>
                <a:latin typeface="Open Sans"/>
                <a:ea typeface="+mn-ea"/>
                <a:cs typeface="+mn-cs"/>
              </a:rPr>
              <a:t>Scheduled for </a:t>
            </a:r>
            <a:r>
              <a:rPr kumimoji="0" lang="en-US" sz="1100" b="1" i="1" u="none" strike="noStrike" kern="1200" cap="none" spc="0" normalizeH="0" baseline="0" noProof="0" dirty="0">
                <a:ln>
                  <a:noFill/>
                </a:ln>
                <a:solidFill>
                  <a:prstClr val="black"/>
                </a:solidFill>
                <a:effectLst/>
                <a:uLnTx/>
                <a:uFillTx/>
                <a:latin typeface="Open Sans"/>
                <a:ea typeface="+mn-ea"/>
                <a:cs typeface="+mn-cs"/>
              </a:rPr>
              <a:t>Wednesday, December 5</a:t>
            </a:r>
            <a:r>
              <a:rPr kumimoji="0" lang="en-US" sz="1100" b="1" i="1" u="none" strike="noStrike" kern="1200" cap="none" spc="0" normalizeH="0" baseline="30000" noProof="0" dirty="0">
                <a:ln>
                  <a:noFill/>
                </a:ln>
                <a:solidFill>
                  <a:prstClr val="black"/>
                </a:solidFill>
                <a:effectLst/>
                <a:uLnTx/>
                <a:uFillTx/>
                <a:latin typeface="Open Sans"/>
                <a:ea typeface="+mn-ea"/>
                <a:cs typeface="+mn-cs"/>
              </a:rPr>
              <a:t>th</a:t>
            </a:r>
            <a:endParaRPr kumimoji="0" lang="en-US" sz="1100" b="1" i="1" u="none" strike="noStrike" kern="1200" cap="none" spc="0" normalizeH="0" baseline="0" noProof="0" dirty="0">
              <a:ln>
                <a:noFill/>
              </a:ln>
              <a:solidFill>
                <a:prstClr val="black"/>
              </a:solidFill>
              <a:effectLst/>
              <a:uLnTx/>
              <a:uFillTx/>
              <a:latin typeface="Open Sans"/>
              <a:ea typeface="+mn-ea"/>
              <a:cs typeface="+mn-cs"/>
            </a:endParaRPr>
          </a:p>
          <a:p>
            <a:pPr marL="171450" marR="0" lvl="0" indent="-171450" algn="l" defTabSz="684213" rtl="0" eaLnBrk="1" fontAlgn="base" latinLnBrk="0" hangingPunct="1">
              <a:lnSpc>
                <a:spcPct val="100000"/>
              </a:lnSpc>
              <a:spcBef>
                <a:spcPct val="20000"/>
              </a:spcBef>
              <a:spcAft>
                <a:spcPct val="0"/>
              </a:spcAft>
              <a:buClrTx/>
              <a:buSzTx/>
              <a:buFont typeface="Arial" panose="020B0604020202020204" pitchFamily="34" charset="0"/>
              <a:buChar char="•"/>
              <a:tabLst/>
              <a:defRPr/>
            </a:pPr>
            <a:endParaRPr kumimoji="0" lang="en-US" sz="1100" b="0" i="1" u="none" strike="noStrike" kern="1200" cap="none" spc="0" normalizeH="0" baseline="0" noProof="0" dirty="0">
              <a:ln>
                <a:noFill/>
              </a:ln>
              <a:solidFill>
                <a:prstClr val="black"/>
              </a:solidFill>
              <a:effectLst/>
              <a:uLnTx/>
              <a:uFillTx/>
              <a:latin typeface="Open Sans"/>
              <a:ea typeface="+mn-ea"/>
              <a:cs typeface="+mn-cs"/>
            </a:endParaRPr>
          </a:p>
        </p:txBody>
      </p:sp>
      <p:sp>
        <p:nvSpPr>
          <p:cNvPr id="22" name="TextBox 21">
            <a:extLst>
              <a:ext uri="{FF2B5EF4-FFF2-40B4-BE49-F238E27FC236}">
                <a16:creationId xmlns:a16="http://schemas.microsoft.com/office/drawing/2014/main" id="{298BBDE8-A442-44C5-ACE7-C072C5FE18FA}"/>
              </a:ext>
            </a:extLst>
          </p:cNvPr>
          <p:cNvSpPr txBox="1"/>
          <p:nvPr/>
        </p:nvSpPr>
        <p:spPr>
          <a:xfrm>
            <a:off x="6494586" y="3019862"/>
            <a:ext cx="49740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Open Sans"/>
                <a:ea typeface="+mn-ea"/>
                <a:cs typeface="+mn-cs"/>
              </a:rPr>
              <a:t>02</a:t>
            </a: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6606BEE5-5C9A-469D-86B5-3E8350E671A6}"/>
              </a:ext>
            </a:extLst>
          </p:cNvPr>
          <p:cNvSpPr/>
          <p:nvPr/>
        </p:nvSpPr>
        <p:spPr>
          <a:xfrm>
            <a:off x="6471017" y="5100551"/>
            <a:ext cx="1496109" cy="9144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b"/>
          <a:lstStyle/>
          <a:p>
            <a:pPr marL="0" marR="0" lvl="0" indent="-368300" algn="l" defTabSz="684213" rtl="0" eaLnBrk="1" fontAlgn="base" latinLnBrk="0" hangingPunct="1">
              <a:lnSpc>
                <a:spcPct val="100000"/>
              </a:lnSpc>
              <a:spcBef>
                <a:spcPct val="20000"/>
              </a:spcBef>
              <a:spcAft>
                <a:spcPct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Open Sans"/>
                <a:ea typeface="+mn-ea"/>
                <a:cs typeface="Arial" pitchFamily="34" charset="0"/>
              </a:rPr>
              <a:t>Opportunity Refinement</a:t>
            </a:r>
          </a:p>
        </p:txBody>
      </p:sp>
      <p:sp>
        <p:nvSpPr>
          <p:cNvPr id="24" name="Rectangle 23">
            <a:extLst>
              <a:ext uri="{FF2B5EF4-FFF2-40B4-BE49-F238E27FC236}">
                <a16:creationId xmlns:a16="http://schemas.microsoft.com/office/drawing/2014/main" id="{16E70A8D-C03C-495B-BD98-9DB4BEF900FA}"/>
              </a:ext>
            </a:extLst>
          </p:cNvPr>
          <p:cNvSpPr/>
          <p:nvPr/>
        </p:nvSpPr>
        <p:spPr>
          <a:xfrm>
            <a:off x="8068875" y="5100551"/>
            <a:ext cx="3211493" cy="914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171450" marR="0" lvl="0" indent="-171450" algn="l" defTabSz="684213"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prstClr val="black"/>
                </a:solidFill>
                <a:effectLst/>
                <a:uLnTx/>
                <a:uFillTx/>
                <a:latin typeface="Open Sans"/>
                <a:ea typeface="+mn-ea"/>
                <a:cs typeface="+mn-cs"/>
              </a:rPr>
              <a:t>Revise opportunity space based on workshop feedback; including prioritization, addition &amp; subtraction</a:t>
            </a:r>
          </a:p>
        </p:txBody>
      </p:sp>
      <p:sp>
        <p:nvSpPr>
          <p:cNvPr id="25" name="TextBox 24">
            <a:extLst>
              <a:ext uri="{FF2B5EF4-FFF2-40B4-BE49-F238E27FC236}">
                <a16:creationId xmlns:a16="http://schemas.microsoft.com/office/drawing/2014/main" id="{21837999-6265-43E4-8B62-40268D504F26}"/>
              </a:ext>
            </a:extLst>
          </p:cNvPr>
          <p:cNvSpPr txBox="1"/>
          <p:nvPr/>
        </p:nvSpPr>
        <p:spPr>
          <a:xfrm>
            <a:off x="6494586" y="4042627"/>
            <a:ext cx="49740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Open Sans"/>
                <a:ea typeface="+mn-ea"/>
                <a:cs typeface="+mn-cs"/>
              </a:rPr>
              <a:t>03</a:t>
            </a: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6" name="Rectangle 25">
            <a:extLst>
              <a:ext uri="{FF2B5EF4-FFF2-40B4-BE49-F238E27FC236}">
                <a16:creationId xmlns:a16="http://schemas.microsoft.com/office/drawing/2014/main" id="{1192F13F-E411-41C4-BA7E-5E8FD865EAA1}"/>
              </a:ext>
            </a:extLst>
          </p:cNvPr>
          <p:cNvSpPr/>
          <p:nvPr/>
        </p:nvSpPr>
        <p:spPr>
          <a:xfrm>
            <a:off x="1016148" y="5098898"/>
            <a:ext cx="1496109" cy="9144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b"/>
          <a:lstStyle/>
          <a:p>
            <a:pPr marL="0" marR="0" lvl="0" indent="-368300" algn="l" defTabSz="684213" rtl="0" eaLnBrk="1" fontAlgn="base" latinLnBrk="0" hangingPunct="1">
              <a:lnSpc>
                <a:spcPct val="100000"/>
              </a:lnSpc>
              <a:spcBef>
                <a:spcPct val="20000"/>
              </a:spcBef>
              <a:spcAft>
                <a:spcPct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Open Sans"/>
                <a:ea typeface="+mn-ea"/>
                <a:cs typeface="Arial" pitchFamily="34" charset="0"/>
              </a:rPr>
              <a:t>Voice of Customer Survey</a:t>
            </a:r>
          </a:p>
        </p:txBody>
      </p:sp>
      <p:sp>
        <p:nvSpPr>
          <p:cNvPr id="27" name="Rectangle 26">
            <a:extLst>
              <a:ext uri="{FF2B5EF4-FFF2-40B4-BE49-F238E27FC236}">
                <a16:creationId xmlns:a16="http://schemas.microsoft.com/office/drawing/2014/main" id="{BB2CAEB1-4B4D-42D0-8456-82FB1EAB3798}"/>
              </a:ext>
            </a:extLst>
          </p:cNvPr>
          <p:cNvSpPr/>
          <p:nvPr/>
        </p:nvSpPr>
        <p:spPr>
          <a:xfrm>
            <a:off x="2614006" y="5098898"/>
            <a:ext cx="3211493" cy="914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171450" marR="0" lvl="0" indent="-171450" algn="l" defTabSz="684213"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prstClr val="black"/>
                </a:solidFill>
                <a:effectLst/>
                <a:uLnTx/>
                <a:uFillTx/>
                <a:latin typeface="Open Sans"/>
                <a:ea typeface="+mn-ea"/>
                <a:cs typeface="+mn-cs"/>
              </a:rPr>
              <a:t>Monitor respondents to ensure balanced survey sample</a:t>
            </a:r>
          </a:p>
          <a:p>
            <a:pPr marL="171450" marR="0" lvl="0" indent="-171450" algn="l" defTabSz="684213"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prstClr val="black"/>
                </a:solidFill>
                <a:effectLst/>
                <a:uLnTx/>
                <a:uFillTx/>
                <a:latin typeface="Open Sans"/>
                <a:ea typeface="+mn-ea"/>
                <a:cs typeface="+mn-cs"/>
              </a:rPr>
              <a:t>Develop analysis plan for survey results</a:t>
            </a:r>
          </a:p>
        </p:txBody>
      </p:sp>
      <p:sp>
        <p:nvSpPr>
          <p:cNvPr id="28" name="TextBox 27">
            <a:extLst>
              <a:ext uri="{FF2B5EF4-FFF2-40B4-BE49-F238E27FC236}">
                <a16:creationId xmlns:a16="http://schemas.microsoft.com/office/drawing/2014/main" id="{0C7ACD72-D433-41F4-890E-43BECA62F5F8}"/>
              </a:ext>
            </a:extLst>
          </p:cNvPr>
          <p:cNvSpPr txBox="1"/>
          <p:nvPr/>
        </p:nvSpPr>
        <p:spPr>
          <a:xfrm>
            <a:off x="1039717" y="5096359"/>
            <a:ext cx="49740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Open Sans"/>
                <a:ea typeface="+mn-ea"/>
                <a:cs typeface="+mn-cs"/>
              </a:rPr>
              <a:t>04</a:t>
            </a: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9" name="TextBox 28">
            <a:extLst>
              <a:ext uri="{FF2B5EF4-FFF2-40B4-BE49-F238E27FC236}">
                <a16:creationId xmlns:a16="http://schemas.microsoft.com/office/drawing/2014/main" id="{68E4EB5E-B0A1-4111-86DB-CDC1E388EE2A}"/>
              </a:ext>
            </a:extLst>
          </p:cNvPr>
          <p:cNvSpPr txBox="1"/>
          <p:nvPr/>
        </p:nvSpPr>
        <p:spPr>
          <a:xfrm>
            <a:off x="7451495" y="6215753"/>
            <a:ext cx="4277710" cy="161583"/>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050" b="0" i="1" u="none" strike="noStrike" kern="1200" cap="none" spc="0" normalizeH="0" baseline="0" noProof="0" dirty="0">
                <a:ln>
                  <a:noFill/>
                </a:ln>
                <a:solidFill>
                  <a:prstClr val="black"/>
                </a:solidFill>
                <a:effectLst/>
                <a:uLnTx/>
                <a:uFillTx/>
                <a:latin typeface="Open Sans"/>
                <a:ea typeface="+mn-ea"/>
                <a:cs typeface="+mn-cs"/>
              </a:rPr>
              <a:t>Next Steps reflect activities within two weeks back from holiday</a:t>
            </a:r>
          </a:p>
        </p:txBody>
      </p:sp>
      <p:sp>
        <p:nvSpPr>
          <p:cNvPr id="30" name="Rectangle 29">
            <a:extLst>
              <a:ext uri="{FF2B5EF4-FFF2-40B4-BE49-F238E27FC236}">
                <a16:creationId xmlns:a16="http://schemas.microsoft.com/office/drawing/2014/main" id="{A93BBA3A-E743-42FF-931B-F99B8C3E59E6}"/>
              </a:ext>
            </a:extLst>
          </p:cNvPr>
          <p:cNvSpPr/>
          <p:nvPr/>
        </p:nvSpPr>
        <p:spPr>
          <a:xfrm>
            <a:off x="6471017" y="1997097"/>
            <a:ext cx="1496109" cy="9144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b"/>
          <a:lstStyle/>
          <a:p>
            <a:pPr marL="0" marR="0" lvl="0" indent="-368300" algn="l" defTabSz="684213" rtl="0" eaLnBrk="1" fontAlgn="base" latinLnBrk="0" hangingPunct="1">
              <a:lnSpc>
                <a:spcPct val="100000"/>
              </a:lnSpc>
              <a:spcBef>
                <a:spcPct val="20000"/>
              </a:spcBef>
              <a:spcAft>
                <a:spcPct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Open Sans"/>
                <a:ea typeface="+mn-ea"/>
                <a:cs typeface="Arial" pitchFamily="34" charset="0"/>
              </a:rPr>
              <a:t>VOC Survey Analysis</a:t>
            </a:r>
          </a:p>
        </p:txBody>
      </p:sp>
      <p:sp>
        <p:nvSpPr>
          <p:cNvPr id="31" name="Rectangle 30">
            <a:extLst>
              <a:ext uri="{FF2B5EF4-FFF2-40B4-BE49-F238E27FC236}">
                <a16:creationId xmlns:a16="http://schemas.microsoft.com/office/drawing/2014/main" id="{4C10294E-413B-4DB0-91CF-DE8DC15CB4F7}"/>
              </a:ext>
            </a:extLst>
          </p:cNvPr>
          <p:cNvSpPr/>
          <p:nvPr/>
        </p:nvSpPr>
        <p:spPr>
          <a:xfrm>
            <a:off x="8068875" y="1997097"/>
            <a:ext cx="3211493" cy="914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171450" marR="0" lvl="0" indent="-171450" algn="l" defTabSz="684213"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prstClr val="black"/>
                </a:solidFill>
                <a:effectLst/>
                <a:uLnTx/>
                <a:uFillTx/>
                <a:latin typeface="Open Sans"/>
                <a:ea typeface="+mn-ea"/>
                <a:cs typeface="+mn-cs"/>
              </a:rPr>
              <a:t>Conduct analysis on survey responses, bolstering opportunity space based on customer feedback</a:t>
            </a:r>
            <a:endParaRPr kumimoji="0" lang="en-US" sz="1100" b="1" i="1" u="none" strike="noStrike" kern="1200" cap="none" spc="0" normalizeH="0" baseline="0" noProof="0" dirty="0">
              <a:ln>
                <a:noFill/>
              </a:ln>
              <a:solidFill>
                <a:prstClr val="black"/>
              </a:solidFill>
              <a:effectLst/>
              <a:uLnTx/>
              <a:uFillTx/>
              <a:latin typeface="Open Sans"/>
              <a:ea typeface="+mn-ea"/>
              <a:cs typeface="+mn-cs"/>
            </a:endParaRPr>
          </a:p>
          <a:p>
            <a:pPr marL="171450" marR="0" lvl="0" indent="-171450" algn="l" defTabSz="684213" rtl="0" eaLnBrk="1" fontAlgn="base" latinLnBrk="0" hangingPunct="1">
              <a:lnSpc>
                <a:spcPct val="100000"/>
              </a:lnSpc>
              <a:spcBef>
                <a:spcPct val="20000"/>
              </a:spcBef>
              <a:spcAft>
                <a:spcPct val="0"/>
              </a:spcAft>
              <a:buClrTx/>
              <a:buSzTx/>
              <a:buFont typeface="Arial" panose="020B0604020202020204" pitchFamily="34" charset="0"/>
              <a:buChar char="•"/>
              <a:tabLst/>
              <a:defRPr/>
            </a:pPr>
            <a:endParaRPr kumimoji="0" lang="en-US" sz="1100" b="0" i="1" u="none" strike="noStrike" kern="1200" cap="none" spc="0" normalizeH="0" baseline="0" noProof="0" dirty="0">
              <a:ln>
                <a:noFill/>
              </a:ln>
              <a:solidFill>
                <a:prstClr val="black"/>
              </a:solidFill>
              <a:effectLst/>
              <a:uLnTx/>
              <a:uFillTx/>
              <a:latin typeface="Open Sans"/>
              <a:ea typeface="+mn-ea"/>
              <a:cs typeface="+mn-cs"/>
            </a:endParaRPr>
          </a:p>
        </p:txBody>
      </p:sp>
      <p:sp>
        <p:nvSpPr>
          <p:cNvPr id="32" name="TextBox 31">
            <a:extLst>
              <a:ext uri="{FF2B5EF4-FFF2-40B4-BE49-F238E27FC236}">
                <a16:creationId xmlns:a16="http://schemas.microsoft.com/office/drawing/2014/main" id="{08A7BD2F-6606-4DC6-B38D-3E7180BAA05D}"/>
              </a:ext>
            </a:extLst>
          </p:cNvPr>
          <p:cNvSpPr txBox="1"/>
          <p:nvPr/>
        </p:nvSpPr>
        <p:spPr>
          <a:xfrm>
            <a:off x="6494586" y="1997097"/>
            <a:ext cx="49740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Open Sans"/>
                <a:ea typeface="+mn-ea"/>
                <a:cs typeface="+mn-cs"/>
              </a:rPr>
              <a:t>01</a:t>
            </a: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34" name="Rectangle 33">
            <a:extLst>
              <a:ext uri="{FF2B5EF4-FFF2-40B4-BE49-F238E27FC236}">
                <a16:creationId xmlns:a16="http://schemas.microsoft.com/office/drawing/2014/main" id="{0565E7DF-857C-4BD3-9069-D44604251BCF}"/>
              </a:ext>
            </a:extLst>
          </p:cNvPr>
          <p:cNvSpPr/>
          <p:nvPr/>
        </p:nvSpPr>
        <p:spPr>
          <a:xfrm>
            <a:off x="8068068" y="3019862"/>
            <a:ext cx="3211493" cy="914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171450" marR="0" lvl="0" indent="-171450" algn="l" defTabSz="684213"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prstClr val="black"/>
                </a:solidFill>
                <a:effectLst/>
                <a:uLnTx/>
                <a:uFillTx/>
                <a:latin typeface="Open Sans"/>
                <a:ea typeface="+mn-ea"/>
                <a:cs typeface="+mn-cs"/>
              </a:rPr>
              <a:t>Collect data and conduct key analysis on pricing and lot capacity to test out initial hypotheses identified in interviews</a:t>
            </a:r>
          </a:p>
        </p:txBody>
      </p:sp>
      <p:sp>
        <p:nvSpPr>
          <p:cNvPr id="35" name="TextBox 34">
            <a:extLst>
              <a:ext uri="{FF2B5EF4-FFF2-40B4-BE49-F238E27FC236}">
                <a16:creationId xmlns:a16="http://schemas.microsoft.com/office/drawing/2014/main" id="{E9461E9B-FEC9-4B12-A546-09929C8E8CDB}"/>
              </a:ext>
            </a:extLst>
          </p:cNvPr>
          <p:cNvSpPr txBox="1"/>
          <p:nvPr/>
        </p:nvSpPr>
        <p:spPr>
          <a:xfrm>
            <a:off x="6494585" y="5096359"/>
            <a:ext cx="49740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Open Sans"/>
                <a:ea typeface="+mn-ea"/>
                <a:cs typeface="+mn-cs"/>
              </a:rPr>
              <a:t>04</a:t>
            </a: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Tree>
    <p:extLst>
      <p:ext uri="{BB962C8B-B14F-4D97-AF65-F5344CB8AC3E}">
        <p14:creationId xmlns:p14="http://schemas.microsoft.com/office/powerpoint/2010/main" val="1352550445"/>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AC765D40-8054-4917-B556-3C34BAB8FE88}"/>
              </a:ext>
            </a:extLst>
          </p:cNvPr>
          <p:cNvGraphicFramePr>
            <a:graphicFrameLocks noChangeAspect="1"/>
          </p:cNvGraphicFramePr>
          <p:nvPr>
            <p:custDataLst>
              <p:tags r:id="rId2"/>
            </p:custDataLst>
            <p:extLst>
              <p:ext uri="{D42A27DB-BD31-4B8C-83A1-F6EECF244321}">
                <p14:modId xmlns:p14="http://schemas.microsoft.com/office/powerpoint/2010/main" val="2729724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2820" name="think-cell Slide" r:id="rId6" imgW="395" imgH="396" progId="TCLayout.ActiveDocument.1">
                  <p:embed/>
                </p:oleObj>
              </mc:Choice>
              <mc:Fallback>
                <p:oleObj name="think-cell Slide" r:id="rId6" imgW="395" imgH="396" progId="TCLayout.ActiveDocument.1">
                  <p:embed/>
                  <p:pic>
                    <p:nvPicPr>
                      <p:cNvPr id="44" name="Object 43" hidden="1">
                        <a:extLst>
                          <a:ext uri="{FF2B5EF4-FFF2-40B4-BE49-F238E27FC236}">
                            <a16:creationId xmlns:a16="http://schemas.microsoft.com/office/drawing/2014/main" id="{AC765D40-8054-4917-B556-3C34BAB8FE8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3" name="Rectangle 42" hidden="1">
            <a:extLst>
              <a:ext uri="{FF2B5EF4-FFF2-40B4-BE49-F238E27FC236}">
                <a16:creationId xmlns:a16="http://schemas.microsoft.com/office/drawing/2014/main" id="{DECE6FC2-50C6-4001-AF21-629D35C942B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AC387C22-C27B-4CBF-B253-97353C34EE18}"/>
              </a:ext>
            </a:extLst>
          </p:cNvPr>
          <p:cNvSpPr>
            <a:spLocks noGrp="1"/>
          </p:cNvSpPr>
          <p:nvPr>
            <p:ph type="title"/>
          </p:nvPr>
        </p:nvSpPr>
        <p:spPr/>
        <p:txBody>
          <a:bodyPr/>
          <a:lstStyle/>
          <a:p>
            <a:r>
              <a:rPr lang="en-US" dirty="0"/>
              <a:t>Foundational Capabilities</a:t>
            </a:r>
          </a:p>
        </p:txBody>
      </p:sp>
      <p:sp>
        <p:nvSpPr>
          <p:cNvPr id="3" name="Text Placeholder 2">
            <a:extLst>
              <a:ext uri="{FF2B5EF4-FFF2-40B4-BE49-F238E27FC236}">
                <a16:creationId xmlns:a16="http://schemas.microsoft.com/office/drawing/2014/main" id="{728B6A00-0EE7-4D56-841F-AF8CA70C1005}"/>
              </a:ext>
            </a:extLst>
          </p:cNvPr>
          <p:cNvSpPr>
            <a:spLocks noGrp="1"/>
          </p:cNvSpPr>
          <p:nvPr>
            <p:ph type="body" sz="quarter" idx="14"/>
          </p:nvPr>
        </p:nvSpPr>
        <p:spPr>
          <a:xfrm>
            <a:off x="914721" y="1353312"/>
            <a:ext cx="10362880" cy="475488"/>
          </a:xfrm>
        </p:spPr>
        <p:txBody>
          <a:bodyPr/>
          <a:lstStyle/>
          <a:p>
            <a:r>
              <a:rPr lang="en-US" dirty="0"/>
              <a:t>Subtitle</a:t>
            </a:r>
          </a:p>
        </p:txBody>
      </p:sp>
      <p:sp>
        <p:nvSpPr>
          <p:cNvPr id="4" name="Text Placeholder 3">
            <a:extLst>
              <a:ext uri="{FF2B5EF4-FFF2-40B4-BE49-F238E27FC236}">
                <a16:creationId xmlns:a16="http://schemas.microsoft.com/office/drawing/2014/main" id="{DF2D77C9-7DCD-4811-89A2-52029004C7C4}"/>
              </a:ext>
            </a:extLst>
          </p:cNvPr>
          <p:cNvSpPr>
            <a:spLocks noGrp="1"/>
          </p:cNvSpPr>
          <p:nvPr>
            <p:ph type="body" sz="quarter" idx="15"/>
          </p:nvPr>
        </p:nvSpPr>
        <p:spPr/>
        <p:txBody>
          <a:bodyPr/>
          <a:lstStyle/>
          <a:p>
            <a:r>
              <a:rPr lang="en-US" dirty="0"/>
              <a:t>TABLE</a:t>
            </a:r>
          </a:p>
        </p:txBody>
      </p:sp>
      <p:sp>
        <p:nvSpPr>
          <p:cNvPr id="5" name="Title 1">
            <a:extLst>
              <a:ext uri="{FF2B5EF4-FFF2-40B4-BE49-F238E27FC236}">
                <a16:creationId xmlns:a16="http://schemas.microsoft.com/office/drawing/2014/main" id="{AEEF38DB-5A71-4309-9487-DE7AEBCAD748}"/>
              </a:ext>
            </a:extLst>
          </p:cNvPr>
          <p:cNvSpPr txBox="1">
            <a:spLocks/>
          </p:cNvSpPr>
          <p:nvPr/>
        </p:nvSpPr>
        <p:spPr>
          <a:xfrm>
            <a:off x="501650" y="317500"/>
            <a:ext cx="11188700" cy="334101"/>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sp>
        <p:nvSpPr>
          <p:cNvPr id="6" name="Rectangle 5">
            <a:extLst>
              <a:ext uri="{FF2B5EF4-FFF2-40B4-BE49-F238E27FC236}">
                <a16:creationId xmlns:a16="http://schemas.microsoft.com/office/drawing/2014/main" id="{1F23F4BB-979B-4A30-93B0-5ACF81A48F50}"/>
              </a:ext>
            </a:extLst>
          </p:cNvPr>
          <p:cNvSpPr/>
          <p:nvPr/>
        </p:nvSpPr>
        <p:spPr bwMode="gray">
          <a:xfrm>
            <a:off x="2250854" y="5712848"/>
            <a:ext cx="9359897" cy="652247"/>
          </a:xfrm>
          <a:prstGeom prst="rect">
            <a:avLst/>
          </a:prstGeom>
          <a:solidFill>
            <a:schemeClr val="bg1">
              <a:lumMod val="95000"/>
            </a:schemeClr>
          </a:solidFill>
          <a:ln w="12700" cap="rnd" algn="ctr">
            <a:solidFill>
              <a:schemeClr val="bg1">
                <a:lumMod val="95000"/>
              </a:schemeClr>
            </a:solidFill>
            <a:miter lim="800000"/>
            <a:headEnd/>
            <a:tailEnd/>
          </a:ln>
        </p:spPr>
        <p:txBody>
          <a:bodyPr lIns="182880" rtlCol="0" anchor="ctr" anchorCtr="1"/>
          <a:lstStyle/>
          <a:p>
            <a:pPr marL="171450" marR="0" lvl="0" indent="-171450" algn="ctr"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endParaRPr kumimoji="0" lang="en-US" sz="1000" b="1" i="0" u="none" strike="noStrike" kern="1200" cap="none" spc="0" normalizeH="0" baseline="0" noProof="0" dirty="0">
              <a:ln>
                <a:noFill/>
              </a:ln>
              <a:solidFill>
                <a:srgbClr val="FFFFFF"/>
              </a:solidFill>
              <a:effectLst/>
              <a:uLnTx/>
              <a:uFillTx/>
              <a:ea typeface="+mn-ea"/>
              <a:cs typeface="+mn-cs"/>
            </a:endParaRPr>
          </a:p>
        </p:txBody>
      </p:sp>
      <p:sp>
        <p:nvSpPr>
          <p:cNvPr id="7" name="Rectangle 6">
            <a:extLst>
              <a:ext uri="{FF2B5EF4-FFF2-40B4-BE49-F238E27FC236}">
                <a16:creationId xmlns:a16="http://schemas.microsoft.com/office/drawing/2014/main" id="{7BDE60C1-2D89-420D-9D7A-6FE03D818E97}"/>
              </a:ext>
            </a:extLst>
          </p:cNvPr>
          <p:cNvSpPr/>
          <p:nvPr/>
        </p:nvSpPr>
        <p:spPr bwMode="gray">
          <a:xfrm>
            <a:off x="2227656" y="4249087"/>
            <a:ext cx="9359897" cy="652247"/>
          </a:xfrm>
          <a:prstGeom prst="rect">
            <a:avLst/>
          </a:prstGeom>
          <a:solidFill>
            <a:schemeClr val="bg1">
              <a:lumMod val="95000"/>
            </a:schemeClr>
          </a:solidFill>
          <a:ln w="12700" cap="rnd" algn="ctr">
            <a:solidFill>
              <a:schemeClr val="bg1">
                <a:lumMod val="95000"/>
              </a:schemeClr>
            </a:solidFill>
            <a:miter lim="800000"/>
            <a:headEnd/>
            <a:tailEnd/>
          </a:ln>
        </p:spPr>
        <p:txBody>
          <a:bodyPr lIns="182880" rtlCol="0" anchor="ctr" anchorCtr="1"/>
          <a:lstStyle/>
          <a:p>
            <a:pPr marL="0" marR="0" lvl="0" indent="0" algn="ctr" defTabSz="914400" rtl="0" eaLnBrk="0" fontAlgn="auto" latinLnBrk="0" hangingPunct="0">
              <a:lnSpc>
                <a:spcPct val="106000"/>
              </a:lnSpc>
              <a:spcBef>
                <a:spcPts val="600"/>
              </a:spcBef>
              <a:spcAft>
                <a:spcPts val="0"/>
              </a:spcAft>
              <a:buClrTx/>
              <a:buSzTx/>
              <a:buFontTx/>
              <a:buNone/>
              <a:tabLst/>
              <a:defRPr/>
            </a:pPr>
            <a:endParaRPr kumimoji="0" lang="en-US" sz="1000" b="1" i="0" u="none" strike="noStrike" kern="1200" cap="none" spc="0" normalizeH="0" baseline="0" noProof="0" dirty="0">
              <a:ln>
                <a:noFill/>
              </a:ln>
              <a:solidFill>
                <a:srgbClr val="FFFFFF"/>
              </a:solidFill>
              <a:effectLst/>
              <a:uLnTx/>
              <a:uFillTx/>
              <a:ea typeface="+mn-ea"/>
              <a:cs typeface="+mn-cs"/>
            </a:endParaRPr>
          </a:p>
        </p:txBody>
      </p:sp>
      <p:sp>
        <p:nvSpPr>
          <p:cNvPr id="8" name="Rectangle 7">
            <a:extLst>
              <a:ext uri="{FF2B5EF4-FFF2-40B4-BE49-F238E27FC236}">
                <a16:creationId xmlns:a16="http://schemas.microsoft.com/office/drawing/2014/main" id="{6CACC7F9-FFF4-486C-ADB3-A3A56565662B}"/>
              </a:ext>
            </a:extLst>
          </p:cNvPr>
          <p:cNvSpPr/>
          <p:nvPr/>
        </p:nvSpPr>
        <p:spPr bwMode="gray">
          <a:xfrm>
            <a:off x="2227657" y="2750445"/>
            <a:ext cx="9359897" cy="731880"/>
          </a:xfrm>
          <a:prstGeom prst="rect">
            <a:avLst/>
          </a:prstGeom>
          <a:solidFill>
            <a:schemeClr val="bg1">
              <a:lumMod val="95000"/>
            </a:schemeClr>
          </a:solidFill>
          <a:ln w="12700" cap="rnd" algn="ctr">
            <a:solidFill>
              <a:schemeClr val="bg1">
                <a:lumMod val="95000"/>
              </a:schemeClr>
            </a:solidFill>
            <a:miter lim="800000"/>
            <a:headEnd/>
            <a:tailEnd/>
          </a:ln>
        </p:spPr>
        <p:txBody>
          <a:bodyPr lIns="182880" rtlCol="0" anchor="ctr" anchorCtr="1"/>
          <a:lstStyle/>
          <a:p>
            <a:pPr marL="0" marR="0" lvl="0" indent="0" algn="ctr" defTabSz="914400" rtl="0" eaLnBrk="0" fontAlgn="auto" latinLnBrk="0" hangingPunct="0">
              <a:lnSpc>
                <a:spcPct val="106000"/>
              </a:lnSpc>
              <a:spcBef>
                <a:spcPts val="600"/>
              </a:spcBef>
              <a:spcAft>
                <a:spcPts val="0"/>
              </a:spcAft>
              <a:buClrTx/>
              <a:buSzTx/>
              <a:buFontTx/>
              <a:buNone/>
              <a:tabLst/>
              <a:defRPr/>
            </a:pPr>
            <a:endParaRPr kumimoji="0" lang="en-US" sz="1000" b="1" i="0" u="none" strike="noStrike" kern="1200" cap="none" spc="0" normalizeH="0" baseline="0" noProof="0" dirty="0">
              <a:ln>
                <a:noFill/>
              </a:ln>
              <a:solidFill>
                <a:srgbClr val="FFFFFF"/>
              </a:solidFill>
              <a:effectLst/>
              <a:uLnTx/>
              <a:uFillTx/>
              <a:ea typeface="+mn-ea"/>
              <a:cs typeface="+mn-cs"/>
            </a:endParaRPr>
          </a:p>
        </p:txBody>
      </p:sp>
      <p:sp>
        <p:nvSpPr>
          <p:cNvPr id="9" name="Rectangle 8">
            <a:extLst>
              <a:ext uri="{FF2B5EF4-FFF2-40B4-BE49-F238E27FC236}">
                <a16:creationId xmlns:a16="http://schemas.microsoft.com/office/drawing/2014/main" id="{19562AE6-2705-4E47-8BA4-FC052A10C70E}"/>
              </a:ext>
            </a:extLst>
          </p:cNvPr>
          <p:cNvSpPr/>
          <p:nvPr/>
        </p:nvSpPr>
        <p:spPr bwMode="gray">
          <a:xfrm>
            <a:off x="2227657" y="1716808"/>
            <a:ext cx="3036657" cy="264399"/>
          </a:xfrm>
          <a:prstGeom prst="rect">
            <a:avLst/>
          </a:prstGeom>
          <a:solidFill>
            <a:schemeClr val="tx1">
              <a:lumMod val="20000"/>
              <a:lumOff val="80000"/>
            </a:schemeClr>
          </a:solidFill>
          <a:ln w="12700" cap="rnd" algn="ctr">
            <a:noFill/>
            <a:miter lim="800000"/>
            <a:headEnd/>
            <a:tailEnd/>
          </a:ln>
        </p:spPr>
        <p:txBody>
          <a:bodyPr lIns="45720" rIns="45720" rtlCol="0" anchor="ctr" anchorCtr="1"/>
          <a:lstStyle/>
          <a:p>
            <a:pPr marL="0" marR="0" lvl="0" indent="0" algn="ctr" defTabSz="914400" rtl="0" eaLnBrk="0" fontAlgn="auto" latinLnBrk="0" hangingPunct="0">
              <a:lnSpc>
                <a:spcPct val="106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ea typeface="+mn-ea"/>
                <a:cs typeface="+mn-cs"/>
              </a:rPr>
              <a:t>Basic Capabilities</a:t>
            </a:r>
          </a:p>
        </p:txBody>
      </p:sp>
      <p:sp>
        <p:nvSpPr>
          <p:cNvPr id="10" name="Rectangle 9">
            <a:extLst>
              <a:ext uri="{FF2B5EF4-FFF2-40B4-BE49-F238E27FC236}">
                <a16:creationId xmlns:a16="http://schemas.microsoft.com/office/drawing/2014/main" id="{4901574B-3587-4C75-A91B-CB55691B93D6}"/>
              </a:ext>
            </a:extLst>
          </p:cNvPr>
          <p:cNvSpPr/>
          <p:nvPr/>
        </p:nvSpPr>
        <p:spPr bwMode="gray">
          <a:xfrm>
            <a:off x="5389278" y="1617170"/>
            <a:ext cx="3036657" cy="364036"/>
          </a:xfrm>
          <a:prstGeom prst="rect">
            <a:avLst/>
          </a:prstGeom>
          <a:solidFill>
            <a:schemeClr val="tx1">
              <a:lumMod val="60000"/>
              <a:lumOff val="40000"/>
            </a:schemeClr>
          </a:solidFill>
          <a:ln w="12700" cap="rnd" algn="ctr">
            <a:noFill/>
            <a:miter lim="800000"/>
            <a:headEnd/>
            <a:tailEnd/>
          </a:ln>
        </p:spPr>
        <p:txBody>
          <a:bodyPr lIns="45720" rIns="45720" rtlCol="0" anchor="ctr" anchorCtr="1"/>
          <a:lstStyle/>
          <a:p>
            <a:pPr marL="0" marR="0" lvl="0" indent="0" algn="ctr" defTabSz="914400" rtl="0" eaLnBrk="0" fontAlgn="auto" latinLnBrk="0" hangingPunct="0">
              <a:lnSpc>
                <a:spcPct val="106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ea typeface="+mn-ea"/>
                <a:cs typeface="+mn-cs"/>
              </a:rPr>
              <a:t>Emerging  Capabilities</a:t>
            </a:r>
          </a:p>
        </p:txBody>
      </p:sp>
      <p:sp>
        <p:nvSpPr>
          <p:cNvPr id="11" name="Rectangle 10">
            <a:extLst>
              <a:ext uri="{FF2B5EF4-FFF2-40B4-BE49-F238E27FC236}">
                <a16:creationId xmlns:a16="http://schemas.microsoft.com/office/drawing/2014/main" id="{041AF9FC-AB51-4836-B1FB-8F080A11E34E}"/>
              </a:ext>
            </a:extLst>
          </p:cNvPr>
          <p:cNvSpPr/>
          <p:nvPr/>
        </p:nvSpPr>
        <p:spPr bwMode="gray">
          <a:xfrm>
            <a:off x="8550898" y="1564453"/>
            <a:ext cx="3036657" cy="416754"/>
          </a:xfrm>
          <a:prstGeom prst="rect">
            <a:avLst/>
          </a:prstGeom>
          <a:solidFill>
            <a:schemeClr val="tx1"/>
          </a:solidFill>
          <a:ln w="12700" cap="rnd" algn="ctr">
            <a:noFill/>
            <a:miter lim="800000"/>
            <a:headEnd/>
            <a:tailEnd/>
          </a:ln>
        </p:spPr>
        <p:txBody>
          <a:bodyPr lIns="45720" rIns="45720" rtlCol="0" anchor="ctr" anchorCtr="1"/>
          <a:lstStyle/>
          <a:p>
            <a:pPr marL="0" marR="0" lvl="0" indent="0" algn="ctr" defTabSz="914400" rtl="0" eaLnBrk="0" fontAlgn="auto" latinLnBrk="0" hangingPunct="0">
              <a:lnSpc>
                <a:spcPct val="106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ea typeface="+mn-ea"/>
                <a:cs typeface="+mn-cs"/>
              </a:rPr>
              <a:t>Leading Capabilities</a:t>
            </a:r>
          </a:p>
        </p:txBody>
      </p:sp>
      <p:sp>
        <p:nvSpPr>
          <p:cNvPr id="12" name="Rectangle 11">
            <a:extLst>
              <a:ext uri="{FF2B5EF4-FFF2-40B4-BE49-F238E27FC236}">
                <a16:creationId xmlns:a16="http://schemas.microsoft.com/office/drawing/2014/main" id="{6C6084F3-DB80-4DA2-ADF4-D589BA4896BA}"/>
              </a:ext>
            </a:extLst>
          </p:cNvPr>
          <p:cNvSpPr/>
          <p:nvPr/>
        </p:nvSpPr>
        <p:spPr bwMode="gray">
          <a:xfrm>
            <a:off x="501650" y="2053446"/>
            <a:ext cx="1639795" cy="652247"/>
          </a:xfrm>
          <a:prstGeom prst="rect">
            <a:avLst/>
          </a:prstGeom>
          <a:solidFill>
            <a:schemeClr val="bg1"/>
          </a:solidFill>
          <a:ln w="19050" cap="rnd" algn="ctr">
            <a:noFill/>
            <a:miter lim="800000"/>
            <a:headEnd/>
            <a:tailEnd/>
          </a:ln>
        </p:spPr>
        <p:txBody>
          <a:bodyPr lIns="45720" rIns="45720" rtlCol="0" anchor="ctr" anchorCtr="1"/>
          <a:lstStyle/>
          <a:p>
            <a:pPr marL="0" marR="0" lvl="0" indent="0" algn="ctr" defTabSz="914400" rtl="0" eaLnBrk="0" fontAlgn="auto" latinLnBrk="0" hangingPunct="0">
              <a:lnSpc>
                <a:spcPct val="106000"/>
              </a:lnSpc>
              <a:spcBef>
                <a:spcPts val="0"/>
              </a:spcBef>
              <a:spcAft>
                <a:spcPts val="0"/>
              </a:spcAft>
              <a:buClrTx/>
              <a:buSzTx/>
              <a:buFontTx/>
              <a:buNone/>
              <a:tabLst/>
              <a:defRPr/>
            </a:pPr>
            <a:r>
              <a:rPr kumimoji="0" lang="en-US" sz="1400" b="1" i="0" u="sng" strike="noStrike" kern="1200" cap="small" spc="0" normalizeH="0" baseline="0" noProof="0" dirty="0">
                <a:ln>
                  <a:noFill/>
                </a:ln>
                <a:solidFill>
                  <a:srgbClr val="000000"/>
                </a:solidFill>
                <a:effectLst/>
                <a:uLnTx/>
                <a:uFill>
                  <a:solidFill>
                    <a:srgbClr val="86F200"/>
                  </a:solidFill>
                </a:uFill>
                <a:ea typeface="+mn-ea"/>
                <a:cs typeface="+mn-cs"/>
              </a:rPr>
              <a:t>Strategy</a:t>
            </a:r>
            <a:endParaRPr kumimoji="0" lang="en-US" sz="1100" b="0" i="0" u="sng" strike="noStrike" kern="1200" cap="none" spc="0" normalizeH="0" baseline="0" noProof="0" dirty="0">
              <a:ln>
                <a:noFill/>
              </a:ln>
              <a:solidFill>
                <a:srgbClr val="000000"/>
              </a:solidFill>
              <a:effectLst/>
              <a:uLnTx/>
              <a:uFill>
                <a:solidFill>
                  <a:srgbClr val="86F200"/>
                </a:solidFill>
              </a:uFill>
              <a:ea typeface="+mn-ea"/>
              <a:cs typeface="+mn-cs"/>
            </a:endParaRPr>
          </a:p>
        </p:txBody>
      </p:sp>
      <p:sp>
        <p:nvSpPr>
          <p:cNvPr id="13" name="Rectangle 12">
            <a:extLst>
              <a:ext uri="{FF2B5EF4-FFF2-40B4-BE49-F238E27FC236}">
                <a16:creationId xmlns:a16="http://schemas.microsoft.com/office/drawing/2014/main" id="{45E6D5A3-756B-4EDB-BF0A-F41850EB4B9D}"/>
              </a:ext>
            </a:extLst>
          </p:cNvPr>
          <p:cNvSpPr/>
          <p:nvPr/>
        </p:nvSpPr>
        <p:spPr bwMode="gray">
          <a:xfrm>
            <a:off x="501650" y="2785326"/>
            <a:ext cx="1639795" cy="652247"/>
          </a:xfrm>
          <a:prstGeom prst="rect">
            <a:avLst/>
          </a:prstGeom>
          <a:solidFill>
            <a:schemeClr val="bg1"/>
          </a:solidFill>
          <a:ln w="19050" cap="rnd" algn="ctr">
            <a:noFill/>
            <a:miter lim="800000"/>
            <a:headEnd/>
            <a:tailEnd/>
          </a:ln>
        </p:spPr>
        <p:txBody>
          <a:bodyPr lIns="45720" rIns="45720" rtlCol="0" anchor="ctr" anchorCtr="1"/>
          <a:lstStyle/>
          <a:p>
            <a:pPr marL="0" marR="0" lvl="0" indent="0" algn="ctr" defTabSz="914400" rtl="0" eaLnBrk="0" fontAlgn="auto" latinLnBrk="0" hangingPunct="0">
              <a:lnSpc>
                <a:spcPct val="106000"/>
              </a:lnSpc>
              <a:spcBef>
                <a:spcPts val="0"/>
              </a:spcBef>
              <a:spcAft>
                <a:spcPts val="0"/>
              </a:spcAft>
              <a:buClrTx/>
              <a:buSzTx/>
              <a:buFontTx/>
              <a:buNone/>
              <a:tabLst/>
              <a:defRPr/>
            </a:pPr>
            <a:r>
              <a:rPr kumimoji="0" lang="en-US" sz="1400" b="1" i="0" u="sng" strike="noStrike" kern="1200" cap="small" spc="0" normalizeH="0" baseline="0" noProof="0" dirty="0">
                <a:ln>
                  <a:noFill/>
                </a:ln>
                <a:solidFill>
                  <a:srgbClr val="000000"/>
                </a:solidFill>
                <a:effectLst/>
                <a:uLnTx/>
                <a:uFill>
                  <a:solidFill>
                    <a:srgbClr val="86F200"/>
                  </a:solidFill>
                </a:uFill>
                <a:ea typeface="+mn-ea"/>
                <a:cs typeface="+mn-cs"/>
              </a:rPr>
              <a:t>Analytics</a:t>
            </a:r>
          </a:p>
        </p:txBody>
      </p:sp>
      <p:sp>
        <p:nvSpPr>
          <p:cNvPr id="14" name="Rectangle 13">
            <a:extLst>
              <a:ext uri="{FF2B5EF4-FFF2-40B4-BE49-F238E27FC236}">
                <a16:creationId xmlns:a16="http://schemas.microsoft.com/office/drawing/2014/main" id="{E7CC6132-D38C-4D88-B4F5-50BFB7C0EE94}"/>
              </a:ext>
            </a:extLst>
          </p:cNvPr>
          <p:cNvSpPr/>
          <p:nvPr/>
        </p:nvSpPr>
        <p:spPr bwMode="gray">
          <a:xfrm>
            <a:off x="501650" y="3517206"/>
            <a:ext cx="1639795" cy="652247"/>
          </a:xfrm>
          <a:prstGeom prst="rect">
            <a:avLst/>
          </a:prstGeom>
          <a:solidFill>
            <a:schemeClr val="bg1"/>
          </a:solidFill>
          <a:ln w="19050" cap="rnd" algn="ctr">
            <a:noFill/>
            <a:miter lim="800000"/>
            <a:headEnd/>
            <a:tailEnd/>
          </a:ln>
        </p:spPr>
        <p:txBody>
          <a:bodyPr lIns="45720" rIns="45720" rtlCol="0" anchor="ctr" anchorCtr="1"/>
          <a:lstStyle/>
          <a:p>
            <a:pPr marL="0" marR="0" lvl="0" indent="0" algn="ctr" defTabSz="914400" rtl="0" eaLnBrk="0" fontAlgn="auto" latinLnBrk="0" hangingPunct="0">
              <a:lnSpc>
                <a:spcPct val="106000"/>
              </a:lnSpc>
              <a:spcBef>
                <a:spcPts val="0"/>
              </a:spcBef>
              <a:spcAft>
                <a:spcPts val="0"/>
              </a:spcAft>
              <a:buClrTx/>
              <a:buSzTx/>
              <a:buFontTx/>
              <a:buNone/>
              <a:tabLst/>
              <a:defRPr/>
            </a:pPr>
            <a:r>
              <a:rPr kumimoji="0" lang="en-US" sz="1400" b="1" i="0" u="sng" strike="noStrike" kern="1200" cap="small" spc="0" normalizeH="0" baseline="0" noProof="0" dirty="0">
                <a:ln>
                  <a:noFill/>
                </a:ln>
                <a:solidFill>
                  <a:srgbClr val="000000"/>
                </a:solidFill>
                <a:effectLst/>
                <a:uLnTx/>
                <a:uFill>
                  <a:solidFill>
                    <a:srgbClr val="86F200"/>
                  </a:solidFill>
                </a:uFill>
                <a:ea typeface="+mn-ea"/>
                <a:cs typeface="+mn-cs"/>
              </a:rPr>
              <a:t>Technology</a:t>
            </a:r>
          </a:p>
        </p:txBody>
      </p:sp>
      <p:sp>
        <p:nvSpPr>
          <p:cNvPr id="15" name="Rectangle 14">
            <a:extLst>
              <a:ext uri="{FF2B5EF4-FFF2-40B4-BE49-F238E27FC236}">
                <a16:creationId xmlns:a16="http://schemas.microsoft.com/office/drawing/2014/main" id="{5A160AFB-CA32-4F0E-91A6-250E2DB5D410}"/>
              </a:ext>
            </a:extLst>
          </p:cNvPr>
          <p:cNvSpPr/>
          <p:nvPr/>
        </p:nvSpPr>
        <p:spPr bwMode="gray">
          <a:xfrm>
            <a:off x="501650" y="4249087"/>
            <a:ext cx="1639795" cy="652247"/>
          </a:xfrm>
          <a:prstGeom prst="rect">
            <a:avLst/>
          </a:prstGeom>
          <a:solidFill>
            <a:schemeClr val="bg1"/>
          </a:solidFill>
          <a:ln w="19050" cap="rnd" algn="ctr">
            <a:noFill/>
            <a:miter lim="800000"/>
            <a:headEnd/>
            <a:tailEnd/>
          </a:ln>
        </p:spPr>
        <p:txBody>
          <a:bodyPr lIns="45720" rIns="45720" rtlCol="0" anchor="ctr" anchorCtr="1"/>
          <a:lstStyle/>
          <a:p>
            <a:pPr marL="0" marR="0" lvl="0" indent="0" algn="ctr" defTabSz="914400" rtl="0" eaLnBrk="0" fontAlgn="auto" latinLnBrk="0" hangingPunct="0">
              <a:lnSpc>
                <a:spcPct val="106000"/>
              </a:lnSpc>
              <a:spcBef>
                <a:spcPts val="0"/>
              </a:spcBef>
              <a:spcAft>
                <a:spcPts val="0"/>
              </a:spcAft>
              <a:buClrTx/>
              <a:buSzTx/>
              <a:buFontTx/>
              <a:buNone/>
              <a:tabLst/>
              <a:defRPr/>
            </a:pPr>
            <a:r>
              <a:rPr kumimoji="0" lang="en-US" sz="1400" b="1" i="0" u="sng" strike="noStrike" kern="1200" cap="small" spc="0" normalizeH="0" baseline="0" noProof="0" dirty="0">
                <a:ln>
                  <a:noFill/>
                </a:ln>
                <a:solidFill>
                  <a:srgbClr val="000000"/>
                </a:solidFill>
                <a:effectLst/>
                <a:uLnTx/>
                <a:uFill>
                  <a:solidFill>
                    <a:srgbClr val="86F200"/>
                  </a:solidFill>
                </a:uFill>
                <a:ea typeface="+mn-ea"/>
                <a:cs typeface="+mn-cs"/>
              </a:rPr>
              <a:t>Organization and Talent</a:t>
            </a:r>
          </a:p>
        </p:txBody>
      </p:sp>
      <p:sp>
        <p:nvSpPr>
          <p:cNvPr id="16" name="Rectangle 15">
            <a:extLst>
              <a:ext uri="{FF2B5EF4-FFF2-40B4-BE49-F238E27FC236}">
                <a16:creationId xmlns:a16="http://schemas.microsoft.com/office/drawing/2014/main" id="{63A22B78-C48E-42DA-9A2A-21DF38591983}"/>
              </a:ext>
            </a:extLst>
          </p:cNvPr>
          <p:cNvSpPr/>
          <p:nvPr/>
        </p:nvSpPr>
        <p:spPr bwMode="gray">
          <a:xfrm>
            <a:off x="501650" y="4980967"/>
            <a:ext cx="1639795" cy="652247"/>
          </a:xfrm>
          <a:prstGeom prst="rect">
            <a:avLst/>
          </a:prstGeom>
          <a:solidFill>
            <a:schemeClr val="bg1"/>
          </a:solidFill>
          <a:ln w="19050" cap="rnd" algn="ctr">
            <a:noFill/>
            <a:miter lim="800000"/>
            <a:headEnd/>
            <a:tailEnd/>
          </a:ln>
        </p:spPr>
        <p:txBody>
          <a:bodyPr lIns="45720" rIns="45720" rtlCol="0" anchor="ctr" anchorCtr="1"/>
          <a:lstStyle/>
          <a:p>
            <a:pPr marL="0" marR="0" lvl="0" indent="0" algn="ctr" defTabSz="914400" rtl="0" eaLnBrk="0" fontAlgn="auto" latinLnBrk="0" hangingPunct="0">
              <a:lnSpc>
                <a:spcPct val="106000"/>
              </a:lnSpc>
              <a:spcBef>
                <a:spcPts val="0"/>
              </a:spcBef>
              <a:spcAft>
                <a:spcPts val="0"/>
              </a:spcAft>
              <a:buClrTx/>
              <a:buSzTx/>
              <a:buFontTx/>
              <a:buNone/>
              <a:tabLst/>
              <a:defRPr/>
            </a:pPr>
            <a:r>
              <a:rPr kumimoji="0" lang="en-US" sz="1400" b="1" i="0" u="sng" strike="noStrike" kern="1200" cap="small" spc="0" normalizeH="0" baseline="0" noProof="0" dirty="0">
                <a:ln>
                  <a:noFill/>
                </a:ln>
                <a:solidFill>
                  <a:srgbClr val="000000"/>
                </a:solidFill>
                <a:effectLst/>
                <a:uLnTx/>
                <a:uFill>
                  <a:solidFill>
                    <a:srgbClr val="86F200"/>
                  </a:solidFill>
                </a:uFill>
                <a:ea typeface="+mn-ea"/>
                <a:cs typeface="+mn-cs"/>
              </a:rPr>
              <a:t>Governance</a:t>
            </a:r>
          </a:p>
        </p:txBody>
      </p:sp>
      <p:sp>
        <p:nvSpPr>
          <p:cNvPr id="17" name="Rectangle 16">
            <a:extLst>
              <a:ext uri="{FF2B5EF4-FFF2-40B4-BE49-F238E27FC236}">
                <a16:creationId xmlns:a16="http://schemas.microsoft.com/office/drawing/2014/main" id="{0AE4C596-801F-4872-8015-5A172DA3513E}"/>
              </a:ext>
            </a:extLst>
          </p:cNvPr>
          <p:cNvSpPr/>
          <p:nvPr/>
        </p:nvSpPr>
        <p:spPr bwMode="gray">
          <a:xfrm>
            <a:off x="501650" y="5712848"/>
            <a:ext cx="1639795" cy="652247"/>
          </a:xfrm>
          <a:prstGeom prst="rect">
            <a:avLst/>
          </a:prstGeom>
          <a:solidFill>
            <a:schemeClr val="bg1"/>
          </a:solidFill>
          <a:ln w="19050" cap="rnd" algn="ctr">
            <a:noFill/>
            <a:miter lim="800000"/>
            <a:headEnd/>
            <a:tailEnd/>
          </a:ln>
        </p:spPr>
        <p:txBody>
          <a:bodyPr lIns="45720" rIns="45720" rtlCol="0" anchor="ctr" anchorCtr="1"/>
          <a:lstStyle/>
          <a:p>
            <a:pPr marL="0" marR="0" lvl="0" indent="0" algn="ctr" defTabSz="914400" rtl="0" eaLnBrk="0" fontAlgn="auto" latinLnBrk="0" hangingPunct="0">
              <a:lnSpc>
                <a:spcPct val="106000"/>
              </a:lnSpc>
              <a:spcBef>
                <a:spcPts val="0"/>
              </a:spcBef>
              <a:spcAft>
                <a:spcPts val="0"/>
              </a:spcAft>
              <a:buClrTx/>
              <a:buSzTx/>
              <a:buFontTx/>
              <a:buNone/>
              <a:tabLst/>
              <a:defRPr/>
            </a:pPr>
            <a:r>
              <a:rPr kumimoji="0" lang="en-US" sz="1400" b="1" i="0" u="sng" strike="noStrike" kern="1200" cap="small" spc="0" normalizeH="0" baseline="0" noProof="0" dirty="0">
                <a:ln>
                  <a:noFill/>
                </a:ln>
                <a:solidFill>
                  <a:srgbClr val="000000"/>
                </a:solidFill>
                <a:effectLst/>
                <a:uLnTx/>
                <a:uFill>
                  <a:solidFill>
                    <a:srgbClr val="86F200"/>
                  </a:solidFill>
                </a:uFill>
                <a:ea typeface="+mn-ea"/>
                <a:cs typeface="+mn-cs"/>
              </a:rPr>
              <a:t>Compliance</a:t>
            </a:r>
          </a:p>
        </p:txBody>
      </p:sp>
      <p:sp>
        <p:nvSpPr>
          <p:cNvPr id="18" name="Rectangle 17">
            <a:extLst>
              <a:ext uri="{FF2B5EF4-FFF2-40B4-BE49-F238E27FC236}">
                <a16:creationId xmlns:a16="http://schemas.microsoft.com/office/drawing/2014/main" id="{FB7B40A5-81CF-452F-82B3-3FD54FD636EC}"/>
              </a:ext>
            </a:extLst>
          </p:cNvPr>
          <p:cNvSpPr/>
          <p:nvPr/>
        </p:nvSpPr>
        <p:spPr bwMode="gray">
          <a:xfrm>
            <a:off x="2227657" y="2053446"/>
            <a:ext cx="3036657" cy="652247"/>
          </a:xfrm>
          <a:prstGeom prst="rect">
            <a:avLst/>
          </a:prstGeom>
          <a:noFill/>
          <a:ln w="28575" cap="rnd" algn="ctr">
            <a:noFill/>
            <a:miter lim="800000"/>
            <a:headEnd/>
            <a:tailEnd/>
          </a:ln>
        </p:spPr>
        <p:txBody>
          <a:bodyPr lIns="45720" tIns="18288" rIns="0" bIns="18288" rtlCol="0" anchor="ctr" anchorCtr="0"/>
          <a:lstStyle/>
          <a:p>
            <a:pPr marL="171450" marR="0" lvl="0" indent="-171450" algn="l"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lumMod val="60000"/>
                    <a:lumOff val="40000"/>
                  </a:srgbClr>
                </a:solidFill>
                <a:effectLst/>
                <a:uLnTx/>
                <a:uFillTx/>
                <a:ea typeface="+mn-ea"/>
                <a:cs typeface="+mn-cs"/>
              </a:rPr>
              <a:t>Price and promotions plan based upon incremental changes from last year</a:t>
            </a:r>
          </a:p>
          <a:p>
            <a:pPr marL="171450" marR="0" lvl="0" indent="-171450" algn="l"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lumMod val="60000"/>
                    <a:lumOff val="40000"/>
                  </a:srgbClr>
                </a:solidFill>
                <a:effectLst/>
                <a:uLnTx/>
                <a:uFillTx/>
                <a:ea typeface="+mn-ea"/>
                <a:cs typeface="+mn-cs"/>
              </a:rPr>
              <a:t>No investment differentiation across channels, customers and products</a:t>
            </a:r>
          </a:p>
        </p:txBody>
      </p:sp>
      <p:sp>
        <p:nvSpPr>
          <p:cNvPr id="19" name="Rectangle 18">
            <a:extLst>
              <a:ext uri="{FF2B5EF4-FFF2-40B4-BE49-F238E27FC236}">
                <a16:creationId xmlns:a16="http://schemas.microsoft.com/office/drawing/2014/main" id="{3B975B8A-AA17-4BF6-BB9B-58D8751EE37A}"/>
              </a:ext>
            </a:extLst>
          </p:cNvPr>
          <p:cNvSpPr/>
          <p:nvPr/>
        </p:nvSpPr>
        <p:spPr bwMode="gray">
          <a:xfrm>
            <a:off x="5389278" y="2053446"/>
            <a:ext cx="3036657" cy="652247"/>
          </a:xfrm>
          <a:prstGeom prst="rect">
            <a:avLst/>
          </a:prstGeom>
          <a:noFill/>
          <a:ln w="28575" cap="rnd" algn="ctr">
            <a:noFill/>
            <a:miter lim="800000"/>
            <a:headEnd/>
            <a:tailEnd/>
          </a:ln>
        </p:spPr>
        <p:txBody>
          <a:bodyPr lIns="45720" tIns="18288" rIns="0" bIns="18288" rtlCol="0" anchor="ctr" anchorCtr="0"/>
          <a:lstStyle/>
          <a:p>
            <a:pPr marL="171450" marR="0" lvl="0" indent="-171450" algn="l"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787878">
                    <a:lumMod val="75000"/>
                  </a:srgbClr>
                </a:solidFill>
                <a:effectLst/>
                <a:uLnTx/>
                <a:uFillTx/>
                <a:ea typeface="+mn-ea"/>
                <a:cs typeface="+mn-cs"/>
              </a:rPr>
              <a:t>Discrete price and promotion strategies </a:t>
            </a:r>
          </a:p>
          <a:p>
            <a:pPr marL="171450" marR="0" lvl="0" indent="-171450" algn="l"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787878">
                    <a:lumMod val="75000"/>
                  </a:srgbClr>
                </a:solidFill>
                <a:effectLst/>
                <a:uLnTx/>
                <a:uFillTx/>
                <a:ea typeface="+mn-ea"/>
                <a:cs typeface="+mn-cs"/>
              </a:rPr>
              <a:t>Investment differentiated based on  customer scale</a:t>
            </a:r>
          </a:p>
        </p:txBody>
      </p:sp>
      <p:sp>
        <p:nvSpPr>
          <p:cNvPr id="20" name="Rectangle 19">
            <a:extLst>
              <a:ext uri="{FF2B5EF4-FFF2-40B4-BE49-F238E27FC236}">
                <a16:creationId xmlns:a16="http://schemas.microsoft.com/office/drawing/2014/main" id="{3A63E3E0-88B7-4511-959E-C761827E22D1}"/>
              </a:ext>
            </a:extLst>
          </p:cNvPr>
          <p:cNvSpPr/>
          <p:nvPr/>
        </p:nvSpPr>
        <p:spPr bwMode="gray">
          <a:xfrm>
            <a:off x="8496509" y="2053446"/>
            <a:ext cx="3219398" cy="652247"/>
          </a:xfrm>
          <a:prstGeom prst="rect">
            <a:avLst/>
          </a:prstGeom>
          <a:noFill/>
          <a:ln w="28575" cap="rnd" algn="ctr">
            <a:noFill/>
            <a:miter lim="800000"/>
            <a:headEnd/>
            <a:tailEnd/>
          </a:ln>
        </p:spPr>
        <p:txBody>
          <a:bodyPr lIns="45720" tIns="18288" rIns="0" bIns="18288" rtlCol="0" anchor="ctr" anchorCtr="0"/>
          <a:lstStyle/>
          <a:p>
            <a:pPr marL="171450" marR="0" lvl="0" indent="-171450" algn="l"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Connected price and promotion strategy and management  to meet revenue, profit goals</a:t>
            </a:r>
          </a:p>
          <a:p>
            <a:pPr marL="171450" marR="0" lvl="0" indent="-171450" algn="l"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Investment aligned with granular strategy, and with global understanding of trade maturity</a:t>
            </a:r>
          </a:p>
        </p:txBody>
      </p:sp>
      <p:sp>
        <p:nvSpPr>
          <p:cNvPr id="21" name="Rectangle 20">
            <a:extLst>
              <a:ext uri="{FF2B5EF4-FFF2-40B4-BE49-F238E27FC236}">
                <a16:creationId xmlns:a16="http://schemas.microsoft.com/office/drawing/2014/main" id="{F0284B63-4F9E-48DA-94B7-BCFA322D6D3B}"/>
              </a:ext>
            </a:extLst>
          </p:cNvPr>
          <p:cNvSpPr/>
          <p:nvPr/>
        </p:nvSpPr>
        <p:spPr bwMode="gray">
          <a:xfrm>
            <a:off x="2227657" y="2785326"/>
            <a:ext cx="3036657" cy="652247"/>
          </a:xfrm>
          <a:prstGeom prst="rect">
            <a:avLst/>
          </a:prstGeom>
          <a:noFill/>
          <a:ln w="28575" cap="rnd" algn="ctr">
            <a:noFill/>
            <a:miter lim="800000"/>
            <a:headEnd/>
            <a:tailEnd/>
          </a:ln>
        </p:spPr>
        <p:txBody>
          <a:bodyPr lIns="45720" tIns="18288" rIns="0" bIns="18288" rtlCol="0" anchor="ctr" anchorCtr="0"/>
          <a:lstStyle/>
          <a:p>
            <a:pPr marL="171450" marR="0" lvl="0" indent="-171450" algn="l"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lumMod val="60000"/>
                    <a:lumOff val="40000"/>
                  </a:srgbClr>
                </a:solidFill>
                <a:effectLst/>
                <a:uLnTx/>
                <a:uFillTx/>
                <a:ea typeface="+mn-ea"/>
                <a:cs typeface="+mn-cs"/>
              </a:rPr>
              <a:t>Prices set using cost plus</a:t>
            </a:r>
          </a:p>
          <a:p>
            <a:pPr marL="171450" marR="0" lvl="0" indent="-171450" algn="l"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lumMod val="60000"/>
                    <a:lumOff val="40000"/>
                  </a:srgbClr>
                </a:solidFill>
                <a:effectLst/>
                <a:uLnTx/>
                <a:uFillTx/>
                <a:ea typeface="+mn-ea"/>
                <a:cs typeface="+mn-cs"/>
              </a:rPr>
              <a:t>Limited / no post-promo analysis</a:t>
            </a:r>
          </a:p>
        </p:txBody>
      </p:sp>
      <p:sp>
        <p:nvSpPr>
          <p:cNvPr id="22" name="Rectangle 21">
            <a:extLst>
              <a:ext uri="{FF2B5EF4-FFF2-40B4-BE49-F238E27FC236}">
                <a16:creationId xmlns:a16="http://schemas.microsoft.com/office/drawing/2014/main" id="{CFC43370-BC8C-4FCD-95A7-4697B02C9B9A}"/>
              </a:ext>
            </a:extLst>
          </p:cNvPr>
          <p:cNvSpPr/>
          <p:nvPr/>
        </p:nvSpPr>
        <p:spPr bwMode="gray">
          <a:xfrm>
            <a:off x="5389278" y="2785326"/>
            <a:ext cx="3036657" cy="652247"/>
          </a:xfrm>
          <a:prstGeom prst="rect">
            <a:avLst/>
          </a:prstGeom>
          <a:noFill/>
          <a:ln w="28575" cap="rnd" algn="ctr">
            <a:noFill/>
            <a:miter lim="800000"/>
            <a:headEnd/>
            <a:tailEnd/>
          </a:ln>
        </p:spPr>
        <p:txBody>
          <a:bodyPr lIns="45720" tIns="18288" rIns="0" bIns="18288" rtlCol="0" anchor="ctr" anchorCtr="0"/>
          <a:lstStyle/>
          <a:p>
            <a:pPr marL="171450" marR="0" lvl="0" indent="-171450" algn="l"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787878">
                    <a:lumMod val="75000"/>
                  </a:srgbClr>
                </a:solidFill>
                <a:effectLst/>
                <a:uLnTx/>
                <a:uFillTx/>
                <a:ea typeface="+mn-ea"/>
                <a:cs typeface="+mn-cs"/>
              </a:rPr>
              <a:t>Prices set using historical analyses</a:t>
            </a:r>
            <a:endParaRPr kumimoji="0" lang="en-US" sz="1000" b="0" i="1" u="none" strike="noStrike" kern="1200" cap="none" spc="0" normalizeH="0" baseline="0" noProof="0" dirty="0">
              <a:ln>
                <a:noFill/>
              </a:ln>
              <a:solidFill>
                <a:srgbClr val="787878">
                  <a:lumMod val="75000"/>
                </a:srgbClr>
              </a:solidFill>
              <a:effectLst/>
              <a:uLnTx/>
              <a:uFillTx/>
              <a:ea typeface="+mn-ea"/>
              <a:cs typeface="+mn-cs"/>
            </a:endParaRPr>
          </a:p>
          <a:p>
            <a:pPr marL="171450" marR="0" lvl="0" indent="-171450" algn="l"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787878">
                    <a:lumMod val="75000"/>
                  </a:srgbClr>
                </a:solidFill>
                <a:effectLst/>
                <a:uLnTx/>
                <a:uFillTx/>
                <a:ea typeface="+mn-ea"/>
                <a:cs typeface="+mn-cs"/>
              </a:rPr>
              <a:t>Promotions achieve minimum ROI</a:t>
            </a:r>
          </a:p>
        </p:txBody>
      </p:sp>
      <p:sp>
        <p:nvSpPr>
          <p:cNvPr id="23" name="Rectangle 22">
            <a:extLst>
              <a:ext uri="{FF2B5EF4-FFF2-40B4-BE49-F238E27FC236}">
                <a16:creationId xmlns:a16="http://schemas.microsoft.com/office/drawing/2014/main" id="{C420B835-3270-4709-BBAE-5B93E9CAF650}"/>
              </a:ext>
            </a:extLst>
          </p:cNvPr>
          <p:cNvSpPr/>
          <p:nvPr/>
        </p:nvSpPr>
        <p:spPr bwMode="gray">
          <a:xfrm>
            <a:off x="8496509" y="2785326"/>
            <a:ext cx="3036657" cy="652247"/>
          </a:xfrm>
          <a:prstGeom prst="rect">
            <a:avLst/>
          </a:prstGeom>
          <a:noFill/>
          <a:ln w="28575" cap="rnd" algn="ctr">
            <a:noFill/>
            <a:miter lim="800000"/>
            <a:headEnd/>
            <a:tailEnd/>
          </a:ln>
        </p:spPr>
        <p:txBody>
          <a:bodyPr lIns="45720" tIns="18288" rIns="0" bIns="18288" rtlCol="0" anchor="ctr" anchorCtr="0"/>
          <a:lstStyle/>
          <a:p>
            <a:pPr marL="171450" marR="0" lvl="0" indent="-171450" algn="l"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Prices set using predictive modeling and advanced statistics in real time</a:t>
            </a:r>
          </a:p>
          <a:p>
            <a:pPr marL="171450" marR="0" lvl="0" indent="-171450" algn="l"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Promos decompose true and false lift to calculate “real ROI” with granular insights</a:t>
            </a:r>
          </a:p>
        </p:txBody>
      </p:sp>
      <p:sp>
        <p:nvSpPr>
          <p:cNvPr id="24" name="Rectangle 23">
            <a:extLst>
              <a:ext uri="{FF2B5EF4-FFF2-40B4-BE49-F238E27FC236}">
                <a16:creationId xmlns:a16="http://schemas.microsoft.com/office/drawing/2014/main" id="{D7DFF68E-20E2-4FDF-ADDB-0A6E4ABC9F99}"/>
              </a:ext>
            </a:extLst>
          </p:cNvPr>
          <p:cNvSpPr/>
          <p:nvPr/>
        </p:nvSpPr>
        <p:spPr bwMode="gray">
          <a:xfrm>
            <a:off x="2227657" y="3517206"/>
            <a:ext cx="3036657" cy="652247"/>
          </a:xfrm>
          <a:prstGeom prst="rect">
            <a:avLst/>
          </a:prstGeom>
          <a:noFill/>
          <a:ln w="28575" cap="rnd" algn="ctr">
            <a:noFill/>
            <a:miter lim="800000"/>
            <a:headEnd/>
            <a:tailEnd/>
          </a:ln>
        </p:spPr>
        <p:txBody>
          <a:bodyPr lIns="45720" tIns="18288" rIns="0" bIns="18288" rtlCol="0" anchor="ctr" anchorCtr="0"/>
          <a:lstStyle/>
          <a:p>
            <a:pPr marL="171450" marR="0" lvl="0" indent="-171450" algn="l"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lumMod val="60000"/>
                    <a:lumOff val="40000"/>
                  </a:srgbClr>
                </a:solidFill>
                <a:effectLst/>
                <a:uLnTx/>
                <a:uFillTx/>
                <a:ea typeface="+mn-ea"/>
                <a:cs typeface="+mn-cs"/>
              </a:rPr>
              <a:t>Ad-hoc tracking and reporting using mainly historical data and Excel based tools/reports</a:t>
            </a:r>
          </a:p>
        </p:txBody>
      </p:sp>
      <p:sp>
        <p:nvSpPr>
          <p:cNvPr id="25" name="Rectangle 24">
            <a:extLst>
              <a:ext uri="{FF2B5EF4-FFF2-40B4-BE49-F238E27FC236}">
                <a16:creationId xmlns:a16="http://schemas.microsoft.com/office/drawing/2014/main" id="{F5E864AF-FE3F-459D-A59D-473F88315B33}"/>
              </a:ext>
            </a:extLst>
          </p:cNvPr>
          <p:cNvSpPr/>
          <p:nvPr/>
        </p:nvSpPr>
        <p:spPr bwMode="gray">
          <a:xfrm>
            <a:off x="5389278" y="3517206"/>
            <a:ext cx="3036657" cy="652247"/>
          </a:xfrm>
          <a:prstGeom prst="rect">
            <a:avLst/>
          </a:prstGeom>
          <a:noFill/>
          <a:ln w="28575" cap="rnd" algn="ctr">
            <a:noFill/>
            <a:miter lim="800000"/>
            <a:headEnd/>
            <a:tailEnd/>
          </a:ln>
        </p:spPr>
        <p:txBody>
          <a:bodyPr lIns="45720" tIns="18288" rIns="0" bIns="18288" rtlCol="0" anchor="ctr" anchorCtr="0"/>
          <a:lstStyle/>
          <a:p>
            <a:pPr marL="171450" marR="0" lvl="0" indent="-171450" algn="l"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787878">
                    <a:lumMod val="75000"/>
                  </a:srgbClr>
                </a:solidFill>
                <a:effectLst/>
                <a:uLnTx/>
                <a:uFillTx/>
                <a:ea typeface="+mn-ea"/>
                <a:cs typeface="+mn-cs"/>
              </a:rPr>
              <a:t>Monitoring performance via </a:t>
            </a:r>
            <a:br>
              <a:rPr kumimoji="0" lang="en-US" sz="1000" b="0" i="0" u="none" strike="noStrike" kern="1200" cap="none" spc="0" normalizeH="0" baseline="0" noProof="0" dirty="0">
                <a:ln>
                  <a:noFill/>
                </a:ln>
                <a:solidFill>
                  <a:srgbClr val="787878">
                    <a:lumMod val="75000"/>
                  </a:srgbClr>
                </a:solidFill>
                <a:effectLst/>
                <a:uLnTx/>
                <a:uFillTx/>
                <a:ea typeface="+mn-ea"/>
                <a:cs typeface="+mn-cs"/>
              </a:rPr>
            </a:br>
            <a:r>
              <a:rPr kumimoji="0" lang="en-US" sz="1000" b="0" i="0" u="none" strike="noStrike" kern="1200" cap="none" spc="0" normalizeH="0" baseline="0" noProof="0" dirty="0">
                <a:ln>
                  <a:noFill/>
                </a:ln>
                <a:solidFill>
                  <a:srgbClr val="787878">
                    <a:lumMod val="75000"/>
                  </a:srgbClr>
                </a:solidFill>
                <a:effectLst/>
                <a:uLnTx/>
                <a:uFillTx/>
                <a:ea typeface="+mn-ea"/>
                <a:cs typeface="+mn-cs"/>
              </a:rPr>
              <a:t>syndicated data and standard dashboards</a:t>
            </a:r>
          </a:p>
        </p:txBody>
      </p:sp>
      <p:sp>
        <p:nvSpPr>
          <p:cNvPr id="26" name="Rectangle 25">
            <a:extLst>
              <a:ext uri="{FF2B5EF4-FFF2-40B4-BE49-F238E27FC236}">
                <a16:creationId xmlns:a16="http://schemas.microsoft.com/office/drawing/2014/main" id="{2E9E1CAF-7688-4A4F-9659-5D6B7239009C}"/>
              </a:ext>
            </a:extLst>
          </p:cNvPr>
          <p:cNvSpPr/>
          <p:nvPr/>
        </p:nvSpPr>
        <p:spPr bwMode="gray">
          <a:xfrm>
            <a:off x="8496509" y="3517206"/>
            <a:ext cx="3036657" cy="652247"/>
          </a:xfrm>
          <a:prstGeom prst="rect">
            <a:avLst/>
          </a:prstGeom>
          <a:noFill/>
          <a:ln w="28575" cap="rnd" algn="ctr">
            <a:noFill/>
            <a:miter lim="800000"/>
            <a:headEnd/>
            <a:tailEnd/>
          </a:ln>
        </p:spPr>
        <p:txBody>
          <a:bodyPr lIns="45720" tIns="18288" rIns="0" bIns="18288" rtlCol="0" anchor="ctr" anchorCtr="0"/>
          <a:lstStyle/>
          <a:p>
            <a:pPr marL="171450" marR="0" lvl="0" indent="-171450" algn="l"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Real-time insights using retailer POS data for predictive models and price optimization tools</a:t>
            </a:r>
          </a:p>
          <a:p>
            <a:pPr marL="171450" marR="0" lvl="0" indent="-171450" algn="l"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Insights are put in the hands of “feet on the street” to immediately implement pricing rec’s</a:t>
            </a:r>
          </a:p>
        </p:txBody>
      </p:sp>
      <p:sp>
        <p:nvSpPr>
          <p:cNvPr id="27" name="Rectangle 26">
            <a:extLst>
              <a:ext uri="{FF2B5EF4-FFF2-40B4-BE49-F238E27FC236}">
                <a16:creationId xmlns:a16="http://schemas.microsoft.com/office/drawing/2014/main" id="{A4BF9F47-AD09-4063-AE49-5CC929CD4AD9}"/>
              </a:ext>
            </a:extLst>
          </p:cNvPr>
          <p:cNvSpPr/>
          <p:nvPr/>
        </p:nvSpPr>
        <p:spPr bwMode="gray">
          <a:xfrm>
            <a:off x="2227657" y="4249087"/>
            <a:ext cx="3036657" cy="652247"/>
          </a:xfrm>
          <a:prstGeom prst="rect">
            <a:avLst/>
          </a:prstGeom>
          <a:noFill/>
          <a:ln w="28575" cap="rnd" algn="ctr">
            <a:noFill/>
            <a:miter lim="800000"/>
            <a:headEnd/>
            <a:tailEnd/>
          </a:ln>
        </p:spPr>
        <p:txBody>
          <a:bodyPr lIns="45720" tIns="18288" rIns="0" bIns="18288" rtlCol="0" anchor="ctr" anchorCtr="0"/>
          <a:lstStyle/>
          <a:p>
            <a:pPr marL="171450" marR="0" lvl="0" indent="-171450" algn="l"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lumMod val="60000"/>
                    <a:lumOff val="40000"/>
                  </a:srgbClr>
                </a:solidFill>
                <a:effectLst/>
                <a:uLnTx/>
                <a:uFillTx/>
                <a:ea typeface="+mn-ea"/>
                <a:cs typeface="+mn-cs"/>
              </a:rPr>
              <a:t>Silo’ed organization</a:t>
            </a:r>
            <a:br>
              <a:rPr kumimoji="0" lang="en-US" sz="1000" b="0" i="0" u="none" strike="noStrike" kern="1200" cap="none" spc="0" normalizeH="0" baseline="0" noProof="0" dirty="0">
                <a:ln>
                  <a:noFill/>
                </a:ln>
                <a:solidFill>
                  <a:srgbClr val="000000">
                    <a:lumMod val="60000"/>
                    <a:lumOff val="40000"/>
                  </a:srgbClr>
                </a:solidFill>
                <a:effectLst/>
                <a:uLnTx/>
                <a:uFillTx/>
                <a:ea typeface="+mn-ea"/>
                <a:cs typeface="+mn-cs"/>
              </a:rPr>
            </a:br>
            <a:r>
              <a:rPr kumimoji="0" lang="en-US" sz="1000" b="0" i="1" u="none" strike="noStrike" kern="1200" cap="none" spc="0" normalizeH="0" baseline="0" noProof="0" dirty="0">
                <a:ln>
                  <a:noFill/>
                </a:ln>
                <a:solidFill>
                  <a:srgbClr val="000000">
                    <a:lumMod val="60000"/>
                    <a:lumOff val="40000"/>
                  </a:srgbClr>
                </a:solidFill>
                <a:effectLst/>
                <a:uLnTx/>
                <a:uFillTx/>
                <a:ea typeface="+mn-ea"/>
                <a:cs typeface="+mn-cs"/>
              </a:rPr>
              <a:t>(Mkt = Pricing; Sales = Trade Promos)</a:t>
            </a:r>
            <a:endParaRPr kumimoji="0" lang="en-US" sz="1000" b="0" i="0" u="none" strike="noStrike" kern="1200" cap="none" spc="0" normalizeH="0" baseline="0" noProof="0" dirty="0">
              <a:ln>
                <a:noFill/>
              </a:ln>
              <a:solidFill>
                <a:srgbClr val="000000">
                  <a:lumMod val="60000"/>
                  <a:lumOff val="40000"/>
                </a:srgbClr>
              </a:solidFill>
              <a:effectLst/>
              <a:uLnTx/>
              <a:uFillTx/>
              <a:ea typeface="+mn-ea"/>
              <a:cs typeface="+mn-cs"/>
            </a:endParaRPr>
          </a:p>
        </p:txBody>
      </p:sp>
      <p:sp>
        <p:nvSpPr>
          <p:cNvPr id="28" name="Rectangle 27">
            <a:extLst>
              <a:ext uri="{FF2B5EF4-FFF2-40B4-BE49-F238E27FC236}">
                <a16:creationId xmlns:a16="http://schemas.microsoft.com/office/drawing/2014/main" id="{28659451-C8CA-45D6-89A0-B47AA499D52B}"/>
              </a:ext>
            </a:extLst>
          </p:cNvPr>
          <p:cNvSpPr/>
          <p:nvPr/>
        </p:nvSpPr>
        <p:spPr bwMode="gray">
          <a:xfrm>
            <a:off x="5389278" y="4249087"/>
            <a:ext cx="3036657" cy="652247"/>
          </a:xfrm>
          <a:prstGeom prst="rect">
            <a:avLst/>
          </a:prstGeom>
          <a:noFill/>
          <a:ln w="28575" cap="rnd" algn="ctr">
            <a:noFill/>
            <a:miter lim="800000"/>
            <a:headEnd/>
            <a:tailEnd/>
          </a:ln>
        </p:spPr>
        <p:txBody>
          <a:bodyPr lIns="45720" tIns="18288" rIns="0" bIns="18288" rtlCol="0" anchor="ctr" anchorCtr="0"/>
          <a:lstStyle/>
          <a:p>
            <a:pPr marL="171450" marR="0" lvl="0" indent="-171450" algn="l"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787878">
                    <a:lumMod val="75000"/>
                  </a:srgbClr>
                </a:solidFill>
                <a:effectLst/>
                <a:uLnTx/>
                <a:uFillTx/>
                <a:ea typeface="+mn-ea"/>
                <a:cs typeface="+mn-cs"/>
              </a:rPr>
              <a:t>Dotted-line reporting to create shared go-to-market responsibilities</a:t>
            </a:r>
          </a:p>
        </p:txBody>
      </p:sp>
      <p:sp>
        <p:nvSpPr>
          <p:cNvPr id="29" name="Rectangle 28">
            <a:extLst>
              <a:ext uri="{FF2B5EF4-FFF2-40B4-BE49-F238E27FC236}">
                <a16:creationId xmlns:a16="http://schemas.microsoft.com/office/drawing/2014/main" id="{7CD18CA3-4B3C-455E-A512-5D9EF9DFDFA3}"/>
              </a:ext>
            </a:extLst>
          </p:cNvPr>
          <p:cNvSpPr/>
          <p:nvPr/>
        </p:nvSpPr>
        <p:spPr bwMode="gray">
          <a:xfrm>
            <a:off x="8496509" y="4249087"/>
            <a:ext cx="3036657" cy="652247"/>
          </a:xfrm>
          <a:prstGeom prst="rect">
            <a:avLst/>
          </a:prstGeom>
          <a:noFill/>
          <a:ln w="28575" cap="rnd" algn="ctr">
            <a:noFill/>
            <a:miter lim="800000"/>
            <a:headEnd/>
            <a:tailEnd/>
          </a:ln>
        </p:spPr>
        <p:txBody>
          <a:bodyPr lIns="45720" tIns="18288" rIns="0" bIns="18288" rtlCol="0" anchor="ctr" anchorCtr="0"/>
          <a:lstStyle/>
          <a:p>
            <a:pPr marL="171450" marR="0" lvl="0" indent="-171450" algn="l"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Integrated go-to-market responsibilities</a:t>
            </a:r>
          </a:p>
          <a:p>
            <a:pPr marL="171450" marR="0" lvl="0" indent="-171450" algn="l"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Common and aligned incentives across marketing and sales</a:t>
            </a:r>
          </a:p>
        </p:txBody>
      </p:sp>
      <p:sp>
        <p:nvSpPr>
          <p:cNvPr id="30" name="Rectangle 29">
            <a:extLst>
              <a:ext uri="{FF2B5EF4-FFF2-40B4-BE49-F238E27FC236}">
                <a16:creationId xmlns:a16="http://schemas.microsoft.com/office/drawing/2014/main" id="{26CF8468-B1CF-4F9D-A39F-D46D646CDEC3}"/>
              </a:ext>
            </a:extLst>
          </p:cNvPr>
          <p:cNvSpPr/>
          <p:nvPr/>
        </p:nvSpPr>
        <p:spPr bwMode="gray">
          <a:xfrm>
            <a:off x="2227657" y="4980967"/>
            <a:ext cx="3036657" cy="652247"/>
          </a:xfrm>
          <a:prstGeom prst="rect">
            <a:avLst/>
          </a:prstGeom>
          <a:noFill/>
          <a:ln w="28575" cap="rnd" algn="ctr">
            <a:noFill/>
            <a:miter lim="800000"/>
            <a:headEnd/>
            <a:tailEnd/>
          </a:ln>
        </p:spPr>
        <p:txBody>
          <a:bodyPr lIns="45720" tIns="18288" rIns="0" bIns="18288" rtlCol="0" anchor="ctr" anchorCtr="0"/>
          <a:lstStyle/>
          <a:p>
            <a:pPr marL="171450" marR="0" lvl="0" indent="-171450" algn="l"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lumMod val="60000"/>
                    <a:lumOff val="40000"/>
                  </a:srgbClr>
                </a:solidFill>
                <a:effectLst/>
                <a:uLnTx/>
                <a:uFillTx/>
                <a:ea typeface="+mn-ea"/>
                <a:cs typeface="+mn-cs"/>
              </a:rPr>
              <a:t>No policies in place and limited controls</a:t>
            </a:r>
          </a:p>
        </p:txBody>
      </p:sp>
      <p:sp>
        <p:nvSpPr>
          <p:cNvPr id="31" name="Rectangle 30">
            <a:extLst>
              <a:ext uri="{FF2B5EF4-FFF2-40B4-BE49-F238E27FC236}">
                <a16:creationId xmlns:a16="http://schemas.microsoft.com/office/drawing/2014/main" id="{6702D8E3-BE2B-4C9F-A5CF-471BD615C77A}"/>
              </a:ext>
            </a:extLst>
          </p:cNvPr>
          <p:cNvSpPr/>
          <p:nvPr/>
        </p:nvSpPr>
        <p:spPr bwMode="gray">
          <a:xfrm>
            <a:off x="5389278" y="4980967"/>
            <a:ext cx="3036657" cy="652247"/>
          </a:xfrm>
          <a:prstGeom prst="rect">
            <a:avLst/>
          </a:prstGeom>
          <a:noFill/>
          <a:ln w="28575" cap="rnd" algn="ctr">
            <a:noFill/>
            <a:miter lim="800000"/>
            <a:headEnd/>
            <a:tailEnd/>
          </a:ln>
        </p:spPr>
        <p:txBody>
          <a:bodyPr lIns="45720" tIns="18288" rIns="0" bIns="18288" rtlCol="0" anchor="ctr" anchorCtr="0"/>
          <a:lstStyle/>
          <a:p>
            <a:pPr marL="171450" marR="0" lvl="0" indent="-171450" algn="l"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787878">
                    <a:lumMod val="75000"/>
                  </a:srgbClr>
                </a:solidFill>
                <a:effectLst/>
                <a:uLnTx/>
                <a:uFillTx/>
                <a:ea typeface="+mn-ea"/>
                <a:cs typeface="+mn-cs"/>
              </a:rPr>
              <a:t>Simple approval process for price exceptions</a:t>
            </a:r>
          </a:p>
        </p:txBody>
      </p:sp>
      <p:sp>
        <p:nvSpPr>
          <p:cNvPr id="32" name="Rectangle 31">
            <a:extLst>
              <a:ext uri="{FF2B5EF4-FFF2-40B4-BE49-F238E27FC236}">
                <a16:creationId xmlns:a16="http://schemas.microsoft.com/office/drawing/2014/main" id="{B0443087-E3FB-4978-9C7A-2EEA6EFEC837}"/>
              </a:ext>
            </a:extLst>
          </p:cNvPr>
          <p:cNvSpPr/>
          <p:nvPr/>
        </p:nvSpPr>
        <p:spPr bwMode="gray">
          <a:xfrm>
            <a:off x="8496509" y="4980967"/>
            <a:ext cx="3036657" cy="652247"/>
          </a:xfrm>
          <a:prstGeom prst="rect">
            <a:avLst/>
          </a:prstGeom>
          <a:noFill/>
          <a:ln w="28575" cap="rnd" algn="ctr">
            <a:noFill/>
            <a:miter lim="800000"/>
            <a:headEnd/>
            <a:tailEnd/>
          </a:ln>
        </p:spPr>
        <p:txBody>
          <a:bodyPr lIns="45720" tIns="18288" rIns="0" bIns="18288" rtlCol="0" anchor="ctr" anchorCtr="0"/>
          <a:lstStyle/>
          <a:p>
            <a:pPr marL="171450" marR="0" lvl="0" indent="-171450" algn="l"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Documented pricing policies and strict exception process</a:t>
            </a:r>
          </a:p>
          <a:p>
            <a:pPr marL="171450" marR="0" lvl="0" indent="-171450" algn="l"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Real-time management of price and promotion execution</a:t>
            </a:r>
          </a:p>
        </p:txBody>
      </p:sp>
      <p:sp>
        <p:nvSpPr>
          <p:cNvPr id="33" name="Rectangle 32">
            <a:extLst>
              <a:ext uri="{FF2B5EF4-FFF2-40B4-BE49-F238E27FC236}">
                <a16:creationId xmlns:a16="http://schemas.microsoft.com/office/drawing/2014/main" id="{8E8F3E69-0CEE-44E3-85C3-A1051D57A416}"/>
              </a:ext>
            </a:extLst>
          </p:cNvPr>
          <p:cNvSpPr/>
          <p:nvPr/>
        </p:nvSpPr>
        <p:spPr bwMode="gray">
          <a:xfrm>
            <a:off x="2227657" y="5712848"/>
            <a:ext cx="3036657" cy="652247"/>
          </a:xfrm>
          <a:prstGeom prst="rect">
            <a:avLst/>
          </a:prstGeom>
          <a:noFill/>
          <a:ln w="28575" cap="rnd" algn="ctr">
            <a:noFill/>
            <a:miter lim="800000"/>
            <a:headEnd/>
            <a:tailEnd/>
          </a:ln>
        </p:spPr>
        <p:txBody>
          <a:bodyPr lIns="45720" tIns="18288" rIns="0" bIns="18288" rtlCol="0" anchor="ctr" anchorCtr="0"/>
          <a:lstStyle/>
          <a:p>
            <a:pPr marL="171450" marR="0" lvl="0" indent="-171450" algn="l" defTabSz="914400" rtl="0" eaLnBrk="0" fontAlgn="auto" latinLnBrk="0" hangingPunct="0">
              <a:lnSpc>
                <a:spcPct val="106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lumMod val="60000"/>
                    <a:lumOff val="40000"/>
                  </a:srgbClr>
                </a:solidFill>
                <a:effectLst/>
                <a:uLnTx/>
                <a:uFillTx/>
                <a:ea typeface="+mn-ea"/>
                <a:cs typeface="+mn-cs"/>
              </a:rPr>
              <a:t>Basic use and awareness of international reference prices and compliance with local regulations</a:t>
            </a:r>
          </a:p>
        </p:txBody>
      </p:sp>
      <p:sp>
        <p:nvSpPr>
          <p:cNvPr id="34" name="Rectangle 33">
            <a:extLst>
              <a:ext uri="{FF2B5EF4-FFF2-40B4-BE49-F238E27FC236}">
                <a16:creationId xmlns:a16="http://schemas.microsoft.com/office/drawing/2014/main" id="{F625A5E1-833B-4EE2-9FE5-504704E78928}"/>
              </a:ext>
            </a:extLst>
          </p:cNvPr>
          <p:cNvSpPr/>
          <p:nvPr/>
        </p:nvSpPr>
        <p:spPr bwMode="gray">
          <a:xfrm>
            <a:off x="5389278" y="5712848"/>
            <a:ext cx="3036657" cy="652247"/>
          </a:xfrm>
          <a:prstGeom prst="rect">
            <a:avLst/>
          </a:prstGeom>
          <a:noFill/>
          <a:ln w="28575" cap="rnd" algn="ctr">
            <a:noFill/>
            <a:miter lim="800000"/>
            <a:headEnd/>
            <a:tailEnd/>
          </a:ln>
        </p:spPr>
        <p:txBody>
          <a:bodyPr lIns="45720" tIns="18288" rIns="0" bIns="18288" rtlCol="0" anchor="ctr" anchorCtr="0"/>
          <a:lstStyle/>
          <a:p>
            <a:pPr marL="171450" marR="0" lvl="0" indent="-171450" algn="l" defTabSz="914400" rtl="0" eaLnBrk="0" fontAlgn="auto" latinLnBrk="0" hangingPunct="0">
              <a:lnSpc>
                <a:spcPct val="106000"/>
              </a:lnSpc>
              <a:spcBef>
                <a:spcPts val="6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787878">
                    <a:lumMod val="75000"/>
                  </a:srgbClr>
                </a:solidFill>
                <a:effectLst/>
                <a:uLnTx/>
                <a:uFillTx/>
                <a:ea typeface="+mn-ea"/>
                <a:cs typeface="+mn-cs"/>
              </a:rPr>
              <a:t>In large/key markets, some data analysis and review processes in place to understand impact of local prices on global market</a:t>
            </a:r>
          </a:p>
        </p:txBody>
      </p:sp>
      <p:sp>
        <p:nvSpPr>
          <p:cNvPr id="35" name="Rectangle 34">
            <a:extLst>
              <a:ext uri="{FF2B5EF4-FFF2-40B4-BE49-F238E27FC236}">
                <a16:creationId xmlns:a16="http://schemas.microsoft.com/office/drawing/2014/main" id="{AB7CAEFE-DACC-46E9-81C8-CCEFBE7D2C15}"/>
              </a:ext>
            </a:extLst>
          </p:cNvPr>
          <p:cNvSpPr/>
          <p:nvPr/>
        </p:nvSpPr>
        <p:spPr bwMode="gray">
          <a:xfrm>
            <a:off x="8496509" y="5712848"/>
            <a:ext cx="3036657" cy="652247"/>
          </a:xfrm>
          <a:prstGeom prst="rect">
            <a:avLst/>
          </a:prstGeom>
          <a:noFill/>
          <a:ln w="28575" cap="rnd" algn="ctr">
            <a:noFill/>
            <a:miter lim="800000"/>
            <a:headEnd/>
            <a:tailEnd/>
          </a:ln>
        </p:spPr>
        <p:txBody>
          <a:bodyPr lIns="45720" tIns="18288" rIns="0" bIns="18288" rtlCol="0" anchor="ctr" anchorCtr="0"/>
          <a:lstStyle/>
          <a:p>
            <a:pPr marL="171450" marR="0" lvl="0" indent="-171450" algn="l" defTabSz="914400" rtl="0" eaLnBrk="0" fontAlgn="auto" latinLnBrk="0" hangingPunct="0">
              <a:lnSpc>
                <a:spcPct val="106000"/>
              </a:lnSpc>
              <a:spcBef>
                <a:spcPts val="6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Proactive management of cross-border trade through global coordination of price setting/IRP</a:t>
            </a:r>
          </a:p>
        </p:txBody>
      </p:sp>
      <p:cxnSp>
        <p:nvCxnSpPr>
          <p:cNvPr id="36" name="Elbow Connector 47">
            <a:extLst>
              <a:ext uri="{FF2B5EF4-FFF2-40B4-BE49-F238E27FC236}">
                <a16:creationId xmlns:a16="http://schemas.microsoft.com/office/drawing/2014/main" id="{831E011E-AE14-4716-9569-34D8960B49F0}"/>
              </a:ext>
            </a:extLst>
          </p:cNvPr>
          <p:cNvCxnSpPr>
            <a:cxnSpLocks/>
          </p:cNvCxnSpPr>
          <p:nvPr/>
        </p:nvCxnSpPr>
        <p:spPr bwMode="auto">
          <a:xfrm rot="5400000" flipH="1" flipV="1">
            <a:off x="5234576" y="-23437"/>
            <a:ext cx="99638" cy="3161620"/>
          </a:xfrm>
          <a:prstGeom prst="curvedConnector3">
            <a:avLst>
              <a:gd name="adj1" fmla="val 347961"/>
            </a:avLst>
          </a:prstGeom>
          <a:solidFill>
            <a:schemeClr val="accent2"/>
          </a:solidFill>
          <a:ln w="12700" cap="flat" cmpd="sng" algn="ctr">
            <a:solidFill>
              <a:schemeClr val="accent1"/>
            </a:solidFill>
            <a:prstDash val="solid"/>
            <a:round/>
            <a:headEnd type="none" w="med" len="med"/>
            <a:tailEnd type="triangle" w="lg" len="med"/>
          </a:ln>
          <a:effectLst/>
        </p:spPr>
      </p:cxnSp>
      <p:cxnSp>
        <p:nvCxnSpPr>
          <p:cNvPr id="37" name="Elbow Connector 47">
            <a:extLst>
              <a:ext uri="{FF2B5EF4-FFF2-40B4-BE49-F238E27FC236}">
                <a16:creationId xmlns:a16="http://schemas.microsoft.com/office/drawing/2014/main" id="{8C1E9076-4076-4EE1-BCB1-3F7403F70DC3}"/>
              </a:ext>
            </a:extLst>
          </p:cNvPr>
          <p:cNvCxnSpPr>
            <a:cxnSpLocks/>
          </p:cNvCxnSpPr>
          <p:nvPr/>
        </p:nvCxnSpPr>
        <p:spPr bwMode="auto">
          <a:xfrm rot="5400000" flipH="1" flipV="1">
            <a:off x="8638327" y="-89328"/>
            <a:ext cx="52718" cy="3161620"/>
          </a:xfrm>
          <a:prstGeom prst="curvedConnector3">
            <a:avLst>
              <a:gd name="adj1" fmla="val 568654"/>
            </a:avLst>
          </a:prstGeom>
          <a:solidFill>
            <a:schemeClr val="accent2"/>
          </a:solidFill>
          <a:ln w="12700" cap="flat" cmpd="sng" algn="ctr">
            <a:solidFill>
              <a:schemeClr val="accent1"/>
            </a:solidFill>
            <a:prstDash val="solid"/>
            <a:round/>
            <a:headEnd type="none" w="med" len="med"/>
            <a:tailEnd type="triangle" w="lg" len="med"/>
          </a:ln>
          <a:effectLst/>
        </p:spPr>
      </p:cxnSp>
      <p:cxnSp>
        <p:nvCxnSpPr>
          <p:cNvPr id="38" name="Straight Connector 37">
            <a:extLst>
              <a:ext uri="{FF2B5EF4-FFF2-40B4-BE49-F238E27FC236}">
                <a16:creationId xmlns:a16="http://schemas.microsoft.com/office/drawing/2014/main" id="{F5F282D5-84FD-4866-A675-FE056C49FBC6}"/>
              </a:ext>
            </a:extLst>
          </p:cNvPr>
          <p:cNvCxnSpPr/>
          <p:nvPr/>
        </p:nvCxnSpPr>
        <p:spPr bwMode="auto">
          <a:xfrm>
            <a:off x="501650" y="1951707"/>
            <a:ext cx="1639795" cy="0"/>
          </a:xfrm>
          <a:prstGeom prst="line">
            <a:avLst/>
          </a:prstGeom>
          <a:solidFill>
            <a:schemeClr val="accent2"/>
          </a:solidFill>
          <a:ln w="19050" cap="flat" cmpd="sng" algn="ctr">
            <a:solidFill>
              <a:schemeClr val="accent1"/>
            </a:solidFill>
            <a:prstDash val="solid"/>
            <a:round/>
            <a:headEnd type="none" w="med" len="med"/>
            <a:tailEnd type="none" w="med" len="med"/>
          </a:ln>
          <a:effectLst/>
        </p:spPr>
      </p:cxnSp>
    </p:spTree>
    <p:extLst>
      <p:ext uri="{BB962C8B-B14F-4D97-AF65-F5344CB8AC3E}">
        <p14:creationId xmlns:p14="http://schemas.microsoft.com/office/powerpoint/2010/main" val="2545595769"/>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568A1C93-9354-40C4-B1E6-734878AB03B5}"/>
              </a:ext>
            </a:extLst>
          </p:cNvPr>
          <p:cNvGraphicFramePr>
            <a:graphicFrameLocks noChangeAspect="1"/>
          </p:cNvGraphicFramePr>
          <p:nvPr>
            <p:custDataLst>
              <p:tags r:id="rId2"/>
            </p:custDataLst>
            <p:extLst>
              <p:ext uri="{D42A27DB-BD31-4B8C-83A1-F6EECF244321}">
                <p14:modId xmlns:p14="http://schemas.microsoft.com/office/powerpoint/2010/main" val="10344958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44" name="think-cell Slide" r:id="rId6" imgW="395" imgH="396" progId="TCLayout.ActiveDocument.1">
                  <p:embed/>
                </p:oleObj>
              </mc:Choice>
              <mc:Fallback>
                <p:oleObj name="think-cell Slide" r:id="rId6" imgW="395" imgH="396" progId="TCLayout.ActiveDocument.1">
                  <p:embed/>
                  <p:pic>
                    <p:nvPicPr>
                      <p:cNvPr id="25" name="Object 24" hidden="1">
                        <a:extLst>
                          <a:ext uri="{FF2B5EF4-FFF2-40B4-BE49-F238E27FC236}">
                            <a16:creationId xmlns:a16="http://schemas.microsoft.com/office/drawing/2014/main" id="{568A1C93-9354-40C4-B1E6-734878AB03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4" name="Rectangle 23" hidden="1">
            <a:extLst>
              <a:ext uri="{FF2B5EF4-FFF2-40B4-BE49-F238E27FC236}">
                <a16:creationId xmlns:a16="http://schemas.microsoft.com/office/drawing/2014/main" id="{B3FE60CE-6ACD-4549-8E26-9003BD39F0D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7E957623-8343-4B42-8D24-9EA13B19682A}"/>
              </a:ext>
            </a:extLst>
          </p:cNvPr>
          <p:cNvSpPr>
            <a:spLocks noGrp="1"/>
          </p:cNvSpPr>
          <p:nvPr>
            <p:ph type="title"/>
          </p:nvPr>
        </p:nvSpPr>
        <p:spPr/>
        <p:txBody>
          <a:bodyPr/>
          <a:lstStyle/>
          <a:p>
            <a:r>
              <a:rPr lang="en-US" dirty="0"/>
              <a:t>Data Scope</a:t>
            </a:r>
          </a:p>
        </p:txBody>
      </p:sp>
      <p:sp>
        <p:nvSpPr>
          <p:cNvPr id="3" name="Text Placeholder 2">
            <a:extLst>
              <a:ext uri="{FF2B5EF4-FFF2-40B4-BE49-F238E27FC236}">
                <a16:creationId xmlns:a16="http://schemas.microsoft.com/office/drawing/2014/main" id="{FE15ABCD-4ECA-4FC0-A5F4-914CFC23A7C4}"/>
              </a:ext>
            </a:extLst>
          </p:cNvPr>
          <p:cNvSpPr>
            <a:spLocks noGrp="1"/>
          </p:cNvSpPr>
          <p:nvPr>
            <p:ph type="body" sz="quarter" idx="14"/>
          </p:nvPr>
        </p:nvSpPr>
        <p:spPr>
          <a:xfrm>
            <a:off x="914721" y="1353312"/>
            <a:ext cx="10362880" cy="475488"/>
          </a:xfrm>
        </p:spPr>
        <p:txBody>
          <a:bodyPr/>
          <a:lstStyle/>
          <a:p>
            <a:r>
              <a:rPr lang="en-US" dirty="0"/>
              <a:t>Through feedback from the business, we filtered the dataset to only analyze accounts that will be fully-serviced in the future</a:t>
            </a:r>
          </a:p>
          <a:p>
            <a:endParaRPr lang="en-US" dirty="0"/>
          </a:p>
        </p:txBody>
      </p:sp>
      <p:sp>
        <p:nvSpPr>
          <p:cNvPr id="5" name="Trapezoid 4">
            <a:extLst>
              <a:ext uri="{FF2B5EF4-FFF2-40B4-BE49-F238E27FC236}">
                <a16:creationId xmlns:a16="http://schemas.microsoft.com/office/drawing/2014/main" id="{58F6C628-2284-4ECF-BFAC-CA614BB5C1B0}"/>
              </a:ext>
            </a:extLst>
          </p:cNvPr>
          <p:cNvSpPr/>
          <p:nvPr/>
        </p:nvSpPr>
        <p:spPr bwMode="gray">
          <a:xfrm flipV="1">
            <a:off x="1115451" y="2953565"/>
            <a:ext cx="3657599" cy="2396363"/>
          </a:xfrm>
          <a:prstGeom prst="trapezoid">
            <a:avLst>
              <a:gd name="adj" fmla="val 30136"/>
            </a:avLst>
          </a:prstGeom>
          <a:solidFill>
            <a:schemeClr val="bg1">
              <a:lumMod val="95000"/>
            </a:schemeClr>
          </a:solidFill>
          <a:ln w="12700" cap="flat" cmpd="sng" algn="ctr">
            <a:solidFill>
              <a:schemeClr val="bg1">
                <a:lumMod val="85000"/>
              </a:schemeClr>
            </a:solidFill>
            <a:prstDash val="solid"/>
            <a:round/>
            <a:headEnd type="none" w="med" len="med"/>
            <a:tailEnd type="none" w="med" len="med"/>
          </a:ln>
          <a:effectLst/>
        </p:spPr>
        <p:txBody>
          <a:bodyPr vert="horz" wrap="square" lIns="73152" tIns="73152" rIns="73152" bIns="73152" numCol="1" rtlCol="0" anchor="t" anchorCtr="0" compatLnSpc="1">
            <a:prstTxWarp prst="textNoShape">
              <a:avLst/>
            </a:prstTxWarp>
          </a:bodyPr>
          <a:lstStyle/>
          <a:p>
            <a:pPr marL="0" marR="0" lvl="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a:pPr>
            <a:endParaRPr kumimoji="0" lang="en-US" sz="1100" b="0" i="0" u="none" strike="noStrike" kern="1200" cap="none" spc="0" normalizeH="0" baseline="0" noProof="0" dirty="0">
              <a:ln>
                <a:noFill/>
              </a:ln>
              <a:solidFill>
                <a:srgbClr val="000000"/>
              </a:solidFill>
              <a:effectLst/>
              <a:uLnTx/>
              <a:uFillTx/>
              <a:ea typeface="+mn-ea"/>
              <a:cs typeface="+mn-cs"/>
            </a:endParaRPr>
          </a:p>
        </p:txBody>
      </p:sp>
      <p:sp>
        <p:nvSpPr>
          <p:cNvPr id="6" name="Text Placeholder 10">
            <a:extLst>
              <a:ext uri="{FF2B5EF4-FFF2-40B4-BE49-F238E27FC236}">
                <a16:creationId xmlns:a16="http://schemas.microsoft.com/office/drawing/2014/main" id="{6D57ED3F-63B0-4AE5-9BB9-6B90C3B222BE}"/>
              </a:ext>
            </a:extLst>
          </p:cNvPr>
          <p:cNvSpPr txBox="1">
            <a:spLocks/>
          </p:cNvSpPr>
          <p:nvPr/>
        </p:nvSpPr>
        <p:spPr>
          <a:xfrm>
            <a:off x="469900" y="1237869"/>
            <a:ext cx="11252200" cy="757255"/>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8" name="Rectangle 7">
            <a:extLst>
              <a:ext uri="{FF2B5EF4-FFF2-40B4-BE49-F238E27FC236}">
                <a16:creationId xmlns:a16="http://schemas.microsoft.com/office/drawing/2014/main" id="{0DE6B1AA-682B-4D48-BEA1-EC8ED0D1F100}"/>
              </a:ext>
            </a:extLst>
          </p:cNvPr>
          <p:cNvSpPr/>
          <p:nvPr/>
        </p:nvSpPr>
        <p:spPr bwMode="gray">
          <a:xfrm>
            <a:off x="1858782" y="5354301"/>
            <a:ext cx="2194426" cy="628816"/>
          </a:xfrm>
          <a:prstGeom prst="rect">
            <a:avLst/>
          </a:prstGeom>
          <a:solidFill>
            <a:schemeClr val="accent3"/>
          </a:solidFill>
          <a:ln w="15875" cap="rnd" algn="ctr">
            <a:noFill/>
            <a:miter lim="800000"/>
            <a:headEnd/>
            <a:tailEnd/>
          </a:ln>
        </p:spPr>
        <p:txBody>
          <a:bodyPr lIns="91440" rtlCol="0" anchor="ctr" anchorCtr="1"/>
          <a:lstStyle/>
          <a:p>
            <a:pPr marL="0" marR="0" lvl="0" indent="0" algn="ctr" defTabSz="914400" rtl="0" eaLnBrk="0" fontAlgn="auto" latinLnBrk="0" hangingPunct="0">
              <a:lnSpc>
                <a:spcPct val="106000"/>
              </a:lnSpc>
              <a:spcBef>
                <a:spcPts val="0"/>
              </a:spcBef>
              <a:spcAft>
                <a:spcPts val="0"/>
              </a:spcAft>
              <a:buClrTx/>
              <a:buSzTx/>
              <a:buFontTx/>
              <a:buNone/>
              <a:tabLst/>
              <a:defRPr/>
            </a:pPr>
            <a:r>
              <a:rPr kumimoji="0" lang="en-US" sz="1100" b="1" i="1" u="none" strike="noStrike" kern="1200" cap="none" spc="0" normalizeH="0" baseline="0" noProof="0" dirty="0">
                <a:ln>
                  <a:noFill/>
                </a:ln>
                <a:effectLst/>
                <a:uLnTx/>
                <a:uFillTx/>
                <a:ea typeface="+mn-ea"/>
                <a:cs typeface="+mn-cs"/>
              </a:rPr>
              <a:t>Accounts to be Fully Serviced</a:t>
            </a:r>
          </a:p>
        </p:txBody>
      </p:sp>
      <p:sp>
        <p:nvSpPr>
          <p:cNvPr id="9" name="TextBox 8">
            <a:extLst>
              <a:ext uri="{FF2B5EF4-FFF2-40B4-BE49-F238E27FC236}">
                <a16:creationId xmlns:a16="http://schemas.microsoft.com/office/drawing/2014/main" id="{28F1E0B4-DE29-49FA-A5EF-A98175CFB945}"/>
              </a:ext>
            </a:extLst>
          </p:cNvPr>
          <p:cNvSpPr txBox="1"/>
          <p:nvPr/>
        </p:nvSpPr>
        <p:spPr>
          <a:xfrm>
            <a:off x="1615026" y="2635895"/>
            <a:ext cx="2790825" cy="271741"/>
          </a:xfrm>
          <a:prstGeom prst="rect">
            <a:avLst/>
          </a:prstGeom>
        </p:spPr>
        <p:txBody>
          <a:bodyPr wrap="square" rtlCol="0">
            <a:spAutoFit/>
          </a:bodyPr>
          <a:lstStyle/>
          <a:p>
            <a:pPr marL="169863" marR="0" lvl="0" indent="-168275" algn="ctr" defTabSz="914400" rtl="0" eaLnBrk="1" fontAlgn="base" latinLnBrk="0" hangingPunct="1">
              <a:lnSpc>
                <a:spcPct val="106000"/>
              </a:lnSpc>
              <a:spcBef>
                <a:spcPct val="80000"/>
              </a:spcBef>
              <a:spcAft>
                <a:spcPct val="0"/>
              </a:spcAft>
              <a:buClr>
                <a:srgbClr val="000000"/>
              </a:buClr>
              <a:buSzTx/>
              <a:buFontTx/>
              <a:buNone/>
              <a:tabLst/>
              <a:defRPr/>
            </a:pPr>
            <a:r>
              <a:rPr kumimoji="0" lang="en-US" sz="1100" b="1" i="1" u="none" strike="noStrike" kern="1200" cap="none" spc="0" normalizeH="0" baseline="0" noProof="0" dirty="0">
                <a:ln>
                  <a:noFill/>
                </a:ln>
                <a:solidFill>
                  <a:srgbClr val="FFFFFF"/>
                </a:solidFill>
                <a:effectLst/>
                <a:uLnTx/>
                <a:uFillTx/>
                <a:ea typeface="+mn-ea"/>
                <a:cs typeface="Arial" charset="0"/>
              </a:rPr>
              <a:t>Short-List of Attractive Markets</a:t>
            </a:r>
          </a:p>
        </p:txBody>
      </p:sp>
      <p:cxnSp>
        <p:nvCxnSpPr>
          <p:cNvPr id="10" name="Straight Connector 9">
            <a:extLst>
              <a:ext uri="{FF2B5EF4-FFF2-40B4-BE49-F238E27FC236}">
                <a16:creationId xmlns:a16="http://schemas.microsoft.com/office/drawing/2014/main" id="{441267F8-0E1F-47FB-8540-91AEA56832DE}"/>
              </a:ext>
            </a:extLst>
          </p:cNvPr>
          <p:cNvCxnSpPr>
            <a:cxnSpLocks/>
          </p:cNvCxnSpPr>
          <p:nvPr/>
        </p:nvCxnSpPr>
        <p:spPr bwMode="auto">
          <a:xfrm>
            <a:off x="1353339" y="3757269"/>
            <a:ext cx="9432283" cy="0"/>
          </a:xfrm>
          <a:prstGeom prst="line">
            <a:avLst/>
          </a:prstGeom>
          <a:solidFill>
            <a:schemeClr val="accent2"/>
          </a:solidFill>
          <a:ln w="12700" cap="flat" cmpd="sng" algn="ctr">
            <a:solidFill>
              <a:schemeClr val="bg1">
                <a:lumMod val="50000"/>
              </a:schemeClr>
            </a:solidFill>
            <a:prstDash val="dash"/>
            <a:round/>
            <a:headEnd type="none" w="med" len="med"/>
            <a:tailEnd type="none" w="med" len="med"/>
          </a:ln>
          <a:effectLst/>
        </p:spPr>
      </p:cxnSp>
      <p:cxnSp>
        <p:nvCxnSpPr>
          <p:cNvPr id="11" name="Straight Connector 10">
            <a:extLst>
              <a:ext uri="{FF2B5EF4-FFF2-40B4-BE49-F238E27FC236}">
                <a16:creationId xmlns:a16="http://schemas.microsoft.com/office/drawing/2014/main" id="{BB889F92-8F32-4592-BDF5-5B79494E27F8}"/>
              </a:ext>
            </a:extLst>
          </p:cNvPr>
          <p:cNvCxnSpPr>
            <a:cxnSpLocks/>
          </p:cNvCxnSpPr>
          <p:nvPr/>
        </p:nvCxnSpPr>
        <p:spPr bwMode="auto">
          <a:xfrm>
            <a:off x="1591884" y="4546709"/>
            <a:ext cx="9193738" cy="0"/>
          </a:xfrm>
          <a:prstGeom prst="line">
            <a:avLst/>
          </a:prstGeom>
          <a:solidFill>
            <a:schemeClr val="accent2"/>
          </a:solidFill>
          <a:ln w="12700" cap="flat" cmpd="sng" algn="ctr">
            <a:solidFill>
              <a:schemeClr val="bg1">
                <a:lumMod val="50000"/>
              </a:schemeClr>
            </a:solidFill>
            <a:prstDash val="dash"/>
            <a:round/>
            <a:headEnd type="none" w="med" len="med"/>
            <a:tailEnd type="none" w="med" len="med"/>
          </a:ln>
          <a:effectLst/>
        </p:spPr>
      </p:cxnSp>
      <p:sp>
        <p:nvSpPr>
          <p:cNvPr id="12" name="Rectangle 11">
            <a:extLst>
              <a:ext uri="{FF2B5EF4-FFF2-40B4-BE49-F238E27FC236}">
                <a16:creationId xmlns:a16="http://schemas.microsoft.com/office/drawing/2014/main" id="{9BE86129-9DA6-414E-AFDF-3E655FE0C2C7}"/>
              </a:ext>
            </a:extLst>
          </p:cNvPr>
          <p:cNvSpPr/>
          <p:nvPr/>
        </p:nvSpPr>
        <p:spPr bwMode="auto">
          <a:xfrm>
            <a:off x="1115451" y="2192859"/>
            <a:ext cx="3657600" cy="751915"/>
          </a:xfrm>
          <a:prstGeom prst="rect">
            <a:avLst/>
          </a:prstGeom>
          <a:solidFill>
            <a:schemeClr val="bg1">
              <a:lumMod val="75000"/>
            </a:schemeClr>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0" fontAlgn="base" latinLnBrk="0" hangingPunct="0">
              <a:lnSpc>
                <a:spcPct val="106000"/>
              </a:lnSpc>
              <a:spcBef>
                <a:spcPct val="50000"/>
              </a:spcBef>
              <a:spcAft>
                <a:spcPct val="0"/>
              </a:spcAft>
              <a:buClrTx/>
              <a:buSzPct val="100000"/>
              <a:buFont typeface="Wingdings 2" pitchFamily="18" charset="2"/>
              <a:buNone/>
              <a:tabLst/>
              <a:defRPr/>
            </a:pPr>
            <a:r>
              <a:rPr kumimoji="0" lang="en-US" sz="1200" b="1" i="1" u="none" strike="noStrike" kern="1200" cap="none" spc="0" normalizeH="0" baseline="0" noProof="0" dirty="0">
                <a:ln>
                  <a:noFill/>
                </a:ln>
                <a:solidFill>
                  <a:srgbClr val="666666"/>
                </a:solidFill>
                <a:effectLst/>
                <a:uLnTx/>
                <a:uFillTx/>
                <a:ea typeface="+mn-ea"/>
                <a:cs typeface="+mn-cs"/>
              </a:rPr>
              <a:t>All Transactions</a:t>
            </a:r>
          </a:p>
        </p:txBody>
      </p:sp>
      <p:sp>
        <p:nvSpPr>
          <p:cNvPr id="13" name="Rectangle 12">
            <a:extLst>
              <a:ext uri="{FF2B5EF4-FFF2-40B4-BE49-F238E27FC236}">
                <a16:creationId xmlns:a16="http://schemas.microsoft.com/office/drawing/2014/main" id="{2DA59ACD-FA28-4E17-8AFE-3AFD17038B9F}"/>
              </a:ext>
            </a:extLst>
          </p:cNvPr>
          <p:cNvSpPr/>
          <p:nvPr/>
        </p:nvSpPr>
        <p:spPr bwMode="auto">
          <a:xfrm>
            <a:off x="2154020" y="3160663"/>
            <a:ext cx="1703311" cy="274320"/>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0" fontAlgn="base" latinLnBrk="0" hangingPunct="0">
              <a:lnSpc>
                <a:spcPct val="106000"/>
              </a:lnSpc>
              <a:spcBef>
                <a:spcPct val="50000"/>
              </a:spcBef>
              <a:spcAft>
                <a:spcPct val="0"/>
              </a:spcAft>
              <a:buClrTx/>
              <a:buSzPct val="100000"/>
              <a:buFont typeface="Wingdings 2" pitchFamily="18" charset="2"/>
              <a:buNone/>
              <a:tabLst/>
              <a:defRPr/>
            </a:pPr>
            <a:r>
              <a:rPr kumimoji="0" lang="en-US" sz="1050" b="1" i="1" u="none" strike="noStrike" kern="1200" cap="none" spc="0" normalizeH="0" baseline="0" noProof="0" dirty="0">
                <a:ln>
                  <a:noFill/>
                </a:ln>
                <a:solidFill>
                  <a:srgbClr val="FFFFFF">
                    <a:lumMod val="50000"/>
                  </a:srgbClr>
                </a:solidFill>
                <a:effectLst/>
                <a:uLnTx/>
                <a:uFillTx/>
                <a:ea typeface="+mn-ea"/>
                <a:cs typeface="+mn-cs"/>
              </a:rPr>
              <a:t>Remove Closed Accounts</a:t>
            </a:r>
          </a:p>
        </p:txBody>
      </p:sp>
      <p:sp>
        <p:nvSpPr>
          <p:cNvPr id="14" name="Rectangle 13">
            <a:extLst>
              <a:ext uri="{FF2B5EF4-FFF2-40B4-BE49-F238E27FC236}">
                <a16:creationId xmlns:a16="http://schemas.microsoft.com/office/drawing/2014/main" id="{9CB43810-8A01-4365-BC1C-3BD35274DF2C}"/>
              </a:ext>
            </a:extLst>
          </p:cNvPr>
          <p:cNvSpPr/>
          <p:nvPr/>
        </p:nvSpPr>
        <p:spPr bwMode="auto">
          <a:xfrm>
            <a:off x="2281254" y="4036561"/>
            <a:ext cx="1353186" cy="274320"/>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0" fontAlgn="base" latinLnBrk="0" hangingPunct="0">
              <a:lnSpc>
                <a:spcPct val="106000"/>
              </a:lnSpc>
              <a:spcBef>
                <a:spcPct val="50000"/>
              </a:spcBef>
              <a:spcAft>
                <a:spcPct val="0"/>
              </a:spcAft>
              <a:buClrTx/>
              <a:buSzPct val="100000"/>
              <a:buFont typeface="Wingdings 2" pitchFamily="18" charset="2"/>
              <a:buNone/>
              <a:tabLst/>
              <a:defRPr/>
            </a:pPr>
            <a:r>
              <a:rPr kumimoji="0" lang="en-US" sz="1050" b="1" i="1" u="none" strike="noStrike" kern="1200" cap="none" spc="0" normalizeH="0" baseline="0" noProof="0" dirty="0">
                <a:ln>
                  <a:noFill/>
                </a:ln>
                <a:solidFill>
                  <a:srgbClr val="FFFFFF">
                    <a:lumMod val="50000"/>
                  </a:srgbClr>
                </a:solidFill>
                <a:effectLst/>
                <a:uLnTx/>
                <a:uFillTx/>
                <a:ea typeface="+mn-ea"/>
                <a:cs typeface="+mn-cs"/>
              </a:rPr>
              <a:t>Remove Accounts Moving to Tool</a:t>
            </a:r>
          </a:p>
        </p:txBody>
      </p:sp>
      <p:sp>
        <p:nvSpPr>
          <p:cNvPr id="15" name="Rectangle 14">
            <a:extLst>
              <a:ext uri="{FF2B5EF4-FFF2-40B4-BE49-F238E27FC236}">
                <a16:creationId xmlns:a16="http://schemas.microsoft.com/office/drawing/2014/main" id="{4CB8953C-7E9E-4828-85D4-4C0E3A525B0F}"/>
              </a:ext>
            </a:extLst>
          </p:cNvPr>
          <p:cNvSpPr/>
          <p:nvPr/>
        </p:nvSpPr>
        <p:spPr bwMode="auto">
          <a:xfrm>
            <a:off x="2233947" y="4822605"/>
            <a:ext cx="1524000" cy="274320"/>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0" fontAlgn="base" latinLnBrk="0" hangingPunct="0">
              <a:lnSpc>
                <a:spcPct val="106000"/>
              </a:lnSpc>
              <a:spcBef>
                <a:spcPct val="50000"/>
              </a:spcBef>
              <a:spcAft>
                <a:spcPct val="0"/>
              </a:spcAft>
              <a:buClrTx/>
              <a:buSzPct val="100000"/>
              <a:buFont typeface="Wingdings 2" pitchFamily="18" charset="2"/>
              <a:buNone/>
              <a:tabLst/>
              <a:defRPr/>
            </a:pPr>
            <a:r>
              <a:rPr kumimoji="0" lang="en-US" sz="1050" b="1" i="1" u="none" strike="noStrike" kern="1200" cap="none" spc="0" normalizeH="0" baseline="0" noProof="0" dirty="0">
                <a:ln>
                  <a:noFill/>
                </a:ln>
                <a:solidFill>
                  <a:srgbClr val="FFFFFF">
                    <a:lumMod val="50000"/>
                  </a:srgbClr>
                </a:solidFill>
                <a:effectLst/>
                <a:uLnTx/>
                <a:uFillTx/>
                <a:ea typeface="+mn-ea"/>
                <a:cs typeface="+mn-cs"/>
              </a:rPr>
              <a:t>Remove Accounts Not Specified for </a:t>
            </a:r>
            <a:br>
              <a:rPr kumimoji="0" lang="en-US" sz="1050" b="1" i="1" u="none" strike="noStrike" kern="1200" cap="none" spc="0" normalizeH="0" baseline="0" noProof="0" dirty="0">
                <a:ln>
                  <a:noFill/>
                </a:ln>
                <a:solidFill>
                  <a:srgbClr val="FFFFFF">
                    <a:lumMod val="50000"/>
                  </a:srgbClr>
                </a:solidFill>
                <a:effectLst/>
                <a:uLnTx/>
                <a:uFillTx/>
                <a:ea typeface="+mn-ea"/>
                <a:cs typeface="+mn-cs"/>
              </a:rPr>
            </a:br>
            <a:r>
              <a:rPr kumimoji="0" lang="en-US" sz="1050" b="1" i="1" u="none" strike="noStrike" kern="1200" cap="none" spc="0" normalizeH="0" baseline="0" noProof="0" dirty="0">
                <a:ln>
                  <a:noFill/>
                </a:ln>
                <a:solidFill>
                  <a:srgbClr val="FFFFFF">
                    <a:lumMod val="50000"/>
                  </a:srgbClr>
                </a:solidFill>
                <a:effectLst/>
                <a:uLnTx/>
                <a:uFillTx/>
                <a:ea typeface="+mn-ea"/>
                <a:cs typeface="+mn-cs"/>
              </a:rPr>
              <a:t>Full-Service</a:t>
            </a:r>
          </a:p>
        </p:txBody>
      </p:sp>
      <p:sp>
        <p:nvSpPr>
          <p:cNvPr id="16" name="Oval 15">
            <a:extLst>
              <a:ext uri="{FF2B5EF4-FFF2-40B4-BE49-F238E27FC236}">
                <a16:creationId xmlns:a16="http://schemas.microsoft.com/office/drawing/2014/main" id="{54F84E24-B462-4A54-BA52-88AF603933A2}"/>
              </a:ext>
            </a:extLst>
          </p:cNvPr>
          <p:cNvSpPr/>
          <p:nvPr/>
        </p:nvSpPr>
        <p:spPr bwMode="gray">
          <a:xfrm>
            <a:off x="1858781" y="3201957"/>
            <a:ext cx="228600" cy="228600"/>
          </a:xfrm>
          <a:prstGeom prst="ellipse">
            <a:avLst/>
          </a:prstGeom>
          <a:solidFill>
            <a:schemeClr val="accent3"/>
          </a:solidFill>
          <a:ln w="12700" cap="rnd" algn="ctr">
            <a:noFill/>
            <a:miter lim="800000"/>
            <a:headEnd/>
            <a:tailEnd/>
          </a:ln>
        </p:spPr>
        <p:txBody>
          <a:bodyPr lIns="0" rIns="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FFFFFF"/>
                </a:solidFill>
                <a:effectLst/>
                <a:uLnTx/>
                <a:uFillTx/>
                <a:ea typeface="+mn-ea"/>
                <a:cs typeface="Arial" charset="0"/>
              </a:rPr>
              <a:t>1</a:t>
            </a:r>
          </a:p>
        </p:txBody>
      </p:sp>
      <p:sp>
        <p:nvSpPr>
          <p:cNvPr id="17" name="Oval 16">
            <a:extLst>
              <a:ext uri="{FF2B5EF4-FFF2-40B4-BE49-F238E27FC236}">
                <a16:creationId xmlns:a16="http://schemas.microsoft.com/office/drawing/2014/main" id="{0FC9F65A-0179-4E43-AEE7-6E76E14A28D1}"/>
              </a:ext>
            </a:extLst>
          </p:cNvPr>
          <p:cNvSpPr/>
          <p:nvPr/>
        </p:nvSpPr>
        <p:spPr bwMode="gray">
          <a:xfrm>
            <a:off x="1858781" y="4088794"/>
            <a:ext cx="228600" cy="228600"/>
          </a:xfrm>
          <a:prstGeom prst="ellipse">
            <a:avLst/>
          </a:prstGeom>
          <a:solidFill>
            <a:schemeClr val="accent3"/>
          </a:solidFill>
          <a:ln w="12700" cap="rnd" algn="ctr">
            <a:noFill/>
            <a:miter lim="800000"/>
            <a:headEnd/>
            <a:tailEnd/>
          </a:ln>
        </p:spPr>
        <p:txBody>
          <a:bodyPr lIns="0" rIns="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FFFFFF"/>
                </a:solidFill>
                <a:effectLst/>
                <a:uLnTx/>
                <a:uFillTx/>
                <a:ea typeface="+mn-ea"/>
                <a:cs typeface="Arial" charset="0"/>
              </a:rPr>
              <a:t>2</a:t>
            </a:r>
          </a:p>
        </p:txBody>
      </p:sp>
      <p:sp>
        <p:nvSpPr>
          <p:cNvPr id="18" name="Oval 17">
            <a:extLst>
              <a:ext uri="{FF2B5EF4-FFF2-40B4-BE49-F238E27FC236}">
                <a16:creationId xmlns:a16="http://schemas.microsoft.com/office/drawing/2014/main" id="{B6432F01-BE45-4A58-9E63-7FE287480D3B}"/>
              </a:ext>
            </a:extLst>
          </p:cNvPr>
          <p:cNvSpPr/>
          <p:nvPr/>
        </p:nvSpPr>
        <p:spPr bwMode="gray">
          <a:xfrm>
            <a:off x="1858781" y="4885811"/>
            <a:ext cx="228600" cy="228600"/>
          </a:xfrm>
          <a:prstGeom prst="ellipse">
            <a:avLst/>
          </a:prstGeom>
          <a:solidFill>
            <a:schemeClr val="accent3"/>
          </a:solidFill>
          <a:ln w="12700" cap="rnd" algn="ctr">
            <a:noFill/>
            <a:miter lim="800000"/>
            <a:headEnd/>
            <a:tailEnd/>
          </a:ln>
        </p:spPr>
        <p:txBody>
          <a:bodyPr lIns="0" rIns="0" rtlCol="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FFFFFF"/>
                </a:solidFill>
                <a:effectLst/>
                <a:uLnTx/>
                <a:uFillTx/>
                <a:ea typeface="+mn-ea"/>
                <a:cs typeface="Arial" charset="0"/>
              </a:rPr>
              <a:t>3</a:t>
            </a:r>
          </a:p>
        </p:txBody>
      </p:sp>
      <p:graphicFrame>
        <p:nvGraphicFramePr>
          <p:cNvPr id="19" name="Table 18">
            <a:extLst>
              <a:ext uri="{FF2B5EF4-FFF2-40B4-BE49-F238E27FC236}">
                <a16:creationId xmlns:a16="http://schemas.microsoft.com/office/drawing/2014/main" id="{80B3F87F-A074-4B96-9B63-B9B7297462B0}"/>
              </a:ext>
            </a:extLst>
          </p:cNvPr>
          <p:cNvGraphicFramePr>
            <a:graphicFrameLocks noGrp="1"/>
          </p:cNvGraphicFramePr>
          <p:nvPr>
            <p:extLst>
              <p:ext uri="{D42A27DB-BD31-4B8C-83A1-F6EECF244321}">
                <p14:modId xmlns:p14="http://schemas.microsoft.com/office/powerpoint/2010/main" val="3431748921"/>
              </p:ext>
            </p:extLst>
          </p:nvPr>
        </p:nvGraphicFramePr>
        <p:xfrm>
          <a:off x="5047581" y="1956469"/>
          <a:ext cx="6349425" cy="4206587"/>
        </p:xfrm>
        <a:graphic>
          <a:graphicData uri="http://schemas.openxmlformats.org/drawingml/2006/table">
            <a:tbl>
              <a:tblPr firstRow="1" bandRow="1">
                <a:tableStyleId>{5C22544A-7EE6-4342-B048-85BDC9FD1C3A}</a:tableStyleId>
              </a:tblPr>
              <a:tblGrid>
                <a:gridCol w="3296817">
                  <a:extLst>
                    <a:ext uri="{9D8B030D-6E8A-4147-A177-3AD203B41FA5}">
                      <a16:colId xmlns:a16="http://schemas.microsoft.com/office/drawing/2014/main" val="20001"/>
                    </a:ext>
                  </a:extLst>
                </a:gridCol>
                <a:gridCol w="3052608">
                  <a:extLst>
                    <a:ext uri="{9D8B030D-6E8A-4147-A177-3AD203B41FA5}">
                      <a16:colId xmlns:a16="http://schemas.microsoft.com/office/drawing/2014/main" val="20002"/>
                    </a:ext>
                  </a:extLst>
                </a:gridCol>
              </a:tblGrid>
              <a:tr h="169447">
                <a:tc>
                  <a:txBody>
                    <a:bodyPr/>
                    <a:lstStyle/>
                    <a:p>
                      <a:pPr algn="ctr"/>
                      <a:r>
                        <a:rPr lang="en-US" sz="1100" dirty="0">
                          <a:solidFill>
                            <a:schemeClr val="tx1"/>
                          </a:solidFill>
                        </a:rPr>
                        <a:t>US</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tc>
                  <a:txBody>
                    <a:bodyPr/>
                    <a:lstStyle/>
                    <a:p>
                      <a:pPr algn="ctr"/>
                      <a:r>
                        <a:rPr lang="en-US" sz="1100" dirty="0">
                          <a:solidFill>
                            <a:schemeClr val="tx1"/>
                          </a:solidFill>
                        </a:rPr>
                        <a:t>Canada</a:t>
                      </a:r>
                    </a:p>
                  </a:txBody>
                  <a:tcPr anchor="ctr">
                    <a:lnL w="3175" cap="flat" cmpd="sng" algn="ctr">
                      <a:solidFill>
                        <a:schemeClr val="bg2"/>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0"/>
                  </a:ext>
                </a:extLst>
              </a:tr>
              <a:tr h="685800">
                <a:tc>
                  <a:txBody>
                    <a:bodyPr/>
                    <a:lstStyle/>
                    <a:p>
                      <a:pPr marL="171450" indent="-171450" algn="ctr">
                        <a:spcBef>
                          <a:spcPts val="300"/>
                        </a:spcBef>
                        <a:spcAft>
                          <a:spcPts val="300"/>
                        </a:spcAft>
                        <a:buFont typeface="Arial" panose="020B0604020202020204" pitchFamily="34" charset="0"/>
                        <a:buChar char="•"/>
                      </a:pPr>
                      <a:r>
                        <a:rPr lang="en-US" sz="1100" dirty="0">
                          <a:solidFill>
                            <a:schemeClr val="tx1"/>
                          </a:solidFill>
                        </a:rPr>
                        <a:t>1,121</a:t>
                      </a:r>
                    </a:p>
                    <a:p>
                      <a:pPr marL="171450" marR="0" lvl="0" indent="-171450" algn="ctr" defTabSz="121917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100" dirty="0">
                          <a:solidFill>
                            <a:schemeClr val="tx1"/>
                          </a:solidFill>
                        </a:rPr>
                        <a:t>$709M</a:t>
                      </a:r>
                    </a:p>
                    <a:p>
                      <a:pPr marL="171450" marR="0" lvl="0" indent="-171450" algn="ctr" defTabSz="121917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100" dirty="0">
                          <a:solidFill>
                            <a:schemeClr val="tx1"/>
                          </a:solidFill>
                        </a:rPr>
                        <a:t>$233M</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tc>
                  <a:txBody>
                    <a:bodyPr/>
                    <a:lstStyle/>
                    <a:p>
                      <a:pPr marL="171450" indent="-171450" algn="ctr">
                        <a:spcBef>
                          <a:spcPts val="300"/>
                        </a:spcBef>
                        <a:spcAft>
                          <a:spcPts val="300"/>
                        </a:spcAft>
                        <a:buFont typeface="Arial" panose="020B0604020202020204" pitchFamily="34" charset="0"/>
                        <a:buChar char="•"/>
                      </a:pPr>
                      <a:r>
                        <a:rPr lang="en-US" sz="1100" dirty="0">
                          <a:solidFill>
                            <a:schemeClr val="tx1"/>
                          </a:solidFill>
                        </a:rPr>
                        <a:t>335</a:t>
                      </a:r>
                    </a:p>
                    <a:p>
                      <a:pPr marL="171450" indent="-171450" algn="ctr">
                        <a:spcBef>
                          <a:spcPts val="300"/>
                        </a:spcBef>
                        <a:spcAft>
                          <a:spcPts val="300"/>
                        </a:spcAft>
                        <a:buFont typeface="Arial" panose="020B0604020202020204" pitchFamily="34" charset="0"/>
                        <a:buChar char="•"/>
                      </a:pPr>
                      <a:r>
                        <a:rPr lang="en-US" sz="1100" dirty="0">
                          <a:solidFill>
                            <a:schemeClr val="tx1"/>
                          </a:solidFill>
                        </a:rPr>
                        <a:t>$37M</a:t>
                      </a:r>
                    </a:p>
                    <a:p>
                      <a:pPr marL="171450" indent="-171450" algn="ctr">
                        <a:spcBef>
                          <a:spcPts val="300"/>
                        </a:spcBef>
                        <a:spcAft>
                          <a:spcPts val="300"/>
                        </a:spcAft>
                        <a:buFont typeface="Arial" panose="020B0604020202020204" pitchFamily="34" charset="0"/>
                        <a:buChar char="•"/>
                      </a:pPr>
                      <a:r>
                        <a:rPr lang="en-US" sz="1100" dirty="0">
                          <a:solidFill>
                            <a:schemeClr val="tx1"/>
                          </a:solidFill>
                        </a:rPr>
                        <a:t>$13M</a:t>
                      </a:r>
                    </a:p>
                  </a:txBody>
                  <a:tcPr anchor="ctr">
                    <a:lnL w="3175" cap="flat" cmpd="sng" algn="ctr">
                      <a:solidFill>
                        <a:schemeClr val="bg2"/>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795528">
                <a:tc>
                  <a:txBody>
                    <a:bodyPr/>
                    <a:lstStyle/>
                    <a:p>
                      <a:pPr algn="ctr"/>
                      <a:r>
                        <a:rPr lang="en-US" sz="1100" b="1" dirty="0">
                          <a:solidFill>
                            <a:schemeClr val="tx1"/>
                          </a:solidFill>
                        </a:rPr>
                        <a:t>Remove 554 Accounts</a:t>
                      </a:r>
                    </a:p>
                    <a:p>
                      <a:pPr algn="ctr"/>
                      <a:r>
                        <a:rPr lang="en-US" sz="1050" dirty="0">
                          <a:solidFill>
                            <a:schemeClr val="tx1"/>
                          </a:solidFill>
                        </a:rPr>
                        <a:t>(4.41%</a:t>
                      </a:r>
                      <a:r>
                        <a:rPr lang="en-US" sz="1050" baseline="0" dirty="0">
                          <a:solidFill>
                            <a:schemeClr val="tx1"/>
                          </a:solidFill>
                        </a:rPr>
                        <a:t> of US Net Revenue</a:t>
                      </a:r>
                    </a:p>
                    <a:p>
                      <a:pPr algn="ctr"/>
                      <a:r>
                        <a:rPr lang="en-US" sz="1050" baseline="0" dirty="0">
                          <a:solidFill>
                            <a:schemeClr val="tx1"/>
                          </a:solidFill>
                        </a:rPr>
                        <a:t>3.23% of US Discounts)</a:t>
                      </a:r>
                      <a:endParaRPr lang="en-US" sz="1050" dirty="0">
                        <a:solidFill>
                          <a:schemeClr val="tx1"/>
                        </a:solidFill>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tc>
                  <a:txBody>
                    <a:bodyPr/>
                    <a:lstStyle/>
                    <a:p>
                      <a:pPr algn="ctr"/>
                      <a:r>
                        <a:rPr lang="en-US" sz="1100" b="1" dirty="0">
                          <a:solidFill>
                            <a:schemeClr val="tx1"/>
                          </a:solidFill>
                        </a:rPr>
                        <a:t>Remove 219</a:t>
                      </a:r>
                      <a:r>
                        <a:rPr lang="en-US" sz="1100" b="1" baseline="0" dirty="0">
                          <a:solidFill>
                            <a:schemeClr val="tx1"/>
                          </a:solidFill>
                        </a:rPr>
                        <a:t> Accounts</a:t>
                      </a:r>
                    </a:p>
                    <a:p>
                      <a:pPr algn="ctr"/>
                      <a:r>
                        <a:rPr lang="en-US" sz="1100" baseline="0" dirty="0">
                          <a:solidFill>
                            <a:schemeClr val="tx1"/>
                          </a:solidFill>
                        </a:rPr>
                        <a:t>(4.05% of CA Net Revenue</a:t>
                      </a:r>
                    </a:p>
                    <a:p>
                      <a:pPr algn="ctr"/>
                      <a:r>
                        <a:rPr lang="en-US" sz="1100" dirty="0">
                          <a:solidFill>
                            <a:schemeClr val="tx1"/>
                          </a:solidFill>
                        </a:rPr>
                        <a:t>0.51%</a:t>
                      </a:r>
                      <a:r>
                        <a:rPr lang="en-US" sz="1100" baseline="0" dirty="0">
                          <a:solidFill>
                            <a:schemeClr val="tx1"/>
                          </a:solidFill>
                        </a:rPr>
                        <a:t> of CA Discounts)</a:t>
                      </a:r>
                      <a:endParaRPr lang="en-US" sz="1100" dirty="0">
                        <a:solidFill>
                          <a:schemeClr val="tx1"/>
                        </a:solidFill>
                      </a:endParaRPr>
                    </a:p>
                  </a:txBody>
                  <a:tcPr anchor="ctr">
                    <a:lnL w="3175" cap="flat" cmpd="sng" algn="ctr">
                      <a:solidFill>
                        <a:schemeClr val="bg2"/>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786731">
                <a:tc>
                  <a:txBody>
                    <a:bodyPr/>
                    <a:lstStyle/>
                    <a:p>
                      <a:pPr algn="ctr"/>
                      <a:r>
                        <a:rPr lang="en-US" sz="1100" b="1" dirty="0">
                          <a:solidFill>
                            <a:schemeClr val="tx1"/>
                          </a:solidFill>
                        </a:rPr>
                        <a:t>Remove 370 Accounts</a:t>
                      </a:r>
                    </a:p>
                    <a:p>
                      <a:pPr marL="0" marR="0" lvl="0" indent="0" algn="ctr" defTabSz="1219170" rtl="0" eaLnBrk="1" fontAlgn="auto" latinLnBrk="0" hangingPunct="1">
                        <a:lnSpc>
                          <a:spcPct val="100000"/>
                        </a:lnSpc>
                        <a:spcBef>
                          <a:spcPts val="0"/>
                        </a:spcBef>
                        <a:spcAft>
                          <a:spcPts val="0"/>
                        </a:spcAft>
                        <a:buClrTx/>
                        <a:buSzTx/>
                        <a:buFontTx/>
                        <a:buNone/>
                        <a:tabLst/>
                        <a:defRPr/>
                      </a:pPr>
                      <a:r>
                        <a:rPr lang="en-US" sz="1050" dirty="0">
                          <a:solidFill>
                            <a:schemeClr val="tx1"/>
                          </a:solidFill>
                        </a:rPr>
                        <a:t>(3.09%</a:t>
                      </a:r>
                      <a:r>
                        <a:rPr lang="en-US" sz="1050" baseline="0" dirty="0">
                          <a:solidFill>
                            <a:schemeClr val="tx1"/>
                          </a:solidFill>
                        </a:rPr>
                        <a:t> of US Net Revenue</a:t>
                      </a:r>
                    </a:p>
                    <a:p>
                      <a:pPr marL="0" marR="0" lvl="0" indent="0" algn="ctr" defTabSz="1219170" rtl="0" eaLnBrk="1" fontAlgn="auto" latinLnBrk="0" hangingPunct="1">
                        <a:lnSpc>
                          <a:spcPct val="100000"/>
                        </a:lnSpc>
                        <a:spcBef>
                          <a:spcPts val="0"/>
                        </a:spcBef>
                        <a:spcAft>
                          <a:spcPts val="0"/>
                        </a:spcAft>
                        <a:buClrTx/>
                        <a:buSzTx/>
                        <a:buFontTx/>
                        <a:buNone/>
                        <a:tabLst/>
                        <a:defRPr/>
                      </a:pPr>
                      <a:r>
                        <a:rPr lang="en-US" sz="1050" baseline="0" dirty="0">
                          <a:solidFill>
                            <a:schemeClr val="tx1"/>
                          </a:solidFill>
                        </a:rPr>
                        <a:t>0.96% of US Discounts)</a:t>
                      </a:r>
                      <a:endParaRPr lang="en-US" sz="1050" dirty="0">
                        <a:solidFill>
                          <a:schemeClr val="tx1"/>
                        </a:solidFill>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tc>
                  <a:txBody>
                    <a:bodyPr/>
                    <a:lstStyle/>
                    <a:p>
                      <a:pPr algn="ctr"/>
                      <a:r>
                        <a:rPr lang="en-US" sz="1100" b="1" dirty="0">
                          <a:solidFill>
                            <a:schemeClr val="tx1"/>
                          </a:solidFill>
                        </a:rPr>
                        <a:t>Remove</a:t>
                      </a:r>
                      <a:r>
                        <a:rPr lang="en-US" sz="1100" b="1" baseline="0" dirty="0">
                          <a:solidFill>
                            <a:schemeClr val="tx1"/>
                          </a:solidFill>
                        </a:rPr>
                        <a:t> 62 Accounts</a:t>
                      </a:r>
                    </a:p>
                    <a:p>
                      <a:pPr algn="ctr"/>
                      <a:r>
                        <a:rPr lang="en-US" sz="1100" baseline="0" dirty="0">
                          <a:solidFill>
                            <a:schemeClr val="tx1"/>
                          </a:solidFill>
                        </a:rPr>
                        <a:t>(14.13% of CA Net Revenue</a:t>
                      </a:r>
                    </a:p>
                    <a:p>
                      <a:pPr algn="ctr"/>
                      <a:r>
                        <a:rPr lang="en-US" sz="1100" baseline="0" dirty="0">
                          <a:solidFill>
                            <a:schemeClr val="tx1"/>
                          </a:solidFill>
                        </a:rPr>
                        <a:t>7.92% of CA Discounts)</a:t>
                      </a:r>
                    </a:p>
                  </a:txBody>
                  <a:tcPr anchor="ctr">
                    <a:lnL w="3175" cap="flat" cmpd="sng" algn="ctr">
                      <a:solidFill>
                        <a:schemeClr val="bg2"/>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795528">
                <a:tc>
                  <a:txBody>
                    <a:bodyPr/>
                    <a:lstStyle/>
                    <a:p>
                      <a:pPr algn="ctr"/>
                      <a:r>
                        <a:rPr lang="en-US" sz="1100" b="1" dirty="0">
                          <a:solidFill>
                            <a:schemeClr val="tx1"/>
                          </a:solidFill>
                        </a:rPr>
                        <a:t>Remove</a:t>
                      </a:r>
                      <a:r>
                        <a:rPr lang="en-US" sz="1100" b="1" baseline="0" dirty="0">
                          <a:solidFill>
                            <a:schemeClr val="tx1"/>
                          </a:solidFill>
                        </a:rPr>
                        <a:t> 58 Accounts</a:t>
                      </a:r>
                    </a:p>
                    <a:p>
                      <a:pPr marL="0" marR="0" lvl="0" indent="0" algn="ctr" defTabSz="1219170" rtl="0" eaLnBrk="1" fontAlgn="auto" latinLnBrk="0" hangingPunct="1">
                        <a:lnSpc>
                          <a:spcPct val="100000"/>
                        </a:lnSpc>
                        <a:spcBef>
                          <a:spcPts val="0"/>
                        </a:spcBef>
                        <a:spcAft>
                          <a:spcPts val="0"/>
                        </a:spcAft>
                        <a:buClrTx/>
                        <a:buSzTx/>
                        <a:buFontTx/>
                        <a:buNone/>
                        <a:tabLst/>
                        <a:defRPr/>
                      </a:pPr>
                      <a:r>
                        <a:rPr lang="en-US" sz="1050" dirty="0">
                          <a:solidFill>
                            <a:schemeClr val="tx1"/>
                          </a:solidFill>
                        </a:rPr>
                        <a:t>(3.98%</a:t>
                      </a:r>
                      <a:r>
                        <a:rPr lang="en-US" sz="1050" baseline="0" dirty="0">
                          <a:solidFill>
                            <a:schemeClr val="tx1"/>
                          </a:solidFill>
                        </a:rPr>
                        <a:t> of US Net Revenue</a:t>
                      </a:r>
                    </a:p>
                    <a:p>
                      <a:pPr marL="0" marR="0" lvl="0" indent="0" algn="ctr" defTabSz="1219170" rtl="0" eaLnBrk="1" fontAlgn="auto" latinLnBrk="0" hangingPunct="1">
                        <a:lnSpc>
                          <a:spcPct val="100000"/>
                        </a:lnSpc>
                        <a:spcBef>
                          <a:spcPts val="0"/>
                        </a:spcBef>
                        <a:spcAft>
                          <a:spcPts val="0"/>
                        </a:spcAft>
                        <a:buClrTx/>
                        <a:buSzTx/>
                        <a:buFontTx/>
                        <a:buNone/>
                        <a:tabLst/>
                        <a:defRPr/>
                      </a:pPr>
                      <a:r>
                        <a:rPr lang="en-US" sz="1050" baseline="0" dirty="0">
                          <a:solidFill>
                            <a:schemeClr val="tx1"/>
                          </a:solidFill>
                        </a:rPr>
                        <a:t>2.63% of US Discounts)</a:t>
                      </a:r>
                      <a:endParaRPr lang="en-US" sz="1050" dirty="0">
                        <a:solidFill>
                          <a:schemeClr val="tx1"/>
                        </a:solidFill>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tc>
                  <a:txBody>
                    <a:bodyPr/>
                    <a:lstStyle/>
                    <a:p>
                      <a:pPr algn="ctr"/>
                      <a:r>
                        <a:rPr lang="en-US" sz="1100" b="1" dirty="0">
                          <a:solidFill>
                            <a:schemeClr val="tx1"/>
                          </a:solidFill>
                        </a:rPr>
                        <a:t>Remove 7 Accounts</a:t>
                      </a:r>
                    </a:p>
                    <a:p>
                      <a:pPr algn="ctr"/>
                      <a:r>
                        <a:rPr lang="en-US" sz="1100" dirty="0">
                          <a:solidFill>
                            <a:schemeClr val="tx1"/>
                          </a:solidFill>
                        </a:rPr>
                        <a:t>(3.86%</a:t>
                      </a:r>
                      <a:r>
                        <a:rPr lang="en-US" sz="1100" baseline="0" dirty="0">
                          <a:solidFill>
                            <a:schemeClr val="tx1"/>
                          </a:solidFill>
                        </a:rPr>
                        <a:t> of CA Net Revenue</a:t>
                      </a:r>
                    </a:p>
                    <a:p>
                      <a:pPr algn="ctr"/>
                      <a:r>
                        <a:rPr lang="en-US" sz="1100" baseline="0" dirty="0">
                          <a:solidFill>
                            <a:schemeClr val="tx1"/>
                          </a:solidFill>
                        </a:rPr>
                        <a:t>1.30% of CA Discounts)</a:t>
                      </a:r>
                      <a:endParaRPr lang="en-US" sz="1100" dirty="0">
                        <a:solidFill>
                          <a:schemeClr val="tx1"/>
                        </a:solidFill>
                      </a:endParaRPr>
                    </a:p>
                  </a:txBody>
                  <a:tcPr anchor="ctr">
                    <a:lnL w="3175" cap="flat" cmpd="sng" algn="ctr">
                      <a:solidFill>
                        <a:schemeClr val="bg2"/>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822960">
                <a:tc>
                  <a:txBody>
                    <a:bodyPr/>
                    <a:lstStyle/>
                    <a:p>
                      <a:pPr marL="171450" indent="-171450">
                        <a:spcBef>
                          <a:spcPts val="300"/>
                        </a:spcBef>
                        <a:spcAft>
                          <a:spcPts val="300"/>
                        </a:spcAft>
                        <a:buFont typeface="Arial" panose="020B0604020202020204" pitchFamily="34" charset="0"/>
                        <a:buChar char="•"/>
                      </a:pPr>
                      <a:r>
                        <a:rPr lang="en-US" sz="1100" b="1" dirty="0">
                          <a:solidFill>
                            <a:schemeClr val="tx1"/>
                          </a:solidFill>
                        </a:rPr>
                        <a:t>139 </a:t>
                      </a:r>
                      <a:r>
                        <a:rPr lang="en-US" sz="1100" b="1" i="1" dirty="0">
                          <a:solidFill>
                            <a:schemeClr val="accent3"/>
                          </a:solidFill>
                        </a:rPr>
                        <a:t>(12% of US</a:t>
                      </a:r>
                      <a:r>
                        <a:rPr lang="en-US" sz="1100" b="1" i="1" baseline="0" dirty="0">
                          <a:solidFill>
                            <a:schemeClr val="accent3"/>
                          </a:solidFill>
                        </a:rPr>
                        <a:t> C</a:t>
                      </a:r>
                      <a:r>
                        <a:rPr lang="en-US" sz="1100" b="1" i="1" dirty="0">
                          <a:solidFill>
                            <a:schemeClr val="accent3"/>
                          </a:solidFill>
                        </a:rPr>
                        <a:t>ustomers)</a:t>
                      </a:r>
                    </a:p>
                    <a:p>
                      <a:pPr marL="171450" marR="0" lvl="0" indent="-171450" algn="l" defTabSz="121917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100" b="1" dirty="0">
                          <a:solidFill>
                            <a:schemeClr val="tx1"/>
                          </a:solidFill>
                        </a:rPr>
                        <a:t>$628M </a:t>
                      </a:r>
                      <a:r>
                        <a:rPr lang="en-US" sz="1100" b="1" i="1" dirty="0">
                          <a:solidFill>
                            <a:schemeClr val="accent3"/>
                          </a:solidFill>
                        </a:rPr>
                        <a:t>(88% of</a:t>
                      </a:r>
                      <a:r>
                        <a:rPr lang="en-US" sz="1100" b="1" i="1" baseline="0" dirty="0">
                          <a:solidFill>
                            <a:schemeClr val="accent3"/>
                          </a:solidFill>
                        </a:rPr>
                        <a:t> US Net Revenue</a:t>
                      </a:r>
                      <a:r>
                        <a:rPr lang="en-US" sz="1100" b="1" i="1" dirty="0">
                          <a:solidFill>
                            <a:schemeClr val="accent3"/>
                          </a:solidFill>
                        </a:rPr>
                        <a:t>)</a:t>
                      </a:r>
                    </a:p>
                    <a:p>
                      <a:pPr marL="171450" indent="-171450">
                        <a:spcBef>
                          <a:spcPts val="300"/>
                        </a:spcBef>
                        <a:spcAft>
                          <a:spcPts val="300"/>
                        </a:spcAft>
                        <a:buFont typeface="Arial" panose="020B0604020202020204" pitchFamily="34" charset="0"/>
                        <a:buChar char="•"/>
                      </a:pPr>
                      <a:r>
                        <a:rPr lang="en-US" sz="1100" b="1" dirty="0">
                          <a:solidFill>
                            <a:schemeClr val="tx1"/>
                          </a:solidFill>
                        </a:rPr>
                        <a:t>$217M </a:t>
                      </a:r>
                      <a:r>
                        <a:rPr lang="en-US" sz="1100" b="1" i="1" dirty="0">
                          <a:solidFill>
                            <a:schemeClr val="accent3"/>
                          </a:solidFill>
                        </a:rPr>
                        <a:t>(93% of US Discount)</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marL="171450" indent="-171450" algn="l">
                        <a:spcBef>
                          <a:spcPts val="300"/>
                        </a:spcBef>
                        <a:spcAft>
                          <a:spcPts val="300"/>
                        </a:spcAft>
                        <a:buFont typeface="Arial" panose="020B0604020202020204" pitchFamily="34" charset="0"/>
                        <a:buChar char="•"/>
                      </a:pPr>
                      <a:r>
                        <a:rPr lang="en-US" sz="1100" b="1" dirty="0">
                          <a:solidFill>
                            <a:schemeClr val="tx1"/>
                          </a:solidFill>
                        </a:rPr>
                        <a:t>47 </a:t>
                      </a:r>
                      <a:r>
                        <a:rPr lang="en-US" sz="1100" b="1" dirty="0">
                          <a:solidFill>
                            <a:schemeClr val="accent3"/>
                          </a:solidFill>
                        </a:rPr>
                        <a:t>(14% of CA Customers)</a:t>
                      </a:r>
                    </a:p>
                    <a:p>
                      <a:pPr marL="171450" indent="-171450" algn="l">
                        <a:spcBef>
                          <a:spcPts val="300"/>
                        </a:spcBef>
                        <a:spcAft>
                          <a:spcPts val="300"/>
                        </a:spcAft>
                        <a:buFont typeface="Arial" panose="020B0604020202020204" pitchFamily="34" charset="0"/>
                        <a:buChar char="•"/>
                      </a:pPr>
                      <a:r>
                        <a:rPr lang="en-US" sz="1100" b="1" dirty="0">
                          <a:solidFill>
                            <a:schemeClr val="tx1"/>
                          </a:solidFill>
                        </a:rPr>
                        <a:t>$29M </a:t>
                      </a:r>
                      <a:r>
                        <a:rPr lang="en-US" sz="1100" b="1" dirty="0">
                          <a:solidFill>
                            <a:schemeClr val="accent3"/>
                          </a:solidFill>
                        </a:rPr>
                        <a:t>(78% of CA Net Revenue)</a:t>
                      </a:r>
                    </a:p>
                    <a:p>
                      <a:pPr marL="171450" indent="-171450" algn="l">
                        <a:spcBef>
                          <a:spcPts val="300"/>
                        </a:spcBef>
                        <a:spcAft>
                          <a:spcPts val="300"/>
                        </a:spcAft>
                        <a:buFont typeface="Arial" panose="020B0604020202020204" pitchFamily="34" charset="0"/>
                        <a:buChar char="•"/>
                      </a:pPr>
                      <a:r>
                        <a:rPr lang="en-US" sz="1100" b="1" dirty="0">
                          <a:solidFill>
                            <a:schemeClr val="tx1"/>
                          </a:solidFill>
                        </a:rPr>
                        <a:t>$12M </a:t>
                      </a:r>
                      <a:r>
                        <a:rPr lang="en-US" sz="1100" b="1" dirty="0">
                          <a:solidFill>
                            <a:schemeClr val="accent3"/>
                          </a:solidFill>
                        </a:rPr>
                        <a:t>(90%</a:t>
                      </a:r>
                      <a:r>
                        <a:rPr lang="en-US" sz="1100" b="1" baseline="0" dirty="0">
                          <a:solidFill>
                            <a:schemeClr val="accent3"/>
                          </a:solidFill>
                        </a:rPr>
                        <a:t> of CA Discount)</a:t>
                      </a:r>
                      <a:endParaRPr lang="en-US" sz="1100" b="1" dirty="0">
                        <a:solidFill>
                          <a:schemeClr val="accent3"/>
                        </a:solidFill>
                      </a:endParaRPr>
                    </a:p>
                  </a:txBody>
                  <a:tcPr anchor="ctr">
                    <a:lnL w="3175" cap="flat" cmpd="sng" algn="ctr">
                      <a:solidFill>
                        <a:schemeClr val="bg2"/>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no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cxnSp>
        <p:nvCxnSpPr>
          <p:cNvPr id="20" name="Straight Connector 19">
            <a:extLst>
              <a:ext uri="{FF2B5EF4-FFF2-40B4-BE49-F238E27FC236}">
                <a16:creationId xmlns:a16="http://schemas.microsoft.com/office/drawing/2014/main" id="{680F22CF-8AAE-4C2D-9462-17CF5D8C2935}"/>
              </a:ext>
            </a:extLst>
          </p:cNvPr>
          <p:cNvCxnSpPr>
            <a:cxnSpLocks/>
          </p:cNvCxnSpPr>
          <p:nvPr/>
        </p:nvCxnSpPr>
        <p:spPr bwMode="auto">
          <a:xfrm>
            <a:off x="1115451" y="2944773"/>
            <a:ext cx="9670171" cy="0"/>
          </a:xfrm>
          <a:prstGeom prst="line">
            <a:avLst/>
          </a:prstGeom>
          <a:solidFill>
            <a:schemeClr val="accent2"/>
          </a:solidFill>
          <a:ln w="12700" cap="flat" cmpd="sng" algn="ctr">
            <a:solidFill>
              <a:schemeClr val="bg1">
                <a:lumMod val="50000"/>
              </a:schemeClr>
            </a:solidFill>
            <a:prstDash val="dash"/>
            <a:round/>
            <a:headEnd type="none" w="med" len="med"/>
            <a:tailEnd type="none" w="med" len="med"/>
          </a:ln>
          <a:effectLst/>
        </p:spPr>
      </p:cxnSp>
      <p:cxnSp>
        <p:nvCxnSpPr>
          <p:cNvPr id="21" name="Straight Connector 20">
            <a:extLst>
              <a:ext uri="{FF2B5EF4-FFF2-40B4-BE49-F238E27FC236}">
                <a16:creationId xmlns:a16="http://schemas.microsoft.com/office/drawing/2014/main" id="{405AA4E0-7F23-4FB1-9814-718C056FAB95}"/>
              </a:ext>
            </a:extLst>
          </p:cNvPr>
          <p:cNvCxnSpPr>
            <a:cxnSpLocks/>
          </p:cNvCxnSpPr>
          <p:nvPr/>
        </p:nvCxnSpPr>
        <p:spPr bwMode="auto">
          <a:xfrm>
            <a:off x="1841559" y="5341136"/>
            <a:ext cx="9027546" cy="0"/>
          </a:xfrm>
          <a:prstGeom prst="line">
            <a:avLst/>
          </a:prstGeom>
          <a:solidFill>
            <a:schemeClr val="accent2"/>
          </a:solidFill>
          <a:ln w="12700" cap="flat" cmpd="sng" algn="ctr">
            <a:solidFill>
              <a:schemeClr val="bg1">
                <a:lumMod val="50000"/>
              </a:schemeClr>
            </a:solidFill>
            <a:prstDash val="dash"/>
            <a:round/>
            <a:headEnd type="none" w="med" len="med"/>
            <a:tailEnd type="none" w="med" len="med"/>
          </a:ln>
          <a:effectLst/>
        </p:spPr>
      </p:cxnSp>
      <p:sp>
        <p:nvSpPr>
          <p:cNvPr id="22" name="TextBox 21">
            <a:extLst>
              <a:ext uri="{FF2B5EF4-FFF2-40B4-BE49-F238E27FC236}">
                <a16:creationId xmlns:a16="http://schemas.microsoft.com/office/drawing/2014/main" id="{B760495A-E083-4C08-AC94-118E83457E00}"/>
              </a:ext>
            </a:extLst>
          </p:cNvPr>
          <p:cNvSpPr txBox="1"/>
          <p:nvPr/>
        </p:nvSpPr>
        <p:spPr>
          <a:xfrm>
            <a:off x="1858781" y="5991909"/>
            <a:ext cx="4721669" cy="153888"/>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000" b="0" i="1" u="none" strike="noStrike" kern="1200" cap="none" spc="0" normalizeH="0" baseline="0" noProof="0" dirty="0">
                <a:ln>
                  <a:noFill/>
                </a:ln>
                <a:solidFill>
                  <a:prstClr val="black"/>
                </a:solidFill>
                <a:effectLst/>
                <a:uLnTx/>
                <a:uFillTx/>
                <a:ea typeface="+mn-ea"/>
                <a:cs typeface="+mn-cs"/>
              </a:rPr>
              <a:t>*All dollar values in USD</a:t>
            </a:r>
          </a:p>
        </p:txBody>
      </p:sp>
      <p:sp>
        <p:nvSpPr>
          <p:cNvPr id="34" name="Text Placeholder 33">
            <a:extLst>
              <a:ext uri="{FF2B5EF4-FFF2-40B4-BE49-F238E27FC236}">
                <a16:creationId xmlns:a16="http://schemas.microsoft.com/office/drawing/2014/main" id="{5C9482ED-A784-40C8-A256-3D9FA3605E14}"/>
              </a:ext>
            </a:extLst>
          </p:cNvPr>
          <p:cNvSpPr>
            <a:spLocks noGrp="1"/>
          </p:cNvSpPr>
          <p:nvPr>
            <p:ph type="body" sz="quarter" idx="15"/>
          </p:nvPr>
        </p:nvSpPr>
        <p:spPr/>
        <p:txBody>
          <a:bodyPr/>
          <a:lstStyle/>
          <a:p>
            <a:r>
              <a:rPr lang="en-US" dirty="0"/>
              <a:t>TABLE</a:t>
            </a:r>
          </a:p>
        </p:txBody>
      </p:sp>
    </p:spTree>
    <p:extLst>
      <p:ext uri="{BB962C8B-B14F-4D97-AF65-F5344CB8AC3E}">
        <p14:creationId xmlns:p14="http://schemas.microsoft.com/office/powerpoint/2010/main" val="3604938686"/>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AC12683B-D96F-4C68-9E7D-8F498B939C5B}"/>
              </a:ext>
            </a:extLst>
          </p:cNvPr>
          <p:cNvGraphicFramePr>
            <a:graphicFrameLocks noChangeAspect="1"/>
          </p:cNvGraphicFramePr>
          <p:nvPr>
            <p:custDataLst>
              <p:tags r:id="rId2"/>
            </p:custDataLst>
            <p:extLst>
              <p:ext uri="{D42A27DB-BD31-4B8C-83A1-F6EECF244321}">
                <p14:modId xmlns:p14="http://schemas.microsoft.com/office/powerpoint/2010/main" val="916329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868" name="think-cell Slide" r:id="rId6" imgW="395" imgH="396" progId="TCLayout.ActiveDocument.1">
                  <p:embed/>
                </p:oleObj>
              </mc:Choice>
              <mc:Fallback>
                <p:oleObj name="think-cell Slide" r:id="rId6" imgW="395" imgH="396" progId="TCLayout.ActiveDocument.1">
                  <p:embed/>
                  <p:pic>
                    <p:nvPicPr>
                      <p:cNvPr id="12" name="Object 11" hidden="1">
                        <a:extLst>
                          <a:ext uri="{FF2B5EF4-FFF2-40B4-BE49-F238E27FC236}">
                            <a16:creationId xmlns:a16="http://schemas.microsoft.com/office/drawing/2014/main" id="{AC12683B-D96F-4C68-9E7D-8F498B939C5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0DBBE2FB-6632-4ABB-B37E-15B55D06DAE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214A915B-88AC-4F72-8E72-AE48BFDC798E}"/>
              </a:ext>
            </a:extLst>
          </p:cNvPr>
          <p:cNvSpPr>
            <a:spLocks noGrp="1"/>
          </p:cNvSpPr>
          <p:nvPr>
            <p:ph type="title"/>
          </p:nvPr>
        </p:nvSpPr>
        <p:spPr/>
        <p:txBody>
          <a:bodyPr/>
          <a:lstStyle/>
          <a:p>
            <a:r>
              <a:rPr lang="en-US" dirty="0"/>
              <a:t>We have experience in Salesforce and COE work</a:t>
            </a:r>
          </a:p>
        </p:txBody>
      </p:sp>
      <p:sp>
        <p:nvSpPr>
          <p:cNvPr id="3" name="Text Placeholder 2">
            <a:extLst>
              <a:ext uri="{FF2B5EF4-FFF2-40B4-BE49-F238E27FC236}">
                <a16:creationId xmlns:a16="http://schemas.microsoft.com/office/drawing/2014/main" id="{C9B42B96-B1FA-4815-ABE5-7C8D6EE0F922}"/>
              </a:ext>
            </a:extLst>
          </p:cNvPr>
          <p:cNvSpPr>
            <a:spLocks noGrp="1"/>
          </p:cNvSpPr>
          <p:nvPr>
            <p:ph type="body" sz="quarter" idx="14"/>
          </p:nvPr>
        </p:nvSpPr>
        <p:spPr/>
        <p:txBody>
          <a:bodyPr/>
          <a:lstStyle/>
          <a:p>
            <a:r>
              <a:rPr lang="en-US" dirty="0">
                <a:sym typeface="Gotham-Book" charset="0"/>
              </a:rPr>
              <a:t>We have provided a select sample of global deployment experiences, aligned to the types of services requested</a:t>
            </a:r>
            <a:endParaRPr lang="en-US" dirty="0"/>
          </a:p>
        </p:txBody>
      </p:sp>
      <p:sp>
        <p:nvSpPr>
          <p:cNvPr id="4" name="Text Placeholder 3">
            <a:extLst>
              <a:ext uri="{FF2B5EF4-FFF2-40B4-BE49-F238E27FC236}">
                <a16:creationId xmlns:a16="http://schemas.microsoft.com/office/drawing/2014/main" id="{61D538B7-77D2-42BD-A208-8A2395038099}"/>
              </a:ext>
            </a:extLst>
          </p:cNvPr>
          <p:cNvSpPr>
            <a:spLocks noGrp="1"/>
          </p:cNvSpPr>
          <p:nvPr>
            <p:ph type="body" sz="quarter" idx="15"/>
          </p:nvPr>
        </p:nvSpPr>
        <p:spPr/>
        <p:txBody>
          <a:bodyPr/>
          <a:lstStyle/>
          <a:p>
            <a:r>
              <a:rPr lang="en-US" dirty="0"/>
              <a:t>TABLE</a:t>
            </a:r>
          </a:p>
        </p:txBody>
      </p:sp>
      <p:sp>
        <p:nvSpPr>
          <p:cNvPr id="5" name="Title 1">
            <a:extLst>
              <a:ext uri="{FF2B5EF4-FFF2-40B4-BE49-F238E27FC236}">
                <a16:creationId xmlns:a16="http://schemas.microsoft.com/office/drawing/2014/main" id="{BDD82D54-70E9-478B-AC79-4001DF3F3E1B}"/>
              </a:ext>
            </a:extLst>
          </p:cNvPr>
          <p:cNvSpPr txBox="1">
            <a:spLocks/>
          </p:cNvSpPr>
          <p:nvPr/>
        </p:nvSpPr>
        <p:spPr>
          <a:xfrm>
            <a:off x="510493" y="589865"/>
            <a:ext cx="11071907" cy="967057"/>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sz="2400" dirty="0"/>
          </a:p>
        </p:txBody>
      </p:sp>
      <p:sp>
        <p:nvSpPr>
          <p:cNvPr id="6" name="Text Placeholder 14">
            <a:extLst>
              <a:ext uri="{FF2B5EF4-FFF2-40B4-BE49-F238E27FC236}">
                <a16:creationId xmlns:a16="http://schemas.microsoft.com/office/drawing/2014/main" id="{AA03D298-F7CD-4D9D-B06C-836D47599404}"/>
              </a:ext>
            </a:extLst>
          </p:cNvPr>
          <p:cNvSpPr txBox="1">
            <a:spLocks/>
          </p:cNvSpPr>
          <p:nvPr/>
        </p:nvSpPr>
        <p:spPr>
          <a:xfrm>
            <a:off x="511175" y="1027673"/>
            <a:ext cx="11071225" cy="6477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12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graphicFrame>
        <p:nvGraphicFramePr>
          <p:cNvPr id="7" name="Group 3">
            <a:extLst>
              <a:ext uri="{FF2B5EF4-FFF2-40B4-BE49-F238E27FC236}">
                <a16:creationId xmlns:a16="http://schemas.microsoft.com/office/drawing/2014/main" id="{049ED4D1-2A5A-4ECB-BBB5-9366E41C25E5}"/>
              </a:ext>
            </a:extLst>
          </p:cNvPr>
          <p:cNvGraphicFramePr>
            <a:graphicFrameLocks/>
          </p:cNvGraphicFramePr>
          <p:nvPr>
            <p:extLst>
              <p:ext uri="{D42A27DB-BD31-4B8C-83A1-F6EECF244321}">
                <p14:modId xmlns:p14="http://schemas.microsoft.com/office/powerpoint/2010/main" val="516524785"/>
              </p:ext>
            </p:extLst>
          </p:nvPr>
        </p:nvGraphicFramePr>
        <p:xfrm>
          <a:off x="914398" y="1766063"/>
          <a:ext cx="10362881" cy="4461767"/>
        </p:xfrm>
        <a:graphic>
          <a:graphicData uri="http://schemas.openxmlformats.org/drawingml/2006/table">
            <a:tbl>
              <a:tblPr/>
              <a:tblGrid>
                <a:gridCol w="1549565">
                  <a:extLst>
                    <a:ext uri="{9D8B030D-6E8A-4147-A177-3AD203B41FA5}">
                      <a16:colId xmlns:a16="http://schemas.microsoft.com/office/drawing/2014/main" val="20000"/>
                    </a:ext>
                  </a:extLst>
                </a:gridCol>
                <a:gridCol w="1220986">
                  <a:extLst>
                    <a:ext uri="{9D8B030D-6E8A-4147-A177-3AD203B41FA5}">
                      <a16:colId xmlns:a16="http://schemas.microsoft.com/office/drawing/2014/main" val="20001"/>
                    </a:ext>
                  </a:extLst>
                </a:gridCol>
                <a:gridCol w="1220986">
                  <a:extLst>
                    <a:ext uri="{9D8B030D-6E8A-4147-A177-3AD203B41FA5}">
                      <a16:colId xmlns:a16="http://schemas.microsoft.com/office/drawing/2014/main" val="20002"/>
                    </a:ext>
                  </a:extLst>
                </a:gridCol>
                <a:gridCol w="1220986">
                  <a:extLst>
                    <a:ext uri="{9D8B030D-6E8A-4147-A177-3AD203B41FA5}">
                      <a16:colId xmlns:a16="http://schemas.microsoft.com/office/drawing/2014/main" val="20003"/>
                    </a:ext>
                  </a:extLst>
                </a:gridCol>
                <a:gridCol w="1354193">
                  <a:extLst>
                    <a:ext uri="{9D8B030D-6E8A-4147-A177-3AD203B41FA5}">
                      <a16:colId xmlns:a16="http://schemas.microsoft.com/office/drawing/2014/main" val="20004"/>
                    </a:ext>
                  </a:extLst>
                </a:gridCol>
                <a:gridCol w="1220986">
                  <a:extLst>
                    <a:ext uri="{9D8B030D-6E8A-4147-A177-3AD203B41FA5}">
                      <a16:colId xmlns:a16="http://schemas.microsoft.com/office/drawing/2014/main" val="20005"/>
                    </a:ext>
                  </a:extLst>
                </a:gridCol>
                <a:gridCol w="1354193">
                  <a:extLst>
                    <a:ext uri="{9D8B030D-6E8A-4147-A177-3AD203B41FA5}">
                      <a16:colId xmlns:a16="http://schemas.microsoft.com/office/drawing/2014/main" val="20006"/>
                    </a:ext>
                  </a:extLst>
                </a:gridCol>
                <a:gridCol w="1220986">
                  <a:extLst>
                    <a:ext uri="{9D8B030D-6E8A-4147-A177-3AD203B41FA5}">
                      <a16:colId xmlns:a16="http://schemas.microsoft.com/office/drawing/2014/main" val="20007"/>
                    </a:ext>
                  </a:extLst>
                </a:gridCol>
              </a:tblGrid>
              <a:tr h="1188720">
                <a:tc>
                  <a:txBody>
                    <a:bodyPr/>
                    <a:lstStyle/>
                    <a:p>
                      <a:pPr marL="0" marR="0" lvl="0" indent="0" algn="ctr" defTabSz="957263" rtl="0" eaLnBrk="1" fontAlgn="base" latinLnBrk="0" hangingPunct="1">
                        <a:lnSpc>
                          <a:spcPct val="100000"/>
                        </a:lnSpc>
                        <a:spcBef>
                          <a:spcPts val="600"/>
                        </a:spcBef>
                        <a:spcAft>
                          <a:spcPts val="0"/>
                        </a:spcAft>
                        <a:buClrTx/>
                        <a:buSzTx/>
                        <a:buFont typeface="Arial" charset="0"/>
                        <a:buNone/>
                        <a:tabLst/>
                        <a:defRPr/>
                      </a:pPr>
                      <a:endParaRPr kumimoji="0" lang="en-GB" sz="1200" b="1" i="0" u="none" strike="noStrike" kern="1200" cap="none" spc="0" normalizeH="0" baseline="0" noProof="0" dirty="0">
                        <a:ln>
                          <a:noFill/>
                        </a:ln>
                        <a:solidFill>
                          <a:schemeClr val="accent3"/>
                        </a:solidFill>
                        <a:effectLst/>
                        <a:uLnTx/>
                        <a:uFillTx/>
                        <a:latin typeface="+mn-lt"/>
                      </a:endParaRPr>
                    </a:p>
                  </a:txBody>
                  <a:tcPr marT="91440" marB="91440" anchor="ctr" horzOverflow="overflow">
                    <a:lnL w="12700" cmpd="sng">
                      <a:noFill/>
                    </a:lnL>
                    <a:lnR w="12700" cmpd="sng">
                      <a:noFill/>
                    </a:lnR>
                    <a:lnT w="6350" cap="flat" cmpd="sng" algn="ctr">
                      <a:no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en-US" sz="1400" b="0" u="none" strike="noStrike" kern="1200" cap="none" normalizeH="0" baseline="0" dirty="0">
                          <a:ln>
                            <a:noFill/>
                          </a:ln>
                          <a:solidFill>
                            <a:schemeClr val="tx1"/>
                          </a:solidFill>
                          <a:effectLst/>
                          <a:latin typeface="+mn-lt"/>
                          <a:ea typeface="+mn-ea"/>
                          <a:cs typeface="Frutiger Next Pro Medium"/>
                        </a:rPr>
                        <a:t>Market Cap ($)</a:t>
                      </a:r>
                    </a:p>
                  </a:txBody>
                  <a:tcPr marT="91440" marB="91440" anchor="ctr" horzOverflow="overflow">
                    <a:lnL w="12700" cmpd="sng">
                      <a:noFill/>
                    </a:lnL>
                    <a:lnR w="12700" cmpd="sng">
                      <a:noFill/>
                    </a:lnR>
                    <a:lnT w="6350" cap="flat" cmpd="sng" algn="ctr">
                      <a:no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en-US" sz="1400" b="0" u="none" strike="noStrike" kern="1200" cap="none" normalizeH="0" baseline="0" dirty="0">
                          <a:ln>
                            <a:noFill/>
                          </a:ln>
                          <a:solidFill>
                            <a:schemeClr val="tx1"/>
                          </a:solidFill>
                          <a:effectLst/>
                          <a:latin typeface="+mn-lt"/>
                          <a:ea typeface="+mn-ea"/>
                          <a:cs typeface="Frutiger Next Pro Medium"/>
                        </a:rPr>
                        <a:t>Global</a:t>
                      </a:r>
                    </a:p>
                  </a:txBody>
                  <a:tcPr marT="91440" marB="91440" anchor="ctr" horzOverflow="overflow">
                    <a:lnL w="12700" cmpd="sng">
                      <a:noFill/>
                    </a:lnL>
                    <a:lnR w="12700" cmpd="sng">
                      <a:noFill/>
                    </a:lnR>
                    <a:lnT w="6350" cap="flat" cmpd="sng" algn="ctr">
                      <a:no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en-US" sz="1400" b="0" u="none" strike="noStrike" kern="1200" cap="none" normalizeH="0" baseline="0" dirty="0">
                          <a:ln>
                            <a:noFill/>
                          </a:ln>
                          <a:solidFill>
                            <a:schemeClr val="tx1"/>
                          </a:solidFill>
                          <a:effectLst/>
                          <a:latin typeface="+mn-lt"/>
                          <a:ea typeface="+mn-ea"/>
                          <a:cs typeface="Frutiger Next Pro Medium"/>
                        </a:rPr>
                        <a:t>Salesforce</a:t>
                      </a:r>
                    </a:p>
                    <a:p>
                      <a:pPr algn="ctr"/>
                      <a:r>
                        <a:rPr kumimoji="0" lang="en-US" sz="1400" b="0" u="none" strike="noStrike" kern="1200" cap="none" normalizeH="0" baseline="0" dirty="0">
                          <a:ln>
                            <a:noFill/>
                          </a:ln>
                          <a:solidFill>
                            <a:schemeClr val="tx1"/>
                          </a:solidFill>
                          <a:effectLst/>
                          <a:latin typeface="+mn-lt"/>
                          <a:ea typeface="+mn-ea"/>
                          <a:cs typeface="Frutiger Next Pro Medium"/>
                        </a:rPr>
                        <a:t>COE</a:t>
                      </a:r>
                    </a:p>
                    <a:p>
                      <a:pPr algn="ctr"/>
                      <a:endParaRPr kumimoji="0" lang="en-US" sz="1400" b="0" u="none" strike="noStrike" kern="1200" cap="none" normalizeH="0" baseline="0" dirty="0">
                        <a:ln>
                          <a:noFill/>
                        </a:ln>
                        <a:solidFill>
                          <a:schemeClr val="tx1"/>
                        </a:solidFill>
                        <a:effectLst/>
                        <a:latin typeface="+mn-lt"/>
                        <a:ea typeface="+mn-ea"/>
                        <a:cs typeface="Frutiger Next Pro Medium"/>
                      </a:endParaRPr>
                    </a:p>
                  </a:txBody>
                  <a:tcPr marT="91440" marB="91440" anchor="ctr" horzOverflow="overflow">
                    <a:lnL w="12700" cmpd="sng">
                      <a:noFill/>
                    </a:lnL>
                    <a:lnR w="12700" cmpd="sng">
                      <a:noFill/>
                    </a:lnR>
                    <a:lnT w="6350" cap="flat" cmpd="sng" algn="ctr">
                      <a:no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en-US" sz="1400" b="0" u="none" strike="noStrike" kern="1200" cap="none" normalizeH="0" baseline="0" dirty="0">
                          <a:ln>
                            <a:noFill/>
                          </a:ln>
                          <a:solidFill>
                            <a:schemeClr val="tx1"/>
                          </a:solidFill>
                          <a:effectLst/>
                          <a:latin typeface="+mn-lt"/>
                          <a:ea typeface="+mn-ea"/>
                          <a:cs typeface="Frutiger Next Pro Medium"/>
                        </a:rPr>
                        <a:t>Salesforce Core (Sales, Service, Community)</a:t>
                      </a:r>
                    </a:p>
                  </a:txBody>
                  <a:tcPr marT="91440" marB="91440" anchor="ctr" horzOverflow="overflow">
                    <a:lnL w="12700" cmpd="sng">
                      <a:noFill/>
                    </a:lnL>
                    <a:lnR w="12700" cmpd="sng">
                      <a:noFill/>
                    </a:lnR>
                    <a:lnT w="6350" cap="flat" cmpd="sng" algn="ctr">
                      <a:no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en-US" sz="1400" b="0" u="none" strike="noStrike" kern="1200" cap="none" normalizeH="0" baseline="0" dirty="0">
                          <a:ln>
                            <a:noFill/>
                          </a:ln>
                          <a:solidFill>
                            <a:schemeClr val="tx1"/>
                          </a:solidFill>
                          <a:effectLst/>
                          <a:latin typeface="+mn-lt"/>
                          <a:ea typeface="+mn-ea"/>
                          <a:cs typeface="Frutiger Next Pro Medium"/>
                        </a:rPr>
                        <a:t>Mobile</a:t>
                      </a:r>
                    </a:p>
                  </a:txBody>
                  <a:tcPr marT="91440" marB="91440" anchor="ctr" horzOverflow="overflow">
                    <a:lnL w="12700" cmpd="sng">
                      <a:noFill/>
                    </a:lnL>
                    <a:lnR w="12700" cmpd="sng">
                      <a:noFill/>
                    </a:lnR>
                    <a:lnT w="6350" cap="flat" cmpd="sng" algn="ctr">
                      <a:no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en-US" sz="1400" b="0" u="none" strike="noStrike" kern="1200" cap="none" normalizeH="0" baseline="0" dirty="0">
                          <a:ln>
                            <a:noFill/>
                          </a:ln>
                          <a:solidFill>
                            <a:schemeClr val="tx1"/>
                          </a:solidFill>
                          <a:effectLst/>
                          <a:latin typeface="+mn-lt"/>
                          <a:ea typeface="+mn-ea"/>
                          <a:cs typeface="Frutiger Next Pro Medium"/>
                        </a:rPr>
                        <a:t>Integration with Enterprise Applications</a:t>
                      </a:r>
                    </a:p>
                  </a:txBody>
                  <a:tcPr marT="91440" marB="91440" anchor="ctr" horzOverflow="overflow">
                    <a:lnL w="12700" cmpd="sng">
                      <a:noFill/>
                    </a:lnL>
                    <a:lnR w="12700" cmpd="sng">
                      <a:noFill/>
                    </a:lnR>
                    <a:lnT w="6350" cap="flat" cmpd="sng" algn="ctr">
                      <a:no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0" lang="en-US" sz="1400" b="0" u="none" strike="noStrike" kern="1200" cap="none" normalizeH="0" baseline="0" dirty="0">
                        <a:ln>
                          <a:noFill/>
                        </a:ln>
                        <a:solidFill>
                          <a:schemeClr val="tx1"/>
                        </a:solidFill>
                        <a:effectLst/>
                        <a:latin typeface="+mn-lt"/>
                        <a:ea typeface="+mn-ea"/>
                        <a:cs typeface="Frutiger Next Pro Medium"/>
                      </a:endParaRPr>
                    </a:p>
                  </a:txBody>
                  <a:tcPr marT="91440" marB="91440" anchor="ctr" horzOverflow="overflow">
                    <a:lnL w="12700" cmpd="sng">
                      <a:noFill/>
                    </a:lnL>
                    <a:lnR w="12700" cmpd="sng">
                      <a:noFill/>
                    </a:lnR>
                    <a:lnT w="6350" cap="flat" cmpd="sng" algn="ctr">
                      <a:no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18561">
                <a:tc>
                  <a:txBody>
                    <a:bodyPr/>
                    <a:lstStyle>
                      <a:lvl1pPr marL="0" algn="l" defTabSz="914377" rtl="0" eaLnBrk="1" latinLnBrk="0" hangingPunct="1">
                        <a:defRPr sz="1800" kern="1200">
                          <a:solidFill>
                            <a:schemeClr val="tx1"/>
                          </a:solidFill>
                          <a:latin typeface="Frutiger Next Pro Light"/>
                        </a:defRPr>
                      </a:lvl1pPr>
                      <a:lvl2pPr marL="457189" algn="l" defTabSz="914377" rtl="0" eaLnBrk="1" latinLnBrk="0" hangingPunct="1">
                        <a:defRPr sz="1800" kern="1200">
                          <a:solidFill>
                            <a:schemeClr val="tx1"/>
                          </a:solidFill>
                          <a:latin typeface="Frutiger Next Pro Light"/>
                        </a:defRPr>
                      </a:lvl2pPr>
                      <a:lvl3pPr marL="914377" algn="l" defTabSz="914377" rtl="0" eaLnBrk="1" latinLnBrk="0" hangingPunct="1">
                        <a:defRPr sz="1800" kern="1200">
                          <a:solidFill>
                            <a:schemeClr val="tx1"/>
                          </a:solidFill>
                          <a:latin typeface="Frutiger Next Pro Light"/>
                        </a:defRPr>
                      </a:lvl3pPr>
                      <a:lvl4pPr marL="1371566" algn="l" defTabSz="914377" rtl="0" eaLnBrk="1" latinLnBrk="0" hangingPunct="1">
                        <a:defRPr sz="1800" kern="1200">
                          <a:solidFill>
                            <a:schemeClr val="tx1"/>
                          </a:solidFill>
                          <a:latin typeface="Frutiger Next Pro Light"/>
                        </a:defRPr>
                      </a:lvl4pPr>
                      <a:lvl5pPr marL="1828754" algn="l" defTabSz="914377" rtl="0" eaLnBrk="1" latinLnBrk="0" hangingPunct="1">
                        <a:defRPr sz="1800" kern="1200">
                          <a:solidFill>
                            <a:schemeClr val="tx1"/>
                          </a:solidFill>
                          <a:latin typeface="Frutiger Next Pro Light"/>
                        </a:defRPr>
                      </a:lvl5pPr>
                      <a:lvl6pPr marL="2285943" algn="l" defTabSz="914377" rtl="0" eaLnBrk="1" latinLnBrk="0" hangingPunct="1">
                        <a:defRPr sz="1800" kern="1200">
                          <a:solidFill>
                            <a:schemeClr val="tx1"/>
                          </a:solidFill>
                          <a:latin typeface="Frutiger Next Pro Light"/>
                        </a:defRPr>
                      </a:lvl6pPr>
                      <a:lvl7pPr marL="2743131" algn="l" defTabSz="914377" rtl="0" eaLnBrk="1" latinLnBrk="0" hangingPunct="1">
                        <a:defRPr sz="1800" kern="1200">
                          <a:solidFill>
                            <a:schemeClr val="tx1"/>
                          </a:solidFill>
                          <a:latin typeface="Frutiger Next Pro Light"/>
                        </a:defRPr>
                      </a:lvl7pPr>
                      <a:lvl8pPr marL="3200320" algn="l" defTabSz="914377" rtl="0" eaLnBrk="1" latinLnBrk="0" hangingPunct="1">
                        <a:defRPr sz="1800" kern="1200">
                          <a:solidFill>
                            <a:schemeClr val="tx1"/>
                          </a:solidFill>
                          <a:latin typeface="Frutiger Next Pro Light"/>
                        </a:defRPr>
                      </a:lvl8pPr>
                      <a:lvl9pPr marL="3657509" algn="l" defTabSz="914377" rtl="0" eaLnBrk="1" latinLnBrk="0" hangingPunct="1">
                        <a:defRPr sz="1800" kern="1200">
                          <a:solidFill>
                            <a:schemeClr val="tx1"/>
                          </a:solidFill>
                          <a:latin typeface="Frutiger Next Pro Light"/>
                        </a:defRPr>
                      </a:lvl9pPr>
                    </a:lstStyle>
                    <a:p>
                      <a:pPr marL="0" marR="0" lvl="0" indent="0" algn="ctr" defTabSz="957263" rtl="0" eaLnBrk="1" fontAlgn="base" latinLnBrk="0" hangingPunct="1">
                        <a:lnSpc>
                          <a:spcPct val="100000"/>
                        </a:lnSpc>
                        <a:spcBef>
                          <a:spcPts val="600"/>
                        </a:spcBef>
                        <a:spcAft>
                          <a:spcPts val="0"/>
                        </a:spcAft>
                        <a:buClrTx/>
                        <a:buSzTx/>
                        <a:buFont typeface="Arial" charset="0"/>
                        <a:buNone/>
                        <a:tabLst/>
                        <a:defRPr/>
                      </a:pPr>
                      <a:r>
                        <a:rPr kumimoji="0" lang="en-GB" sz="1200" b="1" i="0" u="none" strike="noStrike" kern="1200" cap="none" spc="0" normalizeH="0" baseline="0" noProof="0" dirty="0">
                          <a:ln>
                            <a:noFill/>
                          </a:ln>
                          <a:solidFill>
                            <a:schemeClr val="tx1">
                              <a:lumMod val="95000"/>
                              <a:lumOff val="5000"/>
                            </a:schemeClr>
                          </a:solidFill>
                          <a:effectLst/>
                          <a:uLnTx/>
                          <a:uFillTx/>
                          <a:latin typeface="+mn-lt"/>
                        </a:rPr>
                        <a:t>Global Pharma Company 1</a:t>
                      </a: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Frutiger Next Pro Light"/>
                        </a:defRPr>
                      </a:lvl1pPr>
                      <a:lvl2pPr marL="457189" algn="l" defTabSz="914377" rtl="0" eaLnBrk="1" latinLnBrk="0" hangingPunct="1">
                        <a:defRPr sz="1800" kern="1200">
                          <a:solidFill>
                            <a:schemeClr val="tx1"/>
                          </a:solidFill>
                          <a:latin typeface="Frutiger Next Pro Light"/>
                        </a:defRPr>
                      </a:lvl2pPr>
                      <a:lvl3pPr marL="914377" algn="l" defTabSz="914377" rtl="0" eaLnBrk="1" latinLnBrk="0" hangingPunct="1">
                        <a:defRPr sz="1800" kern="1200">
                          <a:solidFill>
                            <a:schemeClr val="tx1"/>
                          </a:solidFill>
                          <a:latin typeface="Frutiger Next Pro Light"/>
                        </a:defRPr>
                      </a:lvl3pPr>
                      <a:lvl4pPr marL="1371566" algn="l" defTabSz="914377" rtl="0" eaLnBrk="1" latinLnBrk="0" hangingPunct="1">
                        <a:defRPr sz="1800" kern="1200">
                          <a:solidFill>
                            <a:schemeClr val="tx1"/>
                          </a:solidFill>
                          <a:latin typeface="Frutiger Next Pro Light"/>
                        </a:defRPr>
                      </a:lvl4pPr>
                      <a:lvl5pPr marL="1828754" algn="l" defTabSz="914377" rtl="0" eaLnBrk="1" latinLnBrk="0" hangingPunct="1">
                        <a:defRPr sz="1800" kern="1200">
                          <a:solidFill>
                            <a:schemeClr val="tx1"/>
                          </a:solidFill>
                          <a:latin typeface="Frutiger Next Pro Light"/>
                        </a:defRPr>
                      </a:lvl5pPr>
                      <a:lvl6pPr marL="2285943" algn="l" defTabSz="914377" rtl="0" eaLnBrk="1" latinLnBrk="0" hangingPunct="1">
                        <a:defRPr sz="1800" kern="1200">
                          <a:solidFill>
                            <a:schemeClr val="tx1"/>
                          </a:solidFill>
                          <a:latin typeface="Frutiger Next Pro Light"/>
                        </a:defRPr>
                      </a:lvl6pPr>
                      <a:lvl7pPr marL="2743131" algn="l" defTabSz="914377" rtl="0" eaLnBrk="1" latinLnBrk="0" hangingPunct="1">
                        <a:defRPr sz="1800" kern="1200">
                          <a:solidFill>
                            <a:schemeClr val="tx1"/>
                          </a:solidFill>
                          <a:latin typeface="Frutiger Next Pro Light"/>
                        </a:defRPr>
                      </a:lvl7pPr>
                      <a:lvl8pPr marL="3200320" algn="l" defTabSz="914377" rtl="0" eaLnBrk="1" latinLnBrk="0" hangingPunct="1">
                        <a:defRPr sz="1800" kern="1200">
                          <a:solidFill>
                            <a:schemeClr val="tx1"/>
                          </a:solidFill>
                          <a:latin typeface="Frutiger Next Pro Light"/>
                        </a:defRPr>
                      </a:lvl8pPr>
                      <a:lvl9pPr marL="3657509" algn="l" defTabSz="914377" rtl="0" eaLnBrk="1" latinLnBrk="0" hangingPunct="1">
                        <a:defRPr sz="1800" kern="1200">
                          <a:solidFill>
                            <a:schemeClr val="tx1"/>
                          </a:solidFill>
                          <a:latin typeface="Frutiger Next Pro Light"/>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defRPr/>
                      </a:pPr>
                      <a:r>
                        <a:rPr kumimoji="0" lang="en-US" sz="1600" b="1" u="none" strike="noStrike" kern="1200" cap="none" normalizeH="0" baseline="0" dirty="0">
                          <a:ln>
                            <a:noFill/>
                          </a:ln>
                          <a:solidFill>
                            <a:schemeClr val="tx2"/>
                          </a:solidFill>
                          <a:effectLst/>
                          <a:latin typeface="+mn-lt"/>
                          <a:ea typeface="+mn-ea"/>
                          <a:cs typeface="+mn-cs"/>
                        </a:rPr>
                        <a:t>80+ B</a:t>
                      </a: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defRPr/>
                      </a:pPr>
                      <a:r>
                        <a:rPr lang="en-US" sz="1600" u="none" strike="noStrike" dirty="0">
                          <a:solidFill>
                            <a:srgbClr val="92D050"/>
                          </a:solidFill>
                          <a:effectLst/>
                          <a:latin typeface="Wingdings" panose="05000000000000000000" pitchFamily="2" charset="2"/>
                        </a:rPr>
                        <a:t>l</a:t>
                      </a: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u="none" strike="noStrike" dirty="0">
                          <a:solidFill>
                            <a:srgbClr val="92D050"/>
                          </a:solidFill>
                          <a:effectLst/>
                          <a:latin typeface="Wingdings" panose="05000000000000000000" pitchFamily="2" charset="2"/>
                        </a:rPr>
                        <a:t>l</a:t>
                      </a: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600" u="none" strike="noStrike" dirty="0">
                          <a:solidFill>
                            <a:srgbClr val="92D050"/>
                          </a:solidFill>
                          <a:effectLst/>
                          <a:latin typeface="Wingdings" panose="05000000000000000000" pitchFamily="2" charset="2"/>
                        </a:rPr>
                        <a:t>l</a:t>
                      </a: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u="none" strike="noStrike" dirty="0">
                          <a:solidFill>
                            <a:srgbClr val="92D050"/>
                          </a:solidFill>
                          <a:effectLst/>
                          <a:latin typeface="Wingdings" panose="05000000000000000000" pitchFamily="2" charset="2"/>
                        </a:rPr>
                        <a:t>l</a:t>
                      </a: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600" u="none" strike="noStrike" dirty="0">
                          <a:solidFill>
                            <a:srgbClr val="92D050"/>
                          </a:solidFill>
                          <a:effectLst/>
                          <a:latin typeface="Wingdings" panose="05000000000000000000" pitchFamily="2" charset="2"/>
                        </a:rPr>
                        <a:t>l</a:t>
                      </a: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29847">
                <a:tc>
                  <a:txBody>
                    <a:bodyPr/>
                    <a:lstStyle>
                      <a:lvl1pPr marL="0" algn="l" defTabSz="914377" rtl="0" eaLnBrk="1" latinLnBrk="0" hangingPunct="1">
                        <a:defRPr sz="1800" kern="1200">
                          <a:solidFill>
                            <a:schemeClr val="tx1"/>
                          </a:solidFill>
                          <a:latin typeface="Frutiger Next Pro Light"/>
                        </a:defRPr>
                      </a:lvl1pPr>
                      <a:lvl2pPr marL="457189" algn="l" defTabSz="914377" rtl="0" eaLnBrk="1" latinLnBrk="0" hangingPunct="1">
                        <a:defRPr sz="1800" kern="1200">
                          <a:solidFill>
                            <a:schemeClr val="tx1"/>
                          </a:solidFill>
                          <a:latin typeface="Frutiger Next Pro Light"/>
                        </a:defRPr>
                      </a:lvl2pPr>
                      <a:lvl3pPr marL="914377" algn="l" defTabSz="914377" rtl="0" eaLnBrk="1" latinLnBrk="0" hangingPunct="1">
                        <a:defRPr sz="1800" kern="1200">
                          <a:solidFill>
                            <a:schemeClr val="tx1"/>
                          </a:solidFill>
                          <a:latin typeface="Frutiger Next Pro Light"/>
                        </a:defRPr>
                      </a:lvl3pPr>
                      <a:lvl4pPr marL="1371566" algn="l" defTabSz="914377" rtl="0" eaLnBrk="1" latinLnBrk="0" hangingPunct="1">
                        <a:defRPr sz="1800" kern="1200">
                          <a:solidFill>
                            <a:schemeClr val="tx1"/>
                          </a:solidFill>
                          <a:latin typeface="Frutiger Next Pro Light"/>
                        </a:defRPr>
                      </a:lvl4pPr>
                      <a:lvl5pPr marL="1828754" algn="l" defTabSz="914377" rtl="0" eaLnBrk="1" latinLnBrk="0" hangingPunct="1">
                        <a:defRPr sz="1800" kern="1200">
                          <a:solidFill>
                            <a:schemeClr val="tx1"/>
                          </a:solidFill>
                          <a:latin typeface="Frutiger Next Pro Light"/>
                        </a:defRPr>
                      </a:lvl5pPr>
                      <a:lvl6pPr marL="2285943" algn="l" defTabSz="914377" rtl="0" eaLnBrk="1" latinLnBrk="0" hangingPunct="1">
                        <a:defRPr sz="1800" kern="1200">
                          <a:solidFill>
                            <a:schemeClr val="tx1"/>
                          </a:solidFill>
                          <a:latin typeface="Frutiger Next Pro Light"/>
                        </a:defRPr>
                      </a:lvl6pPr>
                      <a:lvl7pPr marL="2743131" algn="l" defTabSz="914377" rtl="0" eaLnBrk="1" latinLnBrk="0" hangingPunct="1">
                        <a:defRPr sz="1800" kern="1200">
                          <a:solidFill>
                            <a:schemeClr val="tx1"/>
                          </a:solidFill>
                          <a:latin typeface="Frutiger Next Pro Light"/>
                        </a:defRPr>
                      </a:lvl7pPr>
                      <a:lvl8pPr marL="3200320" algn="l" defTabSz="914377" rtl="0" eaLnBrk="1" latinLnBrk="0" hangingPunct="1">
                        <a:defRPr sz="1800" kern="1200">
                          <a:solidFill>
                            <a:schemeClr val="tx1"/>
                          </a:solidFill>
                          <a:latin typeface="Frutiger Next Pro Light"/>
                        </a:defRPr>
                      </a:lvl8pPr>
                      <a:lvl9pPr marL="3657509" algn="l" defTabSz="914377" rtl="0" eaLnBrk="1" latinLnBrk="0" hangingPunct="1">
                        <a:defRPr sz="1800" kern="1200">
                          <a:solidFill>
                            <a:schemeClr val="tx1"/>
                          </a:solidFill>
                          <a:latin typeface="Frutiger Next Pro Light"/>
                        </a:defRPr>
                      </a:lvl9pPr>
                    </a:lstStyle>
                    <a:p>
                      <a:pPr marL="0" marR="0" lvl="0" indent="0" algn="ctr" defTabSz="957263" rtl="0" eaLnBrk="1" fontAlgn="base" latinLnBrk="0" hangingPunct="1">
                        <a:lnSpc>
                          <a:spcPct val="100000"/>
                        </a:lnSpc>
                        <a:spcBef>
                          <a:spcPts val="600"/>
                        </a:spcBef>
                        <a:spcAft>
                          <a:spcPts val="0"/>
                        </a:spcAft>
                        <a:buClrTx/>
                        <a:buSzTx/>
                        <a:buFont typeface="Arial" charset="0"/>
                        <a:buNone/>
                        <a:tabLst/>
                        <a:defRPr/>
                      </a:pPr>
                      <a:r>
                        <a:rPr kumimoji="0" lang="en-GB" sz="1200" b="1" i="0" u="none" strike="noStrike" kern="1200" cap="none" spc="0" normalizeH="0" baseline="0" noProof="0" dirty="0">
                          <a:ln>
                            <a:noFill/>
                          </a:ln>
                          <a:solidFill>
                            <a:schemeClr val="tx1">
                              <a:lumMod val="95000"/>
                              <a:lumOff val="5000"/>
                            </a:schemeClr>
                          </a:solidFill>
                          <a:effectLst/>
                          <a:uLnTx/>
                          <a:uFillTx/>
                          <a:latin typeface="+mn-lt"/>
                          <a:ea typeface="+mn-ea"/>
                          <a:cs typeface="+mn-cs"/>
                        </a:rPr>
                        <a:t>Global Pharma Company 2</a:t>
                      </a: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Frutiger Next Pro Light"/>
                        </a:defRPr>
                      </a:lvl1pPr>
                      <a:lvl2pPr marL="457189" algn="l" defTabSz="914377" rtl="0" eaLnBrk="1" latinLnBrk="0" hangingPunct="1">
                        <a:defRPr sz="1800" kern="1200">
                          <a:solidFill>
                            <a:schemeClr val="tx1"/>
                          </a:solidFill>
                          <a:latin typeface="Frutiger Next Pro Light"/>
                        </a:defRPr>
                      </a:lvl2pPr>
                      <a:lvl3pPr marL="914377" algn="l" defTabSz="914377" rtl="0" eaLnBrk="1" latinLnBrk="0" hangingPunct="1">
                        <a:defRPr sz="1800" kern="1200">
                          <a:solidFill>
                            <a:schemeClr val="tx1"/>
                          </a:solidFill>
                          <a:latin typeface="Frutiger Next Pro Light"/>
                        </a:defRPr>
                      </a:lvl3pPr>
                      <a:lvl4pPr marL="1371566" algn="l" defTabSz="914377" rtl="0" eaLnBrk="1" latinLnBrk="0" hangingPunct="1">
                        <a:defRPr sz="1800" kern="1200">
                          <a:solidFill>
                            <a:schemeClr val="tx1"/>
                          </a:solidFill>
                          <a:latin typeface="Frutiger Next Pro Light"/>
                        </a:defRPr>
                      </a:lvl4pPr>
                      <a:lvl5pPr marL="1828754" algn="l" defTabSz="914377" rtl="0" eaLnBrk="1" latinLnBrk="0" hangingPunct="1">
                        <a:defRPr sz="1800" kern="1200">
                          <a:solidFill>
                            <a:schemeClr val="tx1"/>
                          </a:solidFill>
                          <a:latin typeface="Frutiger Next Pro Light"/>
                        </a:defRPr>
                      </a:lvl5pPr>
                      <a:lvl6pPr marL="2285943" algn="l" defTabSz="914377" rtl="0" eaLnBrk="1" latinLnBrk="0" hangingPunct="1">
                        <a:defRPr sz="1800" kern="1200">
                          <a:solidFill>
                            <a:schemeClr val="tx1"/>
                          </a:solidFill>
                          <a:latin typeface="Frutiger Next Pro Light"/>
                        </a:defRPr>
                      </a:lvl6pPr>
                      <a:lvl7pPr marL="2743131" algn="l" defTabSz="914377" rtl="0" eaLnBrk="1" latinLnBrk="0" hangingPunct="1">
                        <a:defRPr sz="1800" kern="1200">
                          <a:solidFill>
                            <a:schemeClr val="tx1"/>
                          </a:solidFill>
                          <a:latin typeface="Frutiger Next Pro Light"/>
                        </a:defRPr>
                      </a:lvl7pPr>
                      <a:lvl8pPr marL="3200320" algn="l" defTabSz="914377" rtl="0" eaLnBrk="1" latinLnBrk="0" hangingPunct="1">
                        <a:defRPr sz="1800" kern="1200">
                          <a:solidFill>
                            <a:schemeClr val="tx1"/>
                          </a:solidFill>
                          <a:latin typeface="Frutiger Next Pro Light"/>
                        </a:defRPr>
                      </a:lvl8pPr>
                      <a:lvl9pPr marL="3657509" algn="l" defTabSz="914377" rtl="0" eaLnBrk="1" latinLnBrk="0" hangingPunct="1">
                        <a:defRPr sz="1800" kern="1200">
                          <a:solidFill>
                            <a:schemeClr val="tx1"/>
                          </a:solidFill>
                          <a:latin typeface="Frutiger Next Pro Light"/>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defRPr/>
                      </a:pPr>
                      <a:r>
                        <a:rPr kumimoji="0" lang="en-US" sz="1600" b="1" u="none" strike="noStrike" kern="1200" cap="none" normalizeH="0" baseline="0" dirty="0">
                          <a:ln>
                            <a:noFill/>
                          </a:ln>
                          <a:solidFill>
                            <a:schemeClr val="tx2"/>
                          </a:solidFill>
                          <a:effectLst/>
                          <a:latin typeface="+mn-lt"/>
                          <a:ea typeface="+mn-ea"/>
                          <a:cs typeface="+mn-cs"/>
                        </a:rPr>
                        <a:t>90+ B</a:t>
                      </a: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defRPr/>
                      </a:pPr>
                      <a:r>
                        <a:rPr lang="en-US" sz="1600" u="none" strike="noStrike" dirty="0">
                          <a:solidFill>
                            <a:srgbClr val="92D050"/>
                          </a:solidFill>
                          <a:effectLst/>
                          <a:latin typeface="Wingdings" panose="05000000000000000000" pitchFamily="2" charset="2"/>
                        </a:rPr>
                        <a:t>l</a:t>
                      </a: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u="none" strike="noStrike" dirty="0">
                          <a:solidFill>
                            <a:srgbClr val="92D050"/>
                          </a:solidFill>
                          <a:effectLst/>
                          <a:latin typeface="Wingdings" panose="05000000000000000000" pitchFamily="2" charset="2"/>
                        </a:rPr>
                        <a:t>l</a:t>
                      </a: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600" u="none" strike="noStrike" dirty="0">
                          <a:solidFill>
                            <a:srgbClr val="92D050"/>
                          </a:solidFill>
                          <a:effectLst/>
                          <a:latin typeface="Wingdings" panose="05000000000000000000" pitchFamily="2" charset="2"/>
                        </a:rPr>
                        <a:t>l</a:t>
                      </a: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u="none" strike="noStrike" dirty="0">
                          <a:solidFill>
                            <a:srgbClr val="92D050"/>
                          </a:solidFill>
                          <a:effectLst/>
                          <a:latin typeface="Wingdings" panose="05000000000000000000" pitchFamily="2" charset="2"/>
                        </a:rPr>
                        <a:t>l</a:t>
                      </a: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600" u="none" strike="noStrike" dirty="0">
                          <a:solidFill>
                            <a:srgbClr val="92D050"/>
                          </a:solidFill>
                          <a:effectLst/>
                          <a:latin typeface="Wingdings" panose="05000000000000000000" pitchFamily="2" charset="2"/>
                        </a:rPr>
                        <a:t>l</a:t>
                      </a: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529847">
                <a:tc>
                  <a:txBody>
                    <a:bodyPr/>
                    <a:lstStyle>
                      <a:lvl1pPr marL="0" algn="l" defTabSz="914377" rtl="0" eaLnBrk="1" latinLnBrk="0" hangingPunct="1">
                        <a:defRPr sz="1800" kern="1200">
                          <a:solidFill>
                            <a:schemeClr val="tx1"/>
                          </a:solidFill>
                          <a:latin typeface="Frutiger Next Pro Light"/>
                        </a:defRPr>
                      </a:lvl1pPr>
                      <a:lvl2pPr marL="457189" algn="l" defTabSz="914377" rtl="0" eaLnBrk="1" latinLnBrk="0" hangingPunct="1">
                        <a:defRPr sz="1800" kern="1200">
                          <a:solidFill>
                            <a:schemeClr val="tx1"/>
                          </a:solidFill>
                          <a:latin typeface="Frutiger Next Pro Light"/>
                        </a:defRPr>
                      </a:lvl2pPr>
                      <a:lvl3pPr marL="914377" algn="l" defTabSz="914377" rtl="0" eaLnBrk="1" latinLnBrk="0" hangingPunct="1">
                        <a:defRPr sz="1800" kern="1200">
                          <a:solidFill>
                            <a:schemeClr val="tx1"/>
                          </a:solidFill>
                          <a:latin typeface="Frutiger Next Pro Light"/>
                        </a:defRPr>
                      </a:lvl3pPr>
                      <a:lvl4pPr marL="1371566" algn="l" defTabSz="914377" rtl="0" eaLnBrk="1" latinLnBrk="0" hangingPunct="1">
                        <a:defRPr sz="1800" kern="1200">
                          <a:solidFill>
                            <a:schemeClr val="tx1"/>
                          </a:solidFill>
                          <a:latin typeface="Frutiger Next Pro Light"/>
                        </a:defRPr>
                      </a:lvl4pPr>
                      <a:lvl5pPr marL="1828754" algn="l" defTabSz="914377" rtl="0" eaLnBrk="1" latinLnBrk="0" hangingPunct="1">
                        <a:defRPr sz="1800" kern="1200">
                          <a:solidFill>
                            <a:schemeClr val="tx1"/>
                          </a:solidFill>
                          <a:latin typeface="Frutiger Next Pro Light"/>
                        </a:defRPr>
                      </a:lvl5pPr>
                      <a:lvl6pPr marL="2285943" algn="l" defTabSz="914377" rtl="0" eaLnBrk="1" latinLnBrk="0" hangingPunct="1">
                        <a:defRPr sz="1800" kern="1200">
                          <a:solidFill>
                            <a:schemeClr val="tx1"/>
                          </a:solidFill>
                          <a:latin typeface="Frutiger Next Pro Light"/>
                        </a:defRPr>
                      </a:lvl6pPr>
                      <a:lvl7pPr marL="2743131" algn="l" defTabSz="914377" rtl="0" eaLnBrk="1" latinLnBrk="0" hangingPunct="1">
                        <a:defRPr sz="1800" kern="1200">
                          <a:solidFill>
                            <a:schemeClr val="tx1"/>
                          </a:solidFill>
                          <a:latin typeface="Frutiger Next Pro Light"/>
                        </a:defRPr>
                      </a:lvl7pPr>
                      <a:lvl8pPr marL="3200320" algn="l" defTabSz="914377" rtl="0" eaLnBrk="1" latinLnBrk="0" hangingPunct="1">
                        <a:defRPr sz="1800" kern="1200">
                          <a:solidFill>
                            <a:schemeClr val="tx1"/>
                          </a:solidFill>
                          <a:latin typeface="Frutiger Next Pro Light"/>
                        </a:defRPr>
                      </a:lvl8pPr>
                      <a:lvl9pPr marL="3657509" algn="l" defTabSz="914377" rtl="0" eaLnBrk="1" latinLnBrk="0" hangingPunct="1">
                        <a:defRPr sz="1800" kern="1200">
                          <a:solidFill>
                            <a:schemeClr val="tx1"/>
                          </a:solidFill>
                          <a:latin typeface="Frutiger Next Pro Light"/>
                        </a:defRPr>
                      </a:lvl9pPr>
                    </a:lstStyle>
                    <a:p>
                      <a:pPr marL="0" marR="0" lvl="0" indent="0" algn="ctr" defTabSz="957263" rtl="0" eaLnBrk="1" fontAlgn="base" latinLnBrk="0" hangingPunct="1">
                        <a:lnSpc>
                          <a:spcPct val="100000"/>
                        </a:lnSpc>
                        <a:spcBef>
                          <a:spcPts val="600"/>
                        </a:spcBef>
                        <a:spcAft>
                          <a:spcPts val="0"/>
                        </a:spcAft>
                        <a:buClrTx/>
                        <a:buSzTx/>
                        <a:buFont typeface="Arial" charset="0"/>
                        <a:buNone/>
                        <a:tabLst/>
                        <a:defRPr/>
                      </a:pPr>
                      <a:r>
                        <a:rPr kumimoji="0" lang="en-GB" sz="1200" b="1" i="0" u="none" strike="noStrike" kern="1200" cap="none" spc="0" normalizeH="0" baseline="0" noProof="0" dirty="0">
                          <a:ln>
                            <a:noFill/>
                          </a:ln>
                          <a:solidFill>
                            <a:schemeClr val="tx1">
                              <a:lumMod val="95000"/>
                              <a:lumOff val="5000"/>
                            </a:schemeClr>
                          </a:solidFill>
                          <a:effectLst/>
                          <a:uLnTx/>
                          <a:uFillTx/>
                          <a:latin typeface="+mn-lt"/>
                          <a:ea typeface="+mn-ea"/>
                          <a:cs typeface="+mn-cs"/>
                        </a:rPr>
                        <a:t>Vision Provider</a:t>
                      </a: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Frutiger Next Pro Light"/>
                        </a:defRPr>
                      </a:lvl1pPr>
                      <a:lvl2pPr marL="457189" algn="l" defTabSz="914377" rtl="0" eaLnBrk="1" latinLnBrk="0" hangingPunct="1">
                        <a:defRPr sz="1800" kern="1200">
                          <a:solidFill>
                            <a:schemeClr val="tx1"/>
                          </a:solidFill>
                          <a:latin typeface="Frutiger Next Pro Light"/>
                        </a:defRPr>
                      </a:lvl2pPr>
                      <a:lvl3pPr marL="914377" algn="l" defTabSz="914377" rtl="0" eaLnBrk="1" latinLnBrk="0" hangingPunct="1">
                        <a:defRPr sz="1800" kern="1200">
                          <a:solidFill>
                            <a:schemeClr val="tx1"/>
                          </a:solidFill>
                          <a:latin typeface="Frutiger Next Pro Light"/>
                        </a:defRPr>
                      </a:lvl3pPr>
                      <a:lvl4pPr marL="1371566" algn="l" defTabSz="914377" rtl="0" eaLnBrk="1" latinLnBrk="0" hangingPunct="1">
                        <a:defRPr sz="1800" kern="1200">
                          <a:solidFill>
                            <a:schemeClr val="tx1"/>
                          </a:solidFill>
                          <a:latin typeface="Frutiger Next Pro Light"/>
                        </a:defRPr>
                      </a:lvl4pPr>
                      <a:lvl5pPr marL="1828754" algn="l" defTabSz="914377" rtl="0" eaLnBrk="1" latinLnBrk="0" hangingPunct="1">
                        <a:defRPr sz="1800" kern="1200">
                          <a:solidFill>
                            <a:schemeClr val="tx1"/>
                          </a:solidFill>
                          <a:latin typeface="Frutiger Next Pro Light"/>
                        </a:defRPr>
                      </a:lvl5pPr>
                      <a:lvl6pPr marL="2285943" algn="l" defTabSz="914377" rtl="0" eaLnBrk="1" latinLnBrk="0" hangingPunct="1">
                        <a:defRPr sz="1800" kern="1200">
                          <a:solidFill>
                            <a:schemeClr val="tx1"/>
                          </a:solidFill>
                          <a:latin typeface="Frutiger Next Pro Light"/>
                        </a:defRPr>
                      </a:lvl6pPr>
                      <a:lvl7pPr marL="2743131" algn="l" defTabSz="914377" rtl="0" eaLnBrk="1" latinLnBrk="0" hangingPunct="1">
                        <a:defRPr sz="1800" kern="1200">
                          <a:solidFill>
                            <a:schemeClr val="tx1"/>
                          </a:solidFill>
                          <a:latin typeface="Frutiger Next Pro Light"/>
                        </a:defRPr>
                      </a:lvl7pPr>
                      <a:lvl8pPr marL="3200320" algn="l" defTabSz="914377" rtl="0" eaLnBrk="1" latinLnBrk="0" hangingPunct="1">
                        <a:defRPr sz="1800" kern="1200">
                          <a:solidFill>
                            <a:schemeClr val="tx1"/>
                          </a:solidFill>
                          <a:latin typeface="Frutiger Next Pro Light"/>
                        </a:defRPr>
                      </a:lvl8pPr>
                      <a:lvl9pPr marL="3657509" algn="l" defTabSz="914377" rtl="0" eaLnBrk="1" latinLnBrk="0" hangingPunct="1">
                        <a:defRPr sz="1800" kern="1200">
                          <a:solidFill>
                            <a:schemeClr val="tx1"/>
                          </a:solidFill>
                          <a:latin typeface="Frutiger Next Pro Light"/>
                        </a:defRPr>
                      </a:lvl9pPr>
                    </a:lstStyle>
                    <a:p>
                      <a:pPr algn="ctr"/>
                      <a:r>
                        <a:rPr kumimoji="0" lang="en-US" sz="1600" b="1" u="none" strike="noStrike" kern="1200" cap="none" normalizeH="0" baseline="0" dirty="0">
                          <a:ln>
                            <a:noFill/>
                          </a:ln>
                          <a:solidFill>
                            <a:schemeClr val="tx2"/>
                          </a:solidFill>
                          <a:effectLst/>
                          <a:latin typeface="+mn-lt"/>
                          <a:ea typeface="+mn-ea"/>
                          <a:cs typeface="+mn-cs"/>
                        </a:rPr>
                        <a:t>30+ B</a:t>
                      </a: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lang="en-US" sz="1600" u="none" strike="noStrike" dirty="0">
                          <a:solidFill>
                            <a:srgbClr val="92D050"/>
                          </a:solidFill>
                          <a:effectLst/>
                          <a:latin typeface="Wingdings" panose="05000000000000000000" pitchFamily="2" charset="2"/>
                        </a:rPr>
                        <a:t>l</a:t>
                      </a: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u="none" strike="noStrike" dirty="0">
                          <a:solidFill>
                            <a:srgbClr val="92D050"/>
                          </a:solidFill>
                          <a:effectLst/>
                          <a:latin typeface="Wingdings" panose="05000000000000000000" pitchFamily="2" charset="2"/>
                        </a:rPr>
                        <a:t>l</a:t>
                      </a: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defRPr/>
                      </a:pPr>
                      <a:r>
                        <a:rPr lang="en-US" sz="1600" u="none" strike="noStrike" dirty="0">
                          <a:solidFill>
                            <a:srgbClr val="92D050"/>
                          </a:solidFill>
                          <a:effectLst/>
                          <a:latin typeface="Wingdings" panose="05000000000000000000" pitchFamily="2" charset="2"/>
                        </a:rPr>
                        <a:t>l</a:t>
                      </a: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64" rtl="0" eaLnBrk="1" fontAlgn="auto" latinLnBrk="0" hangingPunct="1">
                        <a:lnSpc>
                          <a:spcPct val="100000"/>
                        </a:lnSpc>
                        <a:spcBef>
                          <a:spcPts val="0"/>
                        </a:spcBef>
                        <a:spcAft>
                          <a:spcPts val="0"/>
                        </a:spcAft>
                        <a:buClrTx/>
                        <a:buSzTx/>
                        <a:buFontTx/>
                        <a:buNone/>
                        <a:tabLst/>
                        <a:defRPr/>
                      </a:pPr>
                      <a:endParaRPr kumimoji="0" lang="en-US" sz="1600" b="1" u="none" strike="noStrike" kern="1200" cap="none" normalizeH="0" baseline="0" dirty="0">
                        <a:ln>
                          <a:noFill/>
                        </a:ln>
                        <a:solidFill>
                          <a:schemeClr val="tx2"/>
                        </a:solidFill>
                        <a:effectLst/>
                        <a:latin typeface="+mn-lt"/>
                        <a:ea typeface="+mn-ea"/>
                        <a:cs typeface="+mn-cs"/>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600" u="none" strike="noStrike" dirty="0">
                          <a:solidFill>
                            <a:srgbClr val="92D050"/>
                          </a:solidFill>
                          <a:effectLst/>
                          <a:latin typeface="Wingdings" panose="05000000000000000000" pitchFamily="2" charset="2"/>
                        </a:rPr>
                        <a:t>l</a:t>
                      </a: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29847">
                <a:tc>
                  <a:txBody>
                    <a:bodyPr/>
                    <a:lstStyle/>
                    <a:p>
                      <a:pPr algn="ctr"/>
                      <a:r>
                        <a:rPr kumimoji="0" lang="en-US" sz="1200" b="1" i="0" u="none" strike="noStrike" kern="1200" cap="none" spc="0" normalizeH="0" baseline="0" dirty="0">
                          <a:ln>
                            <a:noFill/>
                          </a:ln>
                          <a:solidFill>
                            <a:schemeClr val="tx1">
                              <a:lumMod val="95000"/>
                              <a:lumOff val="5000"/>
                            </a:schemeClr>
                          </a:solidFill>
                          <a:effectLst/>
                          <a:uLnTx/>
                          <a:uFillTx/>
                          <a:latin typeface="+mn-lt"/>
                          <a:ea typeface="+mn-ea"/>
                          <a:cs typeface="+mn-cs"/>
                        </a:rPr>
                        <a:t>Global Chain Restaurant</a:t>
                      </a: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defRPr/>
                      </a:pPr>
                      <a:r>
                        <a:rPr kumimoji="0" lang="en-US" sz="1600" b="1" u="none" strike="noStrike" kern="1200" cap="none" normalizeH="0" baseline="0" dirty="0">
                          <a:ln>
                            <a:noFill/>
                          </a:ln>
                          <a:solidFill>
                            <a:schemeClr val="tx2"/>
                          </a:solidFill>
                          <a:effectLst/>
                          <a:latin typeface="+mn-lt"/>
                          <a:ea typeface="+mn-ea"/>
                          <a:cs typeface="+mn-cs"/>
                        </a:rPr>
                        <a:t>60+ B</a:t>
                      </a: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u="none" strike="noStrike" dirty="0">
                          <a:solidFill>
                            <a:srgbClr val="92D050"/>
                          </a:solidFill>
                          <a:effectLst/>
                          <a:latin typeface="Wingdings" panose="05000000000000000000" pitchFamily="2" charset="2"/>
                        </a:rPr>
                        <a:t>l</a:t>
                      </a: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u="none" strike="noStrike" dirty="0">
                          <a:solidFill>
                            <a:srgbClr val="92D050"/>
                          </a:solidFill>
                          <a:effectLst/>
                          <a:latin typeface="Wingdings" panose="05000000000000000000" pitchFamily="2" charset="2"/>
                        </a:rPr>
                        <a:t>l</a:t>
                      </a: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0" lang="en-US" sz="1600" b="1" u="none" strike="noStrike" kern="1200" cap="none" normalizeH="0" baseline="0" dirty="0">
                        <a:ln>
                          <a:noFill/>
                        </a:ln>
                        <a:solidFill>
                          <a:schemeClr val="tx2"/>
                        </a:solidFill>
                        <a:effectLst/>
                        <a:latin typeface="+mn-lt"/>
                        <a:ea typeface="+mn-ea"/>
                        <a:cs typeface="+mn-cs"/>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29847">
                <a:tc>
                  <a:txBody>
                    <a:bodyPr/>
                    <a:lstStyle>
                      <a:lvl1pPr marL="0" algn="l" defTabSz="914377" rtl="0" eaLnBrk="1" latinLnBrk="0" hangingPunct="1">
                        <a:defRPr sz="1800" kern="1200">
                          <a:solidFill>
                            <a:schemeClr val="tx1"/>
                          </a:solidFill>
                          <a:latin typeface="Frutiger Next Pro Light"/>
                        </a:defRPr>
                      </a:lvl1pPr>
                      <a:lvl2pPr marL="457189" algn="l" defTabSz="914377" rtl="0" eaLnBrk="1" latinLnBrk="0" hangingPunct="1">
                        <a:defRPr sz="1800" kern="1200">
                          <a:solidFill>
                            <a:schemeClr val="tx1"/>
                          </a:solidFill>
                          <a:latin typeface="Frutiger Next Pro Light"/>
                        </a:defRPr>
                      </a:lvl2pPr>
                      <a:lvl3pPr marL="914377" algn="l" defTabSz="914377" rtl="0" eaLnBrk="1" latinLnBrk="0" hangingPunct="1">
                        <a:defRPr sz="1800" kern="1200">
                          <a:solidFill>
                            <a:schemeClr val="tx1"/>
                          </a:solidFill>
                          <a:latin typeface="Frutiger Next Pro Light"/>
                        </a:defRPr>
                      </a:lvl3pPr>
                      <a:lvl4pPr marL="1371566" algn="l" defTabSz="914377" rtl="0" eaLnBrk="1" latinLnBrk="0" hangingPunct="1">
                        <a:defRPr sz="1800" kern="1200">
                          <a:solidFill>
                            <a:schemeClr val="tx1"/>
                          </a:solidFill>
                          <a:latin typeface="Frutiger Next Pro Light"/>
                        </a:defRPr>
                      </a:lvl4pPr>
                      <a:lvl5pPr marL="1828754" algn="l" defTabSz="914377" rtl="0" eaLnBrk="1" latinLnBrk="0" hangingPunct="1">
                        <a:defRPr sz="1800" kern="1200">
                          <a:solidFill>
                            <a:schemeClr val="tx1"/>
                          </a:solidFill>
                          <a:latin typeface="Frutiger Next Pro Light"/>
                        </a:defRPr>
                      </a:lvl5pPr>
                      <a:lvl6pPr marL="2285943" algn="l" defTabSz="914377" rtl="0" eaLnBrk="1" latinLnBrk="0" hangingPunct="1">
                        <a:defRPr sz="1800" kern="1200">
                          <a:solidFill>
                            <a:schemeClr val="tx1"/>
                          </a:solidFill>
                          <a:latin typeface="Frutiger Next Pro Light"/>
                        </a:defRPr>
                      </a:lvl6pPr>
                      <a:lvl7pPr marL="2743131" algn="l" defTabSz="914377" rtl="0" eaLnBrk="1" latinLnBrk="0" hangingPunct="1">
                        <a:defRPr sz="1800" kern="1200">
                          <a:solidFill>
                            <a:schemeClr val="tx1"/>
                          </a:solidFill>
                          <a:latin typeface="Frutiger Next Pro Light"/>
                        </a:defRPr>
                      </a:lvl7pPr>
                      <a:lvl8pPr marL="3200320" algn="l" defTabSz="914377" rtl="0" eaLnBrk="1" latinLnBrk="0" hangingPunct="1">
                        <a:defRPr sz="1800" kern="1200">
                          <a:solidFill>
                            <a:schemeClr val="tx1"/>
                          </a:solidFill>
                          <a:latin typeface="Frutiger Next Pro Light"/>
                        </a:defRPr>
                      </a:lvl8pPr>
                      <a:lvl9pPr marL="3657509" algn="l" defTabSz="914377" rtl="0" eaLnBrk="1" latinLnBrk="0" hangingPunct="1">
                        <a:defRPr sz="1800" kern="1200">
                          <a:solidFill>
                            <a:schemeClr val="tx1"/>
                          </a:solidFill>
                          <a:latin typeface="Frutiger Next Pro Light"/>
                        </a:defRPr>
                      </a:lvl9pPr>
                    </a:lstStyle>
                    <a:p>
                      <a:pPr marL="0" marR="0" lvl="0" indent="0" algn="ctr" defTabSz="957263" rtl="0" eaLnBrk="1" fontAlgn="base" latinLnBrk="0" hangingPunct="1">
                        <a:lnSpc>
                          <a:spcPct val="100000"/>
                        </a:lnSpc>
                        <a:spcBef>
                          <a:spcPts val="600"/>
                        </a:spcBef>
                        <a:spcAft>
                          <a:spcPts val="0"/>
                        </a:spcAft>
                        <a:buClrTx/>
                        <a:buSzTx/>
                        <a:buFont typeface="Arial" charset="0"/>
                        <a:buNone/>
                        <a:tabLst/>
                        <a:defRPr/>
                      </a:pPr>
                      <a:r>
                        <a:rPr kumimoji="0" lang="en-GB" sz="1200" b="1" i="0" u="none" strike="noStrike" kern="1200" cap="none" spc="0" normalizeH="0" baseline="0" noProof="0" dirty="0">
                          <a:ln>
                            <a:noFill/>
                          </a:ln>
                          <a:solidFill>
                            <a:schemeClr val="tx1">
                              <a:lumMod val="95000"/>
                              <a:lumOff val="5000"/>
                            </a:schemeClr>
                          </a:solidFill>
                          <a:effectLst/>
                          <a:uLnTx/>
                          <a:uFillTx/>
                          <a:latin typeface="+mn-lt"/>
                          <a:ea typeface="+mn-ea"/>
                          <a:cs typeface="+mn-cs"/>
                        </a:rPr>
                        <a:t>Global Beverage Distributor</a:t>
                      </a: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en-US" sz="1600" b="1" u="none" strike="noStrike" kern="1200" cap="none" normalizeH="0" baseline="0" dirty="0">
                          <a:ln>
                            <a:noFill/>
                          </a:ln>
                          <a:solidFill>
                            <a:schemeClr val="tx2"/>
                          </a:solidFill>
                          <a:effectLst/>
                          <a:latin typeface="+mn-lt"/>
                          <a:ea typeface="+mn-ea"/>
                          <a:cs typeface="+mn-cs"/>
                        </a:rPr>
                        <a:t>100+ B</a:t>
                      </a: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u="none" strike="noStrike" dirty="0">
                          <a:solidFill>
                            <a:srgbClr val="92D050"/>
                          </a:solidFill>
                          <a:effectLst/>
                          <a:latin typeface="Wingdings" panose="05000000000000000000" pitchFamily="2" charset="2"/>
                        </a:rPr>
                        <a:t>l</a:t>
                      </a: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Frutiger Next Pro Light"/>
                        </a:defRPr>
                      </a:lvl1pPr>
                      <a:lvl2pPr marL="457189" algn="l" defTabSz="914377" rtl="0" eaLnBrk="1" latinLnBrk="0" hangingPunct="1">
                        <a:defRPr sz="1800" kern="1200">
                          <a:solidFill>
                            <a:schemeClr val="tx1"/>
                          </a:solidFill>
                          <a:latin typeface="Frutiger Next Pro Light"/>
                        </a:defRPr>
                      </a:lvl2pPr>
                      <a:lvl3pPr marL="914377" algn="l" defTabSz="914377" rtl="0" eaLnBrk="1" latinLnBrk="0" hangingPunct="1">
                        <a:defRPr sz="1800" kern="1200">
                          <a:solidFill>
                            <a:schemeClr val="tx1"/>
                          </a:solidFill>
                          <a:latin typeface="Frutiger Next Pro Light"/>
                        </a:defRPr>
                      </a:lvl3pPr>
                      <a:lvl4pPr marL="1371566" algn="l" defTabSz="914377" rtl="0" eaLnBrk="1" latinLnBrk="0" hangingPunct="1">
                        <a:defRPr sz="1800" kern="1200">
                          <a:solidFill>
                            <a:schemeClr val="tx1"/>
                          </a:solidFill>
                          <a:latin typeface="Frutiger Next Pro Light"/>
                        </a:defRPr>
                      </a:lvl4pPr>
                      <a:lvl5pPr marL="1828754" algn="l" defTabSz="914377" rtl="0" eaLnBrk="1" latinLnBrk="0" hangingPunct="1">
                        <a:defRPr sz="1800" kern="1200">
                          <a:solidFill>
                            <a:schemeClr val="tx1"/>
                          </a:solidFill>
                          <a:latin typeface="Frutiger Next Pro Light"/>
                        </a:defRPr>
                      </a:lvl5pPr>
                      <a:lvl6pPr marL="2285943" algn="l" defTabSz="914377" rtl="0" eaLnBrk="1" latinLnBrk="0" hangingPunct="1">
                        <a:defRPr sz="1800" kern="1200">
                          <a:solidFill>
                            <a:schemeClr val="tx1"/>
                          </a:solidFill>
                          <a:latin typeface="Frutiger Next Pro Light"/>
                        </a:defRPr>
                      </a:lvl6pPr>
                      <a:lvl7pPr marL="2743131" algn="l" defTabSz="914377" rtl="0" eaLnBrk="1" latinLnBrk="0" hangingPunct="1">
                        <a:defRPr sz="1800" kern="1200">
                          <a:solidFill>
                            <a:schemeClr val="tx1"/>
                          </a:solidFill>
                          <a:latin typeface="Frutiger Next Pro Light"/>
                        </a:defRPr>
                      </a:lvl7pPr>
                      <a:lvl8pPr marL="3200320" algn="l" defTabSz="914377" rtl="0" eaLnBrk="1" latinLnBrk="0" hangingPunct="1">
                        <a:defRPr sz="1800" kern="1200">
                          <a:solidFill>
                            <a:schemeClr val="tx1"/>
                          </a:solidFill>
                          <a:latin typeface="Frutiger Next Pro Light"/>
                        </a:defRPr>
                      </a:lvl8pPr>
                      <a:lvl9pPr marL="3657509" algn="l" defTabSz="914377" rtl="0" eaLnBrk="1" latinLnBrk="0" hangingPunct="1">
                        <a:defRPr sz="1800" kern="1200">
                          <a:solidFill>
                            <a:schemeClr val="tx1"/>
                          </a:solidFill>
                          <a:latin typeface="Frutiger Next Pro 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u="none" strike="noStrike" dirty="0">
                          <a:solidFill>
                            <a:srgbClr val="92D050"/>
                          </a:solidFill>
                          <a:effectLst/>
                          <a:latin typeface="Wingdings" panose="05000000000000000000" pitchFamily="2" charset="2"/>
                        </a:rPr>
                        <a:t>l</a:t>
                      </a: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u="none" strike="noStrike" dirty="0">
                          <a:solidFill>
                            <a:srgbClr val="92D050"/>
                          </a:solidFill>
                          <a:effectLst/>
                          <a:latin typeface="Wingdings" panose="05000000000000000000" pitchFamily="2" charset="2"/>
                        </a:rPr>
                        <a:t>l</a:t>
                      </a: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u="none" strike="noStrike" dirty="0">
                          <a:solidFill>
                            <a:srgbClr val="92D050"/>
                          </a:solidFill>
                          <a:effectLst/>
                          <a:latin typeface="Wingdings" panose="05000000000000000000" pitchFamily="2" charset="2"/>
                        </a:rPr>
                        <a:t>l</a:t>
                      </a: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u="none" strike="noStrike" dirty="0">
                          <a:solidFill>
                            <a:srgbClr val="92D050"/>
                          </a:solidFill>
                          <a:effectLst/>
                          <a:latin typeface="Wingdings" panose="05000000000000000000" pitchFamily="2" charset="2"/>
                        </a:rPr>
                        <a:t>l</a:t>
                      </a: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29847">
                <a:tc>
                  <a:txBody>
                    <a:bodyPr/>
                    <a:lstStyle>
                      <a:lvl1pPr marL="0" algn="l" defTabSz="914377" rtl="0" eaLnBrk="1" latinLnBrk="0" hangingPunct="1">
                        <a:defRPr sz="1800" kern="1200">
                          <a:solidFill>
                            <a:schemeClr val="tx1"/>
                          </a:solidFill>
                          <a:latin typeface="Frutiger Next Pro Light"/>
                        </a:defRPr>
                      </a:lvl1pPr>
                      <a:lvl2pPr marL="457189" algn="l" defTabSz="914377" rtl="0" eaLnBrk="1" latinLnBrk="0" hangingPunct="1">
                        <a:defRPr sz="1800" kern="1200">
                          <a:solidFill>
                            <a:schemeClr val="tx1"/>
                          </a:solidFill>
                          <a:latin typeface="Frutiger Next Pro Light"/>
                        </a:defRPr>
                      </a:lvl2pPr>
                      <a:lvl3pPr marL="914377" algn="l" defTabSz="914377" rtl="0" eaLnBrk="1" latinLnBrk="0" hangingPunct="1">
                        <a:defRPr sz="1800" kern="1200">
                          <a:solidFill>
                            <a:schemeClr val="tx1"/>
                          </a:solidFill>
                          <a:latin typeface="Frutiger Next Pro Light"/>
                        </a:defRPr>
                      </a:lvl3pPr>
                      <a:lvl4pPr marL="1371566" algn="l" defTabSz="914377" rtl="0" eaLnBrk="1" latinLnBrk="0" hangingPunct="1">
                        <a:defRPr sz="1800" kern="1200">
                          <a:solidFill>
                            <a:schemeClr val="tx1"/>
                          </a:solidFill>
                          <a:latin typeface="Frutiger Next Pro Light"/>
                        </a:defRPr>
                      </a:lvl4pPr>
                      <a:lvl5pPr marL="1828754" algn="l" defTabSz="914377" rtl="0" eaLnBrk="1" latinLnBrk="0" hangingPunct="1">
                        <a:defRPr sz="1800" kern="1200">
                          <a:solidFill>
                            <a:schemeClr val="tx1"/>
                          </a:solidFill>
                          <a:latin typeface="Frutiger Next Pro Light"/>
                        </a:defRPr>
                      </a:lvl5pPr>
                      <a:lvl6pPr marL="2285943" algn="l" defTabSz="914377" rtl="0" eaLnBrk="1" latinLnBrk="0" hangingPunct="1">
                        <a:defRPr sz="1800" kern="1200">
                          <a:solidFill>
                            <a:schemeClr val="tx1"/>
                          </a:solidFill>
                          <a:latin typeface="Frutiger Next Pro Light"/>
                        </a:defRPr>
                      </a:lvl6pPr>
                      <a:lvl7pPr marL="2743131" algn="l" defTabSz="914377" rtl="0" eaLnBrk="1" latinLnBrk="0" hangingPunct="1">
                        <a:defRPr sz="1800" kern="1200">
                          <a:solidFill>
                            <a:schemeClr val="tx1"/>
                          </a:solidFill>
                          <a:latin typeface="Frutiger Next Pro Light"/>
                        </a:defRPr>
                      </a:lvl7pPr>
                      <a:lvl8pPr marL="3200320" algn="l" defTabSz="914377" rtl="0" eaLnBrk="1" latinLnBrk="0" hangingPunct="1">
                        <a:defRPr sz="1800" kern="1200">
                          <a:solidFill>
                            <a:schemeClr val="tx1"/>
                          </a:solidFill>
                          <a:latin typeface="Frutiger Next Pro Light"/>
                        </a:defRPr>
                      </a:lvl8pPr>
                      <a:lvl9pPr marL="3657509" algn="l" defTabSz="914377" rtl="0" eaLnBrk="1" latinLnBrk="0" hangingPunct="1">
                        <a:defRPr sz="1800" kern="1200">
                          <a:solidFill>
                            <a:schemeClr val="tx1"/>
                          </a:solidFill>
                          <a:latin typeface="Frutiger Next Pro Light"/>
                        </a:defRPr>
                      </a:lvl9pPr>
                    </a:lstStyle>
                    <a:p>
                      <a:pPr marL="0" marR="0" lvl="0" indent="0" algn="ctr" defTabSz="957263" rtl="0" eaLnBrk="1" fontAlgn="base" latinLnBrk="0" hangingPunct="1">
                        <a:lnSpc>
                          <a:spcPct val="100000"/>
                        </a:lnSpc>
                        <a:spcBef>
                          <a:spcPts val="600"/>
                        </a:spcBef>
                        <a:spcAft>
                          <a:spcPts val="0"/>
                        </a:spcAft>
                        <a:buClrTx/>
                        <a:buSzTx/>
                        <a:buFont typeface="Arial" charset="0"/>
                        <a:buNone/>
                        <a:tabLst/>
                        <a:defRPr/>
                      </a:pPr>
                      <a:r>
                        <a:rPr kumimoji="0" lang="en-GB" sz="1200" b="1" i="0" u="none" strike="noStrike" kern="1200" cap="none" spc="0" normalizeH="0" baseline="0" noProof="0" dirty="0">
                          <a:ln>
                            <a:noFill/>
                          </a:ln>
                          <a:solidFill>
                            <a:schemeClr val="tx1">
                              <a:lumMod val="95000"/>
                              <a:lumOff val="5000"/>
                            </a:schemeClr>
                          </a:solidFill>
                          <a:effectLst/>
                          <a:uLnTx/>
                          <a:uFillTx/>
                          <a:latin typeface="+mn-lt"/>
                          <a:ea typeface="+mn-ea"/>
                          <a:cs typeface="+mn-cs"/>
                        </a:rPr>
                        <a:t>Global Credit Card Provider</a:t>
                      </a: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en-US" sz="1600" b="1" u="none" strike="noStrike" kern="1200" cap="none" normalizeH="0" baseline="0" dirty="0">
                          <a:ln>
                            <a:noFill/>
                          </a:ln>
                          <a:solidFill>
                            <a:schemeClr val="tx2"/>
                          </a:solidFill>
                          <a:effectLst/>
                          <a:latin typeface="+mn-lt"/>
                          <a:ea typeface="+mn-ea"/>
                          <a:cs typeface="+mn-cs"/>
                        </a:rPr>
                        <a:t>70+ B</a:t>
                      </a: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u="none" strike="noStrike" dirty="0">
                          <a:solidFill>
                            <a:srgbClr val="92D050"/>
                          </a:solidFill>
                          <a:effectLst/>
                          <a:latin typeface="Wingdings" panose="05000000000000000000" pitchFamily="2" charset="2"/>
                        </a:rPr>
                        <a:t>l</a:t>
                      </a: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Frutiger Next Pro Light"/>
                        </a:defRPr>
                      </a:lvl1pPr>
                      <a:lvl2pPr marL="457189" algn="l" defTabSz="914377" rtl="0" eaLnBrk="1" latinLnBrk="0" hangingPunct="1">
                        <a:defRPr sz="1800" kern="1200">
                          <a:solidFill>
                            <a:schemeClr val="tx1"/>
                          </a:solidFill>
                          <a:latin typeface="Frutiger Next Pro Light"/>
                        </a:defRPr>
                      </a:lvl2pPr>
                      <a:lvl3pPr marL="914377" algn="l" defTabSz="914377" rtl="0" eaLnBrk="1" latinLnBrk="0" hangingPunct="1">
                        <a:defRPr sz="1800" kern="1200">
                          <a:solidFill>
                            <a:schemeClr val="tx1"/>
                          </a:solidFill>
                          <a:latin typeface="Frutiger Next Pro Light"/>
                        </a:defRPr>
                      </a:lvl3pPr>
                      <a:lvl4pPr marL="1371566" algn="l" defTabSz="914377" rtl="0" eaLnBrk="1" latinLnBrk="0" hangingPunct="1">
                        <a:defRPr sz="1800" kern="1200">
                          <a:solidFill>
                            <a:schemeClr val="tx1"/>
                          </a:solidFill>
                          <a:latin typeface="Frutiger Next Pro Light"/>
                        </a:defRPr>
                      </a:lvl4pPr>
                      <a:lvl5pPr marL="1828754" algn="l" defTabSz="914377" rtl="0" eaLnBrk="1" latinLnBrk="0" hangingPunct="1">
                        <a:defRPr sz="1800" kern="1200">
                          <a:solidFill>
                            <a:schemeClr val="tx1"/>
                          </a:solidFill>
                          <a:latin typeface="Frutiger Next Pro Light"/>
                        </a:defRPr>
                      </a:lvl5pPr>
                      <a:lvl6pPr marL="2285943" algn="l" defTabSz="914377" rtl="0" eaLnBrk="1" latinLnBrk="0" hangingPunct="1">
                        <a:defRPr sz="1800" kern="1200">
                          <a:solidFill>
                            <a:schemeClr val="tx1"/>
                          </a:solidFill>
                          <a:latin typeface="Frutiger Next Pro Light"/>
                        </a:defRPr>
                      </a:lvl6pPr>
                      <a:lvl7pPr marL="2743131" algn="l" defTabSz="914377" rtl="0" eaLnBrk="1" latinLnBrk="0" hangingPunct="1">
                        <a:defRPr sz="1800" kern="1200">
                          <a:solidFill>
                            <a:schemeClr val="tx1"/>
                          </a:solidFill>
                          <a:latin typeface="Frutiger Next Pro Light"/>
                        </a:defRPr>
                      </a:lvl7pPr>
                      <a:lvl8pPr marL="3200320" algn="l" defTabSz="914377" rtl="0" eaLnBrk="1" latinLnBrk="0" hangingPunct="1">
                        <a:defRPr sz="1800" kern="1200">
                          <a:solidFill>
                            <a:schemeClr val="tx1"/>
                          </a:solidFill>
                          <a:latin typeface="Frutiger Next Pro Light"/>
                        </a:defRPr>
                      </a:lvl8pPr>
                      <a:lvl9pPr marL="3657509" algn="l" defTabSz="914377" rtl="0" eaLnBrk="1" latinLnBrk="0" hangingPunct="1">
                        <a:defRPr sz="1800" kern="1200">
                          <a:solidFill>
                            <a:schemeClr val="tx1"/>
                          </a:solidFill>
                          <a:latin typeface="Frutiger Next Pro 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u="none" strike="noStrike" dirty="0">
                          <a:solidFill>
                            <a:srgbClr val="92D050"/>
                          </a:solidFill>
                          <a:effectLst/>
                          <a:latin typeface="Wingdings" panose="05000000000000000000" pitchFamily="2" charset="2"/>
                        </a:rPr>
                        <a:t>l</a:t>
                      </a: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64" rtl="0" eaLnBrk="1" fontAlgn="auto" latinLnBrk="0" hangingPunct="1">
                        <a:lnSpc>
                          <a:spcPct val="100000"/>
                        </a:lnSpc>
                        <a:spcBef>
                          <a:spcPts val="0"/>
                        </a:spcBef>
                        <a:spcAft>
                          <a:spcPts val="0"/>
                        </a:spcAft>
                        <a:buClrTx/>
                        <a:buSzTx/>
                        <a:buFontTx/>
                        <a:buNone/>
                        <a:tabLst/>
                        <a:defRPr/>
                      </a:pPr>
                      <a:r>
                        <a:rPr lang="en-US" sz="1600" u="none" strike="noStrike" dirty="0">
                          <a:solidFill>
                            <a:srgbClr val="92D050"/>
                          </a:solidFill>
                          <a:effectLst/>
                          <a:latin typeface="Wingdings" panose="05000000000000000000" pitchFamily="2" charset="2"/>
                        </a:rPr>
                        <a:t>l</a:t>
                      </a: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64" rtl="0" eaLnBrk="1" fontAlgn="auto" latinLnBrk="0" hangingPunct="1">
                        <a:lnSpc>
                          <a:spcPct val="100000"/>
                        </a:lnSpc>
                        <a:spcBef>
                          <a:spcPts val="0"/>
                        </a:spcBef>
                        <a:spcAft>
                          <a:spcPts val="0"/>
                        </a:spcAft>
                        <a:buClrTx/>
                        <a:buSzTx/>
                        <a:buFontTx/>
                        <a:buNone/>
                        <a:tabLst/>
                        <a:defRPr/>
                      </a:pPr>
                      <a:endParaRPr kumimoji="0" lang="en-US" sz="1600" b="1" u="none" strike="noStrike" kern="1200" cap="none" normalizeH="0" baseline="0" dirty="0">
                        <a:ln>
                          <a:noFill/>
                        </a:ln>
                        <a:solidFill>
                          <a:schemeClr val="tx2"/>
                        </a:solidFill>
                        <a:effectLst/>
                        <a:latin typeface="+mn-lt"/>
                        <a:ea typeface="+mn-ea"/>
                        <a:cs typeface="+mn-cs"/>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64" rtl="0" eaLnBrk="1" fontAlgn="auto" latinLnBrk="0" hangingPunct="1">
                        <a:lnSpc>
                          <a:spcPct val="100000"/>
                        </a:lnSpc>
                        <a:spcBef>
                          <a:spcPts val="0"/>
                        </a:spcBef>
                        <a:spcAft>
                          <a:spcPts val="0"/>
                        </a:spcAft>
                        <a:buClrTx/>
                        <a:buSzTx/>
                        <a:buFontTx/>
                        <a:buNone/>
                        <a:tabLst/>
                        <a:defRPr/>
                      </a:pPr>
                      <a:r>
                        <a:rPr lang="en-US" sz="1600" u="none" strike="noStrike" dirty="0">
                          <a:solidFill>
                            <a:srgbClr val="92D050"/>
                          </a:solidFill>
                          <a:effectLst/>
                          <a:latin typeface="Wingdings" panose="05000000000000000000" pitchFamily="2" charset="2"/>
                        </a:rPr>
                        <a:t>l</a:t>
                      </a: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64" rtl="0" eaLnBrk="1" fontAlgn="auto" latinLnBrk="0" hangingPunct="1">
                        <a:lnSpc>
                          <a:spcPct val="100000"/>
                        </a:lnSpc>
                        <a:spcBef>
                          <a:spcPts val="0"/>
                        </a:spcBef>
                        <a:spcAft>
                          <a:spcPts val="0"/>
                        </a:spcAft>
                        <a:buClrTx/>
                        <a:buSzTx/>
                        <a:buFontTx/>
                        <a:buNone/>
                        <a:tabLst/>
                        <a:defRPr/>
                      </a:pPr>
                      <a:endParaRPr lang="en-US" sz="1600" b="0" i="0" u="none" strike="noStrike" dirty="0">
                        <a:solidFill>
                          <a:srgbClr val="92D050"/>
                        </a:solidFill>
                        <a:effectLst/>
                        <a:latin typeface="Wingdings" panose="05000000000000000000" pitchFamily="2" charset="2"/>
                      </a:endParaRPr>
                    </a:p>
                  </a:txBody>
                  <a:tcPr marT="91440" marB="91440" anchor="ctr" horzOverflow="overflow">
                    <a:lnL w="12700" cmpd="sng">
                      <a:noFill/>
                    </a:lnL>
                    <a:lnR w="12700" cmpd="sng">
                      <a:noFill/>
                    </a:lnR>
                    <a:lnT w="6350" cap="flat" cmpd="sng" algn="ctr">
                      <a:solidFill>
                        <a:srgbClr val="B4B4B4"/>
                      </a:solidFill>
                      <a:prstDash val="solid"/>
                      <a:round/>
                      <a:headEnd type="none" w="med" len="med"/>
                      <a:tailEnd type="none" w="med" len="med"/>
                    </a:lnT>
                    <a:lnB w="6350" cap="flat" cmpd="sng" algn="ctr">
                      <a:solidFill>
                        <a:srgbClr val="B4B4B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944626372"/>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6B0AFD78-CCFA-4C34-B125-1C27CFA48D5E}"/>
              </a:ext>
            </a:extLst>
          </p:cNvPr>
          <p:cNvGraphicFramePr>
            <a:graphicFrameLocks noChangeAspect="1"/>
          </p:cNvGraphicFramePr>
          <p:nvPr>
            <p:custDataLst>
              <p:tags r:id="rId2"/>
            </p:custDataLst>
            <p:extLst>
              <p:ext uri="{D42A27DB-BD31-4B8C-83A1-F6EECF244321}">
                <p14:modId xmlns:p14="http://schemas.microsoft.com/office/powerpoint/2010/main" val="3970726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892" name="think-cell Slide" r:id="rId6" imgW="395" imgH="396" progId="TCLayout.ActiveDocument.1">
                  <p:embed/>
                </p:oleObj>
              </mc:Choice>
              <mc:Fallback>
                <p:oleObj name="think-cell Slide" r:id="rId6" imgW="395" imgH="396" progId="TCLayout.ActiveDocument.1">
                  <p:embed/>
                  <p:pic>
                    <p:nvPicPr>
                      <p:cNvPr id="13" name="Object 12" hidden="1">
                        <a:extLst>
                          <a:ext uri="{FF2B5EF4-FFF2-40B4-BE49-F238E27FC236}">
                            <a16:creationId xmlns:a16="http://schemas.microsoft.com/office/drawing/2014/main" id="{6B0AFD78-CCFA-4C34-B125-1C27CFA48D5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18F67B0A-58A9-4982-A420-5961AEB5795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9D7E986E-A9A9-45CD-8C32-E423318B81C2}"/>
              </a:ext>
            </a:extLst>
          </p:cNvPr>
          <p:cNvSpPr>
            <a:spLocks noGrp="1"/>
          </p:cNvSpPr>
          <p:nvPr>
            <p:ph type="title"/>
          </p:nvPr>
        </p:nvSpPr>
        <p:spPr/>
        <p:txBody>
          <a:bodyPr/>
          <a:lstStyle/>
          <a:p>
            <a:r>
              <a:rPr lang="en-US" dirty="0"/>
              <a:t>Best Practices</a:t>
            </a:r>
          </a:p>
        </p:txBody>
      </p:sp>
      <p:sp>
        <p:nvSpPr>
          <p:cNvPr id="3" name="Text Placeholder 2">
            <a:extLst>
              <a:ext uri="{FF2B5EF4-FFF2-40B4-BE49-F238E27FC236}">
                <a16:creationId xmlns:a16="http://schemas.microsoft.com/office/drawing/2014/main" id="{A4E3DFBD-BB13-4134-A725-AE8ECBBCB27A}"/>
              </a:ext>
            </a:extLst>
          </p:cNvPr>
          <p:cNvSpPr>
            <a:spLocks noGrp="1"/>
          </p:cNvSpPr>
          <p:nvPr>
            <p:ph type="body" sz="quarter" idx="14"/>
          </p:nvPr>
        </p:nvSpPr>
        <p:spPr/>
        <p:txBody>
          <a:bodyPr/>
          <a:lstStyle/>
          <a:p>
            <a:r>
              <a:rPr lang="en-US" dirty="0"/>
              <a:t>Through the lens of best practices which we will extend across the entire spectrum of C&amp;M Assets…</a:t>
            </a:r>
          </a:p>
        </p:txBody>
      </p:sp>
      <p:sp>
        <p:nvSpPr>
          <p:cNvPr id="4" name="Text Placeholder 3">
            <a:extLst>
              <a:ext uri="{FF2B5EF4-FFF2-40B4-BE49-F238E27FC236}">
                <a16:creationId xmlns:a16="http://schemas.microsoft.com/office/drawing/2014/main" id="{EA96EFC4-1003-414F-B279-27360839EEF7}"/>
              </a:ext>
            </a:extLst>
          </p:cNvPr>
          <p:cNvSpPr>
            <a:spLocks noGrp="1"/>
          </p:cNvSpPr>
          <p:nvPr>
            <p:ph type="body" sz="quarter" idx="15"/>
          </p:nvPr>
        </p:nvSpPr>
        <p:spPr/>
        <p:txBody>
          <a:bodyPr/>
          <a:lstStyle/>
          <a:p>
            <a:r>
              <a:rPr lang="en-US" dirty="0"/>
              <a:t>TABLE</a:t>
            </a:r>
          </a:p>
        </p:txBody>
      </p:sp>
      <p:sp>
        <p:nvSpPr>
          <p:cNvPr id="5" name="Title 22">
            <a:extLst>
              <a:ext uri="{FF2B5EF4-FFF2-40B4-BE49-F238E27FC236}">
                <a16:creationId xmlns:a16="http://schemas.microsoft.com/office/drawing/2014/main" id="{809E817B-640A-4083-80E3-30614BAB0372}"/>
              </a:ext>
            </a:extLst>
          </p:cNvPr>
          <p:cNvSpPr txBox="1">
            <a:spLocks/>
          </p:cNvSpPr>
          <p:nvPr/>
        </p:nvSpPr>
        <p:spPr>
          <a:xfrm>
            <a:off x="914400" y="804672"/>
            <a:ext cx="11277600" cy="199339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sz="2000" dirty="0">
              <a:latin typeface="+mn-lt"/>
            </a:endParaRPr>
          </a:p>
        </p:txBody>
      </p:sp>
      <p:graphicFrame>
        <p:nvGraphicFramePr>
          <p:cNvPr id="7" name="Table 6">
            <a:extLst>
              <a:ext uri="{FF2B5EF4-FFF2-40B4-BE49-F238E27FC236}">
                <a16:creationId xmlns:a16="http://schemas.microsoft.com/office/drawing/2014/main" id="{BF780F3C-542E-40C1-A59A-B2FCA9B18F4D}"/>
              </a:ext>
            </a:extLst>
          </p:cNvPr>
          <p:cNvGraphicFramePr>
            <a:graphicFrameLocks noGrp="1"/>
          </p:cNvGraphicFramePr>
          <p:nvPr>
            <p:extLst>
              <p:ext uri="{D42A27DB-BD31-4B8C-83A1-F6EECF244321}">
                <p14:modId xmlns:p14="http://schemas.microsoft.com/office/powerpoint/2010/main" val="3581553267"/>
              </p:ext>
            </p:extLst>
          </p:nvPr>
        </p:nvGraphicFramePr>
        <p:xfrm>
          <a:off x="914399" y="1695505"/>
          <a:ext cx="10887960" cy="4639392"/>
        </p:xfrm>
        <a:graphic>
          <a:graphicData uri="http://schemas.openxmlformats.org/drawingml/2006/table">
            <a:tbl>
              <a:tblPr firstRow="1" bandRow="1">
                <a:tableStyleId>{5C22544A-7EE6-4342-B048-85BDC9FD1C3A}</a:tableStyleId>
              </a:tblPr>
              <a:tblGrid>
                <a:gridCol w="1278100">
                  <a:extLst>
                    <a:ext uri="{9D8B030D-6E8A-4147-A177-3AD203B41FA5}">
                      <a16:colId xmlns:a16="http://schemas.microsoft.com/office/drawing/2014/main" val="20000"/>
                    </a:ext>
                  </a:extLst>
                </a:gridCol>
                <a:gridCol w="1422790">
                  <a:extLst>
                    <a:ext uri="{9D8B030D-6E8A-4147-A177-3AD203B41FA5}">
                      <a16:colId xmlns:a16="http://schemas.microsoft.com/office/drawing/2014/main" val="20001"/>
                    </a:ext>
                  </a:extLst>
                </a:gridCol>
                <a:gridCol w="4037660">
                  <a:extLst>
                    <a:ext uri="{9D8B030D-6E8A-4147-A177-3AD203B41FA5}">
                      <a16:colId xmlns:a16="http://schemas.microsoft.com/office/drawing/2014/main" val="20002"/>
                    </a:ext>
                  </a:extLst>
                </a:gridCol>
                <a:gridCol w="4149410">
                  <a:extLst>
                    <a:ext uri="{9D8B030D-6E8A-4147-A177-3AD203B41FA5}">
                      <a16:colId xmlns:a16="http://schemas.microsoft.com/office/drawing/2014/main" val="20003"/>
                    </a:ext>
                  </a:extLst>
                </a:gridCol>
              </a:tblGrid>
              <a:tr h="446237">
                <a:tc>
                  <a:txBody>
                    <a:bodyPr/>
                    <a:lstStyle/>
                    <a:p>
                      <a:pPr marL="0" algn="l" defTabSz="913814" rtl="0" eaLnBrk="1" latinLnBrk="0" hangingPunct="1"/>
                      <a:r>
                        <a:rPr lang="en-US" sz="1200" b="1" kern="1200" dirty="0">
                          <a:solidFill>
                            <a:schemeClr val="tx1"/>
                          </a:solidFill>
                          <a:latin typeface="+mn-lt"/>
                          <a:ea typeface="+mn-ea"/>
                          <a:cs typeface="+mn-cs"/>
                        </a:rPr>
                        <a:t>Core Principle</a:t>
                      </a:r>
                    </a:p>
                  </a:txBody>
                  <a:tcPr anchor="ctr">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chemeClr val="accent3"/>
                    </a:solidFill>
                  </a:tcPr>
                </a:tc>
                <a:tc>
                  <a:txBody>
                    <a:bodyPr/>
                    <a:lstStyle/>
                    <a:p>
                      <a:r>
                        <a:rPr lang="en-US" sz="1200" dirty="0">
                          <a:solidFill>
                            <a:schemeClr val="tx1"/>
                          </a:solidFill>
                        </a:rPr>
                        <a:t>Category</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chemeClr val="accent3"/>
                    </a:solidFill>
                  </a:tcPr>
                </a:tc>
                <a:tc>
                  <a:txBody>
                    <a:bodyPr/>
                    <a:lstStyle/>
                    <a:p>
                      <a:r>
                        <a:rPr lang="en-US" sz="1200" dirty="0">
                          <a:solidFill>
                            <a:schemeClr val="tx1"/>
                          </a:solidFill>
                        </a:rPr>
                        <a:t>Leading Definition</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B w="12700" cap="flat" cmpd="sng" algn="ctr">
                      <a:solidFill>
                        <a:schemeClr val="bg1">
                          <a:lumMod val="95000"/>
                        </a:schemeClr>
                      </a:solidFill>
                      <a:prstDash val="solid"/>
                      <a:round/>
                      <a:headEnd type="none" w="med" len="med"/>
                      <a:tailEnd type="none" w="med" len="med"/>
                    </a:lnB>
                    <a:solidFill>
                      <a:schemeClr val="accent3"/>
                    </a:solidFill>
                  </a:tcPr>
                </a:tc>
                <a:tc>
                  <a:txBody>
                    <a:bodyPr/>
                    <a:lstStyle/>
                    <a:p>
                      <a:r>
                        <a:rPr lang="en-US" sz="1200" dirty="0">
                          <a:solidFill>
                            <a:schemeClr val="tx1"/>
                          </a:solidFill>
                        </a:rPr>
                        <a:t>Lagging Definition</a:t>
                      </a:r>
                    </a:p>
                  </a:txBody>
                  <a:tcPr anchor="ctr">
                    <a:lnL w="12700" cap="flat" cmpd="sng" algn="ctr">
                      <a:solidFill>
                        <a:schemeClr val="bg1">
                          <a:lumMod val="95000"/>
                        </a:schemeClr>
                      </a:solidFill>
                      <a:prstDash val="solid"/>
                      <a:round/>
                      <a:headEnd type="none" w="med" len="med"/>
                      <a:tailEnd type="none" w="med" len="med"/>
                    </a:lnL>
                    <a:lnB w="12700" cap="flat" cmpd="sng" algn="ctr">
                      <a:solidFill>
                        <a:schemeClr val="bg1">
                          <a:lumMod val="95000"/>
                        </a:schemeClr>
                      </a:solidFill>
                      <a:prstDash val="solid"/>
                      <a:round/>
                      <a:headEnd type="none" w="med" len="med"/>
                      <a:tailEnd type="none" w="med" len="med"/>
                    </a:lnB>
                    <a:solidFill>
                      <a:schemeClr val="accent3"/>
                    </a:solidFill>
                  </a:tcPr>
                </a:tc>
                <a:extLst>
                  <a:ext uri="{0D108BD9-81ED-4DB2-BD59-A6C34878D82A}">
                    <a16:rowId xmlns:a16="http://schemas.microsoft.com/office/drawing/2014/main" val="10000"/>
                  </a:ext>
                </a:extLst>
              </a:tr>
              <a:tr h="476830">
                <a:tc rowSpan="4">
                  <a:txBody>
                    <a:bodyPr/>
                    <a:lstStyle/>
                    <a:p>
                      <a:r>
                        <a:rPr lang="en-US" sz="1000" b="1" dirty="0">
                          <a:solidFill>
                            <a:schemeClr val="tx1"/>
                          </a:solidFill>
                        </a:rPr>
                        <a:t>Committed Leadership</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en-US" sz="1000" b="1" dirty="0">
                          <a:solidFill>
                            <a:schemeClr val="tx1"/>
                          </a:solidFill>
                        </a:rPr>
                        <a:t>Broad</a:t>
                      </a:r>
                      <a:r>
                        <a:rPr lang="en-US" sz="1000" b="1" baseline="0" dirty="0">
                          <a:solidFill>
                            <a:schemeClr val="tx1"/>
                          </a:solidFill>
                        </a:rPr>
                        <a:t>-Based OP Prioritization</a:t>
                      </a:r>
                      <a:endParaRPr lang="en-US" sz="1000" b="1"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n-US" sz="1000" b="0" dirty="0">
                          <a:solidFill>
                            <a:schemeClr val="tx1"/>
                          </a:solidFill>
                        </a:rPr>
                        <a:t>Sponsor</a:t>
                      </a:r>
                      <a:r>
                        <a:rPr lang="en-US" sz="1000" b="0" baseline="0" dirty="0">
                          <a:solidFill>
                            <a:schemeClr val="tx1"/>
                          </a:solidFill>
                        </a:rPr>
                        <a:t> has gained alignment of core OP leaders who are committed to prioritizing the asset in the marketplace, including: Offering, Market Offering, Industry, Sector and LCPs</a:t>
                      </a:r>
                      <a:endParaRPr lang="en-US" sz="1000"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n-US" sz="1000" b="0" baseline="0" dirty="0">
                          <a:solidFill>
                            <a:schemeClr val="tx1"/>
                          </a:solidFill>
                        </a:rPr>
                        <a:t>Sponsor has had minimal engagement to date with core OP leaders regarding prioritization in the marketplace</a:t>
                      </a:r>
                      <a:endParaRPr lang="en-US" sz="1000" b="0" dirty="0">
                        <a:solidFill>
                          <a:schemeClr val="tx1"/>
                        </a:solidFill>
                      </a:endParaRP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811543710"/>
                  </a:ext>
                </a:extLst>
              </a:tr>
              <a:tr h="411911">
                <a:tc vMerge="1">
                  <a:txBody>
                    <a:bodyPr/>
                    <a:lstStyle/>
                    <a:p>
                      <a:endParaRPr lang="en-US" sz="1050" b="1" dirty="0">
                        <a:solidFill>
                          <a:schemeClr val="tx1"/>
                        </a:solidFill>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r>
                        <a:rPr lang="en-US" sz="1000" b="1" dirty="0">
                          <a:solidFill>
                            <a:schemeClr val="tx1"/>
                          </a:solidFill>
                        </a:rPr>
                        <a:t>Clear Alignment to AIO strategy </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n-US" sz="1000" b="0" dirty="0">
                          <a:solidFill>
                            <a:schemeClr val="tx1"/>
                          </a:solidFill>
                        </a:rPr>
                        <a:t>Sponsor has clearly defined and can articulate how the Asset fits within the AIO strategy of the primary G2M Offering</a:t>
                      </a:r>
                      <a:endParaRPr lang="en-US" sz="1000"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n-US" sz="1000" b="0" dirty="0">
                          <a:solidFill>
                            <a:schemeClr val="tx1"/>
                          </a:solidFill>
                        </a:rPr>
                        <a:t>Sponsor has not identified how the Asset will extend or enhance the AIO strategy of the primary G2M Offering</a:t>
                      </a:r>
                      <a:endParaRPr lang="en-US" sz="1000" dirty="0">
                        <a:solidFill>
                          <a:schemeClr val="tx1"/>
                        </a:solidFill>
                      </a:endParaRP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20746242"/>
                  </a:ext>
                </a:extLst>
              </a:tr>
              <a:tr h="411911">
                <a:tc vMerge="1">
                  <a:txBody>
                    <a:bodyPr/>
                    <a:lstStyle/>
                    <a:p>
                      <a:endParaRPr lang="en-US" sz="1050" b="1" dirty="0">
                        <a:solidFill>
                          <a:schemeClr val="tx1"/>
                        </a:solidFill>
                      </a:endParaRPr>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r>
                        <a:rPr lang="en-US" sz="1000" b="1" kern="1200" dirty="0">
                          <a:solidFill>
                            <a:schemeClr val="tx1"/>
                          </a:solidFill>
                          <a:latin typeface="+mn-lt"/>
                          <a:ea typeface="+mn-ea"/>
                          <a:cs typeface="+mn-cs"/>
                        </a:rPr>
                        <a:t>Sales &amp; G2M Sponsorship</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latin typeface="+mn-lt"/>
                          <a:ea typeface="+mn-ea"/>
                          <a:cs typeface="+mn-cs"/>
                        </a:rPr>
                        <a:t>Sponsor has developed a core following of PPD’s / SMs / LCPs who are committed to sales and marketing efforts for the Asset</a:t>
                      </a:r>
                      <a:endParaRPr lang="en-US" sz="1000" b="0" baseline="0"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n-US" sz="1000" b="0" dirty="0">
                          <a:solidFill>
                            <a:schemeClr val="tx1"/>
                          </a:solidFill>
                          <a:latin typeface="+mn-lt"/>
                          <a:ea typeface="+mn-ea"/>
                          <a:cs typeface="+mn-cs"/>
                        </a:rPr>
                        <a:t>Sponsor has yet to develop a core following of PPDs / SMs / LCPs who are committed to sales and marketing</a:t>
                      </a:r>
                      <a:endParaRPr lang="en-US" sz="1000" kern="1200" dirty="0">
                        <a:solidFill>
                          <a:schemeClr val="tx1"/>
                        </a:solidFill>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1"/>
                  </a:ext>
                </a:extLst>
              </a:tr>
              <a:tr h="411911">
                <a:tc vMerge="1">
                  <a:txBody>
                    <a:bodyPr/>
                    <a:lstStyle/>
                    <a:p>
                      <a:endParaRPr lang="en-US" sz="1050" b="1" dirty="0">
                        <a:solidFill>
                          <a:schemeClr val="tx1"/>
                        </a:solidFill>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en-US" sz="1000" b="1" kern="1200" dirty="0">
                          <a:solidFill>
                            <a:schemeClr val="tx1"/>
                          </a:solidFill>
                          <a:latin typeface="+mn-lt"/>
                          <a:ea typeface="+mn-ea"/>
                          <a:cs typeface="+mn-cs"/>
                        </a:rPr>
                        <a:t>Alliance Engagemen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baseline="0" dirty="0">
                          <a:solidFill>
                            <a:schemeClr val="tx1"/>
                          </a:solidFill>
                        </a:rPr>
                        <a:t>Sponsor has engaged with the Lead Alliance Partner, if applicable to the Asset, and determined level of co-investmen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mn-lt"/>
                          <a:ea typeface="+mn-ea"/>
                          <a:cs typeface="+mn-cs"/>
                        </a:rPr>
                        <a:t>Sponsor has not engaged with the Lead Alliance Partner to determine Asset applicability / interest</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363103361"/>
                  </a:ext>
                </a:extLst>
              </a:tr>
              <a:tr h="344377">
                <a:tc rowSpan="3">
                  <a:txBody>
                    <a:bodyPr/>
                    <a:lstStyle/>
                    <a:p>
                      <a:r>
                        <a:rPr lang="en-US" sz="1000" b="1" dirty="0">
                          <a:solidFill>
                            <a:schemeClr val="tx1"/>
                          </a:solidFill>
                        </a:rPr>
                        <a:t>Market Opportunity and Traction</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en-US" sz="1000" b="1" dirty="0">
                          <a:solidFill>
                            <a:schemeClr val="tx1"/>
                          </a:solidFill>
                        </a:rPr>
                        <a:t>Issue to Impac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r>
                        <a:rPr lang="en-US" sz="1000" b="0" baseline="0" dirty="0">
                          <a:solidFill>
                            <a:schemeClr val="tx1"/>
                          </a:solidFill>
                        </a:rPr>
                        <a:t>Asset addresses a clear and compelling marketplace issue with broad applicability to our client base</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r>
                        <a:rPr lang="en-US" sz="1000" baseline="0" dirty="0">
                          <a:solidFill>
                            <a:schemeClr val="tx1"/>
                          </a:solidFill>
                        </a:rPr>
                        <a:t>Asset is driven by a “big idea” that is not clearly linked to a marketplace issue </a:t>
                      </a:r>
                      <a:endParaRPr lang="en-US" sz="1000" b="0" dirty="0">
                        <a:solidFill>
                          <a:schemeClr val="tx1"/>
                        </a:solidFill>
                      </a:endParaRP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r h="344377">
                <a:tc vMerge="1">
                  <a:txBody>
                    <a:bodyPr/>
                    <a:lstStyle/>
                    <a:p>
                      <a:endParaRPr lang="en-US" sz="1050" dirty="0"/>
                    </a:p>
                  </a:txBody>
                  <a:tcPr/>
                </a:tc>
                <a:tc>
                  <a:txBody>
                    <a:bodyPr/>
                    <a:lstStyle/>
                    <a:p>
                      <a:r>
                        <a:rPr lang="en-US" sz="1000" b="1" dirty="0">
                          <a:solidFill>
                            <a:schemeClr val="tx1"/>
                          </a:solidFill>
                        </a:rPr>
                        <a:t>Marketplace Differentiation</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r>
                        <a:rPr lang="en-US" sz="1000" dirty="0">
                          <a:solidFill>
                            <a:schemeClr val="tx1"/>
                          </a:solidFill>
                        </a:rPr>
                        <a:t>Asset provides a unique advantage / differentiation in the marketplace and will be highly visible above competitor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r>
                        <a:rPr lang="en-US" sz="1000" b="0" baseline="0" dirty="0">
                          <a:solidFill>
                            <a:schemeClr val="tx1"/>
                          </a:solidFill>
                        </a:rPr>
                        <a:t>Asset does not provide a clear value proposition in the marketplace and can be easily followed / copied by competitors</a:t>
                      </a:r>
                      <a:endParaRPr lang="en-US" sz="1000" b="0" dirty="0">
                        <a:solidFill>
                          <a:schemeClr val="tx1"/>
                        </a:solidFill>
                      </a:endParaRP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393184">
                <a:tc vMerge="1">
                  <a:txBody>
                    <a:bodyPr/>
                    <a:lstStyle/>
                    <a:p>
                      <a:endParaRPr lang="en-US" sz="1050" dirty="0"/>
                    </a:p>
                  </a:txBody>
                  <a:tcPr/>
                </a:tc>
                <a:tc>
                  <a:txBody>
                    <a:bodyPr/>
                    <a:lstStyle/>
                    <a:p>
                      <a:r>
                        <a:rPr lang="en-US" sz="1000" b="1" dirty="0">
                          <a:solidFill>
                            <a:schemeClr val="tx1"/>
                          </a:solidFill>
                        </a:rPr>
                        <a:t>Market Demand</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r>
                        <a:rPr lang="en-US" sz="1000" b="0" dirty="0">
                          <a:solidFill>
                            <a:schemeClr val="tx1"/>
                          </a:solidFill>
                          <a:latin typeface="+mn-lt"/>
                          <a:ea typeface="+mn-ea"/>
                          <a:cs typeface="+mn-cs"/>
                        </a:rPr>
                        <a:t>Sponsor has identified, at minimum, the first tranche of qualified leads and has engaged with client leadership to onboard </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r>
                        <a:rPr lang="en-US" sz="1000" b="0" baseline="0" dirty="0">
                          <a:solidFill>
                            <a:schemeClr val="tx1"/>
                          </a:solidFill>
                        </a:rPr>
                        <a:t>Sponsor has yet to identify an Alpha-client and/or qualify a pipeline of prospects</a:t>
                      </a:r>
                      <a:endParaRPr lang="en-US" sz="1000" b="0" dirty="0">
                        <a:solidFill>
                          <a:schemeClr val="tx1"/>
                        </a:solidFill>
                      </a:endParaRP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411911">
                <a:tc rowSpan="3">
                  <a:txBody>
                    <a:bodyPr/>
                    <a:lstStyle/>
                    <a:p>
                      <a:r>
                        <a:rPr lang="en-US" sz="1000" b="1" dirty="0">
                          <a:solidFill>
                            <a:schemeClr val="tx1"/>
                          </a:solidFill>
                        </a:rPr>
                        <a:t>Clear Path to Repeatable Value</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noFill/>
                  </a:tcPr>
                </a:tc>
                <a:tc>
                  <a:txBody>
                    <a:bodyPr/>
                    <a:lstStyle/>
                    <a:p>
                      <a:r>
                        <a:rPr lang="en-US" sz="1000" b="1" dirty="0">
                          <a:solidFill>
                            <a:schemeClr val="tx1"/>
                          </a:solidFill>
                        </a:rPr>
                        <a:t>Repeatability</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r>
                        <a:rPr lang="en-US" sz="1000" dirty="0">
                          <a:solidFill>
                            <a:schemeClr val="tx1"/>
                          </a:solidFill>
                        </a:rPr>
                        <a:t>Asset strikes a balance between feature specificity and solution generalization to enable broad-based marketplace use</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r>
                        <a:rPr lang="en-US" sz="1000" b="0" dirty="0">
                          <a:solidFill>
                            <a:schemeClr val="tx1"/>
                          </a:solidFill>
                        </a:rPr>
                        <a:t>Asset is highly specialized to solve a single-client problem and requires significant rework for broader marketplace use</a:t>
                      </a:r>
                      <a:endParaRPr lang="en-US" sz="1000" dirty="0">
                        <a:solidFill>
                          <a:schemeClr val="tx1"/>
                        </a:solidFill>
                      </a:endParaRP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7"/>
                  </a:ext>
                </a:extLst>
              </a:tr>
              <a:tr h="411911">
                <a:tc vMerge="1">
                  <a:txBody>
                    <a:bodyPr/>
                    <a:lstStyle/>
                    <a:p>
                      <a:endParaRPr lang="en-US" sz="1050" dirty="0"/>
                    </a:p>
                  </a:txBody>
                  <a:tcPr anchor="ctr"/>
                </a:tc>
                <a:tc>
                  <a:txBody>
                    <a:bodyPr/>
                    <a:lstStyle/>
                    <a:p>
                      <a:r>
                        <a:rPr lang="en-US" sz="1000" b="1" dirty="0">
                          <a:solidFill>
                            <a:schemeClr val="tx1"/>
                          </a:solidFill>
                        </a:rPr>
                        <a:t>Market Eminence</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3814" rtl="0" eaLnBrk="1" fontAlgn="auto" latinLnBrk="0" hangingPunct="1">
                        <a:lnSpc>
                          <a:spcPct val="100000"/>
                        </a:lnSpc>
                        <a:spcBef>
                          <a:spcPts val="0"/>
                        </a:spcBef>
                        <a:spcAft>
                          <a:spcPts val="0"/>
                        </a:spcAft>
                        <a:buClrTx/>
                        <a:buSzTx/>
                        <a:buFontTx/>
                        <a:buNone/>
                        <a:tabLst/>
                        <a:defRPr/>
                      </a:pPr>
                      <a:r>
                        <a:rPr lang="en-US" sz="1000" b="0" dirty="0">
                          <a:solidFill>
                            <a:schemeClr val="tx1"/>
                          </a:solidFill>
                        </a:rPr>
                        <a:t>Asset is publicized internally and externally through various channels and has produced a robust eminence footprint </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lvl="0"/>
                      <a:r>
                        <a:rPr lang="en-US" sz="1000" b="0" dirty="0">
                          <a:solidFill>
                            <a:schemeClr val="tx1"/>
                          </a:solidFill>
                        </a:rPr>
                        <a:t>Asset capabilities are unknown outside of the core team / client and has produced little to no eminence to-date </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8"/>
                  </a:ext>
                </a:extLst>
              </a:tr>
              <a:tr h="254753">
                <a:tc vMerge="1">
                  <a:txBody>
                    <a:bodyPr/>
                    <a:lstStyle/>
                    <a:p>
                      <a:endParaRPr lang="en-US" sz="1050" kern="1200" dirty="0">
                        <a:solidFill>
                          <a:schemeClr val="dk1"/>
                        </a:solidFill>
                        <a:latin typeface="+mn-lt"/>
                        <a:ea typeface="+mn-ea"/>
                        <a:cs typeface="+mn-cs"/>
                      </a:endParaRPr>
                    </a:p>
                  </a:txBody>
                  <a:tcPr anchor="ctr"/>
                </a:tc>
                <a:tc>
                  <a:txBody>
                    <a:bodyPr/>
                    <a:lstStyle/>
                    <a:p>
                      <a:r>
                        <a:rPr lang="en-US" sz="1000" b="1" kern="1200" dirty="0">
                          <a:solidFill>
                            <a:schemeClr val="tx1"/>
                          </a:solidFill>
                          <a:latin typeface="+mn-lt"/>
                          <a:ea typeface="+mn-ea"/>
                          <a:cs typeface="+mn-cs"/>
                        </a:rPr>
                        <a:t>Sales, Delivery &amp; Sustainment Model</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noFill/>
                  </a:tcPr>
                </a:tc>
                <a:tc>
                  <a:txBody>
                    <a:bodyPr/>
                    <a:lstStyle/>
                    <a:p>
                      <a:pPr lvl="0"/>
                      <a:r>
                        <a:rPr lang="en-US" sz="1000" dirty="0">
                          <a:solidFill>
                            <a:schemeClr val="tx1"/>
                          </a:solidFill>
                          <a:latin typeface="+mn-lt"/>
                          <a:ea typeface="+mn-ea"/>
                          <a:cs typeface="+mn-cs"/>
                        </a:rPr>
                        <a:t>Sponsor has clearly defined the Asset sales, delivery, and sustainment model to allow the Network to win in the market</a:t>
                      </a:r>
                      <a:endParaRPr lang="en-US" sz="1000"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noFill/>
                  </a:tcPr>
                </a:tc>
                <a:tc>
                  <a:txBody>
                    <a:bodyPr/>
                    <a:lstStyle/>
                    <a:p>
                      <a:pPr lvl="0"/>
                      <a:r>
                        <a:rPr lang="en-US" sz="1000" b="0" dirty="0">
                          <a:solidFill>
                            <a:schemeClr val="tx1"/>
                          </a:solidFill>
                          <a:latin typeface="+mn-lt"/>
                          <a:ea typeface="+mn-ea"/>
                          <a:cs typeface="+mn-cs"/>
                        </a:rPr>
                        <a:t>Sponsor has not defined the Asset sales, delivery, and sustainment model beyond the initial client</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42040550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2" name="Object 71" hidden="1">
            <a:extLst>
              <a:ext uri="{FF2B5EF4-FFF2-40B4-BE49-F238E27FC236}">
                <a16:creationId xmlns:a16="http://schemas.microsoft.com/office/drawing/2014/main" id="{BC04D899-64AF-4714-AAD4-A541B67B517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2" name="think-cell Slide" r:id="rId6" imgW="395" imgH="396" progId="TCLayout.ActiveDocument.1">
                  <p:embed/>
                </p:oleObj>
              </mc:Choice>
              <mc:Fallback>
                <p:oleObj name="think-cell Slide" r:id="rId6" imgW="395" imgH="396" progId="TCLayout.ActiveDocument.1">
                  <p:embed/>
                  <p:pic>
                    <p:nvPicPr>
                      <p:cNvPr id="72" name="Object 71" hidden="1">
                        <a:extLst>
                          <a:ext uri="{FF2B5EF4-FFF2-40B4-BE49-F238E27FC236}">
                            <a16:creationId xmlns:a16="http://schemas.microsoft.com/office/drawing/2014/main" id="{BC04D899-64AF-4714-AAD4-A541B67B51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6" name="Rectangle 75" hidden="1">
            <a:extLst>
              <a:ext uri="{FF2B5EF4-FFF2-40B4-BE49-F238E27FC236}">
                <a16:creationId xmlns:a16="http://schemas.microsoft.com/office/drawing/2014/main" id="{36821105-93C9-4744-B6BD-EA575C65212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a:sym typeface="Chronicle Display Black"/>
            </a:endParaRPr>
          </a:p>
        </p:txBody>
      </p:sp>
      <p:sp>
        <p:nvSpPr>
          <p:cNvPr id="70" name="Title 69">
            <a:extLst>
              <a:ext uri="{FF2B5EF4-FFF2-40B4-BE49-F238E27FC236}">
                <a16:creationId xmlns:a16="http://schemas.microsoft.com/office/drawing/2014/main" id="{A48C704A-9968-4CE5-BB84-B7A620BD28E9}"/>
              </a:ext>
            </a:extLst>
          </p:cNvPr>
          <p:cNvSpPr>
            <a:spLocks noGrp="1"/>
          </p:cNvSpPr>
          <p:nvPr>
            <p:ph type="title"/>
          </p:nvPr>
        </p:nvSpPr>
        <p:spPr>
          <a:xfrm>
            <a:off x="914400" y="694944"/>
            <a:ext cx="10363200" cy="594360"/>
          </a:xfrm>
        </p:spPr>
        <p:txBody>
          <a:bodyPr/>
          <a:lstStyle/>
          <a:p>
            <a:r>
              <a:rPr lang="en-US" dirty="0"/>
              <a:t>Agenda – Service Delivery Model Workshop</a:t>
            </a:r>
          </a:p>
        </p:txBody>
      </p:sp>
      <p:sp>
        <p:nvSpPr>
          <p:cNvPr id="77" name="Text Placeholder 76">
            <a:extLst>
              <a:ext uri="{FF2B5EF4-FFF2-40B4-BE49-F238E27FC236}">
                <a16:creationId xmlns:a16="http://schemas.microsoft.com/office/drawing/2014/main" id="{FA06A805-8D03-43AE-8162-C24B12ECD8D2}"/>
              </a:ext>
            </a:extLst>
          </p:cNvPr>
          <p:cNvSpPr>
            <a:spLocks noGrp="1"/>
          </p:cNvSpPr>
          <p:nvPr>
            <p:ph type="body" sz="quarter" idx="14"/>
          </p:nvPr>
        </p:nvSpPr>
        <p:spPr/>
        <p:txBody>
          <a:bodyPr/>
          <a:lstStyle/>
          <a:p>
            <a:r>
              <a:rPr lang="en-US" spc="0" dirty="0">
                <a:solidFill>
                  <a:srgbClr val="575757"/>
                </a:solidFill>
              </a:rPr>
              <a:t>Objective: Collaboratively review and discuss the findings from the time &amp; motion study, explore opportunity areas and align on levers for the capacity planning tool</a:t>
            </a:r>
          </a:p>
          <a:p>
            <a:endParaRPr lang="en-US" dirty="0"/>
          </a:p>
        </p:txBody>
      </p:sp>
      <p:sp>
        <p:nvSpPr>
          <p:cNvPr id="78" name="Text Placeholder 77">
            <a:extLst>
              <a:ext uri="{FF2B5EF4-FFF2-40B4-BE49-F238E27FC236}">
                <a16:creationId xmlns:a16="http://schemas.microsoft.com/office/drawing/2014/main" id="{D136D974-A32C-4FF8-B80B-CA666AF6E185}"/>
              </a:ext>
            </a:extLst>
          </p:cNvPr>
          <p:cNvSpPr>
            <a:spLocks noGrp="1"/>
          </p:cNvSpPr>
          <p:nvPr>
            <p:ph type="body" sz="quarter" idx="15"/>
          </p:nvPr>
        </p:nvSpPr>
        <p:spPr/>
        <p:txBody>
          <a:bodyPr/>
          <a:lstStyle/>
          <a:p>
            <a:r>
              <a:rPr lang="en-US" dirty="0"/>
              <a:t>Agenda &amp; Table of Contents</a:t>
            </a:r>
          </a:p>
        </p:txBody>
      </p:sp>
      <p:sp>
        <p:nvSpPr>
          <p:cNvPr id="36" name="Text Placeholder 2">
            <a:extLst>
              <a:ext uri="{FF2B5EF4-FFF2-40B4-BE49-F238E27FC236}">
                <a16:creationId xmlns:a16="http://schemas.microsoft.com/office/drawing/2014/main" id="{8034FA55-14D7-4A2A-8FCB-2BF1049DC3ED}"/>
              </a:ext>
            </a:extLst>
          </p:cNvPr>
          <p:cNvSpPr txBox="1">
            <a:spLocks/>
          </p:cNvSpPr>
          <p:nvPr/>
        </p:nvSpPr>
        <p:spPr>
          <a:xfrm>
            <a:off x="539486" y="1499877"/>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2000" b="0" kern="1200">
                <a:solidFill>
                  <a:srgbClr val="575757"/>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Tx/>
              <a:buNone/>
              <a:tabLst/>
              <a:defRPr/>
            </a:pPr>
            <a:endParaRPr kumimoji="0" lang="en-US" sz="2000" b="0" i="0" u="none" strike="noStrike" kern="1200" cap="none" spc="0" normalizeH="0" baseline="0" noProof="0" dirty="0">
              <a:ln>
                <a:noFill/>
              </a:ln>
              <a:solidFill>
                <a:srgbClr val="575757"/>
              </a:solidFill>
              <a:effectLst/>
              <a:uLnTx/>
              <a:uFillTx/>
              <a:ea typeface="+mn-ea"/>
              <a:cs typeface="+mn-cs"/>
            </a:endParaRPr>
          </a:p>
        </p:txBody>
      </p:sp>
      <p:sp>
        <p:nvSpPr>
          <p:cNvPr id="38" name="Rechteck 7">
            <a:extLst>
              <a:ext uri="{FF2B5EF4-FFF2-40B4-BE49-F238E27FC236}">
                <a16:creationId xmlns:a16="http://schemas.microsoft.com/office/drawing/2014/main" id="{FEF0056D-C232-4B32-8CF7-976BC082B35A}"/>
              </a:ext>
            </a:extLst>
          </p:cNvPr>
          <p:cNvSpPr>
            <a:spLocks/>
          </p:cNvSpPr>
          <p:nvPr/>
        </p:nvSpPr>
        <p:spPr bwMode="gray">
          <a:xfrm>
            <a:off x="6919908" y="2483760"/>
            <a:ext cx="4871778" cy="3618443"/>
          </a:xfrm>
          <a:custGeom>
            <a:avLst/>
            <a:gdLst>
              <a:gd name="connsiteX0" fmla="*/ 0 w 3960000"/>
              <a:gd name="connsiteY0" fmla="*/ 0 h 3962400"/>
              <a:gd name="connsiteX1" fmla="*/ 3960000 w 3960000"/>
              <a:gd name="connsiteY1" fmla="*/ 0 h 3962400"/>
              <a:gd name="connsiteX2" fmla="*/ 3960000 w 3960000"/>
              <a:gd name="connsiteY2" fmla="*/ 3962400 h 3962400"/>
              <a:gd name="connsiteX3" fmla="*/ 0 w 3960000"/>
              <a:gd name="connsiteY3" fmla="*/ 3962400 h 3962400"/>
              <a:gd name="connsiteX4" fmla="*/ 0 w 3960000"/>
              <a:gd name="connsiteY4" fmla="*/ 0 h 3962400"/>
              <a:gd name="connsiteX0" fmla="*/ 0 w 3960000"/>
              <a:gd name="connsiteY0" fmla="*/ 0 h 3962400"/>
              <a:gd name="connsiteX1" fmla="*/ 3960000 w 3960000"/>
              <a:gd name="connsiteY1" fmla="*/ 0 h 3962400"/>
              <a:gd name="connsiteX2" fmla="*/ 3956967 w 3960000"/>
              <a:gd name="connsiteY2" fmla="*/ 3601311 h 3962400"/>
              <a:gd name="connsiteX3" fmla="*/ 3960000 w 3960000"/>
              <a:gd name="connsiteY3" fmla="*/ 3962400 h 3962400"/>
              <a:gd name="connsiteX4" fmla="*/ 0 w 3960000"/>
              <a:gd name="connsiteY4" fmla="*/ 3962400 h 3962400"/>
              <a:gd name="connsiteX5" fmla="*/ 0 w 3960000"/>
              <a:gd name="connsiteY5" fmla="*/ 0 h 3962400"/>
              <a:gd name="connsiteX0" fmla="*/ 3956967 w 4048407"/>
              <a:gd name="connsiteY0" fmla="*/ 3601311 h 3962400"/>
              <a:gd name="connsiteX1" fmla="*/ 3960000 w 4048407"/>
              <a:gd name="connsiteY1" fmla="*/ 3962400 h 3962400"/>
              <a:gd name="connsiteX2" fmla="*/ 0 w 4048407"/>
              <a:gd name="connsiteY2" fmla="*/ 3962400 h 3962400"/>
              <a:gd name="connsiteX3" fmla="*/ 0 w 4048407"/>
              <a:gd name="connsiteY3" fmla="*/ 0 h 3962400"/>
              <a:gd name="connsiteX4" fmla="*/ 3960000 w 4048407"/>
              <a:gd name="connsiteY4" fmla="*/ 0 h 3962400"/>
              <a:gd name="connsiteX5" fmla="*/ 4048407 w 4048407"/>
              <a:gd name="connsiteY5" fmla="*/ 3692751 h 3962400"/>
              <a:gd name="connsiteX0" fmla="*/ 3956967 w 3960000"/>
              <a:gd name="connsiteY0" fmla="*/ 3601311 h 3962400"/>
              <a:gd name="connsiteX1" fmla="*/ 3960000 w 3960000"/>
              <a:gd name="connsiteY1" fmla="*/ 3962400 h 3962400"/>
              <a:gd name="connsiteX2" fmla="*/ 0 w 3960000"/>
              <a:gd name="connsiteY2" fmla="*/ 3962400 h 3962400"/>
              <a:gd name="connsiteX3" fmla="*/ 0 w 3960000"/>
              <a:gd name="connsiteY3" fmla="*/ 0 h 3962400"/>
              <a:gd name="connsiteX4" fmla="*/ 3960000 w 3960000"/>
              <a:gd name="connsiteY4" fmla="*/ 0 h 3962400"/>
              <a:gd name="connsiteX0" fmla="*/ 3960000 w 3960000"/>
              <a:gd name="connsiteY0" fmla="*/ 3962400 h 3962400"/>
              <a:gd name="connsiteX1" fmla="*/ 0 w 3960000"/>
              <a:gd name="connsiteY1" fmla="*/ 3962400 h 3962400"/>
              <a:gd name="connsiteX2" fmla="*/ 0 w 3960000"/>
              <a:gd name="connsiteY2" fmla="*/ 0 h 3962400"/>
              <a:gd name="connsiteX3" fmla="*/ 3960000 w 3960000"/>
              <a:gd name="connsiteY3" fmla="*/ 0 h 3962400"/>
            </a:gdLst>
            <a:ahLst/>
            <a:cxnLst>
              <a:cxn ang="0">
                <a:pos x="connsiteX0" y="connsiteY0"/>
              </a:cxn>
              <a:cxn ang="0">
                <a:pos x="connsiteX1" y="connsiteY1"/>
              </a:cxn>
              <a:cxn ang="0">
                <a:pos x="connsiteX2" y="connsiteY2"/>
              </a:cxn>
              <a:cxn ang="0">
                <a:pos x="connsiteX3" y="connsiteY3"/>
              </a:cxn>
            </a:cxnLst>
            <a:rect l="l" t="t" r="r" b="b"/>
            <a:pathLst>
              <a:path w="3960000" h="3962400">
                <a:moveTo>
                  <a:pt x="3960000" y="3962400"/>
                </a:moveTo>
                <a:lnTo>
                  <a:pt x="0" y="3962400"/>
                </a:lnTo>
                <a:lnTo>
                  <a:pt x="0" y="0"/>
                </a:lnTo>
                <a:lnTo>
                  <a:pt x="3960000" y="0"/>
                </a:lnTo>
              </a:path>
            </a:pathLst>
          </a:custGeom>
          <a:noFill/>
          <a:ln w="19050" cap="flat" cmpd="sng" algn="ctr">
            <a:solidFill>
              <a:srgbClr val="86BC25"/>
            </a:solidFill>
            <a:prstDash val="solid"/>
          </a:ln>
          <a:effectLst/>
        </p:spPr>
        <p:txBody>
          <a:bodyPr lIns="360000" tIns="108000" rIns="108000" bIns="72000" rtlCol="0" anchor="ctr"/>
          <a:lstStyle/>
          <a:p>
            <a:pPr marL="171450" marR="0" lvl="0" indent="-171450" defTabSz="1219170" eaLnBrk="1" fontAlgn="auto" latinLnBrk="0" hangingPunct="1">
              <a:lnSpc>
                <a:spcPct val="100000"/>
              </a:lnSpc>
              <a:spcBef>
                <a:spcPts val="600"/>
              </a:spcBef>
              <a:spcAft>
                <a:spcPts val="1200"/>
              </a:spcAft>
              <a:buClr>
                <a:srgbClr val="003A8C"/>
              </a:buClr>
              <a:buSzTx/>
              <a:buFont typeface="Symbol" panose="05050102010706020507" pitchFamily="18" charset="2"/>
              <a:buChar char="-"/>
              <a:tabLst/>
              <a:defRPr/>
            </a:pPr>
            <a:endParaRPr kumimoji="0" lang="en-US" sz="1200" b="0" i="0" u="none" strike="noStrike" kern="0" cap="none" spc="0" normalizeH="0" baseline="0" noProof="0" dirty="0">
              <a:ln>
                <a:noFill/>
              </a:ln>
              <a:solidFill>
                <a:prstClr val="black"/>
              </a:solidFill>
              <a:effectLst/>
              <a:uLnTx/>
              <a:uFillTx/>
              <a:ea typeface="+mn-ea"/>
              <a:cs typeface="+mn-cs"/>
            </a:endParaRPr>
          </a:p>
        </p:txBody>
      </p:sp>
      <p:sp>
        <p:nvSpPr>
          <p:cNvPr id="39" name="Richtungspfeil 5">
            <a:extLst>
              <a:ext uri="{FF2B5EF4-FFF2-40B4-BE49-F238E27FC236}">
                <a16:creationId xmlns:a16="http://schemas.microsoft.com/office/drawing/2014/main" id="{0BD97583-CB23-41E7-B869-EF75218E2DDC}"/>
              </a:ext>
            </a:extLst>
          </p:cNvPr>
          <p:cNvSpPr>
            <a:spLocks/>
          </p:cNvSpPr>
          <p:nvPr/>
        </p:nvSpPr>
        <p:spPr bwMode="gray">
          <a:xfrm>
            <a:off x="641990" y="2242929"/>
            <a:ext cx="6394518" cy="4015950"/>
          </a:xfrm>
          <a:custGeom>
            <a:avLst/>
            <a:gdLst>
              <a:gd name="connsiteX0" fmla="*/ 0 w 4500000"/>
              <a:gd name="connsiteY0" fmla="*/ 0 h 3962400"/>
              <a:gd name="connsiteX1" fmla="*/ 4182691 w 4500000"/>
              <a:gd name="connsiteY1" fmla="*/ 0 h 3962400"/>
              <a:gd name="connsiteX2" fmla="*/ 4500000 w 4500000"/>
              <a:gd name="connsiteY2" fmla="*/ 1981200 h 3962400"/>
              <a:gd name="connsiteX3" fmla="*/ 4182691 w 4500000"/>
              <a:gd name="connsiteY3" fmla="*/ 3962400 h 3962400"/>
              <a:gd name="connsiteX4" fmla="*/ 0 w 4500000"/>
              <a:gd name="connsiteY4" fmla="*/ 3962400 h 3962400"/>
              <a:gd name="connsiteX5" fmla="*/ 0 w 4500000"/>
              <a:gd name="connsiteY5" fmla="*/ 0 h 3962400"/>
              <a:gd name="connsiteX0" fmla="*/ 3633 w 4503633"/>
              <a:gd name="connsiteY0" fmla="*/ 0 h 3962400"/>
              <a:gd name="connsiteX1" fmla="*/ 4186324 w 4503633"/>
              <a:gd name="connsiteY1" fmla="*/ 0 h 3962400"/>
              <a:gd name="connsiteX2" fmla="*/ 4503633 w 4503633"/>
              <a:gd name="connsiteY2" fmla="*/ 1981200 h 3962400"/>
              <a:gd name="connsiteX3" fmla="*/ 4186324 w 4503633"/>
              <a:gd name="connsiteY3" fmla="*/ 3962400 h 3962400"/>
              <a:gd name="connsiteX4" fmla="*/ 3633 w 4503633"/>
              <a:gd name="connsiteY4" fmla="*/ 3962400 h 3962400"/>
              <a:gd name="connsiteX5" fmla="*/ 0 w 4503633"/>
              <a:gd name="connsiteY5" fmla="*/ 3702050 h 3962400"/>
              <a:gd name="connsiteX6" fmla="*/ 3633 w 4503633"/>
              <a:gd name="connsiteY6" fmla="*/ 0 h 3962400"/>
              <a:gd name="connsiteX0" fmla="*/ 0 w 4503633"/>
              <a:gd name="connsiteY0" fmla="*/ 3702050 h 3962400"/>
              <a:gd name="connsiteX1" fmla="*/ 3633 w 4503633"/>
              <a:gd name="connsiteY1" fmla="*/ 0 h 3962400"/>
              <a:gd name="connsiteX2" fmla="*/ 4186324 w 4503633"/>
              <a:gd name="connsiteY2" fmla="*/ 0 h 3962400"/>
              <a:gd name="connsiteX3" fmla="*/ 4503633 w 4503633"/>
              <a:gd name="connsiteY3" fmla="*/ 1981200 h 3962400"/>
              <a:gd name="connsiteX4" fmla="*/ 4186324 w 4503633"/>
              <a:gd name="connsiteY4" fmla="*/ 3962400 h 3962400"/>
              <a:gd name="connsiteX5" fmla="*/ 3633 w 4503633"/>
              <a:gd name="connsiteY5" fmla="*/ 3962400 h 3962400"/>
              <a:gd name="connsiteX6" fmla="*/ 91440 w 4503633"/>
              <a:gd name="connsiteY6" fmla="*/ 3793490 h 3962400"/>
              <a:gd name="connsiteX0" fmla="*/ 0 w 4503633"/>
              <a:gd name="connsiteY0" fmla="*/ 3702050 h 3962400"/>
              <a:gd name="connsiteX1" fmla="*/ 3633 w 4503633"/>
              <a:gd name="connsiteY1" fmla="*/ 0 h 3962400"/>
              <a:gd name="connsiteX2" fmla="*/ 4186324 w 4503633"/>
              <a:gd name="connsiteY2" fmla="*/ 0 h 3962400"/>
              <a:gd name="connsiteX3" fmla="*/ 4503633 w 4503633"/>
              <a:gd name="connsiteY3" fmla="*/ 1981200 h 3962400"/>
              <a:gd name="connsiteX4" fmla="*/ 4186324 w 4503633"/>
              <a:gd name="connsiteY4" fmla="*/ 3962400 h 3962400"/>
              <a:gd name="connsiteX5" fmla="*/ 3633 w 4503633"/>
              <a:gd name="connsiteY5" fmla="*/ 3962400 h 3962400"/>
              <a:gd name="connsiteX0" fmla="*/ 0 w 4500000"/>
              <a:gd name="connsiteY0" fmla="*/ 0 h 3962400"/>
              <a:gd name="connsiteX1" fmla="*/ 4182691 w 4500000"/>
              <a:gd name="connsiteY1" fmla="*/ 0 h 3962400"/>
              <a:gd name="connsiteX2" fmla="*/ 4500000 w 4500000"/>
              <a:gd name="connsiteY2" fmla="*/ 1981200 h 3962400"/>
              <a:gd name="connsiteX3" fmla="*/ 4182691 w 4500000"/>
              <a:gd name="connsiteY3" fmla="*/ 3962400 h 3962400"/>
              <a:gd name="connsiteX4" fmla="*/ 0 w 4500000"/>
              <a:gd name="connsiteY4" fmla="*/ 3962400 h 396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0000" h="3962400">
                <a:moveTo>
                  <a:pt x="0" y="0"/>
                </a:moveTo>
                <a:lnTo>
                  <a:pt x="4182691" y="0"/>
                </a:lnTo>
                <a:lnTo>
                  <a:pt x="4500000" y="1981200"/>
                </a:lnTo>
                <a:lnTo>
                  <a:pt x="4182691" y="3962400"/>
                </a:lnTo>
                <a:lnTo>
                  <a:pt x="0" y="3962400"/>
                </a:lnTo>
              </a:path>
            </a:pathLst>
          </a:custGeom>
          <a:solidFill>
            <a:sysClr val="window" lastClr="FFFFFF"/>
          </a:solidFill>
          <a:ln w="19050">
            <a:solidFill>
              <a:srgbClr val="86BC25"/>
            </a:solidFill>
          </a:ln>
          <a:effectLst>
            <a:outerShdw blurRad="50800" dist="38100" dir="2700000" algn="tl" rotWithShape="0">
              <a:prstClr val="black">
                <a:alpha val="40000"/>
              </a:prstClr>
            </a:outerShdw>
          </a:effectLst>
        </p:spPr>
        <p:txBody>
          <a:bodyPr vert="horz" wrap="square" lIns="72000" tIns="108000" rIns="324000" bIns="72000" rtlCol="0" anchor="ctr">
            <a:noAutofit/>
          </a:bodyPr>
          <a:lstStyle/>
          <a:p>
            <a:pPr marL="171450" marR="0" lvl="0" indent="-171450" defTabSz="1219170" eaLnBrk="1" fontAlgn="auto" latinLnBrk="0" hangingPunct="1">
              <a:lnSpc>
                <a:spcPct val="100000"/>
              </a:lnSpc>
              <a:spcBef>
                <a:spcPts val="0"/>
              </a:spcBef>
              <a:spcAft>
                <a:spcPts val="1200"/>
              </a:spcAft>
              <a:buClrTx/>
              <a:buSzTx/>
              <a:buFont typeface="Symbol" panose="05050102010706020507" pitchFamily="18" charset="2"/>
              <a:buChar char="-"/>
              <a:tabLst/>
              <a:defRPr/>
            </a:pPr>
            <a:endParaRPr kumimoji="0" lang="en-US" sz="1200" b="0" i="0" u="none" strike="noStrike" kern="0" cap="none" spc="0" normalizeH="0" baseline="0" noProof="0" dirty="0">
              <a:ln>
                <a:noFill/>
              </a:ln>
              <a:solidFill>
                <a:prstClr val="black"/>
              </a:solidFill>
              <a:effectLst/>
              <a:uLnTx/>
              <a:uFillTx/>
            </a:endParaRPr>
          </a:p>
        </p:txBody>
      </p:sp>
      <p:sp>
        <p:nvSpPr>
          <p:cNvPr id="40" name="Textplatzhalter 4">
            <a:extLst>
              <a:ext uri="{FF2B5EF4-FFF2-40B4-BE49-F238E27FC236}">
                <a16:creationId xmlns:a16="http://schemas.microsoft.com/office/drawing/2014/main" id="{49E5F527-0080-4440-8619-69FEFD67ED87}"/>
              </a:ext>
            </a:extLst>
          </p:cNvPr>
          <p:cNvSpPr txBox="1">
            <a:spLocks/>
          </p:cNvSpPr>
          <p:nvPr/>
        </p:nvSpPr>
        <p:spPr bwMode="gray">
          <a:xfrm>
            <a:off x="7169648" y="2379507"/>
            <a:ext cx="1333355" cy="215444"/>
          </a:xfrm>
          <a:prstGeom prst="rect">
            <a:avLst/>
          </a:prstGeom>
          <a:solidFill>
            <a:sysClr val="window" lastClr="FFFFFF"/>
          </a:solidFill>
        </p:spPr>
        <p:txBody>
          <a:bodyPr vert="horz" wrap="square" lIns="0" tIns="0" rIns="0" bIns="0" rtlCol="0" anchor="t" anchorCtr="0">
            <a:spAutoFit/>
          </a:bodyPr>
          <a:lstStyle>
            <a:lvl1pPr indent="0">
              <a:spcBef>
                <a:spcPts val="0"/>
              </a:spcBef>
              <a:buClr>
                <a:schemeClr val="accent1"/>
              </a:buClr>
              <a:buFont typeface="NettoOT" pitchFamily="50" charset="0"/>
              <a:buNone/>
              <a:defRPr sz="1200" b="0">
                <a:latin typeface="+mj-lt"/>
              </a:defRPr>
            </a:lvl1pPr>
            <a:lvl2pPr indent="0">
              <a:spcBef>
                <a:spcPts val="600"/>
              </a:spcBef>
              <a:buClr>
                <a:schemeClr val="accent1"/>
              </a:buClr>
              <a:buSzPct val="90000"/>
              <a:buFont typeface="Arial" pitchFamily="34" charset="0"/>
              <a:buNone/>
              <a:defRPr lang="de-DE" sz="2000" b="1"/>
            </a:lvl2pPr>
            <a:lvl3pPr indent="0">
              <a:spcBef>
                <a:spcPts val="600"/>
              </a:spcBef>
              <a:buClr>
                <a:schemeClr val="accent1"/>
              </a:buClr>
              <a:buSzPct val="90000"/>
              <a:buFont typeface="Arial" pitchFamily="34" charset="0"/>
              <a:buNone/>
              <a:defRPr b="1"/>
            </a:lvl3pPr>
            <a:lvl4pPr indent="0">
              <a:spcBef>
                <a:spcPts val="600"/>
              </a:spcBef>
              <a:buClr>
                <a:schemeClr val="accent1"/>
              </a:buClr>
              <a:buSzPct val="90000"/>
              <a:buFont typeface="Arial" pitchFamily="34" charset="0"/>
              <a:buNone/>
              <a:defRPr sz="1600" b="1"/>
            </a:lvl4pPr>
            <a:lvl5pPr indent="0">
              <a:spcBef>
                <a:spcPts val="600"/>
              </a:spcBef>
              <a:buClr>
                <a:schemeClr val="accent1"/>
              </a:buClr>
              <a:buSzPct val="90000"/>
              <a:buFont typeface="Arial" pitchFamily="34" charset="0"/>
              <a:buNone/>
              <a:defRPr sz="1600" b="1"/>
            </a:lvl5pPr>
            <a:lvl6pPr indent="0">
              <a:spcBef>
                <a:spcPct val="20000"/>
              </a:spcBef>
              <a:buFont typeface="Arial" pitchFamily="34" charset="0"/>
              <a:buNone/>
              <a:defRPr sz="1600" b="1"/>
            </a:lvl6pPr>
            <a:lvl7pPr indent="0">
              <a:spcBef>
                <a:spcPct val="20000"/>
              </a:spcBef>
              <a:buFont typeface="Arial" pitchFamily="34" charset="0"/>
              <a:buNone/>
              <a:defRPr sz="1600" b="1"/>
            </a:lvl7pPr>
            <a:lvl8pPr indent="0">
              <a:spcBef>
                <a:spcPct val="20000"/>
              </a:spcBef>
              <a:buFont typeface="Arial" pitchFamily="34" charset="0"/>
              <a:buNone/>
              <a:defRPr sz="1600" b="1"/>
            </a:lvl8pPr>
            <a:lvl9pPr indent="0">
              <a:spcBef>
                <a:spcPct val="20000"/>
              </a:spcBef>
              <a:buFont typeface="Arial" pitchFamily="34" charset="0"/>
              <a:buNone/>
              <a:defRPr sz="1600" b="1"/>
            </a:lvl9pPr>
          </a:lstStyle>
          <a:p>
            <a:pPr marL="0" marR="0" lvl="0" indent="0" algn="ctr" defTabSz="1219170" eaLnBrk="1" fontAlgn="auto" latinLnBrk="0" hangingPunct="1">
              <a:lnSpc>
                <a:spcPct val="100000"/>
              </a:lnSpc>
              <a:spcBef>
                <a:spcPts val="0"/>
              </a:spcBef>
              <a:spcAft>
                <a:spcPts val="1200"/>
              </a:spcAft>
              <a:buClr>
                <a:srgbClr val="86BC25"/>
              </a:buClr>
              <a:buSzTx/>
              <a:buFont typeface="NettoOT" pitchFamily="50" charset="0"/>
              <a:buNone/>
              <a:tabLst/>
              <a:defRPr/>
            </a:pPr>
            <a:r>
              <a:rPr kumimoji="0" lang="en-US" sz="1400" b="1" i="0" u="none" strike="noStrike" kern="0" cap="none" spc="0" normalizeH="0" baseline="0" noProof="0" dirty="0">
                <a:ln>
                  <a:noFill/>
                </a:ln>
                <a:solidFill>
                  <a:prstClr val="black"/>
                </a:solidFill>
                <a:effectLst/>
                <a:uLnTx/>
                <a:uFillTx/>
                <a:latin typeface="+mn-lt"/>
              </a:rPr>
              <a:t>Objectives</a:t>
            </a:r>
          </a:p>
        </p:txBody>
      </p:sp>
      <p:sp>
        <p:nvSpPr>
          <p:cNvPr id="41" name="Textplatzhalter 4">
            <a:extLst>
              <a:ext uri="{FF2B5EF4-FFF2-40B4-BE49-F238E27FC236}">
                <a16:creationId xmlns:a16="http://schemas.microsoft.com/office/drawing/2014/main" id="{24DA30E5-8970-4D6E-AAA2-836C516F4826}"/>
              </a:ext>
            </a:extLst>
          </p:cNvPr>
          <p:cNvSpPr txBox="1">
            <a:spLocks/>
          </p:cNvSpPr>
          <p:nvPr/>
        </p:nvSpPr>
        <p:spPr bwMode="gray">
          <a:xfrm>
            <a:off x="737653" y="1981974"/>
            <a:ext cx="2115324" cy="215444"/>
          </a:xfrm>
          <a:prstGeom prst="rect">
            <a:avLst/>
          </a:prstGeom>
          <a:solidFill>
            <a:sysClr val="window" lastClr="FFFFFF"/>
          </a:solidFill>
        </p:spPr>
        <p:txBody>
          <a:bodyPr vert="horz" wrap="square" lIns="0" tIns="0" rIns="0" bIns="0" rtlCol="0" anchor="t" anchorCtr="0">
            <a:spAutoFit/>
          </a:bodyPr>
          <a:lstStyle>
            <a:lvl1pPr indent="0">
              <a:spcBef>
                <a:spcPts val="0"/>
              </a:spcBef>
              <a:buClr>
                <a:schemeClr val="accent1"/>
              </a:buClr>
              <a:buFont typeface="NettoOT" pitchFamily="50" charset="0"/>
              <a:buNone/>
              <a:defRPr sz="1200" b="0">
                <a:latin typeface="+mj-lt"/>
              </a:defRPr>
            </a:lvl1pPr>
            <a:lvl2pPr indent="0">
              <a:spcBef>
                <a:spcPts val="600"/>
              </a:spcBef>
              <a:buClr>
                <a:schemeClr val="accent1"/>
              </a:buClr>
              <a:buSzPct val="90000"/>
              <a:buFont typeface="Arial" pitchFamily="34" charset="0"/>
              <a:buNone/>
              <a:defRPr lang="de-DE" sz="2000" b="1"/>
            </a:lvl2pPr>
            <a:lvl3pPr indent="0">
              <a:spcBef>
                <a:spcPts val="600"/>
              </a:spcBef>
              <a:buClr>
                <a:schemeClr val="accent1"/>
              </a:buClr>
              <a:buSzPct val="90000"/>
              <a:buFont typeface="Arial" pitchFamily="34" charset="0"/>
              <a:buNone/>
              <a:defRPr b="1"/>
            </a:lvl3pPr>
            <a:lvl4pPr indent="0">
              <a:spcBef>
                <a:spcPts val="600"/>
              </a:spcBef>
              <a:buClr>
                <a:schemeClr val="accent1"/>
              </a:buClr>
              <a:buSzPct val="90000"/>
              <a:buFont typeface="Arial" pitchFamily="34" charset="0"/>
              <a:buNone/>
              <a:defRPr sz="1600" b="1"/>
            </a:lvl4pPr>
            <a:lvl5pPr indent="0">
              <a:spcBef>
                <a:spcPts val="600"/>
              </a:spcBef>
              <a:buClr>
                <a:schemeClr val="accent1"/>
              </a:buClr>
              <a:buSzPct val="90000"/>
              <a:buFont typeface="Arial" pitchFamily="34" charset="0"/>
              <a:buNone/>
              <a:defRPr sz="1600" b="1"/>
            </a:lvl5pPr>
            <a:lvl6pPr indent="0">
              <a:spcBef>
                <a:spcPct val="20000"/>
              </a:spcBef>
              <a:buFont typeface="Arial" pitchFamily="34" charset="0"/>
              <a:buNone/>
              <a:defRPr sz="1600" b="1"/>
            </a:lvl6pPr>
            <a:lvl7pPr indent="0">
              <a:spcBef>
                <a:spcPct val="20000"/>
              </a:spcBef>
              <a:buFont typeface="Arial" pitchFamily="34" charset="0"/>
              <a:buNone/>
              <a:defRPr sz="1600" b="1"/>
            </a:lvl7pPr>
            <a:lvl8pPr indent="0">
              <a:spcBef>
                <a:spcPct val="20000"/>
              </a:spcBef>
              <a:buFont typeface="Arial" pitchFamily="34" charset="0"/>
              <a:buNone/>
              <a:defRPr sz="1600" b="1"/>
            </a:lvl8pPr>
            <a:lvl9pPr indent="0">
              <a:spcBef>
                <a:spcPct val="20000"/>
              </a:spcBef>
              <a:buFont typeface="Arial" pitchFamily="34" charset="0"/>
              <a:buNone/>
              <a:defRPr sz="1600" b="1"/>
            </a:lvl9pPr>
          </a:lstStyle>
          <a:p>
            <a:pPr marL="0" marR="0" lvl="0" indent="0" algn="ctr" defTabSz="1219170" eaLnBrk="1" fontAlgn="auto" latinLnBrk="0" hangingPunct="1">
              <a:lnSpc>
                <a:spcPct val="100000"/>
              </a:lnSpc>
              <a:spcBef>
                <a:spcPts val="0"/>
              </a:spcBef>
              <a:spcAft>
                <a:spcPts val="0"/>
              </a:spcAft>
              <a:buClr>
                <a:srgbClr val="86BC25"/>
              </a:buClr>
              <a:buSzTx/>
              <a:buFont typeface="NettoOT" pitchFamily="50" charset="0"/>
              <a:buNone/>
              <a:tabLst/>
              <a:defRPr/>
            </a:pPr>
            <a:r>
              <a:rPr kumimoji="0" lang="en-US" sz="1400" b="1" i="0" u="none" strike="noStrike" kern="0" cap="none" spc="0" normalizeH="0" baseline="0" noProof="0" dirty="0">
                <a:ln>
                  <a:noFill/>
                </a:ln>
                <a:solidFill>
                  <a:prstClr val="black"/>
                </a:solidFill>
                <a:effectLst/>
                <a:uLnTx/>
                <a:uFillTx/>
                <a:latin typeface="+mn-lt"/>
              </a:rPr>
              <a:t>Workshop Agenda</a:t>
            </a:r>
          </a:p>
        </p:txBody>
      </p:sp>
      <p:graphicFrame>
        <p:nvGraphicFramePr>
          <p:cNvPr id="55" name="Table 54">
            <a:extLst>
              <a:ext uri="{FF2B5EF4-FFF2-40B4-BE49-F238E27FC236}">
                <a16:creationId xmlns:a16="http://schemas.microsoft.com/office/drawing/2014/main" id="{360DE719-FEBF-4BD9-920E-E848950387BE}"/>
              </a:ext>
            </a:extLst>
          </p:cNvPr>
          <p:cNvGraphicFramePr>
            <a:graphicFrameLocks noGrp="1"/>
          </p:cNvGraphicFramePr>
          <p:nvPr/>
        </p:nvGraphicFramePr>
        <p:xfrm>
          <a:off x="737653" y="2314786"/>
          <a:ext cx="5662192" cy="3602208"/>
        </p:xfrm>
        <a:graphic>
          <a:graphicData uri="http://schemas.openxmlformats.org/drawingml/2006/table">
            <a:tbl>
              <a:tblPr firstRow="1" bandRow="1"/>
              <a:tblGrid>
                <a:gridCol w="271814">
                  <a:extLst>
                    <a:ext uri="{9D8B030D-6E8A-4147-A177-3AD203B41FA5}">
                      <a16:colId xmlns:a16="http://schemas.microsoft.com/office/drawing/2014/main" val="2247944960"/>
                    </a:ext>
                  </a:extLst>
                </a:gridCol>
                <a:gridCol w="3094529">
                  <a:extLst>
                    <a:ext uri="{9D8B030D-6E8A-4147-A177-3AD203B41FA5}">
                      <a16:colId xmlns:a16="http://schemas.microsoft.com/office/drawing/2014/main" val="3428664603"/>
                    </a:ext>
                  </a:extLst>
                </a:gridCol>
                <a:gridCol w="772482">
                  <a:extLst>
                    <a:ext uri="{9D8B030D-6E8A-4147-A177-3AD203B41FA5}">
                      <a16:colId xmlns:a16="http://schemas.microsoft.com/office/drawing/2014/main" val="326938316"/>
                    </a:ext>
                  </a:extLst>
                </a:gridCol>
                <a:gridCol w="1523367">
                  <a:extLst>
                    <a:ext uri="{9D8B030D-6E8A-4147-A177-3AD203B41FA5}">
                      <a16:colId xmlns:a16="http://schemas.microsoft.com/office/drawing/2014/main" val="2228303675"/>
                    </a:ext>
                  </a:extLst>
                </a:gridCol>
              </a:tblGrid>
              <a:tr h="268052">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algn="l"/>
                      <a:endParaRPr lang="en-US" sz="1200" i="0" dirty="0">
                        <a:solidFill>
                          <a:schemeClr val="accent1"/>
                        </a:solidFill>
                      </a:endParaRPr>
                    </a:p>
                  </a:txBody>
                  <a:tcPr marL="0">
                    <a:lnL w="12700" cmpd="sng">
                      <a:noFill/>
                    </a:lnL>
                    <a:lnR w="12700" cmpd="sng">
                      <a:noFill/>
                    </a:lnR>
                    <a:lnT w="12700" cmpd="sng">
                      <a:noFill/>
                    </a:lnT>
                    <a:lnB w="2857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r>
                        <a:rPr lang="en-US" sz="1200" i="0" dirty="0">
                          <a:solidFill>
                            <a:schemeClr val="accent1"/>
                          </a:solidFill>
                        </a:rPr>
                        <a:t>Topic</a:t>
                      </a:r>
                    </a:p>
                  </a:txBody>
                  <a:tcPr marL="9144">
                    <a:lnL w="12700" cmpd="sng">
                      <a:noFill/>
                    </a:lnL>
                    <a:lnR w="12700" cmpd="sng">
                      <a:noFill/>
                    </a:lnR>
                    <a:lnT w="12700" cmpd="sng">
                      <a:noFill/>
                    </a:lnT>
                    <a:lnB w="2857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algn="l"/>
                      <a:r>
                        <a:rPr lang="en-US" sz="1200" i="0" dirty="0">
                          <a:solidFill>
                            <a:schemeClr val="accent1"/>
                          </a:solidFill>
                        </a:rPr>
                        <a:t>Time</a:t>
                      </a:r>
                    </a:p>
                  </a:txBody>
                  <a:tcPr marL="0">
                    <a:lnL w="12700" cmpd="sng">
                      <a:noFill/>
                    </a:lnL>
                    <a:lnR w="12700" cmpd="sng">
                      <a:noFill/>
                    </a:lnR>
                    <a:lnT w="12700" cmpd="sng">
                      <a:noFill/>
                    </a:lnT>
                    <a:lnB w="2857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endParaRPr lang="en-US" sz="1200" i="0" dirty="0">
                        <a:solidFill>
                          <a:schemeClr val="accent1"/>
                        </a:solidFill>
                      </a:endParaRPr>
                    </a:p>
                  </a:txBody>
                  <a:tcPr>
                    <a:lnL w="12700" cmpd="sng">
                      <a:noFill/>
                    </a:lnL>
                    <a:lnR w="12700" cmpd="sng">
                      <a:noFill/>
                    </a:lnR>
                    <a:lnT w="12700" cmpd="sng">
                      <a:noFill/>
                    </a:lnT>
                    <a:lnB w="2857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47855390"/>
                  </a:ext>
                </a:extLst>
              </a:tr>
              <a:tr h="277324">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200" i="0" dirty="0">
                          <a:solidFill>
                            <a:schemeClr val="tx1">
                              <a:lumMod val="50000"/>
                              <a:lumOff val="50000"/>
                            </a:schemeClr>
                          </a:solidFill>
                          <a:latin typeface="+mn-lt"/>
                        </a:rPr>
                        <a:t>1</a:t>
                      </a:r>
                    </a:p>
                  </a:txBody>
                  <a:tcPr marL="36000" marR="36000" anchor="ctr">
                    <a:lnL w="12700" cmpd="sng">
                      <a:noFill/>
                    </a:lnL>
                    <a:lnR w="12700" cmpd="sng">
                      <a:noFill/>
                    </a:lnR>
                    <a:lnT w="28575" cap="flat" cmpd="sng" algn="ctr">
                      <a:solidFill>
                        <a:srgbClr val="86BC25"/>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200" i="0" dirty="0">
                          <a:solidFill>
                            <a:schemeClr val="tx1">
                              <a:lumMod val="50000"/>
                              <a:lumOff val="50000"/>
                            </a:schemeClr>
                          </a:solidFill>
                          <a:latin typeface="+mn-lt"/>
                        </a:rPr>
                        <a:t>Introduction and Background</a:t>
                      </a:r>
                    </a:p>
                  </a:txBody>
                  <a:tcPr marL="9144" anchor="ctr">
                    <a:lnL w="12700" cmpd="sng">
                      <a:noFill/>
                    </a:lnL>
                    <a:lnR w="12700" cmpd="sng">
                      <a:noFill/>
                    </a:lnR>
                    <a:lnT w="28575" cap="flat" cmpd="sng" algn="ctr">
                      <a:solidFill>
                        <a:srgbClr val="86BC25"/>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a:r>
                        <a:rPr lang="en-US" sz="1200" i="0" dirty="0">
                          <a:solidFill>
                            <a:schemeClr val="tx1">
                              <a:lumMod val="50000"/>
                              <a:lumOff val="50000"/>
                            </a:schemeClr>
                          </a:solidFill>
                          <a:latin typeface="+mn-lt"/>
                        </a:rPr>
                        <a:t>9:00 – 9:15 am </a:t>
                      </a:r>
                    </a:p>
                  </a:txBody>
                  <a:tcPr marL="9144" marR="36000" anchor="ctr">
                    <a:lnL w="12700" cmpd="sng">
                      <a:noFill/>
                    </a:lnL>
                    <a:lnR w="12700" cmpd="sng">
                      <a:noFill/>
                    </a:lnR>
                    <a:lnT w="28575" cap="flat" cmpd="sng" algn="ctr">
                      <a:solidFill>
                        <a:srgbClr val="86BC25"/>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200" dirty="0">
                        <a:solidFill>
                          <a:schemeClr val="tx1">
                            <a:lumMod val="50000"/>
                            <a:lumOff val="50000"/>
                          </a:schemeClr>
                        </a:solidFill>
                      </a:endParaRPr>
                    </a:p>
                  </a:txBody>
                  <a:tcPr anchor="ctr">
                    <a:lnL w="12700" cmpd="sng">
                      <a:noFill/>
                    </a:lnL>
                    <a:lnR w="12700" cmpd="sng">
                      <a:noFill/>
                    </a:lnR>
                    <a:lnT w="28575" cap="flat" cmpd="sng" algn="ctr">
                      <a:solidFill>
                        <a:schemeClr val="accent1"/>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0799902"/>
                  </a:ext>
                </a:extLst>
              </a:tr>
              <a:tr h="277324">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200" b="0" i="0" dirty="0">
                          <a:solidFill>
                            <a:schemeClr val="tx1">
                              <a:lumMod val="50000"/>
                              <a:lumOff val="50000"/>
                            </a:schemeClr>
                          </a:solidFill>
                          <a:latin typeface="+mn-lt"/>
                        </a:rPr>
                        <a:t>2</a:t>
                      </a:r>
                    </a:p>
                  </a:txBody>
                  <a:tcPr marL="36000" marR="3600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200" b="0" i="0" dirty="0">
                          <a:solidFill>
                            <a:schemeClr val="tx1">
                              <a:lumMod val="50000"/>
                              <a:lumOff val="50000"/>
                            </a:schemeClr>
                          </a:solidFill>
                          <a:latin typeface="+mn-lt"/>
                        </a:rPr>
                        <a:t>"Future of Captives"</a:t>
                      </a:r>
                    </a:p>
                  </a:txBody>
                  <a:tcPr marL="9144"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a:r>
                        <a:rPr lang="en-US" sz="1200" b="0" i="0" dirty="0">
                          <a:solidFill>
                            <a:schemeClr val="tx1">
                              <a:lumMod val="50000"/>
                              <a:lumOff val="50000"/>
                            </a:schemeClr>
                          </a:solidFill>
                          <a:latin typeface="+mn-lt"/>
                        </a:rPr>
                        <a:t>9:15 – 9:45 am</a:t>
                      </a:r>
                    </a:p>
                  </a:txBody>
                  <a:tcPr marL="9144" marR="3600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200" b="0" dirty="0">
                        <a:solidFill>
                          <a:schemeClr val="tx1">
                            <a:lumMod val="50000"/>
                            <a:lumOff val="50000"/>
                          </a:schemeClr>
                        </a:solidFill>
                      </a:endParaRPr>
                    </a:p>
                  </a:txBody>
                  <a:tcPr anchor="ctr">
                    <a:lnL w="12700" cmpd="sng">
                      <a:noFill/>
                    </a:lnL>
                    <a:lnR w="12700" cmpd="sng">
                      <a:noFill/>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01148845"/>
                  </a:ext>
                </a:extLst>
              </a:tr>
              <a:tr h="277324">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200" b="0" i="0" dirty="0">
                          <a:solidFill>
                            <a:schemeClr val="tx1">
                              <a:lumMod val="50000"/>
                              <a:lumOff val="50000"/>
                            </a:schemeClr>
                          </a:solidFill>
                          <a:latin typeface="+mn-lt"/>
                        </a:rPr>
                        <a:t>3</a:t>
                      </a:r>
                    </a:p>
                  </a:txBody>
                  <a:tcPr marL="36000" marR="3600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200" b="0" i="0" dirty="0">
                          <a:solidFill>
                            <a:schemeClr val="tx1">
                              <a:lumMod val="50000"/>
                              <a:lumOff val="50000"/>
                            </a:schemeClr>
                          </a:solidFill>
                          <a:latin typeface="+mn-lt"/>
                        </a:rPr>
                        <a:t>Time and Motion Study Findings</a:t>
                      </a:r>
                    </a:p>
                  </a:txBody>
                  <a:tcPr marL="9144"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a:r>
                        <a:rPr lang="en-US" sz="1200" b="0" i="0" dirty="0">
                          <a:solidFill>
                            <a:schemeClr val="tx1">
                              <a:lumMod val="50000"/>
                              <a:lumOff val="50000"/>
                            </a:schemeClr>
                          </a:solidFill>
                          <a:latin typeface="+mn-lt"/>
                        </a:rPr>
                        <a:t>9:45 – 10:45 am</a:t>
                      </a:r>
                    </a:p>
                  </a:txBody>
                  <a:tcPr marL="9144" marR="3600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200" b="0" dirty="0">
                        <a:solidFill>
                          <a:schemeClr val="tx1">
                            <a:lumMod val="50000"/>
                            <a:lumOff val="50000"/>
                          </a:schemeClr>
                        </a:solidFill>
                      </a:endParaRPr>
                    </a:p>
                  </a:txBody>
                  <a:tcPr anchor="ctr">
                    <a:lnL w="12700" cmpd="sng">
                      <a:noFill/>
                    </a:lnL>
                    <a:lnR w="12700" cmpd="sng">
                      <a:noFill/>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3807961"/>
                  </a:ext>
                </a:extLst>
              </a:tr>
              <a:tr h="277324">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endParaRPr lang="en-US" sz="1200" i="0" dirty="0">
                        <a:solidFill>
                          <a:schemeClr val="tx1"/>
                        </a:solidFill>
                        <a:latin typeface="+mn-lt"/>
                      </a:endParaRPr>
                    </a:p>
                  </a:txBody>
                  <a:tcPr marL="36000" marR="3600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pattFill prst="ltUpDiag">
                      <a:fgClr>
                        <a:srgbClr val="D0D0CE"/>
                      </a:fgClr>
                      <a:bgClr>
                        <a:sysClr val="window" lastClr="FFFFFF"/>
                      </a:bgClr>
                    </a:patt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200" i="0" dirty="0">
                          <a:solidFill>
                            <a:schemeClr val="tx1"/>
                          </a:solidFill>
                          <a:latin typeface="+mn-lt"/>
                        </a:rPr>
                        <a:t>Break (15 min)</a:t>
                      </a:r>
                    </a:p>
                  </a:txBody>
                  <a:tcPr marL="9144"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pattFill prst="ltUpDiag">
                      <a:fgClr>
                        <a:srgbClr val="D0D0CE"/>
                      </a:fgClr>
                      <a:bgClr>
                        <a:sysClr val="window" lastClr="FFFFFF"/>
                      </a:bgClr>
                    </a:pattFill>
                  </a:tcPr>
                </a:tc>
                <a:tc gridSpan="2">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a:r>
                        <a:rPr lang="en-US" sz="1200" i="0" dirty="0">
                          <a:solidFill>
                            <a:schemeClr val="tx1"/>
                          </a:solidFill>
                          <a:latin typeface="+mn-lt"/>
                        </a:rPr>
                        <a:t>10:45 – 11:00 am</a:t>
                      </a:r>
                    </a:p>
                  </a:txBody>
                  <a:tcPr marL="9144" marR="3600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pattFill prst="ltUpDiag">
                      <a:fgClr>
                        <a:srgbClr val="D0D0CE"/>
                      </a:fgClr>
                      <a:bgClr>
                        <a:sysClr val="window" lastClr="FFFFFF"/>
                      </a:bgClr>
                    </a:pattFill>
                  </a:tcPr>
                </a:tc>
                <a:tc hMerge="1">
                  <a:txBody>
                    <a:bodyPr/>
                    <a:lstStyle/>
                    <a:p>
                      <a:endParaRPr lang="en-US" sz="1200" i="1" dirty="0">
                        <a:solidFill>
                          <a:schemeClr val="tx1"/>
                        </a:solidFill>
                      </a:endParaRPr>
                    </a:p>
                  </a:txBody>
                  <a:tcPr anchor="ctr">
                    <a:lnL w="12700" cmpd="sng">
                      <a:noFill/>
                    </a:lnL>
                    <a:lnR w="12700" cmpd="sng">
                      <a:noFill/>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pattFill prst="ltUpDiag">
                      <a:fgClr>
                        <a:schemeClr val="bg2"/>
                      </a:fgClr>
                      <a:bgClr>
                        <a:schemeClr val="bg1"/>
                      </a:bgClr>
                    </a:pattFill>
                  </a:tcPr>
                </a:tc>
                <a:extLst>
                  <a:ext uri="{0D108BD9-81ED-4DB2-BD59-A6C34878D82A}">
                    <a16:rowId xmlns:a16="http://schemas.microsoft.com/office/drawing/2014/main" val="3319317943"/>
                  </a:ext>
                </a:extLst>
              </a:tr>
              <a:tr h="277324">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200" i="0" kern="1200" dirty="0">
                          <a:solidFill>
                            <a:schemeClr val="tx1">
                              <a:lumMod val="50000"/>
                              <a:lumOff val="50000"/>
                            </a:schemeClr>
                          </a:solidFill>
                          <a:latin typeface="+mn-lt"/>
                          <a:ea typeface="+mn-ea"/>
                          <a:cs typeface="+mn-cs"/>
                        </a:rPr>
                        <a:t>4</a:t>
                      </a:r>
                    </a:p>
                  </a:txBody>
                  <a:tcPr marL="36000" marR="3600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algn="l" defTabSz="1219170" rtl="0" eaLnBrk="1" latinLnBrk="0" hangingPunct="1"/>
                      <a:r>
                        <a:rPr lang="en-US" sz="1200" b="0" i="0" kern="1200" dirty="0">
                          <a:solidFill>
                            <a:schemeClr val="tx1">
                              <a:lumMod val="50000"/>
                              <a:lumOff val="50000"/>
                            </a:schemeClr>
                          </a:solidFill>
                          <a:latin typeface="+mn-lt"/>
                          <a:ea typeface="+mn-ea"/>
                          <a:cs typeface="+mn-cs"/>
                        </a:rPr>
                        <a:t>Opportunity Identification</a:t>
                      </a:r>
                    </a:p>
                  </a:txBody>
                  <a:tcPr marL="9144"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algn="l" defTabSz="1219170" rtl="0" eaLnBrk="1" latinLnBrk="0" hangingPunct="1"/>
                      <a:r>
                        <a:rPr lang="en-US" sz="1200" b="0" i="0" kern="1200" dirty="0">
                          <a:solidFill>
                            <a:schemeClr val="tx1">
                              <a:lumMod val="50000"/>
                              <a:lumOff val="50000"/>
                            </a:schemeClr>
                          </a:solidFill>
                          <a:latin typeface="+mn-lt"/>
                          <a:ea typeface="+mn-ea"/>
                          <a:cs typeface="+mn-cs"/>
                        </a:rPr>
                        <a:t>11:00 – 12:00 pm</a:t>
                      </a:r>
                    </a:p>
                  </a:txBody>
                  <a:tcPr marL="9144" marR="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200" b="1" dirty="0">
                        <a:solidFill>
                          <a:schemeClr val="tx1"/>
                        </a:solidFill>
                      </a:endParaRPr>
                    </a:p>
                  </a:txBody>
                  <a:tcPr anchor="ctr">
                    <a:lnL w="12700" cmpd="sng">
                      <a:noFill/>
                    </a:lnL>
                    <a:lnR w="12700" cmpd="sng">
                      <a:noFill/>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0546252"/>
                  </a:ext>
                </a:extLst>
              </a:tr>
              <a:tr h="277324">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endParaRPr lang="en-US" sz="1200" i="0" dirty="0">
                        <a:solidFill>
                          <a:schemeClr val="tx1">
                            <a:lumMod val="50000"/>
                            <a:lumOff val="50000"/>
                          </a:schemeClr>
                        </a:solidFill>
                        <a:latin typeface="+mn-lt"/>
                      </a:endParaRPr>
                    </a:p>
                  </a:txBody>
                  <a:tcPr marL="36000" marR="3600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pattFill prst="ltUpDiag">
                      <a:fgClr>
                        <a:srgbClr val="D0D0CE"/>
                      </a:fgClr>
                      <a:bgClr>
                        <a:sysClr val="window" lastClr="FFFFFF"/>
                      </a:bgClr>
                    </a:patt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algn="l" defTabSz="1219170" rtl="0" eaLnBrk="1" latinLnBrk="0" hangingPunct="1"/>
                      <a:r>
                        <a:rPr lang="en-US" sz="1200" b="0" i="0" kern="1200" dirty="0">
                          <a:solidFill>
                            <a:schemeClr val="tx1"/>
                          </a:solidFill>
                          <a:latin typeface="+mn-lt"/>
                          <a:ea typeface="+mn-ea"/>
                          <a:cs typeface="+mn-cs"/>
                        </a:rPr>
                        <a:t>Lunch break (30 min)</a:t>
                      </a:r>
                    </a:p>
                  </a:txBody>
                  <a:tcPr marL="9144"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pattFill prst="ltUpDiag">
                      <a:fgClr>
                        <a:srgbClr val="D0D0CE"/>
                      </a:fgClr>
                      <a:bgClr>
                        <a:sysClr val="window" lastClr="FFFFFF"/>
                      </a:bgClr>
                    </a:pattFill>
                  </a:tcPr>
                </a:tc>
                <a:tc gridSpan="2">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algn="l" defTabSz="1219170" rtl="0" eaLnBrk="1" latinLnBrk="0" hangingPunct="1"/>
                      <a:r>
                        <a:rPr lang="en-US" sz="1200" b="0" i="0" kern="1200" dirty="0">
                          <a:solidFill>
                            <a:schemeClr val="tx1"/>
                          </a:solidFill>
                          <a:latin typeface="+mn-lt"/>
                          <a:ea typeface="+mn-ea"/>
                          <a:cs typeface="+mn-cs"/>
                        </a:rPr>
                        <a:t>12:00 – 12:30 pm</a:t>
                      </a:r>
                    </a:p>
                  </a:txBody>
                  <a:tcPr marL="9144" marR="3600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pattFill prst="ltUpDiag">
                      <a:fgClr>
                        <a:srgbClr val="D0D0CE"/>
                      </a:fgClr>
                      <a:bgClr>
                        <a:sysClr val="window" lastClr="FFFFFF"/>
                      </a:bgClr>
                    </a:pattFill>
                  </a:tcPr>
                </a:tc>
                <a:tc hMerge="1">
                  <a:txBody>
                    <a:bodyPr/>
                    <a:lstStyle/>
                    <a:p>
                      <a:endParaRPr lang="en-US" sz="1200" i="1" dirty="0">
                        <a:solidFill>
                          <a:schemeClr val="tx1"/>
                        </a:solidFill>
                      </a:endParaRPr>
                    </a:p>
                  </a:txBody>
                  <a:tcPr anchor="ctr">
                    <a:lnL w="12700" cmpd="sng">
                      <a:noFill/>
                    </a:lnL>
                    <a:lnR w="12700" cmpd="sng">
                      <a:noFill/>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pattFill prst="ltUpDiag">
                      <a:fgClr>
                        <a:schemeClr val="bg2"/>
                      </a:fgClr>
                      <a:bgClr>
                        <a:schemeClr val="bg1"/>
                      </a:bgClr>
                    </a:pattFill>
                  </a:tcPr>
                </a:tc>
                <a:extLst>
                  <a:ext uri="{0D108BD9-81ED-4DB2-BD59-A6C34878D82A}">
                    <a16:rowId xmlns:a16="http://schemas.microsoft.com/office/drawing/2014/main" val="2274122163"/>
                  </a:ext>
                </a:extLst>
              </a:tr>
              <a:tr h="277324">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200" i="0" dirty="0">
                          <a:solidFill>
                            <a:schemeClr val="tx1">
                              <a:lumMod val="50000"/>
                              <a:lumOff val="50000"/>
                            </a:schemeClr>
                          </a:solidFill>
                          <a:latin typeface="+mn-lt"/>
                        </a:rPr>
                        <a:t>5</a:t>
                      </a:r>
                    </a:p>
                  </a:txBody>
                  <a:tcPr marL="36000" marR="3600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algn="l" defTabSz="1219170" rtl="0" eaLnBrk="1" latinLnBrk="0" hangingPunct="1"/>
                      <a:r>
                        <a:rPr lang="en-US" sz="1200" b="0" i="0" kern="1200" dirty="0">
                          <a:solidFill>
                            <a:schemeClr val="tx1">
                              <a:lumMod val="50000"/>
                              <a:lumOff val="50000"/>
                            </a:schemeClr>
                          </a:solidFill>
                          <a:latin typeface="+mn-lt"/>
                          <a:ea typeface="+mn-ea"/>
                          <a:cs typeface="+mn-cs"/>
                        </a:rPr>
                        <a:t>Opportunity Area Deep Dive</a:t>
                      </a:r>
                    </a:p>
                  </a:txBody>
                  <a:tcPr marL="9144"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gridSpan="2">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algn="l" defTabSz="1219170" rtl="0" eaLnBrk="1" latinLnBrk="0" hangingPunct="1"/>
                      <a:r>
                        <a:rPr lang="en-US" sz="1200" b="0" i="0" kern="1200" dirty="0">
                          <a:solidFill>
                            <a:schemeClr val="tx1">
                              <a:lumMod val="50000"/>
                              <a:lumOff val="50000"/>
                            </a:schemeClr>
                          </a:solidFill>
                          <a:latin typeface="+mn-lt"/>
                          <a:ea typeface="+mn-ea"/>
                          <a:cs typeface="+mn-cs"/>
                        </a:rPr>
                        <a:t>12:30 – 2:20 pm</a:t>
                      </a:r>
                    </a:p>
                  </a:txBody>
                  <a:tcPr marL="9144" marR="3600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hMerge="1">
                  <a:txBody>
                    <a:bodyPr/>
                    <a:lstStyle/>
                    <a:p>
                      <a:endParaRPr lang="en-US" sz="1200" dirty="0">
                        <a:solidFill>
                          <a:schemeClr val="tx1">
                            <a:lumMod val="50000"/>
                            <a:lumOff val="50000"/>
                          </a:schemeClr>
                        </a:solidFill>
                      </a:endParaRPr>
                    </a:p>
                  </a:txBody>
                  <a:tcPr anchor="ctr">
                    <a:lnL w="12700" cmpd="sng">
                      <a:noFill/>
                    </a:lnL>
                    <a:lnR w="12700" cmpd="sng">
                      <a:noFill/>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9770007"/>
                  </a:ext>
                </a:extLst>
              </a:tr>
              <a:tr h="277324">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200" i="0" dirty="0">
                          <a:solidFill>
                            <a:schemeClr val="tx1">
                              <a:lumMod val="50000"/>
                              <a:lumOff val="50000"/>
                            </a:schemeClr>
                          </a:solidFill>
                          <a:latin typeface="+mn-lt"/>
                        </a:rPr>
                        <a:t>6</a:t>
                      </a:r>
                    </a:p>
                  </a:txBody>
                  <a:tcPr marL="36000" marR="3600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algn="l" defTabSz="1219170" rtl="0" eaLnBrk="1" latinLnBrk="0" hangingPunct="1"/>
                      <a:r>
                        <a:rPr lang="en-US" sz="1200" b="0" i="0" kern="1200" dirty="0">
                          <a:solidFill>
                            <a:schemeClr val="tx1">
                              <a:lumMod val="50000"/>
                              <a:lumOff val="50000"/>
                            </a:schemeClr>
                          </a:solidFill>
                          <a:latin typeface="+mn-lt"/>
                          <a:ea typeface="+mn-ea"/>
                          <a:cs typeface="+mn-cs"/>
                        </a:rPr>
                        <a:t>Poll: Initiative Prioritization</a:t>
                      </a:r>
                    </a:p>
                  </a:txBody>
                  <a:tcPr marL="9144"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gridSpan="2">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algn="l" defTabSz="1219170" rtl="0" eaLnBrk="1" latinLnBrk="0" hangingPunct="1"/>
                      <a:r>
                        <a:rPr lang="en-US" sz="1200" b="0" i="0" kern="1200" dirty="0">
                          <a:solidFill>
                            <a:schemeClr val="tx1">
                              <a:lumMod val="50000"/>
                              <a:lumOff val="50000"/>
                            </a:schemeClr>
                          </a:solidFill>
                          <a:latin typeface="+mn-lt"/>
                          <a:ea typeface="+mn-ea"/>
                          <a:cs typeface="+mn-cs"/>
                        </a:rPr>
                        <a:t>2:20 – 2:30 pm</a:t>
                      </a:r>
                    </a:p>
                  </a:txBody>
                  <a:tcPr marL="9144" marR="3600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hMerge="1">
                  <a:txBody>
                    <a:bodyPr/>
                    <a:lstStyle/>
                    <a:p>
                      <a:endParaRPr lang="en-US"/>
                    </a:p>
                  </a:txBody>
                  <a:tcPr/>
                </a:tc>
                <a:extLst>
                  <a:ext uri="{0D108BD9-81ED-4DB2-BD59-A6C34878D82A}">
                    <a16:rowId xmlns:a16="http://schemas.microsoft.com/office/drawing/2014/main" val="844729977"/>
                  </a:ext>
                </a:extLst>
              </a:tr>
              <a:tr h="277324">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endParaRPr lang="en-US" sz="1200" i="0" dirty="0">
                        <a:solidFill>
                          <a:schemeClr val="tx1"/>
                        </a:solidFill>
                        <a:latin typeface="+mn-lt"/>
                      </a:endParaRPr>
                    </a:p>
                  </a:txBody>
                  <a:tcPr marL="36000" marR="3600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pattFill prst="ltUpDiag">
                      <a:fgClr>
                        <a:srgbClr val="D0D0CE"/>
                      </a:fgClr>
                      <a:bgClr>
                        <a:sysClr val="window" lastClr="FFFFFF"/>
                      </a:bgClr>
                    </a:patt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algn="l" defTabSz="1219170" rtl="0" eaLnBrk="1" latinLnBrk="0" hangingPunct="1"/>
                      <a:r>
                        <a:rPr lang="en-US" sz="1200" b="0" i="0" kern="1200" dirty="0">
                          <a:solidFill>
                            <a:schemeClr val="tx1"/>
                          </a:solidFill>
                          <a:latin typeface="+mn-lt"/>
                          <a:ea typeface="+mn-ea"/>
                          <a:cs typeface="+mn-cs"/>
                        </a:rPr>
                        <a:t>Break (15 min)</a:t>
                      </a:r>
                    </a:p>
                  </a:txBody>
                  <a:tcPr marL="9144"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pattFill prst="ltUpDiag">
                      <a:fgClr>
                        <a:srgbClr val="D0D0CE"/>
                      </a:fgClr>
                      <a:bgClr>
                        <a:sysClr val="window" lastClr="FFFFFF"/>
                      </a:bgClr>
                    </a:pattFill>
                  </a:tcPr>
                </a:tc>
                <a:tc gridSpan="2">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algn="l" defTabSz="1219170" rtl="0" eaLnBrk="1" latinLnBrk="0" hangingPunct="1"/>
                      <a:r>
                        <a:rPr lang="en-US" sz="1200" b="0" i="0" kern="1200" dirty="0">
                          <a:solidFill>
                            <a:schemeClr val="tx1"/>
                          </a:solidFill>
                          <a:latin typeface="+mn-lt"/>
                          <a:ea typeface="+mn-ea"/>
                          <a:cs typeface="+mn-cs"/>
                        </a:rPr>
                        <a:t>2:30 – 2:45 pm</a:t>
                      </a:r>
                    </a:p>
                  </a:txBody>
                  <a:tcPr marL="9144" marR="3600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pattFill prst="ltUpDiag">
                      <a:fgClr>
                        <a:srgbClr val="D0D0CE"/>
                      </a:fgClr>
                      <a:bgClr>
                        <a:sysClr val="window" lastClr="FFFFFF"/>
                      </a:bgClr>
                    </a:pattFill>
                  </a:tcPr>
                </a:tc>
                <a:tc hMerge="1">
                  <a:txBody>
                    <a:bodyPr/>
                    <a:lstStyle/>
                    <a:p>
                      <a:endParaRPr lang="en-US" sz="1200" i="1" dirty="0">
                        <a:solidFill>
                          <a:schemeClr val="tx1"/>
                        </a:solidFill>
                      </a:endParaRPr>
                    </a:p>
                  </a:txBody>
                  <a:tcPr anchor="ctr">
                    <a:lnL w="12700" cmpd="sng">
                      <a:noFill/>
                    </a:lnL>
                    <a:lnR w="12700" cmpd="sng">
                      <a:noFill/>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pattFill prst="ltUpDiag">
                      <a:fgClr>
                        <a:schemeClr val="bg2"/>
                      </a:fgClr>
                      <a:bgClr>
                        <a:schemeClr val="bg1"/>
                      </a:bgClr>
                    </a:pattFill>
                  </a:tcPr>
                </a:tc>
                <a:extLst>
                  <a:ext uri="{0D108BD9-81ED-4DB2-BD59-A6C34878D82A}">
                    <a16:rowId xmlns:a16="http://schemas.microsoft.com/office/drawing/2014/main" val="3935521694"/>
                  </a:ext>
                </a:extLst>
              </a:tr>
              <a:tr h="277324">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200" i="0" dirty="0">
                          <a:solidFill>
                            <a:schemeClr val="tx1">
                              <a:lumMod val="50000"/>
                              <a:lumOff val="50000"/>
                            </a:schemeClr>
                          </a:solidFill>
                          <a:latin typeface="+mn-lt"/>
                        </a:rPr>
                        <a:t>7</a:t>
                      </a:r>
                    </a:p>
                  </a:txBody>
                  <a:tcPr marL="36000" marR="3600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algn="l" defTabSz="1219170" rtl="0" eaLnBrk="1" latinLnBrk="0" hangingPunct="1"/>
                      <a:r>
                        <a:rPr lang="en-US" sz="1200" b="0" i="0" kern="1200" dirty="0">
                          <a:solidFill>
                            <a:schemeClr val="tx1">
                              <a:lumMod val="50000"/>
                              <a:lumOff val="50000"/>
                            </a:schemeClr>
                          </a:solidFill>
                          <a:latin typeface="+mn-lt"/>
                          <a:ea typeface="+mn-ea"/>
                          <a:cs typeface="+mn-cs"/>
                        </a:rPr>
                        <a:t>Capacity Planning Tool</a:t>
                      </a:r>
                    </a:p>
                  </a:txBody>
                  <a:tcPr marL="9144"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gridSpan="2">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algn="l" defTabSz="1219170" rtl="0" eaLnBrk="1" latinLnBrk="0" hangingPunct="1"/>
                      <a:r>
                        <a:rPr lang="en-US" sz="1200" b="0" i="0" kern="1200" dirty="0">
                          <a:solidFill>
                            <a:schemeClr val="tx1">
                              <a:lumMod val="50000"/>
                              <a:lumOff val="50000"/>
                            </a:schemeClr>
                          </a:solidFill>
                          <a:latin typeface="+mn-lt"/>
                          <a:ea typeface="+mn-ea"/>
                          <a:cs typeface="+mn-cs"/>
                        </a:rPr>
                        <a:t>2:45 – 3:30 pm</a:t>
                      </a:r>
                    </a:p>
                  </a:txBody>
                  <a:tcPr marL="9144" marR="3600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hMerge="1">
                  <a:txBody>
                    <a:bodyPr/>
                    <a:lstStyle/>
                    <a:p>
                      <a:endParaRPr lang="en-US" sz="1200" dirty="0">
                        <a:solidFill>
                          <a:schemeClr val="tx1">
                            <a:lumMod val="50000"/>
                            <a:lumOff val="50000"/>
                          </a:schemeClr>
                        </a:solidFill>
                      </a:endParaRPr>
                    </a:p>
                  </a:txBody>
                  <a:tcPr anchor="ctr">
                    <a:lnL w="12700" cmpd="sng">
                      <a:noFill/>
                    </a:lnL>
                    <a:lnR w="12700" cmpd="sng">
                      <a:noFill/>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68552126"/>
                  </a:ext>
                </a:extLst>
              </a:tr>
              <a:tr h="277324">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200" i="0" dirty="0">
                          <a:solidFill>
                            <a:schemeClr val="tx1">
                              <a:lumMod val="50000"/>
                              <a:lumOff val="50000"/>
                            </a:schemeClr>
                          </a:solidFill>
                          <a:latin typeface="+mn-lt"/>
                        </a:rPr>
                        <a:t>8</a:t>
                      </a:r>
                    </a:p>
                  </a:txBody>
                  <a:tcPr marL="36000" marR="3600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algn="l" defTabSz="1219170" rtl="0" eaLnBrk="1" latinLnBrk="0" hangingPunct="1"/>
                      <a:r>
                        <a:rPr lang="en-US" sz="1200" b="0" i="0" kern="1200" dirty="0">
                          <a:solidFill>
                            <a:schemeClr val="tx1">
                              <a:lumMod val="50000"/>
                              <a:lumOff val="50000"/>
                            </a:schemeClr>
                          </a:solidFill>
                          <a:latin typeface="+mn-lt"/>
                          <a:ea typeface="+mn-ea"/>
                          <a:cs typeface="+mn-cs"/>
                        </a:rPr>
                        <a:t>Poll: Lever Prioritization</a:t>
                      </a:r>
                    </a:p>
                  </a:txBody>
                  <a:tcPr marL="9144"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gridSpan="2">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algn="l" defTabSz="1219170" rtl="0" eaLnBrk="1" latinLnBrk="0" hangingPunct="1"/>
                      <a:r>
                        <a:rPr lang="en-US" sz="1200" b="0" i="0" kern="1200" dirty="0">
                          <a:solidFill>
                            <a:schemeClr val="tx1">
                              <a:lumMod val="50000"/>
                              <a:lumOff val="50000"/>
                            </a:schemeClr>
                          </a:solidFill>
                          <a:latin typeface="+mn-lt"/>
                          <a:ea typeface="+mn-ea"/>
                          <a:cs typeface="+mn-cs"/>
                        </a:rPr>
                        <a:t>3:30 – 3:45 pm</a:t>
                      </a:r>
                    </a:p>
                  </a:txBody>
                  <a:tcPr marL="9144" marR="3600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hMerge="1">
                  <a:txBody>
                    <a:bodyPr/>
                    <a:lstStyle/>
                    <a:p>
                      <a:endParaRPr lang="en-US"/>
                    </a:p>
                  </a:txBody>
                  <a:tcPr/>
                </a:tc>
                <a:extLst>
                  <a:ext uri="{0D108BD9-81ED-4DB2-BD59-A6C34878D82A}">
                    <a16:rowId xmlns:a16="http://schemas.microsoft.com/office/drawing/2014/main" val="177193787"/>
                  </a:ext>
                </a:extLst>
              </a:tr>
              <a:tr h="277324">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200" i="0" dirty="0">
                          <a:solidFill>
                            <a:schemeClr val="tx1">
                              <a:lumMod val="50000"/>
                              <a:lumOff val="50000"/>
                            </a:schemeClr>
                          </a:solidFill>
                          <a:latin typeface="+mn-lt"/>
                        </a:rPr>
                        <a:t>9</a:t>
                      </a:r>
                    </a:p>
                  </a:txBody>
                  <a:tcPr marL="36000" marR="3600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algn="l" defTabSz="1219170" rtl="0" eaLnBrk="1" latinLnBrk="0" hangingPunct="1"/>
                      <a:r>
                        <a:rPr lang="en-US" sz="1200" b="0" i="0" kern="1200" dirty="0">
                          <a:solidFill>
                            <a:schemeClr val="tx1">
                              <a:lumMod val="50000"/>
                              <a:lumOff val="50000"/>
                            </a:schemeClr>
                          </a:solidFill>
                          <a:latin typeface="+mn-lt"/>
                          <a:ea typeface="+mn-ea"/>
                          <a:cs typeface="+mn-cs"/>
                        </a:rPr>
                        <a:t>Wrap-up &amp; next steps</a:t>
                      </a:r>
                    </a:p>
                  </a:txBody>
                  <a:tcPr marL="9144"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gridSpan="2">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algn="l" defTabSz="1219170" rtl="0" eaLnBrk="1" latinLnBrk="0" hangingPunct="1"/>
                      <a:r>
                        <a:rPr lang="en-US" sz="1200" b="0" i="0" kern="1200" dirty="0">
                          <a:solidFill>
                            <a:schemeClr val="tx1">
                              <a:lumMod val="50000"/>
                              <a:lumOff val="50000"/>
                            </a:schemeClr>
                          </a:solidFill>
                          <a:latin typeface="+mn-lt"/>
                          <a:ea typeface="+mn-ea"/>
                          <a:cs typeface="+mn-cs"/>
                        </a:rPr>
                        <a:t>3:45 – 4:00 pm</a:t>
                      </a:r>
                    </a:p>
                  </a:txBody>
                  <a:tcPr marL="9144" marR="36000" anchor="ctr">
                    <a:lnL w="12700" cmpd="sng">
                      <a:noFill/>
                    </a:lnL>
                    <a:lnR w="12700" cmpd="sng">
                      <a:noFill/>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hMerge="1">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1200" dirty="0">
                        <a:solidFill>
                          <a:schemeClr val="tx1">
                            <a:lumMod val="50000"/>
                            <a:lumOff val="50000"/>
                          </a:schemeClr>
                        </a:solidFill>
                      </a:endParaRPr>
                    </a:p>
                  </a:txBody>
                  <a:tcPr anchor="ctr">
                    <a:lnL w="12700" cmpd="sng">
                      <a:noFill/>
                    </a:lnL>
                    <a:lnR w="12700" cmpd="sng">
                      <a:noFill/>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44600264"/>
                  </a:ext>
                </a:extLst>
              </a:tr>
            </a:tbl>
          </a:graphicData>
        </a:graphic>
      </p:graphicFrame>
      <p:grpSp>
        <p:nvGrpSpPr>
          <p:cNvPr id="56" name="Group 55">
            <a:extLst>
              <a:ext uri="{FF2B5EF4-FFF2-40B4-BE49-F238E27FC236}">
                <a16:creationId xmlns:a16="http://schemas.microsoft.com/office/drawing/2014/main" id="{AF901476-A09D-420D-AD77-8E7465F885E1}"/>
              </a:ext>
            </a:extLst>
          </p:cNvPr>
          <p:cNvGrpSpPr/>
          <p:nvPr/>
        </p:nvGrpSpPr>
        <p:grpSpPr>
          <a:xfrm>
            <a:off x="7304847" y="3821126"/>
            <a:ext cx="4438093" cy="547037"/>
            <a:chOff x="7332708" y="3801495"/>
            <a:chExt cx="4438093" cy="547037"/>
          </a:xfrm>
        </p:grpSpPr>
        <p:sp>
          <p:nvSpPr>
            <p:cNvPr id="57" name="TextBox 56">
              <a:extLst>
                <a:ext uri="{FF2B5EF4-FFF2-40B4-BE49-F238E27FC236}">
                  <a16:creationId xmlns:a16="http://schemas.microsoft.com/office/drawing/2014/main" id="{F6E9672D-9AAB-4E1B-B43C-F284BC0D27AD}"/>
                </a:ext>
              </a:extLst>
            </p:cNvPr>
            <p:cNvSpPr txBox="1">
              <a:spLocks/>
            </p:cNvSpPr>
            <p:nvPr/>
          </p:nvSpPr>
          <p:spPr>
            <a:xfrm>
              <a:off x="7724775" y="3801495"/>
              <a:ext cx="4046026" cy="547037"/>
            </a:xfrm>
            <a:prstGeom prst="rect">
              <a:avLst/>
            </a:prstGeom>
          </p:spPr>
          <p:txBody>
            <a:bodyPr vert="horz" lIns="0" tIns="0" rIns="0" bIns="0" rtlCol="0" anchor="ctr">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b="0" i="0" u="none" strike="noStrike" kern="1200" cap="none" spc="0" normalizeH="0" baseline="0" noProof="0" dirty="0">
                  <a:ln>
                    <a:noFill/>
                  </a:ln>
                  <a:solidFill>
                    <a:prstClr val="black"/>
                  </a:solidFill>
                  <a:effectLst/>
                  <a:uLnTx/>
                  <a:uFillTx/>
                  <a:ea typeface="+mn-ea"/>
                  <a:cs typeface="+mn-cs"/>
                </a:rPr>
                <a:t>Explore </a:t>
              </a:r>
              <a:r>
                <a:rPr kumimoji="0" lang="en-US" b="1" i="0" u="none" strike="noStrike" kern="1200" cap="none" spc="0" normalizeH="0" baseline="0" noProof="0" dirty="0">
                  <a:ln>
                    <a:noFill/>
                  </a:ln>
                  <a:solidFill>
                    <a:prstClr val="black"/>
                  </a:solidFill>
                  <a:effectLst/>
                  <a:uLnTx/>
                  <a:uFillTx/>
                  <a:ea typeface="+mn-ea"/>
                  <a:cs typeface="+mn-cs"/>
                </a:rPr>
                <a:t>insights, analysis and recommendations </a:t>
              </a:r>
              <a:r>
                <a:rPr kumimoji="0" lang="en-US" b="0" i="0" u="none" strike="noStrike" kern="1200" cap="none" spc="0" normalizeH="0" baseline="0" noProof="0" dirty="0">
                  <a:ln>
                    <a:noFill/>
                  </a:ln>
                  <a:solidFill>
                    <a:prstClr val="black"/>
                  </a:solidFill>
                  <a:effectLst/>
                  <a:uLnTx/>
                  <a:uFillTx/>
                  <a:ea typeface="+mn-ea"/>
                  <a:cs typeface="+mn-cs"/>
                </a:rPr>
                <a:t>to identify activities for targeted follow-up initiatives</a:t>
              </a:r>
            </a:p>
          </p:txBody>
        </p:sp>
        <p:sp>
          <p:nvSpPr>
            <p:cNvPr id="58" name="Freeform 538">
              <a:extLst>
                <a:ext uri="{FF2B5EF4-FFF2-40B4-BE49-F238E27FC236}">
                  <a16:creationId xmlns:a16="http://schemas.microsoft.com/office/drawing/2014/main" id="{887385CC-64EA-4F6B-9B12-43A3AB337760}"/>
                </a:ext>
              </a:extLst>
            </p:cNvPr>
            <p:cNvSpPr>
              <a:spLocks noChangeAspect="1" noEditPoints="1"/>
            </p:cNvSpPr>
            <p:nvPr/>
          </p:nvSpPr>
          <p:spPr bwMode="auto">
            <a:xfrm>
              <a:off x="7332708" y="3949014"/>
              <a:ext cx="252000" cy="252000"/>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endParaRPr>
            </a:p>
          </p:txBody>
        </p:sp>
      </p:grpSp>
      <p:grpSp>
        <p:nvGrpSpPr>
          <p:cNvPr id="59" name="Group 58">
            <a:extLst>
              <a:ext uri="{FF2B5EF4-FFF2-40B4-BE49-F238E27FC236}">
                <a16:creationId xmlns:a16="http://schemas.microsoft.com/office/drawing/2014/main" id="{663DE679-ED46-4FF0-92A3-E4B54B2A7241}"/>
              </a:ext>
            </a:extLst>
          </p:cNvPr>
          <p:cNvGrpSpPr/>
          <p:nvPr/>
        </p:nvGrpSpPr>
        <p:grpSpPr>
          <a:xfrm>
            <a:off x="7304847" y="3061856"/>
            <a:ext cx="4438092" cy="547037"/>
            <a:chOff x="7332708" y="3042225"/>
            <a:chExt cx="4438092" cy="547037"/>
          </a:xfrm>
        </p:grpSpPr>
        <p:sp>
          <p:nvSpPr>
            <p:cNvPr id="60" name="TextBox 23">
              <a:extLst>
                <a:ext uri="{FF2B5EF4-FFF2-40B4-BE49-F238E27FC236}">
                  <a16:creationId xmlns:a16="http://schemas.microsoft.com/office/drawing/2014/main" id="{995B36AA-CDD7-44B5-BBAB-1547DBFCC139}"/>
                </a:ext>
              </a:extLst>
            </p:cNvPr>
            <p:cNvSpPr txBox="1">
              <a:spLocks/>
            </p:cNvSpPr>
            <p:nvPr/>
          </p:nvSpPr>
          <p:spPr>
            <a:xfrm>
              <a:off x="7724774" y="3042225"/>
              <a:ext cx="4046026" cy="547037"/>
            </a:xfrm>
            <a:prstGeom prst="rect">
              <a:avLst/>
            </a:prstGeom>
          </p:spPr>
          <p:txBody>
            <a:bodyPr vert="horz" lIns="0" tIns="0" rIns="0" bIns="0" rtlCol="0" anchor="ctr">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b="0" i="0" u="none" strike="noStrike" kern="1200" cap="none" spc="0" normalizeH="0" baseline="0" noProof="0" dirty="0">
                  <a:ln>
                    <a:noFill/>
                  </a:ln>
                  <a:solidFill>
                    <a:prstClr val="black"/>
                  </a:solidFill>
                  <a:effectLst/>
                  <a:uLnTx/>
                  <a:uFillTx/>
                  <a:ea typeface="+mn-ea"/>
                  <a:cs typeface="+mn-cs"/>
                </a:rPr>
                <a:t>Provide opportunity to </a:t>
              </a:r>
              <a:r>
                <a:rPr kumimoji="0" lang="en-US" b="1" i="0" u="none" strike="noStrike" kern="1200" cap="none" spc="0" normalizeH="0" baseline="0" noProof="0" dirty="0">
                  <a:ln>
                    <a:noFill/>
                  </a:ln>
                  <a:solidFill>
                    <a:prstClr val="black"/>
                  </a:solidFill>
                  <a:effectLst/>
                  <a:uLnTx/>
                  <a:uFillTx/>
                  <a:ea typeface="+mn-ea"/>
                  <a:cs typeface="+mn-cs"/>
                </a:rPr>
                <a:t>discuss upcoming changes </a:t>
              </a:r>
              <a:r>
                <a:rPr kumimoji="0" lang="en-US" b="0" i="0" u="none" strike="noStrike" kern="1200" cap="none" spc="0" normalizeH="0" baseline="0" noProof="0" dirty="0">
                  <a:ln>
                    <a:noFill/>
                  </a:ln>
                  <a:solidFill>
                    <a:prstClr val="black"/>
                  </a:solidFill>
                  <a:effectLst/>
                  <a:uLnTx/>
                  <a:uFillTx/>
                  <a:ea typeface="+mn-ea"/>
                  <a:cs typeface="+mn-cs"/>
                </a:rPr>
                <a:t>to the business model away from day-to-day tasks</a:t>
              </a:r>
              <a:endParaRPr kumimoji="0" lang="de-DE" b="0" i="0" u="none" strike="noStrike" kern="1200" cap="none" spc="0" normalizeH="0" baseline="0" noProof="0" dirty="0">
                <a:ln>
                  <a:noFill/>
                </a:ln>
                <a:solidFill>
                  <a:prstClr val="black"/>
                </a:solidFill>
                <a:effectLst/>
                <a:uLnTx/>
                <a:uFillTx/>
                <a:ea typeface="+mn-ea"/>
                <a:cs typeface="+mn-cs"/>
              </a:endParaRPr>
            </a:p>
          </p:txBody>
        </p:sp>
        <p:sp>
          <p:nvSpPr>
            <p:cNvPr id="61" name="Freeform 54">
              <a:extLst>
                <a:ext uri="{FF2B5EF4-FFF2-40B4-BE49-F238E27FC236}">
                  <a16:creationId xmlns:a16="http://schemas.microsoft.com/office/drawing/2014/main" id="{F4B898F4-08B6-4603-83C3-9E09360E814F}"/>
                </a:ext>
              </a:extLst>
            </p:cNvPr>
            <p:cNvSpPr>
              <a:spLocks noChangeAspect="1" noEditPoints="1"/>
            </p:cNvSpPr>
            <p:nvPr/>
          </p:nvSpPr>
          <p:spPr bwMode="auto">
            <a:xfrm>
              <a:off x="7332708" y="3189743"/>
              <a:ext cx="252000" cy="252000"/>
            </a:xfrm>
            <a:custGeom>
              <a:avLst/>
              <a:gdLst>
                <a:gd name="T0" fmla="*/ 117 w 512"/>
                <a:gd name="T1" fmla="*/ 330 h 512"/>
                <a:gd name="T2" fmla="*/ 160 w 512"/>
                <a:gd name="T3" fmla="*/ 330 h 512"/>
                <a:gd name="T4" fmla="*/ 170 w 512"/>
                <a:gd name="T5" fmla="*/ 341 h 512"/>
                <a:gd name="T6" fmla="*/ 170 w 512"/>
                <a:gd name="T7" fmla="*/ 376 h 512"/>
                <a:gd name="T8" fmla="*/ 205 w 512"/>
                <a:gd name="T9" fmla="*/ 334 h 512"/>
                <a:gd name="T10" fmla="*/ 213 w 512"/>
                <a:gd name="T11" fmla="*/ 330 h 512"/>
                <a:gd name="T12" fmla="*/ 394 w 512"/>
                <a:gd name="T13" fmla="*/ 330 h 512"/>
                <a:gd name="T14" fmla="*/ 394 w 512"/>
                <a:gd name="T15" fmla="*/ 160 h 512"/>
                <a:gd name="T16" fmla="*/ 117 w 512"/>
                <a:gd name="T17" fmla="*/ 160 h 512"/>
                <a:gd name="T18" fmla="*/ 117 w 512"/>
                <a:gd name="T19" fmla="*/ 330 h 512"/>
                <a:gd name="T20" fmla="*/ 298 w 512"/>
                <a:gd name="T21" fmla="*/ 234 h 512"/>
                <a:gd name="T22" fmla="*/ 309 w 512"/>
                <a:gd name="T23" fmla="*/ 245 h 512"/>
                <a:gd name="T24" fmla="*/ 298 w 512"/>
                <a:gd name="T25" fmla="*/ 256 h 512"/>
                <a:gd name="T26" fmla="*/ 288 w 512"/>
                <a:gd name="T27" fmla="*/ 245 h 512"/>
                <a:gd name="T28" fmla="*/ 298 w 512"/>
                <a:gd name="T29" fmla="*/ 234 h 512"/>
                <a:gd name="T30" fmla="*/ 256 w 512"/>
                <a:gd name="T31" fmla="*/ 234 h 512"/>
                <a:gd name="T32" fmla="*/ 266 w 512"/>
                <a:gd name="T33" fmla="*/ 245 h 512"/>
                <a:gd name="T34" fmla="*/ 256 w 512"/>
                <a:gd name="T35" fmla="*/ 256 h 512"/>
                <a:gd name="T36" fmla="*/ 245 w 512"/>
                <a:gd name="T37" fmla="*/ 245 h 512"/>
                <a:gd name="T38" fmla="*/ 256 w 512"/>
                <a:gd name="T39" fmla="*/ 234 h 512"/>
                <a:gd name="T40" fmla="*/ 213 w 512"/>
                <a:gd name="T41" fmla="*/ 234 h 512"/>
                <a:gd name="T42" fmla="*/ 224 w 512"/>
                <a:gd name="T43" fmla="*/ 245 h 512"/>
                <a:gd name="T44" fmla="*/ 213 w 512"/>
                <a:gd name="T45" fmla="*/ 256 h 512"/>
                <a:gd name="T46" fmla="*/ 202 w 512"/>
                <a:gd name="T47" fmla="*/ 245 h 512"/>
                <a:gd name="T48" fmla="*/ 213 w 512"/>
                <a:gd name="T49" fmla="*/ 234 h 512"/>
                <a:gd name="T50" fmla="*/ 256 w 512"/>
                <a:gd name="T51" fmla="*/ 0 h 512"/>
                <a:gd name="T52" fmla="*/ 0 w 512"/>
                <a:gd name="T53" fmla="*/ 256 h 512"/>
                <a:gd name="T54" fmla="*/ 256 w 512"/>
                <a:gd name="T55" fmla="*/ 512 h 512"/>
                <a:gd name="T56" fmla="*/ 512 w 512"/>
                <a:gd name="T57" fmla="*/ 256 h 512"/>
                <a:gd name="T58" fmla="*/ 256 w 512"/>
                <a:gd name="T59" fmla="*/ 0 h 512"/>
                <a:gd name="T60" fmla="*/ 416 w 512"/>
                <a:gd name="T61" fmla="*/ 341 h 512"/>
                <a:gd name="T62" fmla="*/ 405 w 512"/>
                <a:gd name="T63" fmla="*/ 352 h 512"/>
                <a:gd name="T64" fmla="*/ 218 w 512"/>
                <a:gd name="T65" fmla="*/ 352 h 512"/>
                <a:gd name="T66" fmla="*/ 168 w 512"/>
                <a:gd name="T67" fmla="*/ 412 h 512"/>
                <a:gd name="T68" fmla="*/ 160 w 512"/>
                <a:gd name="T69" fmla="*/ 416 h 512"/>
                <a:gd name="T70" fmla="*/ 156 w 512"/>
                <a:gd name="T71" fmla="*/ 415 h 512"/>
                <a:gd name="T72" fmla="*/ 149 w 512"/>
                <a:gd name="T73" fmla="*/ 405 h 512"/>
                <a:gd name="T74" fmla="*/ 149 w 512"/>
                <a:gd name="T75" fmla="*/ 352 h 512"/>
                <a:gd name="T76" fmla="*/ 106 w 512"/>
                <a:gd name="T77" fmla="*/ 352 h 512"/>
                <a:gd name="T78" fmla="*/ 96 w 512"/>
                <a:gd name="T79" fmla="*/ 341 h 512"/>
                <a:gd name="T80" fmla="*/ 96 w 512"/>
                <a:gd name="T81" fmla="*/ 149 h 512"/>
                <a:gd name="T82" fmla="*/ 106 w 512"/>
                <a:gd name="T83" fmla="*/ 138 h 512"/>
                <a:gd name="T84" fmla="*/ 405 w 512"/>
                <a:gd name="T85" fmla="*/ 138 h 512"/>
                <a:gd name="T86" fmla="*/ 416 w 512"/>
                <a:gd name="T87" fmla="*/ 149 h 512"/>
                <a:gd name="T88" fmla="*/ 416 w 512"/>
                <a:gd name="T89"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17" y="330"/>
                  </a:moveTo>
                  <a:cubicBezTo>
                    <a:pt x="160" y="330"/>
                    <a:pt x="160" y="330"/>
                    <a:pt x="160" y="330"/>
                  </a:cubicBezTo>
                  <a:cubicBezTo>
                    <a:pt x="166" y="330"/>
                    <a:pt x="170" y="335"/>
                    <a:pt x="170" y="341"/>
                  </a:cubicBezTo>
                  <a:cubicBezTo>
                    <a:pt x="170" y="376"/>
                    <a:pt x="170" y="376"/>
                    <a:pt x="170" y="376"/>
                  </a:cubicBezTo>
                  <a:cubicBezTo>
                    <a:pt x="205" y="334"/>
                    <a:pt x="205" y="334"/>
                    <a:pt x="205" y="334"/>
                  </a:cubicBezTo>
                  <a:cubicBezTo>
                    <a:pt x="207" y="332"/>
                    <a:pt x="210" y="330"/>
                    <a:pt x="213" y="330"/>
                  </a:cubicBezTo>
                  <a:cubicBezTo>
                    <a:pt x="394" y="330"/>
                    <a:pt x="394" y="330"/>
                    <a:pt x="394" y="330"/>
                  </a:cubicBezTo>
                  <a:cubicBezTo>
                    <a:pt x="394" y="160"/>
                    <a:pt x="394" y="160"/>
                    <a:pt x="394" y="160"/>
                  </a:cubicBezTo>
                  <a:cubicBezTo>
                    <a:pt x="117" y="160"/>
                    <a:pt x="117" y="160"/>
                    <a:pt x="117" y="160"/>
                  </a:cubicBezTo>
                  <a:lnTo>
                    <a:pt x="117" y="330"/>
                  </a:lnTo>
                  <a:close/>
                  <a:moveTo>
                    <a:pt x="298" y="234"/>
                  </a:moveTo>
                  <a:cubicBezTo>
                    <a:pt x="304" y="234"/>
                    <a:pt x="309" y="239"/>
                    <a:pt x="309" y="245"/>
                  </a:cubicBezTo>
                  <a:cubicBezTo>
                    <a:pt x="309" y="251"/>
                    <a:pt x="304" y="256"/>
                    <a:pt x="298" y="256"/>
                  </a:cubicBezTo>
                  <a:cubicBezTo>
                    <a:pt x="292" y="256"/>
                    <a:pt x="288" y="251"/>
                    <a:pt x="288" y="245"/>
                  </a:cubicBezTo>
                  <a:cubicBezTo>
                    <a:pt x="288" y="239"/>
                    <a:pt x="292" y="234"/>
                    <a:pt x="298" y="234"/>
                  </a:cubicBezTo>
                  <a:close/>
                  <a:moveTo>
                    <a:pt x="256" y="234"/>
                  </a:moveTo>
                  <a:cubicBezTo>
                    <a:pt x="262" y="234"/>
                    <a:pt x="266" y="239"/>
                    <a:pt x="266" y="245"/>
                  </a:cubicBezTo>
                  <a:cubicBezTo>
                    <a:pt x="266" y="251"/>
                    <a:pt x="262" y="256"/>
                    <a:pt x="256" y="256"/>
                  </a:cubicBezTo>
                  <a:cubicBezTo>
                    <a:pt x="250" y="256"/>
                    <a:pt x="245" y="251"/>
                    <a:pt x="245" y="245"/>
                  </a:cubicBezTo>
                  <a:cubicBezTo>
                    <a:pt x="245" y="239"/>
                    <a:pt x="250" y="234"/>
                    <a:pt x="256" y="234"/>
                  </a:cubicBezTo>
                  <a:close/>
                  <a:moveTo>
                    <a:pt x="213" y="234"/>
                  </a:moveTo>
                  <a:cubicBezTo>
                    <a:pt x="219" y="234"/>
                    <a:pt x="224" y="239"/>
                    <a:pt x="224" y="245"/>
                  </a:cubicBezTo>
                  <a:cubicBezTo>
                    <a:pt x="224" y="251"/>
                    <a:pt x="219" y="256"/>
                    <a:pt x="213" y="256"/>
                  </a:cubicBezTo>
                  <a:cubicBezTo>
                    <a:pt x="207" y="256"/>
                    <a:pt x="202" y="251"/>
                    <a:pt x="202" y="245"/>
                  </a:cubicBezTo>
                  <a:cubicBezTo>
                    <a:pt x="202" y="239"/>
                    <a:pt x="207" y="234"/>
                    <a:pt x="213" y="234"/>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18" y="352"/>
                    <a:pt x="218" y="352"/>
                    <a:pt x="218" y="352"/>
                  </a:cubicBezTo>
                  <a:cubicBezTo>
                    <a:pt x="168" y="412"/>
                    <a:pt x="168" y="412"/>
                    <a:pt x="168" y="412"/>
                  </a:cubicBezTo>
                  <a:cubicBezTo>
                    <a:pt x="166" y="414"/>
                    <a:pt x="163" y="416"/>
                    <a:pt x="160" y="416"/>
                  </a:cubicBezTo>
                  <a:cubicBezTo>
                    <a:pt x="158" y="416"/>
                    <a:pt x="157" y="415"/>
                    <a:pt x="156" y="415"/>
                  </a:cubicBezTo>
                  <a:cubicBezTo>
                    <a:pt x="152" y="414"/>
                    <a:pt x="149" y="409"/>
                    <a:pt x="149" y="405"/>
                  </a:cubicBezTo>
                  <a:cubicBezTo>
                    <a:pt x="149" y="352"/>
                    <a:pt x="149" y="352"/>
                    <a:pt x="149"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endParaRPr>
            </a:p>
          </p:txBody>
        </p:sp>
      </p:grpSp>
      <p:sp>
        <p:nvSpPr>
          <p:cNvPr id="62" name="TextBox 61">
            <a:extLst>
              <a:ext uri="{FF2B5EF4-FFF2-40B4-BE49-F238E27FC236}">
                <a16:creationId xmlns:a16="http://schemas.microsoft.com/office/drawing/2014/main" id="{E1322749-3BDF-4DE1-815E-9EDE72E27F4C}"/>
              </a:ext>
            </a:extLst>
          </p:cNvPr>
          <p:cNvSpPr txBox="1">
            <a:spLocks/>
          </p:cNvSpPr>
          <p:nvPr/>
        </p:nvSpPr>
        <p:spPr>
          <a:xfrm>
            <a:off x="7702092" y="4529015"/>
            <a:ext cx="4046026" cy="547037"/>
          </a:xfrm>
          <a:prstGeom prst="rect">
            <a:avLst/>
          </a:prstGeom>
        </p:spPr>
        <p:txBody>
          <a:bodyPr vert="horz" lIns="0" tIns="0" rIns="0" bIns="0" rtlCol="0" anchor="ctr">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lang="en-US" b="1" dirty="0">
                <a:solidFill>
                  <a:prstClr val="black"/>
                </a:solidFill>
              </a:rPr>
              <a:t>Identify levers </a:t>
            </a:r>
            <a:r>
              <a:rPr lang="en-US" dirty="0">
                <a:solidFill>
                  <a:prstClr val="black"/>
                </a:solidFill>
              </a:rPr>
              <a:t>to incorporate into the Capacity Model</a:t>
            </a:r>
          </a:p>
        </p:txBody>
      </p:sp>
      <p:sp>
        <p:nvSpPr>
          <p:cNvPr id="63" name="Freeform 469">
            <a:extLst>
              <a:ext uri="{FF2B5EF4-FFF2-40B4-BE49-F238E27FC236}">
                <a16:creationId xmlns:a16="http://schemas.microsoft.com/office/drawing/2014/main" id="{4D76217F-7103-452F-A07A-BD23F74F1ED2}"/>
              </a:ext>
            </a:extLst>
          </p:cNvPr>
          <p:cNvSpPr>
            <a:spLocks noChangeAspect="1" noEditPoints="1"/>
          </p:cNvSpPr>
          <p:nvPr/>
        </p:nvSpPr>
        <p:spPr bwMode="auto">
          <a:xfrm>
            <a:off x="7296565" y="4511895"/>
            <a:ext cx="247574" cy="247574"/>
          </a:xfrm>
          <a:custGeom>
            <a:avLst/>
            <a:gdLst>
              <a:gd name="T0" fmla="*/ 309 w 512"/>
              <a:gd name="T1" fmla="*/ 320 h 512"/>
              <a:gd name="T2" fmla="*/ 288 w 512"/>
              <a:gd name="T3" fmla="*/ 341 h 512"/>
              <a:gd name="T4" fmla="*/ 266 w 512"/>
              <a:gd name="T5" fmla="*/ 320 h 512"/>
              <a:gd name="T6" fmla="*/ 288 w 512"/>
              <a:gd name="T7" fmla="*/ 298 h 512"/>
              <a:gd name="T8" fmla="*/ 309 w 512"/>
              <a:gd name="T9" fmla="*/ 320 h 512"/>
              <a:gd name="T10" fmla="*/ 213 w 512"/>
              <a:gd name="T11" fmla="*/ 160 h 512"/>
              <a:gd name="T12" fmla="*/ 192 w 512"/>
              <a:gd name="T13" fmla="*/ 181 h 512"/>
              <a:gd name="T14" fmla="*/ 213 w 512"/>
              <a:gd name="T15" fmla="*/ 202 h 512"/>
              <a:gd name="T16" fmla="*/ 234 w 512"/>
              <a:gd name="T17" fmla="*/ 181 h 512"/>
              <a:gd name="T18" fmla="*/ 213 w 512"/>
              <a:gd name="T19" fmla="*/ 160 h 512"/>
              <a:gd name="T20" fmla="*/ 138 w 512"/>
              <a:gd name="T21" fmla="*/ 298 h 512"/>
              <a:gd name="T22" fmla="*/ 117 w 512"/>
              <a:gd name="T23" fmla="*/ 320 h 512"/>
              <a:gd name="T24" fmla="*/ 138 w 512"/>
              <a:gd name="T25" fmla="*/ 341 h 512"/>
              <a:gd name="T26" fmla="*/ 160 w 512"/>
              <a:gd name="T27" fmla="*/ 320 h 512"/>
              <a:gd name="T28" fmla="*/ 138 w 512"/>
              <a:gd name="T29" fmla="*/ 298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6 w 512"/>
              <a:gd name="T41" fmla="*/ 181 h 512"/>
              <a:gd name="T42" fmla="*/ 373 w 512"/>
              <a:gd name="T43" fmla="*/ 138 h 512"/>
              <a:gd name="T44" fmla="*/ 330 w 512"/>
              <a:gd name="T45" fmla="*/ 181 h 512"/>
              <a:gd name="T46" fmla="*/ 342 w 512"/>
              <a:gd name="T47" fmla="*/ 211 h 512"/>
              <a:gd name="T48" fmla="*/ 300 w 512"/>
              <a:gd name="T49" fmla="*/ 279 h 512"/>
              <a:gd name="T50" fmla="*/ 288 w 512"/>
              <a:gd name="T51" fmla="*/ 277 h 512"/>
              <a:gd name="T52" fmla="*/ 278 w 512"/>
              <a:gd name="T53" fmla="*/ 278 h 512"/>
              <a:gd name="T54" fmla="*/ 242 w 512"/>
              <a:gd name="T55" fmla="*/ 212 h 512"/>
              <a:gd name="T56" fmla="*/ 256 w 512"/>
              <a:gd name="T57" fmla="*/ 181 h 512"/>
              <a:gd name="T58" fmla="*/ 213 w 512"/>
              <a:gd name="T59" fmla="*/ 138 h 512"/>
              <a:gd name="T60" fmla="*/ 170 w 512"/>
              <a:gd name="T61" fmla="*/ 181 h 512"/>
              <a:gd name="T62" fmla="*/ 184 w 512"/>
              <a:gd name="T63" fmla="*/ 212 h 512"/>
              <a:gd name="T64" fmla="*/ 148 w 512"/>
              <a:gd name="T65" fmla="*/ 278 h 512"/>
              <a:gd name="T66" fmla="*/ 138 w 512"/>
              <a:gd name="T67" fmla="*/ 277 h 512"/>
              <a:gd name="T68" fmla="*/ 96 w 512"/>
              <a:gd name="T69" fmla="*/ 320 h 512"/>
              <a:gd name="T70" fmla="*/ 138 w 512"/>
              <a:gd name="T71" fmla="*/ 362 h 512"/>
              <a:gd name="T72" fmla="*/ 181 w 512"/>
              <a:gd name="T73" fmla="*/ 320 h 512"/>
              <a:gd name="T74" fmla="*/ 167 w 512"/>
              <a:gd name="T75" fmla="*/ 288 h 512"/>
              <a:gd name="T76" fmla="*/ 203 w 512"/>
              <a:gd name="T77" fmla="*/ 222 h 512"/>
              <a:gd name="T78" fmla="*/ 213 w 512"/>
              <a:gd name="T79" fmla="*/ 224 h 512"/>
              <a:gd name="T80" fmla="*/ 223 w 512"/>
              <a:gd name="T81" fmla="*/ 222 h 512"/>
              <a:gd name="T82" fmla="*/ 259 w 512"/>
              <a:gd name="T83" fmla="*/ 288 h 512"/>
              <a:gd name="T84" fmla="*/ 245 w 512"/>
              <a:gd name="T85" fmla="*/ 320 h 512"/>
              <a:gd name="T86" fmla="*/ 288 w 512"/>
              <a:gd name="T87" fmla="*/ 362 h 512"/>
              <a:gd name="T88" fmla="*/ 330 w 512"/>
              <a:gd name="T89" fmla="*/ 320 h 512"/>
              <a:gd name="T90" fmla="*/ 318 w 512"/>
              <a:gd name="T91" fmla="*/ 290 h 512"/>
              <a:gd name="T92" fmla="*/ 361 w 512"/>
              <a:gd name="T93" fmla="*/ 222 h 512"/>
              <a:gd name="T94" fmla="*/ 373 w 512"/>
              <a:gd name="T95" fmla="*/ 224 h 512"/>
              <a:gd name="T96" fmla="*/ 416 w 512"/>
              <a:gd name="T97" fmla="*/ 181 h 512"/>
              <a:gd name="T98" fmla="*/ 373 w 512"/>
              <a:gd name="T99" fmla="*/ 160 h 512"/>
              <a:gd name="T100" fmla="*/ 352 w 512"/>
              <a:gd name="T101" fmla="*/ 181 h 512"/>
              <a:gd name="T102" fmla="*/ 373 w 512"/>
              <a:gd name="T103" fmla="*/ 202 h 512"/>
              <a:gd name="T104" fmla="*/ 394 w 512"/>
              <a:gd name="T105" fmla="*/ 181 h 512"/>
              <a:gd name="T106" fmla="*/ 373 w 512"/>
              <a:gd name="T107"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309" y="320"/>
                </a:moveTo>
                <a:cubicBezTo>
                  <a:pt x="309" y="331"/>
                  <a:pt x="299" y="341"/>
                  <a:pt x="288" y="341"/>
                </a:cubicBezTo>
                <a:cubicBezTo>
                  <a:pt x="276" y="341"/>
                  <a:pt x="266" y="331"/>
                  <a:pt x="266" y="320"/>
                </a:cubicBezTo>
                <a:cubicBezTo>
                  <a:pt x="266" y="308"/>
                  <a:pt x="276" y="298"/>
                  <a:pt x="288" y="298"/>
                </a:cubicBezTo>
                <a:cubicBezTo>
                  <a:pt x="299" y="298"/>
                  <a:pt x="309" y="308"/>
                  <a:pt x="309" y="320"/>
                </a:cubicBezTo>
                <a:close/>
                <a:moveTo>
                  <a:pt x="213" y="160"/>
                </a:moveTo>
                <a:cubicBezTo>
                  <a:pt x="201" y="160"/>
                  <a:pt x="192" y="169"/>
                  <a:pt x="192" y="181"/>
                </a:cubicBezTo>
                <a:cubicBezTo>
                  <a:pt x="192" y="193"/>
                  <a:pt x="201" y="202"/>
                  <a:pt x="213" y="202"/>
                </a:cubicBezTo>
                <a:cubicBezTo>
                  <a:pt x="225" y="202"/>
                  <a:pt x="234" y="193"/>
                  <a:pt x="234" y="181"/>
                </a:cubicBezTo>
                <a:cubicBezTo>
                  <a:pt x="234" y="169"/>
                  <a:pt x="225" y="160"/>
                  <a:pt x="213" y="160"/>
                </a:cubicBezTo>
                <a:close/>
                <a:moveTo>
                  <a:pt x="138" y="298"/>
                </a:moveTo>
                <a:cubicBezTo>
                  <a:pt x="127" y="298"/>
                  <a:pt x="117" y="308"/>
                  <a:pt x="117" y="320"/>
                </a:cubicBezTo>
                <a:cubicBezTo>
                  <a:pt x="117" y="331"/>
                  <a:pt x="127" y="341"/>
                  <a:pt x="138" y="341"/>
                </a:cubicBezTo>
                <a:cubicBezTo>
                  <a:pt x="150" y="341"/>
                  <a:pt x="160" y="331"/>
                  <a:pt x="160" y="320"/>
                </a:cubicBezTo>
                <a:cubicBezTo>
                  <a:pt x="160" y="308"/>
                  <a:pt x="150" y="298"/>
                  <a:pt x="138" y="29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81"/>
                </a:moveTo>
                <a:cubicBezTo>
                  <a:pt x="416" y="157"/>
                  <a:pt x="397" y="138"/>
                  <a:pt x="373" y="138"/>
                </a:cubicBezTo>
                <a:cubicBezTo>
                  <a:pt x="349" y="138"/>
                  <a:pt x="330" y="157"/>
                  <a:pt x="330" y="181"/>
                </a:cubicBezTo>
                <a:cubicBezTo>
                  <a:pt x="330" y="192"/>
                  <a:pt x="335" y="203"/>
                  <a:pt x="342" y="211"/>
                </a:cubicBezTo>
                <a:cubicBezTo>
                  <a:pt x="300" y="279"/>
                  <a:pt x="300" y="279"/>
                  <a:pt x="300" y="279"/>
                </a:cubicBezTo>
                <a:cubicBezTo>
                  <a:pt x="296" y="278"/>
                  <a:pt x="292" y="277"/>
                  <a:pt x="288" y="277"/>
                </a:cubicBezTo>
                <a:cubicBezTo>
                  <a:pt x="284" y="277"/>
                  <a:pt x="281" y="278"/>
                  <a:pt x="278" y="278"/>
                </a:cubicBezTo>
                <a:cubicBezTo>
                  <a:pt x="242" y="212"/>
                  <a:pt x="242" y="212"/>
                  <a:pt x="242" y="212"/>
                </a:cubicBezTo>
                <a:cubicBezTo>
                  <a:pt x="250" y="204"/>
                  <a:pt x="256" y="193"/>
                  <a:pt x="256" y="181"/>
                </a:cubicBezTo>
                <a:cubicBezTo>
                  <a:pt x="256" y="157"/>
                  <a:pt x="237" y="138"/>
                  <a:pt x="213" y="138"/>
                </a:cubicBezTo>
                <a:cubicBezTo>
                  <a:pt x="189" y="138"/>
                  <a:pt x="170" y="157"/>
                  <a:pt x="170" y="181"/>
                </a:cubicBezTo>
                <a:cubicBezTo>
                  <a:pt x="170" y="193"/>
                  <a:pt x="176" y="204"/>
                  <a:pt x="184" y="212"/>
                </a:cubicBezTo>
                <a:cubicBezTo>
                  <a:pt x="148" y="278"/>
                  <a:pt x="148" y="278"/>
                  <a:pt x="148" y="278"/>
                </a:cubicBezTo>
                <a:cubicBezTo>
                  <a:pt x="145" y="278"/>
                  <a:pt x="142" y="277"/>
                  <a:pt x="138" y="277"/>
                </a:cubicBezTo>
                <a:cubicBezTo>
                  <a:pt x="115" y="277"/>
                  <a:pt x="96" y="296"/>
                  <a:pt x="96" y="320"/>
                </a:cubicBezTo>
                <a:cubicBezTo>
                  <a:pt x="96" y="343"/>
                  <a:pt x="115" y="362"/>
                  <a:pt x="138" y="362"/>
                </a:cubicBezTo>
                <a:cubicBezTo>
                  <a:pt x="162" y="362"/>
                  <a:pt x="181" y="343"/>
                  <a:pt x="181" y="320"/>
                </a:cubicBezTo>
                <a:cubicBezTo>
                  <a:pt x="181" y="307"/>
                  <a:pt x="176" y="296"/>
                  <a:pt x="167" y="288"/>
                </a:cubicBezTo>
                <a:cubicBezTo>
                  <a:pt x="203" y="222"/>
                  <a:pt x="203" y="222"/>
                  <a:pt x="203" y="222"/>
                </a:cubicBezTo>
                <a:cubicBezTo>
                  <a:pt x="206" y="223"/>
                  <a:pt x="209" y="224"/>
                  <a:pt x="213" y="224"/>
                </a:cubicBezTo>
                <a:cubicBezTo>
                  <a:pt x="217" y="224"/>
                  <a:pt x="220" y="223"/>
                  <a:pt x="223" y="222"/>
                </a:cubicBezTo>
                <a:cubicBezTo>
                  <a:pt x="259" y="288"/>
                  <a:pt x="259" y="288"/>
                  <a:pt x="259" y="288"/>
                </a:cubicBezTo>
                <a:cubicBezTo>
                  <a:pt x="250" y="296"/>
                  <a:pt x="245" y="307"/>
                  <a:pt x="245" y="320"/>
                </a:cubicBezTo>
                <a:cubicBezTo>
                  <a:pt x="245" y="343"/>
                  <a:pt x="264" y="362"/>
                  <a:pt x="288" y="362"/>
                </a:cubicBezTo>
                <a:cubicBezTo>
                  <a:pt x="311" y="362"/>
                  <a:pt x="330" y="343"/>
                  <a:pt x="330" y="320"/>
                </a:cubicBezTo>
                <a:cubicBezTo>
                  <a:pt x="330" y="308"/>
                  <a:pt x="326" y="298"/>
                  <a:pt x="318" y="290"/>
                </a:cubicBezTo>
                <a:cubicBezTo>
                  <a:pt x="361" y="222"/>
                  <a:pt x="361" y="222"/>
                  <a:pt x="361" y="222"/>
                </a:cubicBezTo>
                <a:cubicBezTo>
                  <a:pt x="365" y="223"/>
                  <a:pt x="369" y="224"/>
                  <a:pt x="373" y="224"/>
                </a:cubicBezTo>
                <a:cubicBezTo>
                  <a:pt x="397" y="224"/>
                  <a:pt x="416" y="205"/>
                  <a:pt x="416" y="181"/>
                </a:cubicBezTo>
                <a:close/>
                <a:moveTo>
                  <a:pt x="373" y="160"/>
                </a:moveTo>
                <a:cubicBezTo>
                  <a:pt x="361" y="160"/>
                  <a:pt x="352" y="169"/>
                  <a:pt x="352" y="181"/>
                </a:cubicBezTo>
                <a:cubicBezTo>
                  <a:pt x="352" y="193"/>
                  <a:pt x="361" y="202"/>
                  <a:pt x="373" y="202"/>
                </a:cubicBezTo>
                <a:cubicBezTo>
                  <a:pt x="385" y="202"/>
                  <a:pt x="394" y="193"/>
                  <a:pt x="394" y="181"/>
                </a:cubicBezTo>
                <a:cubicBezTo>
                  <a:pt x="394" y="169"/>
                  <a:pt x="385" y="160"/>
                  <a:pt x="373" y="160"/>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ndParaRPr>
          </a:p>
        </p:txBody>
      </p:sp>
      <p:grpSp>
        <p:nvGrpSpPr>
          <p:cNvPr id="64" name="Group 63">
            <a:extLst>
              <a:ext uri="{FF2B5EF4-FFF2-40B4-BE49-F238E27FC236}">
                <a16:creationId xmlns:a16="http://schemas.microsoft.com/office/drawing/2014/main" id="{5702952C-34C4-48A4-A93C-8986876A92A2}"/>
              </a:ext>
            </a:extLst>
          </p:cNvPr>
          <p:cNvGrpSpPr/>
          <p:nvPr/>
        </p:nvGrpSpPr>
        <p:grpSpPr>
          <a:xfrm>
            <a:off x="7308585" y="5255116"/>
            <a:ext cx="4434355" cy="547037"/>
            <a:chOff x="7239000" y="5097572"/>
            <a:chExt cx="4434355" cy="547037"/>
          </a:xfrm>
        </p:grpSpPr>
        <p:sp>
          <p:nvSpPr>
            <p:cNvPr id="65" name="TextBox 64">
              <a:extLst>
                <a:ext uri="{FF2B5EF4-FFF2-40B4-BE49-F238E27FC236}">
                  <a16:creationId xmlns:a16="http://schemas.microsoft.com/office/drawing/2014/main" id="{60D768C9-FF49-4654-AB57-A9E5EE24D1FF}"/>
                </a:ext>
              </a:extLst>
            </p:cNvPr>
            <p:cNvSpPr txBox="1">
              <a:spLocks/>
            </p:cNvSpPr>
            <p:nvPr/>
          </p:nvSpPr>
          <p:spPr>
            <a:xfrm>
              <a:off x="7627329" y="5097572"/>
              <a:ext cx="4046026" cy="547037"/>
            </a:xfrm>
            <a:prstGeom prst="rect">
              <a:avLst/>
            </a:prstGeom>
          </p:spPr>
          <p:txBody>
            <a:bodyPr vert="horz" lIns="0" tIns="0" rIns="0" bIns="0" rtlCol="0" anchor="ctr">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b="1" i="0" u="none" strike="noStrike" kern="1200" cap="none" spc="0" normalizeH="0" baseline="0" noProof="0" dirty="0">
                  <a:ln>
                    <a:noFill/>
                  </a:ln>
                  <a:solidFill>
                    <a:prstClr val="black"/>
                  </a:solidFill>
                  <a:effectLst/>
                  <a:uLnTx/>
                  <a:uFillTx/>
                  <a:ea typeface="+mn-ea"/>
                  <a:cs typeface="+mn-cs"/>
                </a:rPr>
                <a:t>Prioritize opportunity areas </a:t>
              </a:r>
              <a:r>
                <a:rPr kumimoji="0" lang="en-US" b="0" i="0" u="none" strike="noStrike" kern="1200" cap="none" spc="0" normalizeH="0" baseline="0" noProof="0" dirty="0">
                  <a:ln>
                    <a:noFill/>
                  </a:ln>
                  <a:solidFill>
                    <a:prstClr val="black"/>
                  </a:solidFill>
                  <a:effectLst/>
                  <a:uLnTx/>
                  <a:uFillTx/>
                  <a:ea typeface="+mn-ea"/>
                  <a:cs typeface="+mn-cs"/>
                </a:rPr>
                <a:t>that the team will collectively evaluate in the next 3, 6 and 12 months to see if they should be perused. </a:t>
              </a:r>
              <a:r>
                <a:rPr kumimoji="0" lang="en-US" b="1" i="0" u="none" strike="noStrike" kern="1200" cap="none" spc="0" normalizeH="0" baseline="0" noProof="0" dirty="0">
                  <a:ln>
                    <a:noFill/>
                  </a:ln>
                  <a:solidFill>
                    <a:prstClr val="black"/>
                  </a:solidFill>
                  <a:effectLst/>
                  <a:uLnTx/>
                  <a:uFillTx/>
                  <a:ea typeface="+mn-ea"/>
                  <a:cs typeface="+mn-cs"/>
                </a:rPr>
                <a:t>No decisions are being made today</a:t>
              </a:r>
              <a:endParaRPr kumimoji="0" lang="de-DE" b="1" i="0" u="none" strike="noStrike" kern="1200" cap="none" spc="0" normalizeH="0" baseline="0" noProof="0" dirty="0">
                <a:ln>
                  <a:noFill/>
                </a:ln>
                <a:solidFill>
                  <a:prstClr val="black"/>
                </a:solidFill>
                <a:effectLst/>
                <a:uLnTx/>
                <a:uFillTx/>
                <a:ea typeface="+mn-ea"/>
                <a:cs typeface="+mn-cs"/>
              </a:endParaRPr>
            </a:p>
          </p:txBody>
        </p:sp>
        <p:sp>
          <p:nvSpPr>
            <p:cNvPr id="66" name="Freeform 375">
              <a:extLst>
                <a:ext uri="{FF2B5EF4-FFF2-40B4-BE49-F238E27FC236}">
                  <a16:creationId xmlns:a16="http://schemas.microsoft.com/office/drawing/2014/main" id="{AAFC7902-F9BA-4970-BC62-A7C214C562C3}"/>
                </a:ext>
              </a:extLst>
            </p:cNvPr>
            <p:cNvSpPr>
              <a:spLocks noChangeAspect="1" noEditPoints="1"/>
            </p:cNvSpPr>
            <p:nvPr/>
          </p:nvSpPr>
          <p:spPr bwMode="auto">
            <a:xfrm>
              <a:off x="7239000" y="5207000"/>
              <a:ext cx="256032" cy="256032"/>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ndParaRPr>
            </a:p>
          </p:txBody>
        </p:sp>
      </p:grpSp>
      <p:grpSp>
        <p:nvGrpSpPr>
          <p:cNvPr id="42" name="Group 41">
            <a:extLst>
              <a:ext uri="{FF2B5EF4-FFF2-40B4-BE49-F238E27FC236}">
                <a16:creationId xmlns:a16="http://schemas.microsoft.com/office/drawing/2014/main" id="{05DF3C00-192C-40EC-9984-7FD16CD35A09}"/>
              </a:ext>
            </a:extLst>
          </p:cNvPr>
          <p:cNvGrpSpPr/>
          <p:nvPr/>
        </p:nvGrpSpPr>
        <p:grpSpPr>
          <a:xfrm>
            <a:off x="10870191" y="2047387"/>
            <a:ext cx="941484" cy="868599"/>
            <a:chOff x="10856449" y="2127917"/>
            <a:chExt cx="941484" cy="868599"/>
          </a:xfrm>
        </p:grpSpPr>
        <p:grpSp>
          <p:nvGrpSpPr>
            <p:cNvPr id="43" name="Gruppieren 13">
              <a:extLst>
                <a:ext uri="{FF2B5EF4-FFF2-40B4-BE49-F238E27FC236}">
                  <a16:creationId xmlns:a16="http://schemas.microsoft.com/office/drawing/2014/main" id="{9F0142F4-6CD8-4802-B167-17A40862F20C}"/>
                </a:ext>
              </a:extLst>
            </p:cNvPr>
            <p:cNvGrpSpPr/>
            <p:nvPr/>
          </p:nvGrpSpPr>
          <p:grpSpPr>
            <a:xfrm rot="16200000">
              <a:off x="10856916" y="2127450"/>
              <a:ext cx="868599" cy="869533"/>
              <a:chOff x="6474778" y="2667252"/>
              <a:chExt cx="3015388" cy="3018630"/>
            </a:xfrm>
          </p:grpSpPr>
          <p:sp>
            <p:nvSpPr>
              <p:cNvPr id="47" name="Freeform 7">
                <a:extLst>
                  <a:ext uri="{FF2B5EF4-FFF2-40B4-BE49-F238E27FC236}">
                    <a16:creationId xmlns:a16="http://schemas.microsoft.com/office/drawing/2014/main" id="{AB59EAC8-6671-4EA4-AC3C-5BFEF9012C7D}"/>
                  </a:ext>
                </a:extLst>
              </p:cNvPr>
              <p:cNvSpPr>
                <a:spLocks/>
              </p:cNvSpPr>
              <p:nvPr/>
            </p:nvSpPr>
            <p:spPr bwMode="auto">
              <a:xfrm>
                <a:off x="7982472" y="2667252"/>
                <a:ext cx="1507694" cy="3018630"/>
              </a:xfrm>
              <a:custGeom>
                <a:avLst/>
                <a:gdLst/>
                <a:ahLst/>
                <a:cxnLst>
                  <a:cxn ang="0">
                    <a:pos x="114" y="4"/>
                  </a:cxn>
                  <a:cxn ang="0">
                    <a:pos x="335" y="40"/>
                  </a:cxn>
                  <a:cxn ang="0">
                    <a:pos x="544" y="109"/>
                  </a:cxn>
                  <a:cxn ang="0">
                    <a:pos x="735" y="209"/>
                  </a:cxn>
                  <a:cxn ang="0">
                    <a:pos x="908" y="336"/>
                  </a:cxn>
                  <a:cxn ang="0">
                    <a:pos x="1059" y="487"/>
                  </a:cxn>
                  <a:cxn ang="0">
                    <a:pos x="1186" y="661"/>
                  </a:cxn>
                  <a:cxn ang="0">
                    <a:pos x="1286" y="852"/>
                  </a:cxn>
                  <a:cxn ang="0">
                    <a:pos x="1355" y="1061"/>
                  </a:cxn>
                  <a:cxn ang="0">
                    <a:pos x="1391" y="1282"/>
                  </a:cxn>
                  <a:cxn ang="0">
                    <a:pos x="1391" y="1511"/>
                  </a:cxn>
                  <a:cxn ang="0">
                    <a:pos x="1355" y="1732"/>
                  </a:cxn>
                  <a:cxn ang="0">
                    <a:pos x="1286" y="1941"/>
                  </a:cxn>
                  <a:cxn ang="0">
                    <a:pos x="1186" y="2132"/>
                  </a:cxn>
                  <a:cxn ang="0">
                    <a:pos x="1059" y="2305"/>
                  </a:cxn>
                  <a:cxn ang="0">
                    <a:pos x="908" y="2457"/>
                  </a:cxn>
                  <a:cxn ang="0">
                    <a:pos x="735" y="2584"/>
                  </a:cxn>
                  <a:cxn ang="0">
                    <a:pos x="544" y="2683"/>
                  </a:cxn>
                  <a:cxn ang="0">
                    <a:pos x="335" y="2753"/>
                  </a:cxn>
                  <a:cxn ang="0">
                    <a:pos x="114" y="2789"/>
                  </a:cxn>
                  <a:cxn ang="0">
                    <a:pos x="0" y="2428"/>
                  </a:cxn>
                  <a:cxn ang="0">
                    <a:pos x="185" y="2412"/>
                  </a:cxn>
                  <a:cxn ang="0">
                    <a:pos x="360" y="2365"/>
                  </a:cxn>
                  <a:cxn ang="0">
                    <a:pos x="520" y="2288"/>
                  </a:cxn>
                  <a:cxn ang="0">
                    <a:pos x="664" y="2187"/>
                  </a:cxn>
                  <a:cxn ang="0">
                    <a:pos x="788" y="2062"/>
                  </a:cxn>
                  <a:cxn ang="0">
                    <a:pos x="890" y="1918"/>
                  </a:cxn>
                  <a:cxn ang="0">
                    <a:pos x="966" y="1757"/>
                  </a:cxn>
                  <a:cxn ang="0">
                    <a:pos x="1015" y="1582"/>
                  </a:cxn>
                  <a:cxn ang="0">
                    <a:pos x="1031" y="1396"/>
                  </a:cxn>
                  <a:cxn ang="0">
                    <a:pos x="1012" y="1201"/>
                  </a:cxn>
                  <a:cxn ang="0">
                    <a:pos x="958" y="1017"/>
                  </a:cxn>
                  <a:cxn ang="0">
                    <a:pos x="874" y="849"/>
                  </a:cxn>
                  <a:cxn ang="0">
                    <a:pos x="761" y="701"/>
                  </a:cxn>
                  <a:cxn ang="0">
                    <a:pos x="624" y="575"/>
                  </a:cxn>
                  <a:cxn ang="0">
                    <a:pos x="465" y="476"/>
                  </a:cxn>
                  <a:cxn ang="0">
                    <a:pos x="289" y="406"/>
                  </a:cxn>
                  <a:cxn ang="0">
                    <a:pos x="99" y="369"/>
                  </a:cxn>
                  <a:cxn ang="0">
                    <a:pos x="0" y="0"/>
                  </a:cxn>
                </a:cxnLst>
                <a:rect l="0" t="0" r="r" b="b"/>
                <a:pathLst>
                  <a:path w="1395" h="2793">
                    <a:moveTo>
                      <a:pt x="0" y="0"/>
                    </a:moveTo>
                    <a:lnTo>
                      <a:pt x="114" y="4"/>
                    </a:lnTo>
                    <a:lnTo>
                      <a:pt x="227" y="17"/>
                    </a:lnTo>
                    <a:lnTo>
                      <a:pt x="335" y="40"/>
                    </a:lnTo>
                    <a:lnTo>
                      <a:pt x="441" y="71"/>
                    </a:lnTo>
                    <a:lnTo>
                      <a:pt x="544" y="109"/>
                    </a:lnTo>
                    <a:lnTo>
                      <a:pt x="641" y="155"/>
                    </a:lnTo>
                    <a:lnTo>
                      <a:pt x="735" y="209"/>
                    </a:lnTo>
                    <a:lnTo>
                      <a:pt x="823" y="270"/>
                    </a:lnTo>
                    <a:lnTo>
                      <a:pt x="908" y="336"/>
                    </a:lnTo>
                    <a:lnTo>
                      <a:pt x="986" y="409"/>
                    </a:lnTo>
                    <a:lnTo>
                      <a:pt x="1059" y="487"/>
                    </a:lnTo>
                    <a:lnTo>
                      <a:pt x="1126" y="572"/>
                    </a:lnTo>
                    <a:lnTo>
                      <a:pt x="1186" y="661"/>
                    </a:lnTo>
                    <a:lnTo>
                      <a:pt x="1240" y="754"/>
                    </a:lnTo>
                    <a:lnTo>
                      <a:pt x="1286" y="852"/>
                    </a:lnTo>
                    <a:lnTo>
                      <a:pt x="1324" y="955"/>
                    </a:lnTo>
                    <a:lnTo>
                      <a:pt x="1355" y="1061"/>
                    </a:lnTo>
                    <a:lnTo>
                      <a:pt x="1377" y="1170"/>
                    </a:lnTo>
                    <a:lnTo>
                      <a:pt x="1391" y="1282"/>
                    </a:lnTo>
                    <a:lnTo>
                      <a:pt x="1395" y="1396"/>
                    </a:lnTo>
                    <a:lnTo>
                      <a:pt x="1391" y="1511"/>
                    </a:lnTo>
                    <a:lnTo>
                      <a:pt x="1377" y="1623"/>
                    </a:lnTo>
                    <a:lnTo>
                      <a:pt x="1355" y="1732"/>
                    </a:lnTo>
                    <a:lnTo>
                      <a:pt x="1324" y="1838"/>
                    </a:lnTo>
                    <a:lnTo>
                      <a:pt x="1286" y="1941"/>
                    </a:lnTo>
                    <a:lnTo>
                      <a:pt x="1240" y="2038"/>
                    </a:lnTo>
                    <a:lnTo>
                      <a:pt x="1186" y="2132"/>
                    </a:lnTo>
                    <a:lnTo>
                      <a:pt x="1126" y="2221"/>
                    </a:lnTo>
                    <a:lnTo>
                      <a:pt x="1059" y="2305"/>
                    </a:lnTo>
                    <a:lnTo>
                      <a:pt x="986" y="2384"/>
                    </a:lnTo>
                    <a:lnTo>
                      <a:pt x="908" y="2457"/>
                    </a:lnTo>
                    <a:lnTo>
                      <a:pt x="823" y="2523"/>
                    </a:lnTo>
                    <a:lnTo>
                      <a:pt x="735" y="2584"/>
                    </a:lnTo>
                    <a:lnTo>
                      <a:pt x="641" y="2638"/>
                    </a:lnTo>
                    <a:lnTo>
                      <a:pt x="544" y="2683"/>
                    </a:lnTo>
                    <a:lnTo>
                      <a:pt x="441" y="2722"/>
                    </a:lnTo>
                    <a:lnTo>
                      <a:pt x="335" y="2753"/>
                    </a:lnTo>
                    <a:lnTo>
                      <a:pt x="227" y="2775"/>
                    </a:lnTo>
                    <a:lnTo>
                      <a:pt x="114" y="2789"/>
                    </a:lnTo>
                    <a:lnTo>
                      <a:pt x="0" y="2793"/>
                    </a:lnTo>
                    <a:lnTo>
                      <a:pt x="0" y="2428"/>
                    </a:lnTo>
                    <a:lnTo>
                      <a:pt x="93" y="2424"/>
                    </a:lnTo>
                    <a:lnTo>
                      <a:pt x="185" y="2412"/>
                    </a:lnTo>
                    <a:lnTo>
                      <a:pt x="274" y="2391"/>
                    </a:lnTo>
                    <a:lnTo>
                      <a:pt x="360" y="2365"/>
                    </a:lnTo>
                    <a:lnTo>
                      <a:pt x="441" y="2329"/>
                    </a:lnTo>
                    <a:lnTo>
                      <a:pt x="520" y="2288"/>
                    </a:lnTo>
                    <a:lnTo>
                      <a:pt x="594" y="2240"/>
                    </a:lnTo>
                    <a:lnTo>
                      <a:pt x="664" y="2187"/>
                    </a:lnTo>
                    <a:lnTo>
                      <a:pt x="729" y="2126"/>
                    </a:lnTo>
                    <a:lnTo>
                      <a:pt x="788" y="2062"/>
                    </a:lnTo>
                    <a:lnTo>
                      <a:pt x="843" y="1993"/>
                    </a:lnTo>
                    <a:lnTo>
                      <a:pt x="890" y="1918"/>
                    </a:lnTo>
                    <a:lnTo>
                      <a:pt x="932" y="1840"/>
                    </a:lnTo>
                    <a:lnTo>
                      <a:pt x="966" y="1757"/>
                    </a:lnTo>
                    <a:lnTo>
                      <a:pt x="994" y="1671"/>
                    </a:lnTo>
                    <a:lnTo>
                      <a:pt x="1015" y="1582"/>
                    </a:lnTo>
                    <a:lnTo>
                      <a:pt x="1026" y="1490"/>
                    </a:lnTo>
                    <a:lnTo>
                      <a:pt x="1031" y="1396"/>
                    </a:lnTo>
                    <a:lnTo>
                      <a:pt x="1026" y="1297"/>
                    </a:lnTo>
                    <a:lnTo>
                      <a:pt x="1012" y="1201"/>
                    </a:lnTo>
                    <a:lnTo>
                      <a:pt x="989" y="1107"/>
                    </a:lnTo>
                    <a:lnTo>
                      <a:pt x="958" y="1017"/>
                    </a:lnTo>
                    <a:lnTo>
                      <a:pt x="920" y="931"/>
                    </a:lnTo>
                    <a:lnTo>
                      <a:pt x="874" y="849"/>
                    </a:lnTo>
                    <a:lnTo>
                      <a:pt x="821" y="772"/>
                    </a:lnTo>
                    <a:lnTo>
                      <a:pt x="761" y="701"/>
                    </a:lnTo>
                    <a:lnTo>
                      <a:pt x="695" y="634"/>
                    </a:lnTo>
                    <a:lnTo>
                      <a:pt x="624" y="575"/>
                    </a:lnTo>
                    <a:lnTo>
                      <a:pt x="546" y="522"/>
                    </a:lnTo>
                    <a:lnTo>
                      <a:pt x="465" y="476"/>
                    </a:lnTo>
                    <a:lnTo>
                      <a:pt x="379" y="437"/>
                    </a:lnTo>
                    <a:lnTo>
                      <a:pt x="289" y="406"/>
                    </a:lnTo>
                    <a:lnTo>
                      <a:pt x="195" y="384"/>
                    </a:lnTo>
                    <a:lnTo>
                      <a:pt x="99" y="369"/>
                    </a:lnTo>
                    <a:lnTo>
                      <a:pt x="0" y="364"/>
                    </a:lnTo>
                    <a:lnTo>
                      <a:pt x="0" y="0"/>
                    </a:lnTo>
                    <a:close/>
                  </a:path>
                </a:pathLst>
              </a:custGeom>
              <a:solidFill>
                <a:srgbClr val="D0D0CE">
                  <a:lumMod val="75000"/>
                </a:srgb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endParaRPr>
              </a:p>
            </p:txBody>
          </p:sp>
          <p:sp>
            <p:nvSpPr>
              <p:cNvPr id="48" name="Freeform 8">
                <a:extLst>
                  <a:ext uri="{FF2B5EF4-FFF2-40B4-BE49-F238E27FC236}">
                    <a16:creationId xmlns:a16="http://schemas.microsoft.com/office/drawing/2014/main" id="{50545402-DAB6-4DEA-8ACA-CF7F52D62E28}"/>
                  </a:ext>
                </a:extLst>
              </p:cNvPr>
              <p:cNvSpPr>
                <a:spLocks/>
              </p:cNvSpPr>
              <p:nvPr/>
            </p:nvSpPr>
            <p:spPr bwMode="auto">
              <a:xfrm>
                <a:off x="6474778" y="2667252"/>
                <a:ext cx="1507694" cy="3018630"/>
              </a:xfrm>
              <a:custGeom>
                <a:avLst/>
                <a:gdLst/>
                <a:ahLst/>
                <a:cxnLst>
                  <a:cxn ang="0">
                    <a:pos x="1395" y="364"/>
                  </a:cxn>
                  <a:cxn ang="0">
                    <a:pos x="1210" y="381"/>
                  </a:cxn>
                  <a:cxn ang="0">
                    <a:pos x="1035" y="430"/>
                  </a:cxn>
                  <a:cxn ang="0">
                    <a:pos x="874" y="505"/>
                  </a:cxn>
                  <a:cxn ang="0">
                    <a:pos x="730" y="608"/>
                  </a:cxn>
                  <a:cxn ang="0">
                    <a:pos x="605" y="732"/>
                  </a:cxn>
                  <a:cxn ang="0">
                    <a:pos x="505" y="876"/>
                  </a:cxn>
                  <a:cxn ang="0">
                    <a:pos x="428" y="1036"/>
                  </a:cxn>
                  <a:cxn ang="0">
                    <a:pos x="380" y="1211"/>
                  </a:cxn>
                  <a:cxn ang="0">
                    <a:pos x="364" y="1396"/>
                  </a:cxn>
                  <a:cxn ang="0">
                    <a:pos x="383" y="1592"/>
                  </a:cxn>
                  <a:cxn ang="0">
                    <a:pos x="437" y="1776"/>
                  </a:cxn>
                  <a:cxn ang="0">
                    <a:pos x="521" y="1945"/>
                  </a:cxn>
                  <a:cxn ang="0">
                    <a:pos x="634" y="2093"/>
                  </a:cxn>
                  <a:cxn ang="0">
                    <a:pos x="771" y="2218"/>
                  </a:cxn>
                  <a:cxn ang="0">
                    <a:pos x="930" y="2317"/>
                  </a:cxn>
                  <a:cxn ang="0">
                    <a:pos x="1105" y="2387"/>
                  </a:cxn>
                  <a:cxn ang="0">
                    <a:pos x="1296" y="2424"/>
                  </a:cxn>
                  <a:cxn ang="0">
                    <a:pos x="1395" y="2793"/>
                  </a:cxn>
                  <a:cxn ang="0">
                    <a:pos x="1168" y="2775"/>
                  </a:cxn>
                  <a:cxn ang="0">
                    <a:pos x="954" y="2722"/>
                  </a:cxn>
                  <a:cxn ang="0">
                    <a:pos x="754" y="2638"/>
                  </a:cxn>
                  <a:cxn ang="0">
                    <a:pos x="571" y="2523"/>
                  </a:cxn>
                  <a:cxn ang="0">
                    <a:pos x="408" y="2384"/>
                  </a:cxn>
                  <a:cxn ang="0">
                    <a:pos x="269" y="2221"/>
                  </a:cxn>
                  <a:cxn ang="0">
                    <a:pos x="155" y="2038"/>
                  </a:cxn>
                  <a:cxn ang="0">
                    <a:pos x="71" y="1838"/>
                  </a:cxn>
                  <a:cxn ang="0">
                    <a:pos x="17" y="1623"/>
                  </a:cxn>
                  <a:cxn ang="0">
                    <a:pos x="0" y="1396"/>
                  </a:cxn>
                  <a:cxn ang="0">
                    <a:pos x="17" y="1170"/>
                  </a:cxn>
                  <a:cxn ang="0">
                    <a:pos x="71" y="955"/>
                  </a:cxn>
                  <a:cxn ang="0">
                    <a:pos x="155" y="754"/>
                  </a:cxn>
                  <a:cxn ang="0">
                    <a:pos x="269" y="572"/>
                  </a:cxn>
                  <a:cxn ang="0">
                    <a:pos x="408" y="409"/>
                  </a:cxn>
                  <a:cxn ang="0">
                    <a:pos x="571" y="270"/>
                  </a:cxn>
                  <a:cxn ang="0">
                    <a:pos x="754" y="155"/>
                  </a:cxn>
                  <a:cxn ang="0">
                    <a:pos x="954" y="71"/>
                  </a:cxn>
                  <a:cxn ang="0">
                    <a:pos x="1168" y="17"/>
                  </a:cxn>
                  <a:cxn ang="0">
                    <a:pos x="1395" y="0"/>
                  </a:cxn>
                </a:cxnLst>
                <a:rect l="0" t="0" r="r" b="b"/>
                <a:pathLst>
                  <a:path w="1395" h="2793">
                    <a:moveTo>
                      <a:pt x="1395" y="0"/>
                    </a:moveTo>
                    <a:lnTo>
                      <a:pt x="1395" y="364"/>
                    </a:lnTo>
                    <a:lnTo>
                      <a:pt x="1302" y="369"/>
                    </a:lnTo>
                    <a:lnTo>
                      <a:pt x="1210" y="381"/>
                    </a:lnTo>
                    <a:lnTo>
                      <a:pt x="1121" y="401"/>
                    </a:lnTo>
                    <a:lnTo>
                      <a:pt x="1035" y="430"/>
                    </a:lnTo>
                    <a:lnTo>
                      <a:pt x="952" y="464"/>
                    </a:lnTo>
                    <a:lnTo>
                      <a:pt x="874" y="505"/>
                    </a:lnTo>
                    <a:lnTo>
                      <a:pt x="799" y="553"/>
                    </a:lnTo>
                    <a:lnTo>
                      <a:pt x="730" y="608"/>
                    </a:lnTo>
                    <a:lnTo>
                      <a:pt x="666" y="667"/>
                    </a:lnTo>
                    <a:lnTo>
                      <a:pt x="605" y="732"/>
                    </a:lnTo>
                    <a:lnTo>
                      <a:pt x="552" y="802"/>
                    </a:lnTo>
                    <a:lnTo>
                      <a:pt x="505" y="876"/>
                    </a:lnTo>
                    <a:lnTo>
                      <a:pt x="463" y="955"/>
                    </a:lnTo>
                    <a:lnTo>
                      <a:pt x="428" y="1036"/>
                    </a:lnTo>
                    <a:lnTo>
                      <a:pt x="401" y="1122"/>
                    </a:lnTo>
                    <a:lnTo>
                      <a:pt x="380" y="1211"/>
                    </a:lnTo>
                    <a:lnTo>
                      <a:pt x="368" y="1303"/>
                    </a:lnTo>
                    <a:lnTo>
                      <a:pt x="364" y="1396"/>
                    </a:lnTo>
                    <a:lnTo>
                      <a:pt x="368" y="1496"/>
                    </a:lnTo>
                    <a:lnTo>
                      <a:pt x="383" y="1592"/>
                    </a:lnTo>
                    <a:lnTo>
                      <a:pt x="405" y="1687"/>
                    </a:lnTo>
                    <a:lnTo>
                      <a:pt x="437" y="1776"/>
                    </a:lnTo>
                    <a:lnTo>
                      <a:pt x="475" y="1862"/>
                    </a:lnTo>
                    <a:lnTo>
                      <a:pt x="521" y="1945"/>
                    </a:lnTo>
                    <a:lnTo>
                      <a:pt x="574" y="2021"/>
                    </a:lnTo>
                    <a:lnTo>
                      <a:pt x="634" y="2093"/>
                    </a:lnTo>
                    <a:lnTo>
                      <a:pt x="699" y="2159"/>
                    </a:lnTo>
                    <a:lnTo>
                      <a:pt x="771" y="2218"/>
                    </a:lnTo>
                    <a:lnTo>
                      <a:pt x="847" y="2271"/>
                    </a:lnTo>
                    <a:lnTo>
                      <a:pt x="930" y="2317"/>
                    </a:lnTo>
                    <a:lnTo>
                      <a:pt x="1016" y="2356"/>
                    </a:lnTo>
                    <a:lnTo>
                      <a:pt x="1105" y="2387"/>
                    </a:lnTo>
                    <a:lnTo>
                      <a:pt x="1199" y="2409"/>
                    </a:lnTo>
                    <a:lnTo>
                      <a:pt x="1296" y="2424"/>
                    </a:lnTo>
                    <a:lnTo>
                      <a:pt x="1395" y="2428"/>
                    </a:lnTo>
                    <a:lnTo>
                      <a:pt x="1395" y="2793"/>
                    </a:lnTo>
                    <a:lnTo>
                      <a:pt x="1281" y="2789"/>
                    </a:lnTo>
                    <a:lnTo>
                      <a:pt x="1168" y="2775"/>
                    </a:lnTo>
                    <a:lnTo>
                      <a:pt x="1060" y="2753"/>
                    </a:lnTo>
                    <a:lnTo>
                      <a:pt x="954" y="2722"/>
                    </a:lnTo>
                    <a:lnTo>
                      <a:pt x="851" y="2683"/>
                    </a:lnTo>
                    <a:lnTo>
                      <a:pt x="754" y="2638"/>
                    </a:lnTo>
                    <a:lnTo>
                      <a:pt x="660" y="2584"/>
                    </a:lnTo>
                    <a:lnTo>
                      <a:pt x="571" y="2523"/>
                    </a:lnTo>
                    <a:lnTo>
                      <a:pt x="487" y="2457"/>
                    </a:lnTo>
                    <a:lnTo>
                      <a:pt x="408" y="2384"/>
                    </a:lnTo>
                    <a:lnTo>
                      <a:pt x="336" y="2305"/>
                    </a:lnTo>
                    <a:lnTo>
                      <a:pt x="269" y="2221"/>
                    </a:lnTo>
                    <a:lnTo>
                      <a:pt x="208" y="2132"/>
                    </a:lnTo>
                    <a:lnTo>
                      <a:pt x="155" y="2038"/>
                    </a:lnTo>
                    <a:lnTo>
                      <a:pt x="109" y="1941"/>
                    </a:lnTo>
                    <a:lnTo>
                      <a:pt x="71" y="1838"/>
                    </a:lnTo>
                    <a:lnTo>
                      <a:pt x="40" y="1732"/>
                    </a:lnTo>
                    <a:lnTo>
                      <a:pt x="17" y="1623"/>
                    </a:lnTo>
                    <a:lnTo>
                      <a:pt x="4" y="1511"/>
                    </a:lnTo>
                    <a:lnTo>
                      <a:pt x="0" y="1396"/>
                    </a:lnTo>
                    <a:lnTo>
                      <a:pt x="4" y="1282"/>
                    </a:lnTo>
                    <a:lnTo>
                      <a:pt x="17" y="1170"/>
                    </a:lnTo>
                    <a:lnTo>
                      <a:pt x="40" y="1061"/>
                    </a:lnTo>
                    <a:lnTo>
                      <a:pt x="71" y="955"/>
                    </a:lnTo>
                    <a:lnTo>
                      <a:pt x="109" y="852"/>
                    </a:lnTo>
                    <a:lnTo>
                      <a:pt x="155" y="754"/>
                    </a:lnTo>
                    <a:lnTo>
                      <a:pt x="208" y="661"/>
                    </a:lnTo>
                    <a:lnTo>
                      <a:pt x="269" y="572"/>
                    </a:lnTo>
                    <a:lnTo>
                      <a:pt x="336" y="487"/>
                    </a:lnTo>
                    <a:lnTo>
                      <a:pt x="408" y="409"/>
                    </a:lnTo>
                    <a:lnTo>
                      <a:pt x="487" y="336"/>
                    </a:lnTo>
                    <a:lnTo>
                      <a:pt x="571" y="270"/>
                    </a:lnTo>
                    <a:lnTo>
                      <a:pt x="660" y="209"/>
                    </a:lnTo>
                    <a:lnTo>
                      <a:pt x="754" y="155"/>
                    </a:lnTo>
                    <a:lnTo>
                      <a:pt x="851" y="109"/>
                    </a:lnTo>
                    <a:lnTo>
                      <a:pt x="954" y="71"/>
                    </a:lnTo>
                    <a:lnTo>
                      <a:pt x="1060" y="40"/>
                    </a:lnTo>
                    <a:lnTo>
                      <a:pt x="1168" y="17"/>
                    </a:lnTo>
                    <a:lnTo>
                      <a:pt x="1281" y="4"/>
                    </a:lnTo>
                    <a:lnTo>
                      <a:pt x="1395" y="0"/>
                    </a:lnTo>
                    <a:close/>
                  </a:path>
                </a:pathLst>
              </a:custGeom>
              <a:solidFill>
                <a:srgbClr val="D0D0C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endParaRPr>
              </a:p>
            </p:txBody>
          </p:sp>
          <p:sp>
            <p:nvSpPr>
              <p:cNvPr id="49" name="Freeform 9">
                <a:extLst>
                  <a:ext uri="{FF2B5EF4-FFF2-40B4-BE49-F238E27FC236}">
                    <a16:creationId xmlns:a16="http://schemas.microsoft.com/office/drawing/2014/main" id="{33A8DD9E-C85E-4BFA-A491-293D8D0FCDCE}"/>
                  </a:ext>
                </a:extLst>
              </p:cNvPr>
              <p:cNvSpPr>
                <a:spLocks/>
              </p:cNvSpPr>
              <p:nvPr/>
            </p:nvSpPr>
            <p:spPr bwMode="auto">
              <a:xfrm>
                <a:off x="7982472" y="3060657"/>
                <a:ext cx="1114289" cy="2230738"/>
              </a:xfrm>
              <a:custGeom>
                <a:avLst/>
                <a:gdLst/>
                <a:ahLst/>
                <a:cxnLst>
                  <a:cxn ang="0">
                    <a:pos x="99" y="5"/>
                  </a:cxn>
                  <a:cxn ang="0">
                    <a:pos x="289" y="42"/>
                  </a:cxn>
                  <a:cxn ang="0">
                    <a:pos x="465" y="112"/>
                  </a:cxn>
                  <a:cxn ang="0">
                    <a:pos x="624" y="211"/>
                  </a:cxn>
                  <a:cxn ang="0">
                    <a:pos x="761" y="337"/>
                  </a:cxn>
                  <a:cxn ang="0">
                    <a:pos x="874" y="485"/>
                  </a:cxn>
                  <a:cxn ang="0">
                    <a:pos x="958" y="653"/>
                  </a:cxn>
                  <a:cxn ang="0">
                    <a:pos x="1012" y="837"/>
                  </a:cxn>
                  <a:cxn ang="0">
                    <a:pos x="1031" y="1032"/>
                  </a:cxn>
                  <a:cxn ang="0">
                    <a:pos x="1015" y="1218"/>
                  </a:cxn>
                  <a:cxn ang="0">
                    <a:pos x="966" y="1393"/>
                  </a:cxn>
                  <a:cxn ang="0">
                    <a:pos x="890" y="1554"/>
                  </a:cxn>
                  <a:cxn ang="0">
                    <a:pos x="788" y="1698"/>
                  </a:cxn>
                  <a:cxn ang="0">
                    <a:pos x="664" y="1823"/>
                  </a:cxn>
                  <a:cxn ang="0">
                    <a:pos x="520" y="1924"/>
                  </a:cxn>
                  <a:cxn ang="0">
                    <a:pos x="360" y="2001"/>
                  </a:cxn>
                  <a:cxn ang="0">
                    <a:pos x="185" y="2048"/>
                  </a:cxn>
                  <a:cxn ang="0">
                    <a:pos x="0" y="2064"/>
                  </a:cxn>
                  <a:cxn ang="0">
                    <a:pos x="78" y="1697"/>
                  </a:cxn>
                  <a:cxn ang="0">
                    <a:pos x="224" y="1663"/>
                  </a:cxn>
                  <a:cxn ang="0">
                    <a:pos x="357" y="1597"/>
                  </a:cxn>
                  <a:cxn ang="0">
                    <a:pos x="471" y="1505"/>
                  </a:cxn>
                  <a:cxn ang="0">
                    <a:pos x="563" y="1391"/>
                  </a:cxn>
                  <a:cxn ang="0">
                    <a:pos x="628" y="1258"/>
                  </a:cxn>
                  <a:cxn ang="0">
                    <a:pos x="662" y="1111"/>
                  </a:cxn>
                  <a:cxn ang="0">
                    <a:pos x="662" y="954"/>
                  </a:cxn>
                  <a:cxn ang="0">
                    <a:pos x="628" y="807"/>
                  </a:cxn>
                  <a:cxn ang="0">
                    <a:pos x="563" y="675"/>
                  </a:cxn>
                  <a:cxn ang="0">
                    <a:pos x="471" y="561"/>
                  </a:cxn>
                  <a:cxn ang="0">
                    <a:pos x="357" y="469"/>
                  </a:cxn>
                  <a:cxn ang="0">
                    <a:pos x="224" y="404"/>
                  </a:cxn>
                  <a:cxn ang="0">
                    <a:pos x="78" y="370"/>
                  </a:cxn>
                  <a:cxn ang="0">
                    <a:pos x="0" y="0"/>
                  </a:cxn>
                </a:cxnLst>
                <a:rect l="0" t="0" r="r" b="b"/>
                <a:pathLst>
                  <a:path w="1031" h="2064">
                    <a:moveTo>
                      <a:pt x="0" y="0"/>
                    </a:moveTo>
                    <a:lnTo>
                      <a:pt x="99" y="5"/>
                    </a:lnTo>
                    <a:lnTo>
                      <a:pt x="195" y="20"/>
                    </a:lnTo>
                    <a:lnTo>
                      <a:pt x="289" y="42"/>
                    </a:lnTo>
                    <a:lnTo>
                      <a:pt x="379" y="73"/>
                    </a:lnTo>
                    <a:lnTo>
                      <a:pt x="465" y="112"/>
                    </a:lnTo>
                    <a:lnTo>
                      <a:pt x="546" y="158"/>
                    </a:lnTo>
                    <a:lnTo>
                      <a:pt x="624" y="211"/>
                    </a:lnTo>
                    <a:lnTo>
                      <a:pt x="695" y="270"/>
                    </a:lnTo>
                    <a:lnTo>
                      <a:pt x="761" y="337"/>
                    </a:lnTo>
                    <a:lnTo>
                      <a:pt x="821" y="408"/>
                    </a:lnTo>
                    <a:lnTo>
                      <a:pt x="874" y="485"/>
                    </a:lnTo>
                    <a:lnTo>
                      <a:pt x="920" y="567"/>
                    </a:lnTo>
                    <a:lnTo>
                      <a:pt x="958" y="653"/>
                    </a:lnTo>
                    <a:lnTo>
                      <a:pt x="989" y="743"/>
                    </a:lnTo>
                    <a:lnTo>
                      <a:pt x="1012" y="837"/>
                    </a:lnTo>
                    <a:lnTo>
                      <a:pt x="1026" y="933"/>
                    </a:lnTo>
                    <a:lnTo>
                      <a:pt x="1031" y="1032"/>
                    </a:lnTo>
                    <a:lnTo>
                      <a:pt x="1026" y="1126"/>
                    </a:lnTo>
                    <a:lnTo>
                      <a:pt x="1015" y="1218"/>
                    </a:lnTo>
                    <a:lnTo>
                      <a:pt x="994" y="1307"/>
                    </a:lnTo>
                    <a:lnTo>
                      <a:pt x="966" y="1393"/>
                    </a:lnTo>
                    <a:lnTo>
                      <a:pt x="932" y="1476"/>
                    </a:lnTo>
                    <a:lnTo>
                      <a:pt x="890" y="1554"/>
                    </a:lnTo>
                    <a:lnTo>
                      <a:pt x="843" y="1629"/>
                    </a:lnTo>
                    <a:lnTo>
                      <a:pt x="788" y="1698"/>
                    </a:lnTo>
                    <a:lnTo>
                      <a:pt x="729" y="1762"/>
                    </a:lnTo>
                    <a:lnTo>
                      <a:pt x="664" y="1823"/>
                    </a:lnTo>
                    <a:lnTo>
                      <a:pt x="594" y="1876"/>
                    </a:lnTo>
                    <a:lnTo>
                      <a:pt x="520" y="1924"/>
                    </a:lnTo>
                    <a:lnTo>
                      <a:pt x="441" y="1965"/>
                    </a:lnTo>
                    <a:lnTo>
                      <a:pt x="360" y="2001"/>
                    </a:lnTo>
                    <a:lnTo>
                      <a:pt x="274" y="2027"/>
                    </a:lnTo>
                    <a:lnTo>
                      <a:pt x="185" y="2048"/>
                    </a:lnTo>
                    <a:lnTo>
                      <a:pt x="93" y="2060"/>
                    </a:lnTo>
                    <a:lnTo>
                      <a:pt x="0" y="2064"/>
                    </a:lnTo>
                    <a:lnTo>
                      <a:pt x="0" y="1701"/>
                    </a:lnTo>
                    <a:lnTo>
                      <a:pt x="78" y="1697"/>
                    </a:lnTo>
                    <a:lnTo>
                      <a:pt x="152" y="1683"/>
                    </a:lnTo>
                    <a:lnTo>
                      <a:pt x="224" y="1663"/>
                    </a:lnTo>
                    <a:lnTo>
                      <a:pt x="293" y="1633"/>
                    </a:lnTo>
                    <a:lnTo>
                      <a:pt x="357" y="1597"/>
                    </a:lnTo>
                    <a:lnTo>
                      <a:pt x="418" y="1554"/>
                    </a:lnTo>
                    <a:lnTo>
                      <a:pt x="471" y="1505"/>
                    </a:lnTo>
                    <a:lnTo>
                      <a:pt x="520" y="1451"/>
                    </a:lnTo>
                    <a:lnTo>
                      <a:pt x="563" y="1391"/>
                    </a:lnTo>
                    <a:lnTo>
                      <a:pt x="598" y="1326"/>
                    </a:lnTo>
                    <a:lnTo>
                      <a:pt x="628" y="1258"/>
                    </a:lnTo>
                    <a:lnTo>
                      <a:pt x="649" y="1185"/>
                    </a:lnTo>
                    <a:lnTo>
                      <a:pt x="662" y="1111"/>
                    </a:lnTo>
                    <a:lnTo>
                      <a:pt x="666" y="1032"/>
                    </a:lnTo>
                    <a:lnTo>
                      <a:pt x="662" y="954"/>
                    </a:lnTo>
                    <a:lnTo>
                      <a:pt x="649" y="880"/>
                    </a:lnTo>
                    <a:lnTo>
                      <a:pt x="628" y="807"/>
                    </a:lnTo>
                    <a:lnTo>
                      <a:pt x="598" y="739"/>
                    </a:lnTo>
                    <a:lnTo>
                      <a:pt x="563" y="675"/>
                    </a:lnTo>
                    <a:lnTo>
                      <a:pt x="520" y="614"/>
                    </a:lnTo>
                    <a:lnTo>
                      <a:pt x="471" y="561"/>
                    </a:lnTo>
                    <a:lnTo>
                      <a:pt x="418" y="512"/>
                    </a:lnTo>
                    <a:lnTo>
                      <a:pt x="357" y="469"/>
                    </a:lnTo>
                    <a:lnTo>
                      <a:pt x="293" y="433"/>
                    </a:lnTo>
                    <a:lnTo>
                      <a:pt x="224" y="404"/>
                    </a:lnTo>
                    <a:lnTo>
                      <a:pt x="152" y="383"/>
                    </a:lnTo>
                    <a:lnTo>
                      <a:pt x="78" y="370"/>
                    </a:lnTo>
                    <a:lnTo>
                      <a:pt x="0" y="365"/>
                    </a:lnTo>
                    <a:lnTo>
                      <a:pt x="0" y="0"/>
                    </a:lnTo>
                    <a:close/>
                  </a:path>
                </a:pathLst>
              </a:custGeom>
              <a:solidFill>
                <a:sysClr val="window" lastClr="FFFFFF">
                  <a:lumMod val="85000"/>
                </a:sys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endParaRPr>
              </a:p>
            </p:txBody>
          </p:sp>
          <p:sp>
            <p:nvSpPr>
              <p:cNvPr id="50" name="Freeform 10">
                <a:extLst>
                  <a:ext uri="{FF2B5EF4-FFF2-40B4-BE49-F238E27FC236}">
                    <a16:creationId xmlns:a16="http://schemas.microsoft.com/office/drawing/2014/main" id="{AF2C4DC7-3475-455C-8330-CF7DEE9E470D}"/>
                  </a:ext>
                </a:extLst>
              </p:cNvPr>
              <p:cNvSpPr>
                <a:spLocks/>
              </p:cNvSpPr>
              <p:nvPr/>
            </p:nvSpPr>
            <p:spPr bwMode="auto">
              <a:xfrm>
                <a:off x="6868183" y="3060657"/>
                <a:ext cx="1114289" cy="2230738"/>
              </a:xfrm>
              <a:custGeom>
                <a:avLst/>
                <a:gdLst/>
                <a:ahLst/>
                <a:cxnLst>
                  <a:cxn ang="0">
                    <a:pos x="1031" y="365"/>
                  </a:cxn>
                  <a:cxn ang="0">
                    <a:pos x="878" y="383"/>
                  </a:cxn>
                  <a:cxn ang="0">
                    <a:pos x="738" y="433"/>
                  </a:cxn>
                  <a:cxn ang="0">
                    <a:pos x="613" y="512"/>
                  </a:cxn>
                  <a:cxn ang="0">
                    <a:pos x="510" y="614"/>
                  </a:cxn>
                  <a:cxn ang="0">
                    <a:pos x="431" y="739"/>
                  </a:cxn>
                  <a:cxn ang="0">
                    <a:pos x="381" y="880"/>
                  </a:cxn>
                  <a:cxn ang="0">
                    <a:pos x="363" y="1032"/>
                  </a:cxn>
                  <a:cxn ang="0">
                    <a:pos x="381" y="1185"/>
                  </a:cxn>
                  <a:cxn ang="0">
                    <a:pos x="431" y="1326"/>
                  </a:cxn>
                  <a:cxn ang="0">
                    <a:pos x="510" y="1451"/>
                  </a:cxn>
                  <a:cxn ang="0">
                    <a:pos x="613" y="1554"/>
                  </a:cxn>
                  <a:cxn ang="0">
                    <a:pos x="738" y="1633"/>
                  </a:cxn>
                  <a:cxn ang="0">
                    <a:pos x="878" y="1683"/>
                  </a:cxn>
                  <a:cxn ang="0">
                    <a:pos x="1031" y="1701"/>
                  </a:cxn>
                  <a:cxn ang="0">
                    <a:pos x="932" y="2060"/>
                  </a:cxn>
                  <a:cxn ang="0">
                    <a:pos x="741" y="2023"/>
                  </a:cxn>
                  <a:cxn ang="0">
                    <a:pos x="566" y="1953"/>
                  </a:cxn>
                  <a:cxn ang="0">
                    <a:pos x="407" y="1854"/>
                  </a:cxn>
                  <a:cxn ang="0">
                    <a:pos x="270" y="1729"/>
                  </a:cxn>
                  <a:cxn ang="0">
                    <a:pos x="157" y="1581"/>
                  </a:cxn>
                  <a:cxn ang="0">
                    <a:pos x="73" y="1412"/>
                  </a:cxn>
                  <a:cxn ang="0">
                    <a:pos x="19" y="1228"/>
                  </a:cxn>
                  <a:cxn ang="0">
                    <a:pos x="0" y="1032"/>
                  </a:cxn>
                  <a:cxn ang="0">
                    <a:pos x="16" y="847"/>
                  </a:cxn>
                  <a:cxn ang="0">
                    <a:pos x="64" y="672"/>
                  </a:cxn>
                  <a:cxn ang="0">
                    <a:pos x="141" y="512"/>
                  </a:cxn>
                  <a:cxn ang="0">
                    <a:pos x="241" y="368"/>
                  </a:cxn>
                  <a:cxn ang="0">
                    <a:pos x="366" y="244"/>
                  </a:cxn>
                  <a:cxn ang="0">
                    <a:pos x="510" y="141"/>
                  </a:cxn>
                  <a:cxn ang="0">
                    <a:pos x="671" y="66"/>
                  </a:cxn>
                  <a:cxn ang="0">
                    <a:pos x="846" y="17"/>
                  </a:cxn>
                  <a:cxn ang="0">
                    <a:pos x="1031" y="0"/>
                  </a:cxn>
                </a:cxnLst>
                <a:rect l="0" t="0" r="r" b="b"/>
                <a:pathLst>
                  <a:path w="1031" h="2064">
                    <a:moveTo>
                      <a:pt x="1031" y="0"/>
                    </a:moveTo>
                    <a:lnTo>
                      <a:pt x="1031" y="365"/>
                    </a:lnTo>
                    <a:lnTo>
                      <a:pt x="952" y="370"/>
                    </a:lnTo>
                    <a:lnTo>
                      <a:pt x="878" y="383"/>
                    </a:lnTo>
                    <a:lnTo>
                      <a:pt x="806" y="404"/>
                    </a:lnTo>
                    <a:lnTo>
                      <a:pt x="738" y="433"/>
                    </a:lnTo>
                    <a:lnTo>
                      <a:pt x="672" y="469"/>
                    </a:lnTo>
                    <a:lnTo>
                      <a:pt x="613" y="512"/>
                    </a:lnTo>
                    <a:lnTo>
                      <a:pt x="558" y="561"/>
                    </a:lnTo>
                    <a:lnTo>
                      <a:pt x="510" y="614"/>
                    </a:lnTo>
                    <a:lnTo>
                      <a:pt x="467" y="675"/>
                    </a:lnTo>
                    <a:lnTo>
                      <a:pt x="431" y="739"/>
                    </a:lnTo>
                    <a:lnTo>
                      <a:pt x="401" y="807"/>
                    </a:lnTo>
                    <a:lnTo>
                      <a:pt x="381" y="880"/>
                    </a:lnTo>
                    <a:lnTo>
                      <a:pt x="367" y="954"/>
                    </a:lnTo>
                    <a:lnTo>
                      <a:pt x="363" y="1032"/>
                    </a:lnTo>
                    <a:lnTo>
                      <a:pt x="367" y="1111"/>
                    </a:lnTo>
                    <a:lnTo>
                      <a:pt x="381" y="1185"/>
                    </a:lnTo>
                    <a:lnTo>
                      <a:pt x="401" y="1258"/>
                    </a:lnTo>
                    <a:lnTo>
                      <a:pt x="431" y="1326"/>
                    </a:lnTo>
                    <a:lnTo>
                      <a:pt x="467" y="1391"/>
                    </a:lnTo>
                    <a:lnTo>
                      <a:pt x="510" y="1451"/>
                    </a:lnTo>
                    <a:lnTo>
                      <a:pt x="558" y="1505"/>
                    </a:lnTo>
                    <a:lnTo>
                      <a:pt x="613" y="1554"/>
                    </a:lnTo>
                    <a:lnTo>
                      <a:pt x="672" y="1597"/>
                    </a:lnTo>
                    <a:lnTo>
                      <a:pt x="738" y="1633"/>
                    </a:lnTo>
                    <a:lnTo>
                      <a:pt x="806" y="1663"/>
                    </a:lnTo>
                    <a:lnTo>
                      <a:pt x="878" y="1683"/>
                    </a:lnTo>
                    <a:lnTo>
                      <a:pt x="952" y="1697"/>
                    </a:lnTo>
                    <a:lnTo>
                      <a:pt x="1031" y="1701"/>
                    </a:lnTo>
                    <a:lnTo>
                      <a:pt x="1031" y="2064"/>
                    </a:lnTo>
                    <a:lnTo>
                      <a:pt x="932" y="2060"/>
                    </a:lnTo>
                    <a:lnTo>
                      <a:pt x="835" y="2045"/>
                    </a:lnTo>
                    <a:lnTo>
                      <a:pt x="741" y="2023"/>
                    </a:lnTo>
                    <a:lnTo>
                      <a:pt x="652" y="1992"/>
                    </a:lnTo>
                    <a:lnTo>
                      <a:pt x="566" y="1953"/>
                    </a:lnTo>
                    <a:lnTo>
                      <a:pt x="483" y="1907"/>
                    </a:lnTo>
                    <a:lnTo>
                      <a:pt x="407" y="1854"/>
                    </a:lnTo>
                    <a:lnTo>
                      <a:pt x="335" y="1795"/>
                    </a:lnTo>
                    <a:lnTo>
                      <a:pt x="270" y="1729"/>
                    </a:lnTo>
                    <a:lnTo>
                      <a:pt x="210" y="1657"/>
                    </a:lnTo>
                    <a:lnTo>
                      <a:pt x="157" y="1581"/>
                    </a:lnTo>
                    <a:lnTo>
                      <a:pt x="111" y="1498"/>
                    </a:lnTo>
                    <a:lnTo>
                      <a:pt x="73" y="1412"/>
                    </a:lnTo>
                    <a:lnTo>
                      <a:pt x="41" y="1323"/>
                    </a:lnTo>
                    <a:lnTo>
                      <a:pt x="19" y="1228"/>
                    </a:lnTo>
                    <a:lnTo>
                      <a:pt x="4" y="1132"/>
                    </a:lnTo>
                    <a:lnTo>
                      <a:pt x="0" y="1032"/>
                    </a:lnTo>
                    <a:lnTo>
                      <a:pt x="4" y="939"/>
                    </a:lnTo>
                    <a:lnTo>
                      <a:pt x="16" y="847"/>
                    </a:lnTo>
                    <a:lnTo>
                      <a:pt x="37" y="758"/>
                    </a:lnTo>
                    <a:lnTo>
                      <a:pt x="64" y="672"/>
                    </a:lnTo>
                    <a:lnTo>
                      <a:pt x="99" y="591"/>
                    </a:lnTo>
                    <a:lnTo>
                      <a:pt x="141" y="512"/>
                    </a:lnTo>
                    <a:lnTo>
                      <a:pt x="188" y="438"/>
                    </a:lnTo>
                    <a:lnTo>
                      <a:pt x="241" y="368"/>
                    </a:lnTo>
                    <a:lnTo>
                      <a:pt x="302" y="303"/>
                    </a:lnTo>
                    <a:lnTo>
                      <a:pt x="366" y="244"/>
                    </a:lnTo>
                    <a:lnTo>
                      <a:pt x="435" y="189"/>
                    </a:lnTo>
                    <a:lnTo>
                      <a:pt x="510" y="141"/>
                    </a:lnTo>
                    <a:lnTo>
                      <a:pt x="588" y="100"/>
                    </a:lnTo>
                    <a:lnTo>
                      <a:pt x="671" y="66"/>
                    </a:lnTo>
                    <a:lnTo>
                      <a:pt x="757" y="37"/>
                    </a:lnTo>
                    <a:lnTo>
                      <a:pt x="846" y="17"/>
                    </a:lnTo>
                    <a:lnTo>
                      <a:pt x="938" y="5"/>
                    </a:lnTo>
                    <a:lnTo>
                      <a:pt x="1031" y="0"/>
                    </a:lnTo>
                    <a:close/>
                  </a:path>
                </a:pathLst>
              </a:custGeom>
              <a:solidFill>
                <a:sysClr val="window" lastClr="FFFFFF">
                  <a:lumMod val="95000"/>
                </a:sys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endParaRPr>
              </a:p>
            </p:txBody>
          </p:sp>
          <p:sp>
            <p:nvSpPr>
              <p:cNvPr id="51" name="Freeform 11">
                <a:extLst>
                  <a:ext uri="{FF2B5EF4-FFF2-40B4-BE49-F238E27FC236}">
                    <a16:creationId xmlns:a16="http://schemas.microsoft.com/office/drawing/2014/main" id="{DB4A55E5-AD65-4E6E-AE03-3BFC441FA8E0}"/>
                  </a:ext>
                </a:extLst>
              </p:cNvPr>
              <p:cNvSpPr>
                <a:spLocks/>
              </p:cNvSpPr>
              <p:nvPr/>
            </p:nvSpPr>
            <p:spPr bwMode="auto">
              <a:xfrm>
                <a:off x="7260508" y="3455143"/>
                <a:ext cx="721964" cy="1443927"/>
              </a:xfrm>
              <a:custGeom>
                <a:avLst/>
                <a:gdLst/>
                <a:ahLst/>
                <a:cxnLst>
                  <a:cxn ang="0">
                    <a:pos x="668" y="0"/>
                  </a:cxn>
                  <a:cxn ang="0">
                    <a:pos x="668" y="358"/>
                  </a:cxn>
                  <a:cxn ang="0">
                    <a:pos x="618" y="362"/>
                  </a:cxn>
                  <a:cxn ang="0">
                    <a:pos x="570" y="374"/>
                  </a:cxn>
                  <a:cxn ang="0">
                    <a:pos x="524" y="392"/>
                  </a:cxn>
                  <a:cxn ang="0">
                    <a:pos x="484" y="417"/>
                  </a:cxn>
                  <a:cxn ang="0">
                    <a:pos x="447" y="448"/>
                  </a:cxn>
                  <a:cxn ang="0">
                    <a:pos x="418" y="485"/>
                  </a:cxn>
                  <a:cxn ang="0">
                    <a:pos x="391" y="525"/>
                  </a:cxn>
                  <a:cxn ang="0">
                    <a:pos x="373" y="570"/>
                  </a:cxn>
                  <a:cxn ang="0">
                    <a:pos x="361" y="617"/>
                  </a:cxn>
                  <a:cxn ang="0">
                    <a:pos x="357" y="667"/>
                  </a:cxn>
                  <a:cxn ang="0">
                    <a:pos x="361" y="718"/>
                  </a:cxn>
                  <a:cxn ang="0">
                    <a:pos x="373" y="765"/>
                  </a:cxn>
                  <a:cxn ang="0">
                    <a:pos x="391" y="811"/>
                  </a:cxn>
                  <a:cxn ang="0">
                    <a:pos x="418" y="851"/>
                  </a:cxn>
                  <a:cxn ang="0">
                    <a:pos x="447" y="888"/>
                  </a:cxn>
                  <a:cxn ang="0">
                    <a:pos x="484" y="918"/>
                  </a:cxn>
                  <a:cxn ang="0">
                    <a:pos x="524" y="945"/>
                  </a:cxn>
                  <a:cxn ang="0">
                    <a:pos x="570" y="963"/>
                  </a:cxn>
                  <a:cxn ang="0">
                    <a:pos x="618" y="974"/>
                  </a:cxn>
                  <a:cxn ang="0">
                    <a:pos x="668" y="979"/>
                  </a:cxn>
                  <a:cxn ang="0">
                    <a:pos x="668" y="1336"/>
                  </a:cxn>
                  <a:cxn ang="0">
                    <a:pos x="589" y="1332"/>
                  </a:cxn>
                  <a:cxn ang="0">
                    <a:pos x="515" y="1318"/>
                  </a:cxn>
                  <a:cxn ang="0">
                    <a:pos x="443" y="1298"/>
                  </a:cxn>
                  <a:cxn ang="0">
                    <a:pos x="375" y="1268"/>
                  </a:cxn>
                  <a:cxn ang="0">
                    <a:pos x="309" y="1232"/>
                  </a:cxn>
                  <a:cxn ang="0">
                    <a:pos x="250" y="1189"/>
                  </a:cxn>
                  <a:cxn ang="0">
                    <a:pos x="195" y="1140"/>
                  </a:cxn>
                  <a:cxn ang="0">
                    <a:pos x="147" y="1086"/>
                  </a:cxn>
                  <a:cxn ang="0">
                    <a:pos x="104" y="1026"/>
                  </a:cxn>
                  <a:cxn ang="0">
                    <a:pos x="68" y="961"/>
                  </a:cxn>
                  <a:cxn ang="0">
                    <a:pos x="38" y="893"/>
                  </a:cxn>
                  <a:cxn ang="0">
                    <a:pos x="18" y="820"/>
                  </a:cxn>
                  <a:cxn ang="0">
                    <a:pos x="4" y="746"/>
                  </a:cxn>
                  <a:cxn ang="0">
                    <a:pos x="0" y="667"/>
                  </a:cxn>
                  <a:cxn ang="0">
                    <a:pos x="4" y="589"/>
                  </a:cxn>
                  <a:cxn ang="0">
                    <a:pos x="18" y="515"/>
                  </a:cxn>
                  <a:cxn ang="0">
                    <a:pos x="38" y="442"/>
                  </a:cxn>
                  <a:cxn ang="0">
                    <a:pos x="68" y="374"/>
                  </a:cxn>
                  <a:cxn ang="0">
                    <a:pos x="104" y="310"/>
                  </a:cxn>
                  <a:cxn ang="0">
                    <a:pos x="147" y="249"/>
                  </a:cxn>
                  <a:cxn ang="0">
                    <a:pos x="195" y="196"/>
                  </a:cxn>
                  <a:cxn ang="0">
                    <a:pos x="250" y="147"/>
                  </a:cxn>
                  <a:cxn ang="0">
                    <a:pos x="309" y="104"/>
                  </a:cxn>
                  <a:cxn ang="0">
                    <a:pos x="375" y="68"/>
                  </a:cxn>
                  <a:cxn ang="0">
                    <a:pos x="443" y="39"/>
                  </a:cxn>
                  <a:cxn ang="0">
                    <a:pos x="515" y="18"/>
                  </a:cxn>
                  <a:cxn ang="0">
                    <a:pos x="589" y="5"/>
                  </a:cxn>
                  <a:cxn ang="0">
                    <a:pos x="668" y="0"/>
                  </a:cxn>
                </a:cxnLst>
                <a:rect l="0" t="0" r="r" b="b"/>
                <a:pathLst>
                  <a:path w="668" h="1336">
                    <a:moveTo>
                      <a:pt x="668" y="0"/>
                    </a:moveTo>
                    <a:lnTo>
                      <a:pt x="668" y="358"/>
                    </a:lnTo>
                    <a:lnTo>
                      <a:pt x="618" y="362"/>
                    </a:lnTo>
                    <a:lnTo>
                      <a:pt x="570" y="374"/>
                    </a:lnTo>
                    <a:lnTo>
                      <a:pt x="524" y="392"/>
                    </a:lnTo>
                    <a:lnTo>
                      <a:pt x="484" y="417"/>
                    </a:lnTo>
                    <a:lnTo>
                      <a:pt x="447" y="448"/>
                    </a:lnTo>
                    <a:lnTo>
                      <a:pt x="418" y="485"/>
                    </a:lnTo>
                    <a:lnTo>
                      <a:pt x="391" y="525"/>
                    </a:lnTo>
                    <a:lnTo>
                      <a:pt x="373" y="570"/>
                    </a:lnTo>
                    <a:lnTo>
                      <a:pt x="361" y="617"/>
                    </a:lnTo>
                    <a:lnTo>
                      <a:pt x="357" y="667"/>
                    </a:lnTo>
                    <a:lnTo>
                      <a:pt x="361" y="718"/>
                    </a:lnTo>
                    <a:lnTo>
                      <a:pt x="373" y="765"/>
                    </a:lnTo>
                    <a:lnTo>
                      <a:pt x="391" y="811"/>
                    </a:lnTo>
                    <a:lnTo>
                      <a:pt x="418" y="851"/>
                    </a:lnTo>
                    <a:lnTo>
                      <a:pt x="447" y="888"/>
                    </a:lnTo>
                    <a:lnTo>
                      <a:pt x="484" y="918"/>
                    </a:lnTo>
                    <a:lnTo>
                      <a:pt x="524" y="945"/>
                    </a:lnTo>
                    <a:lnTo>
                      <a:pt x="570" y="963"/>
                    </a:lnTo>
                    <a:lnTo>
                      <a:pt x="618" y="974"/>
                    </a:lnTo>
                    <a:lnTo>
                      <a:pt x="668" y="979"/>
                    </a:lnTo>
                    <a:lnTo>
                      <a:pt x="668" y="1336"/>
                    </a:lnTo>
                    <a:lnTo>
                      <a:pt x="589" y="1332"/>
                    </a:lnTo>
                    <a:lnTo>
                      <a:pt x="515" y="1318"/>
                    </a:lnTo>
                    <a:lnTo>
                      <a:pt x="443" y="1298"/>
                    </a:lnTo>
                    <a:lnTo>
                      <a:pt x="375" y="1268"/>
                    </a:lnTo>
                    <a:lnTo>
                      <a:pt x="309" y="1232"/>
                    </a:lnTo>
                    <a:lnTo>
                      <a:pt x="250" y="1189"/>
                    </a:lnTo>
                    <a:lnTo>
                      <a:pt x="195" y="1140"/>
                    </a:lnTo>
                    <a:lnTo>
                      <a:pt x="147" y="1086"/>
                    </a:lnTo>
                    <a:lnTo>
                      <a:pt x="104" y="1026"/>
                    </a:lnTo>
                    <a:lnTo>
                      <a:pt x="68" y="961"/>
                    </a:lnTo>
                    <a:lnTo>
                      <a:pt x="38" y="893"/>
                    </a:lnTo>
                    <a:lnTo>
                      <a:pt x="18" y="820"/>
                    </a:lnTo>
                    <a:lnTo>
                      <a:pt x="4" y="746"/>
                    </a:lnTo>
                    <a:lnTo>
                      <a:pt x="0" y="667"/>
                    </a:lnTo>
                    <a:lnTo>
                      <a:pt x="4" y="589"/>
                    </a:lnTo>
                    <a:lnTo>
                      <a:pt x="18" y="515"/>
                    </a:lnTo>
                    <a:lnTo>
                      <a:pt x="38" y="442"/>
                    </a:lnTo>
                    <a:lnTo>
                      <a:pt x="68" y="374"/>
                    </a:lnTo>
                    <a:lnTo>
                      <a:pt x="104" y="310"/>
                    </a:lnTo>
                    <a:lnTo>
                      <a:pt x="147" y="249"/>
                    </a:lnTo>
                    <a:lnTo>
                      <a:pt x="195" y="196"/>
                    </a:lnTo>
                    <a:lnTo>
                      <a:pt x="250" y="147"/>
                    </a:lnTo>
                    <a:lnTo>
                      <a:pt x="309" y="104"/>
                    </a:lnTo>
                    <a:lnTo>
                      <a:pt x="375" y="68"/>
                    </a:lnTo>
                    <a:lnTo>
                      <a:pt x="443" y="39"/>
                    </a:lnTo>
                    <a:lnTo>
                      <a:pt x="515" y="18"/>
                    </a:lnTo>
                    <a:lnTo>
                      <a:pt x="589" y="5"/>
                    </a:lnTo>
                    <a:lnTo>
                      <a:pt x="668" y="0"/>
                    </a:lnTo>
                    <a:close/>
                  </a:path>
                </a:pathLst>
              </a:custGeom>
              <a:solidFill>
                <a:srgbClr val="D0D0C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endParaRPr>
              </a:p>
            </p:txBody>
          </p:sp>
          <p:sp>
            <p:nvSpPr>
              <p:cNvPr id="52" name="Freeform 12">
                <a:extLst>
                  <a:ext uri="{FF2B5EF4-FFF2-40B4-BE49-F238E27FC236}">
                    <a16:creationId xmlns:a16="http://schemas.microsoft.com/office/drawing/2014/main" id="{9E2B3EFE-431D-4534-BA6D-720F8F6CAD7F}"/>
                  </a:ext>
                </a:extLst>
              </p:cNvPr>
              <p:cNvSpPr>
                <a:spLocks/>
              </p:cNvSpPr>
              <p:nvPr/>
            </p:nvSpPr>
            <p:spPr bwMode="auto">
              <a:xfrm>
                <a:off x="7982472" y="3455143"/>
                <a:ext cx="719802" cy="1443927"/>
              </a:xfrm>
              <a:custGeom>
                <a:avLst/>
                <a:gdLst/>
                <a:ahLst/>
                <a:cxnLst>
                  <a:cxn ang="0">
                    <a:pos x="0" y="0"/>
                  </a:cxn>
                  <a:cxn ang="0">
                    <a:pos x="78" y="5"/>
                  </a:cxn>
                  <a:cxn ang="0">
                    <a:pos x="152" y="18"/>
                  </a:cxn>
                  <a:cxn ang="0">
                    <a:pos x="224" y="39"/>
                  </a:cxn>
                  <a:cxn ang="0">
                    <a:pos x="293" y="68"/>
                  </a:cxn>
                  <a:cxn ang="0">
                    <a:pos x="357" y="104"/>
                  </a:cxn>
                  <a:cxn ang="0">
                    <a:pos x="418" y="147"/>
                  </a:cxn>
                  <a:cxn ang="0">
                    <a:pos x="471" y="196"/>
                  </a:cxn>
                  <a:cxn ang="0">
                    <a:pos x="520" y="249"/>
                  </a:cxn>
                  <a:cxn ang="0">
                    <a:pos x="563" y="310"/>
                  </a:cxn>
                  <a:cxn ang="0">
                    <a:pos x="598" y="374"/>
                  </a:cxn>
                  <a:cxn ang="0">
                    <a:pos x="628" y="442"/>
                  </a:cxn>
                  <a:cxn ang="0">
                    <a:pos x="649" y="515"/>
                  </a:cxn>
                  <a:cxn ang="0">
                    <a:pos x="662" y="589"/>
                  </a:cxn>
                  <a:cxn ang="0">
                    <a:pos x="666" y="667"/>
                  </a:cxn>
                  <a:cxn ang="0">
                    <a:pos x="662" y="746"/>
                  </a:cxn>
                  <a:cxn ang="0">
                    <a:pos x="649" y="820"/>
                  </a:cxn>
                  <a:cxn ang="0">
                    <a:pos x="628" y="893"/>
                  </a:cxn>
                  <a:cxn ang="0">
                    <a:pos x="598" y="961"/>
                  </a:cxn>
                  <a:cxn ang="0">
                    <a:pos x="563" y="1026"/>
                  </a:cxn>
                  <a:cxn ang="0">
                    <a:pos x="520" y="1086"/>
                  </a:cxn>
                  <a:cxn ang="0">
                    <a:pos x="471" y="1140"/>
                  </a:cxn>
                  <a:cxn ang="0">
                    <a:pos x="418" y="1189"/>
                  </a:cxn>
                  <a:cxn ang="0">
                    <a:pos x="357" y="1232"/>
                  </a:cxn>
                  <a:cxn ang="0">
                    <a:pos x="293" y="1268"/>
                  </a:cxn>
                  <a:cxn ang="0">
                    <a:pos x="224" y="1298"/>
                  </a:cxn>
                  <a:cxn ang="0">
                    <a:pos x="152" y="1318"/>
                  </a:cxn>
                  <a:cxn ang="0">
                    <a:pos x="78" y="1332"/>
                  </a:cxn>
                  <a:cxn ang="0">
                    <a:pos x="0" y="1336"/>
                  </a:cxn>
                  <a:cxn ang="0">
                    <a:pos x="0" y="979"/>
                  </a:cxn>
                  <a:cxn ang="0">
                    <a:pos x="50" y="974"/>
                  </a:cxn>
                  <a:cxn ang="0">
                    <a:pos x="98" y="963"/>
                  </a:cxn>
                  <a:cxn ang="0">
                    <a:pos x="142" y="945"/>
                  </a:cxn>
                  <a:cxn ang="0">
                    <a:pos x="182" y="918"/>
                  </a:cxn>
                  <a:cxn ang="0">
                    <a:pos x="219" y="888"/>
                  </a:cxn>
                  <a:cxn ang="0">
                    <a:pos x="250" y="851"/>
                  </a:cxn>
                  <a:cxn ang="0">
                    <a:pos x="275" y="811"/>
                  </a:cxn>
                  <a:cxn ang="0">
                    <a:pos x="293" y="765"/>
                  </a:cxn>
                  <a:cxn ang="0">
                    <a:pos x="305" y="718"/>
                  </a:cxn>
                  <a:cxn ang="0">
                    <a:pos x="309" y="667"/>
                  </a:cxn>
                  <a:cxn ang="0">
                    <a:pos x="305" y="617"/>
                  </a:cxn>
                  <a:cxn ang="0">
                    <a:pos x="293" y="570"/>
                  </a:cxn>
                  <a:cxn ang="0">
                    <a:pos x="275" y="525"/>
                  </a:cxn>
                  <a:cxn ang="0">
                    <a:pos x="250" y="485"/>
                  </a:cxn>
                  <a:cxn ang="0">
                    <a:pos x="219" y="448"/>
                  </a:cxn>
                  <a:cxn ang="0">
                    <a:pos x="182" y="417"/>
                  </a:cxn>
                  <a:cxn ang="0">
                    <a:pos x="142" y="392"/>
                  </a:cxn>
                  <a:cxn ang="0">
                    <a:pos x="98" y="374"/>
                  </a:cxn>
                  <a:cxn ang="0">
                    <a:pos x="50" y="362"/>
                  </a:cxn>
                  <a:cxn ang="0">
                    <a:pos x="0" y="358"/>
                  </a:cxn>
                  <a:cxn ang="0">
                    <a:pos x="0" y="0"/>
                  </a:cxn>
                </a:cxnLst>
                <a:rect l="0" t="0" r="r" b="b"/>
                <a:pathLst>
                  <a:path w="666" h="1336">
                    <a:moveTo>
                      <a:pt x="0" y="0"/>
                    </a:moveTo>
                    <a:lnTo>
                      <a:pt x="78" y="5"/>
                    </a:lnTo>
                    <a:lnTo>
                      <a:pt x="152" y="18"/>
                    </a:lnTo>
                    <a:lnTo>
                      <a:pt x="224" y="39"/>
                    </a:lnTo>
                    <a:lnTo>
                      <a:pt x="293" y="68"/>
                    </a:lnTo>
                    <a:lnTo>
                      <a:pt x="357" y="104"/>
                    </a:lnTo>
                    <a:lnTo>
                      <a:pt x="418" y="147"/>
                    </a:lnTo>
                    <a:lnTo>
                      <a:pt x="471" y="196"/>
                    </a:lnTo>
                    <a:lnTo>
                      <a:pt x="520" y="249"/>
                    </a:lnTo>
                    <a:lnTo>
                      <a:pt x="563" y="310"/>
                    </a:lnTo>
                    <a:lnTo>
                      <a:pt x="598" y="374"/>
                    </a:lnTo>
                    <a:lnTo>
                      <a:pt x="628" y="442"/>
                    </a:lnTo>
                    <a:lnTo>
                      <a:pt x="649" y="515"/>
                    </a:lnTo>
                    <a:lnTo>
                      <a:pt x="662" y="589"/>
                    </a:lnTo>
                    <a:lnTo>
                      <a:pt x="666" y="667"/>
                    </a:lnTo>
                    <a:lnTo>
                      <a:pt x="662" y="746"/>
                    </a:lnTo>
                    <a:lnTo>
                      <a:pt x="649" y="820"/>
                    </a:lnTo>
                    <a:lnTo>
                      <a:pt x="628" y="893"/>
                    </a:lnTo>
                    <a:lnTo>
                      <a:pt x="598" y="961"/>
                    </a:lnTo>
                    <a:lnTo>
                      <a:pt x="563" y="1026"/>
                    </a:lnTo>
                    <a:lnTo>
                      <a:pt x="520" y="1086"/>
                    </a:lnTo>
                    <a:lnTo>
                      <a:pt x="471" y="1140"/>
                    </a:lnTo>
                    <a:lnTo>
                      <a:pt x="418" y="1189"/>
                    </a:lnTo>
                    <a:lnTo>
                      <a:pt x="357" y="1232"/>
                    </a:lnTo>
                    <a:lnTo>
                      <a:pt x="293" y="1268"/>
                    </a:lnTo>
                    <a:lnTo>
                      <a:pt x="224" y="1298"/>
                    </a:lnTo>
                    <a:lnTo>
                      <a:pt x="152" y="1318"/>
                    </a:lnTo>
                    <a:lnTo>
                      <a:pt x="78" y="1332"/>
                    </a:lnTo>
                    <a:lnTo>
                      <a:pt x="0" y="1336"/>
                    </a:lnTo>
                    <a:lnTo>
                      <a:pt x="0" y="979"/>
                    </a:lnTo>
                    <a:lnTo>
                      <a:pt x="50" y="974"/>
                    </a:lnTo>
                    <a:lnTo>
                      <a:pt x="98" y="963"/>
                    </a:lnTo>
                    <a:lnTo>
                      <a:pt x="142" y="945"/>
                    </a:lnTo>
                    <a:lnTo>
                      <a:pt x="182" y="918"/>
                    </a:lnTo>
                    <a:lnTo>
                      <a:pt x="219" y="888"/>
                    </a:lnTo>
                    <a:lnTo>
                      <a:pt x="250" y="851"/>
                    </a:lnTo>
                    <a:lnTo>
                      <a:pt x="275" y="811"/>
                    </a:lnTo>
                    <a:lnTo>
                      <a:pt x="293" y="765"/>
                    </a:lnTo>
                    <a:lnTo>
                      <a:pt x="305" y="718"/>
                    </a:lnTo>
                    <a:lnTo>
                      <a:pt x="309" y="667"/>
                    </a:lnTo>
                    <a:lnTo>
                      <a:pt x="305" y="617"/>
                    </a:lnTo>
                    <a:lnTo>
                      <a:pt x="293" y="570"/>
                    </a:lnTo>
                    <a:lnTo>
                      <a:pt x="275" y="525"/>
                    </a:lnTo>
                    <a:lnTo>
                      <a:pt x="250" y="485"/>
                    </a:lnTo>
                    <a:lnTo>
                      <a:pt x="219" y="448"/>
                    </a:lnTo>
                    <a:lnTo>
                      <a:pt x="182" y="417"/>
                    </a:lnTo>
                    <a:lnTo>
                      <a:pt x="142" y="392"/>
                    </a:lnTo>
                    <a:lnTo>
                      <a:pt x="98" y="374"/>
                    </a:lnTo>
                    <a:lnTo>
                      <a:pt x="50" y="362"/>
                    </a:lnTo>
                    <a:lnTo>
                      <a:pt x="0" y="358"/>
                    </a:lnTo>
                    <a:lnTo>
                      <a:pt x="0" y="0"/>
                    </a:lnTo>
                    <a:close/>
                  </a:path>
                </a:pathLst>
              </a:custGeom>
              <a:solidFill>
                <a:srgbClr val="D0D0CE">
                  <a:lumMod val="75000"/>
                </a:srgb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endParaRPr>
              </a:p>
            </p:txBody>
          </p:sp>
          <p:sp>
            <p:nvSpPr>
              <p:cNvPr id="53" name="Freeform 13">
                <a:extLst>
                  <a:ext uri="{FF2B5EF4-FFF2-40B4-BE49-F238E27FC236}">
                    <a16:creationId xmlns:a16="http://schemas.microsoft.com/office/drawing/2014/main" id="{C4ED9AB0-CCAB-48C9-A598-FF685183A0FA}"/>
                  </a:ext>
                </a:extLst>
              </p:cNvPr>
              <p:cNvSpPr>
                <a:spLocks/>
              </p:cNvSpPr>
              <p:nvPr/>
            </p:nvSpPr>
            <p:spPr bwMode="auto">
              <a:xfrm>
                <a:off x="7982472" y="3842064"/>
                <a:ext cx="333963" cy="671167"/>
              </a:xfrm>
              <a:custGeom>
                <a:avLst/>
                <a:gdLst/>
                <a:ahLst/>
                <a:cxnLst>
                  <a:cxn ang="0">
                    <a:pos x="0" y="0"/>
                  </a:cxn>
                  <a:cxn ang="0">
                    <a:pos x="50" y="4"/>
                  </a:cxn>
                  <a:cxn ang="0">
                    <a:pos x="98" y="16"/>
                  </a:cxn>
                  <a:cxn ang="0">
                    <a:pos x="142" y="34"/>
                  </a:cxn>
                  <a:cxn ang="0">
                    <a:pos x="182" y="59"/>
                  </a:cxn>
                  <a:cxn ang="0">
                    <a:pos x="219" y="90"/>
                  </a:cxn>
                  <a:cxn ang="0">
                    <a:pos x="250" y="127"/>
                  </a:cxn>
                  <a:cxn ang="0">
                    <a:pos x="275" y="167"/>
                  </a:cxn>
                  <a:cxn ang="0">
                    <a:pos x="293" y="212"/>
                  </a:cxn>
                  <a:cxn ang="0">
                    <a:pos x="305" y="259"/>
                  </a:cxn>
                  <a:cxn ang="0">
                    <a:pos x="309" y="309"/>
                  </a:cxn>
                  <a:cxn ang="0">
                    <a:pos x="305" y="360"/>
                  </a:cxn>
                  <a:cxn ang="0">
                    <a:pos x="293" y="407"/>
                  </a:cxn>
                  <a:cxn ang="0">
                    <a:pos x="275" y="453"/>
                  </a:cxn>
                  <a:cxn ang="0">
                    <a:pos x="250" y="493"/>
                  </a:cxn>
                  <a:cxn ang="0">
                    <a:pos x="219" y="530"/>
                  </a:cxn>
                  <a:cxn ang="0">
                    <a:pos x="182" y="560"/>
                  </a:cxn>
                  <a:cxn ang="0">
                    <a:pos x="142" y="587"/>
                  </a:cxn>
                  <a:cxn ang="0">
                    <a:pos x="98" y="605"/>
                  </a:cxn>
                  <a:cxn ang="0">
                    <a:pos x="50" y="616"/>
                  </a:cxn>
                  <a:cxn ang="0">
                    <a:pos x="0" y="621"/>
                  </a:cxn>
                  <a:cxn ang="0">
                    <a:pos x="0" y="0"/>
                  </a:cxn>
                </a:cxnLst>
                <a:rect l="0" t="0" r="r" b="b"/>
                <a:pathLst>
                  <a:path w="309" h="621">
                    <a:moveTo>
                      <a:pt x="0" y="0"/>
                    </a:moveTo>
                    <a:lnTo>
                      <a:pt x="50" y="4"/>
                    </a:lnTo>
                    <a:lnTo>
                      <a:pt x="98" y="16"/>
                    </a:lnTo>
                    <a:lnTo>
                      <a:pt x="142" y="34"/>
                    </a:lnTo>
                    <a:lnTo>
                      <a:pt x="182" y="59"/>
                    </a:lnTo>
                    <a:lnTo>
                      <a:pt x="219" y="90"/>
                    </a:lnTo>
                    <a:lnTo>
                      <a:pt x="250" y="127"/>
                    </a:lnTo>
                    <a:lnTo>
                      <a:pt x="275" y="167"/>
                    </a:lnTo>
                    <a:lnTo>
                      <a:pt x="293" y="212"/>
                    </a:lnTo>
                    <a:lnTo>
                      <a:pt x="305" y="259"/>
                    </a:lnTo>
                    <a:lnTo>
                      <a:pt x="309" y="309"/>
                    </a:lnTo>
                    <a:lnTo>
                      <a:pt x="305" y="360"/>
                    </a:lnTo>
                    <a:lnTo>
                      <a:pt x="293" y="407"/>
                    </a:lnTo>
                    <a:lnTo>
                      <a:pt x="275" y="453"/>
                    </a:lnTo>
                    <a:lnTo>
                      <a:pt x="250" y="493"/>
                    </a:lnTo>
                    <a:lnTo>
                      <a:pt x="219" y="530"/>
                    </a:lnTo>
                    <a:lnTo>
                      <a:pt x="182" y="560"/>
                    </a:lnTo>
                    <a:lnTo>
                      <a:pt x="142" y="587"/>
                    </a:lnTo>
                    <a:lnTo>
                      <a:pt x="98" y="605"/>
                    </a:lnTo>
                    <a:lnTo>
                      <a:pt x="50" y="616"/>
                    </a:lnTo>
                    <a:lnTo>
                      <a:pt x="0" y="621"/>
                    </a:lnTo>
                    <a:lnTo>
                      <a:pt x="0" y="0"/>
                    </a:lnTo>
                    <a:close/>
                  </a:path>
                </a:pathLst>
              </a:custGeom>
              <a:solidFill>
                <a:sysClr val="window" lastClr="FFFFFF">
                  <a:lumMod val="85000"/>
                </a:sys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endParaRPr>
              </a:p>
            </p:txBody>
          </p:sp>
          <p:sp>
            <p:nvSpPr>
              <p:cNvPr id="54" name="Freeform 14">
                <a:extLst>
                  <a:ext uri="{FF2B5EF4-FFF2-40B4-BE49-F238E27FC236}">
                    <a16:creationId xmlns:a16="http://schemas.microsoft.com/office/drawing/2014/main" id="{05B04F2E-7B7B-4975-B611-0B61347FCD65}"/>
                  </a:ext>
                </a:extLst>
              </p:cNvPr>
              <p:cNvSpPr>
                <a:spLocks/>
              </p:cNvSpPr>
              <p:nvPr/>
            </p:nvSpPr>
            <p:spPr bwMode="auto">
              <a:xfrm>
                <a:off x="7646348" y="3842064"/>
                <a:ext cx="336124" cy="671167"/>
              </a:xfrm>
              <a:custGeom>
                <a:avLst/>
                <a:gdLst/>
                <a:ahLst/>
                <a:cxnLst>
                  <a:cxn ang="0">
                    <a:pos x="311" y="0"/>
                  </a:cxn>
                  <a:cxn ang="0">
                    <a:pos x="311" y="621"/>
                  </a:cxn>
                  <a:cxn ang="0">
                    <a:pos x="261" y="616"/>
                  </a:cxn>
                  <a:cxn ang="0">
                    <a:pos x="213" y="605"/>
                  </a:cxn>
                  <a:cxn ang="0">
                    <a:pos x="167" y="587"/>
                  </a:cxn>
                  <a:cxn ang="0">
                    <a:pos x="127" y="560"/>
                  </a:cxn>
                  <a:cxn ang="0">
                    <a:pos x="90" y="530"/>
                  </a:cxn>
                  <a:cxn ang="0">
                    <a:pos x="61" y="493"/>
                  </a:cxn>
                  <a:cxn ang="0">
                    <a:pos x="34" y="453"/>
                  </a:cxn>
                  <a:cxn ang="0">
                    <a:pos x="16" y="407"/>
                  </a:cxn>
                  <a:cxn ang="0">
                    <a:pos x="4" y="360"/>
                  </a:cxn>
                  <a:cxn ang="0">
                    <a:pos x="0" y="309"/>
                  </a:cxn>
                  <a:cxn ang="0">
                    <a:pos x="4" y="259"/>
                  </a:cxn>
                  <a:cxn ang="0">
                    <a:pos x="16" y="212"/>
                  </a:cxn>
                  <a:cxn ang="0">
                    <a:pos x="34" y="167"/>
                  </a:cxn>
                  <a:cxn ang="0">
                    <a:pos x="61" y="127"/>
                  </a:cxn>
                  <a:cxn ang="0">
                    <a:pos x="90" y="90"/>
                  </a:cxn>
                  <a:cxn ang="0">
                    <a:pos x="127" y="59"/>
                  </a:cxn>
                  <a:cxn ang="0">
                    <a:pos x="167" y="34"/>
                  </a:cxn>
                  <a:cxn ang="0">
                    <a:pos x="213" y="16"/>
                  </a:cxn>
                  <a:cxn ang="0">
                    <a:pos x="261" y="4"/>
                  </a:cxn>
                  <a:cxn ang="0">
                    <a:pos x="311" y="0"/>
                  </a:cxn>
                </a:cxnLst>
                <a:rect l="0" t="0" r="r" b="b"/>
                <a:pathLst>
                  <a:path w="311" h="621">
                    <a:moveTo>
                      <a:pt x="311" y="0"/>
                    </a:moveTo>
                    <a:lnTo>
                      <a:pt x="311" y="621"/>
                    </a:lnTo>
                    <a:lnTo>
                      <a:pt x="261" y="616"/>
                    </a:lnTo>
                    <a:lnTo>
                      <a:pt x="213" y="605"/>
                    </a:lnTo>
                    <a:lnTo>
                      <a:pt x="167" y="587"/>
                    </a:lnTo>
                    <a:lnTo>
                      <a:pt x="127" y="560"/>
                    </a:lnTo>
                    <a:lnTo>
                      <a:pt x="90" y="530"/>
                    </a:lnTo>
                    <a:lnTo>
                      <a:pt x="61" y="493"/>
                    </a:lnTo>
                    <a:lnTo>
                      <a:pt x="34" y="453"/>
                    </a:lnTo>
                    <a:lnTo>
                      <a:pt x="16" y="407"/>
                    </a:lnTo>
                    <a:lnTo>
                      <a:pt x="4" y="360"/>
                    </a:lnTo>
                    <a:lnTo>
                      <a:pt x="0" y="309"/>
                    </a:lnTo>
                    <a:lnTo>
                      <a:pt x="4" y="259"/>
                    </a:lnTo>
                    <a:lnTo>
                      <a:pt x="16" y="212"/>
                    </a:lnTo>
                    <a:lnTo>
                      <a:pt x="34" y="167"/>
                    </a:lnTo>
                    <a:lnTo>
                      <a:pt x="61" y="127"/>
                    </a:lnTo>
                    <a:lnTo>
                      <a:pt x="90" y="90"/>
                    </a:lnTo>
                    <a:lnTo>
                      <a:pt x="127" y="59"/>
                    </a:lnTo>
                    <a:lnTo>
                      <a:pt x="167" y="34"/>
                    </a:lnTo>
                    <a:lnTo>
                      <a:pt x="213" y="16"/>
                    </a:lnTo>
                    <a:lnTo>
                      <a:pt x="261" y="4"/>
                    </a:lnTo>
                    <a:lnTo>
                      <a:pt x="311" y="0"/>
                    </a:lnTo>
                    <a:close/>
                  </a:path>
                </a:pathLst>
              </a:custGeom>
              <a:solidFill>
                <a:sysClr val="window" lastClr="FFFFFF">
                  <a:lumMod val="95000"/>
                </a:sys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endParaRPr>
              </a:p>
            </p:txBody>
          </p:sp>
        </p:grpSp>
        <p:grpSp>
          <p:nvGrpSpPr>
            <p:cNvPr id="44" name="Gruppieren 22">
              <a:extLst>
                <a:ext uri="{FF2B5EF4-FFF2-40B4-BE49-F238E27FC236}">
                  <a16:creationId xmlns:a16="http://schemas.microsoft.com/office/drawing/2014/main" id="{EC90EBC8-16FE-457E-A55E-795FE0156237}"/>
                </a:ext>
              </a:extLst>
            </p:cNvPr>
            <p:cNvGrpSpPr/>
            <p:nvPr/>
          </p:nvGrpSpPr>
          <p:grpSpPr>
            <a:xfrm rot="5400000" flipH="1">
              <a:off x="11376176" y="2195455"/>
              <a:ext cx="336639" cy="506874"/>
              <a:chOff x="7840128" y="199875"/>
              <a:chExt cx="1739279" cy="1697991"/>
            </a:xfrm>
            <a:solidFill>
              <a:srgbClr val="86BC25"/>
            </a:solidFill>
            <a:effectLst>
              <a:outerShdw blurRad="50800" dist="38100" dir="2700000" algn="tl" rotWithShape="0">
                <a:prstClr val="black">
                  <a:alpha val="40000"/>
                </a:prstClr>
              </a:outerShdw>
            </a:effectLst>
          </p:grpSpPr>
          <p:sp>
            <p:nvSpPr>
              <p:cNvPr id="45" name="Freeform 15">
                <a:extLst>
                  <a:ext uri="{FF2B5EF4-FFF2-40B4-BE49-F238E27FC236}">
                    <a16:creationId xmlns:a16="http://schemas.microsoft.com/office/drawing/2014/main" id="{F4A5D411-F407-44A4-9078-736E80EF5DA6}"/>
                  </a:ext>
                </a:extLst>
              </p:cNvPr>
              <p:cNvSpPr>
                <a:spLocks/>
              </p:cNvSpPr>
              <p:nvPr/>
            </p:nvSpPr>
            <p:spPr bwMode="auto">
              <a:xfrm rot="4648750" flipH="1">
                <a:off x="7710639" y="329364"/>
                <a:ext cx="1697991" cy="1439014"/>
              </a:xfrm>
              <a:custGeom>
                <a:avLst/>
                <a:gdLst/>
                <a:ahLst/>
                <a:cxnLst>
                  <a:cxn ang="0">
                    <a:pos x="1263" y="0"/>
                  </a:cxn>
                  <a:cxn ang="0">
                    <a:pos x="1508" y="55"/>
                  </a:cxn>
                  <a:cxn ang="0">
                    <a:pos x="1285" y="279"/>
                  </a:cxn>
                  <a:cxn ang="0">
                    <a:pos x="1084" y="234"/>
                  </a:cxn>
                  <a:cxn ang="0">
                    <a:pos x="294" y="1035"/>
                  </a:cxn>
                  <a:cxn ang="0">
                    <a:pos x="514" y="1135"/>
                  </a:cxn>
                  <a:cxn ang="0">
                    <a:pos x="0" y="1278"/>
                  </a:cxn>
                  <a:cxn ang="0">
                    <a:pos x="1263" y="0"/>
                  </a:cxn>
                </a:cxnLst>
                <a:rect l="0" t="0" r="r" b="b"/>
                <a:pathLst>
                  <a:path w="1508" h="1278">
                    <a:moveTo>
                      <a:pt x="1263" y="0"/>
                    </a:moveTo>
                    <a:lnTo>
                      <a:pt x="1508" y="55"/>
                    </a:lnTo>
                    <a:lnTo>
                      <a:pt x="1285" y="279"/>
                    </a:lnTo>
                    <a:lnTo>
                      <a:pt x="1084" y="234"/>
                    </a:lnTo>
                    <a:lnTo>
                      <a:pt x="294" y="1035"/>
                    </a:lnTo>
                    <a:lnTo>
                      <a:pt x="514" y="1135"/>
                    </a:lnTo>
                    <a:lnTo>
                      <a:pt x="0" y="1278"/>
                    </a:lnTo>
                    <a:lnTo>
                      <a:pt x="1263" y="0"/>
                    </a:lnTo>
                    <a:close/>
                  </a:path>
                </a:pathLst>
              </a:custGeom>
              <a:grpFill/>
              <a:ln w="0">
                <a:solidFill>
                  <a:srgbClr val="86BC2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endParaRPr>
              </a:p>
            </p:txBody>
          </p:sp>
          <p:sp>
            <p:nvSpPr>
              <p:cNvPr id="46" name="Freeform 16">
                <a:extLst>
                  <a:ext uri="{FF2B5EF4-FFF2-40B4-BE49-F238E27FC236}">
                    <a16:creationId xmlns:a16="http://schemas.microsoft.com/office/drawing/2014/main" id="{191D1CCF-DB81-4157-AAEF-080287C60523}"/>
                  </a:ext>
                </a:extLst>
              </p:cNvPr>
              <p:cNvSpPr>
                <a:spLocks/>
              </p:cNvSpPr>
              <p:nvPr/>
            </p:nvSpPr>
            <p:spPr bwMode="auto">
              <a:xfrm rot="4648750" flipH="1">
                <a:off x="8012030" y="297550"/>
                <a:ext cx="1422124" cy="1712630"/>
              </a:xfrm>
              <a:custGeom>
                <a:avLst/>
                <a:gdLst/>
                <a:ahLst/>
                <a:cxnLst>
                  <a:cxn ang="0">
                    <a:pos x="1205" y="0"/>
                  </a:cxn>
                  <a:cxn ang="0">
                    <a:pos x="1263" y="243"/>
                  </a:cxn>
                  <a:cxn ang="0">
                    <a:pos x="0" y="1521"/>
                  </a:cxn>
                  <a:cxn ang="0">
                    <a:pos x="139" y="1007"/>
                  </a:cxn>
                  <a:cxn ang="0">
                    <a:pos x="241" y="1226"/>
                  </a:cxn>
                  <a:cxn ang="0">
                    <a:pos x="1032" y="426"/>
                  </a:cxn>
                  <a:cxn ang="0">
                    <a:pos x="985" y="224"/>
                  </a:cxn>
                  <a:cxn ang="0">
                    <a:pos x="1205" y="0"/>
                  </a:cxn>
                </a:cxnLst>
                <a:rect l="0" t="0" r="r" b="b"/>
                <a:pathLst>
                  <a:path w="1263" h="1521">
                    <a:moveTo>
                      <a:pt x="1205" y="0"/>
                    </a:moveTo>
                    <a:lnTo>
                      <a:pt x="1263" y="243"/>
                    </a:lnTo>
                    <a:lnTo>
                      <a:pt x="0" y="1521"/>
                    </a:lnTo>
                    <a:lnTo>
                      <a:pt x="139" y="1007"/>
                    </a:lnTo>
                    <a:lnTo>
                      <a:pt x="241" y="1226"/>
                    </a:lnTo>
                    <a:lnTo>
                      <a:pt x="1032" y="426"/>
                    </a:lnTo>
                    <a:lnTo>
                      <a:pt x="985" y="224"/>
                    </a:lnTo>
                    <a:lnTo>
                      <a:pt x="1205" y="0"/>
                    </a:lnTo>
                    <a:close/>
                  </a:path>
                </a:pathLst>
              </a:custGeom>
              <a:grpFill/>
              <a:ln w="0">
                <a:solidFill>
                  <a:srgbClr val="86BC2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endParaRPr>
              </a:p>
            </p:txBody>
          </p:sp>
        </p:grpSp>
      </p:grpSp>
    </p:spTree>
    <p:extLst>
      <p:ext uri="{BB962C8B-B14F-4D97-AF65-F5344CB8AC3E}">
        <p14:creationId xmlns:p14="http://schemas.microsoft.com/office/powerpoint/2010/main" val="972385643"/>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D65AD6D3-6700-4EFB-8038-22748F603836}"/>
              </a:ext>
            </a:extLst>
          </p:cNvPr>
          <p:cNvGraphicFramePr>
            <a:graphicFrameLocks noChangeAspect="1"/>
          </p:cNvGraphicFramePr>
          <p:nvPr>
            <p:custDataLst>
              <p:tags r:id="rId2"/>
            </p:custDataLst>
            <p:extLst>
              <p:ext uri="{D42A27DB-BD31-4B8C-83A1-F6EECF244321}">
                <p14:modId xmlns:p14="http://schemas.microsoft.com/office/powerpoint/2010/main" val="2304696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6916" name="think-cell Slide" r:id="rId6" imgW="395" imgH="396" progId="TCLayout.ActiveDocument.1">
                  <p:embed/>
                </p:oleObj>
              </mc:Choice>
              <mc:Fallback>
                <p:oleObj name="think-cell Slide" r:id="rId6" imgW="395" imgH="396" progId="TCLayout.ActiveDocument.1">
                  <p:embed/>
                  <p:pic>
                    <p:nvPicPr>
                      <p:cNvPr id="38" name="Object 37" hidden="1">
                        <a:extLst>
                          <a:ext uri="{FF2B5EF4-FFF2-40B4-BE49-F238E27FC236}">
                            <a16:creationId xmlns:a16="http://schemas.microsoft.com/office/drawing/2014/main" id="{D65AD6D3-6700-4EFB-8038-22748F60383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7" name="Rectangle 36" hidden="1">
            <a:extLst>
              <a:ext uri="{FF2B5EF4-FFF2-40B4-BE49-F238E27FC236}">
                <a16:creationId xmlns:a16="http://schemas.microsoft.com/office/drawing/2014/main" id="{0681475F-E174-4C76-8071-EA37BFCA99D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54269CB-378C-4556-9CE6-E819EC35D0BF}"/>
              </a:ext>
            </a:extLst>
          </p:cNvPr>
          <p:cNvSpPr>
            <a:spLocks noGrp="1"/>
          </p:cNvSpPr>
          <p:nvPr>
            <p:ph type="title"/>
          </p:nvPr>
        </p:nvSpPr>
        <p:spPr/>
        <p:txBody>
          <a:bodyPr/>
          <a:lstStyle/>
          <a:p>
            <a:r>
              <a:rPr lang="en-US" dirty="0"/>
              <a:t>Each Asset class shares a set of characteristics</a:t>
            </a:r>
          </a:p>
        </p:txBody>
      </p:sp>
      <p:sp>
        <p:nvSpPr>
          <p:cNvPr id="5" name="Title 3">
            <a:extLst>
              <a:ext uri="{FF2B5EF4-FFF2-40B4-BE49-F238E27FC236}">
                <a16:creationId xmlns:a16="http://schemas.microsoft.com/office/drawing/2014/main" id="{6BE918D5-CEAA-4BEC-AC36-2524883181F1}"/>
              </a:ext>
            </a:extLst>
          </p:cNvPr>
          <p:cNvSpPr txBox="1">
            <a:spLocks/>
          </p:cNvSpPr>
          <p:nvPr/>
        </p:nvSpPr>
        <p:spPr>
          <a:xfrm>
            <a:off x="914399" y="487996"/>
            <a:ext cx="10834578" cy="594360"/>
          </a:xfrm>
          <a:prstGeom prst="rect">
            <a:avLst/>
          </a:prstGeom>
        </p:spPr>
        <p:txBody>
          <a:bodyPr vert="horz" lIns="0" tIns="45720" rIns="0" bIns="0" rtlCol="0" anchor="b" anchorCtr="0">
            <a:norm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sz="2000" dirty="0">
              <a:latin typeface="+mn-lt"/>
            </a:endParaRPr>
          </a:p>
        </p:txBody>
      </p:sp>
      <p:sp>
        <p:nvSpPr>
          <p:cNvPr id="6" name="Text Placeholder 1">
            <a:extLst>
              <a:ext uri="{FF2B5EF4-FFF2-40B4-BE49-F238E27FC236}">
                <a16:creationId xmlns:a16="http://schemas.microsoft.com/office/drawing/2014/main" id="{F553BE47-09D8-4328-8C31-103A192B5112}"/>
              </a:ext>
            </a:extLst>
          </p:cNvPr>
          <p:cNvSpPr txBox="1">
            <a:spLocks/>
          </p:cNvSpPr>
          <p:nvPr/>
        </p:nvSpPr>
        <p:spPr>
          <a:xfrm>
            <a:off x="914971" y="466344"/>
            <a:ext cx="7315200" cy="2032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ABLE</a:t>
            </a:r>
          </a:p>
          <a:p>
            <a:endParaRPr lang="en-US" dirty="0"/>
          </a:p>
        </p:txBody>
      </p:sp>
      <p:grpSp>
        <p:nvGrpSpPr>
          <p:cNvPr id="7" name="Group 6">
            <a:extLst>
              <a:ext uri="{FF2B5EF4-FFF2-40B4-BE49-F238E27FC236}">
                <a16:creationId xmlns:a16="http://schemas.microsoft.com/office/drawing/2014/main" id="{35EE0AB9-1105-47A0-B174-EDDE1F327534}"/>
              </a:ext>
            </a:extLst>
          </p:cNvPr>
          <p:cNvGrpSpPr/>
          <p:nvPr/>
        </p:nvGrpSpPr>
        <p:grpSpPr>
          <a:xfrm>
            <a:off x="914400" y="1736676"/>
            <a:ext cx="10576874" cy="4654979"/>
            <a:chOff x="711200" y="1723261"/>
            <a:chExt cx="11037777" cy="4525140"/>
          </a:xfrm>
        </p:grpSpPr>
        <p:sp>
          <p:nvSpPr>
            <p:cNvPr id="8" name="Rectangle 7">
              <a:extLst>
                <a:ext uri="{FF2B5EF4-FFF2-40B4-BE49-F238E27FC236}">
                  <a16:creationId xmlns:a16="http://schemas.microsoft.com/office/drawing/2014/main" id="{06EDF234-B557-4BEC-A13B-35FB4B1EC894}"/>
                </a:ext>
              </a:extLst>
            </p:cNvPr>
            <p:cNvSpPr/>
            <p:nvPr/>
          </p:nvSpPr>
          <p:spPr>
            <a:xfrm>
              <a:off x="2729671" y="1853889"/>
              <a:ext cx="1109278" cy="215444"/>
            </a:xfrm>
            <a:prstGeom prst="rect">
              <a:avLst/>
            </a:prstGeom>
          </p:spPr>
          <p:txBody>
            <a:bodyPr wrap="non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Open Sans" panose="020B0606030504020204" pitchFamily="34" charset="0"/>
                  <a:cs typeface="Open Sans" panose="020B0606030504020204" pitchFamily="34" charset="0"/>
                </a:rPr>
                <a:t>Mega Assets</a:t>
              </a:r>
              <a:endParaRPr kumimoji="0" lang="en-US" sz="1400" b="1" i="0" u="none" strike="noStrike" kern="1200" cap="none" spc="0" normalizeH="0" baseline="0" noProof="0" dirty="0">
                <a:ln>
                  <a:noFill/>
                </a:ln>
                <a:solidFill>
                  <a:srgbClr val="FFFFFF"/>
                </a:solidFill>
                <a:effectLst/>
                <a:uLnTx/>
                <a:uFillTx/>
                <a:ea typeface="Open Sans" panose="020B0606030504020204" pitchFamily="34" charset="0"/>
                <a:cs typeface="Open Sans" panose="020B0606030504020204" pitchFamily="34" charset="0"/>
              </a:endParaRPr>
            </a:p>
          </p:txBody>
        </p:sp>
        <p:cxnSp>
          <p:nvCxnSpPr>
            <p:cNvPr id="9" name="Straight Connector 8">
              <a:extLst>
                <a:ext uri="{FF2B5EF4-FFF2-40B4-BE49-F238E27FC236}">
                  <a16:creationId xmlns:a16="http://schemas.microsoft.com/office/drawing/2014/main" id="{4FA57641-7F3B-4D76-AAA7-BAD5778E5F1F}"/>
                </a:ext>
              </a:extLst>
            </p:cNvPr>
            <p:cNvCxnSpPr>
              <a:cxnSpLocks/>
            </p:cNvCxnSpPr>
            <p:nvPr/>
          </p:nvCxnSpPr>
          <p:spPr>
            <a:xfrm>
              <a:off x="2729671" y="1723261"/>
              <a:ext cx="2756727"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CF2A3DE0-BFEE-440F-A6E0-868345DEC681}"/>
                </a:ext>
              </a:extLst>
            </p:cNvPr>
            <p:cNvSpPr/>
            <p:nvPr/>
          </p:nvSpPr>
          <p:spPr>
            <a:xfrm>
              <a:off x="5868063" y="1853889"/>
              <a:ext cx="1300036" cy="215444"/>
            </a:xfrm>
            <a:prstGeom prst="rect">
              <a:avLst/>
            </a:prstGeom>
          </p:spPr>
          <p:txBody>
            <a:bodyPr wrap="non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Open Sans" panose="020B0606030504020204" pitchFamily="34" charset="0"/>
                  <a:cs typeface="Open Sans" panose="020B0606030504020204" pitchFamily="34" charset="0"/>
                </a:rPr>
                <a:t>Priority Assets</a:t>
              </a:r>
              <a:endParaRPr kumimoji="0" lang="en-US" sz="1400" b="1" i="0" u="none" strike="noStrike" kern="1200" cap="none" spc="0" normalizeH="0" baseline="0" noProof="0" dirty="0">
                <a:ln>
                  <a:noFill/>
                </a:ln>
                <a:solidFill>
                  <a:srgbClr val="FFFFFF"/>
                </a:solidFill>
                <a:effectLst/>
                <a:uLnTx/>
                <a:uFillTx/>
                <a:ea typeface="Open Sans" panose="020B0606030504020204" pitchFamily="34" charset="0"/>
                <a:cs typeface="Open Sans" panose="020B0606030504020204" pitchFamily="34" charset="0"/>
              </a:endParaRPr>
            </a:p>
          </p:txBody>
        </p:sp>
        <p:cxnSp>
          <p:nvCxnSpPr>
            <p:cNvPr id="11" name="Straight Connector 10">
              <a:extLst>
                <a:ext uri="{FF2B5EF4-FFF2-40B4-BE49-F238E27FC236}">
                  <a16:creationId xmlns:a16="http://schemas.microsoft.com/office/drawing/2014/main" id="{49D572BF-B1E2-4CF0-A2D8-FA4D83C293C7}"/>
                </a:ext>
              </a:extLst>
            </p:cNvPr>
            <p:cNvCxnSpPr>
              <a:cxnSpLocks/>
            </p:cNvCxnSpPr>
            <p:nvPr/>
          </p:nvCxnSpPr>
          <p:spPr>
            <a:xfrm>
              <a:off x="5868063" y="1723261"/>
              <a:ext cx="2628237" cy="0"/>
            </a:xfrm>
            <a:prstGeom prst="line">
              <a:avLst/>
            </a:prstGeom>
            <a:ln w="571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7E3514B6-2F0C-4A3F-BF2C-FBCAB70D3E99}"/>
                </a:ext>
              </a:extLst>
            </p:cNvPr>
            <p:cNvSpPr/>
            <p:nvPr/>
          </p:nvSpPr>
          <p:spPr>
            <a:xfrm>
              <a:off x="8774094" y="1853889"/>
              <a:ext cx="1141338" cy="215444"/>
            </a:xfrm>
            <a:prstGeom prst="rect">
              <a:avLst/>
            </a:prstGeom>
          </p:spPr>
          <p:txBody>
            <a:bodyPr wrap="non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Open Sans" panose="020B0606030504020204" pitchFamily="34" charset="0"/>
                  <a:cs typeface="Open Sans" panose="020B0606030504020204" pitchFamily="34" charset="0"/>
                </a:rPr>
                <a:t>Niche Assets</a:t>
              </a:r>
              <a:endParaRPr kumimoji="0" lang="en-US" sz="1400" b="1" i="0" u="none" strike="noStrike" kern="1200" cap="none" spc="0" normalizeH="0" baseline="0" noProof="0" dirty="0">
                <a:ln>
                  <a:noFill/>
                </a:ln>
                <a:solidFill>
                  <a:srgbClr val="FFFFFF"/>
                </a:solidFill>
                <a:effectLst/>
                <a:uLnTx/>
                <a:uFillTx/>
                <a:ea typeface="Open Sans" panose="020B0606030504020204" pitchFamily="34" charset="0"/>
                <a:cs typeface="Open Sans" panose="020B0606030504020204" pitchFamily="34" charset="0"/>
              </a:endParaRPr>
            </a:p>
          </p:txBody>
        </p:sp>
        <p:sp>
          <p:nvSpPr>
            <p:cNvPr id="13" name="Rectangle 12">
              <a:extLst>
                <a:ext uri="{FF2B5EF4-FFF2-40B4-BE49-F238E27FC236}">
                  <a16:creationId xmlns:a16="http://schemas.microsoft.com/office/drawing/2014/main" id="{C9F07035-0A5A-462D-88F0-AEF14C0B9F36}"/>
                </a:ext>
              </a:extLst>
            </p:cNvPr>
            <p:cNvSpPr/>
            <p:nvPr/>
          </p:nvSpPr>
          <p:spPr>
            <a:xfrm>
              <a:off x="711200" y="2230736"/>
              <a:ext cx="11037777" cy="15919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grpSp>
          <p:nvGrpSpPr>
            <p:cNvPr id="14" name="Group 13">
              <a:extLst>
                <a:ext uri="{FF2B5EF4-FFF2-40B4-BE49-F238E27FC236}">
                  <a16:creationId xmlns:a16="http://schemas.microsoft.com/office/drawing/2014/main" id="{7791CE7F-129C-4201-ADFF-48E3EBC9BE44}"/>
                </a:ext>
              </a:extLst>
            </p:cNvPr>
            <p:cNvGrpSpPr/>
            <p:nvPr/>
          </p:nvGrpSpPr>
          <p:grpSpPr>
            <a:xfrm>
              <a:off x="914400" y="2365731"/>
              <a:ext cx="10477500" cy="1425249"/>
              <a:chOff x="914400" y="2365731"/>
              <a:chExt cx="10477500" cy="669844"/>
            </a:xfrm>
          </p:grpSpPr>
          <p:sp>
            <p:nvSpPr>
              <p:cNvPr id="30" name="Rectangle 29">
                <a:extLst>
                  <a:ext uri="{FF2B5EF4-FFF2-40B4-BE49-F238E27FC236}">
                    <a16:creationId xmlns:a16="http://schemas.microsoft.com/office/drawing/2014/main" id="{F794BCD0-7BB9-4293-B785-1A5A6967176F}"/>
                  </a:ext>
                </a:extLst>
              </p:cNvPr>
              <p:cNvSpPr/>
              <p:nvPr/>
            </p:nvSpPr>
            <p:spPr>
              <a:xfrm>
                <a:off x="914400" y="2365731"/>
                <a:ext cx="2447492" cy="101255"/>
              </a:xfrm>
              <a:prstGeom prst="rect">
                <a:avLst/>
              </a:prstGeom>
            </p:spPr>
            <p:txBody>
              <a:bodyPr wrap="squar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Open Sans" panose="020B0606030504020204" pitchFamily="34" charset="0"/>
                    <a:cs typeface="Open Sans" panose="020B0606030504020204" pitchFamily="34" charset="0"/>
                  </a:rPr>
                  <a:t>Business Case</a:t>
                </a:r>
              </a:p>
            </p:txBody>
          </p:sp>
          <p:sp>
            <p:nvSpPr>
              <p:cNvPr id="31" name="TextBox 30">
                <a:extLst>
                  <a:ext uri="{FF2B5EF4-FFF2-40B4-BE49-F238E27FC236}">
                    <a16:creationId xmlns:a16="http://schemas.microsoft.com/office/drawing/2014/main" id="{CE47AEEE-762D-4AFA-991A-53CCA1BB8EFD}"/>
                  </a:ext>
                </a:extLst>
              </p:cNvPr>
              <p:cNvSpPr txBox="1"/>
              <p:nvPr/>
            </p:nvSpPr>
            <p:spPr bwMode="gray">
              <a:xfrm>
                <a:off x="2729670" y="2410511"/>
                <a:ext cx="2756728" cy="625064"/>
              </a:xfrm>
              <a:prstGeom prst="rect">
                <a:avLst/>
              </a:prstGeom>
            </p:spPr>
            <p:txBody>
              <a:bodyPr wrap="square" lIns="0" tIns="0" rIns="0" bIns="0" rtlCol="0" anchor="t" anchorCtr="0">
                <a:noAutofit/>
              </a:bodyPr>
              <a:lstStyle/>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OP &amp; Industry top priority</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Trajectory to create M.O.</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Primarily multi-year, managed service deals</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Target of $100M+ YoY pipeline</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Strategic fit with core Alliances</a:t>
                </a:r>
              </a:p>
            </p:txBody>
          </p:sp>
          <p:sp>
            <p:nvSpPr>
              <p:cNvPr id="32" name="TextBox 31">
                <a:extLst>
                  <a:ext uri="{FF2B5EF4-FFF2-40B4-BE49-F238E27FC236}">
                    <a16:creationId xmlns:a16="http://schemas.microsoft.com/office/drawing/2014/main" id="{1358312A-CA5C-4C3B-ACFE-9B769C9761BE}"/>
                  </a:ext>
                </a:extLst>
              </p:cNvPr>
              <p:cNvSpPr txBox="1"/>
              <p:nvPr/>
            </p:nvSpPr>
            <p:spPr bwMode="gray">
              <a:xfrm>
                <a:off x="5868063" y="2410511"/>
                <a:ext cx="2524367" cy="625064"/>
              </a:xfrm>
              <a:prstGeom prst="rect">
                <a:avLst/>
              </a:prstGeom>
            </p:spPr>
            <p:txBody>
              <a:bodyPr wrap="square" lIns="0" tIns="0" rIns="0" bIns="0" rtlCol="0" anchor="t" anchorCtr="0">
                <a:noAutofit/>
              </a:bodyPr>
              <a:lstStyle/>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OP &amp; Industry priority</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Core enabler of M.O. / Industry hybrid businesses</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Opportunity to create A-a-S and operate tails</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Target of $10M+ (E) revenue</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endParaRPr kumimoji="0" lang="en-US" sz="1200" b="0" i="0" u="none" strike="noStrike" kern="1200" cap="none" spc="0" normalizeH="0" baseline="0" noProof="0" dirty="0">
                  <a:ln>
                    <a:noFill/>
                  </a:ln>
                  <a:solidFill>
                    <a:srgbClr val="000000"/>
                  </a:solidFill>
                  <a:effectLst/>
                  <a:uLnTx/>
                  <a:uFillTx/>
                  <a:ea typeface="Calibri" charset="0"/>
                  <a:cs typeface="Calibri" charset="0"/>
                </a:endParaRPr>
              </a:p>
            </p:txBody>
          </p:sp>
          <p:sp>
            <p:nvSpPr>
              <p:cNvPr id="33" name="TextBox 32">
                <a:extLst>
                  <a:ext uri="{FF2B5EF4-FFF2-40B4-BE49-F238E27FC236}">
                    <a16:creationId xmlns:a16="http://schemas.microsoft.com/office/drawing/2014/main" id="{BE620CB0-8E9F-48EF-B265-174BAA92CBFE}"/>
                  </a:ext>
                </a:extLst>
              </p:cNvPr>
              <p:cNvSpPr txBox="1"/>
              <p:nvPr/>
            </p:nvSpPr>
            <p:spPr bwMode="gray">
              <a:xfrm>
                <a:off x="8774094" y="2410511"/>
                <a:ext cx="2617806" cy="625064"/>
              </a:xfrm>
              <a:prstGeom prst="rect">
                <a:avLst/>
              </a:prstGeom>
            </p:spPr>
            <p:txBody>
              <a:bodyPr wrap="square" lIns="0" tIns="0" rIns="0" bIns="0" rtlCol="0" anchor="t" anchorCtr="0">
                <a:noAutofit/>
              </a:bodyPr>
              <a:lstStyle/>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LCP / Project leadership priority</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Core to delivery of specific projects / client types </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Primarily used to differentiate in sales process</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 Target of &lt;$10M (E) revenue</a:t>
                </a:r>
              </a:p>
            </p:txBody>
          </p:sp>
        </p:grpSp>
        <p:grpSp>
          <p:nvGrpSpPr>
            <p:cNvPr id="15" name="Group 14">
              <a:extLst>
                <a:ext uri="{FF2B5EF4-FFF2-40B4-BE49-F238E27FC236}">
                  <a16:creationId xmlns:a16="http://schemas.microsoft.com/office/drawing/2014/main" id="{6380B489-FB94-4711-8BF7-5098AAFAD2C0}"/>
                </a:ext>
              </a:extLst>
            </p:cNvPr>
            <p:cNvGrpSpPr/>
            <p:nvPr/>
          </p:nvGrpSpPr>
          <p:grpSpPr>
            <a:xfrm>
              <a:off x="711200" y="3901904"/>
              <a:ext cx="11037777" cy="1300692"/>
              <a:chOff x="711200" y="3901904"/>
              <a:chExt cx="11037777" cy="1300692"/>
            </a:xfrm>
          </p:grpSpPr>
          <p:sp>
            <p:nvSpPr>
              <p:cNvPr id="24" name="Rectangle 23">
                <a:extLst>
                  <a:ext uri="{FF2B5EF4-FFF2-40B4-BE49-F238E27FC236}">
                    <a16:creationId xmlns:a16="http://schemas.microsoft.com/office/drawing/2014/main" id="{4D556E61-099D-44F8-B160-90D8D3B8B3A7}"/>
                  </a:ext>
                </a:extLst>
              </p:cNvPr>
              <p:cNvSpPr/>
              <p:nvPr/>
            </p:nvSpPr>
            <p:spPr>
              <a:xfrm>
                <a:off x="711200" y="3901904"/>
                <a:ext cx="11037777" cy="12868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grpSp>
            <p:nvGrpSpPr>
              <p:cNvPr id="25" name="Group 24">
                <a:extLst>
                  <a:ext uri="{FF2B5EF4-FFF2-40B4-BE49-F238E27FC236}">
                    <a16:creationId xmlns:a16="http://schemas.microsoft.com/office/drawing/2014/main" id="{2AB87506-0FAD-4336-8B45-9026E6D37534}"/>
                  </a:ext>
                </a:extLst>
              </p:cNvPr>
              <p:cNvGrpSpPr/>
              <p:nvPr/>
            </p:nvGrpSpPr>
            <p:grpSpPr>
              <a:xfrm>
                <a:off x="914399" y="3984378"/>
                <a:ext cx="10477501" cy="1218218"/>
                <a:chOff x="914399" y="3738838"/>
                <a:chExt cx="10477501" cy="678100"/>
              </a:xfrm>
            </p:grpSpPr>
            <p:sp>
              <p:nvSpPr>
                <p:cNvPr id="26" name="Rectangle 25">
                  <a:extLst>
                    <a:ext uri="{FF2B5EF4-FFF2-40B4-BE49-F238E27FC236}">
                      <a16:creationId xmlns:a16="http://schemas.microsoft.com/office/drawing/2014/main" id="{C2BEF058-F4AE-4634-A3CA-C29E88092196}"/>
                    </a:ext>
                  </a:extLst>
                </p:cNvPr>
                <p:cNvSpPr/>
                <p:nvPr/>
              </p:nvSpPr>
              <p:spPr>
                <a:xfrm>
                  <a:off x="914399" y="3738838"/>
                  <a:ext cx="1720998" cy="119923"/>
                </a:xfrm>
                <a:prstGeom prst="rect">
                  <a:avLst/>
                </a:prstGeom>
              </p:spPr>
              <p:txBody>
                <a:bodyPr wrap="square" lIns="0" tIns="0" rIns="0" bIns="0" anchor="t">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Open Sans" panose="020B0606030504020204" pitchFamily="34" charset="0"/>
                      <a:cs typeface="Open Sans" panose="020B0606030504020204" pitchFamily="34" charset="0"/>
                    </a:rPr>
                    <a:t>Scale</a:t>
                  </a:r>
                </a:p>
              </p:txBody>
            </p:sp>
            <p:sp>
              <p:nvSpPr>
                <p:cNvPr id="27" name="TextBox 26">
                  <a:extLst>
                    <a:ext uri="{FF2B5EF4-FFF2-40B4-BE49-F238E27FC236}">
                      <a16:creationId xmlns:a16="http://schemas.microsoft.com/office/drawing/2014/main" id="{7AC9F841-A614-4D2A-B541-F8741B4E6B76}"/>
                    </a:ext>
                  </a:extLst>
                </p:cNvPr>
                <p:cNvSpPr txBox="1"/>
                <p:nvPr/>
              </p:nvSpPr>
              <p:spPr bwMode="gray">
                <a:xfrm>
                  <a:off x="2729670" y="3791873"/>
                  <a:ext cx="2863056" cy="625064"/>
                </a:xfrm>
                <a:prstGeom prst="rect">
                  <a:avLst/>
                </a:prstGeom>
              </p:spPr>
              <p:txBody>
                <a:bodyPr wrap="square" lIns="0" tIns="0" rIns="0" bIns="0" rtlCol="0" anchor="t" anchorCtr="0">
                  <a:noAutofit/>
                </a:bodyPr>
                <a:lstStyle/>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Supported by Consulting and Management Committees</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Multi-offering / industry / client</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Fully dedicated Asset team</a:t>
                  </a:r>
                </a:p>
                <a:p>
                  <a:pPr marL="742950" marR="0" lvl="1"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GM / Dev / Design / G2M</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endParaRPr kumimoji="0" lang="en-US" sz="1200" b="0" i="0" u="none" strike="noStrike" kern="1200" cap="none" spc="0" normalizeH="0" baseline="0" noProof="0" dirty="0">
                    <a:ln>
                      <a:noFill/>
                    </a:ln>
                    <a:solidFill>
                      <a:srgbClr val="000000"/>
                    </a:solidFill>
                    <a:effectLst/>
                    <a:uLnTx/>
                    <a:uFillTx/>
                    <a:ea typeface="Calibri" charset="0"/>
                    <a:cs typeface="Calibri" charset="0"/>
                  </a:endParaRPr>
                </a:p>
              </p:txBody>
            </p:sp>
            <p:sp>
              <p:nvSpPr>
                <p:cNvPr id="28" name="TextBox 27">
                  <a:extLst>
                    <a:ext uri="{FF2B5EF4-FFF2-40B4-BE49-F238E27FC236}">
                      <a16:creationId xmlns:a16="http://schemas.microsoft.com/office/drawing/2014/main" id="{9D651A45-613C-4FE6-B9B6-1F820256342E}"/>
                    </a:ext>
                  </a:extLst>
                </p:cNvPr>
                <p:cNvSpPr txBox="1"/>
                <p:nvPr/>
              </p:nvSpPr>
              <p:spPr bwMode="gray">
                <a:xfrm>
                  <a:off x="5868063" y="3791874"/>
                  <a:ext cx="2524367" cy="625064"/>
                </a:xfrm>
                <a:prstGeom prst="rect">
                  <a:avLst/>
                </a:prstGeom>
              </p:spPr>
              <p:txBody>
                <a:bodyPr wrap="square" lIns="0" tIns="0" rIns="0" bIns="0" rtlCol="0" anchor="t" anchorCtr="0">
                  <a:noAutofit/>
                </a:bodyPr>
                <a:lstStyle/>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Supported by OP and DSC</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Multi-industry / client</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Dedicated leadership team</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Built on modern, scalable, open architecture</a:t>
                  </a:r>
                </a:p>
              </p:txBody>
            </p:sp>
            <p:sp>
              <p:nvSpPr>
                <p:cNvPr id="29" name="TextBox 28">
                  <a:extLst>
                    <a:ext uri="{FF2B5EF4-FFF2-40B4-BE49-F238E27FC236}">
                      <a16:creationId xmlns:a16="http://schemas.microsoft.com/office/drawing/2014/main" id="{611FCB1F-909F-4F60-886E-A263E0397872}"/>
                    </a:ext>
                  </a:extLst>
                </p:cNvPr>
                <p:cNvSpPr txBox="1"/>
                <p:nvPr/>
              </p:nvSpPr>
              <p:spPr bwMode="gray">
                <a:xfrm>
                  <a:off x="8774093" y="3791873"/>
                  <a:ext cx="2617807" cy="625064"/>
                </a:xfrm>
                <a:prstGeom prst="rect">
                  <a:avLst/>
                </a:prstGeom>
              </p:spPr>
              <p:txBody>
                <a:bodyPr wrap="square" lIns="0" tIns="0" rIns="0" bIns="0" rtlCol="0" anchor="t" anchorCtr="0">
                  <a:noAutofit/>
                </a:bodyPr>
                <a:lstStyle/>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Supported by client / project</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Single-industry / client</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Small, non-dedicated team</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Serves minimal scope of use cases and limited architecture</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endParaRPr kumimoji="0" lang="en-US" sz="1200" b="0" i="0" u="none" strike="noStrike" kern="1200" cap="none" spc="0" normalizeH="0" baseline="0" noProof="0" dirty="0">
                    <a:ln>
                      <a:noFill/>
                    </a:ln>
                    <a:solidFill>
                      <a:srgbClr val="000000"/>
                    </a:solidFill>
                    <a:effectLst/>
                    <a:uLnTx/>
                    <a:uFillTx/>
                    <a:ea typeface="Calibri" charset="0"/>
                    <a:cs typeface="Calibri" charset="0"/>
                  </a:endParaRPr>
                </a:p>
              </p:txBody>
            </p:sp>
          </p:grpSp>
        </p:grpSp>
        <p:grpSp>
          <p:nvGrpSpPr>
            <p:cNvPr id="16" name="Group 15">
              <a:extLst>
                <a:ext uri="{FF2B5EF4-FFF2-40B4-BE49-F238E27FC236}">
                  <a16:creationId xmlns:a16="http://schemas.microsoft.com/office/drawing/2014/main" id="{975F5E0D-31DA-4361-9FA5-213F87BBE673}"/>
                </a:ext>
              </a:extLst>
            </p:cNvPr>
            <p:cNvGrpSpPr/>
            <p:nvPr/>
          </p:nvGrpSpPr>
          <p:grpSpPr>
            <a:xfrm>
              <a:off x="711200" y="5267911"/>
              <a:ext cx="11037777" cy="980490"/>
              <a:chOff x="711200" y="5267911"/>
              <a:chExt cx="11037777" cy="980490"/>
            </a:xfrm>
          </p:grpSpPr>
          <p:sp>
            <p:nvSpPr>
              <p:cNvPr id="18" name="Rectangle 17">
                <a:extLst>
                  <a:ext uri="{FF2B5EF4-FFF2-40B4-BE49-F238E27FC236}">
                    <a16:creationId xmlns:a16="http://schemas.microsoft.com/office/drawing/2014/main" id="{106F838C-B2F5-435B-AB7F-93023C95C826}"/>
                  </a:ext>
                </a:extLst>
              </p:cNvPr>
              <p:cNvSpPr/>
              <p:nvPr/>
            </p:nvSpPr>
            <p:spPr>
              <a:xfrm>
                <a:off x="711200" y="5267911"/>
                <a:ext cx="11037777" cy="98049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grpSp>
            <p:nvGrpSpPr>
              <p:cNvPr id="19" name="Group 18">
                <a:extLst>
                  <a:ext uri="{FF2B5EF4-FFF2-40B4-BE49-F238E27FC236}">
                    <a16:creationId xmlns:a16="http://schemas.microsoft.com/office/drawing/2014/main" id="{B5548F63-E1EF-48BB-9F5E-757B23F34F47}"/>
                  </a:ext>
                </a:extLst>
              </p:cNvPr>
              <p:cNvGrpSpPr/>
              <p:nvPr/>
            </p:nvGrpSpPr>
            <p:grpSpPr>
              <a:xfrm>
                <a:off x="914399" y="5395993"/>
                <a:ext cx="10629901" cy="720343"/>
                <a:chOff x="914399" y="5078493"/>
                <a:chExt cx="10629901" cy="720343"/>
              </a:xfrm>
            </p:grpSpPr>
            <p:sp>
              <p:nvSpPr>
                <p:cNvPr id="20" name="Rectangle 19">
                  <a:extLst>
                    <a:ext uri="{FF2B5EF4-FFF2-40B4-BE49-F238E27FC236}">
                      <a16:creationId xmlns:a16="http://schemas.microsoft.com/office/drawing/2014/main" id="{FE27B364-18B7-42B7-BE25-AF8AB697E9FD}"/>
                    </a:ext>
                  </a:extLst>
                </p:cNvPr>
                <p:cNvSpPr/>
                <p:nvPr/>
              </p:nvSpPr>
              <p:spPr>
                <a:xfrm>
                  <a:off x="914399" y="5078493"/>
                  <a:ext cx="1583303" cy="215444"/>
                </a:xfrm>
                <a:prstGeom prst="rect">
                  <a:avLst/>
                </a:prstGeom>
              </p:spPr>
              <p:txBody>
                <a:bodyPr wrap="squar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Open Sans" panose="020B0606030504020204" pitchFamily="34" charset="0"/>
                      <a:cs typeface="Open Sans" panose="020B0606030504020204" pitchFamily="34" charset="0"/>
                    </a:rPr>
                    <a:t>Funding</a:t>
                  </a:r>
                </a:p>
              </p:txBody>
            </p:sp>
            <p:sp>
              <p:nvSpPr>
                <p:cNvPr id="21" name="TextBox 20">
                  <a:extLst>
                    <a:ext uri="{FF2B5EF4-FFF2-40B4-BE49-F238E27FC236}">
                      <a16:creationId xmlns:a16="http://schemas.microsoft.com/office/drawing/2014/main" id="{43B679E6-F966-42C0-9B24-97E83EA344B2}"/>
                    </a:ext>
                  </a:extLst>
                </p:cNvPr>
                <p:cNvSpPr txBox="1"/>
                <p:nvPr/>
              </p:nvSpPr>
              <p:spPr bwMode="gray">
                <a:xfrm>
                  <a:off x="2729671" y="5173772"/>
                  <a:ext cx="2756727" cy="625064"/>
                </a:xfrm>
                <a:prstGeom prst="rect">
                  <a:avLst/>
                </a:prstGeom>
              </p:spPr>
              <p:txBody>
                <a:bodyPr wrap="square" lIns="0" tIns="0" rIns="0" bIns="0" rtlCol="0" anchor="t" anchorCtr="0">
                  <a:noAutofit/>
                </a:bodyPr>
                <a:lstStyle/>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Funded by business case</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mn-ea"/>
                      <a:cs typeface="Calibri" charset="0"/>
                    </a:rPr>
                    <a:t>Allocation from across Consulting</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mn-ea"/>
                      <a:cs typeface="Calibri" charset="0"/>
                    </a:rPr>
                    <a:t>$5M+ per year investment </a:t>
                  </a:r>
                  <a:r>
                    <a:rPr kumimoji="0" lang="en-US" sz="1200" b="0" i="0" u="none" strike="noStrike" kern="1200" cap="none" spc="0" normalizeH="0" baseline="0" noProof="0" dirty="0" err="1">
                      <a:ln>
                        <a:noFill/>
                      </a:ln>
                      <a:solidFill>
                        <a:srgbClr val="000000"/>
                      </a:solidFill>
                      <a:effectLst/>
                      <a:uLnTx/>
                      <a:uFillTx/>
                      <a:ea typeface="+mn-ea"/>
                      <a:cs typeface="Calibri" charset="0"/>
                    </a:rPr>
                    <a:t>req’d</a:t>
                  </a:r>
                  <a:endParaRPr kumimoji="0" lang="en-US" sz="1200" b="0" i="0" u="none" strike="noStrike" kern="1200" cap="none" spc="0" normalizeH="0" baseline="0" noProof="0" dirty="0">
                    <a:ln>
                      <a:noFill/>
                    </a:ln>
                    <a:solidFill>
                      <a:srgbClr val="000000"/>
                    </a:solidFill>
                    <a:effectLst/>
                    <a:uLnTx/>
                    <a:uFillTx/>
                    <a:ea typeface="+mn-ea"/>
                    <a:cs typeface="Calibri" charset="0"/>
                  </a:endParaRP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endParaRPr kumimoji="0" lang="en-US" sz="1200" b="0" i="0" u="none" strike="noStrike" kern="1200" cap="none" spc="0" normalizeH="0" baseline="0" noProof="0" dirty="0">
                    <a:ln>
                      <a:noFill/>
                    </a:ln>
                    <a:solidFill>
                      <a:srgbClr val="000000"/>
                    </a:solidFill>
                    <a:effectLst/>
                    <a:uLnTx/>
                    <a:uFillTx/>
                    <a:ea typeface="+mn-ea"/>
                    <a:cs typeface="Calibri"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ea typeface="Calibri" charset="0"/>
                    <a:cs typeface="Calibri" charset="0"/>
                  </a:endParaRPr>
                </a:p>
              </p:txBody>
            </p:sp>
            <p:sp>
              <p:nvSpPr>
                <p:cNvPr id="22" name="TextBox 21">
                  <a:extLst>
                    <a:ext uri="{FF2B5EF4-FFF2-40B4-BE49-F238E27FC236}">
                      <a16:creationId xmlns:a16="http://schemas.microsoft.com/office/drawing/2014/main" id="{0469FCAC-A0F2-48C7-A685-ED9E7E3CA372}"/>
                    </a:ext>
                  </a:extLst>
                </p:cNvPr>
                <p:cNvSpPr txBox="1"/>
                <p:nvPr/>
              </p:nvSpPr>
              <p:spPr bwMode="gray">
                <a:xfrm>
                  <a:off x="5868063" y="5173772"/>
                  <a:ext cx="2628237" cy="625064"/>
                </a:xfrm>
                <a:prstGeom prst="rect">
                  <a:avLst/>
                </a:prstGeom>
              </p:spPr>
              <p:txBody>
                <a:bodyPr wrap="square" lIns="0" tIns="0" rIns="0" bIns="0" rtlCol="0" anchor="t" anchorCtr="0">
                  <a:noAutofit/>
                </a:bodyPr>
                <a:lstStyle/>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Funded by client, OP, Industry</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Allocation from OP / DSC</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lt;$5M per year investment </a:t>
                  </a:r>
                  <a:r>
                    <a:rPr kumimoji="0" lang="en-US" sz="1200" b="0" i="0" u="none" strike="noStrike" kern="1200" cap="none" spc="0" normalizeH="0" baseline="0" noProof="0" dirty="0" err="1">
                      <a:ln>
                        <a:noFill/>
                      </a:ln>
                      <a:solidFill>
                        <a:srgbClr val="000000"/>
                      </a:solidFill>
                      <a:effectLst/>
                      <a:uLnTx/>
                      <a:uFillTx/>
                      <a:ea typeface="Calibri" charset="0"/>
                      <a:cs typeface="Calibri" charset="0"/>
                    </a:rPr>
                    <a:t>req’d</a:t>
                  </a:r>
                  <a:endParaRPr kumimoji="0" lang="en-US" sz="1200" b="0" i="0" u="none" strike="noStrike" kern="1200" cap="none" spc="0" normalizeH="0" baseline="0" noProof="0" dirty="0">
                    <a:ln>
                      <a:noFill/>
                    </a:ln>
                    <a:solidFill>
                      <a:srgbClr val="000000"/>
                    </a:solidFill>
                    <a:effectLst/>
                    <a:uLnTx/>
                    <a:uFillTx/>
                    <a:ea typeface="Calibri" charset="0"/>
                    <a:cs typeface="Calibri" charset="0"/>
                  </a:endParaRP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endParaRPr kumimoji="0" lang="en-US" sz="1200" b="0" i="0" u="none" strike="noStrike" kern="1200" cap="none" spc="0" normalizeH="0" baseline="0" noProof="0" dirty="0">
                    <a:ln>
                      <a:noFill/>
                    </a:ln>
                    <a:solidFill>
                      <a:srgbClr val="000000"/>
                    </a:solidFill>
                    <a:effectLst/>
                    <a:uLnTx/>
                    <a:uFillTx/>
                    <a:ea typeface="Calibri" charset="0"/>
                    <a:cs typeface="Calibri" charset="0"/>
                  </a:endParaRPr>
                </a:p>
              </p:txBody>
            </p:sp>
            <p:sp>
              <p:nvSpPr>
                <p:cNvPr id="23" name="TextBox 22">
                  <a:extLst>
                    <a:ext uri="{FF2B5EF4-FFF2-40B4-BE49-F238E27FC236}">
                      <a16:creationId xmlns:a16="http://schemas.microsoft.com/office/drawing/2014/main" id="{956C4DC3-8249-4AB1-B95E-A4BAB104DBDA}"/>
                    </a:ext>
                  </a:extLst>
                </p:cNvPr>
                <p:cNvSpPr txBox="1"/>
                <p:nvPr/>
              </p:nvSpPr>
              <p:spPr bwMode="gray">
                <a:xfrm>
                  <a:off x="8774094" y="5173772"/>
                  <a:ext cx="2770206" cy="625064"/>
                </a:xfrm>
                <a:prstGeom prst="rect">
                  <a:avLst/>
                </a:prstGeom>
              </p:spPr>
              <p:txBody>
                <a:bodyPr wrap="square" lIns="0" tIns="0" rIns="0" bIns="0" rtlCol="0" anchor="t" anchorCtr="0">
                  <a:noAutofit/>
                </a:bodyPr>
                <a:lstStyle/>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Funded by project, nights / wknds</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Allocation from core network</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srgbClr val="000000"/>
                      </a:solidFill>
                      <a:effectLst/>
                      <a:uLnTx/>
                      <a:uFillTx/>
                      <a:ea typeface="Calibri" charset="0"/>
                      <a:cs typeface="Calibri" charset="0"/>
                    </a:rPr>
                    <a:t>&lt;$1M per year investment </a:t>
                  </a:r>
                  <a:r>
                    <a:rPr kumimoji="0" lang="en-US" sz="1200" b="0" i="0" u="none" strike="noStrike" kern="1200" cap="none" spc="0" normalizeH="0" baseline="0" noProof="0" dirty="0" err="1">
                      <a:ln>
                        <a:noFill/>
                      </a:ln>
                      <a:solidFill>
                        <a:srgbClr val="000000"/>
                      </a:solidFill>
                      <a:effectLst/>
                      <a:uLnTx/>
                      <a:uFillTx/>
                      <a:ea typeface="Calibri" charset="0"/>
                      <a:cs typeface="Calibri" charset="0"/>
                    </a:rPr>
                    <a:t>req</a:t>
                  </a:r>
                  <a:r>
                    <a:rPr kumimoji="0" lang="en-US" sz="1200" b="0" i="0" u="none" strike="noStrike" kern="1200" cap="none" spc="0" normalizeH="0" baseline="0" noProof="0" dirty="0">
                      <a:ln>
                        <a:noFill/>
                      </a:ln>
                      <a:solidFill>
                        <a:srgbClr val="000000"/>
                      </a:solidFill>
                      <a:effectLst/>
                      <a:uLnTx/>
                      <a:uFillTx/>
                      <a:ea typeface="Calibri" charset="0"/>
                      <a:cs typeface="Calibri" charset="0"/>
                    </a:rPr>
                    <a:t>/d</a:t>
                  </a:r>
                </a:p>
              </p:txBody>
            </p:sp>
          </p:grpSp>
        </p:grpSp>
        <p:cxnSp>
          <p:nvCxnSpPr>
            <p:cNvPr id="17" name="Straight Connector 16">
              <a:extLst>
                <a:ext uri="{FF2B5EF4-FFF2-40B4-BE49-F238E27FC236}">
                  <a16:creationId xmlns:a16="http://schemas.microsoft.com/office/drawing/2014/main" id="{0B8D54BF-C619-4C4B-8A98-5932C4A85252}"/>
                </a:ext>
              </a:extLst>
            </p:cNvPr>
            <p:cNvCxnSpPr>
              <a:cxnSpLocks/>
            </p:cNvCxnSpPr>
            <p:nvPr/>
          </p:nvCxnSpPr>
          <p:spPr>
            <a:xfrm>
              <a:off x="8774094" y="1723261"/>
              <a:ext cx="2617806" cy="0"/>
            </a:xfrm>
            <a:prstGeom prst="line">
              <a:avLst/>
            </a:prstGeom>
            <a:ln w="57150">
              <a:solidFill>
                <a:srgbClr val="34F0FF"/>
              </a:solidFill>
            </a:ln>
          </p:spPr>
          <p:style>
            <a:lnRef idx="1">
              <a:schemeClr val="accent1"/>
            </a:lnRef>
            <a:fillRef idx="0">
              <a:schemeClr val="accent1"/>
            </a:fillRef>
            <a:effectRef idx="0">
              <a:schemeClr val="accent1"/>
            </a:effectRef>
            <a:fontRef idx="minor">
              <a:schemeClr val="tx1"/>
            </a:fontRef>
          </p:style>
        </p:cxnSp>
      </p:grpSp>
      <p:sp>
        <p:nvSpPr>
          <p:cNvPr id="40" name="Text Placeholder 39">
            <a:extLst>
              <a:ext uri="{FF2B5EF4-FFF2-40B4-BE49-F238E27FC236}">
                <a16:creationId xmlns:a16="http://schemas.microsoft.com/office/drawing/2014/main" id="{B3E3F1E3-49A1-466E-AAA2-274F47F17297}"/>
              </a:ext>
            </a:extLst>
          </p:cNvPr>
          <p:cNvSpPr>
            <a:spLocks noGrp="1"/>
          </p:cNvSpPr>
          <p:nvPr>
            <p:ph type="body" sz="quarter" idx="14"/>
          </p:nvPr>
        </p:nvSpPr>
        <p:spPr/>
        <p:txBody>
          <a:bodyPr/>
          <a:lstStyle/>
          <a:p>
            <a:r>
              <a:rPr lang="en-US" dirty="0"/>
              <a:t>Subtitle</a:t>
            </a:r>
          </a:p>
        </p:txBody>
      </p:sp>
    </p:spTree>
    <p:extLst>
      <p:ext uri="{BB962C8B-B14F-4D97-AF65-F5344CB8AC3E}">
        <p14:creationId xmlns:p14="http://schemas.microsoft.com/office/powerpoint/2010/main" val="39281896"/>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B69B0D12-6FEF-41C1-BE57-F2EFACD29993}"/>
              </a:ext>
            </a:extLst>
          </p:cNvPr>
          <p:cNvGraphicFramePr>
            <a:graphicFrameLocks noChangeAspect="1"/>
          </p:cNvGraphicFramePr>
          <p:nvPr>
            <p:custDataLst>
              <p:tags r:id="rId2"/>
            </p:custDataLst>
            <p:extLst>
              <p:ext uri="{D42A27DB-BD31-4B8C-83A1-F6EECF244321}">
                <p14:modId xmlns:p14="http://schemas.microsoft.com/office/powerpoint/2010/main" val="954353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7940" name="think-cell Slide" r:id="rId6" imgW="395" imgH="396" progId="TCLayout.ActiveDocument.1">
                  <p:embed/>
                </p:oleObj>
              </mc:Choice>
              <mc:Fallback>
                <p:oleObj name="think-cell Slide" r:id="rId6" imgW="395" imgH="396" progId="TCLayout.ActiveDocument.1">
                  <p:embed/>
                  <p:pic>
                    <p:nvPicPr>
                      <p:cNvPr id="15" name="Object 14" hidden="1">
                        <a:extLst>
                          <a:ext uri="{FF2B5EF4-FFF2-40B4-BE49-F238E27FC236}">
                            <a16:creationId xmlns:a16="http://schemas.microsoft.com/office/drawing/2014/main" id="{B69B0D12-6FEF-41C1-BE57-F2EFACD2999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0AFAC2B2-BBD6-493E-BB81-DAFC562F101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graphicFrame>
        <p:nvGraphicFramePr>
          <p:cNvPr id="9" name="Table 8">
            <a:extLst>
              <a:ext uri="{FF2B5EF4-FFF2-40B4-BE49-F238E27FC236}">
                <a16:creationId xmlns:a16="http://schemas.microsoft.com/office/drawing/2014/main" id="{14DD7558-62AB-4615-9B42-08A84B449CA3}"/>
              </a:ext>
            </a:extLst>
          </p:cNvPr>
          <p:cNvGraphicFramePr>
            <a:graphicFrameLocks noGrp="1"/>
          </p:cNvGraphicFramePr>
          <p:nvPr>
            <p:extLst>
              <p:ext uri="{D42A27DB-BD31-4B8C-83A1-F6EECF244321}">
                <p14:modId xmlns:p14="http://schemas.microsoft.com/office/powerpoint/2010/main" val="1745673756"/>
              </p:ext>
            </p:extLst>
          </p:nvPr>
        </p:nvGraphicFramePr>
        <p:xfrm>
          <a:off x="846453" y="1588198"/>
          <a:ext cx="10807912" cy="4277868"/>
        </p:xfrm>
        <a:graphic>
          <a:graphicData uri="http://schemas.openxmlformats.org/drawingml/2006/table">
            <a:tbl>
              <a:tblPr firstRow="1" bandRow="1">
                <a:tableStyleId>{5C22544A-7EE6-4342-B048-85BDC9FD1C3A}</a:tableStyleId>
              </a:tblPr>
              <a:tblGrid>
                <a:gridCol w="3566160">
                  <a:extLst>
                    <a:ext uri="{9D8B030D-6E8A-4147-A177-3AD203B41FA5}">
                      <a16:colId xmlns:a16="http://schemas.microsoft.com/office/drawing/2014/main" val="2590906525"/>
                    </a:ext>
                  </a:extLst>
                </a:gridCol>
                <a:gridCol w="3620876">
                  <a:extLst>
                    <a:ext uri="{9D8B030D-6E8A-4147-A177-3AD203B41FA5}">
                      <a16:colId xmlns:a16="http://schemas.microsoft.com/office/drawing/2014/main" val="2860503846"/>
                    </a:ext>
                  </a:extLst>
                </a:gridCol>
                <a:gridCol w="3620876">
                  <a:extLst>
                    <a:ext uri="{9D8B030D-6E8A-4147-A177-3AD203B41FA5}">
                      <a16:colId xmlns:a16="http://schemas.microsoft.com/office/drawing/2014/main" val="93509776"/>
                    </a:ext>
                  </a:extLst>
                </a:gridCol>
              </a:tblGrid>
              <a:tr h="332904">
                <a:tc>
                  <a:txBody>
                    <a:bodyPr/>
                    <a:lstStyle/>
                    <a:p>
                      <a:pPr marL="0" indent="0">
                        <a:lnSpc>
                          <a:spcPct val="110000"/>
                        </a:lnSpc>
                        <a:buFont typeface="Arial" panose="020B0604020202020204" pitchFamily="34" charset="0"/>
                        <a:buNone/>
                      </a:pPr>
                      <a:endParaRPr lang="en-US" sz="1200" b="1" dirty="0">
                        <a:solidFill>
                          <a:srgbClr val="000000"/>
                        </a:solidFill>
                        <a:latin typeface="+mn-lt"/>
                      </a:endParaRPr>
                    </a:p>
                  </a:txBody>
                  <a:tcPr marT="73152" marB="73152">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mn-lt"/>
                          <a:ea typeface="+mn-ea"/>
                          <a:cs typeface="+mn-cs"/>
                        </a:rPr>
                        <a:t>Client</a:t>
                      </a:r>
                    </a:p>
                  </a:txBody>
                  <a:tcPr marL="45720" marR="4572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ysDot"/>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mn-lt"/>
                          <a:ea typeface="+mn-ea"/>
                          <a:cs typeface="+mn-cs"/>
                        </a:rPr>
                        <a:t>Best-in-class Competitors</a:t>
                      </a:r>
                    </a:p>
                  </a:txBody>
                  <a:tcPr marL="45720" marR="45720" anchor="ctr">
                    <a:lnL w="6350" cap="flat" cmpd="sng" algn="ctr">
                      <a:solidFill>
                        <a:schemeClr val="bg1">
                          <a:lumMod val="75000"/>
                        </a:schemeClr>
                      </a:solidFill>
                      <a:prstDash val="sysDot"/>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309017078"/>
                  </a:ext>
                </a:extLst>
              </a:tr>
              <a:tr h="875601">
                <a:tc>
                  <a:txBody>
                    <a:bodyPr/>
                    <a:lstStyle/>
                    <a:p>
                      <a:pPr marR="0" lvl="0" algn="l" defTabSz="914400" rtl="0" eaLnBrk="1" fontAlgn="auto" latinLnBrk="0" hangingPunct="1">
                        <a:lnSpc>
                          <a:spcPct val="130000"/>
                        </a:lnSpc>
                        <a:spcBef>
                          <a:spcPts val="0"/>
                        </a:spcBef>
                        <a:spcAft>
                          <a:spcPts val="0"/>
                        </a:spcAft>
                        <a:buClrTx/>
                        <a:buSzTx/>
                        <a:tabLst/>
                        <a:defRPr/>
                      </a:pPr>
                      <a:r>
                        <a:rPr kumimoji="0" lang="en-US" sz="1200" b="1" i="0" u="none" strike="noStrike" kern="1200" cap="none" spc="0" normalizeH="0" baseline="0" noProof="0" dirty="0">
                          <a:ln>
                            <a:noFill/>
                          </a:ln>
                          <a:solidFill>
                            <a:srgbClr val="000000"/>
                          </a:solidFill>
                          <a:effectLst/>
                          <a:uLnTx/>
                          <a:uFillTx/>
                          <a:latin typeface="+mn-lt"/>
                          <a:ea typeface="Open Sans" panose="020B0606030504020204" pitchFamily="34" charset="0"/>
                          <a:cs typeface="Open Sans" panose="020B0606030504020204" pitchFamily="34" charset="0"/>
                        </a:rPr>
                        <a:t>Customer Education:</a:t>
                      </a:r>
                      <a:r>
                        <a:rPr kumimoji="0" lang="en-US" sz="1200" b="0" i="0" u="none" strike="noStrike" kern="1200" cap="none" spc="0" normalizeH="0" baseline="0" noProof="0" dirty="0">
                          <a:ln>
                            <a:noFill/>
                          </a:ln>
                          <a:solidFill>
                            <a:srgbClr val="000000"/>
                          </a:solidFill>
                          <a:effectLst/>
                          <a:uLnTx/>
                          <a:uFillTx/>
                          <a:latin typeface="+mn-lt"/>
                          <a:ea typeface="Open Sans" panose="020B0606030504020204" pitchFamily="34" charset="0"/>
                          <a:cs typeface="Open Sans" panose="020B0606030504020204" pitchFamily="34" charset="0"/>
                        </a:rPr>
                        <a:t> Can I easily compare vehicles?</a:t>
                      </a:r>
                    </a:p>
                  </a:txBody>
                  <a:tcPr marT="73152" marB="73152">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an compare generic specs about vehicle models going back to 2017</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ustomers can save vehicles to favorites</a:t>
                      </a: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an view information about all models going back to 2012</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an compare available vehicles side by side</a:t>
                      </a:r>
                    </a:p>
                  </a:txBody>
                  <a:tcPr anchor="ctr">
                    <a:lnL w="6350" cap="flat" cmpd="sng" algn="ctr">
                      <a:solidFill>
                        <a:schemeClr val="bg1">
                          <a:lumMod val="75000"/>
                        </a:schemeClr>
                      </a:solidFill>
                      <a:prstDash val="sysDot"/>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3900119691"/>
                  </a:ext>
                </a:extLst>
              </a:tr>
              <a:tr h="875601">
                <a:tc>
                  <a:txBody>
                    <a:bodyPr/>
                    <a:lstStyle/>
                    <a:p>
                      <a:pPr marR="0" lvl="0" algn="l" defTabSz="914400" rtl="0" eaLnBrk="1" fontAlgn="auto" latinLnBrk="0" hangingPunct="1">
                        <a:lnSpc>
                          <a:spcPct val="130000"/>
                        </a:lnSpc>
                        <a:spcBef>
                          <a:spcPts val="0"/>
                        </a:spcBef>
                        <a:spcAft>
                          <a:spcPts val="0"/>
                        </a:spcAft>
                        <a:buClrTx/>
                        <a:buSzTx/>
                        <a:tabLst/>
                        <a:defRPr/>
                      </a:pPr>
                      <a:r>
                        <a:rPr lang="en-US" sz="1200" b="1" dirty="0">
                          <a:solidFill>
                            <a:srgbClr val="000000"/>
                          </a:solidFill>
                          <a:latin typeface="+mn-lt"/>
                          <a:ea typeface="Open Sans" panose="020B0606030504020204" pitchFamily="34" charset="0"/>
                          <a:cs typeface="Open Sans" panose="020B0606030504020204" pitchFamily="34" charset="0"/>
                        </a:rPr>
                        <a:t>Single Inventory Source:</a:t>
                      </a:r>
                      <a:r>
                        <a:rPr lang="en-US" sz="1200" b="0" dirty="0">
                          <a:solidFill>
                            <a:srgbClr val="000000"/>
                          </a:solidFill>
                          <a:latin typeface="+mn-lt"/>
                          <a:ea typeface="Open Sans" panose="020B0606030504020204" pitchFamily="34" charset="0"/>
                          <a:cs typeface="Open Sans" panose="020B0606030504020204" pitchFamily="34" charset="0"/>
                        </a:rPr>
                        <a:t> In one place, can I view all the vehicles I may be interested in?</a:t>
                      </a:r>
                    </a:p>
                  </a:txBody>
                  <a:tcPr marT="73152" marB="73152">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Does not allow customer to search for non-certified pre-owned at a national level</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Many individual dealerships operate multiple websites of their won</a:t>
                      </a:r>
                    </a:p>
                  </a:txBody>
                  <a:tcPr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Enable customers to access national inventory from one single source </a:t>
                      </a:r>
                    </a:p>
                  </a:txBody>
                  <a:tcPr anchor="ctr">
                    <a:lnL w="6350" cap="flat" cmpd="sng" algn="ctr">
                      <a:solidFill>
                        <a:schemeClr val="bg1">
                          <a:lumMod val="75000"/>
                        </a:schemeClr>
                      </a:solidFill>
                      <a:prstDash val="sysDot"/>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2907994083"/>
                  </a:ext>
                </a:extLst>
              </a:tr>
              <a:tr h="875601">
                <a:tc>
                  <a:txBody>
                    <a:bodyPr/>
                    <a:lstStyle/>
                    <a:p>
                      <a:pPr defTabSz="767397">
                        <a:lnSpc>
                          <a:spcPct val="130000"/>
                        </a:lnSpc>
                        <a:defRPr/>
                      </a:pPr>
                      <a:r>
                        <a:rPr lang="en-US" sz="1200" b="1" dirty="0">
                          <a:solidFill>
                            <a:srgbClr val="000000"/>
                          </a:solidFill>
                          <a:latin typeface="+mn-lt"/>
                          <a:ea typeface="Open Sans" panose="020B0606030504020204" pitchFamily="34" charset="0"/>
                          <a:cs typeface="Open Sans" panose="020B0606030504020204" pitchFamily="34" charset="0"/>
                        </a:rPr>
                        <a:t>Vehicle Listing Quality:</a:t>
                      </a:r>
                      <a:r>
                        <a:rPr lang="en-US" sz="1200" b="0" dirty="0">
                          <a:solidFill>
                            <a:srgbClr val="000000"/>
                          </a:solidFill>
                          <a:latin typeface="+mn-lt"/>
                          <a:ea typeface="Open Sans" panose="020B0606030504020204" pitchFamily="34" charset="0"/>
                          <a:cs typeface="Open Sans" panose="020B0606030504020204" pitchFamily="34" charset="0"/>
                        </a:rPr>
                        <a:t> Are the vehicle listings appealing to customers? </a:t>
                      </a:r>
                    </a:p>
                  </a:txBody>
                  <a:tcPr marT="73152" marB="73152">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Quality of vehicle images vary significantly</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Vehicle descriptions are often not focused on communicating the feature benefits</a:t>
                      </a:r>
                    </a:p>
                  </a:txBody>
                  <a:tcPr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Displays consistent, high-quality vehicle photos from all angles</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Attractive listings focus on key features and specifications’ benefits</a:t>
                      </a:r>
                    </a:p>
                  </a:txBody>
                  <a:tcPr anchor="ctr">
                    <a:lnL w="6350" cap="flat" cmpd="sng" algn="ctr">
                      <a:solidFill>
                        <a:schemeClr val="bg1">
                          <a:lumMod val="75000"/>
                        </a:schemeClr>
                      </a:solidFill>
                      <a:prstDash val="sysDot"/>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948670870"/>
                  </a:ext>
                </a:extLst>
              </a:tr>
              <a:tr h="676612">
                <a:tc>
                  <a:txBody>
                    <a:bodyPr/>
                    <a:lstStyle/>
                    <a:p>
                      <a:pPr defTabSz="767397">
                        <a:lnSpc>
                          <a:spcPct val="130000"/>
                        </a:lnSpc>
                        <a:defRPr/>
                      </a:pPr>
                      <a:r>
                        <a:rPr lang="en-US" sz="1200" b="1" dirty="0">
                          <a:solidFill>
                            <a:srgbClr val="000000"/>
                          </a:solidFill>
                          <a:latin typeface="+mn-lt"/>
                          <a:ea typeface="Open Sans" panose="020B0606030504020204" pitchFamily="34" charset="0"/>
                          <a:cs typeface="Open Sans" panose="020B0606030504020204" pitchFamily="34" charset="0"/>
                        </a:rPr>
                        <a:t>Purchase Process:</a:t>
                      </a:r>
                      <a:r>
                        <a:rPr lang="en-US" sz="1200" b="0" dirty="0">
                          <a:solidFill>
                            <a:srgbClr val="000000"/>
                          </a:solidFill>
                          <a:latin typeface="+mn-lt"/>
                          <a:ea typeface="Open Sans" panose="020B0606030504020204" pitchFamily="34" charset="0"/>
                          <a:cs typeface="Open Sans" panose="020B0606030504020204" pitchFamily="34" charset="0"/>
                        </a:rPr>
                        <a:t> How much of the purchase process can I complete online?</a:t>
                      </a:r>
                    </a:p>
                  </a:txBody>
                  <a:tcPr marT="73152" marB="73152">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ustomers must complete a request to be contacted by a dealer to gather more information or schedule a test drive</a:t>
                      </a:r>
                    </a:p>
                  </a:txBody>
                  <a:tcPr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ustomers can schedule test drives online and select other services (financing or trade-in) to explore</a:t>
                      </a:r>
                    </a:p>
                  </a:txBody>
                  <a:tcPr anchor="ctr">
                    <a:lnL w="6350" cap="flat" cmpd="sng" algn="ctr">
                      <a:solidFill>
                        <a:schemeClr val="bg1">
                          <a:lumMod val="75000"/>
                        </a:schemeClr>
                      </a:solidFill>
                      <a:prstDash val="sysDot"/>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3325805405"/>
                  </a:ext>
                </a:extLst>
              </a:tr>
              <a:tr h="595208">
                <a:tc>
                  <a:txBody>
                    <a:bodyPr/>
                    <a:lstStyle/>
                    <a:p>
                      <a:pPr defTabSz="767397">
                        <a:lnSpc>
                          <a:spcPct val="130000"/>
                        </a:lnSpc>
                        <a:defRPr/>
                      </a:pPr>
                      <a:r>
                        <a:rPr lang="en-US" sz="1200" b="1" dirty="0">
                          <a:solidFill>
                            <a:srgbClr val="000000"/>
                          </a:solidFill>
                          <a:latin typeface="+mn-lt"/>
                          <a:ea typeface="Open Sans" panose="020B0606030504020204" pitchFamily="34" charset="0"/>
                          <a:cs typeface="Open Sans" panose="020B0606030504020204" pitchFamily="34" charset="0"/>
                        </a:rPr>
                        <a:t>Financing Application:</a:t>
                      </a:r>
                      <a:r>
                        <a:rPr lang="en-US" sz="1200" b="0" dirty="0">
                          <a:solidFill>
                            <a:srgbClr val="000000"/>
                          </a:solidFill>
                          <a:latin typeface="+mn-lt"/>
                          <a:ea typeface="Open Sans" panose="020B0606030504020204" pitchFamily="34" charset="0"/>
                          <a:cs typeface="Open Sans" panose="020B0606030504020204" pitchFamily="34" charset="0"/>
                        </a:rPr>
                        <a:t> Can I easily and quickly apply for financing and receive my decision? </a:t>
                      </a:r>
                    </a:p>
                  </a:txBody>
                  <a:tcPr marT="73152" marB="73152">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ustomers can apply online for financing and be contacted by an Client representative</a:t>
                      </a:r>
                    </a:p>
                  </a:txBody>
                  <a:tcPr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ustomers can be approved for financing online</a:t>
                      </a:r>
                    </a:p>
                  </a:txBody>
                  <a:tcPr anchor="ctr">
                    <a:lnL w="6350" cap="flat" cmpd="sng" algn="ctr">
                      <a:solidFill>
                        <a:schemeClr val="bg1">
                          <a:lumMod val="75000"/>
                        </a:schemeClr>
                      </a:solidFill>
                      <a:prstDash val="sysDot"/>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49815735"/>
                  </a:ext>
                </a:extLst>
              </a:tr>
            </a:tbl>
          </a:graphicData>
        </a:graphic>
      </p:graphicFrame>
      <p:sp>
        <p:nvSpPr>
          <p:cNvPr id="2" name="Title 1">
            <a:extLst>
              <a:ext uri="{FF2B5EF4-FFF2-40B4-BE49-F238E27FC236}">
                <a16:creationId xmlns:a16="http://schemas.microsoft.com/office/drawing/2014/main" id="{93628034-E260-479B-AB64-9BD4F32A8F1D}"/>
              </a:ext>
            </a:extLst>
          </p:cNvPr>
          <p:cNvSpPr>
            <a:spLocks noGrp="1"/>
          </p:cNvSpPr>
          <p:nvPr>
            <p:ph type="title"/>
          </p:nvPr>
        </p:nvSpPr>
        <p:spPr/>
        <p:txBody>
          <a:bodyPr/>
          <a:lstStyle/>
          <a:p>
            <a:r>
              <a:rPr lang="en-US" dirty="0"/>
              <a:t>Support: Client Digital Site</a:t>
            </a:r>
          </a:p>
        </p:txBody>
      </p:sp>
      <p:sp>
        <p:nvSpPr>
          <p:cNvPr id="3" name="Text Placeholder 2">
            <a:extLst>
              <a:ext uri="{FF2B5EF4-FFF2-40B4-BE49-F238E27FC236}">
                <a16:creationId xmlns:a16="http://schemas.microsoft.com/office/drawing/2014/main" id="{FF4E1EFB-E9A2-4C32-9A65-A7C940817593}"/>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2068CB3B-B4A6-4938-89AF-A27602A8FEB4}"/>
              </a:ext>
            </a:extLst>
          </p:cNvPr>
          <p:cNvSpPr>
            <a:spLocks noGrp="1"/>
          </p:cNvSpPr>
          <p:nvPr>
            <p:ph type="body" sz="quarter" idx="15"/>
          </p:nvPr>
        </p:nvSpPr>
        <p:spPr/>
        <p:txBody>
          <a:bodyPr/>
          <a:lstStyle/>
          <a:p>
            <a:r>
              <a:rPr lang="en-US" dirty="0"/>
              <a:t>TABLE</a:t>
            </a:r>
          </a:p>
        </p:txBody>
      </p:sp>
      <p:sp>
        <p:nvSpPr>
          <p:cNvPr id="5" name="Title 2">
            <a:extLst>
              <a:ext uri="{FF2B5EF4-FFF2-40B4-BE49-F238E27FC236}">
                <a16:creationId xmlns:a16="http://schemas.microsoft.com/office/drawing/2014/main" id="{EE1D9385-58B6-4121-B08E-4B0970E47315}"/>
              </a:ext>
            </a:extLst>
          </p:cNvPr>
          <p:cNvSpPr txBox="1">
            <a:spLocks/>
          </p:cNvSpPr>
          <p:nvPr/>
        </p:nvSpPr>
        <p:spPr>
          <a:xfrm>
            <a:off x="469900" y="440718"/>
            <a:ext cx="11252200"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sp>
        <p:nvSpPr>
          <p:cNvPr id="6" name="Text Placeholder 1">
            <a:extLst>
              <a:ext uri="{FF2B5EF4-FFF2-40B4-BE49-F238E27FC236}">
                <a16:creationId xmlns:a16="http://schemas.microsoft.com/office/drawing/2014/main" id="{8432626E-EC9F-4170-A07E-FD0BA27C7B0A}"/>
              </a:ext>
            </a:extLst>
          </p:cNvPr>
          <p:cNvSpPr txBox="1">
            <a:spLocks/>
          </p:cNvSpPr>
          <p:nvPr/>
        </p:nvSpPr>
        <p:spPr>
          <a:xfrm>
            <a:off x="-567049" y="1993419"/>
            <a:ext cx="11252200" cy="757255"/>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latin typeface="+mj-lt"/>
            </a:endParaRPr>
          </a:p>
        </p:txBody>
      </p:sp>
    </p:spTree>
    <p:extLst>
      <p:ext uri="{BB962C8B-B14F-4D97-AF65-F5344CB8AC3E}">
        <p14:creationId xmlns:p14="http://schemas.microsoft.com/office/powerpoint/2010/main" val="4073839012"/>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3636E115-5E1B-4F14-AF9E-7710AEBB7D1A}"/>
              </a:ext>
            </a:extLst>
          </p:cNvPr>
          <p:cNvGraphicFramePr>
            <a:graphicFrameLocks noChangeAspect="1"/>
          </p:cNvGraphicFramePr>
          <p:nvPr>
            <p:custDataLst>
              <p:tags r:id="rId2"/>
            </p:custDataLst>
            <p:extLst>
              <p:ext uri="{D42A27DB-BD31-4B8C-83A1-F6EECF244321}">
                <p14:modId xmlns:p14="http://schemas.microsoft.com/office/powerpoint/2010/main" val="15702896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8964" name="think-cell Slide" r:id="rId6" imgW="395" imgH="396" progId="TCLayout.ActiveDocument.1">
                  <p:embed/>
                </p:oleObj>
              </mc:Choice>
              <mc:Fallback>
                <p:oleObj name="think-cell Slide" r:id="rId6" imgW="395" imgH="396" progId="TCLayout.ActiveDocument.1">
                  <p:embed/>
                  <p:pic>
                    <p:nvPicPr>
                      <p:cNvPr id="29" name="Object 28" hidden="1">
                        <a:extLst>
                          <a:ext uri="{FF2B5EF4-FFF2-40B4-BE49-F238E27FC236}">
                            <a16:creationId xmlns:a16="http://schemas.microsoft.com/office/drawing/2014/main" id="{3636E115-5E1B-4F14-AF9E-7710AEBB7D1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8" name="Rectangle 27" hidden="1">
            <a:extLst>
              <a:ext uri="{FF2B5EF4-FFF2-40B4-BE49-F238E27FC236}">
                <a16:creationId xmlns:a16="http://schemas.microsoft.com/office/drawing/2014/main" id="{3803FD3E-B1A5-4B86-827A-87806B3A1A9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035CCDCB-9A91-4F45-9E8D-B5C29FCCB509}"/>
              </a:ext>
            </a:extLst>
          </p:cNvPr>
          <p:cNvSpPr>
            <a:spLocks noGrp="1"/>
          </p:cNvSpPr>
          <p:nvPr>
            <p:ph type="title"/>
          </p:nvPr>
        </p:nvSpPr>
        <p:spPr/>
        <p:txBody>
          <a:bodyPr/>
          <a:lstStyle/>
          <a:p>
            <a:r>
              <a:rPr lang="en-US" dirty="0"/>
              <a:t>Two Examples</a:t>
            </a:r>
          </a:p>
        </p:txBody>
      </p:sp>
      <p:sp>
        <p:nvSpPr>
          <p:cNvPr id="3" name="Text Placeholder 2">
            <a:extLst>
              <a:ext uri="{FF2B5EF4-FFF2-40B4-BE49-F238E27FC236}">
                <a16:creationId xmlns:a16="http://schemas.microsoft.com/office/drawing/2014/main" id="{AC655330-9853-4EFF-812E-7F2D10516F54}"/>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085E2273-E07A-41E0-AD23-4E3772ACC80C}"/>
              </a:ext>
            </a:extLst>
          </p:cNvPr>
          <p:cNvSpPr>
            <a:spLocks noGrp="1"/>
          </p:cNvSpPr>
          <p:nvPr>
            <p:ph type="body" sz="quarter" idx="15"/>
          </p:nvPr>
        </p:nvSpPr>
        <p:spPr/>
        <p:txBody>
          <a:bodyPr/>
          <a:lstStyle/>
          <a:p>
            <a:r>
              <a:rPr lang="en-US" dirty="0"/>
              <a:t>TABLE</a:t>
            </a:r>
          </a:p>
        </p:txBody>
      </p:sp>
      <p:sp>
        <p:nvSpPr>
          <p:cNvPr id="5" name="Title 2">
            <a:extLst>
              <a:ext uri="{FF2B5EF4-FFF2-40B4-BE49-F238E27FC236}">
                <a16:creationId xmlns:a16="http://schemas.microsoft.com/office/drawing/2014/main" id="{B814B0C3-4F40-4DD7-B61B-D50DCEEAB487}"/>
              </a:ext>
            </a:extLst>
          </p:cNvPr>
          <p:cNvSpPr txBox="1">
            <a:spLocks/>
          </p:cNvSpPr>
          <p:nvPr/>
        </p:nvSpPr>
        <p:spPr>
          <a:xfrm>
            <a:off x="469901" y="402587"/>
            <a:ext cx="11252201"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sp>
        <p:nvSpPr>
          <p:cNvPr id="6" name="Rectangle 5">
            <a:extLst>
              <a:ext uri="{FF2B5EF4-FFF2-40B4-BE49-F238E27FC236}">
                <a16:creationId xmlns:a16="http://schemas.microsoft.com/office/drawing/2014/main" id="{C91A9A2B-F299-4BEE-A9E8-FC50EE2A92BF}"/>
              </a:ext>
            </a:extLst>
          </p:cNvPr>
          <p:cNvSpPr/>
          <p:nvPr/>
        </p:nvSpPr>
        <p:spPr>
          <a:xfrm>
            <a:off x="2577647" y="1624704"/>
            <a:ext cx="3084834" cy="48015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white"/>
              </a:solidFill>
              <a:effectLst/>
              <a:uLnTx/>
              <a:uFillTx/>
              <a:ea typeface="+mn-ea"/>
              <a:cs typeface="Arial" panose="020B0604020202020204" pitchFamily="34" charset="0"/>
            </a:endParaRPr>
          </a:p>
        </p:txBody>
      </p:sp>
      <p:sp>
        <p:nvSpPr>
          <p:cNvPr id="7" name="Rectangle 6">
            <a:extLst>
              <a:ext uri="{FF2B5EF4-FFF2-40B4-BE49-F238E27FC236}">
                <a16:creationId xmlns:a16="http://schemas.microsoft.com/office/drawing/2014/main" id="{4E4FE060-6489-4E74-8DAE-9AFA00A770CD}"/>
              </a:ext>
            </a:extLst>
          </p:cNvPr>
          <p:cNvSpPr/>
          <p:nvPr/>
        </p:nvSpPr>
        <p:spPr>
          <a:xfrm>
            <a:off x="5946603" y="1624832"/>
            <a:ext cx="3084834" cy="48138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white"/>
              </a:solidFill>
              <a:effectLst/>
              <a:uLnTx/>
              <a:uFillTx/>
              <a:ea typeface="+mn-ea"/>
              <a:cs typeface="Arial" panose="020B0604020202020204" pitchFamily="34" charset="0"/>
            </a:endParaRPr>
          </a:p>
        </p:txBody>
      </p:sp>
      <p:sp>
        <p:nvSpPr>
          <p:cNvPr id="8" name="Rectangle 7">
            <a:extLst>
              <a:ext uri="{FF2B5EF4-FFF2-40B4-BE49-F238E27FC236}">
                <a16:creationId xmlns:a16="http://schemas.microsoft.com/office/drawing/2014/main" id="{32CED279-1E78-4788-A3C9-5B37A820EF7D}"/>
              </a:ext>
            </a:extLst>
          </p:cNvPr>
          <p:cNvSpPr/>
          <p:nvPr/>
        </p:nvSpPr>
        <p:spPr>
          <a:xfrm>
            <a:off x="914399" y="2259105"/>
            <a:ext cx="8117038" cy="766723"/>
          </a:xfrm>
          <a:prstGeom prst="rect">
            <a:avLst/>
          </a:prstGeom>
          <a:solidFill>
            <a:srgbClr val="DCDCDC">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Arial" panose="020B0604020202020204" pitchFamily="34" charset="0"/>
              </a:rPr>
              <a:t>Client</a:t>
            </a:r>
          </a:p>
        </p:txBody>
      </p:sp>
      <p:sp>
        <p:nvSpPr>
          <p:cNvPr id="9" name="TextBox 8">
            <a:extLst>
              <a:ext uri="{FF2B5EF4-FFF2-40B4-BE49-F238E27FC236}">
                <a16:creationId xmlns:a16="http://schemas.microsoft.com/office/drawing/2014/main" id="{37AA0553-7DDC-435C-A5CF-61F3EBEE41E9}"/>
              </a:ext>
            </a:extLst>
          </p:cNvPr>
          <p:cNvSpPr txBox="1"/>
          <p:nvPr/>
        </p:nvSpPr>
        <p:spPr>
          <a:xfrm>
            <a:off x="2572989" y="2346734"/>
            <a:ext cx="3046883" cy="507831"/>
          </a:xfrm>
          <a:prstGeom prst="rect">
            <a:avLst/>
          </a:prstGeom>
          <a:noFill/>
        </p:spPr>
        <p:txBody>
          <a:bodyPr wrap="square" rtlCol="0">
            <a:spAutoFit/>
          </a:bodyPr>
          <a:lstStyle/>
          <a:p>
            <a:pPr marL="117475" marR="0" lvl="0" indent="-117475" algn="l" defTabSz="1219170" rtl="0" eaLnBrk="1" fontAlgn="auto" latinLnBrk="0" hangingPunct="1">
              <a:lnSpc>
                <a:spcPct val="100000"/>
              </a:lnSpc>
              <a:spcBef>
                <a:spcPts val="600"/>
              </a:spcBef>
              <a:spcAft>
                <a:spcPts val="0"/>
              </a:spcAft>
              <a:buClr>
                <a:srgbClr val="012169"/>
              </a:buClr>
              <a:buSzTx/>
              <a:buFont typeface="Wingdings" panose="05000000000000000000" pitchFamily="2" charset="2"/>
              <a:buChar char="§"/>
              <a:tabLst/>
              <a:defRPr/>
            </a:pPr>
            <a:r>
              <a:rPr kumimoji="0" lang="en-US" sz="900" b="0" i="0" u="none" strike="noStrike" kern="1200" cap="none" spc="0" normalizeH="0" baseline="0" noProof="0" dirty="0">
                <a:ln>
                  <a:noFill/>
                </a:ln>
                <a:solidFill>
                  <a:prstClr val="black"/>
                </a:solidFill>
                <a:effectLst/>
                <a:uLnTx/>
                <a:uFillTx/>
                <a:ea typeface="+mn-ea"/>
                <a:cs typeface="+mn-cs"/>
              </a:rPr>
              <a:t>The client is an independent agency of the United States federal government responsible for providing postal service across the country</a:t>
            </a:r>
            <a:endParaRPr kumimoji="0" lang="en-US" sz="900" b="0" i="0" u="none" strike="noStrike" kern="1200" cap="none" spc="0" normalizeH="0" baseline="0" noProof="0" dirty="0">
              <a:ln>
                <a:noFill/>
              </a:ln>
              <a:solidFill>
                <a:prstClr val="black">
                  <a:lumMod val="50000"/>
                </a:prstClr>
              </a:solidFill>
              <a:effectLst/>
              <a:uLnTx/>
              <a:uFillTx/>
              <a:ea typeface="+mn-ea"/>
              <a:cs typeface="+mn-cs"/>
            </a:endParaRPr>
          </a:p>
        </p:txBody>
      </p:sp>
      <p:sp>
        <p:nvSpPr>
          <p:cNvPr id="10" name="TextBox 9">
            <a:extLst>
              <a:ext uri="{FF2B5EF4-FFF2-40B4-BE49-F238E27FC236}">
                <a16:creationId xmlns:a16="http://schemas.microsoft.com/office/drawing/2014/main" id="{A0C0D659-4F87-46F5-980E-50C26A286755}"/>
              </a:ext>
            </a:extLst>
          </p:cNvPr>
          <p:cNvSpPr txBox="1"/>
          <p:nvPr/>
        </p:nvSpPr>
        <p:spPr>
          <a:xfrm>
            <a:off x="5930798" y="2383835"/>
            <a:ext cx="3084835" cy="507831"/>
          </a:xfrm>
          <a:prstGeom prst="rect">
            <a:avLst/>
          </a:prstGeom>
          <a:noFill/>
        </p:spPr>
        <p:txBody>
          <a:bodyPr wrap="square" rtlCol="0">
            <a:spAutoFit/>
          </a:bodyPr>
          <a:lstStyle/>
          <a:p>
            <a:pPr marL="117475" marR="0" lvl="0" indent="-117475" algn="l" defTabSz="121917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prstClr val="black">
                    <a:lumMod val="50000"/>
                  </a:prstClr>
                </a:solidFill>
                <a:effectLst/>
                <a:uLnTx/>
                <a:uFillTx/>
                <a:ea typeface="+mn-ea"/>
                <a:cs typeface="+mn-cs"/>
              </a:rPr>
              <a:t>The client is a high-tech manufacturer of chipsets with a distributed manufacturing and engineering network across China and the United States</a:t>
            </a:r>
          </a:p>
        </p:txBody>
      </p:sp>
      <p:sp>
        <p:nvSpPr>
          <p:cNvPr id="11" name="Rectangle 10">
            <a:extLst>
              <a:ext uri="{FF2B5EF4-FFF2-40B4-BE49-F238E27FC236}">
                <a16:creationId xmlns:a16="http://schemas.microsoft.com/office/drawing/2014/main" id="{36860628-D9BF-4FCB-B812-6E660B1DFFB0}"/>
              </a:ext>
            </a:extLst>
          </p:cNvPr>
          <p:cNvSpPr/>
          <p:nvPr/>
        </p:nvSpPr>
        <p:spPr>
          <a:xfrm>
            <a:off x="914399" y="5351958"/>
            <a:ext cx="8117038" cy="947715"/>
          </a:xfrm>
          <a:prstGeom prst="rect">
            <a:avLst/>
          </a:prstGeom>
          <a:solidFill>
            <a:srgbClr val="DCDCDC">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121917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Arial" panose="020B0604020202020204" pitchFamily="34" charset="0"/>
              </a:rPr>
              <a:t>Outcomes</a:t>
            </a:r>
          </a:p>
        </p:txBody>
      </p:sp>
      <p:sp>
        <p:nvSpPr>
          <p:cNvPr id="12" name="TextBox 11">
            <a:extLst>
              <a:ext uri="{FF2B5EF4-FFF2-40B4-BE49-F238E27FC236}">
                <a16:creationId xmlns:a16="http://schemas.microsoft.com/office/drawing/2014/main" id="{2ED247B2-4ADF-4A8B-836C-F1EBD111A00A}"/>
              </a:ext>
            </a:extLst>
          </p:cNvPr>
          <p:cNvSpPr txBox="1"/>
          <p:nvPr/>
        </p:nvSpPr>
        <p:spPr>
          <a:xfrm>
            <a:off x="2572989" y="5446327"/>
            <a:ext cx="3084834" cy="723275"/>
          </a:xfrm>
          <a:prstGeom prst="rect">
            <a:avLst/>
          </a:prstGeom>
          <a:noFill/>
        </p:spPr>
        <p:txBody>
          <a:bodyPr wrap="square" rtlCol="0">
            <a:spAutoFit/>
          </a:bodyPr>
          <a:lstStyle/>
          <a:p>
            <a:pPr marL="117475" marR="0" lvl="0" indent="-117475" algn="l" defTabSz="1219170" rtl="0" eaLnBrk="1" fontAlgn="auto" latinLnBrk="0" hangingPunct="1">
              <a:lnSpc>
                <a:spcPct val="100000"/>
              </a:lnSpc>
              <a:spcBef>
                <a:spcPts val="600"/>
              </a:spcBef>
              <a:spcAft>
                <a:spcPts val="0"/>
              </a:spcAft>
              <a:buClr>
                <a:srgbClr val="012169"/>
              </a:buClr>
              <a:buSzTx/>
              <a:buFont typeface="Wingdings" panose="05000000000000000000" pitchFamily="2" charset="2"/>
              <a:buChar char="§"/>
              <a:tabLst/>
              <a:defRPr/>
            </a:pPr>
            <a:r>
              <a:rPr kumimoji="0" lang="en-US" sz="900" b="0" i="0" u="none" strike="noStrike" kern="1200" cap="none" spc="0" normalizeH="0" baseline="0" noProof="0" dirty="0">
                <a:ln>
                  <a:noFill/>
                </a:ln>
                <a:solidFill>
                  <a:prstClr val="black">
                    <a:lumMod val="50000"/>
                  </a:prstClr>
                </a:solidFill>
                <a:effectLst/>
                <a:uLnTx/>
                <a:uFillTx/>
                <a:ea typeface="+mn-ea"/>
                <a:cs typeface="+mn-cs"/>
              </a:rPr>
              <a:t>(4) Facilities are now equipped with wearable technology for a 90-day Pilot Program</a:t>
            </a:r>
          </a:p>
          <a:p>
            <a:pPr marL="117475" marR="0" lvl="0" indent="-117475" algn="l" defTabSz="1219170" rtl="0" eaLnBrk="1" fontAlgn="auto" latinLnBrk="0" hangingPunct="1">
              <a:lnSpc>
                <a:spcPct val="100000"/>
              </a:lnSpc>
              <a:spcBef>
                <a:spcPts val="600"/>
              </a:spcBef>
              <a:spcAft>
                <a:spcPts val="0"/>
              </a:spcAft>
              <a:buClr>
                <a:srgbClr val="012169"/>
              </a:buClr>
              <a:buSzTx/>
              <a:buFont typeface="Wingdings" panose="05000000000000000000" pitchFamily="2" charset="2"/>
              <a:buChar char="§"/>
              <a:tabLst/>
              <a:defRPr/>
            </a:pPr>
            <a:r>
              <a:rPr kumimoji="0" lang="en-US" sz="900" b="0" i="0" u="none" strike="noStrike" kern="1200" cap="none" spc="0" normalizeH="0" baseline="0" noProof="0" dirty="0">
                <a:ln>
                  <a:noFill/>
                </a:ln>
                <a:solidFill>
                  <a:prstClr val="black">
                    <a:lumMod val="50000"/>
                  </a:prstClr>
                </a:solidFill>
                <a:effectLst/>
                <a:uLnTx/>
                <a:uFillTx/>
                <a:ea typeface="+mn-ea"/>
                <a:cs typeface="+mn-cs"/>
              </a:rPr>
              <a:t>Wearable devices have demonstrated the ability to function on a highly secure, federal IT environment </a:t>
            </a:r>
          </a:p>
        </p:txBody>
      </p:sp>
      <p:sp>
        <p:nvSpPr>
          <p:cNvPr id="13" name="TextBox 12">
            <a:extLst>
              <a:ext uri="{FF2B5EF4-FFF2-40B4-BE49-F238E27FC236}">
                <a16:creationId xmlns:a16="http://schemas.microsoft.com/office/drawing/2014/main" id="{ED4C03FE-74C8-4F3B-8F46-C02EE39B3154}"/>
              </a:ext>
            </a:extLst>
          </p:cNvPr>
          <p:cNvSpPr txBox="1"/>
          <p:nvPr/>
        </p:nvSpPr>
        <p:spPr>
          <a:xfrm>
            <a:off x="5930798" y="5438419"/>
            <a:ext cx="3084834" cy="1000274"/>
          </a:xfrm>
          <a:prstGeom prst="rect">
            <a:avLst/>
          </a:prstGeom>
          <a:noFill/>
        </p:spPr>
        <p:txBody>
          <a:bodyPr wrap="square" rtlCol="0">
            <a:spAutoFit/>
          </a:bodyPr>
          <a:lstStyle/>
          <a:p>
            <a:pPr marL="171450" marR="0" lvl="0" indent="-171450" algn="l" defTabSz="1219170" rtl="0" eaLnBrk="1" fontAlgn="auto" latinLnBrk="0" hangingPunct="1">
              <a:lnSpc>
                <a:spcPct val="100000"/>
              </a:lnSpc>
              <a:spcBef>
                <a:spcPts val="300"/>
              </a:spcBef>
              <a:spcAft>
                <a:spcPts val="0"/>
              </a:spcAft>
              <a:buClrTx/>
              <a:buSzPct val="100000"/>
              <a:buFont typeface="Wingdings" panose="05000000000000000000" pitchFamily="2" charset="2"/>
              <a:buChar char="§"/>
              <a:tabLst/>
              <a:defRPr/>
            </a:pPr>
            <a:r>
              <a:rPr kumimoji="0" lang="en-US" sz="900" b="0" i="0" u="none" strike="noStrike" kern="1200" cap="none" spc="0" normalizeH="0" baseline="0" noProof="0" dirty="0">
                <a:ln>
                  <a:noFill/>
                </a:ln>
                <a:solidFill>
                  <a:prstClr val="black"/>
                </a:solidFill>
                <a:effectLst/>
                <a:uLnTx/>
                <a:uFillTx/>
                <a:ea typeface="+mn-ea"/>
                <a:cs typeface="Arial" charset="0"/>
              </a:rPr>
              <a:t>Estimated more than 50% reduction in repair time for defects and assembly failures</a:t>
            </a:r>
          </a:p>
          <a:p>
            <a:pPr marL="171450" marR="0" lvl="0" indent="-171450" algn="l" defTabSz="1219170" rtl="0" eaLnBrk="1" fontAlgn="auto" latinLnBrk="0" hangingPunct="1">
              <a:lnSpc>
                <a:spcPct val="100000"/>
              </a:lnSpc>
              <a:spcBef>
                <a:spcPts val="300"/>
              </a:spcBef>
              <a:spcAft>
                <a:spcPts val="0"/>
              </a:spcAft>
              <a:buClrTx/>
              <a:buSzPct val="100000"/>
              <a:buFont typeface="Wingdings" panose="05000000000000000000" pitchFamily="2" charset="2"/>
              <a:buChar char="§"/>
              <a:tabLst/>
              <a:defRPr/>
            </a:pPr>
            <a:r>
              <a:rPr kumimoji="0" lang="en-US" sz="900" b="0" i="0" u="none" strike="noStrike" kern="1200" cap="none" spc="0" normalizeH="0" baseline="0" noProof="0" dirty="0">
                <a:ln>
                  <a:noFill/>
                </a:ln>
                <a:solidFill>
                  <a:prstClr val="black"/>
                </a:solidFill>
                <a:effectLst/>
                <a:uLnTx/>
                <a:uFillTx/>
                <a:ea typeface="+mn-ea"/>
                <a:cs typeface="Arial" charset="0"/>
              </a:rPr>
              <a:t>Enabling high quality and reliable off-shore manufacturing / assembly spread over 3 continents in a matter of minutes</a:t>
            </a:r>
          </a:p>
          <a:p>
            <a:pPr marL="285750" marR="0" lvl="0" indent="-285750" algn="l" defTabSz="1219170" rtl="0" eaLnBrk="1" fontAlgn="auto" latinLnBrk="0" hangingPunct="1">
              <a:lnSpc>
                <a:spcPct val="100000"/>
              </a:lnSpc>
              <a:spcBef>
                <a:spcPts val="300"/>
              </a:spcBef>
              <a:spcAft>
                <a:spcPts val="0"/>
              </a:spcAft>
              <a:buClrTx/>
              <a:buSzPct val="100000"/>
              <a:buFont typeface="Wingdings" panose="05000000000000000000" pitchFamily="2" charset="2"/>
              <a:buChar char="§"/>
              <a:tabLst/>
              <a:defRPr/>
            </a:pPr>
            <a:endParaRPr kumimoji="0" lang="en-US" sz="900" b="0" i="0" u="none" strike="noStrike" kern="1200" cap="none" spc="0" normalizeH="0" baseline="0" noProof="0" dirty="0">
              <a:ln>
                <a:noFill/>
              </a:ln>
              <a:solidFill>
                <a:srgbClr val="53565A"/>
              </a:solidFill>
              <a:effectLst/>
              <a:uLnTx/>
              <a:uFillTx/>
              <a:ea typeface="+mn-ea"/>
              <a:cs typeface="Arial" charset="0"/>
            </a:endParaRPr>
          </a:p>
        </p:txBody>
      </p:sp>
      <p:sp>
        <p:nvSpPr>
          <p:cNvPr id="14" name="Rectangle 13">
            <a:hlinkClick r:id="" action="ppaction://noaction"/>
            <a:extLst>
              <a:ext uri="{FF2B5EF4-FFF2-40B4-BE49-F238E27FC236}">
                <a16:creationId xmlns:a16="http://schemas.microsoft.com/office/drawing/2014/main" id="{BF12763D-5394-4B24-9E5D-DD2ED0795F72}"/>
              </a:ext>
            </a:extLst>
          </p:cNvPr>
          <p:cNvSpPr/>
          <p:nvPr/>
        </p:nvSpPr>
        <p:spPr>
          <a:xfrm>
            <a:off x="2577647" y="1581661"/>
            <a:ext cx="3084834" cy="64010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ea typeface="+mn-ea"/>
                <a:cs typeface="Arial" panose="020B0604020202020204" pitchFamily="34" charset="0"/>
              </a:rPr>
              <a:t>Int’l B2B/B2C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ea typeface="+mn-ea"/>
                <a:cs typeface="Arial" panose="020B0604020202020204" pitchFamily="34" charset="0"/>
              </a:rPr>
              <a:t>Logistics Provider</a:t>
            </a:r>
          </a:p>
        </p:txBody>
      </p:sp>
      <p:sp>
        <p:nvSpPr>
          <p:cNvPr id="15" name="Rectangle 14">
            <a:hlinkClick r:id="" action="ppaction://noaction"/>
            <a:extLst>
              <a:ext uri="{FF2B5EF4-FFF2-40B4-BE49-F238E27FC236}">
                <a16:creationId xmlns:a16="http://schemas.microsoft.com/office/drawing/2014/main" id="{2BE980D5-B62D-4DB5-803B-F560C31A0C75}"/>
              </a:ext>
            </a:extLst>
          </p:cNvPr>
          <p:cNvSpPr/>
          <p:nvPr/>
        </p:nvSpPr>
        <p:spPr>
          <a:xfrm>
            <a:off x="5948085" y="1578322"/>
            <a:ext cx="3084834" cy="6401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ea typeface="+mn-ea"/>
                <a:cs typeface="Arial" panose="020B0604020202020204" pitchFamily="34" charset="0"/>
              </a:rPr>
              <a:t>High Tech Manufacturer</a:t>
            </a:r>
          </a:p>
        </p:txBody>
      </p:sp>
      <p:sp>
        <p:nvSpPr>
          <p:cNvPr id="16" name="Rectangle 15">
            <a:extLst>
              <a:ext uri="{FF2B5EF4-FFF2-40B4-BE49-F238E27FC236}">
                <a16:creationId xmlns:a16="http://schemas.microsoft.com/office/drawing/2014/main" id="{AD580E55-250D-470D-AD14-549045B03833}"/>
              </a:ext>
            </a:extLst>
          </p:cNvPr>
          <p:cNvSpPr/>
          <p:nvPr/>
        </p:nvSpPr>
        <p:spPr>
          <a:xfrm>
            <a:off x="914399" y="4214169"/>
            <a:ext cx="8117038" cy="926980"/>
          </a:xfrm>
          <a:prstGeom prst="rect">
            <a:avLst/>
          </a:prstGeom>
          <a:solidFill>
            <a:srgbClr val="DCDCDC">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Arial" panose="020B0604020202020204" pitchFamily="34" charset="0"/>
              </a:rPr>
              <a:t>Approach</a:t>
            </a:r>
          </a:p>
        </p:txBody>
      </p:sp>
      <p:sp>
        <p:nvSpPr>
          <p:cNvPr id="17" name="TextBox 16">
            <a:extLst>
              <a:ext uri="{FF2B5EF4-FFF2-40B4-BE49-F238E27FC236}">
                <a16:creationId xmlns:a16="http://schemas.microsoft.com/office/drawing/2014/main" id="{C49C125D-35CB-4E3A-BEFE-064E23E8DB82}"/>
              </a:ext>
            </a:extLst>
          </p:cNvPr>
          <p:cNvSpPr txBox="1"/>
          <p:nvPr/>
        </p:nvSpPr>
        <p:spPr>
          <a:xfrm>
            <a:off x="2572989" y="4308538"/>
            <a:ext cx="3084834" cy="723275"/>
          </a:xfrm>
          <a:prstGeom prst="rect">
            <a:avLst/>
          </a:prstGeom>
          <a:noFill/>
        </p:spPr>
        <p:txBody>
          <a:bodyPr wrap="square" rtlCol="0">
            <a:spAutoFit/>
          </a:bodyPr>
          <a:lstStyle/>
          <a:p>
            <a:pPr marL="117475" marR="0" lvl="0" indent="-117475" algn="l" defTabSz="1219170" rtl="0" eaLnBrk="1" fontAlgn="auto" latinLnBrk="0" hangingPunct="1">
              <a:lnSpc>
                <a:spcPct val="100000"/>
              </a:lnSpc>
              <a:spcBef>
                <a:spcPts val="600"/>
              </a:spcBef>
              <a:spcAft>
                <a:spcPts val="0"/>
              </a:spcAft>
              <a:buClr>
                <a:srgbClr val="012169"/>
              </a:buClr>
              <a:buSzTx/>
              <a:buFont typeface="Wingdings" panose="05000000000000000000" pitchFamily="2" charset="2"/>
              <a:buChar char="§"/>
              <a:tabLst/>
              <a:defRPr/>
            </a:pPr>
            <a:r>
              <a:rPr kumimoji="0" lang="en-US" sz="900" b="0" i="0" u="none" strike="noStrike" kern="1200" cap="none" spc="0" normalizeH="0" baseline="0" noProof="0" dirty="0">
                <a:ln>
                  <a:noFill/>
                </a:ln>
                <a:solidFill>
                  <a:prstClr val="black">
                    <a:lumMod val="50000"/>
                  </a:prstClr>
                </a:solidFill>
                <a:effectLst/>
                <a:uLnTx/>
                <a:uFillTx/>
                <a:ea typeface="+mn-ea"/>
                <a:cs typeface="+mn-cs"/>
              </a:rPr>
              <a:t>“See What I See” – Telepresence of Experts to aide local technicians in issue identification</a:t>
            </a:r>
          </a:p>
          <a:p>
            <a:pPr marL="117475" marR="0" lvl="0" indent="-117475" algn="l" defTabSz="1219170" rtl="0" eaLnBrk="1" fontAlgn="auto" latinLnBrk="0" hangingPunct="1">
              <a:lnSpc>
                <a:spcPct val="100000"/>
              </a:lnSpc>
              <a:spcBef>
                <a:spcPts val="600"/>
              </a:spcBef>
              <a:spcAft>
                <a:spcPts val="0"/>
              </a:spcAft>
              <a:buClr>
                <a:srgbClr val="012169"/>
              </a:buClr>
              <a:buSzTx/>
              <a:buFont typeface="Wingdings" panose="05000000000000000000" pitchFamily="2" charset="2"/>
              <a:buChar char="§"/>
              <a:tabLst/>
              <a:defRPr/>
            </a:pPr>
            <a:r>
              <a:rPr kumimoji="0" lang="en-US" sz="900" b="0" i="0" u="none" strike="noStrike" kern="1200" cap="none" spc="0" normalizeH="0" baseline="0" noProof="0" dirty="0">
                <a:ln>
                  <a:noFill/>
                </a:ln>
                <a:solidFill>
                  <a:prstClr val="black">
                    <a:lumMod val="50000"/>
                  </a:prstClr>
                </a:solidFill>
                <a:effectLst/>
                <a:uLnTx/>
                <a:uFillTx/>
                <a:ea typeface="+mn-ea"/>
                <a:cs typeface="+mn-cs"/>
              </a:rPr>
              <a:t>“Do What I Do” – Pushing of media to local technicians to aide in machine repair</a:t>
            </a:r>
          </a:p>
        </p:txBody>
      </p:sp>
      <p:sp>
        <p:nvSpPr>
          <p:cNvPr id="18" name="TextBox 17">
            <a:extLst>
              <a:ext uri="{FF2B5EF4-FFF2-40B4-BE49-F238E27FC236}">
                <a16:creationId xmlns:a16="http://schemas.microsoft.com/office/drawing/2014/main" id="{D95D1779-5B5D-4B40-A3BC-F36E40259579}"/>
              </a:ext>
            </a:extLst>
          </p:cNvPr>
          <p:cNvSpPr txBox="1"/>
          <p:nvPr/>
        </p:nvSpPr>
        <p:spPr>
          <a:xfrm>
            <a:off x="5930798" y="4303638"/>
            <a:ext cx="3084834" cy="826508"/>
          </a:xfrm>
          <a:prstGeom prst="rect">
            <a:avLst/>
          </a:prstGeom>
          <a:noFill/>
        </p:spPr>
        <p:txBody>
          <a:bodyPr wrap="square" rtlCol="0">
            <a:spAutoFit/>
          </a:bodyPr>
          <a:lstStyle/>
          <a:p>
            <a:pPr marL="171450" marR="0" lvl="1" indent="-171450" algn="l" defTabSz="914400" rtl="0" eaLnBrk="1" fontAlgn="auto" latinLnBrk="0" hangingPunct="1">
              <a:lnSpc>
                <a:spcPct val="106000"/>
              </a:lnSpc>
              <a:spcBef>
                <a:spcPts val="0"/>
              </a:spcBef>
              <a:spcAft>
                <a:spcPts val="0"/>
              </a:spcAft>
              <a:buClr>
                <a:srgbClr val="000000"/>
              </a:buClr>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ea typeface="+mn-ea"/>
                <a:cs typeface="Arial" charset="0"/>
              </a:rPr>
              <a:t>Over the course of 8 weeks, the Deloitte team collaborated with the client and strategic partner Upskill to define the requirements, develop pilot capabilities, test the solution, deploy and train end users</a:t>
            </a:r>
          </a:p>
        </p:txBody>
      </p:sp>
      <p:sp>
        <p:nvSpPr>
          <p:cNvPr id="19" name="Rectangle 18">
            <a:extLst>
              <a:ext uri="{FF2B5EF4-FFF2-40B4-BE49-F238E27FC236}">
                <a16:creationId xmlns:a16="http://schemas.microsoft.com/office/drawing/2014/main" id="{912E44C7-7B56-4347-B3D2-CD95975A9DB1}"/>
              </a:ext>
            </a:extLst>
          </p:cNvPr>
          <p:cNvSpPr/>
          <p:nvPr/>
        </p:nvSpPr>
        <p:spPr>
          <a:xfrm>
            <a:off x="914399" y="3236637"/>
            <a:ext cx="8117038" cy="766723"/>
          </a:xfrm>
          <a:prstGeom prst="rect">
            <a:avLst/>
          </a:prstGeom>
          <a:solidFill>
            <a:srgbClr val="DCDCDC">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Arial" panose="020B0604020202020204" pitchFamily="34" charset="0"/>
              </a:rPr>
              <a:t>Business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Arial" panose="020B0604020202020204" pitchFamily="34" charset="0"/>
              </a:rPr>
              <a:t>Problem</a:t>
            </a:r>
          </a:p>
        </p:txBody>
      </p:sp>
      <p:sp>
        <p:nvSpPr>
          <p:cNvPr id="20" name="TextBox 19">
            <a:extLst>
              <a:ext uri="{FF2B5EF4-FFF2-40B4-BE49-F238E27FC236}">
                <a16:creationId xmlns:a16="http://schemas.microsoft.com/office/drawing/2014/main" id="{6C0ABB98-25A4-4065-AB05-432460A6F87B}"/>
              </a:ext>
            </a:extLst>
          </p:cNvPr>
          <p:cNvSpPr txBox="1"/>
          <p:nvPr/>
        </p:nvSpPr>
        <p:spPr>
          <a:xfrm>
            <a:off x="2572989" y="3257476"/>
            <a:ext cx="3084834" cy="784830"/>
          </a:xfrm>
          <a:prstGeom prst="rect">
            <a:avLst/>
          </a:prstGeom>
          <a:noFill/>
        </p:spPr>
        <p:txBody>
          <a:bodyPr wrap="square" rtlCol="0">
            <a:spAutoFit/>
          </a:bodyPr>
          <a:lstStyle/>
          <a:p>
            <a:pPr marL="117475" marR="0" lvl="0" indent="-117475" algn="l" defTabSz="1219170" rtl="0" eaLnBrk="1" fontAlgn="auto" latinLnBrk="0" hangingPunct="1">
              <a:lnSpc>
                <a:spcPct val="100000"/>
              </a:lnSpc>
              <a:spcBef>
                <a:spcPts val="600"/>
              </a:spcBef>
              <a:spcAft>
                <a:spcPts val="0"/>
              </a:spcAft>
              <a:buClr>
                <a:srgbClr val="012169"/>
              </a:buClr>
              <a:buSzTx/>
              <a:buFont typeface="Wingdings" panose="05000000000000000000" pitchFamily="2" charset="2"/>
              <a:buChar char="§"/>
              <a:tabLst/>
              <a:defRPr/>
            </a:pPr>
            <a:r>
              <a:rPr kumimoji="0" lang="en-US" sz="900" b="0" i="0" u="none" strike="noStrike" kern="1200" cap="none" spc="0" normalizeH="0" baseline="0" noProof="0" dirty="0">
                <a:ln>
                  <a:noFill/>
                </a:ln>
                <a:solidFill>
                  <a:prstClr val="black">
                    <a:lumMod val="50000"/>
                  </a:prstClr>
                </a:solidFill>
                <a:effectLst/>
                <a:uLnTx/>
                <a:uFillTx/>
                <a:ea typeface="+mn-ea"/>
                <a:cs typeface="+mn-cs"/>
              </a:rPr>
              <a:t>A network of mail-sorting machines demands significant expertise to maintain. Experts constantly travel to keep the equipment working, supplementing a staff of locally-based semi-skilled technicians</a:t>
            </a:r>
          </a:p>
        </p:txBody>
      </p:sp>
      <p:sp>
        <p:nvSpPr>
          <p:cNvPr id="21" name="TextBox 20">
            <a:extLst>
              <a:ext uri="{FF2B5EF4-FFF2-40B4-BE49-F238E27FC236}">
                <a16:creationId xmlns:a16="http://schemas.microsoft.com/office/drawing/2014/main" id="{353F2990-1A73-4B1C-A94B-9736AB57A9DC}"/>
              </a:ext>
            </a:extLst>
          </p:cNvPr>
          <p:cNvSpPr txBox="1"/>
          <p:nvPr/>
        </p:nvSpPr>
        <p:spPr>
          <a:xfrm>
            <a:off x="5930798" y="3236637"/>
            <a:ext cx="3084834" cy="826508"/>
          </a:xfrm>
          <a:prstGeom prst="rect">
            <a:avLst/>
          </a:prstGeom>
          <a:noFill/>
        </p:spPr>
        <p:txBody>
          <a:bodyPr wrap="square" rtlCol="0">
            <a:spAutoFit/>
          </a:bodyPr>
          <a:lstStyle/>
          <a:p>
            <a:pPr marL="171450" marR="0" lvl="1" indent="-171450" algn="l" defTabSz="1219170" rtl="0" eaLnBrk="1" fontAlgn="auto" latinLnBrk="0" hangingPunct="1">
              <a:lnSpc>
                <a:spcPct val="106000"/>
              </a:lnSpc>
              <a:spcBef>
                <a:spcPts val="600"/>
              </a:spcBef>
              <a:spcAft>
                <a:spcPts val="0"/>
              </a:spcAft>
              <a:buClr>
                <a:srgbClr val="000000"/>
              </a:buClr>
              <a:buSzTx/>
              <a:buFont typeface="Wingdings" panose="05000000000000000000" pitchFamily="2" charset="2"/>
              <a:buChar char="§"/>
              <a:tabLst/>
              <a:defRPr/>
            </a:pPr>
            <a:r>
              <a:rPr kumimoji="0" lang="en-US" sz="900" b="0" i="0" u="none" strike="noStrike" kern="1200" cap="none" spc="0" normalizeH="0" baseline="0" noProof="0" dirty="0">
                <a:ln>
                  <a:noFill/>
                </a:ln>
                <a:solidFill>
                  <a:prstClr val="black">
                    <a:lumMod val="50000"/>
                  </a:prstClr>
                </a:solidFill>
                <a:effectLst/>
                <a:uLnTx/>
                <a:uFillTx/>
                <a:ea typeface="+mn-ea"/>
                <a:cs typeface="+mn-cs"/>
              </a:rPr>
              <a:t>The client’s suppliers faced issues with manufacturing incident resolution, resulting in severe delays during critical component assembly due to the lack of collaboration tools and ineffective process manuals </a:t>
            </a:r>
          </a:p>
        </p:txBody>
      </p:sp>
      <p:pic>
        <p:nvPicPr>
          <p:cNvPr id="23" name="Picture 22">
            <a:extLst>
              <a:ext uri="{FF2B5EF4-FFF2-40B4-BE49-F238E27FC236}">
                <a16:creationId xmlns:a16="http://schemas.microsoft.com/office/drawing/2014/main" id="{5057D104-4C27-4C1B-8C0D-1E8790130426}"/>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rot="5400000">
            <a:off x="9663093" y="4395603"/>
            <a:ext cx="2053867" cy="1608162"/>
          </a:xfrm>
          <a:prstGeom prst="rect">
            <a:avLst/>
          </a:prstGeom>
          <a:effectLst>
            <a:outerShdw blurRad="50800" dist="38100" dir="5400000" algn="t" rotWithShape="0">
              <a:prstClr val="black">
                <a:alpha val="40000"/>
              </a:prstClr>
            </a:outerShdw>
          </a:effectLst>
        </p:spPr>
      </p:pic>
      <p:sp>
        <p:nvSpPr>
          <p:cNvPr id="24" name="TextBox 23">
            <a:extLst>
              <a:ext uri="{FF2B5EF4-FFF2-40B4-BE49-F238E27FC236}">
                <a16:creationId xmlns:a16="http://schemas.microsoft.com/office/drawing/2014/main" id="{8BBADC71-F265-4CA2-A8D6-C6C6548AEC20}"/>
              </a:ext>
            </a:extLst>
          </p:cNvPr>
          <p:cNvSpPr txBox="1"/>
          <p:nvPr/>
        </p:nvSpPr>
        <p:spPr>
          <a:xfrm>
            <a:off x="9149407" y="3260522"/>
            <a:ext cx="2860341" cy="675313"/>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97" b="0" i="0" u="none" strike="noStrike" kern="1200" cap="none" spc="0" normalizeH="0" baseline="0" noProof="0" dirty="0">
                <a:ln>
                  <a:noFill/>
                </a:ln>
                <a:solidFill>
                  <a:prstClr val="black"/>
                </a:solidFill>
                <a:effectLst/>
                <a:uLnTx/>
                <a:uFillTx/>
                <a:ea typeface="+mn-ea"/>
                <a:cs typeface="+mn-cs"/>
              </a:rPr>
              <a:t>Figure #1: The combination of smart glass technology and </a:t>
            </a:r>
            <a:r>
              <a:rPr lang="en-US" sz="1097" dirty="0">
                <a:solidFill>
                  <a:prstClr val="black"/>
                </a:solidFill>
              </a:rPr>
              <a:t>innovation</a:t>
            </a:r>
            <a:r>
              <a:rPr kumimoji="0" lang="en-US" sz="1097" b="0" i="0" u="none" strike="noStrike" kern="1200" cap="none" spc="0" normalizeH="0" baseline="0" noProof="0" dirty="0">
                <a:ln>
                  <a:noFill/>
                </a:ln>
                <a:solidFill>
                  <a:prstClr val="black"/>
                </a:solidFill>
                <a:effectLst/>
                <a:uLnTx/>
                <a:uFillTx/>
                <a:ea typeface="+mn-ea"/>
                <a:cs typeface="+mn-cs"/>
              </a:rPr>
              <a:t>platform enabled global remote engineering, reducing collaboration time from weeks to minutes</a:t>
            </a:r>
          </a:p>
        </p:txBody>
      </p:sp>
    </p:spTree>
    <p:extLst>
      <p:ext uri="{BB962C8B-B14F-4D97-AF65-F5344CB8AC3E}">
        <p14:creationId xmlns:p14="http://schemas.microsoft.com/office/powerpoint/2010/main" val="3362353082"/>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a:extLst>
              <a:ext uri="{FF2B5EF4-FFF2-40B4-BE49-F238E27FC236}">
                <a16:creationId xmlns:a16="http://schemas.microsoft.com/office/drawing/2014/main" id="{44F060C1-1AD3-43FE-B6FE-CE3B88485ABC}"/>
              </a:ext>
            </a:extLst>
          </p:cNvPr>
          <p:cNvGraphicFramePr>
            <a:graphicFrameLocks noChangeAspect="1"/>
          </p:cNvGraphicFramePr>
          <p:nvPr>
            <p:custDataLst>
              <p:tags r:id="rId2"/>
            </p:custDataLst>
            <p:extLst>
              <p:ext uri="{D42A27DB-BD31-4B8C-83A1-F6EECF244321}">
                <p14:modId xmlns:p14="http://schemas.microsoft.com/office/powerpoint/2010/main" val="3076315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9988" name="think-cell Slide" r:id="rId5" imgW="395" imgH="396" progId="TCLayout.ActiveDocument.1">
                  <p:embed/>
                </p:oleObj>
              </mc:Choice>
              <mc:Fallback>
                <p:oleObj name="think-cell Slide" r:id="rId5" imgW="395" imgH="396" progId="TCLayout.ActiveDocument.1">
                  <p:embed/>
                  <p:pic>
                    <p:nvPicPr>
                      <p:cNvPr id="31" name="Object 30" hidden="1">
                        <a:extLst>
                          <a:ext uri="{FF2B5EF4-FFF2-40B4-BE49-F238E27FC236}">
                            <a16:creationId xmlns:a16="http://schemas.microsoft.com/office/drawing/2014/main" id="{44F060C1-1AD3-43FE-B6FE-CE3B88485AB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79A3399B-683F-4D89-A319-5CFE7BB478DC}"/>
              </a:ext>
            </a:extLst>
          </p:cNvPr>
          <p:cNvSpPr/>
          <p:nvPr/>
        </p:nvSpPr>
        <p:spPr>
          <a:xfrm>
            <a:off x="1" y="0"/>
            <a:ext cx="3404558" cy="6858000"/>
          </a:xfrm>
          <a:prstGeom prst="rect">
            <a:avLst/>
          </a:prstGeom>
          <a:solidFill>
            <a:schemeClr val="accent3"/>
          </a:solidFill>
          <a:ln w="12700" cap="flat" cmpd="sng" algn="ctr">
            <a:noFill/>
            <a:prstDash val="solid"/>
            <a:miter lim="800000"/>
          </a:ln>
          <a:effectLst/>
        </p:spPr>
        <p:txBody>
          <a:bodyPr lIns="182880" rIns="274320"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1" u="none" strike="noStrike" kern="0" cap="none" spc="0" normalizeH="0" baseline="0" noProof="0" dirty="0">
              <a:ln>
                <a:noFill/>
              </a:ln>
              <a:solidFill>
                <a:prstClr val="black"/>
              </a:solidFill>
              <a:effectLst/>
              <a:uLnTx/>
              <a:uFillTx/>
              <a:latin typeface="Montserrat" panose="00000500000000000000" pitchFamily="2" charset="0"/>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1" u="none" strike="noStrike" kern="0" cap="none" spc="0" normalizeH="0" baseline="0" noProof="0" dirty="0">
              <a:ln>
                <a:noFill/>
              </a:ln>
              <a:solidFill>
                <a:prstClr val="black"/>
              </a:solidFill>
              <a:effectLst/>
              <a:uLnTx/>
              <a:uFillTx/>
              <a:latin typeface="Montserrat" panose="00000500000000000000" pitchFamily="2" charset="0"/>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1" u="none" strike="noStrike" kern="0" cap="none" spc="0" normalizeH="0" baseline="0" noProof="0" dirty="0">
              <a:ln>
                <a:noFill/>
              </a:ln>
              <a:solidFill>
                <a:prstClr val="black"/>
              </a:solidFill>
              <a:effectLst/>
              <a:uLnTx/>
              <a:uFillTx/>
              <a:latin typeface="Montserrat" panose="00000500000000000000" pitchFamily="2" charset="0"/>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1" u="none" strike="noStrike" kern="0" cap="none" spc="0" normalizeH="0" baseline="0" noProof="0" dirty="0">
              <a:ln>
                <a:noFill/>
              </a:ln>
              <a:solidFill>
                <a:prstClr val="black"/>
              </a:solidFill>
              <a:effectLst/>
              <a:uLnTx/>
              <a:uFillTx/>
              <a:latin typeface="Montserrat" panose="00000500000000000000" pitchFamily="2" charset="0"/>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1" u="none" strike="noStrike" kern="0" cap="none" spc="0" normalizeH="0" baseline="0" noProof="0" dirty="0">
              <a:ln>
                <a:noFill/>
              </a:ln>
              <a:solidFill>
                <a:prstClr val="black"/>
              </a:solidFill>
              <a:effectLst/>
              <a:uLnTx/>
              <a:uFillTx/>
              <a:latin typeface="Montserrat" panose="00000500000000000000" pitchFamily="2" charset="0"/>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1" u="none" strike="noStrike" kern="0" cap="none" spc="0" normalizeH="0" baseline="0" noProof="0" dirty="0">
              <a:ln>
                <a:noFill/>
              </a:ln>
              <a:solidFill>
                <a:prstClr val="black"/>
              </a:solidFill>
              <a:effectLst/>
              <a:uLnTx/>
              <a:uFillTx/>
              <a:latin typeface="Montserrat" panose="00000500000000000000" pitchFamily="2" charset="0"/>
              <a:ea typeface="+mn-ea"/>
              <a:cs typeface="+mn-cs"/>
            </a:endParaRPr>
          </a:p>
        </p:txBody>
      </p:sp>
      <p:sp>
        <p:nvSpPr>
          <p:cNvPr id="19" name="Title 3">
            <a:extLst>
              <a:ext uri="{FF2B5EF4-FFF2-40B4-BE49-F238E27FC236}">
                <a16:creationId xmlns:a16="http://schemas.microsoft.com/office/drawing/2014/main" id="{704281D6-D74C-488A-BD57-F0562DC1EFAC}"/>
              </a:ext>
            </a:extLst>
          </p:cNvPr>
          <p:cNvSpPr txBox="1">
            <a:spLocks/>
          </p:cNvSpPr>
          <p:nvPr/>
        </p:nvSpPr>
        <p:spPr>
          <a:xfrm>
            <a:off x="395514" y="815753"/>
            <a:ext cx="2861823" cy="2780202"/>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en-US" sz="2400" b="0" i="0" kern="1200">
                <a:solidFill>
                  <a:schemeClr val="tx1"/>
                </a:solidFill>
                <a:latin typeface="Montserrat" charset="0"/>
                <a:ea typeface="Montserrat" charset="0"/>
                <a:cs typeface="Montserrat"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sysClr val="windowText" lastClr="000000"/>
                </a:solidFill>
                <a:effectLst/>
                <a:uLnTx/>
                <a:uFillTx/>
                <a:latin typeface="+mj-lt"/>
              </a:rPr>
              <a:t>Understanding Assets today for potential operational synergies</a:t>
            </a:r>
          </a:p>
        </p:txBody>
      </p:sp>
      <p:sp>
        <p:nvSpPr>
          <p:cNvPr id="21" name="Content Placeholder 2">
            <a:extLst>
              <a:ext uri="{FF2B5EF4-FFF2-40B4-BE49-F238E27FC236}">
                <a16:creationId xmlns:a16="http://schemas.microsoft.com/office/drawing/2014/main" id="{F7587AA7-9258-419E-94C3-E25CF630A99A}"/>
              </a:ext>
            </a:extLst>
          </p:cNvPr>
          <p:cNvSpPr txBox="1">
            <a:spLocks/>
          </p:cNvSpPr>
          <p:nvPr/>
        </p:nvSpPr>
        <p:spPr>
          <a:xfrm>
            <a:off x="388257" y="2548093"/>
            <a:ext cx="2869080" cy="3475988"/>
          </a:xfrm>
          <a:prstGeom prst="rect">
            <a:avLst/>
          </a:prstGeom>
        </p:spPr>
        <p:txBody>
          <a:bodyPr vert="horz" lIns="0" tIns="0" rIns="0" bIns="0" rtlCol="0" anchor="t">
            <a:noAutofit/>
          </a:bodyPr>
          <a:lstStyle>
            <a:lvl1pPr marL="0" indent="0" algn="l" defTabSz="914400" rtl="0" eaLnBrk="1" latinLnBrk="0" hangingPunct="1">
              <a:lnSpc>
                <a:spcPct val="90000"/>
              </a:lnSpc>
              <a:spcBef>
                <a:spcPts val="1000"/>
              </a:spcBef>
              <a:buFont typeface="Arial"/>
              <a:buNone/>
              <a:defRPr lang="en-US" sz="1400" b="1" i="0" kern="1200">
                <a:solidFill>
                  <a:schemeClr val="tx1"/>
                </a:solidFill>
                <a:latin typeface="Montserrat" charset="0"/>
                <a:ea typeface="Montserrat" charset="0"/>
                <a:cs typeface="Montserrat" charset="0"/>
              </a:defRPr>
            </a:lvl1pPr>
            <a:lvl2pPr marL="457200" indent="0" algn="l" defTabSz="914400" rtl="0" eaLnBrk="1" latinLnBrk="0" hangingPunct="1">
              <a:lnSpc>
                <a:spcPct val="90000"/>
              </a:lnSpc>
              <a:spcBef>
                <a:spcPts val="500"/>
              </a:spcBef>
              <a:buFont typeface="Arial"/>
              <a:buNone/>
              <a:defRPr lang="en-US" sz="1400" kern="1200">
                <a:solidFill>
                  <a:schemeClr val="tx1"/>
                </a:solidFill>
                <a:latin typeface="Montserrat" charset="0"/>
                <a:ea typeface="Montserrat" charset="0"/>
                <a:cs typeface="Montserrat" charset="0"/>
              </a:defRPr>
            </a:lvl2pPr>
            <a:lvl3pPr marL="1143000" indent="-228600" algn="l" defTabSz="914400" rtl="0" eaLnBrk="1" latinLnBrk="0" hangingPunct="1">
              <a:lnSpc>
                <a:spcPct val="90000"/>
              </a:lnSpc>
              <a:spcBef>
                <a:spcPts val="500"/>
              </a:spcBef>
              <a:buFont typeface="Arial"/>
              <a:buChar char="•"/>
              <a:defRPr lang="en-US" sz="1400" kern="1200">
                <a:solidFill>
                  <a:schemeClr val="tx1"/>
                </a:solidFill>
                <a:latin typeface="Montserrat" charset="0"/>
                <a:ea typeface="Montserrat" charset="0"/>
                <a:cs typeface="Montserrat" charset="0"/>
              </a:defRPr>
            </a:lvl3pPr>
            <a:lvl4pPr marL="1600200" indent="-228600" algn="l" defTabSz="914400" rtl="0" eaLnBrk="1" latinLnBrk="0" hangingPunct="1">
              <a:lnSpc>
                <a:spcPct val="90000"/>
              </a:lnSpc>
              <a:spcBef>
                <a:spcPts val="500"/>
              </a:spcBef>
              <a:buFont typeface="Arial"/>
              <a:buChar char="•"/>
              <a:defRPr lang="en-US" sz="1400" kern="1200">
                <a:solidFill>
                  <a:schemeClr val="tx1"/>
                </a:solidFill>
                <a:latin typeface="Montserrat" charset="0"/>
                <a:ea typeface="Montserrat" charset="0"/>
                <a:cs typeface="Montserrat" charset="0"/>
              </a:defRPr>
            </a:lvl4pPr>
            <a:lvl5pPr marL="2057400" indent="-228600" algn="l" defTabSz="914400" rtl="0" eaLnBrk="1" latinLnBrk="0" hangingPunct="1">
              <a:lnSpc>
                <a:spcPct val="90000"/>
              </a:lnSpc>
              <a:spcBef>
                <a:spcPts val="500"/>
              </a:spcBef>
              <a:buFont typeface="Arial"/>
              <a:buChar char="•"/>
              <a:defRPr lang="en-US" sz="1400" kern="1200">
                <a:solidFill>
                  <a:schemeClr val="tx1"/>
                </a:solidFill>
                <a:latin typeface="Montserrat" charset="0"/>
                <a:ea typeface="Montserrat" charset="0"/>
                <a:cs typeface="Montserra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12700">
              <a:spcBef>
                <a:spcPts val="600"/>
              </a:spcBef>
            </a:pPr>
            <a:r>
              <a:rPr lang="en-US" sz="1200" b="0" dirty="0">
                <a:solidFill>
                  <a:srgbClr val="000000"/>
                </a:solidFill>
                <a:latin typeface="+mn-lt"/>
              </a:rPr>
              <a:t>We spoke to 9 Client employees across functions to understand what capabilities exist today and how Company might be able to leverage them.*</a:t>
            </a:r>
          </a:p>
          <a:p>
            <a:pPr marL="12700">
              <a:spcBef>
                <a:spcPts val="600"/>
              </a:spcBef>
            </a:pPr>
            <a:r>
              <a:rPr lang="en-US" sz="1200" b="0" dirty="0">
                <a:solidFill>
                  <a:srgbClr val="000000"/>
                </a:solidFill>
                <a:latin typeface="+mn-lt"/>
              </a:rPr>
              <a:t>Regardless of level of integration with the core, it will be critical to understand how Client operates today and where we can leverage existing Client people, processes, and technology.</a:t>
            </a:r>
          </a:p>
        </p:txBody>
      </p:sp>
      <p:sp>
        <p:nvSpPr>
          <p:cNvPr id="22" name="Rectangle 21">
            <a:extLst>
              <a:ext uri="{FF2B5EF4-FFF2-40B4-BE49-F238E27FC236}">
                <a16:creationId xmlns:a16="http://schemas.microsoft.com/office/drawing/2014/main" id="{7263E1EC-FA82-49AD-8356-C3F61A5C8A95}"/>
              </a:ext>
            </a:extLst>
          </p:cNvPr>
          <p:cNvSpPr>
            <a:spLocks/>
          </p:cNvSpPr>
          <p:nvPr/>
        </p:nvSpPr>
        <p:spPr>
          <a:xfrm>
            <a:off x="3623356" y="887761"/>
            <a:ext cx="2149501" cy="276999"/>
          </a:xfrm>
          <a:prstGeom prst="rect">
            <a:avLst/>
          </a:prstGeom>
          <a:solidFill>
            <a:schemeClr val="accent3"/>
          </a:solidFill>
        </p:spPr>
        <p:txBody>
          <a:bodyPr wrap="square">
            <a:spAutoFit/>
          </a:bodyPr>
          <a:lstStyle/>
          <a:p>
            <a:pPr marL="1" lvl="1" defTabSz="180181" fontAlgn="base">
              <a:spcBef>
                <a:spcPct val="0"/>
              </a:spcBef>
              <a:tabLst>
                <a:tab pos="5715000" algn="l"/>
              </a:tabLst>
              <a:defRPr/>
            </a:pPr>
            <a:r>
              <a:rPr lang="en-US" sz="1200" b="1" dirty="0">
                <a:solidFill>
                  <a:prstClr val="black"/>
                </a:solidFill>
                <a:cs typeface="Segoe UI" panose="020B0502040204020203" pitchFamily="34" charset="0"/>
              </a:rPr>
              <a:t>WHO WE TALKED TO</a:t>
            </a:r>
            <a:endParaRPr lang="en-US" sz="1200" dirty="0">
              <a:solidFill>
                <a:prstClr val="black"/>
              </a:solidFill>
              <a:cs typeface="Segoe UI" panose="020B0502040204020203" pitchFamily="34" charset="0"/>
            </a:endParaRPr>
          </a:p>
        </p:txBody>
      </p:sp>
      <p:sp>
        <p:nvSpPr>
          <p:cNvPr id="23" name="Rectangle 22">
            <a:extLst>
              <a:ext uri="{FF2B5EF4-FFF2-40B4-BE49-F238E27FC236}">
                <a16:creationId xmlns:a16="http://schemas.microsoft.com/office/drawing/2014/main" id="{F36046E3-4DD5-41E2-819C-2C9AC7D2FA71}"/>
              </a:ext>
            </a:extLst>
          </p:cNvPr>
          <p:cNvSpPr/>
          <p:nvPr/>
        </p:nvSpPr>
        <p:spPr>
          <a:xfrm>
            <a:off x="3551439" y="1264455"/>
            <a:ext cx="3106215" cy="4493538"/>
          </a:xfrm>
          <a:prstGeom prst="rect">
            <a:avLst/>
          </a:prstGeom>
        </p:spPr>
        <p:txBody>
          <a:bodyPr wrap="square">
            <a:spAutoFit/>
          </a:bodyPr>
          <a:lstStyle/>
          <a:p>
            <a:pPr marL="12700">
              <a:defRPr/>
            </a:pPr>
            <a:r>
              <a:rPr lang="en-US" sz="1100" b="1" dirty="0">
                <a:solidFill>
                  <a:srgbClr val="000000"/>
                </a:solidFill>
              </a:rPr>
              <a:t>Name</a:t>
            </a:r>
          </a:p>
          <a:p>
            <a:pPr marL="12700">
              <a:defRPr/>
            </a:pPr>
            <a:r>
              <a:rPr lang="en-US" sz="900" i="1" dirty="0">
                <a:solidFill>
                  <a:srgbClr val="000000"/>
                </a:solidFill>
              </a:rPr>
              <a:t>Senior Manager of Sales, Marketing, Merchandising &amp; Digital Experience</a:t>
            </a:r>
          </a:p>
          <a:p>
            <a:pPr marL="12700">
              <a:defRPr/>
            </a:pPr>
            <a:endParaRPr lang="en-US" sz="1100" b="1" dirty="0">
              <a:solidFill>
                <a:srgbClr val="000000"/>
              </a:solidFill>
            </a:endParaRPr>
          </a:p>
          <a:p>
            <a:pPr marL="12700">
              <a:defRPr/>
            </a:pPr>
            <a:r>
              <a:rPr lang="en-US" sz="1100" b="1" dirty="0">
                <a:solidFill>
                  <a:srgbClr val="000000"/>
                </a:solidFill>
              </a:rPr>
              <a:t>Name</a:t>
            </a:r>
          </a:p>
          <a:p>
            <a:pPr marL="12700">
              <a:defRPr/>
            </a:pPr>
            <a:r>
              <a:rPr lang="en-US" sz="900" i="1" dirty="0">
                <a:solidFill>
                  <a:srgbClr val="000000"/>
                </a:solidFill>
              </a:rPr>
              <a:t>NA Director Warehousing</a:t>
            </a:r>
          </a:p>
          <a:p>
            <a:pPr marL="12700">
              <a:defRPr/>
            </a:pPr>
            <a:endParaRPr lang="en-US" sz="1100" b="1" dirty="0">
              <a:solidFill>
                <a:srgbClr val="000000"/>
              </a:solidFill>
            </a:endParaRPr>
          </a:p>
          <a:p>
            <a:pPr marL="12700">
              <a:defRPr/>
            </a:pPr>
            <a:r>
              <a:rPr lang="en-US" sz="1100" b="1" dirty="0">
                <a:solidFill>
                  <a:srgbClr val="000000"/>
                </a:solidFill>
              </a:rPr>
              <a:t>Name</a:t>
            </a:r>
          </a:p>
          <a:p>
            <a:pPr marL="12700">
              <a:defRPr/>
            </a:pPr>
            <a:r>
              <a:rPr lang="en-US" sz="900" i="1" dirty="0">
                <a:solidFill>
                  <a:srgbClr val="000000"/>
                </a:solidFill>
              </a:rPr>
              <a:t>NA Strategy for Operational Processes, Fleet Maintenance and Driver Compensation</a:t>
            </a:r>
          </a:p>
          <a:p>
            <a:pPr marL="12700">
              <a:defRPr/>
            </a:pPr>
            <a:endParaRPr lang="en-US" sz="1100" b="1" dirty="0">
              <a:solidFill>
                <a:srgbClr val="000000"/>
              </a:solidFill>
            </a:endParaRPr>
          </a:p>
          <a:p>
            <a:pPr marL="12700">
              <a:defRPr/>
            </a:pPr>
            <a:r>
              <a:rPr lang="en-US" sz="1100" b="1" dirty="0">
                <a:solidFill>
                  <a:srgbClr val="000000"/>
                </a:solidFill>
              </a:rPr>
              <a:t>Name</a:t>
            </a:r>
          </a:p>
          <a:p>
            <a:pPr marL="12700">
              <a:defRPr/>
            </a:pPr>
            <a:r>
              <a:rPr lang="en-US" sz="900" i="1" dirty="0">
                <a:solidFill>
                  <a:srgbClr val="000000"/>
                </a:solidFill>
              </a:rPr>
              <a:t>Digital Marketing Manager</a:t>
            </a:r>
          </a:p>
          <a:p>
            <a:pPr marL="12700">
              <a:defRPr/>
            </a:pPr>
            <a:endParaRPr lang="en-US" sz="1100" b="1" dirty="0">
              <a:solidFill>
                <a:srgbClr val="000000"/>
              </a:solidFill>
            </a:endParaRPr>
          </a:p>
          <a:p>
            <a:pPr marL="12700">
              <a:defRPr/>
            </a:pPr>
            <a:r>
              <a:rPr lang="en-US" sz="1100" b="1" dirty="0">
                <a:solidFill>
                  <a:srgbClr val="000000"/>
                </a:solidFill>
              </a:rPr>
              <a:t>Name</a:t>
            </a:r>
          </a:p>
          <a:p>
            <a:pPr marL="12700">
              <a:defRPr/>
            </a:pPr>
            <a:r>
              <a:rPr lang="en-US" sz="900" i="1" dirty="0">
                <a:solidFill>
                  <a:srgbClr val="000000"/>
                </a:solidFill>
              </a:rPr>
              <a:t>North American Director of Marketing Services</a:t>
            </a:r>
          </a:p>
          <a:p>
            <a:pPr marL="12700">
              <a:defRPr/>
            </a:pPr>
            <a:endParaRPr lang="en-US" sz="1100" b="1" dirty="0">
              <a:solidFill>
                <a:srgbClr val="000000"/>
              </a:solidFill>
            </a:endParaRPr>
          </a:p>
          <a:p>
            <a:pPr marL="12700">
              <a:defRPr/>
            </a:pPr>
            <a:r>
              <a:rPr lang="en-US" sz="1100" b="1" dirty="0">
                <a:solidFill>
                  <a:srgbClr val="000000"/>
                </a:solidFill>
              </a:rPr>
              <a:t>Name</a:t>
            </a:r>
          </a:p>
          <a:p>
            <a:pPr marL="12700">
              <a:defRPr/>
            </a:pPr>
            <a:r>
              <a:rPr lang="en-US" sz="900" i="1" dirty="0">
                <a:solidFill>
                  <a:srgbClr val="000000"/>
                </a:solidFill>
              </a:rPr>
              <a:t>US Director Commercial Sales</a:t>
            </a:r>
          </a:p>
          <a:p>
            <a:pPr marL="12700">
              <a:defRPr/>
            </a:pPr>
            <a:endParaRPr lang="en-US" sz="1100" b="1" dirty="0">
              <a:solidFill>
                <a:srgbClr val="000000"/>
              </a:solidFill>
            </a:endParaRPr>
          </a:p>
          <a:p>
            <a:pPr marL="12700">
              <a:defRPr/>
            </a:pPr>
            <a:r>
              <a:rPr lang="en-US" sz="1100" b="1" dirty="0">
                <a:solidFill>
                  <a:srgbClr val="000000"/>
                </a:solidFill>
              </a:rPr>
              <a:t>Name</a:t>
            </a:r>
          </a:p>
          <a:p>
            <a:pPr marL="12700">
              <a:defRPr/>
            </a:pPr>
            <a:r>
              <a:rPr lang="en-US" sz="900" i="1" dirty="0">
                <a:solidFill>
                  <a:srgbClr val="000000"/>
                </a:solidFill>
              </a:rPr>
              <a:t>US Director Supply Chain</a:t>
            </a:r>
          </a:p>
          <a:p>
            <a:pPr marL="12700">
              <a:defRPr/>
            </a:pPr>
            <a:endParaRPr lang="en-US" sz="1100" b="1" dirty="0">
              <a:solidFill>
                <a:srgbClr val="000000"/>
              </a:solidFill>
            </a:endParaRPr>
          </a:p>
          <a:p>
            <a:pPr marL="12700">
              <a:defRPr/>
            </a:pPr>
            <a:r>
              <a:rPr lang="en-US" sz="1100" b="1" dirty="0">
                <a:solidFill>
                  <a:srgbClr val="000000"/>
                </a:solidFill>
              </a:rPr>
              <a:t>Name</a:t>
            </a:r>
          </a:p>
          <a:p>
            <a:pPr marL="12700">
              <a:defRPr/>
            </a:pPr>
            <a:r>
              <a:rPr lang="en-US" sz="900" i="1" dirty="0">
                <a:solidFill>
                  <a:srgbClr val="000000"/>
                </a:solidFill>
              </a:rPr>
              <a:t>Manager, Strategic &amp; Reverse Logistics </a:t>
            </a:r>
          </a:p>
          <a:p>
            <a:pPr marL="12700">
              <a:defRPr/>
            </a:pPr>
            <a:endParaRPr lang="en-US" sz="1100" b="1" dirty="0">
              <a:solidFill>
                <a:srgbClr val="000000"/>
              </a:solidFill>
            </a:endParaRPr>
          </a:p>
          <a:p>
            <a:pPr marL="12700">
              <a:defRPr/>
            </a:pPr>
            <a:r>
              <a:rPr lang="en-US" sz="1100" b="1" dirty="0">
                <a:solidFill>
                  <a:srgbClr val="000000"/>
                </a:solidFill>
              </a:rPr>
              <a:t>Name</a:t>
            </a:r>
          </a:p>
          <a:p>
            <a:pPr marL="12700">
              <a:defRPr/>
            </a:pPr>
            <a:r>
              <a:rPr lang="en-US" sz="900" i="1" dirty="0">
                <a:solidFill>
                  <a:srgbClr val="000000"/>
                </a:solidFill>
              </a:rPr>
              <a:t>NA Senior Manager Merchandising &amp; Marketing</a:t>
            </a:r>
          </a:p>
        </p:txBody>
      </p:sp>
      <p:sp>
        <p:nvSpPr>
          <p:cNvPr id="24" name="Rectangle 23">
            <a:extLst>
              <a:ext uri="{FF2B5EF4-FFF2-40B4-BE49-F238E27FC236}">
                <a16:creationId xmlns:a16="http://schemas.microsoft.com/office/drawing/2014/main" id="{DEEFE8D7-4172-4FBF-9341-CEA7B85DB4B8}"/>
              </a:ext>
            </a:extLst>
          </p:cNvPr>
          <p:cNvSpPr>
            <a:spLocks/>
          </p:cNvSpPr>
          <p:nvPr/>
        </p:nvSpPr>
        <p:spPr>
          <a:xfrm>
            <a:off x="6920854" y="887761"/>
            <a:ext cx="2149501" cy="276999"/>
          </a:xfrm>
          <a:prstGeom prst="rect">
            <a:avLst/>
          </a:prstGeom>
          <a:solidFill>
            <a:schemeClr val="accent3"/>
          </a:solidFill>
        </p:spPr>
        <p:txBody>
          <a:bodyPr wrap="square">
            <a:spAutoFit/>
          </a:bodyPr>
          <a:lstStyle/>
          <a:p>
            <a:pPr marL="1" lvl="1" defTabSz="180181" fontAlgn="base">
              <a:spcBef>
                <a:spcPct val="0"/>
              </a:spcBef>
              <a:tabLst>
                <a:tab pos="5715000" algn="l"/>
              </a:tabLst>
              <a:defRPr/>
            </a:pPr>
            <a:r>
              <a:rPr lang="en-US" sz="1200" b="1" dirty="0">
                <a:solidFill>
                  <a:prstClr val="black"/>
                </a:solidFill>
                <a:cs typeface="Segoe UI" panose="020B0502040204020203" pitchFamily="34" charset="0"/>
              </a:rPr>
              <a:t>KEY TAKEAWAYS</a:t>
            </a:r>
            <a:endParaRPr lang="en-US" sz="1200" dirty="0">
              <a:solidFill>
                <a:prstClr val="black"/>
              </a:solidFill>
              <a:cs typeface="Segoe UI" panose="020B0502040204020203" pitchFamily="34" charset="0"/>
            </a:endParaRPr>
          </a:p>
        </p:txBody>
      </p:sp>
      <p:sp>
        <p:nvSpPr>
          <p:cNvPr id="25" name="Rectangle 24">
            <a:extLst>
              <a:ext uri="{FF2B5EF4-FFF2-40B4-BE49-F238E27FC236}">
                <a16:creationId xmlns:a16="http://schemas.microsoft.com/office/drawing/2014/main" id="{6E5D1C56-1841-4081-A85F-4DE013FB38C6}"/>
              </a:ext>
            </a:extLst>
          </p:cNvPr>
          <p:cNvSpPr/>
          <p:nvPr/>
        </p:nvSpPr>
        <p:spPr>
          <a:xfrm>
            <a:off x="6917947" y="1264455"/>
            <a:ext cx="4989807" cy="4970591"/>
          </a:xfrm>
          <a:prstGeom prst="rect">
            <a:avLst/>
          </a:prstGeom>
          <a:solidFill>
            <a:schemeClr val="accent3">
              <a:alpha val="36000"/>
            </a:schemeClr>
          </a:solidFill>
        </p:spPr>
        <p:txBody>
          <a:bodyPr wrap="square">
            <a:spAutoFit/>
          </a:bodyPr>
          <a:lstStyle/>
          <a:p>
            <a:pPr marL="12700">
              <a:spcBef>
                <a:spcPts val="600"/>
              </a:spcBef>
              <a:defRPr/>
            </a:pPr>
            <a:r>
              <a:rPr lang="en-US" sz="1100" b="1" dirty="0">
                <a:solidFill>
                  <a:srgbClr val="000000"/>
                </a:solidFill>
              </a:rPr>
              <a:t>64% of Client customers spend more annually when purchasing online</a:t>
            </a:r>
            <a:r>
              <a:rPr lang="en-US" sz="1100" dirty="0">
                <a:solidFill>
                  <a:srgbClr val="000000"/>
                </a:solidFill>
              </a:rPr>
              <a:t>, strong push to drive online sales</a:t>
            </a:r>
          </a:p>
          <a:p>
            <a:pPr marL="12700">
              <a:spcBef>
                <a:spcPts val="600"/>
              </a:spcBef>
              <a:defRPr/>
            </a:pPr>
            <a:endParaRPr lang="en-US" sz="700" dirty="0">
              <a:solidFill>
                <a:srgbClr val="000000"/>
              </a:solidFill>
            </a:endParaRPr>
          </a:p>
          <a:p>
            <a:pPr marL="12700">
              <a:spcBef>
                <a:spcPts val="600"/>
              </a:spcBef>
              <a:defRPr/>
            </a:pPr>
            <a:r>
              <a:rPr lang="en-US" sz="1100" b="1" dirty="0">
                <a:solidFill>
                  <a:srgbClr val="000000"/>
                </a:solidFill>
              </a:rPr>
              <a:t>Collaborating with Company to enable innovation around last-mile delivery</a:t>
            </a:r>
            <a:r>
              <a:rPr lang="en-US" sz="1100" dirty="0">
                <a:solidFill>
                  <a:srgbClr val="000000"/>
                </a:solidFill>
              </a:rPr>
              <a:t>; customers pay the cost of the delivery and Client stores provide products</a:t>
            </a:r>
          </a:p>
          <a:p>
            <a:pPr marL="12700">
              <a:spcBef>
                <a:spcPts val="600"/>
              </a:spcBef>
              <a:defRPr/>
            </a:pPr>
            <a:endParaRPr lang="en-US" sz="700" dirty="0">
              <a:solidFill>
                <a:srgbClr val="000000"/>
              </a:solidFill>
            </a:endParaRPr>
          </a:p>
          <a:p>
            <a:pPr marL="12700">
              <a:spcBef>
                <a:spcPts val="600"/>
              </a:spcBef>
              <a:defRPr/>
            </a:pPr>
            <a:r>
              <a:rPr lang="en-US" sz="1100" dirty="0">
                <a:solidFill>
                  <a:srgbClr val="000000"/>
                </a:solidFill>
              </a:rPr>
              <a:t>Digital marketing leadership identified </a:t>
            </a:r>
            <a:r>
              <a:rPr lang="en-US" sz="1100" b="1" dirty="0">
                <a:solidFill>
                  <a:srgbClr val="000000"/>
                </a:solidFill>
              </a:rPr>
              <a:t>four digital growth areas </a:t>
            </a:r>
            <a:r>
              <a:rPr lang="en-US" sz="1100" dirty="0">
                <a:solidFill>
                  <a:srgbClr val="000000"/>
                </a:solidFill>
              </a:rPr>
              <a:t>as: (1) email marketing segmentation, (2) social listening, (3) customer feedback and (4) data-driven campaigns</a:t>
            </a:r>
          </a:p>
          <a:p>
            <a:pPr marL="12700">
              <a:spcBef>
                <a:spcPts val="600"/>
              </a:spcBef>
              <a:defRPr/>
            </a:pPr>
            <a:endParaRPr lang="en-US" sz="700" dirty="0">
              <a:solidFill>
                <a:srgbClr val="000000"/>
              </a:solidFill>
            </a:endParaRPr>
          </a:p>
          <a:p>
            <a:pPr marL="12700">
              <a:spcBef>
                <a:spcPts val="600"/>
              </a:spcBef>
              <a:defRPr/>
            </a:pPr>
            <a:r>
              <a:rPr lang="en-US" sz="1100" dirty="0">
                <a:solidFill>
                  <a:srgbClr val="000000"/>
                </a:solidFill>
              </a:rPr>
              <a:t>Marketing pushing to re</a:t>
            </a:r>
            <a:r>
              <a:rPr lang="en-US" sz="1100" b="1" dirty="0">
                <a:solidFill>
                  <a:srgbClr val="000000"/>
                </a:solidFill>
              </a:rPr>
              <a:t>-position Client in a new way by focusing on unique and culinary-forward products</a:t>
            </a:r>
            <a:r>
              <a:rPr lang="en-US" sz="1100" dirty="0">
                <a:solidFill>
                  <a:srgbClr val="000000"/>
                </a:solidFill>
              </a:rPr>
              <a:t>, for instance, featuring scorpion products</a:t>
            </a:r>
          </a:p>
          <a:p>
            <a:pPr marL="12700">
              <a:spcBef>
                <a:spcPts val="600"/>
              </a:spcBef>
              <a:defRPr/>
            </a:pPr>
            <a:endParaRPr lang="en-US" sz="700" dirty="0">
              <a:solidFill>
                <a:srgbClr val="000000"/>
              </a:solidFill>
            </a:endParaRPr>
          </a:p>
          <a:p>
            <a:pPr marL="12700">
              <a:spcBef>
                <a:spcPts val="600"/>
              </a:spcBef>
              <a:defRPr/>
            </a:pPr>
            <a:r>
              <a:rPr lang="en-US" sz="1100" dirty="0">
                <a:solidFill>
                  <a:srgbClr val="000000"/>
                </a:solidFill>
              </a:rPr>
              <a:t>Pressing </a:t>
            </a:r>
            <a:r>
              <a:rPr lang="en-US" sz="1100" b="1" dirty="0">
                <a:solidFill>
                  <a:srgbClr val="000000"/>
                </a:solidFill>
              </a:rPr>
              <a:t>issue of sales talent acquisition and turnover</a:t>
            </a:r>
            <a:r>
              <a:rPr lang="en-US" sz="1100" dirty="0">
                <a:solidFill>
                  <a:srgbClr val="000000"/>
                </a:solidFill>
              </a:rPr>
              <a:t>; large gap in recruiting, training and retaining sales reps </a:t>
            </a:r>
          </a:p>
          <a:p>
            <a:pPr marL="12700">
              <a:spcBef>
                <a:spcPts val="600"/>
              </a:spcBef>
              <a:defRPr/>
            </a:pPr>
            <a:endParaRPr lang="en-US" sz="700" dirty="0">
              <a:solidFill>
                <a:srgbClr val="000000"/>
              </a:solidFill>
            </a:endParaRPr>
          </a:p>
          <a:p>
            <a:pPr marL="12700">
              <a:spcBef>
                <a:spcPts val="600"/>
              </a:spcBef>
              <a:defRPr/>
            </a:pPr>
            <a:r>
              <a:rPr lang="en-US" sz="1100" b="1" dirty="0">
                <a:solidFill>
                  <a:srgbClr val="000000"/>
                </a:solidFill>
              </a:rPr>
              <a:t>“We will make friends today… and make money tomorrow”, </a:t>
            </a:r>
            <a:r>
              <a:rPr lang="en-US" sz="1100" dirty="0">
                <a:solidFill>
                  <a:srgbClr val="000000"/>
                </a:solidFill>
              </a:rPr>
              <a:t>focus on case driven sales… not margin</a:t>
            </a:r>
          </a:p>
          <a:p>
            <a:pPr marL="12700">
              <a:spcBef>
                <a:spcPts val="600"/>
              </a:spcBef>
              <a:defRPr/>
            </a:pPr>
            <a:endParaRPr lang="en-US" sz="700" dirty="0">
              <a:solidFill>
                <a:srgbClr val="000000"/>
              </a:solidFill>
            </a:endParaRPr>
          </a:p>
          <a:p>
            <a:pPr marL="12700">
              <a:spcBef>
                <a:spcPts val="600"/>
              </a:spcBef>
              <a:defRPr/>
            </a:pPr>
            <a:r>
              <a:rPr lang="en-US" sz="1100" b="1" dirty="0">
                <a:solidFill>
                  <a:srgbClr val="000000"/>
                </a:solidFill>
              </a:rPr>
              <a:t>29% of sales are sold below minimum price </a:t>
            </a:r>
            <a:r>
              <a:rPr lang="en-US" sz="1100" dirty="0">
                <a:solidFill>
                  <a:srgbClr val="000000"/>
                </a:solidFill>
              </a:rPr>
              <a:t>set by leadership</a:t>
            </a:r>
          </a:p>
          <a:p>
            <a:pPr marL="12700">
              <a:spcBef>
                <a:spcPts val="600"/>
              </a:spcBef>
              <a:defRPr/>
            </a:pPr>
            <a:endParaRPr lang="en-US" sz="700" dirty="0">
              <a:solidFill>
                <a:srgbClr val="000000"/>
              </a:solidFill>
            </a:endParaRPr>
          </a:p>
          <a:p>
            <a:pPr marL="12700">
              <a:spcBef>
                <a:spcPts val="600"/>
              </a:spcBef>
              <a:defRPr/>
            </a:pPr>
            <a:r>
              <a:rPr lang="en-US" sz="1100" b="1" dirty="0">
                <a:solidFill>
                  <a:srgbClr val="000000"/>
                </a:solidFill>
              </a:rPr>
              <a:t>Capacity constraints in DCs</a:t>
            </a:r>
            <a:r>
              <a:rPr lang="en-US" sz="1100" dirty="0">
                <a:solidFill>
                  <a:srgbClr val="000000"/>
                </a:solidFill>
              </a:rPr>
              <a:t>, therefore limiting ability to introduce new products</a:t>
            </a:r>
          </a:p>
        </p:txBody>
      </p:sp>
      <p:sp>
        <p:nvSpPr>
          <p:cNvPr id="26" name="TextBox 25">
            <a:extLst>
              <a:ext uri="{FF2B5EF4-FFF2-40B4-BE49-F238E27FC236}">
                <a16:creationId xmlns:a16="http://schemas.microsoft.com/office/drawing/2014/main" id="{B7DC42A6-72AE-4056-812C-C5FC724A6ED0}"/>
              </a:ext>
            </a:extLst>
          </p:cNvPr>
          <p:cNvSpPr txBox="1"/>
          <p:nvPr/>
        </p:nvSpPr>
        <p:spPr>
          <a:xfrm>
            <a:off x="388257" y="6178160"/>
            <a:ext cx="3016302" cy="338554"/>
          </a:xfrm>
          <a:prstGeom prst="rect">
            <a:avLst/>
          </a:prstGeom>
          <a:noFill/>
        </p:spPr>
        <p:txBody>
          <a:bodyPr wrap="square" rtlCol="0">
            <a:spAutoFit/>
          </a:bodyPr>
          <a:lstStyle/>
          <a:p>
            <a:pPr>
              <a:defRPr/>
            </a:pPr>
            <a:r>
              <a:rPr lang="en-US" sz="800" i="1" dirty="0">
                <a:solidFill>
                  <a:prstClr val="black"/>
                </a:solidFill>
              </a:rPr>
              <a:t>*No Client interviews directly aligned with Corporate and Products &amp; Services capabilities</a:t>
            </a:r>
          </a:p>
        </p:txBody>
      </p:sp>
      <p:sp>
        <p:nvSpPr>
          <p:cNvPr id="27" name="TextBox 26">
            <a:extLst>
              <a:ext uri="{FF2B5EF4-FFF2-40B4-BE49-F238E27FC236}">
                <a16:creationId xmlns:a16="http://schemas.microsoft.com/office/drawing/2014/main" id="{C3541E45-DF60-4026-A9BF-A8E61C801528}"/>
              </a:ext>
            </a:extLst>
          </p:cNvPr>
          <p:cNvSpPr txBox="1"/>
          <p:nvPr/>
        </p:nvSpPr>
        <p:spPr>
          <a:xfrm>
            <a:off x="290287" y="6588106"/>
            <a:ext cx="4254910" cy="215444"/>
          </a:xfrm>
          <a:prstGeom prst="rect">
            <a:avLst/>
          </a:prstGeom>
          <a:noFill/>
        </p:spPr>
        <p:txBody>
          <a:bodyPr wrap="square" rtlCol="0">
            <a:spAutoFit/>
          </a:bodyPr>
          <a:lstStyle/>
          <a:p>
            <a:pPr>
              <a:defRPr/>
            </a:pPr>
            <a:r>
              <a:rPr lang="en-US" sz="800" dirty="0">
                <a:solidFill>
                  <a:prstClr val="black"/>
                </a:solidFill>
                <a:latin typeface="Montserrat" panose="00000500000000000000" pitchFamily="2" charset="0"/>
              </a:rPr>
              <a:t>DELOITTE CONSULTING LLP</a:t>
            </a:r>
          </a:p>
        </p:txBody>
      </p:sp>
    </p:spTree>
    <p:extLst>
      <p:ext uri="{BB962C8B-B14F-4D97-AF65-F5344CB8AC3E}">
        <p14:creationId xmlns:p14="http://schemas.microsoft.com/office/powerpoint/2010/main" val="884612127"/>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3636E115-5E1B-4F14-AF9E-7710AEBB7D1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1012" name="think-cell Slide" r:id="rId6" imgW="395" imgH="396" progId="TCLayout.ActiveDocument.1">
                  <p:embed/>
                </p:oleObj>
              </mc:Choice>
              <mc:Fallback>
                <p:oleObj name="think-cell Slide" r:id="rId6" imgW="395" imgH="396" progId="TCLayout.ActiveDocument.1">
                  <p:embed/>
                  <p:pic>
                    <p:nvPicPr>
                      <p:cNvPr id="29" name="Object 28" hidden="1">
                        <a:extLst>
                          <a:ext uri="{FF2B5EF4-FFF2-40B4-BE49-F238E27FC236}">
                            <a16:creationId xmlns:a16="http://schemas.microsoft.com/office/drawing/2014/main" id="{3636E115-5E1B-4F14-AF9E-7710AEBB7D1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8" name="Rectangle 27" hidden="1">
            <a:extLst>
              <a:ext uri="{FF2B5EF4-FFF2-40B4-BE49-F238E27FC236}">
                <a16:creationId xmlns:a16="http://schemas.microsoft.com/office/drawing/2014/main" id="{3803FD3E-B1A5-4B86-827A-87806B3A1A9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035CCDCB-9A91-4F45-9E8D-B5C29FCCB509}"/>
              </a:ext>
            </a:extLst>
          </p:cNvPr>
          <p:cNvSpPr>
            <a:spLocks noGrp="1"/>
          </p:cNvSpPr>
          <p:nvPr>
            <p:ph type="title"/>
          </p:nvPr>
        </p:nvSpPr>
        <p:spPr/>
        <p:txBody>
          <a:bodyPr/>
          <a:lstStyle/>
          <a:p>
            <a:r>
              <a:rPr lang="en-US" dirty="0"/>
              <a:t>Processes that were considered for offshoring</a:t>
            </a:r>
          </a:p>
        </p:txBody>
      </p:sp>
      <p:sp>
        <p:nvSpPr>
          <p:cNvPr id="3" name="Text Placeholder 2">
            <a:extLst>
              <a:ext uri="{FF2B5EF4-FFF2-40B4-BE49-F238E27FC236}">
                <a16:creationId xmlns:a16="http://schemas.microsoft.com/office/drawing/2014/main" id="{AC655330-9853-4EFF-812E-7F2D10516F54}"/>
              </a:ext>
            </a:extLst>
          </p:cNvPr>
          <p:cNvSpPr>
            <a:spLocks noGrp="1"/>
          </p:cNvSpPr>
          <p:nvPr>
            <p:ph type="body" sz="quarter" idx="14"/>
          </p:nvPr>
        </p:nvSpPr>
        <p:spPr/>
        <p:txBody>
          <a:bodyPr/>
          <a:lstStyle/>
          <a:p>
            <a:r>
              <a:rPr lang="en-US" dirty="0"/>
              <a:t>We identified an initial set of Creative work streams that were evaluated for offshoring potential </a:t>
            </a:r>
          </a:p>
        </p:txBody>
      </p:sp>
      <p:sp>
        <p:nvSpPr>
          <p:cNvPr id="4" name="Text Placeholder 3">
            <a:extLst>
              <a:ext uri="{FF2B5EF4-FFF2-40B4-BE49-F238E27FC236}">
                <a16:creationId xmlns:a16="http://schemas.microsoft.com/office/drawing/2014/main" id="{085E2273-E07A-41E0-AD23-4E3772ACC80C}"/>
              </a:ext>
            </a:extLst>
          </p:cNvPr>
          <p:cNvSpPr>
            <a:spLocks noGrp="1"/>
          </p:cNvSpPr>
          <p:nvPr>
            <p:ph type="body" sz="quarter" idx="15"/>
          </p:nvPr>
        </p:nvSpPr>
        <p:spPr/>
        <p:txBody>
          <a:bodyPr/>
          <a:lstStyle/>
          <a:p>
            <a:r>
              <a:rPr lang="en-US" dirty="0"/>
              <a:t>TABLE</a:t>
            </a:r>
          </a:p>
        </p:txBody>
      </p:sp>
      <p:sp>
        <p:nvSpPr>
          <p:cNvPr id="5" name="Title 2">
            <a:extLst>
              <a:ext uri="{FF2B5EF4-FFF2-40B4-BE49-F238E27FC236}">
                <a16:creationId xmlns:a16="http://schemas.microsoft.com/office/drawing/2014/main" id="{B814B0C3-4F40-4DD7-B61B-D50DCEEAB487}"/>
              </a:ext>
            </a:extLst>
          </p:cNvPr>
          <p:cNvSpPr txBox="1">
            <a:spLocks/>
          </p:cNvSpPr>
          <p:nvPr/>
        </p:nvSpPr>
        <p:spPr>
          <a:xfrm>
            <a:off x="469901" y="402587"/>
            <a:ext cx="11252201"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sp>
        <p:nvSpPr>
          <p:cNvPr id="15" name="Rectangle 14">
            <a:hlinkClick r:id="" action="ppaction://noaction"/>
            <a:extLst>
              <a:ext uri="{FF2B5EF4-FFF2-40B4-BE49-F238E27FC236}">
                <a16:creationId xmlns:a16="http://schemas.microsoft.com/office/drawing/2014/main" id="{2BE980D5-B62D-4DB5-803B-F560C31A0C75}"/>
              </a:ext>
            </a:extLst>
          </p:cNvPr>
          <p:cNvSpPr/>
          <p:nvPr/>
        </p:nvSpPr>
        <p:spPr>
          <a:xfrm>
            <a:off x="5948085" y="1578322"/>
            <a:ext cx="3084834" cy="6401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ea typeface="+mn-ea"/>
                <a:cs typeface="Arial" panose="020B0604020202020204" pitchFamily="34" charset="0"/>
              </a:rPr>
              <a:t>High Tech Manufacturer</a:t>
            </a:r>
          </a:p>
        </p:txBody>
      </p:sp>
      <p:graphicFrame>
        <p:nvGraphicFramePr>
          <p:cNvPr id="67" name="Table 66">
            <a:extLst>
              <a:ext uri="{FF2B5EF4-FFF2-40B4-BE49-F238E27FC236}">
                <a16:creationId xmlns:a16="http://schemas.microsoft.com/office/drawing/2014/main" id="{0E5E6F84-150C-44B5-97EA-7FDB450810C3}"/>
              </a:ext>
            </a:extLst>
          </p:cNvPr>
          <p:cNvGraphicFramePr>
            <a:graphicFrameLocks noGrp="1"/>
          </p:cNvGraphicFramePr>
          <p:nvPr>
            <p:extLst>
              <p:ext uri="{D42A27DB-BD31-4B8C-83A1-F6EECF244321}">
                <p14:modId xmlns:p14="http://schemas.microsoft.com/office/powerpoint/2010/main" val="435227156"/>
              </p:ext>
            </p:extLst>
          </p:nvPr>
        </p:nvGraphicFramePr>
        <p:xfrm>
          <a:off x="317003" y="1655138"/>
          <a:ext cx="11318985" cy="4709664"/>
        </p:xfrm>
        <a:graphic>
          <a:graphicData uri="http://schemas.openxmlformats.org/drawingml/2006/table">
            <a:tbl>
              <a:tblPr/>
              <a:tblGrid>
                <a:gridCol w="1124517">
                  <a:extLst>
                    <a:ext uri="{9D8B030D-6E8A-4147-A177-3AD203B41FA5}">
                      <a16:colId xmlns:a16="http://schemas.microsoft.com/office/drawing/2014/main" val="199779853"/>
                    </a:ext>
                  </a:extLst>
                </a:gridCol>
                <a:gridCol w="849539">
                  <a:extLst>
                    <a:ext uri="{9D8B030D-6E8A-4147-A177-3AD203B41FA5}">
                      <a16:colId xmlns:a16="http://schemas.microsoft.com/office/drawing/2014/main" val="2324618654"/>
                    </a:ext>
                  </a:extLst>
                </a:gridCol>
                <a:gridCol w="849539">
                  <a:extLst>
                    <a:ext uri="{9D8B030D-6E8A-4147-A177-3AD203B41FA5}">
                      <a16:colId xmlns:a16="http://schemas.microsoft.com/office/drawing/2014/main" val="1161982414"/>
                    </a:ext>
                  </a:extLst>
                </a:gridCol>
                <a:gridCol w="849539">
                  <a:extLst>
                    <a:ext uri="{9D8B030D-6E8A-4147-A177-3AD203B41FA5}">
                      <a16:colId xmlns:a16="http://schemas.microsoft.com/office/drawing/2014/main" val="4142699427"/>
                    </a:ext>
                  </a:extLst>
                </a:gridCol>
                <a:gridCol w="849539">
                  <a:extLst>
                    <a:ext uri="{9D8B030D-6E8A-4147-A177-3AD203B41FA5}">
                      <a16:colId xmlns:a16="http://schemas.microsoft.com/office/drawing/2014/main" val="1324734170"/>
                    </a:ext>
                  </a:extLst>
                </a:gridCol>
                <a:gridCol w="849539">
                  <a:extLst>
                    <a:ext uri="{9D8B030D-6E8A-4147-A177-3AD203B41FA5}">
                      <a16:colId xmlns:a16="http://schemas.microsoft.com/office/drawing/2014/main" val="3308588804"/>
                    </a:ext>
                  </a:extLst>
                </a:gridCol>
                <a:gridCol w="849539">
                  <a:extLst>
                    <a:ext uri="{9D8B030D-6E8A-4147-A177-3AD203B41FA5}">
                      <a16:colId xmlns:a16="http://schemas.microsoft.com/office/drawing/2014/main" val="4272107409"/>
                    </a:ext>
                  </a:extLst>
                </a:gridCol>
                <a:gridCol w="849539">
                  <a:extLst>
                    <a:ext uri="{9D8B030D-6E8A-4147-A177-3AD203B41FA5}">
                      <a16:colId xmlns:a16="http://schemas.microsoft.com/office/drawing/2014/main" val="2566185441"/>
                    </a:ext>
                  </a:extLst>
                </a:gridCol>
                <a:gridCol w="849539">
                  <a:extLst>
                    <a:ext uri="{9D8B030D-6E8A-4147-A177-3AD203B41FA5}">
                      <a16:colId xmlns:a16="http://schemas.microsoft.com/office/drawing/2014/main" val="1281342476"/>
                    </a:ext>
                  </a:extLst>
                </a:gridCol>
                <a:gridCol w="849539">
                  <a:extLst>
                    <a:ext uri="{9D8B030D-6E8A-4147-A177-3AD203B41FA5}">
                      <a16:colId xmlns:a16="http://schemas.microsoft.com/office/drawing/2014/main" val="1087947176"/>
                    </a:ext>
                  </a:extLst>
                </a:gridCol>
                <a:gridCol w="849539">
                  <a:extLst>
                    <a:ext uri="{9D8B030D-6E8A-4147-A177-3AD203B41FA5}">
                      <a16:colId xmlns:a16="http://schemas.microsoft.com/office/drawing/2014/main" val="2162992762"/>
                    </a:ext>
                  </a:extLst>
                </a:gridCol>
                <a:gridCol w="849539">
                  <a:extLst>
                    <a:ext uri="{9D8B030D-6E8A-4147-A177-3AD203B41FA5}">
                      <a16:colId xmlns:a16="http://schemas.microsoft.com/office/drawing/2014/main" val="2640722710"/>
                    </a:ext>
                  </a:extLst>
                </a:gridCol>
                <a:gridCol w="849539">
                  <a:extLst>
                    <a:ext uri="{9D8B030D-6E8A-4147-A177-3AD203B41FA5}">
                      <a16:colId xmlns:a16="http://schemas.microsoft.com/office/drawing/2014/main" val="1520045000"/>
                    </a:ext>
                  </a:extLst>
                </a:gridCol>
              </a:tblGrid>
              <a:tr h="500039">
                <a:tc>
                  <a:txBody>
                    <a:bodyPr/>
                    <a:lstStyle/>
                    <a:p>
                      <a:pPr marL="0" indent="0" algn="l" fontAlgn="base">
                        <a:lnSpc>
                          <a:spcPct val="100000"/>
                        </a:lnSpc>
                        <a:spcBef>
                          <a:spcPts val="600"/>
                        </a:spcBef>
                        <a:spcAft>
                          <a:spcPts val="600"/>
                        </a:spcAft>
                        <a:buFont typeface="+mj-lt"/>
                        <a:buNone/>
                      </a:pPr>
                      <a:endParaRPr lang="en-US" sz="1100" b="0" i="0" dirty="0">
                        <a:solidFill>
                          <a:srgbClr val="000000"/>
                        </a:solidFill>
                        <a:effectLst/>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100" b="1" i="0" dirty="0">
                          <a:solidFill>
                            <a:schemeClr val="tx2"/>
                          </a:solidFill>
                          <a:effectLst/>
                          <a:latin typeface="+mn-lt"/>
                        </a:rPr>
                        <a:t>STRATEGY &amp; CONCEPT</a:t>
                      </a:r>
                    </a:p>
                  </a:txBody>
                  <a:tcPr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endParaRPr lang="en-US" sz="1000" b="0" i="1" dirty="0">
                        <a:solidFill>
                          <a:schemeClr val="tx2"/>
                        </a:solidFill>
                        <a:effectLst/>
                        <a:latin typeface="+mn-lt"/>
                      </a:endParaRPr>
                    </a:p>
                  </a:txBody>
                  <a:tcPr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8">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100" b="1" i="0" dirty="0">
                          <a:solidFill>
                            <a:schemeClr val="tx2"/>
                          </a:solidFill>
                          <a:effectLst/>
                          <a:latin typeface="+mn-lt"/>
                        </a:rPr>
                        <a:t>PRODUC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endParaRPr lang="en-US"/>
                    </a:p>
                  </a:txBody>
                  <a:tcPr/>
                </a:tc>
                <a:tc hMerge="1">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endParaRPr lang="en-US" sz="1100" b="0" i="0" dirty="0">
                        <a:solidFill>
                          <a:schemeClr val="tx2"/>
                        </a:solidFill>
                        <a:effectLst/>
                        <a:latin typeface="+mn-lt"/>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endParaRPr lang="en-US"/>
                    </a:p>
                  </a:txBody>
                  <a:tcPr/>
                </a:tc>
                <a:tc hMerge="1">
                  <a:txBody>
                    <a:bodyPr/>
                    <a:lstStyle/>
                    <a:p>
                      <a:endParaRPr lang="en-US"/>
                    </a:p>
                  </a:txBody>
                  <a:tcPr/>
                </a:tc>
                <a:tc hMerge="1">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endParaRPr lang="en-US" sz="1000" b="0" i="1" dirty="0">
                        <a:solidFill>
                          <a:schemeClr val="tx2"/>
                        </a:solidFill>
                        <a:effectLst/>
                        <a:latin typeface="+mn-lt"/>
                      </a:endParaRPr>
                    </a:p>
                  </a:txBody>
                  <a:tcPr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endParaRPr lang="en-US" sz="1000" b="0" i="1" dirty="0">
                        <a:solidFill>
                          <a:schemeClr val="tx2"/>
                        </a:solidFill>
                        <a:effectLst/>
                        <a:latin typeface="+mn-lt"/>
                      </a:endParaRPr>
                    </a:p>
                  </a:txBody>
                  <a:tcPr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endParaRPr lang="en-US" sz="1000" b="0" i="1" dirty="0">
                        <a:solidFill>
                          <a:schemeClr val="tx2"/>
                        </a:solidFill>
                        <a:effectLst/>
                        <a:latin typeface="+mn-lt"/>
                      </a:endParaRPr>
                    </a:p>
                  </a:txBody>
                  <a:tcPr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100" b="1" i="0" dirty="0">
                          <a:solidFill>
                            <a:schemeClr val="tx2"/>
                          </a:solidFill>
                          <a:effectLst/>
                          <a:latin typeface="+mn-lt"/>
                        </a:rPr>
                        <a:t>EXECUTION</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endParaRPr lang="en-US" sz="1000" b="0" i="1" dirty="0">
                        <a:solidFill>
                          <a:schemeClr val="tx2"/>
                        </a:solidFill>
                        <a:effectLst/>
                        <a:latin typeface="+mn-lt"/>
                      </a:endParaRPr>
                    </a:p>
                  </a:txBody>
                  <a:tcPr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1378402019"/>
                  </a:ext>
                </a:extLst>
              </a:tr>
              <a:tr h="352969">
                <a:tc>
                  <a:txBody>
                    <a:bodyPr/>
                    <a:lstStyle/>
                    <a:p>
                      <a:pPr marL="0" indent="0" algn="l" fontAlgn="base">
                        <a:lnSpc>
                          <a:spcPct val="100000"/>
                        </a:lnSpc>
                        <a:spcBef>
                          <a:spcPts val="600"/>
                        </a:spcBef>
                        <a:spcAft>
                          <a:spcPts val="600"/>
                        </a:spcAft>
                        <a:buFont typeface="+mj-lt"/>
                        <a:buNone/>
                      </a:pPr>
                      <a:endParaRPr lang="en-US" sz="1100" b="0" i="0" dirty="0">
                        <a:solidFill>
                          <a:srgbClr val="000000"/>
                        </a:solidFill>
                        <a:effectLst/>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00" b="0" i="1" dirty="0">
                          <a:solidFill>
                            <a:schemeClr val="tx2"/>
                          </a:solidFill>
                          <a:effectLst/>
                          <a:latin typeface="+mn-lt"/>
                        </a:rPr>
                        <a:t>Template Based Design &amp; HTML Build</a:t>
                      </a:r>
                    </a:p>
                  </a:txBody>
                  <a:tcPr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rowSpan="2">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00" b="0" i="1" dirty="0">
                          <a:solidFill>
                            <a:schemeClr val="tx2"/>
                          </a:solidFill>
                          <a:effectLst/>
                          <a:latin typeface="+mn-lt"/>
                        </a:rPr>
                        <a:t>Vet Item Feed</a:t>
                      </a:r>
                    </a:p>
                  </a:txBody>
                  <a:tcPr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100" b="0" i="0" dirty="0">
                          <a:solidFill>
                            <a:schemeClr val="tx2"/>
                          </a:solidFill>
                          <a:effectLst/>
                          <a:latin typeface="+mn-lt"/>
                        </a:rPr>
                        <a:t>Stylized Photography</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endParaRPr lang="en-US" sz="1100" b="0" i="1" dirty="0">
                        <a:solidFill>
                          <a:schemeClr val="tx2"/>
                        </a:solidFill>
                        <a:effectLst/>
                        <a:latin typeface="+mn-lt"/>
                      </a:endParaRPr>
                    </a:p>
                  </a:txBody>
                  <a:tcPr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3">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100" b="0" i="0" dirty="0">
                          <a:solidFill>
                            <a:schemeClr val="tx2"/>
                          </a:solidFill>
                          <a:effectLst/>
                          <a:latin typeface="+mn-lt"/>
                        </a:rPr>
                        <a:t>Figure / Product Silo Photography</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endParaRPr lang="en-US"/>
                    </a:p>
                  </a:txBody>
                  <a:tcPr/>
                </a:tc>
                <a:tc hMerge="1">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endParaRPr lang="en-US" sz="1100" b="0" i="1" dirty="0">
                        <a:solidFill>
                          <a:schemeClr val="tx2"/>
                        </a:solidFill>
                        <a:effectLst/>
                        <a:latin typeface="+mn-lt"/>
                      </a:endParaRPr>
                    </a:p>
                  </a:txBody>
                  <a:tcPr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rowSpan="2">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00" b="0" i="1" dirty="0">
                          <a:solidFill>
                            <a:schemeClr val="tx2"/>
                          </a:solidFill>
                          <a:effectLst/>
                          <a:latin typeface="+mn-lt"/>
                        </a:rPr>
                        <a:t>Photo Retouch</a:t>
                      </a:r>
                    </a:p>
                  </a:txBody>
                  <a:tcPr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rowSpan="2">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00" b="0" i="1" dirty="0">
                          <a:solidFill>
                            <a:schemeClr val="tx2"/>
                          </a:solidFill>
                          <a:effectLst/>
                          <a:latin typeface="+mn-lt"/>
                        </a:rPr>
                        <a:t>Versioning</a:t>
                      </a:r>
                    </a:p>
                  </a:txBody>
                  <a:tcPr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rowSpan="2">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00" b="0" i="1" dirty="0">
                          <a:solidFill>
                            <a:schemeClr val="tx2"/>
                          </a:solidFill>
                          <a:effectLst/>
                          <a:latin typeface="+mn-lt"/>
                        </a:rPr>
                        <a:t>Small Scale Mktg Packages</a:t>
                      </a:r>
                    </a:p>
                  </a:txBody>
                  <a:tcPr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rowSpan="2">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00" b="0" i="1" dirty="0">
                          <a:solidFill>
                            <a:schemeClr val="tx2"/>
                          </a:solidFill>
                          <a:effectLst/>
                          <a:latin typeface="+mn-lt"/>
                        </a:rPr>
                        <a:t>Email </a:t>
                      </a:r>
                      <a:r>
                        <a:rPr lang="en-US" sz="1000" b="0" i="1" dirty="0" err="1">
                          <a:solidFill>
                            <a:schemeClr val="tx2"/>
                          </a:solidFill>
                          <a:effectLst/>
                          <a:latin typeface="+mn-lt"/>
                        </a:rPr>
                        <a:t>Segmentat</a:t>
                      </a:r>
                      <a:r>
                        <a:rPr lang="en-US" sz="1000" b="0" i="1" dirty="0">
                          <a:solidFill>
                            <a:schemeClr val="tx2"/>
                          </a:solidFill>
                          <a:effectLst/>
                          <a:latin typeface="+mn-lt"/>
                        </a:rPr>
                        <a:t>-ion &amp; Testing</a:t>
                      </a:r>
                    </a:p>
                  </a:txBody>
                  <a:tcPr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rowSpan="2">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00" b="0" i="1" dirty="0">
                          <a:solidFill>
                            <a:schemeClr val="tx2"/>
                          </a:solidFill>
                          <a:effectLst/>
                          <a:latin typeface="+mn-lt"/>
                        </a:rPr>
                        <a:t>Design Ads &amp; Create Files</a:t>
                      </a:r>
                    </a:p>
                  </a:txBody>
                  <a:tcPr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3920099605"/>
                  </a:ext>
                </a:extLst>
              </a:tr>
              <a:tr h="794180">
                <a:tc>
                  <a:txBody>
                    <a:bodyPr/>
                    <a:lstStyle/>
                    <a:p>
                      <a:pPr marL="0" indent="0" algn="l" fontAlgn="base">
                        <a:lnSpc>
                          <a:spcPct val="100000"/>
                        </a:lnSpc>
                        <a:spcBef>
                          <a:spcPts val="600"/>
                        </a:spcBef>
                        <a:spcAft>
                          <a:spcPts val="600"/>
                        </a:spcAft>
                        <a:buFont typeface="+mj-lt"/>
                        <a:buNone/>
                      </a:pPr>
                      <a:endParaRPr lang="en-US" sz="1100" b="0" i="0" dirty="0">
                        <a:solidFill>
                          <a:srgbClr val="000000"/>
                        </a:solidFill>
                        <a:effectLst/>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a:lnL w="12700" cmpd="sng">
                      <a:noFill/>
                      <a:prstDash val="solid"/>
                    </a:lnL>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L w="12700" cmpd="sng">
                      <a:noFill/>
                      <a:prstDash val="solid"/>
                    </a:lnL>
                    <a:lnT w="12700" cap="flat" cmpd="sng" algn="ctr">
                      <a:solidFill>
                        <a:schemeClr val="bg1">
                          <a:lumMod val="85000"/>
                        </a:schemeClr>
                      </a:solidFill>
                      <a:prstDash val="solid"/>
                      <a:round/>
                      <a:headEnd type="none" w="med" len="med"/>
                      <a:tailEnd type="none" w="med" len="med"/>
                    </a:lnT>
                  </a:tcPr>
                </a:tc>
                <a:tc>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00" b="0" i="1" dirty="0">
                          <a:solidFill>
                            <a:schemeClr val="tx2"/>
                          </a:solidFill>
                          <a:effectLst/>
                          <a:latin typeface="+mn-lt"/>
                        </a:rPr>
                        <a:t>Apparel</a:t>
                      </a:r>
                    </a:p>
                  </a:txBody>
                  <a:tcPr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00" b="0" i="1" dirty="0">
                          <a:solidFill>
                            <a:schemeClr val="tx2"/>
                          </a:solidFill>
                          <a:effectLst/>
                          <a:latin typeface="+mn-lt"/>
                        </a:rPr>
                        <a:t>Home &amp; Hardlines</a:t>
                      </a:r>
                    </a:p>
                  </a:txBody>
                  <a:tcPr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00" b="0" i="1" dirty="0">
                          <a:solidFill>
                            <a:schemeClr val="tx2"/>
                          </a:solidFill>
                          <a:effectLst/>
                          <a:latin typeface="+mn-lt"/>
                        </a:rPr>
                        <a:t>Apparel</a:t>
                      </a:r>
                    </a:p>
                  </a:txBody>
                  <a:tcPr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00" b="0" i="1" dirty="0">
                          <a:solidFill>
                            <a:schemeClr val="tx2"/>
                          </a:solidFill>
                          <a:effectLst/>
                          <a:latin typeface="+mn-lt"/>
                        </a:rPr>
                        <a:t>Home &amp; Hardlines</a:t>
                      </a:r>
                    </a:p>
                  </a:txBody>
                  <a:tcPr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00" b="0" i="1" dirty="0">
                          <a:solidFill>
                            <a:schemeClr val="tx2"/>
                          </a:solidFill>
                          <a:effectLst/>
                          <a:latin typeface="+mn-lt"/>
                        </a:rPr>
                        <a:t>Dry Grocery &amp; Consum-ables</a:t>
                      </a:r>
                    </a:p>
                  </a:txBody>
                  <a:tcPr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vMerge="1">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endParaRPr lang="en-US" sz="1100" b="0" i="1" dirty="0">
                        <a:solidFill>
                          <a:schemeClr val="tx2"/>
                        </a:solidFill>
                        <a:effectLst/>
                        <a:latin typeface="+mn-lt"/>
                      </a:endParaRPr>
                    </a:p>
                  </a:txBody>
                  <a:tcPr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vMerge="1">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endParaRPr lang="en-US" sz="1100" b="0" i="1" dirty="0">
                        <a:solidFill>
                          <a:schemeClr val="tx2"/>
                        </a:solidFill>
                        <a:effectLst/>
                        <a:latin typeface="+mn-lt"/>
                      </a:endParaRPr>
                    </a:p>
                  </a:txBody>
                  <a:tcPr marT="9144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vMerge="1">
                  <a:txBody>
                    <a:bodyPr/>
                    <a:lstStyle/>
                    <a:p>
                      <a:endParaRPr lang="en-US"/>
                    </a:p>
                  </a:txBody>
                  <a:tcPr>
                    <a:lnL w="12700" cmpd="sng">
                      <a:noFill/>
                      <a:prstDash val="solid"/>
                    </a:lnL>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endParaRPr lang="en-US" sz="1100" b="0" i="1" dirty="0">
                        <a:solidFill>
                          <a:schemeClr val="tx2"/>
                        </a:solidFill>
                        <a:effectLst/>
                        <a:latin typeface="+mn-lt"/>
                      </a:endParaRPr>
                    </a:p>
                  </a:txBody>
                  <a:tcPr marT="91440" marB="91440" anchor="b">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388492530"/>
                  </a:ext>
                </a:extLst>
              </a:tr>
              <a:tr h="608871">
                <a:tc>
                  <a:txBody>
                    <a:bodyPr/>
                    <a:lstStyle/>
                    <a:p>
                      <a:pPr marL="0" indent="0" algn="l" fontAlgn="base">
                        <a:lnSpc>
                          <a:spcPct val="100000"/>
                        </a:lnSpc>
                        <a:spcBef>
                          <a:spcPts val="600"/>
                        </a:spcBef>
                        <a:spcAft>
                          <a:spcPts val="600"/>
                        </a:spcAft>
                        <a:buFont typeface="+mj-lt"/>
                        <a:buNone/>
                      </a:pPr>
                      <a:r>
                        <a:rPr lang="en-US" sz="1200" b="1" i="0" dirty="0">
                          <a:solidFill>
                            <a:srgbClr val="000000"/>
                          </a:solidFill>
                          <a:effectLst/>
                          <a:latin typeface="+mn-lt"/>
                        </a:rPr>
                        <a:t>Magazine</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96300074"/>
                  </a:ext>
                </a:extLst>
              </a:tr>
              <a:tr h="608871">
                <a:tc>
                  <a:txBody>
                    <a:bodyPr/>
                    <a:lstStyle/>
                    <a:p>
                      <a:pPr marL="0" indent="0" algn="l" fontAlgn="base">
                        <a:lnSpc>
                          <a:spcPct val="100000"/>
                        </a:lnSpc>
                        <a:spcBef>
                          <a:spcPts val="600"/>
                        </a:spcBef>
                        <a:spcAft>
                          <a:spcPts val="600"/>
                        </a:spcAft>
                        <a:buFont typeface="+mj-lt"/>
                        <a:buNone/>
                      </a:pPr>
                      <a:r>
                        <a:rPr lang="en-US" sz="1200" b="1" i="0" dirty="0">
                          <a:solidFill>
                            <a:srgbClr val="000000"/>
                          </a:solidFill>
                          <a:effectLst/>
                          <a:latin typeface="+mn-lt"/>
                        </a:rPr>
                        <a:t>In-Store</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46174980"/>
                  </a:ext>
                </a:extLst>
              </a:tr>
              <a:tr h="608871">
                <a:tc>
                  <a:txBody>
                    <a:bodyPr/>
                    <a:lstStyle/>
                    <a:p>
                      <a:pPr marL="0" indent="0" algn="l" fontAlgn="base">
                        <a:lnSpc>
                          <a:spcPct val="100000"/>
                        </a:lnSpc>
                        <a:spcBef>
                          <a:spcPts val="600"/>
                        </a:spcBef>
                        <a:spcAft>
                          <a:spcPts val="600"/>
                        </a:spcAft>
                        <a:buFont typeface="+mj-lt"/>
                        <a:buNone/>
                      </a:pPr>
                      <a:r>
                        <a:rPr lang="en-US" sz="1200" b="1" i="0" dirty="0">
                          <a:solidFill>
                            <a:srgbClr val="000000"/>
                          </a:solidFill>
                          <a:effectLst/>
                          <a:latin typeface="+mn-lt"/>
                        </a:rPr>
                        <a:t>Email</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59964657"/>
                  </a:ext>
                </a:extLst>
              </a:tr>
              <a:tr h="608871">
                <a:tc>
                  <a:txBody>
                    <a:bodyPr/>
                    <a:lstStyle/>
                    <a:p>
                      <a:pPr marL="0" indent="0" algn="l" fontAlgn="base">
                        <a:lnSpc>
                          <a:spcPct val="100000"/>
                        </a:lnSpc>
                        <a:spcBef>
                          <a:spcPts val="600"/>
                        </a:spcBef>
                        <a:spcAft>
                          <a:spcPts val="600"/>
                        </a:spcAft>
                        <a:buFont typeface="+mj-lt"/>
                        <a:buNone/>
                      </a:pPr>
                      <a:r>
                        <a:rPr lang="en-US" sz="1200" b="1" i="0" dirty="0">
                          <a:solidFill>
                            <a:srgbClr val="000000"/>
                          </a:solidFill>
                          <a:effectLst/>
                          <a:latin typeface="+mn-lt"/>
                        </a:rPr>
                        <a:t>Dotcom</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8651154"/>
                  </a:ext>
                </a:extLst>
              </a:tr>
              <a:tr h="608871">
                <a:tc>
                  <a:txBody>
                    <a:bodyPr/>
                    <a:lstStyle/>
                    <a:p>
                      <a:pPr marL="0" indent="0" algn="l" fontAlgn="base">
                        <a:lnSpc>
                          <a:spcPct val="100000"/>
                        </a:lnSpc>
                        <a:spcBef>
                          <a:spcPts val="600"/>
                        </a:spcBef>
                        <a:spcAft>
                          <a:spcPts val="600"/>
                        </a:spcAft>
                        <a:buFont typeface="+mj-lt"/>
                        <a:buNone/>
                      </a:pPr>
                      <a:r>
                        <a:rPr lang="en-US" sz="1200" b="1" i="0" dirty="0">
                          <a:solidFill>
                            <a:srgbClr val="000000"/>
                          </a:solidFill>
                          <a:effectLst/>
                          <a:latin typeface="+mn-lt"/>
                        </a:rPr>
                        <a:t>Paid Social</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base" latinLnBrk="0" hangingPunct="1">
                        <a:lnSpc>
                          <a:spcPct val="100000"/>
                        </a:lnSpc>
                        <a:spcBef>
                          <a:spcPts val="600"/>
                        </a:spcBef>
                        <a:spcAft>
                          <a:spcPts val="600"/>
                        </a:spcAft>
                        <a:buClrTx/>
                        <a:buSzTx/>
                        <a:buFont typeface="+mj-lt"/>
                        <a:buAutoNum type="arabicPeriod" startAt="11"/>
                        <a:tabLst/>
                        <a:defRPr/>
                      </a:pPr>
                      <a:endParaRPr lang="en-US" sz="1100" b="0" i="0" dirty="0">
                        <a:solidFill>
                          <a:schemeClr val="tx2"/>
                        </a:solidFill>
                        <a:effectLst/>
                        <a:latin typeface="+mn-lt"/>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12369161"/>
                  </a:ext>
                </a:extLst>
              </a:tr>
            </a:tbl>
          </a:graphicData>
        </a:graphic>
      </p:graphicFrame>
      <p:grpSp>
        <p:nvGrpSpPr>
          <p:cNvPr id="68" name="Group 67">
            <a:extLst>
              <a:ext uri="{FF2B5EF4-FFF2-40B4-BE49-F238E27FC236}">
                <a16:creationId xmlns:a16="http://schemas.microsoft.com/office/drawing/2014/main" id="{E2DEE26D-EC7D-4A44-AA33-099D908FBE80}"/>
              </a:ext>
            </a:extLst>
          </p:cNvPr>
          <p:cNvGrpSpPr/>
          <p:nvPr/>
        </p:nvGrpSpPr>
        <p:grpSpPr>
          <a:xfrm>
            <a:off x="3203760" y="3257483"/>
            <a:ext cx="698987" cy="2436662"/>
            <a:chOff x="3783860" y="3129347"/>
            <a:chExt cx="698987" cy="2560956"/>
          </a:xfrm>
        </p:grpSpPr>
        <p:pic>
          <p:nvPicPr>
            <p:cNvPr id="69" name="Graphic 23" descr="Checkmark">
              <a:extLst>
                <a:ext uri="{FF2B5EF4-FFF2-40B4-BE49-F238E27FC236}">
                  <a16:creationId xmlns:a16="http://schemas.microsoft.com/office/drawing/2014/main" id="{E86B7F04-AE86-40D4-A65F-FD35803A1272}"/>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035631" y="3421691"/>
              <a:ext cx="274320" cy="285248"/>
            </a:xfrm>
            <a:prstGeom prst="rect">
              <a:avLst/>
            </a:prstGeom>
          </p:spPr>
        </p:pic>
        <p:pic>
          <p:nvPicPr>
            <p:cNvPr id="70" name="Graphic 30" descr="Checkmark">
              <a:extLst>
                <a:ext uri="{FF2B5EF4-FFF2-40B4-BE49-F238E27FC236}">
                  <a16:creationId xmlns:a16="http://schemas.microsoft.com/office/drawing/2014/main" id="{8AE5B2F0-7D1C-4D4C-979F-4DE8CA605471}"/>
                </a:ext>
              </a:extLst>
            </p:cNvPr>
            <p:cNvPicPr>
              <a:picLocks noChangeAspect="1"/>
            </p:cNvPicPr>
            <p:nvPr/>
          </p:nvPicPr>
          <p:blipFill>
            <a:blip r:embed="rId10" cstate="hq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035631" y="5247682"/>
              <a:ext cx="274320" cy="285248"/>
            </a:xfrm>
            <a:prstGeom prst="rect">
              <a:avLst/>
            </a:prstGeom>
          </p:spPr>
        </p:pic>
        <p:pic>
          <p:nvPicPr>
            <p:cNvPr id="71" name="Graphic 25" descr="Checkmark">
              <a:extLst>
                <a:ext uri="{FF2B5EF4-FFF2-40B4-BE49-F238E27FC236}">
                  <a16:creationId xmlns:a16="http://schemas.microsoft.com/office/drawing/2014/main" id="{2FA4C34A-6564-4025-9EEA-5E49FA986CEA}"/>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035631" y="4051215"/>
              <a:ext cx="274320" cy="285248"/>
            </a:xfrm>
            <a:prstGeom prst="rect">
              <a:avLst/>
            </a:prstGeom>
          </p:spPr>
        </p:pic>
        <p:pic>
          <p:nvPicPr>
            <p:cNvPr id="72" name="Graphic 37" descr="Checkmark">
              <a:extLst>
                <a:ext uri="{FF2B5EF4-FFF2-40B4-BE49-F238E27FC236}">
                  <a16:creationId xmlns:a16="http://schemas.microsoft.com/office/drawing/2014/main" id="{265FE7D8-4235-4A21-917B-E342F7264B0A}"/>
                </a:ext>
              </a:extLst>
            </p:cNvPr>
            <p:cNvPicPr>
              <a:picLocks noChangeAspect="1"/>
            </p:cNvPicPr>
            <p:nvPr/>
          </p:nvPicPr>
          <p:blipFill>
            <a:blip r:embed="rId10" cstate="hq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035631" y="4632749"/>
              <a:ext cx="274320" cy="285248"/>
            </a:xfrm>
            <a:prstGeom prst="rect">
              <a:avLst/>
            </a:prstGeom>
          </p:spPr>
        </p:pic>
        <p:sp>
          <p:nvSpPr>
            <p:cNvPr id="73" name="Rectangle 72">
              <a:extLst>
                <a:ext uri="{FF2B5EF4-FFF2-40B4-BE49-F238E27FC236}">
                  <a16:creationId xmlns:a16="http://schemas.microsoft.com/office/drawing/2014/main" id="{47756EE1-BEEF-4130-8910-3D50D3476455}"/>
                </a:ext>
              </a:extLst>
            </p:cNvPr>
            <p:cNvSpPr/>
            <p:nvPr/>
          </p:nvSpPr>
          <p:spPr>
            <a:xfrm>
              <a:off x="3862736" y="3260724"/>
              <a:ext cx="620111" cy="2429579"/>
            </a:xfrm>
            <a:prstGeom prst="rect">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a:extLst>
                <a:ext uri="{FF2B5EF4-FFF2-40B4-BE49-F238E27FC236}">
                  <a16:creationId xmlns:a16="http://schemas.microsoft.com/office/drawing/2014/main" id="{4EBC95EA-3C9B-45C3-A6B1-AE6EBFF4396C}"/>
                </a:ext>
              </a:extLst>
            </p:cNvPr>
            <p:cNvSpPr/>
            <p:nvPr/>
          </p:nvSpPr>
          <p:spPr>
            <a:xfrm>
              <a:off x="3783860" y="3129347"/>
              <a:ext cx="274320" cy="28524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00" b="1" dirty="0">
                <a:solidFill>
                  <a:schemeClr val="tx1"/>
                </a:solidFill>
              </a:endParaRPr>
            </a:p>
          </p:txBody>
        </p:sp>
      </p:grpSp>
      <p:grpSp>
        <p:nvGrpSpPr>
          <p:cNvPr id="75" name="Group 74">
            <a:extLst>
              <a:ext uri="{FF2B5EF4-FFF2-40B4-BE49-F238E27FC236}">
                <a16:creationId xmlns:a16="http://schemas.microsoft.com/office/drawing/2014/main" id="{3EC44212-F164-40D9-9163-AFA2B5210590}"/>
              </a:ext>
            </a:extLst>
          </p:cNvPr>
          <p:cNvGrpSpPr/>
          <p:nvPr/>
        </p:nvGrpSpPr>
        <p:grpSpPr>
          <a:xfrm>
            <a:off x="4042512" y="3257483"/>
            <a:ext cx="700556" cy="2436662"/>
            <a:chOff x="4569519" y="3129347"/>
            <a:chExt cx="700556" cy="2560956"/>
          </a:xfrm>
        </p:grpSpPr>
        <p:pic>
          <p:nvPicPr>
            <p:cNvPr id="76" name="Graphic 24" descr="Checkmark">
              <a:extLst>
                <a:ext uri="{FF2B5EF4-FFF2-40B4-BE49-F238E27FC236}">
                  <a16:creationId xmlns:a16="http://schemas.microsoft.com/office/drawing/2014/main" id="{A04CF9EF-4347-4D13-A4F8-6C6AE1959E9B}"/>
                </a:ext>
              </a:extLst>
            </p:cNvPr>
            <p:cNvPicPr>
              <a:picLocks noChangeAspect="1"/>
            </p:cNvPicPr>
            <p:nvPr/>
          </p:nvPicPr>
          <p:blipFill>
            <a:blip r:embed="rId12"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822859" y="3427155"/>
              <a:ext cx="274320" cy="274320"/>
            </a:xfrm>
            <a:prstGeom prst="rect">
              <a:avLst/>
            </a:prstGeom>
          </p:spPr>
        </p:pic>
        <p:pic>
          <p:nvPicPr>
            <p:cNvPr id="77" name="Graphic 29" descr="Checkmark">
              <a:extLst>
                <a:ext uri="{FF2B5EF4-FFF2-40B4-BE49-F238E27FC236}">
                  <a16:creationId xmlns:a16="http://schemas.microsoft.com/office/drawing/2014/main" id="{9005ACEB-B2B1-4EE0-AA43-D31E6BCEA3B8}"/>
                </a:ext>
              </a:extLst>
            </p:cNvPr>
            <p:cNvPicPr>
              <a:picLocks noChangeAspect="1"/>
            </p:cNvPicPr>
            <p:nvPr/>
          </p:nvPicPr>
          <p:blipFill>
            <a:blip r:embed="rId13" cstate="hq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822859" y="5253146"/>
              <a:ext cx="274320" cy="274320"/>
            </a:xfrm>
            <a:prstGeom prst="rect">
              <a:avLst/>
            </a:prstGeom>
          </p:spPr>
        </p:pic>
        <p:pic>
          <p:nvPicPr>
            <p:cNvPr id="78" name="Graphic 26" descr="Checkmark">
              <a:extLst>
                <a:ext uri="{FF2B5EF4-FFF2-40B4-BE49-F238E27FC236}">
                  <a16:creationId xmlns:a16="http://schemas.microsoft.com/office/drawing/2014/main" id="{C6973778-14F9-496B-A3D2-87D705B86FBA}"/>
                </a:ext>
              </a:extLst>
            </p:cNvPr>
            <p:cNvPicPr>
              <a:picLocks noChangeAspect="1"/>
            </p:cNvPicPr>
            <p:nvPr/>
          </p:nvPicPr>
          <p:blipFill>
            <a:blip r:embed="rId12"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822859" y="4056679"/>
              <a:ext cx="274320" cy="274320"/>
            </a:xfrm>
            <a:prstGeom prst="rect">
              <a:avLst/>
            </a:prstGeom>
          </p:spPr>
        </p:pic>
        <p:pic>
          <p:nvPicPr>
            <p:cNvPr id="79" name="Graphic 35" descr="Checkmark">
              <a:extLst>
                <a:ext uri="{FF2B5EF4-FFF2-40B4-BE49-F238E27FC236}">
                  <a16:creationId xmlns:a16="http://schemas.microsoft.com/office/drawing/2014/main" id="{ECABB063-297F-42DE-AD7E-A5A8945A19B5}"/>
                </a:ext>
              </a:extLst>
            </p:cNvPr>
            <p:cNvPicPr>
              <a:picLocks noChangeAspect="1"/>
            </p:cNvPicPr>
            <p:nvPr/>
          </p:nvPicPr>
          <p:blipFill>
            <a:blip r:embed="rId13" cstate="hq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822859" y="4638213"/>
              <a:ext cx="274320" cy="274320"/>
            </a:xfrm>
            <a:prstGeom prst="rect">
              <a:avLst/>
            </a:prstGeom>
          </p:spPr>
        </p:pic>
        <p:sp>
          <p:nvSpPr>
            <p:cNvPr id="80" name="Rectangle 79">
              <a:extLst>
                <a:ext uri="{FF2B5EF4-FFF2-40B4-BE49-F238E27FC236}">
                  <a16:creationId xmlns:a16="http://schemas.microsoft.com/office/drawing/2014/main" id="{80216418-BA56-4BDA-9486-1FDD4622DB0C}"/>
                </a:ext>
              </a:extLst>
            </p:cNvPr>
            <p:cNvSpPr/>
            <p:nvPr/>
          </p:nvSpPr>
          <p:spPr>
            <a:xfrm>
              <a:off x="4649964" y="3255691"/>
              <a:ext cx="620111" cy="2434612"/>
            </a:xfrm>
            <a:prstGeom prst="rect">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Oval 80">
              <a:extLst>
                <a:ext uri="{FF2B5EF4-FFF2-40B4-BE49-F238E27FC236}">
                  <a16:creationId xmlns:a16="http://schemas.microsoft.com/office/drawing/2014/main" id="{655994DE-0889-4496-9E82-1CF436FC6048}"/>
                </a:ext>
              </a:extLst>
            </p:cNvPr>
            <p:cNvSpPr/>
            <p:nvPr/>
          </p:nvSpPr>
          <p:spPr>
            <a:xfrm>
              <a:off x="4569519" y="3129347"/>
              <a:ext cx="274320" cy="2743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00" b="1" dirty="0">
                <a:solidFill>
                  <a:schemeClr val="tx1"/>
                </a:solidFill>
              </a:endParaRPr>
            </a:p>
          </p:txBody>
        </p:sp>
      </p:grpSp>
      <p:grpSp>
        <p:nvGrpSpPr>
          <p:cNvPr id="82" name="Group 81">
            <a:extLst>
              <a:ext uri="{FF2B5EF4-FFF2-40B4-BE49-F238E27FC236}">
                <a16:creationId xmlns:a16="http://schemas.microsoft.com/office/drawing/2014/main" id="{DC974EEC-21F3-4C41-B055-AD0E3F41D883}"/>
              </a:ext>
            </a:extLst>
          </p:cNvPr>
          <p:cNvGrpSpPr/>
          <p:nvPr/>
        </p:nvGrpSpPr>
        <p:grpSpPr>
          <a:xfrm>
            <a:off x="4882833" y="3257483"/>
            <a:ext cx="702125" cy="2436662"/>
            <a:chOff x="5356747" y="3129347"/>
            <a:chExt cx="702125" cy="2560956"/>
          </a:xfrm>
        </p:grpSpPr>
        <p:pic>
          <p:nvPicPr>
            <p:cNvPr id="83" name="Graphic 18" descr="Checkmark">
              <a:extLst>
                <a:ext uri="{FF2B5EF4-FFF2-40B4-BE49-F238E27FC236}">
                  <a16:creationId xmlns:a16="http://schemas.microsoft.com/office/drawing/2014/main" id="{5853276C-DF41-48F1-932D-F1B678CC0F1A}"/>
                </a:ext>
              </a:extLst>
            </p:cNvPr>
            <p:cNvPicPr>
              <a:picLocks noChangeAspect="1"/>
            </p:cNvPicPr>
            <p:nvPr/>
          </p:nvPicPr>
          <p:blipFill>
            <a:blip r:embed="rId12"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11656" y="3427155"/>
              <a:ext cx="274320" cy="274320"/>
            </a:xfrm>
            <a:prstGeom prst="rect">
              <a:avLst/>
            </a:prstGeom>
          </p:spPr>
        </p:pic>
        <p:pic>
          <p:nvPicPr>
            <p:cNvPr id="84" name="Graphic 31" descr="Checkmark">
              <a:extLst>
                <a:ext uri="{FF2B5EF4-FFF2-40B4-BE49-F238E27FC236}">
                  <a16:creationId xmlns:a16="http://schemas.microsoft.com/office/drawing/2014/main" id="{36B867B1-1874-4A51-B60D-F3741913287B}"/>
                </a:ext>
              </a:extLst>
            </p:cNvPr>
            <p:cNvPicPr>
              <a:picLocks noChangeAspect="1"/>
            </p:cNvPicPr>
            <p:nvPr/>
          </p:nvPicPr>
          <p:blipFill>
            <a:blip r:embed="rId13" cstate="hq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611656" y="5253146"/>
              <a:ext cx="274320" cy="274320"/>
            </a:xfrm>
            <a:prstGeom prst="rect">
              <a:avLst/>
            </a:prstGeom>
          </p:spPr>
        </p:pic>
        <p:pic>
          <p:nvPicPr>
            <p:cNvPr id="85" name="Graphic 47" descr="Checkmark">
              <a:extLst>
                <a:ext uri="{FF2B5EF4-FFF2-40B4-BE49-F238E27FC236}">
                  <a16:creationId xmlns:a16="http://schemas.microsoft.com/office/drawing/2014/main" id="{DA351373-8877-444F-B03A-C5F904CB6DEC}"/>
                </a:ext>
              </a:extLst>
            </p:cNvPr>
            <p:cNvPicPr>
              <a:picLocks noChangeAspect="1"/>
            </p:cNvPicPr>
            <p:nvPr/>
          </p:nvPicPr>
          <p:blipFill>
            <a:blip r:embed="rId13" cstate="hq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611656" y="4638213"/>
              <a:ext cx="274320" cy="274320"/>
            </a:xfrm>
            <a:prstGeom prst="rect">
              <a:avLst/>
            </a:prstGeom>
          </p:spPr>
        </p:pic>
        <p:pic>
          <p:nvPicPr>
            <p:cNvPr id="86" name="Graphic 41" descr="Checkmark">
              <a:extLst>
                <a:ext uri="{FF2B5EF4-FFF2-40B4-BE49-F238E27FC236}">
                  <a16:creationId xmlns:a16="http://schemas.microsoft.com/office/drawing/2014/main" id="{76FF8420-E19C-4889-9586-534E51FA2CD5}"/>
                </a:ext>
              </a:extLst>
            </p:cNvPr>
            <p:cNvPicPr>
              <a:picLocks noChangeAspect="1"/>
            </p:cNvPicPr>
            <p:nvPr/>
          </p:nvPicPr>
          <p:blipFill>
            <a:blip r:embed="rId12"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11656" y="4056679"/>
              <a:ext cx="274320" cy="274320"/>
            </a:xfrm>
            <a:prstGeom prst="rect">
              <a:avLst/>
            </a:prstGeom>
          </p:spPr>
        </p:pic>
        <p:sp>
          <p:nvSpPr>
            <p:cNvPr id="87" name="Rectangle 86">
              <a:extLst>
                <a:ext uri="{FF2B5EF4-FFF2-40B4-BE49-F238E27FC236}">
                  <a16:creationId xmlns:a16="http://schemas.microsoft.com/office/drawing/2014/main" id="{C7F6D09C-E960-4645-B37A-51A36D02B08B}"/>
                </a:ext>
              </a:extLst>
            </p:cNvPr>
            <p:cNvSpPr/>
            <p:nvPr/>
          </p:nvSpPr>
          <p:spPr>
            <a:xfrm>
              <a:off x="5438761" y="3255691"/>
              <a:ext cx="620111" cy="2434612"/>
            </a:xfrm>
            <a:prstGeom prst="rect">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a:extLst>
                <a:ext uri="{FF2B5EF4-FFF2-40B4-BE49-F238E27FC236}">
                  <a16:creationId xmlns:a16="http://schemas.microsoft.com/office/drawing/2014/main" id="{D538F19F-D602-43C6-BDCA-BFBAF1F4C960}"/>
                </a:ext>
              </a:extLst>
            </p:cNvPr>
            <p:cNvSpPr/>
            <p:nvPr/>
          </p:nvSpPr>
          <p:spPr>
            <a:xfrm>
              <a:off x="5356747" y="3129347"/>
              <a:ext cx="274320" cy="2743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00" b="1" dirty="0">
                <a:solidFill>
                  <a:schemeClr val="tx1"/>
                </a:solidFill>
              </a:endParaRPr>
            </a:p>
          </p:txBody>
        </p:sp>
      </p:grpSp>
      <p:grpSp>
        <p:nvGrpSpPr>
          <p:cNvPr id="89" name="Group 88">
            <a:extLst>
              <a:ext uri="{FF2B5EF4-FFF2-40B4-BE49-F238E27FC236}">
                <a16:creationId xmlns:a16="http://schemas.microsoft.com/office/drawing/2014/main" id="{496A5CAD-BA18-4FEA-A0C3-B73853D4AC15}"/>
              </a:ext>
            </a:extLst>
          </p:cNvPr>
          <p:cNvGrpSpPr/>
          <p:nvPr/>
        </p:nvGrpSpPr>
        <p:grpSpPr>
          <a:xfrm>
            <a:off x="5724723" y="3257483"/>
            <a:ext cx="703694" cy="2436662"/>
            <a:chOff x="6145544" y="3129347"/>
            <a:chExt cx="703694" cy="2560956"/>
          </a:xfrm>
        </p:grpSpPr>
        <p:pic>
          <p:nvPicPr>
            <p:cNvPr id="90" name="Graphic 19" descr="Checkmark">
              <a:extLst>
                <a:ext uri="{FF2B5EF4-FFF2-40B4-BE49-F238E27FC236}">
                  <a16:creationId xmlns:a16="http://schemas.microsoft.com/office/drawing/2014/main" id="{65252DFD-0F32-4D9B-8526-10AADA20F26B}"/>
                </a:ext>
              </a:extLst>
            </p:cNvPr>
            <p:cNvPicPr>
              <a:picLocks noChangeAspect="1"/>
            </p:cNvPicPr>
            <p:nvPr/>
          </p:nvPicPr>
          <p:blipFill>
            <a:blip r:embed="rId14"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402022" y="3420747"/>
              <a:ext cx="274320" cy="287136"/>
            </a:xfrm>
            <a:prstGeom prst="rect">
              <a:avLst/>
            </a:prstGeom>
          </p:spPr>
        </p:pic>
        <p:pic>
          <p:nvPicPr>
            <p:cNvPr id="91" name="Graphic 32" descr="Checkmark">
              <a:extLst>
                <a:ext uri="{FF2B5EF4-FFF2-40B4-BE49-F238E27FC236}">
                  <a16:creationId xmlns:a16="http://schemas.microsoft.com/office/drawing/2014/main" id="{9B6E584F-467F-4218-9EFE-CDE1C43514BE}"/>
                </a:ext>
              </a:extLst>
            </p:cNvPr>
            <p:cNvPicPr>
              <a:picLocks noChangeAspect="1"/>
            </p:cNvPicPr>
            <p:nvPr/>
          </p:nvPicPr>
          <p:blipFill>
            <a:blip r:embed="rId15" cstate="hq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402022" y="5246738"/>
              <a:ext cx="274320" cy="287136"/>
            </a:xfrm>
            <a:prstGeom prst="rect">
              <a:avLst/>
            </a:prstGeom>
          </p:spPr>
        </p:pic>
        <p:pic>
          <p:nvPicPr>
            <p:cNvPr id="92" name="Graphic 48" descr="Checkmark">
              <a:extLst>
                <a:ext uri="{FF2B5EF4-FFF2-40B4-BE49-F238E27FC236}">
                  <a16:creationId xmlns:a16="http://schemas.microsoft.com/office/drawing/2014/main" id="{75D0F1FA-EB82-44B3-8302-3F95B17FEF23}"/>
                </a:ext>
              </a:extLst>
            </p:cNvPr>
            <p:cNvPicPr>
              <a:picLocks noChangeAspect="1"/>
            </p:cNvPicPr>
            <p:nvPr/>
          </p:nvPicPr>
          <p:blipFill>
            <a:blip r:embed="rId15" cstate="hq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402022" y="4631805"/>
              <a:ext cx="274320" cy="287136"/>
            </a:xfrm>
            <a:prstGeom prst="rect">
              <a:avLst/>
            </a:prstGeom>
          </p:spPr>
        </p:pic>
        <p:sp>
          <p:nvSpPr>
            <p:cNvPr id="93" name="Rectangle 92">
              <a:extLst>
                <a:ext uri="{FF2B5EF4-FFF2-40B4-BE49-F238E27FC236}">
                  <a16:creationId xmlns:a16="http://schemas.microsoft.com/office/drawing/2014/main" id="{25F879F6-4AE7-4B72-96D6-4F0F9D5E8BA0}"/>
                </a:ext>
              </a:extLst>
            </p:cNvPr>
            <p:cNvSpPr/>
            <p:nvPr/>
          </p:nvSpPr>
          <p:spPr>
            <a:xfrm>
              <a:off x="6229127" y="3261594"/>
              <a:ext cx="620111" cy="2428709"/>
            </a:xfrm>
            <a:prstGeom prst="rect">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4" name="Graphic 62" descr="Checkmark">
              <a:extLst>
                <a:ext uri="{FF2B5EF4-FFF2-40B4-BE49-F238E27FC236}">
                  <a16:creationId xmlns:a16="http://schemas.microsoft.com/office/drawing/2014/main" id="{F86E36A0-4F44-4C7D-A37F-899BA0AE849F}"/>
                </a:ext>
              </a:extLst>
            </p:cNvPr>
            <p:cNvPicPr>
              <a:picLocks noChangeAspect="1"/>
            </p:cNvPicPr>
            <p:nvPr/>
          </p:nvPicPr>
          <p:blipFill>
            <a:blip r:embed="rId14"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402022" y="4050271"/>
              <a:ext cx="274320" cy="287136"/>
            </a:xfrm>
            <a:prstGeom prst="rect">
              <a:avLst/>
            </a:prstGeom>
          </p:spPr>
        </p:pic>
        <p:sp>
          <p:nvSpPr>
            <p:cNvPr id="95" name="Oval 94">
              <a:extLst>
                <a:ext uri="{FF2B5EF4-FFF2-40B4-BE49-F238E27FC236}">
                  <a16:creationId xmlns:a16="http://schemas.microsoft.com/office/drawing/2014/main" id="{D9F4734D-7FEF-4DAF-8795-48FE2FD35A3E}"/>
                </a:ext>
              </a:extLst>
            </p:cNvPr>
            <p:cNvSpPr/>
            <p:nvPr/>
          </p:nvSpPr>
          <p:spPr>
            <a:xfrm>
              <a:off x="6145544" y="3129347"/>
              <a:ext cx="274320" cy="28713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00" b="1" dirty="0">
                <a:solidFill>
                  <a:schemeClr val="tx1"/>
                </a:solidFill>
              </a:endParaRPr>
            </a:p>
          </p:txBody>
        </p:sp>
      </p:grpSp>
      <p:grpSp>
        <p:nvGrpSpPr>
          <p:cNvPr id="96" name="Group 95">
            <a:extLst>
              <a:ext uri="{FF2B5EF4-FFF2-40B4-BE49-F238E27FC236}">
                <a16:creationId xmlns:a16="http://schemas.microsoft.com/office/drawing/2014/main" id="{48A68EEE-177A-4B52-948A-E1901AE8AEC5}"/>
              </a:ext>
            </a:extLst>
          </p:cNvPr>
          <p:cNvGrpSpPr/>
          <p:nvPr/>
        </p:nvGrpSpPr>
        <p:grpSpPr>
          <a:xfrm>
            <a:off x="6568182" y="3257483"/>
            <a:ext cx="705263" cy="2436662"/>
            <a:chOff x="6935910" y="3129347"/>
            <a:chExt cx="705263" cy="2560956"/>
          </a:xfrm>
        </p:grpSpPr>
        <p:pic>
          <p:nvPicPr>
            <p:cNvPr id="97" name="Graphic 20" descr="Checkmark">
              <a:extLst>
                <a:ext uri="{FF2B5EF4-FFF2-40B4-BE49-F238E27FC236}">
                  <a16:creationId xmlns:a16="http://schemas.microsoft.com/office/drawing/2014/main" id="{28A8863F-1166-4F10-B7D6-C7212D654171}"/>
                </a:ext>
              </a:extLst>
            </p:cNvPr>
            <p:cNvPicPr>
              <a:picLocks noChangeAspect="1"/>
            </p:cNvPicPr>
            <p:nvPr/>
          </p:nvPicPr>
          <p:blipFill>
            <a:blip r:embed="rId12"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93957" y="3427155"/>
              <a:ext cx="274320" cy="274320"/>
            </a:xfrm>
            <a:prstGeom prst="rect">
              <a:avLst/>
            </a:prstGeom>
          </p:spPr>
        </p:pic>
        <p:pic>
          <p:nvPicPr>
            <p:cNvPr id="98" name="Graphic 33" descr="Checkmark">
              <a:extLst>
                <a:ext uri="{FF2B5EF4-FFF2-40B4-BE49-F238E27FC236}">
                  <a16:creationId xmlns:a16="http://schemas.microsoft.com/office/drawing/2014/main" id="{A0F0F9F9-C642-4E29-8044-51630EED0902}"/>
                </a:ext>
              </a:extLst>
            </p:cNvPr>
            <p:cNvPicPr>
              <a:picLocks noChangeAspect="1"/>
            </p:cNvPicPr>
            <p:nvPr/>
          </p:nvPicPr>
          <p:blipFill>
            <a:blip r:embed="rId13" cstate="hq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193957" y="5253146"/>
              <a:ext cx="274320" cy="274320"/>
            </a:xfrm>
            <a:prstGeom prst="rect">
              <a:avLst/>
            </a:prstGeom>
          </p:spPr>
        </p:pic>
        <p:pic>
          <p:nvPicPr>
            <p:cNvPr id="99" name="Graphic 49" descr="Checkmark">
              <a:extLst>
                <a:ext uri="{FF2B5EF4-FFF2-40B4-BE49-F238E27FC236}">
                  <a16:creationId xmlns:a16="http://schemas.microsoft.com/office/drawing/2014/main" id="{E3871A16-4485-4062-8E11-105BD9BDE6D5}"/>
                </a:ext>
              </a:extLst>
            </p:cNvPr>
            <p:cNvPicPr>
              <a:picLocks noChangeAspect="1"/>
            </p:cNvPicPr>
            <p:nvPr/>
          </p:nvPicPr>
          <p:blipFill>
            <a:blip r:embed="rId13" cstate="hq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193957" y="4638213"/>
              <a:ext cx="274320" cy="274320"/>
            </a:xfrm>
            <a:prstGeom prst="rect">
              <a:avLst/>
            </a:prstGeom>
          </p:spPr>
        </p:pic>
        <p:sp>
          <p:nvSpPr>
            <p:cNvPr id="100" name="Rectangle 99">
              <a:extLst>
                <a:ext uri="{FF2B5EF4-FFF2-40B4-BE49-F238E27FC236}">
                  <a16:creationId xmlns:a16="http://schemas.microsoft.com/office/drawing/2014/main" id="{893F2293-5ED1-4C2E-88CD-6CFA1070534A}"/>
                </a:ext>
              </a:extLst>
            </p:cNvPr>
            <p:cNvSpPr/>
            <p:nvPr/>
          </p:nvSpPr>
          <p:spPr>
            <a:xfrm>
              <a:off x="7021062" y="3255691"/>
              <a:ext cx="620111" cy="2434612"/>
            </a:xfrm>
            <a:prstGeom prst="rect">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a:extLst>
                <a:ext uri="{FF2B5EF4-FFF2-40B4-BE49-F238E27FC236}">
                  <a16:creationId xmlns:a16="http://schemas.microsoft.com/office/drawing/2014/main" id="{47FAE3D9-070F-4B8E-8A4D-0248954FA4F2}"/>
                </a:ext>
              </a:extLst>
            </p:cNvPr>
            <p:cNvSpPr/>
            <p:nvPr/>
          </p:nvSpPr>
          <p:spPr>
            <a:xfrm>
              <a:off x="6935910" y="3129347"/>
              <a:ext cx="274320" cy="2743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00" b="1" dirty="0">
                <a:solidFill>
                  <a:schemeClr val="tx1"/>
                </a:solidFill>
              </a:endParaRPr>
            </a:p>
          </p:txBody>
        </p:sp>
      </p:grpSp>
      <p:grpSp>
        <p:nvGrpSpPr>
          <p:cNvPr id="102" name="Group 101">
            <a:extLst>
              <a:ext uri="{FF2B5EF4-FFF2-40B4-BE49-F238E27FC236}">
                <a16:creationId xmlns:a16="http://schemas.microsoft.com/office/drawing/2014/main" id="{AB4E9EA4-BF18-4692-BC35-6A2A17413E2D}"/>
              </a:ext>
            </a:extLst>
          </p:cNvPr>
          <p:cNvGrpSpPr/>
          <p:nvPr/>
        </p:nvGrpSpPr>
        <p:grpSpPr>
          <a:xfrm>
            <a:off x="7413212" y="3257483"/>
            <a:ext cx="706831" cy="2436662"/>
            <a:chOff x="7727846" y="3129347"/>
            <a:chExt cx="706831" cy="2560956"/>
          </a:xfrm>
        </p:grpSpPr>
        <p:pic>
          <p:nvPicPr>
            <p:cNvPr id="103" name="Graphic 68" descr="Checkmark">
              <a:extLst>
                <a:ext uri="{FF2B5EF4-FFF2-40B4-BE49-F238E27FC236}">
                  <a16:creationId xmlns:a16="http://schemas.microsoft.com/office/drawing/2014/main" id="{97D845B8-A6EA-4059-ABD5-A2A593474404}"/>
                </a:ext>
              </a:extLst>
            </p:cNvPr>
            <p:cNvPicPr>
              <a:picLocks noChangeAspect="1"/>
            </p:cNvPicPr>
            <p:nvPr/>
          </p:nvPicPr>
          <p:blipFill>
            <a:blip r:embed="rId12"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987461" y="3427155"/>
              <a:ext cx="274320" cy="274320"/>
            </a:xfrm>
            <a:prstGeom prst="rect">
              <a:avLst/>
            </a:prstGeom>
          </p:spPr>
        </p:pic>
        <p:pic>
          <p:nvPicPr>
            <p:cNvPr id="104" name="Graphic 69" descr="Checkmark">
              <a:extLst>
                <a:ext uri="{FF2B5EF4-FFF2-40B4-BE49-F238E27FC236}">
                  <a16:creationId xmlns:a16="http://schemas.microsoft.com/office/drawing/2014/main" id="{0B579E95-DB40-4180-8B81-638E97A2E635}"/>
                </a:ext>
              </a:extLst>
            </p:cNvPr>
            <p:cNvPicPr>
              <a:picLocks noChangeAspect="1"/>
            </p:cNvPicPr>
            <p:nvPr/>
          </p:nvPicPr>
          <p:blipFill>
            <a:blip r:embed="rId13" cstate="hq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987461" y="5253146"/>
              <a:ext cx="274320" cy="274320"/>
            </a:xfrm>
            <a:prstGeom prst="rect">
              <a:avLst/>
            </a:prstGeom>
          </p:spPr>
        </p:pic>
        <p:pic>
          <p:nvPicPr>
            <p:cNvPr id="105" name="Graphic 70" descr="Checkmark">
              <a:extLst>
                <a:ext uri="{FF2B5EF4-FFF2-40B4-BE49-F238E27FC236}">
                  <a16:creationId xmlns:a16="http://schemas.microsoft.com/office/drawing/2014/main" id="{77D921BA-D878-4E68-A78F-CE776B96C64F}"/>
                </a:ext>
              </a:extLst>
            </p:cNvPr>
            <p:cNvPicPr>
              <a:picLocks noChangeAspect="1"/>
            </p:cNvPicPr>
            <p:nvPr/>
          </p:nvPicPr>
          <p:blipFill>
            <a:blip r:embed="rId13" cstate="hq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987461" y="4638213"/>
              <a:ext cx="274320" cy="274320"/>
            </a:xfrm>
            <a:prstGeom prst="rect">
              <a:avLst/>
            </a:prstGeom>
          </p:spPr>
        </p:pic>
        <p:sp>
          <p:nvSpPr>
            <p:cNvPr id="106" name="Rectangle 105">
              <a:extLst>
                <a:ext uri="{FF2B5EF4-FFF2-40B4-BE49-F238E27FC236}">
                  <a16:creationId xmlns:a16="http://schemas.microsoft.com/office/drawing/2014/main" id="{8FC21E0B-A18B-4EB9-889E-D556FE540F24}"/>
                </a:ext>
              </a:extLst>
            </p:cNvPr>
            <p:cNvSpPr/>
            <p:nvPr/>
          </p:nvSpPr>
          <p:spPr>
            <a:xfrm>
              <a:off x="7814566" y="3255691"/>
              <a:ext cx="620111" cy="2434612"/>
            </a:xfrm>
            <a:prstGeom prst="rect">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7" name="Graphic 72" descr="Checkmark">
              <a:extLst>
                <a:ext uri="{FF2B5EF4-FFF2-40B4-BE49-F238E27FC236}">
                  <a16:creationId xmlns:a16="http://schemas.microsoft.com/office/drawing/2014/main" id="{FA44A66E-50EF-4083-B4F5-C7C57C3DDB3A}"/>
                </a:ext>
              </a:extLst>
            </p:cNvPr>
            <p:cNvPicPr>
              <a:picLocks noChangeAspect="1"/>
            </p:cNvPicPr>
            <p:nvPr/>
          </p:nvPicPr>
          <p:blipFill>
            <a:blip r:embed="rId12"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987461" y="4056679"/>
              <a:ext cx="274320" cy="274320"/>
            </a:xfrm>
            <a:prstGeom prst="rect">
              <a:avLst/>
            </a:prstGeom>
          </p:spPr>
        </p:pic>
        <p:sp>
          <p:nvSpPr>
            <p:cNvPr id="108" name="Oval 107">
              <a:extLst>
                <a:ext uri="{FF2B5EF4-FFF2-40B4-BE49-F238E27FC236}">
                  <a16:creationId xmlns:a16="http://schemas.microsoft.com/office/drawing/2014/main" id="{A2801112-6A56-40FD-BF29-DB970B7098AC}"/>
                </a:ext>
              </a:extLst>
            </p:cNvPr>
            <p:cNvSpPr/>
            <p:nvPr/>
          </p:nvSpPr>
          <p:spPr>
            <a:xfrm>
              <a:off x="7727846" y="3129347"/>
              <a:ext cx="274320" cy="2743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00" b="1" dirty="0">
                <a:solidFill>
                  <a:schemeClr val="tx1"/>
                </a:solidFill>
              </a:endParaRPr>
            </a:p>
          </p:txBody>
        </p:sp>
      </p:grpSp>
      <p:grpSp>
        <p:nvGrpSpPr>
          <p:cNvPr id="109" name="Group 108">
            <a:extLst>
              <a:ext uri="{FF2B5EF4-FFF2-40B4-BE49-F238E27FC236}">
                <a16:creationId xmlns:a16="http://schemas.microsoft.com/office/drawing/2014/main" id="{F7830E3D-7C39-43BB-8AF5-11B7149FD371}"/>
              </a:ext>
            </a:extLst>
          </p:cNvPr>
          <p:cNvGrpSpPr/>
          <p:nvPr/>
        </p:nvGrpSpPr>
        <p:grpSpPr>
          <a:xfrm>
            <a:off x="8290978" y="3258289"/>
            <a:ext cx="688036" cy="620224"/>
            <a:chOff x="7245710" y="3237499"/>
            <a:chExt cx="688036" cy="651861"/>
          </a:xfrm>
        </p:grpSpPr>
        <p:grpSp>
          <p:nvGrpSpPr>
            <p:cNvPr id="110" name="Group 109">
              <a:extLst>
                <a:ext uri="{FF2B5EF4-FFF2-40B4-BE49-F238E27FC236}">
                  <a16:creationId xmlns:a16="http://schemas.microsoft.com/office/drawing/2014/main" id="{1E63CBF2-E440-4FD5-8696-6981F5DE7489}"/>
                </a:ext>
              </a:extLst>
            </p:cNvPr>
            <p:cNvGrpSpPr/>
            <p:nvPr/>
          </p:nvGrpSpPr>
          <p:grpSpPr>
            <a:xfrm>
              <a:off x="7313635" y="3363843"/>
              <a:ext cx="620111" cy="525517"/>
              <a:chOff x="7313635" y="3368473"/>
              <a:chExt cx="620111" cy="525517"/>
            </a:xfrm>
          </p:grpSpPr>
          <p:pic>
            <p:nvPicPr>
              <p:cNvPr id="112" name="Graphic 63" descr="Checkmark">
                <a:extLst>
                  <a:ext uri="{FF2B5EF4-FFF2-40B4-BE49-F238E27FC236}">
                    <a16:creationId xmlns:a16="http://schemas.microsoft.com/office/drawing/2014/main" id="{9680E481-6D01-479D-AC63-1A4F96129F0C}"/>
                  </a:ext>
                </a:extLst>
              </p:cNvPr>
              <p:cNvPicPr>
                <a:picLocks noChangeAspect="1"/>
              </p:cNvPicPr>
              <p:nvPr/>
            </p:nvPicPr>
            <p:blipFill>
              <a:blip r:embed="rId12"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486530" y="3494071"/>
                <a:ext cx="274320" cy="274320"/>
              </a:xfrm>
              <a:prstGeom prst="rect">
                <a:avLst/>
              </a:prstGeom>
            </p:spPr>
          </p:pic>
          <p:sp>
            <p:nvSpPr>
              <p:cNvPr id="113" name="Rectangle 112">
                <a:extLst>
                  <a:ext uri="{FF2B5EF4-FFF2-40B4-BE49-F238E27FC236}">
                    <a16:creationId xmlns:a16="http://schemas.microsoft.com/office/drawing/2014/main" id="{10EC4929-2684-4628-BE1A-2CE43550246A}"/>
                  </a:ext>
                </a:extLst>
              </p:cNvPr>
              <p:cNvSpPr/>
              <p:nvPr/>
            </p:nvSpPr>
            <p:spPr>
              <a:xfrm>
                <a:off x="7313635" y="3368473"/>
                <a:ext cx="620111" cy="525517"/>
              </a:xfrm>
              <a:prstGeom prst="rect">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1" name="Oval 110">
              <a:extLst>
                <a:ext uri="{FF2B5EF4-FFF2-40B4-BE49-F238E27FC236}">
                  <a16:creationId xmlns:a16="http://schemas.microsoft.com/office/drawing/2014/main" id="{87D0B4A7-409F-4B32-9F83-85C04649DFAF}"/>
                </a:ext>
              </a:extLst>
            </p:cNvPr>
            <p:cNvSpPr/>
            <p:nvPr/>
          </p:nvSpPr>
          <p:spPr>
            <a:xfrm>
              <a:off x="7245710" y="3237499"/>
              <a:ext cx="274320" cy="2743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00" b="1" dirty="0">
                <a:solidFill>
                  <a:schemeClr val="tx1"/>
                </a:solidFill>
              </a:endParaRPr>
            </a:p>
          </p:txBody>
        </p:sp>
      </p:grpSp>
      <p:grpSp>
        <p:nvGrpSpPr>
          <p:cNvPr id="114" name="Group 113">
            <a:extLst>
              <a:ext uri="{FF2B5EF4-FFF2-40B4-BE49-F238E27FC236}">
                <a16:creationId xmlns:a16="http://schemas.microsoft.com/office/drawing/2014/main" id="{E94F889A-198A-46FF-A514-3A30E93052D3}"/>
              </a:ext>
            </a:extLst>
          </p:cNvPr>
          <p:cNvGrpSpPr/>
          <p:nvPr/>
        </p:nvGrpSpPr>
        <p:grpSpPr>
          <a:xfrm>
            <a:off x="8293082" y="3903543"/>
            <a:ext cx="683829" cy="574718"/>
            <a:chOff x="6909381" y="3903896"/>
            <a:chExt cx="683829" cy="604035"/>
          </a:xfrm>
        </p:grpSpPr>
        <p:grpSp>
          <p:nvGrpSpPr>
            <p:cNvPr id="115" name="Group 114">
              <a:extLst>
                <a:ext uri="{FF2B5EF4-FFF2-40B4-BE49-F238E27FC236}">
                  <a16:creationId xmlns:a16="http://schemas.microsoft.com/office/drawing/2014/main" id="{24208CA8-A385-4A71-A2AD-71053AB978B3}"/>
                </a:ext>
              </a:extLst>
            </p:cNvPr>
            <p:cNvGrpSpPr/>
            <p:nvPr/>
          </p:nvGrpSpPr>
          <p:grpSpPr>
            <a:xfrm>
              <a:off x="6973099" y="3982414"/>
              <a:ext cx="620111" cy="525517"/>
              <a:chOff x="6973099" y="3982414"/>
              <a:chExt cx="620111" cy="525517"/>
            </a:xfrm>
          </p:grpSpPr>
          <p:pic>
            <p:nvPicPr>
              <p:cNvPr id="117" name="Graphic 64" descr="Checkmark">
                <a:extLst>
                  <a:ext uri="{FF2B5EF4-FFF2-40B4-BE49-F238E27FC236}">
                    <a16:creationId xmlns:a16="http://schemas.microsoft.com/office/drawing/2014/main" id="{17C0BC86-44BE-411D-9853-71FC3A3586CC}"/>
                  </a:ext>
                </a:extLst>
              </p:cNvPr>
              <p:cNvPicPr>
                <a:picLocks noChangeAspect="1"/>
              </p:cNvPicPr>
              <p:nvPr/>
            </p:nvPicPr>
            <p:blipFill>
              <a:blip r:embed="rId12"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45994" y="4129032"/>
                <a:ext cx="274320" cy="274320"/>
              </a:xfrm>
              <a:prstGeom prst="rect">
                <a:avLst/>
              </a:prstGeom>
            </p:spPr>
          </p:pic>
          <p:sp>
            <p:nvSpPr>
              <p:cNvPr id="118" name="Rectangle 117">
                <a:extLst>
                  <a:ext uri="{FF2B5EF4-FFF2-40B4-BE49-F238E27FC236}">
                    <a16:creationId xmlns:a16="http://schemas.microsoft.com/office/drawing/2014/main" id="{5549C8FC-3B77-4C0B-A32B-F8DEAB30BC53}"/>
                  </a:ext>
                </a:extLst>
              </p:cNvPr>
              <p:cNvSpPr/>
              <p:nvPr/>
            </p:nvSpPr>
            <p:spPr>
              <a:xfrm>
                <a:off x="6973099" y="3982414"/>
                <a:ext cx="620111" cy="525517"/>
              </a:xfrm>
              <a:prstGeom prst="rect">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6" name="Oval 115">
              <a:extLst>
                <a:ext uri="{FF2B5EF4-FFF2-40B4-BE49-F238E27FC236}">
                  <a16:creationId xmlns:a16="http://schemas.microsoft.com/office/drawing/2014/main" id="{EA9E8CDB-8555-42D0-94DE-C41D563D14EF}"/>
                </a:ext>
              </a:extLst>
            </p:cNvPr>
            <p:cNvSpPr/>
            <p:nvPr/>
          </p:nvSpPr>
          <p:spPr>
            <a:xfrm>
              <a:off x="6909381" y="3903896"/>
              <a:ext cx="274320" cy="2743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00" b="1" dirty="0">
                <a:solidFill>
                  <a:schemeClr val="tx1"/>
                </a:solidFill>
              </a:endParaRPr>
            </a:p>
          </p:txBody>
        </p:sp>
      </p:grpSp>
      <p:grpSp>
        <p:nvGrpSpPr>
          <p:cNvPr id="119" name="Group 118">
            <a:extLst>
              <a:ext uri="{FF2B5EF4-FFF2-40B4-BE49-F238E27FC236}">
                <a16:creationId xmlns:a16="http://schemas.microsoft.com/office/drawing/2014/main" id="{F0B62658-489C-44FA-A828-421E176B7B86}"/>
              </a:ext>
            </a:extLst>
          </p:cNvPr>
          <p:cNvGrpSpPr/>
          <p:nvPr/>
        </p:nvGrpSpPr>
        <p:grpSpPr>
          <a:xfrm>
            <a:off x="1499587" y="4519301"/>
            <a:ext cx="723714" cy="569138"/>
            <a:chOff x="1993570" y="4502977"/>
            <a:chExt cx="723714" cy="598169"/>
          </a:xfrm>
        </p:grpSpPr>
        <p:grpSp>
          <p:nvGrpSpPr>
            <p:cNvPr id="120" name="Group 119">
              <a:extLst>
                <a:ext uri="{FF2B5EF4-FFF2-40B4-BE49-F238E27FC236}">
                  <a16:creationId xmlns:a16="http://schemas.microsoft.com/office/drawing/2014/main" id="{5F87183C-8699-412B-B776-886DDA59DD3F}"/>
                </a:ext>
              </a:extLst>
            </p:cNvPr>
            <p:cNvGrpSpPr/>
            <p:nvPr/>
          </p:nvGrpSpPr>
          <p:grpSpPr>
            <a:xfrm>
              <a:off x="2097173" y="4574627"/>
              <a:ext cx="620111" cy="526519"/>
              <a:chOff x="2296865" y="4574627"/>
              <a:chExt cx="620111" cy="526519"/>
            </a:xfrm>
          </p:grpSpPr>
          <p:pic>
            <p:nvPicPr>
              <p:cNvPr id="122" name="Graphic 46" descr="Checkmark">
                <a:extLst>
                  <a:ext uri="{FF2B5EF4-FFF2-40B4-BE49-F238E27FC236}">
                    <a16:creationId xmlns:a16="http://schemas.microsoft.com/office/drawing/2014/main" id="{BAB63379-3E75-48FA-8785-3AC9DC001C56}"/>
                  </a:ext>
                </a:extLst>
              </p:cNvPr>
              <p:cNvPicPr>
                <a:picLocks noChangeAspect="1"/>
              </p:cNvPicPr>
              <p:nvPr/>
            </p:nvPicPr>
            <p:blipFill>
              <a:blip r:embed="rId12"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469760" y="4700726"/>
                <a:ext cx="274320" cy="274320"/>
              </a:xfrm>
              <a:prstGeom prst="rect">
                <a:avLst/>
              </a:prstGeom>
            </p:spPr>
          </p:pic>
          <p:sp>
            <p:nvSpPr>
              <p:cNvPr id="123" name="Rectangle 122">
                <a:extLst>
                  <a:ext uri="{FF2B5EF4-FFF2-40B4-BE49-F238E27FC236}">
                    <a16:creationId xmlns:a16="http://schemas.microsoft.com/office/drawing/2014/main" id="{2A1461DF-6E0F-4D6F-AEA6-AC679965F031}"/>
                  </a:ext>
                </a:extLst>
              </p:cNvPr>
              <p:cNvSpPr/>
              <p:nvPr/>
            </p:nvSpPr>
            <p:spPr>
              <a:xfrm>
                <a:off x="2296865" y="4574627"/>
                <a:ext cx="620111" cy="526519"/>
              </a:xfrm>
              <a:prstGeom prst="rect">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1" name="Oval 120">
              <a:extLst>
                <a:ext uri="{FF2B5EF4-FFF2-40B4-BE49-F238E27FC236}">
                  <a16:creationId xmlns:a16="http://schemas.microsoft.com/office/drawing/2014/main" id="{677D817B-C64B-4FEF-AD1C-C04347F66378}"/>
                </a:ext>
              </a:extLst>
            </p:cNvPr>
            <p:cNvSpPr/>
            <p:nvPr/>
          </p:nvSpPr>
          <p:spPr>
            <a:xfrm>
              <a:off x="1993570" y="4502977"/>
              <a:ext cx="274320" cy="2743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00" b="1" dirty="0">
                <a:solidFill>
                  <a:schemeClr val="tx1"/>
                </a:solidFill>
              </a:endParaRPr>
            </a:p>
          </p:txBody>
        </p:sp>
      </p:grpSp>
      <p:grpSp>
        <p:nvGrpSpPr>
          <p:cNvPr id="124" name="Group 123">
            <a:extLst>
              <a:ext uri="{FF2B5EF4-FFF2-40B4-BE49-F238E27FC236}">
                <a16:creationId xmlns:a16="http://schemas.microsoft.com/office/drawing/2014/main" id="{DE83D4DC-A44E-44D0-B57C-232FAADFF25D}"/>
              </a:ext>
            </a:extLst>
          </p:cNvPr>
          <p:cNvGrpSpPr/>
          <p:nvPr/>
        </p:nvGrpSpPr>
        <p:grpSpPr>
          <a:xfrm>
            <a:off x="9088951" y="3894314"/>
            <a:ext cx="712287" cy="593176"/>
            <a:chOff x="10927919" y="3879543"/>
            <a:chExt cx="712287" cy="623434"/>
          </a:xfrm>
        </p:grpSpPr>
        <p:grpSp>
          <p:nvGrpSpPr>
            <p:cNvPr id="125" name="Group 124">
              <a:extLst>
                <a:ext uri="{FF2B5EF4-FFF2-40B4-BE49-F238E27FC236}">
                  <a16:creationId xmlns:a16="http://schemas.microsoft.com/office/drawing/2014/main" id="{96B496D4-1871-4119-B820-D0D4B8BFB7D2}"/>
                </a:ext>
              </a:extLst>
            </p:cNvPr>
            <p:cNvGrpSpPr/>
            <p:nvPr/>
          </p:nvGrpSpPr>
          <p:grpSpPr>
            <a:xfrm>
              <a:off x="11020095" y="3976458"/>
              <a:ext cx="620111" cy="526519"/>
              <a:chOff x="10967545" y="3976458"/>
              <a:chExt cx="620111" cy="526519"/>
            </a:xfrm>
          </p:grpSpPr>
          <p:pic>
            <p:nvPicPr>
              <p:cNvPr id="127" name="Graphic 36" descr="Checkmark">
                <a:extLst>
                  <a:ext uri="{FF2B5EF4-FFF2-40B4-BE49-F238E27FC236}">
                    <a16:creationId xmlns:a16="http://schemas.microsoft.com/office/drawing/2014/main" id="{A9B2CFCF-5F8D-4E52-9949-FF2DF1A478B0}"/>
                  </a:ext>
                </a:extLst>
              </p:cNvPr>
              <p:cNvPicPr>
                <a:picLocks noChangeAspect="1"/>
              </p:cNvPicPr>
              <p:nvPr/>
            </p:nvPicPr>
            <p:blipFill>
              <a:blip r:embed="rId12"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140440" y="4102557"/>
                <a:ext cx="274320" cy="274320"/>
              </a:xfrm>
              <a:prstGeom prst="rect">
                <a:avLst/>
              </a:prstGeom>
            </p:spPr>
          </p:pic>
          <p:sp>
            <p:nvSpPr>
              <p:cNvPr id="128" name="Rectangle 127">
                <a:extLst>
                  <a:ext uri="{FF2B5EF4-FFF2-40B4-BE49-F238E27FC236}">
                    <a16:creationId xmlns:a16="http://schemas.microsoft.com/office/drawing/2014/main" id="{5D7484FA-6518-41E9-A499-28312F54683F}"/>
                  </a:ext>
                </a:extLst>
              </p:cNvPr>
              <p:cNvSpPr/>
              <p:nvPr/>
            </p:nvSpPr>
            <p:spPr>
              <a:xfrm>
                <a:off x="10967545" y="3976458"/>
                <a:ext cx="620111" cy="526519"/>
              </a:xfrm>
              <a:prstGeom prst="rect">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6" name="Oval 125">
              <a:extLst>
                <a:ext uri="{FF2B5EF4-FFF2-40B4-BE49-F238E27FC236}">
                  <a16:creationId xmlns:a16="http://schemas.microsoft.com/office/drawing/2014/main" id="{D9EB6D07-748E-4E2B-8A25-72263562A5A3}"/>
                </a:ext>
              </a:extLst>
            </p:cNvPr>
            <p:cNvSpPr/>
            <p:nvPr/>
          </p:nvSpPr>
          <p:spPr>
            <a:xfrm>
              <a:off x="10927919" y="3879543"/>
              <a:ext cx="274320" cy="2743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00" b="1" dirty="0">
                <a:solidFill>
                  <a:schemeClr val="tx1"/>
                </a:solidFill>
              </a:endParaRPr>
            </a:p>
          </p:txBody>
        </p:sp>
      </p:grpSp>
      <p:grpSp>
        <p:nvGrpSpPr>
          <p:cNvPr id="129" name="Group 128">
            <a:extLst>
              <a:ext uri="{FF2B5EF4-FFF2-40B4-BE49-F238E27FC236}">
                <a16:creationId xmlns:a16="http://schemas.microsoft.com/office/drawing/2014/main" id="{F1576A47-6E35-43E6-8545-B9C874313D00}"/>
              </a:ext>
            </a:extLst>
          </p:cNvPr>
          <p:cNvGrpSpPr/>
          <p:nvPr/>
        </p:nvGrpSpPr>
        <p:grpSpPr>
          <a:xfrm>
            <a:off x="10021170" y="4500447"/>
            <a:ext cx="678674" cy="598491"/>
            <a:chOff x="7968268" y="4472126"/>
            <a:chExt cx="678674" cy="629020"/>
          </a:xfrm>
        </p:grpSpPr>
        <p:grpSp>
          <p:nvGrpSpPr>
            <p:cNvPr id="130" name="Group 129">
              <a:extLst>
                <a:ext uri="{FF2B5EF4-FFF2-40B4-BE49-F238E27FC236}">
                  <a16:creationId xmlns:a16="http://schemas.microsoft.com/office/drawing/2014/main" id="{ACB607A7-424C-4617-83F3-E68647B4EE92}"/>
                </a:ext>
              </a:extLst>
            </p:cNvPr>
            <p:cNvGrpSpPr/>
            <p:nvPr/>
          </p:nvGrpSpPr>
          <p:grpSpPr>
            <a:xfrm>
              <a:off x="8026831" y="4574627"/>
              <a:ext cx="620111" cy="526519"/>
              <a:chOff x="7722034" y="4574627"/>
              <a:chExt cx="620111" cy="526519"/>
            </a:xfrm>
          </p:grpSpPr>
          <p:pic>
            <p:nvPicPr>
              <p:cNvPr id="132" name="Graphic 50" descr="Checkmark">
                <a:extLst>
                  <a:ext uri="{FF2B5EF4-FFF2-40B4-BE49-F238E27FC236}">
                    <a16:creationId xmlns:a16="http://schemas.microsoft.com/office/drawing/2014/main" id="{C6A313CF-3AA9-4D87-A344-76B5F0179FB0}"/>
                  </a:ext>
                </a:extLst>
              </p:cNvPr>
              <p:cNvPicPr>
                <a:picLocks noChangeAspect="1"/>
              </p:cNvPicPr>
              <p:nvPr/>
            </p:nvPicPr>
            <p:blipFill>
              <a:blip r:embed="rId12"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94929" y="4700726"/>
                <a:ext cx="274320" cy="274320"/>
              </a:xfrm>
              <a:prstGeom prst="rect">
                <a:avLst/>
              </a:prstGeom>
            </p:spPr>
          </p:pic>
          <p:sp>
            <p:nvSpPr>
              <p:cNvPr id="133" name="Rectangle 132">
                <a:extLst>
                  <a:ext uri="{FF2B5EF4-FFF2-40B4-BE49-F238E27FC236}">
                    <a16:creationId xmlns:a16="http://schemas.microsoft.com/office/drawing/2014/main" id="{3F006D45-010E-467F-95F0-6FF123C20AA9}"/>
                  </a:ext>
                </a:extLst>
              </p:cNvPr>
              <p:cNvSpPr/>
              <p:nvPr/>
            </p:nvSpPr>
            <p:spPr>
              <a:xfrm>
                <a:off x="7722034" y="4574627"/>
                <a:ext cx="620111" cy="526519"/>
              </a:xfrm>
              <a:prstGeom prst="rect">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1" name="Oval 130">
              <a:extLst>
                <a:ext uri="{FF2B5EF4-FFF2-40B4-BE49-F238E27FC236}">
                  <a16:creationId xmlns:a16="http://schemas.microsoft.com/office/drawing/2014/main" id="{3D52558D-CD08-48C8-9ADF-75EDAC532960}"/>
                </a:ext>
              </a:extLst>
            </p:cNvPr>
            <p:cNvSpPr/>
            <p:nvPr/>
          </p:nvSpPr>
          <p:spPr>
            <a:xfrm>
              <a:off x="7968268" y="4472126"/>
              <a:ext cx="274320" cy="2743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00" b="1" dirty="0">
                <a:solidFill>
                  <a:schemeClr val="tx1"/>
                </a:solidFill>
              </a:endParaRPr>
            </a:p>
          </p:txBody>
        </p:sp>
      </p:grpSp>
      <p:grpSp>
        <p:nvGrpSpPr>
          <p:cNvPr id="134" name="Group 133">
            <a:extLst>
              <a:ext uri="{FF2B5EF4-FFF2-40B4-BE49-F238E27FC236}">
                <a16:creationId xmlns:a16="http://schemas.microsoft.com/office/drawing/2014/main" id="{4A1C9A0E-65D3-41BC-B9DE-7AACA18F207E}"/>
              </a:ext>
            </a:extLst>
          </p:cNvPr>
          <p:cNvGrpSpPr/>
          <p:nvPr/>
        </p:nvGrpSpPr>
        <p:grpSpPr>
          <a:xfrm>
            <a:off x="2371735" y="5738294"/>
            <a:ext cx="723714" cy="569138"/>
            <a:chOff x="1993570" y="4502977"/>
            <a:chExt cx="723714" cy="598169"/>
          </a:xfrm>
        </p:grpSpPr>
        <p:grpSp>
          <p:nvGrpSpPr>
            <p:cNvPr id="135" name="Group 134">
              <a:extLst>
                <a:ext uri="{FF2B5EF4-FFF2-40B4-BE49-F238E27FC236}">
                  <a16:creationId xmlns:a16="http://schemas.microsoft.com/office/drawing/2014/main" id="{4E38BF49-E7B8-40F5-80D4-A4A2DEFB1BD7}"/>
                </a:ext>
              </a:extLst>
            </p:cNvPr>
            <p:cNvGrpSpPr/>
            <p:nvPr/>
          </p:nvGrpSpPr>
          <p:grpSpPr>
            <a:xfrm>
              <a:off x="2097173" y="4574627"/>
              <a:ext cx="620111" cy="526519"/>
              <a:chOff x="2296865" y="4574627"/>
              <a:chExt cx="620111" cy="526519"/>
            </a:xfrm>
          </p:grpSpPr>
          <p:pic>
            <p:nvPicPr>
              <p:cNvPr id="137" name="Graphic 105" descr="Checkmark">
                <a:extLst>
                  <a:ext uri="{FF2B5EF4-FFF2-40B4-BE49-F238E27FC236}">
                    <a16:creationId xmlns:a16="http://schemas.microsoft.com/office/drawing/2014/main" id="{A29C0362-C49B-43E2-92F6-937183B65FDE}"/>
                  </a:ext>
                </a:extLst>
              </p:cNvPr>
              <p:cNvPicPr>
                <a:picLocks noChangeAspect="1"/>
              </p:cNvPicPr>
              <p:nvPr/>
            </p:nvPicPr>
            <p:blipFill>
              <a:blip r:embed="rId13" cstate="hq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469760" y="4700726"/>
                <a:ext cx="274320" cy="274320"/>
              </a:xfrm>
              <a:prstGeom prst="rect">
                <a:avLst/>
              </a:prstGeom>
            </p:spPr>
          </p:pic>
          <p:sp>
            <p:nvSpPr>
              <p:cNvPr id="138" name="Rectangle 137">
                <a:extLst>
                  <a:ext uri="{FF2B5EF4-FFF2-40B4-BE49-F238E27FC236}">
                    <a16:creationId xmlns:a16="http://schemas.microsoft.com/office/drawing/2014/main" id="{12509C20-A6D4-4089-9869-EAEB8511E73A}"/>
                  </a:ext>
                </a:extLst>
              </p:cNvPr>
              <p:cNvSpPr/>
              <p:nvPr/>
            </p:nvSpPr>
            <p:spPr>
              <a:xfrm>
                <a:off x="2296865" y="4574627"/>
                <a:ext cx="620111" cy="526519"/>
              </a:xfrm>
              <a:prstGeom prst="rect">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6" name="Oval 135">
              <a:extLst>
                <a:ext uri="{FF2B5EF4-FFF2-40B4-BE49-F238E27FC236}">
                  <a16:creationId xmlns:a16="http://schemas.microsoft.com/office/drawing/2014/main" id="{7333A579-E428-4E16-A612-0B74022BE9C6}"/>
                </a:ext>
              </a:extLst>
            </p:cNvPr>
            <p:cNvSpPr/>
            <p:nvPr/>
          </p:nvSpPr>
          <p:spPr>
            <a:xfrm>
              <a:off x="1993570" y="4502977"/>
              <a:ext cx="274320" cy="274320"/>
            </a:xfrm>
            <a:prstGeom prst="ellipse">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00" b="1" dirty="0">
                <a:solidFill>
                  <a:schemeClr val="tx1"/>
                </a:solidFill>
              </a:endParaRPr>
            </a:p>
          </p:txBody>
        </p:sp>
      </p:grpSp>
      <p:grpSp>
        <p:nvGrpSpPr>
          <p:cNvPr id="139" name="Group 138">
            <a:extLst>
              <a:ext uri="{FF2B5EF4-FFF2-40B4-BE49-F238E27FC236}">
                <a16:creationId xmlns:a16="http://schemas.microsoft.com/office/drawing/2014/main" id="{8095861D-3AF8-49BD-AD66-37531896F474}"/>
              </a:ext>
            </a:extLst>
          </p:cNvPr>
          <p:cNvGrpSpPr/>
          <p:nvPr/>
        </p:nvGrpSpPr>
        <p:grpSpPr>
          <a:xfrm>
            <a:off x="10912269" y="5738294"/>
            <a:ext cx="723714" cy="569138"/>
            <a:chOff x="1993570" y="4502977"/>
            <a:chExt cx="723714" cy="598169"/>
          </a:xfrm>
        </p:grpSpPr>
        <p:grpSp>
          <p:nvGrpSpPr>
            <p:cNvPr id="140" name="Group 139">
              <a:extLst>
                <a:ext uri="{FF2B5EF4-FFF2-40B4-BE49-F238E27FC236}">
                  <a16:creationId xmlns:a16="http://schemas.microsoft.com/office/drawing/2014/main" id="{EFEF3454-59DF-4D9F-8C5A-53590918AFB8}"/>
                </a:ext>
              </a:extLst>
            </p:cNvPr>
            <p:cNvGrpSpPr/>
            <p:nvPr/>
          </p:nvGrpSpPr>
          <p:grpSpPr>
            <a:xfrm>
              <a:off x="2097173" y="4574627"/>
              <a:ext cx="620111" cy="526519"/>
              <a:chOff x="2296865" y="4574627"/>
              <a:chExt cx="620111" cy="526519"/>
            </a:xfrm>
          </p:grpSpPr>
          <p:pic>
            <p:nvPicPr>
              <p:cNvPr id="142" name="Graphic 110" descr="Checkmark">
                <a:extLst>
                  <a:ext uri="{FF2B5EF4-FFF2-40B4-BE49-F238E27FC236}">
                    <a16:creationId xmlns:a16="http://schemas.microsoft.com/office/drawing/2014/main" id="{042FB8CA-2FFB-49E4-8B8F-9FE071900718}"/>
                  </a:ext>
                </a:extLst>
              </p:cNvPr>
              <p:cNvPicPr>
                <a:picLocks noChangeAspect="1"/>
              </p:cNvPicPr>
              <p:nvPr/>
            </p:nvPicPr>
            <p:blipFill>
              <a:blip r:embed="rId12"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469760" y="4700726"/>
                <a:ext cx="274320" cy="274320"/>
              </a:xfrm>
              <a:prstGeom prst="rect">
                <a:avLst/>
              </a:prstGeom>
            </p:spPr>
          </p:pic>
          <p:sp>
            <p:nvSpPr>
              <p:cNvPr id="143" name="Rectangle 142">
                <a:extLst>
                  <a:ext uri="{FF2B5EF4-FFF2-40B4-BE49-F238E27FC236}">
                    <a16:creationId xmlns:a16="http://schemas.microsoft.com/office/drawing/2014/main" id="{459FE931-53D1-4082-9F72-4E6C0C6D622B}"/>
                  </a:ext>
                </a:extLst>
              </p:cNvPr>
              <p:cNvSpPr/>
              <p:nvPr/>
            </p:nvSpPr>
            <p:spPr>
              <a:xfrm>
                <a:off x="2296865" y="4574627"/>
                <a:ext cx="620111" cy="526519"/>
              </a:xfrm>
              <a:prstGeom prst="rect">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41" name="Oval 140">
              <a:extLst>
                <a:ext uri="{FF2B5EF4-FFF2-40B4-BE49-F238E27FC236}">
                  <a16:creationId xmlns:a16="http://schemas.microsoft.com/office/drawing/2014/main" id="{9F7BD084-F3B1-4298-984D-BE06E75C88A5}"/>
                </a:ext>
              </a:extLst>
            </p:cNvPr>
            <p:cNvSpPr/>
            <p:nvPr/>
          </p:nvSpPr>
          <p:spPr>
            <a:xfrm>
              <a:off x="1993570" y="4502977"/>
              <a:ext cx="274320" cy="2743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00" b="1" dirty="0">
                <a:solidFill>
                  <a:schemeClr val="tx1"/>
                </a:solidFill>
              </a:endParaRPr>
            </a:p>
          </p:txBody>
        </p:sp>
      </p:grpSp>
      <p:grpSp>
        <p:nvGrpSpPr>
          <p:cNvPr id="144" name="Group 143">
            <a:extLst>
              <a:ext uri="{FF2B5EF4-FFF2-40B4-BE49-F238E27FC236}">
                <a16:creationId xmlns:a16="http://schemas.microsoft.com/office/drawing/2014/main" id="{CA30A34E-9D81-4BC5-BE87-11A1D79C5478}"/>
              </a:ext>
            </a:extLst>
          </p:cNvPr>
          <p:cNvGrpSpPr/>
          <p:nvPr/>
        </p:nvGrpSpPr>
        <p:grpSpPr>
          <a:xfrm>
            <a:off x="4460541" y="6393554"/>
            <a:ext cx="7224130" cy="400110"/>
            <a:chOff x="4460541" y="6393552"/>
            <a:chExt cx="7224130" cy="400110"/>
          </a:xfrm>
        </p:grpSpPr>
        <p:sp>
          <p:nvSpPr>
            <p:cNvPr id="145" name="Rectangle 144">
              <a:extLst>
                <a:ext uri="{FF2B5EF4-FFF2-40B4-BE49-F238E27FC236}">
                  <a16:creationId xmlns:a16="http://schemas.microsoft.com/office/drawing/2014/main" id="{471CA8E6-14EA-4ECF-8721-B93BEF889ECA}"/>
                </a:ext>
              </a:extLst>
            </p:cNvPr>
            <p:cNvSpPr/>
            <p:nvPr/>
          </p:nvSpPr>
          <p:spPr>
            <a:xfrm>
              <a:off x="8623762" y="6393552"/>
              <a:ext cx="3060909" cy="400110"/>
            </a:xfrm>
            <a:prstGeom prst="rect">
              <a:avLst/>
            </a:prstGeom>
          </p:spPr>
          <p:txBody>
            <a:bodyPr wrap="square" anchor="ctr">
              <a:spAutoFit/>
            </a:bodyPr>
            <a:lstStyle/>
            <a:p>
              <a:r>
                <a:rPr lang="en-US" sz="1000" i="1" dirty="0">
                  <a:cs typeface="Arial" pitchFamily="34" charset="0"/>
                </a:rPr>
                <a:t>REQUIRES FURTHER VETTING WITH STAKEHOLDERS</a:t>
              </a:r>
              <a:endParaRPr lang="en-US" sz="1000" i="1" dirty="0"/>
            </a:p>
          </p:txBody>
        </p:sp>
        <p:pic>
          <p:nvPicPr>
            <p:cNvPr id="146" name="Graphic 73" descr="Checkmark">
              <a:extLst>
                <a:ext uri="{FF2B5EF4-FFF2-40B4-BE49-F238E27FC236}">
                  <a16:creationId xmlns:a16="http://schemas.microsoft.com/office/drawing/2014/main" id="{BE9526A1-1A54-4F9F-84FE-1B9F6E85F826}"/>
                </a:ext>
              </a:extLst>
            </p:cNvPr>
            <p:cNvPicPr>
              <a:picLocks noChangeAspect="1"/>
            </p:cNvPicPr>
            <p:nvPr/>
          </p:nvPicPr>
          <p:blipFill>
            <a:blip r:embed="rId15" cstate="hq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350541" y="6456447"/>
              <a:ext cx="274320" cy="274320"/>
            </a:xfrm>
            <a:prstGeom prst="rect">
              <a:avLst/>
            </a:prstGeom>
          </p:spPr>
        </p:pic>
        <p:sp>
          <p:nvSpPr>
            <p:cNvPr id="147" name="Oval 146">
              <a:extLst>
                <a:ext uri="{FF2B5EF4-FFF2-40B4-BE49-F238E27FC236}">
                  <a16:creationId xmlns:a16="http://schemas.microsoft.com/office/drawing/2014/main" id="{815C1183-EE88-422C-990D-BAEE634F8C35}"/>
                </a:ext>
              </a:extLst>
            </p:cNvPr>
            <p:cNvSpPr/>
            <p:nvPr/>
          </p:nvSpPr>
          <p:spPr>
            <a:xfrm>
              <a:off x="4460541" y="6479307"/>
              <a:ext cx="228600" cy="2286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00" b="1" dirty="0">
                <a:solidFill>
                  <a:schemeClr val="tx1"/>
                </a:solidFill>
              </a:endParaRPr>
            </a:p>
          </p:txBody>
        </p:sp>
        <p:sp>
          <p:nvSpPr>
            <p:cNvPr id="148" name="Rectangle 147">
              <a:extLst>
                <a:ext uri="{FF2B5EF4-FFF2-40B4-BE49-F238E27FC236}">
                  <a16:creationId xmlns:a16="http://schemas.microsoft.com/office/drawing/2014/main" id="{2DAD50BE-A2C3-4F52-B7B3-87E9CED74F3B}"/>
                </a:ext>
              </a:extLst>
            </p:cNvPr>
            <p:cNvSpPr/>
            <p:nvPr/>
          </p:nvSpPr>
          <p:spPr>
            <a:xfrm>
              <a:off x="4672585" y="6470497"/>
              <a:ext cx="1371600" cy="246221"/>
            </a:xfrm>
            <a:prstGeom prst="rect">
              <a:avLst/>
            </a:prstGeom>
          </p:spPr>
          <p:txBody>
            <a:bodyPr wrap="square" anchor="ctr">
              <a:spAutoFit/>
            </a:bodyPr>
            <a:lstStyle/>
            <a:p>
              <a:r>
                <a:rPr lang="en-US" sz="1000" i="1" dirty="0">
                  <a:cs typeface="Arial" pitchFamily="34" charset="0"/>
                </a:rPr>
                <a:t>Under consideration</a:t>
              </a:r>
              <a:endParaRPr lang="en-US" sz="1000" i="1" dirty="0"/>
            </a:p>
          </p:txBody>
        </p:sp>
        <p:sp>
          <p:nvSpPr>
            <p:cNvPr id="149" name="Oval 148">
              <a:extLst>
                <a:ext uri="{FF2B5EF4-FFF2-40B4-BE49-F238E27FC236}">
                  <a16:creationId xmlns:a16="http://schemas.microsoft.com/office/drawing/2014/main" id="{7B27028F-DBD9-4A3D-AE77-77B30A7E663D}"/>
                </a:ext>
              </a:extLst>
            </p:cNvPr>
            <p:cNvSpPr/>
            <p:nvPr/>
          </p:nvSpPr>
          <p:spPr>
            <a:xfrm>
              <a:off x="6020362" y="6479307"/>
              <a:ext cx="228600" cy="228600"/>
            </a:xfrm>
            <a:prstGeom prst="ellipse">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00" b="1" dirty="0">
                <a:solidFill>
                  <a:schemeClr val="tx1"/>
                </a:solidFill>
              </a:endParaRPr>
            </a:p>
          </p:txBody>
        </p:sp>
        <p:sp>
          <p:nvSpPr>
            <p:cNvPr id="150" name="Rectangle 149">
              <a:extLst>
                <a:ext uri="{FF2B5EF4-FFF2-40B4-BE49-F238E27FC236}">
                  <a16:creationId xmlns:a16="http://schemas.microsoft.com/office/drawing/2014/main" id="{15FA7DE5-7BD5-47F9-9CB6-DE640D8B9DAE}"/>
                </a:ext>
              </a:extLst>
            </p:cNvPr>
            <p:cNvSpPr/>
            <p:nvPr/>
          </p:nvSpPr>
          <p:spPr>
            <a:xfrm>
              <a:off x="6232405" y="6470497"/>
              <a:ext cx="2276005" cy="246221"/>
            </a:xfrm>
            <a:prstGeom prst="rect">
              <a:avLst/>
            </a:prstGeom>
          </p:spPr>
          <p:txBody>
            <a:bodyPr wrap="square" anchor="ctr">
              <a:spAutoFit/>
            </a:bodyPr>
            <a:lstStyle/>
            <a:p>
              <a:r>
                <a:rPr lang="en-US" sz="1000" i="1" dirty="0">
                  <a:cs typeface="Arial" pitchFamily="34" charset="0"/>
                </a:rPr>
                <a:t>Not currently under consideration </a:t>
              </a:r>
              <a:endParaRPr lang="en-US" sz="1000" i="1" dirty="0"/>
            </a:p>
          </p:txBody>
        </p:sp>
      </p:grpSp>
    </p:spTree>
    <p:extLst>
      <p:ext uri="{BB962C8B-B14F-4D97-AF65-F5344CB8AC3E}">
        <p14:creationId xmlns:p14="http://schemas.microsoft.com/office/powerpoint/2010/main" val="3117548421"/>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3636E115-5E1B-4F14-AF9E-7710AEBB7D1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2036" name="think-cell Slide" r:id="rId6" imgW="395" imgH="396" progId="TCLayout.ActiveDocument.1">
                  <p:embed/>
                </p:oleObj>
              </mc:Choice>
              <mc:Fallback>
                <p:oleObj name="think-cell Slide" r:id="rId6" imgW="395" imgH="396" progId="TCLayout.ActiveDocument.1">
                  <p:embed/>
                  <p:pic>
                    <p:nvPicPr>
                      <p:cNvPr id="29" name="Object 28" hidden="1">
                        <a:extLst>
                          <a:ext uri="{FF2B5EF4-FFF2-40B4-BE49-F238E27FC236}">
                            <a16:creationId xmlns:a16="http://schemas.microsoft.com/office/drawing/2014/main" id="{3636E115-5E1B-4F14-AF9E-7710AEBB7D1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8" name="Rectangle 27" hidden="1">
            <a:extLst>
              <a:ext uri="{FF2B5EF4-FFF2-40B4-BE49-F238E27FC236}">
                <a16:creationId xmlns:a16="http://schemas.microsoft.com/office/drawing/2014/main" id="{3803FD3E-B1A5-4B86-827A-87806B3A1A9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035CCDCB-9A91-4F45-9E8D-B5C29FCCB509}"/>
              </a:ext>
            </a:extLst>
          </p:cNvPr>
          <p:cNvSpPr>
            <a:spLocks noGrp="1"/>
          </p:cNvSpPr>
          <p:nvPr>
            <p:ph type="title"/>
          </p:nvPr>
        </p:nvSpPr>
        <p:spPr/>
        <p:txBody>
          <a:bodyPr/>
          <a:lstStyle/>
          <a:p>
            <a:r>
              <a:rPr lang="en-US" dirty="0"/>
              <a:t>Bangalore fit assessment: Creative</a:t>
            </a:r>
          </a:p>
        </p:txBody>
      </p:sp>
      <p:sp>
        <p:nvSpPr>
          <p:cNvPr id="3" name="Text Placeholder 2">
            <a:extLst>
              <a:ext uri="{FF2B5EF4-FFF2-40B4-BE49-F238E27FC236}">
                <a16:creationId xmlns:a16="http://schemas.microsoft.com/office/drawing/2014/main" id="{AC655330-9853-4EFF-812E-7F2D10516F54}"/>
              </a:ext>
            </a:extLst>
          </p:cNvPr>
          <p:cNvSpPr>
            <a:spLocks noGrp="1"/>
          </p:cNvSpPr>
          <p:nvPr>
            <p:ph type="body" sz="quarter" idx="14"/>
          </p:nvPr>
        </p:nvSpPr>
        <p:spPr/>
        <p:txBody>
          <a:bodyPr/>
          <a:lstStyle/>
          <a:p>
            <a:r>
              <a:rPr lang="en-US" dirty="0"/>
              <a:t>Based on an initial evaluation, we believe Bangalore is a strong candidate for offshoring select work processes</a:t>
            </a:r>
          </a:p>
        </p:txBody>
      </p:sp>
      <p:sp>
        <p:nvSpPr>
          <p:cNvPr id="4" name="Text Placeholder 3">
            <a:extLst>
              <a:ext uri="{FF2B5EF4-FFF2-40B4-BE49-F238E27FC236}">
                <a16:creationId xmlns:a16="http://schemas.microsoft.com/office/drawing/2014/main" id="{085E2273-E07A-41E0-AD23-4E3772ACC80C}"/>
              </a:ext>
            </a:extLst>
          </p:cNvPr>
          <p:cNvSpPr>
            <a:spLocks noGrp="1"/>
          </p:cNvSpPr>
          <p:nvPr>
            <p:ph type="body" sz="quarter" idx="15"/>
          </p:nvPr>
        </p:nvSpPr>
        <p:spPr/>
        <p:txBody>
          <a:bodyPr/>
          <a:lstStyle/>
          <a:p>
            <a:r>
              <a:rPr lang="en-US" dirty="0"/>
              <a:t>TABLE</a:t>
            </a:r>
          </a:p>
        </p:txBody>
      </p:sp>
      <p:sp>
        <p:nvSpPr>
          <p:cNvPr id="5" name="Title 2">
            <a:extLst>
              <a:ext uri="{FF2B5EF4-FFF2-40B4-BE49-F238E27FC236}">
                <a16:creationId xmlns:a16="http://schemas.microsoft.com/office/drawing/2014/main" id="{B814B0C3-4F40-4DD7-B61B-D50DCEEAB487}"/>
              </a:ext>
            </a:extLst>
          </p:cNvPr>
          <p:cNvSpPr txBox="1">
            <a:spLocks/>
          </p:cNvSpPr>
          <p:nvPr/>
        </p:nvSpPr>
        <p:spPr>
          <a:xfrm>
            <a:off x="469901" y="402587"/>
            <a:ext cx="11252201"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sp>
        <p:nvSpPr>
          <p:cNvPr id="15" name="Rectangle 14">
            <a:hlinkClick r:id="" action="ppaction://noaction"/>
            <a:extLst>
              <a:ext uri="{FF2B5EF4-FFF2-40B4-BE49-F238E27FC236}">
                <a16:creationId xmlns:a16="http://schemas.microsoft.com/office/drawing/2014/main" id="{2BE980D5-B62D-4DB5-803B-F560C31A0C75}"/>
              </a:ext>
            </a:extLst>
          </p:cNvPr>
          <p:cNvSpPr/>
          <p:nvPr/>
        </p:nvSpPr>
        <p:spPr>
          <a:xfrm>
            <a:off x="5948085" y="1578322"/>
            <a:ext cx="3084834" cy="6401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ea typeface="+mn-ea"/>
                <a:cs typeface="Arial" panose="020B0604020202020204" pitchFamily="34" charset="0"/>
              </a:rPr>
              <a:t>High Tech Manufacturer</a:t>
            </a:r>
          </a:p>
        </p:txBody>
      </p:sp>
      <p:graphicFrame>
        <p:nvGraphicFramePr>
          <p:cNvPr id="67" name="Table 66">
            <a:extLst>
              <a:ext uri="{FF2B5EF4-FFF2-40B4-BE49-F238E27FC236}">
                <a16:creationId xmlns:a16="http://schemas.microsoft.com/office/drawing/2014/main" id="{83BFA58D-6180-4B4C-B228-A4B00ADD0108}"/>
              </a:ext>
            </a:extLst>
          </p:cNvPr>
          <p:cNvGraphicFramePr>
            <a:graphicFrameLocks noGrp="1"/>
          </p:cNvGraphicFramePr>
          <p:nvPr>
            <p:extLst>
              <p:ext uri="{D42A27DB-BD31-4B8C-83A1-F6EECF244321}">
                <p14:modId xmlns:p14="http://schemas.microsoft.com/office/powerpoint/2010/main" val="376263487"/>
              </p:ext>
            </p:extLst>
          </p:nvPr>
        </p:nvGraphicFramePr>
        <p:xfrm>
          <a:off x="914400" y="1669823"/>
          <a:ext cx="10363200" cy="4496290"/>
        </p:xfrm>
        <a:graphic>
          <a:graphicData uri="http://schemas.openxmlformats.org/drawingml/2006/table">
            <a:tbl>
              <a:tblPr firstRow="1" bandRow="1">
                <a:tableStyleId>{5940675A-B579-460E-94D1-54222C63F5DA}</a:tableStyleId>
              </a:tblPr>
              <a:tblGrid>
                <a:gridCol w="3040211">
                  <a:extLst>
                    <a:ext uri="{9D8B030D-6E8A-4147-A177-3AD203B41FA5}">
                      <a16:colId xmlns:a16="http://schemas.microsoft.com/office/drawing/2014/main" val="20002"/>
                    </a:ext>
                  </a:extLst>
                </a:gridCol>
                <a:gridCol w="437291">
                  <a:extLst>
                    <a:ext uri="{9D8B030D-6E8A-4147-A177-3AD203B41FA5}">
                      <a16:colId xmlns:a16="http://schemas.microsoft.com/office/drawing/2014/main" val="3851961041"/>
                    </a:ext>
                  </a:extLst>
                </a:gridCol>
                <a:gridCol w="6885698">
                  <a:extLst>
                    <a:ext uri="{9D8B030D-6E8A-4147-A177-3AD203B41FA5}">
                      <a16:colId xmlns:a16="http://schemas.microsoft.com/office/drawing/2014/main" val="3447727305"/>
                    </a:ext>
                  </a:extLst>
                </a:gridCol>
              </a:tblGrid>
              <a:tr h="274320">
                <a:tc>
                  <a:txBody>
                    <a:bodyPr/>
                    <a:lstStyle/>
                    <a:p>
                      <a:pPr algn="ctr"/>
                      <a:r>
                        <a:rPr lang="en-US" sz="1200" b="1" kern="1200" dirty="0">
                          <a:solidFill>
                            <a:schemeClr val="tx2"/>
                          </a:solidFill>
                          <a:latin typeface="+mn-lt"/>
                          <a:ea typeface="+mn-ea"/>
                          <a:cs typeface="+mn-cs"/>
                        </a:rPr>
                        <a:t>Work Process</a:t>
                      </a:r>
                    </a:p>
                  </a:txBody>
                  <a:tcPr marT="25807" marB="25807"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b="1" kern="1200" dirty="0">
                          <a:solidFill>
                            <a:schemeClr val="tx2"/>
                          </a:solidFill>
                          <a:latin typeface="+mn-lt"/>
                          <a:ea typeface="+mn-ea"/>
                          <a:cs typeface="+mn-cs"/>
                        </a:rPr>
                        <a:t>Fit</a:t>
                      </a:r>
                    </a:p>
                  </a:txBody>
                  <a:tcPr marT="25807" marB="25807"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b="1" kern="1200" dirty="0">
                          <a:solidFill>
                            <a:schemeClr val="tx2"/>
                          </a:solidFill>
                          <a:latin typeface="+mn-lt"/>
                          <a:ea typeface="+mn-ea"/>
                          <a:cs typeface="+mn-cs"/>
                        </a:rPr>
                        <a:t>Assessment</a:t>
                      </a:r>
                    </a:p>
                  </a:txBody>
                  <a:tcPr marT="25807" marB="25807"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kern="1200" baseline="0" dirty="0">
                          <a:solidFill>
                            <a:schemeClr val="tx1"/>
                          </a:solidFill>
                          <a:latin typeface="+mn-lt"/>
                          <a:ea typeface="+mn-ea"/>
                          <a:cs typeface="+mn-cs"/>
                        </a:rPr>
                        <a:t>In-store signage versioning</a:t>
                      </a:r>
                    </a:p>
                  </a:txBody>
                  <a:tcPr marT="15485" marB="15485"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kern="1200" baseline="0" dirty="0">
                        <a:solidFill>
                          <a:schemeClr val="tx1"/>
                        </a:solidFill>
                        <a:latin typeface="+mn-lt"/>
                        <a:ea typeface="+mn-ea"/>
                        <a:cs typeface="+mn-cs"/>
                      </a:endParaRPr>
                    </a:p>
                  </a:txBody>
                  <a:tcPr marT="15485" marB="15485"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lumMod val="40000"/>
                        <a:lumOff val="60000"/>
                      </a:schemeClr>
                    </a:solidFill>
                  </a:tcPr>
                </a:tc>
                <a:tc rowSpan="6">
                  <a:txBody>
                    <a:bodyPr/>
                    <a:lstStyle/>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00" kern="1200" baseline="0" dirty="0">
                          <a:solidFill>
                            <a:schemeClr val="tx1"/>
                          </a:solidFill>
                          <a:latin typeface="+mn-lt"/>
                          <a:ea typeface="+mn-ea"/>
                          <a:cs typeface="+mn-cs"/>
                        </a:rPr>
                        <a:t>Favorable time zone benefits allows for round-the-clock working sessions</a:t>
                      </a:r>
                    </a:p>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00" kern="1200" baseline="0" dirty="0">
                          <a:solidFill>
                            <a:schemeClr val="tx1"/>
                          </a:solidFill>
                          <a:latin typeface="+mn-lt"/>
                          <a:ea typeface="+mn-ea"/>
                          <a:cs typeface="+mn-cs"/>
                        </a:rPr>
                        <a:t>Strong candidate due to repetitive, standardized, and easily coachable nature of activities</a:t>
                      </a:r>
                    </a:p>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00" kern="1200" baseline="0" dirty="0">
                          <a:solidFill>
                            <a:schemeClr val="tx1"/>
                          </a:solidFill>
                          <a:latin typeface="+mn-lt"/>
                          <a:ea typeface="+mn-ea"/>
                          <a:cs typeface="+mn-cs"/>
                        </a:rPr>
                        <a:t>Does not require nearby proximity to product source</a:t>
                      </a:r>
                    </a:p>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00" kern="1200" baseline="0" dirty="0">
                          <a:solidFill>
                            <a:schemeClr val="tx1"/>
                          </a:solidFill>
                          <a:latin typeface="+mn-lt"/>
                          <a:ea typeface="+mn-ea"/>
                          <a:cs typeface="+mn-cs"/>
                        </a:rPr>
                        <a:t>Strong analytical skillset in Bangalore provides for an ideal HTML build and testing environment</a:t>
                      </a:r>
                    </a:p>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00" kern="1200" baseline="0" dirty="0">
                          <a:solidFill>
                            <a:schemeClr val="tx1"/>
                          </a:solidFill>
                          <a:latin typeface="+mn-lt"/>
                          <a:ea typeface="+mn-ea"/>
                          <a:cs typeface="+mn-cs"/>
                        </a:rPr>
                        <a:t>Notable cost savings are anticipated from offshoring this activity to Bangalore</a:t>
                      </a:r>
                    </a:p>
                  </a:txBody>
                  <a:tcPr marT="15485" marB="15485" anchor="ctr">
                    <a:lnL w="12700" cap="flat" cmpd="sng" algn="ctr">
                      <a:solidFill>
                        <a:schemeClr val="bg1">
                          <a:lumMod val="85000"/>
                        </a:schemeClr>
                      </a:solidFill>
                      <a:prstDash val="sysDot"/>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871004260"/>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kern="1200" baseline="0" dirty="0">
                          <a:solidFill>
                            <a:schemeClr val="tx1"/>
                          </a:solidFill>
                          <a:latin typeface="+mn-lt"/>
                          <a:ea typeface="+mn-ea"/>
                          <a:cs typeface="+mn-cs"/>
                        </a:rPr>
                        <a:t>Magazine versioning</a:t>
                      </a:r>
                    </a:p>
                  </a:txBody>
                  <a:tcPr marT="15485" marB="15485"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kern="1200" baseline="0" dirty="0">
                        <a:solidFill>
                          <a:schemeClr val="tx1"/>
                        </a:solidFill>
                        <a:latin typeface="+mn-lt"/>
                        <a:ea typeface="+mn-ea"/>
                        <a:cs typeface="+mn-cs"/>
                      </a:endParaRPr>
                    </a:p>
                  </a:txBody>
                  <a:tcPr marT="15485" marB="15485"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FFF94"/>
                    </a:solidFill>
                  </a:tcPr>
                </a:tc>
                <a:tc vMerge="1">
                  <a:txBody>
                    <a:bodyPr/>
                    <a:lstStyle/>
                    <a:p>
                      <a:endParaRPr lang="en-US"/>
                    </a:p>
                  </a:txBody>
                  <a:tcPr/>
                </a:tc>
                <a:extLst>
                  <a:ext uri="{0D108BD9-81ED-4DB2-BD59-A6C34878D82A}">
                    <a16:rowId xmlns:a16="http://schemas.microsoft.com/office/drawing/2014/main" val="3494616267"/>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kern="1200" baseline="0" dirty="0">
                          <a:solidFill>
                            <a:schemeClr val="tx1"/>
                          </a:solidFill>
                          <a:latin typeface="+mn-lt"/>
                          <a:ea typeface="+mn-ea"/>
                          <a:cs typeface="+mn-cs"/>
                        </a:rPr>
                        <a:t>Small-scale marketing packages (e.g., Legal)</a:t>
                      </a:r>
                    </a:p>
                  </a:txBody>
                  <a:tcPr marT="15485" marB="15485"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kern="1200" baseline="0" dirty="0">
                        <a:solidFill>
                          <a:schemeClr val="tx1"/>
                        </a:solidFill>
                        <a:latin typeface="+mn-lt"/>
                        <a:ea typeface="+mn-ea"/>
                        <a:cs typeface="+mn-cs"/>
                      </a:endParaRPr>
                    </a:p>
                  </a:txBody>
                  <a:tcPr marT="15485" marB="15485"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FFF94"/>
                    </a:solidFill>
                  </a:tcPr>
                </a:tc>
                <a:tc vMerge="1">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kern="1200" baseline="0" dirty="0">
                        <a:solidFill>
                          <a:schemeClr val="tx1"/>
                        </a:solidFill>
                        <a:latin typeface="+mn-lt"/>
                        <a:ea typeface="+mn-ea"/>
                        <a:cs typeface="+mn-cs"/>
                      </a:endParaRPr>
                    </a:p>
                  </a:txBody>
                  <a:tcPr marT="15485" marB="15485" anchor="ctr">
                    <a:lnL w="19050" cap="flat" cmpd="sng" algn="ctr">
                      <a:solidFill>
                        <a:schemeClr val="bg1">
                          <a:lumMod val="85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74984442"/>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kern="1200" baseline="0" dirty="0">
                          <a:solidFill>
                            <a:schemeClr val="tx1"/>
                          </a:solidFill>
                          <a:latin typeface="+mn-lt"/>
                          <a:ea typeface="+mn-ea"/>
                          <a:cs typeface="+mn-cs"/>
                        </a:rPr>
                        <a:t>Template-based HTML design</a:t>
                      </a:r>
                    </a:p>
                  </a:txBody>
                  <a:tcPr marT="15485" marB="15485"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kern="1200" baseline="0" dirty="0">
                        <a:solidFill>
                          <a:schemeClr val="tx1"/>
                        </a:solidFill>
                        <a:latin typeface="+mn-lt"/>
                        <a:ea typeface="+mn-ea"/>
                        <a:cs typeface="+mn-cs"/>
                      </a:endParaRPr>
                    </a:p>
                  </a:txBody>
                  <a:tcPr marT="15485" marB="15485"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FFF94"/>
                    </a:solidFill>
                  </a:tcPr>
                </a:tc>
                <a:tc vMerge="1">
                  <a:txBody>
                    <a:bodyPr/>
                    <a:lstStyle/>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endParaRPr lang="en-US" sz="1000" kern="1200" baseline="0" dirty="0">
                        <a:solidFill>
                          <a:schemeClr val="tx1"/>
                        </a:solidFill>
                        <a:latin typeface="+mn-lt"/>
                        <a:ea typeface="+mn-ea"/>
                        <a:cs typeface="+mn-cs"/>
                      </a:endParaRPr>
                    </a:p>
                  </a:txBody>
                  <a:tcPr marT="15485" marB="15485" anchor="ctr">
                    <a:lnL w="19050" cap="flat" cmpd="sng" algn="ctr">
                      <a:solidFill>
                        <a:schemeClr val="bg1">
                          <a:lumMod val="85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21275536"/>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kern="1200" baseline="0" dirty="0">
                          <a:solidFill>
                            <a:schemeClr val="tx1"/>
                          </a:solidFill>
                          <a:latin typeface="+mn-lt"/>
                          <a:ea typeface="+mn-ea"/>
                          <a:cs typeface="+mn-cs"/>
                        </a:rPr>
                        <a:t>HTML builds &amp; functionality testing</a:t>
                      </a:r>
                    </a:p>
                  </a:txBody>
                  <a:tcPr marT="15485" marB="15485"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kern="1200" baseline="0" dirty="0">
                        <a:solidFill>
                          <a:schemeClr val="tx1"/>
                        </a:solidFill>
                        <a:latin typeface="+mn-lt"/>
                        <a:ea typeface="+mn-ea"/>
                        <a:cs typeface="+mn-cs"/>
                      </a:endParaRPr>
                    </a:p>
                  </a:txBody>
                  <a:tcPr marT="15485" marB="15485"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FFF94"/>
                    </a:solidFill>
                  </a:tcPr>
                </a:tc>
                <a:tc vMerge="1">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kern="1200" baseline="0" dirty="0">
                        <a:solidFill>
                          <a:schemeClr val="tx1"/>
                        </a:solidFill>
                        <a:latin typeface="+mn-lt"/>
                        <a:ea typeface="+mn-ea"/>
                        <a:cs typeface="+mn-cs"/>
                      </a:endParaRPr>
                    </a:p>
                  </a:txBody>
                  <a:tcPr marT="15485" marB="15485" anchor="ctr">
                    <a:lnL w="19050" cap="flat" cmpd="sng" algn="ctr">
                      <a:solidFill>
                        <a:schemeClr val="bg1">
                          <a:lumMod val="85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83737472"/>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kern="1200" baseline="0" dirty="0">
                          <a:solidFill>
                            <a:schemeClr val="tx1"/>
                          </a:solidFill>
                          <a:latin typeface="+mn-lt"/>
                          <a:ea typeface="+mn-ea"/>
                          <a:cs typeface="+mn-cs"/>
                        </a:rPr>
                        <a:t>Template-based paid social ad design</a:t>
                      </a:r>
                    </a:p>
                  </a:txBody>
                  <a:tcPr marT="15485" marB="15485"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kern="1200" baseline="0" dirty="0">
                        <a:solidFill>
                          <a:schemeClr val="tx1"/>
                        </a:solidFill>
                        <a:latin typeface="+mn-lt"/>
                        <a:ea typeface="+mn-ea"/>
                        <a:cs typeface="+mn-cs"/>
                      </a:endParaRPr>
                    </a:p>
                  </a:txBody>
                  <a:tcPr marT="15485" marB="15485"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FFF94"/>
                    </a:solidFill>
                  </a:tcPr>
                </a:tc>
                <a:tc vMerge="1">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kern="1200" baseline="0" dirty="0">
                        <a:solidFill>
                          <a:schemeClr val="tx1"/>
                        </a:solidFill>
                        <a:latin typeface="+mn-lt"/>
                        <a:ea typeface="+mn-ea"/>
                        <a:cs typeface="+mn-cs"/>
                      </a:endParaRPr>
                    </a:p>
                  </a:txBody>
                  <a:tcPr marT="15485" marB="15485" anchor="ctr">
                    <a:lnL w="19050" cap="flat" cmpd="sng" algn="ctr">
                      <a:solidFill>
                        <a:schemeClr val="bg1">
                          <a:lumMod val="85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05920057"/>
                  </a:ext>
                </a:extLst>
              </a:tr>
              <a:tr h="114300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kern="1200" baseline="0" dirty="0">
                          <a:solidFill>
                            <a:schemeClr val="tx1"/>
                          </a:solidFill>
                          <a:latin typeface="+mn-lt"/>
                          <a:ea typeface="+mn-ea"/>
                          <a:cs typeface="+mn-cs"/>
                        </a:rPr>
                        <a:t>Photo retouching</a:t>
                      </a:r>
                    </a:p>
                  </a:txBody>
                  <a:tcPr marT="15485" marB="15485"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kern="1200" baseline="0" dirty="0">
                        <a:solidFill>
                          <a:schemeClr val="tx1"/>
                        </a:solidFill>
                        <a:latin typeface="+mn-lt"/>
                        <a:ea typeface="+mn-ea"/>
                        <a:cs typeface="+mn-cs"/>
                      </a:endParaRPr>
                    </a:p>
                  </a:txBody>
                  <a:tcPr marT="15485" marB="15485"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3">
                        <a:lumMod val="40000"/>
                        <a:lumOff val="60000"/>
                      </a:schemeClr>
                    </a:solidFill>
                  </a:tcPr>
                </a:tc>
                <a:tc>
                  <a:txBody>
                    <a:bodyPr/>
                    <a:lstStyle/>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00" kern="1200" baseline="0" dirty="0">
                          <a:solidFill>
                            <a:schemeClr val="tx1"/>
                          </a:solidFill>
                          <a:latin typeface="+mn-lt"/>
                          <a:ea typeface="+mn-ea"/>
                          <a:cs typeface="+mn-cs"/>
                        </a:rPr>
                        <a:t>Favorable time zone allows for round-the-clock working sessions to facilitate quick turnaround</a:t>
                      </a:r>
                    </a:p>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00" kern="1200" baseline="0" dirty="0">
                          <a:solidFill>
                            <a:schemeClr val="tx1"/>
                          </a:solidFill>
                          <a:latin typeface="+mn-lt"/>
                          <a:ea typeface="+mn-ea"/>
                          <a:cs typeface="+mn-cs"/>
                        </a:rPr>
                        <a:t>Strong candidate due to repetitive, standardized, and easily coachable nature of activities</a:t>
                      </a:r>
                    </a:p>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00" kern="1200" baseline="0" dirty="0">
                          <a:solidFill>
                            <a:schemeClr val="tx1"/>
                          </a:solidFill>
                          <a:latin typeface="+mn-lt"/>
                          <a:ea typeface="+mn-ea"/>
                          <a:cs typeface="+mn-cs"/>
                        </a:rPr>
                        <a:t>Main partner for dotcom photo offshore retouching is Vendor A, which is located in Mumbai (the hub of Creative talent in India)</a:t>
                      </a:r>
                    </a:p>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00" kern="1200" baseline="0" dirty="0">
                          <a:solidFill>
                            <a:schemeClr val="tx1"/>
                          </a:solidFill>
                          <a:latin typeface="+mn-lt"/>
                          <a:ea typeface="+mn-ea"/>
                          <a:cs typeface="+mn-cs"/>
                        </a:rPr>
                        <a:t>Legal color matching requirements mandate that some elements of retouching need to be co-located with photography</a:t>
                      </a:r>
                    </a:p>
                  </a:txBody>
                  <a:tcPr marT="15485" marB="15485" anchor="ctr">
                    <a:lnL w="12700" cap="flat" cmpd="sng" algn="ctr">
                      <a:solidFill>
                        <a:schemeClr val="bg1">
                          <a:lumMod val="85000"/>
                        </a:schemeClr>
                      </a:solidFill>
                      <a:prstDash val="sysDot"/>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470351704"/>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kern="1200" baseline="0" dirty="0">
                          <a:solidFill>
                            <a:schemeClr val="tx1"/>
                          </a:solidFill>
                          <a:latin typeface="+mn-lt"/>
                          <a:ea typeface="+mn-ea"/>
                          <a:cs typeface="+mn-cs"/>
                        </a:rPr>
                        <a:t>Home &amp; hardlines product silo photography</a:t>
                      </a:r>
                    </a:p>
                  </a:txBody>
                  <a:tcPr marT="15485" marB="15485"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kern="1200" baseline="0" dirty="0">
                        <a:solidFill>
                          <a:schemeClr val="tx1"/>
                        </a:solidFill>
                        <a:latin typeface="+mn-lt"/>
                        <a:ea typeface="+mn-ea"/>
                        <a:cs typeface="+mn-cs"/>
                      </a:endParaRPr>
                    </a:p>
                  </a:txBody>
                  <a:tcPr marT="15485" marB="15485"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8585"/>
                    </a:solidFill>
                  </a:tcPr>
                </a:tc>
                <a:tc rowSpan="5">
                  <a:txBody>
                    <a:bodyPr/>
                    <a:lstStyle/>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00" kern="1200" baseline="0" dirty="0">
                          <a:solidFill>
                            <a:schemeClr val="tx1"/>
                          </a:solidFill>
                          <a:latin typeface="+mn-lt"/>
                          <a:ea typeface="+mn-ea"/>
                          <a:cs typeface="+mn-cs"/>
                        </a:rPr>
                        <a:t>Lack of proximity benefit to product countries of origin given India is not a major hub for sourcing – only about 1% of products from a recent magazine issue were sourced from India</a:t>
                      </a:r>
                      <a:r>
                        <a:rPr lang="en-US" sz="1000" kern="1200" baseline="30000" dirty="0">
                          <a:solidFill>
                            <a:schemeClr val="tx1"/>
                          </a:solidFill>
                          <a:latin typeface="+mn-lt"/>
                          <a:ea typeface="+mn-ea"/>
                          <a:cs typeface="+mn-cs"/>
                        </a:rPr>
                        <a:t>1</a:t>
                      </a:r>
                      <a:endParaRPr lang="en-US" sz="1000" kern="1200" baseline="0" dirty="0">
                        <a:solidFill>
                          <a:schemeClr val="tx1"/>
                        </a:solidFill>
                        <a:latin typeface="+mn-lt"/>
                        <a:ea typeface="+mn-ea"/>
                        <a:cs typeface="+mn-cs"/>
                      </a:endParaRPr>
                    </a:p>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00" kern="1200" baseline="0" dirty="0">
                          <a:solidFill>
                            <a:schemeClr val="tx1"/>
                          </a:solidFill>
                          <a:latin typeface="+mn-lt"/>
                          <a:ea typeface="+mn-ea"/>
                          <a:cs typeface="+mn-cs"/>
                        </a:rPr>
                        <a:t>Increased complexity of third-party logistics providers</a:t>
                      </a:r>
                    </a:p>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00" kern="1200" baseline="0" dirty="0">
                          <a:solidFill>
                            <a:schemeClr val="tx1"/>
                          </a:solidFill>
                          <a:latin typeface="+mn-lt"/>
                          <a:ea typeface="+mn-ea"/>
                          <a:cs typeface="+mn-cs"/>
                        </a:rPr>
                        <a:t>Uncertain tax and customs implications from China to India</a:t>
                      </a:r>
                    </a:p>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000" kern="1200" baseline="0" dirty="0">
                          <a:solidFill>
                            <a:schemeClr val="tx1"/>
                          </a:solidFill>
                          <a:latin typeface="+mn-lt"/>
                          <a:ea typeface="+mn-ea"/>
                          <a:cs typeface="+mn-cs"/>
                        </a:rPr>
                        <a:t>Creative talent availability more limited in Bangalore; Mumbai is the Creative hub of India, followed by New Delhi</a:t>
                      </a:r>
                    </a:p>
                  </a:txBody>
                  <a:tcPr marT="15485" marB="15485" anchor="ctr">
                    <a:lnL w="12700" cap="flat" cmpd="sng" algn="ctr">
                      <a:solidFill>
                        <a:schemeClr val="bg1">
                          <a:lumMod val="85000"/>
                        </a:schemeClr>
                      </a:solidFill>
                      <a:prstDash val="sysDot"/>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53297471"/>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kern="1200" baseline="0" dirty="0">
                          <a:solidFill>
                            <a:schemeClr val="tx1"/>
                          </a:solidFill>
                          <a:latin typeface="+mn-lt"/>
                          <a:ea typeface="+mn-ea"/>
                          <a:cs typeface="+mn-cs"/>
                        </a:rPr>
                        <a:t>Dry grocery &amp; consumables product silo photography</a:t>
                      </a:r>
                    </a:p>
                  </a:txBody>
                  <a:tcPr marT="15485" marB="15485"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kern="1200" baseline="0" dirty="0">
                        <a:solidFill>
                          <a:schemeClr val="tx1"/>
                        </a:solidFill>
                        <a:latin typeface="+mn-lt"/>
                        <a:ea typeface="+mn-ea"/>
                        <a:cs typeface="+mn-cs"/>
                      </a:endParaRPr>
                    </a:p>
                  </a:txBody>
                  <a:tcPr marT="15485" marB="15485"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8585"/>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kern="1200" baseline="0" dirty="0">
                        <a:solidFill>
                          <a:schemeClr val="tx1"/>
                        </a:solidFill>
                        <a:latin typeface="+mn-lt"/>
                        <a:ea typeface="+mn-ea"/>
                        <a:cs typeface="+mn-cs"/>
                      </a:endParaRPr>
                    </a:p>
                  </a:txBody>
                  <a:tcPr marT="15485" marB="15485" anchor="ctr">
                    <a:lnL w="19050" cap="flat" cmpd="sng" algn="ctr">
                      <a:solidFill>
                        <a:schemeClr val="bg1">
                          <a:lumMod val="85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42185348"/>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kern="1200" baseline="0" dirty="0">
                          <a:solidFill>
                            <a:schemeClr val="tx1"/>
                          </a:solidFill>
                          <a:latin typeface="+mn-lt"/>
                          <a:ea typeface="+mn-ea"/>
                          <a:cs typeface="+mn-cs"/>
                        </a:rPr>
                        <a:t>Apparel figure silo photography</a:t>
                      </a:r>
                    </a:p>
                  </a:txBody>
                  <a:tcPr marT="15485" marB="15485"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kern="1200" baseline="0" dirty="0">
                        <a:solidFill>
                          <a:schemeClr val="tx1"/>
                        </a:solidFill>
                        <a:latin typeface="+mn-lt"/>
                        <a:ea typeface="+mn-ea"/>
                        <a:cs typeface="+mn-cs"/>
                      </a:endParaRPr>
                    </a:p>
                  </a:txBody>
                  <a:tcPr marT="15485" marB="15485"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8585"/>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kern="1200" baseline="0" dirty="0">
                        <a:solidFill>
                          <a:schemeClr val="tx1"/>
                        </a:solidFill>
                        <a:latin typeface="+mn-lt"/>
                        <a:ea typeface="+mn-ea"/>
                        <a:cs typeface="+mn-cs"/>
                      </a:endParaRPr>
                    </a:p>
                  </a:txBody>
                  <a:tcPr marT="15485" marB="15485" anchor="ctr">
                    <a:lnL w="19050" cap="flat" cmpd="sng" algn="ctr">
                      <a:solidFill>
                        <a:schemeClr val="bg1">
                          <a:lumMod val="85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12232109"/>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kern="1200" baseline="0" dirty="0">
                          <a:solidFill>
                            <a:schemeClr val="tx1"/>
                          </a:solidFill>
                          <a:latin typeface="+mn-lt"/>
                          <a:ea typeface="+mn-ea"/>
                          <a:cs typeface="+mn-cs"/>
                        </a:rPr>
                        <a:t>Home &amp; hardlines stylized photography</a:t>
                      </a:r>
                    </a:p>
                  </a:txBody>
                  <a:tcPr marT="15485" marB="15485"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kern="1200" baseline="0" dirty="0">
                        <a:solidFill>
                          <a:schemeClr val="tx1"/>
                        </a:solidFill>
                        <a:latin typeface="+mn-lt"/>
                        <a:ea typeface="+mn-ea"/>
                        <a:cs typeface="+mn-cs"/>
                      </a:endParaRPr>
                    </a:p>
                  </a:txBody>
                  <a:tcPr marT="15485" marB="15485"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8585"/>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kern="1200" baseline="0" dirty="0">
                        <a:solidFill>
                          <a:schemeClr val="tx1"/>
                        </a:solidFill>
                        <a:latin typeface="+mn-lt"/>
                        <a:ea typeface="+mn-ea"/>
                        <a:cs typeface="+mn-cs"/>
                      </a:endParaRPr>
                    </a:p>
                  </a:txBody>
                  <a:tcPr marT="15485" marB="15485" anchor="ctr">
                    <a:lnL w="19050" cap="flat" cmpd="sng" algn="ctr">
                      <a:solidFill>
                        <a:schemeClr val="bg1">
                          <a:lumMod val="85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03771994"/>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kern="1200" baseline="0" dirty="0">
                          <a:solidFill>
                            <a:schemeClr val="tx1"/>
                          </a:solidFill>
                          <a:latin typeface="+mn-lt"/>
                          <a:ea typeface="+mn-ea"/>
                          <a:cs typeface="+mn-cs"/>
                        </a:rPr>
                        <a:t>Apparel stylized photography</a:t>
                      </a:r>
                    </a:p>
                  </a:txBody>
                  <a:tcPr marT="15485" marB="15485"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kern="1200" baseline="0" dirty="0">
                        <a:solidFill>
                          <a:schemeClr val="tx1"/>
                        </a:solidFill>
                        <a:latin typeface="+mn-lt"/>
                        <a:ea typeface="+mn-ea"/>
                        <a:cs typeface="+mn-cs"/>
                      </a:endParaRPr>
                    </a:p>
                  </a:txBody>
                  <a:tcPr marT="15485" marB="15485"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8585"/>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kern="1200" baseline="0" dirty="0">
                        <a:solidFill>
                          <a:schemeClr val="tx1"/>
                        </a:solidFill>
                        <a:latin typeface="+mn-lt"/>
                        <a:ea typeface="+mn-ea"/>
                        <a:cs typeface="+mn-cs"/>
                      </a:endParaRPr>
                    </a:p>
                  </a:txBody>
                  <a:tcPr marT="15485" marB="15485" anchor="ctr">
                    <a:lnL w="19050" cap="flat" cmpd="sng" algn="ctr">
                      <a:solidFill>
                        <a:schemeClr val="bg1">
                          <a:lumMod val="85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867399525"/>
                  </a:ext>
                </a:extLst>
              </a:tr>
            </a:tbl>
          </a:graphicData>
        </a:graphic>
      </p:graphicFrame>
      <p:grpSp>
        <p:nvGrpSpPr>
          <p:cNvPr id="68" name="Group 67">
            <a:extLst>
              <a:ext uri="{FF2B5EF4-FFF2-40B4-BE49-F238E27FC236}">
                <a16:creationId xmlns:a16="http://schemas.microsoft.com/office/drawing/2014/main" id="{F872DF73-8A58-4D99-9ABB-8243D7C850B4}"/>
              </a:ext>
            </a:extLst>
          </p:cNvPr>
          <p:cNvGrpSpPr/>
          <p:nvPr/>
        </p:nvGrpSpPr>
        <p:grpSpPr>
          <a:xfrm>
            <a:off x="8411848" y="6256189"/>
            <a:ext cx="2958850" cy="423957"/>
            <a:chOff x="8411848" y="6275043"/>
            <a:chExt cx="2958850" cy="423957"/>
          </a:xfrm>
        </p:grpSpPr>
        <p:sp>
          <p:nvSpPr>
            <p:cNvPr id="69" name="Rectangle 68">
              <a:extLst>
                <a:ext uri="{FF2B5EF4-FFF2-40B4-BE49-F238E27FC236}">
                  <a16:creationId xmlns:a16="http://schemas.microsoft.com/office/drawing/2014/main" id="{A093ABDD-8102-4AB1-A403-C077933BCC44}"/>
                </a:ext>
              </a:extLst>
            </p:cNvPr>
            <p:cNvSpPr/>
            <p:nvPr/>
          </p:nvSpPr>
          <p:spPr>
            <a:xfrm>
              <a:off x="8501418" y="6445639"/>
              <a:ext cx="309014" cy="174897"/>
            </a:xfrm>
            <a:prstGeom prst="rect">
              <a:avLst/>
            </a:prstGeom>
            <a:solidFill>
              <a:srgbClr val="CFFF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tangle 69">
              <a:extLst>
                <a:ext uri="{FF2B5EF4-FFF2-40B4-BE49-F238E27FC236}">
                  <a16:creationId xmlns:a16="http://schemas.microsoft.com/office/drawing/2014/main" id="{A4ADD1E1-5FA6-484E-8E9F-31DE2BCB0B9E}"/>
                </a:ext>
              </a:extLst>
            </p:cNvPr>
            <p:cNvSpPr/>
            <p:nvPr/>
          </p:nvSpPr>
          <p:spPr>
            <a:xfrm>
              <a:off x="8411848" y="6341307"/>
              <a:ext cx="2958850" cy="357693"/>
            </a:xfrm>
            <a:prstGeom prst="rect">
              <a:avLst/>
            </a:prstGeom>
            <a:no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70">
              <a:extLst>
                <a:ext uri="{FF2B5EF4-FFF2-40B4-BE49-F238E27FC236}">
                  <a16:creationId xmlns:a16="http://schemas.microsoft.com/office/drawing/2014/main" id="{F0E85F2B-5AE6-4A06-AEA5-BCBC9394862F}"/>
                </a:ext>
              </a:extLst>
            </p:cNvPr>
            <p:cNvSpPr/>
            <p:nvPr/>
          </p:nvSpPr>
          <p:spPr>
            <a:xfrm>
              <a:off x="8730139" y="6435876"/>
              <a:ext cx="704336" cy="215444"/>
            </a:xfrm>
            <a:prstGeom prst="rect">
              <a:avLst/>
            </a:prstGeom>
          </p:spPr>
          <p:txBody>
            <a:bodyPr wrap="square">
              <a:spAutoFit/>
            </a:bodyPr>
            <a:lstStyle/>
            <a:p>
              <a:pPr algn="ctr"/>
              <a:r>
                <a:rPr lang="en-US" sz="800" dirty="0"/>
                <a:t>Strong Fit</a:t>
              </a:r>
            </a:p>
          </p:txBody>
        </p:sp>
        <p:sp>
          <p:nvSpPr>
            <p:cNvPr id="72" name="Rectangle 71">
              <a:extLst>
                <a:ext uri="{FF2B5EF4-FFF2-40B4-BE49-F238E27FC236}">
                  <a16:creationId xmlns:a16="http://schemas.microsoft.com/office/drawing/2014/main" id="{14CF85F8-A705-47AE-A040-685986840148}"/>
                </a:ext>
              </a:extLst>
            </p:cNvPr>
            <p:cNvSpPr/>
            <p:nvPr/>
          </p:nvSpPr>
          <p:spPr>
            <a:xfrm>
              <a:off x="9610128" y="6275043"/>
              <a:ext cx="562290" cy="147151"/>
            </a:xfrm>
            <a:prstGeom prst="rect">
              <a:avLst/>
            </a:prstGeom>
            <a:solidFill>
              <a:schemeClr val="bg1"/>
            </a:solidFill>
          </p:spPr>
          <p:txBody>
            <a:bodyPr wrap="square" anchor="ctr">
              <a:spAutoFit/>
            </a:bodyPr>
            <a:lstStyle/>
            <a:p>
              <a:pPr algn="ctr"/>
              <a:r>
                <a:rPr lang="en-US" sz="800" b="1" dirty="0"/>
                <a:t>Key</a:t>
              </a:r>
            </a:p>
          </p:txBody>
        </p:sp>
        <p:sp>
          <p:nvSpPr>
            <p:cNvPr id="73" name="Rectangle 72">
              <a:extLst>
                <a:ext uri="{FF2B5EF4-FFF2-40B4-BE49-F238E27FC236}">
                  <a16:creationId xmlns:a16="http://schemas.microsoft.com/office/drawing/2014/main" id="{E159F3BB-6D9B-4014-B54E-18DDFEA4238D}"/>
                </a:ext>
              </a:extLst>
            </p:cNvPr>
            <p:cNvSpPr/>
            <p:nvPr/>
          </p:nvSpPr>
          <p:spPr>
            <a:xfrm>
              <a:off x="9398359" y="6445639"/>
              <a:ext cx="309014" cy="174897"/>
            </a:xfrm>
            <a:prstGeom prst="rect">
              <a:avLst/>
            </a:prstGeom>
            <a:solidFill>
              <a:srgbClr val="FFEE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Rectangle 73">
              <a:extLst>
                <a:ext uri="{FF2B5EF4-FFF2-40B4-BE49-F238E27FC236}">
                  <a16:creationId xmlns:a16="http://schemas.microsoft.com/office/drawing/2014/main" id="{FE0CF373-04CD-4CE5-A813-D187B72E6912}"/>
                </a:ext>
              </a:extLst>
            </p:cNvPr>
            <p:cNvSpPr/>
            <p:nvPr/>
          </p:nvSpPr>
          <p:spPr>
            <a:xfrm>
              <a:off x="9647098" y="6435876"/>
              <a:ext cx="808952" cy="215444"/>
            </a:xfrm>
            <a:prstGeom prst="rect">
              <a:avLst/>
            </a:prstGeom>
          </p:spPr>
          <p:txBody>
            <a:bodyPr wrap="square">
              <a:spAutoFit/>
            </a:bodyPr>
            <a:lstStyle/>
            <a:p>
              <a:pPr algn="ctr"/>
              <a:r>
                <a:rPr lang="en-US" sz="800" dirty="0"/>
                <a:t>Moderate Fit</a:t>
              </a:r>
            </a:p>
          </p:txBody>
        </p:sp>
        <p:sp>
          <p:nvSpPr>
            <p:cNvPr id="75" name="Rectangle 74">
              <a:extLst>
                <a:ext uri="{FF2B5EF4-FFF2-40B4-BE49-F238E27FC236}">
                  <a16:creationId xmlns:a16="http://schemas.microsoft.com/office/drawing/2014/main" id="{25370E30-A796-408F-9F8D-59A623001B93}"/>
                </a:ext>
              </a:extLst>
            </p:cNvPr>
            <p:cNvSpPr/>
            <p:nvPr/>
          </p:nvSpPr>
          <p:spPr>
            <a:xfrm>
              <a:off x="10439952" y="6445639"/>
              <a:ext cx="309014" cy="174897"/>
            </a:xfrm>
            <a:prstGeom prst="rect">
              <a:avLst/>
            </a:prstGeom>
            <a:solidFill>
              <a:srgbClr val="FF85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7FF1448F-A885-4ECD-A22A-115F3CCC57FF}"/>
                </a:ext>
              </a:extLst>
            </p:cNvPr>
            <p:cNvSpPr/>
            <p:nvPr/>
          </p:nvSpPr>
          <p:spPr>
            <a:xfrm>
              <a:off x="10668673" y="6435876"/>
              <a:ext cx="654340" cy="215444"/>
            </a:xfrm>
            <a:prstGeom prst="rect">
              <a:avLst/>
            </a:prstGeom>
          </p:spPr>
          <p:txBody>
            <a:bodyPr wrap="square">
              <a:spAutoFit/>
            </a:bodyPr>
            <a:lstStyle/>
            <a:p>
              <a:pPr algn="ctr"/>
              <a:r>
                <a:rPr lang="en-US" sz="800" dirty="0"/>
                <a:t>Weak Fit</a:t>
              </a:r>
            </a:p>
          </p:txBody>
        </p:sp>
      </p:grpSp>
    </p:spTree>
    <p:extLst>
      <p:ext uri="{BB962C8B-B14F-4D97-AF65-F5344CB8AC3E}">
        <p14:creationId xmlns:p14="http://schemas.microsoft.com/office/powerpoint/2010/main" val="407470127"/>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3636E115-5E1B-4F14-AF9E-7710AEBB7D1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3060" name="think-cell Slide" r:id="rId6" imgW="395" imgH="396" progId="TCLayout.ActiveDocument.1">
                  <p:embed/>
                </p:oleObj>
              </mc:Choice>
              <mc:Fallback>
                <p:oleObj name="think-cell Slide" r:id="rId6" imgW="395" imgH="396" progId="TCLayout.ActiveDocument.1">
                  <p:embed/>
                  <p:pic>
                    <p:nvPicPr>
                      <p:cNvPr id="29" name="Object 28" hidden="1">
                        <a:extLst>
                          <a:ext uri="{FF2B5EF4-FFF2-40B4-BE49-F238E27FC236}">
                            <a16:creationId xmlns:a16="http://schemas.microsoft.com/office/drawing/2014/main" id="{3636E115-5E1B-4F14-AF9E-7710AEBB7D1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8" name="Rectangle 27" hidden="1">
            <a:extLst>
              <a:ext uri="{FF2B5EF4-FFF2-40B4-BE49-F238E27FC236}">
                <a16:creationId xmlns:a16="http://schemas.microsoft.com/office/drawing/2014/main" id="{3803FD3E-B1A5-4B86-827A-87806B3A1A9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035CCDCB-9A91-4F45-9E8D-B5C29FCCB509}"/>
              </a:ext>
            </a:extLst>
          </p:cNvPr>
          <p:cNvSpPr>
            <a:spLocks noGrp="1"/>
          </p:cNvSpPr>
          <p:nvPr>
            <p:ph type="title"/>
          </p:nvPr>
        </p:nvSpPr>
        <p:spPr/>
        <p:txBody>
          <a:bodyPr/>
          <a:lstStyle/>
          <a:p>
            <a:r>
              <a:rPr lang="en-US" dirty="0"/>
              <a:t>Telephony &amp; technology support considerations</a:t>
            </a:r>
          </a:p>
        </p:txBody>
      </p:sp>
      <p:sp>
        <p:nvSpPr>
          <p:cNvPr id="3" name="Text Placeholder 2">
            <a:extLst>
              <a:ext uri="{FF2B5EF4-FFF2-40B4-BE49-F238E27FC236}">
                <a16:creationId xmlns:a16="http://schemas.microsoft.com/office/drawing/2014/main" id="{AC655330-9853-4EFF-812E-7F2D10516F54}"/>
              </a:ext>
            </a:extLst>
          </p:cNvPr>
          <p:cNvSpPr>
            <a:spLocks noGrp="1"/>
          </p:cNvSpPr>
          <p:nvPr>
            <p:ph type="body" sz="quarter" idx="14"/>
          </p:nvPr>
        </p:nvSpPr>
        <p:spPr/>
        <p:txBody>
          <a:bodyPr/>
          <a:lstStyle/>
          <a:p>
            <a:r>
              <a:rPr lang="en-US" dirty="0"/>
              <a:t>The offshore teams will also need access to telephony and tech support that enable the use and troubleshooting of these key tools, inter-team communication, and intra-team communication, especially vis-à-vis the onshore teams.</a:t>
            </a:r>
          </a:p>
        </p:txBody>
      </p:sp>
      <p:sp>
        <p:nvSpPr>
          <p:cNvPr id="4" name="Text Placeholder 3">
            <a:extLst>
              <a:ext uri="{FF2B5EF4-FFF2-40B4-BE49-F238E27FC236}">
                <a16:creationId xmlns:a16="http://schemas.microsoft.com/office/drawing/2014/main" id="{085E2273-E07A-41E0-AD23-4E3772ACC80C}"/>
              </a:ext>
            </a:extLst>
          </p:cNvPr>
          <p:cNvSpPr>
            <a:spLocks noGrp="1"/>
          </p:cNvSpPr>
          <p:nvPr>
            <p:ph type="body" sz="quarter" idx="15"/>
          </p:nvPr>
        </p:nvSpPr>
        <p:spPr/>
        <p:txBody>
          <a:bodyPr/>
          <a:lstStyle/>
          <a:p>
            <a:r>
              <a:rPr lang="en-US" dirty="0"/>
              <a:t>TABLE</a:t>
            </a:r>
          </a:p>
        </p:txBody>
      </p:sp>
      <p:sp>
        <p:nvSpPr>
          <p:cNvPr id="5" name="Title 2">
            <a:extLst>
              <a:ext uri="{FF2B5EF4-FFF2-40B4-BE49-F238E27FC236}">
                <a16:creationId xmlns:a16="http://schemas.microsoft.com/office/drawing/2014/main" id="{B814B0C3-4F40-4DD7-B61B-D50DCEEAB487}"/>
              </a:ext>
            </a:extLst>
          </p:cNvPr>
          <p:cNvSpPr txBox="1">
            <a:spLocks/>
          </p:cNvSpPr>
          <p:nvPr/>
        </p:nvSpPr>
        <p:spPr>
          <a:xfrm>
            <a:off x="469901" y="402587"/>
            <a:ext cx="11252201"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graphicFrame>
        <p:nvGraphicFramePr>
          <p:cNvPr id="19" name="Table 18">
            <a:extLst>
              <a:ext uri="{FF2B5EF4-FFF2-40B4-BE49-F238E27FC236}">
                <a16:creationId xmlns:a16="http://schemas.microsoft.com/office/drawing/2014/main" id="{41AEE4B9-02B2-42C6-A4C4-B53079985ED9}"/>
              </a:ext>
            </a:extLst>
          </p:cNvPr>
          <p:cNvGraphicFramePr>
            <a:graphicFrameLocks noGrp="1"/>
          </p:cNvGraphicFramePr>
          <p:nvPr>
            <p:extLst>
              <p:ext uri="{D42A27DB-BD31-4B8C-83A1-F6EECF244321}">
                <p14:modId xmlns:p14="http://schemas.microsoft.com/office/powerpoint/2010/main" val="1391473632"/>
              </p:ext>
            </p:extLst>
          </p:nvPr>
        </p:nvGraphicFramePr>
        <p:xfrm>
          <a:off x="914971" y="2027315"/>
          <a:ext cx="10704460" cy="3525970"/>
        </p:xfrm>
        <a:graphic>
          <a:graphicData uri="http://schemas.openxmlformats.org/drawingml/2006/table">
            <a:tbl>
              <a:tblPr firstRow="1" bandRow="1">
                <a:tableStyleId>{17292A2E-F333-43FB-9621-5CBBE7FDCDCB}</a:tableStyleId>
              </a:tblPr>
              <a:tblGrid>
                <a:gridCol w="1286550">
                  <a:extLst>
                    <a:ext uri="{9D8B030D-6E8A-4147-A177-3AD203B41FA5}">
                      <a16:colId xmlns:a16="http://schemas.microsoft.com/office/drawing/2014/main" val="2506487748"/>
                    </a:ext>
                  </a:extLst>
                </a:gridCol>
                <a:gridCol w="941791">
                  <a:extLst>
                    <a:ext uri="{9D8B030D-6E8A-4147-A177-3AD203B41FA5}">
                      <a16:colId xmlns:a16="http://schemas.microsoft.com/office/drawing/2014/main" val="2449433351"/>
                    </a:ext>
                  </a:extLst>
                </a:gridCol>
                <a:gridCol w="941791">
                  <a:extLst>
                    <a:ext uri="{9D8B030D-6E8A-4147-A177-3AD203B41FA5}">
                      <a16:colId xmlns:a16="http://schemas.microsoft.com/office/drawing/2014/main" val="4201794999"/>
                    </a:ext>
                  </a:extLst>
                </a:gridCol>
                <a:gridCol w="941791">
                  <a:extLst>
                    <a:ext uri="{9D8B030D-6E8A-4147-A177-3AD203B41FA5}">
                      <a16:colId xmlns:a16="http://schemas.microsoft.com/office/drawing/2014/main" val="3296975499"/>
                    </a:ext>
                  </a:extLst>
                </a:gridCol>
                <a:gridCol w="941791">
                  <a:extLst>
                    <a:ext uri="{9D8B030D-6E8A-4147-A177-3AD203B41FA5}">
                      <a16:colId xmlns:a16="http://schemas.microsoft.com/office/drawing/2014/main" val="4015953854"/>
                    </a:ext>
                  </a:extLst>
                </a:gridCol>
                <a:gridCol w="941791">
                  <a:extLst>
                    <a:ext uri="{9D8B030D-6E8A-4147-A177-3AD203B41FA5}">
                      <a16:colId xmlns:a16="http://schemas.microsoft.com/office/drawing/2014/main" val="1854006244"/>
                    </a:ext>
                  </a:extLst>
                </a:gridCol>
                <a:gridCol w="941791">
                  <a:extLst>
                    <a:ext uri="{9D8B030D-6E8A-4147-A177-3AD203B41FA5}">
                      <a16:colId xmlns:a16="http://schemas.microsoft.com/office/drawing/2014/main" val="1286781236"/>
                    </a:ext>
                  </a:extLst>
                </a:gridCol>
                <a:gridCol w="941791">
                  <a:extLst>
                    <a:ext uri="{9D8B030D-6E8A-4147-A177-3AD203B41FA5}">
                      <a16:colId xmlns:a16="http://schemas.microsoft.com/office/drawing/2014/main" val="397496994"/>
                    </a:ext>
                  </a:extLst>
                </a:gridCol>
                <a:gridCol w="941791">
                  <a:extLst>
                    <a:ext uri="{9D8B030D-6E8A-4147-A177-3AD203B41FA5}">
                      <a16:colId xmlns:a16="http://schemas.microsoft.com/office/drawing/2014/main" val="1845979549"/>
                    </a:ext>
                  </a:extLst>
                </a:gridCol>
                <a:gridCol w="941791">
                  <a:extLst>
                    <a:ext uri="{9D8B030D-6E8A-4147-A177-3AD203B41FA5}">
                      <a16:colId xmlns:a16="http://schemas.microsoft.com/office/drawing/2014/main" val="3904437070"/>
                    </a:ext>
                  </a:extLst>
                </a:gridCol>
                <a:gridCol w="941791">
                  <a:extLst>
                    <a:ext uri="{9D8B030D-6E8A-4147-A177-3AD203B41FA5}">
                      <a16:colId xmlns:a16="http://schemas.microsoft.com/office/drawing/2014/main" val="3052676458"/>
                    </a:ext>
                  </a:extLst>
                </a:gridCol>
              </a:tblGrid>
              <a:tr h="398490">
                <a:tc gridSpan="11">
                  <a:txBody>
                    <a:bodyPr/>
                    <a:lstStyle/>
                    <a:p>
                      <a:pPr algn="ctr" fontAlgn="base">
                        <a:lnSpc>
                          <a:spcPct val="90000"/>
                        </a:lnSpc>
                      </a:pPr>
                      <a:r>
                        <a:rPr lang="en-US" sz="1200" b="1" i="0" dirty="0">
                          <a:solidFill>
                            <a:schemeClr val="bg1"/>
                          </a:solidFill>
                          <a:effectLst/>
                        </a:rPr>
                        <a:t>Technology &amp; Telephony Needs</a:t>
                      </a:r>
                    </a:p>
                  </a:txBody>
                  <a:tcPr marL="0" marR="0" marT="0" marB="0" anchor="ctr"/>
                </a:tc>
                <a:tc hMerge="1">
                  <a:txBody>
                    <a:bodyPr/>
                    <a:lstStyle/>
                    <a:p>
                      <a:pPr algn="ctr" fontAlgn="base">
                        <a:lnSpc>
                          <a:spcPct val="90000"/>
                        </a:lnSpc>
                      </a:pPr>
                      <a:endParaRPr lang="en-US" sz="1000" b="1" i="0" dirty="0">
                        <a:solidFill>
                          <a:srgbClr val="000000"/>
                        </a:solidFill>
                        <a:effectLst/>
                      </a:endParaRPr>
                    </a:p>
                  </a:txBody>
                  <a:tcPr marT="91440" marB="91440" anchor="b"/>
                </a:tc>
                <a:tc hMerge="1">
                  <a:txBody>
                    <a:bodyPr/>
                    <a:lstStyle/>
                    <a:p>
                      <a:pPr algn="ctr" fontAlgn="base">
                        <a:lnSpc>
                          <a:spcPct val="90000"/>
                        </a:lnSpc>
                      </a:pPr>
                      <a:endParaRPr lang="en-US" sz="1000" b="1" i="0" dirty="0">
                        <a:solidFill>
                          <a:srgbClr val="000000"/>
                        </a:solidFill>
                        <a:effectLst/>
                      </a:endParaRPr>
                    </a:p>
                  </a:txBody>
                  <a:tcPr marT="91440" marB="91440" anchor="b"/>
                </a:tc>
                <a:tc hMerge="1">
                  <a:txBody>
                    <a:bodyPr/>
                    <a:lstStyle/>
                    <a:p>
                      <a:pPr algn="ctr" fontAlgn="base">
                        <a:lnSpc>
                          <a:spcPct val="90000"/>
                        </a:lnSpc>
                      </a:pPr>
                      <a:endParaRPr lang="en-US" sz="1000" b="1" i="0" dirty="0">
                        <a:solidFill>
                          <a:srgbClr val="000000"/>
                        </a:solidFill>
                        <a:effectLst/>
                      </a:endParaRPr>
                    </a:p>
                  </a:txBody>
                  <a:tcPr marT="91440" marB="91440" anchor="b"/>
                </a:tc>
                <a:tc hMerge="1">
                  <a:txBody>
                    <a:bodyPr/>
                    <a:lstStyle/>
                    <a:p>
                      <a:pPr algn="l" fontAlgn="base">
                        <a:lnSpc>
                          <a:spcPct val="90000"/>
                        </a:lnSpc>
                      </a:pPr>
                      <a:endParaRPr lang="en-US" sz="1400" b="1" i="0" dirty="0">
                        <a:solidFill>
                          <a:srgbClr val="000000"/>
                        </a:solidFill>
                        <a:effectLst/>
                      </a:endParaRPr>
                    </a:p>
                  </a:txBody>
                  <a:tcPr marT="91440" marB="91440" anchor="b">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hMerge="1">
                  <a:txBody>
                    <a:bodyPr/>
                    <a:lstStyle/>
                    <a:p>
                      <a:pPr algn="l" fontAlgn="base">
                        <a:lnSpc>
                          <a:spcPct val="90000"/>
                        </a:lnSpc>
                      </a:pPr>
                      <a:endParaRPr lang="en-US" sz="1400" b="1" i="0" dirty="0">
                        <a:solidFill>
                          <a:srgbClr val="000000"/>
                        </a:solidFill>
                        <a:effectLst/>
                      </a:endParaRPr>
                    </a:p>
                  </a:txBody>
                  <a:tcPr marT="91440" marB="91440" anchor="b">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hMerge="1">
                  <a:txBody>
                    <a:bodyPr/>
                    <a:lstStyle/>
                    <a:p>
                      <a:endParaRPr lang="en-US"/>
                    </a:p>
                  </a:txBody>
                  <a:tcPr>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hMerge="1">
                  <a:txBody>
                    <a:bodyPr/>
                    <a:lstStyle/>
                    <a:p>
                      <a:pPr algn="l" fontAlgn="base">
                        <a:lnSpc>
                          <a:spcPct val="90000"/>
                        </a:lnSpc>
                      </a:pPr>
                      <a:endParaRPr lang="en-US" sz="1400" b="1" i="0" dirty="0">
                        <a:solidFill>
                          <a:srgbClr val="000000"/>
                        </a:solidFill>
                        <a:effectLst/>
                      </a:endParaRPr>
                    </a:p>
                  </a:txBody>
                  <a:tcPr marT="91440" marB="91440" anchor="b">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hMerge="1">
                  <a:txBody>
                    <a:bodyPr/>
                    <a:lstStyle/>
                    <a:p>
                      <a:pPr algn="l" fontAlgn="base">
                        <a:lnSpc>
                          <a:spcPct val="90000"/>
                        </a:lnSpc>
                      </a:pPr>
                      <a:endParaRPr lang="en-US" sz="1050" b="1" i="0" dirty="0">
                        <a:solidFill>
                          <a:srgbClr val="000000"/>
                        </a:solidFill>
                        <a:effectLst/>
                      </a:endParaRPr>
                    </a:p>
                  </a:txBody>
                  <a:tcPr marT="91440" marB="91440" anchor="b">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hMerge="1">
                  <a:txBody>
                    <a:bodyPr/>
                    <a:lstStyle/>
                    <a:p>
                      <a:endParaRPr lang="en-US"/>
                    </a:p>
                  </a:txBody>
                  <a:tcPr>
                    <a:lnL>
                      <a:noFill/>
                    </a:lnL>
                    <a:lnR>
                      <a:noFill/>
                    </a:lnR>
                    <a:lnT w="6350" cap="flat" cmpd="sng" algn="ctr">
                      <a:noFill/>
                      <a:prstDash val="solid"/>
                      <a:miter lim="800000"/>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base">
                        <a:lnSpc>
                          <a:spcPct val="90000"/>
                        </a:lnSpc>
                      </a:pPr>
                      <a:endParaRPr lang="en-US" sz="1000" b="1" i="0" dirty="0">
                        <a:solidFill>
                          <a:srgbClr val="000000"/>
                        </a:solidFill>
                        <a:effectLst/>
                      </a:endParaRPr>
                    </a:p>
                  </a:txBody>
                  <a:tcPr marT="91440" marB="91440" anchor="b">
                    <a:lnL>
                      <a:noFill/>
                    </a:lnL>
                    <a:lnR>
                      <a:noFill/>
                    </a:lnR>
                    <a:lnT w="6350" cap="flat" cmpd="sng" algn="ctr">
                      <a:noFill/>
                      <a:prstDash val="solid"/>
                      <a:miter lim="800000"/>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90735061"/>
                  </a:ext>
                </a:extLst>
              </a:tr>
              <a:tr h="26239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1" i="0" dirty="0">
                        <a:solidFill>
                          <a:schemeClr val="tx1"/>
                        </a:solidFill>
                        <a:latin typeface="+mn-lt"/>
                      </a:endParaRPr>
                    </a:p>
                  </a:txBody>
                  <a:tcPr marL="0" marR="0" marT="0" marB="0" anchor="ctr"/>
                </a:tc>
                <a:tc gridSpan="2">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50" b="0" i="1" dirty="0">
                          <a:solidFill>
                            <a:schemeClr val="tx2"/>
                          </a:solidFill>
                          <a:effectLst/>
                          <a:latin typeface="+mn-lt"/>
                        </a:rPr>
                        <a:t>Desk</a:t>
                      </a:r>
                      <a:r>
                        <a:rPr lang="en-US" sz="1050" b="0" i="1" baseline="0" dirty="0">
                          <a:solidFill>
                            <a:schemeClr val="tx2"/>
                          </a:solidFill>
                          <a:effectLst/>
                          <a:latin typeface="+mn-lt"/>
                        </a:rPr>
                        <a:t> Hardware</a:t>
                      </a:r>
                      <a:endParaRPr lang="en-US" sz="1050" b="0" i="1" dirty="0">
                        <a:solidFill>
                          <a:schemeClr val="tx2"/>
                        </a:solidFill>
                        <a:effectLst/>
                        <a:latin typeface="+mn-lt"/>
                      </a:endParaRPr>
                    </a:p>
                  </a:txBody>
                  <a:tcPr marT="91440" marB="91440" anchor="b"/>
                </a:tc>
                <a:tc hMerge="1">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endParaRPr lang="en-US" sz="1050" b="0" i="1" dirty="0">
                        <a:solidFill>
                          <a:schemeClr val="tx2"/>
                        </a:solidFill>
                        <a:effectLst/>
                        <a:latin typeface="+mn-lt"/>
                      </a:endParaRPr>
                    </a:p>
                  </a:txBody>
                  <a:tcPr marT="91440" marB="91440" anchor="b"/>
                </a:tc>
                <a:tc gridSpan="4">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50" b="0" i="1" dirty="0">
                          <a:solidFill>
                            <a:schemeClr val="tx2"/>
                          </a:solidFill>
                          <a:effectLst/>
                          <a:latin typeface="+mn-lt"/>
                        </a:rPr>
                        <a:t>Telephone System</a:t>
                      </a:r>
                      <a:r>
                        <a:rPr lang="en-US" sz="1050" b="0" i="1" baseline="0" dirty="0">
                          <a:solidFill>
                            <a:schemeClr val="tx2"/>
                          </a:solidFill>
                          <a:effectLst/>
                          <a:latin typeface="+mn-lt"/>
                        </a:rPr>
                        <a:t> Resources</a:t>
                      </a:r>
                      <a:endParaRPr lang="en-US" sz="1050" b="0" i="1" dirty="0">
                        <a:solidFill>
                          <a:schemeClr val="tx2"/>
                        </a:solidFill>
                        <a:effectLst/>
                        <a:latin typeface="+mn-lt"/>
                      </a:endParaRPr>
                    </a:p>
                  </a:txBody>
                  <a:tcPr marT="91440" marB="91440" anchor="b"/>
                </a:tc>
                <a:tc hMerge="1">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endParaRPr lang="en-US" sz="1050" b="0" i="1" dirty="0">
                        <a:solidFill>
                          <a:schemeClr val="tx2"/>
                        </a:solidFill>
                        <a:effectLst/>
                        <a:latin typeface="+mn-lt"/>
                      </a:endParaRPr>
                    </a:p>
                  </a:txBody>
                  <a:tcPr marT="91440" marB="91440" anchor="b"/>
                </a:tc>
                <a:tc hMerge="1">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endParaRPr lang="en-US" sz="1050" b="0" i="1" dirty="0">
                        <a:solidFill>
                          <a:schemeClr val="tx2"/>
                        </a:solidFill>
                        <a:effectLst/>
                        <a:latin typeface="+mn-lt"/>
                      </a:endParaRPr>
                    </a:p>
                  </a:txBody>
                  <a:tcPr marT="91440" marB="91440" anchor="b"/>
                </a:tc>
                <a:tc hMerge="1">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endParaRPr lang="en-US" sz="1050" b="0" i="1" dirty="0">
                        <a:solidFill>
                          <a:schemeClr val="tx2"/>
                        </a:solidFill>
                        <a:effectLst/>
                        <a:latin typeface="+mn-lt"/>
                      </a:endParaRPr>
                    </a:p>
                  </a:txBody>
                  <a:tcPr marT="91440" marB="91440" anchor="b"/>
                </a:tc>
                <a:tc gridSpan="2">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50" b="0" i="1" dirty="0">
                          <a:solidFill>
                            <a:schemeClr val="tx2"/>
                          </a:solidFill>
                          <a:effectLst/>
                          <a:latin typeface="+mn-lt"/>
                        </a:rPr>
                        <a:t>Room</a:t>
                      </a:r>
                      <a:r>
                        <a:rPr lang="en-US" sz="1050" b="0" i="1" baseline="0" dirty="0">
                          <a:solidFill>
                            <a:schemeClr val="tx2"/>
                          </a:solidFill>
                          <a:effectLst/>
                          <a:latin typeface="+mn-lt"/>
                        </a:rPr>
                        <a:t> Set-ups</a:t>
                      </a:r>
                      <a:endParaRPr lang="en-US" sz="1050" b="0" i="1" dirty="0">
                        <a:solidFill>
                          <a:schemeClr val="tx2"/>
                        </a:solidFill>
                        <a:effectLst/>
                        <a:latin typeface="+mn-lt"/>
                      </a:endParaRPr>
                    </a:p>
                  </a:txBody>
                  <a:tcPr marT="91440" marB="91440" anchor="b"/>
                </a:tc>
                <a:tc hMerge="1">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endParaRPr lang="en-US" sz="1050" b="0" i="1" dirty="0">
                        <a:solidFill>
                          <a:schemeClr val="tx2"/>
                        </a:solidFill>
                        <a:effectLst/>
                        <a:latin typeface="+mn-lt"/>
                      </a:endParaRPr>
                    </a:p>
                  </a:txBody>
                  <a:tcPr marT="91440" marB="91440" anchor="b"/>
                </a:tc>
                <a:tc gridSpan="2">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50" b="0" i="1" dirty="0">
                          <a:solidFill>
                            <a:schemeClr val="tx2"/>
                          </a:solidFill>
                          <a:effectLst/>
                          <a:latin typeface="+mn-lt"/>
                        </a:rPr>
                        <a:t>Network / Support</a:t>
                      </a:r>
                    </a:p>
                  </a:txBody>
                  <a:tcPr marL="0" marR="0" marT="91440" marB="91440" anchor="b"/>
                </a:tc>
                <a:tc hMerge="1">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endParaRPr lang="en-US" sz="1050" b="0" i="1" dirty="0">
                        <a:solidFill>
                          <a:schemeClr val="tx2"/>
                        </a:solidFill>
                        <a:effectLst/>
                        <a:latin typeface="+mn-lt"/>
                      </a:endParaRPr>
                    </a:p>
                  </a:txBody>
                  <a:tcPr marT="91440" marB="91440" anchor="b"/>
                </a:tc>
                <a:extLst>
                  <a:ext uri="{0D108BD9-81ED-4DB2-BD59-A6C34878D82A}">
                    <a16:rowId xmlns:a16="http://schemas.microsoft.com/office/drawing/2014/main" val="10001"/>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1" i="0" dirty="0">
                        <a:solidFill>
                          <a:schemeClr val="tx1"/>
                        </a:solidFill>
                        <a:latin typeface="+mn-lt"/>
                      </a:endParaRPr>
                    </a:p>
                  </a:txBody>
                  <a:tcPr marL="0" marR="0" marT="0" marB="0" anchor="ctr"/>
                </a:tc>
                <a:tc>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50" dirty="0">
                          <a:effectLst/>
                        </a:rPr>
                        <a:t>Telephone</a:t>
                      </a:r>
                      <a:r>
                        <a:rPr lang="en-US" sz="1050" baseline="0" dirty="0">
                          <a:effectLst/>
                        </a:rPr>
                        <a:t> Headsets</a:t>
                      </a:r>
                      <a:endParaRPr lang="en-US" sz="1050" b="0" i="1" dirty="0">
                        <a:solidFill>
                          <a:schemeClr val="tx2"/>
                        </a:solidFill>
                        <a:effectLst/>
                        <a:latin typeface="+mn-lt"/>
                      </a:endParaRPr>
                    </a:p>
                  </a:txBody>
                  <a:tcPr marT="91440" marB="91440" anchor="b"/>
                </a:tc>
                <a:tc>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50" dirty="0">
                          <a:effectLst/>
                        </a:rPr>
                        <a:t>Integration with Desktop</a:t>
                      </a:r>
                      <a:endParaRPr lang="en-US" sz="1050" b="0" i="1" dirty="0">
                        <a:solidFill>
                          <a:schemeClr val="tx2"/>
                        </a:solidFill>
                        <a:effectLst/>
                        <a:latin typeface="+mn-lt"/>
                      </a:endParaRPr>
                    </a:p>
                  </a:txBody>
                  <a:tcPr marT="91440" marB="91440" anchor="b"/>
                </a:tc>
                <a:tc>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50" dirty="0">
                          <a:effectLst/>
                        </a:rPr>
                        <a:t>Vendor</a:t>
                      </a:r>
                      <a:r>
                        <a:rPr lang="en-US" sz="1050" baseline="0" dirty="0">
                          <a:effectLst/>
                        </a:rPr>
                        <a:t> IP Phones</a:t>
                      </a:r>
                      <a:endParaRPr lang="en-US" sz="1050" b="0" i="1" dirty="0">
                        <a:solidFill>
                          <a:schemeClr val="tx2"/>
                        </a:solidFill>
                        <a:effectLst/>
                        <a:latin typeface="+mn-lt"/>
                      </a:endParaRPr>
                    </a:p>
                  </a:txBody>
                  <a:tcPr marT="91440" marB="91440" anchor="b"/>
                </a:tc>
                <a:tc>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50" dirty="0">
                          <a:effectLst/>
                        </a:rPr>
                        <a:t>Vendor MX Series </a:t>
                      </a:r>
                      <a:endParaRPr lang="en-US" sz="1050" b="0" i="1" dirty="0">
                        <a:solidFill>
                          <a:schemeClr val="tx2"/>
                        </a:solidFill>
                        <a:effectLst/>
                        <a:latin typeface="+mn-lt"/>
                      </a:endParaRPr>
                    </a:p>
                  </a:txBody>
                  <a:tcPr marT="91440" marB="91440" anchor="b"/>
                </a:tc>
                <a:tc>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50" dirty="0">
                          <a:effectLst/>
                        </a:rPr>
                        <a:t>Series Devices</a:t>
                      </a:r>
                      <a:endParaRPr lang="en-US" sz="1050" b="0" i="1" dirty="0">
                        <a:solidFill>
                          <a:schemeClr val="tx2"/>
                        </a:solidFill>
                        <a:effectLst/>
                        <a:latin typeface="+mn-lt"/>
                      </a:endParaRPr>
                    </a:p>
                  </a:txBody>
                  <a:tcPr marT="91440" marB="91440" anchor="b"/>
                </a:tc>
                <a:tc>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50" b="0" i="0" dirty="0">
                          <a:solidFill>
                            <a:schemeClr val="tx1"/>
                          </a:solidFill>
                          <a:effectLst/>
                          <a:latin typeface="+mn-lt"/>
                        </a:rPr>
                        <a:t>Vendor</a:t>
                      </a:r>
                      <a:r>
                        <a:rPr lang="en-US" sz="1050" b="0" i="0" baseline="0" dirty="0">
                          <a:solidFill>
                            <a:schemeClr val="tx1"/>
                          </a:solidFill>
                          <a:effectLst/>
                          <a:latin typeface="+mn-lt"/>
                        </a:rPr>
                        <a:t> Call Manager</a:t>
                      </a:r>
                      <a:endParaRPr lang="en-US" sz="1050" b="0" i="1" dirty="0">
                        <a:solidFill>
                          <a:schemeClr val="tx2"/>
                        </a:solidFill>
                        <a:effectLst/>
                        <a:latin typeface="+mn-lt"/>
                      </a:endParaRPr>
                    </a:p>
                  </a:txBody>
                  <a:tcPr marT="91440" marB="91440" anchor="b"/>
                </a:tc>
                <a:tc>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50" dirty="0">
                          <a:effectLst/>
                        </a:rPr>
                        <a:t>Conference room hardware</a:t>
                      </a:r>
                      <a:endParaRPr lang="en-US" sz="1050" b="0" i="1" dirty="0">
                        <a:solidFill>
                          <a:schemeClr val="tx2"/>
                        </a:solidFill>
                        <a:effectLst/>
                        <a:latin typeface="+mn-lt"/>
                      </a:endParaRPr>
                    </a:p>
                  </a:txBody>
                  <a:tcPr marT="91440" marB="91440" anchor="b"/>
                </a:tc>
                <a:tc>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50" dirty="0">
                          <a:effectLst/>
                        </a:rPr>
                        <a:t>Call Room Hardware</a:t>
                      </a:r>
                      <a:endParaRPr lang="en-US" sz="1050" b="0" i="1" dirty="0">
                        <a:solidFill>
                          <a:schemeClr val="tx2"/>
                        </a:solidFill>
                        <a:effectLst/>
                        <a:latin typeface="+mn-lt"/>
                      </a:endParaRPr>
                    </a:p>
                  </a:txBody>
                  <a:tcPr marT="91440" marB="91440" anchor="b"/>
                </a:tc>
                <a:tc>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50" dirty="0">
                          <a:effectLst/>
                        </a:rPr>
                        <a:t>Network Licenses</a:t>
                      </a:r>
                      <a:endParaRPr lang="en-US" sz="1050" b="0" i="1" dirty="0">
                        <a:solidFill>
                          <a:schemeClr val="tx2"/>
                        </a:solidFill>
                        <a:effectLst/>
                        <a:latin typeface="+mn-lt"/>
                      </a:endParaRPr>
                    </a:p>
                  </a:txBody>
                  <a:tcPr marL="0" marR="0" marT="91440" marB="91440" anchor="b"/>
                </a:tc>
                <a:tc>
                  <a:txBody>
                    <a:bodyPr/>
                    <a:lstStyle/>
                    <a:p>
                      <a:pPr marL="0" marR="0" lvl="0" indent="0" algn="ctr" defTabSz="914400" rtl="0" eaLnBrk="1" fontAlgn="base" latinLnBrk="0" hangingPunct="1">
                        <a:lnSpc>
                          <a:spcPct val="100000"/>
                        </a:lnSpc>
                        <a:spcBef>
                          <a:spcPts val="600"/>
                        </a:spcBef>
                        <a:spcAft>
                          <a:spcPts val="600"/>
                        </a:spcAft>
                        <a:buClrTx/>
                        <a:buSzTx/>
                        <a:buFont typeface="+mj-lt"/>
                        <a:buNone/>
                        <a:tabLst/>
                        <a:defRPr/>
                      </a:pPr>
                      <a:r>
                        <a:rPr lang="en-US" sz="1050" dirty="0">
                          <a:effectLst/>
                        </a:rPr>
                        <a:t>IT Help Desk</a:t>
                      </a:r>
                      <a:r>
                        <a:rPr lang="en-US" sz="1050" baseline="0" dirty="0">
                          <a:effectLst/>
                        </a:rPr>
                        <a:t> Support</a:t>
                      </a:r>
                      <a:endParaRPr lang="en-US" sz="1050" b="0" i="1" dirty="0">
                        <a:solidFill>
                          <a:schemeClr val="tx2"/>
                        </a:solidFill>
                        <a:effectLst/>
                        <a:latin typeface="+mn-lt"/>
                      </a:endParaRPr>
                    </a:p>
                  </a:txBody>
                  <a:tcPr marT="91440" marB="91440" anchor="b"/>
                </a:tc>
                <a:extLst>
                  <a:ext uri="{0D108BD9-81ED-4DB2-BD59-A6C34878D82A}">
                    <a16:rowId xmlns:a16="http://schemas.microsoft.com/office/drawing/2014/main" val="1699471218"/>
                  </a:ext>
                </a:extLst>
              </a:tr>
              <a:tr h="530410">
                <a:tc>
                  <a:txBody>
                    <a:bodyPr/>
                    <a:lstStyle/>
                    <a:p>
                      <a:pPr algn="l" fontAlgn="ctr"/>
                      <a:r>
                        <a:rPr lang="en-US" sz="1050" b="1" u="none" strike="noStrike" dirty="0">
                          <a:effectLst/>
                        </a:rPr>
                        <a:t>Office Spaces for Telephony</a:t>
                      </a:r>
                      <a:r>
                        <a:rPr lang="en-US" sz="1050" b="1" u="none" strike="noStrike" baseline="0" dirty="0">
                          <a:effectLst/>
                        </a:rPr>
                        <a:t> Needs</a:t>
                      </a:r>
                      <a:endParaRPr lang="en-US" sz="1050" b="1" i="0" u="none" strike="noStrike" dirty="0">
                        <a:solidFill>
                          <a:srgbClr val="000000"/>
                        </a:solidFill>
                        <a:effectLst/>
                        <a:latin typeface="+mn-lt"/>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effectLst/>
                          <a:uLnTx/>
                          <a:uFillTx/>
                          <a:sym typeface="Wingdings" panose="05000000000000000000" pitchFamily="2" charset="2"/>
                        </a:rPr>
                        <a:t></a:t>
                      </a:r>
                      <a:endParaRPr kumimoji="0" lang="en-US" sz="1800" b="0" i="0" u="none" strike="noStrike" kern="1200" cap="none" spc="0" normalizeH="0" baseline="0" noProof="0" dirty="0">
                        <a:ln>
                          <a:noFill/>
                        </a:ln>
                        <a:solidFill>
                          <a:srgbClr val="000000"/>
                        </a:solidFill>
                        <a:effectLst/>
                        <a:uLnTx/>
                        <a:uFillTx/>
                        <a:latin typeface="+mn-lt"/>
                        <a:ea typeface="+mn-ea"/>
                        <a:cs typeface="+mn-cs"/>
                      </a:endParaRPr>
                    </a:p>
                  </a:txBody>
                  <a:tcPr marL="45720" marR="45720" marT="0" marB="0" anchor="ctr">
                    <a:solidFill>
                      <a:schemeClr val="accent4">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effectLst/>
                          <a:uLnTx/>
                          <a:uFillTx/>
                          <a:sym typeface="Wingdings" panose="05000000000000000000" pitchFamily="2" charset="2"/>
                        </a:rPr>
                        <a:t></a:t>
                      </a:r>
                      <a:endParaRPr kumimoji="0" lang="en-US" sz="1800" b="0" i="0" u="none" strike="noStrike" kern="1200" cap="none" spc="0" normalizeH="0" baseline="0" noProof="0" dirty="0">
                        <a:ln>
                          <a:noFill/>
                        </a:ln>
                        <a:solidFill>
                          <a:srgbClr val="000000"/>
                        </a:solidFill>
                        <a:effectLst/>
                        <a:uLnTx/>
                        <a:uFillTx/>
                        <a:latin typeface="+mn-lt"/>
                        <a:ea typeface="+mn-ea"/>
                        <a:cs typeface="+mn-cs"/>
                      </a:endParaRPr>
                    </a:p>
                  </a:txBody>
                  <a:tcPr marL="45720" marR="45720" marT="0" marB="0" anchor="ctr">
                    <a:solidFill>
                      <a:schemeClr val="accent4">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effectLst/>
                          <a:uLnTx/>
                          <a:uFillTx/>
                          <a:sym typeface="Wingdings" panose="05000000000000000000" pitchFamily="2" charset="2"/>
                        </a:rPr>
                        <a:t></a:t>
                      </a:r>
                      <a:endParaRPr kumimoji="0" lang="en-US" sz="1800" b="0" i="0" u="none" strike="noStrike" kern="1200" cap="none" spc="0" normalizeH="0" baseline="0" noProof="0" dirty="0">
                        <a:ln>
                          <a:noFill/>
                        </a:ln>
                        <a:solidFill>
                          <a:srgbClr val="000000"/>
                        </a:solidFill>
                        <a:effectLst/>
                        <a:uLnTx/>
                        <a:uFillTx/>
                        <a:latin typeface="+mn-lt"/>
                        <a:ea typeface="+mn-ea"/>
                        <a:cs typeface="+mn-cs"/>
                      </a:endParaRPr>
                    </a:p>
                  </a:txBody>
                  <a:tcPr marL="45720" marR="45720" marT="0" marB="0" anchor="ctr">
                    <a:solidFill>
                      <a:schemeClr val="accent4">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effectLst/>
                          <a:uLnTx/>
                          <a:uFillTx/>
                          <a:sym typeface="Wingdings" panose="05000000000000000000" pitchFamily="2" charset="2"/>
                        </a:rPr>
                        <a:t></a:t>
                      </a:r>
                      <a:endParaRPr kumimoji="0" lang="en-US" sz="1800" b="0" i="0" u="none" strike="noStrike" kern="1200" cap="none" spc="0" normalizeH="0" baseline="0" noProof="0" dirty="0">
                        <a:ln>
                          <a:noFill/>
                        </a:ln>
                        <a:solidFill>
                          <a:srgbClr val="000000"/>
                        </a:solidFill>
                        <a:effectLst/>
                        <a:uLnTx/>
                        <a:uFillTx/>
                        <a:latin typeface="+mn-lt"/>
                        <a:ea typeface="+mn-ea"/>
                        <a:cs typeface="+mn-cs"/>
                      </a:endParaRPr>
                    </a:p>
                  </a:txBody>
                  <a:tcPr marL="45720" marR="45720" marT="0" marB="0" anchor="ctr">
                    <a:solidFill>
                      <a:schemeClr val="accent4">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effectLst/>
                          <a:uLnTx/>
                          <a:uFillTx/>
                          <a:sym typeface="Wingdings" panose="05000000000000000000" pitchFamily="2" charset="2"/>
                        </a:rPr>
                        <a:t></a:t>
                      </a:r>
                      <a:endParaRPr kumimoji="0" lang="en-US" sz="1800" b="0" i="0" u="none" strike="noStrike" kern="1200" cap="none" spc="0" normalizeH="0" baseline="0" noProof="0" dirty="0">
                        <a:ln>
                          <a:noFill/>
                        </a:ln>
                        <a:solidFill>
                          <a:srgbClr val="000000"/>
                        </a:solidFill>
                        <a:effectLst/>
                        <a:uLnTx/>
                        <a:uFillTx/>
                        <a:latin typeface="+mn-lt"/>
                        <a:ea typeface="+mn-ea"/>
                        <a:cs typeface="+mn-cs"/>
                      </a:endParaRPr>
                    </a:p>
                  </a:txBody>
                  <a:tcPr marL="45720" marR="45720" marT="0" marB="0" anchor="ctr">
                    <a:solidFill>
                      <a:schemeClr val="accent4">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effectLst/>
                          <a:uLnTx/>
                          <a:uFillTx/>
                          <a:sym typeface="Wingdings" panose="05000000000000000000" pitchFamily="2" charset="2"/>
                        </a:rPr>
                        <a:t></a:t>
                      </a:r>
                      <a:endParaRPr kumimoji="0" lang="en-US" sz="1800" b="0" i="0" u="none" strike="noStrike" kern="1200" cap="none" spc="0" normalizeH="0" baseline="0" noProof="0" dirty="0">
                        <a:ln>
                          <a:noFill/>
                        </a:ln>
                        <a:solidFill>
                          <a:srgbClr val="000000"/>
                        </a:solidFill>
                        <a:effectLst/>
                        <a:uLnTx/>
                        <a:uFillTx/>
                        <a:latin typeface="+mn-lt"/>
                        <a:ea typeface="+mn-ea"/>
                        <a:cs typeface="+mn-cs"/>
                      </a:endParaRPr>
                    </a:p>
                  </a:txBody>
                  <a:tcPr marL="45720" marR="45720" marT="0" marB="0" anchor="ctr">
                    <a:solidFill>
                      <a:schemeClr val="accent4">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n-lt"/>
                        <a:ea typeface="+mn-ea"/>
                        <a:cs typeface="+mn-cs"/>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chemeClr val="bg1">
                            <a:lumMod val="65000"/>
                          </a:schemeClr>
                        </a:solidFill>
                        <a:effectLst/>
                        <a:uLnTx/>
                        <a:uFillTx/>
                        <a:latin typeface="+mn-lt"/>
                        <a:ea typeface="+mn-ea"/>
                        <a:cs typeface="+mn-cs"/>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n-lt"/>
                        <a:ea typeface="+mn-ea"/>
                        <a:cs typeface="+mn-cs"/>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n-lt"/>
                        <a:ea typeface="+mn-ea"/>
                        <a:cs typeface="+mn-cs"/>
                      </a:endParaRPr>
                    </a:p>
                  </a:txBody>
                  <a:tcPr marL="45720" marR="45720" marT="0" marB="0" anchor="ctr"/>
                </a:tc>
                <a:extLst>
                  <a:ext uri="{0D108BD9-81ED-4DB2-BD59-A6C34878D82A}">
                    <a16:rowId xmlns:a16="http://schemas.microsoft.com/office/drawing/2014/main" val="2103092924"/>
                  </a:ext>
                </a:extLst>
              </a:tr>
              <a:tr h="530410">
                <a:tc>
                  <a:txBody>
                    <a:bodyPr/>
                    <a:lstStyle/>
                    <a:p>
                      <a:pPr algn="l" fontAlgn="ctr"/>
                      <a:r>
                        <a:rPr lang="en-US" sz="1050" b="1" u="none" strike="noStrike" dirty="0">
                          <a:effectLst/>
                        </a:rPr>
                        <a:t>On-Premises Hardware Needs</a:t>
                      </a:r>
                      <a:endParaRPr lang="en-US" sz="1050" b="1" i="0" u="none" strike="noStrike" dirty="0">
                        <a:solidFill>
                          <a:srgbClr val="000000"/>
                        </a:solidFill>
                        <a:effectLst/>
                        <a:latin typeface="+mn-lt"/>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effectLst/>
                          <a:uLnTx/>
                          <a:uFillTx/>
                          <a:sym typeface="Wingdings" panose="05000000000000000000" pitchFamily="2" charset="2"/>
                        </a:rPr>
                        <a:t></a:t>
                      </a:r>
                      <a:endParaRPr kumimoji="0" lang="en-US" sz="1800" b="0" i="0" u="none" strike="noStrike" kern="1200" cap="none" spc="0" normalizeH="0" baseline="0" noProof="0" dirty="0">
                        <a:ln>
                          <a:noFill/>
                        </a:ln>
                        <a:solidFill>
                          <a:srgbClr val="000000"/>
                        </a:solidFill>
                        <a:effectLst/>
                        <a:uLnTx/>
                        <a:uFillTx/>
                        <a:latin typeface="+mn-lt"/>
                        <a:ea typeface="+mn-ea"/>
                        <a:cs typeface="+mn-cs"/>
                      </a:endParaRPr>
                    </a:p>
                  </a:txBody>
                  <a:tcPr marL="45720" marR="45720" marT="0" marB="0" anchor="ctr">
                    <a:solidFill>
                      <a:schemeClr val="accent4">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effectLst/>
                          <a:uLnTx/>
                          <a:uFillTx/>
                          <a:sym typeface="Wingdings" panose="05000000000000000000" pitchFamily="2" charset="2"/>
                        </a:rPr>
                        <a:t></a:t>
                      </a:r>
                      <a:endParaRPr kumimoji="0" lang="en-US" sz="1800" b="0" i="0" u="none" strike="noStrike" kern="1200" cap="none" spc="0" normalizeH="0" baseline="0" noProof="0" dirty="0">
                        <a:ln>
                          <a:noFill/>
                        </a:ln>
                        <a:solidFill>
                          <a:srgbClr val="000000"/>
                        </a:solidFill>
                        <a:effectLst/>
                        <a:uLnTx/>
                        <a:uFillTx/>
                        <a:latin typeface="+mn-lt"/>
                        <a:ea typeface="+mn-ea"/>
                        <a:cs typeface="+mn-cs"/>
                      </a:endParaRPr>
                    </a:p>
                  </a:txBody>
                  <a:tcPr marL="45720" marR="45720" marT="0" marB="0" anchor="ctr">
                    <a:solidFill>
                      <a:schemeClr val="accent4">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n-lt"/>
                        <a:ea typeface="+mn-ea"/>
                        <a:cs typeface="+mn-cs"/>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n-lt"/>
                        <a:ea typeface="+mn-ea"/>
                        <a:cs typeface="+mn-cs"/>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n-lt"/>
                        <a:ea typeface="+mn-ea"/>
                        <a:cs typeface="+mn-cs"/>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n-lt"/>
                        <a:ea typeface="+mn-ea"/>
                        <a:cs typeface="+mn-cs"/>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effectLst/>
                          <a:uLnTx/>
                          <a:uFillTx/>
                          <a:sym typeface="Wingdings" panose="05000000000000000000" pitchFamily="2" charset="2"/>
                        </a:rPr>
                        <a:t></a:t>
                      </a:r>
                      <a:endParaRPr kumimoji="0" lang="en-US" sz="1800" b="1" i="0" u="none" strike="noStrike" kern="1200" cap="none" spc="0" normalizeH="0" baseline="0" noProof="0" dirty="0">
                        <a:ln>
                          <a:noFill/>
                        </a:ln>
                        <a:solidFill>
                          <a:srgbClr val="FFFFFF">
                            <a:lumMod val="65000"/>
                          </a:srgbClr>
                        </a:solidFill>
                        <a:effectLst/>
                        <a:uLnTx/>
                        <a:uFillTx/>
                        <a:latin typeface="Open Sans"/>
                        <a:ea typeface="+mn-ea"/>
                        <a:cs typeface="+mn-cs"/>
                      </a:endParaRPr>
                    </a:p>
                  </a:txBody>
                  <a:tcPr marL="45720" marR="45720" marT="0" marB="0" anchor="ctr">
                    <a:solidFill>
                      <a:schemeClr val="accent4">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effectLst/>
                          <a:uLnTx/>
                          <a:uFillTx/>
                          <a:sym typeface="Wingdings" panose="05000000000000000000" pitchFamily="2" charset="2"/>
                        </a:rPr>
                        <a:t></a:t>
                      </a:r>
                      <a:endParaRPr kumimoji="0" lang="en-US" sz="1800" b="1" i="0" u="none" strike="noStrike" kern="1200" cap="none" spc="0" normalizeH="0" baseline="0" noProof="0" dirty="0">
                        <a:ln>
                          <a:noFill/>
                        </a:ln>
                        <a:solidFill>
                          <a:srgbClr val="FFFFFF">
                            <a:lumMod val="65000"/>
                          </a:srgbClr>
                        </a:solidFill>
                        <a:effectLst/>
                        <a:uLnTx/>
                        <a:uFillTx/>
                        <a:latin typeface="Open Sans"/>
                        <a:ea typeface="+mn-ea"/>
                        <a:cs typeface="+mn-cs"/>
                      </a:endParaRPr>
                    </a:p>
                  </a:txBody>
                  <a:tcPr marL="45720" marR="45720" marT="0" marB="0" anchor="ctr">
                    <a:solidFill>
                      <a:schemeClr val="accent4">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n-lt"/>
                        <a:ea typeface="+mn-ea"/>
                        <a:cs typeface="+mn-cs"/>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n-lt"/>
                        <a:ea typeface="+mn-ea"/>
                        <a:cs typeface="+mn-cs"/>
                      </a:endParaRPr>
                    </a:p>
                  </a:txBody>
                  <a:tcPr marL="45720" marR="45720" marT="0" marB="0" anchor="ctr"/>
                </a:tc>
                <a:extLst>
                  <a:ext uri="{0D108BD9-81ED-4DB2-BD59-A6C34878D82A}">
                    <a16:rowId xmlns:a16="http://schemas.microsoft.com/office/drawing/2014/main" val="3619949545"/>
                  </a:ext>
                </a:extLst>
              </a:tr>
              <a:tr h="530410">
                <a:tc>
                  <a:txBody>
                    <a:bodyPr/>
                    <a:lstStyle/>
                    <a:p>
                      <a:pPr algn="l" fontAlgn="ctr"/>
                      <a:r>
                        <a:rPr lang="en-US" sz="1050" b="1" u="none" strike="noStrike" dirty="0">
                          <a:effectLst/>
                        </a:rPr>
                        <a:t>Integration with Onshore Teams</a:t>
                      </a:r>
                      <a:endParaRPr lang="en-US" sz="1050" b="1" i="0" u="none" strike="noStrike" dirty="0">
                        <a:solidFill>
                          <a:srgbClr val="000000"/>
                        </a:solidFill>
                        <a:effectLst/>
                        <a:latin typeface="+mn-lt"/>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effectLst/>
                          <a:uLnTx/>
                          <a:uFillTx/>
                          <a:sym typeface="Wingdings" panose="05000000000000000000" pitchFamily="2" charset="2"/>
                        </a:rPr>
                        <a:t></a:t>
                      </a:r>
                      <a:endParaRPr kumimoji="0" lang="en-US" sz="1800" b="0" i="0" u="none" strike="noStrike" kern="1200" cap="none" spc="0" normalizeH="0" baseline="0" noProof="0" dirty="0">
                        <a:ln>
                          <a:noFill/>
                        </a:ln>
                        <a:solidFill>
                          <a:srgbClr val="000000"/>
                        </a:solidFill>
                        <a:effectLst/>
                        <a:uLnTx/>
                        <a:uFillTx/>
                        <a:latin typeface="+mn-lt"/>
                        <a:ea typeface="+mn-ea"/>
                        <a:cs typeface="+mn-cs"/>
                      </a:endParaRPr>
                    </a:p>
                  </a:txBody>
                  <a:tcPr marL="45720" marR="45720" marT="0" marB="0" anchor="ctr">
                    <a:solidFill>
                      <a:schemeClr val="accent4">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effectLst/>
                          <a:uLnTx/>
                          <a:uFillTx/>
                          <a:sym typeface="Wingdings" panose="05000000000000000000" pitchFamily="2" charset="2"/>
                        </a:rPr>
                        <a:t></a:t>
                      </a:r>
                      <a:endParaRPr kumimoji="0" lang="en-US" sz="1800" b="0" i="0" u="none" strike="noStrike" kern="1200" cap="none" spc="0" normalizeH="0" baseline="0" noProof="0" dirty="0">
                        <a:ln>
                          <a:noFill/>
                        </a:ln>
                        <a:solidFill>
                          <a:srgbClr val="000000"/>
                        </a:solidFill>
                        <a:effectLst/>
                        <a:uLnTx/>
                        <a:uFillTx/>
                        <a:latin typeface="+mn-lt"/>
                        <a:ea typeface="+mn-ea"/>
                        <a:cs typeface="+mn-cs"/>
                      </a:endParaRPr>
                    </a:p>
                  </a:txBody>
                  <a:tcPr marL="45720" marR="45720" marT="0" marB="0" anchor="ctr">
                    <a:solidFill>
                      <a:schemeClr val="accent4">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effectLst/>
                          <a:uLnTx/>
                          <a:uFillTx/>
                          <a:sym typeface="Wingdings" panose="05000000000000000000" pitchFamily="2" charset="2"/>
                        </a:rPr>
                        <a:t></a:t>
                      </a:r>
                      <a:endParaRPr kumimoji="0" lang="en-US" sz="1800" b="1" i="0" u="none" strike="noStrike" kern="1200" cap="none" spc="0" normalizeH="0" baseline="0" noProof="0" dirty="0">
                        <a:ln>
                          <a:noFill/>
                        </a:ln>
                        <a:solidFill>
                          <a:schemeClr val="bg1">
                            <a:lumMod val="65000"/>
                          </a:schemeClr>
                        </a:solidFill>
                        <a:effectLst/>
                        <a:uLnTx/>
                        <a:uFillTx/>
                        <a:latin typeface="+mn-lt"/>
                        <a:ea typeface="+mn-ea"/>
                        <a:cs typeface="+mn-cs"/>
                      </a:endParaRPr>
                    </a:p>
                  </a:txBody>
                  <a:tcPr marL="0" marR="0" marT="0" marB="0" anchor="ctr">
                    <a:solidFill>
                      <a:schemeClr val="accent4">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effectLst/>
                          <a:uLnTx/>
                          <a:uFillTx/>
                          <a:sym typeface="Wingdings" panose="05000000000000000000" pitchFamily="2" charset="2"/>
                        </a:rPr>
                        <a:t></a:t>
                      </a:r>
                      <a:endParaRPr kumimoji="0" lang="en-US" sz="1800" b="1" i="0" u="none" strike="noStrike" kern="1200" cap="none" spc="0" normalizeH="0" baseline="0" noProof="0" dirty="0">
                        <a:ln>
                          <a:noFill/>
                        </a:ln>
                        <a:solidFill>
                          <a:schemeClr val="bg1">
                            <a:lumMod val="65000"/>
                          </a:schemeClr>
                        </a:solidFill>
                        <a:effectLst/>
                        <a:uLnTx/>
                        <a:uFillTx/>
                        <a:latin typeface="+mn-lt"/>
                        <a:ea typeface="+mn-ea"/>
                        <a:cs typeface="+mn-cs"/>
                      </a:endParaRPr>
                    </a:p>
                  </a:txBody>
                  <a:tcPr marL="0" marR="0" marT="0" marB="0" anchor="ctr">
                    <a:solidFill>
                      <a:schemeClr val="accent4">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effectLst/>
                          <a:uLnTx/>
                          <a:uFillTx/>
                          <a:sym typeface="Wingdings" panose="05000000000000000000" pitchFamily="2" charset="2"/>
                        </a:rPr>
                        <a:t></a:t>
                      </a:r>
                      <a:endParaRPr kumimoji="0" lang="en-US" sz="1800" b="1" i="0" u="none" strike="noStrike" kern="1200" cap="none" spc="0" normalizeH="0" baseline="0" noProof="0" dirty="0">
                        <a:ln>
                          <a:noFill/>
                        </a:ln>
                        <a:solidFill>
                          <a:schemeClr val="bg1">
                            <a:lumMod val="65000"/>
                          </a:schemeClr>
                        </a:solidFill>
                        <a:effectLst/>
                        <a:uLnTx/>
                        <a:uFillTx/>
                        <a:latin typeface="+mn-lt"/>
                        <a:ea typeface="+mn-ea"/>
                        <a:cs typeface="+mn-cs"/>
                      </a:endParaRPr>
                    </a:p>
                  </a:txBody>
                  <a:tcPr marL="0" marR="0" marT="0" marB="0" anchor="ctr">
                    <a:solidFill>
                      <a:schemeClr val="accent4">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effectLst/>
                          <a:uLnTx/>
                          <a:uFillTx/>
                          <a:sym typeface="Wingdings" panose="05000000000000000000" pitchFamily="2" charset="2"/>
                        </a:rPr>
                        <a:t></a:t>
                      </a:r>
                      <a:endParaRPr kumimoji="0" lang="en-US" sz="1800" b="1" i="0" u="none" strike="noStrike" kern="1200" cap="none" spc="0" normalizeH="0" baseline="0" noProof="0" dirty="0">
                        <a:ln>
                          <a:noFill/>
                        </a:ln>
                        <a:solidFill>
                          <a:srgbClr val="FFFFFF">
                            <a:lumMod val="65000"/>
                          </a:srgbClr>
                        </a:solidFill>
                        <a:effectLst/>
                        <a:uLnTx/>
                        <a:uFillTx/>
                        <a:latin typeface="Open Sans"/>
                        <a:ea typeface="+mn-ea"/>
                        <a:cs typeface="+mn-cs"/>
                      </a:endParaRPr>
                    </a:p>
                  </a:txBody>
                  <a:tcPr marL="0" marR="0" marT="0" marB="0" anchor="ctr">
                    <a:solidFill>
                      <a:schemeClr val="accent4">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n-lt"/>
                        <a:ea typeface="+mn-ea"/>
                        <a:cs typeface="+mn-cs"/>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n-lt"/>
                        <a:ea typeface="+mn-ea"/>
                        <a:cs typeface="+mn-cs"/>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n-lt"/>
                        <a:ea typeface="+mn-ea"/>
                        <a:cs typeface="+mn-cs"/>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n-lt"/>
                        <a:ea typeface="+mn-ea"/>
                        <a:cs typeface="+mn-cs"/>
                      </a:endParaRPr>
                    </a:p>
                  </a:txBody>
                  <a:tcPr marL="45720" marR="45720" marT="0" marB="0" anchor="ctr"/>
                </a:tc>
                <a:extLst>
                  <a:ext uri="{0D108BD9-81ED-4DB2-BD59-A6C34878D82A}">
                    <a16:rowId xmlns:a16="http://schemas.microsoft.com/office/drawing/2014/main" val="2061613993"/>
                  </a:ext>
                </a:extLst>
              </a:tr>
              <a:tr h="530410">
                <a:tc>
                  <a:txBody>
                    <a:bodyPr/>
                    <a:lstStyle/>
                    <a:p>
                      <a:pPr algn="l" fontAlgn="ctr"/>
                      <a:r>
                        <a:rPr lang="en-US" sz="1050" b="1" u="none" strike="noStrike" dirty="0">
                          <a:effectLst/>
                        </a:rPr>
                        <a:t>Licenses Needs</a:t>
                      </a:r>
                      <a:endParaRPr lang="en-US" sz="1050" b="1" i="0" u="none" strike="noStrike" dirty="0">
                        <a:solidFill>
                          <a:srgbClr val="000000"/>
                        </a:solidFill>
                        <a:effectLst/>
                        <a:latin typeface="+mn-lt"/>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chemeClr val="bg1">
                            <a:lumMod val="65000"/>
                          </a:schemeClr>
                        </a:solidFill>
                        <a:effectLst/>
                        <a:uLnTx/>
                        <a:uFillTx/>
                        <a:latin typeface="+mn-lt"/>
                        <a:ea typeface="+mn-ea"/>
                        <a:cs typeface="+mn-cs"/>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dirty="0">
                        <a:ln>
                          <a:noFill/>
                        </a:ln>
                        <a:effectLst/>
                        <a:uLnTx/>
                        <a:uFillTx/>
                        <a:latin typeface="+mn-lt"/>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dirty="0">
                        <a:ln>
                          <a:noFill/>
                        </a:ln>
                        <a:effectLst/>
                        <a:uLnTx/>
                        <a:uFillTx/>
                        <a:latin typeface="+mn-lt"/>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dirty="0">
                        <a:ln>
                          <a:noFill/>
                        </a:ln>
                        <a:effectLst/>
                        <a:uLnTx/>
                        <a:uFillTx/>
                        <a:latin typeface="+mn-lt"/>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dirty="0">
                        <a:ln>
                          <a:noFill/>
                        </a:ln>
                        <a:effectLst/>
                        <a:uLnTx/>
                        <a:uFillTx/>
                        <a:latin typeface="+mn-lt"/>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dirty="0">
                        <a:ln>
                          <a:noFill/>
                        </a:ln>
                        <a:effectLst/>
                        <a:uLnTx/>
                        <a:uFillTx/>
                        <a:latin typeface="+mn-lt"/>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dirty="0">
                        <a:ln>
                          <a:noFill/>
                        </a:ln>
                        <a:effectLst/>
                        <a:uLnTx/>
                        <a:uFillTx/>
                        <a:latin typeface="+mn-lt"/>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dirty="0">
                        <a:ln>
                          <a:noFill/>
                        </a:ln>
                        <a:effectLst/>
                        <a:uLnTx/>
                        <a:uFillTx/>
                        <a:latin typeface="+mn-lt"/>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effectLst/>
                          <a:uLnTx/>
                          <a:uFillTx/>
                          <a:sym typeface="Wingdings" panose="05000000000000000000" pitchFamily="2" charset="2"/>
                        </a:rPr>
                        <a:t></a:t>
                      </a:r>
                      <a:endParaRPr kumimoji="0" lang="en-US" sz="1800" u="none" strike="noStrike" kern="1200" cap="none" spc="0" normalizeH="0" baseline="0" noProof="0" dirty="0">
                        <a:ln>
                          <a:noFill/>
                        </a:ln>
                        <a:effectLst/>
                        <a:uLnTx/>
                        <a:uFillTx/>
                        <a:latin typeface="+mn-lt"/>
                      </a:endParaRPr>
                    </a:p>
                  </a:txBody>
                  <a:tcPr marL="45720" marR="45720" marT="0" marB="0" anchor="ctr">
                    <a:solidFill>
                      <a:schemeClr val="accent4">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effectLst/>
                          <a:uLnTx/>
                          <a:uFillTx/>
                          <a:sym typeface="Wingdings" panose="05000000000000000000" pitchFamily="2" charset="2"/>
                        </a:rPr>
                        <a:t></a:t>
                      </a:r>
                      <a:endParaRPr kumimoji="0" lang="en-US" sz="1800" b="1" i="0" u="none" strike="noStrike" kern="1200" cap="none" spc="0" normalizeH="0" baseline="0" noProof="0" dirty="0">
                        <a:ln>
                          <a:noFill/>
                        </a:ln>
                        <a:solidFill>
                          <a:schemeClr val="bg1">
                            <a:lumMod val="65000"/>
                          </a:schemeClr>
                        </a:solidFill>
                        <a:effectLst/>
                        <a:uLnTx/>
                        <a:uFillTx/>
                        <a:latin typeface="+mn-lt"/>
                        <a:ea typeface="+mn-ea"/>
                        <a:cs typeface="+mn-cs"/>
                      </a:endParaRPr>
                    </a:p>
                  </a:txBody>
                  <a:tcPr marL="45720" marR="45720" marT="0" marB="0" anchor="ctr">
                    <a:solidFill>
                      <a:schemeClr val="accent4">
                        <a:lumMod val="20000"/>
                        <a:lumOff val="80000"/>
                      </a:schemeClr>
                    </a:solidFill>
                  </a:tcPr>
                </a:tc>
                <a:extLst>
                  <a:ext uri="{0D108BD9-81ED-4DB2-BD59-A6C34878D82A}">
                    <a16:rowId xmlns:a16="http://schemas.microsoft.com/office/drawing/2014/main" val="3973696547"/>
                  </a:ext>
                </a:extLst>
              </a:tr>
            </a:tbl>
          </a:graphicData>
        </a:graphic>
      </p:graphicFrame>
    </p:spTree>
    <p:extLst>
      <p:ext uri="{BB962C8B-B14F-4D97-AF65-F5344CB8AC3E}">
        <p14:creationId xmlns:p14="http://schemas.microsoft.com/office/powerpoint/2010/main" val="1391454188"/>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3636E115-5E1B-4F14-AF9E-7710AEBB7D1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084" name="think-cell Slide" r:id="rId6" imgW="395" imgH="396" progId="TCLayout.ActiveDocument.1">
                  <p:embed/>
                </p:oleObj>
              </mc:Choice>
              <mc:Fallback>
                <p:oleObj name="think-cell Slide" r:id="rId6" imgW="395" imgH="396" progId="TCLayout.ActiveDocument.1">
                  <p:embed/>
                  <p:pic>
                    <p:nvPicPr>
                      <p:cNvPr id="29" name="Object 28" hidden="1">
                        <a:extLst>
                          <a:ext uri="{FF2B5EF4-FFF2-40B4-BE49-F238E27FC236}">
                            <a16:creationId xmlns:a16="http://schemas.microsoft.com/office/drawing/2014/main" id="{3636E115-5E1B-4F14-AF9E-7710AEBB7D1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8" name="Rectangle 27" hidden="1">
            <a:extLst>
              <a:ext uri="{FF2B5EF4-FFF2-40B4-BE49-F238E27FC236}">
                <a16:creationId xmlns:a16="http://schemas.microsoft.com/office/drawing/2014/main" id="{3803FD3E-B1A5-4B86-827A-87806B3A1A9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035CCDCB-9A91-4F45-9E8D-B5C29FCCB509}"/>
              </a:ext>
            </a:extLst>
          </p:cNvPr>
          <p:cNvSpPr>
            <a:spLocks noGrp="1"/>
          </p:cNvSpPr>
          <p:nvPr>
            <p:ph type="title"/>
          </p:nvPr>
        </p:nvSpPr>
        <p:spPr/>
        <p:txBody>
          <a:bodyPr/>
          <a:lstStyle/>
          <a:p>
            <a:r>
              <a:rPr lang="en-US" dirty="0"/>
              <a:t>Tools Index</a:t>
            </a:r>
          </a:p>
        </p:txBody>
      </p:sp>
      <p:sp>
        <p:nvSpPr>
          <p:cNvPr id="3" name="Text Placeholder 2">
            <a:extLst>
              <a:ext uri="{FF2B5EF4-FFF2-40B4-BE49-F238E27FC236}">
                <a16:creationId xmlns:a16="http://schemas.microsoft.com/office/drawing/2014/main" id="{AC655330-9853-4EFF-812E-7F2D10516F54}"/>
              </a:ext>
            </a:extLst>
          </p:cNvPr>
          <p:cNvSpPr>
            <a:spLocks noGrp="1"/>
          </p:cNvSpPr>
          <p:nvPr>
            <p:ph type="body" sz="quarter" idx="14"/>
          </p:nvPr>
        </p:nvSpPr>
        <p:spPr/>
        <p:txBody>
          <a:bodyPr/>
          <a:lstStyle/>
          <a:p>
            <a:r>
              <a:rPr lang="en-US" dirty="0"/>
              <a:t>Subtitles</a:t>
            </a:r>
          </a:p>
        </p:txBody>
      </p:sp>
      <p:sp>
        <p:nvSpPr>
          <p:cNvPr id="4" name="Text Placeholder 3">
            <a:extLst>
              <a:ext uri="{FF2B5EF4-FFF2-40B4-BE49-F238E27FC236}">
                <a16:creationId xmlns:a16="http://schemas.microsoft.com/office/drawing/2014/main" id="{085E2273-E07A-41E0-AD23-4E3772ACC80C}"/>
              </a:ext>
            </a:extLst>
          </p:cNvPr>
          <p:cNvSpPr>
            <a:spLocks noGrp="1"/>
          </p:cNvSpPr>
          <p:nvPr>
            <p:ph type="body" sz="quarter" idx="15"/>
          </p:nvPr>
        </p:nvSpPr>
        <p:spPr/>
        <p:txBody>
          <a:bodyPr/>
          <a:lstStyle/>
          <a:p>
            <a:r>
              <a:rPr lang="en-US" dirty="0"/>
              <a:t>TABLE</a:t>
            </a:r>
          </a:p>
        </p:txBody>
      </p:sp>
      <p:sp>
        <p:nvSpPr>
          <p:cNvPr id="5" name="Title 2">
            <a:extLst>
              <a:ext uri="{FF2B5EF4-FFF2-40B4-BE49-F238E27FC236}">
                <a16:creationId xmlns:a16="http://schemas.microsoft.com/office/drawing/2014/main" id="{B814B0C3-4F40-4DD7-B61B-D50DCEEAB487}"/>
              </a:ext>
            </a:extLst>
          </p:cNvPr>
          <p:cNvSpPr txBox="1">
            <a:spLocks/>
          </p:cNvSpPr>
          <p:nvPr/>
        </p:nvSpPr>
        <p:spPr>
          <a:xfrm>
            <a:off x="469901" y="402587"/>
            <a:ext cx="11252201"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cxnSp>
        <p:nvCxnSpPr>
          <p:cNvPr id="22" name="Straight Connector 21">
            <a:extLst>
              <a:ext uri="{FF2B5EF4-FFF2-40B4-BE49-F238E27FC236}">
                <a16:creationId xmlns:a16="http://schemas.microsoft.com/office/drawing/2014/main" id="{BEB8CB03-62CB-438B-9DF8-4F66F575497C}"/>
              </a:ext>
            </a:extLst>
          </p:cNvPr>
          <p:cNvCxnSpPr>
            <a:cxnSpLocks/>
          </p:cNvCxnSpPr>
          <p:nvPr/>
        </p:nvCxnSpPr>
        <p:spPr>
          <a:xfrm flipV="1">
            <a:off x="10984118" y="1258055"/>
            <a:ext cx="693342" cy="84181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F409890F-490E-40A8-8E54-25E6E3E77A53}"/>
              </a:ext>
            </a:extLst>
          </p:cNvPr>
          <p:cNvSpPr txBox="1"/>
          <p:nvPr/>
        </p:nvSpPr>
        <p:spPr>
          <a:xfrm rot="18574034">
            <a:off x="3604001" y="1239618"/>
            <a:ext cx="1612917" cy="307777"/>
          </a:xfrm>
          <a:prstGeom prst="rect">
            <a:avLst/>
          </a:prstGeom>
          <a:noFill/>
        </p:spPr>
        <p:txBody>
          <a:bodyPr wrap="square" rtlCol="0">
            <a:spAutoFit/>
          </a:bodyPr>
          <a:lstStyle/>
          <a:p>
            <a:r>
              <a:rPr lang="en-US" sz="700" b="1" cap="all" spc="250" dirty="0">
                <a:solidFill>
                  <a:schemeClr val="bg1">
                    <a:lumMod val="65000"/>
                  </a:schemeClr>
                </a:solidFill>
              </a:rPr>
              <a:t>Industry Research</a:t>
            </a:r>
          </a:p>
        </p:txBody>
      </p:sp>
      <p:graphicFrame>
        <p:nvGraphicFramePr>
          <p:cNvPr id="24" name="Table 23">
            <a:extLst>
              <a:ext uri="{FF2B5EF4-FFF2-40B4-BE49-F238E27FC236}">
                <a16:creationId xmlns:a16="http://schemas.microsoft.com/office/drawing/2014/main" id="{54F5CFE7-A5CC-442E-9D76-4684E4CD8E2E}"/>
              </a:ext>
            </a:extLst>
          </p:cNvPr>
          <p:cNvGraphicFramePr>
            <a:graphicFrameLocks noGrp="1"/>
          </p:cNvGraphicFramePr>
          <p:nvPr>
            <p:extLst>
              <p:ext uri="{D42A27DB-BD31-4B8C-83A1-F6EECF244321}">
                <p14:modId xmlns:p14="http://schemas.microsoft.com/office/powerpoint/2010/main" val="1705471485"/>
              </p:ext>
            </p:extLst>
          </p:nvPr>
        </p:nvGraphicFramePr>
        <p:xfrm>
          <a:off x="833377" y="2083540"/>
          <a:ext cx="10161293" cy="4146723"/>
        </p:xfrm>
        <a:graphic>
          <a:graphicData uri="http://schemas.openxmlformats.org/drawingml/2006/table">
            <a:tbl>
              <a:tblPr firstRow="1" bandRow="1">
                <a:tableStyleId>{2D5ABB26-0587-4C30-8999-92F81FD0307C}</a:tableStyleId>
              </a:tblPr>
              <a:tblGrid>
                <a:gridCol w="2650603">
                  <a:extLst>
                    <a:ext uri="{9D8B030D-6E8A-4147-A177-3AD203B41FA5}">
                      <a16:colId xmlns:a16="http://schemas.microsoft.com/office/drawing/2014/main" val="4231713665"/>
                    </a:ext>
                  </a:extLst>
                </a:gridCol>
                <a:gridCol w="682790">
                  <a:extLst>
                    <a:ext uri="{9D8B030D-6E8A-4147-A177-3AD203B41FA5}">
                      <a16:colId xmlns:a16="http://schemas.microsoft.com/office/drawing/2014/main" val="106075446"/>
                    </a:ext>
                  </a:extLst>
                </a:gridCol>
                <a:gridCol w="682790">
                  <a:extLst>
                    <a:ext uri="{9D8B030D-6E8A-4147-A177-3AD203B41FA5}">
                      <a16:colId xmlns:a16="http://schemas.microsoft.com/office/drawing/2014/main" val="2022025660"/>
                    </a:ext>
                  </a:extLst>
                </a:gridCol>
                <a:gridCol w="682790">
                  <a:extLst>
                    <a:ext uri="{9D8B030D-6E8A-4147-A177-3AD203B41FA5}">
                      <a16:colId xmlns:a16="http://schemas.microsoft.com/office/drawing/2014/main" val="3908040152"/>
                    </a:ext>
                  </a:extLst>
                </a:gridCol>
                <a:gridCol w="682790">
                  <a:extLst>
                    <a:ext uri="{9D8B030D-6E8A-4147-A177-3AD203B41FA5}">
                      <a16:colId xmlns:a16="http://schemas.microsoft.com/office/drawing/2014/main" val="4268956121"/>
                    </a:ext>
                  </a:extLst>
                </a:gridCol>
                <a:gridCol w="682790">
                  <a:extLst>
                    <a:ext uri="{9D8B030D-6E8A-4147-A177-3AD203B41FA5}">
                      <a16:colId xmlns:a16="http://schemas.microsoft.com/office/drawing/2014/main" val="3258950705"/>
                    </a:ext>
                  </a:extLst>
                </a:gridCol>
                <a:gridCol w="682790">
                  <a:extLst>
                    <a:ext uri="{9D8B030D-6E8A-4147-A177-3AD203B41FA5}">
                      <a16:colId xmlns:a16="http://schemas.microsoft.com/office/drawing/2014/main" val="2923278999"/>
                    </a:ext>
                  </a:extLst>
                </a:gridCol>
                <a:gridCol w="682790">
                  <a:extLst>
                    <a:ext uri="{9D8B030D-6E8A-4147-A177-3AD203B41FA5}">
                      <a16:colId xmlns:a16="http://schemas.microsoft.com/office/drawing/2014/main" val="3848329121"/>
                    </a:ext>
                  </a:extLst>
                </a:gridCol>
                <a:gridCol w="682790">
                  <a:extLst>
                    <a:ext uri="{9D8B030D-6E8A-4147-A177-3AD203B41FA5}">
                      <a16:colId xmlns:a16="http://schemas.microsoft.com/office/drawing/2014/main" val="1497628492"/>
                    </a:ext>
                  </a:extLst>
                </a:gridCol>
                <a:gridCol w="682790">
                  <a:extLst>
                    <a:ext uri="{9D8B030D-6E8A-4147-A177-3AD203B41FA5}">
                      <a16:colId xmlns:a16="http://schemas.microsoft.com/office/drawing/2014/main" val="261769947"/>
                    </a:ext>
                  </a:extLst>
                </a:gridCol>
                <a:gridCol w="682790">
                  <a:extLst>
                    <a:ext uri="{9D8B030D-6E8A-4147-A177-3AD203B41FA5}">
                      <a16:colId xmlns:a16="http://schemas.microsoft.com/office/drawing/2014/main" val="4070341813"/>
                    </a:ext>
                  </a:extLst>
                </a:gridCol>
                <a:gridCol w="682790">
                  <a:extLst>
                    <a:ext uri="{9D8B030D-6E8A-4147-A177-3AD203B41FA5}">
                      <a16:colId xmlns:a16="http://schemas.microsoft.com/office/drawing/2014/main" val="3654848880"/>
                    </a:ext>
                  </a:extLst>
                </a:gridCol>
              </a:tblGrid>
              <a:tr h="235605">
                <a:tc>
                  <a:txBody>
                    <a:bodyPr/>
                    <a:lstStyle/>
                    <a:p>
                      <a:r>
                        <a:rPr lang="en-US" sz="1100" b="1" dirty="0">
                          <a:solidFill>
                            <a:schemeClr val="bg1"/>
                          </a:solidFill>
                        </a:rPr>
                        <a:t>Social Intelligence / Insights Studio</a:t>
                      </a:r>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02669458"/>
                  </a:ext>
                </a:extLst>
              </a:tr>
              <a:tr h="235605">
                <a:tc>
                  <a:txBody>
                    <a:bodyPr/>
                    <a:lstStyle/>
                    <a:p>
                      <a:r>
                        <a:rPr lang="en-US" sz="1100" b="1" dirty="0">
                          <a:solidFill>
                            <a:schemeClr val="bg1"/>
                          </a:solidFill>
                        </a:rPr>
                        <a:t>Quid Un-structured Learning</a:t>
                      </a:r>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52353641"/>
                  </a:ext>
                </a:extLst>
              </a:tr>
              <a:tr h="235605">
                <a:tc>
                  <a:txBody>
                    <a:bodyPr/>
                    <a:lstStyle/>
                    <a:p>
                      <a:r>
                        <a:rPr lang="en-US" sz="1100" b="1" dirty="0">
                          <a:solidFill>
                            <a:schemeClr val="bg1"/>
                          </a:solidFill>
                        </a:rPr>
                        <a:t>Industry Reports</a:t>
                      </a:r>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20585680"/>
                  </a:ext>
                </a:extLst>
              </a:tr>
              <a:tr h="235605">
                <a:tc>
                  <a:txBody>
                    <a:bodyPr/>
                    <a:lstStyle/>
                    <a:p>
                      <a:r>
                        <a:rPr lang="en-US" sz="1100" b="1" dirty="0">
                          <a:solidFill>
                            <a:schemeClr val="bg1"/>
                          </a:solidFill>
                        </a:rPr>
                        <a:t>The 5 E’s</a:t>
                      </a:r>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32801887"/>
                  </a:ext>
                </a:extLst>
              </a:tr>
              <a:tr h="235605">
                <a:tc>
                  <a:txBody>
                    <a:bodyPr/>
                    <a:lstStyle/>
                    <a:p>
                      <a:r>
                        <a:rPr lang="en-US" sz="1100" b="1" dirty="0">
                          <a:solidFill>
                            <a:schemeClr val="bg1"/>
                          </a:solidFill>
                        </a:rPr>
                        <a:t>Ten Types of Innovation</a:t>
                      </a:r>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50034681"/>
                  </a:ext>
                </a:extLst>
              </a:tr>
              <a:tr h="235605">
                <a:tc>
                  <a:txBody>
                    <a:bodyPr/>
                    <a:lstStyle/>
                    <a:p>
                      <a:r>
                        <a:rPr lang="en-US" sz="1100" b="1" dirty="0">
                          <a:solidFill>
                            <a:schemeClr val="bg1"/>
                          </a:solidFill>
                        </a:rPr>
                        <a:t>Ambition Matrix</a:t>
                      </a:r>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72434818"/>
                  </a:ext>
                </a:extLst>
              </a:tr>
              <a:tr h="235605">
                <a:tc>
                  <a:txBody>
                    <a:bodyPr/>
                    <a:lstStyle/>
                    <a:p>
                      <a:r>
                        <a:rPr lang="en-US" sz="1100" b="1" dirty="0">
                          <a:solidFill>
                            <a:schemeClr val="bg1"/>
                          </a:solidFill>
                        </a:rPr>
                        <a:t>Balanced Breakthrough Framework</a:t>
                      </a:r>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26178815"/>
                  </a:ext>
                </a:extLst>
              </a:tr>
              <a:tr h="235605">
                <a:tc>
                  <a:txBody>
                    <a:bodyPr/>
                    <a:lstStyle/>
                    <a:p>
                      <a:r>
                        <a:rPr lang="en-US" sz="1100" b="1" dirty="0">
                          <a:solidFill>
                            <a:schemeClr val="bg1"/>
                          </a:solidFill>
                        </a:rPr>
                        <a:t>Interview Field Guides</a:t>
                      </a:r>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70522356"/>
                  </a:ext>
                </a:extLst>
              </a:tr>
              <a:tr h="235605">
                <a:tc>
                  <a:txBody>
                    <a:bodyPr/>
                    <a:lstStyle/>
                    <a:p>
                      <a:r>
                        <a:rPr lang="en-US" sz="1100" b="1" dirty="0">
                          <a:solidFill>
                            <a:schemeClr val="bg1"/>
                          </a:solidFill>
                        </a:rPr>
                        <a:t>Insights Map</a:t>
                      </a:r>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42303250"/>
                  </a:ext>
                </a:extLst>
              </a:tr>
              <a:tr h="235605">
                <a:tc>
                  <a:txBody>
                    <a:bodyPr/>
                    <a:lstStyle/>
                    <a:p>
                      <a:r>
                        <a:rPr lang="en-US" sz="1100" b="1" dirty="0">
                          <a:solidFill>
                            <a:schemeClr val="bg1"/>
                          </a:solidFill>
                        </a:rPr>
                        <a:t>Uncertainties Matrix</a:t>
                      </a:r>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71871569"/>
                  </a:ext>
                </a:extLst>
              </a:tr>
              <a:tr h="235605">
                <a:tc>
                  <a:txBody>
                    <a:bodyPr/>
                    <a:lstStyle/>
                    <a:p>
                      <a:r>
                        <a:rPr lang="en-US" sz="1100" b="1" dirty="0">
                          <a:solidFill>
                            <a:schemeClr val="bg1"/>
                          </a:solidFill>
                        </a:rPr>
                        <a:t>Personas</a:t>
                      </a:r>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35649568"/>
                  </a:ext>
                </a:extLst>
              </a:tr>
              <a:tr h="235605">
                <a:tc>
                  <a:txBody>
                    <a:bodyPr/>
                    <a:lstStyle/>
                    <a:p>
                      <a:r>
                        <a:rPr lang="en-US" sz="1100" b="1" dirty="0">
                          <a:solidFill>
                            <a:schemeClr val="bg1"/>
                          </a:solidFill>
                        </a:rPr>
                        <a:t>Journeys</a:t>
                      </a:r>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41110944"/>
                  </a:ext>
                </a:extLst>
              </a:tr>
              <a:tr h="235605">
                <a:tc>
                  <a:txBody>
                    <a:bodyPr/>
                    <a:lstStyle/>
                    <a:p>
                      <a:r>
                        <a:rPr lang="en-US" sz="1100" b="1" dirty="0">
                          <a:solidFill>
                            <a:schemeClr val="bg1"/>
                          </a:solidFill>
                        </a:rPr>
                        <a:t>Service Design Blueprints</a:t>
                      </a:r>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78711222"/>
                  </a:ext>
                </a:extLst>
              </a:tr>
              <a:tr h="235605">
                <a:tc>
                  <a:txBody>
                    <a:bodyPr/>
                    <a:lstStyle/>
                    <a:p>
                      <a:r>
                        <a:rPr lang="en-US" sz="1100" b="1" dirty="0">
                          <a:solidFill>
                            <a:schemeClr val="bg1"/>
                          </a:solidFill>
                        </a:rPr>
                        <a:t>Capability Maps</a:t>
                      </a:r>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6584287"/>
                  </a:ext>
                </a:extLst>
              </a:tr>
              <a:tr h="235605">
                <a:tc>
                  <a:txBody>
                    <a:bodyPr/>
                    <a:lstStyle/>
                    <a:p>
                      <a:r>
                        <a:rPr lang="en-US" sz="1100" b="1" dirty="0">
                          <a:solidFill>
                            <a:schemeClr val="bg1"/>
                          </a:solidFill>
                        </a:rPr>
                        <a:t>Agile Delivery Methodology</a:t>
                      </a:r>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20608731"/>
                  </a:ext>
                </a:extLst>
              </a:tr>
              <a:tr h="235605">
                <a:tc>
                  <a:txBody>
                    <a:bodyPr/>
                    <a:lstStyle/>
                    <a:p>
                      <a:r>
                        <a:rPr lang="en-US" sz="1100" b="1" dirty="0">
                          <a:solidFill>
                            <a:schemeClr val="bg1"/>
                          </a:solidFill>
                        </a:rPr>
                        <a:t>Decision Rights Framework (RACI)</a:t>
                      </a:r>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39179655"/>
                  </a:ext>
                </a:extLst>
              </a:tr>
              <a:tr h="0">
                <a:tc>
                  <a:txBody>
                    <a:bodyPr/>
                    <a:lstStyle/>
                    <a:p>
                      <a:r>
                        <a:rPr lang="en-US" sz="1100" b="1" dirty="0">
                          <a:solidFill>
                            <a:schemeClr val="bg1"/>
                          </a:solidFill>
                        </a:rPr>
                        <a:t>Change Impact Assessment Tool</a:t>
                      </a:r>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endParaRPr lang="en-US" sz="1100" dirty="0"/>
                    </a:p>
                  </a:txBody>
                  <a:tcPr marT="27432" marB="27432"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760027"/>
                  </a:ext>
                </a:extLst>
              </a:tr>
            </a:tbl>
          </a:graphicData>
        </a:graphic>
      </p:graphicFrame>
      <p:sp>
        <p:nvSpPr>
          <p:cNvPr id="25" name="TextBox 24">
            <a:extLst>
              <a:ext uri="{FF2B5EF4-FFF2-40B4-BE49-F238E27FC236}">
                <a16:creationId xmlns:a16="http://schemas.microsoft.com/office/drawing/2014/main" id="{D5C69D4E-C86B-4EA3-84F6-3FBA134C3104}"/>
              </a:ext>
            </a:extLst>
          </p:cNvPr>
          <p:cNvSpPr txBox="1"/>
          <p:nvPr/>
        </p:nvSpPr>
        <p:spPr>
          <a:xfrm rot="18574034">
            <a:off x="4122450" y="836249"/>
            <a:ext cx="2519699" cy="415498"/>
          </a:xfrm>
          <a:prstGeom prst="rect">
            <a:avLst/>
          </a:prstGeom>
          <a:noFill/>
        </p:spPr>
        <p:txBody>
          <a:bodyPr wrap="square" rtlCol="0">
            <a:spAutoFit/>
          </a:bodyPr>
          <a:lstStyle/>
          <a:p>
            <a:r>
              <a:rPr lang="en-US" sz="700" b="1" cap="all" spc="250" dirty="0">
                <a:solidFill>
                  <a:schemeClr val="bg1">
                    <a:lumMod val="65000"/>
                  </a:schemeClr>
                </a:solidFill>
              </a:rPr>
              <a:t>Customer </a:t>
            </a:r>
            <a:br>
              <a:rPr lang="en-US" sz="700" b="1" cap="all" spc="250" dirty="0">
                <a:solidFill>
                  <a:schemeClr val="bg1">
                    <a:lumMod val="65000"/>
                  </a:schemeClr>
                </a:solidFill>
              </a:rPr>
            </a:br>
            <a:r>
              <a:rPr lang="en-US" sz="700" b="1" cap="all" spc="250" dirty="0">
                <a:solidFill>
                  <a:schemeClr val="bg1">
                    <a:lumMod val="65000"/>
                  </a:schemeClr>
                </a:solidFill>
              </a:rPr>
              <a:t>research </a:t>
            </a:r>
            <a:br>
              <a:rPr lang="en-US" sz="700" b="1" cap="all" spc="250" dirty="0">
                <a:solidFill>
                  <a:schemeClr val="bg1">
                    <a:lumMod val="65000"/>
                  </a:schemeClr>
                </a:solidFill>
              </a:rPr>
            </a:br>
            <a:r>
              <a:rPr lang="en-US" sz="700" b="1" cap="all" spc="250" dirty="0">
                <a:solidFill>
                  <a:schemeClr val="bg1">
                    <a:lumMod val="65000"/>
                  </a:schemeClr>
                </a:solidFill>
              </a:rPr>
              <a:t>(Generative)</a:t>
            </a:r>
          </a:p>
        </p:txBody>
      </p:sp>
      <p:sp>
        <p:nvSpPr>
          <p:cNvPr id="26" name="TextBox 25">
            <a:extLst>
              <a:ext uri="{FF2B5EF4-FFF2-40B4-BE49-F238E27FC236}">
                <a16:creationId xmlns:a16="http://schemas.microsoft.com/office/drawing/2014/main" id="{3851B965-56DF-41CC-8C14-BF012CA977FA}"/>
              </a:ext>
            </a:extLst>
          </p:cNvPr>
          <p:cNvSpPr txBox="1"/>
          <p:nvPr/>
        </p:nvSpPr>
        <p:spPr>
          <a:xfrm rot="18574034">
            <a:off x="5620061" y="1134765"/>
            <a:ext cx="1884951" cy="307777"/>
          </a:xfrm>
          <a:prstGeom prst="rect">
            <a:avLst/>
          </a:prstGeom>
          <a:noFill/>
        </p:spPr>
        <p:txBody>
          <a:bodyPr wrap="square" rtlCol="0">
            <a:spAutoFit/>
          </a:bodyPr>
          <a:lstStyle/>
          <a:p>
            <a:r>
              <a:rPr lang="en-US" sz="700" b="1" cap="all" spc="250" dirty="0">
                <a:solidFill>
                  <a:schemeClr val="bg1">
                    <a:lumMod val="65000"/>
                  </a:schemeClr>
                </a:solidFill>
              </a:rPr>
              <a:t>Provocation generation</a:t>
            </a:r>
          </a:p>
        </p:txBody>
      </p:sp>
      <p:sp>
        <p:nvSpPr>
          <p:cNvPr id="27" name="TextBox 26">
            <a:extLst>
              <a:ext uri="{FF2B5EF4-FFF2-40B4-BE49-F238E27FC236}">
                <a16:creationId xmlns:a16="http://schemas.microsoft.com/office/drawing/2014/main" id="{64272728-B1E1-461A-9F79-64BE3EC5D684}"/>
              </a:ext>
            </a:extLst>
          </p:cNvPr>
          <p:cNvSpPr txBox="1"/>
          <p:nvPr/>
        </p:nvSpPr>
        <p:spPr>
          <a:xfrm rot="18574034">
            <a:off x="6967348" y="1134764"/>
            <a:ext cx="1884951" cy="307777"/>
          </a:xfrm>
          <a:prstGeom prst="rect">
            <a:avLst/>
          </a:prstGeom>
          <a:noFill/>
        </p:spPr>
        <p:txBody>
          <a:bodyPr wrap="square" rtlCol="0">
            <a:spAutoFit/>
          </a:bodyPr>
          <a:lstStyle/>
          <a:p>
            <a:r>
              <a:rPr lang="en-US" sz="700" b="1" cap="all" spc="250" dirty="0">
                <a:solidFill>
                  <a:schemeClr val="bg1">
                    <a:lumMod val="65000"/>
                  </a:schemeClr>
                </a:solidFill>
              </a:rPr>
              <a:t>Prototype </a:t>
            </a:r>
            <a:br>
              <a:rPr lang="en-US" sz="700" b="1" cap="all" spc="250" dirty="0">
                <a:solidFill>
                  <a:schemeClr val="bg1">
                    <a:lumMod val="65000"/>
                  </a:schemeClr>
                </a:solidFill>
              </a:rPr>
            </a:br>
            <a:r>
              <a:rPr lang="en-US" sz="700" b="1" cap="all" spc="250" dirty="0">
                <a:solidFill>
                  <a:schemeClr val="bg1">
                    <a:lumMod val="65000"/>
                  </a:schemeClr>
                </a:solidFill>
              </a:rPr>
              <a:t>Design</a:t>
            </a:r>
          </a:p>
        </p:txBody>
      </p:sp>
      <p:sp>
        <p:nvSpPr>
          <p:cNvPr id="30" name="TextBox 29">
            <a:extLst>
              <a:ext uri="{FF2B5EF4-FFF2-40B4-BE49-F238E27FC236}">
                <a16:creationId xmlns:a16="http://schemas.microsoft.com/office/drawing/2014/main" id="{1C4C2921-FFD2-4208-82F1-F13AB7D55460}"/>
              </a:ext>
            </a:extLst>
          </p:cNvPr>
          <p:cNvSpPr txBox="1"/>
          <p:nvPr/>
        </p:nvSpPr>
        <p:spPr>
          <a:xfrm rot="18574034">
            <a:off x="7644641" y="1188624"/>
            <a:ext cx="1884951" cy="200055"/>
          </a:xfrm>
          <a:prstGeom prst="rect">
            <a:avLst/>
          </a:prstGeom>
          <a:noFill/>
        </p:spPr>
        <p:txBody>
          <a:bodyPr wrap="square" rtlCol="0">
            <a:spAutoFit/>
          </a:bodyPr>
          <a:lstStyle/>
          <a:p>
            <a:r>
              <a:rPr lang="en-US" sz="700" b="1" cap="all" spc="250" dirty="0">
                <a:solidFill>
                  <a:schemeClr val="bg1">
                    <a:lumMod val="65000"/>
                  </a:schemeClr>
                </a:solidFill>
              </a:rPr>
              <a:t>Service Design</a:t>
            </a:r>
          </a:p>
        </p:txBody>
      </p:sp>
      <p:sp>
        <p:nvSpPr>
          <p:cNvPr id="31" name="TextBox 30">
            <a:extLst>
              <a:ext uri="{FF2B5EF4-FFF2-40B4-BE49-F238E27FC236}">
                <a16:creationId xmlns:a16="http://schemas.microsoft.com/office/drawing/2014/main" id="{3E4DBA8C-24B8-4759-AFF3-E4AEC590DF62}"/>
              </a:ext>
            </a:extLst>
          </p:cNvPr>
          <p:cNvSpPr txBox="1"/>
          <p:nvPr/>
        </p:nvSpPr>
        <p:spPr>
          <a:xfrm rot="18574034">
            <a:off x="4809751" y="852364"/>
            <a:ext cx="2418002" cy="461665"/>
          </a:xfrm>
          <a:prstGeom prst="rect">
            <a:avLst/>
          </a:prstGeom>
          <a:noFill/>
        </p:spPr>
        <p:txBody>
          <a:bodyPr wrap="square" rtlCol="0">
            <a:spAutoFit/>
          </a:bodyPr>
          <a:lstStyle/>
          <a:p>
            <a:r>
              <a:rPr lang="en-US" sz="800" b="1" cap="all" spc="250" dirty="0">
                <a:solidFill>
                  <a:schemeClr val="bg1">
                    <a:lumMod val="65000"/>
                  </a:schemeClr>
                </a:solidFill>
              </a:rPr>
              <a:t>Customer </a:t>
            </a:r>
            <a:br>
              <a:rPr lang="en-US" sz="800" b="1" cap="all" spc="250" dirty="0">
                <a:solidFill>
                  <a:schemeClr val="bg1">
                    <a:lumMod val="65000"/>
                  </a:schemeClr>
                </a:solidFill>
              </a:rPr>
            </a:br>
            <a:r>
              <a:rPr lang="en-US" sz="800" b="1" cap="all" spc="250" dirty="0">
                <a:solidFill>
                  <a:schemeClr val="bg1">
                    <a:lumMod val="65000"/>
                  </a:schemeClr>
                </a:solidFill>
              </a:rPr>
              <a:t>research </a:t>
            </a:r>
            <a:br>
              <a:rPr lang="en-US" sz="800" b="1" cap="all" spc="250" dirty="0">
                <a:solidFill>
                  <a:schemeClr val="bg1">
                    <a:lumMod val="65000"/>
                  </a:schemeClr>
                </a:solidFill>
              </a:rPr>
            </a:br>
            <a:r>
              <a:rPr lang="en-US" sz="800" b="1" cap="all" spc="250" dirty="0">
                <a:solidFill>
                  <a:schemeClr val="bg1">
                    <a:lumMod val="65000"/>
                  </a:schemeClr>
                </a:solidFill>
              </a:rPr>
              <a:t>(Evaluative)</a:t>
            </a:r>
          </a:p>
        </p:txBody>
      </p:sp>
      <p:sp>
        <p:nvSpPr>
          <p:cNvPr id="32" name="TextBox 31">
            <a:extLst>
              <a:ext uri="{FF2B5EF4-FFF2-40B4-BE49-F238E27FC236}">
                <a16:creationId xmlns:a16="http://schemas.microsoft.com/office/drawing/2014/main" id="{063E6274-003B-4342-978D-D46BB42E555A}"/>
              </a:ext>
            </a:extLst>
          </p:cNvPr>
          <p:cNvSpPr txBox="1"/>
          <p:nvPr/>
        </p:nvSpPr>
        <p:spPr>
          <a:xfrm rot="18574034">
            <a:off x="8259073" y="1247439"/>
            <a:ext cx="1884951" cy="200055"/>
          </a:xfrm>
          <a:prstGeom prst="rect">
            <a:avLst/>
          </a:prstGeom>
          <a:noFill/>
        </p:spPr>
        <p:txBody>
          <a:bodyPr wrap="square" rtlCol="0">
            <a:spAutoFit/>
          </a:bodyPr>
          <a:lstStyle/>
          <a:p>
            <a:r>
              <a:rPr lang="en-US" sz="700" b="1" cap="all" spc="250" dirty="0">
                <a:solidFill>
                  <a:schemeClr val="bg1">
                    <a:lumMod val="65000"/>
                  </a:schemeClr>
                </a:solidFill>
              </a:rPr>
              <a:t>Agile Delivery</a:t>
            </a:r>
          </a:p>
        </p:txBody>
      </p:sp>
      <p:sp>
        <p:nvSpPr>
          <p:cNvPr id="33" name="TextBox 32">
            <a:extLst>
              <a:ext uri="{FF2B5EF4-FFF2-40B4-BE49-F238E27FC236}">
                <a16:creationId xmlns:a16="http://schemas.microsoft.com/office/drawing/2014/main" id="{9DF7F29E-02EF-466E-8BD2-5901C34D3AE3}"/>
              </a:ext>
            </a:extLst>
          </p:cNvPr>
          <p:cNvSpPr txBox="1"/>
          <p:nvPr/>
        </p:nvSpPr>
        <p:spPr>
          <a:xfrm rot="18574034">
            <a:off x="9634256" y="1063327"/>
            <a:ext cx="2070288" cy="307777"/>
          </a:xfrm>
          <a:prstGeom prst="rect">
            <a:avLst/>
          </a:prstGeom>
          <a:noFill/>
        </p:spPr>
        <p:txBody>
          <a:bodyPr wrap="square" rtlCol="0">
            <a:spAutoFit/>
          </a:bodyPr>
          <a:lstStyle/>
          <a:p>
            <a:r>
              <a:rPr lang="en-US" sz="700" b="1" cap="all" spc="250" dirty="0">
                <a:solidFill>
                  <a:schemeClr val="bg1">
                    <a:lumMod val="65000"/>
                  </a:schemeClr>
                </a:solidFill>
              </a:rPr>
              <a:t>Organizational </a:t>
            </a:r>
            <a:br>
              <a:rPr lang="en-US" sz="700" b="1" cap="all" spc="250" dirty="0">
                <a:solidFill>
                  <a:schemeClr val="bg1">
                    <a:lumMod val="65000"/>
                  </a:schemeClr>
                </a:solidFill>
              </a:rPr>
            </a:br>
            <a:r>
              <a:rPr lang="en-US" sz="700" b="1" cap="all" spc="250" dirty="0">
                <a:solidFill>
                  <a:schemeClr val="bg1">
                    <a:lumMod val="65000"/>
                  </a:schemeClr>
                </a:solidFill>
              </a:rPr>
              <a:t>Design</a:t>
            </a:r>
          </a:p>
        </p:txBody>
      </p:sp>
      <p:sp>
        <p:nvSpPr>
          <p:cNvPr id="34" name="TextBox 33">
            <a:extLst>
              <a:ext uri="{FF2B5EF4-FFF2-40B4-BE49-F238E27FC236}">
                <a16:creationId xmlns:a16="http://schemas.microsoft.com/office/drawing/2014/main" id="{0D9C912B-BF14-47B7-9C5E-23C6D3581762}"/>
              </a:ext>
            </a:extLst>
          </p:cNvPr>
          <p:cNvSpPr txBox="1"/>
          <p:nvPr/>
        </p:nvSpPr>
        <p:spPr>
          <a:xfrm rot="18574034">
            <a:off x="10303076" y="1176002"/>
            <a:ext cx="2070288" cy="200055"/>
          </a:xfrm>
          <a:prstGeom prst="rect">
            <a:avLst/>
          </a:prstGeom>
          <a:noFill/>
        </p:spPr>
        <p:txBody>
          <a:bodyPr wrap="square" rtlCol="0">
            <a:spAutoFit/>
          </a:bodyPr>
          <a:lstStyle/>
          <a:p>
            <a:r>
              <a:rPr lang="en-US" sz="700" b="1" cap="all" spc="250" dirty="0">
                <a:solidFill>
                  <a:schemeClr val="bg1">
                    <a:lumMod val="65000"/>
                  </a:schemeClr>
                </a:solidFill>
              </a:rPr>
              <a:t>Branding</a:t>
            </a:r>
          </a:p>
        </p:txBody>
      </p:sp>
      <p:sp>
        <p:nvSpPr>
          <p:cNvPr id="35" name="TextBox 34">
            <a:extLst>
              <a:ext uri="{FF2B5EF4-FFF2-40B4-BE49-F238E27FC236}">
                <a16:creationId xmlns:a16="http://schemas.microsoft.com/office/drawing/2014/main" id="{76320786-2C0E-4690-9C7F-6C00FC195036}"/>
              </a:ext>
            </a:extLst>
          </p:cNvPr>
          <p:cNvSpPr txBox="1"/>
          <p:nvPr/>
        </p:nvSpPr>
        <p:spPr>
          <a:xfrm rot="18574034">
            <a:off x="6285148" y="1134762"/>
            <a:ext cx="1884951" cy="307777"/>
          </a:xfrm>
          <a:prstGeom prst="rect">
            <a:avLst/>
          </a:prstGeom>
          <a:noFill/>
        </p:spPr>
        <p:txBody>
          <a:bodyPr wrap="square" rtlCol="0">
            <a:spAutoFit/>
          </a:bodyPr>
          <a:lstStyle/>
          <a:p>
            <a:r>
              <a:rPr lang="en-US" sz="700" b="1" cap="all" spc="250" dirty="0">
                <a:solidFill>
                  <a:schemeClr val="bg1">
                    <a:lumMod val="65000"/>
                  </a:schemeClr>
                </a:solidFill>
              </a:rPr>
              <a:t>Ambition </a:t>
            </a:r>
            <a:br>
              <a:rPr lang="en-US" sz="700" b="1" cap="all" spc="250" dirty="0">
                <a:solidFill>
                  <a:schemeClr val="bg1">
                    <a:lumMod val="65000"/>
                  </a:schemeClr>
                </a:solidFill>
              </a:rPr>
            </a:br>
            <a:r>
              <a:rPr lang="en-US" sz="700" b="1" cap="all" spc="250" dirty="0">
                <a:solidFill>
                  <a:schemeClr val="bg1">
                    <a:lumMod val="65000"/>
                  </a:schemeClr>
                </a:solidFill>
              </a:rPr>
              <a:t>decision</a:t>
            </a:r>
          </a:p>
        </p:txBody>
      </p:sp>
      <p:sp>
        <p:nvSpPr>
          <p:cNvPr id="36" name="TextBox 35">
            <a:extLst>
              <a:ext uri="{FF2B5EF4-FFF2-40B4-BE49-F238E27FC236}">
                <a16:creationId xmlns:a16="http://schemas.microsoft.com/office/drawing/2014/main" id="{08C0CA52-2EAE-42C1-9FE7-5B22ECBF871F}"/>
              </a:ext>
            </a:extLst>
          </p:cNvPr>
          <p:cNvSpPr txBox="1"/>
          <p:nvPr/>
        </p:nvSpPr>
        <p:spPr>
          <a:xfrm rot="18574034">
            <a:off x="8951345" y="1176000"/>
            <a:ext cx="2070288" cy="200055"/>
          </a:xfrm>
          <a:prstGeom prst="rect">
            <a:avLst/>
          </a:prstGeom>
          <a:noFill/>
        </p:spPr>
        <p:txBody>
          <a:bodyPr wrap="square" rtlCol="0">
            <a:spAutoFit/>
          </a:bodyPr>
          <a:lstStyle/>
          <a:p>
            <a:r>
              <a:rPr lang="en-US" sz="700" b="1" cap="all" spc="250" dirty="0">
                <a:solidFill>
                  <a:schemeClr val="bg1">
                    <a:lumMod val="65000"/>
                  </a:schemeClr>
                </a:solidFill>
              </a:rPr>
              <a:t>Technology</a:t>
            </a:r>
          </a:p>
        </p:txBody>
      </p:sp>
      <p:cxnSp>
        <p:nvCxnSpPr>
          <p:cNvPr id="37" name="Straight Connector 36">
            <a:extLst>
              <a:ext uri="{FF2B5EF4-FFF2-40B4-BE49-F238E27FC236}">
                <a16:creationId xmlns:a16="http://schemas.microsoft.com/office/drawing/2014/main" id="{14FD9F2D-7BCE-4619-8A55-0123FC303A9F}"/>
              </a:ext>
            </a:extLst>
          </p:cNvPr>
          <p:cNvCxnSpPr>
            <a:cxnSpLocks/>
          </p:cNvCxnSpPr>
          <p:nvPr/>
        </p:nvCxnSpPr>
        <p:spPr>
          <a:xfrm flipV="1">
            <a:off x="10305049" y="1244407"/>
            <a:ext cx="693342" cy="84181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A2D3DAA2-5225-4ED7-BE60-B1AD66918B1B}"/>
              </a:ext>
            </a:extLst>
          </p:cNvPr>
          <p:cNvCxnSpPr>
            <a:cxnSpLocks/>
          </p:cNvCxnSpPr>
          <p:nvPr/>
        </p:nvCxnSpPr>
        <p:spPr>
          <a:xfrm flipV="1">
            <a:off x="9629091" y="1244407"/>
            <a:ext cx="693342" cy="84181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1CE3E33-4258-45A9-B907-C97FDE29B7B6}"/>
              </a:ext>
            </a:extLst>
          </p:cNvPr>
          <p:cNvCxnSpPr>
            <a:cxnSpLocks/>
          </p:cNvCxnSpPr>
          <p:nvPr/>
        </p:nvCxnSpPr>
        <p:spPr>
          <a:xfrm flipV="1">
            <a:off x="8947193" y="1244407"/>
            <a:ext cx="693342" cy="84181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5E9A9E9-0506-4915-844F-D07B6DB6930E}"/>
              </a:ext>
            </a:extLst>
          </p:cNvPr>
          <p:cNvCxnSpPr>
            <a:cxnSpLocks/>
          </p:cNvCxnSpPr>
          <p:nvPr/>
        </p:nvCxnSpPr>
        <p:spPr>
          <a:xfrm flipV="1">
            <a:off x="8265045" y="1244407"/>
            <a:ext cx="693342" cy="84181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3FF3A262-9B58-455B-A0B9-CFF5DB57478C}"/>
              </a:ext>
            </a:extLst>
          </p:cNvPr>
          <p:cNvCxnSpPr>
            <a:cxnSpLocks/>
          </p:cNvCxnSpPr>
          <p:nvPr/>
        </p:nvCxnSpPr>
        <p:spPr>
          <a:xfrm flipV="1">
            <a:off x="7576256" y="1244407"/>
            <a:ext cx="693342" cy="84181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091EE134-0C39-4B76-B301-3E7B97B8DCE4}"/>
              </a:ext>
            </a:extLst>
          </p:cNvPr>
          <p:cNvCxnSpPr>
            <a:cxnSpLocks/>
          </p:cNvCxnSpPr>
          <p:nvPr/>
        </p:nvCxnSpPr>
        <p:spPr>
          <a:xfrm flipV="1">
            <a:off x="6893341" y="1244407"/>
            <a:ext cx="693342" cy="84181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E5D3C3B-9C2F-4B70-934E-ED408D83A6D3}"/>
              </a:ext>
            </a:extLst>
          </p:cNvPr>
          <p:cNvCxnSpPr>
            <a:cxnSpLocks/>
          </p:cNvCxnSpPr>
          <p:nvPr/>
        </p:nvCxnSpPr>
        <p:spPr>
          <a:xfrm flipV="1">
            <a:off x="6213819" y="1244407"/>
            <a:ext cx="693342" cy="84181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3CDD4A0-8831-401C-AC63-FEAF1056E5D8}"/>
              </a:ext>
            </a:extLst>
          </p:cNvPr>
          <p:cNvCxnSpPr>
            <a:cxnSpLocks/>
          </p:cNvCxnSpPr>
          <p:nvPr/>
        </p:nvCxnSpPr>
        <p:spPr>
          <a:xfrm flipV="1">
            <a:off x="5517157" y="1244407"/>
            <a:ext cx="693342" cy="84181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11A4D0B-643A-4269-A304-492937F235E8}"/>
              </a:ext>
            </a:extLst>
          </p:cNvPr>
          <p:cNvCxnSpPr>
            <a:cxnSpLocks/>
          </p:cNvCxnSpPr>
          <p:nvPr/>
        </p:nvCxnSpPr>
        <p:spPr>
          <a:xfrm flipV="1">
            <a:off x="4847960" y="1244407"/>
            <a:ext cx="693342" cy="84181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A758AC53-9E0B-4720-8FDA-06A5DB8919AC}"/>
              </a:ext>
            </a:extLst>
          </p:cNvPr>
          <p:cNvCxnSpPr>
            <a:cxnSpLocks/>
          </p:cNvCxnSpPr>
          <p:nvPr/>
        </p:nvCxnSpPr>
        <p:spPr>
          <a:xfrm flipV="1">
            <a:off x="4172482" y="1244407"/>
            <a:ext cx="693342" cy="84181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0620218"/>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3636E115-5E1B-4F14-AF9E-7710AEBB7D1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108" name="think-cell Slide" r:id="rId6" imgW="395" imgH="396" progId="TCLayout.ActiveDocument.1">
                  <p:embed/>
                </p:oleObj>
              </mc:Choice>
              <mc:Fallback>
                <p:oleObj name="think-cell Slide" r:id="rId6" imgW="395" imgH="396" progId="TCLayout.ActiveDocument.1">
                  <p:embed/>
                  <p:pic>
                    <p:nvPicPr>
                      <p:cNvPr id="29" name="Object 28" hidden="1">
                        <a:extLst>
                          <a:ext uri="{FF2B5EF4-FFF2-40B4-BE49-F238E27FC236}">
                            <a16:creationId xmlns:a16="http://schemas.microsoft.com/office/drawing/2014/main" id="{3636E115-5E1B-4F14-AF9E-7710AEBB7D1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8" name="Rectangle 27" hidden="1">
            <a:extLst>
              <a:ext uri="{FF2B5EF4-FFF2-40B4-BE49-F238E27FC236}">
                <a16:creationId xmlns:a16="http://schemas.microsoft.com/office/drawing/2014/main" id="{3803FD3E-B1A5-4B86-827A-87806B3A1A9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035CCDCB-9A91-4F45-9E8D-B5C29FCCB509}"/>
              </a:ext>
            </a:extLst>
          </p:cNvPr>
          <p:cNvSpPr>
            <a:spLocks noGrp="1"/>
          </p:cNvSpPr>
          <p:nvPr>
            <p:ph type="title"/>
          </p:nvPr>
        </p:nvSpPr>
        <p:spPr>
          <a:xfrm>
            <a:off x="914400" y="1012995"/>
            <a:ext cx="10363200" cy="594360"/>
          </a:xfrm>
        </p:spPr>
        <p:txBody>
          <a:bodyPr/>
          <a:lstStyle/>
          <a:p>
            <a:r>
              <a:rPr lang="en-US" dirty="0"/>
              <a:t>Here’s what some companies are doing to enable their digital ambitions with Digital DNA </a:t>
            </a:r>
          </a:p>
        </p:txBody>
      </p:sp>
      <p:sp>
        <p:nvSpPr>
          <p:cNvPr id="3" name="Text Placeholder 2">
            <a:extLst>
              <a:ext uri="{FF2B5EF4-FFF2-40B4-BE49-F238E27FC236}">
                <a16:creationId xmlns:a16="http://schemas.microsoft.com/office/drawing/2014/main" id="{AC655330-9853-4EFF-812E-7F2D10516F54}"/>
              </a:ext>
            </a:extLst>
          </p:cNvPr>
          <p:cNvSpPr>
            <a:spLocks noGrp="1"/>
          </p:cNvSpPr>
          <p:nvPr>
            <p:ph type="body" sz="quarter" idx="14"/>
          </p:nvPr>
        </p:nvSpPr>
        <p:spPr>
          <a:xfrm>
            <a:off x="914721" y="1671363"/>
            <a:ext cx="10362880" cy="475488"/>
          </a:xfrm>
        </p:spPr>
        <p:txBody>
          <a:bodyPr/>
          <a:lstStyle/>
          <a:p>
            <a:r>
              <a:rPr lang="en-US" dirty="0"/>
              <a:t>Subtitles</a:t>
            </a:r>
          </a:p>
        </p:txBody>
      </p:sp>
      <p:sp>
        <p:nvSpPr>
          <p:cNvPr id="4" name="Text Placeholder 3">
            <a:extLst>
              <a:ext uri="{FF2B5EF4-FFF2-40B4-BE49-F238E27FC236}">
                <a16:creationId xmlns:a16="http://schemas.microsoft.com/office/drawing/2014/main" id="{085E2273-E07A-41E0-AD23-4E3772ACC80C}"/>
              </a:ext>
            </a:extLst>
          </p:cNvPr>
          <p:cNvSpPr>
            <a:spLocks noGrp="1"/>
          </p:cNvSpPr>
          <p:nvPr>
            <p:ph type="body" sz="quarter" idx="15"/>
          </p:nvPr>
        </p:nvSpPr>
        <p:spPr/>
        <p:txBody>
          <a:bodyPr/>
          <a:lstStyle/>
          <a:p>
            <a:r>
              <a:rPr lang="en-US" dirty="0"/>
              <a:t>TABLE</a:t>
            </a:r>
          </a:p>
        </p:txBody>
      </p:sp>
      <p:sp>
        <p:nvSpPr>
          <p:cNvPr id="5" name="Title 2">
            <a:extLst>
              <a:ext uri="{FF2B5EF4-FFF2-40B4-BE49-F238E27FC236}">
                <a16:creationId xmlns:a16="http://schemas.microsoft.com/office/drawing/2014/main" id="{B814B0C3-4F40-4DD7-B61B-D50DCEEAB487}"/>
              </a:ext>
            </a:extLst>
          </p:cNvPr>
          <p:cNvSpPr txBox="1">
            <a:spLocks/>
          </p:cNvSpPr>
          <p:nvPr/>
        </p:nvSpPr>
        <p:spPr>
          <a:xfrm>
            <a:off x="469901" y="402587"/>
            <a:ext cx="11252201"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grpSp>
        <p:nvGrpSpPr>
          <p:cNvPr id="47" name="Group 46">
            <a:extLst>
              <a:ext uri="{FF2B5EF4-FFF2-40B4-BE49-F238E27FC236}">
                <a16:creationId xmlns:a16="http://schemas.microsoft.com/office/drawing/2014/main" id="{855D210E-EA07-482D-9E1F-ADEEF4EFE904}"/>
              </a:ext>
            </a:extLst>
          </p:cNvPr>
          <p:cNvGrpSpPr/>
          <p:nvPr/>
        </p:nvGrpSpPr>
        <p:grpSpPr>
          <a:xfrm>
            <a:off x="1414558" y="5350351"/>
            <a:ext cx="10001191" cy="642811"/>
            <a:chOff x="0" y="-312610"/>
            <a:chExt cx="12188952" cy="783426"/>
          </a:xfrm>
          <a:solidFill>
            <a:schemeClr val="bg1">
              <a:lumMod val="95000"/>
            </a:schemeClr>
          </a:solidFill>
        </p:grpSpPr>
        <p:sp>
          <p:nvSpPr>
            <p:cNvPr id="48" name="Freeform 178">
              <a:extLst>
                <a:ext uri="{FF2B5EF4-FFF2-40B4-BE49-F238E27FC236}">
                  <a16:creationId xmlns:a16="http://schemas.microsoft.com/office/drawing/2014/main" id="{12EAA848-900F-42A6-A493-9207908D1EEC}"/>
                </a:ext>
              </a:extLst>
            </p:cNvPr>
            <p:cNvSpPr>
              <a:spLocks/>
            </p:cNvSpPr>
            <p:nvPr/>
          </p:nvSpPr>
          <p:spPr bwMode="auto">
            <a:xfrm>
              <a:off x="0" y="-312610"/>
              <a:ext cx="1016489" cy="783426"/>
            </a:xfrm>
            <a:custGeom>
              <a:avLst/>
              <a:gdLst>
                <a:gd name="T0" fmla="*/ 1824 w 1824"/>
                <a:gd name="T1" fmla="*/ 1166 h 1408"/>
                <a:gd name="T2" fmla="*/ 1824 w 1824"/>
                <a:gd name="T3" fmla="*/ 1408 h 1408"/>
                <a:gd name="T4" fmla="*/ 1518 w 1824"/>
                <a:gd name="T5" fmla="*/ 1408 h 1408"/>
                <a:gd name="T6" fmla="*/ 439 w 1824"/>
                <a:gd name="T7" fmla="*/ 242 h 1408"/>
                <a:gd name="T8" fmla="*/ 0 w 1824"/>
                <a:gd name="T9" fmla="*/ 242 h 1408"/>
                <a:gd name="T10" fmla="*/ 0 w 1824"/>
                <a:gd name="T11" fmla="*/ 0 h 1408"/>
                <a:gd name="T12" fmla="*/ 545 w 1824"/>
                <a:gd name="T13" fmla="*/ 0 h 1408"/>
                <a:gd name="T14" fmla="*/ 1623 w 1824"/>
                <a:gd name="T15" fmla="*/ 1166 h 1408"/>
                <a:gd name="T16" fmla="*/ 1824 w 1824"/>
                <a:gd name="T17" fmla="*/ 1166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4" h="1408">
                  <a:moveTo>
                    <a:pt x="1824" y="1166"/>
                  </a:moveTo>
                  <a:lnTo>
                    <a:pt x="1824" y="1408"/>
                  </a:lnTo>
                  <a:lnTo>
                    <a:pt x="1518" y="1408"/>
                  </a:lnTo>
                  <a:lnTo>
                    <a:pt x="439" y="242"/>
                  </a:lnTo>
                  <a:lnTo>
                    <a:pt x="0" y="242"/>
                  </a:lnTo>
                  <a:lnTo>
                    <a:pt x="0" y="0"/>
                  </a:lnTo>
                  <a:lnTo>
                    <a:pt x="545" y="0"/>
                  </a:lnTo>
                  <a:lnTo>
                    <a:pt x="1623" y="1166"/>
                  </a:lnTo>
                  <a:lnTo>
                    <a:pt x="1824" y="1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179">
              <a:extLst>
                <a:ext uri="{FF2B5EF4-FFF2-40B4-BE49-F238E27FC236}">
                  <a16:creationId xmlns:a16="http://schemas.microsoft.com/office/drawing/2014/main" id="{0644BFBD-9943-409B-8764-9B2645A178E3}"/>
                </a:ext>
              </a:extLst>
            </p:cNvPr>
            <p:cNvSpPr>
              <a:spLocks/>
            </p:cNvSpPr>
            <p:nvPr/>
          </p:nvSpPr>
          <p:spPr bwMode="auto">
            <a:xfrm>
              <a:off x="0" y="-312610"/>
              <a:ext cx="1016489" cy="783426"/>
            </a:xfrm>
            <a:custGeom>
              <a:avLst/>
              <a:gdLst>
                <a:gd name="T0" fmla="*/ 1824 w 1824"/>
                <a:gd name="T1" fmla="*/ 0 h 1408"/>
                <a:gd name="T2" fmla="*/ 1824 w 1824"/>
                <a:gd name="T3" fmla="*/ 242 h 1408"/>
                <a:gd name="T4" fmla="*/ 1623 w 1824"/>
                <a:gd name="T5" fmla="*/ 242 h 1408"/>
                <a:gd name="T6" fmla="*/ 545 w 1824"/>
                <a:gd name="T7" fmla="*/ 1408 h 1408"/>
                <a:gd name="T8" fmla="*/ 0 w 1824"/>
                <a:gd name="T9" fmla="*/ 1408 h 1408"/>
                <a:gd name="T10" fmla="*/ 0 w 1824"/>
                <a:gd name="T11" fmla="*/ 1166 h 1408"/>
                <a:gd name="T12" fmla="*/ 439 w 1824"/>
                <a:gd name="T13" fmla="*/ 1166 h 1408"/>
                <a:gd name="T14" fmla="*/ 1518 w 1824"/>
                <a:gd name="T15" fmla="*/ 0 h 1408"/>
                <a:gd name="T16" fmla="*/ 1824 w 1824"/>
                <a:gd name="T17" fmla="*/ 0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4" h="1408">
                  <a:moveTo>
                    <a:pt x="1824" y="0"/>
                  </a:moveTo>
                  <a:lnTo>
                    <a:pt x="1824" y="242"/>
                  </a:lnTo>
                  <a:lnTo>
                    <a:pt x="1623" y="242"/>
                  </a:lnTo>
                  <a:lnTo>
                    <a:pt x="545" y="1408"/>
                  </a:lnTo>
                  <a:lnTo>
                    <a:pt x="0" y="1408"/>
                  </a:lnTo>
                  <a:lnTo>
                    <a:pt x="0" y="1166"/>
                  </a:lnTo>
                  <a:lnTo>
                    <a:pt x="439" y="1166"/>
                  </a:lnTo>
                  <a:lnTo>
                    <a:pt x="1518" y="0"/>
                  </a:lnTo>
                  <a:lnTo>
                    <a:pt x="18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7">
              <a:extLst>
                <a:ext uri="{FF2B5EF4-FFF2-40B4-BE49-F238E27FC236}">
                  <a16:creationId xmlns:a16="http://schemas.microsoft.com/office/drawing/2014/main" id="{91A12A6E-BA2A-4284-A84A-ADD555E4DAF2}"/>
                </a:ext>
              </a:extLst>
            </p:cNvPr>
            <p:cNvSpPr>
              <a:spLocks/>
            </p:cNvSpPr>
            <p:nvPr/>
          </p:nvSpPr>
          <p:spPr bwMode="auto">
            <a:xfrm>
              <a:off x="51828" y="-152920"/>
              <a:ext cx="40682" cy="465159"/>
            </a:xfrm>
            <a:custGeom>
              <a:avLst/>
              <a:gdLst>
                <a:gd name="T0" fmla="*/ 73 w 73"/>
                <a:gd name="T1" fmla="*/ 36 h 836"/>
                <a:gd name="T2" fmla="*/ 73 w 73"/>
                <a:gd name="T3" fmla="*/ 799 h 836"/>
                <a:gd name="T4" fmla="*/ 73 w 73"/>
                <a:gd name="T5" fmla="*/ 799 h 836"/>
                <a:gd name="T6" fmla="*/ 71 w 73"/>
                <a:gd name="T7" fmla="*/ 806 h 836"/>
                <a:gd name="T8" fmla="*/ 70 w 73"/>
                <a:gd name="T9" fmla="*/ 813 h 836"/>
                <a:gd name="T10" fmla="*/ 66 w 73"/>
                <a:gd name="T11" fmla="*/ 820 h 836"/>
                <a:gd name="T12" fmla="*/ 63 w 73"/>
                <a:gd name="T13" fmla="*/ 825 h 836"/>
                <a:gd name="T14" fmla="*/ 57 w 73"/>
                <a:gd name="T15" fmla="*/ 830 h 836"/>
                <a:gd name="T16" fmla="*/ 50 w 73"/>
                <a:gd name="T17" fmla="*/ 834 h 836"/>
                <a:gd name="T18" fmla="*/ 44 w 73"/>
                <a:gd name="T19" fmla="*/ 836 h 836"/>
                <a:gd name="T20" fmla="*/ 37 w 73"/>
                <a:gd name="T21" fmla="*/ 836 h 836"/>
                <a:gd name="T22" fmla="*/ 37 w 73"/>
                <a:gd name="T23" fmla="*/ 836 h 836"/>
                <a:gd name="T24" fmla="*/ 30 w 73"/>
                <a:gd name="T25" fmla="*/ 836 h 836"/>
                <a:gd name="T26" fmla="*/ 23 w 73"/>
                <a:gd name="T27" fmla="*/ 834 h 836"/>
                <a:gd name="T28" fmla="*/ 16 w 73"/>
                <a:gd name="T29" fmla="*/ 830 h 836"/>
                <a:gd name="T30" fmla="*/ 11 w 73"/>
                <a:gd name="T31" fmla="*/ 825 h 836"/>
                <a:gd name="T32" fmla="*/ 6 w 73"/>
                <a:gd name="T33" fmla="*/ 820 h 836"/>
                <a:gd name="T34" fmla="*/ 4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4 w 73"/>
                <a:gd name="T47" fmla="*/ 23 h 836"/>
                <a:gd name="T48" fmla="*/ 6 w 73"/>
                <a:gd name="T49" fmla="*/ 16 h 836"/>
                <a:gd name="T50" fmla="*/ 11 w 73"/>
                <a:gd name="T51" fmla="*/ 11 h 836"/>
                <a:gd name="T52" fmla="*/ 16 w 73"/>
                <a:gd name="T53" fmla="*/ 7 h 836"/>
                <a:gd name="T54" fmla="*/ 23 w 73"/>
                <a:gd name="T55" fmla="*/ 4 h 836"/>
                <a:gd name="T56" fmla="*/ 30 w 73"/>
                <a:gd name="T57" fmla="*/ 2 h 836"/>
                <a:gd name="T58" fmla="*/ 37 w 73"/>
                <a:gd name="T59" fmla="*/ 0 h 836"/>
                <a:gd name="T60" fmla="*/ 37 w 73"/>
                <a:gd name="T61" fmla="*/ 0 h 836"/>
                <a:gd name="T62" fmla="*/ 44 w 73"/>
                <a:gd name="T63" fmla="*/ 2 h 836"/>
                <a:gd name="T64" fmla="*/ 50 w 73"/>
                <a:gd name="T65" fmla="*/ 4 h 836"/>
                <a:gd name="T66" fmla="*/ 57 w 73"/>
                <a:gd name="T67" fmla="*/ 7 h 836"/>
                <a:gd name="T68" fmla="*/ 63 w 73"/>
                <a:gd name="T69" fmla="*/ 11 h 836"/>
                <a:gd name="T70" fmla="*/ 66 w 73"/>
                <a:gd name="T71" fmla="*/ 16 h 836"/>
                <a:gd name="T72" fmla="*/ 70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70" y="813"/>
                  </a:lnTo>
                  <a:lnTo>
                    <a:pt x="66" y="820"/>
                  </a:lnTo>
                  <a:lnTo>
                    <a:pt x="63" y="825"/>
                  </a:lnTo>
                  <a:lnTo>
                    <a:pt x="57" y="830"/>
                  </a:lnTo>
                  <a:lnTo>
                    <a:pt x="50" y="834"/>
                  </a:lnTo>
                  <a:lnTo>
                    <a:pt x="44" y="836"/>
                  </a:lnTo>
                  <a:lnTo>
                    <a:pt x="37" y="836"/>
                  </a:lnTo>
                  <a:lnTo>
                    <a:pt x="37" y="836"/>
                  </a:lnTo>
                  <a:lnTo>
                    <a:pt x="30" y="836"/>
                  </a:lnTo>
                  <a:lnTo>
                    <a:pt x="23" y="834"/>
                  </a:lnTo>
                  <a:lnTo>
                    <a:pt x="16" y="830"/>
                  </a:lnTo>
                  <a:lnTo>
                    <a:pt x="11" y="825"/>
                  </a:lnTo>
                  <a:lnTo>
                    <a:pt x="6" y="820"/>
                  </a:lnTo>
                  <a:lnTo>
                    <a:pt x="4" y="813"/>
                  </a:lnTo>
                  <a:lnTo>
                    <a:pt x="0" y="806"/>
                  </a:lnTo>
                  <a:lnTo>
                    <a:pt x="0" y="799"/>
                  </a:lnTo>
                  <a:lnTo>
                    <a:pt x="0" y="36"/>
                  </a:lnTo>
                  <a:lnTo>
                    <a:pt x="0" y="36"/>
                  </a:lnTo>
                  <a:lnTo>
                    <a:pt x="0" y="30"/>
                  </a:lnTo>
                  <a:lnTo>
                    <a:pt x="4" y="23"/>
                  </a:lnTo>
                  <a:lnTo>
                    <a:pt x="6" y="16"/>
                  </a:lnTo>
                  <a:lnTo>
                    <a:pt x="11" y="11"/>
                  </a:lnTo>
                  <a:lnTo>
                    <a:pt x="16" y="7"/>
                  </a:lnTo>
                  <a:lnTo>
                    <a:pt x="23" y="4"/>
                  </a:lnTo>
                  <a:lnTo>
                    <a:pt x="30" y="2"/>
                  </a:lnTo>
                  <a:lnTo>
                    <a:pt x="37" y="0"/>
                  </a:lnTo>
                  <a:lnTo>
                    <a:pt x="37" y="0"/>
                  </a:lnTo>
                  <a:lnTo>
                    <a:pt x="44" y="2"/>
                  </a:lnTo>
                  <a:lnTo>
                    <a:pt x="50" y="4"/>
                  </a:lnTo>
                  <a:lnTo>
                    <a:pt x="57" y="7"/>
                  </a:lnTo>
                  <a:lnTo>
                    <a:pt x="63" y="11"/>
                  </a:lnTo>
                  <a:lnTo>
                    <a:pt x="66" y="16"/>
                  </a:lnTo>
                  <a:lnTo>
                    <a:pt x="70" y="23"/>
                  </a:lnTo>
                  <a:lnTo>
                    <a:pt x="71" y="30"/>
                  </a:lnTo>
                  <a:lnTo>
                    <a:pt x="7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8">
              <a:extLst>
                <a:ext uri="{FF2B5EF4-FFF2-40B4-BE49-F238E27FC236}">
                  <a16:creationId xmlns:a16="http://schemas.microsoft.com/office/drawing/2014/main" id="{F3367374-ED12-43B4-8559-F269E8A22287}"/>
                </a:ext>
              </a:extLst>
            </p:cNvPr>
            <p:cNvSpPr>
              <a:spLocks/>
            </p:cNvSpPr>
            <p:nvPr/>
          </p:nvSpPr>
          <p:spPr bwMode="auto">
            <a:xfrm>
              <a:off x="51828" y="-152920"/>
              <a:ext cx="40682" cy="465159"/>
            </a:xfrm>
            <a:custGeom>
              <a:avLst/>
              <a:gdLst>
                <a:gd name="T0" fmla="*/ 73 w 73"/>
                <a:gd name="T1" fmla="*/ 36 h 836"/>
                <a:gd name="T2" fmla="*/ 73 w 73"/>
                <a:gd name="T3" fmla="*/ 799 h 836"/>
                <a:gd name="T4" fmla="*/ 73 w 73"/>
                <a:gd name="T5" fmla="*/ 799 h 836"/>
                <a:gd name="T6" fmla="*/ 71 w 73"/>
                <a:gd name="T7" fmla="*/ 806 h 836"/>
                <a:gd name="T8" fmla="*/ 70 w 73"/>
                <a:gd name="T9" fmla="*/ 813 h 836"/>
                <a:gd name="T10" fmla="*/ 66 w 73"/>
                <a:gd name="T11" fmla="*/ 820 h 836"/>
                <a:gd name="T12" fmla="*/ 63 w 73"/>
                <a:gd name="T13" fmla="*/ 825 h 836"/>
                <a:gd name="T14" fmla="*/ 57 w 73"/>
                <a:gd name="T15" fmla="*/ 830 h 836"/>
                <a:gd name="T16" fmla="*/ 50 w 73"/>
                <a:gd name="T17" fmla="*/ 834 h 836"/>
                <a:gd name="T18" fmla="*/ 44 w 73"/>
                <a:gd name="T19" fmla="*/ 836 h 836"/>
                <a:gd name="T20" fmla="*/ 37 w 73"/>
                <a:gd name="T21" fmla="*/ 836 h 836"/>
                <a:gd name="T22" fmla="*/ 37 w 73"/>
                <a:gd name="T23" fmla="*/ 836 h 836"/>
                <a:gd name="T24" fmla="*/ 30 w 73"/>
                <a:gd name="T25" fmla="*/ 836 h 836"/>
                <a:gd name="T26" fmla="*/ 23 w 73"/>
                <a:gd name="T27" fmla="*/ 834 h 836"/>
                <a:gd name="T28" fmla="*/ 16 w 73"/>
                <a:gd name="T29" fmla="*/ 830 h 836"/>
                <a:gd name="T30" fmla="*/ 11 w 73"/>
                <a:gd name="T31" fmla="*/ 825 h 836"/>
                <a:gd name="T32" fmla="*/ 6 w 73"/>
                <a:gd name="T33" fmla="*/ 820 h 836"/>
                <a:gd name="T34" fmla="*/ 4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4 w 73"/>
                <a:gd name="T47" fmla="*/ 23 h 836"/>
                <a:gd name="T48" fmla="*/ 6 w 73"/>
                <a:gd name="T49" fmla="*/ 16 h 836"/>
                <a:gd name="T50" fmla="*/ 11 w 73"/>
                <a:gd name="T51" fmla="*/ 11 h 836"/>
                <a:gd name="T52" fmla="*/ 16 w 73"/>
                <a:gd name="T53" fmla="*/ 7 h 836"/>
                <a:gd name="T54" fmla="*/ 23 w 73"/>
                <a:gd name="T55" fmla="*/ 4 h 836"/>
                <a:gd name="T56" fmla="*/ 30 w 73"/>
                <a:gd name="T57" fmla="*/ 2 h 836"/>
                <a:gd name="T58" fmla="*/ 37 w 73"/>
                <a:gd name="T59" fmla="*/ 0 h 836"/>
                <a:gd name="T60" fmla="*/ 37 w 73"/>
                <a:gd name="T61" fmla="*/ 0 h 836"/>
                <a:gd name="T62" fmla="*/ 44 w 73"/>
                <a:gd name="T63" fmla="*/ 2 h 836"/>
                <a:gd name="T64" fmla="*/ 50 w 73"/>
                <a:gd name="T65" fmla="*/ 4 h 836"/>
                <a:gd name="T66" fmla="*/ 57 w 73"/>
                <a:gd name="T67" fmla="*/ 7 h 836"/>
                <a:gd name="T68" fmla="*/ 63 w 73"/>
                <a:gd name="T69" fmla="*/ 11 h 836"/>
                <a:gd name="T70" fmla="*/ 66 w 73"/>
                <a:gd name="T71" fmla="*/ 16 h 836"/>
                <a:gd name="T72" fmla="*/ 70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70" y="813"/>
                  </a:lnTo>
                  <a:lnTo>
                    <a:pt x="66" y="820"/>
                  </a:lnTo>
                  <a:lnTo>
                    <a:pt x="63" y="825"/>
                  </a:lnTo>
                  <a:lnTo>
                    <a:pt x="57" y="830"/>
                  </a:lnTo>
                  <a:lnTo>
                    <a:pt x="50" y="834"/>
                  </a:lnTo>
                  <a:lnTo>
                    <a:pt x="44" y="836"/>
                  </a:lnTo>
                  <a:lnTo>
                    <a:pt x="37" y="836"/>
                  </a:lnTo>
                  <a:lnTo>
                    <a:pt x="37" y="836"/>
                  </a:lnTo>
                  <a:lnTo>
                    <a:pt x="30" y="836"/>
                  </a:lnTo>
                  <a:lnTo>
                    <a:pt x="23" y="834"/>
                  </a:lnTo>
                  <a:lnTo>
                    <a:pt x="16" y="830"/>
                  </a:lnTo>
                  <a:lnTo>
                    <a:pt x="11" y="825"/>
                  </a:lnTo>
                  <a:lnTo>
                    <a:pt x="6" y="820"/>
                  </a:lnTo>
                  <a:lnTo>
                    <a:pt x="4" y="813"/>
                  </a:lnTo>
                  <a:lnTo>
                    <a:pt x="0" y="806"/>
                  </a:lnTo>
                  <a:lnTo>
                    <a:pt x="0" y="799"/>
                  </a:lnTo>
                  <a:lnTo>
                    <a:pt x="0" y="36"/>
                  </a:lnTo>
                  <a:lnTo>
                    <a:pt x="0" y="36"/>
                  </a:lnTo>
                  <a:lnTo>
                    <a:pt x="0" y="30"/>
                  </a:lnTo>
                  <a:lnTo>
                    <a:pt x="4" y="23"/>
                  </a:lnTo>
                  <a:lnTo>
                    <a:pt x="6" y="16"/>
                  </a:lnTo>
                  <a:lnTo>
                    <a:pt x="11" y="11"/>
                  </a:lnTo>
                  <a:lnTo>
                    <a:pt x="16" y="7"/>
                  </a:lnTo>
                  <a:lnTo>
                    <a:pt x="23" y="4"/>
                  </a:lnTo>
                  <a:lnTo>
                    <a:pt x="30" y="2"/>
                  </a:lnTo>
                  <a:lnTo>
                    <a:pt x="37" y="0"/>
                  </a:lnTo>
                  <a:lnTo>
                    <a:pt x="37" y="0"/>
                  </a:lnTo>
                  <a:lnTo>
                    <a:pt x="44" y="2"/>
                  </a:lnTo>
                  <a:lnTo>
                    <a:pt x="50" y="4"/>
                  </a:lnTo>
                  <a:lnTo>
                    <a:pt x="57" y="7"/>
                  </a:lnTo>
                  <a:lnTo>
                    <a:pt x="63" y="11"/>
                  </a:lnTo>
                  <a:lnTo>
                    <a:pt x="66" y="16"/>
                  </a:lnTo>
                  <a:lnTo>
                    <a:pt x="70" y="23"/>
                  </a:lnTo>
                  <a:lnTo>
                    <a:pt x="71" y="30"/>
                  </a:lnTo>
                  <a:lnTo>
                    <a:pt x="73" y="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9">
              <a:extLst>
                <a:ext uri="{FF2B5EF4-FFF2-40B4-BE49-F238E27FC236}">
                  <a16:creationId xmlns:a16="http://schemas.microsoft.com/office/drawing/2014/main" id="{59DE1C03-1650-4CA2-A066-FCF700566E50}"/>
                </a:ext>
              </a:extLst>
            </p:cNvPr>
            <p:cNvSpPr>
              <a:spLocks/>
            </p:cNvSpPr>
            <p:nvPr/>
          </p:nvSpPr>
          <p:spPr bwMode="auto">
            <a:xfrm>
              <a:off x="195608" y="-152920"/>
              <a:ext cx="40682" cy="465159"/>
            </a:xfrm>
            <a:custGeom>
              <a:avLst/>
              <a:gdLst>
                <a:gd name="T0" fmla="*/ 73 w 73"/>
                <a:gd name="T1" fmla="*/ 36 h 836"/>
                <a:gd name="T2" fmla="*/ 73 w 73"/>
                <a:gd name="T3" fmla="*/ 799 h 836"/>
                <a:gd name="T4" fmla="*/ 73 w 73"/>
                <a:gd name="T5" fmla="*/ 799 h 836"/>
                <a:gd name="T6" fmla="*/ 73 w 73"/>
                <a:gd name="T7" fmla="*/ 806 h 836"/>
                <a:gd name="T8" fmla="*/ 71 w 73"/>
                <a:gd name="T9" fmla="*/ 813 h 836"/>
                <a:gd name="T10" fmla="*/ 67 w 73"/>
                <a:gd name="T11" fmla="*/ 820 h 836"/>
                <a:gd name="T12" fmla="*/ 62 w 73"/>
                <a:gd name="T13" fmla="*/ 825 h 836"/>
                <a:gd name="T14" fmla="*/ 57 w 73"/>
                <a:gd name="T15" fmla="*/ 830 h 836"/>
                <a:gd name="T16" fmla="*/ 50 w 73"/>
                <a:gd name="T17" fmla="*/ 834 h 836"/>
                <a:gd name="T18" fmla="*/ 43 w 73"/>
                <a:gd name="T19" fmla="*/ 836 h 836"/>
                <a:gd name="T20" fmla="*/ 36 w 73"/>
                <a:gd name="T21" fmla="*/ 836 h 836"/>
                <a:gd name="T22" fmla="*/ 36 w 73"/>
                <a:gd name="T23" fmla="*/ 836 h 836"/>
                <a:gd name="T24" fmla="*/ 29 w 73"/>
                <a:gd name="T25" fmla="*/ 836 h 836"/>
                <a:gd name="T26" fmla="*/ 22 w 73"/>
                <a:gd name="T27" fmla="*/ 834 h 836"/>
                <a:gd name="T28" fmla="*/ 15 w 73"/>
                <a:gd name="T29" fmla="*/ 830 h 836"/>
                <a:gd name="T30" fmla="*/ 10 w 73"/>
                <a:gd name="T31" fmla="*/ 825 h 836"/>
                <a:gd name="T32" fmla="*/ 7 w 73"/>
                <a:gd name="T33" fmla="*/ 820 h 836"/>
                <a:gd name="T34" fmla="*/ 3 w 73"/>
                <a:gd name="T35" fmla="*/ 813 h 836"/>
                <a:gd name="T36" fmla="*/ 2 w 73"/>
                <a:gd name="T37" fmla="*/ 806 h 836"/>
                <a:gd name="T38" fmla="*/ 0 w 73"/>
                <a:gd name="T39" fmla="*/ 799 h 836"/>
                <a:gd name="T40" fmla="*/ 0 w 73"/>
                <a:gd name="T41" fmla="*/ 36 h 836"/>
                <a:gd name="T42" fmla="*/ 0 w 73"/>
                <a:gd name="T43" fmla="*/ 36 h 836"/>
                <a:gd name="T44" fmla="*/ 2 w 73"/>
                <a:gd name="T45" fmla="*/ 30 h 836"/>
                <a:gd name="T46" fmla="*/ 3 w 73"/>
                <a:gd name="T47" fmla="*/ 23 h 836"/>
                <a:gd name="T48" fmla="*/ 7 w 73"/>
                <a:gd name="T49" fmla="*/ 16 h 836"/>
                <a:gd name="T50" fmla="*/ 10 w 73"/>
                <a:gd name="T51" fmla="*/ 11 h 836"/>
                <a:gd name="T52" fmla="*/ 15 w 73"/>
                <a:gd name="T53" fmla="*/ 7 h 836"/>
                <a:gd name="T54" fmla="*/ 22 w 73"/>
                <a:gd name="T55" fmla="*/ 4 h 836"/>
                <a:gd name="T56" fmla="*/ 29 w 73"/>
                <a:gd name="T57" fmla="*/ 2 h 836"/>
                <a:gd name="T58" fmla="*/ 36 w 73"/>
                <a:gd name="T59" fmla="*/ 0 h 836"/>
                <a:gd name="T60" fmla="*/ 36 w 73"/>
                <a:gd name="T61" fmla="*/ 0 h 836"/>
                <a:gd name="T62" fmla="*/ 43 w 73"/>
                <a:gd name="T63" fmla="*/ 2 h 836"/>
                <a:gd name="T64" fmla="*/ 50 w 73"/>
                <a:gd name="T65" fmla="*/ 4 h 836"/>
                <a:gd name="T66" fmla="*/ 57 w 73"/>
                <a:gd name="T67" fmla="*/ 7 h 836"/>
                <a:gd name="T68" fmla="*/ 62 w 73"/>
                <a:gd name="T69" fmla="*/ 11 h 836"/>
                <a:gd name="T70" fmla="*/ 67 w 73"/>
                <a:gd name="T71" fmla="*/ 16 h 836"/>
                <a:gd name="T72" fmla="*/ 71 w 73"/>
                <a:gd name="T73" fmla="*/ 23 h 836"/>
                <a:gd name="T74" fmla="*/ 73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3" y="806"/>
                  </a:lnTo>
                  <a:lnTo>
                    <a:pt x="71" y="813"/>
                  </a:lnTo>
                  <a:lnTo>
                    <a:pt x="67" y="820"/>
                  </a:lnTo>
                  <a:lnTo>
                    <a:pt x="62" y="825"/>
                  </a:lnTo>
                  <a:lnTo>
                    <a:pt x="57" y="830"/>
                  </a:lnTo>
                  <a:lnTo>
                    <a:pt x="50" y="834"/>
                  </a:lnTo>
                  <a:lnTo>
                    <a:pt x="43" y="836"/>
                  </a:lnTo>
                  <a:lnTo>
                    <a:pt x="36" y="836"/>
                  </a:lnTo>
                  <a:lnTo>
                    <a:pt x="36" y="836"/>
                  </a:lnTo>
                  <a:lnTo>
                    <a:pt x="29" y="836"/>
                  </a:lnTo>
                  <a:lnTo>
                    <a:pt x="22" y="834"/>
                  </a:lnTo>
                  <a:lnTo>
                    <a:pt x="15" y="830"/>
                  </a:lnTo>
                  <a:lnTo>
                    <a:pt x="10" y="825"/>
                  </a:lnTo>
                  <a:lnTo>
                    <a:pt x="7" y="820"/>
                  </a:lnTo>
                  <a:lnTo>
                    <a:pt x="3" y="813"/>
                  </a:lnTo>
                  <a:lnTo>
                    <a:pt x="2" y="806"/>
                  </a:lnTo>
                  <a:lnTo>
                    <a:pt x="0" y="799"/>
                  </a:lnTo>
                  <a:lnTo>
                    <a:pt x="0" y="36"/>
                  </a:lnTo>
                  <a:lnTo>
                    <a:pt x="0" y="36"/>
                  </a:lnTo>
                  <a:lnTo>
                    <a:pt x="2" y="30"/>
                  </a:lnTo>
                  <a:lnTo>
                    <a:pt x="3" y="23"/>
                  </a:lnTo>
                  <a:lnTo>
                    <a:pt x="7" y="16"/>
                  </a:lnTo>
                  <a:lnTo>
                    <a:pt x="10" y="11"/>
                  </a:lnTo>
                  <a:lnTo>
                    <a:pt x="15" y="7"/>
                  </a:lnTo>
                  <a:lnTo>
                    <a:pt x="22" y="4"/>
                  </a:lnTo>
                  <a:lnTo>
                    <a:pt x="29" y="2"/>
                  </a:lnTo>
                  <a:lnTo>
                    <a:pt x="36" y="0"/>
                  </a:lnTo>
                  <a:lnTo>
                    <a:pt x="36" y="0"/>
                  </a:lnTo>
                  <a:lnTo>
                    <a:pt x="43" y="2"/>
                  </a:lnTo>
                  <a:lnTo>
                    <a:pt x="50" y="4"/>
                  </a:lnTo>
                  <a:lnTo>
                    <a:pt x="57" y="7"/>
                  </a:lnTo>
                  <a:lnTo>
                    <a:pt x="62" y="11"/>
                  </a:lnTo>
                  <a:lnTo>
                    <a:pt x="67" y="16"/>
                  </a:lnTo>
                  <a:lnTo>
                    <a:pt x="71" y="23"/>
                  </a:lnTo>
                  <a:lnTo>
                    <a:pt x="73" y="30"/>
                  </a:lnTo>
                  <a:lnTo>
                    <a:pt x="7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10">
              <a:extLst>
                <a:ext uri="{FF2B5EF4-FFF2-40B4-BE49-F238E27FC236}">
                  <a16:creationId xmlns:a16="http://schemas.microsoft.com/office/drawing/2014/main" id="{D9792D0A-0743-4814-8739-131B342050CE}"/>
                </a:ext>
              </a:extLst>
            </p:cNvPr>
            <p:cNvSpPr>
              <a:spLocks/>
            </p:cNvSpPr>
            <p:nvPr/>
          </p:nvSpPr>
          <p:spPr bwMode="auto">
            <a:xfrm>
              <a:off x="195608" y="-152920"/>
              <a:ext cx="40682" cy="465159"/>
            </a:xfrm>
            <a:custGeom>
              <a:avLst/>
              <a:gdLst>
                <a:gd name="T0" fmla="*/ 73 w 73"/>
                <a:gd name="T1" fmla="*/ 36 h 836"/>
                <a:gd name="T2" fmla="*/ 73 w 73"/>
                <a:gd name="T3" fmla="*/ 799 h 836"/>
                <a:gd name="T4" fmla="*/ 73 w 73"/>
                <a:gd name="T5" fmla="*/ 799 h 836"/>
                <a:gd name="T6" fmla="*/ 73 w 73"/>
                <a:gd name="T7" fmla="*/ 806 h 836"/>
                <a:gd name="T8" fmla="*/ 71 w 73"/>
                <a:gd name="T9" fmla="*/ 813 h 836"/>
                <a:gd name="T10" fmla="*/ 67 w 73"/>
                <a:gd name="T11" fmla="*/ 820 h 836"/>
                <a:gd name="T12" fmla="*/ 62 w 73"/>
                <a:gd name="T13" fmla="*/ 825 h 836"/>
                <a:gd name="T14" fmla="*/ 57 w 73"/>
                <a:gd name="T15" fmla="*/ 830 h 836"/>
                <a:gd name="T16" fmla="*/ 50 w 73"/>
                <a:gd name="T17" fmla="*/ 834 h 836"/>
                <a:gd name="T18" fmla="*/ 43 w 73"/>
                <a:gd name="T19" fmla="*/ 836 h 836"/>
                <a:gd name="T20" fmla="*/ 36 w 73"/>
                <a:gd name="T21" fmla="*/ 836 h 836"/>
                <a:gd name="T22" fmla="*/ 36 w 73"/>
                <a:gd name="T23" fmla="*/ 836 h 836"/>
                <a:gd name="T24" fmla="*/ 29 w 73"/>
                <a:gd name="T25" fmla="*/ 836 h 836"/>
                <a:gd name="T26" fmla="*/ 22 w 73"/>
                <a:gd name="T27" fmla="*/ 834 h 836"/>
                <a:gd name="T28" fmla="*/ 15 w 73"/>
                <a:gd name="T29" fmla="*/ 830 h 836"/>
                <a:gd name="T30" fmla="*/ 10 w 73"/>
                <a:gd name="T31" fmla="*/ 825 h 836"/>
                <a:gd name="T32" fmla="*/ 7 w 73"/>
                <a:gd name="T33" fmla="*/ 820 h 836"/>
                <a:gd name="T34" fmla="*/ 3 w 73"/>
                <a:gd name="T35" fmla="*/ 813 h 836"/>
                <a:gd name="T36" fmla="*/ 2 w 73"/>
                <a:gd name="T37" fmla="*/ 806 h 836"/>
                <a:gd name="T38" fmla="*/ 0 w 73"/>
                <a:gd name="T39" fmla="*/ 799 h 836"/>
                <a:gd name="T40" fmla="*/ 0 w 73"/>
                <a:gd name="T41" fmla="*/ 36 h 836"/>
                <a:gd name="T42" fmla="*/ 0 w 73"/>
                <a:gd name="T43" fmla="*/ 36 h 836"/>
                <a:gd name="T44" fmla="*/ 2 w 73"/>
                <a:gd name="T45" fmla="*/ 30 h 836"/>
                <a:gd name="T46" fmla="*/ 3 w 73"/>
                <a:gd name="T47" fmla="*/ 23 h 836"/>
                <a:gd name="T48" fmla="*/ 7 w 73"/>
                <a:gd name="T49" fmla="*/ 16 h 836"/>
                <a:gd name="T50" fmla="*/ 10 w 73"/>
                <a:gd name="T51" fmla="*/ 11 h 836"/>
                <a:gd name="T52" fmla="*/ 15 w 73"/>
                <a:gd name="T53" fmla="*/ 7 h 836"/>
                <a:gd name="T54" fmla="*/ 22 w 73"/>
                <a:gd name="T55" fmla="*/ 4 h 836"/>
                <a:gd name="T56" fmla="*/ 29 w 73"/>
                <a:gd name="T57" fmla="*/ 2 h 836"/>
                <a:gd name="T58" fmla="*/ 36 w 73"/>
                <a:gd name="T59" fmla="*/ 0 h 836"/>
                <a:gd name="T60" fmla="*/ 36 w 73"/>
                <a:gd name="T61" fmla="*/ 0 h 836"/>
                <a:gd name="T62" fmla="*/ 43 w 73"/>
                <a:gd name="T63" fmla="*/ 2 h 836"/>
                <a:gd name="T64" fmla="*/ 50 w 73"/>
                <a:gd name="T65" fmla="*/ 4 h 836"/>
                <a:gd name="T66" fmla="*/ 57 w 73"/>
                <a:gd name="T67" fmla="*/ 7 h 836"/>
                <a:gd name="T68" fmla="*/ 62 w 73"/>
                <a:gd name="T69" fmla="*/ 11 h 836"/>
                <a:gd name="T70" fmla="*/ 67 w 73"/>
                <a:gd name="T71" fmla="*/ 16 h 836"/>
                <a:gd name="T72" fmla="*/ 71 w 73"/>
                <a:gd name="T73" fmla="*/ 23 h 836"/>
                <a:gd name="T74" fmla="*/ 73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3" y="806"/>
                  </a:lnTo>
                  <a:lnTo>
                    <a:pt x="71" y="813"/>
                  </a:lnTo>
                  <a:lnTo>
                    <a:pt x="67" y="820"/>
                  </a:lnTo>
                  <a:lnTo>
                    <a:pt x="62" y="825"/>
                  </a:lnTo>
                  <a:lnTo>
                    <a:pt x="57" y="830"/>
                  </a:lnTo>
                  <a:lnTo>
                    <a:pt x="50" y="834"/>
                  </a:lnTo>
                  <a:lnTo>
                    <a:pt x="43" y="836"/>
                  </a:lnTo>
                  <a:lnTo>
                    <a:pt x="36" y="836"/>
                  </a:lnTo>
                  <a:lnTo>
                    <a:pt x="36" y="836"/>
                  </a:lnTo>
                  <a:lnTo>
                    <a:pt x="29" y="836"/>
                  </a:lnTo>
                  <a:lnTo>
                    <a:pt x="22" y="834"/>
                  </a:lnTo>
                  <a:lnTo>
                    <a:pt x="15" y="830"/>
                  </a:lnTo>
                  <a:lnTo>
                    <a:pt x="10" y="825"/>
                  </a:lnTo>
                  <a:lnTo>
                    <a:pt x="7" y="820"/>
                  </a:lnTo>
                  <a:lnTo>
                    <a:pt x="3" y="813"/>
                  </a:lnTo>
                  <a:lnTo>
                    <a:pt x="2" y="806"/>
                  </a:lnTo>
                  <a:lnTo>
                    <a:pt x="0" y="799"/>
                  </a:lnTo>
                  <a:lnTo>
                    <a:pt x="0" y="36"/>
                  </a:lnTo>
                  <a:lnTo>
                    <a:pt x="0" y="36"/>
                  </a:lnTo>
                  <a:lnTo>
                    <a:pt x="2" y="30"/>
                  </a:lnTo>
                  <a:lnTo>
                    <a:pt x="3" y="23"/>
                  </a:lnTo>
                  <a:lnTo>
                    <a:pt x="7" y="16"/>
                  </a:lnTo>
                  <a:lnTo>
                    <a:pt x="10" y="11"/>
                  </a:lnTo>
                  <a:lnTo>
                    <a:pt x="15" y="7"/>
                  </a:lnTo>
                  <a:lnTo>
                    <a:pt x="22" y="4"/>
                  </a:lnTo>
                  <a:lnTo>
                    <a:pt x="29" y="2"/>
                  </a:lnTo>
                  <a:lnTo>
                    <a:pt x="36" y="0"/>
                  </a:lnTo>
                  <a:lnTo>
                    <a:pt x="36" y="0"/>
                  </a:lnTo>
                  <a:lnTo>
                    <a:pt x="43" y="2"/>
                  </a:lnTo>
                  <a:lnTo>
                    <a:pt x="50" y="4"/>
                  </a:lnTo>
                  <a:lnTo>
                    <a:pt x="57" y="7"/>
                  </a:lnTo>
                  <a:lnTo>
                    <a:pt x="62" y="11"/>
                  </a:lnTo>
                  <a:lnTo>
                    <a:pt x="67" y="16"/>
                  </a:lnTo>
                  <a:lnTo>
                    <a:pt x="71" y="23"/>
                  </a:lnTo>
                  <a:lnTo>
                    <a:pt x="73" y="30"/>
                  </a:lnTo>
                  <a:lnTo>
                    <a:pt x="73" y="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11">
              <a:extLst>
                <a:ext uri="{FF2B5EF4-FFF2-40B4-BE49-F238E27FC236}">
                  <a16:creationId xmlns:a16="http://schemas.microsoft.com/office/drawing/2014/main" id="{709EE880-6C0A-4B94-920F-CAC96AD11EC2}"/>
                </a:ext>
              </a:extLst>
            </p:cNvPr>
            <p:cNvSpPr>
              <a:spLocks/>
            </p:cNvSpPr>
            <p:nvPr/>
          </p:nvSpPr>
          <p:spPr bwMode="auto">
            <a:xfrm>
              <a:off x="339945" y="13447"/>
              <a:ext cx="40682" cy="132982"/>
            </a:xfrm>
            <a:custGeom>
              <a:avLst/>
              <a:gdLst>
                <a:gd name="T0" fmla="*/ 73 w 73"/>
                <a:gd name="T1" fmla="*/ 37 h 239"/>
                <a:gd name="T2" fmla="*/ 73 w 73"/>
                <a:gd name="T3" fmla="*/ 203 h 239"/>
                <a:gd name="T4" fmla="*/ 73 w 73"/>
                <a:gd name="T5" fmla="*/ 203 h 239"/>
                <a:gd name="T6" fmla="*/ 71 w 73"/>
                <a:gd name="T7" fmla="*/ 210 h 239"/>
                <a:gd name="T8" fmla="*/ 69 w 73"/>
                <a:gd name="T9" fmla="*/ 217 h 239"/>
                <a:gd name="T10" fmla="*/ 66 w 73"/>
                <a:gd name="T11" fmla="*/ 222 h 239"/>
                <a:gd name="T12" fmla="*/ 61 w 73"/>
                <a:gd name="T13" fmla="*/ 227 h 239"/>
                <a:gd name="T14" fmla="*/ 56 w 73"/>
                <a:gd name="T15" fmla="*/ 232 h 239"/>
                <a:gd name="T16" fmla="*/ 50 w 73"/>
                <a:gd name="T17" fmla="*/ 236 h 239"/>
                <a:gd name="T18" fmla="*/ 43 w 73"/>
                <a:gd name="T19" fmla="*/ 237 h 239"/>
                <a:gd name="T20" fmla="*/ 37 w 73"/>
                <a:gd name="T21" fmla="*/ 239 h 239"/>
                <a:gd name="T22" fmla="*/ 37 w 73"/>
                <a:gd name="T23" fmla="*/ 239 h 239"/>
                <a:gd name="T24" fmla="*/ 28 w 73"/>
                <a:gd name="T25" fmla="*/ 237 h 239"/>
                <a:gd name="T26" fmla="*/ 21 w 73"/>
                <a:gd name="T27" fmla="*/ 236 h 239"/>
                <a:gd name="T28" fmla="*/ 16 w 73"/>
                <a:gd name="T29" fmla="*/ 232 h 239"/>
                <a:gd name="T30" fmla="*/ 11 w 73"/>
                <a:gd name="T31" fmla="*/ 227 h 239"/>
                <a:gd name="T32" fmla="*/ 5 w 73"/>
                <a:gd name="T33" fmla="*/ 222 h 239"/>
                <a:gd name="T34" fmla="*/ 2 w 73"/>
                <a:gd name="T35" fmla="*/ 217 h 239"/>
                <a:gd name="T36" fmla="*/ 0 w 73"/>
                <a:gd name="T37" fmla="*/ 210 h 239"/>
                <a:gd name="T38" fmla="*/ 0 w 73"/>
                <a:gd name="T39" fmla="*/ 203 h 239"/>
                <a:gd name="T40" fmla="*/ 0 w 73"/>
                <a:gd name="T41" fmla="*/ 37 h 239"/>
                <a:gd name="T42" fmla="*/ 0 w 73"/>
                <a:gd name="T43" fmla="*/ 37 h 239"/>
                <a:gd name="T44" fmla="*/ 0 w 73"/>
                <a:gd name="T45" fmla="*/ 30 h 239"/>
                <a:gd name="T46" fmla="*/ 2 w 73"/>
                <a:gd name="T47" fmla="*/ 23 h 239"/>
                <a:gd name="T48" fmla="*/ 5 w 73"/>
                <a:gd name="T49" fmla="*/ 16 h 239"/>
                <a:gd name="T50" fmla="*/ 11 w 73"/>
                <a:gd name="T51" fmla="*/ 11 h 239"/>
                <a:gd name="T52" fmla="*/ 16 w 73"/>
                <a:gd name="T53" fmla="*/ 6 h 239"/>
                <a:gd name="T54" fmla="*/ 21 w 73"/>
                <a:gd name="T55" fmla="*/ 4 h 239"/>
                <a:gd name="T56" fmla="*/ 28 w 73"/>
                <a:gd name="T57" fmla="*/ 0 h 239"/>
                <a:gd name="T58" fmla="*/ 37 w 73"/>
                <a:gd name="T59" fmla="*/ 0 h 239"/>
                <a:gd name="T60" fmla="*/ 37 w 73"/>
                <a:gd name="T61" fmla="*/ 0 h 239"/>
                <a:gd name="T62" fmla="*/ 43 w 73"/>
                <a:gd name="T63" fmla="*/ 0 h 239"/>
                <a:gd name="T64" fmla="*/ 50 w 73"/>
                <a:gd name="T65" fmla="*/ 4 h 239"/>
                <a:gd name="T66" fmla="*/ 56 w 73"/>
                <a:gd name="T67" fmla="*/ 6 h 239"/>
                <a:gd name="T68" fmla="*/ 61 w 73"/>
                <a:gd name="T69" fmla="*/ 11 h 239"/>
                <a:gd name="T70" fmla="*/ 66 w 73"/>
                <a:gd name="T71" fmla="*/ 16 h 239"/>
                <a:gd name="T72" fmla="*/ 69 w 73"/>
                <a:gd name="T73" fmla="*/ 23 h 239"/>
                <a:gd name="T74" fmla="*/ 71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1" y="210"/>
                  </a:lnTo>
                  <a:lnTo>
                    <a:pt x="69" y="217"/>
                  </a:lnTo>
                  <a:lnTo>
                    <a:pt x="66" y="222"/>
                  </a:lnTo>
                  <a:lnTo>
                    <a:pt x="61" y="227"/>
                  </a:lnTo>
                  <a:lnTo>
                    <a:pt x="56" y="232"/>
                  </a:lnTo>
                  <a:lnTo>
                    <a:pt x="50" y="236"/>
                  </a:lnTo>
                  <a:lnTo>
                    <a:pt x="43" y="237"/>
                  </a:lnTo>
                  <a:lnTo>
                    <a:pt x="37" y="239"/>
                  </a:lnTo>
                  <a:lnTo>
                    <a:pt x="37" y="239"/>
                  </a:lnTo>
                  <a:lnTo>
                    <a:pt x="28" y="237"/>
                  </a:lnTo>
                  <a:lnTo>
                    <a:pt x="21" y="236"/>
                  </a:lnTo>
                  <a:lnTo>
                    <a:pt x="16" y="232"/>
                  </a:lnTo>
                  <a:lnTo>
                    <a:pt x="11" y="227"/>
                  </a:lnTo>
                  <a:lnTo>
                    <a:pt x="5" y="222"/>
                  </a:lnTo>
                  <a:lnTo>
                    <a:pt x="2" y="217"/>
                  </a:lnTo>
                  <a:lnTo>
                    <a:pt x="0" y="210"/>
                  </a:lnTo>
                  <a:lnTo>
                    <a:pt x="0" y="203"/>
                  </a:lnTo>
                  <a:lnTo>
                    <a:pt x="0" y="37"/>
                  </a:lnTo>
                  <a:lnTo>
                    <a:pt x="0" y="37"/>
                  </a:lnTo>
                  <a:lnTo>
                    <a:pt x="0" y="30"/>
                  </a:lnTo>
                  <a:lnTo>
                    <a:pt x="2" y="23"/>
                  </a:lnTo>
                  <a:lnTo>
                    <a:pt x="5" y="16"/>
                  </a:lnTo>
                  <a:lnTo>
                    <a:pt x="11" y="11"/>
                  </a:lnTo>
                  <a:lnTo>
                    <a:pt x="16" y="6"/>
                  </a:lnTo>
                  <a:lnTo>
                    <a:pt x="21" y="4"/>
                  </a:lnTo>
                  <a:lnTo>
                    <a:pt x="28" y="0"/>
                  </a:lnTo>
                  <a:lnTo>
                    <a:pt x="37" y="0"/>
                  </a:lnTo>
                  <a:lnTo>
                    <a:pt x="37" y="0"/>
                  </a:lnTo>
                  <a:lnTo>
                    <a:pt x="43" y="0"/>
                  </a:lnTo>
                  <a:lnTo>
                    <a:pt x="50" y="4"/>
                  </a:lnTo>
                  <a:lnTo>
                    <a:pt x="56" y="6"/>
                  </a:lnTo>
                  <a:lnTo>
                    <a:pt x="61" y="11"/>
                  </a:lnTo>
                  <a:lnTo>
                    <a:pt x="66" y="16"/>
                  </a:lnTo>
                  <a:lnTo>
                    <a:pt x="69" y="23"/>
                  </a:lnTo>
                  <a:lnTo>
                    <a:pt x="71" y="30"/>
                  </a:lnTo>
                  <a:lnTo>
                    <a:pt x="73"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5" name="Freeform 12">
              <a:extLst>
                <a:ext uri="{FF2B5EF4-FFF2-40B4-BE49-F238E27FC236}">
                  <a16:creationId xmlns:a16="http://schemas.microsoft.com/office/drawing/2014/main" id="{B8B1237D-B469-4468-9C53-7C695DD6BF15}"/>
                </a:ext>
              </a:extLst>
            </p:cNvPr>
            <p:cNvSpPr>
              <a:spLocks/>
            </p:cNvSpPr>
            <p:nvPr/>
          </p:nvSpPr>
          <p:spPr bwMode="auto">
            <a:xfrm>
              <a:off x="339945" y="13447"/>
              <a:ext cx="40682" cy="132982"/>
            </a:xfrm>
            <a:custGeom>
              <a:avLst/>
              <a:gdLst>
                <a:gd name="T0" fmla="*/ 73 w 73"/>
                <a:gd name="T1" fmla="*/ 37 h 239"/>
                <a:gd name="T2" fmla="*/ 73 w 73"/>
                <a:gd name="T3" fmla="*/ 203 h 239"/>
                <a:gd name="T4" fmla="*/ 73 w 73"/>
                <a:gd name="T5" fmla="*/ 203 h 239"/>
                <a:gd name="T6" fmla="*/ 71 w 73"/>
                <a:gd name="T7" fmla="*/ 210 h 239"/>
                <a:gd name="T8" fmla="*/ 69 w 73"/>
                <a:gd name="T9" fmla="*/ 217 h 239"/>
                <a:gd name="T10" fmla="*/ 66 w 73"/>
                <a:gd name="T11" fmla="*/ 222 h 239"/>
                <a:gd name="T12" fmla="*/ 61 w 73"/>
                <a:gd name="T13" fmla="*/ 227 h 239"/>
                <a:gd name="T14" fmla="*/ 56 w 73"/>
                <a:gd name="T15" fmla="*/ 232 h 239"/>
                <a:gd name="T16" fmla="*/ 50 w 73"/>
                <a:gd name="T17" fmla="*/ 236 h 239"/>
                <a:gd name="T18" fmla="*/ 43 w 73"/>
                <a:gd name="T19" fmla="*/ 237 h 239"/>
                <a:gd name="T20" fmla="*/ 37 w 73"/>
                <a:gd name="T21" fmla="*/ 239 h 239"/>
                <a:gd name="T22" fmla="*/ 37 w 73"/>
                <a:gd name="T23" fmla="*/ 239 h 239"/>
                <a:gd name="T24" fmla="*/ 28 w 73"/>
                <a:gd name="T25" fmla="*/ 237 h 239"/>
                <a:gd name="T26" fmla="*/ 21 w 73"/>
                <a:gd name="T27" fmla="*/ 236 h 239"/>
                <a:gd name="T28" fmla="*/ 16 w 73"/>
                <a:gd name="T29" fmla="*/ 232 h 239"/>
                <a:gd name="T30" fmla="*/ 11 w 73"/>
                <a:gd name="T31" fmla="*/ 227 h 239"/>
                <a:gd name="T32" fmla="*/ 5 w 73"/>
                <a:gd name="T33" fmla="*/ 222 h 239"/>
                <a:gd name="T34" fmla="*/ 2 w 73"/>
                <a:gd name="T35" fmla="*/ 217 h 239"/>
                <a:gd name="T36" fmla="*/ 0 w 73"/>
                <a:gd name="T37" fmla="*/ 210 h 239"/>
                <a:gd name="T38" fmla="*/ 0 w 73"/>
                <a:gd name="T39" fmla="*/ 203 h 239"/>
                <a:gd name="T40" fmla="*/ 0 w 73"/>
                <a:gd name="T41" fmla="*/ 37 h 239"/>
                <a:gd name="T42" fmla="*/ 0 w 73"/>
                <a:gd name="T43" fmla="*/ 37 h 239"/>
                <a:gd name="T44" fmla="*/ 0 w 73"/>
                <a:gd name="T45" fmla="*/ 30 h 239"/>
                <a:gd name="T46" fmla="*/ 2 w 73"/>
                <a:gd name="T47" fmla="*/ 23 h 239"/>
                <a:gd name="T48" fmla="*/ 5 w 73"/>
                <a:gd name="T49" fmla="*/ 16 h 239"/>
                <a:gd name="T50" fmla="*/ 11 w 73"/>
                <a:gd name="T51" fmla="*/ 11 h 239"/>
                <a:gd name="T52" fmla="*/ 16 w 73"/>
                <a:gd name="T53" fmla="*/ 6 h 239"/>
                <a:gd name="T54" fmla="*/ 21 w 73"/>
                <a:gd name="T55" fmla="*/ 4 h 239"/>
                <a:gd name="T56" fmla="*/ 28 w 73"/>
                <a:gd name="T57" fmla="*/ 0 h 239"/>
                <a:gd name="T58" fmla="*/ 37 w 73"/>
                <a:gd name="T59" fmla="*/ 0 h 239"/>
                <a:gd name="T60" fmla="*/ 37 w 73"/>
                <a:gd name="T61" fmla="*/ 0 h 239"/>
                <a:gd name="T62" fmla="*/ 43 w 73"/>
                <a:gd name="T63" fmla="*/ 0 h 239"/>
                <a:gd name="T64" fmla="*/ 50 w 73"/>
                <a:gd name="T65" fmla="*/ 4 h 239"/>
                <a:gd name="T66" fmla="*/ 56 w 73"/>
                <a:gd name="T67" fmla="*/ 6 h 239"/>
                <a:gd name="T68" fmla="*/ 61 w 73"/>
                <a:gd name="T69" fmla="*/ 11 h 239"/>
                <a:gd name="T70" fmla="*/ 66 w 73"/>
                <a:gd name="T71" fmla="*/ 16 h 239"/>
                <a:gd name="T72" fmla="*/ 69 w 73"/>
                <a:gd name="T73" fmla="*/ 23 h 239"/>
                <a:gd name="T74" fmla="*/ 71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1" y="210"/>
                  </a:lnTo>
                  <a:lnTo>
                    <a:pt x="69" y="217"/>
                  </a:lnTo>
                  <a:lnTo>
                    <a:pt x="66" y="222"/>
                  </a:lnTo>
                  <a:lnTo>
                    <a:pt x="61" y="227"/>
                  </a:lnTo>
                  <a:lnTo>
                    <a:pt x="56" y="232"/>
                  </a:lnTo>
                  <a:lnTo>
                    <a:pt x="50" y="236"/>
                  </a:lnTo>
                  <a:lnTo>
                    <a:pt x="43" y="237"/>
                  </a:lnTo>
                  <a:lnTo>
                    <a:pt x="37" y="239"/>
                  </a:lnTo>
                  <a:lnTo>
                    <a:pt x="37" y="239"/>
                  </a:lnTo>
                  <a:lnTo>
                    <a:pt x="28" y="237"/>
                  </a:lnTo>
                  <a:lnTo>
                    <a:pt x="21" y="236"/>
                  </a:lnTo>
                  <a:lnTo>
                    <a:pt x="16" y="232"/>
                  </a:lnTo>
                  <a:lnTo>
                    <a:pt x="11" y="227"/>
                  </a:lnTo>
                  <a:lnTo>
                    <a:pt x="5" y="222"/>
                  </a:lnTo>
                  <a:lnTo>
                    <a:pt x="2" y="217"/>
                  </a:lnTo>
                  <a:lnTo>
                    <a:pt x="0" y="210"/>
                  </a:lnTo>
                  <a:lnTo>
                    <a:pt x="0" y="203"/>
                  </a:lnTo>
                  <a:lnTo>
                    <a:pt x="0" y="37"/>
                  </a:lnTo>
                  <a:lnTo>
                    <a:pt x="0" y="37"/>
                  </a:lnTo>
                  <a:lnTo>
                    <a:pt x="0" y="30"/>
                  </a:lnTo>
                  <a:lnTo>
                    <a:pt x="2" y="23"/>
                  </a:lnTo>
                  <a:lnTo>
                    <a:pt x="5" y="16"/>
                  </a:lnTo>
                  <a:lnTo>
                    <a:pt x="11" y="11"/>
                  </a:lnTo>
                  <a:lnTo>
                    <a:pt x="16" y="6"/>
                  </a:lnTo>
                  <a:lnTo>
                    <a:pt x="21" y="4"/>
                  </a:lnTo>
                  <a:lnTo>
                    <a:pt x="28" y="0"/>
                  </a:lnTo>
                  <a:lnTo>
                    <a:pt x="37" y="0"/>
                  </a:lnTo>
                  <a:lnTo>
                    <a:pt x="37" y="0"/>
                  </a:lnTo>
                  <a:lnTo>
                    <a:pt x="43" y="0"/>
                  </a:lnTo>
                  <a:lnTo>
                    <a:pt x="50" y="4"/>
                  </a:lnTo>
                  <a:lnTo>
                    <a:pt x="56" y="6"/>
                  </a:lnTo>
                  <a:lnTo>
                    <a:pt x="61" y="11"/>
                  </a:lnTo>
                  <a:lnTo>
                    <a:pt x="66" y="16"/>
                  </a:lnTo>
                  <a:lnTo>
                    <a:pt x="69" y="23"/>
                  </a:lnTo>
                  <a:lnTo>
                    <a:pt x="71" y="30"/>
                  </a:lnTo>
                  <a:lnTo>
                    <a:pt x="73" y="3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6" name="Freeform 13">
              <a:extLst>
                <a:ext uri="{FF2B5EF4-FFF2-40B4-BE49-F238E27FC236}">
                  <a16:creationId xmlns:a16="http://schemas.microsoft.com/office/drawing/2014/main" id="{662A54EE-686B-4FAF-9221-5BE86FD21810}"/>
                </a:ext>
              </a:extLst>
            </p:cNvPr>
            <p:cNvSpPr>
              <a:spLocks/>
            </p:cNvSpPr>
            <p:nvPr/>
          </p:nvSpPr>
          <p:spPr bwMode="auto">
            <a:xfrm>
              <a:off x="770726" y="13447"/>
              <a:ext cx="40682" cy="132982"/>
            </a:xfrm>
            <a:custGeom>
              <a:avLst/>
              <a:gdLst>
                <a:gd name="T0" fmla="*/ 73 w 73"/>
                <a:gd name="T1" fmla="*/ 37 h 239"/>
                <a:gd name="T2" fmla="*/ 73 w 73"/>
                <a:gd name="T3" fmla="*/ 203 h 239"/>
                <a:gd name="T4" fmla="*/ 73 w 73"/>
                <a:gd name="T5" fmla="*/ 203 h 239"/>
                <a:gd name="T6" fmla="*/ 73 w 73"/>
                <a:gd name="T7" fmla="*/ 210 h 239"/>
                <a:gd name="T8" fmla="*/ 71 w 73"/>
                <a:gd name="T9" fmla="*/ 217 h 239"/>
                <a:gd name="T10" fmla="*/ 67 w 73"/>
                <a:gd name="T11" fmla="*/ 222 h 239"/>
                <a:gd name="T12" fmla="*/ 62 w 73"/>
                <a:gd name="T13" fmla="*/ 227 h 239"/>
                <a:gd name="T14" fmla="*/ 57 w 73"/>
                <a:gd name="T15" fmla="*/ 232 h 239"/>
                <a:gd name="T16" fmla="*/ 52 w 73"/>
                <a:gd name="T17" fmla="*/ 236 h 239"/>
                <a:gd name="T18" fmla="*/ 45 w 73"/>
                <a:gd name="T19" fmla="*/ 237 h 239"/>
                <a:gd name="T20" fmla="*/ 36 w 73"/>
                <a:gd name="T21" fmla="*/ 239 h 239"/>
                <a:gd name="T22" fmla="*/ 36 w 73"/>
                <a:gd name="T23" fmla="*/ 239 h 239"/>
                <a:gd name="T24" fmla="*/ 29 w 73"/>
                <a:gd name="T25" fmla="*/ 237 h 239"/>
                <a:gd name="T26" fmla="*/ 22 w 73"/>
                <a:gd name="T27" fmla="*/ 236 h 239"/>
                <a:gd name="T28" fmla="*/ 17 w 73"/>
                <a:gd name="T29" fmla="*/ 232 h 239"/>
                <a:gd name="T30" fmla="*/ 12 w 73"/>
                <a:gd name="T31" fmla="*/ 227 h 239"/>
                <a:gd name="T32" fmla="*/ 7 w 73"/>
                <a:gd name="T33" fmla="*/ 222 h 239"/>
                <a:gd name="T34" fmla="*/ 3 w 73"/>
                <a:gd name="T35" fmla="*/ 217 h 239"/>
                <a:gd name="T36" fmla="*/ 2 w 73"/>
                <a:gd name="T37" fmla="*/ 210 h 239"/>
                <a:gd name="T38" fmla="*/ 0 w 73"/>
                <a:gd name="T39" fmla="*/ 203 h 239"/>
                <a:gd name="T40" fmla="*/ 0 w 73"/>
                <a:gd name="T41" fmla="*/ 37 h 239"/>
                <a:gd name="T42" fmla="*/ 0 w 73"/>
                <a:gd name="T43" fmla="*/ 37 h 239"/>
                <a:gd name="T44" fmla="*/ 2 w 73"/>
                <a:gd name="T45" fmla="*/ 30 h 239"/>
                <a:gd name="T46" fmla="*/ 3 w 73"/>
                <a:gd name="T47" fmla="*/ 23 h 239"/>
                <a:gd name="T48" fmla="*/ 7 w 73"/>
                <a:gd name="T49" fmla="*/ 16 h 239"/>
                <a:gd name="T50" fmla="*/ 12 w 73"/>
                <a:gd name="T51" fmla="*/ 11 h 239"/>
                <a:gd name="T52" fmla="*/ 17 w 73"/>
                <a:gd name="T53" fmla="*/ 6 h 239"/>
                <a:gd name="T54" fmla="*/ 22 w 73"/>
                <a:gd name="T55" fmla="*/ 4 h 239"/>
                <a:gd name="T56" fmla="*/ 29 w 73"/>
                <a:gd name="T57" fmla="*/ 0 h 239"/>
                <a:gd name="T58" fmla="*/ 36 w 73"/>
                <a:gd name="T59" fmla="*/ 0 h 239"/>
                <a:gd name="T60" fmla="*/ 36 w 73"/>
                <a:gd name="T61" fmla="*/ 0 h 239"/>
                <a:gd name="T62" fmla="*/ 45 w 73"/>
                <a:gd name="T63" fmla="*/ 0 h 239"/>
                <a:gd name="T64" fmla="*/ 52 w 73"/>
                <a:gd name="T65" fmla="*/ 4 h 239"/>
                <a:gd name="T66" fmla="*/ 57 w 73"/>
                <a:gd name="T67" fmla="*/ 6 h 239"/>
                <a:gd name="T68" fmla="*/ 62 w 73"/>
                <a:gd name="T69" fmla="*/ 11 h 239"/>
                <a:gd name="T70" fmla="*/ 67 w 73"/>
                <a:gd name="T71" fmla="*/ 16 h 239"/>
                <a:gd name="T72" fmla="*/ 71 w 73"/>
                <a:gd name="T73" fmla="*/ 23 h 239"/>
                <a:gd name="T74" fmla="*/ 73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3" y="210"/>
                  </a:lnTo>
                  <a:lnTo>
                    <a:pt x="71" y="217"/>
                  </a:lnTo>
                  <a:lnTo>
                    <a:pt x="67" y="222"/>
                  </a:lnTo>
                  <a:lnTo>
                    <a:pt x="62" y="227"/>
                  </a:lnTo>
                  <a:lnTo>
                    <a:pt x="57" y="232"/>
                  </a:lnTo>
                  <a:lnTo>
                    <a:pt x="52" y="236"/>
                  </a:lnTo>
                  <a:lnTo>
                    <a:pt x="45" y="237"/>
                  </a:lnTo>
                  <a:lnTo>
                    <a:pt x="36" y="239"/>
                  </a:lnTo>
                  <a:lnTo>
                    <a:pt x="36" y="239"/>
                  </a:lnTo>
                  <a:lnTo>
                    <a:pt x="29" y="237"/>
                  </a:lnTo>
                  <a:lnTo>
                    <a:pt x="22" y="236"/>
                  </a:lnTo>
                  <a:lnTo>
                    <a:pt x="17" y="232"/>
                  </a:lnTo>
                  <a:lnTo>
                    <a:pt x="12" y="227"/>
                  </a:lnTo>
                  <a:lnTo>
                    <a:pt x="7" y="222"/>
                  </a:lnTo>
                  <a:lnTo>
                    <a:pt x="3" y="217"/>
                  </a:lnTo>
                  <a:lnTo>
                    <a:pt x="2" y="210"/>
                  </a:lnTo>
                  <a:lnTo>
                    <a:pt x="0" y="203"/>
                  </a:lnTo>
                  <a:lnTo>
                    <a:pt x="0" y="37"/>
                  </a:lnTo>
                  <a:lnTo>
                    <a:pt x="0" y="37"/>
                  </a:lnTo>
                  <a:lnTo>
                    <a:pt x="2" y="30"/>
                  </a:lnTo>
                  <a:lnTo>
                    <a:pt x="3" y="23"/>
                  </a:lnTo>
                  <a:lnTo>
                    <a:pt x="7" y="16"/>
                  </a:lnTo>
                  <a:lnTo>
                    <a:pt x="12" y="11"/>
                  </a:lnTo>
                  <a:lnTo>
                    <a:pt x="17" y="6"/>
                  </a:lnTo>
                  <a:lnTo>
                    <a:pt x="22" y="4"/>
                  </a:lnTo>
                  <a:lnTo>
                    <a:pt x="29" y="0"/>
                  </a:lnTo>
                  <a:lnTo>
                    <a:pt x="36" y="0"/>
                  </a:lnTo>
                  <a:lnTo>
                    <a:pt x="36" y="0"/>
                  </a:lnTo>
                  <a:lnTo>
                    <a:pt x="45" y="0"/>
                  </a:lnTo>
                  <a:lnTo>
                    <a:pt x="52" y="4"/>
                  </a:lnTo>
                  <a:lnTo>
                    <a:pt x="57" y="6"/>
                  </a:lnTo>
                  <a:lnTo>
                    <a:pt x="62" y="11"/>
                  </a:lnTo>
                  <a:lnTo>
                    <a:pt x="67" y="16"/>
                  </a:lnTo>
                  <a:lnTo>
                    <a:pt x="71" y="23"/>
                  </a:lnTo>
                  <a:lnTo>
                    <a:pt x="73" y="30"/>
                  </a:lnTo>
                  <a:lnTo>
                    <a:pt x="73"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7" name="Freeform 14">
              <a:extLst>
                <a:ext uri="{FF2B5EF4-FFF2-40B4-BE49-F238E27FC236}">
                  <a16:creationId xmlns:a16="http://schemas.microsoft.com/office/drawing/2014/main" id="{7BE47004-6273-46AB-814D-89C318635BAB}"/>
                </a:ext>
              </a:extLst>
            </p:cNvPr>
            <p:cNvSpPr>
              <a:spLocks/>
            </p:cNvSpPr>
            <p:nvPr/>
          </p:nvSpPr>
          <p:spPr bwMode="auto">
            <a:xfrm>
              <a:off x="770726" y="13447"/>
              <a:ext cx="40682" cy="132982"/>
            </a:xfrm>
            <a:custGeom>
              <a:avLst/>
              <a:gdLst>
                <a:gd name="T0" fmla="*/ 73 w 73"/>
                <a:gd name="T1" fmla="*/ 37 h 239"/>
                <a:gd name="T2" fmla="*/ 73 w 73"/>
                <a:gd name="T3" fmla="*/ 203 h 239"/>
                <a:gd name="T4" fmla="*/ 73 w 73"/>
                <a:gd name="T5" fmla="*/ 203 h 239"/>
                <a:gd name="T6" fmla="*/ 73 w 73"/>
                <a:gd name="T7" fmla="*/ 210 h 239"/>
                <a:gd name="T8" fmla="*/ 71 w 73"/>
                <a:gd name="T9" fmla="*/ 217 h 239"/>
                <a:gd name="T10" fmla="*/ 67 w 73"/>
                <a:gd name="T11" fmla="*/ 222 h 239"/>
                <a:gd name="T12" fmla="*/ 62 w 73"/>
                <a:gd name="T13" fmla="*/ 227 h 239"/>
                <a:gd name="T14" fmla="*/ 57 w 73"/>
                <a:gd name="T15" fmla="*/ 232 h 239"/>
                <a:gd name="T16" fmla="*/ 52 w 73"/>
                <a:gd name="T17" fmla="*/ 236 h 239"/>
                <a:gd name="T18" fmla="*/ 45 w 73"/>
                <a:gd name="T19" fmla="*/ 237 h 239"/>
                <a:gd name="T20" fmla="*/ 36 w 73"/>
                <a:gd name="T21" fmla="*/ 239 h 239"/>
                <a:gd name="T22" fmla="*/ 36 w 73"/>
                <a:gd name="T23" fmla="*/ 239 h 239"/>
                <a:gd name="T24" fmla="*/ 29 w 73"/>
                <a:gd name="T25" fmla="*/ 237 h 239"/>
                <a:gd name="T26" fmla="*/ 22 w 73"/>
                <a:gd name="T27" fmla="*/ 236 h 239"/>
                <a:gd name="T28" fmla="*/ 17 w 73"/>
                <a:gd name="T29" fmla="*/ 232 h 239"/>
                <a:gd name="T30" fmla="*/ 12 w 73"/>
                <a:gd name="T31" fmla="*/ 227 h 239"/>
                <a:gd name="T32" fmla="*/ 7 w 73"/>
                <a:gd name="T33" fmla="*/ 222 h 239"/>
                <a:gd name="T34" fmla="*/ 3 w 73"/>
                <a:gd name="T35" fmla="*/ 217 h 239"/>
                <a:gd name="T36" fmla="*/ 2 w 73"/>
                <a:gd name="T37" fmla="*/ 210 h 239"/>
                <a:gd name="T38" fmla="*/ 0 w 73"/>
                <a:gd name="T39" fmla="*/ 203 h 239"/>
                <a:gd name="T40" fmla="*/ 0 w 73"/>
                <a:gd name="T41" fmla="*/ 37 h 239"/>
                <a:gd name="T42" fmla="*/ 0 w 73"/>
                <a:gd name="T43" fmla="*/ 37 h 239"/>
                <a:gd name="T44" fmla="*/ 2 w 73"/>
                <a:gd name="T45" fmla="*/ 30 h 239"/>
                <a:gd name="T46" fmla="*/ 3 w 73"/>
                <a:gd name="T47" fmla="*/ 23 h 239"/>
                <a:gd name="T48" fmla="*/ 7 w 73"/>
                <a:gd name="T49" fmla="*/ 16 h 239"/>
                <a:gd name="T50" fmla="*/ 12 w 73"/>
                <a:gd name="T51" fmla="*/ 11 h 239"/>
                <a:gd name="T52" fmla="*/ 17 w 73"/>
                <a:gd name="T53" fmla="*/ 6 h 239"/>
                <a:gd name="T54" fmla="*/ 22 w 73"/>
                <a:gd name="T55" fmla="*/ 4 h 239"/>
                <a:gd name="T56" fmla="*/ 29 w 73"/>
                <a:gd name="T57" fmla="*/ 0 h 239"/>
                <a:gd name="T58" fmla="*/ 36 w 73"/>
                <a:gd name="T59" fmla="*/ 0 h 239"/>
                <a:gd name="T60" fmla="*/ 36 w 73"/>
                <a:gd name="T61" fmla="*/ 0 h 239"/>
                <a:gd name="T62" fmla="*/ 45 w 73"/>
                <a:gd name="T63" fmla="*/ 0 h 239"/>
                <a:gd name="T64" fmla="*/ 52 w 73"/>
                <a:gd name="T65" fmla="*/ 4 h 239"/>
                <a:gd name="T66" fmla="*/ 57 w 73"/>
                <a:gd name="T67" fmla="*/ 6 h 239"/>
                <a:gd name="T68" fmla="*/ 62 w 73"/>
                <a:gd name="T69" fmla="*/ 11 h 239"/>
                <a:gd name="T70" fmla="*/ 67 w 73"/>
                <a:gd name="T71" fmla="*/ 16 h 239"/>
                <a:gd name="T72" fmla="*/ 71 w 73"/>
                <a:gd name="T73" fmla="*/ 23 h 239"/>
                <a:gd name="T74" fmla="*/ 73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3" y="210"/>
                  </a:lnTo>
                  <a:lnTo>
                    <a:pt x="71" y="217"/>
                  </a:lnTo>
                  <a:lnTo>
                    <a:pt x="67" y="222"/>
                  </a:lnTo>
                  <a:lnTo>
                    <a:pt x="62" y="227"/>
                  </a:lnTo>
                  <a:lnTo>
                    <a:pt x="57" y="232"/>
                  </a:lnTo>
                  <a:lnTo>
                    <a:pt x="52" y="236"/>
                  </a:lnTo>
                  <a:lnTo>
                    <a:pt x="45" y="237"/>
                  </a:lnTo>
                  <a:lnTo>
                    <a:pt x="36" y="239"/>
                  </a:lnTo>
                  <a:lnTo>
                    <a:pt x="36" y="239"/>
                  </a:lnTo>
                  <a:lnTo>
                    <a:pt x="29" y="237"/>
                  </a:lnTo>
                  <a:lnTo>
                    <a:pt x="22" y="236"/>
                  </a:lnTo>
                  <a:lnTo>
                    <a:pt x="17" y="232"/>
                  </a:lnTo>
                  <a:lnTo>
                    <a:pt x="12" y="227"/>
                  </a:lnTo>
                  <a:lnTo>
                    <a:pt x="7" y="222"/>
                  </a:lnTo>
                  <a:lnTo>
                    <a:pt x="3" y="217"/>
                  </a:lnTo>
                  <a:lnTo>
                    <a:pt x="2" y="210"/>
                  </a:lnTo>
                  <a:lnTo>
                    <a:pt x="0" y="203"/>
                  </a:lnTo>
                  <a:lnTo>
                    <a:pt x="0" y="37"/>
                  </a:lnTo>
                  <a:lnTo>
                    <a:pt x="0" y="37"/>
                  </a:lnTo>
                  <a:lnTo>
                    <a:pt x="2" y="30"/>
                  </a:lnTo>
                  <a:lnTo>
                    <a:pt x="3" y="23"/>
                  </a:lnTo>
                  <a:lnTo>
                    <a:pt x="7" y="16"/>
                  </a:lnTo>
                  <a:lnTo>
                    <a:pt x="12" y="11"/>
                  </a:lnTo>
                  <a:lnTo>
                    <a:pt x="17" y="6"/>
                  </a:lnTo>
                  <a:lnTo>
                    <a:pt x="22" y="4"/>
                  </a:lnTo>
                  <a:lnTo>
                    <a:pt x="29" y="0"/>
                  </a:lnTo>
                  <a:lnTo>
                    <a:pt x="36" y="0"/>
                  </a:lnTo>
                  <a:lnTo>
                    <a:pt x="36" y="0"/>
                  </a:lnTo>
                  <a:lnTo>
                    <a:pt x="45" y="0"/>
                  </a:lnTo>
                  <a:lnTo>
                    <a:pt x="52" y="4"/>
                  </a:lnTo>
                  <a:lnTo>
                    <a:pt x="57" y="6"/>
                  </a:lnTo>
                  <a:lnTo>
                    <a:pt x="62" y="11"/>
                  </a:lnTo>
                  <a:lnTo>
                    <a:pt x="67" y="16"/>
                  </a:lnTo>
                  <a:lnTo>
                    <a:pt x="71" y="23"/>
                  </a:lnTo>
                  <a:lnTo>
                    <a:pt x="73" y="30"/>
                  </a:lnTo>
                  <a:lnTo>
                    <a:pt x="73" y="3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8" name="Freeform 15">
              <a:extLst>
                <a:ext uri="{FF2B5EF4-FFF2-40B4-BE49-F238E27FC236}">
                  <a16:creationId xmlns:a16="http://schemas.microsoft.com/office/drawing/2014/main" id="{D6D9720C-CBD7-43EB-AAE1-E24D4983D28B}"/>
                </a:ext>
              </a:extLst>
            </p:cNvPr>
            <p:cNvSpPr>
              <a:spLocks/>
            </p:cNvSpPr>
            <p:nvPr/>
          </p:nvSpPr>
          <p:spPr bwMode="auto">
            <a:xfrm>
              <a:off x="915063" y="-152920"/>
              <a:ext cx="40682" cy="465159"/>
            </a:xfrm>
            <a:custGeom>
              <a:avLst/>
              <a:gdLst>
                <a:gd name="T0" fmla="*/ 73 w 73"/>
                <a:gd name="T1" fmla="*/ 36 h 836"/>
                <a:gd name="T2" fmla="*/ 73 w 73"/>
                <a:gd name="T3" fmla="*/ 799 h 836"/>
                <a:gd name="T4" fmla="*/ 73 w 73"/>
                <a:gd name="T5" fmla="*/ 799 h 836"/>
                <a:gd name="T6" fmla="*/ 71 w 73"/>
                <a:gd name="T7" fmla="*/ 806 h 836"/>
                <a:gd name="T8" fmla="*/ 69 w 73"/>
                <a:gd name="T9" fmla="*/ 813 h 836"/>
                <a:gd name="T10" fmla="*/ 66 w 73"/>
                <a:gd name="T11" fmla="*/ 820 h 836"/>
                <a:gd name="T12" fmla="*/ 63 w 73"/>
                <a:gd name="T13" fmla="*/ 825 h 836"/>
                <a:gd name="T14" fmla="*/ 57 w 73"/>
                <a:gd name="T15" fmla="*/ 830 h 836"/>
                <a:gd name="T16" fmla="*/ 50 w 73"/>
                <a:gd name="T17" fmla="*/ 834 h 836"/>
                <a:gd name="T18" fmla="*/ 44 w 73"/>
                <a:gd name="T19" fmla="*/ 836 h 836"/>
                <a:gd name="T20" fmla="*/ 37 w 73"/>
                <a:gd name="T21" fmla="*/ 836 h 836"/>
                <a:gd name="T22" fmla="*/ 37 w 73"/>
                <a:gd name="T23" fmla="*/ 836 h 836"/>
                <a:gd name="T24" fmla="*/ 30 w 73"/>
                <a:gd name="T25" fmla="*/ 836 h 836"/>
                <a:gd name="T26" fmla="*/ 23 w 73"/>
                <a:gd name="T27" fmla="*/ 834 h 836"/>
                <a:gd name="T28" fmla="*/ 16 w 73"/>
                <a:gd name="T29" fmla="*/ 830 h 836"/>
                <a:gd name="T30" fmla="*/ 11 w 73"/>
                <a:gd name="T31" fmla="*/ 825 h 836"/>
                <a:gd name="T32" fmla="*/ 5 w 73"/>
                <a:gd name="T33" fmla="*/ 820 h 836"/>
                <a:gd name="T34" fmla="*/ 2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2 w 73"/>
                <a:gd name="T47" fmla="*/ 23 h 836"/>
                <a:gd name="T48" fmla="*/ 5 w 73"/>
                <a:gd name="T49" fmla="*/ 16 h 836"/>
                <a:gd name="T50" fmla="*/ 11 w 73"/>
                <a:gd name="T51" fmla="*/ 11 h 836"/>
                <a:gd name="T52" fmla="*/ 16 w 73"/>
                <a:gd name="T53" fmla="*/ 7 h 836"/>
                <a:gd name="T54" fmla="*/ 23 w 73"/>
                <a:gd name="T55" fmla="*/ 4 h 836"/>
                <a:gd name="T56" fmla="*/ 30 w 73"/>
                <a:gd name="T57" fmla="*/ 2 h 836"/>
                <a:gd name="T58" fmla="*/ 37 w 73"/>
                <a:gd name="T59" fmla="*/ 0 h 836"/>
                <a:gd name="T60" fmla="*/ 37 w 73"/>
                <a:gd name="T61" fmla="*/ 0 h 836"/>
                <a:gd name="T62" fmla="*/ 44 w 73"/>
                <a:gd name="T63" fmla="*/ 2 h 836"/>
                <a:gd name="T64" fmla="*/ 50 w 73"/>
                <a:gd name="T65" fmla="*/ 4 h 836"/>
                <a:gd name="T66" fmla="*/ 57 w 73"/>
                <a:gd name="T67" fmla="*/ 7 h 836"/>
                <a:gd name="T68" fmla="*/ 63 w 73"/>
                <a:gd name="T69" fmla="*/ 11 h 836"/>
                <a:gd name="T70" fmla="*/ 66 w 73"/>
                <a:gd name="T71" fmla="*/ 16 h 836"/>
                <a:gd name="T72" fmla="*/ 69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69" y="813"/>
                  </a:lnTo>
                  <a:lnTo>
                    <a:pt x="66" y="820"/>
                  </a:lnTo>
                  <a:lnTo>
                    <a:pt x="63" y="825"/>
                  </a:lnTo>
                  <a:lnTo>
                    <a:pt x="57" y="830"/>
                  </a:lnTo>
                  <a:lnTo>
                    <a:pt x="50" y="834"/>
                  </a:lnTo>
                  <a:lnTo>
                    <a:pt x="44" y="836"/>
                  </a:lnTo>
                  <a:lnTo>
                    <a:pt x="37" y="836"/>
                  </a:lnTo>
                  <a:lnTo>
                    <a:pt x="37" y="836"/>
                  </a:lnTo>
                  <a:lnTo>
                    <a:pt x="30" y="836"/>
                  </a:lnTo>
                  <a:lnTo>
                    <a:pt x="23" y="834"/>
                  </a:lnTo>
                  <a:lnTo>
                    <a:pt x="16" y="830"/>
                  </a:lnTo>
                  <a:lnTo>
                    <a:pt x="11" y="825"/>
                  </a:lnTo>
                  <a:lnTo>
                    <a:pt x="5" y="820"/>
                  </a:lnTo>
                  <a:lnTo>
                    <a:pt x="2" y="813"/>
                  </a:lnTo>
                  <a:lnTo>
                    <a:pt x="0" y="806"/>
                  </a:lnTo>
                  <a:lnTo>
                    <a:pt x="0" y="799"/>
                  </a:lnTo>
                  <a:lnTo>
                    <a:pt x="0" y="36"/>
                  </a:lnTo>
                  <a:lnTo>
                    <a:pt x="0" y="36"/>
                  </a:lnTo>
                  <a:lnTo>
                    <a:pt x="0" y="30"/>
                  </a:lnTo>
                  <a:lnTo>
                    <a:pt x="2" y="23"/>
                  </a:lnTo>
                  <a:lnTo>
                    <a:pt x="5" y="16"/>
                  </a:lnTo>
                  <a:lnTo>
                    <a:pt x="11" y="11"/>
                  </a:lnTo>
                  <a:lnTo>
                    <a:pt x="16" y="7"/>
                  </a:lnTo>
                  <a:lnTo>
                    <a:pt x="23" y="4"/>
                  </a:lnTo>
                  <a:lnTo>
                    <a:pt x="30" y="2"/>
                  </a:lnTo>
                  <a:lnTo>
                    <a:pt x="37" y="0"/>
                  </a:lnTo>
                  <a:lnTo>
                    <a:pt x="37" y="0"/>
                  </a:lnTo>
                  <a:lnTo>
                    <a:pt x="44" y="2"/>
                  </a:lnTo>
                  <a:lnTo>
                    <a:pt x="50" y="4"/>
                  </a:lnTo>
                  <a:lnTo>
                    <a:pt x="57" y="7"/>
                  </a:lnTo>
                  <a:lnTo>
                    <a:pt x="63" y="11"/>
                  </a:lnTo>
                  <a:lnTo>
                    <a:pt x="66" y="16"/>
                  </a:lnTo>
                  <a:lnTo>
                    <a:pt x="69" y="23"/>
                  </a:lnTo>
                  <a:lnTo>
                    <a:pt x="71" y="30"/>
                  </a:lnTo>
                  <a:lnTo>
                    <a:pt x="7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9" name="Freeform 16">
              <a:extLst>
                <a:ext uri="{FF2B5EF4-FFF2-40B4-BE49-F238E27FC236}">
                  <a16:creationId xmlns:a16="http://schemas.microsoft.com/office/drawing/2014/main" id="{A4D85EB7-1102-4040-8BA5-17B9025A1BEF}"/>
                </a:ext>
              </a:extLst>
            </p:cNvPr>
            <p:cNvSpPr>
              <a:spLocks/>
            </p:cNvSpPr>
            <p:nvPr/>
          </p:nvSpPr>
          <p:spPr bwMode="auto">
            <a:xfrm>
              <a:off x="915063" y="-152920"/>
              <a:ext cx="40682" cy="465159"/>
            </a:xfrm>
            <a:custGeom>
              <a:avLst/>
              <a:gdLst>
                <a:gd name="T0" fmla="*/ 73 w 73"/>
                <a:gd name="T1" fmla="*/ 36 h 836"/>
                <a:gd name="T2" fmla="*/ 73 w 73"/>
                <a:gd name="T3" fmla="*/ 799 h 836"/>
                <a:gd name="T4" fmla="*/ 73 w 73"/>
                <a:gd name="T5" fmla="*/ 799 h 836"/>
                <a:gd name="T6" fmla="*/ 71 w 73"/>
                <a:gd name="T7" fmla="*/ 806 h 836"/>
                <a:gd name="T8" fmla="*/ 69 w 73"/>
                <a:gd name="T9" fmla="*/ 813 h 836"/>
                <a:gd name="T10" fmla="*/ 66 w 73"/>
                <a:gd name="T11" fmla="*/ 820 h 836"/>
                <a:gd name="T12" fmla="*/ 63 w 73"/>
                <a:gd name="T13" fmla="*/ 825 h 836"/>
                <a:gd name="T14" fmla="*/ 57 w 73"/>
                <a:gd name="T15" fmla="*/ 830 h 836"/>
                <a:gd name="T16" fmla="*/ 50 w 73"/>
                <a:gd name="T17" fmla="*/ 834 h 836"/>
                <a:gd name="T18" fmla="*/ 44 w 73"/>
                <a:gd name="T19" fmla="*/ 836 h 836"/>
                <a:gd name="T20" fmla="*/ 37 w 73"/>
                <a:gd name="T21" fmla="*/ 836 h 836"/>
                <a:gd name="T22" fmla="*/ 37 w 73"/>
                <a:gd name="T23" fmla="*/ 836 h 836"/>
                <a:gd name="T24" fmla="*/ 30 w 73"/>
                <a:gd name="T25" fmla="*/ 836 h 836"/>
                <a:gd name="T26" fmla="*/ 23 w 73"/>
                <a:gd name="T27" fmla="*/ 834 h 836"/>
                <a:gd name="T28" fmla="*/ 16 w 73"/>
                <a:gd name="T29" fmla="*/ 830 h 836"/>
                <a:gd name="T30" fmla="*/ 11 w 73"/>
                <a:gd name="T31" fmla="*/ 825 h 836"/>
                <a:gd name="T32" fmla="*/ 5 w 73"/>
                <a:gd name="T33" fmla="*/ 820 h 836"/>
                <a:gd name="T34" fmla="*/ 2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2 w 73"/>
                <a:gd name="T47" fmla="*/ 23 h 836"/>
                <a:gd name="T48" fmla="*/ 5 w 73"/>
                <a:gd name="T49" fmla="*/ 16 h 836"/>
                <a:gd name="T50" fmla="*/ 11 w 73"/>
                <a:gd name="T51" fmla="*/ 11 h 836"/>
                <a:gd name="T52" fmla="*/ 16 w 73"/>
                <a:gd name="T53" fmla="*/ 7 h 836"/>
                <a:gd name="T54" fmla="*/ 23 w 73"/>
                <a:gd name="T55" fmla="*/ 4 h 836"/>
                <a:gd name="T56" fmla="*/ 30 w 73"/>
                <a:gd name="T57" fmla="*/ 2 h 836"/>
                <a:gd name="T58" fmla="*/ 37 w 73"/>
                <a:gd name="T59" fmla="*/ 0 h 836"/>
                <a:gd name="T60" fmla="*/ 37 w 73"/>
                <a:gd name="T61" fmla="*/ 0 h 836"/>
                <a:gd name="T62" fmla="*/ 44 w 73"/>
                <a:gd name="T63" fmla="*/ 2 h 836"/>
                <a:gd name="T64" fmla="*/ 50 w 73"/>
                <a:gd name="T65" fmla="*/ 4 h 836"/>
                <a:gd name="T66" fmla="*/ 57 w 73"/>
                <a:gd name="T67" fmla="*/ 7 h 836"/>
                <a:gd name="T68" fmla="*/ 63 w 73"/>
                <a:gd name="T69" fmla="*/ 11 h 836"/>
                <a:gd name="T70" fmla="*/ 66 w 73"/>
                <a:gd name="T71" fmla="*/ 16 h 836"/>
                <a:gd name="T72" fmla="*/ 69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69" y="813"/>
                  </a:lnTo>
                  <a:lnTo>
                    <a:pt x="66" y="820"/>
                  </a:lnTo>
                  <a:lnTo>
                    <a:pt x="63" y="825"/>
                  </a:lnTo>
                  <a:lnTo>
                    <a:pt x="57" y="830"/>
                  </a:lnTo>
                  <a:lnTo>
                    <a:pt x="50" y="834"/>
                  </a:lnTo>
                  <a:lnTo>
                    <a:pt x="44" y="836"/>
                  </a:lnTo>
                  <a:lnTo>
                    <a:pt x="37" y="836"/>
                  </a:lnTo>
                  <a:lnTo>
                    <a:pt x="37" y="836"/>
                  </a:lnTo>
                  <a:lnTo>
                    <a:pt x="30" y="836"/>
                  </a:lnTo>
                  <a:lnTo>
                    <a:pt x="23" y="834"/>
                  </a:lnTo>
                  <a:lnTo>
                    <a:pt x="16" y="830"/>
                  </a:lnTo>
                  <a:lnTo>
                    <a:pt x="11" y="825"/>
                  </a:lnTo>
                  <a:lnTo>
                    <a:pt x="5" y="820"/>
                  </a:lnTo>
                  <a:lnTo>
                    <a:pt x="2" y="813"/>
                  </a:lnTo>
                  <a:lnTo>
                    <a:pt x="0" y="806"/>
                  </a:lnTo>
                  <a:lnTo>
                    <a:pt x="0" y="799"/>
                  </a:lnTo>
                  <a:lnTo>
                    <a:pt x="0" y="36"/>
                  </a:lnTo>
                  <a:lnTo>
                    <a:pt x="0" y="36"/>
                  </a:lnTo>
                  <a:lnTo>
                    <a:pt x="0" y="30"/>
                  </a:lnTo>
                  <a:lnTo>
                    <a:pt x="2" y="23"/>
                  </a:lnTo>
                  <a:lnTo>
                    <a:pt x="5" y="16"/>
                  </a:lnTo>
                  <a:lnTo>
                    <a:pt x="11" y="11"/>
                  </a:lnTo>
                  <a:lnTo>
                    <a:pt x="16" y="7"/>
                  </a:lnTo>
                  <a:lnTo>
                    <a:pt x="23" y="4"/>
                  </a:lnTo>
                  <a:lnTo>
                    <a:pt x="30" y="2"/>
                  </a:lnTo>
                  <a:lnTo>
                    <a:pt x="37" y="0"/>
                  </a:lnTo>
                  <a:lnTo>
                    <a:pt x="37" y="0"/>
                  </a:lnTo>
                  <a:lnTo>
                    <a:pt x="44" y="2"/>
                  </a:lnTo>
                  <a:lnTo>
                    <a:pt x="50" y="4"/>
                  </a:lnTo>
                  <a:lnTo>
                    <a:pt x="57" y="7"/>
                  </a:lnTo>
                  <a:lnTo>
                    <a:pt x="63" y="11"/>
                  </a:lnTo>
                  <a:lnTo>
                    <a:pt x="66" y="16"/>
                  </a:lnTo>
                  <a:lnTo>
                    <a:pt x="69" y="23"/>
                  </a:lnTo>
                  <a:lnTo>
                    <a:pt x="71" y="30"/>
                  </a:lnTo>
                  <a:lnTo>
                    <a:pt x="73" y="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0" name="Freeform 17">
              <a:extLst>
                <a:ext uri="{FF2B5EF4-FFF2-40B4-BE49-F238E27FC236}">
                  <a16:creationId xmlns:a16="http://schemas.microsoft.com/office/drawing/2014/main" id="{760955B8-5B5D-4D9E-9547-3AD12F428E02}"/>
                </a:ext>
              </a:extLst>
            </p:cNvPr>
            <p:cNvSpPr>
              <a:spLocks/>
            </p:cNvSpPr>
            <p:nvPr/>
          </p:nvSpPr>
          <p:spPr bwMode="auto">
            <a:xfrm>
              <a:off x="1016489" y="-312610"/>
              <a:ext cx="1015374" cy="783426"/>
            </a:xfrm>
            <a:custGeom>
              <a:avLst/>
              <a:gdLst>
                <a:gd name="T0" fmla="*/ 1822 w 1822"/>
                <a:gd name="T1" fmla="*/ 1166 h 1408"/>
                <a:gd name="T2" fmla="*/ 1822 w 1822"/>
                <a:gd name="T3" fmla="*/ 1408 h 1408"/>
                <a:gd name="T4" fmla="*/ 1516 w 1822"/>
                <a:gd name="T5" fmla="*/ 1408 h 1408"/>
                <a:gd name="T6" fmla="*/ 437 w 1822"/>
                <a:gd name="T7" fmla="*/ 242 h 1408"/>
                <a:gd name="T8" fmla="*/ 0 w 1822"/>
                <a:gd name="T9" fmla="*/ 242 h 1408"/>
                <a:gd name="T10" fmla="*/ 0 w 1822"/>
                <a:gd name="T11" fmla="*/ 0 h 1408"/>
                <a:gd name="T12" fmla="*/ 543 w 1822"/>
                <a:gd name="T13" fmla="*/ 0 h 1408"/>
                <a:gd name="T14" fmla="*/ 1621 w 1822"/>
                <a:gd name="T15" fmla="*/ 1166 h 1408"/>
                <a:gd name="T16" fmla="*/ 1822 w 1822"/>
                <a:gd name="T17" fmla="*/ 1166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2" h="1408">
                  <a:moveTo>
                    <a:pt x="1822" y="1166"/>
                  </a:moveTo>
                  <a:lnTo>
                    <a:pt x="1822" y="1408"/>
                  </a:lnTo>
                  <a:lnTo>
                    <a:pt x="1516" y="1408"/>
                  </a:lnTo>
                  <a:lnTo>
                    <a:pt x="437" y="242"/>
                  </a:lnTo>
                  <a:lnTo>
                    <a:pt x="0" y="242"/>
                  </a:lnTo>
                  <a:lnTo>
                    <a:pt x="0" y="0"/>
                  </a:lnTo>
                  <a:lnTo>
                    <a:pt x="543" y="0"/>
                  </a:lnTo>
                  <a:lnTo>
                    <a:pt x="1621" y="1166"/>
                  </a:lnTo>
                  <a:lnTo>
                    <a:pt x="1822" y="1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1" name="Freeform 18">
              <a:extLst>
                <a:ext uri="{FF2B5EF4-FFF2-40B4-BE49-F238E27FC236}">
                  <a16:creationId xmlns:a16="http://schemas.microsoft.com/office/drawing/2014/main" id="{A405F27E-BCBD-460B-BA1B-7D0B02678323}"/>
                </a:ext>
              </a:extLst>
            </p:cNvPr>
            <p:cNvSpPr>
              <a:spLocks/>
            </p:cNvSpPr>
            <p:nvPr/>
          </p:nvSpPr>
          <p:spPr bwMode="auto">
            <a:xfrm>
              <a:off x="1016489" y="-312610"/>
              <a:ext cx="1015374" cy="783426"/>
            </a:xfrm>
            <a:custGeom>
              <a:avLst/>
              <a:gdLst>
                <a:gd name="T0" fmla="*/ 1822 w 1822"/>
                <a:gd name="T1" fmla="*/ 0 h 1408"/>
                <a:gd name="T2" fmla="*/ 1822 w 1822"/>
                <a:gd name="T3" fmla="*/ 242 h 1408"/>
                <a:gd name="T4" fmla="*/ 1621 w 1822"/>
                <a:gd name="T5" fmla="*/ 242 h 1408"/>
                <a:gd name="T6" fmla="*/ 543 w 1822"/>
                <a:gd name="T7" fmla="*/ 1408 h 1408"/>
                <a:gd name="T8" fmla="*/ 0 w 1822"/>
                <a:gd name="T9" fmla="*/ 1408 h 1408"/>
                <a:gd name="T10" fmla="*/ 0 w 1822"/>
                <a:gd name="T11" fmla="*/ 1166 h 1408"/>
                <a:gd name="T12" fmla="*/ 437 w 1822"/>
                <a:gd name="T13" fmla="*/ 1166 h 1408"/>
                <a:gd name="T14" fmla="*/ 1516 w 1822"/>
                <a:gd name="T15" fmla="*/ 0 h 1408"/>
                <a:gd name="T16" fmla="*/ 1822 w 1822"/>
                <a:gd name="T17" fmla="*/ 0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2" h="1408">
                  <a:moveTo>
                    <a:pt x="1822" y="0"/>
                  </a:moveTo>
                  <a:lnTo>
                    <a:pt x="1822" y="242"/>
                  </a:lnTo>
                  <a:lnTo>
                    <a:pt x="1621" y="242"/>
                  </a:lnTo>
                  <a:lnTo>
                    <a:pt x="543" y="1408"/>
                  </a:lnTo>
                  <a:lnTo>
                    <a:pt x="0" y="1408"/>
                  </a:lnTo>
                  <a:lnTo>
                    <a:pt x="0" y="1166"/>
                  </a:lnTo>
                  <a:lnTo>
                    <a:pt x="437" y="1166"/>
                  </a:lnTo>
                  <a:lnTo>
                    <a:pt x="1516" y="0"/>
                  </a:lnTo>
                  <a:lnTo>
                    <a:pt x="18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2" name="Freeform 19">
              <a:extLst>
                <a:ext uri="{FF2B5EF4-FFF2-40B4-BE49-F238E27FC236}">
                  <a16:creationId xmlns:a16="http://schemas.microsoft.com/office/drawing/2014/main" id="{CA3D4BAB-E173-4C24-A2E3-7C3AD7D6C868}"/>
                </a:ext>
              </a:extLst>
            </p:cNvPr>
            <p:cNvSpPr>
              <a:spLocks/>
            </p:cNvSpPr>
            <p:nvPr/>
          </p:nvSpPr>
          <p:spPr bwMode="auto">
            <a:xfrm>
              <a:off x="1067202" y="-152920"/>
              <a:ext cx="40682" cy="465159"/>
            </a:xfrm>
            <a:custGeom>
              <a:avLst/>
              <a:gdLst>
                <a:gd name="T0" fmla="*/ 73 w 73"/>
                <a:gd name="T1" fmla="*/ 36 h 836"/>
                <a:gd name="T2" fmla="*/ 73 w 73"/>
                <a:gd name="T3" fmla="*/ 799 h 836"/>
                <a:gd name="T4" fmla="*/ 73 w 73"/>
                <a:gd name="T5" fmla="*/ 799 h 836"/>
                <a:gd name="T6" fmla="*/ 73 w 73"/>
                <a:gd name="T7" fmla="*/ 806 h 836"/>
                <a:gd name="T8" fmla="*/ 71 w 73"/>
                <a:gd name="T9" fmla="*/ 813 h 836"/>
                <a:gd name="T10" fmla="*/ 68 w 73"/>
                <a:gd name="T11" fmla="*/ 820 h 836"/>
                <a:gd name="T12" fmla="*/ 63 w 73"/>
                <a:gd name="T13" fmla="*/ 825 h 836"/>
                <a:gd name="T14" fmla="*/ 58 w 73"/>
                <a:gd name="T15" fmla="*/ 830 h 836"/>
                <a:gd name="T16" fmla="*/ 52 w 73"/>
                <a:gd name="T17" fmla="*/ 834 h 836"/>
                <a:gd name="T18" fmla="*/ 45 w 73"/>
                <a:gd name="T19" fmla="*/ 836 h 836"/>
                <a:gd name="T20" fmla="*/ 37 w 73"/>
                <a:gd name="T21" fmla="*/ 836 h 836"/>
                <a:gd name="T22" fmla="*/ 37 w 73"/>
                <a:gd name="T23" fmla="*/ 836 h 836"/>
                <a:gd name="T24" fmla="*/ 30 w 73"/>
                <a:gd name="T25" fmla="*/ 836 h 836"/>
                <a:gd name="T26" fmla="*/ 23 w 73"/>
                <a:gd name="T27" fmla="*/ 834 h 836"/>
                <a:gd name="T28" fmla="*/ 18 w 73"/>
                <a:gd name="T29" fmla="*/ 830 h 836"/>
                <a:gd name="T30" fmla="*/ 13 w 73"/>
                <a:gd name="T31" fmla="*/ 825 h 836"/>
                <a:gd name="T32" fmla="*/ 7 w 73"/>
                <a:gd name="T33" fmla="*/ 820 h 836"/>
                <a:gd name="T34" fmla="*/ 4 w 73"/>
                <a:gd name="T35" fmla="*/ 813 h 836"/>
                <a:gd name="T36" fmla="*/ 2 w 73"/>
                <a:gd name="T37" fmla="*/ 806 h 836"/>
                <a:gd name="T38" fmla="*/ 0 w 73"/>
                <a:gd name="T39" fmla="*/ 799 h 836"/>
                <a:gd name="T40" fmla="*/ 0 w 73"/>
                <a:gd name="T41" fmla="*/ 36 h 836"/>
                <a:gd name="T42" fmla="*/ 0 w 73"/>
                <a:gd name="T43" fmla="*/ 36 h 836"/>
                <a:gd name="T44" fmla="*/ 2 w 73"/>
                <a:gd name="T45" fmla="*/ 30 h 836"/>
                <a:gd name="T46" fmla="*/ 4 w 73"/>
                <a:gd name="T47" fmla="*/ 23 h 836"/>
                <a:gd name="T48" fmla="*/ 7 w 73"/>
                <a:gd name="T49" fmla="*/ 16 h 836"/>
                <a:gd name="T50" fmla="*/ 13 w 73"/>
                <a:gd name="T51" fmla="*/ 11 h 836"/>
                <a:gd name="T52" fmla="*/ 18 w 73"/>
                <a:gd name="T53" fmla="*/ 7 h 836"/>
                <a:gd name="T54" fmla="*/ 23 w 73"/>
                <a:gd name="T55" fmla="*/ 4 h 836"/>
                <a:gd name="T56" fmla="*/ 30 w 73"/>
                <a:gd name="T57" fmla="*/ 2 h 836"/>
                <a:gd name="T58" fmla="*/ 37 w 73"/>
                <a:gd name="T59" fmla="*/ 0 h 836"/>
                <a:gd name="T60" fmla="*/ 37 w 73"/>
                <a:gd name="T61" fmla="*/ 0 h 836"/>
                <a:gd name="T62" fmla="*/ 45 w 73"/>
                <a:gd name="T63" fmla="*/ 2 h 836"/>
                <a:gd name="T64" fmla="*/ 52 w 73"/>
                <a:gd name="T65" fmla="*/ 4 h 836"/>
                <a:gd name="T66" fmla="*/ 58 w 73"/>
                <a:gd name="T67" fmla="*/ 7 h 836"/>
                <a:gd name="T68" fmla="*/ 63 w 73"/>
                <a:gd name="T69" fmla="*/ 11 h 836"/>
                <a:gd name="T70" fmla="*/ 68 w 73"/>
                <a:gd name="T71" fmla="*/ 16 h 836"/>
                <a:gd name="T72" fmla="*/ 71 w 73"/>
                <a:gd name="T73" fmla="*/ 23 h 836"/>
                <a:gd name="T74" fmla="*/ 73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3" y="806"/>
                  </a:lnTo>
                  <a:lnTo>
                    <a:pt x="71" y="813"/>
                  </a:lnTo>
                  <a:lnTo>
                    <a:pt x="68" y="820"/>
                  </a:lnTo>
                  <a:lnTo>
                    <a:pt x="63" y="825"/>
                  </a:lnTo>
                  <a:lnTo>
                    <a:pt x="58" y="830"/>
                  </a:lnTo>
                  <a:lnTo>
                    <a:pt x="52" y="834"/>
                  </a:lnTo>
                  <a:lnTo>
                    <a:pt x="45" y="836"/>
                  </a:lnTo>
                  <a:lnTo>
                    <a:pt x="37" y="836"/>
                  </a:lnTo>
                  <a:lnTo>
                    <a:pt x="37" y="836"/>
                  </a:lnTo>
                  <a:lnTo>
                    <a:pt x="30" y="836"/>
                  </a:lnTo>
                  <a:lnTo>
                    <a:pt x="23" y="834"/>
                  </a:lnTo>
                  <a:lnTo>
                    <a:pt x="18" y="830"/>
                  </a:lnTo>
                  <a:lnTo>
                    <a:pt x="13" y="825"/>
                  </a:lnTo>
                  <a:lnTo>
                    <a:pt x="7" y="820"/>
                  </a:lnTo>
                  <a:lnTo>
                    <a:pt x="4" y="813"/>
                  </a:lnTo>
                  <a:lnTo>
                    <a:pt x="2" y="806"/>
                  </a:lnTo>
                  <a:lnTo>
                    <a:pt x="0" y="799"/>
                  </a:lnTo>
                  <a:lnTo>
                    <a:pt x="0" y="36"/>
                  </a:lnTo>
                  <a:lnTo>
                    <a:pt x="0" y="36"/>
                  </a:lnTo>
                  <a:lnTo>
                    <a:pt x="2" y="30"/>
                  </a:lnTo>
                  <a:lnTo>
                    <a:pt x="4" y="23"/>
                  </a:lnTo>
                  <a:lnTo>
                    <a:pt x="7" y="16"/>
                  </a:lnTo>
                  <a:lnTo>
                    <a:pt x="13" y="11"/>
                  </a:lnTo>
                  <a:lnTo>
                    <a:pt x="18" y="7"/>
                  </a:lnTo>
                  <a:lnTo>
                    <a:pt x="23" y="4"/>
                  </a:lnTo>
                  <a:lnTo>
                    <a:pt x="30" y="2"/>
                  </a:lnTo>
                  <a:lnTo>
                    <a:pt x="37" y="0"/>
                  </a:lnTo>
                  <a:lnTo>
                    <a:pt x="37" y="0"/>
                  </a:lnTo>
                  <a:lnTo>
                    <a:pt x="45" y="2"/>
                  </a:lnTo>
                  <a:lnTo>
                    <a:pt x="52" y="4"/>
                  </a:lnTo>
                  <a:lnTo>
                    <a:pt x="58" y="7"/>
                  </a:lnTo>
                  <a:lnTo>
                    <a:pt x="63" y="11"/>
                  </a:lnTo>
                  <a:lnTo>
                    <a:pt x="68" y="16"/>
                  </a:lnTo>
                  <a:lnTo>
                    <a:pt x="71" y="23"/>
                  </a:lnTo>
                  <a:lnTo>
                    <a:pt x="73" y="30"/>
                  </a:lnTo>
                  <a:lnTo>
                    <a:pt x="7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3" name="Freeform 20">
              <a:extLst>
                <a:ext uri="{FF2B5EF4-FFF2-40B4-BE49-F238E27FC236}">
                  <a16:creationId xmlns:a16="http://schemas.microsoft.com/office/drawing/2014/main" id="{ADC7D7BF-E9D4-4C29-8D5D-F302FE1C1450}"/>
                </a:ext>
              </a:extLst>
            </p:cNvPr>
            <p:cNvSpPr>
              <a:spLocks/>
            </p:cNvSpPr>
            <p:nvPr/>
          </p:nvSpPr>
          <p:spPr bwMode="auto">
            <a:xfrm>
              <a:off x="1067202" y="-152920"/>
              <a:ext cx="40682" cy="465159"/>
            </a:xfrm>
            <a:custGeom>
              <a:avLst/>
              <a:gdLst>
                <a:gd name="T0" fmla="*/ 73 w 73"/>
                <a:gd name="T1" fmla="*/ 36 h 836"/>
                <a:gd name="T2" fmla="*/ 73 w 73"/>
                <a:gd name="T3" fmla="*/ 799 h 836"/>
                <a:gd name="T4" fmla="*/ 73 w 73"/>
                <a:gd name="T5" fmla="*/ 799 h 836"/>
                <a:gd name="T6" fmla="*/ 73 w 73"/>
                <a:gd name="T7" fmla="*/ 806 h 836"/>
                <a:gd name="T8" fmla="*/ 71 w 73"/>
                <a:gd name="T9" fmla="*/ 813 h 836"/>
                <a:gd name="T10" fmla="*/ 68 w 73"/>
                <a:gd name="T11" fmla="*/ 820 h 836"/>
                <a:gd name="T12" fmla="*/ 63 w 73"/>
                <a:gd name="T13" fmla="*/ 825 h 836"/>
                <a:gd name="T14" fmla="*/ 58 w 73"/>
                <a:gd name="T15" fmla="*/ 830 h 836"/>
                <a:gd name="T16" fmla="*/ 52 w 73"/>
                <a:gd name="T17" fmla="*/ 834 h 836"/>
                <a:gd name="T18" fmla="*/ 45 w 73"/>
                <a:gd name="T19" fmla="*/ 836 h 836"/>
                <a:gd name="T20" fmla="*/ 37 w 73"/>
                <a:gd name="T21" fmla="*/ 836 h 836"/>
                <a:gd name="T22" fmla="*/ 37 w 73"/>
                <a:gd name="T23" fmla="*/ 836 h 836"/>
                <a:gd name="T24" fmla="*/ 30 w 73"/>
                <a:gd name="T25" fmla="*/ 836 h 836"/>
                <a:gd name="T26" fmla="*/ 23 w 73"/>
                <a:gd name="T27" fmla="*/ 834 h 836"/>
                <a:gd name="T28" fmla="*/ 18 w 73"/>
                <a:gd name="T29" fmla="*/ 830 h 836"/>
                <a:gd name="T30" fmla="*/ 13 w 73"/>
                <a:gd name="T31" fmla="*/ 825 h 836"/>
                <a:gd name="T32" fmla="*/ 7 w 73"/>
                <a:gd name="T33" fmla="*/ 820 h 836"/>
                <a:gd name="T34" fmla="*/ 4 w 73"/>
                <a:gd name="T35" fmla="*/ 813 h 836"/>
                <a:gd name="T36" fmla="*/ 2 w 73"/>
                <a:gd name="T37" fmla="*/ 806 h 836"/>
                <a:gd name="T38" fmla="*/ 0 w 73"/>
                <a:gd name="T39" fmla="*/ 799 h 836"/>
                <a:gd name="T40" fmla="*/ 0 w 73"/>
                <a:gd name="T41" fmla="*/ 36 h 836"/>
                <a:gd name="T42" fmla="*/ 0 w 73"/>
                <a:gd name="T43" fmla="*/ 36 h 836"/>
                <a:gd name="T44" fmla="*/ 2 w 73"/>
                <a:gd name="T45" fmla="*/ 30 h 836"/>
                <a:gd name="T46" fmla="*/ 4 w 73"/>
                <a:gd name="T47" fmla="*/ 23 h 836"/>
                <a:gd name="T48" fmla="*/ 7 w 73"/>
                <a:gd name="T49" fmla="*/ 16 h 836"/>
                <a:gd name="T50" fmla="*/ 13 w 73"/>
                <a:gd name="T51" fmla="*/ 11 h 836"/>
                <a:gd name="T52" fmla="*/ 18 w 73"/>
                <a:gd name="T53" fmla="*/ 7 h 836"/>
                <a:gd name="T54" fmla="*/ 23 w 73"/>
                <a:gd name="T55" fmla="*/ 4 h 836"/>
                <a:gd name="T56" fmla="*/ 30 w 73"/>
                <a:gd name="T57" fmla="*/ 2 h 836"/>
                <a:gd name="T58" fmla="*/ 37 w 73"/>
                <a:gd name="T59" fmla="*/ 0 h 836"/>
                <a:gd name="T60" fmla="*/ 37 w 73"/>
                <a:gd name="T61" fmla="*/ 0 h 836"/>
                <a:gd name="T62" fmla="*/ 45 w 73"/>
                <a:gd name="T63" fmla="*/ 2 h 836"/>
                <a:gd name="T64" fmla="*/ 52 w 73"/>
                <a:gd name="T65" fmla="*/ 4 h 836"/>
                <a:gd name="T66" fmla="*/ 58 w 73"/>
                <a:gd name="T67" fmla="*/ 7 h 836"/>
                <a:gd name="T68" fmla="*/ 63 w 73"/>
                <a:gd name="T69" fmla="*/ 11 h 836"/>
                <a:gd name="T70" fmla="*/ 68 w 73"/>
                <a:gd name="T71" fmla="*/ 16 h 836"/>
                <a:gd name="T72" fmla="*/ 71 w 73"/>
                <a:gd name="T73" fmla="*/ 23 h 836"/>
                <a:gd name="T74" fmla="*/ 73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3" y="806"/>
                  </a:lnTo>
                  <a:lnTo>
                    <a:pt x="71" y="813"/>
                  </a:lnTo>
                  <a:lnTo>
                    <a:pt x="68" y="820"/>
                  </a:lnTo>
                  <a:lnTo>
                    <a:pt x="63" y="825"/>
                  </a:lnTo>
                  <a:lnTo>
                    <a:pt x="58" y="830"/>
                  </a:lnTo>
                  <a:lnTo>
                    <a:pt x="52" y="834"/>
                  </a:lnTo>
                  <a:lnTo>
                    <a:pt x="45" y="836"/>
                  </a:lnTo>
                  <a:lnTo>
                    <a:pt x="37" y="836"/>
                  </a:lnTo>
                  <a:lnTo>
                    <a:pt x="37" y="836"/>
                  </a:lnTo>
                  <a:lnTo>
                    <a:pt x="30" y="836"/>
                  </a:lnTo>
                  <a:lnTo>
                    <a:pt x="23" y="834"/>
                  </a:lnTo>
                  <a:lnTo>
                    <a:pt x="18" y="830"/>
                  </a:lnTo>
                  <a:lnTo>
                    <a:pt x="13" y="825"/>
                  </a:lnTo>
                  <a:lnTo>
                    <a:pt x="7" y="820"/>
                  </a:lnTo>
                  <a:lnTo>
                    <a:pt x="4" y="813"/>
                  </a:lnTo>
                  <a:lnTo>
                    <a:pt x="2" y="806"/>
                  </a:lnTo>
                  <a:lnTo>
                    <a:pt x="0" y="799"/>
                  </a:lnTo>
                  <a:lnTo>
                    <a:pt x="0" y="36"/>
                  </a:lnTo>
                  <a:lnTo>
                    <a:pt x="0" y="36"/>
                  </a:lnTo>
                  <a:lnTo>
                    <a:pt x="2" y="30"/>
                  </a:lnTo>
                  <a:lnTo>
                    <a:pt x="4" y="23"/>
                  </a:lnTo>
                  <a:lnTo>
                    <a:pt x="7" y="16"/>
                  </a:lnTo>
                  <a:lnTo>
                    <a:pt x="13" y="11"/>
                  </a:lnTo>
                  <a:lnTo>
                    <a:pt x="18" y="7"/>
                  </a:lnTo>
                  <a:lnTo>
                    <a:pt x="23" y="4"/>
                  </a:lnTo>
                  <a:lnTo>
                    <a:pt x="30" y="2"/>
                  </a:lnTo>
                  <a:lnTo>
                    <a:pt x="37" y="0"/>
                  </a:lnTo>
                  <a:lnTo>
                    <a:pt x="37" y="0"/>
                  </a:lnTo>
                  <a:lnTo>
                    <a:pt x="45" y="2"/>
                  </a:lnTo>
                  <a:lnTo>
                    <a:pt x="52" y="4"/>
                  </a:lnTo>
                  <a:lnTo>
                    <a:pt x="58" y="7"/>
                  </a:lnTo>
                  <a:lnTo>
                    <a:pt x="63" y="11"/>
                  </a:lnTo>
                  <a:lnTo>
                    <a:pt x="68" y="16"/>
                  </a:lnTo>
                  <a:lnTo>
                    <a:pt x="71" y="23"/>
                  </a:lnTo>
                  <a:lnTo>
                    <a:pt x="73" y="30"/>
                  </a:lnTo>
                  <a:lnTo>
                    <a:pt x="73" y="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4" name="Freeform 21">
              <a:extLst>
                <a:ext uri="{FF2B5EF4-FFF2-40B4-BE49-F238E27FC236}">
                  <a16:creationId xmlns:a16="http://schemas.microsoft.com/office/drawing/2014/main" id="{056A4A03-15BE-4EF9-B3E1-70B5FAD9C5AC}"/>
                </a:ext>
              </a:extLst>
            </p:cNvPr>
            <p:cNvSpPr>
              <a:spLocks/>
            </p:cNvSpPr>
            <p:nvPr/>
          </p:nvSpPr>
          <p:spPr bwMode="auto">
            <a:xfrm>
              <a:off x="1212097" y="-152920"/>
              <a:ext cx="40124" cy="465159"/>
            </a:xfrm>
            <a:custGeom>
              <a:avLst/>
              <a:gdLst>
                <a:gd name="T0" fmla="*/ 72 w 72"/>
                <a:gd name="T1" fmla="*/ 36 h 836"/>
                <a:gd name="T2" fmla="*/ 72 w 72"/>
                <a:gd name="T3" fmla="*/ 799 h 836"/>
                <a:gd name="T4" fmla="*/ 72 w 72"/>
                <a:gd name="T5" fmla="*/ 799 h 836"/>
                <a:gd name="T6" fmla="*/ 71 w 72"/>
                <a:gd name="T7" fmla="*/ 806 h 836"/>
                <a:gd name="T8" fmla="*/ 69 w 72"/>
                <a:gd name="T9" fmla="*/ 813 h 836"/>
                <a:gd name="T10" fmla="*/ 65 w 72"/>
                <a:gd name="T11" fmla="*/ 820 h 836"/>
                <a:gd name="T12" fmla="*/ 62 w 72"/>
                <a:gd name="T13" fmla="*/ 825 h 836"/>
                <a:gd name="T14" fmla="*/ 57 w 72"/>
                <a:gd name="T15" fmla="*/ 830 h 836"/>
                <a:gd name="T16" fmla="*/ 50 w 72"/>
                <a:gd name="T17" fmla="*/ 834 h 836"/>
                <a:gd name="T18" fmla="*/ 43 w 72"/>
                <a:gd name="T19" fmla="*/ 836 h 836"/>
                <a:gd name="T20" fmla="*/ 36 w 72"/>
                <a:gd name="T21" fmla="*/ 836 h 836"/>
                <a:gd name="T22" fmla="*/ 36 w 72"/>
                <a:gd name="T23" fmla="*/ 836 h 836"/>
                <a:gd name="T24" fmla="*/ 29 w 72"/>
                <a:gd name="T25" fmla="*/ 836 h 836"/>
                <a:gd name="T26" fmla="*/ 22 w 72"/>
                <a:gd name="T27" fmla="*/ 834 h 836"/>
                <a:gd name="T28" fmla="*/ 15 w 72"/>
                <a:gd name="T29" fmla="*/ 830 h 836"/>
                <a:gd name="T30" fmla="*/ 10 w 72"/>
                <a:gd name="T31" fmla="*/ 825 h 836"/>
                <a:gd name="T32" fmla="*/ 5 w 72"/>
                <a:gd name="T33" fmla="*/ 820 h 836"/>
                <a:gd name="T34" fmla="*/ 1 w 72"/>
                <a:gd name="T35" fmla="*/ 813 h 836"/>
                <a:gd name="T36" fmla="*/ 0 w 72"/>
                <a:gd name="T37" fmla="*/ 806 h 836"/>
                <a:gd name="T38" fmla="*/ 0 w 72"/>
                <a:gd name="T39" fmla="*/ 799 h 836"/>
                <a:gd name="T40" fmla="*/ 0 w 72"/>
                <a:gd name="T41" fmla="*/ 36 h 836"/>
                <a:gd name="T42" fmla="*/ 0 w 72"/>
                <a:gd name="T43" fmla="*/ 36 h 836"/>
                <a:gd name="T44" fmla="*/ 0 w 72"/>
                <a:gd name="T45" fmla="*/ 30 h 836"/>
                <a:gd name="T46" fmla="*/ 1 w 72"/>
                <a:gd name="T47" fmla="*/ 23 h 836"/>
                <a:gd name="T48" fmla="*/ 5 w 72"/>
                <a:gd name="T49" fmla="*/ 16 h 836"/>
                <a:gd name="T50" fmla="*/ 10 w 72"/>
                <a:gd name="T51" fmla="*/ 11 h 836"/>
                <a:gd name="T52" fmla="*/ 15 w 72"/>
                <a:gd name="T53" fmla="*/ 7 h 836"/>
                <a:gd name="T54" fmla="*/ 22 w 72"/>
                <a:gd name="T55" fmla="*/ 4 h 836"/>
                <a:gd name="T56" fmla="*/ 29 w 72"/>
                <a:gd name="T57" fmla="*/ 2 h 836"/>
                <a:gd name="T58" fmla="*/ 36 w 72"/>
                <a:gd name="T59" fmla="*/ 0 h 836"/>
                <a:gd name="T60" fmla="*/ 36 w 72"/>
                <a:gd name="T61" fmla="*/ 0 h 836"/>
                <a:gd name="T62" fmla="*/ 43 w 72"/>
                <a:gd name="T63" fmla="*/ 2 h 836"/>
                <a:gd name="T64" fmla="*/ 50 w 72"/>
                <a:gd name="T65" fmla="*/ 4 h 836"/>
                <a:gd name="T66" fmla="*/ 57 w 72"/>
                <a:gd name="T67" fmla="*/ 7 h 836"/>
                <a:gd name="T68" fmla="*/ 62 w 72"/>
                <a:gd name="T69" fmla="*/ 11 h 836"/>
                <a:gd name="T70" fmla="*/ 65 w 72"/>
                <a:gd name="T71" fmla="*/ 16 h 836"/>
                <a:gd name="T72" fmla="*/ 69 w 72"/>
                <a:gd name="T73" fmla="*/ 23 h 836"/>
                <a:gd name="T74" fmla="*/ 71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1" y="806"/>
                  </a:lnTo>
                  <a:lnTo>
                    <a:pt x="69" y="813"/>
                  </a:lnTo>
                  <a:lnTo>
                    <a:pt x="65" y="820"/>
                  </a:lnTo>
                  <a:lnTo>
                    <a:pt x="62" y="825"/>
                  </a:lnTo>
                  <a:lnTo>
                    <a:pt x="57" y="830"/>
                  </a:lnTo>
                  <a:lnTo>
                    <a:pt x="50" y="834"/>
                  </a:lnTo>
                  <a:lnTo>
                    <a:pt x="43" y="836"/>
                  </a:lnTo>
                  <a:lnTo>
                    <a:pt x="36" y="836"/>
                  </a:lnTo>
                  <a:lnTo>
                    <a:pt x="36" y="836"/>
                  </a:lnTo>
                  <a:lnTo>
                    <a:pt x="29" y="836"/>
                  </a:lnTo>
                  <a:lnTo>
                    <a:pt x="22" y="834"/>
                  </a:lnTo>
                  <a:lnTo>
                    <a:pt x="15" y="830"/>
                  </a:lnTo>
                  <a:lnTo>
                    <a:pt x="10" y="825"/>
                  </a:lnTo>
                  <a:lnTo>
                    <a:pt x="5" y="820"/>
                  </a:lnTo>
                  <a:lnTo>
                    <a:pt x="1" y="813"/>
                  </a:lnTo>
                  <a:lnTo>
                    <a:pt x="0" y="806"/>
                  </a:lnTo>
                  <a:lnTo>
                    <a:pt x="0" y="799"/>
                  </a:lnTo>
                  <a:lnTo>
                    <a:pt x="0" y="36"/>
                  </a:lnTo>
                  <a:lnTo>
                    <a:pt x="0" y="36"/>
                  </a:lnTo>
                  <a:lnTo>
                    <a:pt x="0" y="30"/>
                  </a:lnTo>
                  <a:lnTo>
                    <a:pt x="1" y="23"/>
                  </a:lnTo>
                  <a:lnTo>
                    <a:pt x="5" y="16"/>
                  </a:lnTo>
                  <a:lnTo>
                    <a:pt x="10" y="11"/>
                  </a:lnTo>
                  <a:lnTo>
                    <a:pt x="15" y="7"/>
                  </a:lnTo>
                  <a:lnTo>
                    <a:pt x="22" y="4"/>
                  </a:lnTo>
                  <a:lnTo>
                    <a:pt x="29" y="2"/>
                  </a:lnTo>
                  <a:lnTo>
                    <a:pt x="36" y="0"/>
                  </a:lnTo>
                  <a:lnTo>
                    <a:pt x="36" y="0"/>
                  </a:lnTo>
                  <a:lnTo>
                    <a:pt x="43" y="2"/>
                  </a:lnTo>
                  <a:lnTo>
                    <a:pt x="50" y="4"/>
                  </a:lnTo>
                  <a:lnTo>
                    <a:pt x="57" y="7"/>
                  </a:lnTo>
                  <a:lnTo>
                    <a:pt x="62" y="11"/>
                  </a:lnTo>
                  <a:lnTo>
                    <a:pt x="65" y="16"/>
                  </a:lnTo>
                  <a:lnTo>
                    <a:pt x="69" y="23"/>
                  </a:lnTo>
                  <a:lnTo>
                    <a:pt x="71" y="30"/>
                  </a:lnTo>
                  <a:lnTo>
                    <a:pt x="7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5" name="Freeform 22">
              <a:extLst>
                <a:ext uri="{FF2B5EF4-FFF2-40B4-BE49-F238E27FC236}">
                  <a16:creationId xmlns:a16="http://schemas.microsoft.com/office/drawing/2014/main" id="{611B7EE0-E86E-436F-80A3-6A35A960A778}"/>
                </a:ext>
              </a:extLst>
            </p:cNvPr>
            <p:cNvSpPr>
              <a:spLocks/>
            </p:cNvSpPr>
            <p:nvPr/>
          </p:nvSpPr>
          <p:spPr bwMode="auto">
            <a:xfrm>
              <a:off x="1212097" y="-152920"/>
              <a:ext cx="40124" cy="465159"/>
            </a:xfrm>
            <a:custGeom>
              <a:avLst/>
              <a:gdLst>
                <a:gd name="T0" fmla="*/ 72 w 72"/>
                <a:gd name="T1" fmla="*/ 36 h 836"/>
                <a:gd name="T2" fmla="*/ 72 w 72"/>
                <a:gd name="T3" fmla="*/ 799 h 836"/>
                <a:gd name="T4" fmla="*/ 72 w 72"/>
                <a:gd name="T5" fmla="*/ 799 h 836"/>
                <a:gd name="T6" fmla="*/ 71 w 72"/>
                <a:gd name="T7" fmla="*/ 806 h 836"/>
                <a:gd name="T8" fmla="*/ 69 w 72"/>
                <a:gd name="T9" fmla="*/ 813 h 836"/>
                <a:gd name="T10" fmla="*/ 65 w 72"/>
                <a:gd name="T11" fmla="*/ 820 h 836"/>
                <a:gd name="T12" fmla="*/ 62 w 72"/>
                <a:gd name="T13" fmla="*/ 825 h 836"/>
                <a:gd name="T14" fmla="*/ 57 w 72"/>
                <a:gd name="T15" fmla="*/ 830 h 836"/>
                <a:gd name="T16" fmla="*/ 50 w 72"/>
                <a:gd name="T17" fmla="*/ 834 h 836"/>
                <a:gd name="T18" fmla="*/ 43 w 72"/>
                <a:gd name="T19" fmla="*/ 836 h 836"/>
                <a:gd name="T20" fmla="*/ 36 w 72"/>
                <a:gd name="T21" fmla="*/ 836 h 836"/>
                <a:gd name="T22" fmla="*/ 36 w 72"/>
                <a:gd name="T23" fmla="*/ 836 h 836"/>
                <a:gd name="T24" fmla="*/ 29 w 72"/>
                <a:gd name="T25" fmla="*/ 836 h 836"/>
                <a:gd name="T26" fmla="*/ 22 w 72"/>
                <a:gd name="T27" fmla="*/ 834 h 836"/>
                <a:gd name="T28" fmla="*/ 15 w 72"/>
                <a:gd name="T29" fmla="*/ 830 h 836"/>
                <a:gd name="T30" fmla="*/ 10 w 72"/>
                <a:gd name="T31" fmla="*/ 825 h 836"/>
                <a:gd name="T32" fmla="*/ 5 w 72"/>
                <a:gd name="T33" fmla="*/ 820 h 836"/>
                <a:gd name="T34" fmla="*/ 1 w 72"/>
                <a:gd name="T35" fmla="*/ 813 h 836"/>
                <a:gd name="T36" fmla="*/ 0 w 72"/>
                <a:gd name="T37" fmla="*/ 806 h 836"/>
                <a:gd name="T38" fmla="*/ 0 w 72"/>
                <a:gd name="T39" fmla="*/ 799 h 836"/>
                <a:gd name="T40" fmla="*/ 0 w 72"/>
                <a:gd name="T41" fmla="*/ 36 h 836"/>
                <a:gd name="T42" fmla="*/ 0 w 72"/>
                <a:gd name="T43" fmla="*/ 36 h 836"/>
                <a:gd name="T44" fmla="*/ 0 w 72"/>
                <a:gd name="T45" fmla="*/ 30 h 836"/>
                <a:gd name="T46" fmla="*/ 1 w 72"/>
                <a:gd name="T47" fmla="*/ 23 h 836"/>
                <a:gd name="T48" fmla="*/ 5 w 72"/>
                <a:gd name="T49" fmla="*/ 16 h 836"/>
                <a:gd name="T50" fmla="*/ 10 w 72"/>
                <a:gd name="T51" fmla="*/ 11 h 836"/>
                <a:gd name="T52" fmla="*/ 15 w 72"/>
                <a:gd name="T53" fmla="*/ 7 h 836"/>
                <a:gd name="T54" fmla="*/ 22 w 72"/>
                <a:gd name="T55" fmla="*/ 4 h 836"/>
                <a:gd name="T56" fmla="*/ 29 w 72"/>
                <a:gd name="T57" fmla="*/ 2 h 836"/>
                <a:gd name="T58" fmla="*/ 36 w 72"/>
                <a:gd name="T59" fmla="*/ 0 h 836"/>
                <a:gd name="T60" fmla="*/ 36 w 72"/>
                <a:gd name="T61" fmla="*/ 0 h 836"/>
                <a:gd name="T62" fmla="*/ 43 w 72"/>
                <a:gd name="T63" fmla="*/ 2 h 836"/>
                <a:gd name="T64" fmla="*/ 50 w 72"/>
                <a:gd name="T65" fmla="*/ 4 h 836"/>
                <a:gd name="T66" fmla="*/ 57 w 72"/>
                <a:gd name="T67" fmla="*/ 7 h 836"/>
                <a:gd name="T68" fmla="*/ 62 w 72"/>
                <a:gd name="T69" fmla="*/ 11 h 836"/>
                <a:gd name="T70" fmla="*/ 65 w 72"/>
                <a:gd name="T71" fmla="*/ 16 h 836"/>
                <a:gd name="T72" fmla="*/ 69 w 72"/>
                <a:gd name="T73" fmla="*/ 23 h 836"/>
                <a:gd name="T74" fmla="*/ 71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1" y="806"/>
                  </a:lnTo>
                  <a:lnTo>
                    <a:pt x="69" y="813"/>
                  </a:lnTo>
                  <a:lnTo>
                    <a:pt x="65" y="820"/>
                  </a:lnTo>
                  <a:lnTo>
                    <a:pt x="62" y="825"/>
                  </a:lnTo>
                  <a:lnTo>
                    <a:pt x="57" y="830"/>
                  </a:lnTo>
                  <a:lnTo>
                    <a:pt x="50" y="834"/>
                  </a:lnTo>
                  <a:lnTo>
                    <a:pt x="43" y="836"/>
                  </a:lnTo>
                  <a:lnTo>
                    <a:pt x="36" y="836"/>
                  </a:lnTo>
                  <a:lnTo>
                    <a:pt x="36" y="836"/>
                  </a:lnTo>
                  <a:lnTo>
                    <a:pt x="29" y="836"/>
                  </a:lnTo>
                  <a:lnTo>
                    <a:pt x="22" y="834"/>
                  </a:lnTo>
                  <a:lnTo>
                    <a:pt x="15" y="830"/>
                  </a:lnTo>
                  <a:lnTo>
                    <a:pt x="10" y="825"/>
                  </a:lnTo>
                  <a:lnTo>
                    <a:pt x="5" y="820"/>
                  </a:lnTo>
                  <a:lnTo>
                    <a:pt x="1" y="813"/>
                  </a:lnTo>
                  <a:lnTo>
                    <a:pt x="0" y="806"/>
                  </a:lnTo>
                  <a:lnTo>
                    <a:pt x="0" y="799"/>
                  </a:lnTo>
                  <a:lnTo>
                    <a:pt x="0" y="36"/>
                  </a:lnTo>
                  <a:lnTo>
                    <a:pt x="0" y="36"/>
                  </a:lnTo>
                  <a:lnTo>
                    <a:pt x="0" y="30"/>
                  </a:lnTo>
                  <a:lnTo>
                    <a:pt x="1" y="23"/>
                  </a:lnTo>
                  <a:lnTo>
                    <a:pt x="5" y="16"/>
                  </a:lnTo>
                  <a:lnTo>
                    <a:pt x="10" y="11"/>
                  </a:lnTo>
                  <a:lnTo>
                    <a:pt x="15" y="7"/>
                  </a:lnTo>
                  <a:lnTo>
                    <a:pt x="22" y="4"/>
                  </a:lnTo>
                  <a:lnTo>
                    <a:pt x="29" y="2"/>
                  </a:lnTo>
                  <a:lnTo>
                    <a:pt x="36" y="0"/>
                  </a:lnTo>
                  <a:lnTo>
                    <a:pt x="36" y="0"/>
                  </a:lnTo>
                  <a:lnTo>
                    <a:pt x="43" y="2"/>
                  </a:lnTo>
                  <a:lnTo>
                    <a:pt x="50" y="4"/>
                  </a:lnTo>
                  <a:lnTo>
                    <a:pt x="57" y="7"/>
                  </a:lnTo>
                  <a:lnTo>
                    <a:pt x="62" y="11"/>
                  </a:lnTo>
                  <a:lnTo>
                    <a:pt x="65" y="16"/>
                  </a:lnTo>
                  <a:lnTo>
                    <a:pt x="69" y="23"/>
                  </a:lnTo>
                  <a:lnTo>
                    <a:pt x="71" y="30"/>
                  </a:lnTo>
                  <a:lnTo>
                    <a:pt x="72" y="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6" name="Freeform 23">
              <a:extLst>
                <a:ext uri="{FF2B5EF4-FFF2-40B4-BE49-F238E27FC236}">
                  <a16:creationId xmlns:a16="http://schemas.microsoft.com/office/drawing/2014/main" id="{AFC62A2F-7D7F-4F0F-86FC-E227759EDD33}"/>
                </a:ext>
              </a:extLst>
            </p:cNvPr>
            <p:cNvSpPr>
              <a:spLocks/>
            </p:cNvSpPr>
            <p:nvPr/>
          </p:nvSpPr>
          <p:spPr bwMode="auto">
            <a:xfrm>
              <a:off x="1355319" y="13447"/>
              <a:ext cx="40682" cy="132982"/>
            </a:xfrm>
            <a:custGeom>
              <a:avLst/>
              <a:gdLst>
                <a:gd name="T0" fmla="*/ 73 w 73"/>
                <a:gd name="T1" fmla="*/ 37 h 239"/>
                <a:gd name="T2" fmla="*/ 73 w 73"/>
                <a:gd name="T3" fmla="*/ 203 h 239"/>
                <a:gd name="T4" fmla="*/ 73 w 73"/>
                <a:gd name="T5" fmla="*/ 203 h 239"/>
                <a:gd name="T6" fmla="*/ 73 w 73"/>
                <a:gd name="T7" fmla="*/ 210 h 239"/>
                <a:gd name="T8" fmla="*/ 70 w 73"/>
                <a:gd name="T9" fmla="*/ 217 h 239"/>
                <a:gd name="T10" fmla="*/ 66 w 73"/>
                <a:gd name="T11" fmla="*/ 222 h 239"/>
                <a:gd name="T12" fmla="*/ 63 w 73"/>
                <a:gd name="T13" fmla="*/ 227 h 239"/>
                <a:gd name="T14" fmla="*/ 57 w 73"/>
                <a:gd name="T15" fmla="*/ 232 h 239"/>
                <a:gd name="T16" fmla="*/ 50 w 73"/>
                <a:gd name="T17" fmla="*/ 236 h 239"/>
                <a:gd name="T18" fmla="*/ 44 w 73"/>
                <a:gd name="T19" fmla="*/ 237 h 239"/>
                <a:gd name="T20" fmla="*/ 37 w 73"/>
                <a:gd name="T21" fmla="*/ 239 h 239"/>
                <a:gd name="T22" fmla="*/ 37 w 73"/>
                <a:gd name="T23" fmla="*/ 239 h 239"/>
                <a:gd name="T24" fmla="*/ 30 w 73"/>
                <a:gd name="T25" fmla="*/ 237 h 239"/>
                <a:gd name="T26" fmla="*/ 23 w 73"/>
                <a:gd name="T27" fmla="*/ 236 h 239"/>
                <a:gd name="T28" fmla="*/ 16 w 73"/>
                <a:gd name="T29" fmla="*/ 232 h 239"/>
                <a:gd name="T30" fmla="*/ 11 w 73"/>
                <a:gd name="T31" fmla="*/ 227 h 239"/>
                <a:gd name="T32" fmla="*/ 7 w 73"/>
                <a:gd name="T33" fmla="*/ 222 h 239"/>
                <a:gd name="T34" fmla="*/ 4 w 73"/>
                <a:gd name="T35" fmla="*/ 217 h 239"/>
                <a:gd name="T36" fmla="*/ 2 w 73"/>
                <a:gd name="T37" fmla="*/ 210 h 239"/>
                <a:gd name="T38" fmla="*/ 0 w 73"/>
                <a:gd name="T39" fmla="*/ 203 h 239"/>
                <a:gd name="T40" fmla="*/ 0 w 73"/>
                <a:gd name="T41" fmla="*/ 37 h 239"/>
                <a:gd name="T42" fmla="*/ 0 w 73"/>
                <a:gd name="T43" fmla="*/ 37 h 239"/>
                <a:gd name="T44" fmla="*/ 2 w 73"/>
                <a:gd name="T45" fmla="*/ 30 h 239"/>
                <a:gd name="T46" fmla="*/ 4 w 73"/>
                <a:gd name="T47" fmla="*/ 23 h 239"/>
                <a:gd name="T48" fmla="*/ 7 w 73"/>
                <a:gd name="T49" fmla="*/ 16 h 239"/>
                <a:gd name="T50" fmla="*/ 11 w 73"/>
                <a:gd name="T51" fmla="*/ 11 h 239"/>
                <a:gd name="T52" fmla="*/ 16 w 73"/>
                <a:gd name="T53" fmla="*/ 6 h 239"/>
                <a:gd name="T54" fmla="*/ 23 w 73"/>
                <a:gd name="T55" fmla="*/ 4 h 239"/>
                <a:gd name="T56" fmla="*/ 30 w 73"/>
                <a:gd name="T57" fmla="*/ 0 h 239"/>
                <a:gd name="T58" fmla="*/ 37 w 73"/>
                <a:gd name="T59" fmla="*/ 0 h 239"/>
                <a:gd name="T60" fmla="*/ 37 w 73"/>
                <a:gd name="T61" fmla="*/ 0 h 239"/>
                <a:gd name="T62" fmla="*/ 44 w 73"/>
                <a:gd name="T63" fmla="*/ 0 h 239"/>
                <a:gd name="T64" fmla="*/ 50 w 73"/>
                <a:gd name="T65" fmla="*/ 4 h 239"/>
                <a:gd name="T66" fmla="*/ 57 w 73"/>
                <a:gd name="T67" fmla="*/ 6 h 239"/>
                <a:gd name="T68" fmla="*/ 63 w 73"/>
                <a:gd name="T69" fmla="*/ 11 h 239"/>
                <a:gd name="T70" fmla="*/ 66 w 73"/>
                <a:gd name="T71" fmla="*/ 16 h 239"/>
                <a:gd name="T72" fmla="*/ 70 w 73"/>
                <a:gd name="T73" fmla="*/ 23 h 239"/>
                <a:gd name="T74" fmla="*/ 73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3" y="210"/>
                  </a:lnTo>
                  <a:lnTo>
                    <a:pt x="70" y="217"/>
                  </a:lnTo>
                  <a:lnTo>
                    <a:pt x="66" y="222"/>
                  </a:lnTo>
                  <a:lnTo>
                    <a:pt x="63" y="227"/>
                  </a:lnTo>
                  <a:lnTo>
                    <a:pt x="57" y="232"/>
                  </a:lnTo>
                  <a:lnTo>
                    <a:pt x="50" y="236"/>
                  </a:lnTo>
                  <a:lnTo>
                    <a:pt x="44" y="237"/>
                  </a:lnTo>
                  <a:lnTo>
                    <a:pt x="37" y="239"/>
                  </a:lnTo>
                  <a:lnTo>
                    <a:pt x="37" y="239"/>
                  </a:lnTo>
                  <a:lnTo>
                    <a:pt x="30" y="237"/>
                  </a:lnTo>
                  <a:lnTo>
                    <a:pt x="23" y="236"/>
                  </a:lnTo>
                  <a:lnTo>
                    <a:pt x="16" y="232"/>
                  </a:lnTo>
                  <a:lnTo>
                    <a:pt x="11" y="227"/>
                  </a:lnTo>
                  <a:lnTo>
                    <a:pt x="7" y="222"/>
                  </a:lnTo>
                  <a:lnTo>
                    <a:pt x="4" y="217"/>
                  </a:lnTo>
                  <a:lnTo>
                    <a:pt x="2" y="210"/>
                  </a:lnTo>
                  <a:lnTo>
                    <a:pt x="0" y="203"/>
                  </a:lnTo>
                  <a:lnTo>
                    <a:pt x="0" y="37"/>
                  </a:lnTo>
                  <a:lnTo>
                    <a:pt x="0" y="37"/>
                  </a:lnTo>
                  <a:lnTo>
                    <a:pt x="2" y="30"/>
                  </a:lnTo>
                  <a:lnTo>
                    <a:pt x="4" y="23"/>
                  </a:lnTo>
                  <a:lnTo>
                    <a:pt x="7" y="16"/>
                  </a:lnTo>
                  <a:lnTo>
                    <a:pt x="11" y="11"/>
                  </a:lnTo>
                  <a:lnTo>
                    <a:pt x="16" y="6"/>
                  </a:lnTo>
                  <a:lnTo>
                    <a:pt x="23" y="4"/>
                  </a:lnTo>
                  <a:lnTo>
                    <a:pt x="30" y="0"/>
                  </a:lnTo>
                  <a:lnTo>
                    <a:pt x="37" y="0"/>
                  </a:lnTo>
                  <a:lnTo>
                    <a:pt x="37" y="0"/>
                  </a:lnTo>
                  <a:lnTo>
                    <a:pt x="44" y="0"/>
                  </a:lnTo>
                  <a:lnTo>
                    <a:pt x="50" y="4"/>
                  </a:lnTo>
                  <a:lnTo>
                    <a:pt x="57" y="6"/>
                  </a:lnTo>
                  <a:lnTo>
                    <a:pt x="63" y="11"/>
                  </a:lnTo>
                  <a:lnTo>
                    <a:pt x="66" y="16"/>
                  </a:lnTo>
                  <a:lnTo>
                    <a:pt x="70" y="23"/>
                  </a:lnTo>
                  <a:lnTo>
                    <a:pt x="73" y="30"/>
                  </a:lnTo>
                  <a:lnTo>
                    <a:pt x="73"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7" name="Freeform 24">
              <a:extLst>
                <a:ext uri="{FF2B5EF4-FFF2-40B4-BE49-F238E27FC236}">
                  <a16:creationId xmlns:a16="http://schemas.microsoft.com/office/drawing/2014/main" id="{2CFE298F-5012-435F-81FB-EFB22E75E834}"/>
                </a:ext>
              </a:extLst>
            </p:cNvPr>
            <p:cNvSpPr>
              <a:spLocks/>
            </p:cNvSpPr>
            <p:nvPr/>
          </p:nvSpPr>
          <p:spPr bwMode="auto">
            <a:xfrm>
              <a:off x="1355319" y="13447"/>
              <a:ext cx="40682" cy="132982"/>
            </a:xfrm>
            <a:custGeom>
              <a:avLst/>
              <a:gdLst>
                <a:gd name="T0" fmla="*/ 73 w 73"/>
                <a:gd name="T1" fmla="*/ 37 h 239"/>
                <a:gd name="T2" fmla="*/ 73 w 73"/>
                <a:gd name="T3" fmla="*/ 203 h 239"/>
                <a:gd name="T4" fmla="*/ 73 w 73"/>
                <a:gd name="T5" fmla="*/ 203 h 239"/>
                <a:gd name="T6" fmla="*/ 73 w 73"/>
                <a:gd name="T7" fmla="*/ 210 h 239"/>
                <a:gd name="T8" fmla="*/ 70 w 73"/>
                <a:gd name="T9" fmla="*/ 217 h 239"/>
                <a:gd name="T10" fmla="*/ 66 w 73"/>
                <a:gd name="T11" fmla="*/ 222 h 239"/>
                <a:gd name="T12" fmla="*/ 63 w 73"/>
                <a:gd name="T13" fmla="*/ 227 h 239"/>
                <a:gd name="T14" fmla="*/ 57 w 73"/>
                <a:gd name="T15" fmla="*/ 232 h 239"/>
                <a:gd name="T16" fmla="*/ 50 w 73"/>
                <a:gd name="T17" fmla="*/ 236 h 239"/>
                <a:gd name="T18" fmla="*/ 44 w 73"/>
                <a:gd name="T19" fmla="*/ 237 h 239"/>
                <a:gd name="T20" fmla="*/ 37 w 73"/>
                <a:gd name="T21" fmla="*/ 239 h 239"/>
                <a:gd name="T22" fmla="*/ 37 w 73"/>
                <a:gd name="T23" fmla="*/ 239 h 239"/>
                <a:gd name="T24" fmla="*/ 30 w 73"/>
                <a:gd name="T25" fmla="*/ 237 h 239"/>
                <a:gd name="T26" fmla="*/ 23 w 73"/>
                <a:gd name="T27" fmla="*/ 236 h 239"/>
                <a:gd name="T28" fmla="*/ 16 w 73"/>
                <a:gd name="T29" fmla="*/ 232 h 239"/>
                <a:gd name="T30" fmla="*/ 11 w 73"/>
                <a:gd name="T31" fmla="*/ 227 h 239"/>
                <a:gd name="T32" fmla="*/ 7 w 73"/>
                <a:gd name="T33" fmla="*/ 222 h 239"/>
                <a:gd name="T34" fmla="*/ 4 w 73"/>
                <a:gd name="T35" fmla="*/ 217 h 239"/>
                <a:gd name="T36" fmla="*/ 2 w 73"/>
                <a:gd name="T37" fmla="*/ 210 h 239"/>
                <a:gd name="T38" fmla="*/ 0 w 73"/>
                <a:gd name="T39" fmla="*/ 203 h 239"/>
                <a:gd name="T40" fmla="*/ 0 w 73"/>
                <a:gd name="T41" fmla="*/ 37 h 239"/>
                <a:gd name="T42" fmla="*/ 0 w 73"/>
                <a:gd name="T43" fmla="*/ 37 h 239"/>
                <a:gd name="T44" fmla="*/ 2 w 73"/>
                <a:gd name="T45" fmla="*/ 30 h 239"/>
                <a:gd name="T46" fmla="*/ 4 w 73"/>
                <a:gd name="T47" fmla="*/ 23 h 239"/>
                <a:gd name="T48" fmla="*/ 7 w 73"/>
                <a:gd name="T49" fmla="*/ 16 h 239"/>
                <a:gd name="T50" fmla="*/ 11 w 73"/>
                <a:gd name="T51" fmla="*/ 11 h 239"/>
                <a:gd name="T52" fmla="*/ 16 w 73"/>
                <a:gd name="T53" fmla="*/ 6 h 239"/>
                <a:gd name="T54" fmla="*/ 23 w 73"/>
                <a:gd name="T55" fmla="*/ 4 h 239"/>
                <a:gd name="T56" fmla="*/ 30 w 73"/>
                <a:gd name="T57" fmla="*/ 0 h 239"/>
                <a:gd name="T58" fmla="*/ 37 w 73"/>
                <a:gd name="T59" fmla="*/ 0 h 239"/>
                <a:gd name="T60" fmla="*/ 37 w 73"/>
                <a:gd name="T61" fmla="*/ 0 h 239"/>
                <a:gd name="T62" fmla="*/ 44 w 73"/>
                <a:gd name="T63" fmla="*/ 0 h 239"/>
                <a:gd name="T64" fmla="*/ 50 w 73"/>
                <a:gd name="T65" fmla="*/ 4 h 239"/>
                <a:gd name="T66" fmla="*/ 57 w 73"/>
                <a:gd name="T67" fmla="*/ 6 h 239"/>
                <a:gd name="T68" fmla="*/ 63 w 73"/>
                <a:gd name="T69" fmla="*/ 11 h 239"/>
                <a:gd name="T70" fmla="*/ 66 w 73"/>
                <a:gd name="T71" fmla="*/ 16 h 239"/>
                <a:gd name="T72" fmla="*/ 70 w 73"/>
                <a:gd name="T73" fmla="*/ 23 h 239"/>
                <a:gd name="T74" fmla="*/ 73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3" y="210"/>
                  </a:lnTo>
                  <a:lnTo>
                    <a:pt x="70" y="217"/>
                  </a:lnTo>
                  <a:lnTo>
                    <a:pt x="66" y="222"/>
                  </a:lnTo>
                  <a:lnTo>
                    <a:pt x="63" y="227"/>
                  </a:lnTo>
                  <a:lnTo>
                    <a:pt x="57" y="232"/>
                  </a:lnTo>
                  <a:lnTo>
                    <a:pt x="50" y="236"/>
                  </a:lnTo>
                  <a:lnTo>
                    <a:pt x="44" y="237"/>
                  </a:lnTo>
                  <a:lnTo>
                    <a:pt x="37" y="239"/>
                  </a:lnTo>
                  <a:lnTo>
                    <a:pt x="37" y="239"/>
                  </a:lnTo>
                  <a:lnTo>
                    <a:pt x="30" y="237"/>
                  </a:lnTo>
                  <a:lnTo>
                    <a:pt x="23" y="236"/>
                  </a:lnTo>
                  <a:lnTo>
                    <a:pt x="16" y="232"/>
                  </a:lnTo>
                  <a:lnTo>
                    <a:pt x="11" y="227"/>
                  </a:lnTo>
                  <a:lnTo>
                    <a:pt x="7" y="222"/>
                  </a:lnTo>
                  <a:lnTo>
                    <a:pt x="4" y="217"/>
                  </a:lnTo>
                  <a:lnTo>
                    <a:pt x="2" y="210"/>
                  </a:lnTo>
                  <a:lnTo>
                    <a:pt x="0" y="203"/>
                  </a:lnTo>
                  <a:lnTo>
                    <a:pt x="0" y="37"/>
                  </a:lnTo>
                  <a:lnTo>
                    <a:pt x="0" y="37"/>
                  </a:lnTo>
                  <a:lnTo>
                    <a:pt x="2" y="30"/>
                  </a:lnTo>
                  <a:lnTo>
                    <a:pt x="4" y="23"/>
                  </a:lnTo>
                  <a:lnTo>
                    <a:pt x="7" y="16"/>
                  </a:lnTo>
                  <a:lnTo>
                    <a:pt x="11" y="11"/>
                  </a:lnTo>
                  <a:lnTo>
                    <a:pt x="16" y="6"/>
                  </a:lnTo>
                  <a:lnTo>
                    <a:pt x="23" y="4"/>
                  </a:lnTo>
                  <a:lnTo>
                    <a:pt x="30" y="0"/>
                  </a:lnTo>
                  <a:lnTo>
                    <a:pt x="37" y="0"/>
                  </a:lnTo>
                  <a:lnTo>
                    <a:pt x="37" y="0"/>
                  </a:lnTo>
                  <a:lnTo>
                    <a:pt x="44" y="0"/>
                  </a:lnTo>
                  <a:lnTo>
                    <a:pt x="50" y="4"/>
                  </a:lnTo>
                  <a:lnTo>
                    <a:pt x="57" y="6"/>
                  </a:lnTo>
                  <a:lnTo>
                    <a:pt x="63" y="11"/>
                  </a:lnTo>
                  <a:lnTo>
                    <a:pt x="66" y="16"/>
                  </a:lnTo>
                  <a:lnTo>
                    <a:pt x="70" y="23"/>
                  </a:lnTo>
                  <a:lnTo>
                    <a:pt x="73" y="30"/>
                  </a:lnTo>
                  <a:lnTo>
                    <a:pt x="73" y="3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8" name="Freeform 25">
              <a:extLst>
                <a:ext uri="{FF2B5EF4-FFF2-40B4-BE49-F238E27FC236}">
                  <a16:creationId xmlns:a16="http://schemas.microsoft.com/office/drawing/2014/main" id="{82A51944-CBBF-48B9-AC16-06C54B9B2BD0}"/>
                </a:ext>
              </a:extLst>
            </p:cNvPr>
            <p:cNvSpPr>
              <a:spLocks/>
            </p:cNvSpPr>
            <p:nvPr/>
          </p:nvSpPr>
          <p:spPr bwMode="auto">
            <a:xfrm>
              <a:off x="1787215" y="13447"/>
              <a:ext cx="40124" cy="132982"/>
            </a:xfrm>
            <a:custGeom>
              <a:avLst/>
              <a:gdLst>
                <a:gd name="T0" fmla="*/ 72 w 72"/>
                <a:gd name="T1" fmla="*/ 37 h 239"/>
                <a:gd name="T2" fmla="*/ 72 w 72"/>
                <a:gd name="T3" fmla="*/ 203 h 239"/>
                <a:gd name="T4" fmla="*/ 72 w 72"/>
                <a:gd name="T5" fmla="*/ 203 h 239"/>
                <a:gd name="T6" fmla="*/ 72 w 72"/>
                <a:gd name="T7" fmla="*/ 210 h 239"/>
                <a:gd name="T8" fmla="*/ 69 w 72"/>
                <a:gd name="T9" fmla="*/ 217 h 239"/>
                <a:gd name="T10" fmla="*/ 66 w 72"/>
                <a:gd name="T11" fmla="*/ 222 h 239"/>
                <a:gd name="T12" fmla="*/ 62 w 72"/>
                <a:gd name="T13" fmla="*/ 227 h 239"/>
                <a:gd name="T14" fmla="*/ 57 w 72"/>
                <a:gd name="T15" fmla="*/ 232 h 239"/>
                <a:gd name="T16" fmla="*/ 50 w 72"/>
                <a:gd name="T17" fmla="*/ 236 h 239"/>
                <a:gd name="T18" fmla="*/ 43 w 72"/>
                <a:gd name="T19" fmla="*/ 237 h 239"/>
                <a:gd name="T20" fmla="*/ 36 w 72"/>
                <a:gd name="T21" fmla="*/ 239 h 239"/>
                <a:gd name="T22" fmla="*/ 36 w 72"/>
                <a:gd name="T23" fmla="*/ 239 h 239"/>
                <a:gd name="T24" fmla="*/ 29 w 72"/>
                <a:gd name="T25" fmla="*/ 237 h 239"/>
                <a:gd name="T26" fmla="*/ 22 w 72"/>
                <a:gd name="T27" fmla="*/ 236 h 239"/>
                <a:gd name="T28" fmla="*/ 15 w 72"/>
                <a:gd name="T29" fmla="*/ 232 h 239"/>
                <a:gd name="T30" fmla="*/ 10 w 72"/>
                <a:gd name="T31" fmla="*/ 227 h 239"/>
                <a:gd name="T32" fmla="*/ 7 w 72"/>
                <a:gd name="T33" fmla="*/ 222 h 239"/>
                <a:gd name="T34" fmla="*/ 3 w 72"/>
                <a:gd name="T35" fmla="*/ 217 h 239"/>
                <a:gd name="T36" fmla="*/ 0 w 72"/>
                <a:gd name="T37" fmla="*/ 210 h 239"/>
                <a:gd name="T38" fmla="*/ 0 w 72"/>
                <a:gd name="T39" fmla="*/ 203 h 239"/>
                <a:gd name="T40" fmla="*/ 0 w 72"/>
                <a:gd name="T41" fmla="*/ 37 h 239"/>
                <a:gd name="T42" fmla="*/ 0 w 72"/>
                <a:gd name="T43" fmla="*/ 37 h 239"/>
                <a:gd name="T44" fmla="*/ 0 w 72"/>
                <a:gd name="T45" fmla="*/ 30 h 239"/>
                <a:gd name="T46" fmla="*/ 3 w 72"/>
                <a:gd name="T47" fmla="*/ 23 h 239"/>
                <a:gd name="T48" fmla="*/ 7 w 72"/>
                <a:gd name="T49" fmla="*/ 16 h 239"/>
                <a:gd name="T50" fmla="*/ 10 w 72"/>
                <a:gd name="T51" fmla="*/ 11 h 239"/>
                <a:gd name="T52" fmla="*/ 15 w 72"/>
                <a:gd name="T53" fmla="*/ 6 h 239"/>
                <a:gd name="T54" fmla="*/ 22 w 72"/>
                <a:gd name="T55" fmla="*/ 4 h 239"/>
                <a:gd name="T56" fmla="*/ 29 w 72"/>
                <a:gd name="T57" fmla="*/ 0 h 239"/>
                <a:gd name="T58" fmla="*/ 36 w 72"/>
                <a:gd name="T59" fmla="*/ 0 h 239"/>
                <a:gd name="T60" fmla="*/ 36 w 72"/>
                <a:gd name="T61" fmla="*/ 0 h 239"/>
                <a:gd name="T62" fmla="*/ 43 w 72"/>
                <a:gd name="T63" fmla="*/ 0 h 239"/>
                <a:gd name="T64" fmla="*/ 50 w 72"/>
                <a:gd name="T65" fmla="*/ 4 h 239"/>
                <a:gd name="T66" fmla="*/ 57 w 72"/>
                <a:gd name="T67" fmla="*/ 6 h 239"/>
                <a:gd name="T68" fmla="*/ 62 w 72"/>
                <a:gd name="T69" fmla="*/ 11 h 239"/>
                <a:gd name="T70" fmla="*/ 66 w 72"/>
                <a:gd name="T71" fmla="*/ 16 h 239"/>
                <a:gd name="T72" fmla="*/ 69 w 72"/>
                <a:gd name="T73" fmla="*/ 23 h 239"/>
                <a:gd name="T74" fmla="*/ 72 w 72"/>
                <a:gd name="T75" fmla="*/ 30 h 239"/>
                <a:gd name="T76" fmla="*/ 72 w 72"/>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239">
                  <a:moveTo>
                    <a:pt x="72" y="37"/>
                  </a:moveTo>
                  <a:lnTo>
                    <a:pt x="72" y="203"/>
                  </a:lnTo>
                  <a:lnTo>
                    <a:pt x="72" y="203"/>
                  </a:lnTo>
                  <a:lnTo>
                    <a:pt x="72" y="210"/>
                  </a:lnTo>
                  <a:lnTo>
                    <a:pt x="69" y="217"/>
                  </a:lnTo>
                  <a:lnTo>
                    <a:pt x="66" y="222"/>
                  </a:lnTo>
                  <a:lnTo>
                    <a:pt x="62" y="227"/>
                  </a:lnTo>
                  <a:lnTo>
                    <a:pt x="57" y="232"/>
                  </a:lnTo>
                  <a:lnTo>
                    <a:pt x="50" y="236"/>
                  </a:lnTo>
                  <a:lnTo>
                    <a:pt x="43" y="237"/>
                  </a:lnTo>
                  <a:lnTo>
                    <a:pt x="36" y="239"/>
                  </a:lnTo>
                  <a:lnTo>
                    <a:pt x="36" y="239"/>
                  </a:lnTo>
                  <a:lnTo>
                    <a:pt x="29" y="237"/>
                  </a:lnTo>
                  <a:lnTo>
                    <a:pt x="22" y="236"/>
                  </a:lnTo>
                  <a:lnTo>
                    <a:pt x="15" y="232"/>
                  </a:lnTo>
                  <a:lnTo>
                    <a:pt x="10" y="227"/>
                  </a:lnTo>
                  <a:lnTo>
                    <a:pt x="7" y="222"/>
                  </a:lnTo>
                  <a:lnTo>
                    <a:pt x="3" y="217"/>
                  </a:lnTo>
                  <a:lnTo>
                    <a:pt x="0" y="210"/>
                  </a:lnTo>
                  <a:lnTo>
                    <a:pt x="0" y="203"/>
                  </a:lnTo>
                  <a:lnTo>
                    <a:pt x="0" y="37"/>
                  </a:lnTo>
                  <a:lnTo>
                    <a:pt x="0" y="37"/>
                  </a:lnTo>
                  <a:lnTo>
                    <a:pt x="0" y="30"/>
                  </a:lnTo>
                  <a:lnTo>
                    <a:pt x="3" y="23"/>
                  </a:lnTo>
                  <a:lnTo>
                    <a:pt x="7" y="16"/>
                  </a:lnTo>
                  <a:lnTo>
                    <a:pt x="10" y="11"/>
                  </a:lnTo>
                  <a:lnTo>
                    <a:pt x="15" y="6"/>
                  </a:lnTo>
                  <a:lnTo>
                    <a:pt x="22" y="4"/>
                  </a:lnTo>
                  <a:lnTo>
                    <a:pt x="29" y="0"/>
                  </a:lnTo>
                  <a:lnTo>
                    <a:pt x="36" y="0"/>
                  </a:lnTo>
                  <a:lnTo>
                    <a:pt x="36" y="0"/>
                  </a:lnTo>
                  <a:lnTo>
                    <a:pt x="43" y="0"/>
                  </a:lnTo>
                  <a:lnTo>
                    <a:pt x="50" y="4"/>
                  </a:lnTo>
                  <a:lnTo>
                    <a:pt x="57" y="6"/>
                  </a:lnTo>
                  <a:lnTo>
                    <a:pt x="62" y="11"/>
                  </a:lnTo>
                  <a:lnTo>
                    <a:pt x="66" y="16"/>
                  </a:lnTo>
                  <a:lnTo>
                    <a:pt x="69" y="23"/>
                  </a:lnTo>
                  <a:lnTo>
                    <a:pt x="72" y="30"/>
                  </a:lnTo>
                  <a:lnTo>
                    <a:pt x="72" y="3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9" name="Freeform 26">
              <a:extLst>
                <a:ext uri="{FF2B5EF4-FFF2-40B4-BE49-F238E27FC236}">
                  <a16:creationId xmlns:a16="http://schemas.microsoft.com/office/drawing/2014/main" id="{5DAA83E1-9930-46E6-AF19-F43D6ABD9156}"/>
                </a:ext>
              </a:extLst>
            </p:cNvPr>
            <p:cNvSpPr>
              <a:spLocks/>
            </p:cNvSpPr>
            <p:nvPr/>
          </p:nvSpPr>
          <p:spPr bwMode="auto">
            <a:xfrm>
              <a:off x="1787215" y="13447"/>
              <a:ext cx="40124" cy="132982"/>
            </a:xfrm>
            <a:custGeom>
              <a:avLst/>
              <a:gdLst>
                <a:gd name="T0" fmla="*/ 72 w 72"/>
                <a:gd name="T1" fmla="*/ 37 h 239"/>
                <a:gd name="T2" fmla="*/ 72 w 72"/>
                <a:gd name="T3" fmla="*/ 203 h 239"/>
                <a:gd name="T4" fmla="*/ 72 w 72"/>
                <a:gd name="T5" fmla="*/ 203 h 239"/>
                <a:gd name="T6" fmla="*/ 72 w 72"/>
                <a:gd name="T7" fmla="*/ 210 h 239"/>
                <a:gd name="T8" fmla="*/ 69 w 72"/>
                <a:gd name="T9" fmla="*/ 217 h 239"/>
                <a:gd name="T10" fmla="*/ 66 w 72"/>
                <a:gd name="T11" fmla="*/ 222 h 239"/>
                <a:gd name="T12" fmla="*/ 62 w 72"/>
                <a:gd name="T13" fmla="*/ 227 h 239"/>
                <a:gd name="T14" fmla="*/ 57 w 72"/>
                <a:gd name="T15" fmla="*/ 232 h 239"/>
                <a:gd name="T16" fmla="*/ 50 w 72"/>
                <a:gd name="T17" fmla="*/ 236 h 239"/>
                <a:gd name="T18" fmla="*/ 43 w 72"/>
                <a:gd name="T19" fmla="*/ 237 h 239"/>
                <a:gd name="T20" fmla="*/ 36 w 72"/>
                <a:gd name="T21" fmla="*/ 239 h 239"/>
                <a:gd name="T22" fmla="*/ 36 w 72"/>
                <a:gd name="T23" fmla="*/ 239 h 239"/>
                <a:gd name="T24" fmla="*/ 29 w 72"/>
                <a:gd name="T25" fmla="*/ 237 h 239"/>
                <a:gd name="T26" fmla="*/ 22 w 72"/>
                <a:gd name="T27" fmla="*/ 236 h 239"/>
                <a:gd name="T28" fmla="*/ 15 w 72"/>
                <a:gd name="T29" fmla="*/ 232 h 239"/>
                <a:gd name="T30" fmla="*/ 10 w 72"/>
                <a:gd name="T31" fmla="*/ 227 h 239"/>
                <a:gd name="T32" fmla="*/ 7 w 72"/>
                <a:gd name="T33" fmla="*/ 222 h 239"/>
                <a:gd name="T34" fmla="*/ 3 w 72"/>
                <a:gd name="T35" fmla="*/ 217 h 239"/>
                <a:gd name="T36" fmla="*/ 0 w 72"/>
                <a:gd name="T37" fmla="*/ 210 h 239"/>
                <a:gd name="T38" fmla="*/ 0 w 72"/>
                <a:gd name="T39" fmla="*/ 203 h 239"/>
                <a:gd name="T40" fmla="*/ 0 w 72"/>
                <a:gd name="T41" fmla="*/ 37 h 239"/>
                <a:gd name="T42" fmla="*/ 0 w 72"/>
                <a:gd name="T43" fmla="*/ 37 h 239"/>
                <a:gd name="T44" fmla="*/ 0 w 72"/>
                <a:gd name="T45" fmla="*/ 30 h 239"/>
                <a:gd name="T46" fmla="*/ 3 w 72"/>
                <a:gd name="T47" fmla="*/ 23 h 239"/>
                <a:gd name="T48" fmla="*/ 7 w 72"/>
                <a:gd name="T49" fmla="*/ 16 h 239"/>
                <a:gd name="T50" fmla="*/ 10 w 72"/>
                <a:gd name="T51" fmla="*/ 11 h 239"/>
                <a:gd name="T52" fmla="*/ 15 w 72"/>
                <a:gd name="T53" fmla="*/ 6 h 239"/>
                <a:gd name="T54" fmla="*/ 22 w 72"/>
                <a:gd name="T55" fmla="*/ 4 h 239"/>
                <a:gd name="T56" fmla="*/ 29 w 72"/>
                <a:gd name="T57" fmla="*/ 0 h 239"/>
                <a:gd name="T58" fmla="*/ 36 w 72"/>
                <a:gd name="T59" fmla="*/ 0 h 239"/>
                <a:gd name="T60" fmla="*/ 36 w 72"/>
                <a:gd name="T61" fmla="*/ 0 h 239"/>
                <a:gd name="T62" fmla="*/ 43 w 72"/>
                <a:gd name="T63" fmla="*/ 0 h 239"/>
                <a:gd name="T64" fmla="*/ 50 w 72"/>
                <a:gd name="T65" fmla="*/ 4 h 239"/>
                <a:gd name="T66" fmla="*/ 57 w 72"/>
                <a:gd name="T67" fmla="*/ 6 h 239"/>
                <a:gd name="T68" fmla="*/ 62 w 72"/>
                <a:gd name="T69" fmla="*/ 11 h 239"/>
                <a:gd name="T70" fmla="*/ 66 w 72"/>
                <a:gd name="T71" fmla="*/ 16 h 239"/>
                <a:gd name="T72" fmla="*/ 69 w 72"/>
                <a:gd name="T73" fmla="*/ 23 h 239"/>
                <a:gd name="T74" fmla="*/ 72 w 72"/>
                <a:gd name="T75" fmla="*/ 30 h 239"/>
                <a:gd name="T76" fmla="*/ 72 w 72"/>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239">
                  <a:moveTo>
                    <a:pt x="72" y="37"/>
                  </a:moveTo>
                  <a:lnTo>
                    <a:pt x="72" y="203"/>
                  </a:lnTo>
                  <a:lnTo>
                    <a:pt x="72" y="203"/>
                  </a:lnTo>
                  <a:lnTo>
                    <a:pt x="72" y="210"/>
                  </a:lnTo>
                  <a:lnTo>
                    <a:pt x="69" y="217"/>
                  </a:lnTo>
                  <a:lnTo>
                    <a:pt x="66" y="222"/>
                  </a:lnTo>
                  <a:lnTo>
                    <a:pt x="62" y="227"/>
                  </a:lnTo>
                  <a:lnTo>
                    <a:pt x="57" y="232"/>
                  </a:lnTo>
                  <a:lnTo>
                    <a:pt x="50" y="236"/>
                  </a:lnTo>
                  <a:lnTo>
                    <a:pt x="43" y="237"/>
                  </a:lnTo>
                  <a:lnTo>
                    <a:pt x="36" y="239"/>
                  </a:lnTo>
                  <a:lnTo>
                    <a:pt x="36" y="239"/>
                  </a:lnTo>
                  <a:lnTo>
                    <a:pt x="29" y="237"/>
                  </a:lnTo>
                  <a:lnTo>
                    <a:pt x="22" y="236"/>
                  </a:lnTo>
                  <a:lnTo>
                    <a:pt x="15" y="232"/>
                  </a:lnTo>
                  <a:lnTo>
                    <a:pt x="10" y="227"/>
                  </a:lnTo>
                  <a:lnTo>
                    <a:pt x="7" y="222"/>
                  </a:lnTo>
                  <a:lnTo>
                    <a:pt x="3" y="217"/>
                  </a:lnTo>
                  <a:lnTo>
                    <a:pt x="0" y="210"/>
                  </a:lnTo>
                  <a:lnTo>
                    <a:pt x="0" y="203"/>
                  </a:lnTo>
                  <a:lnTo>
                    <a:pt x="0" y="37"/>
                  </a:lnTo>
                  <a:lnTo>
                    <a:pt x="0" y="37"/>
                  </a:lnTo>
                  <a:lnTo>
                    <a:pt x="0" y="30"/>
                  </a:lnTo>
                  <a:lnTo>
                    <a:pt x="3" y="23"/>
                  </a:lnTo>
                  <a:lnTo>
                    <a:pt x="7" y="16"/>
                  </a:lnTo>
                  <a:lnTo>
                    <a:pt x="10" y="11"/>
                  </a:lnTo>
                  <a:lnTo>
                    <a:pt x="15" y="6"/>
                  </a:lnTo>
                  <a:lnTo>
                    <a:pt x="22" y="4"/>
                  </a:lnTo>
                  <a:lnTo>
                    <a:pt x="29" y="0"/>
                  </a:lnTo>
                  <a:lnTo>
                    <a:pt x="36" y="0"/>
                  </a:lnTo>
                  <a:lnTo>
                    <a:pt x="36" y="0"/>
                  </a:lnTo>
                  <a:lnTo>
                    <a:pt x="43" y="0"/>
                  </a:lnTo>
                  <a:lnTo>
                    <a:pt x="50" y="4"/>
                  </a:lnTo>
                  <a:lnTo>
                    <a:pt x="57" y="6"/>
                  </a:lnTo>
                  <a:lnTo>
                    <a:pt x="62" y="11"/>
                  </a:lnTo>
                  <a:lnTo>
                    <a:pt x="66" y="16"/>
                  </a:lnTo>
                  <a:lnTo>
                    <a:pt x="69" y="23"/>
                  </a:lnTo>
                  <a:lnTo>
                    <a:pt x="72" y="30"/>
                  </a:lnTo>
                  <a:lnTo>
                    <a:pt x="72" y="37"/>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0" name="Freeform 27">
              <a:extLst>
                <a:ext uri="{FF2B5EF4-FFF2-40B4-BE49-F238E27FC236}">
                  <a16:creationId xmlns:a16="http://schemas.microsoft.com/office/drawing/2014/main" id="{CA694A94-52A6-4044-A62E-9124632A733A}"/>
                </a:ext>
              </a:extLst>
            </p:cNvPr>
            <p:cNvSpPr>
              <a:spLocks/>
            </p:cNvSpPr>
            <p:nvPr/>
          </p:nvSpPr>
          <p:spPr bwMode="auto">
            <a:xfrm>
              <a:off x="1930438" y="-152920"/>
              <a:ext cx="40682" cy="465159"/>
            </a:xfrm>
            <a:custGeom>
              <a:avLst/>
              <a:gdLst>
                <a:gd name="T0" fmla="*/ 73 w 73"/>
                <a:gd name="T1" fmla="*/ 36 h 836"/>
                <a:gd name="T2" fmla="*/ 73 w 73"/>
                <a:gd name="T3" fmla="*/ 799 h 836"/>
                <a:gd name="T4" fmla="*/ 73 w 73"/>
                <a:gd name="T5" fmla="*/ 799 h 836"/>
                <a:gd name="T6" fmla="*/ 73 w 73"/>
                <a:gd name="T7" fmla="*/ 806 h 836"/>
                <a:gd name="T8" fmla="*/ 71 w 73"/>
                <a:gd name="T9" fmla="*/ 813 h 836"/>
                <a:gd name="T10" fmla="*/ 68 w 73"/>
                <a:gd name="T11" fmla="*/ 820 h 836"/>
                <a:gd name="T12" fmla="*/ 63 w 73"/>
                <a:gd name="T13" fmla="*/ 825 h 836"/>
                <a:gd name="T14" fmla="*/ 57 w 73"/>
                <a:gd name="T15" fmla="*/ 830 h 836"/>
                <a:gd name="T16" fmla="*/ 52 w 73"/>
                <a:gd name="T17" fmla="*/ 834 h 836"/>
                <a:gd name="T18" fmla="*/ 45 w 73"/>
                <a:gd name="T19" fmla="*/ 836 h 836"/>
                <a:gd name="T20" fmla="*/ 37 w 73"/>
                <a:gd name="T21" fmla="*/ 836 h 836"/>
                <a:gd name="T22" fmla="*/ 37 w 73"/>
                <a:gd name="T23" fmla="*/ 836 h 836"/>
                <a:gd name="T24" fmla="*/ 30 w 73"/>
                <a:gd name="T25" fmla="*/ 836 h 836"/>
                <a:gd name="T26" fmla="*/ 23 w 73"/>
                <a:gd name="T27" fmla="*/ 834 h 836"/>
                <a:gd name="T28" fmla="*/ 18 w 73"/>
                <a:gd name="T29" fmla="*/ 830 h 836"/>
                <a:gd name="T30" fmla="*/ 11 w 73"/>
                <a:gd name="T31" fmla="*/ 825 h 836"/>
                <a:gd name="T32" fmla="*/ 7 w 73"/>
                <a:gd name="T33" fmla="*/ 820 h 836"/>
                <a:gd name="T34" fmla="*/ 4 w 73"/>
                <a:gd name="T35" fmla="*/ 813 h 836"/>
                <a:gd name="T36" fmla="*/ 2 w 73"/>
                <a:gd name="T37" fmla="*/ 806 h 836"/>
                <a:gd name="T38" fmla="*/ 0 w 73"/>
                <a:gd name="T39" fmla="*/ 799 h 836"/>
                <a:gd name="T40" fmla="*/ 0 w 73"/>
                <a:gd name="T41" fmla="*/ 36 h 836"/>
                <a:gd name="T42" fmla="*/ 0 w 73"/>
                <a:gd name="T43" fmla="*/ 36 h 836"/>
                <a:gd name="T44" fmla="*/ 2 w 73"/>
                <a:gd name="T45" fmla="*/ 30 h 836"/>
                <a:gd name="T46" fmla="*/ 4 w 73"/>
                <a:gd name="T47" fmla="*/ 23 h 836"/>
                <a:gd name="T48" fmla="*/ 7 w 73"/>
                <a:gd name="T49" fmla="*/ 16 h 836"/>
                <a:gd name="T50" fmla="*/ 11 w 73"/>
                <a:gd name="T51" fmla="*/ 11 h 836"/>
                <a:gd name="T52" fmla="*/ 18 w 73"/>
                <a:gd name="T53" fmla="*/ 7 h 836"/>
                <a:gd name="T54" fmla="*/ 23 w 73"/>
                <a:gd name="T55" fmla="*/ 4 h 836"/>
                <a:gd name="T56" fmla="*/ 30 w 73"/>
                <a:gd name="T57" fmla="*/ 2 h 836"/>
                <a:gd name="T58" fmla="*/ 37 w 73"/>
                <a:gd name="T59" fmla="*/ 0 h 836"/>
                <a:gd name="T60" fmla="*/ 37 w 73"/>
                <a:gd name="T61" fmla="*/ 0 h 836"/>
                <a:gd name="T62" fmla="*/ 45 w 73"/>
                <a:gd name="T63" fmla="*/ 2 h 836"/>
                <a:gd name="T64" fmla="*/ 52 w 73"/>
                <a:gd name="T65" fmla="*/ 4 h 836"/>
                <a:gd name="T66" fmla="*/ 57 w 73"/>
                <a:gd name="T67" fmla="*/ 7 h 836"/>
                <a:gd name="T68" fmla="*/ 63 w 73"/>
                <a:gd name="T69" fmla="*/ 11 h 836"/>
                <a:gd name="T70" fmla="*/ 68 w 73"/>
                <a:gd name="T71" fmla="*/ 16 h 836"/>
                <a:gd name="T72" fmla="*/ 71 w 73"/>
                <a:gd name="T73" fmla="*/ 23 h 836"/>
                <a:gd name="T74" fmla="*/ 73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3" y="806"/>
                  </a:lnTo>
                  <a:lnTo>
                    <a:pt x="71" y="813"/>
                  </a:lnTo>
                  <a:lnTo>
                    <a:pt x="68" y="820"/>
                  </a:lnTo>
                  <a:lnTo>
                    <a:pt x="63" y="825"/>
                  </a:lnTo>
                  <a:lnTo>
                    <a:pt x="57" y="830"/>
                  </a:lnTo>
                  <a:lnTo>
                    <a:pt x="52" y="834"/>
                  </a:lnTo>
                  <a:lnTo>
                    <a:pt x="45" y="836"/>
                  </a:lnTo>
                  <a:lnTo>
                    <a:pt x="37" y="836"/>
                  </a:lnTo>
                  <a:lnTo>
                    <a:pt x="37" y="836"/>
                  </a:lnTo>
                  <a:lnTo>
                    <a:pt x="30" y="836"/>
                  </a:lnTo>
                  <a:lnTo>
                    <a:pt x="23" y="834"/>
                  </a:lnTo>
                  <a:lnTo>
                    <a:pt x="18" y="830"/>
                  </a:lnTo>
                  <a:lnTo>
                    <a:pt x="11" y="825"/>
                  </a:lnTo>
                  <a:lnTo>
                    <a:pt x="7" y="820"/>
                  </a:lnTo>
                  <a:lnTo>
                    <a:pt x="4" y="813"/>
                  </a:lnTo>
                  <a:lnTo>
                    <a:pt x="2" y="806"/>
                  </a:lnTo>
                  <a:lnTo>
                    <a:pt x="0" y="799"/>
                  </a:lnTo>
                  <a:lnTo>
                    <a:pt x="0" y="36"/>
                  </a:lnTo>
                  <a:lnTo>
                    <a:pt x="0" y="36"/>
                  </a:lnTo>
                  <a:lnTo>
                    <a:pt x="2" y="30"/>
                  </a:lnTo>
                  <a:lnTo>
                    <a:pt x="4" y="23"/>
                  </a:lnTo>
                  <a:lnTo>
                    <a:pt x="7" y="16"/>
                  </a:lnTo>
                  <a:lnTo>
                    <a:pt x="11" y="11"/>
                  </a:lnTo>
                  <a:lnTo>
                    <a:pt x="18" y="7"/>
                  </a:lnTo>
                  <a:lnTo>
                    <a:pt x="23" y="4"/>
                  </a:lnTo>
                  <a:lnTo>
                    <a:pt x="30" y="2"/>
                  </a:lnTo>
                  <a:lnTo>
                    <a:pt x="37" y="0"/>
                  </a:lnTo>
                  <a:lnTo>
                    <a:pt x="37" y="0"/>
                  </a:lnTo>
                  <a:lnTo>
                    <a:pt x="45" y="2"/>
                  </a:lnTo>
                  <a:lnTo>
                    <a:pt x="52" y="4"/>
                  </a:lnTo>
                  <a:lnTo>
                    <a:pt x="57" y="7"/>
                  </a:lnTo>
                  <a:lnTo>
                    <a:pt x="63" y="11"/>
                  </a:lnTo>
                  <a:lnTo>
                    <a:pt x="68" y="16"/>
                  </a:lnTo>
                  <a:lnTo>
                    <a:pt x="71" y="23"/>
                  </a:lnTo>
                  <a:lnTo>
                    <a:pt x="73" y="30"/>
                  </a:lnTo>
                  <a:lnTo>
                    <a:pt x="73" y="3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1" name="Freeform 28">
              <a:extLst>
                <a:ext uri="{FF2B5EF4-FFF2-40B4-BE49-F238E27FC236}">
                  <a16:creationId xmlns:a16="http://schemas.microsoft.com/office/drawing/2014/main" id="{83ABA521-1B36-4A05-8EBB-4F35E1EFD2AE}"/>
                </a:ext>
              </a:extLst>
            </p:cNvPr>
            <p:cNvSpPr>
              <a:spLocks/>
            </p:cNvSpPr>
            <p:nvPr/>
          </p:nvSpPr>
          <p:spPr bwMode="auto">
            <a:xfrm>
              <a:off x="1930438" y="-152920"/>
              <a:ext cx="40682" cy="465159"/>
            </a:xfrm>
            <a:custGeom>
              <a:avLst/>
              <a:gdLst>
                <a:gd name="T0" fmla="*/ 73 w 73"/>
                <a:gd name="T1" fmla="*/ 36 h 836"/>
                <a:gd name="T2" fmla="*/ 73 w 73"/>
                <a:gd name="T3" fmla="*/ 799 h 836"/>
                <a:gd name="T4" fmla="*/ 73 w 73"/>
                <a:gd name="T5" fmla="*/ 799 h 836"/>
                <a:gd name="T6" fmla="*/ 73 w 73"/>
                <a:gd name="T7" fmla="*/ 806 h 836"/>
                <a:gd name="T8" fmla="*/ 71 w 73"/>
                <a:gd name="T9" fmla="*/ 813 h 836"/>
                <a:gd name="T10" fmla="*/ 68 w 73"/>
                <a:gd name="T11" fmla="*/ 820 h 836"/>
                <a:gd name="T12" fmla="*/ 63 w 73"/>
                <a:gd name="T13" fmla="*/ 825 h 836"/>
                <a:gd name="T14" fmla="*/ 57 w 73"/>
                <a:gd name="T15" fmla="*/ 830 h 836"/>
                <a:gd name="T16" fmla="*/ 52 w 73"/>
                <a:gd name="T17" fmla="*/ 834 h 836"/>
                <a:gd name="T18" fmla="*/ 45 w 73"/>
                <a:gd name="T19" fmla="*/ 836 h 836"/>
                <a:gd name="T20" fmla="*/ 37 w 73"/>
                <a:gd name="T21" fmla="*/ 836 h 836"/>
                <a:gd name="T22" fmla="*/ 37 w 73"/>
                <a:gd name="T23" fmla="*/ 836 h 836"/>
                <a:gd name="T24" fmla="*/ 30 w 73"/>
                <a:gd name="T25" fmla="*/ 836 h 836"/>
                <a:gd name="T26" fmla="*/ 23 w 73"/>
                <a:gd name="T27" fmla="*/ 834 h 836"/>
                <a:gd name="T28" fmla="*/ 18 w 73"/>
                <a:gd name="T29" fmla="*/ 830 h 836"/>
                <a:gd name="T30" fmla="*/ 11 w 73"/>
                <a:gd name="T31" fmla="*/ 825 h 836"/>
                <a:gd name="T32" fmla="*/ 7 w 73"/>
                <a:gd name="T33" fmla="*/ 820 h 836"/>
                <a:gd name="T34" fmla="*/ 4 w 73"/>
                <a:gd name="T35" fmla="*/ 813 h 836"/>
                <a:gd name="T36" fmla="*/ 2 w 73"/>
                <a:gd name="T37" fmla="*/ 806 h 836"/>
                <a:gd name="T38" fmla="*/ 0 w 73"/>
                <a:gd name="T39" fmla="*/ 799 h 836"/>
                <a:gd name="T40" fmla="*/ 0 w 73"/>
                <a:gd name="T41" fmla="*/ 36 h 836"/>
                <a:gd name="T42" fmla="*/ 0 w 73"/>
                <a:gd name="T43" fmla="*/ 36 h 836"/>
                <a:gd name="T44" fmla="*/ 2 w 73"/>
                <a:gd name="T45" fmla="*/ 30 h 836"/>
                <a:gd name="T46" fmla="*/ 4 w 73"/>
                <a:gd name="T47" fmla="*/ 23 h 836"/>
                <a:gd name="T48" fmla="*/ 7 w 73"/>
                <a:gd name="T49" fmla="*/ 16 h 836"/>
                <a:gd name="T50" fmla="*/ 11 w 73"/>
                <a:gd name="T51" fmla="*/ 11 h 836"/>
                <a:gd name="T52" fmla="*/ 18 w 73"/>
                <a:gd name="T53" fmla="*/ 7 h 836"/>
                <a:gd name="T54" fmla="*/ 23 w 73"/>
                <a:gd name="T55" fmla="*/ 4 h 836"/>
                <a:gd name="T56" fmla="*/ 30 w 73"/>
                <a:gd name="T57" fmla="*/ 2 h 836"/>
                <a:gd name="T58" fmla="*/ 37 w 73"/>
                <a:gd name="T59" fmla="*/ 0 h 836"/>
                <a:gd name="T60" fmla="*/ 37 w 73"/>
                <a:gd name="T61" fmla="*/ 0 h 836"/>
                <a:gd name="T62" fmla="*/ 45 w 73"/>
                <a:gd name="T63" fmla="*/ 2 h 836"/>
                <a:gd name="T64" fmla="*/ 52 w 73"/>
                <a:gd name="T65" fmla="*/ 4 h 836"/>
                <a:gd name="T66" fmla="*/ 57 w 73"/>
                <a:gd name="T67" fmla="*/ 7 h 836"/>
                <a:gd name="T68" fmla="*/ 63 w 73"/>
                <a:gd name="T69" fmla="*/ 11 h 836"/>
                <a:gd name="T70" fmla="*/ 68 w 73"/>
                <a:gd name="T71" fmla="*/ 16 h 836"/>
                <a:gd name="T72" fmla="*/ 71 w 73"/>
                <a:gd name="T73" fmla="*/ 23 h 836"/>
                <a:gd name="T74" fmla="*/ 73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3" y="806"/>
                  </a:lnTo>
                  <a:lnTo>
                    <a:pt x="71" y="813"/>
                  </a:lnTo>
                  <a:lnTo>
                    <a:pt x="68" y="820"/>
                  </a:lnTo>
                  <a:lnTo>
                    <a:pt x="63" y="825"/>
                  </a:lnTo>
                  <a:lnTo>
                    <a:pt x="57" y="830"/>
                  </a:lnTo>
                  <a:lnTo>
                    <a:pt x="52" y="834"/>
                  </a:lnTo>
                  <a:lnTo>
                    <a:pt x="45" y="836"/>
                  </a:lnTo>
                  <a:lnTo>
                    <a:pt x="37" y="836"/>
                  </a:lnTo>
                  <a:lnTo>
                    <a:pt x="37" y="836"/>
                  </a:lnTo>
                  <a:lnTo>
                    <a:pt x="30" y="836"/>
                  </a:lnTo>
                  <a:lnTo>
                    <a:pt x="23" y="834"/>
                  </a:lnTo>
                  <a:lnTo>
                    <a:pt x="18" y="830"/>
                  </a:lnTo>
                  <a:lnTo>
                    <a:pt x="11" y="825"/>
                  </a:lnTo>
                  <a:lnTo>
                    <a:pt x="7" y="820"/>
                  </a:lnTo>
                  <a:lnTo>
                    <a:pt x="4" y="813"/>
                  </a:lnTo>
                  <a:lnTo>
                    <a:pt x="2" y="806"/>
                  </a:lnTo>
                  <a:lnTo>
                    <a:pt x="0" y="799"/>
                  </a:lnTo>
                  <a:lnTo>
                    <a:pt x="0" y="36"/>
                  </a:lnTo>
                  <a:lnTo>
                    <a:pt x="0" y="36"/>
                  </a:lnTo>
                  <a:lnTo>
                    <a:pt x="2" y="30"/>
                  </a:lnTo>
                  <a:lnTo>
                    <a:pt x="4" y="23"/>
                  </a:lnTo>
                  <a:lnTo>
                    <a:pt x="7" y="16"/>
                  </a:lnTo>
                  <a:lnTo>
                    <a:pt x="11" y="11"/>
                  </a:lnTo>
                  <a:lnTo>
                    <a:pt x="18" y="7"/>
                  </a:lnTo>
                  <a:lnTo>
                    <a:pt x="23" y="4"/>
                  </a:lnTo>
                  <a:lnTo>
                    <a:pt x="30" y="2"/>
                  </a:lnTo>
                  <a:lnTo>
                    <a:pt x="37" y="0"/>
                  </a:lnTo>
                  <a:lnTo>
                    <a:pt x="37" y="0"/>
                  </a:lnTo>
                  <a:lnTo>
                    <a:pt x="45" y="2"/>
                  </a:lnTo>
                  <a:lnTo>
                    <a:pt x="52" y="4"/>
                  </a:lnTo>
                  <a:lnTo>
                    <a:pt x="57" y="7"/>
                  </a:lnTo>
                  <a:lnTo>
                    <a:pt x="63" y="11"/>
                  </a:lnTo>
                  <a:lnTo>
                    <a:pt x="68" y="16"/>
                  </a:lnTo>
                  <a:lnTo>
                    <a:pt x="71" y="23"/>
                  </a:lnTo>
                  <a:lnTo>
                    <a:pt x="73" y="30"/>
                  </a:lnTo>
                  <a:lnTo>
                    <a:pt x="73" y="36"/>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2" name="Freeform 29">
              <a:extLst>
                <a:ext uri="{FF2B5EF4-FFF2-40B4-BE49-F238E27FC236}">
                  <a16:creationId xmlns:a16="http://schemas.microsoft.com/office/drawing/2014/main" id="{98CC573B-5A83-4C86-9ED6-C5FA6CA5BF98}"/>
                </a:ext>
              </a:extLst>
            </p:cNvPr>
            <p:cNvSpPr>
              <a:spLocks/>
            </p:cNvSpPr>
            <p:nvPr/>
          </p:nvSpPr>
          <p:spPr bwMode="auto">
            <a:xfrm>
              <a:off x="2031863" y="-312610"/>
              <a:ext cx="1015374" cy="783426"/>
            </a:xfrm>
            <a:custGeom>
              <a:avLst/>
              <a:gdLst>
                <a:gd name="T0" fmla="*/ 1822 w 1822"/>
                <a:gd name="T1" fmla="*/ 1166 h 1408"/>
                <a:gd name="T2" fmla="*/ 1822 w 1822"/>
                <a:gd name="T3" fmla="*/ 1408 h 1408"/>
                <a:gd name="T4" fmla="*/ 1516 w 1822"/>
                <a:gd name="T5" fmla="*/ 1408 h 1408"/>
                <a:gd name="T6" fmla="*/ 437 w 1822"/>
                <a:gd name="T7" fmla="*/ 242 h 1408"/>
                <a:gd name="T8" fmla="*/ 0 w 1822"/>
                <a:gd name="T9" fmla="*/ 242 h 1408"/>
                <a:gd name="T10" fmla="*/ 0 w 1822"/>
                <a:gd name="T11" fmla="*/ 0 h 1408"/>
                <a:gd name="T12" fmla="*/ 543 w 1822"/>
                <a:gd name="T13" fmla="*/ 0 h 1408"/>
                <a:gd name="T14" fmla="*/ 1621 w 1822"/>
                <a:gd name="T15" fmla="*/ 1166 h 1408"/>
                <a:gd name="T16" fmla="*/ 1822 w 1822"/>
                <a:gd name="T17" fmla="*/ 1166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2" h="1408">
                  <a:moveTo>
                    <a:pt x="1822" y="1166"/>
                  </a:moveTo>
                  <a:lnTo>
                    <a:pt x="1822" y="1408"/>
                  </a:lnTo>
                  <a:lnTo>
                    <a:pt x="1516" y="1408"/>
                  </a:lnTo>
                  <a:lnTo>
                    <a:pt x="437" y="242"/>
                  </a:lnTo>
                  <a:lnTo>
                    <a:pt x="0" y="242"/>
                  </a:lnTo>
                  <a:lnTo>
                    <a:pt x="0" y="0"/>
                  </a:lnTo>
                  <a:lnTo>
                    <a:pt x="543" y="0"/>
                  </a:lnTo>
                  <a:lnTo>
                    <a:pt x="1621" y="1166"/>
                  </a:lnTo>
                  <a:lnTo>
                    <a:pt x="1822" y="1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3" name="Freeform 30">
              <a:extLst>
                <a:ext uri="{FF2B5EF4-FFF2-40B4-BE49-F238E27FC236}">
                  <a16:creationId xmlns:a16="http://schemas.microsoft.com/office/drawing/2014/main" id="{8252377C-AD9A-4C4A-B44F-58512558E248}"/>
                </a:ext>
              </a:extLst>
            </p:cNvPr>
            <p:cNvSpPr>
              <a:spLocks/>
            </p:cNvSpPr>
            <p:nvPr/>
          </p:nvSpPr>
          <p:spPr bwMode="auto">
            <a:xfrm>
              <a:off x="2031863" y="-312610"/>
              <a:ext cx="1015374" cy="783426"/>
            </a:xfrm>
            <a:custGeom>
              <a:avLst/>
              <a:gdLst>
                <a:gd name="T0" fmla="*/ 1822 w 1822"/>
                <a:gd name="T1" fmla="*/ 0 h 1408"/>
                <a:gd name="T2" fmla="*/ 1822 w 1822"/>
                <a:gd name="T3" fmla="*/ 242 h 1408"/>
                <a:gd name="T4" fmla="*/ 1621 w 1822"/>
                <a:gd name="T5" fmla="*/ 242 h 1408"/>
                <a:gd name="T6" fmla="*/ 543 w 1822"/>
                <a:gd name="T7" fmla="*/ 1408 h 1408"/>
                <a:gd name="T8" fmla="*/ 0 w 1822"/>
                <a:gd name="T9" fmla="*/ 1408 h 1408"/>
                <a:gd name="T10" fmla="*/ 0 w 1822"/>
                <a:gd name="T11" fmla="*/ 1166 h 1408"/>
                <a:gd name="T12" fmla="*/ 437 w 1822"/>
                <a:gd name="T13" fmla="*/ 1166 h 1408"/>
                <a:gd name="T14" fmla="*/ 1516 w 1822"/>
                <a:gd name="T15" fmla="*/ 0 h 1408"/>
                <a:gd name="T16" fmla="*/ 1822 w 1822"/>
                <a:gd name="T17" fmla="*/ 0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2" h="1408">
                  <a:moveTo>
                    <a:pt x="1822" y="0"/>
                  </a:moveTo>
                  <a:lnTo>
                    <a:pt x="1822" y="242"/>
                  </a:lnTo>
                  <a:lnTo>
                    <a:pt x="1621" y="242"/>
                  </a:lnTo>
                  <a:lnTo>
                    <a:pt x="543" y="1408"/>
                  </a:lnTo>
                  <a:lnTo>
                    <a:pt x="0" y="1408"/>
                  </a:lnTo>
                  <a:lnTo>
                    <a:pt x="0" y="1166"/>
                  </a:lnTo>
                  <a:lnTo>
                    <a:pt x="437" y="1166"/>
                  </a:lnTo>
                  <a:lnTo>
                    <a:pt x="1516" y="0"/>
                  </a:lnTo>
                  <a:lnTo>
                    <a:pt x="18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4" name="Freeform 31">
              <a:extLst>
                <a:ext uri="{FF2B5EF4-FFF2-40B4-BE49-F238E27FC236}">
                  <a16:creationId xmlns:a16="http://schemas.microsoft.com/office/drawing/2014/main" id="{27E72691-90D8-44FB-A288-B44140073CB8}"/>
                </a:ext>
              </a:extLst>
            </p:cNvPr>
            <p:cNvSpPr>
              <a:spLocks/>
            </p:cNvSpPr>
            <p:nvPr/>
          </p:nvSpPr>
          <p:spPr bwMode="auto">
            <a:xfrm>
              <a:off x="2083134" y="-152920"/>
              <a:ext cx="40124" cy="465159"/>
            </a:xfrm>
            <a:custGeom>
              <a:avLst/>
              <a:gdLst>
                <a:gd name="T0" fmla="*/ 72 w 72"/>
                <a:gd name="T1" fmla="*/ 36 h 836"/>
                <a:gd name="T2" fmla="*/ 72 w 72"/>
                <a:gd name="T3" fmla="*/ 799 h 836"/>
                <a:gd name="T4" fmla="*/ 72 w 72"/>
                <a:gd name="T5" fmla="*/ 799 h 836"/>
                <a:gd name="T6" fmla="*/ 72 w 72"/>
                <a:gd name="T7" fmla="*/ 806 h 836"/>
                <a:gd name="T8" fmla="*/ 70 w 72"/>
                <a:gd name="T9" fmla="*/ 813 h 836"/>
                <a:gd name="T10" fmla="*/ 67 w 72"/>
                <a:gd name="T11" fmla="*/ 820 h 836"/>
                <a:gd name="T12" fmla="*/ 62 w 72"/>
                <a:gd name="T13" fmla="*/ 825 h 836"/>
                <a:gd name="T14" fmla="*/ 57 w 72"/>
                <a:gd name="T15" fmla="*/ 830 h 836"/>
                <a:gd name="T16" fmla="*/ 50 w 72"/>
                <a:gd name="T17" fmla="*/ 834 h 836"/>
                <a:gd name="T18" fmla="*/ 45 w 72"/>
                <a:gd name="T19" fmla="*/ 836 h 836"/>
                <a:gd name="T20" fmla="*/ 36 w 72"/>
                <a:gd name="T21" fmla="*/ 836 h 836"/>
                <a:gd name="T22" fmla="*/ 36 w 72"/>
                <a:gd name="T23" fmla="*/ 836 h 836"/>
                <a:gd name="T24" fmla="*/ 29 w 72"/>
                <a:gd name="T25" fmla="*/ 836 h 836"/>
                <a:gd name="T26" fmla="*/ 22 w 72"/>
                <a:gd name="T27" fmla="*/ 834 h 836"/>
                <a:gd name="T28" fmla="*/ 17 w 72"/>
                <a:gd name="T29" fmla="*/ 830 h 836"/>
                <a:gd name="T30" fmla="*/ 10 w 72"/>
                <a:gd name="T31" fmla="*/ 825 h 836"/>
                <a:gd name="T32" fmla="*/ 6 w 72"/>
                <a:gd name="T33" fmla="*/ 820 h 836"/>
                <a:gd name="T34" fmla="*/ 3 w 72"/>
                <a:gd name="T35" fmla="*/ 813 h 836"/>
                <a:gd name="T36" fmla="*/ 1 w 72"/>
                <a:gd name="T37" fmla="*/ 806 h 836"/>
                <a:gd name="T38" fmla="*/ 0 w 72"/>
                <a:gd name="T39" fmla="*/ 799 h 836"/>
                <a:gd name="T40" fmla="*/ 0 w 72"/>
                <a:gd name="T41" fmla="*/ 36 h 836"/>
                <a:gd name="T42" fmla="*/ 0 w 72"/>
                <a:gd name="T43" fmla="*/ 36 h 836"/>
                <a:gd name="T44" fmla="*/ 1 w 72"/>
                <a:gd name="T45" fmla="*/ 30 h 836"/>
                <a:gd name="T46" fmla="*/ 3 w 72"/>
                <a:gd name="T47" fmla="*/ 23 h 836"/>
                <a:gd name="T48" fmla="*/ 6 w 72"/>
                <a:gd name="T49" fmla="*/ 16 h 836"/>
                <a:gd name="T50" fmla="*/ 10 w 72"/>
                <a:gd name="T51" fmla="*/ 11 h 836"/>
                <a:gd name="T52" fmla="*/ 17 w 72"/>
                <a:gd name="T53" fmla="*/ 7 h 836"/>
                <a:gd name="T54" fmla="*/ 22 w 72"/>
                <a:gd name="T55" fmla="*/ 4 h 836"/>
                <a:gd name="T56" fmla="*/ 29 w 72"/>
                <a:gd name="T57" fmla="*/ 2 h 836"/>
                <a:gd name="T58" fmla="*/ 36 w 72"/>
                <a:gd name="T59" fmla="*/ 0 h 836"/>
                <a:gd name="T60" fmla="*/ 36 w 72"/>
                <a:gd name="T61" fmla="*/ 0 h 836"/>
                <a:gd name="T62" fmla="*/ 45 w 72"/>
                <a:gd name="T63" fmla="*/ 2 h 836"/>
                <a:gd name="T64" fmla="*/ 50 w 72"/>
                <a:gd name="T65" fmla="*/ 4 h 836"/>
                <a:gd name="T66" fmla="*/ 57 w 72"/>
                <a:gd name="T67" fmla="*/ 7 h 836"/>
                <a:gd name="T68" fmla="*/ 62 w 72"/>
                <a:gd name="T69" fmla="*/ 11 h 836"/>
                <a:gd name="T70" fmla="*/ 67 w 72"/>
                <a:gd name="T71" fmla="*/ 16 h 836"/>
                <a:gd name="T72" fmla="*/ 70 w 72"/>
                <a:gd name="T73" fmla="*/ 23 h 836"/>
                <a:gd name="T74" fmla="*/ 72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2" y="806"/>
                  </a:lnTo>
                  <a:lnTo>
                    <a:pt x="70" y="813"/>
                  </a:lnTo>
                  <a:lnTo>
                    <a:pt x="67" y="820"/>
                  </a:lnTo>
                  <a:lnTo>
                    <a:pt x="62" y="825"/>
                  </a:lnTo>
                  <a:lnTo>
                    <a:pt x="57" y="830"/>
                  </a:lnTo>
                  <a:lnTo>
                    <a:pt x="50" y="834"/>
                  </a:lnTo>
                  <a:lnTo>
                    <a:pt x="45" y="836"/>
                  </a:lnTo>
                  <a:lnTo>
                    <a:pt x="36" y="836"/>
                  </a:lnTo>
                  <a:lnTo>
                    <a:pt x="36" y="836"/>
                  </a:lnTo>
                  <a:lnTo>
                    <a:pt x="29" y="836"/>
                  </a:lnTo>
                  <a:lnTo>
                    <a:pt x="22" y="834"/>
                  </a:lnTo>
                  <a:lnTo>
                    <a:pt x="17" y="830"/>
                  </a:lnTo>
                  <a:lnTo>
                    <a:pt x="10" y="825"/>
                  </a:lnTo>
                  <a:lnTo>
                    <a:pt x="6" y="820"/>
                  </a:lnTo>
                  <a:lnTo>
                    <a:pt x="3" y="813"/>
                  </a:lnTo>
                  <a:lnTo>
                    <a:pt x="1" y="806"/>
                  </a:lnTo>
                  <a:lnTo>
                    <a:pt x="0" y="799"/>
                  </a:lnTo>
                  <a:lnTo>
                    <a:pt x="0" y="36"/>
                  </a:lnTo>
                  <a:lnTo>
                    <a:pt x="0" y="36"/>
                  </a:lnTo>
                  <a:lnTo>
                    <a:pt x="1" y="30"/>
                  </a:lnTo>
                  <a:lnTo>
                    <a:pt x="3" y="23"/>
                  </a:lnTo>
                  <a:lnTo>
                    <a:pt x="6" y="16"/>
                  </a:lnTo>
                  <a:lnTo>
                    <a:pt x="10" y="11"/>
                  </a:lnTo>
                  <a:lnTo>
                    <a:pt x="17" y="7"/>
                  </a:lnTo>
                  <a:lnTo>
                    <a:pt x="22" y="4"/>
                  </a:lnTo>
                  <a:lnTo>
                    <a:pt x="29" y="2"/>
                  </a:lnTo>
                  <a:lnTo>
                    <a:pt x="36" y="0"/>
                  </a:lnTo>
                  <a:lnTo>
                    <a:pt x="36" y="0"/>
                  </a:lnTo>
                  <a:lnTo>
                    <a:pt x="45" y="2"/>
                  </a:lnTo>
                  <a:lnTo>
                    <a:pt x="50" y="4"/>
                  </a:lnTo>
                  <a:lnTo>
                    <a:pt x="57" y="7"/>
                  </a:lnTo>
                  <a:lnTo>
                    <a:pt x="62" y="11"/>
                  </a:lnTo>
                  <a:lnTo>
                    <a:pt x="67" y="16"/>
                  </a:lnTo>
                  <a:lnTo>
                    <a:pt x="70" y="23"/>
                  </a:lnTo>
                  <a:lnTo>
                    <a:pt x="72" y="30"/>
                  </a:lnTo>
                  <a:lnTo>
                    <a:pt x="72" y="3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5" name="Freeform 32">
              <a:extLst>
                <a:ext uri="{FF2B5EF4-FFF2-40B4-BE49-F238E27FC236}">
                  <a16:creationId xmlns:a16="http://schemas.microsoft.com/office/drawing/2014/main" id="{52681F92-686C-4FD6-BFF0-4E536E85DC29}"/>
                </a:ext>
              </a:extLst>
            </p:cNvPr>
            <p:cNvSpPr>
              <a:spLocks/>
            </p:cNvSpPr>
            <p:nvPr/>
          </p:nvSpPr>
          <p:spPr bwMode="auto">
            <a:xfrm>
              <a:off x="2083134" y="-152920"/>
              <a:ext cx="40124" cy="465159"/>
            </a:xfrm>
            <a:custGeom>
              <a:avLst/>
              <a:gdLst>
                <a:gd name="T0" fmla="*/ 72 w 72"/>
                <a:gd name="T1" fmla="*/ 36 h 836"/>
                <a:gd name="T2" fmla="*/ 72 w 72"/>
                <a:gd name="T3" fmla="*/ 799 h 836"/>
                <a:gd name="T4" fmla="*/ 72 w 72"/>
                <a:gd name="T5" fmla="*/ 799 h 836"/>
                <a:gd name="T6" fmla="*/ 72 w 72"/>
                <a:gd name="T7" fmla="*/ 806 h 836"/>
                <a:gd name="T8" fmla="*/ 70 w 72"/>
                <a:gd name="T9" fmla="*/ 813 h 836"/>
                <a:gd name="T10" fmla="*/ 67 w 72"/>
                <a:gd name="T11" fmla="*/ 820 h 836"/>
                <a:gd name="T12" fmla="*/ 62 w 72"/>
                <a:gd name="T13" fmla="*/ 825 h 836"/>
                <a:gd name="T14" fmla="*/ 57 w 72"/>
                <a:gd name="T15" fmla="*/ 830 h 836"/>
                <a:gd name="T16" fmla="*/ 50 w 72"/>
                <a:gd name="T17" fmla="*/ 834 h 836"/>
                <a:gd name="T18" fmla="*/ 45 w 72"/>
                <a:gd name="T19" fmla="*/ 836 h 836"/>
                <a:gd name="T20" fmla="*/ 36 w 72"/>
                <a:gd name="T21" fmla="*/ 836 h 836"/>
                <a:gd name="T22" fmla="*/ 36 w 72"/>
                <a:gd name="T23" fmla="*/ 836 h 836"/>
                <a:gd name="T24" fmla="*/ 29 w 72"/>
                <a:gd name="T25" fmla="*/ 836 h 836"/>
                <a:gd name="T26" fmla="*/ 22 w 72"/>
                <a:gd name="T27" fmla="*/ 834 h 836"/>
                <a:gd name="T28" fmla="*/ 17 w 72"/>
                <a:gd name="T29" fmla="*/ 830 h 836"/>
                <a:gd name="T30" fmla="*/ 10 w 72"/>
                <a:gd name="T31" fmla="*/ 825 h 836"/>
                <a:gd name="T32" fmla="*/ 6 w 72"/>
                <a:gd name="T33" fmla="*/ 820 h 836"/>
                <a:gd name="T34" fmla="*/ 3 w 72"/>
                <a:gd name="T35" fmla="*/ 813 h 836"/>
                <a:gd name="T36" fmla="*/ 1 w 72"/>
                <a:gd name="T37" fmla="*/ 806 h 836"/>
                <a:gd name="T38" fmla="*/ 0 w 72"/>
                <a:gd name="T39" fmla="*/ 799 h 836"/>
                <a:gd name="T40" fmla="*/ 0 w 72"/>
                <a:gd name="T41" fmla="*/ 36 h 836"/>
                <a:gd name="T42" fmla="*/ 0 w 72"/>
                <a:gd name="T43" fmla="*/ 36 h 836"/>
                <a:gd name="T44" fmla="*/ 1 w 72"/>
                <a:gd name="T45" fmla="*/ 30 h 836"/>
                <a:gd name="T46" fmla="*/ 3 w 72"/>
                <a:gd name="T47" fmla="*/ 23 h 836"/>
                <a:gd name="T48" fmla="*/ 6 w 72"/>
                <a:gd name="T49" fmla="*/ 16 h 836"/>
                <a:gd name="T50" fmla="*/ 10 w 72"/>
                <a:gd name="T51" fmla="*/ 11 h 836"/>
                <a:gd name="T52" fmla="*/ 17 w 72"/>
                <a:gd name="T53" fmla="*/ 7 h 836"/>
                <a:gd name="T54" fmla="*/ 22 w 72"/>
                <a:gd name="T55" fmla="*/ 4 h 836"/>
                <a:gd name="T56" fmla="*/ 29 w 72"/>
                <a:gd name="T57" fmla="*/ 2 h 836"/>
                <a:gd name="T58" fmla="*/ 36 w 72"/>
                <a:gd name="T59" fmla="*/ 0 h 836"/>
                <a:gd name="T60" fmla="*/ 36 w 72"/>
                <a:gd name="T61" fmla="*/ 0 h 836"/>
                <a:gd name="T62" fmla="*/ 45 w 72"/>
                <a:gd name="T63" fmla="*/ 2 h 836"/>
                <a:gd name="T64" fmla="*/ 50 w 72"/>
                <a:gd name="T65" fmla="*/ 4 h 836"/>
                <a:gd name="T66" fmla="*/ 57 w 72"/>
                <a:gd name="T67" fmla="*/ 7 h 836"/>
                <a:gd name="T68" fmla="*/ 62 w 72"/>
                <a:gd name="T69" fmla="*/ 11 h 836"/>
                <a:gd name="T70" fmla="*/ 67 w 72"/>
                <a:gd name="T71" fmla="*/ 16 h 836"/>
                <a:gd name="T72" fmla="*/ 70 w 72"/>
                <a:gd name="T73" fmla="*/ 23 h 836"/>
                <a:gd name="T74" fmla="*/ 72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2" y="806"/>
                  </a:lnTo>
                  <a:lnTo>
                    <a:pt x="70" y="813"/>
                  </a:lnTo>
                  <a:lnTo>
                    <a:pt x="67" y="820"/>
                  </a:lnTo>
                  <a:lnTo>
                    <a:pt x="62" y="825"/>
                  </a:lnTo>
                  <a:lnTo>
                    <a:pt x="57" y="830"/>
                  </a:lnTo>
                  <a:lnTo>
                    <a:pt x="50" y="834"/>
                  </a:lnTo>
                  <a:lnTo>
                    <a:pt x="45" y="836"/>
                  </a:lnTo>
                  <a:lnTo>
                    <a:pt x="36" y="836"/>
                  </a:lnTo>
                  <a:lnTo>
                    <a:pt x="36" y="836"/>
                  </a:lnTo>
                  <a:lnTo>
                    <a:pt x="29" y="836"/>
                  </a:lnTo>
                  <a:lnTo>
                    <a:pt x="22" y="834"/>
                  </a:lnTo>
                  <a:lnTo>
                    <a:pt x="17" y="830"/>
                  </a:lnTo>
                  <a:lnTo>
                    <a:pt x="10" y="825"/>
                  </a:lnTo>
                  <a:lnTo>
                    <a:pt x="6" y="820"/>
                  </a:lnTo>
                  <a:lnTo>
                    <a:pt x="3" y="813"/>
                  </a:lnTo>
                  <a:lnTo>
                    <a:pt x="1" y="806"/>
                  </a:lnTo>
                  <a:lnTo>
                    <a:pt x="0" y="799"/>
                  </a:lnTo>
                  <a:lnTo>
                    <a:pt x="0" y="36"/>
                  </a:lnTo>
                  <a:lnTo>
                    <a:pt x="0" y="36"/>
                  </a:lnTo>
                  <a:lnTo>
                    <a:pt x="1" y="30"/>
                  </a:lnTo>
                  <a:lnTo>
                    <a:pt x="3" y="23"/>
                  </a:lnTo>
                  <a:lnTo>
                    <a:pt x="6" y="16"/>
                  </a:lnTo>
                  <a:lnTo>
                    <a:pt x="10" y="11"/>
                  </a:lnTo>
                  <a:lnTo>
                    <a:pt x="17" y="7"/>
                  </a:lnTo>
                  <a:lnTo>
                    <a:pt x="22" y="4"/>
                  </a:lnTo>
                  <a:lnTo>
                    <a:pt x="29" y="2"/>
                  </a:lnTo>
                  <a:lnTo>
                    <a:pt x="36" y="0"/>
                  </a:lnTo>
                  <a:lnTo>
                    <a:pt x="36" y="0"/>
                  </a:lnTo>
                  <a:lnTo>
                    <a:pt x="45" y="2"/>
                  </a:lnTo>
                  <a:lnTo>
                    <a:pt x="50" y="4"/>
                  </a:lnTo>
                  <a:lnTo>
                    <a:pt x="57" y="7"/>
                  </a:lnTo>
                  <a:lnTo>
                    <a:pt x="62" y="11"/>
                  </a:lnTo>
                  <a:lnTo>
                    <a:pt x="67" y="16"/>
                  </a:lnTo>
                  <a:lnTo>
                    <a:pt x="70" y="23"/>
                  </a:lnTo>
                  <a:lnTo>
                    <a:pt x="72" y="30"/>
                  </a:lnTo>
                  <a:lnTo>
                    <a:pt x="72" y="36"/>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6" name="Freeform 33">
              <a:extLst>
                <a:ext uri="{FF2B5EF4-FFF2-40B4-BE49-F238E27FC236}">
                  <a16:creationId xmlns:a16="http://schemas.microsoft.com/office/drawing/2014/main" id="{FF93449D-00A1-41BB-9A16-CB7237B532C3}"/>
                </a:ext>
              </a:extLst>
            </p:cNvPr>
            <p:cNvSpPr>
              <a:spLocks/>
            </p:cNvSpPr>
            <p:nvPr/>
          </p:nvSpPr>
          <p:spPr bwMode="auto">
            <a:xfrm>
              <a:off x="2227471" y="-152920"/>
              <a:ext cx="40124" cy="465159"/>
            </a:xfrm>
            <a:custGeom>
              <a:avLst/>
              <a:gdLst>
                <a:gd name="T0" fmla="*/ 72 w 72"/>
                <a:gd name="T1" fmla="*/ 36 h 836"/>
                <a:gd name="T2" fmla="*/ 72 w 72"/>
                <a:gd name="T3" fmla="*/ 799 h 836"/>
                <a:gd name="T4" fmla="*/ 72 w 72"/>
                <a:gd name="T5" fmla="*/ 799 h 836"/>
                <a:gd name="T6" fmla="*/ 71 w 72"/>
                <a:gd name="T7" fmla="*/ 806 h 836"/>
                <a:gd name="T8" fmla="*/ 69 w 72"/>
                <a:gd name="T9" fmla="*/ 813 h 836"/>
                <a:gd name="T10" fmla="*/ 66 w 72"/>
                <a:gd name="T11" fmla="*/ 820 h 836"/>
                <a:gd name="T12" fmla="*/ 60 w 72"/>
                <a:gd name="T13" fmla="*/ 825 h 836"/>
                <a:gd name="T14" fmla="*/ 55 w 72"/>
                <a:gd name="T15" fmla="*/ 830 h 836"/>
                <a:gd name="T16" fmla="*/ 50 w 72"/>
                <a:gd name="T17" fmla="*/ 834 h 836"/>
                <a:gd name="T18" fmla="*/ 43 w 72"/>
                <a:gd name="T19" fmla="*/ 836 h 836"/>
                <a:gd name="T20" fmla="*/ 36 w 72"/>
                <a:gd name="T21" fmla="*/ 836 h 836"/>
                <a:gd name="T22" fmla="*/ 36 w 72"/>
                <a:gd name="T23" fmla="*/ 836 h 836"/>
                <a:gd name="T24" fmla="*/ 28 w 72"/>
                <a:gd name="T25" fmla="*/ 836 h 836"/>
                <a:gd name="T26" fmla="*/ 21 w 72"/>
                <a:gd name="T27" fmla="*/ 834 h 836"/>
                <a:gd name="T28" fmla="*/ 15 w 72"/>
                <a:gd name="T29" fmla="*/ 830 h 836"/>
                <a:gd name="T30" fmla="*/ 10 w 72"/>
                <a:gd name="T31" fmla="*/ 825 h 836"/>
                <a:gd name="T32" fmla="*/ 5 w 72"/>
                <a:gd name="T33" fmla="*/ 820 h 836"/>
                <a:gd name="T34" fmla="*/ 2 w 72"/>
                <a:gd name="T35" fmla="*/ 813 h 836"/>
                <a:gd name="T36" fmla="*/ 0 w 72"/>
                <a:gd name="T37" fmla="*/ 806 h 836"/>
                <a:gd name="T38" fmla="*/ 0 w 72"/>
                <a:gd name="T39" fmla="*/ 799 h 836"/>
                <a:gd name="T40" fmla="*/ 0 w 72"/>
                <a:gd name="T41" fmla="*/ 36 h 836"/>
                <a:gd name="T42" fmla="*/ 0 w 72"/>
                <a:gd name="T43" fmla="*/ 36 h 836"/>
                <a:gd name="T44" fmla="*/ 0 w 72"/>
                <a:gd name="T45" fmla="*/ 30 h 836"/>
                <a:gd name="T46" fmla="*/ 2 w 72"/>
                <a:gd name="T47" fmla="*/ 23 h 836"/>
                <a:gd name="T48" fmla="*/ 5 w 72"/>
                <a:gd name="T49" fmla="*/ 16 h 836"/>
                <a:gd name="T50" fmla="*/ 10 w 72"/>
                <a:gd name="T51" fmla="*/ 11 h 836"/>
                <a:gd name="T52" fmla="*/ 15 w 72"/>
                <a:gd name="T53" fmla="*/ 7 h 836"/>
                <a:gd name="T54" fmla="*/ 21 w 72"/>
                <a:gd name="T55" fmla="*/ 4 h 836"/>
                <a:gd name="T56" fmla="*/ 28 w 72"/>
                <a:gd name="T57" fmla="*/ 2 h 836"/>
                <a:gd name="T58" fmla="*/ 36 w 72"/>
                <a:gd name="T59" fmla="*/ 0 h 836"/>
                <a:gd name="T60" fmla="*/ 36 w 72"/>
                <a:gd name="T61" fmla="*/ 0 h 836"/>
                <a:gd name="T62" fmla="*/ 43 w 72"/>
                <a:gd name="T63" fmla="*/ 2 h 836"/>
                <a:gd name="T64" fmla="*/ 50 w 72"/>
                <a:gd name="T65" fmla="*/ 4 h 836"/>
                <a:gd name="T66" fmla="*/ 55 w 72"/>
                <a:gd name="T67" fmla="*/ 7 h 836"/>
                <a:gd name="T68" fmla="*/ 60 w 72"/>
                <a:gd name="T69" fmla="*/ 11 h 836"/>
                <a:gd name="T70" fmla="*/ 66 w 72"/>
                <a:gd name="T71" fmla="*/ 16 h 836"/>
                <a:gd name="T72" fmla="*/ 69 w 72"/>
                <a:gd name="T73" fmla="*/ 23 h 836"/>
                <a:gd name="T74" fmla="*/ 71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1" y="806"/>
                  </a:lnTo>
                  <a:lnTo>
                    <a:pt x="69" y="813"/>
                  </a:lnTo>
                  <a:lnTo>
                    <a:pt x="66" y="820"/>
                  </a:lnTo>
                  <a:lnTo>
                    <a:pt x="60" y="825"/>
                  </a:lnTo>
                  <a:lnTo>
                    <a:pt x="55" y="830"/>
                  </a:lnTo>
                  <a:lnTo>
                    <a:pt x="50" y="834"/>
                  </a:lnTo>
                  <a:lnTo>
                    <a:pt x="43" y="836"/>
                  </a:lnTo>
                  <a:lnTo>
                    <a:pt x="36" y="836"/>
                  </a:lnTo>
                  <a:lnTo>
                    <a:pt x="36" y="836"/>
                  </a:lnTo>
                  <a:lnTo>
                    <a:pt x="28" y="836"/>
                  </a:lnTo>
                  <a:lnTo>
                    <a:pt x="21" y="834"/>
                  </a:lnTo>
                  <a:lnTo>
                    <a:pt x="15" y="830"/>
                  </a:lnTo>
                  <a:lnTo>
                    <a:pt x="10" y="825"/>
                  </a:lnTo>
                  <a:lnTo>
                    <a:pt x="5" y="820"/>
                  </a:lnTo>
                  <a:lnTo>
                    <a:pt x="2" y="813"/>
                  </a:lnTo>
                  <a:lnTo>
                    <a:pt x="0" y="806"/>
                  </a:lnTo>
                  <a:lnTo>
                    <a:pt x="0" y="799"/>
                  </a:lnTo>
                  <a:lnTo>
                    <a:pt x="0" y="36"/>
                  </a:lnTo>
                  <a:lnTo>
                    <a:pt x="0" y="36"/>
                  </a:lnTo>
                  <a:lnTo>
                    <a:pt x="0" y="30"/>
                  </a:lnTo>
                  <a:lnTo>
                    <a:pt x="2" y="23"/>
                  </a:lnTo>
                  <a:lnTo>
                    <a:pt x="5" y="16"/>
                  </a:lnTo>
                  <a:lnTo>
                    <a:pt x="10" y="11"/>
                  </a:lnTo>
                  <a:lnTo>
                    <a:pt x="15" y="7"/>
                  </a:lnTo>
                  <a:lnTo>
                    <a:pt x="21" y="4"/>
                  </a:lnTo>
                  <a:lnTo>
                    <a:pt x="28" y="2"/>
                  </a:lnTo>
                  <a:lnTo>
                    <a:pt x="36" y="0"/>
                  </a:lnTo>
                  <a:lnTo>
                    <a:pt x="36" y="0"/>
                  </a:lnTo>
                  <a:lnTo>
                    <a:pt x="43" y="2"/>
                  </a:lnTo>
                  <a:lnTo>
                    <a:pt x="50" y="4"/>
                  </a:lnTo>
                  <a:lnTo>
                    <a:pt x="55" y="7"/>
                  </a:lnTo>
                  <a:lnTo>
                    <a:pt x="60" y="11"/>
                  </a:lnTo>
                  <a:lnTo>
                    <a:pt x="66" y="16"/>
                  </a:lnTo>
                  <a:lnTo>
                    <a:pt x="69" y="23"/>
                  </a:lnTo>
                  <a:lnTo>
                    <a:pt x="71" y="30"/>
                  </a:lnTo>
                  <a:lnTo>
                    <a:pt x="72" y="3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7" name="Freeform 34">
              <a:extLst>
                <a:ext uri="{FF2B5EF4-FFF2-40B4-BE49-F238E27FC236}">
                  <a16:creationId xmlns:a16="http://schemas.microsoft.com/office/drawing/2014/main" id="{D7018180-6558-41CE-B92D-80CC03A1D45A}"/>
                </a:ext>
              </a:extLst>
            </p:cNvPr>
            <p:cNvSpPr>
              <a:spLocks/>
            </p:cNvSpPr>
            <p:nvPr/>
          </p:nvSpPr>
          <p:spPr bwMode="auto">
            <a:xfrm>
              <a:off x="2227471" y="-152920"/>
              <a:ext cx="40124" cy="465159"/>
            </a:xfrm>
            <a:custGeom>
              <a:avLst/>
              <a:gdLst>
                <a:gd name="T0" fmla="*/ 72 w 72"/>
                <a:gd name="T1" fmla="*/ 36 h 836"/>
                <a:gd name="T2" fmla="*/ 72 w 72"/>
                <a:gd name="T3" fmla="*/ 799 h 836"/>
                <a:gd name="T4" fmla="*/ 72 w 72"/>
                <a:gd name="T5" fmla="*/ 799 h 836"/>
                <a:gd name="T6" fmla="*/ 71 w 72"/>
                <a:gd name="T7" fmla="*/ 806 h 836"/>
                <a:gd name="T8" fmla="*/ 69 w 72"/>
                <a:gd name="T9" fmla="*/ 813 h 836"/>
                <a:gd name="T10" fmla="*/ 66 w 72"/>
                <a:gd name="T11" fmla="*/ 820 h 836"/>
                <a:gd name="T12" fmla="*/ 60 w 72"/>
                <a:gd name="T13" fmla="*/ 825 h 836"/>
                <a:gd name="T14" fmla="*/ 55 w 72"/>
                <a:gd name="T15" fmla="*/ 830 h 836"/>
                <a:gd name="T16" fmla="*/ 50 w 72"/>
                <a:gd name="T17" fmla="*/ 834 h 836"/>
                <a:gd name="T18" fmla="*/ 43 w 72"/>
                <a:gd name="T19" fmla="*/ 836 h 836"/>
                <a:gd name="T20" fmla="*/ 36 w 72"/>
                <a:gd name="T21" fmla="*/ 836 h 836"/>
                <a:gd name="T22" fmla="*/ 36 w 72"/>
                <a:gd name="T23" fmla="*/ 836 h 836"/>
                <a:gd name="T24" fmla="*/ 28 w 72"/>
                <a:gd name="T25" fmla="*/ 836 h 836"/>
                <a:gd name="T26" fmla="*/ 21 w 72"/>
                <a:gd name="T27" fmla="*/ 834 h 836"/>
                <a:gd name="T28" fmla="*/ 15 w 72"/>
                <a:gd name="T29" fmla="*/ 830 h 836"/>
                <a:gd name="T30" fmla="*/ 10 w 72"/>
                <a:gd name="T31" fmla="*/ 825 h 836"/>
                <a:gd name="T32" fmla="*/ 5 w 72"/>
                <a:gd name="T33" fmla="*/ 820 h 836"/>
                <a:gd name="T34" fmla="*/ 2 w 72"/>
                <a:gd name="T35" fmla="*/ 813 h 836"/>
                <a:gd name="T36" fmla="*/ 0 w 72"/>
                <a:gd name="T37" fmla="*/ 806 h 836"/>
                <a:gd name="T38" fmla="*/ 0 w 72"/>
                <a:gd name="T39" fmla="*/ 799 h 836"/>
                <a:gd name="T40" fmla="*/ 0 w 72"/>
                <a:gd name="T41" fmla="*/ 36 h 836"/>
                <a:gd name="T42" fmla="*/ 0 w 72"/>
                <a:gd name="T43" fmla="*/ 36 h 836"/>
                <a:gd name="T44" fmla="*/ 0 w 72"/>
                <a:gd name="T45" fmla="*/ 30 h 836"/>
                <a:gd name="T46" fmla="*/ 2 w 72"/>
                <a:gd name="T47" fmla="*/ 23 h 836"/>
                <a:gd name="T48" fmla="*/ 5 w 72"/>
                <a:gd name="T49" fmla="*/ 16 h 836"/>
                <a:gd name="T50" fmla="*/ 10 w 72"/>
                <a:gd name="T51" fmla="*/ 11 h 836"/>
                <a:gd name="T52" fmla="*/ 15 w 72"/>
                <a:gd name="T53" fmla="*/ 7 h 836"/>
                <a:gd name="T54" fmla="*/ 21 w 72"/>
                <a:gd name="T55" fmla="*/ 4 h 836"/>
                <a:gd name="T56" fmla="*/ 28 w 72"/>
                <a:gd name="T57" fmla="*/ 2 h 836"/>
                <a:gd name="T58" fmla="*/ 36 w 72"/>
                <a:gd name="T59" fmla="*/ 0 h 836"/>
                <a:gd name="T60" fmla="*/ 36 w 72"/>
                <a:gd name="T61" fmla="*/ 0 h 836"/>
                <a:gd name="T62" fmla="*/ 43 w 72"/>
                <a:gd name="T63" fmla="*/ 2 h 836"/>
                <a:gd name="T64" fmla="*/ 50 w 72"/>
                <a:gd name="T65" fmla="*/ 4 h 836"/>
                <a:gd name="T66" fmla="*/ 55 w 72"/>
                <a:gd name="T67" fmla="*/ 7 h 836"/>
                <a:gd name="T68" fmla="*/ 60 w 72"/>
                <a:gd name="T69" fmla="*/ 11 h 836"/>
                <a:gd name="T70" fmla="*/ 66 w 72"/>
                <a:gd name="T71" fmla="*/ 16 h 836"/>
                <a:gd name="T72" fmla="*/ 69 w 72"/>
                <a:gd name="T73" fmla="*/ 23 h 836"/>
                <a:gd name="T74" fmla="*/ 71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1" y="806"/>
                  </a:lnTo>
                  <a:lnTo>
                    <a:pt x="69" y="813"/>
                  </a:lnTo>
                  <a:lnTo>
                    <a:pt x="66" y="820"/>
                  </a:lnTo>
                  <a:lnTo>
                    <a:pt x="60" y="825"/>
                  </a:lnTo>
                  <a:lnTo>
                    <a:pt x="55" y="830"/>
                  </a:lnTo>
                  <a:lnTo>
                    <a:pt x="50" y="834"/>
                  </a:lnTo>
                  <a:lnTo>
                    <a:pt x="43" y="836"/>
                  </a:lnTo>
                  <a:lnTo>
                    <a:pt x="36" y="836"/>
                  </a:lnTo>
                  <a:lnTo>
                    <a:pt x="36" y="836"/>
                  </a:lnTo>
                  <a:lnTo>
                    <a:pt x="28" y="836"/>
                  </a:lnTo>
                  <a:lnTo>
                    <a:pt x="21" y="834"/>
                  </a:lnTo>
                  <a:lnTo>
                    <a:pt x="15" y="830"/>
                  </a:lnTo>
                  <a:lnTo>
                    <a:pt x="10" y="825"/>
                  </a:lnTo>
                  <a:lnTo>
                    <a:pt x="5" y="820"/>
                  </a:lnTo>
                  <a:lnTo>
                    <a:pt x="2" y="813"/>
                  </a:lnTo>
                  <a:lnTo>
                    <a:pt x="0" y="806"/>
                  </a:lnTo>
                  <a:lnTo>
                    <a:pt x="0" y="799"/>
                  </a:lnTo>
                  <a:lnTo>
                    <a:pt x="0" y="36"/>
                  </a:lnTo>
                  <a:lnTo>
                    <a:pt x="0" y="36"/>
                  </a:lnTo>
                  <a:lnTo>
                    <a:pt x="0" y="30"/>
                  </a:lnTo>
                  <a:lnTo>
                    <a:pt x="2" y="23"/>
                  </a:lnTo>
                  <a:lnTo>
                    <a:pt x="5" y="16"/>
                  </a:lnTo>
                  <a:lnTo>
                    <a:pt x="10" y="11"/>
                  </a:lnTo>
                  <a:lnTo>
                    <a:pt x="15" y="7"/>
                  </a:lnTo>
                  <a:lnTo>
                    <a:pt x="21" y="4"/>
                  </a:lnTo>
                  <a:lnTo>
                    <a:pt x="28" y="2"/>
                  </a:lnTo>
                  <a:lnTo>
                    <a:pt x="36" y="0"/>
                  </a:lnTo>
                  <a:lnTo>
                    <a:pt x="36" y="0"/>
                  </a:lnTo>
                  <a:lnTo>
                    <a:pt x="43" y="2"/>
                  </a:lnTo>
                  <a:lnTo>
                    <a:pt x="50" y="4"/>
                  </a:lnTo>
                  <a:lnTo>
                    <a:pt x="55" y="7"/>
                  </a:lnTo>
                  <a:lnTo>
                    <a:pt x="60" y="11"/>
                  </a:lnTo>
                  <a:lnTo>
                    <a:pt x="66" y="16"/>
                  </a:lnTo>
                  <a:lnTo>
                    <a:pt x="69" y="23"/>
                  </a:lnTo>
                  <a:lnTo>
                    <a:pt x="71" y="30"/>
                  </a:lnTo>
                  <a:lnTo>
                    <a:pt x="72" y="36"/>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8" name="Freeform 35">
              <a:extLst>
                <a:ext uri="{FF2B5EF4-FFF2-40B4-BE49-F238E27FC236}">
                  <a16:creationId xmlns:a16="http://schemas.microsoft.com/office/drawing/2014/main" id="{B18FE55E-6660-482A-B6D5-9A7189B09981}"/>
                </a:ext>
              </a:extLst>
            </p:cNvPr>
            <p:cNvSpPr>
              <a:spLocks/>
            </p:cNvSpPr>
            <p:nvPr/>
          </p:nvSpPr>
          <p:spPr bwMode="auto">
            <a:xfrm>
              <a:off x="2370693" y="13447"/>
              <a:ext cx="40682" cy="132982"/>
            </a:xfrm>
            <a:custGeom>
              <a:avLst/>
              <a:gdLst>
                <a:gd name="T0" fmla="*/ 73 w 73"/>
                <a:gd name="T1" fmla="*/ 37 h 239"/>
                <a:gd name="T2" fmla="*/ 73 w 73"/>
                <a:gd name="T3" fmla="*/ 203 h 239"/>
                <a:gd name="T4" fmla="*/ 73 w 73"/>
                <a:gd name="T5" fmla="*/ 203 h 239"/>
                <a:gd name="T6" fmla="*/ 71 w 73"/>
                <a:gd name="T7" fmla="*/ 210 h 239"/>
                <a:gd name="T8" fmla="*/ 70 w 73"/>
                <a:gd name="T9" fmla="*/ 217 h 239"/>
                <a:gd name="T10" fmla="*/ 66 w 73"/>
                <a:gd name="T11" fmla="*/ 222 h 239"/>
                <a:gd name="T12" fmla="*/ 63 w 73"/>
                <a:gd name="T13" fmla="*/ 227 h 239"/>
                <a:gd name="T14" fmla="*/ 58 w 73"/>
                <a:gd name="T15" fmla="*/ 232 h 239"/>
                <a:gd name="T16" fmla="*/ 51 w 73"/>
                <a:gd name="T17" fmla="*/ 236 h 239"/>
                <a:gd name="T18" fmla="*/ 44 w 73"/>
                <a:gd name="T19" fmla="*/ 237 h 239"/>
                <a:gd name="T20" fmla="*/ 37 w 73"/>
                <a:gd name="T21" fmla="*/ 239 h 239"/>
                <a:gd name="T22" fmla="*/ 37 w 73"/>
                <a:gd name="T23" fmla="*/ 239 h 239"/>
                <a:gd name="T24" fmla="*/ 30 w 73"/>
                <a:gd name="T25" fmla="*/ 237 h 239"/>
                <a:gd name="T26" fmla="*/ 23 w 73"/>
                <a:gd name="T27" fmla="*/ 236 h 239"/>
                <a:gd name="T28" fmla="*/ 16 w 73"/>
                <a:gd name="T29" fmla="*/ 232 h 239"/>
                <a:gd name="T30" fmla="*/ 11 w 73"/>
                <a:gd name="T31" fmla="*/ 227 h 239"/>
                <a:gd name="T32" fmla="*/ 6 w 73"/>
                <a:gd name="T33" fmla="*/ 222 h 239"/>
                <a:gd name="T34" fmla="*/ 4 w 73"/>
                <a:gd name="T35" fmla="*/ 217 h 239"/>
                <a:gd name="T36" fmla="*/ 0 w 73"/>
                <a:gd name="T37" fmla="*/ 210 h 239"/>
                <a:gd name="T38" fmla="*/ 0 w 73"/>
                <a:gd name="T39" fmla="*/ 203 h 239"/>
                <a:gd name="T40" fmla="*/ 0 w 73"/>
                <a:gd name="T41" fmla="*/ 37 h 239"/>
                <a:gd name="T42" fmla="*/ 0 w 73"/>
                <a:gd name="T43" fmla="*/ 37 h 239"/>
                <a:gd name="T44" fmla="*/ 0 w 73"/>
                <a:gd name="T45" fmla="*/ 30 h 239"/>
                <a:gd name="T46" fmla="*/ 4 w 73"/>
                <a:gd name="T47" fmla="*/ 23 h 239"/>
                <a:gd name="T48" fmla="*/ 6 w 73"/>
                <a:gd name="T49" fmla="*/ 16 h 239"/>
                <a:gd name="T50" fmla="*/ 11 w 73"/>
                <a:gd name="T51" fmla="*/ 11 h 239"/>
                <a:gd name="T52" fmla="*/ 16 w 73"/>
                <a:gd name="T53" fmla="*/ 6 h 239"/>
                <a:gd name="T54" fmla="*/ 23 w 73"/>
                <a:gd name="T55" fmla="*/ 4 h 239"/>
                <a:gd name="T56" fmla="*/ 30 w 73"/>
                <a:gd name="T57" fmla="*/ 0 h 239"/>
                <a:gd name="T58" fmla="*/ 37 w 73"/>
                <a:gd name="T59" fmla="*/ 0 h 239"/>
                <a:gd name="T60" fmla="*/ 37 w 73"/>
                <a:gd name="T61" fmla="*/ 0 h 239"/>
                <a:gd name="T62" fmla="*/ 44 w 73"/>
                <a:gd name="T63" fmla="*/ 0 h 239"/>
                <a:gd name="T64" fmla="*/ 51 w 73"/>
                <a:gd name="T65" fmla="*/ 4 h 239"/>
                <a:gd name="T66" fmla="*/ 58 w 73"/>
                <a:gd name="T67" fmla="*/ 6 h 239"/>
                <a:gd name="T68" fmla="*/ 63 w 73"/>
                <a:gd name="T69" fmla="*/ 11 h 239"/>
                <a:gd name="T70" fmla="*/ 66 w 73"/>
                <a:gd name="T71" fmla="*/ 16 h 239"/>
                <a:gd name="T72" fmla="*/ 70 w 73"/>
                <a:gd name="T73" fmla="*/ 23 h 239"/>
                <a:gd name="T74" fmla="*/ 71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1" y="210"/>
                  </a:lnTo>
                  <a:lnTo>
                    <a:pt x="70" y="217"/>
                  </a:lnTo>
                  <a:lnTo>
                    <a:pt x="66" y="222"/>
                  </a:lnTo>
                  <a:lnTo>
                    <a:pt x="63" y="227"/>
                  </a:lnTo>
                  <a:lnTo>
                    <a:pt x="58" y="232"/>
                  </a:lnTo>
                  <a:lnTo>
                    <a:pt x="51" y="236"/>
                  </a:lnTo>
                  <a:lnTo>
                    <a:pt x="44" y="237"/>
                  </a:lnTo>
                  <a:lnTo>
                    <a:pt x="37" y="239"/>
                  </a:lnTo>
                  <a:lnTo>
                    <a:pt x="37" y="239"/>
                  </a:lnTo>
                  <a:lnTo>
                    <a:pt x="30" y="237"/>
                  </a:lnTo>
                  <a:lnTo>
                    <a:pt x="23" y="236"/>
                  </a:lnTo>
                  <a:lnTo>
                    <a:pt x="16" y="232"/>
                  </a:lnTo>
                  <a:lnTo>
                    <a:pt x="11" y="227"/>
                  </a:lnTo>
                  <a:lnTo>
                    <a:pt x="6" y="222"/>
                  </a:lnTo>
                  <a:lnTo>
                    <a:pt x="4" y="217"/>
                  </a:lnTo>
                  <a:lnTo>
                    <a:pt x="0" y="210"/>
                  </a:lnTo>
                  <a:lnTo>
                    <a:pt x="0" y="203"/>
                  </a:lnTo>
                  <a:lnTo>
                    <a:pt x="0" y="37"/>
                  </a:lnTo>
                  <a:lnTo>
                    <a:pt x="0" y="37"/>
                  </a:lnTo>
                  <a:lnTo>
                    <a:pt x="0" y="30"/>
                  </a:lnTo>
                  <a:lnTo>
                    <a:pt x="4" y="23"/>
                  </a:lnTo>
                  <a:lnTo>
                    <a:pt x="6" y="16"/>
                  </a:lnTo>
                  <a:lnTo>
                    <a:pt x="11" y="11"/>
                  </a:lnTo>
                  <a:lnTo>
                    <a:pt x="16" y="6"/>
                  </a:lnTo>
                  <a:lnTo>
                    <a:pt x="23" y="4"/>
                  </a:lnTo>
                  <a:lnTo>
                    <a:pt x="30" y="0"/>
                  </a:lnTo>
                  <a:lnTo>
                    <a:pt x="37" y="0"/>
                  </a:lnTo>
                  <a:lnTo>
                    <a:pt x="37" y="0"/>
                  </a:lnTo>
                  <a:lnTo>
                    <a:pt x="44" y="0"/>
                  </a:lnTo>
                  <a:lnTo>
                    <a:pt x="51" y="4"/>
                  </a:lnTo>
                  <a:lnTo>
                    <a:pt x="58" y="6"/>
                  </a:lnTo>
                  <a:lnTo>
                    <a:pt x="63" y="11"/>
                  </a:lnTo>
                  <a:lnTo>
                    <a:pt x="66" y="16"/>
                  </a:lnTo>
                  <a:lnTo>
                    <a:pt x="70" y="23"/>
                  </a:lnTo>
                  <a:lnTo>
                    <a:pt x="71" y="30"/>
                  </a:lnTo>
                  <a:lnTo>
                    <a:pt x="73" y="3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9" name="Freeform 36">
              <a:extLst>
                <a:ext uri="{FF2B5EF4-FFF2-40B4-BE49-F238E27FC236}">
                  <a16:creationId xmlns:a16="http://schemas.microsoft.com/office/drawing/2014/main" id="{F15FD499-7902-4AE9-9A2B-DEE050FB5DC3}"/>
                </a:ext>
              </a:extLst>
            </p:cNvPr>
            <p:cNvSpPr>
              <a:spLocks/>
            </p:cNvSpPr>
            <p:nvPr/>
          </p:nvSpPr>
          <p:spPr bwMode="auto">
            <a:xfrm>
              <a:off x="2370693" y="13447"/>
              <a:ext cx="40682" cy="132982"/>
            </a:xfrm>
            <a:custGeom>
              <a:avLst/>
              <a:gdLst>
                <a:gd name="T0" fmla="*/ 73 w 73"/>
                <a:gd name="T1" fmla="*/ 37 h 239"/>
                <a:gd name="T2" fmla="*/ 73 w 73"/>
                <a:gd name="T3" fmla="*/ 203 h 239"/>
                <a:gd name="T4" fmla="*/ 73 w 73"/>
                <a:gd name="T5" fmla="*/ 203 h 239"/>
                <a:gd name="T6" fmla="*/ 71 w 73"/>
                <a:gd name="T7" fmla="*/ 210 h 239"/>
                <a:gd name="T8" fmla="*/ 70 w 73"/>
                <a:gd name="T9" fmla="*/ 217 h 239"/>
                <a:gd name="T10" fmla="*/ 66 w 73"/>
                <a:gd name="T11" fmla="*/ 222 h 239"/>
                <a:gd name="T12" fmla="*/ 63 w 73"/>
                <a:gd name="T13" fmla="*/ 227 h 239"/>
                <a:gd name="T14" fmla="*/ 58 w 73"/>
                <a:gd name="T15" fmla="*/ 232 h 239"/>
                <a:gd name="T16" fmla="*/ 51 w 73"/>
                <a:gd name="T17" fmla="*/ 236 h 239"/>
                <a:gd name="T18" fmla="*/ 44 w 73"/>
                <a:gd name="T19" fmla="*/ 237 h 239"/>
                <a:gd name="T20" fmla="*/ 37 w 73"/>
                <a:gd name="T21" fmla="*/ 239 h 239"/>
                <a:gd name="T22" fmla="*/ 37 w 73"/>
                <a:gd name="T23" fmla="*/ 239 h 239"/>
                <a:gd name="T24" fmla="*/ 30 w 73"/>
                <a:gd name="T25" fmla="*/ 237 h 239"/>
                <a:gd name="T26" fmla="*/ 23 w 73"/>
                <a:gd name="T27" fmla="*/ 236 h 239"/>
                <a:gd name="T28" fmla="*/ 16 w 73"/>
                <a:gd name="T29" fmla="*/ 232 h 239"/>
                <a:gd name="T30" fmla="*/ 11 w 73"/>
                <a:gd name="T31" fmla="*/ 227 h 239"/>
                <a:gd name="T32" fmla="*/ 6 w 73"/>
                <a:gd name="T33" fmla="*/ 222 h 239"/>
                <a:gd name="T34" fmla="*/ 4 w 73"/>
                <a:gd name="T35" fmla="*/ 217 h 239"/>
                <a:gd name="T36" fmla="*/ 0 w 73"/>
                <a:gd name="T37" fmla="*/ 210 h 239"/>
                <a:gd name="T38" fmla="*/ 0 w 73"/>
                <a:gd name="T39" fmla="*/ 203 h 239"/>
                <a:gd name="T40" fmla="*/ 0 w 73"/>
                <a:gd name="T41" fmla="*/ 37 h 239"/>
                <a:gd name="T42" fmla="*/ 0 w 73"/>
                <a:gd name="T43" fmla="*/ 37 h 239"/>
                <a:gd name="T44" fmla="*/ 0 w 73"/>
                <a:gd name="T45" fmla="*/ 30 h 239"/>
                <a:gd name="T46" fmla="*/ 4 w 73"/>
                <a:gd name="T47" fmla="*/ 23 h 239"/>
                <a:gd name="T48" fmla="*/ 6 w 73"/>
                <a:gd name="T49" fmla="*/ 16 h 239"/>
                <a:gd name="T50" fmla="*/ 11 w 73"/>
                <a:gd name="T51" fmla="*/ 11 h 239"/>
                <a:gd name="T52" fmla="*/ 16 w 73"/>
                <a:gd name="T53" fmla="*/ 6 h 239"/>
                <a:gd name="T54" fmla="*/ 23 w 73"/>
                <a:gd name="T55" fmla="*/ 4 h 239"/>
                <a:gd name="T56" fmla="*/ 30 w 73"/>
                <a:gd name="T57" fmla="*/ 0 h 239"/>
                <a:gd name="T58" fmla="*/ 37 w 73"/>
                <a:gd name="T59" fmla="*/ 0 h 239"/>
                <a:gd name="T60" fmla="*/ 37 w 73"/>
                <a:gd name="T61" fmla="*/ 0 h 239"/>
                <a:gd name="T62" fmla="*/ 44 w 73"/>
                <a:gd name="T63" fmla="*/ 0 h 239"/>
                <a:gd name="T64" fmla="*/ 51 w 73"/>
                <a:gd name="T65" fmla="*/ 4 h 239"/>
                <a:gd name="T66" fmla="*/ 58 w 73"/>
                <a:gd name="T67" fmla="*/ 6 h 239"/>
                <a:gd name="T68" fmla="*/ 63 w 73"/>
                <a:gd name="T69" fmla="*/ 11 h 239"/>
                <a:gd name="T70" fmla="*/ 66 w 73"/>
                <a:gd name="T71" fmla="*/ 16 h 239"/>
                <a:gd name="T72" fmla="*/ 70 w 73"/>
                <a:gd name="T73" fmla="*/ 23 h 239"/>
                <a:gd name="T74" fmla="*/ 71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1" y="210"/>
                  </a:lnTo>
                  <a:lnTo>
                    <a:pt x="70" y="217"/>
                  </a:lnTo>
                  <a:lnTo>
                    <a:pt x="66" y="222"/>
                  </a:lnTo>
                  <a:lnTo>
                    <a:pt x="63" y="227"/>
                  </a:lnTo>
                  <a:lnTo>
                    <a:pt x="58" y="232"/>
                  </a:lnTo>
                  <a:lnTo>
                    <a:pt x="51" y="236"/>
                  </a:lnTo>
                  <a:lnTo>
                    <a:pt x="44" y="237"/>
                  </a:lnTo>
                  <a:lnTo>
                    <a:pt x="37" y="239"/>
                  </a:lnTo>
                  <a:lnTo>
                    <a:pt x="37" y="239"/>
                  </a:lnTo>
                  <a:lnTo>
                    <a:pt x="30" y="237"/>
                  </a:lnTo>
                  <a:lnTo>
                    <a:pt x="23" y="236"/>
                  </a:lnTo>
                  <a:lnTo>
                    <a:pt x="16" y="232"/>
                  </a:lnTo>
                  <a:lnTo>
                    <a:pt x="11" y="227"/>
                  </a:lnTo>
                  <a:lnTo>
                    <a:pt x="6" y="222"/>
                  </a:lnTo>
                  <a:lnTo>
                    <a:pt x="4" y="217"/>
                  </a:lnTo>
                  <a:lnTo>
                    <a:pt x="0" y="210"/>
                  </a:lnTo>
                  <a:lnTo>
                    <a:pt x="0" y="203"/>
                  </a:lnTo>
                  <a:lnTo>
                    <a:pt x="0" y="37"/>
                  </a:lnTo>
                  <a:lnTo>
                    <a:pt x="0" y="37"/>
                  </a:lnTo>
                  <a:lnTo>
                    <a:pt x="0" y="30"/>
                  </a:lnTo>
                  <a:lnTo>
                    <a:pt x="4" y="23"/>
                  </a:lnTo>
                  <a:lnTo>
                    <a:pt x="6" y="16"/>
                  </a:lnTo>
                  <a:lnTo>
                    <a:pt x="11" y="11"/>
                  </a:lnTo>
                  <a:lnTo>
                    <a:pt x="16" y="6"/>
                  </a:lnTo>
                  <a:lnTo>
                    <a:pt x="23" y="4"/>
                  </a:lnTo>
                  <a:lnTo>
                    <a:pt x="30" y="0"/>
                  </a:lnTo>
                  <a:lnTo>
                    <a:pt x="37" y="0"/>
                  </a:lnTo>
                  <a:lnTo>
                    <a:pt x="37" y="0"/>
                  </a:lnTo>
                  <a:lnTo>
                    <a:pt x="44" y="0"/>
                  </a:lnTo>
                  <a:lnTo>
                    <a:pt x="51" y="4"/>
                  </a:lnTo>
                  <a:lnTo>
                    <a:pt x="58" y="6"/>
                  </a:lnTo>
                  <a:lnTo>
                    <a:pt x="63" y="11"/>
                  </a:lnTo>
                  <a:lnTo>
                    <a:pt x="66" y="16"/>
                  </a:lnTo>
                  <a:lnTo>
                    <a:pt x="70" y="23"/>
                  </a:lnTo>
                  <a:lnTo>
                    <a:pt x="71" y="30"/>
                  </a:lnTo>
                  <a:lnTo>
                    <a:pt x="73" y="37"/>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0" name="Freeform 37">
              <a:extLst>
                <a:ext uri="{FF2B5EF4-FFF2-40B4-BE49-F238E27FC236}">
                  <a16:creationId xmlns:a16="http://schemas.microsoft.com/office/drawing/2014/main" id="{F9A3A63D-3362-48E2-BB04-4A0207E804F0}"/>
                </a:ext>
              </a:extLst>
            </p:cNvPr>
            <p:cNvSpPr>
              <a:spLocks/>
            </p:cNvSpPr>
            <p:nvPr/>
          </p:nvSpPr>
          <p:spPr bwMode="auto">
            <a:xfrm>
              <a:off x="2802589" y="13447"/>
              <a:ext cx="40682" cy="132982"/>
            </a:xfrm>
            <a:custGeom>
              <a:avLst/>
              <a:gdLst>
                <a:gd name="T0" fmla="*/ 73 w 73"/>
                <a:gd name="T1" fmla="*/ 37 h 239"/>
                <a:gd name="T2" fmla="*/ 73 w 73"/>
                <a:gd name="T3" fmla="*/ 203 h 239"/>
                <a:gd name="T4" fmla="*/ 73 w 73"/>
                <a:gd name="T5" fmla="*/ 203 h 239"/>
                <a:gd name="T6" fmla="*/ 71 w 73"/>
                <a:gd name="T7" fmla="*/ 210 h 239"/>
                <a:gd name="T8" fmla="*/ 69 w 73"/>
                <a:gd name="T9" fmla="*/ 217 h 239"/>
                <a:gd name="T10" fmla="*/ 66 w 73"/>
                <a:gd name="T11" fmla="*/ 222 h 239"/>
                <a:gd name="T12" fmla="*/ 62 w 73"/>
                <a:gd name="T13" fmla="*/ 227 h 239"/>
                <a:gd name="T14" fmla="*/ 57 w 73"/>
                <a:gd name="T15" fmla="*/ 232 h 239"/>
                <a:gd name="T16" fmla="*/ 50 w 73"/>
                <a:gd name="T17" fmla="*/ 236 h 239"/>
                <a:gd name="T18" fmla="*/ 43 w 73"/>
                <a:gd name="T19" fmla="*/ 237 h 239"/>
                <a:gd name="T20" fmla="*/ 36 w 73"/>
                <a:gd name="T21" fmla="*/ 239 h 239"/>
                <a:gd name="T22" fmla="*/ 36 w 73"/>
                <a:gd name="T23" fmla="*/ 239 h 239"/>
                <a:gd name="T24" fmla="*/ 29 w 73"/>
                <a:gd name="T25" fmla="*/ 237 h 239"/>
                <a:gd name="T26" fmla="*/ 22 w 73"/>
                <a:gd name="T27" fmla="*/ 236 h 239"/>
                <a:gd name="T28" fmla="*/ 15 w 73"/>
                <a:gd name="T29" fmla="*/ 232 h 239"/>
                <a:gd name="T30" fmla="*/ 10 w 73"/>
                <a:gd name="T31" fmla="*/ 227 h 239"/>
                <a:gd name="T32" fmla="*/ 5 w 73"/>
                <a:gd name="T33" fmla="*/ 222 h 239"/>
                <a:gd name="T34" fmla="*/ 2 w 73"/>
                <a:gd name="T35" fmla="*/ 217 h 239"/>
                <a:gd name="T36" fmla="*/ 0 w 73"/>
                <a:gd name="T37" fmla="*/ 210 h 239"/>
                <a:gd name="T38" fmla="*/ 0 w 73"/>
                <a:gd name="T39" fmla="*/ 203 h 239"/>
                <a:gd name="T40" fmla="*/ 0 w 73"/>
                <a:gd name="T41" fmla="*/ 37 h 239"/>
                <a:gd name="T42" fmla="*/ 0 w 73"/>
                <a:gd name="T43" fmla="*/ 37 h 239"/>
                <a:gd name="T44" fmla="*/ 0 w 73"/>
                <a:gd name="T45" fmla="*/ 30 h 239"/>
                <a:gd name="T46" fmla="*/ 2 w 73"/>
                <a:gd name="T47" fmla="*/ 23 h 239"/>
                <a:gd name="T48" fmla="*/ 5 w 73"/>
                <a:gd name="T49" fmla="*/ 16 h 239"/>
                <a:gd name="T50" fmla="*/ 10 w 73"/>
                <a:gd name="T51" fmla="*/ 11 h 239"/>
                <a:gd name="T52" fmla="*/ 15 w 73"/>
                <a:gd name="T53" fmla="*/ 6 h 239"/>
                <a:gd name="T54" fmla="*/ 22 w 73"/>
                <a:gd name="T55" fmla="*/ 4 h 239"/>
                <a:gd name="T56" fmla="*/ 29 w 73"/>
                <a:gd name="T57" fmla="*/ 0 h 239"/>
                <a:gd name="T58" fmla="*/ 36 w 73"/>
                <a:gd name="T59" fmla="*/ 0 h 239"/>
                <a:gd name="T60" fmla="*/ 36 w 73"/>
                <a:gd name="T61" fmla="*/ 0 h 239"/>
                <a:gd name="T62" fmla="*/ 43 w 73"/>
                <a:gd name="T63" fmla="*/ 0 h 239"/>
                <a:gd name="T64" fmla="*/ 50 w 73"/>
                <a:gd name="T65" fmla="*/ 4 h 239"/>
                <a:gd name="T66" fmla="*/ 57 w 73"/>
                <a:gd name="T67" fmla="*/ 6 h 239"/>
                <a:gd name="T68" fmla="*/ 62 w 73"/>
                <a:gd name="T69" fmla="*/ 11 h 239"/>
                <a:gd name="T70" fmla="*/ 66 w 73"/>
                <a:gd name="T71" fmla="*/ 16 h 239"/>
                <a:gd name="T72" fmla="*/ 69 w 73"/>
                <a:gd name="T73" fmla="*/ 23 h 239"/>
                <a:gd name="T74" fmla="*/ 71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1" y="210"/>
                  </a:lnTo>
                  <a:lnTo>
                    <a:pt x="69" y="217"/>
                  </a:lnTo>
                  <a:lnTo>
                    <a:pt x="66" y="222"/>
                  </a:lnTo>
                  <a:lnTo>
                    <a:pt x="62" y="227"/>
                  </a:lnTo>
                  <a:lnTo>
                    <a:pt x="57" y="232"/>
                  </a:lnTo>
                  <a:lnTo>
                    <a:pt x="50" y="236"/>
                  </a:lnTo>
                  <a:lnTo>
                    <a:pt x="43" y="237"/>
                  </a:lnTo>
                  <a:lnTo>
                    <a:pt x="36" y="239"/>
                  </a:lnTo>
                  <a:lnTo>
                    <a:pt x="36" y="239"/>
                  </a:lnTo>
                  <a:lnTo>
                    <a:pt x="29" y="237"/>
                  </a:lnTo>
                  <a:lnTo>
                    <a:pt x="22" y="236"/>
                  </a:lnTo>
                  <a:lnTo>
                    <a:pt x="15" y="232"/>
                  </a:lnTo>
                  <a:lnTo>
                    <a:pt x="10" y="227"/>
                  </a:lnTo>
                  <a:lnTo>
                    <a:pt x="5" y="222"/>
                  </a:lnTo>
                  <a:lnTo>
                    <a:pt x="2" y="217"/>
                  </a:lnTo>
                  <a:lnTo>
                    <a:pt x="0" y="210"/>
                  </a:lnTo>
                  <a:lnTo>
                    <a:pt x="0" y="203"/>
                  </a:lnTo>
                  <a:lnTo>
                    <a:pt x="0" y="37"/>
                  </a:lnTo>
                  <a:lnTo>
                    <a:pt x="0" y="37"/>
                  </a:lnTo>
                  <a:lnTo>
                    <a:pt x="0" y="30"/>
                  </a:lnTo>
                  <a:lnTo>
                    <a:pt x="2" y="23"/>
                  </a:lnTo>
                  <a:lnTo>
                    <a:pt x="5" y="16"/>
                  </a:lnTo>
                  <a:lnTo>
                    <a:pt x="10" y="11"/>
                  </a:lnTo>
                  <a:lnTo>
                    <a:pt x="15" y="6"/>
                  </a:lnTo>
                  <a:lnTo>
                    <a:pt x="22" y="4"/>
                  </a:lnTo>
                  <a:lnTo>
                    <a:pt x="29" y="0"/>
                  </a:lnTo>
                  <a:lnTo>
                    <a:pt x="36" y="0"/>
                  </a:lnTo>
                  <a:lnTo>
                    <a:pt x="36" y="0"/>
                  </a:lnTo>
                  <a:lnTo>
                    <a:pt x="43" y="0"/>
                  </a:lnTo>
                  <a:lnTo>
                    <a:pt x="50" y="4"/>
                  </a:lnTo>
                  <a:lnTo>
                    <a:pt x="57" y="6"/>
                  </a:lnTo>
                  <a:lnTo>
                    <a:pt x="62" y="11"/>
                  </a:lnTo>
                  <a:lnTo>
                    <a:pt x="66" y="16"/>
                  </a:lnTo>
                  <a:lnTo>
                    <a:pt x="69" y="23"/>
                  </a:lnTo>
                  <a:lnTo>
                    <a:pt x="71" y="30"/>
                  </a:lnTo>
                  <a:lnTo>
                    <a:pt x="73" y="3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1" name="Freeform 38">
              <a:extLst>
                <a:ext uri="{FF2B5EF4-FFF2-40B4-BE49-F238E27FC236}">
                  <a16:creationId xmlns:a16="http://schemas.microsoft.com/office/drawing/2014/main" id="{784D599A-0200-4BBE-8FE3-07EB6CB1D820}"/>
                </a:ext>
              </a:extLst>
            </p:cNvPr>
            <p:cNvSpPr>
              <a:spLocks/>
            </p:cNvSpPr>
            <p:nvPr/>
          </p:nvSpPr>
          <p:spPr bwMode="auto">
            <a:xfrm>
              <a:off x="2802589" y="13447"/>
              <a:ext cx="40682" cy="132982"/>
            </a:xfrm>
            <a:custGeom>
              <a:avLst/>
              <a:gdLst>
                <a:gd name="T0" fmla="*/ 73 w 73"/>
                <a:gd name="T1" fmla="*/ 37 h 239"/>
                <a:gd name="T2" fmla="*/ 73 w 73"/>
                <a:gd name="T3" fmla="*/ 203 h 239"/>
                <a:gd name="T4" fmla="*/ 73 w 73"/>
                <a:gd name="T5" fmla="*/ 203 h 239"/>
                <a:gd name="T6" fmla="*/ 71 w 73"/>
                <a:gd name="T7" fmla="*/ 210 h 239"/>
                <a:gd name="T8" fmla="*/ 69 w 73"/>
                <a:gd name="T9" fmla="*/ 217 h 239"/>
                <a:gd name="T10" fmla="*/ 66 w 73"/>
                <a:gd name="T11" fmla="*/ 222 h 239"/>
                <a:gd name="T12" fmla="*/ 62 w 73"/>
                <a:gd name="T13" fmla="*/ 227 h 239"/>
                <a:gd name="T14" fmla="*/ 57 w 73"/>
                <a:gd name="T15" fmla="*/ 232 h 239"/>
                <a:gd name="T16" fmla="*/ 50 w 73"/>
                <a:gd name="T17" fmla="*/ 236 h 239"/>
                <a:gd name="T18" fmla="*/ 43 w 73"/>
                <a:gd name="T19" fmla="*/ 237 h 239"/>
                <a:gd name="T20" fmla="*/ 36 w 73"/>
                <a:gd name="T21" fmla="*/ 239 h 239"/>
                <a:gd name="T22" fmla="*/ 36 w 73"/>
                <a:gd name="T23" fmla="*/ 239 h 239"/>
                <a:gd name="T24" fmla="*/ 29 w 73"/>
                <a:gd name="T25" fmla="*/ 237 h 239"/>
                <a:gd name="T26" fmla="*/ 22 w 73"/>
                <a:gd name="T27" fmla="*/ 236 h 239"/>
                <a:gd name="T28" fmla="*/ 15 w 73"/>
                <a:gd name="T29" fmla="*/ 232 h 239"/>
                <a:gd name="T30" fmla="*/ 10 w 73"/>
                <a:gd name="T31" fmla="*/ 227 h 239"/>
                <a:gd name="T32" fmla="*/ 5 w 73"/>
                <a:gd name="T33" fmla="*/ 222 h 239"/>
                <a:gd name="T34" fmla="*/ 2 w 73"/>
                <a:gd name="T35" fmla="*/ 217 h 239"/>
                <a:gd name="T36" fmla="*/ 0 w 73"/>
                <a:gd name="T37" fmla="*/ 210 h 239"/>
                <a:gd name="T38" fmla="*/ 0 w 73"/>
                <a:gd name="T39" fmla="*/ 203 h 239"/>
                <a:gd name="T40" fmla="*/ 0 w 73"/>
                <a:gd name="T41" fmla="*/ 37 h 239"/>
                <a:gd name="T42" fmla="*/ 0 w 73"/>
                <a:gd name="T43" fmla="*/ 37 h 239"/>
                <a:gd name="T44" fmla="*/ 0 w 73"/>
                <a:gd name="T45" fmla="*/ 30 h 239"/>
                <a:gd name="T46" fmla="*/ 2 w 73"/>
                <a:gd name="T47" fmla="*/ 23 h 239"/>
                <a:gd name="T48" fmla="*/ 5 w 73"/>
                <a:gd name="T49" fmla="*/ 16 h 239"/>
                <a:gd name="T50" fmla="*/ 10 w 73"/>
                <a:gd name="T51" fmla="*/ 11 h 239"/>
                <a:gd name="T52" fmla="*/ 15 w 73"/>
                <a:gd name="T53" fmla="*/ 6 h 239"/>
                <a:gd name="T54" fmla="*/ 22 w 73"/>
                <a:gd name="T55" fmla="*/ 4 h 239"/>
                <a:gd name="T56" fmla="*/ 29 w 73"/>
                <a:gd name="T57" fmla="*/ 0 h 239"/>
                <a:gd name="T58" fmla="*/ 36 w 73"/>
                <a:gd name="T59" fmla="*/ 0 h 239"/>
                <a:gd name="T60" fmla="*/ 36 w 73"/>
                <a:gd name="T61" fmla="*/ 0 h 239"/>
                <a:gd name="T62" fmla="*/ 43 w 73"/>
                <a:gd name="T63" fmla="*/ 0 h 239"/>
                <a:gd name="T64" fmla="*/ 50 w 73"/>
                <a:gd name="T65" fmla="*/ 4 h 239"/>
                <a:gd name="T66" fmla="*/ 57 w 73"/>
                <a:gd name="T67" fmla="*/ 6 h 239"/>
                <a:gd name="T68" fmla="*/ 62 w 73"/>
                <a:gd name="T69" fmla="*/ 11 h 239"/>
                <a:gd name="T70" fmla="*/ 66 w 73"/>
                <a:gd name="T71" fmla="*/ 16 h 239"/>
                <a:gd name="T72" fmla="*/ 69 w 73"/>
                <a:gd name="T73" fmla="*/ 23 h 239"/>
                <a:gd name="T74" fmla="*/ 71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1" y="210"/>
                  </a:lnTo>
                  <a:lnTo>
                    <a:pt x="69" y="217"/>
                  </a:lnTo>
                  <a:lnTo>
                    <a:pt x="66" y="222"/>
                  </a:lnTo>
                  <a:lnTo>
                    <a:pt x="62" y="227"/>
                  </a:lnTo>
                  <a:lnTo>
                    <a:pt x="57" y="232"/>
                  </a:lnTo>
                  <a:lnTo>
                    <a:pt x="50" y="236"/>
                  </a:lnTo>
                  <a:lnTo>
                    <a:pt x="43" y="237"/>
                  </a:lnTo>
                  <a:lnTo>
                    <a:pt x="36" y="239"/>
                  </a:lnTo>
                  <a:lnTo>
                    <a:pt x="36" y="239"/>
                  </a:lnTo>
                  <a:lnTo>
                    <a:pt x="29" y="237"/>
                  </a:lnTo>
                  <a:lnTo>
                    <a:pt x="22" y="236"/>
                  </a:lnTo>
                  <a:lnTo>
                    <a:pt x="15" y="232"/>
                  </a:lnTo>
                  <a:lnTo>
                    <a:pt x="10" y="227"/>
                  </a:lnTo>
                  <a:lnTo>
                    <a:pt x="5" y="222"/>
                  </a:lnTo>
                  <a:lnTo>
                    <a:pt x="2" y="217"/>
                  </a:lnTo>
                  <a:lnTo>
                    <a:pt x="0" y="210"/>
                  </a:lnTo>
                  <a:lnTo>
                    <a:pt x="0" y="203"/>
                  </a:lnTo>
                  <a:lnTo>
                    <a:pt x="0" y="37"/>
                  </a:lnTo>
                  <a:lnTo>
                    <a:pt x="0" y="37"/>
                  </a:lnTo>
                  <a:lnTo>
                    <a:pt x="0" y="30"/>
                  </a:lnTo>
                  <a:lnTo>
                    <a:pt x="2" y="23"/>
                  </a:lnTo>
                  <a:lnTo>
                    <a:pt x="5" y="16"/>
                  </a:lnTo>
                  <a:lnTo>
                    <a:pt x="10" y="11"/>
                  </a:lnTo>
                  <a:lnTo>
                    <a:pt x="15" y="6"/>
                  </a:lnTo>
                  <a:lnTo>
                    <a:pt x="22" y="4"/>
                  </a:lnTo>
                  <a:lnTo>
                    <a:pt x="29" y="0"/>
                  </a:lnTo>
                  <a:lnTo>
                    <a:pt x="36" y="0"/>
                  </a:lnTo>
                  <a:lnTo>
                    <a:pt x="36" y="0"/>
                  </a:lnTo>
                  <a:lnTo>
                    <a:pt x="43" y="0"/>
                  </a:lnTo>
                  <a:lnTo>
                    <a:pt x="50" y="4"/>
                  </a:lnTo>
                  <a:lnTo>
                    <a:pt x="57" y="6"/>
                  </a:lnTo>
                  <a:lnTo>
                    <a:pt x="62" y="11"/>
                  </a:lnTo>
                  <a:lnTo>
                    <a:pt x="66" y="16"/>
                  </a:lnTo>
                  <a:lnTo>
                    <a:pt x="69" y="23"/>
                  </a:lnTo>
                  <a:lnTo>
                    <a:pt x="71" y="30"/>
                  </a:lnTo>
                  <a:lnTo>
                    <a:pt x="73" y="37"/>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2" name="Freeform 39">
              <a:extLst>
                <a:ext uri="{FF2B5EF4-FFF2-40B4-BE49-F238E27FC236}">
                  <a16:creationId xmlns:a16="http://schemas.microsoft.com/office/drawing/2014/main" id="{BDAC7A65-B229-414B-AEA2-A045DFE29849}"/>
                </a:ext>
              </a:extLst>
            </p:cNvPr>
            <p:cNvSpPr>
              <a:spLocks/>
            </p:cNvSpPr>
            <p:nvPr/>
          </p:nvSpPr>
          <p:spPr bwMode="auto">
            <a:xfrm>
              <a:off x="2946370" y="-152920"/>
              <a:ext cx="40124" cy="465159"/>
            </a:xfrm>
            <a:custGeom>
              <a:avLst/>
              <a:gdLst>
                <a:gd name="T0" fmla="*/ 72 w 72"/>
                <a:gd name="T1" fmla="*/ 36 h 836"/>
                <a:gd name="T2" fmla="*/ 72 w 72"/>
                <a:gd name="T3" fmla="*/ 799 h 836"/>
                <a:gd name="T4" fmla="*/ 72 w 72"/>
                <a:gd name="T5" fmla="*/ 799 h 836"/>
                <a:gd name="T6" fmla="*/ 72 w 72"/>
                <a:gd name="T7" fmla="*/ 806 h 836"/>
                <a:gd name="T8" fmla="*/ 70 w 72"/>
                <a:gd name="T9" fmla="*/ 813 h 836"/>
                <a:gd name="T10" fmla="*/ 67 w 72"/>
                <a:gd name="T11" fmla="*/ 820 h 836"/>
                <a:gd name="T12" fmla="*/ 62 w 72"/>
                <a:gd name="T13" fmla="*/ 825 h 836"/>
                <a:gd name="T14" fmla="*/ 57 w 72"/>
                <a:gd name="T15" fmla="*/ 830 h 836"/>
                <a:gd name="T16" fmla="*/ 50 w 72"/>
                <a:gd name="T17" fmla="*/ 834 h 836"/>
                <a:gd name="T18" fmla="*/ 43 w 72"/>
                <a:gd name="T19" fmla="*/ 836 h 836"/>
                <a:gd name="T20" fmla="*/ 36 w 72"/>
                <a:gd name="T21" fmla="*/ 836 h 836"/>
                <a:gd name="T22" fmla="*/ 36 w 72"/>
                <a:gd name="T23" fmla="*/ 836 h 836"/>
                <a:gd name="T24" fmla="*/ 29 w 72"/>
                <a:gd name="T25" fmla="*/ 836 h 836"/>
                <a:gd name="T26" fmla="*/ 22 w 72"/>
                <a:gd name="T27" fmla="*/ 834 h 836"/>
                <a:gd name="T28" fmla="*/ 15 w 72"/>
                <a:gd name="T29" fmla="*/ 830 h 836"/>
                <a:gd name="T30" fmla="*/ 10 w 72"/>
                <a:gd name="T31" fmla="*/ 825 h 836"/>
                <a:gd name="T32" fmla="*/ 6 w 72"/>
                <a:gd name="T33" fmla="*/ 820 h 836"/>
                <a:gd name="T34" fmla="*/ 3 w 72"/>
                <a:gd name="T35" fmla="*/ 813 h 836"/>
                <a:gd name="T36" fmla="*/ 1 w 72"/>
                <a:gd name="T37" fmla="*/ 806 h 836"/>
                <a:gd name="T38" fmla="*/ 0 w 72"/>
                <a:gd name="T39" fmla="*/ 799 h 836"/>
                <a:gd name="T40" fmla="*/ 0 w 72"/>
                <a:gd name="T41" fmla="*/ 36 h 836"/>
                <a:gd name="T42" fmla="*/ 0 w 72"/>
                <a:gd name="T43" fmla="*/ 36 h 836"/>
                <a:gd name="T44" fmla="*/ 1 w 72"/>
                <a:gd name="T45" fmla="*/ 30 h 836"/>
                <a:gd name="T46" fmla="*/ 3 w 72"/>
                <a:gd name="T47" fmla="*/ 23 h 836"/>
                <a:gd name="T48" fmla="*/ 6 w 72"/>
                <a:gd name="T49" fmla="*/ 16 h 836"/>
                <a:gd name="T50" fmla="*/ 10 w 72"/>
                <a:gd name="T51" fmla="*/ 11 h 836"/>
                <a:gd name="T52" fmla="*/ 15 w 72"/>
                <a:gd name="T53" fmla="*/ 7 h 836"/>
                <a:gd name="T54" fmla="*/ 22 w 72"/>
                <a:gd name="T55" fmla="*/ 4 h 836"/>
                <a:gd name="T56" fmla="*/ 29 w 72"/>
                <a:gd name="T57" fmla="*/ 2 h 836"/>
                <a:gd name="T58" fmla="*/ 36 w 72"/>
                <a:gd name="T59" fmla="*/ 0 h 836"/>
                <a:gd name="T60" fmla="*/ 36 w 72"/>
                <a:gd name="T61" fmla="*/ 0 h 836"/>
                <a:gd name="T62" fmla="*/ 43 w 72"/>
                <a:gd name="T63" fmla="*/ 2 h 836"/>
                <a:gd name="T64" fmla="*/ 50 w 72"/>
                <a:gd name="T65" fmla="*/ 4 h 836"/>
                <a:gd name="T66" fmla="*/ 57 w 72"/>
                <a:gd name="T67" fmla="*/ 7 h 836"/>
                <a:gd name="T68" fmla="*/ 62 w 72"/>
                <a:gd name="T69" fmla="*/ 11 h 836"/>
                <a:gd name="T70" fmla="*/ 67 w 72"/>
                <a:gd name="T71" fmla="*/ 16 h 836"/>
                <a:gd name="T72" fmla="*/ 70 w 72"/>
                <a:gd name="T73" fmla="*/ 23 h 836"/>
                <a:gd name="T74" fmla="*/ 72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2" y="806"/>
                  </a:lnTo>
                  <a:lnTo>
                    <a:pt x="70" y="813"/>
                  </a:lnTo>
                  <a:lnTo>
                    <a:pt x="67" y="820"/>
                  </a:lnTo>
                  <a:lnTo>
                    <a:pt x="62" y="825"/>
                  </a:lnTo>
                  <a:lnTo>
                    <a:pt x="57" y="830"/>
                  </a:lnTo>
                  <a:lnTo>
                    <a:pt x="50" y="834"/>
                  </a:lnTo>
                  <a:lnTo>
                    <a:pt x="43" y="836"/>
                  </a:lnTo>
                  <a:lnTo>
                    <a:pt x="36" y="836"/>
                  </a:lnTo>
                  <a:lnTo>
                    <a:pt x="36" y="836"/>
                  </a:lnTo>
                  <a:lnTo>
                    <a:pt x="29" y="836"/>
                  </a:lnTo>
                  <a:lnTo>
                    <a:pt x="22" y="834"/>
                  </a:lnTo>
                  <a:lnTo>
                    <a:pt x="15" y="830"/>
                  </a:lnTo>
                  <a:lnTo>
                    <a:pt x="10" y="825"/>
                  </a:lnTo>
                  <a:lnTo>
                    <a:pt x="6" y="820"/>
                  </a:lnTo>
                  <a:lnTo>
                    <a:pt x="3" y="813"/>
                  </a:lnTo>
                  <a:lnTo>
                    <a:pt x="1" y="806"/>
                  </a:lnTo>
                  <a:lnTo>
                    <a:pt x="0" y="799"/>
                  </a:lnTo>
                  <a:lnTo>
                    <a:pt x="0" y="36"/>
                  </a:lnTo>
                  <a:lnTo>
                    <a:pt x="0" y="36"/>
                  </a:lnTo>
                  <a:lnTo>
                    <a:pt x="1" y="30"/>
                  </a:lnTo>
                  <a:lnTo>
                    <a:pt x="3" y="23"/>
                  </a:lnTo>
                  <a:lnTo>
                    <a:pt x="6" y="16"/>
                  </a:lnTo>
                  <a:lnTo>
                    <a:pt x="10" y="11"/>
                  </a:lnTo>
                  <a:lnTo>
                    <a:pt x="15" y="7"/>
                  </a:lnTo>
                  <a:lnTo>
                    <a:pt x="22" y="4"/>
                  </a:lnTo>
                  <a:lnTo>
                    <a:pt x="29" y="2"/>
                  </a:lnTo>
                  <a:lnTo>
                    <a:pt x="36" y="0"/>
                  </a:lnTo>
                  <a:lnTo>
                    <a:pt x="36" y="0"/>
                  </a:lnTo>
                  <a:lnTo>
                    <a:pt x="43" y="2"/>
                  </a:lnTo>
                  <a:lnTo>
                    <a:pt x="50" y="4"/>
                  </a:lnTo>
                  <a:lnTo>
                    <a:pt x="57" y="7"/>
                  </a:lnTo>
                  <a:lnTo>
                    <a:pt x="62" y="11"/>
                  </a:lnTo>
                  <a:lnTo>
                    <a:pt x="67" y="16"/>
                  </a:lnTo>
                  <a:lnTo>
                    <a:pt x="70" y="23"/>
                  </a:lnTo>
                  <a:lnTo>
                    <a:pt x="72" y="30"/>
                  </a:lnTo>
                  <a:lnTo>
                    <a:pt x="72" y="3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3" name="Freeform 40">
              <a:extLst>
                <a:ext uri="{FF2B5EF4-FFF2-40B4-BE49-F238E27FC236}">
                  <a16:creationId xmlns:a16="http://schemas.microsoft.com/office/drawing/2014/main" id="{829E2E24-9F21-464B-B677-D2CA71F4134C}"/>
                </a:ext>
              </a:extLst>
            </p:cNvPr>
            <p:cNvSpPr>
              <a:spLocks/>
            </p:cNvSpPr>
            <p:nvPr/>
          </p:nvSpPr>
          <p:spPr bwMode="auto">
            <a:xfrm>
              <a:off x="2946370" y="-152920"/>
              <a:ext cx="40124" cy="465159"/>
            </a:xfrm>
            <a:custGeom>
              <a:avLst/>
              <a:gdLst>
                <a:gd name="T0" fmla="*/ 72 w 72"/>
                <a:gd name="T1" fmla="*/ 36 h 836"/>
                <a:gd name="T2" fmla="*/ 72 w 72"/>
                <a:gd name="T3" fmla="*/ 799 h 836"/>
                <a:gd name="T4" fmla="*/ 72 w 72"/>
                <a:gd name="T5" fmla="*/ 799 h 836"/>
                <a:gd name="T6" fmla="*/ 72 w 72"/>
                <a:gd name="T7" fmla="*/ 806 h 836"/>
                <a:gd name="T8" fmla="*/ 70 w 72"/>
                <a:gd name="T9" fmla="*/ 813 h 836"/>
                <a:gd name="T10" fmla="*/ 67 w 72"/>
                <a:gd name="T11" fmla="*/ 820 h 836"/>
                <a:gd name="T12" fmla="*/ 62 w 72"/>
                <a:gd name="T13" fmla="*/ 825 h 836"/>
                <a:gd name="T14" fmla="*/ 57 w 72"/>
                <a:gd name="T15" fmla="*/ 830 h 836"/>
                <a:gd name="T16" fmla="*/ 50 w 72"/>
                <a:gd name="T17" fmla="*/ 834 h 836"/>
                <a:gd name="T18" fmla="*/ 43 w 72"/>
                <a:gd name="T19" fmla="*/ 836 h 836"/>
                <a:gd name="T20" fmla="*/ 36 w 72"/>
                <a:gd name="T21" fmla="*/ 836 h 836"/>
                <a:gd name="T22" fmla="*/ 36 w 72"/>
                <a:gd name="T23" fmla="*/ 836 h 836"/>
                <a:gd name="T24" fmla="*/ 29 w 72"/>
                <a:gd name="T25" fmla="*/ 836 h 836"/>
                <a:gd name="T26" fmla="*/ 22 w 72"/>
                <a:gd name="T27" fmla="*/ 834 h 836"/>
                <a:gd name="T28" fmla="*/ 15 w 72"/>
                <a:gd name="T29" fmla="*/ 830 h 836"/>
                <a:gd name="T30" fmla="*/ 10 w 72"/>
                <a:gd name="T31" fmla="*/ 825 h 836"/>
                <a:gd name="T32" fmla="*/ 6 w 72"/>
                <a:gd name="T33" fmla="*/ 820 h 836"/>
                <a:gd name="T34" fmla="*/ 3 w 72"/>
                <a:gd name="T35" fmla="*/ 813 h 836"/>
                <a:gd name="T36" fmla="*/ 1 w 72"/>
                <a:gd name="T37" fmla="*/ 806 h 836"/>
                <a:gd name="T38" fmla="*/ 0 w 72"/>
                <a:gd name="T39" fmla="*/ 799 h 836"/>
                <a:gd name="T40" fmla="*/ 0 w 72"/>
                <a:gd name="T41" fmla="*/ 36 h 836"/>
                <a:gd name="T42" fmla="*/ 0 w 72"/>
                <a:gd name="T43" fmla="*/ 36 h 836"/>
                <a:gd name="T44" fmla="*/ 1 w 72"/>
                <a:gd name="T45" fmla="*/ 30 h 836"/>
                <a:gd name="T46" fmla="*/ 3 w 72"/>
                <a:gd name="T47" fmla="*/ 23 h 836"/>
                <a:gd name="T48" fmla="*/ 6 w 72"/>
                <a:gd name="T49" fmla="*/ 16 h 836"/>
                <a:gd name="T50" fmla="*/ 10 w 72"/>
                <a:gd name="T51" fmla="*/ 11 h 836"/>
                <a:gd name="T52" fmla="*/ 15 w 72"/>
                <a:gd name="T53" fmla="*/ 7 h 836"/>
                <a:gd name="T54" fmla="*/ 22 w 72"/>
                <a:gd name="T55" fmla="*/ 4 h 836"/>
                <a:gd name="T56" fmla="*/ 29 w 72"/>
                <a:gd name="T57" fmla="*/ 2 h 836"/>
                <a:gd name="T58" fmla="*/ 36 w 72"/>
                <a:gd name="T59" fmla="*/ 0 h 836"/>
                <a:gd name="T60" fmla="*/ 36 w 72"/>
                <a:gd name="T61" fmla="*/ 0 h 836"/>
                <a:gd name="T62" fmla="*/ 43 w 72"/>
                <a:gd name="T63" fmla="*/ 2 h 836"/>
                <a:gd name="T64" fmla="*/ 50 w 72"/>
                <a:gd name="T65" fmla="*/ 4 h 836"/>
                <a:gd name="T66" fmla="*/ 57 w 72"/>
                <a:gd name="T67" fmla="*/ 7 h 836"/>
                <a:gd name="T68" fmla="*/ 62 w 72"/>
                <a:gd name="T69" fmla="*/ 11 h 836"/>
                <a:gd name="T70" fmla="*/ 67 w 72"/>
                <a:gd name="T71" fmla="*/ 16 h 836"/>
                <a:gd name="T72" fmla="*/ 70 w 72"/>
                <a:gd name="T73" fmla="*/ 23 h 836"/>
                <a:gd name="T74" fmla="*/ 72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2" y="806"/>
                  </a:lnTo>
                  <a:lnTo>
                    <a:pt x="70" y="813"/>
                  </a:lnTo>
                  <a:lnTo>
                    <a:pt x="67" y="820"/>
                  </a:lnTo>
                  <a:lnTo>
                    <a:pt x="62" y="825"/>
                  </a:lnTo>
                  <a:lnTo>
                    <a:pt x="57" y="830"/>
                  </a:lnTo>
                  <a:lnTo>
                    <a:pt x="50" y="834"/>
                  </a:lnTo>
                  <a:lnTo>
                    <a:pt x="43" y="836"/>
                  </a:lnTo>
                  <a:lnTo>
                    <a:pt x="36" y="836"/>
                  </a:lnTo>
                  <a:lnTo>
                    <a:pt x="36" y="836"/>
                  </a:lnTo>
                  <a:lnTo>
                    <a:pt x="29" y="836"/>
                  </a:lnTo>
                  <a:lnTo>
                    <a:pt x="22" y="834"/>
                  </a:lnTo>
                  <a:lnTo>
                    <a:pt x="15" y="830"/>
                  </a:lnTo>
                  <a:lnTo>
                    <a:pt x="10" y="825"/>
                  </a:lnTo>
                  <a:lnTo>
                    <a:pt x="6" y="820"/>
                  </a:lnTo>
                  <a:lnTo>
                    <a:pt x="3" y="813"/>
                  </a:lnTo>
                  <a:lnTo>
                    <a:pt x="1" y="806"/>
                  </a:lnTo>
                  <a:lnTo>
                    <a:pt x="0" y="799"/>
                  </a:lnTo>
                  <a:lnTo>
                    <a:pt x="0" y="36"/>
                  </a:lnTo>
                  <a:lnTo>
                    <a:pt x="0" y="36"/>
                  </a:lnTo>
                  <a:lnTo>
                    <a:pt x="1" y="30"/>
                  </a:lnTo>
                  <a:lnTo>
                    <a:pt x="3" y="23"/>
                  </a:lnTo>
                  <a:lnTo>
                    <a:pt x="6" y="16"/>
                  </a:lnTo>
                  <a:lnTo>
                    <a:pt x="10" y="11"/>
                  </a:lnTo>
                  <a:lnTo>
                    <a:pt x="15" y="7"/>
                  </a:lnTo>
                  <a:lnTo>
                    <a:pt x="22" y="4"/>
                  </a:lnTo>
                  <a:lnTo>
                    <a:pt x="29" y="2"/>
                  </a:lnTo>
                  <a:lnTo>
                    <a:pt x="36" y="0"/>
                  </a:lnTo>
                  <a:lnTo>
                    <a:pt x="36" y="0"/>
                  </a:lnTo>
                  <a:lnTo>
                    <a:pt x="43" y="2"/>
                  </a:lnTo>
                  <a:lnTo>
                    <a:pt x="50" y="4"/>
                  </a:lnTo>
                  <a:lnTo>
                    <a:pt x="57" y="7"/>
                  </a:lnTo>
                  <a:lnTo>
                    <a:pt x="62" y="11"/>
                  </a:lnTo>
                  <a:lnTo>
                    <a:pt x="67" y="16"/>
                  </a:lnTo>
                  <a:lnTo>
                    <a:pt x="70" y="23"/>
                  </a:lnTo>
                  <a:lnTo>
                    <a:pt x="72" y="30"/>
                  </a:lnTo>
                  <a:lnTo>
                    <a:pt x="72" y="36"/>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4" name="Freeform 41">
              <a:extLst>
                <a:ext uri="{FF2B5EF4-FFF2-40B4-BE49-F238E27FC236}">
                  <a16:creationId xmlns:a16="http://schemas.microsoft.com/office/drawing/2014/main" id="{B5430314-EA17-418E-9241-8E248A8F3DE7}"/>
                </a:ext>
              </a:extLst>
            </p:cNvPr>
            <p:cNvSpPr>
              <a:spLocks/>
            </p:cNvSpPr>
            <p:nvPr/>
          </p:nvSpPr>
          <p:spPr bwMode="auto">
            <a:xfrm>
              <a:off x="3047238" y="-312610"/>
              <a:ext cx="1016489" cy="783426"/>
            </a:xfrm>
            <a:custGeom>
              <a:avLst/>
              <a:gdLst>
                <a:gd name="T0" fmla="*/ 1824 w 1824"/>
                <a:gd name="T1" fmla="*/ 1166 h 1408"/>
                <a:gd name="T2" fmla="*/ 1824 w 1824"/>
                <a:gd name="T3" fmla="*/ 1408 h 1408"/>
                <a:gd name="T4" fmla="*/ 1518 w 1824"/>
                <a:gd name="T5" fmla="*/ 1408 h 1408"/>
                <a:gd name="T6" fmla="*/ 439 w 1824"/>
                <a:gd name="T7" fmla="*/ 242 h 1408"/>
                <a:gd name="T8" fmla="*/ 0 w 1824"/>
                <a:gd name="T9" fmla="*/ 242 h 1408"/>
                <a:gd name="T10" fmla="*/ 0 w 1824"/>
                <a:gd name="T11" fmla="*/ 0 h 1408"/>
                <a:gd name="T12" fmla="*/ 545 w 1824"/>
                <a:gd name="T13" fmla="*/ 0 h 1408"/>
                <a:gd name="T14" fmla="*/ 1623 w 1824"/>
                <a:gd name="T15" fmla="*/ 1166 h 1408"/>
                <a:gd name="T16" fmla="*/ 1824 w 1824"/>
                <a:gd name="T17" fmla="*/ 1166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4" h="1408">
                  <a:moveTo>
                    <a:pt x="1824" y="1166"/>
                  </a:moveTo>
                  <a:lnTo>
                    <a:pt x="1824" y="1408"/>
                  </a:lnTo>
                  <a:lnTo>
                    <a:pt x="1518" y="1408"/>
                  </a:lnTo>
                  <a:lnTo>
                    <a:pt x="439" y="242"/>
                  </a:lnTo>
                  <a:lnTo>
                    <a:pt x="0" y="242"/>
                  </a:lnTo>
                  <a:lnTo>
                    <a:pt x="0" y="0"/>
                  </a:lnTo>
                  <a:lnTo>
                    <a:pt x="545" y="0"/>
                  </a:lnTo>
                  <a:lnTo>
                    <a:pt x="1623" y="1166"/>
                  </a:lnTo>
                  <a:lnTo>
                    <a:pt x="1824" y="1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5" name="Freeform 42">
              <a:extLst>
                <a:ext uri="{FF2B5EF4-FFF2-40B4-BE49-F238E27FC236}">
                  <a16:creationId xmlns:a16="http://schemas.microsoft.com/office/drawing/2014/main" id="{7A0AB6B8-84B9-4E6D-A0B7-88465BD42C18}"/>
                </a:ext>
              </a:extLst>
            </p:cNvPr>
            <p:cNvSpPr>
              <a:spLocks/>
            </p:cNvSpPr>
            <p:nvPr/>
          </p:nvSpPr>
          <p:spPr bwMode="auto">
            <a:xfrm>
              <a:off x="3047238" y="-312610"/>
              <a:ext cx="1016489" cy="783426"/>
            </a:xfrm>
            <a:custGeom>
              <a:avLst/>
              <a:gdLst>
                <a:gd name="T0" fmla="*/ 1824 w 1824"/>
                <a:gd name="T1" fmla="*/ 0 h 1408"/>
                <a:gd name="T2" fmla="*/ 1824 w 1824"/>
                <a:gd name="T3" fmla="*/ 242 h 1408"/>
                <a:gd name="T4" fmla="*/ 1623 w 1824"/>
                <a:gd name="T5" fmla="*/ 242 h 1408"/>
                <a:gd name="T6" fmla="*/ 545 w 1824"/>
                <a:gd name="T7" fmla="*/ 1408 h 1408"/>
                <a:gd name="T8" fmla="*/ 0 w 1824"/>
                <a:gd name="T9" fmla="*/ 1408 h 1408"/>
                <a:gd name="T10" fmla="*/ 0 w 1824"/>
                <a:gd name="T11" fmla="*/ 1166 h 1408"/>
                <a:gd name="T12" fmla="*/ 439 w 1824"/>
                <a:gd name="T13" fmla="*/ 1166 h 1408"/>
                <a:gd name="T14" fmla="*/ 1518 w 1824"/>
                <a:gd name="T15" fmla="*/ 0 h 1408"/>
                <a:gd name="T16" fmla="*/ 1824 w 1824"/>
                <a:gd name="T17" fmla="*/ 0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4" h="1408">
                  <a:moveTo>
                    <a:pt x="1824" y="0"/>
                  </a:moveTo>
                  <a:lnTo>
                    <a:pt x="1824" y="242"/>
                  </a:lnTo>
                  <a:lnTo>
                    <a:pt x="1623" y="242"/>
                  </a:lnTo>
                  <a:lnTo>
                    <a:pt x="545" y="1408"/>
                  </a:lnTo>
                  <a:lnTo>
                    <a:pt x="0" y="1408"/>
                  </a:lnTo>
                  <a:lnTo>
                    <a:pt x="0" y="1166"/>
                  </a:lnTo>
                  <a:lnTo>
                    <a:pt x="439" y="1166"/>
                  </a:lnTo>
                  <a:lnTo>
                    <a:pt x="1518" y="0"/>
                  </a:lnTo>
                  <a:lnTo>
                    <a:pt x="18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6" name="Freeform 43">
              <a:extLst>
                <a:ext uri="{FF2B5EF4-FFF2-40B4-BE49-F238E27FC236}">
                  <a16:creationId xmlns:a16="http://schemas.microsoft.com/office/drawing/2014/main" id="{2FD29F57-7BF6-4675-925E-52FA699265CF}"/>
                </a:ext>
              </a:extLst>
            </p:cNvPr>
            <p:cNvSpPr>
              <a:spLocks/>
            </p:cNvSpPr>
            <p:nvPr/>
          </p:nvSpPr>
          <p:spPr bwMode="auto">
            <a:xfrm>
              <a:off x="3099066" y="-152920"/>
              <a:ext cx="40682" cy="465159"/>
            </a:xfrm>
            <a:custGeom>
              <a:avLst/>
              <a:gdLst>
                <a:gd name="T0" fmla="*/ 73 w 73"/>
                <a:gd name="T1" fmla="*/ 36 h 836"/>
                <a:gd name="T2" fmla="*/ 73 w 73"/>
                <a:gd name="T3" fmla="*/ 799 h 836"/>
                <a:gd name="T4" fmla="*/ 73 w 73"/>
                <a:gd name="T5" fmla="*/ 799 h 836"/>
                <a:gd name="T6" fmla="*/ 71 w 73"/>
                <a:gd name="T7" fmla="*/ 806 h 836"/>
                <a:gd name="T8" fmla="*/ 70 w 73"/>
                <a:gd name="T9" fmla="*/ 813 h 836"/>
                <a:gd name="T10" fmla="*/ 66 w 73"/>
                <a:gd name="T11" fmla="*/ 820 h 836"/>
                <a:gd name="T12" fmla="*/ 63 w 73"/>
                <a:gd name="T13" fmla="*/ 825 h 836"/>
                <a:gd name="T14" fmla="*/ 57 w 73"/>
                <a:gd name="T15" fmla="*/ 830 h 836"/>
                <a:gd name="T16" fmla="*/ 51 w 73"/>
                <a:gd name="T17" fmla="*/ 834 h 836"/>
                <a:gd name="T18" fmla="*/ 44 w 73"/>
                <a:gd name="T19" fmla="*/ 836 h 836"/>
                <a:gd name="T20" fmla="*/ 37 w 73"/>
                <a:gd name="T21" fmla="*/ 836 h 836"/>
                <a:gd name="T22" fmla="*/ 37 w 73"/>
                <a:gd name="T23" fmla="*/ 836 h 836"/>
                <a:gd name="T24" fmla="*/ 30 w 73"/>
                <a:gd name="T25" fmla="*/ 836 h 836"/>
                <a:gd name="T26" fmla="*/ 23 w 73"/>
                <a:gd name="T27" fmla="*/ 834 h 836"/>
                <a:gd name="T28" fmla="*/ 16 w 73"/>
                <a:gd name="T29" fmla="*/ 830 h 836"/>
                <a:gd name="T30" fmla="*/ 11 w 73"/>
                <a:gd name="T31" fmla="*/ 825 h 836"/>
                <a:gd name="T32" fmla="*/ 6 w 73"/>
                <a:gd name="T33" fmla="*/ 820 h 836"/>
                <a:gd name="T34" fmla="*/ 2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2 w 73"/>
                <a:gd name="T47" fmla="*/ 23 h 836"/>
                <a:gd name="T48" fmla="*/ 6 w 73"/>
                <a:gd name="T49" fmla="*/ 16 h 836"/>
                <a:gd name="T50" fmla="*/ 11 w 73"/>
                <a:gd name="T51" fmla="*/ 11 h 836"/>
                <a:gd name="T52" fmla="*/ 16 w 73"/>
                <a:gd name="T53" fmla="*/ 7 h 836"/>
                <a:gd name="T54" fmla="*/ 23 w 73"/>
                <a:gd name="T55" fmla="*/ 4 h 836"/>
                <a:gd name="T56" fmla="*/ 30 w 73"/>
                <a:gd name="T57" fmla="*/ 2 h 836"/>
                <a:gd name="T58" fmla="*/ 37 w 73"/>
                <a:gd name="T59" fmla="*/ 0 h 836"/>
                <a:gd name="T60" fmla="*/ 37 w 73"/>
                <a:gd name="T61" fmla="*/ 0 h 836"/>
                <a:gd name="T62" fmla="*/ 44 w 73"/>
                <a:gd name="T63" fmla="*/ 2 h 836"/>
                <a:gd name="T64" fmla="*/ 51 w 73"/>
                <a:gd name="T65" fmla="*/ 4 h 836"/>
                <a:gd name="T66" fmla="*/ 57 w 73"/>
                <a:gd name="T67" fmla="*/ 7 h 836"/>
                <a:gd name="T68" fmla="*/ 63 w 73"/>
                <a:gd name="T69" fmla="*/ 11 h 836"/>
                <a:gd name="T70" fmla="*/ 66 w 73"/>
                <a:gd name="T71" fmla="*/ 16 h 836"/>
                <a:gd name="T72" fmla="*/ 70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70" y="813"/>
                  </a:lnTo>
                  <a:lnTo>
                    <a:pt x="66" y="820"/>
                  </a:lnTo>
                  <a:lnTo>
                    <a:pt x="63" y="825"/>
                  </a:lnTo>
                  <a:lnTo>
                    <a:pt x="57" y="830"/>
                  </a:lnTo>
                  <a:lnTo>
                    <a:pt x="51" y="834"/>
                  </a:lnTo>
                  <a:lnTo>
                    <a:pt x="44" y="836"/>
                  </a:lnTo>
                  <a:lnTo>
                    <a:pt x="37" y="836"/>
                  </a:lnTo>
                  <a:lnTo>
                    <a:pt x="37" y="836"/>
                  </a:lnTo>
                  <a:lnTo>
                    <a:pt x="30" y="836"/>
                  </a:lnTo>
                  <a:lnTo>
                    <a:pt x="23" y="834"/>
                  </a:lnTo>
                  <a:lnTo>
                    <a:pt x="16" y="830"/>
                  </a:lnTo>
                  <a:lnTo>
                    <a:pt x="11" y="825"/>
                  </a:lnTo>
                  <a:lnTo>
                    <a:pt x="6" y="820"/>
                  </a:lnTo>
                  <a:lnTo>
                    <a:pt x="2" y="813"/>
                  </a:lnTo>
                  <a:lnTo>
                    <a:pt x="0" y="806"/>
                  </a:lnTo>
                  <a:lnTo>
                    <a:pt x="0" y="799"/>
                  </a:lnTo>
                  <a:lnTo>
                    <a:pt x="0" y="36"/>
                  </a:lnTo>
                  <a:lnTo>
                    <a:pt x="0" y="36"/>
                  </a:lnTo>
                  <a:lnTo>
                    <a:pt x="0" y="30"/>
                  </a:lnTo>
                  <a:lnTo>
                    <a:pt x="2" y="23"/>
                  </a:lnTo>
                  <a:lnTo>
                    <a:pt x="6" y="16"/>
                  </a:lnTo>
                  <a:lnTo>
                    <a:pt x="11" y="11"/>
                  </a:lnTo>
                  <a:lnTo>
                    <a:pt x="16" y="7"/>
                  </a:lnTo>
                  <a:lnTo>
                    <a:pt x="23" y="4"/>
                  </a:lnTo>
                  <a:lnTo>
                    <a:pt x="30" y="2"/>
                  </a:lnTo>
                  <a:lnTo>
                    <a:pt x="37" y="0"/>
                  </a:lnTo>
                  <a:lnTo>
                    <a:pt x="37" y="0"/>
                  </a:lnTo>
                  <a:lnTo>
                    <a:pt x="44" y="2"/>
                  </a:lnTo>
                  <a:lnTo>
                    <a:pt x="51" y="4"/>
                  </a:lnTo>
                  <a:lnTo>
                    <a:pt x="57" y="7"/>
                  </a:lnTo>
                  <a:lnTo>
                    <a:pt x="63" y="11"/>
                  </a:lnTo>
                  <a:lnTo>
                    <a:pt x="66" y="16"/>
                  </a:lnTo>
                  <a:lnTo>
                    <a:pt x="70" y="23"/>
                  </a:lnTo>
                  <a:lnTo>
                    <a:pt x="71" y="30"/>
                  </a:lnTo>
                  <a:lnTo>
                    <a:pt x="73" y="3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7" name="Freeform 44">
              <a:extLst>
                <a:ext uri="{FF2B5EF4-FFF2-40B4-BE49-F238E27FC236}">
                  <a16:creationId xmlns:a16="http://schemas.microsoft.com/office/drawing/2014/main" id="{4B142A44-1B79-42E4-AD92-FEC7946C3F8C}"/>
                </a:ext>
              </a:extLst>
            </p:cNvPr>
            <p:cNvSpPr>
              <a:spLocks/>
            </p:cNvSpPr>
            <p:nvPr/>
          </p:nvSpPr>
          <p:spPr bwMode="auto">
            <a:xfrm>
              <a:off x="3099066" y="-152920"/>
              <a:ext cx="40682" cy="465159"/>
            </a:xfrm>
            <a:custGeom>
              <a:avLst/>
              <a:gdLst>
                <a:gd name="T0" fmla="*/ 73 w 73"/>
                <a:gd name="T1" fmla="*/ 36 h 836"/>
                <a:gd name="T2" fmla="*/ 73 w 73"/>
                <a:gd name="T3" fmla="*/ 799 h 836"/>
                <a:gd name="T4" fmla="*/ 73 w 73"/>
                <a:gd name="T5" fmla="*/ 799 h 836"/>
                <a:gd name="T6" fmla="*/ 71 w 73"/>
                <a:gd name="T7" fmla="*/ 806 h 836"/>
                <a:gd name="T8" fmla="*/ 70 w 73"/>
                <a:gd name="T9" fmla="*/ 813 h 836"/>
                <a:gd name="T10" fmla="*/ 66 w 73"/>
                <a:gd name="T11" fmla="*/ 820 h 836"/>
                <a:gd name="T12" fmla="*/ 63 w 73"/>
                <a:gd name="T13" fmla="*/ 825 h 836"/>
                <a:gd name="T14" fmla="*/ 57 w 73"/>
                <a:gd name="T15" fmla="*/ 830 h 836"/>
                <a:gd name="T16" fmla="*/ 51 w 73"/>
                <a:gd name="T17" fmla="*/ 834 h 836"/>
                <a:gd name="T18" fmla="*/ 44 w 73"/>
                <a:gd name="T19" fmla="*/ 836 h 836"/>
                <a:gd name="T20" fmla="*/ 37 w 73"/>
                <a:gd name="T21" fmla="*/ 836 h 836"/>
                <a:gd name="T22" fmla="*/ 37 w 73"/>
                <a:gd name="T23" fmla="*/ 836 h 836"/>
                <a:gd name="T24" fmla="*/ 30 w 73"/>
                <a:gd name="T25" fmla="*/ 836 h 836"/>
                <a:gd name="T26" fmla="*/ 23 w 73"/>
                <a:gd name="T27" fmla="*/ 834 h 836"/>
                <a:gd name="T28" fmla="*/ 16 w 73"/>
                <a:gd name="T29" fmla="*/ 830 h 836"/>
                <a:gd name="T30" fmla="*/ 11 w 73"/>
                <a:gd name="T31" fmla="*/ 825 h 836"/>
                <a:gd name="T32" fmla="*/ 6 w 73"/>
                <a:gd name="T33" fmla="*/ 820 h 836"/>
                <a:gd name="T34" fmla="*/ 2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2 w 73"/>
                <a:gd name="T47" fmla="*/ 23 h 836"/>
                <a:gd name="T48" fmla="*/ 6 w 73"/>
                <a:gd name="T49" fmla="*/ 16 h 836"/>
                <a:gd name="T50" fmla="*/ 11 w 73"/>
                <a:gd name="T51" fmla="*/ 11 h 836"/>
                <a:gd name="T52" fmla="*/ 16 w 73"/>
                <a:gd name="T53" fmla="*/ 7 h 836"/>
                <a:gd name="T54" fmla="*/ 23 w 73"/>
                <a:gd name="T55" fmla="*/ 4 h 836"/>
                <a:gd name="T56" fmla="*/ 30 w 73"/>
                <a:gd name="T57" fmla="*/ 2 h 836"/>
                <a:gd name="T58" fmla="*/ 37 w 73"/>
                <a:gd name="T59" fmla="*/ 0 h 836"/>
                <a:gd name="T60" fmla="*/ 37 w 73"/>
                <a:gd name="T61" fmla="*/ 0 h 836"/>
                <a:gd name="T62" fmla="*/ 44 w 73"/>
                <a:gd name="T63" fmla="*/ 2 h 836"/>
                <a:gd name="T64" fmla="*/ 51 w 73"/>
                <a:gd name="T65" fmla="*/ 4 h 836"/>
                <a:gd name="T66" fmla="*/ 57 w 73"/>
                <a:gd name="T67" fmla="*/ 7 h 836"/>
                <a:gd name="T68" fmla="*/ 63 w 73"/>
                <a:gd name="T69" fmla="*/ 11 h 836"/>
                <a:gd name="T70" fmla="*/ 66 w 73"/>
                <a:gd name="T71" fmla="*/ 16 h 836"/>
                <a:gd name="T72" fmla="*/ 70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70" y="813"/>
                  </a:lnTo>
                  <a:lnTo>
                    <a:pt x="66" y="820"/>
                  </a:lnTo>
                  <a:lnTo>
                    <a:pt x="63" y="825"/>
                  </a:lnTo>
                  <a:lnTo>
                    <a:pt x="57" y="830"/>
                  </a:lnTo>
                  <a:lnTo>
                    <a:pt x="51" y="834"/>
                  </a:lnTo>
                  <a:lnTo>
                    <a:pt x="44" y="836"/>
                  </a:lnTo>
                  <a:lnTo>
                    <a:pt x="37" y="836"/>
                  </a:lnTo>
                  <a:lnTo>
                    <a:pt x="37" y="836"/>
                  </a:lnTo>
                  <a:lnTo>
                    <a:pt x="30" y="836"/>
                  </a:lnTo>
                  <a:lnTo>
                    <a:pt x="23" y="834"/>
                  </a:lnTo>
                  <a:lnTo>
                    <a:pt x="16" y="830"/>
                  </a:lnTo>
                  <a:lnTo>
                    <a:pt x="11" y="825"/>
                  </a:lnTo>
                  <a:lnTo>
                    <a:pt x="6" y="820"/>
                  </a:lnTo>
                  <a:lnTo>
                    <a:pt x="2" y="813"/>
                  </a:lnTo>
                  <a:lnTo>
                    <a:pt x="0" y="806"/>
                  </a:lnTo>
                  <a:lnTo>
                    <a:pt x="0" y="799"/>
                  </a:lnTo>
                  <a:lnTo>
                    <a:pt x="0" y="36"/>
                  </a:lnTo>
                  <a:lnTo>
                    <a:pt x="0" y="36"/>
                  </a:lnTo>
                  <a:lnTo>
                    <a:pt x="0" y="30"/>
                  </a:lnTo>
                  <a:lnTo>
                    <a:pt x="2" y="23"/>
                  </a:lnTo>
                  <a:lnTo>
                    <a:pt x="6" y="16"/>
                  </a:lnTo>
                  <a:lnTo>
                    <a:pt x="11" y="11"/>
                  </a:lnTo>
                  <a:lnTo>
                    <a:pt x="16" y="7"/>
                  </a:lnTo>
                  <a:lnTo>
                    <a:pt x="23" y="4"/>
                  </a:lnTo>
                  <a:lnTo>
                    <a:pt x="30" y="2"/>
                  </a:lnTo>
                  <a:lnTo>
                    <a:pt x="37" y="0"/>
                  </a:lnTo>
                  <a:lnTo>
                    <a:pt x="37" y="0"/>
                  </a:lnTo>
                  <a:lnTo>
                    <a:pt x="44" y="2"/>
                  </a:lnTo>
                  <a:lnTo>
                    <a:pt x="51" y="4"/>
                  </a:lnTo>
                  <a:lnTo>
                    <a:pt x="57" y="7"/>
                  </a:lnTo>
                  <a:lnTo>
                    <a:pt x="63" y="11"/>
                  </a:lnTo>
                  <a:lnTo>
                    <a:pt x="66" y="16"/>
                  </a:lnTo>
                  <a:lnTo>
                    <a:pt x="70" y="23"/>
                  </a:lnTo>
                  <a:lnTo>
                    <a:pt x="71" y="30"/>
                  </a:lnTo>
                  <a:lnTo>
                    <a:pt x="73" y="36"/>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8" name="Freeform 45">
              <a:extLst>
                <a:ext uri="{FF2B5EF4-FFF2-40B4-BE49-F238E27FC236}">
                  <a16:creationId xmlns:a16="http://schemas.microsoft.com/office/drawing/2014/main" id="{252723CE-78EE-43AB-B8A6-5C5681E580C1}"/>
                </a:ext>
              </a:extLst>
            </p:cNvPr>
            <p:cNvSpPr>
              <a:spLocks/>
            </p:cNvSpPr>
            <p:nvPr/>
          </p:nvSpPr>
          <p:spPr bwMode="auto">
            <a:xfrm>
              <a:off x="3242845" y="-152920"/>
              <a:ext cx="40682" cy="465159"/>
            </a:xfrm>
            <a:custGeom>
              <a:avLst/>
              <a:gdLst>
                <a:gd name="T0" fmla="*/ 73 w 73"/>
                <a:gd name="T1" fmla="*/ 36 h 836"/>
                <a:gd name="T2" fmla="*/ 73 w 73"/>
                <a:gd name="T3" fmla="*/ 799 h 836"/>
                <a:gd name="T4" fmla="*/ 73 w 73"/>
                <a:gd name="T5" fmla="*/ 799 h 836"/>
                <a:gd name="T6" fmla="*/ 73 w 73"/>
                <a:gd name="T7" fmla="*/ 806 h 836"/>
                <a:gd name="T8" fmla="*/ 71 w 73"/>
                <a:gd name="T9" fmla="*/ 813 h 836"/>
                <a:gd name="T10" fmla="*/ 67 w 73"/>
                <a:gd name="T11" fmla="*/ 820 h 836"/>
                <a:gd name="T12" fmla="*/ 62 w 73"/>
                <a:gd name="T13" fmla="*/ 825 h 836"/>
                <a:gd name="T14" fmla="*/ 57 w 73"/>
                <a:gd name="T15" fmla="*/ 830 h 836"/>
                <a:gd name="T16" fmla="*/ 50 w 73"/>
                <a:gd name="T17" fmla="*/ 834 h 836"/>
                <a:gd name="T18" fmla="*/ 43 w 73"/>
                <a:gd name="T19" fmla="*/ 836 h 836"/>
                <a:gd name="T20" fmla="*/ 36 w 73"/>
                <a:gd name="T21" fmla="*/ 836 h 836"/>
                <a:gd name="T22" fmla="*/ 36 w 73"/>
                <a:gd name="T23" fmla="*/ 836 h 836"/>
                <a:gd name="T24" fmla="*/ 29 w 73"/>
                <a:gd name="T25" fmla="*/ 836 h 836"/>
                <a:gd name="T26" fmla="*/ 22 w 73"/>
                <a:gd name="T27" fmla="*/ 834 h 836"/>
                <a:gd name="T28" fmla="*/ 16 w 73"/>
                <a:gd name="T29" fmla="*/ 830 h 836"/>
                <a:gd name="T30" fmla="*/ 10 w 73"/>
                <a:gd name="T31" fmla="*/ 825 h 836"/>
                <a:gd name="T32" fmla="*/ 7 w 73"/>
                <a:gd name="T33" fmla="*/ 820 h 836"/>
                <a:gd name="T34" fmla="*/ 3 w 73"/>
                <a:gd name="T35" fmla="*/ 813 h 836"/>
                <a:gd name="T36" fmla="*/ 2 w 73"/>
                <a:gd name="T37" fmla="*/ 806 h 836"/>
                <a:gd name="T38" fmla="*/ 0 w 73"/>
                <a:gd name="T39" fmla="*/ 799 h 836"/>
                <a:gd name="T40" fmla="*/ 0 w 73"/>
                <a:gd name="T41" fmla="*/ 36 h 836"/>
                <a:gd name="T42" fmla="*/ 0 w 73"/>
                <a:gd name="T43" fmla="*/ 36 h 836"/>
                <a:gd name="T44" fmla="*/ 2 w 73"/>
                <a:gd name="T45" fmla="*/ 30 h 836"/>
                <a:gd name="T46" fmla="*/ 3 w 73"/>
                <a:gd name="T47" fmla="*/ 23 h 836"/>
                <a:gd name="T48" fmla="*/ 7 w 73"/>
                <a:gd name="T49" fmla="*/ 16 h 836"/>
                <a:gd name="T50" fmla="*/ 10 w 73"/>
                <a:gd name="T51" fmla="*/ 11 h 836"/>
                <a:gd name="T52" fmla="*/ 16 w 73"/>
                <a:gd name="T53" fmla="*/ 7 h 836"/>
                <a:gd name="T54" fmla="*/ 22 w 73"/>
                <a:gd name="T55" fmla="*/ 4 h 836"/>
                <a:gd name="T56" fmla="*/ 29 w 73"/>
                <a:gd name="T57" fmla="*/ 2 h 836"/>
                <a:gd name="T58" fmla="*/ 36 w 73"/>
                <a:gd name="T59" fmla="*/ 0 h 836"/>
                <a:gd name="T60" fmla="*/ 36 w 73"/>
                <a:gd name="T61" fmla="*/ 0 h 836"/>
                <a:gd name="T62" fmla="*/ 43 w 73"/>
                <a:gd name="T63" fmla="*/ 2 h 836"/>
                <a:gd name="T64" fmla="*/ 50 w 73"/>
                <a:gd name="T65" fmla="*/ 4 h 836"/>
                <a:gd name="T66" fmla="*/ 57 w 73"/>
                <a:gd name="T67" fmla="*/ 7 h 836"/>
                <a:gd name="T68" fmla="*/ 62 w 73"/>
                <a:gd name="T69" fmla="*/ 11 h 836"/>
                <a:gd name="T70" fmla="*/ 67 w 73"/>
                <a:gd name="T71" fmla="*/ 16 h 836"/>
                <a:gd name="T72" fmla="*/ 71 w 73"/>
                <a:gd name="T73" fmla="*/ 23 h 836"/>
                <a:gd name="T74" fmla="*/ 73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3" y="806"/>
                  </a:lnTo>
                  <a:lnTo>
                    <a:pt x="71" y="813"/>
                  </a:lnTo>
                  <a:lnTo>
                    <a:pt x="67" y="820"/>
                  </a:lnTo>
                  <a:lnTo>
                    <a:pt x="62" y="825"/>
                  </a:lnTo>
                  <a:lnTo>
                    <a:pt x="57" y="830"/>
                  </a:lnTo>
                  <a:lnTo>
                    <a:pt x="50" y="834"/>
                  </a:lnTo>
                  <a:lnTo>
                    <a:pt x="43" y="836"/>
                  </a:lnTo>
                  <a:lnTo>
                    <a:pt x="36" y="836"/>
                  </a:lnTo>
                  <a:lnTo>
                    <a:pt x="36" y="836"/>
                  </a:lnTo>
                  <a:lnTo>
                    <a:pt x="29" y="836"/>
                  </a:lnTo>
                  <a:lnTo>
                    <a:pt x="22" y="834"/>
                  </a:lnTo>
                  <a:lnTo>
                    <a:pt x="16" y="830"/>
                  </a:lnTo>
                  <a:lnTo>
                    <a:pt x="10" y="825"/>
                  </a:lnTo>
                  <a:lnTo>
                    <a:pt x="7" y="820"/>
                  </a:lnTo>
                  <a:lnTo>
                    <a:pt x="3" y="813"/>
                  </a:lnTo>
                  <a:lnTo>
                    <a:pt x="2" y="806"/>
                  </a:lnTo>
                  <a:lnTo>
                    <a:pt x="0" y="799"/>
                  </a:lnTo>
                  <a:lnTo>
                    <a:pt x="0" y="36"/>
                  </a:lnTo>
                  <a:lnTo>
                    <a:pt x="0" y="36"/>
                  </a:lnTo>
                  <a:lnTo>
                    <a:pt x="2" y="30"/>
                  </a:lnTo>
                  <a:lnTo>
                    <a:pt x="3" y="23"/>
                  </a:lnTo>
                  <a:lnTo>
                    <a:pt x="7" y="16"/>
                  </a:lnTo>
                  <a:lnTo>
                    <a:pt x="10" y="11"/>
                  </a:lnTo>
                  <a:lnTo>
                    <a:pt x="16" y="7"/>
                  </a:lnTo>
                  <a:lnTo>
                    <a:pt x="22" y="4"/>
                  </a:lnTo>
                  <a:lnTo>
                    <a:pt x="29" y="2"/>
                  </a:lnTo>
                  <a:lnTo>
                    <a:pt x="36" y="0"/>
                  </a:lnTo>
                  <a:lnTo>
                    <a:pt x="36" y="0"/>
                  </a:lnTo>
                  <a:lnTo>
                    <a:pt x="43" y="2"/>
                  </a:lnTo>
                  <a:lnTo>
                    <a:pt x="50" y="4"/>
                  </a:lnTo>
                  <a:lnTo>
                    <a:pt x="57" y="7"/>
                  </a:lnTo>
                  <a:lnTo>
                    <a:pt x="62" y="11"/>
                  </a:lnTo>
                  <a:lnTo>
                    <a:pt x="67" y="16"/>
                  </a:lnTo>
                  <a:lnTo>
                    <a:pt x="71" y="23"/>
                  </a:lnTo>
                  <a:lnTo>
                    <a:pt x="73" y="30"/>
                  </a:lnTo>
                  <a:lnTo>
                    <a:pt x="73" y="3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9" name="Freeform 46">
              <a:extLst>
                <a:ext uri="{FF2B5EF4-FFF2-40B4-BE49-F238E27FC236}">
                  <a16:creationId xmlns:a16="http://schemas.microsoft.com/office/drawing/2014/main" id="{B9F9EAF1-F6B6-4495-98D0-15BEA7303332}"/>
                </a:ext>
              </a:extLst>
            </p:cNvPr>
            <p:cNvSpPr>
              <a:spLocks/>
            </p:cNvSpPr>
            <p:nvPr/>
          </p:nvSpPr>
          <p:spPr bwMode="auto">
            <a:xfrm>
              <a:off x="3242845" y="-152920"/>
              <a:ext cx="40682" cy="465159"/>
            </a:xfrm>
            <a:custGeom>
              <a:avLst/>
              <a:gdLst>
                <a:gd name="T0" fmla="*/ 73 w 73"/>
                <a:gd name="T1" fmla="*/ 36 h 836"/>
                <a:gd name="T2" fmla="*/ 73 w 73"/>
                <a:gd name="T3" fmla="*/ 799 h 836"/>
                <a:gd name="T4" fmla="*/ 73 w 73"/>
                <a:gd name="T5" fmla="*/ 799 h 836"/>
                <a:gd name="T6" fmla="*/ 73 w 73"/>
                <a:gd name="T7" fmla="*/ 806 h 836"/>
                <a:gd name="T8" fmla="*/ 71 w 73"/>
                <a:gd name="T9" fmla="*/ 813 h 836"/>
                <a:gd name="T10" fmla="*/ 67 w 73"/>
                <a:gd name="T11" fmla="*/ 820 h 836"/>
                <a:gd name="T12" fmla="*/ 62 w 73"/>
                <a:gd name="T13" fmla="*/ 825 h 836"/>
                <a:gd name="T14" fmla="*/ 57 w 73"/>
                <a:gd name="T15" fmla="*/ 830 h 836"/>
                <a:gd name="T16" fmla="*/ 50 w 73"/>
                <a:gd name="T17" fmla="*/ 834 h 836"/>
                <a:gd name="T18" fmla="*/ 43 w 73"/>
                <a:gd name="T19" fmla="*/ 836 h 836"/>
                <a:gd name="T20" fmla="*/ 36 w 73"/>
                <a:gd name="T21" fmla="*/ 836 h 836"/>
                <a:gd name="T22" fmla="*/ 36 w 73"/>
                <a:gd name="T23" fmla="*/ 836 h 836"/>
                <a:gd name="T24" fmla="*/ 29 w 73"/>
                <a:gd name="T25" fmla="*/ 836 h 836"/>
                <a:gd name="T26" fmla="*/ 22 w 73"/>
                <a:gd name="T27" fmla="*/ 834 h 836"/>
                <a:gd name="T28" fmla="*/ 16 w 73"/>
                <a:gd name="T29" fmla="*/ 830 h 836"/>
                <a:gd name="T30" fmla="*/ 10 w 73"/>
                <a:gd name="T31" fmla="*/ 825 h 836"/>
                <a:gd name="T32" fmla="*/ 7 w 73"/>
                <a:gd name="T33" fmla="*/ 820 h 836"/>
                <a:gd name="T34" fmla="*/ 3 w 73"/>
                <a:gd name="T35" fmla="*/ 813 h 836"/>
                <a:gd name="T36" fmla="*/ 2 w 73"/>
                <a:gd name="T37" fmla="*/ 806 h 836"/>
                <a:gd name="T38" fmla="*/ 0 w 73"/>
                <a:gd name="T39" fmla="*/ 799 h 836"/>
                <a:gd name="T40" fmla="*/ 0 w 73"/>
                <a:gd name="T41" fmla="*/ 36 h 836"/>
                <a:gd name="T42" fmla="*/ 0 w 73"/>
                <a:gd name="T43" fmla="*/ 36 h 836"/>
                <a:gd name="T44" fmla="*/ 2 w 73"/>
                <a:gd name="T45" fmla="*/ 30 h 836"/>
                <a:gd name="T46" fmla="*/ 3 w 73"/>
                <a:gd name="T47" fmla="*/ 23 h 836"/>
                <a:gd name="T48" fmla="*/ 7 w 73"/>
                <a:gd name="T49" fmla="*/ 16 h 836"/>
                <a:gd name="T50" fmla="*/ 10 w 73"/>
                <a:gd name="T51" fmla="*/ 11 h 836"/>
                <a:gd name="T52" fmla="*/ 16 w 73"/>
                <a:gd name="T53" fmla="*/ 7 h 836"/>
                <a:gd name="T54" fmla="*/ 22 w 73"/>
                <a:gd name="T55" fmla="*/ 4 h 836"/>
                <a:gd name="T56" fmla="*/ 29 w 73"/>
                <a:gd name="T57" fmla="*/ 2 h 836"/>
                <a:gd name="T58" fmla="*/ 36 w 73"/>
                <a:gd name="T59" fmla="*/ 0 h 836"/>
                <a:gd name="T60" fmla="*/ 36 w 73"/>
                <a:gd name="T61" fmla="*/ 0 h 836"/>
                <a:gd name="T62" fmla="*/ 43 w 73"/>
                <a:gd name="T63" fmla="*/ 2 h 836"/>
                <a:gd name="T64" fmla="*/ 50 w 73"/>
                <a:gd name="T65" fmla="*/ 4 h 836"/>
                <a:gd name="T66" fmla="*/ 57 w 73"/>
                <a:gd name="T67" fmla="*/ 7 h 836"/>
                <a:gd name="T68" fmla="*/ 62 w 73"/>
                <a:gd name="T69" fmla="*/ 11 h 836"/>
                <a:gd name="T70" fmla="*/ 67 w 73"/>
                <a:gd name="T71" fmla="*/ 16 h 836"/>
                <a:gd name="T72" fmla="*/ 71 w 73"/>
                <a:gd name="T73" fmla="*/ 23 h 836"/>
                <a:gd name="T74" fmla="*/ 73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3" y="806"/>
                  </a:lnTo>
                  <a:lnTo>
                    <a:pt x="71" y="813"/>
                  </a:lnTo>
                  <a:lnTo>
                    <a:pt x="67" y="820"/>
                  </a:lnTo>
                  <a:lnTo>
                    <a:pt x="62" y="825"/>
                  </a:lnTo>
                  <a:lnTo>
                    <a:pt x="57" y="830"/>
                  </a:lnTo>
                  <a:lnTo>
                    <a:pt x="50" y="834"/>
                  </a:lnTo>
                  <a:lnTo>
                    <a:pt x="43" y="836"/>
                  </a:lnTo>
                  <a:lnTo>
                    <a:pt x="36" y="836"/>
                  </a:lnTo>
                  <a:lnTo>
                    <a:pt x="36" y="836"/>
                  </a:lnTo>
                  <a:lnTo>
                    <a:pt x="29" y="836"/>
                  </a:lnTo>
                  <a:lnTo>
                    <a:pt x="22" y="834"/>
                  </a:lnTo>
                  <a:lnTo>
                    <a:pt x="16" y="830"/>
                  </a:lnTo>
                  <a:lnTo>
                    <a:pt x="10" y="825"/>
                  </a:lnTo>
                  <a:lnTo>
                    <a:pt x="7" y="820"/>
                  </a:lnTo>
                  <a:lnTo>
                    <a:pt x="3" y="813"/>
                  </a:lnTo>
                  <a:lnTo>
                    <a:pt x="2" y="806"/>
                  </a:lnTo>
                  <a:lnTo>
                    <a:pt x="0" y="799"/>
                  </a:lnTo>
                  <a:lnTo>
                    <a:pt x="0" y="36"/>
                  </a:lnTo>
                  <a:lnTo>
                    <a:pt x="0" y="36"/>
                  </a:lnTo>
                  <a:lnTo>
                    <a:pt x="2" y="30"/>
                  </a:lnTo>
                  <a:lnTo>
                    <a:pt x="3" y="23"/>
                  </a:lnTo>
                  <a:lnTo>
                    <a:pt x="7" y="16"/>
                  </a:lnTo>
                  <a:lnTo>
                    <a:pt x="10" y="11"/>
                  </a:lnTo>
                  <a:lnTo>
                    <a:pt x="16" y="7"/>
                  </a:lnTo>
                  <a:lnTo>
                    <a:pt x="22" y="4"/>
                  </a:lnTo>
                  <a:lnTo>
                    <a:pt x="29" y="2"/>
                  </a:lnTo>
                  <a:lnTo>
                    <a:pt x="36" y="0"/>
                  </a:lnTo>
                  <a:lnTo>
                    <a:pt x="36" y="0"/>
                  </a:lnTo>
                  <a:lnTo>
                    <a:pt x="43" y="2"/>
                  </a:lnTo>
                  <a:lnTo>
                    <a:pt x="50" y="4"/>
                  </a:lnTo>
                  <a:lnTo>
                    <a:pt x="57" y="7"/>
                  </a:lnTo>
                  <a:lnTo>
                    <a:pt x="62" y="11"/>
                  </a:lnTo>
                  <a:lnTo>
                    <a:pt x="67" y="16"/>
                  </a:lnTo>
                  <a:lnTo>
                    <a:pt x="71" y="23"/>
                  </a:lnTo>
                  <a:lnTo>
                    <a:pt x="73" y="30"/>
                  </a:lnTo>
                  <a:lnTo>
                    <a:pt x="73" y="36"/>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0" name="Freeform 47">
              <a:extLst>
                <a:ext uri="{FF2B5EF4-FFF2-40B4-BE49-F238E27FC236}">
                  <a16:creationId xmlns:a16="http://schemas.microsoft.com/office/drawing/2014/main" id="{A9005708-42FD-47A2-84E2-332C8BEE1B91}"/>
                </a:ext>
              </a:extLst>
            </p:cNvPr>
            <p:cNvSpPr>
              <a:spLocks/>
            </p:cNvSpPr>
            <p:nvPr/>
          </p:nvSpPr>
          <p:spPr bwMode="auto">
            <a:xfrm>
              <a:off x="3386625" y="13447"/>
              <a:ext cx="40124" cy="132982"/>
            </a:xfrm>
            <a:custGeom>
              <a:avLst/>
              <a:gdLst>
                <a:gd name="T0" fmla="*/ 72 w 72"/>
                <a:gd name="T1" fmla="*/ 37 h 239"/>
                <a:gd name="T2" fmla="*/ 72 w 72"/>
                <a:gd name="T3" fmla="*/ 203 h 239"/>
                <a:gd name="T4" fmla="*/ 72 w 72"/>
                <a:gd name="T5" fmla="*/ 203 h 239"/>
                <a:gd name="T6" fmla="*/ 72 w 72"/>
                <a:gd name="T7" fmla="*/ 210 h 239"/>
                <a:gd name="T8" fmla="*/ 70 w 72"/>
                <a:gd name="T9" fmla="*/ 217 h 239"/>
                <a:gd name="T10" fmla="*/ 67 w 72"/>
                <a:gd name="T11" fmla="*/ 222 h 239"/>
                <a:gd name="T12" fmla="*/ 62 w 72"/>
                <a:gd name="T13" fmla="*/ 227 h 239"/>
                <a:gd name="T14" fmla="*/ 57 w 72"/>
                <a:gd name="T15" fmla="*/ 232 h 239"/>
                <a:gd name="T16" fmla="*/ 51 w 72"/>
                <a:gd name="T17" fmla="*/ 236 h 239"/>
                <a:gd name="T18" fmla="*/ 45 w 72"/>
                <a:gd name="T19" fmla="*/ 237 h 239"/>
                <a:gd name="T20" fmla="*/ 36 w 72"/>
                <a:gd name="T21" fmla="*/ 239 h 239"/>
                <a:gd name="T22" fmla="*/ 36 w 72"/>
                <a:gd name="T23" fmla="*/ 239 h 239"/>
                <a:gd name="T24" fmla="*/ 29 w 72"/>
                <a:gd name="T25" fmla="*/ 237 h 239"/>
                <a:gd name="T26" fmla="*/ 22 w 72"/>
                <a:gd name="T27" fmla="*/ 236 h 239"/>
                <a:gd name="T28" fmla="*/ 17 w 72"/>
                <a:gd name="T29" fmla="*/ 232 h 239"/>
                <a:gd name="T30" fmla="*/ 12 w 72"/>
                <a:gd name="T31" fmla="*/ 227 h 239"/>
                <a:gd name="T32" fmla="*/ 6 w 72"/>
                <a:gd name="T33" fmla="*/ 222 h 239"/>
                <a:gd name="T34" fmla="*/ 3 w 72"/>
                <a:gd name="T35" fmla="*/ 217 h 239"/>
                <a:gd name="T36" fmla="*/ 1 w 72"/>
                <a:gd name="T37" fmla="*/ 210 h 239"/>
                <a:gd name="T38" fmla="*/ 0 w 72"/>
                <a:gd name="T39" fmla="*/ 203 h 239"/>
                <a:gd name="T40" fmla="*/ 0 w 72"/>
                <a:gd name="T41" fmla="*/ 37 h 239"/>
                <a:gd name="T42" fmla="*/ 0 w 72"/>
                <a:gd name="T43" fmla="*/ 37 h 239"/>
                <a:gd name="T44" fmla="*/ 1 w 72"/>
                <a:gd name="T45" fmla="*/ 30 h 239"/>
                <a:gd name="T46" fmla="*/ 3 w 72"/>
                <a:gd name="T47" fmla="*/ 23 h 239"/>
                <a:gd name="T48" fmla="*/ 6 w 72"/>
                <a:gd name="T49" fmla="*/ 16 h 239"/>
                <a:gd name="T50" fmla="*/ 12 w 72"/>
                <a:gd name="T51" fmla="*/ 11 h 239"/>
                <a:gd name="T52" fmla="*/ 17 w 72"/>
                <a:gd name="T53" fmla="*/ 6 h 239"/>
                <a:gd name="T54" fmla="*/ 22 w 72"/>
                <a:gd name="T55" fmla="*/ 4 h 239"/>
                <a:gd name="T56" fmla="*/ 29 w 72"/>
                <a:gd name="T57" fmla="*/ 0 h 239"/>
                <a:gd name="T58" fmla="*/ 36 w 72"/>
                <a:gd name="T59" fmla="*/ 0 h 239"/>
                <a:gd name="T60" fmla="*/ 36 w 72"/>
                <a:gd name="T61" fmla="*/ 0 h 239"/>
                <a:gd name="T62" fmla="*/ 45 w 72"/>
                <a:gd name="T63" fmla="*/ 0 h 239"/>
                <a:gd name="T64" fmla="*/ 51 w 72"/>
                <a:gd name="T65" fmla="*/ 4 h 239"/>
                <a:gd name="T66" fmla="*/ 57 w 72"/>
                <a:gd name="T67" fmla="*/ 6 h 239"/>
                <a:gd name="T68" fmla="*/ 62 w 72"/>
                <a:gd name="T69" fmla="*/ 11 h 239"/>
                <a:gd name="T70" fmla="*/ 67 w 72"/>
                <a:gd name="T71" fmla="*/ 16 h 239"/>
                <a:gd name="T72" fmla="*/ 70 w 72"/>
                <a:gd name="T73" fmla="*/ 23 h 239"/>
                <a:gd name="T74" fmla="*/ 72 w 72"/>
                <a:gd name="T75" fmla="*/ 30 h 239"/>
                <a:gd name="T76" fmla="*/ 72 w 72"/>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239">
                  <a:moveTo>
                    <a:pt x="72" y="37"/>
                  </a:moveTo>
                  <a:lnTo>
                    <a:pt x="72" y="203"/>
                  </a:lnTo>
                  <a:lnTo>
                    <a:pt x="72" y="203"/>
                  </a:lnTo>
                  <a:lnTo>
                    <a:pt x="72" y="210"/>
                  </a:lnTo>
                  <a:lnTo>
                    <a:pt x="70" y="217"/>
                  </a:lnTo>
                  <a:lnTo>
                    <a:pt x="67" y="222"/>
                  </a:lnTo>
                  <a:lnTo>
                    <a:pt x="62" y="227"/>
                  </a:lnTo>
                  <a:lnTo>
                    <a:pt x="57" y="232"/>
                  </a:lnTo>
                  <a:lnTo>
                    <a:pt x="51" y="236"/>
                  </a:lnTo>
                  <a:lnTo>
                    <a:pt x="45" y="237"/>
                  </a:lnTo>
                  <a:lnTo>
                    <a:pt x="36" y="239"/>
                  </a:lnTo>
                  <a:lnTo>
                    <a:pt x="36" y="239"/>
                  </a:lnTo>
                  <a:lnTo>
                    <a:pt x="29" y="237"/>
                  </a:lnTo>
                  <a:lnTo>
                    <a:pt x="22" y="236"/>
                  </a:lnTo>
                  <a:lnTo>
                    <a:pt x="17" y="232"/>
                  </a:lnTo>
                  <a:lnTo>
                    <a:pt x="12" y="227"/>
                  </a:lnTo>
                  <a:lnTo>
                    <a:pt x="6" y="222"/>
                  </a:lnTo>
                  <a:lnTo>
                    <a:pt x="3" y="217"/>
                  </a:lnTo>
                  <a:lnTo>
                    <a:pt x="1" y="210"/>
                  </a:lnTo>
                  <a:lnTo>
                    <a:pt x="0" y="203"/>
                  </a:lnTo>
                  <a:lnTo>
                    <a:pt x="0" y="37"/>
                  </a:lnTo>
                  <a:lnTo>
                    <a:pt x="0" y="37"/>
                  </a:lnTo>
                  <a:lnTo>
                    <a:pt x="1" y="30"/>
                  </a:lnTo>
                  <a:lnTo>
                    <a:pt x="3" y="23"/>
                  </a:lnTo>
                  <a:lnTo>
                    <a:pt x="6" y="16"/>
                  </a:lnTo>
                  <a:lnTo>
                    <a:pt x="12" y="11"/>
                  </a:lnTo>
                  <a:lnTo>
                    <a:pt x="17" y="6"/>
                  </a:lnTo>
                  <a:lnTo>
                    <a:pt x="22" y="4"/>
                  </a:lnTo>
                  <a:lnTo>
                    <a:pt x="29" y="0"/>
                  </a:lnTo>
                  <a:lnTo>
                    <a:pt x="36" y="0"/>
                  </a:lnTo>
                  <a:lnTo>
                    <a:pt x="36" y="0"/>
                  </a:lnTo>
                  <a:lnTo>
                    <a:pt x="45" y="0"/>
                  </a:lnTo>
                  <a:lnTo>
                    <a:pt x="51" y="4"/>
                  </a:lnTo>
                  <a:lnTo>
                    <a:pt x="57" y="6"/>
                  </a:lnTo>
                  <a:lnTo>
                    <a:pt x="62" y="11"/>
                  </a:lnTo>
                  <a:lnTo>
                    <a:pt x="67" y="16"/>
                  </a:lnTo>
                  <a:lnTo>
                    <a:pt x="70" y="23"/>
                  </a:lnTo>
                  <a:lnTo>
                    <a:pt x="72" y="30"/>
                  </a:lnTo>
                  <a:lnTo>
                    <a:pt x="72" y="3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1" name="Freeform 48">
              <a:extLst>
                <a:ext uri="{FF2B5EF4-FFF2-40B4-BE49-F238E27FC236}">
                  <a16:creationId xmlns:a16="http://schemas.microsoft.com/office/drawing/2014/main" id="{179E7D32-093A-4150-B8F8-CF89BF6026D6}"/>
                </a:ext>
              </a:extLst>
            </p:cNvPr>
            <p:cNvSpPr>
              <a:spLocks/>
            </p:cNvSpPr>
            <p:nvPr/>
          </p:nvSpPr>
          <p:spPr bwMode="auto">
            <a:xfrm>
              <a:off x="3386625" y="13447"/>
              <a:ext cx="40124" cy="132982"/>
            </a:xfrm>
            <a:custGeom>
              <a:avLst/>
              <a:gdLst>
                <a:gd name="T0" fmla="*/ 72 w 72"/>
                <a:gd name="T1" fmla="*/ 37 h 239"/>
                <a:gd name="T2" fmla="*/ 72 w 72"/>
                <a:gd name="T3" fmla="*/ 203 h 239"/>
                <a:gd name="T4" fmla="*/ 72 w 72"/>
                <a:gd name="T5" fmla="*/ 203 h 239"/>
                <a:gd name="T6" fmla="*/ 72 w 72"/>
                <a:gd name="T7" fmla="*/ 210 h 239"/>
                <a:gd name="T8" fmla="*/ 70 w 72"/>
                <a:gd name="T9" fmla="*/ 217 h 239"/>
                <a:gd name="T10" fmla="*/ 67 w 72"/>
                <a:gd name="T11" fmla="*/ 222 h 239"/>
                <a:gd name="T12" fmla="*/ 62 w 72"/>
                <a:gd name="T13" fmla="*/ 227 h 239"/>
                <a:gd name="T14" fmla="*/ 57 w 72"/>
                <a:gd name="T15" fmla="*/ 232 h 239"/>
                <a:gd name="T16" fmla="*/ 51 w 72"/>
                <a:gd name="T17" fmla="*/ 236 h 239"/>
                <a:gd name="T18" fmla="*/ 45 w 72"/>
                <a:gd name="T19" fmla="*/ 237 h 239"/>
                <a:gd name="T20" fmla="*/ 36 w 72"/>
                <a:gd name="T21" fmla="*/ 239 h 239"/>
                <a:gd name="T22" fmla="*/ 36 w 72"/>
                <a:gd name="T23" fmla="*/ 239 h 239"/>
                <a:gd name="T24" fmla="*/ 29 w 72"/>
                <a:gd name="T25" fmla="*/ 237 h 239"/>
                <a:gd name="T26" fmla="*/ 22 w 72"/>
                <a:gd name="T27" fmla="*/ 236 h 239"/>
                <a:gd name="T28" fmla="*/ 17 w 72"/>
                <a:gd name="T29" fmla="*/ 232 h 239"/>
                <a:gd name="T30" fmla="*/ 12 w 72"/>
                <a:gd name="T31" fmla="*/ 227 h 239"/>
                <a:gd name="T32" fmla="*/ 6 w 72"/>
                <a:gd name="T33" fmla="*/ 222 h 239"/>
                <a:gd name="T34" fmla="*/ 3 w 72"/>
                <a:gd name="T35" fmla="*/ 217 h 239"/>
                <a:gd name="T36" fmla="*/ 1 w 72"/>
                <a:gd name="T37" fmla="*/ 210 h 239"/>
                <a:gd name="T38" fmla="*/ 0 w 72"/>
                <a:gd name="T39" fmla="*/ 203 h 239"/>
                <a:gd name="T40" fmla="*/ 0 w 72"/>
                <a:gd name="T41" fmla="*/ 37 h 239"/>
                <a:gd name="T42" fmla="*/ 0 w 72"/>
                <a:gd name="T43" fmla="*/ 37 h 239"/>
                <a:gd name="T44" fmla="*/ 1 w 72"/>
                <a:gd name="T45" fmla="*/ 30 h 239"/>
                <a:gd name="T46" fmla="*/ 3 w 72"/>
                <a:gd name="T47" fmla="*/ 23 h 239"/>
                <a:gd name="T48" fmla="*/ 6 w 72"/>
                <a:gd name="T49" fmla="*/ 16 h 239"/>
                <a:gd name="T50" fmla="*/ 12 w 72"/>
                <a:gd name="T51" fmla="*/ 11 h 239"/>
                <a:gd name="T52" fmla="*/ 17 w 72"/>
                <a:gd name="T53" fmla="*/ 6 h 239"/>
                <a:gd name="T54" fmla="*/ 22 w 72"/>
                <a:gd name="T55" fmla="*/ 4 h 239"/>
                <a:gd name="T56" fmla="*/ 29 w 72"/>
                <a:gd name="T57" fmla="*/ 0 h 239"/>
                <a:gd name="T58" fmla="*/ 36 w 72"/>
                <a:gd name="T59" fmla="*/ 0 h 239"/>
                <a:gd name="T60" fmla="*/ 36 w 72"/>
                <a:gd name="T61" fmla="*/ 0 h 239"/>
                <a:gd name="T62" fmla="*/ 45 w 72"/>
                <a:gd name="T63" fmla="*/ 0 h 239"/>
                <a:gd name="T64" fmla="*/ 51 w 72"/>
                <a:gd name="T65" fmla="*/ 4 h 239"/>
                <a:gd name="T66" fmla="*/ 57 w 72"/>
                <a:gd name="T67" fmla="*/ 6 h 239"/>
                <a:gd name="T68" fmla="*/ 62 w 72"/>
                <a:gd name="T69" fmla="*/ 11 h 239"/>
                <a:gd name="T70" fmla="*/ 67 w 72"/>
                <a:gd name="T71" fmla="*/ 16 h 239"/>
                <a:gd name="T72" fmla="*/ 70 w 72"/>
                <a:gd name="T73" fmla="*/ 23 h 239"/>
                <a:gd name="T74" fmla="*/ 72 w 72"/>
                <a:gd name="T75" fmla="*/ 30 h 239"/>
                <a:gd name="T76" fmla="*/ 72 w 72"/>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239">
                  <a:moveTo>
                    <a:pt x="72" y="37"/>
                  </a:moveTo>
                  <a:lnTo>
                    <a:pt x="72" y="203"/>
                  </a:lnTo>
                  <a:lnTo>
                    <a:pt x="72" y="203"/>
                  </a:lnTo>
                  <a:lnTo>
                    <a:pt x="72" y="210"/>
                  </a:lnTo>
                  <a:lnTo>
                    <a:pt x="70" y="217"/>
                  </a:lnTo>
                  <a:lnTo>
                    <a:pt x="67" y="222"/>
                  </a:lnTo>
                  <a:lnTo>
                    <a:pt x="62" y="227"/>
                  </a:lnTo>
                  <a:lnTo>
                    <a:pt x="57" y="232"/>
                  </a:lnTo>
                  <a:lnTo>
                    <a:pt x="51" y="236"/>
                  </a:lnTo>
                  <a:lnTo>
                    <a:pt x="45" y="237"/>
                  </a:lnTo>
                  <a:lnTo>
                    <a:pt x="36" y="239"/>
                  </a:lnTo>
                  <a:lnTo>
                    <a:pt x="36" y="239"/>
                  </a:lnTo>
                  <a:lnTo>
                    <a:pt x="29" y="237"/>
                  </a:lnTo>
                  <a:lnTo>
                    <a:pt x="22" y="236"/>
                  </a:lnTo>
                  <a:lnTo>
                    <a:pt x="17" y="232"/>
                  </a:lnTo>
                  <a:lnTo>
                    <a:pt x="12" y="227"/>
                  </a:lnTo>
                  <a:lnTo>
                    <a:pt x="6" y="222"/>
                  </a:lnTo>
                  <a:lnTo>
                    <a:pt x="3" y="217"/>
                  </a:lnTo>
                  <a:lnTo>
                    <a:pt x="1" y="210"/>
                  </a:lnTo>
                  <a:lnTo>
                    <a:pt x="0" y="203"/>
                  </a:lnTo>
                  <a:lnTo>
                    <a:pt x="0" y="37"/>
                  </a:lnTo>
                  <a:lnTo>
                    <a:pt x="0" y="37"/>
                  </a:lnTo>
                  <a:lnTo>
                    <a:pt x="1" y="30"/>
                  </a:lnTo>
                  <a:lnTo>
                    <a:pt x="3" y="23"/>
                  </a:lnTo>
                  <a:lnTo>
                    <a:pt x="6" y="16"/>
                  </a:lnTo>
                  <a:lnTo>
                    <a:pt x="12" y="11"/>
                  </a:lnTo>
                  <a:lnTo>
                    <a:pt x="17" y="6"/>
                  </a:lnTo>
                  <a:lnTo>
                    <a:pt x="22" y="4"/>
                  </a:lnTo>
                  <a:lnTo>
                    <a:pt x="29" y="0"/>
                  </a:lnTo>
                  <a:lnTo>
                    <a:pt x="36" y="0"/>
                  </a:lnTo>
                  <a:lnTo>
                    <a:pt x="36" y="0"/>
                  </a:lnTo>
                  <a:lnTo>
                    <a:pt x="45" y="0"/>
                  </a:lnTo>
                  <a:lnTo>
                    <a:pt x="51" y="4"/>
                  </a:lnTo>
                  <a:lnTo>
                    <a:pt x="57" y="6"/>
                  </a:lnTo>
                  <a:lnTo>
                    <a:pt x="62" y="11"/>
                  </a:lnTo>
                  <a:lnTo>
                    <a:pt x="67" y="16"/>
                  </a:lnTo>
                  <a:lnTo>
                    <a:pt x="70" y="23"/>
                  </a:lnTo>
                  <a:lnTo>
                    <a:pt x="72" y="30"/>
                  </a:lnTo>
                  <a:lnTo>
                    <a:pt x="72" y="37"/>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2" name="Freeform 49">
              <a:extLst>
                <a:ext uri="{FF2B5EF4-FFF2-40B4-BE49-F238E27FC236}">
                  <a16:creationId xmlns:a16="http://schemas.microsoft.com/office/drawing/2014/main" id="{57FD25D1-9F9A-4707-A01E-D246ED4E162B}"/>
                </a:ext>
              </a:extLst>
            </p:cNvPr>
            <p:cNvSpPr>
              <a:spLocks/>
            </p:cNvSpPr>
            <p:nvPr/>
          </p:nvSpPr>
          <p:spPr bwMode="auto">
            <a:xfrm>
              <a:off x="3817965" y="13447"/>
              <a:ext cx="40682" cy="132982"/>
            </a:xfrm>
            <a:custGeom>
              <a:avLst/>
              <a:gdLst>
                <a:gd name="T0" fmla="*/ 73 w 73"/>
                <a:gd name="T1" fmla="*/ 37 h 239"/>
                <a:gd name="T2" fmla="*/ 73 w 73"/>
                <a:gd name="T3" fmla="*/ 203 h 239"/>
                <a:gd name="T4" fmla="*/ 73 w 73"/>
                <a:gd name="T5" fmla="*/ 203 h 239"/>
                <a:gd name="T6" fmla="*/ 73 w 73"/>
                <a:gd name="T7" fmla="*/ 210 h 239"/>
                <a:gd name="T8" fmla="*/ 71 w 73"/>
                <a:gd name="T9" fmla="*/ 217 h 239"/>
                <a:gd name="T10" fmla="*/ 67 w 73"/>
                <a:gd name="T11" fmla="*/ 222 h 239"/>
                <a:gd name="T12" fmla="*/ 62 w 73"/>
                <a:gd name="T13" fmla="*/ 227 h 239"/>
                <a:gd name="T14" fmla="*/ 57 w 73"/>
                <a:gd name="T15" fmla="*/ 232 h 239"/>
                <a:gd name="T16" fmla="*/ 52 w 73"/>
                <a:gd name="T17" fmla="*/ 236 h 239"/>
                <a:gd name="T18" fmla="*/ 45 w 73"/>
                <a:gd name="T19" fmla="*/ 237 h 239"/>
                <a:gd name="T20" fmla="*/ 36 w 73"/>
                <a:gd name="T21" fmla="*/ 239 h 239"/>
                <a:gd name="T22" fmla="*/ 36 w 73"/>
                <a:gd name="T23" fmla="*/ 239 h 239"/>
                <a:gd name="T24" fmla="*/ 29 w 73"/>
                <a:gd name="T25" fmla="*/ 237 h 239"/>
                <a:gd name="T26" fmla="*/ 23 w 73"/>
                <a:gd name="T27" fmla="*/ 236 h 239"/>
                <a:gd name="T28" fmla="*/ 17 w 73"/>
                <a:gd name="T29" fmla="*/ 232 h 239"/>
                <a:gd name="T30" fmla="*/ 12 w 73"/>
                <a:gd name="T31" fmla="*/ 227 h 239"/>
                <a:gd name="T32" fmla="*/ 7 w 73"/>
                <a:gd name="T33" fmla="*/ 222 h 239"/>
                <a:gd name="T34" fmla="*/ 3 w 73"/>
                <a:gd name="T35" fmla="*/ 217 h 239"/>
                <a:gd name="T36" fmla="*/ 2 w 73"/>
                <a:gd name="T37" fmla="*/ 210 h 239"/>
                <a:gd name="T38" fmla="*/ 0 w 73"/>
                <a:gd name="T39" fmla="*/ 203 h 239"/>
                <a:gd name="T40" fmla="*/ 0 w 73"/>
                <a:gd name="T41" fmla="*/ 37 h 239"/>
                <a:gd name="T42" fmla="*/ 0 w 73"/>
                <a:gd name="T43" fmla="*/ 37 h 239"/>
                <a:gd name="T44" fmla="*/ 2 w 73"/>
                <a:gd name="T45" fmla="*/ 30 h 239"/>
                <a:gd name="T46" fmla="*/ 3 w 73"/>
                <a:gd name="T47" fmla="*/ 23 h 239"/>
                <a:gd name="T48" fmla="*/ 7 w 73"/>
                <a:gd name="T49" fmla="*/ 16 h 239"/>
                <a:gd name="T50" fmla="*/ 12 w 73"/>
                <a:gd name="T51" fmla="*/ 11 h 239"/>
                <a:gd name="T52" fmla="*/ 17 w 73"/>
                <a:gd name="T53" fmla="*/ 6 h 239"/>
                <a:gd name="T54" fmla="*/ 23 w 73"/>
                <a:gd name="T55" fmla="*/ 4 h 239"/>
                <a:gd name="T56" fmla="*/ 29 w 73"/>
                <a:gd name="T57" fmla="*/ 0 h 239"/>
                <a:gd name="T58" fmla="*/ 36 w 73"/>
                <a:gd name="T59" fmla="*/ 0 h 239"/>
                <a:gd name="T60" fmla="*/ 36 w 73"/>
                <a:gd name="T61" fmla="*/ 0 h 239"/>
                <a:gd name="T62" fmla="*/ 45 w 73"/>
                <a:gd name="T63" fmla="*/ 0 h 239"/>
                <a:gd name="T64" fmla="*/ 52 w 73"/>
                <a:gd name="T65" fmla="*/ 4 h 239"/>
                <a:gd name="T66" fmla="*/ 57 w 73"/>
                <a:gd name="T67" fmla="*/ 6 h 239"/>
                <a:gd name="T68" fmla="*/ 62 w 73"/>
                <a:gd name="T69" fmla="*/ 11 h 239"/>
                <a:gd name="T70" fmla="*/ 67 w 73"/>
                <a:gd name="T71" fmla="*/ 16 h 239"/>
                <a:gd name="T72" fmla="*/ 71 w 73"/>
                <a:gd name="T73" fmla="*/ 23 h 239"/>
                <a:gd name="T74" fmla="*/ 73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3" y="210"/>
                  </a:lnTo>
                  <a:lnTo>
                    <a:pt x="71" y="217"/>
                  </a:lnTo>
                  <a:lnTo>
                    <a:pt x="67" y="222"/>
                  </a:lnTo>
                  <a:lnTo>
                    <a:pt x="62" y="227"/>
                  </a:lnTo>
                  <a:lnTo>
                    <a:pt x="57" y="232"/>
                  </a:lnTo>
                  <a:lnTo>
                    <a:pt x="52" y="236"/>
                  </a:lnTo>
                  <a:lnTo>
                    <a:pt x="45" y="237"/>
                  </a:lnTo>
                  <a:lnTo>
                    <a:pt x="36" y="239"/>
                  </a:lnTo>
                  <a:lnTo>
                    <a:pt x="36" y="239"/>
                  </a:lnTo>
                  <a:lnTo>
                    <a:pt x="29" y="237"/>
                  </a:lnTo>
                  <a:lnTo>
                    <a:pt x="23" y="236"/>
                  </a:lnTo>
                  <a:lnTo>
                    <a:pt x="17" y="232"/>
                  </a:lnTo>
                  <a:lnTo>
                    <a:pt x="12" y="227"/>
                  </a:lnTo>
                  <a:lnTo>
                    <a:pt x="7" y="222"/>
                  </a:lnTo>
                  <a:lnTo>
                    <a:pt x="3" y="217"/>
                  </a:lnTo>
                  <a:lnTo>
                    <a:pt x="2" y="210"/>
                  </a:lnTo>
                  <a:lnTo>
                    <a:pt x="0" y="203"/>
                  </a:lnTo>
                  <a:lnTo>
                    <a:pt x="0" y="37"/>
                  </a:lnTo>
                  <a:lnTo>
                    <a:pt x="0" y="37"/>
                  </a:lnTo>
                  <a:lnTo>
                    <a:pt x="2" y="30"/>
                  </a:lnTo>
                  <a:lnTo>
                    <a:pt x="3" y="23"/>
                  </a:lnTo>
                  <a:lnTo>
                    <a:pt x="7" y="16"/>
                  </a:lnTo>
                  <a:lnTo>
                    <a:pt x="12" y="11"/>
                  </a:lnTo>
                  <a:lnTo>
                    <a:pt x="17" y="6"/>
                  </a:lnTo>
                  <a:lnTo>
                    <a:pt x="23" y="4"/>
                  </a:lnTo>
                  <a:lnTo>
                    <a:pt x="29" y="0"/>
                  </a:lnTo>
                  <a:lnTo>
                    <a:pt x="36" y="0"/>
                  </a:lnTo>
                  <a:lnTo>
                    <a:pt x="36" y="0"/>
                  </a:lnTo>
                  <a:lnTo>
                    <a:pt x="45" y="0"/>
                  </a:lnTo>
                  <a:lnTo>
                    <a:pt x="52" y="4"/>
                  </a:lnTo>
                  <a:lnTo>
                    <a:pt x="57" y="6"/>
                  </a:lnTo>
                  <a:lnTo>
                    <a:pt x="62" y="11"/>
                  </a:lnTo>
                  <a:lnTo>
                    <a:pt x="67" y="16"/>
                  </a:lnTo>
                  <a:lnTo>
                    <a:pt x="71" y="23"/>
                  </a:lnTo>
                  <a:lnTo>
                    <a:pt x="73" y="30"/>
                  </a:lnTo>
                  <a:lnTo>
                    <a:pt x="73"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3" name="Freeform 50">
              <a:extLst>
                <a:ext uri="{FF2B5EF4-FFF2-40B4-BE49-F238E27FC236}">
                  <a16:creationId xmlns:a16="http://schemas.microsoft.com/office/drawing/2014/main" id="{5D2D8BE5-AF30-4CCD-9FCB-48A5A8C17707}"/>
                </a:ext>
              </a:extLst>
            </p:cNvPr>
            <p:cNvSpPr>
              <a:spLocks/>
            </p:cNvSpPr>
            <p:nvPr/>
          </p:nvSpPr>
          <p:spPr bwMode="auto">
            <a:xfrm>
              <a:off x="3817965" y="13447"/>
              <a:ext cx="40682" cy="132982"/>
            </a:xfrm>
            <a:custGeom>
              <a:avLst/>
              <a:gdLst>
                <a:gd name="T0" fmla="*/ 73 w 73"/>
                <a:gd name="T1" fmla="*/ 37 h 239"/>
                <a:gd name="T2" fmla="*/ 73 w 73"/>
                <a:gd name="T3" fmla="*/ 203 h 239"/>
                <a:gd name="T4" fmla="*/ 73 w 73"/>
                <a:gd name="T5" fmla="*/ 203 h 239"/>
                <a:gd name="T6" fmla="*/ 73 w 73"/>
                <a:gd name="T7" fmla="*/ 210 h 239"/>
                <a:gd name="T8" fmla="*/ 71 w 73"/>
                <a:gd name="T9" fmla="*/ 217 h 239"/>
                <a:gd name="T10" fmla="*/ 67 w 73"/>
                <a:gd name="T11" fmla="*/ 222 h 239"/>
                <a:gd name="T12" fmla="*/ 62 w 73"/>
                <a:gd name="T13" fmla="*/ 227 h 239"/>
                <a:gd name="T14" fmla="*/ 57 w 73"/>
                <a:gd name="T15" fmla="*/ 232 h 239"/>
                <a:gd name="T16" fmla="*/ 52 w 73"/>
                <a:gd name="T17" fmla="*/ 236 h 239"/>
                <a:gd name="T18" fmla="*/ 45 w 73"/>
                <a:gd name="T19" fmla="*/ 237 h 239"/>
                <a:gd name="T20" fmla="*/ 36 w 73"/>
                <a:gd name="T21" fmla="*/ 239 h 239"/>
                <a:gd name="T22" fmla="*/ 36 w 73"/>
                <a:gd name="T23" fmla="*/ 239 h 239"/>
                <a:gd name="T24" fmla="*/ 29 w 73"/>
                <a:gd name="T25" fmla="*/ 237 h 239"/>
                <a:gd name="T26" fmla="*/ 23 w 73"/>
                <a:gd name="T27" fmla="*/ 236 h 239"/>
                <a:gd name="T28" fmla="*/ 17 w 73"/>
                <a:gd name="T29" fmla="*/ 232 h 239"/>
                <a:gd name="T30" fmla="*/ 12 w 73"/>
                <a:gd name="T31" fmla="*/ 227 h 239"/>
                <a:gd name="T32" fmla="*/ 7 w 73"/>
                <a:gd name="T33" fmla="*/ 222 h 239"/>
                <a:gd name="T34" fmla="*/ 3 w 73"/>
                <a:gd name="T35" fmla="*/ 217 h 239"/>
                <a:gd name="T36" fmla="*/ 2 w 73"/>
                <a:gd name="T37" fmla="*/ 210 h 239"/>
                <a:gd name="T38" fmla="*/ 0 w 73"/>
                <a:gd name="T39" fmla="*/ 203 h 239"/>
                <a:gd name="T40" fmla="*/ 0 w 73"/>
                <a:gd name="T41" fmla="*/ 37 h 239"/>
                <a:gd name="T42" fmla="*/ 0 w 73"/>
                <a:gd name="T43" fmla="*/ 37 h 239"/>
                <a:gd name="T44" fmla="*/ 2 w 73"/>
                <a:gd name="T45" fmla="*/ 30 h 239"/>
                <a:gd name="T46" fmla="*/ 3 w 73"/>
                <a:gd name="T47" fmla="*/ 23 h 239"/>
                <a:gd name="T48" fmla="*/ 7 w 73"/>
                <a:gd name="T49" fmla="*/ 16 h 239"/>
                <a:gd name="T50" fmla="*/ 12 w 73"/>
                <a:gd name="T51" fmla="*/ 11 h 239"/>
                <a:gd name="T52" fmla="*/ 17 w 73"/>
                <a:gd name="T53" fmla="*/ 6 h 239"/>
                <a:gd name="T54" fmla="*/ 23 w 73"/>
                <a:gd name="T55" fmla="*/ 4 h 239"/>
                <a:gd name="T56" fmla="*/ 29 w 73"/>
                <a:gd name="T57" fmla="*/ 0 h 239"/>
                <a:gd name="T58" fmla="*/ 36 w 73"/>
                <a:gd name="T59" fmla="*/ 0 h 239"/>
                <a:gd name="T60" fmla="*/ 36 w 73"/>
                <a:gd name="T61" fmla="*/ 0 h 239"/>
                <a:gd name="T62" fmla="*/ 45 w 73"/>
                <a:gd name="T63" fmla="*/ 0 h 239"/>
                <a:gd name="T64" fmla="*/ 52 w 73"/>
                <a:gd name="T65" fmla="*/ 4 h 239"/>
                <a:gd name="T66" fmla="*/ 57 w 73"/>
                <a:gd name="T67" fmla="*/ 6 h 239"/>
                <a:gd name="T68" fmla="*/ 62 w 73"/>
                <a:gd name="T69" fmla="*/ 11 h 239"/>
                <a:gd name="T70" fmla="*/ 67 w 73"/>
                <a:gd name="T71" fmla="*/ 16 h 239"/>
                <a:gd name="T72" fmla="*/ 71 w 73"/>
                <a:gd name="T73" fmla="*/ 23 h 239"/>
                <a:gd name="T74" fmla="*/ 73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3" y="210"/>
                  </a:lnTo>
                  <a:lnTo>
                    <a:pt x="71" y="217"/>
                  </a:lnTo>
                  <a:lnTo>
                    <a:pt x="67" y="222"/>
                  </a:lnTo>
                  <a:lnTo>
                    <a:pt x="62" y="227"/>
                  </a:lnTo>
                  <a:lnTo>
                    <a:pt x="57" y="232"/>
                  </a:lnTo>
                  <a:lnTo>
                    <a:pt x="52" y="236"/>
                  </a:lnTo>
                  <a:lnTo>
                    <a:pt x="45" y="237"/>
                  </a:lnTo>
                  <a:lnTo>
                    <a:pt x="36" y="239"/>
                  </a:lnTo>
                  <a:lnTo>
                    <a:pt x="36" y="239"/>
                  </a:lnTo>
                  <a:lnTo>
                    <a:pt x="29" y="237"/>
                  </a:lnTo>
                  <a:lnTo>
                    <a:pt x="23" y="236"/>
                  </a:lnTo>
                  <a:lnTo>
                    <a:pt x="17" y="232"/>
                  </a:lnTo>
                  <a:lnTo>
                    <a:pt x="12" y="227"/>
                  </a:lnTo>
                  <a:lnTo>
                    <a:pt x="7" y="222"/>
                  </a:lnTo>
                  <a:lnTo>
                    <a:pt x="3" y="217"/>
                  </a:lnTo>
                  <a:lnTo>
                    <a:pt x="2" y="210"/>
                  </a:lnTo>
                  <a:lnTo>
                    <a:pt x="0" y="203"/>
                  </a:lnTo>
                  <a:lnTo>
                    <a:pt x="0" y="37"/>
                  </a:lnTo>
                  <a:lnTo>
                    <a:pt x="0" y="37"/>
                  </a:lnTo>
                  <a:lnTo>
                    <a:pt x="2" y="30"/>
                  </a:lnTo>
                  <a:lnTo>
                    <a:pt x="3" y="23"/>
                  </a:lnTo>
                  <a:lnTo>
                    <a:pt x="7" y="16"/>
                  </a:lnTo>
                  <a:lnTo>
                    <a:pt x="12" y="11"/>
                  </a:lnTo>
                  <a:lnTo>
                    <a:pt x="17" y="6"/>
                  </a:lnTo>
                  <a:lnTo>
                    <a:pt x="23" y="4"/>
                  </a:lnTo>
                  <a:lnTo>
                    <a:pt x="29" y="0"/>
                  </a:lnTo>
                  <a:lnTo>
                    <a:pt x="36" y="0"/>
                  </a:lnTo>
                  <a:lnTo>
                    <a:pt x="36" y="0"/>
                  </a:lnTo>
                  <a:lnTo>
                    <a:pt x="45" y="0"/>
                  </a:lnTo>
                  <a:lnTo>
                    <a:pt x="52" y="4"/>
                  </a:lnTo>
                  <a:lnTo>
                    <a:pt x="57" y="6"/>
                  </a:lnTo>
                  <a:lnTo>
                    <a:pt x="62" y="11"/>
                  </a:lnTo>
                  <a:lnTo>
                    <a:pt x="67" y="16"/>
                  </a:lnTo>
                  <a:lnTo>
                    <a:pt x="71" y="23"/>
                  </a:lnTo>
                  <a:lnTo>
                    <a:pt x="73" y="30"/>
                  </a:lnTo>
                  <a:lnTo>
                    <a:pt x="73" y="3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4" name="Freeform 51">
              <a:extLst>
                <a:ext uri="{FF2B5EF4-FFF2-40B4-BE49-F238E27FC236}">
                  <a16:creationId xmlns:a16="http://schemas.microsoft.com/office/drawing/2014/main" id="{2A6F103B-3DE5-43C3-9BC4-F57DF5B800A3}"/>
                </a:ext>
              </a:extLst>
            </p:cNvPr>
            <p:cNvSpPr>
              <a:spLocks/>
            </p:cNvSpPr>
            <p:nvPr/>
          </p:nvSpPr>
          <p:spPr bwMode="auto">
            <a:xfrm>
              <a:off x="3962301" y="-152920"/>
              <a:ext cx="40682" cy="465159"/>
            </a:xfrm>
            <a:custGeom>
              <a:avLst/>
              <a:gdLst>
                <a:gd name="T0" fmla="*/ 73 w 73"/>
                <a:gd name="T1" fmla="*/ 36 h 836"/>
                <a:gd name="T2" fmla="*/ 73 w 73"/>
                <a:gd name="T3" fmla="*/ 799 h 836"/>
                <a:gd name="T4" fmla="*/ 73 w 73"/>
                <a:gd name="T5" fmla="*/ 799 h 836"/>
                <a:gd name="T6" fmla="*/ 71 w 73"/>
                <a:gd name="T7" fmla="*/ 806 h 836"/>
                <a:gd name="T8" fmla="*/ 69 w 73"/>
                <a:gd name="T9" fmla="*/ 813 h 836"/>
                <a:gd name="T10" fmla="*/ 66 w 73"/>
                <a:gd name="T11" fmla="*/ 820 h 836"/>
                <a:gd name="T12" fmla="*/ 63 w 73"/>
                <a:gd name="T13" fmla="*/ 825 h 836"/>
                <a:gd name="T14" fmla="*/ 56 w 73"/>
                <a:gd name="T15" fmla="*/ 830 h 836"/>
                <a:gd name="T16" fmla="*/ 50 w 73"/>
                <a:gd name="T17" fmla="*/ 834 h 836"/>
                <a:gd name="T18" fmla="*/ 44 w 73"/>
                <a:gd name="T19" fmla="*/ 836 h 836"/>
                <a:gd name="T20" fmla="*/ 37 w 73"/>
                <a:gd name="T21" fmla="*/ 836 h 836"/>
                <a:gd name="T22" fmla="*/ 37 w 73"/>
                <a:gd name="T23" fmla="*/ 836 h 836"/>
                <a:gd name="T24" fmla="*/ 28 w 73"/>
                <a:gd name="T25" fmla="*/ 836 h 836"/>
                <a:gd name="T26" fmla="*/ 23 w 73"/>
                <a:gd name="T27" fmla="*/ 834 h 836"/>
                <a:gd name="T28" fmla="*/ 16 w 73"/>
                <a:gd name="T29" fmla="*/ 830 h 836"/>
                <a:gd name="T30" fmla="*/ 11 w 73"/>
                <a:gd name="T31" fmla="*/ 825 h 836"/>
                <a:gd name="T32" fmla="*/ 6 w 73"/>
                <a:gd name="T33" fmla="*/ 820 h 836"/>
                <a:gd name="T34" fmla="*/ 2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2 w 73"/>
                <a:gd name="T47" fmla="*/ 23 h 836"/>
                <a:gd name="T48" fmla="*/ 6 w 73"/>
                <a:gd name="T49" fmla="*/ 16 h 836"/>
                <a:gd name="T50" fmla="*/ 11 w 73"/>
                <a:gd name="T51" fmla="*/ 11 h 836"/>
                <a:gd name="T52" fmla="*/ 16 w 73"/>
                <a:gd name="T53" fmla="*/ 7 h 836"/>
                <a:gd name="T54" fmla="*/ 23 w 73"/>
                <a:gd name="T55" fmla="*/ 4 h 836"/>
                <a:gd name="T56" fmla="*/ 28 w 73"/>
                <a:gd name="T57" fmla="*/ 2 h 836"/>
                <a:gd name="T58" fmla="*/ 37 w 73"/>
                <a:gd name="T59" fmla="*/ 0 h 836"/>
                <a:gd name="T60" fmla="*/ 37 w 73"/>
                <a:gd name="T61" fmla="*/ 0 h 836"/>
                <a:gd name="T62" fmla="*/ 44 w 73"/>
                <a:gd name="T63" fmla="*/ 2 h 836"/>
                <a:gd name="T64" fmla="*/ 50 w 73"/>
                <a:gd name="T65" fmla="*/ 4 h 836"/>
                <a:gd name="T66" fmla="*/ 56 w 73"/>
                <a:gd name="T67" fmla="*/ 7 h 836"/>
                <a:gd name="T68" fmla="*/ 63 w 73"/>
                <a:gd name="T69" fmla="*/ 11 h 836"/>
                <a:gd name="T70" fmla="*/ 66 w 73"/>
                <a:gd name="T71" fmla="*/ 16 h 836"/>
                <a:gd name="T72" fmla="*/ 69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69" y="813"/>
                  </a:lnTo>
                  <a:lnTo>
                    <a:pt x="66" y="820"/>
                  </a:lnTo>
                  <a:lnTo>
                    <a:pt x="63" y="825"/>
                  </a:lnTo>
                  <a:lnTo>
                    <a:pt x="56" y="830"/>
                  </a:lnTo>
                  <a:lnTo>
                    <a:pt x="50" y="834"/>
                  </a:lnTo>
                  <a:lnTo>
                    <a:pt x="44" y="836"/>
                  </a:lnTo>
                  <a:lnTo>
                    <a:pt x="37" y="836"/>
                  </a:lnTo>
                  <a:lnTo>
                    <a:pt x="37" y="836"/>
                  </a:lnTo>
                  <a:lnTo>
                    <a:pt x="28" y="836"/>
                  </a:lnTo>
                  <a:lnTo>
                    <a:pt x="23" y="834"/>
                  </a:lnTo>
                  <a:lnTo>
                    <a:pt x="16" y="830"/>
                  </a:lnTo>
                  <a:lnTo>
                    <a:pt x="11" y="825"/>
                  </a:lnTo>
                  <a:lnTo>
                    <a:pt x="6" y="820"/>
                  </a:lnTo>
                  <a:lnTo>
                    <a:pt x="2" y="813"/>
                  </a:lnTo>
                  <a:lnTo>
                    <a:pt x="0" y="806"/>
                  </a:lnTo>
                  <a:lnTo>
                    <a:pt x="0" y="799"/>
                  </a:lnTo>
                  <a:lnTo>
                    <a:pt x="0" y="36"/>
                  </a:lnTo>
                  <a:lnTo>
                    <a:pt x="0" y="36"/>
                  </a:lnTo>
                  <a:lnTo>
                    <a:pt x="0" y="30"/>
                  </a:lnTo>
                  <a:lnTo>
                    <a:pt x="2" y="23"/>
                  </a:lnTo>
                  <a:lnTo>
                    <a:pt x="6" y="16"/>
                  </a:lnTo>
                  <a:lnTo>
                    <a:pt x="11" y="11"/>
                  </a:lnTo>
                  <a:lnTo>
                    <a:pt x="16" y="7"/>
                  </a:lnTo>
                  <a:lnTo>
                    <a:pt x="23" y="4"/>
                  </a:lnTo>
                  <a:lnTo>
                    <a:pt x="28" y="2"/>
                  </a:lnTo>
                  <a:lnTo>
                    <a:pt x="37" y="0"/>
                  </a:lnTo>
                  <a:lnTo>
                    <a:pt x="37" y="0"/>
                  </a:lnTo>
                  <a:lnTo>
                    <a:pt x="44" y="2"/>
                  </a:lnTo>
                  <a:lnTo>
                    <a:pt x="50" y="4"/>
                  </a:lnTo>
                  <a:lnTo>
                    <a:pt x="56" y="7"/>
                  </a:lnTo>
                  <a:lnTo>
                    <a:pt x="63" y="11"/>
                  </a:lnTo>
                  <a:lnTo>
                    <a:pt x="66" y="16"/>
                  </a:lnTo>
                  <a:lnTo>
                    <a:pt x="69" y="23"/>
                  </a:lnTo>
                  <a:lnTo>
                    <a:pt x="71" y="30"/>
                  </a:lnTo>
                  <a:lnTo>
                    <a:pt x="7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5" name="Freeform 52">
              <a:extLst>
                <a:ext uri="{FF2B5EF4-FFF2-40B4-BE49-F238E27FC236}">
                  <a16:creationId xmlns:a16="http://schemas.microsoft.com/office/drawing/2014/main" id="{C65DA500-9C80-4AFB-B2B6-E3B11F296991}"/>
                </a:ext>
              </a:extLst>
            </p:cNvPr>
            <p:cNvSpPr>
              <a:spLocks/>
            </p:cNvSpPr>
            <p:nvPr/>
          </p:nvSpPr>
          <p:spPr bwMode="auto">
            <a:xfrm>
              <a:off x="3962301" y="-152920"/>
              <a:ext cx="40682" cy="465159"/>
            </a:xfrm>
            <a:custGeom>
              <a:avLst/>
              <a:gdLst>
                <a:gd name="T0" fmla="*/ 73 w 73"/>
                <a:gd name="T1" fmla="*/ 36 h 836"/>
                <a:gd name="T2" fmla="*/ 73 w 73"/>
                <a:gd name="T3" fmla="*/ 799 h 836"/>
                <a:gd name="T4" fmla="*/ 73 w 73"/>
                <a:gd name="T5" fmla="*/ 799 h 836"/>
                <a:gd name="T6" fmla="*/ 71 w 73"/>
                <a:gd name="T7" fmla="*/ 806 h 836"/>
                <a:gd name="T8" fmla="*/ 69 w 73"/>
                <a:gd name="T9" fmla="*/ 813 h 836"/>
                <a:gd name="T10" fmla="*/ 66 w 73"/>
                <a:gd name="T11" fmla="*/ 820 h 836"/>
                <a:gd name="T12" fmla="*/ 63 w 73"/>
                <a:gd name="T13" fmla="*/ 825 h 836"/>
                <a:gd name="T14" fmla="*/ 56 w 73"/>
                <a:gd name="T15" fmla="*/ 830 h 836"/>
                <a:gd name="T16" fmla="*/ 50 w 73"/>
                <a:gd name="T17" fmla="*/ 834 h 836"/>
                <a:gd name="T18" fmla="*/ 44 w 73"/>
                <a:gd name="T19" fmla="*/ 836 h 836"/>
                <a:gd name="T20" fmla="*/ 37 w 73"/>
                <a:gd name="T21" fmla="*/ 836 h 836"/>
                <a:gd name="T22" fmla="*/ 37 w 73"/>
                <a:gd name="T23" fmla="*/ 836 h 836"/>
                <a:gd name="T24" fmla="*/ 28 w 73"/>
                <a:gd name="T25" fmla="*/ 836 h 836"/>
                <a:gd name="T26" fmla="*/ 23 w 73"/>
                <a:gd name="T27" fmla="*/ 834 h 836"/>
                <a:gd name="T28" fmla="*/ 16 w 73"/>
                <a:gd name="T29" fmla="*/ 830 h 836"/>
                <a:gd name="T30" fmla="*/ 11 w 73"/>
                <a:gd name="T31" fmla="*/ 825 h 836"/>
                <a:gd name="T32" fmla="*/ 6 w 73"/>
                <a:gd name="T33" fmla="*/ 820 h 836"/>
                <a:gd name="T34" fmla="*/ 2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2 w 73"/>
                <a:gd name="T47" fmla="*/ 23 h 836"/>
                <a:gd name="T48" fmla="*/ 6 w 73"/>
                <a:gd name="T49" fmla="*/ 16 h 836"/>
                <a:gd name="T50" fmla="*/ 11 w 73"/>
                <a:gd name="T51" fmla="*/ 11 h 836"/>
                <a:gd name="T52" fmla="*/ 16 w 73"/>
                <a:gd name="T53" fmla="*/ 7 h 836"/>
                <a:gd name="T54" fmla="*/ 23 w 73"/>
                <a:gd name="T55" fmla="*/ 4 h 836"/>
                <a:gd name="T56" fmla="*/ 28 w 73"/>
                <a:gd name="T57" fmla="*/ 2 h 836"/>
                <a:gd name="T58" fmla="*/ 37 w 73"/>
                <a:gd name="T59" fmla="*/ 0 h 836"/>
                <a:gd name="T60" fmla="*/ 37 w 73"/>
                <a:gd name="T61" fmla="*/ 0 h 836"/>
                <a:gd name="T62" fmla="*/ 44 w 73"/>
                <a:gd name="T63" fmla="*/ 2 h 836"/>
                <a:gd name="T64" fmla="*/ 50 w 73"/>
                <a:gd name="T65" fmla="*/ 4 h 836"/>
                <a:gd name="T66" fmla="*/ 56 w 73"/>
                <a:gd name="T67" fmla="*/ 7 h 836"/>
                <a:gd name="T68" fmla="*/ 63 w 73"/>
                <a:gd name="T69" fmla="*/ 11 h 836"/>
                <a:gd name="T70" fmla="*/ 66 w 73"/>
                <a:gd name="T71" fmla="*/ 16 h 836"/>
                <a:gd name="T72" fmla="*/ 69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69" y="813"/>
                  </a:lnTo>
                  <a:lnTo>
                    <a:pt x="66" y="820"/>
                  </a:lnTo>
                  <a:lnTo>
                    <a:pt x="63" y="825"/>
                  </a:lnTo>
                  <a:lnTo>
                    <a:pt x="56" y="830"/>
                  </a:lnTo>
                  <a:lnTo>
                    <a:pt x="50" y="834"/>
                  </a:lnTo>
                  <a:lnTo>
                    <a:pt x="44" y="836"/>
                  </a:lnTo>
                  <a:lnTo>
                    <a:pt x="37" y="836"/>
                  </a:lnTo>
                  <a:lnTo>
                    <a:pt x="37" y="836"/>
                  </a:lnTo>
                  <a:lnTo>
                    <a:pt x="28" y="836"/>
                  </a:lnTo>
                  <a:lnTo>
                    <a:pt x="23" y="834"/>
                  </a:lnTo>
                  <a:lnTo>
                    <a:pt x="16" y="830"/>
                  </a:lnTo>
                  <a:lnTo>
                    <a:pt x="11" y="825"/>
                  </a:lnTo>
                  <a:lnTo>
                    <a:pt x="6" y="820"/>
                  </a:lnTo>
                  <a:lnTo>
                    <a:pt x="2" y="813"/>
                  </a:lnTo>
                  <a:lnTo>
                    <a:pt x="0" y="806"/>
                  </a:lnTo>
                  <a:lnTo>
                    <a:pt x="0" y="799"/>
                  </a:lnTo>
                  <a:lnTo>
                    <a:pt x="0" y="36"/>
                  </a:lnTo>
                  <a:lnTo>
                    <a:pt x="0" y="36"/>
                  </a:lnTo>
                  <a:lnTo>
                    <a:pt x="0" y="30"/>
                  </a:lnTo>
                  <a:lnTo>
                    <a:pt x="2" y="23"/>
                  </a:lnTo>
                  <a:lnTo>
                    <a:pt x="6" y="16"/>
                  </a:lnTo>
                  <a:lnTo>
                    <a:pt x="11" y="11"/>
                  </a:lnTo>
                  <a:lnTo>
                    <a:pt x="16" y="7"/>
                  </a:lnTo>
                  <a:lnTo>
                    <a:pt x="23" y="4"/>
                  </a:lnTo>
                  <a:lnTo>
                    <a:pt x="28" y="2"/>
                  </a:lnTo>
                  <a:lnTo>
                    <a:pt x="37" y="0"/>
                  </a:lnTo>
                  <a:lnTo>
                    <a:pt x="37" y="0"/>
                  </a:lnTo>
                  <a:lnTo>
                    <a:pt x="44" y="2"/>
                  </a:lnTo>
                  <a:lnTo>
                    <a:pt x="50" y="4"/>
                  </a:lnTo>
                  <a:lnTo>
                    <a:pt x="56" y="7"/>
                  </a:lnTo>
                  <a:lnTo>
                    <a:pt x="63" y="11"/>
                  </a:lnTo>
                  <a:lnTo>
                    <a:pt x="66" y="16"/>
                  </a:lnTo>
                  <a:lnTo>
                    <a:pt x="69" y="23"/>
                  </a:lnTo>
                  <a:lnTo>
                    <a:pt x="71" y="30"/>
                  </a:lnTo>
                  <a:lnTo>
                    <a:pt x="73" y="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6" name="Freeform 53">
              <a:extLst>
                <a:ext uri="{FF2B5EF4-FFF2-40B4-BE49-F238E27FC236}">
                  <a16:creationId xmlns:a16="http://schemas.microsoft.com/office/drawing/2014/main" id="{7B5A1089-ECD2-4F49-8ECB-A54AF0FA920E}"/>
                </a:ext>
              </a:extLst>
            </p:cNvPr>
            <p:cNvSpPr>
              <a:spLocks/>
            </p:cNvSpPr>
            <p:nvPr/>
          </p:nvSpPr>
          <p:spPr bwMode="auto">
            <a:xfrm>
              <a:off x="4062612" y="-312610"/>
              <a:ext cx="1016489" cy="783426"/>
            </a:xfrm>
            <a:custGeom>
              <a:avLst/>
              <a:gdLst>
                <a:gd name="T0" fmla="*/ 1824 w 1824"/>
                <a:gd name="T1" fmla="*/ 1166 h 1408"/>
                <a:gd name="T2" fmla="*/ 1824 w 1824"/>
                <a:gd name="T3" fmla="*/ 1408 h 1408"/>
                <a:gd name="T4" fmla="*/ 1516 w 1824"/>
                <a:gd name="T5" fmla="*/ 1408 h 1408"/>
                <a:gd name="T6" fmla="*/ 438 w 1824"/>
                <a:gd name="T7" fmla="*/ 242 h 1408"/>
                <a:gd name="T8" fmla="*/ 0 w 1824"/>
                <a:gd name="T9" fmla="*/ 242 h 1408"/>
                <a:gd name="T10" fmla="*/ 0 w 1824"/>
                <a:gd name="T11" fmla="*/ 0 h 1408"/>
                <a:gd name="T12" fmla="*/ 545 w 1824"/>
                <a:gd name="T13" fmla="*/ 0 h 1408"/>
                <a:gd name="T14" fmla="*/ 1623 w 1824"/>
                <a:gd name="T15" fmla="*/ 1166 h 1408"/>
                <a:gd name="T16" fmla="*/ 1824 w 1824"/>
                <a:gd name="T17" fmla="*/ 1166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4" h="1408">
                  <a:moveTo>
                    <a:pt x="1824" y="1166"/>
                  </a:moveTo>
                  <a:lnTo>
                    <a:pt x="1824" y="1408"/>
                  </a:lnTo>
                  <a:lnTo>
                    <a:pt x="1516" y="1408"/>
                  </a:lnTo>
                  <a:lnTo>
                    <a:pt x="438" y="242"/>
                  </a:lnTo>
                  <a:lnTo>
                    <a:pt x="0" y="242"/>
                  </a:lnTo>
                  <a:lnTo>
                    <a:pt x="0" y="0"/>
                  </a:lnTo>
                  <a:lnTo>
                    <a:pt x="545" y="0"/>
                  </a:lnTo>
                  <a:lnTo>
                    <a:pt x="1623" y="1166"/>
                  </a:lnTo>
                  <a:lnTo>
                    <a:pt x="1824" y="1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7" name="Freeform 54">
              <a:extLst>
                <a:ext uri="{FF2B5EF4-FFF2-40B4-BE49-F238E27FC236}">
                  <a16:creationId xmlns:a16="http://schemas.microsoft.com/office/drawing/2014/main" id="{C7597444-3D1F-4F61-B70A-BF2C8F9D9C60}"/>
                </a:ext>
              </a:extLst>
            </p:cNvPr>
            <p:cNvSpPr>
              <a:spLocks/>
            </p:cNvSpPr>
            <p:nvPr/>
          </p:nvSpPr>
          <p:spPr bwMode="auto">
            <a:xfrm>
              <a:off x="4062612" y="-312610"/>
              <a:ext cx="1016489" cy="783426"/>
            </a:xfrm>
            <a:custGeom>
              <a:avLst/>
              <a:gdLst>
                <a:gd name="T0" fmla="*/ 1824 w 1824"/>
                <a:gd name="T1" fmla="*/ 0 h 1408"/>
                <a:gd name="T2" fmla="*/ 1824 w 1824"/>
                <a:gd name="T3" fmla="*/ 242 h 1408"/>
                <a:gd name="T4" fmla="*/ 1623 w 1824"/>
                <a:gd name="T5" fmla="*/ 242 h 1408"/>
                <a:gd name="T6" fmla="*/ 545 w 1824"/>
                <a:gd name="T7" fmla="*/ 1408 h 1408"/>
                <a:gd name="T8" fmla="*/ 0 w 1824"/>
                <a:gd name="T9" fmla="*/ 1408 h 1408"/>
                <a:gd name="T10" fmla="*/ 0 w 1824"/>
                <a:gd name="T11" fmla="*/ 1166 h 1408"/>
                <a:gd name="T12" fmla="*/ 438 w 1824"/>
                <a:gd name="T13" fmla="*/ 1166 h 1408"/>
                <a:gd name="T14" fmla="*/ 1516 w 1824"/>
                <a:gd name="T15" fmla="*/ 0 h 1408"/>
                <a:gd name="T16" fmla="*/ 1824 w 1824"/>
                <a:gd name="T17" fmla="*/ 0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4" h="1408">
                  <a:moveTo>
                    <a:pt x="1824" y="0"/>
                  </a:moveTo>
                  <a:lnTo>
                    <a:pt x="1824" y="242"/>
                  </a:lnTo>
                  <a:lnTo>
                    <a:pt x="1623" y="242"/>
                  </a:lnTo>
                  <a:lnTo>
                    <a:pt x="545" y="1408"/>
                  </a:lnTo>
                  <a:lnTo>
                    <a:pt x="0" y="1408"/>
                  </a:lnTo>
                  <a:lnTo>
                    <a:pt x="0" y="1166"/>
                  </a:lnTo>
                  <a:lnTo>
                    <a:pt x="438" y="1166"/>
                  </a:lnTo>
                  <a:lnTo>
                    <a:pt x="1516" y="0"/>
                  </a:lnTo>
                  <a:lnTo>
                    <a:pt x="18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8" name="Freeform 55">
              <a:extLst>
                <a:ext uri="{FF2B5EF4-FFF2-40B4-BE49-F238E27FC236}">
                  <a16:creationId xmlns:a16="http://schemas.microsoft.com/office/drawing/2014/main" id="{FA558A9D-5BE9-4319-B9A8-08EC95AC45A0}"/>
                </a:ext>
              </a:extLst>
            </p:cNvPr>
            <p:cNvSpPr>
              <a:spLocks/>
            </p:cNvSpPr>
            <p:nvPr/>
          </p:nvSpPr>
          <p:spPr bwMode="auto">
            <a:xfrm>
              <a:off x="4114440" y="-152920"/>
              <a:ext cx="40682" cy="465159"/>
            </a:xfrm>
            <a:custGeom>
              <a:avLst/>
              <a:gdLst>
                <a:gd name="T0" fmla="*/ 73 w 73"/>
                <a:gd name="T1" fmla="*/ 36 h 836"/>
                <a:gd name="T2" fmla="*/ 73 w 73"/>
                <a:gd name="T3" fmla="*/ 799 h 836"/>
                <a:gd name="T4" fmla="*/ 73 w 73"/>
                <a:gd name="T5" fmla="*/ 799 h 836"/>
                <a:gd name="T6" fmla="*/ 71 w 73"/>
                <a:gd name="T7" fmla="*/ 806 h 836"/>
                <a:gd name="T8" fmla="*/ 70 w 73"/>
                <a:gd name="T9" fmla="*/ 813 h 836"/>
                <a:gd name="T10" fmla="*/ 66 w 73"/>
                <a:gd name="T11" fmla="*/ 820 h 836"/>
                <a:gd name="T12" fmla="*/ 63 w 73"/>
                <a:gd name="T13" fmla="*/ 825 h 836"/>
                <a:gd name="T14" fmla="*/ 56 w 73"/>
                <a:gd name="T15" fmla="*/ 830 h 836"/>
                <a:gd name="T16" fmla="*/ 51 w 73"/>
                <a:gd name="T17" fmla="*/ 834 h 836"/>
                <a:gd name="T18" fmla="*/ 44 w 73"/>
                <a:gd name="T19" fmla="*/ 836 h 836"/>
                <a:gd name="T20" fmla="*/ 37 w 73"/>
                <a:gd name="T21" fmla="*/ 836 h 836"/>
                <a:gd name="T22" fmla="*/ 37 w 73"/>
                <a:gd name="T23" fmla="*/ 836 h 836"/>
                <a:gd name="T24" fmla="*/ 28 w 73"/>
                <a:gd name="T25" fmla="*/ 836 h 836"/>
                <a:gd name="T26" fmla="*/ 23 w 73"/>
                <a:gd name="T27" fmla="*/ 834 h 836"/>
                <a:gd name="T28" fmla="*/ 16 w 73"/>
                <a:gd name="T29" fmla="*/ 830 h 836"/>
                <a:gd name="T30" fmla="*/ 11 w 73"/>
                <a:gd name="T31" fmla="*/ 825 h 836"/>
                <a:gd name="T32" fmla="*/ 6 w 73"/>
                <a:gd name="T33" fmla="*/ 820 h 836"/>
                <a:gd name="T34" fmla="*/ 2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2 w 73"/>
                <a:gd name="T47" fmla="*/ 23 h 836"/>
                <a:gd name="T48" fmla="*/ 6 w 73"/>
                <a:gd name="T49" fmla="*/ 16 h 836"/>
                <a:gd name="T50" fmla="*/ 11 w 73"/>
                <a:gd name="T51" fmla="*/ 11 h 836"/>
                <a:gd name="T52" fmla="*/ 16 w 73"/>
                <a:gd name="T53" fmla="*/ 7 h 836"/>
                <a:gd name="T54" fmla="*/ 23 w 73"/>
                <a:gd name="T55" fmla="*/ 4 h 836"/>
                <a:gd name="T56" fmla="*/ 28 w 73"/>
                <a:gd name="T57" fmla="*/ 2 h 836"/>
                <a:gd name="T58" fmla="*/ 37 w 73"/>
                <a:gd name="T59" fmla="*/ 0 h 836"/>
                <a:gd name="T60" fmla="*/ 37 w 73"/>
                <a:gd name="T61" fmla="*/ 0 h 836"/>
                <a:gd name="T62" fmla="*/ 44 w 73"/>
                <a:gd name="T63" fmla="*/ 2 h 836"/>
                <a:gd name="T64" fmla="*/ 51 w 73"/>
                <a:gd name="T65" fmla="*/ 4 h 836"/>
                <a:gd name="T66" fmla="*/ 56 w 73"/>
                <a:gd name="T67" fmla="*/ 7 h 836"/>
                <a:gd name="T68" fmla="*/ 63 w 73"/>
                <a:gd name="T69" fmla="*/ 11 h 836"/>
                <a:gd name="T70" fmla="*/ 66 w 73"/>
                <a:gd name="T71" fmla="*/ 16 h 836"/>
                <a:gd name="T72" fmla="*/ 70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70" y="813"/>
                  </a:lnTo>
                  <a:lnTo>
                    <a:pt x="66" y="820"/>
                  </a:lnTo>
                  <a:lnTo>
                    <a:pt x="63" y="825"/>
                  </a:lnTo>
                  <a:lnTo>
                    <a:pt x="56" y="830"/>
                  </a:lnTo>
                  <a:lnTo>
                    <a:pt x="51" y="834"/>
                  </a:lnTo>
                  <a:lnTo>
                    <a:pt x="44" y="836"/>
                  </a:lnTo>
                  <a:lnTo>
                    <a:pt x="37" y="836"/>
                  </a:lnTo>
                  <a:lnTo>
                    <a:pt x="37" y="836"/>
                  </a:lnTo>
                  <a:lnTo>
                    <a:pt x="28" y="836"/>
                  </a:lnTo>
                  <a:lnTo>
                    <a:pt x="23" y="834"/>
                  </a:lnTo>
                  <a:lnTo>
                    <a:pt x="16" y="830"/>
                  </a:lnTo>
                  <a:lnTo>
                    <a:pt x="11" y="825"/>
                  </a:lnTo>
                  <a:lnTo>
                    <a:pt x="6" y="820"/>
                  </a:lnTo>
                  <a:lnTo>
                    <a:pt x="2" y="813"/>
                  </a:lnTo>
                  <a:lnTo>
                    <a:pt x="0" y="806"/>
                  </a:lnTo>
                  <a:lnTo>
                    <a:pt x="0" y="799"/>
                  </a:lnTo>
                  <a:lnTo>
                    <a:pt x="0" y="36"/>
                  </a:lnTo>
                  <a:lnTo>
                    <a:pt x="0" y="36"/>
                  </a:lnTo>
                  <a:lnTo>
                    <a:pt x="0" y="30"/>
                  </a:lnTo>
                  <a:lnTo>
                    <a:pt x="2" y="23"/>
                  </a:lnTo>
                  <a:lnTo>
                    <a:pt x="6" y="16"/>
                  </a:lnTo>
                  <a:lnTo>
                    <a:pt x="11" y="11"/>
                  </a:lnTo>
                  <a:lnTo>
                    <a:pt x="16" y="7"/>
                  </a:lnTo>
                  <a:lnTo>
                    <a:pt x="23" y="4"/>
                  </a:lnTo>
                  <a:lnTo>
                    <a:pt x="28" y="2"/>
                  </a:lnTo>
                  <a:lnTo>
                    <a:pt x="37" y="0"/>
                  </a:lnTo>
                  <a:lnTo>
                    <a:pt x="37" y="0"/>
                  </a:lnTo>
                  <a:lnTo>
                    <a:pt x="44" y="2"/>
                  </a:lnTo>
                  <a:lnTo>
                    <a:pt x="51" y="4"/>
                  </a:lnTo>
                  <a:lnTo>
                    <a:pt x="56" y="7"/>
                  </a:lnTo>
                  <a:lnTo>
                    <a:pt x="63" y="11"/>
                  </a:lnTo>
                  <a:lnTo>
                    <a:pt x="66" y="16"/>
                  </a:lnTo>
                  <a:lnTo>
                    <a:pt x="70" y="23"/>
                  </a:lnTo>
                  <a:lnTo>
                    <a:pt x="71" y="30"/>
                  </a:lnTo>
                  <a:lnTo>
                    <a:pt x="7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9" name="Freeform 56">
              <a:extLst>
                <a:ext uri="{FF2B5EF4-FFF2-40B4-BE49-F238E27FC236}">
                  <a16:creationId xmlns:a16="http://schemas.microsoft.com/office/drawing/2014/main" id="{21082713-9737-443C-B937-88FB1A927252}"/>
                </a:ext>
              </a:extLst>
            </p:cNvPr>
            <p:cNvSpPr>
              <a:spLocks/>
            </p:cNvSpPr>
            <p:nvPr/>
          </p:nvSpPr>
          <p:spPr bwMode="auto">
            <a:xfrm>
              <a:off x="4114440" y="-152920"/>
              <a:ext cx="40682" cy="465159"/>
            </a:xfrm>
            <a:custGeom>
              <a:avLst/>
              <a:gdLst>
                <a:gd name="T0" fmla="*/ 73 w 73"/>
                <a:gd name="T1" fmla="*/ 36 h 836"/>
                <a:gd name="T2" fmla="*/ 73 w 73"/>
                <a:gd name="T3" fmla="*/ 799 h 836"/>
                <a:gd name="T4" fmla="*/ 73 w 73"/>
                <a:gd name="T5" fmla="*/ 799 h 836"/>
                <a:gd name="T6" fmla="*/ 71 w 73"/>
                <a:gd name="T7" fmla="*/ 806 h 836"/>
                <a:gd name="T8" fmla="*/ 70 w 73"/>
                <a:gd name="T9" fmla="*/ 813 h 836"/>
                <a:gd name="T10" fmla="*/ 66 w 73"/>
                <a:gd name="T11" fmla="*/ 820 h 836"/>
                <a:gd name="T12" fmla="*/ 63 w 73"/>
                <a:gd name="T13" fmla="*/ 825 h 836"/>
                <a:gd name="T14" fmla="*/ 56 w 73"/>
                <a:gd name="T15" fmla="*/ 830 h 836"/>
                <a:gd name="T16" fmla="*/ 51 w 73"/>
                <a:gd name="T17" fmla="*/ 834 h 836"/>
                <a:gd name="T18" fmla="*/ 44 w 73"/>
                <a:gd name="T19" fmla="*/ 836 h 836"/>
                <a:gd name="T20" fmla="*/ 37 w 73"/>
                <a:gd name="T21" fmla="*/ 836 h 836"/>
                <a:gd name="T22" fmla="*/ 37 w 73"/>
                <a:gd name="T23" fmla="*/ 836 h 836"/>
                <a:gd name="T24" fmla="*/ 28 w 73"/>
                <a:gd name="T25" fmla="*/ 836 h 836"/>
                <a:gd name="T26" fmla="*/ 23 w 73"/>
                <a:gd name="T27" fmla="*/ 834 h 836"/>
                <a:gd name="T28" fmla="*/ 16 w 73"/>
                <a:gd name="T29" fmla="*/ 830 h 836"/>
                <a:gd name="T30" fmla="*/ 11 w 73"/>
                <a:gd name="T31" fmla="*/ 825 h 836"/>
                <a:gd name="T32" fmla="*/ 6 w 73"/>
                <a:gd name="T33" fmla="*/ 820 h 836"/>
                <a:gd name="T34" fmla="*/ 2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2 w 73"/>
                <a:gd name="T47" fmla="*/ 23 h 836"/>
                <a:gd name="T48" fmla="*/ 6 w 73"/>
                <a:gd name="T49" fmla="*/ 16 h 836"/>
                <a:gd name="T50" fmla="*/ 11 w 73"/>
                <a:gd name="T51" fmla="*/ 11 h 836"/>
                <a:gd name="T52" fmla="*/ 16 w 73"/>
                <a:gd name="T53" fmla="*/ 7 h 836"/>
                <a:gd name="T54" fmla="*/ 23 w 73"/>
                <a:gd name="T55" fmla="*/ 4 h 836"/>
                <a:gd name="T56" fmla="*/ 28 w 73"/>
                <a:gd name="T57" fmla="*/ 2 h 836"/>
                <a:gd name="T58" fmla="*/ 37 w 73"/>
                <a:gd name="T59" fmla="*/ 0 h 836"/>
                <a:gd name="T60" fmla="*/ 37 w 73"/>
                <a:gd name="T61" fmla="*/ 0 h 836"/>
                <a:gd name="T62" fmla="*/ 44 w 73"/>
                <a:gd name="T63" fmla="*/ 2 h 836"/>
                <a:gd name="T64" fmla="*/ 51 w 73"/>
                <a:gd name="T65" fmla="*/ 4 h 836"/>
                <a:gd name="T66" fmla="*/ 56 w 73"/>
                <a:gd name="T67" fmla="*/ 7 h 836"/>
                <a:gd name="T68" fmla="*/ 63 w 73"/>
                <a:gd name="T69" fmla="*/ 11 h 836"/>
                <a:gd name="T70" fmla="*/ 66 w 73"/>
                <a:gd name="T71" fmla="*/ 16 h 836"/>
                <a:gd name="T72" fmla="*/ 70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70" y="813"/>
                  </a:lnTo>
                  <a:lnTo>
                    <a:pt x="66" y="820"/>
                  </a:lnTo>
                  <a:lnTo>
                    <a:pt x="63" y="825"/>
                  </a:lnTo>
                  <a:lnTo>
                    <a:pt x="56" y="830"/>
                  </a:lnTo>
                  <a:lnTo>
                    <a:pt x="51" y="834"/>
                  </a:lnTo>
                  <a:lnTo>
                    <a:pt x="44" y="836"/>
                  </a:lnTo>
                  <a:lnTo>
                    <a:pt x="37" y="836"/>
                  </a:lnTo>
                  <a:lnTo>
                    <a:pt x="37" y="836"/>
                  </a:lnTo>
                  <a:lnTo>
                    <a:pt x="28" y="836"/>
                  </a:lnTo>
                  <a:lnTo>
                    <a:pt x="23" y="834"/>
                  </a:lnTo>
                  <a:lnTo>
                    <a:pt x="16" y="830"/>
                  </a:lnTo>
                  <a:lnTo>
                    <a:pt x="11" y="825"/>
                  </a:lnTo>
                  <a:lnTo>
                    <a:pt x="6" y="820"/>
                  </a:lnTo>
                  <a:lnTo>
                    <a:pt x="2" y="813"/>
                  </a:lnTo>
                  <a:lnTo>
                    <a:pt x="0" y="806"/>
                  </a:lnTo>
                  <a:lnTo>
                    <a:pt x="0" y="799"/>
                  </a:lnTo>
                  <a:lnTo>
                    <a:pt x="0" y="36"/>
                  </a:lnTo>
                  <a:lnTo>
                    <a:pt x="0" y="36"/>
                  </a:lnTo>
                  <a:lnTo>
                    <a:pt x="0" y="30"/>
                  </a:lnTo>
                  <a:lnTo>
                    <a:pt x="2" y="23"/>
                  </a:lnTo>
                  <a:lnTo>
                    <a:pt x="6" y="16"/>
                  </a:lnTo>
                  <a:lnTo>
                    <a:pt x="11" y="11"/>
                  </a:lnTo>
                  <a:lnTo>
                    <a:pt x="16" y="7"/>
                  </a:lnTo>
                  <a:lnTo>
                    <a:pt x="23" y="4"/>
                  </a:lnTo>
                  <a:lnTo>
                    <a:pt x="28" y="2"/>
                  </a:lnTo>
                  <a:lnTo>
                    <a:pt x="37" y="0"/>
                  </a:lnTo>
                  <a:lnTo>
                    <a:pt x="37" y="0"/>
                  </a:lnTo>
                  <a:lnTo>
                    <a:pt x="44" y="2"/>
                  </a:lnTo>
                  <a:lnTo>
                    <a:pt x="51" y="4"/>
                  </a:lnTo>
                  <a:lnTo>
                    <a:pt x="56" y="7"/>
                  </a:lnTo>
                  <a:lnTo>
                    <a:pt x="63" y="11"/>
                  </a:lnTo>
                  <a:lnTo>
                    <a:pt x="66" y="16"/>
                  </a:lnTo>
                  <a:lnTo>
                    <a:pt x="70" y="23"/>
                  </a:lnTo>
                  <a:lnTo>
                    <a:pt x="71" y="30"/>
                  </a:lnTo>
                  <a:lnTo>
                    <a:pt x="73" y="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00" name="Freeform 57">
              <a:extLst>
                <a:ext uri="{FF2B5EF4-FFF2-40B4-BE49-F238E27FC236}">
                  <a16:creationId xmlns:a16="http://schemas.microsoft.com/office/drawing/2014/main" id="{45033A89-A8C0-49F7-B524-E93C2A03ED82}"/>
                </a:ext>
              </a:extLst>
            </p:cNvPr>
            <p:cNvSpPr>
              <a:spLocks/>
            </p:cNvSpPr>
            <p:nvPr/>
          </p:nvSpPr>
          <p:spPr bwMode="auto">
            <a:xfrm>
              <a:off x="4258220" y="-152920"/>
              <a:ext cx="40682" cy="465159"/>
            </a:xfrm>
            <a:custGeom>
              <a:avLst/>
              <a:gdLst>
                <a:gd name="T0" fmla="*/ 73 w 73"/>
                <a:gd name="T1" fmla="*/ 36 h 836"/>
                <a:gd name="T2" fmla="*/ 73 w 73"/>
                <a:gd name="T3" fmla="*/ 799 h 836"/>
                <a:gd name="T4" fmla="*/ 73 w 73"/>
                <a:gd name="T5" fmla="*/ 799 h 836"/>
                <a:gd name="T6" fmla="*/ 73 w 73"/>
                <a:gd name="T7" fmla="*/ 806 h 836"/>
                <a:gd name="T8" fmla="*/ 69 w 73"/>
                <a:gd name="T9" fmla="*/ 813 h 836"/>
                <a:gd name="T10" fmla="*/ 66 w 73"/>
                <a:gd name="T11" fmla="*/ 820 h 836"/>
                <a:gd name="T12" fmla="*/ 62 w 73"/>
                <a:gd name="T13" fmla="*/ 825 h 836"/>
                <a:gd name="T14" fmla="*/ 57 w 73"/>
                <a:gd name="T15" fmla="*/ 830 h 836"/>
                <a:gd name="T16" fmla="*/ 50 w 73"/>
                <a:gd name="T17" fmla="*/ 834 h 836"/>
                <a:gd name="T18" fmla="*/ 43 w 73"/>
                <a:gd name="T19" fmla="*/ 836 h 836"/>
                <a:gd name="T20" fmla="*/ 36 w 73"/>
                <a:gd name="T21" fmla="*/ 836 h 836"/>
                <a:gd name="T22" fmla="*/ 36 w 73"/>
                <a:gd name="T23" fmla="*/ 836 h 836"/>
                <a:gd name="T24" fmla="*/ 29 w 73"/>
                <a:gd name="T25" fmla="*/ 836 h 836"/>
                <a:gd name="T26" fmla="*/ 23 w 73"/>
                <a:gd name="T27" fmla="*/ 834 h 836"/>
                <a:gd name="T28" fmla="*/ 16 w 73"/>
                <a:gd name="T29" fmla="*/ 830 h 836"/>
                <a:gd name="T30" fmla="*/ 10 w 73"/>
                <a:gd name="T31" fmla="*/ 825 h 836"/>
                <a:gd name="T32" fmla="*/ 7 w 73"/>
                <a:gd name="T33" fmla="*/ 820 h 836"/>
                <a:gd name="T34" fmla="*/ 4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4 w 73"/>
                <a:gd name="T47" fmla="*/ 23 h 836"/>
                <a:gd name="T48" fmla="*/ 7 w 73"/>
                <a:gd name="T49" fmla="*/ 16 h 836"/>
                <a:gd name="T50" fmla="*/ 10 w 73"/>
                <a:gd name="T51" fmla="*/ 11 h 836"/>
                <a:gd name="T52" fmla="*/ 16 w 73"/>
                <a:gd name="T53" fmla="*/ 7 h 836"/>
                <a:gd name="T54" fmla="*/ 23 w 73"/>
                <a:gd name="T55" fmla="*/ 4 h 836"/>
                <a:gd name="T56" fmla="*/ 29 w 73"/>
                <a:gd name="T57" fmla="*/ 2 h 836"/>
                <a:gd name="T58" fmla="*/ 36 w 73"/>
                <a:gd name="T59" fmla="*/ 0 h 836"/>
                <a:gd name="T60" fmla="*/ 36 w 73"/>
                <a:gd name="T61" fmla="*/ 0 h 836"/>
                <a:gd name="T62" fmla="*/ 43 w 73"/>
                <a:gd name="T63" fmla="*/ 2 h 836"/>
                <a:gd name="T64" fmla="*/ 50 w 73"/>
                <a:gd name="T65" fmla="*/ 4 h 836"/>
                <a:gd name="T66" fmla="*/ 57 w 73"/>
                <a:gd name="T67" fmla="*/ 7 h 836"/>
                <a:gd name="T68" fmla="*/ 62 w 73"/>
                <a:gd name="T69" fmla="*/ 11 h 836"/>
                <a:gd name="T70" fmla="*/ 66 w 73"/>
                <a:gd name="T71" fmla="*/ 16 h 836"/>
                <a:gd name="T72" fmla="*/ 69 w 73"/>
                <a:gd name="T73" fmla="*/ 23 h 836"/>
                <a:gd name="T74" fmla="*/ 73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3" y="806"/>
                  </a:lnTo>
                  <a:lnTo>
                    <a:pt x="69" y="813"/>
                  </a:lnTo>
                  <a:lnTo>
                    <a:pt x="66" y="820"/>
                  </a:lnTo>
                  <a:lnTo>
                    <a:pt x="62" y="825"/>
                  </a:lnTo>
                  <a:lnTo>
                    <a:pt x="57" y="830"/>
                  </a:lnTo>
                  <a:lnTo>
                    <a:pt x="50" y="834"/>
                  </a:lnTo>
                  <a:lnTo>
                    <a:pt x="43" y="836"/>
                  </a:lnTo>
                  <a:lnTo>
                    <a:pt x="36" y="836"/>
                  </a:lnTo>
                  <a:lnTo>
                    <a:pt x="36" y="836"/>
                  </a:lnTo>
                  <a:lnTo>
                    <a:pt x="29" y="836"/>
                  </a:lnTo>
                  <a:lnTo>
                    <a:pt x="23" y="834"/>
                  </a:lnTo>
                  <a:lnTo>
                    <a:pt x="16" y="830"/>
                  </a:lnTo>
                  <a:lnTo>
                    <a:pt x="10" y="825"/>
                  </a:lnTo>
                  <a:lnTo>
                    <a:pt x="7" y="820"/>
                  </a:lnTo>
                  <a:lnTo>
                    <a:pt x="4" y="813"/>
                  </a:lnTo>
                  <a:lnTo>
                    <a:pt x="0" y="806"/>
                  </a:lnTo>
                  <a:lnTo>
                    <a:pt x="0" y="799"/>
                  </a:lnTo>
                  <a:lnTo>
                    <a:pt x="0" y="36"/>
                  </a:lnTo>
                  <a:lnTo>
                    <a:pt x="0" y="36"/>
                  </a:lnTo>
                  <a:lnTo>
                    <a:pt x="0" y="30"/>
                  </a:lnTo>
                  <a:lnTo>
                    <a:pt x="4" y="23"/>
                  </a:lnTo>
                  <a:lnTo>
                    <a:pt x="7" y="16"/>
                  </a:lnTo>
                  <a:lnTo>
                    <a:pt x="10" y="11"/>
                  </a:lnTo>
                  <a:lnTo>
                    <a:pt x="16" y="7"/>
                  </a:lnTo>
                  <a:lnTo>
                    <a:pt x="23" y="4"/>
                  </a:lnTo>
                  <a:lnTo>
                    <a:pt x="29" y="2"/>
                  </a:lnTo>
                  <a:lnTo>
                    <a:pt x="36" y="0"/>
                  </a:lnTo>
                  <a:lnTo>
                    <a:pt x="36" y="0"/>
                  </a:lnTo>
                  <a:lnTo>
                    <a:pt x="43" y="2"/>
                  </a:lnTo>
                  <a:lnTo>
                    <a:pt x="50" y="4"/>
                  </a:lnTo>
                  <a:lnTo>
                    <a:pt x="57" y="7"/>
                  </a:lnTo>
                  <a:lnTo>
                    <a:pt x="62" y="11"/>
                  </a:lnTo>
                  <a:lnTo>
                    <a:pt x="66" y="16"/>
                  </a:lnTo>
                  <a:lnTo>
                    <a:pt x="69" y="23"/>
                  </a:lnTo>
                  <a:lnTo>
                    <a:pt x="73" y="30"/>
                  </a:lnTo>
                  <a:lnTo>
                    <a:pt x="7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01" name="Freeform 58">
              <a:extLst>
                <a:ext uri="{FF2B5EF4-FFF2-40B4-BE49-F238E27FC236}">
                  <a16:creationId xmlns:a16="http://schemas.microsoft.com/office/drawing/2014/main" id="{4201DF46-8A1F-4D4A-8DD5-049394662C3B}"/>
                </a:ext>
              </a:extLst>
            </p:cNvPr>
            <p:cNvSpPr>
              <a:spLocks/>
            </p:cNvSpPr>
            <p:nvPr/>
          </p:nvSpPr>
          <p:spPr bwMode="auto">
            <a:xfrm>
              <a:off x="4258220" y="-152920"/>
              <a:ext cx="40682" cy="465159"/>
            </a:xfrm>
            <a:custGeom>
              <a:avLst/>
              <a:gdLst>
                <a:gd name="T0" fmla="*/ 73 w 73"/>
                <a:gd name="T1" fmla="*/ 36 h 836"/>
                <a:gd name="T2" fmla="*/ 73 w 73"/>
                <a:gd name="T3" fmla="*/ 799 h 836"/>
                <a:gd name="T4" fmla="*/ 73 w 73"/>
                <a:gd name="T5" fmla="*/ 799 h 836"/>
                <a:gd name="T6" fmla="*/ 73 w 73"/>
                <a:gd name="T7" fmla="*/ 806 h 836"/>
                <a:gd name="T8" fmla="*/ 69 w 73"/>
                <a:gd name="T9" fmla="*/ 813 h 836"/>
                <a:gd name="T10" fmla="*/ 66 w 73"/>
                <a:gd name="T11" fmla="*/ 820 h 836"/>
                <a:gd name="T12" fmla="*/ 62 w 73"/>
                <a:gd name="T13" fmla="*/ 825 h 836"/>
                <a:gd name="T14" fmla="*/ 57 w 73"/>
                <a:gd name="T15" fmla="*/ 830 h 836"/>
                <a:gd name="T16" fmla="*/ 50 w 73"/>
                <a:gd name="T17" fmla="*/ 834 h 836"/>
                <a:gd name="T18" fmla="*/ 43 w 73"/>
                <a:gd name="T19" fmla="*/ 836 h 836"/>
                <a:gd name="T20" fmla="*/ 36 w 73"/>
                <a:gd name="T21" fmla="*/ 836 h 836"/>
                <a:gd name="T22" fmla="*/ 36 w 73"/>
                <a:gd name="T23" fmla="*/ 836 h 836"/>
                <a:gd name="T24" fmla="*/ 29 w 73"/>
                <a:gd name="T25" fmla="*/ 836 h 836"/>
                <a:gd name="T26" fmla="*/ 23 w 73"/>
                <a:gd name="T27" fmla="*/ 834 h 836"/>
                <a:gd name="T28" fmla="*/ 16 w 73"/>
                <a:gd name="T29" fmla="*/ 830 h 836"/>
                <a:gd name="T30" fmla="*/ 10 w 73"/>
                <a:gd name="T31" fmla="*/ 825 h 836"/>
                <a:gd name="T32" fmla="*/ 7 w 73"/>
                <a:gd name="T33" fmla="*/ 820 h 836"/>
                <a:gd name="T34" fmla="*/ 4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4 w 73"/>
                <a:gd name="T47" fmla="*/ 23 h 836"/>
                <a:gd name="T48" fmla="*/ 7 w 73"/>
                <a:gd name="T49" fmla="*/ 16 h 836"/>
                <a:gd name="T50" fmla="*/ 10 w 73"/>
                <a:gd name="T51" fmla="*/ 11 h 836"/>
                <a:gd name="T52" fmla="*/ 16 w 73"/>
                <a:gd name="T53" fmla="*/ 7 h 836"/>
                <a:gd name="T54" fmla="*/ 23 w 73"/>
                <a:gd name="T55" fmla="*/ 4 h 836"/>
                <a:gd name="T56" fmla="*/ 29 w 73"/>
                <a:gd name="T57" fmla="*/ 2 h 836"/>
                <a:gd name="T58" fmla="*/ 36 w 73"/>
                <a:gd name="T59" fmla="*/ 0 h 836"/>
                <a:gd name="T60" fmla="*/ 36 w 73"/>
                <a:gd name="T61" fmla="*/ 0 h 836"/>
                <a:gd name="T62" fmla="*/ 43 w 73"/>
                <a:gd name="T63" fmla="*/ 2 h 836"/>
                <a:gd name="T64" fmla="*/ 50 w 73"/>
                <a:gd name="T65" fmla="*/ 4 h 836"/>
                <a:gd name="T66" fmla="*/ 57 w 73"/>
                <a:gd name="T67" fmla="*/ 7 h 836"/>
                <a:gd name="T68" fmla="*/ 62 w 73"/>
                <a:gd name="T69" fmla="*/ 11 h 836"/>
                <a:gd name="T70" fmla="*/ 66 w 73"/>
                <a:gd name="T71" fmla="*/ 16 h 836"/>
                <a:gd name="T72" fmla="*/ 69 w 73"/>
                <a:gd name="T73" fmla="*/ 23 h 836"/>
                <a:gd name="T74" fmla="*/ 73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3" y="806"/>
                  </a:lnTo>
                  <a:lnTo>
                    <a:pt x="69" y="813"/>
                  </a:lnTo>
                  <a:lnTo>
                    <a:pt x="66" y="820"/>
                  </a:lnTo>
                  <a:lnTo>
                    <a:pt x="62" y="825"/>
                  </a:lnTo>
                  <a:lnTo>
                    <a:pt x="57" y="830"/>
                  </a:lnTo>
                  <a:lnTo>
                    <a:pt x="50" y="834"/>
                  </a:lnTo>
                  <a:lnTo>
                    <a:pt x="43" y="836"/>
                  </a:lnTo>
                  <a:lnTo>
                    <a:pt x="36" y="836"/>
                  </a:lnTo>
                  <a:lnTo>
                    <a:pt x="36" y="836"/>
                  </a:lnTo>
                  <a:lnTo>
                    <a:pt x="29" y="836"/>
                  </a:lnTo>
                  <a:lnTo>
                    <a:pt x="23" y="834"/>
                  </a:lnTo>
                  <a:lnTo>
                    <a:pt x="16" y="830"/>
                  </a:lnTo>
                  <a:lnTo>
                    <a:pt x="10" y="825"/>
                  </a:lnTo>
                  <a:lnTo>
                    <a:pt x="7" y="820"/>
                  </a:lnTo>
                  <a:lnTo>
                    <a:pt x="4" y="813"/>
                  </a:lnTo>
                  <a:lnTo>
                    <a:pt x="0" y="806"/>
                  </a:lnTo>
                  <a:lnTo>
                    <a:pt x="0" y="799"/>
                  </a:lnTo>
                  <a:lnTo>
                    <a:pt x="0" y="36"/>
                  </a:lnTo>
                  <a:lnTo>
                    <a:pt x="0" y="36"/>
                  </a:lnTo>
                  <a:lnTo>
                    <a:pt x="0" y="30"/>
                  </a:lnTo>
                  <a:lnTo>
                    <a:pt x="4" y="23"/>
                  </a:lnTo>
                  <a:lnTo>
                    <a:pt x="7" y="16"/>
                  </a:lnTo>
                  <a:lnTo>
                    <a:pt x="10" y="11"/>
                  </a:lnTo>
                  <a:lnTo>
                    <a:pt x="16" y="7"/>
                  </a:lnTo>
                  <a:lnTo>
                    <a:pt x="23" y="4"/>
                  </a:lnTo>
                  <a:lnTo>
                    <a:pt x="29" y="2"/>
                  </a:lnTo>
                  <a:lnTo>
                    <a:pt x="36" y="0"/>
                  </a:lnTo>
                  <a:lnTo>
                    <a:pt x="36" y="0"/>
                  </a:lnTo>
                  <a:lnTo>
                    <a:pt x="43" y="2"/>
                  </a:lnTo>
                  <a:lnTo>
                    <a:pt x="50" y="4"/>
                  </a:lnTo>
                  <a:lnTo>
                    <a:pt x="57" y="7"/>
                  </a:lnTo>
                  <a:lnTo>
                    <a:pt x="62" y="11"/>
                  </a:lnTo>
                  <a:lnTo>
                    <a:pt x="66" y="16"/>
                  </a:lnTo>
                  <a:lnTo>
                    <a:pt x="69" y="23"/>
                  </a:lnTo>
                  <a:lnTo>
                    <a:pt x="73" y="30"/>
                  </a:lnTo>
                  <a:lnTo>
                    <a:pt x="73" y="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02" name="Freeform 59">
              <a:extLst>
                <a:ext uri="{FF2B5EF4-FFF2-40B4-BE49-F238E27FC236}">
                  <a16:creationId xmlns:a16="http://schemas.microsoft.com/office/drawing/2014/main" id="{3F42B033-65AC-4821-B8AB-DC4E51900382}"/>
                </a:ext>
              </a:extLst>
            </p:cNvPr>
            <p:cNvSpPr>
              <a:spLocks/>
            </p:cNvSpPr>
            <p:nvPr/>
          </p:nvSpPr>
          <p:spPr bwMode="auto">
            <a:xfrm>
              <a:off x="4401999" y="13447"/>
              <a:ext cx="40124" cy="132982"/>
            </a:xfrm>
            <a:custGeom>
              <a:avLst/>
              <a:gdLst>
                <a:gd name="T0" fmla="*/ 72 w 72"/>
                <a:gd name="T1" fmla="*/ 37 h 239"/>
                <a:gd name="T2" fmla="*/ 72 w 72"/>
                <a:gd name="T3" fmla="*/ 203 h 239"/>
                <a:gd name="T4" fmla="*/ 72 w 72"/>
                <a:gd name="T5" fmla="*/ 203 h 239"/>
                <a:gd name="T6" fmla="*/ 72 w 72"/>
                <a:gd name="T7" fmla="*/ 210 h 239"/>
                <a:gd name="T8" fmla="*/ 71 w 72"/>
                <a:gd name="T9" fmla="*/ 217 h 239"/>
                <a:gd name="T10" fmla="*/ 67 w 72"/>
                <a:gd name="T11" fmla="*/ 222 h 239"/>
                <a:gd name="T12" fmla="*/ 62 w 72"/>
                <a:gd name="T13" fmla="*/ 227 h 239"/>
                <a:gd name="T14" fmla="*/ 57 w 72"/>
                <a:gd name="T15" fmla="*/ 232 h 239"/>
                <a:gd name="T16" fmla="*/ 50 w 72"/>
                <a:gd name="T17" fmla="*/ 236 h 239"/>
                <a:gd name="T18" fmla="*/ 45 w 72"/>
                <a:gd name="T19" fmla="*/ 237 h 239"/>
                <a:gd name="T20" fmla="*/ 36 w 72"/>
                <a:gd name="T21" fmla="*/ 239 h 239"/>
                <a:gd name="T22" fmla="*/ 36 w 72"/>
                <a:gd name="T23" fmla="*/ 239 h 239"/>
                <a:gd name="T24" fmla="*/ 29 w 72"/>
                <a:gd name="T25" fmla="*/ 237 h 239"/>
                <a:gd name="T26" fmla="*/ 22 w 72"/>
                <a:gd name="T27" fmla="*/ 236 h 239"/>
                <a:gd name="T28" fmla="*/ 17 w 72"/>
                <a:gd name="T29" fmla="*/ 232 h 239"/>
                <a:gd name="T30" fmla="*/ 10 w 72"/>
                <a:gd name="T31" fmla="*/ 227 h 239"/>
                <a:gd name="T32" fmla="*/ 7 w 72"/>
                <a:gd name="T33" fmla="*/ 222 h 239"/>
                <a:gd name="T34" fmla="*/ 3 w 72"/>
                <a:gd name="T35" fmla="*/ 217 h 239"/>
                <a:gd name="T36" fmla="*/ 1 w 72"/>
                <a:gd name="T37" fmla="*/ 210 h 239"/>
                <a:gd name="T38" fmla="*/ 0 w 72"/>
                <a:gd name="T39" fmla="*/ 203 h 239"/>
                <a:gd name="T40" fmla="*/ 0 w 72"/>
                <a:gd name="T41" fmla="*/ 37 h 239"/>
                <a:gd name="T42" fmla="*/ 0 w 72"/>
                <a:gd name="T43" fmla="*/ 37 h 239"/>
                <a:gd name="T44" fmla="*/ 1 w 72"/>
                <a:gd name="T45" fmla="*/ 30 h 239"/>
                <a:gd name="T46" fmla="*/ 3 w 72"/>
                <a:gd name="T47" fmla="*/ 23 h 239"/>
                <a:gd name="T48" fmla="*/ 7 w 72"/>
                <a:gd name="T49" fmla="*/ 16 h 239"/>
                <a:gd name="T50" fmla="*/ 10 w 72"/>
                <a:gd name="T51" fmla="*/ 11 h 239"/>
                <a:gd name="T52" fmla="*/ 17 w 72"/>
                <a:gd name="T53" fmla="*/ 6 h 239"/>
                <a:gd name="T54" fmla="*/ 22 w 72"/>
                <a:gd name="T55" fmla="*/ 4 h 239"/>
                <a:gd name="T56" fmla="*/ 29 w 72"/>
                <a:gd name="T57" fmla="*/ 0 h 239"/>
                <a:gd name="T58" fmla="*/ 36 w 72"/>
                <a:gd name="T59" fmla="*/ 0 h 239"/>
                <a:gd name="T60" fmla="*/ 36 w 72"/>
                <a:gd name="T61" fmla="*/ 0 h 239"/>
                <a:gd name="T62" fmla="*/ 45 w 72"/>
                <a:gd name="T63" fmla="*/ 0 h 239"/>
                <a:gd name="T64" fmla="*/ 50 w 72"/>
                <a:gd name="T65" fmla="*/ 4 h 239"/>
                <a:gd name="T66" fmla="*/ 57 w 72"/>
                <a:gd name="T67" fmla="*/ 6 h 239"/>
                <a:gd name="T68" fmla="*/ 62 w 72"/>
                <a:gd name="T69" fmla="*/ 11 h 239"/>
                <a:gd name="T70" fmla="*/ 67 w 72"/>
                <a:gd name="T71" fmla="*/ 16 h 239"/>
                <a:gd name="T72" fmla="*/ 71 w 72"/>
                <a:gd name="T73" fmla="*/ 23 h 239"/>
                <a:gd name="T74" fmla="*/ 72 w 72"/>
                <a:gd name="T75" fmla="*/ 30 h 239"/>
                <a:gd name="T76" fmla="*/ 72 w 72"/>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239">
                  <a:moveTo>
                    <a:pt x="72" y="37"/>
                  </a:moveTo>
                  <a:lnTo>
                    <a:pt x="72" y="203"/>
                  </a:lnTo>
                  <a:lnTo>
                    <a:pt x="72" y="203"/>
                  </a:lnTo>
                  <a:lnTo>
                    <a:pt x="72" y="210"/>
                  </a:lnTo>
                  <a:lnTo>
                    <a:pt x="71" y="217"/>
                  </a:lnTo>
                  <a:lnTo>
                    <a:pt x="67" y="222"/>
                  </a:lnTo>
                  <a:lnTo>
                    <a:pt x="62" y="227"/>
                  </a:lnTo>
                  <a:lnTo>
                    <a:pt x="57" y="232"/>
                  </a:lnTo>
                  <a:lnTo>
                    <a:pt x="50" y="236"/>
                  </a:lnTo>
                  <a:lnTo>
                    <a:pt x="45" y="237"/>
                  </a:lnTo>
                  <a:lnTo>
                    <a:pt x="36" y="239"/>
                  </a:lnTo>
                  <a:lnTo>
                    <a:pt x="36" y="239"/>
                  </a:lnTo>
                  <a:lnTo>
                    <a:pt x="29" y="237"/>
                  </a:lnTo>
                  <a:lnTo>
                    <a:pt x="22" y="236"/>
                  </a:lnTo>
                  <a:lnTo>
                    <a:pt x="17" y="232"/>
                  </a:lnTo>
                  <a:lnTo>
                    <a:pt x="10" y="227"/>
                  </a:lnTo>
                  <a:lnTo>
                    <a:pt x="7" y="222"/>
                  </a:lnTo>
                  <a:lnTo>
                    <a:pt x="3" y="217"/>
                  </a:lnTo>
                  <a:lnTo>
                    <a:pt x="1" y="210"/>
                  </a:lnTo>
                  <a:lnTo>
                    <a:pt x="0" y="203"/>
                  </a:lnTo>
                  <a:lnTo>
                    <a:pt x="0" y="37"/>
                  </a:lnTo>
                  <a:lnTo>
                    <a:pt x="0" y="37"/>
                  </a:lnTo>
                  <a:lnTo>
                    <a:pt x="1" y="30"/>
                  </a:lnTo>
                  <a:lnTo>
                    <a:pt x="3" y="23"/>
                  </a:lnTo>
                  <a:lnTo>
                    <a:pt x="7" y="16"/>
                  </a:lnTo>
                  <a:lnTo>
                    <a:pt x="10" y="11"/>
                  </a:lnTo>
                  <a:lnTo>
                    <a:pt x="17" y="6"/>
                  </a:lnTo>
                  <a:lnTo>
                    <a:pt x="22" y="4"/>
                  </a:lnTo>
                  <a:lnTo>
                    <a:pt x="29" y="0"/>
                  </a:lnTo>
                  <a:lnTo>
                    <a:pt x="36" y="0"/>
                  </a:lnTo>
                  <a:lnTo>
                    <a:pt x="36" y="0"/>
                  </a:lnTo>
                  <a:lnTo>
                    <a:pt x="45" y="0"/>
                  </a:lnTo>
                  <a:lnTo>
                    <a:pt x="50" y="4"/>
                  </a:lnTo>
                  <a:lnTo>
                    <a:pt x="57" y="6"/>
                  </a:lnTo>
                  <a:lnTo>
                    <a:pt x="62" y="11"/>
                  </a:lnTo>
                  <a:lnTo>
                    <a:pt x="67" y="16"/>
                  </a:lnTo>
                  <a:lnTo>
                    <a:pt x="71" y="23"/>
                  </a:lnTo>
                  <a:lnTo>
                    <a:pt x="72" y="30"/>
                  </a:lnTo>
                  <a:lnTo>
                    <a:pt x="72"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03" name="Freeform 60">
              <a:extLst>
                <a:ext uri="{FF2B5EF4-FFF2-40B4-BE49-F238E27FC236}">
                  <a16:creationId xmlns:a16="http://schemas.microsoft.com/office/drawing/2014/main" id="{C7A3C907-D91D-4D53-9A82-524F29F37BA9}"/>
                </a:ext>
              </a:extLst>
            </p:cNvPr>
            <p:cNvSpPr>
              <a:spLocks/>
            </p:cNvSpPr>
            <p:nvPr/>
          </p:nvSpPr>
          <p:spPr bwMode="auto">
            <a:xfrm>
              <a:off x="4401999" y="13447"/>
              <a:ext cx="40124" cy="132982"/>
            </a:xfrm>
            <a:custGeom>
              <a:avLst/>
              <a:gdLst>
                <a:gd name="T0" fmla="*/ 72 w 72"/>
                <a:gd name="T1" fmla="*/ 37 h 239"/>
                <a:gd name="T2" fmla="*/ 72 w 72"/>
                <a:gd name="T3" fmla="*/ 203 h 239"/>
                <a:gd name="T4" fmla="*/ 72 w 72"/>
                <a:gd name="T5" fmla="*/ 203 h 239"/>
                <a:gd name="T6" fmla="*/ 72 w 72"/>
                <a:gd name="T7" fmla="*/ 210 h 239"/>
                <a:gd name="T8" fmla="*/ 71 w 72"/>
                <a:gd name="T9" fmla="*/ 217 h 239"/>
                <a:gd name="T10" fmla="*/ 67 w 72"/>
                <a:gd name="T11" fmla="*/ 222 h 239"/>
                <a:gd name="T12" fmla="*/ 62 w 72"/>
                <a:gd name="T13" fmla="*/ 227 h 239"/>
                <a:gd name="T14" fmla="*/ 57 w 72"/>
                <a:gd name="T15" fmla="*/ 232 h 239"/>
                <a:gd name="T16" fmla="*/ 50 w 72"/>
                <a:gd name="T17" fmla="*/ 236 h 239"/>
                <a:gd name="T18" fmla="*/ 45 w 72"/>
                <a:gd name="T19" fmla="*/ 237 h 239"/>
                <a:gd name="T20" fmla="*/ 36 w 72"/>
                <a:gd name="T21" fmla="*/ 239 h 239"/>
                <a:gd name="T22" fmla="*/ 36 w 72"/>
                <a:gd name="T23" fmla="*/ 239 h 239"/>
                <a:gd name="T24" fmla="*/ 29 w 72"/>
                <a:gd name="T25" fmla="*/ 237 h 239"/>
                <a:gd name="T26" fmla="*/ 22 w 72"/>
                <a:gd name="T27" fmla="*/ 236 h 239"/>
                <a:gd name="T28" fmla="*/ 17 w 72"/>
                <a:gd name="T29" fmla="*/ 232 h 239"/>
                <a:gd name="T30" fmla="*/ 10 w 72"/>
                <a:gd name="T31" fmla="*/ 227 h 239"/>
                <a:gd name="T32" fmla="*/ 7 w 72"/>
                <a:gd name="T33" fmla="*/ 222 h 239"/>
                <a:gd name="T34" fmla="*/ 3 w 72"/>
                <a:gd name="T35" fmla="*/ 217 h 239"/>
                <a:gd name="T36" fmla="*/ 1 w 72"/>
                <a:gd name="T37" fmla="*/ 210 h 239"/>
                <a:gd name="T38" fmla="*/ 0 w 72"/>
                <a:gd name="T39" fmla="*/ 203 h 239"/>
                <a:gd name="T40" fmla="*/ 0 w 72"/>
                <a:gd name="T41" fmla="*/ 37 h 239"/>
                <a:gd name="T42" fmla="*/ 0 w 72"/>
                <a:gd name="T43" fmla="*/ 37 h 239"/>
                <a:gd name="T44" fmla="*/ 1 w 72"/>
                <a:gd name="T45" fmla="*/ 30 h 239"/>
                <a:gd name="T46" fmla="*/ 3 w 72"/>
                <a:gd name="T47" fmla="*/ 23 h 239"/>
                <a:gd name="T48" fmla="*/ 7 w 72"/>
                <a:gd name="T49" fmla="*/ 16 h 239"/>
                <a:gd name="T50" fmla="*/ 10 w 72"/>
                <a:gd name="T51" fmla="*/ 11 h 239"/>
                <a:gd name="T52" fmla="*/ 17 w 72"/>
                <a:gd name="T53" fmla="*/ 6 h 239"/>
                <a:gd name="T54" fmla="*/ 22 w 72"/>
                <a:gd name="T55" fmla="*/ 4 h 239"/>
                <a:gd name="T56" fmla="*/ 29 w 72"/>
                <a:gd name="T57" fmla="*/ 0 h 239"/>
                <a:gd name="T58" fmla="*/ 36 w 72"/>
                <a:gd name="T59" fmla="*/ 0 h 239"/>
                <a:gd name="T60" fmla="*/ 36 w 72"/>
                <a:gd name="T61" fmla="*/ 0 h 239"/>
                <a:gd name="T62" fmla="*/ 45 w 72"/>
                <a:gd name="T63" fmla="*/ 0 h 239"/>
                <a:gd name="T64" fmla="*/ 50 w 72"/>
                <a:gd name="T65" fmla="*/ 4 h 239"/>
                <a:gd name="T66" fmla="*/ 57 w 72"/>
                <a:gd name="T67" fmla="*/ 6 h 239"/>
                <a:gd name="T68" fmla="*/ 62 w 72"/>
                <a:gd name="T69" fmla="*/ 11 h 239"/>
                <a:gd name="T70" fmla="*/ 67 w 72"/>
                <a:gd name="T71" fmla="*/ 16 h 239"/>
                <a:gd name="T72" fmla="*/ 71 w 72"/>
                <a:gd name="T73" fmla="*/ 23 h 239"/>
                <a:gd name="T74" fmla="*/ 72 w 72"/>
                <a:gd name="T75" fmla="*/ 30 h 239"/>
                <a:gd name="T76" fmla="*/ 72 w 72"/>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239">
                  <a:moveTo>
                    <a:pt x="72" y="37"/>
                  </a:moveTo>
                  <a:lnTo>
                    <a:pt x="72" y="203"/>
                  </a:lnTo>
                  <a:lnTo>
                    <a:pt x="72" y="203"/>
                  </a:lnTo>
                  <a:lnTo>
                    <a:pt x="72" y="210"/>
                  </a:lnTo>
                  <a:lnTo>
                    <a:pt x="71" y="217"/>
                  </a:lnTo>
                  <a:lnTo>
                    <a:pt x="67" y="222"/>
                  </a:lnTo>
                  <a:lnTo>
                    <a:pt x="62" y="227"/>
                  </a:lnTo>
                  <a:lnTo>
                    <a:pt x="57" y="232"/>
                  </a:lnTo>
                  <a:lnTo>
                    <a:pt x="50" y="236"/>
                  </a:lnTo>
                  <a:lnTo>
                    <a:pt x="45" y="237"/>
                  </a:lnTo>
                  <a:lnTo>
                    <a:pt x="36" y="239"/>
                  </a:lnTo>
                  <a:lnTo>
                    <a:pt x="36" y="239"/>
                  </a:lnTo>
                  <a:lnTo>
                    <a:pt x="29" y="237"/>
                  </a:lnTo>
                  <a:lnTo>
                    <a:pt x="22" y="236"/>
                  </a:lnTo>
                  <a:lnTo>
                    <a:pt x="17" y="232"/>
                  </a:lnTo>
                  <a:lnTo>
                    <a:pt x="10" y="227"/>
                  </a:lnTo>
                  <a:lnTo>
                    <a:pt x="7" y="222"/>
                  </a:lnTo>
                  <a:lnTo>
                    <a:pt x="3" y="217"/>
                  </a:lnTo>
                  <a:lnTo>
                    <a:pt x="1" y="210"/>
                  </a:lnTo>
                  <a:lnTo>
                    <a:pt x="0" y="203"/>
                  </a:lnTo>
                  <a:lnTo>
                    <a:pt x="0" y="37"/>
                  </a:lnTo>
                  <a:lnTo>
                    <a:pt x="0" y="37"/>
                  </a:lnTo>
                  <a:lnTo>
                    <a:pt x="1" y="30"/>
                  </a:lnTo>
                  <a:lnTo>
                    <a:pt x="3" y="23"/>
                  </a:lnTo>
                  <a:lnTo>
                    <a:pt x="7" y="16"/>
                  </a:lnTo>
                  <a:lnTo>
                    <a:pt x="10" y="11"/>
                  </a:lnTo>
                  <a:lnTo>
                    <a:pt x="17" y="6"/>
                  </a:lnTo>
                  <a:lnTo>
                    <a:pt x="22" y="4"/>
                  </a:lnTo>
                  <a:lnTo>
                    <a:pt x="29" y="0"/>
                  </a:lnTo>
                  <a:lnTo>
                    <a:pt x="36" y="0"/>
                  </a:lnTo>
                  <a:lnTo>
                    <a:pt x="36" y="0"/>
                  </a:lnTo>
                  <a:lnTo>
                    <a:pt x="45" y="0"/>
                  </a:lnTo>
                  <a:lnTo>
                    <a:pt x="50" y="4"/>
                  </a:lnTo>
                  <a:lnTo>
                    <a:pt x="57" y="6"/>
                  </a:lnTo>
                  <a:lnTo>
                    <a:pt x="62" y="11"/>
                  </a:lnTo>
                  <a:lnTo>
                    <a:pt x="67" y="16"/>
                  </a:lnTo>
                  <a:lnTo>
                    <a:pt x="71" y="23"/>
                  </a:lnTo>
                  <a:lnTo>
                    <a:pt x="72" y="30"/>
                  </a:lnTo>
                  <a:lnTo>
                    <a:pt x="72" y="3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04" name="Freeform 61">
              <a:extLst>
                <a:ext uri="{FF2B5EF4-FFF2-40B4-BE49-F238E27FC236}">
                  <a16:creationId xmlns:a16="http://schemas.microsoft.com/office/drawing/2014/main" id="{90D098BD-1FD9-4911-8529-E37B6B571DBA}"/>
                </a:ext>
              </a:extLst>
            </p:cNvPr>
            <p:cNvSpPr>
              <a:spLocks/>
            </p:cNvSpPr>
            <p:nvPr/>
          </p:nvSpPr>
          <p:spPr bwMode="auto">
            <a:xfrm>
              <a:off x="4833339" y="13447"/>
              <a:ext cx="40682" cy="132982"/>
            </a:xfrm>
            <a:custGeom>
              <a:avLst/>
              <a:gdLst>
                <a:gd name="T0" fmla="*/ 73 w 73"/>
                <a:gd name="T1" fmla="*/ 37 h 239"/>
                <a:gd name="T2" fmla="*/ 73 w 73"/>
                <a:gd name="T3" fmla="*/ 203 h 239"/>
                <a:gd name="T4" fmla="*/ 73 w 73"/>
                <a:gd name="T5" fmla="*/ 203 h 239"/>
                <a:gd name="T6" fmla="*/ 73 w 73"/>
                <a:gd name="T7" fmla="*/ 210 h 239"/>
                <a:gd name="T8" fmla="*/ 71 w 73"/>
                <a:gd name="T9" fmla="*/ 217 h 239"/>
                <a:gd name="T10" fmla="*/ 68 w 73"/>
                <a:gd name="T11" fmla="*/ 222 h 239"/>
                <a:gd name="T12" fmla="*/ 62 w 73"/>
                <a:gd name="T13" fmla="*/ 227 h 239"/>
                <a:gd name="T14" fmla="*/ 57 w 73"/>
                <a:gd name="T15" fmla="*/ 232 h 239"/>
                <a:gd name="T16" fmla="*/ 50 w 73"/>
                <a:gd name="T17" fmla="*/ 236 h 239"/>
                <a:gd name="T18" fmla="*/ 43 w 73"/>
                <a:gd name="T19" fmla="*/ 237 h 239"/>
                <a:gd name="T20" fmla="*/ 36 w 73"/>
                <a:gd name="T21" fmla="*/ 239 h 239"/>
                <a:gd name="T22" fmla="*/ 36 w 73"/>
                <a:gd name="T23" fmla="*/ 239 h 239"/>
                <a:gd name="T24" fmla="*/ 30 w 73"/>
                <a:gd name="T25" fmla="*/ 237 h 239"/>
                <a:gd name="T26" fmla="*/ 23 w 73"/>
                <a:gd name="T27" fmla="*/ 236 h 239"/>
                <a:gd name="T28" fmla="*/ 17 w 73"/>
                <a:gd name="T29" fmla="*/ 232 h 239"/>
                <a:gd name="T30" fmla="*/ 11 w 73"/>
                <a:gd name="T31" fmla="*/ 227 h 239"/>
                <a:gd name="T32" fmla="*/ 7 w 73"/>
                <a:gd name="T33" fmla="*/ 222 h 239"/>
                <a:gd name="T34" fmla="*/ 4 w 73"/>
                <a:gd name="T35" fmla="*/ 217 h 239"/>
                <a:gd name="T36" fmla="*/ 2 w 73"/>
                <a:gd name="T37" fmla="*/ 210 h 239"/>
                <a:gd name="T38" fmla="*/ 0 w 73"/>
                <a:gd name="T39" fmla="*/ 203 h 239"/>
                <a:gd name="T40" fmla="*/ 0 w 73"/>
                <a:gd name="T41" fmla="*/ 37 h 239"/>
                <a:gd name="T42" fmla="*/ 0 w 73"/>
                <a:gd name="T43" fmla="*/ 37 h 239"/>
                <a:gd name="T44" fmla="*/ 2 w 73"/>
                <a:gd name="T45" fmla="*/ 30 h 239"/>
                <a:gd name="T46" fmla="*/ 4 w 73"/>
                <a:gd name="T47" fmla="*/ 23 h 239"/>
                <a:gd name="T48" fmla="*/ 7 w 73"/>
                <a:gd name="T49" fmla="*/ 16 h 239"/>
                <a:gd name="T50" fmla="*/ 11 w 73"/>
                <a:gd name="T51" fmla="*/ 11 h 239"/>
                <a:gd name="T52" fmla="*/ 17 w 73"/>
                <a:gd name="T53" fmla="*/ 6 h 239"/>
                <a:gd name="T54" fmla="*/ 23 w 73"/>
                <a:gd name="T55" fmla="*/ 4 h 239"/>
                <a:gd name="T56" fmla="*/ 30 w 73"/>
                <a:gd name="T57" fmla="*/ 0 h 239"/>
                <a:gd name="T58" fmla="*/ 36 w 73"/>
                <a:gd name="T59" fmla="*/ 0 h 239"/>
                <a:gd name="T60" fmla="*/ 36 w 73"/>
                <a:gd name="T61" fmla="*/ 0 h 239"/>
                <a:gd name="T62" fmla="*/ 43 w 73"/>
                <a:gd name="T63" fmla="*/ 0 h 239"/>
                <a:gd name="T64" fmla="*/ 50 w 73"/>
                <a:gd name="T65" fmla="*/ 4 h 239"/>
                <a:gd name="T66" fmla="*/ 57 w 73"/>
                <a:gd name="T67" fmla="*/ 6 h 239"/>
                <a:gd name="T68" fmla="*/ 62 w 73"/>
                <a:gd name="T69" fmla="*/ 11 h 239"/>
                <a:gd name="T70" fmla="*/ 68 w 73"/>
                <a:gd name="T71" fmla="*/ 16 h 239"/>
                <a:gd name="T72" fmla="*/ 71 w 73"/>
                <a:gd name="T73" fmla="*/ 23 h 239"/>
                <a:gd name="T74" fmla="*/ 73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3" y="210"/>
                  </a:lnTo>
                  <a:lnTo>
                    <a:pt x="71" y="217"/>
                  </a:lnTo>
                  <a:lnTo>
                    <a:pt x="68" y="222"/>
                  </a:lnTo>
                  <a:lnTo>
                    <a:pt x="62" y="227"/>
                  </a:lnTo>
                  <a:lnTo>
                    <a:pt x="57" y="232"/>
                  </a:lnTo>
                  <a:lnTo>
                    <a:pt x="50" y="236"/>
                  </a:lnTo>
                  <a:lnTo>
                    <a:pt x="43" y="237"/>
                  </a:lnTo>
                  <a:lnTo>
                    <a:pt x="36" y="239"/>
                  </a:lnTo>
                  <a:lnTo>
                    <a:pt x="36" y="239"/>
                  </a:lnTo>
                  <a:lnTo>
                    <a:pt x="30" y="237"/>
                  </a:lnTo>
                  <a:lnTo>
                    <a:pt x="23" y="236"/>
                  </a:lnTo>
                  <a:lnTo>
                    <a:pt x="17" y="232"/>
                  </a:lnTo>
                  <a:lnTo>
                    <a:pt x="11" y="227"/>
                  </a:lnTo>
                  <a:lnTo>
                    <a:pt x="7" y="222"/>
                  </a:lnTo>
                  <a:lnTo>
                    <a:pt x="4" y="217"/>
                  </a:lnTo>
                  <a:lnTo>
                    <a:pt x="2" y="210"/>
                  </a:lnTo>
                  <a:lnTo>
                    <a:pt x="0" y="203"/>
                  </a:lnTo>
                  <a:lnTo>
                    <a:pt x="0" y="37"/>
                  </a:lnTo>
                  <a:lnTo>
                    <a:pt x="0" y="37"/>
                  </a:lnTo>
                  <a:lnTo>
                    <a:pt x="2" y="30"/>
                  </a:lnTo>
                  <a:lnTo>
                    <a:pt x="4" y="23"/>
                  </a:lnTo>
                  <a:lnTo>
                    <a:pt x="7" y="16"/>
                  </a:lnTo>
                  <a:lnTo>
                    <a:pt x="11" y="11"/>
                  </a:lnTo>
                  <a:lnTo>
                    <a:pt x="17" y="6"/>
                  </a:lnTo>
                  <a:lnTo>
                    <a:pt x="23" y="4"/>
                  </a:lnTo>
                  <a:lnTo>
                    <a:pt x="30" y="0"/>
                  </a:lnTo>
                  <a:lnTo>
                    <a:pt x="36" y="0"/>
                  </a:lnTo>
                  <a:lnTo>
                    <a:pt x="36" y="0"/>
                  </a:lnTo>
                  <a:lnTo>
                    <a:pt x="43" y="0"/>
                  </a:lnTo>
                  <a:lnTo>
                    <a:pt x="50" y="4"/>
                  </a:lnTo>
                  <a:lnTo>
                    <a:pt x="57" y="6"/>
                  </a:lnTo>
                  <a:lnTo>
                    <a:pt x="62" y="11"/>
                  </a:lnTo>
                  <a:lnTo>
                    <a:pt x="68" y="16"/>
                  </a:lnTo>
                  <a:lnTo>
                    <a:pt x="71" y="23"/>
                  </a:lnTo>
                  <a:lnTo>
                    <a:pt x="73" y="30"/>
                  </a:lnTo>
                  <a:lnTo>
                    <a:pt x="73" y="3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05" name="Freeform 62">
              <a:extLst>
                <a:ext uri="{FF2B5EF4-FFF2-40B4-BE49-F238E27FC236}">
                  <a16:creationId xmlns:a16="http://schemas.microsoft.com/office/drawing/2014/main" id="{CA93FD72-4D23-4198-8847-8A1DD92DA5BB}"/>
                </a:ext>
              </a:extLst>
            </p:cNvPr>
            <p:cNvSpPr>
              <a:spLocks/>
            </p:cNvSpPr>
            <p:nvPr/>
          </p:nvSpPr>
          <p:spPr bwMode="auto">
            <a:xfrm>
              <a:off x="4833339" y="13447"/>
              <a:ext cx="40682" cy="132982"/>
            </a:xfrm>
            <a:custGeom>
              <a:avLst/>
              <a:gdLst>
                <a:gd name="T0" fmla="*/ 73 w 73"/>
                <a:gd name="T1" fmla="*/ 37 h 239"/>
                <a:gd name="T2" fmla="*/ 73 w 73"/>
                <a:gd name="T3" fmla="*/ 203 h 239"/>
                <a:gd name="T4" fmla="*/ 73 w 73"/>
                <a:gd name="T5" fmla="*/ 203 h 239"/>
                <a:gd name="T6" fmla="*/ 73 w 73"/>
                <a:gd name="T7" fmla="*/ 210 h 239"/>
                <a:gd name="T8" fmla="*/ 71 w 73"/>
                <a:gd name="T9" fmla="*/ 217 h 239"/>
                <a:gd name="T10" fmla="*/ 68 w 73"/>
                <a:gd name="T11" fmla="*/ 222 h 239"/>
                <a:gd name="T12" fmla="*/ 62 w 73"/>
                <a:gd name="T13" fmla="*/ 227 h 239"/>
                <a:gd name="T14" fmla="*/ 57 w 73"/>
                <a:gd name="T15" fmla="*/ 232 h 239"/>
                <a:gd name="T16" fmla="*/ 50 w 73"/>
                <a:gd name="T17" fmla="*/ 236 h 239"/>
                <a:gd name="T18" fmla="*/ 43 w 73"/>
                <a:gd name="T19" fmla="*/ 237 h 239"/>
                <a:gd name="T20" fmla="*/ 36 w 73"/>
                <a:gd name="T21" fmla="*/ 239 h 239"/>
                <a:gd name="T22" fmla="*/ 36 w 73"/>
                <a:gd name="T23" fmla="*/ 239 h 239"/>
                <a:gd name="T24" fmla="*/ 30 w 73"/>
                <a:gd name="T25" fmla="*/ 237 h 239"/>
                <a:gd name="T26" fmla="*/ 23 w 73"/>
                <a:gd name="T27" fmla="*/ 236 h 239"/>
                <a:gd name="T28" fmla="*/ 17 w 73"/>
                <a:gd name="T29" fmla="*/ 232 h 239"/>
                <a:gd name="T30" fmla="*/ 11 w 73"/>
                <a:gd name="T31" fmla="*/ 227 h 239"/>
                <a:gd name="T32" fmla="*/ 7 w 73"/>
                <a:gd name="T33" fmla="*/ 222 h 239"/>
                <a:gd name="T34" fmla="*/ 4 w 73"/>
                <a:gd name="T35" fmla="*/ 217 h 239"/>
                <a:gd name="T36" fmla="*/ 2 w 73"/>
                <a:gd name="T37" fmla="*/ 210 h 239"/>
                <a:gd name="T38" fmla="*/ 0 w 73"/>
                <a:gd name="T39" fmla="*/ 203 h 239"/>
                <a:gd name="T40" fmla="*/ 0 w 73"/>
                <a:gd name="T41" fmla="*/ 37 h 239"/>
                <a:gd name="T42" fmla="*/ 0 w 73"/>
                <a:gd name="T43" fmla="*/ 37 h 239"/>
                <a:gd name="T44" fmla="*/ 2 w 73"/>
                <a:gd name="T45" fmla="*/ 30 h 239"/>
                <a:gd name="T46" fmla="*/ 4 w 73"/>
                <a:gd name="T47" fmla="*/ 23 h 239"/>
                <a:gd name="T48" fmla="*/ 7 w 73"/>
                <a:gd name="T49" fmla="*/ 16 h 239"/>
                <a:gd name="T50" fmla="*/ 11 w 73"/>
                <a:gd name="T51" fmla="*/ 11 h 239"/>
                <a:gd name="T52" fmla="*/ 17 w 73"/>
                <a:gd name="T53" fmla="*/ 6 h 239"/>
                <a:gd name="T54" fmla="*/ 23 w 73"/>
                <a:gd name="T55" fmla="*/ 4 h 239"/>
                <a:gd name="T56" fmla="*/ 30 w 73"/>
                <a:gd name="T57" fmla="*/ 0 h 239"/>
                <a:gd name="T58" fmla="*/ 36 w 73"/>
                <a:gd name="T59" fmla="*/ 0 h 239"/>
                <a:gd name="T60" fmla="*/ 36 w 73"/>
                <a:gd name="T61" fmla="*/ 0 h 239"/>
                <a:gd name="T62" fmla="*/ 43 w 73"/>
                <a:gd name="T63" fmla="*/ 0 h 239"/>
                <a:gd name="T64" fmla="*/ 50 w 73"/>
                <a:gd name="T65" fmla="*/ 4 h 239"/>
                <a:gd name="T66" fmla="*/ 57 w 73"/>
                <a:gd name="T67" fmla="*/ 6 h 239"/>
                <a:gd name="T68" fmla="*/ 62 w 73"/>
                <a:gd name="T69" fmla="*/ 11 h 239"/>
                <a:gd name="T70" fmla="*/ 68 w 73"/>
                <a:gd name="T71" fmla="*/ 16 h 239"/>
                <a:gd name="T72" fmla="*/ 71 w 73"/>
                <a:gd name="T73" fmla="*/ 23 h 239"/>
                <a:gd name="T74" fmla="*/ 73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3" y="210"/>
                  </a:lnTo>
                  <a:lnTo>
                    <a:pt x="71" y="217"/>
                  </a:lnTo>
                  <a:lnTo>
                    <a:pt x="68" y="222"/>
                  </a:lnTo>
                  <a:lnTo>
                    <a:pt x="62" y="227"/>
                  </a:lnTo>
                  <a:lnTo>
                    <a:pt x="57" y="232"/>
                  </a:lnTo>
                  <a:lnTo>
                    <a:pt x="50" y="236"/>
                  </a:lnTo>
                  <a:lnTo>
                    <a:pt x="43" y="237"/>
                  </a:lnTo>
                  <a:lnTo>
                    <a:pt x="36" y="239"/>
                  </a:lnTo>
                  <a:lnTo>
                    <a:pt x="36" y="239"/>
                  </a:lnTo>
                  <a:lnTo>
                    <a:pt x="30" y="237"/>
                  </a:lnTo>
                  <a:lnTo>
                    <a:pt x="23" y="236"/>
                  </a:lnTo>
                  <a:lnTo>
                    <a:pt x="17" y="232"/>
                  </a:lnTo>
                  <a:lnTo>
                    <a:pt x="11" y="227"/>
                  </a:lnTo>
                  <a:lnTo>
                    <a:pt x="7" y="222"/>
                  </a:lnTo>
                  <a:lnTo>
                    <a:pt x="4" y="217"/>
                  </a:lnTo>
                  <a:lnTo>
                    <a:pt x="2" y="210"/>
                  </a:lnTo>
                  <a:lnTo>
                    <a:pt x="0" y="203"/>
                  </a:lnTo>
                  <a:lnTo>
                    <a:pt x="0" y="37"/>
                  </a:lnTo>
                  <a:lnTo>
                    <a:pt x="0" y="37"/>
                  </a:lnTo>
                  <a:lnTo>
                    <a:pt x="2" y="30"/>
                  </a:lnTo>
                  <a:lnTo>
                    <a:pt x="4" y="23"/>
                  </a:lnTo>
                  <a:lnTo>
                    <a:pt x="7" y="16"/>
                  </a:lnTo>
                  <a:lnTo>
                    <a:pt x="11" y="11"/>
                  </a:lnTo>
                  <a:lnTo>
                    <a:pt x="17" y="6"/>
                  </a:lnTo>
                  <a:lnTo>
                    <a:pt x="23" y="4"/>
                  </a:lnTo>
                  <a:lnTo>
                    <a:pt x="30" y="0"/>
                  </a:lnTo>
                  <a:lnTo>
                    <a:pt x="36" y="0"/>
                  </a:lnTo>
                  <a:lnTo>
                    <a:pt x="36" y="0"/>
                  </a:lnTo>
                  <a:lnTo>
                    <a:pt x="43" y="0"/>
                  </a:lnTo>
                  <a:lnTo>
                    <a:pt x="50" y="4"/>
                  </a:lnTo>
                  <a:lnTo>
                    <a:pt x="57" y="6"/>
                  </a:lnTo>
                  <a:lnTo>
                    <a:pt x="62" y="11"/>
                  </a:lnTo>
                  <a:lnTo>
                    <a:pt x="68" y="16"/>
                  </a:lnTo>
                  <a:lnTo>
                    <a:pt x="71" y="23"/>
                  </a:lnTo>
                  <a:lnTo>
                    <a:pt x="73" y="30"/>
                  </a:lnTo>
                  <a:lnTo>
                    <a:pt x="73" y="37"/>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06" name="Freeform 63">
              <a:extLst>
                <a:ext uri="{FF2B5EF4-FFF2-40B4-BE49-F238E27FC236}">
                  <a16:creationId xmlns:a16="http://schemas.microsoft.com/office/drawing/2014/main" id="{D54D4E07-908A-41B1-A9DA-EB04ED56BC16}"/>
                </a:ext>
              </a:extLst>
            </p:cNvPr>
            <p:cNvSpPr>
              <a:spLocks/>
            </p:cNvSpPr>
            <p:nvPr/>
          </p:nvSpPr>
          <p:spPr bwMode="auto">
            <a:xfrm>
              <a:off x="4977676" y="-152920"/>
              <a:ext cx="40682" cy="465159"/>
            </a:xfrm>
            <a:custGeom>
              <a:avLst/>
              <a:gdLst>
                <a:gd name="T0" fmla="*/ 73 w 73"/>
                <a:gd name="T1" fmla="*/ 36 h 836"/>
                <a:gd name="T2" fmla="*/ 73 w 73"/>
                <a:gd name="T3" fmla="*/ 799 h 836"/>
                <a:gd name="T4" fmla="*/ 73 w 73"/>
                <a:gd name="T5" fmla="*/ 799 h 836"/>
                <a:gd name="T6" fmla="*/ 71 w 73"/>
                <a:gd name="T7" fmla="*/ 806 h 836"/>
                <a:gd name="T8" fmla="*/ 70 w 73"/>
                <a:gd name="T9" fmla="*/ 813 h 836"/>
                <a:gd name="T10" fmla="*/ 66 w 73"/>
                <a:gd name="T11" fmla="*/ 820 h 836"/>
                <a:gd name="T12" fmla="*/ 61 w 73"/>
                <a:gd name="T13" fmla="*/ 825 h 836"/>
                <a:gd name="T14" fmla="*/ 56 w 73"/>
                <a:gd name="T15" fmla="*/ 830 h 836"/>
                <a:gd name="T16" fmla="*/ 51 w 73"/>
                <a:gd name="T17" fmla="*/ 834 h 836"/>
                <a:gd name="T18" fmla="*/ 44 w 73"/>
                <a:gd name="T19" fmla="*/ 836 h 836"/>
                <a:gd name="T20" fmla="*/ 37 w 73"/>
                <a:gd name="T21" fmla="*/ 836 h 836"/>
                <a:gd name="T22" fmla="*/ 37 w 73"/>
                <a:gd name="T23" fmla="*/ 836 h 836"/>
                <a:gd name="T24" fmla="*/ 28 w 73"/>
                <a:gd name="T25" fmla="*/ 836 h 836"/>
                <a:gd name="T26" fmla="*/ 21 w 73"/>
                <a:gd name="T27" fmla="*/ 834 h 836"/>
                <a:gd name="T28" fmla="*/ 16 w 73"/>
                <a:gd name="T29" fmla="*/ 830 h 836"/>
                <a:gd name="T30" fmla="*/ 11 w 73"/>
                <a:gd name="T31" fmla="*/ 825 h 836"/>
                <a:gd name="T32" fmla="*/ 6 w 73"/>
                <a:gd name="T33" fmla="*/ 820 h 836"/>
                <a:gd name="T34" fmla="*/ 2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2 w 73"/>
                <a:gd name="T47" fmla="*/ 23 h 836"/>
                <a:gd name="T48" fmla="*/ 6 w 73"/>
                <a:gd name="T49" fmla="*/ 16 h 836"/>
                <a:gd name="T50" fmla="*/ 11 w 73"/>
                <a:gd name="T51" fmla="*/ 11 h 836"/>
                <a:gd name="T52" fmla="*/ 16 w 73"/>
                <a:gd name="T53" fmla="*/ 7 h 836"/>
                <a:gd name="T54" fmla="*/ 21 w 73"/>
                <a:gd name="T55" fmla="*/ 4 h 836"/>
                <a:gd name="T56" fmla="*/ 28 w 73"/>
                <a:gd name="T57" fmla="*/ 2 h 836"/>
                <a:gd name="T58" fmla="*/ 37 w 73"/>
                <a:gd name="T59" fmla="*/ 0 h 836"/>
                <a:gd name="T60" fmla="*/ 37 w 73"/>
                <a:gd name="T61" fmla="*/ 0 h 836"/>
                <a:gd name="T62" fmla="*/ 44 w 73"/>
                <a:gd name="T63" fmla="*/ 2 h 836"/>
                <a:gd name="T64" fmla="*/ 51 w 73"/>
                <a:gd name="T65" fmla="*/ 4 h 836"/>
                <a:gd name="T66" fmla="*/ 56 w 73"/>
                <a:gd name="T67" fmla="*/ 7 h 836"/>
                <a:gd name="T68" fmla="*/ 61 w 73"/>
                <a:gd name="T69" fmla="*/ 11 h 836"/>
                <a:gd name="T70" fmla="*/ 66 w 73"/>
                <a:gd name="T71" fmla="*/ 16 h 836"/>
                <a:gd name="T72" fmla="*/ 70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70" y="813"/>
                  </a:lnTo>
                  <a:lnTo>
                    <a:pt x="66" y="820"/>
                  </a:lnTo>
                  <a:lnTo>
                    <a:pt x="61" y="825"/>
                  </a:lnTo>
                  <a:lnTo>
                    <a:pt x="56" y="830"/>
                  </a:lnTo>
                  <a:lnTo>
                    <a:pt x="51" y="834"/>
                  </a:lnTo>
                  <a:lnTo>
                    <a:pt x="44" y="836"/>
                  </a:lnTo>
                  <a:lnTo>
                    <a:pt x="37" y="836"/>
                  </a:lnTo>
                  <a:lnTo>
                    <a:pt x="37" y="836"/>
                  </a:lnTo>
                  <a:lnTo>
                    <a:pt x="28" y="836"/>
                  </a:lnTo>
                  <a:lnTo>
                    <a:pt x="21" y="834"/>
                  </a:lnTo>
                  <a:lnTo>
                    <a:pt x="16" y="830"/>
                  </a:lnTo>
                  <a:lnTo>
                    <a:pt x="11" y="825"/>
                  </a:lnTo>
                  <a:lnTo>
                    <a:pt x="6" y="820"/>
                  </a:lnTo>
                  <a:lnTo>
                    <a:pt x="2" y="813"/>
                  </a:lnTo>
                  <a:lnTo>
                    <a:pt x="0" y="806"/>
                  </a:lnTo>
                  <a:lnTo>
                    <a:pt x="0" y="799"/>
                  </a:lnTo>
                  <a:lnTo>
                    <a:pt x="0" y="36"/>
                  </a:lnTo>
                  <a:lnTo>
                    <a:pt x="0" y="36"/>
                  </a:lnTo>
                  <a:lnTo>
                    <a:pt x="0" y="30"/>
                  </a:lnTo>
                  <a:lnTo>
                    <a:pt x="2" y="23"/>
                  </a:lnTo>
                  <a:lnTo>
                    <a:pt x="6" y="16"/>
                  </a:lnTo>
                  <a:lnTo>
                    <a:pt x="11" y="11"/>
                  </a:lnTo>
                  <a:lnTo>
                    <a:pt x="16" y="7"/>
                  </a:lnTo>
                  <a:lnTo>
                    <a:pt x="21" y="4"/>
                  </a:lnTo>
                  <a:lnTo>
                    <a:pt x="28" y="2"/>
                  </a:lnTo>
                  <a:lnTo>
                    <a:pt x="37" y="0"/>
                  </a:lnTo>
                  <a:lnTo>
                    <a:pt x="37" y="0"/>
                  </a:lnTo>
                  <a:lnTo>
                    <a:pt x="44" y="2"/>
                  </a:lnTo>
                  <a:lnTo>
                    <a:pt x="51" y="4"/>
                  </a:lnTo>
                  <a:lnTo>
                    <a:pt x="56" y="7"/>
                  </a:lnTo>
                  <a:lnTo>
                    <a:pt x="61" y="11"/>
                  </a:lnTo>
                  <a:lnTo>
                    <a:pt x="66" y="16"/>
                  </a:lnTo>
                  <a:lnTo>
                    <a:pt x="70" y="23"/>
                  </a:lnTo>
                  <a:lnTo>
                    <a:pt x="71" y="30"/>
                  </a:lnTo>
                  <a:lnTo>
                    <a:pt x="73" y="3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07" name="Freeform 64">
              <a:extLst>
                <a:ext uri="{FF2B5EF4-FFF2-40B4-BE49-F238E27FC236}">
                  <a16:creationId xmlns:a16="http://schemas.microsoft.com/office/drawing/2014/main" id="{EF4EEE9D-4E31-4341-8B27-37CC9D9345E1}"/>
                </a:ext>
              </a:extLst>
            </p:cNvPr>
            <p:cNvSpPr>
              <a:spLocks/>
            </p:cNvSpPr>
            <p:nvPr/>
          </p:nvSpPr>
          <p:spPr bwMode="auto">
            <a:xfrm>
              <a:off x="4977676" y="-152920"/>
              <a:ext cx="40682" cy="465159"/>
            </a:xfrm>
            <a:custGeom>
              <a:avLst/>
              <a:gdLst>
                <a:gd name="T0" fmla="*/ 73 w 73"/>
                <a:gd name="T1" fmla="*/ 36 h 836"/>
                <a:gd name="T2" fmla="*/ 73 w 73"/>
                <a:gd name="T3" fmla="*/ 799 h 836"/>
                <a:gd name="T4" fmla="*/ 73 w 73"/>
                <a:gd name="T5" fmla="*/ 799 h 836"/>
                <a:gd name="T6" fmla="*/ 71 w 73"/>
                <a:gd name="T7" fmla="*/ 806 h 836"/>
                <a:gd name="T8" fmla="*/ 70 w 73"/>
                <a:gd name="T9" fmla="*/ 813 h 836"/>
                <a:gd name="T10" fmla="*/ 66 w 73"/>
                <a:gd name="T11" fmla="*/ 820 h 836"/>
                <a:gd name="T12" fmla="*/ 61 w 73"/>
                <a:gd name="T13" fmla="*/ 825 h 836"/>
                <a:gd name="T14" fmla="*/ 56 w 73"/>
                <a:gd name="T15" fmla="*/ 830 h 836"/>
                <a:gd name="T16" fmla="*/ 51 w 73"/>
                <a:gd name="T17" fmla="*/ 834 h 836"/>
                <a:gd name="T18" fmla="*/ 44 w 73"/>
                <a:gd name="T19" fmla="*/ 836 h 836"/>
                <a:gd name="T20" fmla="*/ 37 w 73"/>
                <a:gd name="T21" fmla="*/ 836 h 836"/>
                <a:gd name="T22" fmla="*/ 37 w 73"/>
                <a:gd name="T23" fmla="*/ 836 h 836"/>
                <a:gd name="T24" fmla="*/ 28 w 73"/>
                <a:gd name="T25" fmla="*/ 836 h 836"/>
                <a:gd name="T26" fmla="*/ 21 w 73"/>
                <a:gd name="T27" fmla="*/ 834 h 836"/>
                <a:gd name="T28" fmla="*/ 16 w 73"/>
                <a:gd name="T29" fmla="*/ 830 h 836"/>
                <a:gd name="T30" fmla="*/ 11 w 73"/>
                <a:gd name="T31" fmla="*/ 825 h 836"/>
                <a:gd name="T32" fmla="*/ 6 w 73"/>
                <a:gd name="T33" fmla="*/ 820 h 836"/>
                <a:gd name="T34" fmla="*/ 2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2 w 73"/>
                <a:gd name="T47" fmla="*/ 23 h 836"/>
                <a:gd name="T48" fmla="*/ 6 w 73"/>
                <a:gd name="T49" fmla="*/ 16 h 836"/>
                <a:gd name="T50" fmla="*/ 11 w 73"/>
                <a:gd name="T51" fmla="*/ 11 h 836"/>
                <a:gd name="T52" fmla="*/ 16 w 73"/>
                <a:gd name="T53" fmla="*/ 7 h 836"/>
                <a:gd name="T54" fmla="*/ 21 w 73"/>
                <a:gd name="T55" fmla="*/ 4 h 836"/>
                <a:gd name="T56" fmla="*/ 28 w 73"/>
                <a:gd name="T57" fmla="*/ 2 h 836"/>
                <a:gd name="T58" fmla="*/ 37 w 73"/>
                <a:gd name="T59" fmla="*/ 0 h 836"/>
                <a:gd name="T60" fmla="*/ 37 w 73"/>
                <a:gd name="T61" fmla="*/ 0 h 836"/>
                <a:gd name="T62" fmla="*/ 44 w 73"/>
                <a:gd name="T63" fmla="*/ 2 h 836"/>
                <a:gd name="T64" fmla="*/ 51 w 73"/>
                <a:gd name="T65" fmla="*/ 4 h 836"/>
                <a:gd name="T66" fmla="*/ 56 w 73"/>
                <a:gd name="T67" fmla="*/ 7 h 836"/>
                <a:gd name="T68" fmla="*/ 61 w 73"/>
                <a:gd name="T69" fmla="*/ 11 h 836"/>
                <a:gd name="T70" fmla="*/ 66 w 73"/>
                <a:gd name="T71" fmla="*/ 16 h 836"/>
                <a:gd name="T72" fmla="*/ 70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70" y="813"/>
                  </a:lnTo>
                  <a:lnTo>
                    <a:pt x="66" y="820"/>
                  </a:lnTo>
                  <a:lnTo>
                    <a:pt x="61" y="825"/>
                  </a:lnTo>
                  <a:lnTo>
                    <a:pt x="56" y="830"/>
                  </a:lnTo>
                  <a:lnTo>
                    <a:pt x="51" y="834"/>
                  </a:lnTo>
                  <a:lnTo>
                    <a:pt x="44" y="836"/>
                  </a:lnTo>
                  <a:lnTo>
                    <a:pt x="37" y="836"/>
                  </a:lnTo>
                  <a:lnTo>
                    <a:pt x="37" y="836"/>
                  </a:lnTo>
                  <a:lnTo>
                    <a:pt x="28" y="836"/>
                  </a:lnTo>
                  <a:lnTo>
                    <a:pt x="21" y="834"/>
                  </a:lnTo>
                  <a:lnTo>
                    <a:pt x="16" y="830"/>
                  </a:lnTo>
                  <a:lnTo>
                    <a:pt x="11" y="825"/>
                  </a:lnTo>
                  <a:lnTo>
                    <a:pt x="6" y="820"/>
                  </a:lnTo>
                  <a:lnTo>
                    <a:pt x="2" y="813"/>
                  </a:lnTo>
                  <a:lnTo>
                    <a:pt x="0" y="806"/>
                  </a:lnTo>
                  <a:lnTo>
                    <a:pt x="0" y="799"/>
                  </a:lnTo>
                  <a:lnTo>
                    <a:pt x="0" y="36"/>
                  </a:lnTo>
                  <a:lnTo>
                    <a:pt x="0" y="36"/>
                  </a:lnTo>
                  <a:lnTo>
                    <a:pt x="0" y="30"/>
                  </a:lnTo>
                  <a:lnTo>
                    <a:pt x="2" y="23"/>
                  </a:lnTo>
                  <a:lnTo>
                    <a:pt x="6" y="16"/>
                  </a:lnTo>
                  <a:lnTo>
                    <a:pt x="11" y="11"/>
                  </a:lnTo>
                  <a:lnTo>
                    <a:pt x="16" y="7"/>
                  </a:lnTo>
                  <a:lnTo>
                    <a:pt x="21" y="4"/>
                  </a:lnTo>
                  <a:lnTo>
                    <a:pt x="28" y="2"/>
                  </a:lnTo>
                  <a:lnTo>
                    <a:pt x="37" y="0"/>
                  </a:lnTo>
                  <a:lnTo>
                    <a:pt x="37" y="0"/>
                  </a:lnTo>
                  <a:lnTo>
                    <a:pt x="44" y="2"/>
                  </a:lnTo>
                  <a:lnTo>
                    <a:pt x="51" y="4"/>
                  </a:lnTo>
                  <a:lnTo>
                    <a:pt x="56" y="7"/>
                  </a:lnTo>
                  <a:lnTo>
                    <a:pt x="61" y="11"/>
                  </a:lnTo>
                  <a:lnTo>
                    <a:pt x="66" y="16"/>
                  </a:lnTo>
                  <a:lnTo>
                    <a:pt x="70" y="23"/>
                  </a:lnTo>
                  <a:lnTo>
                    <a:pt x="71" y="30"/>
                  </a:lnTo>
                  <a:lnTo>
                    <a:pt x="73" y="36"/>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08" name="Freeform 65">
              <a:extLst>
                <a:ext uri="{FF2B5EF4-FFF2-40B4-BE49-F238E27FC236}">
                  <a16:creationId xmlns:a16="http://schemas.microsoft.com/office/drawing/2014/main" id="{2CE034DC-1E3A-4CF0-BFA0-D6A897CE220B}"/>
                </a:ext>
              </a:extLst>
            </p:cNvPr>
            <p:cNvSpPr>
              <a:spLocks/>
            </p:cNvSpPr>
            <p:nvPr/>
          </p:nvSpPr>
          <p:spPr bwMode="auto">
            <a:xfrm>
              <a:off x="5079101" y="-312610"/>
              <a:ext cx="1015374" cy="783426"/>
            </a:xfrm>
            <a:custGeom>
              <a:avLst/>
              <a:gdLst>
                <a:gd name="T0" fmla="*/ 1822 w 1822"/>
                <a:gd name="T1" fmla="*/ 1166 h 1408"/>
                <a:gd name="T2" fmla="*/ 1822 w 1822"/>
                <a:gd name="T3" fmla="*/ 1408 h 1408"/>
                <a:gd name="T4" fmla="*/ 1516 w 1822"/>
                <a:gd name="T5" fmla="*/ 1408 h 1408"/>
                <a:gd name="T6" fmla="*/ 437 w 1822"/>
                <a:gd name="T7" fmla="*/ 242 h 1408"/>
                <a:gd name="T8" fmla="*/ 0 w 1822"/>
                <a:gd name="T9" fmla="*/ 242 h 1408"/>
                <a:gd name="T10" fmla="*/ 0 w 1822"/>
                <a:gd name="T11" fmla="*/ 0 h 1408"/>
                <a:gd name="T12" fmla="*/ 543 w 1822"/>
                <a:gd name="T13" fmla="*/ 0 h 1408"/>
                <a:gd name="T14" fmla="*/ 1622 w 1822"/>
                <a:gd name="T15" fmla="*/ 1166 h 1408"/>
                <a:gd name="T16" fmla="*/ 1822 w 1822"/>
                <a:gd name="T17" fmla="*/ 1166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2" h="1408">
                  <a:moveTo>
                    <a:pt x="1822" y="1166"/>
                  </a:moveTo>
                  <a:lnTo>
                    <a:pt x="1822" y="1408"/>
                  </a:lnTo>
                  <a:lnTo>
                    <a:pt x="1516" y="1408"/>
                  </a:lnTo>
                  <a:lnTo>
                    <a:pt x="437" y="242"/>
                  </a:lnTo>
                  <a:lnTo>
                    <a:pt x="0" y="242"/>
                  </a:lnTo>
                  <a:lnTo>
                    <a:pt x="0" y="0"/>
                  </a:lnTo>
                  <a:lnTo>
                    <a:pt x="543" y="0"/>
                  </a:lnTo>
                  <a:lnTo>
                    <a:pt x="1622" y="1166"/>
                  </a:lnTo>
                  <a:lnTo>
                    <a:pt x="1822" y="1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09" name="Freeform 66">
              <a:extLst>
                <a:ext uri="{FF2B5EF4-FFF2-40B4-BE49-F238E27FC236}">
                  <a16:creationId xmlns:a16="http://schemas.microsoft.com/office/drawing/2014/main" id="{8C393868-97E7-413E-9423-32CB4CE031FB}"/>
                </a:ext>
              </a:extLst>
            </p:cNvPr>
            <p:cNvSpPr>
              <a:spLocks/>
            </p:cNvSpPr>
            <p:nvPr/>
          </p:nvSpPr>
          <p:spPr bwMode="auto">
            <a:xfrm>
              <a:off x="5079101" y="-312610"/>
              <a:ext cx="1015374" cy="783426"/>
            </a:xfrm>
            <a:custGeom>
              <a:avLst/>
              <a:gdLst>
                <a:gd name="T0" fmla="*/ 1822 w 1822"/>
                <a:gd name="T1" fmla="*/ 0 h 1408"/>
                <a:gd name="T2" fmla="*/ 1822 w 1822"/>
                <a:gd name="T3" fmla="*/ 242 h 1408"/>
                <a:gd name="T4" fmla="*/ 1622 w 1822"/>
                <a:gd name="T5" fmla="*/ 242 h 1408"/>
                <a:gd name="T6" fmla="*/ 543 w 1822"/>
                <a:gd name="T7" fmla="*/ 1408 h 1408"/>
                <a:gd name="T8" fmla="*/ 0 w 1822"/>
                <a:gd name="T9" fmla="*/ 1408 h 1408"/>
                <a:gd name="T10" fmla="*/ 0 w 1822"/>
                <a:gd name="T11" fmla="*/ 1166 h 1408"/>
                <a:gd name="T12" fmla="*/ 437 w 1822"/>
                <a:gd name="T13" fmla="*/ 1166 h 1408"/>
                <a:gd name="T14" fmla="*/ 1516 w 1822"/>
                <a:gd name="T15" fmla="*/ 0 h 1408"/>
                <a:gd name="T16" fmla="*/ 1822 w 1822"/>
                <a:gd name="T17" fmla="*/ 0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2" h="1408">
                  <a:moveTo>
                    <a:pt x="1822" y="0"/>
                  </a:moveTo>
                  <a:lnTo>
                    <a:pt x="1822" y="242"/>
                  </a:lnTo>
                  <a:lnTo>
                    <a:pt x="1622" y="242"/>
                  </a:lnTo>
                  <a:lnTo>
                    <a:pt x="543" y="1408"/>
                  </a:lnTo>
                  <a:lnTo>
                    <a:pt x="0" y="1408"/>
                  </a:lnTo>
                  <a:lnTo>
                    <a:pt x="0" y="1166"/>
                  </a:lnTo>
                  <a:lnTo>
                    <a:pt x="437" y="1166"/>
                  </a:lnTo>
                  <a:lnTo>
                    <a:pt x="1516" y="0"/>
                  </a:lnTo>
                  <a:lnTo>
                    <a:pt x="18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10" name="Freeform 67">
              <a:extLst>
                <a:ext uri="{FF2B5EF4-FFF2-40B4-BE49-F238E27FC236}">
                  <a16:creationId xmlns:a16="http://schemas.microsoft.com/office/drawing/2014/main" id="{5C6B6DDD-3484-44F5-974A-9932EB06BB37}"/>
                </a:ext>
              </a:extLst>
            </p:cNvPr>
            <p:cNvSpPr>
              <a:spLocks/>
            </p:cNvSpPr>
            <p:nvPr/>
          </p:nvSpPr>
          <p:spPr bwMode="auto">
            <a:xfrm>
              <a:off x="5130372" y="-152920"/>
              <a:ext cx="40124" cy="465159"/>
            </a:xfrm>
            <a:custGeom>
              <a:avLst/>
              <a:gdLst>
                <a:gd name="T0" fmla="*/ 72 w 72"/>
                <a:gd name="T1" fmla="*/ 36 h 836"/>
                <a:gd name="T2" fmla="*/ 72 w 72"/>
                <a:gd name="T3" fmla="*/ 799 h 836"/>
                <a:gd name="T4" fmla="*/ 72 w 72"/>
                <a:gd name="T5" fmla="*/ 799 h 836"/>
                <a:gd name="T6" fmla="*/ 72 w 72"/>
                <a:gd name="T7" fmla="*/ 806 h 836"/>
                <a:gd name="T8" fmla="*/ 70 w 72"/>
                <a:gd name="T9" fmla="*/ 813 h 836"/>
                <a:gd name="T10" fmla="*/ 67 w 72"/>
                <a:gd name="T11" fmla="*/ 820 h 836"/>
                <a:gd name="T12" fmla="*/ 62 w 72"/>
                <a:gd name="T13" fmla="*/ 825 h 836"/>
                <a:gd name="T14" fmla="*/ 57 w 72"/>
                <a:gd name="T15" fmla="*/ 830 h 836"/>
                <a:gd name="T16" fmla="*/ 50 w 72"/>
                <a:gd name="T17" fmla="*/ 834 h 836"/>
                <a:gd name="T18" fmla="*/ 43 w 72"/>
                <a:gd name="T19" fmla="*/ 836 h 836"/>
                <a:gd name="T20" fmla="*/ 36 w 72"/>
                <a:gd name="T21" fmla="*/ 836 h 836"/>
                <a:gd name="T22" fmla="*/ 36 w 72"/>
                <a:gd name="T23" fmla="*/ 836 h 836"/>
                <a:gd name="T24" fmla="*/ 29 w 72"/>
                <a:gd name="T25" fmla="*/ 836 h 836"/>
                <a:gd name="T26" fmla="*/ 22 w 72"/>
                <a:gd name="T27" fmla="*/ 834 h 836"/>
                <a:gd name="T28" fmla="*/ 17 w 72"/>
                <a:gd name="T29" fmla="*/ 830 h 836"/>
                <a:gd name="T30" fmla="*/ 10 w 72"/>
                <a:gd name="T31" fmla="*/ 825 h 836"/>
                <a:gd name="T32" fmla="*/ 7 w 72"/>
                <a:gd name="T33" fmla="*/ 820 h 836"/>
                <a:gd name="T34" fmla="*/ 3 w 72"/>
                <a:gd name="T35" fmla="*/ 813 h 836"/>
                <a:gd name="T36" fmla="*/ 1 w 72"/>
                <a:gd name="T37" fmla="*/ 806 h 836"/>
                <a:gd name="T38" fmla="*/ 0 w 72"/>
                <a:gd name="T39" fmla="*/ 799 h 836"/>
                <a:gd name="T40" fmla="*/ 0 w 72"/>
                <a:gd name="T41" fmla="*/ 36 h 836"/>
                <a:gd name="T42" fmla="*/ 0 w 72"/>
                <a:gd name="T43" fmla="*/ 36 h 836"/>
                <a:gd name="T44" fmla="*/ 1 w 72"/>
                <a:gd name="T45" fmla="*/ 30 h 836"/>
                <a:gd name="T46" fmla="*/ 3 w 72"/>
                <a:gd name="T47" fmla="*/ 23 h 836"/>
                <a:gd name="T48" fmla="*/ 7 w 72"/>
                <a:gd name="T49" fmla="*/ 16 h 836"/>
                <a:gd name="T50" fmla="*/ 10 w 72"/>
                <a:gd name="T51" fmla="*/ 11 h 836"/>
                <a:gd name="T52" fmla="*/ 17 w 72"/>
                <a:gd name="T53" fmla="*/ 7 h 836"/>
                <a:gd name="T54" fmla="*/ 22 w 72"/>
                <a:gd name="T55" fmla="*/ 4 h 836"/>
                <a:gd name="T56" fmla="*/ 29 w 72"/>
                <a:gd name="T57" fmla="*/ 2 h 836"/>
                <a:gd name="T58" fmla="*/ 36 w 72"/>
                <a:gd name="T59" fmla="*/ 0 h 836"/>
                <a:gd name="T60" fmla="*/ 36 w 72"/>
                <a:gd name="T61" fmla="*/ 0 h 836"/>
                <a:gd name="T62" fmla="*/ 43 w 72"/>
                <a:gd name="T63" fmla="*/ 2 h 836"/>
                <a:gd name="T64" fmla="*/ 50 w 72"/>
                <a:gd name="T65" fmla="*/ 4 h 836"/>
                <a:gd name="T66" fmla="*/ 57 w 72"/>
                <a:gd name="T67" fmla="*/ 7 h 836"/>
                <a:gd name="T68" fmla="*/ 62 w 72"/>
                <a:gd name="T69" fmla="*/ 11 h 836"/>
                <a:gd name="T70" fmla="*/ 67 w 72"/>
                <a:gd name="T71" fmla="*/ 16 h 836"/>
                <a:gd name="T72" fmla="*/ 70 w 72"/>
                <a:gd name="T73" fmla="*/ 23 h 836"/>
                <a:gd name="T74" fmla="*/ 72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2" y="806"/>
                  </a:lnTo>
                  <a:lnTo>
                    <a:pt x="70" y="813"/>
                  </a:lnTo>
                  <a:lnTo>
                    <a:pt x="67" y="820"/>
                  </a:lnTo>
                  <a:lnTo>
                    <a:pt x="62" y="825"/>
                  </a:lnTo>
                  <a:lnTo>
                    <a:pt x="57" y="830"/>
                  </a:lnTo>
                  <a:lnTo>
                    <a:pt x="50" y="834"/>
                  </a:lnTo>
                  <a:lnTo>
                    <a:pt x="43" y="836"/>
                  </a:lnTo>
                  <a:lnTo>
                    <a:pt x="36" y="836"/>
                  </a:lnTo>
                  <a:lnTo>
                    <a:pt x="36" y="836"/>
                  </a:lnTo>
                  <a:lnTo>
                    <a:pt x="29" y="836"/>
                  </a:lnTo>
                  <a:lnTo>
                    <a:pt x="22" y="834"/>
                  </a:lnTo>
                  <a:lnTo>
                    <a:pt x="17" y="830"/>
                  </a:lnTo>
                  <a:lnTo>
                    <a:pt x="10" y="825"/>
                  </a:lnTo>
                  <a:lnTo>
                    <a:pt x="7" y="820"/>
                  </a:lnTo>
                  <a:lnTo>
                    <a:pt x="3" y="813"/>
                  </a:lnTo>
                  <a:lnTo>
                    <a:pt x="1" y="806"/>
                  </a:lnTo>
                  <a:lnTo>
                    <a:pt x="0" y="799"/>
                  </a:lnTo>
                  <a:lnTo>
                    <a:pt x="0" y="36"/>
                  </a:lnTo>
                  <a:lnTo>
                    <a:pt x="0" y="36"/>
                  </a:lnTo>
                  <a:lnTo>
                    <a:pt x="1" y="30"/>
                  </a:lnTo>
                  <a:lnTo>
                    <a:pt x="3" y="23"/>
                  </a:lnTo>
                  <a:lnTo>
                    <a:pt x="7" y="16"/>
                  </a:lnTo>
                  <a:lnTo>
                    <a:pt x="10" y="11"/>
                  </a:lnTo>
                  <a:lnTo>
                    <a:pt x="17" y="7"/>
                  </a:lnTo>
                  <a:lnTo>
                    <a:pt x="22" y="4"/>
                  </a:lnTo>
                  <a:lnTo>
                    <a:pt x="29" y="2"/>
                  </a:lnTo>
                  <a:lnTo>
                    <a:pt x="36" y="0"/>
                  </a:lnTo>
                  <a:lnTo>
                    <a:pt x="36" y="0"/>
                  </a:lnTo>
                  <a:lnTo>
                    <a:pt x="43" y="2"/>
                  </a:lnTo>
                  <a:lnTo>
                    <a:pt x="50" y="4"/>
                  </a:lnTo>
                  <a:lnTo>
                    <a:pt x="57" y="7"/>
                  </a:lnTo>
                  <a:lnTo>
                    <a:pt x="62" y="11"/>
                  </a:lnTo>
                  <a:lnTo>
                    <a:pt x="67" y="16"/>
                  </a:lnTo>
                  <a:lnTo>
                    <a:pt x="70" y="23"/>
                  </a:lnTo>
                  <a:lnTo>
                    <a:pt x="72" y="30"/>
                  </a:lnTo>
                  <a:lnTo>
                    <a:pt x="72" y="3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11" name="Freeform 68">
              <a:extLst>
                <a:ext uri="{FF2B5EF4-FFF2-40B4-BE49-F238E27FC236}">
                  <a16:creationId xmlns:a16="http://schemas.microsoft.com/office/drawing/2014/main" id="{2D71825A-2429-43FB-A8B7-B4B77577AFA9}"/>
                </a:ext>
              </a:extLst>
            </p:cNvPr>
            <p:cNvSpPr>
              <a:spLocks/>
            </p:cNvSpPr>
            <p:nvPr/>
          </p:nvSpPr>
          <p:spPr bwMode="auto">
            <a:xfrm>
              <a:off x="5130372" y="-152920"/>
              <a:ext cx="40124" cy="465159"/>
            </a:xfrm>
            <a:custGeom>
              <a:avLst/>
              <a:gdLst>
                <a:gd name="T0" fmla="*/ 72 w 72"/>
                <a:gd name="T1" fmla="*/ 36 h 836"/>
                <a:gd name="T2" fmla="*/ 72 w 72"/>
                <a:gd name="T3" fmla="*/ 799 h 836"/>
                <a:gd name="T4" fmla="*/ 72 w 72"/>
                <a:gd name="T5" fmla="*/ 799 h 836"/>
                <a:gd name="T6" fmla="*/ 72 w 72"/>
                <a:gd name="T7" fmla="*/ 806 h 836"/>
                <a:gd name="T8" fmla="*/ 70 w 72"/>
                <a:gd name="T9" fmla="*/ 813 h 836"/>
                <a:gd name="T10" fmla="*/ 67 w 72"/>
                <a:gd name="T11" fmla="*/ 820 h 836"/>
                <a:gd name="T12" fmla="*/ 62 w 72"/>
                <a:gd name="T13" fmla="*/ 825 h 836"/>
                <a:gd name="T14" fmla="*/ 57 w 72"/>
                <a:gd name="T15" fmla="*/ 830 h 836"/>
                <a:gd name="T16" fmla="*/ 50 w 72"/>
                <a:gd name="T17" fmla="*/ 834 h 836"/>
                <a:gd name="T18" fmla="*/ 43 w 72"/>
                <a:gd name="T19" fmla="*/ 836 h 836"/>
                <a:gd name="T20" fmla="*/ 36 w 72"/>
                <a:gd name="T21" fmla="*/ 836 h 836"/>
                <a:gd name="T22" fmla="*/ 36 w 72"/>
                <a:gd name="T23" fmla="*/ 836 h 836"/>
                <a:gd name="T24" fmla="*/ 29 w 72"/>
                <a:gd name="T25" fmla="*/ 836 h 836"/>
                <a:gd name="T26" fmla="*/ 22 w 72"/>
                <a:gd name="T27" fmla="*/ 834 h 836"/>
                <a:gd name="T28" fmla="*/ 17 w 72"/>
                <a:gd name="T29" fmla="*/ 830 h 836"/>
                <a:gd name="T30" fmla="*/ 10 w 72"/>
                <a:gd name="T31" fmla="*/ 825 h 836"/>
                <a:gd name="T32" fmla="*/ 7 w 72"/>
                <a:gd name="T33" fmla="*/ 820 h 836"/>
                <a:gd name="T34" fmla="*/ 3 w 72"/>
                <a:gd name="T35" fmla="*/ 813 h 836"/>
                <a:gd name="T36" fmla="*/ 1 w 72"/>
                <a:gd name="T37" fmla="*/ 806 h 836"/>
                <a:gd name="T38" fmla="*/ 0 w 72"/>
                <a:gd name="T39" fmla="*/ 799 h 836"/>
                <a:gd name="T40" fmla="*/ 0 w 72"/>
                <a:gd name="T41" fmla="*/ 36 h 836"/>
                <a:gd name="T42" fmla="*/ 0 w 72"/>
                <a:gd name="T43" fmla="*/ 36 h 836"/>
                <a:gd name="T44" fmla="*/ 1 w 72"/>
                <a:gd name="T45" fmla="*/ 30 h 836"/>
                <a:gd name="T46" fmla="*/ 3 w 72"/>
                <a:gd name="T47" fmla="*/ 23 h 836"/>
                <a:gd name="T48" fmla="*/ 7 w 72"/>
                <a:gd name="T49" fmla="*/ 16 h 836"/>
                <a:gd name="T50" fmla="*/ 10 w 72"/>
                <a:gd name="T51" fmla="*/ 11 h 836"/>
                <a:gd name="T52" fmla="*/ 17 w 72"/>
                <a:gd name="T53" fmla="*/ 7 h 836"/>
                <a:gd name="T54" fmla="*/ 22 w 72"/>
                <a:gd name="T55" fmla="*/ 4 h 836"/>
                <a:gd name="T56" fmla="*/ 29 w 72"/>
                <a:gd name="T57" fmla="*/ 2 h 836"/>
                <a:gd name="T58" fmla="*/ 36 w 72"/>
                <a:gd name="T59" fmla="*/ 0 h 836"/>
                <a:gd name="T60" fmla="*/ 36 w 72"/>
                <a:gd name="T61" fmla="*/ 0 h 836"/>
                <a:gd name="T62" fmla="*/ 43 w 72"/>
                <a:gd name="T63" fmla="*/ 2 h 836"/>
                <a:gd name="T64" fmla="*/ 50 w 72"/>
                <a:gd name="T65" fmla="*/ 4 h 836"/>
                <a:gd name="T66" fmla="*/ 57 w 72"/>
                <a:gd name="T67" fmla="*/ 7 h 836"/>
                <a:gd name="T68" fmla="*/ 62 w 72"/>
                <a:gd name="T69" fmla="*/ 11 h 836"/>
                <a:gd name="T70" fmla="*/ 67 w 72"/>
                <a:gd name="T71" fmla="*/ 16 h 836"/>
                <a:gd name="T72" fmla="*/ 70 w 72"/>
                <a:gd name="T73" fmla="*/ 23 h 836"/>
                <a:gd name="T74" fmla="*/ 72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2" y="806"/>
                  </a:lnTo>
                  <a:lnTo>
                    <a:pt x="70" y="813"/>
                  </a:lnTo>
                  <a:lnTo>
                    <a:pt x="67" y="820"/>
                  </a:lnTo>
                  <a:lnTo>
                    <a:pt x="62" y="825"/>
                  </a:lnTo>
                  <a:lnTo>
                    <a:pt x="57" y="830"/>
                  </a:lnTo>
                  <a:lnTo>
                    <a:pt x="50" y="834"/>
                  </a:lnTo>
                  <a:lnTo>
                    <a:pt x="43" y="836"/>
                  </a:lnTo>
                  <a:lnTo>
                    <a:pt x="36" y="836"/>
                  </a:lnTo>
                  <a:lnTo>
                    <a:pt x="36" y="836"/>
                  </a:lnTo>
                  <a:lnTo>
                    <a:pt x="29" y="836"/>
                  </a:lnTo>
                  <a:lnTo>
                    <a:pt x="22" y="834"/>
                  </a:lnTo>
                  <a:lnTo>
                    <a:pt x="17" y="830"/>
                  </a:lnTo>
                  <a:lnTo>
                    <a:pt x="10" y="825"/>
                  </a:lnTo>
                  <a:lnTo>
                    <a:pt x="7" y="820"/>
                  </a:lnTo>
                  <a:lnTo>
                    <a:pt x="3" y="813"/>
                  </a:lnTo>
                  <a:lnTo>
                    <a:pt x="1" y="806"/>
                  </a:lnTo>
                  <a:lnTo>
                    <a:pt x="0" y="799"/>
                  </a:lnTo>
                  <a:lnTo>
                    <a:pt x="0" y="36"/>
                  </a:lnTo>
                  <a:lnTo>
                    <a:pt x="0" y="36"/>
                  </a:lnTo>
                  <a:lnTo>
                    <a:pt x="1" y="30"/>
                  </a:lnTo>
                  <a:lnTo>
                    <a:pt x="3" y="23"/>
                  </a:lnTo>
                  <a:lnTo>
                    <a:pt x="7" y="16"/>
                  </a:lnTo>
                  <a:lnTo>
                    <a:pt x="10" y="11"/>
                  </a:lnTo>
                  <a:lnTo>
                    <a:pt x="17" y="7"/>
                  </a:lnTo>
                  <a:lnTo>
                    <a:pt x="22" y="4"/>
                  </a:lnTo>
                  <a:lnTo>
                    <a:pt x="29" y="2"/>
                  </a:lnTo>
                  <a:lnTo>
                    <a:pt x="36" y="0"/>
                  </a:lnTo>
                  <a:lnTo>
                    <a:pt x="36" y="0"/>
                  </a:lnTo>
                  <a:lnTo>
                    <a:pt x="43" y="2"/>
                  </a:lnTo>
                  <a:lnTo>
                    <a:pt x="50" y="4"/>
                  </a:lnTo>
                  <a:lnTo>
                    <a:pt x="57" y="7"/>
                  </a:lnTo>
                  <a:lnTo>
                    <a:pt x="62" y="11"/>
                  </a:lnTo>
                  <a:lnTo>
                    <a:pt x="67" y="16"/>
                  </a:lnTo>
                  <a:lnTo>
                    <a:pt x="70" y="23"/>
                  </a:lnTo>
                  <a:lnTo>
                    <a:pt x="72" y="30"/>
                  </a:lnTo>
                  <a:lnTo>
                    <a:pt x="72" y="36"/>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12" name="Freeform 69">
              <a:extLst>
                <a:ext uri="{FF2B5EF4-FFF2-40B4-BE49-F238E27FC236}">
                  <a16:creationId xmlns:a16="http://schemas.microsoft.com/office/drawing/2014/main" id="{DEDA5ED0-B30B-490B-8A6D-FA815FA597F1}"/>
                </a:ext>
              </a:extLst>
            </p:cNvPr>
            <p:cNvSpPr>
              <a:spLocks/>
            </p:cNvSpPr>
            <p:nvPr/>
          </p:nvSpPr>
          <p:spPr bwMode="auto">
            <a:xfrm>
              <a:off x="5274709" y="-152920"/>
              <a:ext cx="40682" cy="465159"/>
            </a:xfrm>
            <a:custGeom>
              <a:avLst/>
              <a:gdLst>
                <a:gd name="T0" fmla="*/ 73 w 73"/>
                <a:gd name="T1" fmla="*/ 36 h 836"/>
                <a:gd name="T2" fmla="*/ 73 w 73"/>
                <a:gd name="T3" fmla="*/ 799 h 836"/>
                <a:gd name="T4" fmla="*/ 73 w 73"/>
                <a:gd name="T5" fmla="*/ 799 h 836"/>
                <a:gd name="T6" fmla="*/ 71 w 73"/>
                <a:gd name="T7" fmla="*/ 806 h 836"/>
                <a:gd name="T8" fmla="*/ 69 w 73"/>
                <a:gd name="T9" fmla="*/ 813 h 836"/>
                <a:gd name="T10" fmla="*/ 66 w 73"/>
                <a:gd name="T11" fmla="*/ 820 h 836"/>
                <a:gd name="T12" fmla="*/ 60 w 73"/>
                <a:gd name="T13" fmla="*/ 825 h 836"/>
                <a:gd name="T14" fmla="*/ 55 w 73"/>
                <a:gd name="T15" fmla="*/ 830 h 836"/>
                <a:gd name="T16" fmla="*/ 50 w 73"/>
                <a:gd name="T17" fmla="*/ 834 h 836"/>
                <a:gd name="T18" fmla="*/ 43 w 73"/>
                <a:gd name="T19" fmla="*/ 836 h 836"/>
                <a:gd name="T20" fmla="*/ 36 w 73"/>
                <a:gd name="T21" fmla="*/ 836 h 836"/>
                <a:gd name="T22" fmla="*/ 36 w 73"/>
                <a:gd name="T23" fmla="*/ 836 h 836"/>
                <a:gd name="T24" fmla="*/ 28 w 73"/>
                <a:gd name="T25" fmla="*/ 836 h 836"/>
                <a:gd name="T26" fmla="*/ 21 w 73"/>
                <a:gd name="T27" fmla="*/ 834 h 836"/>
                <a:gd name="T28" fmla="*/ 15 w 73"/>
                <a:gd name="T29" fmla="*/ 830 h 836"/>
                <a:gd name="T30" fmla="*/ 10 w 73"/>
                <a:gd name="T31" fmla="*/ 825 h 836"/>
                <a:gd name="T32" fmla="*/ 5 w 73"/>
                <a:gd name="T33" fmla="*/ 820 h 836"/>
                <a:gd name="T34" fmla="*/ 2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2 w 73"/>
                <a:gd name="T47" fmla="*/ 23 h 836"/>
                <a:gd name="T48" fmla="*/ 5 w 73"/>
                <a:gd name="T49" fmla="*/ 16 h 836"/>
                <a:gd name="T50" fmla="*/ 10 w 73"/>
                <a:gd name="T51" fmla="*/ 11 h 836"/>
                <a:gd name="T52" fmla="*/ 15 w 73"/>
                <a:gd name="T53" fmla="*/ 7 h 836"/>
                <a:gd name="T54" fmla="*/ 21 w 73"/>
                <a:gd name="T55" fmla="*/ 4 h 836"/>
                <a:gd name="T56" fmla="*/ 28 w 73"/>
                <a:gd name="T57" fmla="*/ 2 h 836"/>
                <a:gd name="T58" fmla="*/ 36 w 73"/>
                <a:gd name="T59" fmla="*/ 0 h 836"/>
                <a:gd name="T60" fmla="*/ 36 w 73"/>
                <a:gd name="T61" fmla="*/ 0 h 836"/>
                <a:gd name="T62" fmla="*/ 43 w 73"/>
                <a:gd name="T63" fmla="*/ 2 h 836"/>
                <a:gd name="T64" fmla="*/ 50 w 73"/>
                <a:gd name="T65" fmla="*/ 4 h 836"/>
                <a:gd name="T66" fmla="*/ 55 w 73"/>
                <a:gd name="T67" fmla="*/ 7 h 836"/>
                <a:gd name="T68" fmla="*/ 60 w 73"/>
                <a:gd name="T69" fmla="*/ 11 h 836"/>
                <a:gd name="T70" fmla="*/ 66 w 73"/>
                <a:gd name="T71" fmla="*/ 16 h 836"/>
                <a:gd name="T72" fmla="*/ 69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69" y="813"/>
                  </a:lnTo>
                  <a:lnTo>
                    <a:pt x="66" y="820"/>
                  </a:lnTo>
                  <a:lnTo>
                    <a:pt x="60" y="825"/>
                  </a:lnTo>
                  <a:lnTo>
                    <a:pt x="55" y="830"/>
                  </a:lnTo>
                  <a:lnTo>
                    <a:pt x="50" y="834"/>
                  </a:lnTo>
                  <a:lnTo>
                    <a:pt x="43" y="836"/>
                  </a:lnTo>
                  <a:lnTo>
                    <a:pt x="36" y="836"/>
                  </a:lnTo>
                  <a:lnTo>
                    <a:pt x="36" y="836"/>
                  </a:lnTo>
                  <a:lnTo>
                    <a:pt x="28" y="836"/>
                  </a:lnTo>
                  <a:lnTo>
                    <a:pt x="21" y="834"/>
                  </a:lnTo>
                  <a:lnTo>
                    <a:pt x="15" y="830"/>
                  </a:lnTo>
                  <a:lnTo>
                    <a:pt x="10" y="825"/>
                  </a:lnTo>
                  <a:lnTo>
                    <a:pt x="5" y="820"/>
                  </a:lnTo>
                  <a:lnTo>
                    <a:pt x="2" y="813"/>
                  </a:lnTo>
                  <a:lnTo>
                    <a:pt x="0" y="806"/>
                  </a:lnTo>
                  <a:lnTo>
                    <a:pt x="0" y="799"/>
                  </a:lnTo>
                  <a:lnTo>
                    <a:pt x="0" y="36"/>
                  </a:lnTo>
                  <a:lnTo>
                    <a:pt x="0" y="36"/>
                  </a:lnTo>
                  <a:lnTo>
                    <a:pt x="0" y="30"/>
                  </a:lnTo>
                  <a:lnTo>
                    <a:pt x="2" y="23"/>
                  </a:lnTo>
                  <a:lnTo>
                    <a:pt x="5" y="16"/>
                  </a:lnTo>
                  <a:lnTo>
                    <a:pt x="10" y="11"/>
                  </a:lnTo>
                  <a:lnTo>
                    <a:pt x="15" y="7"/>
                  </a:lnTo>
                  <a:lnTo>
                    <a:pt x="21" y="4"/>
                  </a:lnTo>
                  <a:lnTo>
                    <a:pt x="28" y="2"/>
                  </a:lnTo>
                  <a:lnTo>
                    <a:pt x="36" y="0"/>
                  </a:lnTo>
                  <a:lnTo>
                    <a:pt x="36" y="0"/>
                  </a:lnTo>
                  <a:lnTo>
                    <a:pt x="43" y="2"/>
                  </a:lnTo>
                  <a:lnTo>
                    <a:pt x="50" y="4"/>
                  </a:lnTo>
                  <a:lnTo>
                    <a:pt x="55" y="7"/>
                  </a:lnTo>
                  <a:lnTo>
                    <a:pt x="60" y="11"/>
                  </a:lnTo>
                  <a:lnTo>
                    <a:pt x="66" y="16"/>
                  </a:lnTo>
                  <a:lnTo>
                    <a:pt x="69" y="23"/>
                  </a:lnTo>
                  <a:lnTo>
                    <a:pt x="71" y="30"/>
                  </a:lnTo>
                  <a:lnTo>
                    <a:pt x="73" y="3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13" name="Freeform 70">
              <a:extLst>
                <a:ext uri="{FF2B5EF4-FFF2-40B4-BE49-F238E27FC236}">
                  <a16:creationId xmlns:a16="http://schemas.microsoft.com/office/drawing/2014/main" id="{89C8CD7D-7700-4583-893D-BBB61B4A877C}"/>
                </a:ext>
              </a:extLst>
            </p:cNvPr>
            <p:cNvSpPr>
              <a:spLocks/>
            </p:cNvSpPr>
            <p:nvPr/>
          </p:nvSpPr>
          <p:spPr bwMode="auto">
            <a:xfrm>
              <a:off x="5274709" y="-152920"/>
              <a:ext cx="40682" cy="465159"/>
            </a:xfrm>
            <a:custGeom>
              <a:avLst/>
              <a:gdLst>
                <a:gd name="T0" fmla="*/ 73 w 73"/>
                <a:gd name="T1" fmla="*/ 36 h 836"/>
                <a:gd name="T2" fmla="*/ 73 w 73"/>
                <a:gd name="T3" fmla="*/ 799 h 836"/>
                <a:gd name="T4" fmla="*/ 73 w 73"/>
                <a:gd name="T5" fmla="*/ 799 h 836"/>
                <a:gd name="T6" fmla="*/ 71 w 73"/>
                <a:gd name="T7" fmla="*/ 806 h 836"/>
                <a:gd name="T8" fmla="*/ 69 w 73"/>
                <a:gd name="T9" fmla="*/ 813 h 836"/>
                <a:gd name="T10" fmla="*/ 66 w 73"/>
                <a:gd name="T11" fmla="*/ 820 h 836"/>
                <a:gd name="T12" fmla="*/ 60 w 73"/>
                <a:gd name="T13" fmla="*/ 825 h 836"/>
                <a:gd name="T14" fmla="*/ 55 w 73"/>
                <a:gd name="T15" fmla="*/ 830 h 836"/>
                <a:gd name="T16" fmla="*/ 50 w 73"/>
                <a:gd name="T17" fmla="*/ 834 h 836"/>
                <a:gd name="T18" fmla="*/ 43 w 73"/>
                <a:gd name="T19" fmla="*/ 836 h 836"/>
                <a:gd name="T20" fmla="*/ 36 w 73"/>
                <a:gd name="T21" fmla="*/ 836 h 836"/>
                <a:gd name="T22" fmla="*/ 36 w 73"/>
                <a:gd name="T23" fmla="*/ 836 h 836"/>
                <a:gd name="T24" fmla="*/ 28 w 73"/>
                <a:gd name="T25" fmla="*/ 836 h 836"/>
                <a:gd name="T26" fmla="*/ 21 w 73"/>
                <a:gd name="T27" fmla="*/ 834 h 836"/>
                <a:gd name="T28" fmla="*/ 15 w 73"/>
                <a:gd name="T29" fmla="*/ 830 h 836"/>
                <a:gd name="T30" fmla="*/ 10 w 73"/>
                <a:gd name="T31" fmla="*/ 825 h 836"/>
                <a:gd name="T32" fmla="*/ 5 w 73"/>
                <a:gd name="T33" fmla="*/ 820 h 836"/>
                <a:gd name="T34" fmla="*/ 2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2 w 73"/>
                <a:gd name="T47" fmla="*/ 23 h 836"/>
                <a:gd name="T48" fmla="*/ 5 w 73"/>
                <a:gd name="T49" fmla="*/ 16 h 836"/>
                <a:gd name="T50" fmla="*/ 10 w 73"/>
                <a:gd name="T51" fmla="*/ 11 h 836"/>
                <a:gd name="T52" fmla="*/ 15 w 73"/>
                <a:gd name="T53" fmla="*/ 7 h 836"/>
                <a:gd name="T54" fmla="*/ 21 w 73"/>
                <a:gd name="T55" fmla="*/ 4 h 836"/>
                <a:gd name="T56" fmla="*/ 28 w 73"/>
                <a:gd name="T57" fmla="*/ 2 h 836"/>
                <a:gd name="T58" fmla="*/ 36 w 73"/>
                <a:gd name="T59" fmla="*/ 0 h 836"/>
                <a:gd name="T60" fmla="*/ 36 w 73"/>
                <a:gd name="T61" fmla="*/ 0 h 836"/>
                <a:gd name="T62" fmla="*/ 43 w 73"/>
                <a:gd name="T63" fmla="*/ 2 h 836"/>
                <a:gd name="T64" fmla="*/ 50 w 73"/>
                <a:gd name="T65" fmla="*/ 4 h 836"/>
                <a:gd name="T66" fmla="*/ 55 w 73"/>
                <a:gd name="T67" fmla="*/ 7 h 836"/>
                <a:gd name="T68" fmla="*/ 60 w 73"/>
                <a:gd name="T69" fmla="*/ 11 h 836"/>
                <a:gd name="T70" fmla="*/ 66 w 73"/>
                <a:gd name="T71" fmla="*/ 16 h 836"/>
                <a:gd name="T72" fmla="*/ 69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69" y="813"/>
                  </a:lnTo>
                  <a:lnTo>
                    <a:pt x="66" y="820"/>
                  </a:lnTo>
                  <a:lnTo>
                    <a:pt x="60" y="825"/>
                  </a:lnTo>
                  <a:lnTo>
                    <a:pt x="55" y="830"/>
                  </a:lnTo>
                  <a:lnTo>
                    <a:pt x="50" y="834"/>
                  </a:lnTo>
                  <a:lnTo>
                    <a:pt x="43" y="836"/>
                  </a:lnTo>
                  <a:lnTo>
                    <a:pt x="36" y="836"/>
                  </a:lnTo>
                  <a:lnTo>
                    <a:pt x="36" y="836"/>
                  </a:lnTo>
                  <a:lnTo>
                    <a:pt x="28" y="836"/>
                  </a:lnTo>
                  <a:lnTo>
                    <a:pt x="21" y="834"/>
                  </a:lnTo>
                  <a:lnTo>
                    <a:pt x="15" y="830"/>
                  </a:lnTo>
                  <a:lnTo>
                    <a:pt x="10" y="825"/>
                  </a:lnTo>
                  <a:lnTo>
                    <a:pt x="5" y="820"/>
                  </a:lnTo>
                  <a:lnTo>
                    <a:pt x="2" y="813"/>
                  </a:lnTo>
                  <a:lnTo>
                    <a:pt x="0" y="806"/>
                  </a:lnTo>
                  <a:lnTo>
                    <a:pt x="0" y="799"/>
                  </a:lnTo>
                  <a:lnTo>
                    <a:pt x="0" y="36"/>
                  </a:lnTo>
                  <a:lnTo>
                    <a:pt x="0" y="36"/>
                  </a:lnTo>
                  <a:lnTo>
                    <a:pt x="0" y="30"/>
                  </a:lnTo>
                  <a:lnTo>
                    <a:pt x="2" y="23"/>
                  </a:lnTo>
                  <a:lnTo>
                    <a:pt x="5" y="16"/>
                  </a:lnTo>
                  <a:lnTo>
                    <a:pt x="10" y="11"/>
                  </a:lnTo>
                  <a:lnTo>
                    <a:pt x="15" y="7"/>
                  </a:lnTo>
                  <a:lnTo>
                    <a:pt x="21" y="4"/>
                  </a:lnTo>
                  <a:lnTo>
                    <a:pt x="28" y="2"/>
                  </a:lnTo>
                  <a:lnTo>
                    <a:pt x="36" y="0"/>
                  </a:lnTo>
                  <a:lnTo>
                    <a:pt x="36" y="0"/>
                  </a:lnTo>
                  <a:lnTo>
                    <a:pt x="43" y="2"/>
                  </a:lnTo>
                  <a:lnTo>
                    <a:pt x="50" y="4"/>
                  </a:lnTo>
                  <a:lnTo>
                    <a:pt x="55" y="7"/>
                  </a:lnTo>
                  <a:lnTo>
                    <a:pt x="60" y="11"/>
                  </a:lnTo>
                  <a:lnTo>
                    <a:pt x="66" y="16"/>
                  </a:lnTo>
                  <a:lnTo>
                    <a:pt x="69" y="23"/>
                  </a:lnTo>
                  <a:lnTo>
                    <a:pt x="71" y="30"/>
                  </a:lnTo>
                  <a:lnTo>
                    <a:pt x="73" y="36"/>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14" name="Freeform 71">
              <a:extLst>
                <a:ext uri="{FF2B5EF4-FFF2-40B4-BE49-F238E27FC236}">
                  <a16:creationId xmlns:a16="http://schemas.microsoft.com/office/drawing/2014/main" id="{05CCCC0D-FDB6-4DCB-A743-65E55D2E6C96}"/>
                </a:ext>
              </a:extLst>
            </p:cNvPr>
            <p:cNvSpPr>
              <a:spLocks/>
            </p:cNvSpPr>
            <p:nvPr/>
          </p:nvSpPr>
          <p:spPr bwMode="auto">
            <a:xfrm>
              <a:off x="5417931" y="13447"/>
              <a:ext cx="40682" cy="132982"/>
            </a:xfrm>
            <a:custGeom>
              <a:avLst/>
              <a:gdLst>
                <a:gd name="T0" fmla="*/ 73 w 73"/>
                <a:gd name="T1" fmla="*/ 37 h 239"/>
                <a:gd name="T2" fmla="*/ 73 w 73"/>
                <a:gd name="T3" fmla="*/ 203 h 239"/>
                <a:gd name="T4" fmla="*/ 73 w 73"/>
                <a:gd name="T5" fmla="*/ 203 h 239"/>
                <a:gd name="T6" fmla="*/ 71 w 73"/>
                <a:gd name="T7" fmla="*/ 210 h 239"/>
                <a:gd name="T8" fmla="*/ 70 w 73"/>
                <a:gd name="T9" fmla="*/ 217 h 239"/>
                <a:gd name="T10" fmla="*/ 66 w 73"/>
                <a:gd name="T11" fmla="*/ 222 h 239"/>
                <a:gd name="T12" fmla="*/ 63 w 73"/>
                <a:gd name="T13" fmla="*/ 227 h 239"/>
                <a:gd name="T14" fmla="*/ 58 w 73"/>
                <a:gd name="T15" fmla="*/ 232 h 239"/>
                <a:gd name="T16" fmla="*/ 51 w 73"/>
                <a:gd name="T17" fmla="*/ 236 h 239"/>
                <a:gd name="T18" fmla="*/ 44 w 73"/>
                <a:gd name="T19" fmla="*/ 237 h 239"/>
                <a:gd name="T20" fmla="*/ 37 w 73"/>
                <a:gd name="T21" fmla="*/ 239 h 239"/>
                <a:gd name="T22" fmla="*/ 37 w 73"/>
                <a:gd name="T23" fmla="*/ 239 h 239"/>
                <a:gd name="T24" fmla="*/ 30 w 73"/>
                <a:gd name="T25" fmla="*/ 237 h 239"/>
                <a:gd name="T26" fmla="*/ 23 w 73"/>
                <a:gd name="T27" fmla="*/ 236 h 239"/>
                <a:gd name="T28" fmla="*/ 16 w 73"/>
                <a:gd name="T29" fmla="*/ 232 h 239"/>
                <a:gd name="T30" fmla="*/ 11 w 73"/>
                <a:gd name="T31" fmla="*/ 227 h 239"/>
                <a:gd name="T32" fmla="*/ 6 w 73"/>
                <a:gd name="T33" fmla="*/ 222 h 239"/>
                <a:gd name="T34" fmla="*/ 4 w 73"/>
                <a:gd name="T35" fmla="*/ 217 h 239"/>
                <a:gd name="T36" fmla="*/ 0 w 73"/>
                <a:gd name="T37" fmla="*/ 210 h 239"/>
                <a:gd name="T38" fmla="*/ 0 w 73"/>
                <a:gd name="T39" fmla="*/ 203 h 239"/>
                <a:gd name="T40" fmla="*/ 0 w 73"/>
                <a:gd name="T41" fmla="*/ 37 h 239"/>
                <a:gd name="T42" fmla="*/ 0 w 73"/>
                <a:gd name="T43" fmla="*/ 37 h 239"/>
                <a:gd name="T44" fmla="*/ 0 w 73"/>
                <a:gd name="T45" fmla="*/ 30 h 239"/>
                <a:gd name="T46" fmla="*/ 4 w 73"/>
                <a:gd name="T47" fmla="*/ 23 h 239"/>
                <a:gd name="T48" fmla="*/ 6 w 73"/>
                <a:gd name="T49" fmla="*/ 16 h 239"/>
                <a:gd name="T50" fmla="*/ 11 w 73"/>
                <a:gd name="T51" fmla="*/ 11 h 239"/>
                <a:gd name="T52" fmla="*/ 16 w 73"/>
                <a:gd name="T53" fmla="*/ 6 h 239"/>
                <a:gd name="T54" fmla="*/ 23 w 73"/>
                <a:gd name="T55" fmla="*/ 4 h 239"/>
                <a:gd name="T56" fmla="*/ 30 w 73"/>
                <a:gd name="T57" fmla="*/ 0 h 239"/>
                <a:gd name="T58" fmla="*/ 37 w 73"/>
                <a:gd name="T59" fmla="*/ 0 h 239"/>
                <a:gd name="T60" fmla="*/ 37 w 73"/>
                <a:gd name="T61" fmla="*/ 0 h 239"/>
                <a:gd name="T62" fmla="*/ 44 w 73"/>
                <a:gd name="T63" fmla="*/ 0 h 239"/>
                <a:gd name="T64" fmla="*/ 51 w 73"/>
                <a:gd name="T65" fmla="*/ 4 h 239"/>
                <a:gd name="T66" fmla="*/ 58 w 73"/>
                <a:gd name="T67" fmla="*/ 6 h 239"/>
                <a:gd name="T68" fmla="*/ 63 w 73"/>
                <a:gd name="T69" fmla="*/ 11 h 239"/>
                <a:gd name="T70" fmla="*/ 66 w 73"/>
                <a:gd name="T71" fmla="*/ 16 h 239"/>
                <a:gd name="T72" fmla="*/ 70 w 73"/>
                <a:gd name="T73" fmla="*/ 23 h 239"/>
                <a:gd name="T74" fmla="*/ 71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1" y="210"/>
                  </a:lnTo>
                  <a:lnTo>
                    <a:pt x="70" y="217"/>
                  </a:lnTo>
                  <a:lnTo>
                    <a:pt x="66" y="222"/>
                  </a:lnTo>
                  <a:lnTo>
                    <a:pt x="63" y="227"/>
                  </a:lnTo>
                  <a:lnTo>
                    <a:pt x="58" y="232"/>
                  </a:lnTo>
                  <a:lnTo>
                    <a:pt x="51" y="236"/>
                  </a:lnTo>
                  <a:lnTo>
                    <a:pt x="44" y="237"/>
                  </a:lnTo>
                  <a:lnTo>
                    <a:pt x="37" y="239"/>
                  </a:lnTo>
                  <a:lnTo>
                    <a:pt x="37" y="239"/>
                  </a:lnTo>
                  <a:lnTo>
                    <a:pt x="30" y="237"/>
                  </a:lnTo>
                  <a:lnTo>
                    <a:pt x="23" y="236"/>
                  </a:lnTo>
                  <a:lnTo>
                    <a:pt x="16" y="232"/>
                  </a:lnTo>
                  <a:lnTo>
                    <a:pt x="11" y="227"/>
                  </a:lnTo>
                  <a:lnTo>
                    <a:pt x="6" y="222"/>
                  </a:lnTo>
                  <a:lnTo>
                    <a:pt x="4" y="217"/>
                  </a:lnTo>
                  <a:lnTo>
                    <a:pt x="0" y="210"/>
                  </a:lnTo>
                  <a:lnTo>
                    <a:pt x="0" y="203"/>
                  </a:lnTo>
                  <a:lnTo>
                    <a:pt x="0" y="37"/>
                  </a:lnTo>
                  <a:lnTo>
                    <a:pt x="0" y="37"/>
                  </a:lnTo>
                  <a:lnTo>
                    <a:pt x="0" y="30"/>
                  </a:lnTo>
                  <a:lnTo>
                    <a:pt x="4" y="23"/>
                  </a:lnTo>
                  <a:lnTo>
                    <a:pt x="6" y="16"/>
                  </a:lnTo>
                  <a:lnTo>
                    <a:pt x="11" y="11"/>
                  </a:lnTo>
                  <a:lnTo>
                    <a:pt x="16" y="6"/>
                  </a:lnTo>
                  <a:lnTo>
                    <a:pt x="23" y="4"/>
                  </a:lnTo>
                  <a:lnTo>
                    <a:pt x="30" y="0"/>
                  </a:lnTo>
                  <a:lnTo>
                    <a:pt x="37" y="0"/>
                  </a:lnTo>
                  <a:lnTo>
                    <a:pt x="37" y="0"/>
                  </a:lnTo>
                  <a:lnTo>
                    <a:pt x="44" y="0"/>
                  </a:lnTo>
                  <a:lnTo>
                    <a:pt x="51" y="4"/>
                  </a:lnTo>
                  <a:lnTo>
                    <a:pt x="58" y="6"/>
                  </a:lnTo>
                  <a:lnTo>
                    <a:pt x="63" y="11"/>
                  </a:lnTo>
                  <a:lnTo>
                    <a:pt x="66" y="16"/>
                  </a:lnTo>
                  <a:lnTo>
                    <a:pt x="70" y="23"/>
                  </a:lnTo>
                  <a:lnTo>
                    <a:pt x="71" y="30"/>
                  </a:lnTo>
                  <a:lnTo>
                    <a:pt x="73" y="3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15" name="Freeform 72">
              <a:extLst>
                <a:ext uri="{FF2B5EF4-FFF2-40B4-BE49-F238E27FC236}">
                  <a16:creationId xmlns:a16="http://schemas.microsoft.com/office/drawing/2014/main" id="{3D8203D1-AF65-4FCE-AAC4-251AB8928619}"/>
                </a:ext>
              </a:extLst>
            </p:cNvPr>
            <p:cNvSpPr>
              <a:spLocks/>
            </p:cNvSpPr>
            <p:nvPr/>
          </p:nvSpPr>
          <p:spPr bwMode="auto">
            <a:xfrm>
              <a:off x="5417931" y="13447"/>
              <a:ext cx="40682" cy="132982"/>
            </a:xfrm>
            <a:custGeom>
              <a:avLst/>
              <a:gdLst>
                <a:gd name="T0" fmla="*/ 73 w 73"/>
                <a:gd name="T1" fmla="*/ 37 h 239"/>
                <a:gd name="T2" fmla="*/ 73 w 73"/>
                <a:gd name="T3" fmla="*/ 203 h 239"/>
                <a:gd name="T4" fmla="*/ 73 w 73"/>
                <a:gd name="T5" fmla="*/ 203 h 239"/>
                <a:gd name="T6" fmla="*/ 71 w 73"/>
                <a:gd name="T7" fmla="*/ 210 h 239"/>
                <a:gd name="T8" fmla="*/ 70 w 73"/>
                <a:gd name="T9" fmla="*/ 217 h 239"/>
                <a:gd name="T10" fmla="*/ 66 w 73"/>
                <a:gd name="T11" fmla="*/ 222 h 239"/>
                <a:gd name="T12" fmla="*/ 63 w 73"/>
                <a:gd name="T13" fmla="*/ 227 h 239"/>
                <a:gd name="T14" fmla="*/ 58 w 73"/>
                <a:gd name="T15" fmla="*/ 232 h 239"/>
                <a:gd name="T16" fmla="*/ 51 w 73"/>
                <a:gd name="T17" fmla="*/ 236 h 239"/>
                <a:gd name="T18" fmla="*/ 44 w 73"/>
                <a:gd name="T19" fmla="*/ 237 h 239"/>
                <a:gd name="T20" fmla="*/ 37 w 73"/>
                <a:gd name="T21" fmla="*/ 239 h 239"/>
                <a:gd name="T22" fmla="*/ 37 w 73"/>
                <a:gd name="T23" fmla="*/ 239 h 239"/>
                <a:gd name="T24" fmla="*/ 30 w 73"/>
                <a:gd name="T25" fmla="*/ 237 h 239"/>
                <a:gd name="T26" fmla="*/ 23 w 73"/>
                <a:gd name="T27" fmla="*/ 236 h 239"/>
                <a:gd name="T28" fmla="*/ 16 w 73"/>
                <a:gd name="T29" fmla="*/ 232 h 239"/>
                <a:gd name="T30" fmla="*/ 11 w 73"/>
                <a:gd name="T31" fmla="*/ 227 h 239"/>
                <a:gd name="T32" fmla="*/ 6 w 73"/>
                <a:gd name="T33" fmla="*/ 222 h 239"/>
                <a:gd name="T34" fmla="*/ 4 w 73"/>
                <a:gd name="T35" fmla="*/ 217 h 239"/>
                <a:gd name="T36" fmla="*/ 0 w 73"/>
                <a:gd name="T37" fmla="*/ 210 h 239"/>
                <a:gd name="T38" fmla="*/ 0 w 73"/>
                <a:gd name="T39" fmla="*/ 203 h 239"/>
                <a:gd name="T40" fmla="*/ 0 w 73"/>
                <a:gd name="T41" fmla="*/ 37 h 239"/>
                <a:gd name="T42" fmla="*/ 0 w 73"/>
                <a:gd name="T43" fmla="*/ 37 h 239"/>
                <a:gd name="T44" fmla="*/ 0 w 73"/>
                <a:gd name="T45" fmla="*/ 30 h 239"/>
                <a:gd name="T46" fmla="*/ 4 w 73"/>
                <a:gd name="T47" fmla="*/ 23 h 239"/>
                <a:gd name="T48" fmla="*/ 6 w 73"/>
                <a:gd name="T49" fmla="*/ 16 h 239"/>
                <a:gd name="T50" fmla="*/ 11 w 73"/>
                <a:gd name="T51" fmla="*/ 11 h 239"/>
                <a:gd name="T52" fmla="*/ 16 w 73"/>
                <a:gd name="T53" fmla="*/ 6 h 239"/>
                <a:gd name="T54" fmla="*/ 23 w 73"/>
                <a:gd name="T55" fmla="*/ 4 h 239"/>
                <a:gd name="T56" fmla="*/ 30 w 73"/>
                <a:gd name="T57" fmla="*/ 0 h 239"/>
                <a:gd name="T58" fmla="*/ 37 w 73"/>
                <a:gd name="T59" fmla="*/ 0 h 239"/>
                <a:gd name="T60" fmla="*/ 37 w 73"/>
                <a:gd name="T61" fmla="*/ 0 h 239"/>
                <a:gd name="T62" fmla="*/ 44 w 73"/>
                <a:gd name="T63" fmla="*/ 0 h 239"/>
                <a:gd name="T64" fmla="*/ 51 w 73"/>
                <a:gd name="T65" fmla="*/ 4 h 239"/>
                <a:gd name="T66" fmla="*/ 58 w 73"/>
                <a:gd name="T67" fmla="*/ 6 h 239"/>
                <a:gd name="T68" fmla="*/ 63 w 73"/>
                <a:gd name="T69" fmla="*/ 11 h 239"/>
                <a:gd name="T70" fmla="*/ 66 w 73"/>
                <a:gd name="T71" fmla="*/ 16 h 239"/>
                <a:gd name="T72" fmla="*/ 70 w 73"/>
                <a:gd name="T73" fmla="*/ 23 h 239"/>
                <a:gd name="T74" fmla="*/ 71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1" y="210"/>
                  </a:lnTo>
                  <a:lnTo>
                    <a:pt x="70" y="217"/>
                  </a:lnTo>
                  <a:lnTo>
                    <a:pt x="66" y="222"/>
                  </a:lnTo>
                  <a:lnTo>
                    <a:pt x="63" y="227"/>
                  </a:lnTo>
                  <a:lnTo>
                    <a:pt x="58" y="232"/>
                  </a:lnTo>
                  <a:lnTo>
                    <a:pt x="51" y="236"/>
                  </a:lnTo>
                  <a:lnTo>
                    <a:pt x="44" y="237"/>
                  </a:lnTo>
                  <a:lnTo>
                    <a:pt x="37" y="239"/>
                  </a:lnTo>
                  <a:lnTo>
                    <a:pt x="37" y="239"/>
                  </a:lnTo>
                  <a:lnTo>
                    <a:pt x="30" y="237"/>
                  </a:lnTo>
                  <a:lnTo>
                    <a:pt x="23" y="236"/>
                  </a:lnTo>
                  <a:lnTo>
                    <a:pt x="16" y="232"/>
                  </a:lnTo>
                  <a:lnTo>
                    <a:pt x="11" y="227"/>
                  </a:lnTo>
                  <a:lnTo>
                    <a:pt x="6" y="222"/>
                  </a:lnTo>
                  <a:lnTo>
                    <a:pt x="4" y="217"/>
                  </a:lnTo>
                  <a:lnTo>
                    <a:pt x="0" y="210"/>
                  </a:lnTo>
                  <a:lnTo>
                    <a:pt x="0" y="203"/>
                  </a:lnTo>
                  <a:lnTo>
                    <a:pt x="0" y="37"/>
                  </a:lnTo>
                  <a:lnTo>
                    <a:pt x="0" y="37"/>
                  </a:lnTo>
                  <a:lnTo>
                    <a:pt x="0" y="30"/>
                  </a:lnTo>
                  <a:lnTo>
                    <a:pt x="4" y="23"/>
                  </a:lnTo>
                  <a:lnTo>
                    <a:pt x="6" y="16"/>
                  </a:lnTo>
                  <a:lnTo>
                    <a:pt x="11" y="11"/>
                  </a:lnTo>
                  <a:lnTo>
                    <a:pt x="16" y="6"/>
                  </a:lnTo>
                  <a:lnTo>
                    <a:pt x="23" y="4"/>
                  </a:lnTo>
                  <a:lnTo>
                    <a:pt x="30" y="0"/>
                  </a:lnTo>
                  <a:lnTo>
                    <a:pt x="37" y="0"/>
                  </a:lnTo>
                  <a:lnTo>
                    <a:pt x="37" y="0"/>
                  </a:lnTo>
                  <a:lnTo>
                    <a:pt x="44" y="0"/>
                  </a:lnTo>
                  <a:lnTo>
                    <a:pt x="51" y="4"/>
                  </a:lnTo>
                  <a:lnTo>
                    <a:pt x="58" y="6"/>
                  </a:lnTo>
                  <a:lnTo>
                    <a:pt x="63" y="11"/>
                  </a:lnTo>
                  <a:lnTo>
                    <a:pt x="66" y="16"/>
                  </a:lnTo>
                  <a:lnTo>
                    <a:pt x="70" y="23"/>
                  </a:lnTo>
                  <a:lnTo>
                    <a:pt x="71" y="30"/>
                  </a:lnTo>
                  <a:lnTo>
                    <a:pt x="73" y="37"/>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16" name="Freeform 73">
              <a:extLst>
                <a:ext uri="{FF2B5EF4-FFF2-40B4-BE49-F238E27FC236}">
                  <a16:creationId xmlns:a16="http://schemas.microsoft.com/office/drawing/2014/main" id="{49B82E75-D045-4E0F-807C-82FB55B0966D}"/>
                </a:ext>
              </a:extLst>
            </p:cNvPr>
            <p:cNvSpPr>
              <a:spLocks/>
            </p:cNvSpPr>
            <p:nvPr/>
          </p:nvSpPr>
          <p:spPr bwMode="auto">
            <a:xfrm>
              <a:off x="5849828" y="13447"/>
              <a:ext cx="40682" cy="132982"/>
            </a:xfrm>
            <a:custGeom>
              <a:avLst/>
              <a:gdLst>
                <a:gd name="T0" fmla="*/ 73 w 73"/>
                <a:gd name="T1" fmla="*/ 37 h 239"/>
                <a:gd name="T2" fmla="*/ 73 w 73"/>
                <a:gd name="T3" fmla="*/ 203 h 239"/>
                <a:gd name="T4" fmla="*/ 73 w 73"/>
                <a:gd name="T5" fmla="*/ 203 h 239"/>
                <a:gd name="T6" fmla="*/ 71 w 73"/>
                <a:gd name="T7" fmla="*/ 210 h 239"/>
                <a:gd name="T8" fmla="*/ 69 w 73"/>
                <a:gd name="T9" fmla="*/ 217 h 239"/>
                <a:gd name="T10" fmla="*/ 66 w 73"/>
                <a:gd name="T11" fmla="*/ 222 h 239"/>
                <a:gd name="T12" fmla="*/ 62 w 73"/>
                <a:gd name="T13" fmla="*/ 227 h 239"/>
                <a:gd name="T14" fmla="*/ 57 w 73"/>
                <a:gd name="T15" fmla="*/ 232 h 239"/>
                <a:gd name="T16" fmla="*/ 50 w 73"/>
                <a:gd name="T17" fmla="*/ 236 h 239"/>
                <a:gd name="T18" fmla="*/ 43 w 73"/>
                <a:gd name="T19" fmla="*/ 237 h 239"/>
                <a:gd name="T20" fmla="*/ 36 w 73"/>
                <a:gd name="T21" fmla="*/ 239 h 239"/>
                <a:gd name="T22" fmla="*/ 36 w 73"/>
                <a:gd name="T23" fmla="*/ 239 h 239"/>
                <a:gd name="T24" fmla="*/ 29 w 73"/>
                <a:gd name="T25" fmla="*/ 237 h 239"/>
                <a:gd name="T26" fmla="*/ 22 w 73"/>
                <a:gd name="T27" fmla="*/ 236 h 239"/>
                <a:gd name="T28" fmla="*/ 16 w 73"/>
                <a:gd name="T29" fmla="*/ 232 h 239"/>
                <a:gd name="T30" fmla="*/ 10 w 73"/>
                <a:gd name="T31" fmla="*/ 227 h 239"/>
                <a:gd name="T32" fmla="*/ 5 w 73"/>
                <a:gd name="T33" fmla="*/ 222 h 239"/>
                <a:gd name="T34" fmla="*/ 2 w 73"/>
                <a:gd name="T35" fmla="*/ 217 h 239"/>
                <a:gd name="T36" fmla="*/ 0 w 73"/>
                <a:gd name="T37" fmla="*/ 210 h 239"/>
                <a:gd name="T38" fmla="*/ 0 w 73"/>
                <a:gd name="T39" fmla="*/ 203 h 239"/>
                <a:gd name="T40" fmla="*/ 0 w 73"/>
                <a:gd name="T41" fmla="*/ 37 h 239"/>
                <a:gd name="T42" fmla="*/ 0 w 73"/>
                <a:gd name="T43" fmla="*/ 37 h 239"/>
                <a:gd name="T44" fmla="*/ 0 w 73"/>
                <a:gd name="T45" fmla="*/ 30 h 239"/>
                <a:gd name="T46" fmla="*/ 2 w 73"/>
                <a:gd name="T47" fmla="*/ 23 h 239"/>
                <a:gd name="T48" fmla="*/ 5 w 73"/>
                <a:gd name="T49" fmla="*/ 16 h 239"/>
                <a:gd name="T50" fmla="*/ 10 w 73"/>
                <a:gd name="T51" fmla="*/ 11 h 239"/>
                <a:gd name="T52" fmla="*/ 16 w 73"/>
                <a:gd name="T53" fmla="*/ 6 h 239"/>
                <a:gd name="T54" fmla="*/ 22 w 73"/>
                <a:gd name="T55" fmla="*/ 4 h 239"/>
                <a:gd name="T56" fmla="*/ 29 w 73"/>
                <a:gd name="T57" fmla="*/ 0 h 239"/>
                <a:gd name="T58" fmla="*/ 36 w 73"/>
                <a:gd name="T59" fmla="*/ 0 h 239"/>
                <a:gd name="T60" fmla="*/ 36 w 73"/>
                <a:gd name="T61" fmla="*/ 0 h 239"/>
                <a:gd name="T62" fmla="*/ 43 w 73"/>
                <a:gd name="T63" fmla="*/ 0 h 239"/>
                <a:gd name="T64" fmla="*/ 50 w 73"/>
                <a:gd name="T65" fmla="*/ 4 h 239"/>
                <a:gd name="T66" fmla="*/ 57 w 73"/>
                <a:gd name="T67" fmla="*/ 6 h 239"/>
                <a:gd name="T68" fmla="*/ 62 w 73"/>
                <a:gd name="T69" fmla="*/ 11 h 239"/>
                <a:gd name="T70" fmla="*/ 66 w 73"/>
                <a:gd name="T71" fmla="*/ 16 h 239"/>
                <a:gd name="T72" fmla="*/ 69 w 73"/>
                <a:gd name="T73" fmla="*/ 23 h 239"/>
                <a:gd name="T74" fmla="*/ 71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1" y="210"/>
                  </a:lnTo>
                  <a:lnTo>
                    <a:pt x="69" y="217"/>
                  </a:lnTo>
                  <a:lnTo>
                    <a:pt x="66" y="222"/>
                  </a:lnTo>
                  <a:lnTo>
                    <a:pt x="62" y="227"/>
                  </a:lnTo>
                  <a:lnTo>
                    <a:pt x="57" y="232"/>
                  </a:lnTo>
                  <a:lnTo>
                    <a:pt x="50" y="236"/>
                  </a:lnTo>
                  <a:lnTo>
                    <a:pt x="43" y="237"/>
                  </a:lnTo>
                  <a:lnTo>
                    <a:pt x="36" y="239"/>
                  </a:lnTo>
                  <a:lnTo>
                    <a:pt x="36" y="239"/>
                  </a:lnTo>
                  <a:lnTo>
                    <a:pt x="29" y="237"/>
                  </a:lnTo>
                  <a:lnTo>
                    <a:pt x="22" y="236"/>
                  </a:lnTo>
                  <a:lnTo>
                    <a:pt x="16" y="232"/>
                  </a:lnTo>
                  <a:lnTo>
                    <a:pt x="10" y="227"/>
                  </a:lnTo>
                  <a:lnTo>
                    <a:pt x="5" y="222"/>
                  </a:lnTo>
                  <a:lnTo>
                    <a:pt x="2" y="217"/>
                  </a:lnTo>
                  <a:lnTo>
                    <a:pt x="0" y="210"/>
                  </a:lnTo>
                  <a:lnTo>
                    <a:pt x="0" y="203"/>
                  </a:lnTo>
                  <a:lnTo>
                    <a:pt x="0" y="37"/>
                  </a:lnTo>
                  <a:lnTo>
                    <a:pt x="0" y="37"/>
                  </a:lnTo>
                  <a:lnTo>
                    <a:pt x="0" y="30"/>
                  </a:lnTo>
                  <a:lnTo>
                    <a:pt x="2" y="23"/>
                  </a:lnTo>
                  <a:lnTo>
                    <a:pt x="5" y="16"/>
                  </a:lnTo>
                  <a:lnTo>
                    <a:pt x="10" y="11"/>
                  </a:lnTo>
                  <a:lnTo>
                    <a:pt x="16" y="6"/>
                  </a:lnTo>
                  <a:lnTo>
                    <a:pt x="22" y="4"/>
                  </a:lnTo>
                  <a:lnTo>
                    <a:pt x="29" y="0"/>
                  </a:lnTo>
                  <a:lnTo>
                    <a:pt x="36" y="0"/>
                  </a:lnTo>
                  <a:lnTo>
                    <a:pt x="36" y="0"/>
                  </a:lnTo>
                  <a:lnTo>
                    <a:pt x="43" y="0"/>
                  </a:lnTo>
                  <a:lnTo>
                    <a:pt x="50" y="4"/>
                  </a:lnTo>
                  <a:lnTo>
                    <a:pt x="57" y="6"/>
                  </a:lnTo>
                  <a:lnTo>
                    <a:pt x="62" y="11"/>
                  </a:lnTo>
                  <a:lnTo>
                    <a:pt x="66" y="16"/>
                  </a:lnTo>
                  <a:lnTo>
                    <a:pt x="69" y="23"/>
                  </a:lnTo>
                  <a:lnTo>
                    <a:pt x="71" y="30"/>
                  </a:lnTo>
                  <a:lnTo>
                    <a:pt x="73" y="3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17" name="Freeform 74">
              <a:extLst>
                <a:ext uri="{FF2B5EF4-FFF2-40B4-BE49-F238E27FC236}">
                  <a16:creationId xmlns:a16="http://schemas.microsoft.com/office/drawing/2014/main" id="{1E5BC7D0-3753-4D77-88B5-E888899BEB24}"/>
                </a:ext>
              </a:extLst>
            </p:cNvPr>
            <p:cNvSpPr>
              <a:spLocks/>
            </p:cNvSpPr>
            <p:nvPr/>
          </p:nvSpPr>
          <p:spPr bwMode="auto">
            <a:xfrm>
              <a:off x="5849828" y="13447"/>
              <a:ext cx="40682" cy="132982"/>
            </a:xfrm>
            <a:custGeom>
              <a:avLst/>
              <a:gdLst>
                <a:gd name="T0" fmla="*/ 73 w 73"/>
                <a:gd name="T1" fmla="*/ 37 h 239"/>
                <a:gd name="T2" fmla="*/ 73 w 73"/>
                <a:gd name="T3" fmla="*/ 203 h 239"/>
                <a:gd name="T4" fmla="*/ 73 w 73"/>
                <a:gd name="T5" fmla="*/ 203 h 239"/>
                <a:gd name="T6" fmla="*/ 71 w 73"/>
                <a:gd name="T7" fmla="*/ 210 h 239"/>
                <a:gd name="T8" fmla="*/ 69 w 73"/>
                <a:gd name="T9" fmla="*/ 217 h 239"/>
                <a:gd name="T10" fmla="*/ 66 w 73"/>
                <a:gd name="T11" fmla="*/ 222 h 239"/>
                <a:gd name="T12" fmla="*/ 62 w 73"/>
                <a:gd name="T13" fmla="*/ 227 h 239"/>
                <a:gd name="T14" fmla="*/ 57 w 73"/>
                <a:gd name="T15" fmla="*/ 232 h 239"/>
                <a:gd name="T16" fmla="*/ 50 w 73"/>
                <a:gd name="T17" fmla="*/ 236 h 239"/>
                <a:gd name="T18" fmla="*/ 43 w 73"/>
                <a:gd name="T19" fmla="*/ 237 h 239"/>
                <a:gd name="T20" fmla="*/ 36 w 73"/>
                <a:gd name="T21" fmla="*/ 239 h 239"/>
                <a:gd name="T22" fmla="*/ 36 w 73"/>
                <a:gd name="T23" fmla="*/ 239 h 239"/>
                <a:gd name="T24" fmla="*/ 29 w 73"/>
                <a:gd name="T25" fmla="*/ 237 h 239"/>
                <a:gd name="T26" fmla="*/ 22 w 73"/>
                <a:gd name="T27" fmla="*/ 236 h 239"/>
                <a:gd name="T28" fmla="*/ 16 w 73"/>
                <a:gd name="T29" fmla="*/ 232 h 239"/>
                <a:gd name="T30" fmla="*/ 10 w 73"/>
                <a:gd name="T31" fmla="*/ 227 h 239"/>
                <a:gd name="T32" fmla="*/ 5 w 73"/>
                <a:gd name="T33" fmla="*/ 222 h 239"/>
                <a:gd name="T34" fmla="*/ 2 w 73"/>
                <a:gd name="T35" fmla="*/ 217 h 239"/>
                <a:gd name="T36" fmla="*/ 0 w 73"/>
                <a:gd name="T37" fmla="*/ 210 h 239"/>
                <a:gd name="T38" fmla="*/ 0 w 73"/>
                <a:gd name="T39" fmla="*/ 203 h 239"/>
                <a:gd name="T40" fmla="*/ 0 w 73"/>
                <a:gd name="T41" fmla="*/ 37 h 239"/>
                <a:gd name="T42" fmla="*/ 0 w 73"/>
                <a:gd name="T43" fmla="*/ 37 h 239"/>
                <a:gd name="T44" fmla="*/ 0 w 73"/>
                <a:gd name="T45" fmla="*/ 30 h 239"/>
                <a:gd name="T46" fmla="*/ 2 w 73"/>
                <a:gd name="T47" fmla="*/ 23 h 239"/>
                <a:gd name="T48" fmla="*/ 5 w 73"/>
                <a:gd name="T49" fmla="*/ 16 h 239"/>
                <a:gd name="T50" fmla="*/ 10 w 73"/>
                <a:gd name="T51" fmla="*/ 11 h 239"/>
                <a:gd name="T52" fmla="*/ 16 w 73"/>
                <a:gd name="T53" fmla="*/ 6 h 239"/>
                <a:gd name="T54" fmla="*/ 22 w 73"/>
                <a:gd name="T55" fmla="*/ 4 h 239"/>
                <a:gd name="T56" fmla="*/ 29 w 73"/>
                <a:gd name="T57" fmla="*/ 0 h 239"/>
                <a:gd name="T58" fmla="*/ 36 w 73"/>
                <a:gd name="T59" fmla="*/ 0 h 239"/>
                <a:gd name="T60" fmla="*/ 36 w 73"/>
                <a:gd name="T61" fmla="*/ 0 h 239"/>
                <a:gd name="T62" fmla="*/ 43 w 73"/>
                <a:gd name="T63" fmla="*/ 0 h 239"/>
                <a:gd name="T64" fmla="*/ 50 w 73"/>
                <a:gd name="T65" fmla="*/ 4 h 239"/>
                <a:gd name="T66" fmla="*/ 57 w 73"/>
                <a:gd name="T67" fmla="*/ 6 h 239"/>
                <a:gd name="T68" fmla="*/ 62 w 73"/>
                <a:gd name="T69" fmla="*/ 11 h 239"/>
                <a:gd name="T70" fmla="*/ 66 w 73"/>
                <a:gd name="T71" fmla="*/ 16 h 239"/>
                <a:gd name="T72" fmla="*/ 69 w 73"/>
                <a:gd name="T73" fmla="*/ 23 h 239"/>
                <a:gd name="T74" fmla="*/ 71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1" y="210"/>
                  </a:lnTo>
                  <a:lnTo>
                    <a:pt x="69" y="217"/>
                  </a:lnTo>
                  <a:lnTo>
                    <a:pt x="66" y="222"/>
                  </a:lnTo>
                  <a:lnTo>
                    <a:pt x="62" y="227"/>
                  </a:lnTo>
                  <a:lnTo>
                    <a:pt x="57" y="232"/>
                  </a:lnTo>
                  <a:lnTo>
                    <a:pt x="50" y="236"/>
                  </a:lnTo>
                  <a:lnTo>
                    <a:pt x="43" y="237"/>
                  </a:lnTo>
                  <a:lnTo>
                    <a:pt x="36" y="239"/>
                  </a:lnTo>
                  <a:lnTo>
                    <a:pt x="36" y="239"/>
                  </a:lnTo>
                  <a:lnTo>
                    <a:pt x="29" y="237"/>
                  </a:lnTo>
                  <a:lnTo>
                    <a:pt x="22" y="236"/>
                  </a:lnTo>
                  <a:lnTo>
                    <a:pt x="16" y="232"/>
                  </a:lnTo>
                  <a:lnTo>
                    <a:pt x="10" y="227"/>
                  </a:lnTo>
                  <a:lnTo>
                    <a:pt x="5" y="222"/>
                  </a:lnTo>
                  <a:lnTo>
                    <a:pt x="2" y="217"/>
                  </a:lnTo>
                  <a:lnTo>
                    <a:pt x="0" y="210"/>
                  </a:lnTo>
                  <a:lnTo>
                    <a:pt x="0" y="203"/>
                  </a:lnTo>
                  <a:lnTo>
                    <a:pt x="0" y="37"/>
                  </a:lnTo>
                  <a:lnTo>
                    <a:pt x="0" y="37"/>
                  </a:lnTo>
                  <a:lnTo>
                    <a:pt x="0" y="30"/>
                  </a:lnTo>
                  <a:lnTo>
                    <a:pt x="2" y="23"/>
                  </a:lnTo>
                  <a:lnTo>
                    <a:pt x="5" y="16"/>
                  </a:lnTo>
                  <a:lnTo>
                    <a:pt x="10" y="11"/>
                  </a:lnTo>
                  <a:lnTo>
                    <a:pt x="16" y="6"/>
                  </a:lnTo>
                  <a:lnTo>
                    <a:pt x="22" y="4"/>
                  </a:lnTo>
                  <a:lnTo>
                    <a:pt x="29" y="0"/>
                  </a:lnTo>
                  <a:lnTo>
                    <a:pt x="36" y="0"/>
                  </a:lnTo>
                  <a:lnTo>
                    <a:pt x="36" y="0"/>
                  </a:lnTo>
                  <a:lnTo>
                    <a:pt x="43" y="0"/>
                  </a:lnTo>
                  <a:lnTo>
                    <a:pt x="50" y="4"/>
                  </a:lnTo>
                  <a:lnTo>
                    <a:pt x="57" y="6"/>
                  </a:lnTo>
                  <a:lnTo>
                    <a:pt x="62" y="11"/>
                  </a:lnTo>
                  <a:lnTo>
                    <a:pt x="66" y="16"/>
                  </a:lnTo>
                  <a:lnTo>
                    <a:pt x="69" y="23"/>
                  </a:lnTo>
                  <a:lnTo>
                    <a:pt x="71" y="30"/>
                  </a:lnTo>
                  <a:lnTo>
                    <a:pt x="73" y="37"/>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18" name="Freeform 75">
              <a:extLst>
                <a:ext uri="{FF2B5EF4-FFF2-40B4-BE49-F238E27FC236}">
                  <a16:creationId xmlns:a16="http://schemas.microsoft.com/office/drawing/2014/main" id="{44A6AB53-3006-44E1-AF30-213B58E73BCD}"/>
                </a:ext>
              </a:extLst>
            </p:cNvPr>
            <p:cNvSpPr>
              <a:spLocks/>
            </p:cNvSpPr>
            <p:nvPr/>
          </p:nvSpPr>
          <p:spPr bwMode="auto">
            <a:xfrm>
              <a:off x="5993608" y="-152920"/>
              <a:ext cx="40124" cy="465159"/>
            </a:xfrm>
            <a:custGeom>
              <a:avLst/>
              <a:gdLst>
                <a:gd name="T0" fmla="*/ 72 w 72"/>
                <a:gd name="T1" fmla="*/ 36 h 836"/>
                <a:gd name="T2" fmla="*/ 72 w 72"/>
                <a:gd name="T3" fmla="*/ 799 h 836"/>
                <a:gd name="T4" fmla="*/ 72 w 72"/>
                <a:gd name="T5" fmla="*/ 799 h 836"/>
                <a:gd name="T6" fmla="*/ 72 w 72"/>
                <a:gd name="T7" fmla="*/ 806 h 836"/>
                <a:gd name="T8" fmla="*/ 69 w 72"/>
                <a:gd name="T9" fmla="*/ 813 h 836"/>
                <a:gd name="T10" fmla="*/ 67 w 72"/>
                <a:gd name="T11" fmla="*/ 820 h 836"/>
                <a:gd name="T12" fmla="*/ 62 w 72"/>
                <a:gd name="T13" fmla="*/ 825 h 836"/>
                <a:gd name="T14" fmla="*/ 57 w 72"/>
                <a:gd name="T15" fmla="*/ 830 h 836"/>
                <a:gd name="T16" fmla="*/ 50 w 72"/>
                <a:gd name="T17" fmla="*/ 834 h 836"/>
                <a:gd name="T18" fmla="*/ 43 w 72"/>
                <a:gd name="T19" fmla="*/ 836 h 836"/>
                <a:gd name="T20" fmla="*/ 36 w 72"/>
                <a:gd name="T21" fmla="*/ 836 h 836"/>
                <a:gd name="T22" fmla="*/ 36 w 72"/>
                <a:gd name="T23" fmla="*/ 836 h 836"/>
                <a:gd name="T24" fmla="*/ 29 w 72"/>
                <a:gd name="T25" fmla="*/ 836 h 836"/>
                <a:gd name="T26" fmla="*/ 22 w 72"/>
                <a:gd name="T27" fmla="*/ 834 h 836"/>
                <a:gd name="T28" fmla="*/ 15 w 72"/>
                <a:gd name="T29" fmla="*/ 830 h 836"/>
                <a:gd name="T30" fmla="*/ 10 w 72"/>
                <a:gd name="T31" fmla="*/ 825 h 836"/>
                <a:gd name="T32" fmla="*/ 6 w 72"/>
                <a:gd name="T33" fmla="*/ 820 h 836"/>
                <a:gd name="T34" fmla="*/ 3 w 72"/>
                <a:gd name="T35" fmla="*/ 813 h 836"/>
                <a:gd name="T36" fmla="*/ 1 w 72"/>
                <a:gd name="T37" fmla="*/ 806 h 836"/>
                <a:gd name="T38" fmla="*/ 0 w 72"/>
                <a:gd name="T39" fmla="*/ 799 h 836"/>
                <a:gd name="T40" fmla="*/ 0 w 72"/>
                <a:gd name="T41" fmla="*/ 36 h 836"/>
                <a:gd name="T42" fmla="*/ 0 w 72"/>
                <a:gd name="T43" fmla="*/ 36 h 836"/>
                <a:gd name="T44" fmla="*/ 1 w 72"/>
                <a:gd name="T45" fmla="*/ 30 h 836"/>
                <a:gd name="T46" fmla="*/ 3 w 72"/>
                <a:gd name="T47" fmla="*/ 23 h 836"/>
                <a:gd name="T48" fmla="*/ 6 w 72"/>
                <a:gd name="T49" fmla="*/ 16 h 836"/>
                <a:gd name="T50" fmla="*/ 10 w 72"/>
                <a:gd name="T51" fmla="*/ 11 h 836"/>
                <a:gd name="T52" fmla="*/ 15 w 72"/>
                <a:gd name="T53" fmla="*/ 7 h 836"/>
                <a:gd name="T54" fmla="*/ 22 w 72"/>
                <a:gd name="T55" fmla="*/ 4 h 836"/>
                <a:gd name="T56" fmla="*/ 29 w 72"/>
                <a:gd name="T57" fmla="*/ 2 h 836"/>
                <a:gd name="T58" fmla="*/ 36 w 72"/>
                <a:gd name="T59" fmla="*/ 0 h 836"/>
                <a:gd name="T60" fmla="*/ 36 w 72"/>
                <a:gd name="T61" fmla="*/ 0 h 836"/>
                <a:gd name="T62" fmla="*/ 43 w 72"/>
                <a:gd name="T63" fmla="*/ 2 h 836"/>
                <a:gd name="T64" fmla="*/ 50 w 72"/>
                <a:gd name="T65" fmla="*/ 4 h 836"/>
                <a:gd name="T66" fmla="*/ 57 w 72"/>
                <a:gd name="T67" fmla="*/ 7 h 836"/>
                <a:gd name="T68" fmla="*/ 62 w 72"/>
                <a:gd name="T69" fmla="*/ 11 h 836"/>
                <a:gd name="T70" fmla="*/ 67 w 72"/>
                <a:gd name="T71" fmla="*/ 16 h 836"/>
                <a:gd name="T72" fmla="*/ 69 w 72"/>
                <a:gd name="T73" fmla="*/ 23 h 836"/>
                <a:gd name="T74" fmla="*/ 72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2" y="806"/>
                  </a:lnTo>
                  <a:lnTo>
                    <a:pt x="69" y="813"/>
                  </a:lnTo>
                  <a:lnTo>
                    <a:pt x="67" y="820"/>
                  </a:lnTo>
                  <a:lnTo>
                    <a:pt x="62" y="825"/>
                  </a:lnTo>
                  <a:lnTo>
                    <a:pt x="57" y="830"/>
                  </a:lnTo>
                  <a:lnTo>
                    <a:pt x="50" y="834"/>
                  </a:lnTo>
                  <a:lnTo>
                    <a:pt x="43" y="836"/>
                  </a:lnTo>
                  <a:lnTo>
                    <a:pt x="36" y="836"/>
                  </a:lnTo>
                  <a:lnTo>
                    <a:pt x="36" y="836"/>
                  </a:lnTo>
                  <a:lnTo>
                    <a:pt x="29" y="836"/>
                  </a:lnTo>
                  <a:lnTo>
                    <a:pt x="22" y="834"/>
                  </a:lnTo>
                  <a:lnTo>
                    <a:pt x="15" y="830"/>
                  </a:lnTo>
                  <a:lnTo>
                    <a:pt x="10" y="825"/>
                  </a:lnTo>
                  <a:lnTo>
                    <a:pt x="6" y="820"/>
                  </a:lnTo>
                  <a:lnTo>
                    <a:pt x="3" y="813"/>
                  </a:lnTo>
                  <a:lnTo>
                    <a:pt x="1" y="806"/>
                  </a:lnTo>
                  <a:lnTo>
                    <a:pt x="0" y="799"/>
                  </a:lnTo>
                  <a:lnTo>
                    <a:pt x="0" y="36"/>
                  </a:lnTo>
                  <a:lnTo>
                    <a:pt x="0" y="36"/>
                  </a:lnTo>
                  <a:lnTo>
                    <a:pt x="1" y="30"/>
                  </a:lnTo>
                  <a:lnTo>
                    <a:pt x="3" y="23"/>
                  </a:lnTo>
                  <a:lnTo>
                    <a:pt x="6" y="16"/>
                  </a:lnTo>
                  <a:lnTo>
                    <a:pt x="10" y="11"/>
                  </a:lnTo>
                  <a:lnTo>
                    <a:pt x="15" y="7"/>
                  </a:lnTo>
                  <a:lnTo>
                    <a:pt x="22" y="4"/>
                  </a:lnTo>
                  <a:lnTo>
                    <a:pt x="29" y="2"/>
                  </a:lnTo>
                  <a:lnTo>
                    <a:pt x="36" y="0"/>
                  </a:lnTo>
                  <a:lnTo>
                    <a:pt x="36" y="0"/>
                  </a:lnTo>
                  <a:lnTo>
                    <a:pt x="43" y="2"/>
                  </a:lnTo>
                  <a:lnTo>
                    <a:pt x="50" y="4"/>
                  </a:lnTo>
                  <a:lnTo>
                    <a:pt x="57" y="7"/>
                  </a:lnTo>
                  <a:lnTo>
                    <a:pt x="62" y="11"/>
                  </a:lnTo>
                  <a:lnTo>
                    <a:pt x="67" y="16"/>
                  </a:lnTo>
                  <a:lnTo>
                    <a:pt x="69" y="23"/>
                  </a:lnTo>
                  <a:lnTo>
                    <a:pt x="72" y="30"/>
                  </a:lnTo>
                  <a:lnTo>
                    <a:pt x="72" y="3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19" name="Freeform 76">
              <a:extLst>
                <a:ext uri="{FF2B5EF4-FFF2-40B4-BE49-F238E27FC236}">
                  <a16:creationId xmlns:a16="http://schemas.microsoft.com/office/drawing/2014/main" id="{E031616A-F980-4434-8C29-C1B2C78D7E86}"/>
                </a:ext>
              </a:extLst>
            </p:cNvPr>
            <p:cNvSpPr>
              <a:spLocks/>
            </p:cNvSpPr>
            <p:nvPr/>
          </p:nvSpPr>
          <p:spPr bwMode="auto">
            <a:xfrm>
              <a:off x="5993608" y="-152920"/>
              <a:ext cx="40124" cy="465159"/>
            </a:xfrm>
            <a:custGeom>
              <a:avLst/>
              <a:gdLst>
                <a:gd name="T0" fmla="*/ 72 w 72"/>
                <a:gd name="T1" fmla="*/ 36 h 836"/>
                <a:gd name="T2" fmla="*/ 72 w 72"/>
                <a:gd name="T3" fmla="*/ 799 h 836"/>
                <a:gd name="T4" fmla="*/ 72 w 72"/>
                <a:gd name="T5" fmla="*/ 799 h 836"/>
                <a:gd name="T6" fmla="*/ 72 w 72"/>
                <a:gd name="T7" fmla="*/ 806 h 836"/>
                <a:gd name="T8" fmla="*/ 69 w 72"/>
                <a:gd name="T9" fmla="*/ 813 h 836"/>
                <a:gd name="T10" fmla="*/ 67 w 72"/>
                <a:gd name="T11" fmla="*/ 820 h 836"/>
                <a:gd name="T12" fmla="*/ 62 w 72"/>
                <a:gd name="T13" fmla="*/ 825 h 836"/>
                <a:gd name="T14" fmla="*/ 57 w 72"/>
                <a:gd name="T15" fmla="*/ 830 h 836"/>
                <a:gd name="T16" fmla="*/ 50 w 72"/>
                <a:gd name="T17" fmla="*/ 834 h 836"/>
                <a:gd name="T18" fmla="*/ 43 w 72"/>
                <a:gd name="T19" fmla="*/ 836 h 836"/>
                <a:gd name="T20" fmla="*/ 36 w 72"/>
                <a:gd name="T21" fmla="*/ 836 h 836"/>
                <a:gd name="T22" fmla="*/ 36 w 72"/>
                <a:gd name="T23" fmla="*/ 836 h 836"/>
                <a:gd name="T24" fmla="*/ 29 w 72"/>
                <a:gd name="T25" fmla="*/ 836 h 836"/>
                <a:gd name="T26" fmla="*/ 22 w 72"/>
                <a:gd name="T27" fmla="*/ 834 h 836"/>
                <a:gd name="T28" fmla="*/ 15 w 72"/>
                <a:gd name="T29" fmla="*/ 830 h 836"/>
                <a:gd name="T30" fmla="*/ 10 w 72"/>
                <a:gd name="T31" fmla="*/ 825 h 836"/>
                <a:gd name="T32" fmla="*/ 6 w 72"/>
                <a:gd name="T33" fmla="*/ 820 h 836"/>
                <a:gd name="T34" fmla="*/ 3 w 72"/>
                <a:gd name="T35" fmla="*/ 813 h 836"/>
                <a:gd name="T36" fmla="*/ 1 w 72"/>
                <a:gd name="T37" fmla="*/ 806 h 836"/>
                <a:gd name="T38" fmla="*/ 0 w 72"/>
                <a:gd name="T39" fmla="*/ 799 h 836"/>
                <a:gd name="T40" fmla="*/ 0 w 72"/>
                <a:gd name="T41" fmla="*/ 36 h 836"/>
                <a:gd name="T42" fmla="*/ 0 w 72"/>
                <a:gd name="T43" fmla="*/ 36 h 836"/>
                <a:gd name="T44" fmla="*/ 1 w 72"/>
                <a:gd name="T45" fmla="*/ 30 h 836"/>
                <a:gd name="T46" fmla="*/ 3 w 72"/>
                <a:gd name="T47" fmla="*/ 23 h 836"/>
                <a:gd name="T48" fmla="*/ 6 w 72"/>
                <a:gd name="T49" fmla="*/ 16 h 836"/>
                <a:gd name="T50" fmla="*/ 10 w 72"/>
                <a:gd name="T51" fmla="*/ 11 h 836"/>
                <a:gd name="T52" fmla="*/ 15 w 72"/>
                <a:gd name="T53" fmla="*/ 7 h 836"/>
                <a:gd name="T54" fmla="*/ 22 w 72"/>
                <a:gd name="T55" fmla="*/ 4 h 836"/>
                <a:gd name="T56" fmla="*/ 29 w 72"/>
                <a:gd name="T57" fmla="*/ 2 h 836"/>
                <a:gd name="T58" fmla="*/ 36 w 72"/>
                <a:gd name="T59" fmla="*/ 0 h 836"/>
                <a:gd name="T60" fmla="*/ 36 w 72"/>
                <a:gd name="T61" fmla="*/ 0 h 836"/>
                <a:gd name="T62" fmla="*/ 43 w 72"/>
                <a:gd name="T63" fmla="*/ 2 h 836"/>
                <a:gd name="T64" fmla="*/ 50 w 72"/>
                <a:gd name="T65" fmla="*/ 4 h 836"/>
                <a:gd name="T66" fmla="*/ 57 w 72"/>
                <a:gd name="T67" fmla="*/ 7 h 836"/>
                <a:gd name="T68" fmla="*/ 62 w 72"/>
                <a:gd name="T69" fmla="*/ 11 h 836"/>
                <a:gd name="T70" fmla="*/ 67 w 72"/>
                <a:gd name="T71" fmla="*/ 16 h 836"/>
                <a:gd name="T72" fmla="*/ 69 w 72"/>
                <a:gd name="T73" fmla="*/ 23 h 836"/>
                <a:gd name="T74" fmla="*/ 72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2" y="806"/>
                  </a:lnTo>
                  <a:lnTo>
                    <a:pt x="69" y="813"/>
                  </a:lnTo>
                  <a:lnTo>
                    <a:pt x="67" y="820"/>
                  </a:lnTo>
                  <a:lnTo>
                    <a:pt x="62" y="825"/>
                  </a:lnTo>
                  <a:lnTo>
                    <a:pt x="57" y="830"/>
                  </a:lnTo>
                  <a:lnTo>
                    <a:pt x="50" y="834"/>
                  </a:lnTo>
                  <a:lnTo>
                    <a:pt x="43" y="836"/>
                  </a:lnTo>
                  <a:lnTo>
                    <a:pt x="36" y="836"/>
                  </a:lnTo>
                  <a:lnTo>
                    <a:pt x="36" y="836"/>
                  </a:lnTo>
                  <a:lnTo>
                    <a:pt x="29" y="836"/>
                  </a:lnTo>
                  <a:lnTo>
                    <a:pt x="22" y="834"/>
                  </a:lnTo>
                  <a:lnTo>
                    <a:pt x="15" y="830"/>
                  </a:lnTo>
                  <a:lnTo>
                    <a:pt x="10" y="825"/>
                  </a:lnTo>
                  <a:lnTo>
                    <a:pt x="6" y="820"/>
                  </a:lnTo>
                  <a:lnTo>
                    <a:pt x="3" y="813"/>
                  </a:lnTo>
                  <a:lnTo>
                    <a:pt x="1" y="806"/>
                  </a:lnTo>
                  <a:lnTo>
                    <a:pt x="0" y="799"/>
                  </a:lnTo>
                  <a:lnTo>
                    <a:pt x="0" y="36"/>
                  </a:lnTo>
                  <a:lnTo>
                    <a:pt x="0" y="36"/>
                  </a:lnTo>
                  <a:lnTo>
                    <a:pt x="1" y="30"/>
                  </a:lnTo>
                  <a:lnTo>
                    <a:pt x="3" y="23"/>
                  </a:lnTo>
                  <a:lnTo>
                    <a:pt x="6" y="16"/>
                  </a:lnTo>
                  <a:lnTo>
                    <a:pt x="10" y="11"/>
                  </a:lnTo>
                  <a:lnTo>
                    <a:pt x="15" y="7"/>
                  </a:lnTo>
                  <a:lnTo>
                    <a:pt x="22" y="4"/>
                  </a:lnTo>
                  <a:lnTo>
                    <a:pt x="29" y="2"/>
                  </a:lnTo>
                  <a:lnTo>
                    <a:pt x="36" y="0"/>
                  </a:lnTo>
                  <a:lnTo>
                    <a:pt x="36" y="0"/>
                  </a:lnTo>
                  <a:lnTo>
                    <a:pt x="43" y="2"/>
                  </a:lnTo>
                  <a:lnTo>
                    <a:pt x="50" y="4"/>
                  </a:lnTo>
                  <a:lnTo>
                    <a:pt x="57" y="7"/>
                  </a:lnTo>
                  <a:lnTo>
                    <a:pt x="62" y="11"/>
                  </a:lnTo>
                  <a:lnTo>
                    <a:pt x="67" y="16"/>
                  </a:lnTo>
                  <a:lnTo>
                    <a:pt x="69" y="23"/>
                  </a:lnTo>
                  <a:lnTo>
                    <a:pt x="72" y="30"/>
                  </a:lnTo>
                  <a:lnTo>
                    <a:pt x="72" y="36"/>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0" name="Freeform 77">
              <a:extLst>
                <a:ext uri="{FF2B5EF4-FFF2-40B4-BE49-F238E27FC236}">
                  <a16:creationId xmlns:a16="http://schemas.microsoft.com/office/drawing/2014/main" id="{8134D016-3A42-46AD-BC9E-B97C5E7815C4}"/>
                </a:ext>
              </a:extLst>
            </p:cNvPr>
            <p:cNvSpPr>
              <a:spLocks/>
            </p:cNvSpPr>
            <p:nvPr/>
          </p:nvSpPr>
          <p:spPr bwMode="auto">
            <a:xfrm>
              <a:off x="6094477" y="-312610"/>
              <a:ext cx="1016489" cy="783426"/>
            </a:xfrm>
            <a:custGeom>
              <a:avLst/>
              <a:gdLst>
                <a:gd name="T0" fmla="*/ 1824 w 1824"/>
                <a:gd name="T1" fmla="*/ 1166 h 1408"/>
                <a:gd name="T2" fmla="*/ 1824 w 1824"/>
                <a:gd name="T3" fmla="*/ 1408 h 1408"/>
                <a:gd name="T4" fmla="*/ 1518 w 1824"/>
                <a:gd name="T5" fmla="*/ 1408 h 1408"/>
                <a:gd name="T6" fmla="*/ 439 w 1824"/>
                <a:gd name="T7" fmla="*/ 242 h 1408"/>
                <a:gd name="T8" fmla="*/ 0 w 1824"/>
                <a:gd name="T9" fmla="*/ 242 h 1408"/>
                <a:gd name="T10" fmla="*/ 0 w 1824"/>
                <a:gd name="T11" fmla="*/ 0 h 1408"/>
                <a:gd name="T12" fmla="*/ 545 w 1824"/>
                <a:gd name="T13" fmla="*/ 0 h 1408"/>
                <a:gd name="T14" fmla="*/ 1623 w 1824"/>
                <a:gd name="T15" fmla="*/ 1166 h 1408"/>
                <a:gd name="T16" fmla="*/ 1824 w 1824"/>
                <a:gd name="T17" fmla="*/ 1166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4" h="1408">
                  <a:moveTo>
                    <a:pt x="1824" y="1166"/>
                  </a:moveTo>
                  <a:lnTo>
                    <a:pt x="1824" y="1408"/>
                  </a:lnTo>
                  <a:lnTo>
                    <a:pt x="1518" y="1408"/>
                  </a:lnTo>
                  <a:lnTo>
                    <a:pt x="439" y="242"/>
                  </a:lnTo>
                  <a:lnTo>
                    <a:pt x="0" y="242"/>
                  </a:lnTo>
                  <a:lnTo>
                    <a:pt x="0" y="0"/>
                  </a:lnTo>
                  <a:lnTo>
                    <a:pt x="545" y="0"/>
                  </a:lnTo>
                  <a:lnTo>
                    <a:pt x="1623" y="1166"/>
                  </a:lnTo>
                  <a:lnTo>
                    <a:pt x="1824" y="1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1" name="Freeform 78">
              <a:extLst>
                <a:ext uri="{FF2B5EF4-FFF2-40B4-BE49-F238E27FC236}">
                  <a16:creationId xmlns:a16="http://schemas.microsoft.com/office/drawing/2014/main" id="{83C10C15-1562-4046-B3D8-ADDFD0109FD0}"/>
                </a:ext>
              </a:extLst>
            </p:cNvPr>
            <p:cNvSpPr>
              <a:spLocks/>
            </p:cNvSpPr>
            <p:nvPr/>
          </p:nvSpPr>
          <p:spPr bwMode="auto">
            <a:xfrm>
              <a:off x="6094477" y="-312610"/>
              <a:ext cx="1016489" cy="783426"/>
            </a:xfrm>
            <a:custGeom>
              <a:avLst/>
              <a:gdLst>
                <a:gd name="T0" fmla="*/ 1824 w 1824"/>
                <a:gd name="T1" fmla="*/ 0 h 1408"/>
                <a:gd name="T2" fmla="*/ 1824 w 1824"/>
                <a:gd name="T3" fmla="*/ 242 h 1408"/>
                <a:gd name="T4" fmla="*/ 1623 w 1824"/>
                <a:gd name="T5" fmla="*/ 242 h 1408"/>
                <a:gd name="T6" fmla="*/ 545 w 1824"/>
                <a:gd name="T7" fmla="*/ 1408 h 1408"/>
                <a:gd name="T8" fmla="*/ 0 w 1824"/>
                <a:gd name="T9" fmla="*/ 1408 h 1408"/>
                <a:gd name="T10" fmla="*/ 0 w 1824"/>
                <a:gd name="T11" fmla="*/ 1166 h 1408"/>
                <a:gd name="T12" fmla="*/ 439 w 1824"/>
                <a:gd name="T13" fmla="*/ 1166 h 1408"/>
                <a:gd name="T14" fmla="*/ 1518 w 1824"/>
                <a:gd name="T15" fmla="*/ 0 h 1408"/>
                <a:gd name="T16" fmla="*/ 1824 w 1824"/>
                <a:gd name="T17" fmla="*/ 0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4" h="1408">
                  <a:moveTo>
                    <a:pt x="1824" y="0"/>
                  </a:moveTo>
                  <a:lnTo>
                    <a:pt x="1824" y="242"/>
                  </a:lnTo>
                  <a:lnTo>
                    <a:pt x="1623" y="242"/>
                  </a:lnTo>
                  <a:lnTo>
                    <a:pt x="545" y="1408"/>
                  </a:lnTo>
                  <a:lnTo>
                    <a:pt x="0" y="1408"/>
                  </a:lnTo>
                  <a:lnTo>
                    <a:pt x="0" y="1166"/>
                  </a:lnTo>
                  <a:lnTo>
                    <a:pt x="439" y="1166"/>
                  </a:lnTo>
                  <a:lnTo>
                    <a:pt x="1518" y="0"/>
                  </a:lnTo>
                  <a:lnTo>
                    <a:pt x="18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2" name="Freeform 79">
              <a:extLst>
                <a:ext uri="{FF2B5EF4-FFF2-40B4-BE49-F238E27FC236}">
                  <a16:creationId xmlns:a16="http://schemas.microsoft.com/office/drawing/2014/main" id="{3E637658-35C2-43E7-BA28-AD6A07E26490}"/>
                </a:ext>
              </a:extLst>
            </p:cNvPr>
            <p:cNvSpPr>
              <a:spLocks/>
            </p:cNvSpPr>
            <p:nvPr/>
          </p:nvSpPr>
          <p:spPr bwMode="auto">
            <a:xfrm>
              <a:off x="6146304" y="-152920"/>
              <a:ext cx="40682" cy="465159"/>
            </a:xfrm>
            <a:custGeom>
              <a:avLst/>
              <a:gdLst>
                <a:gd name="T0" fmla="*/ 73 w 73"/>
                <a:gd name="T1" fmla="*/ 36 h 836"/>
                <a:gd name="T2" fmla="*/ 73 w 73"/>
                <a:gd name="T3" fmla="*/ 799 h 836"/>
                <a:gd name="T4" fmla="*/ 73 w 73"/>
                <a:gd name="T5" fmla="*/ 799 h 836"/>
                <a:gd name="T6" fmla="*/ 71 w 73"/>
                <a:gd name="T7" fmla="*/ 806 h 836"/>
                <a:gd name="T8" fmla="*/ 70 w 73"/>
                <a:gd name="T9" fmla="*/ 813 h 836"/>
                <a:gd name="T10" fmla="*/ 66 w 73"/>
                <a:gd name="T11" fmla="*/ 820 h 836"/>
                <a:gd name="T12" fmla="*/ 63 w 73"/>
                <a:gd name="T13" fmla="*/ 825 h 836"/>
                <a:gd name="T14" fmla="*/ 57 w 73"/>
                <a:gd name="T15" fmla="*/ 830 h 836"/>
                <a:gd name="T16" fmla="*/ 51 w 73"/>
                <a:gd name="T17" fmla="*/ 834 h 836"/>
                <a:gd name="T18" fmla="*/ 44 w 73"/>
                <a:gd name="T19" fmla="*/ 836 h 836"/>
                <a:gd name="T20" fmla="*/ 37 w 73"/>
                <a:gd name="T21" fmla="*/ 836 h 836"/>
                <a:gd name="T22" fmla="*/ 37 w 73"/>
                <a:gd name="T23" fmla="*/ 836 h 836"/>
                <a:gd name="T24" fmla="*/ 30 w 73"/>
                <a:gd name="T25" fmla="*/ 836 h 836"/>
                <a:gd name="T26" fmla="*/ 23 w 73"/>
                <a:gd name="T27" fmla="*/ 834 h 836"/>
                <a:gd name="T28" fmla="*/ 16 w 73"/>
                <a:gd name="T29" fmla="*/ 830 h 836"/>
                <a:gd name="T30" fmla="*/ 11 w 73"/>
                <a:gd name="T31" fmla="*/ 825 h 836"/>
                <a:gd name="T32" fmla="*/ 6 w 73"/>
                <a:gd name="T33" fmla="*/ 820 h 836"/>
                <a:gd name="T34" fmla="*/ 2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2 w 73"/>
                <a:gd name="T47" fmla="*/ 23 h 836"/>
                <a:gd name="T48" fmla="*/ 6 w 73"/>
                <a:gd name="T49" fmla="*/ 16 h 836"/>
                <a:gd name="T50" fmla="*/ 11 w 73"/>
                <a:gd name="T51" fmla="*/ 11 h 836"/>
                <a:gd name="T52" fmla="*/ 16 w 73"/>
                <a:gd name="T53" fmla="*/ 7 h 836"/>
                <a:gd name="T54" fmla="*/ 23 w 73"/>
                <a:gd name="T55" fmla="*/ 4 h 836"/>
                <a:gd name="T56" fmla="*/ 30 w 73"/>
                <a:gd name="T57" fmla="*/ 2 h 836"/>
                <a:gd name="T58" fmla="*/ 37 w 73"/>
                <a:gd name="T59" fmla="*/ 0 h 836"/>
                <a:gd name="T60" fmla="*/ 37 w 73"/>
                <a:gd name="T61" fmla="*/ 0 h 836"/>
                <a:gd name="T62" fmla="*/ 44 w 73"/>
                <a:gd name="T63" fmla="*/ 2 h 836"/>
                <a:gd name="T64" fmla="*/ 51 w 73"/>
                <a:gd name="T65" fmla="*/ 4 h 836"/>
                <a:gd name="T66" fmla="*/ 57 w 73"/>
                <a:gd name="T67" fmla="*/ 7 h 836"/>
                <a:gd name="T68" fmla="*/ 63 w 73"/>
                <a:gd name="T69" fmla="*/ 11 h 836"/>
                <a:gd name="T70" fmla="*/ 66 w 73"/>
                <a:gd name="T71" fmla="*/ 16 h 836"/>
                <a:gd name="T72" fmla="*/ 70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70" y="813"/>
                  </a:lnTo>
                  <a:lnTo>
                    <a:pt x="66" y="820"/>
                  </a:lnTo>
                  <a:lnTo>
                    <a:pt x="63" y="825"/>
                  </a:lnTo>
                  <a:lnTo>
                    <a:pt x="57" y="830"/>
                  </a:lnTo>
                  <a:lnTo>
                    <a:pt x="51" y="834"/>
                  </a:lnTo>
                  <a:lnTo>
                    <a:pt x="44" y="836"/>
                  </a:lnTo>
                  <a:lnTo>
                    <a:pt x="37" y="836"/>
                  </a:lnTo>
                  <a:lnTo>
                    <a:pt x="37" y="836"/>
                  </a:lnTo>
                  <a:lnTo>
                    <a:pt x="30" y="836"/>
                  </a:lnTo>
                  <a:lnTo>
                    <a:pt x="23" y="834"/>
                  </a:lnTo>
                  <a:lnTo>
                    <a:pt x="16" y="830"/>
                  </a:lnTo>
                  <a:lnTo>
                    <a:pt x="11" y="825"/>
                  </a:lnTo>
                  <a:lnTo>
                    <a:pt x="6" y="820"/>
                  </a:lnTo>
                  <a:lnTo>
                    <a:pt x="2" y="813"/>
                  </a:lnTo>
                  <a:lnTo>
                    <a:pt x="0" y="806"/>
                  </a:lnTo>
                  <a:lnTo>
                    <a:pt x="0" y="799"/>
                  </a:lnTo>
                  <a:lnTo>
                    <a:pt x="0" y="36"/>
                  </a:lnTo>
                  <a:lnTo>
                    <a:pt x="0" y="36"/>
                  </a:lnTo>
                  <a:lnTo>
                    <a:pt x="0" y="30"/>
                  </a:lnTo>
                  <a:lnTo>
                    <a:pt x="2" y="23"/>
                  </a:lnTo>
                  <a:lnTo>
                    <a:pt x="6" y="16"/>
                  </a:lnTo>
                  <a:lnTo>
                    <a:pt x="11" y="11"/>
                  </a:lnTo>
                  <a:lnTo>
                    <a:pt x="16" y="7"/>
                  </a:lnTo>
                  <a:lnTo>
                    <a:pt x="23" y="4"/>
                  </a:lnTo>
                  <a:lnTo>
                    <a:pt x="30" y="2"/>
                  </a:lnTo>
                  <a:lnTo>
                    <a:pt x="37" y="0"/>
                  </a:lnTo>
                  <a:lnTo>
                    <a:pt x="37" y="0"/>
                  </a:lnTo>
                  <a:lnTo>
                    <a:pt x="44" y="2"/>
                  </a:lnTo>
                  <a:lnTo>
                    <a:pt x="51" y="4"/>
                  </a:lnTo>
                  <a:lnTo>
                    <a:pt x="57" y="7"/>
                  </a:lnTo>
                  <a:lnTo>
                    <a:pt x="63" y="11"/>
                  </a:lnTo>
                  <a:lnTo>
                    <a:pt x="66" y="16"/>
                  </a:lnTo>
                  <a:lnTo>
                    <a:pt x="70" y="23"/>
                  </a:lnTo>
                  <a:lnTo>
                    <a:pt x="71" y="30"/>
                  </a:lnTo>
                  <a:lnTo>
                    <a:pt x="73" y="3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3" name="Freeform 80">
              <a:extLst>
                <a:ext uri="{FF2B5EF4-FFF2-40B4-BE49-F238E27FC236}">
                  <a16:creationId xmlns:a16="http://schemas.microsoft.com/office/drawing/2014/main" id="{3792EF7E-8AD6-4E1D-932C-00292BBF2054}"/>
                </a:ext>
              </a:extLst>
            </p:cNvPr>
            <p:cNvSpPr>
              <a:spLocks/>
            </p:cNvSpPr>
            <p:nvPr/>
          </p:nvSpPr>
          <p:spPr bwMode="auto">
            <a:xfrm>
              <a:off x="6146304" y="-152920"/>
              <a:ext cx="40682" cy="465159"/>
            </a:xfrm>
            <a:custGeom>
              <a:avLst/>
              <a:gdLst>
                <a:gd name="T0" fmla="*/ 73 w 73"/>
                <a:gd name="T1" fmla="*/ 36 h 836"/>
                <a:gd name="T2" fmla="*/ 73 w 73"/>
                <a:gd name="T3" fmla="*/ 799 h 836"/>
                <a:gd name="T4" fmla="*/ 73 w 73"/>
                <a:gd name="T5" fmla="*/ 799 h 836"/>
                <a:gd name="T6" fmla="*/ 71 w 73"/>
                <a:gd name="T7" fmla="*/ 806 h 836"/>
                <a:gd name="T8" fmla="*/ 70 w 73"/>
                <a:gd name="T9" fmla="*/ 813 h 836"/>
                <a:gd name="T10" fmla="*/ 66 w 73"/>
                <a:gd name="T11" fmla="*/ 820 h 836"/>
                <a:gd name="T12" fmla="*/ 63 w 73"/>
                <a:gd name="T13" fmla="*/ 825 h 836"/>
                <a:gd name="T14" fmla="*/ 57 w 73"/>
                <a:gd name="T15" fmla="*/ 830 h 836"/>
                <a:gd name="T16" fmla="*/ 51 w 73"/>
                <a:gd name="T17" fmla="*/ 834 h 836"/>
                <a:gd name="T18" fmla="*/ 44 w 73"/>
                <a:gd name="T19" fmla="*/ 836 h 836"/>
                <a:gd name="T20" fmla="*/ 37 w 73"/>
                <a:gd name="T21" fmla="*/ 836 h 836"/>
                <a:gd name="T22" fmla="*/ 37 w 73"/>
                <a:gd name="T23" fmla="*/ 836 h 836"/>
                <a:gd name="T24" fmla="*/ 30 w 73"/>
                <a:gd name="T25" fmla="*/ 836 h 836"/>
                <a:gd name="T26" fmla="*/ 23 w 73"/>
                <a:gd name="T27" fmla="*/ 834 h 836"/>
                <a:gd name="T28" fmla="*/ 16 w 73"/>
                <a:gd name="T29" fmla="*/ 830 h 836"/>
                <a:gd name="T30" fmla="*/ 11 w 73"/>
                <a:gd name="T31" fmla="*/ 825 h 836"/>
                <a:gd name="T32" fmla="*/ 6 w 73"/>
                <a:gd name="T33" fmla="*/ 820 h 836"/>
                <a:gd name="T34" fmla="*/ 2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2 w 73"/>
                <a:gd name="T47" fmla="*/ 23 h 836"/>
                <a:gd name="T48" fmla="*/ 6 w 73"/>
                <a:gd name="T49" fmla="*/ 16 h 836"/>
                <a:gd name="T50" fmla="*/ 11 w 73"/>
                <a:gd name="T51" fmla="*/ 11 h 836"/>
                <a:gd name="T52" fmla="*/ 16 w 73"/>
                <a:gd name="T53" fmla="*/ 7 h 836"/>
                <a:gd name="T54" fmla="*/ 23 w 73"/>
                <a:gd name="T55" fmla="*/ 4 h 836"/>
                <a:gd name="T56" fmla="*/ 30 w 73"/>
                <a:gd name="T57" fmla="*/ 2 h 836"/>
                <a:gd name="T58" fmla="*/ 37 w 73"/>
                <a:gd name="T59" fmla="*/ 0 h 836"/>
                <a:gd name="T60" fmla="*/ 37 w 73"/>
                <a:gd name="T61" fmla="*/ 0 h 836"/>
                <a:gd name="T62" fmla="*/ 44 w 73"/>
                <a:gd name="T63" fmla="*/ 2 h 836"/>
                <a:gd name="T64" fmla="*/ 51 w 73"/>
                <a:gd name="T65" fmla="*/ 4 h 836"/>
                <a:gd name="T66" fmla="*/ 57 w 73"/>
                <a:gd name="T67" fmla="*/ 7 h 836"/>
                <a:gd name="T68" fmla="*/ 63 w 73"/>
                <a:gd name="T69" fmla="*/ 11 h 836"/>
                <a:gd name="T70" fmla="*/ 66 w 73"/>
                <a:gd name="T71" fmla="*/ 16 h 836"/>
                <a:gd name="T72" fmla="*/ 70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70" y="813"/>
                  </a:lnTo>
                  <a:lnTo>
                    <a:pt x="66" y="820"/>
                  </a:lnTo>
                  <a:lnTo>
                    <a:pt x="63" y="825"/>
                  </a:lnTo>
                  <a:lnTo>
                    <a:pt x="57" y="830"/>
                  </a:lnTo>
                  <a:lnTo>
                    <a:pt x="51" y="834"/>
                  </a:lnTo>
                  <a:lnTo>
                    <a:pt x="44" y="836"/>
                  </a:lnTo>
                  <a:lnTo>
                    <a:pt x="37" y="836"/>
                  </a:lnTo>
                  <a:lnTo>
                    <a:pt x="37" y="836"/>
                  </a:lnTo>
                  <a:lnTo>
                    <a:pt x="30" y="836"/>
                  </a:lnTo>
                  <a:lnTo>
                    <a:pt x="23" y="834"/>
                  </a:lnTo>
                  <a:lnTo>
                    <a:pt x="16" y="830"/>
                  </a:lnTo>
                  <a:lnTo>
                    <a:pt x="11" y="825"/>
                  </a:lnTo>
                  <a:lnTo>
                    <a:pt x="6" y="820"/>
                  </a:lnTo>
                  <a:lnTo>
                    <a:pt x="2" y="813"/>
                  </a:lnTo>
                  <a:lnTo>
                    <a:pt x="0" y="806"/>
                  </a:lnTo>
                  <a:lnTo>
                    <a:pt x="0" y="799"/>
                  </a:lnTo>
                  <a:lnTo>
                    <a:pt x="0" y="36"/>
                  </a:lnTo>
                  <a:lnTo>
                    <a:pt x="0" y="36"/>
                  </a:lnTo>
                  <a:lnTo>
                    <a:pt x="0" y="30"/>
                  </a:lnTo>
                  <a:lnTo>
                    <a:pt x="2" y="23"/>
                  </a:lnTo>
                  <a:lnTo>
                    <a:pt x="6" y="16"/>
                  </a:lnTo>
                  <a:lnTo>
                    <a:pt x="11" y="11"/>
                  </a:lnTo>
                  <a:lnTo>
                    <a:pt x="16" y="7"/>
                  </a:lnTo>
                  <a:lnTo>
                    <a:pt x="23" y="4"/>
                  </a:lnTo>
                  <a:lnTo>
                    <a:pt x="30" y="2"/>
                  </a:lnTo>
                  <a:lnTo>
                    <a:pt x="37" y="0"/>
                  </a:lnTo>
                  <a:lnTo>
                    <a:pt x="37" y="0"/>
                  </a:lnTo>
                  <a:lnTo>
                    <a:pt x="44" y="2"/>
                  </a:lnTo>
                  <a:lnTo>
                    <a:pt x="51" y="4"/>
                  </a:lnTo>
                  <a:lnTo>
                    <a:pt x="57" y="7"/>
                  </a:lnTo>
                  <a:lnTo>
                    <a:pt x="63" y="11"/>
                  </a:lnTo>
                  <a:lnTo>
                    <a:pt x="66" y="16"/>
                  </a:lnTo>
                  <a:lnTo>
                    <a:pt x="70" y="23"/>
                  </a:lnTo>
                  <a:lnTo>
                    <a:pt x="71" y="30"/>
                  </a:lnTo>
                  <a:lnTo>
                    <a:pt x="73" y="36"/>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4" name="Freeform 81">
              <a:extLst>
                <a:ext uri="{FF2B5EF4-FFF2-40B4-BE49-F238E27FC236}">
                  <a16:creationId xmlns:a16="http://schemas.microsoft.com/office/drawing/2014/main" id="{36253932-22EE-4AA6-83F3-3D75324F2B3C}"/>
                </a:ext>
              </a:extLst>
            </p:cNvPr>
            <p:cNvSpPr>
              <a:spLocks/>
            </p:cNvSpPr>
            <p:nvPr/>
          </p:nvSpPr>
          <p:spPr bwMode="auto">
            <a:xfrm>
              <a:off x="6290083" y="-152920"/>
              <a:ext cx="40682" cy="465159"/>
            </a:xfrm>
            <a:custGeom>
              <a:avLst/>
              <a:gdLst>
                <a:gd name="T0" fmla="*/ 73 w 73"/>
                <a:gd name="T1" fmla="*/ 36 h 836"/>
                <a:gd name="T2" fmla="*/ 73 w 73"/>
                <a:gd name="T3" fmla="*/ 799 h 836"/>
                <a:gd name="T4" fmla="*/ 73 w 73"/>
                <a:gd name="T5" fmla="*/ 799 h 836"/>
                <a:gd name="T6" fmla="*/ 73 w 73"/>
                <a:gd name="T7" fmla="*/ 806 h 836"/>
                <a:gd name="T8" fmla="*/ 69 w 73"/>
                <a:gd name="T9" fmla="*/ 813 h 836"/>
                <a:gd name="T10" fmla="*/ 67 w 73"/>
                <a:gd name="T11" fmla="*/ 820 h 836"/>
                <a:gd name="T12" fmla="*/ 62 w 73"/>
                <a:gd name="T13" fmla="*/ 825 h 836"/>
                <a:gd name="T14" fmla="*/ 57 w 73"/>
                <a:gd name="T15" fmla="*/ 830 h 836"/>
                <a:gd name="T16" fmla="*/ 50 w 73"/>
                <a:gd name="T17" fmla="*/ 834 h 836"/>
                <a:gd name="T18" fmla="*/ 43 w 73"/>
                <a:gd name="T19" fmla="*/ 836 h 836"/>
                <a:gd name="T20" fmla="*/ 36 w 73"/>
                <a:gd name="T21" fmla="*/ 836 h 836"/>
                <a:gd name="T22" fmla="*/ 36 w 73"/>
                <a:gd name="T23" fmla="*/ 836 h 836"/>
                <a:gd name="T24" fmla="*/ 29 w 73"/>
                <a:gd name="T25" fmla="*/ 836 h 836"/>
                <a:gd name="T26" fmla="*/ 22 w 73"/>
                <a:gd name="T27" fmla="*/ 834 h 836"/>
                <a:gd name="T28" fmla="*/ 16 w 73"/>
                <a:gd name="T29" fmla="*/ 830 h 836"/>
                <a:gd name="T30" fmla="*/ 10 w 73"/>
                <a:gd name="T31" fmla="*/ 825 h 836"/>
                <a:gd name="T32" fmla="*/ 7 w 73"/>
                <a:gd name="T33" fmla="*/ 820 h 836"/>
                <a:gd name="T34" fmla="*/ 3 w 73"/>
                <a:gd name="T35" fmla="*/ 813 h 836"/>
                <a:gd name="T36" fmla="*/ 2 w 73"/>
                <a:gd name="T37" fmla="*/ 806 h 836"/>
                <a:gd name="T38" fmla="*/ 0 w 73"/>
                <a:gd name="T39" fmla="*/ 799 h 836"/>
                <a:gd name="T40" fmla="*/ 0 w 73"/>
                <a:gd name="T41" fmla="*/ 36 h 836"/>
                <a:gd name="T42" fmla="*/ 0 w 73"/>
                <a:gd name="T43" fmla="*/ 36 h 836"/>
                <a:gd name="T44" fmla="*/ 2 w 73"/>
                <a:gd name="T45" fmla="*/ 30 h 836"/>
                <a:gd name="T46" fmla="*/ 3 w 73"/>
                <a:gd name="T47" fmla="*/ 23 h 836"/>
                <a:gd name="T48" fmla="*/ 7 w 73"/>
                <a:gd name="T49" fmla="*/ 16 h 836"/>
                <a:gd name="T50" fmla="*/ 10 w 73"/>
                <a:gd name="T51" fmla="*/ 11 h 836"/>
                <a:gd name="T52" fmla="*/ 16 w 73"/>
                <a:gd name="T53" fmla="*/ 7 h 836"/>
                <a:gd name="T54" fmla="*/ 22 w 73"/>
                <a:gd name="T55" fmla="*/ 4 h 836"/>
                <a:gd name="T56" fmla="*/ 29 w 73"/>
                <a:gd name="T57" fmla="*/ 2 h 836"/>
                <a:gd name="T58" fmla="*/ 36 w 73"/>
                <a:gd name="T59" fmla="*/ 0 h 836"/>
                <a:gd name="T60" fmla="*/ 36 w 73"/>
                <a:gd name="T61" fmla="*/ 0 h 836"/>
                <a:gd name="T62" fmla="*/ 43 w 73"/>
                <a:gd name="T63" fmla="*/ 2 h 836"/>
                <a:gd name="T64" fmla="*/ 50 w 73"/>
                <a:gd name="T65" fmla="*/ 4 h 836"/>
                <a:gd name="T66" fmla="*/ 57 w 73"/>
                <a:gd name="T67" fmla="*/ 7 h 836"/>
                <a:gd name="T68" fmla="*/ 62 w 73"/>
                <a:gd name="T69" fmla="*/ 11 h 836"/>
                <a:gd name="T70" fmla="*/ 67 w 73"/>
                <a:gd name="T71" fmla="*/ 16 h 836"/>
                <a:gd name="T72" fmla="*/ 69 w 73"/>
                <a:gd name="T73" fmla="*/ 23 h 836"/>
                <a:gd name="T74" fmla="*/ 73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3" y="806"/>
                  </a:lnTo>
                  <a:lnTo>
                    <a:pt x="69" y="813"/>
                  </a:lnTo>
                  <a:lnTo>
                    <a:pt x="67" y="820"/>
                  </a:lnTo>
                  <a:lnTo>
                    <a:pt x="62" y="825"/>
                  </a:lnTo>
                  <a:lnTo>
                    <a:pt x="57" y="830"/>
                  </a:lnTo>
                  <a:lnTo>
                    <a:pt x="50" y="834"/>
                  </a:lnTo>
                  <a:lnTo>
                    <a:pt x="43" y="836"/>
                  </a:lnTo>
                  <a:lnTo>
                    <a:pt x="36" y="836"/>
                  </a:lnTo>
                  <a:lnTo>
                    <a:pt x="36" y="836"/>
                  </a:lnTo>
                  <a:lnTo>
                    <a:pt x="29" y="836"/>
                  </a:lnTo>
                  <a:lnTo>
                    <a:pt x="22" y="834"/>
                  </a:lnTo>
                  <a:lnTo>
                    <a:pt x="16" y="830"/>
                  </a:lnTo>
                  <a:lnTo>
                    <a:pt x="10" y="825"/>
                  </a:lnTo>
                  <a:lnTo>
                    <a:pt x="7" y="820"/>
                  </a:lnTo>
                  <a:lnTo>
                    <a:pt x="3" y="813"/>
                  </a:lnTo>
                  <a:lnTo>
                    <a:pt x="2" y="806"/>
                  </a:lnTo>
                  <a:lnTo>
                    <a:pt x="0" y="799"/>
                  </a:lnTo>
                  <a:lnTo>
                    <a:pt x="0" y="36"/>
                  </a:lnTo>
                  <a:lnTo>
                    <a:pt x="0" y="36"/>
                  </a:lnTo>
                  <a:lnTo>
                    <a:pt x="2" y="30"/>
                  </a:lnTo>
                  <a:lnTo>
                    <a:pt x="3" y="23"/>
                  </a:lnTo>
                  <a:lnTo>
                    <a:pt x="7" y="16"/>
                  </a:lnTo>
                  <a:lnTo>
                    <a:pt x="10" y="11"/>
                  </a:lnTo>
                  <a:lnTo>
                    <a:pt x="16" y="7"/>
                  </a:lnTo>
                  <a:lnTo>
                    <a:pt x="22" y="4"/>
                  </a:lnTo>
                  <a:lnTo>
                    <a:pt x="29" y="2"/>
                  </a:lnTo>
                  <a:lnTo>
                    <a:pt x="36" y="0"/>
                  </a:lnTo>
                  <a:lnTo>
                    <a:pt x="36" y="0"/>
                  </a:lnTo>
                  <a:lnTo>
                    <a:pt x="43" y="2"/>
                  </a:lnTo>
                  <a:lnTo>
                    <a:pt x="50" y="4"/>
                  </a:lnTo>
                  <a:lnTo>
                    <a:pt x="57" y="7"/>
                  </a:lnTo>
                  <a:lnTo>
                    <a:pt x="62" y="11"/>
                  </a:lnTo>
                  <a:lnTo>
                    <a:pt x="67" y="16"/>
                  </a:lnTo>
                  <a:lnTo>
                    <a:pt x="69" y="23"/>
                  </a:lnTo>
                  <a:lnTo>
                    <a:pt x="73" y="30"/>
                  </a:lnTo>
                  <a:lnTo>
                    <a:pt x="73" y="3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5" name="Freeform 82">
              <a:extLst>
                <a:ext uri="{FF2B5EF4-FFF2-40B4-BE49-F238E27FC236}">
                  <a16:creationId xmlns:a16="http://schemas.microsoft.com/office/drawing/2014/main" id="{D416CC93-8B88-4443-85A6-7A9A15E2DCE0}"/>
                </a:ext>
              </a:extLst>
            </p:cNvPr>
            <p:cNvSpPr>
              <a:spLocks/>
            </p:cNvSpPr>
            <p:nvPr/>
          </p:nvSpPr>
          <p:spPr bwMode="auto">
            <a:xfrm>
              <a:off x="6290083" y="-152920"/>
              <a:ext cx="40682" cy="465159"/>
            </a:xfrm>
            <a:custGeom>
              <a:avLst/>
              <a:gdLst>
                <a:gd name="T0" fmla="*/ 73 w 73"/>
                <a:gd name="T1" fmla="*/ 36 h 836"/>
                <a:gd name="T2" fmla="*/ 73 w 73"/>
                <a:gd name="T3" fmla="*/ 799 h 836"/>
                <a:gd name="T4" fmla="*/ 73 w 73"/>
                <a:gd name="T5" fmla="*/ 799 h 836"/>
                <a:gd name="T6" fmla="*/ 73 w 73"/>
                <a:gd name="T7" fmla="*/ 806 h 836"/>
                <a:gd name="T8" fmla="*/ 69 w 73"/>
                <a:gd name="T9" fmla="*/ 813 h 836"/>
                <a:gd name="T10" fmla="*/ 67 w 73"/>
                <a:gd name="T11" fmla="*/ 820 h 836"/>
                <a:gd name="T12" fmla="*/ 62 w 73"/>
                <a:gd name="T13" fmla="*/ 825 h 836"/>
                <a:gd name="T14" fmla="*/ 57 w 73"/>
                <a:gd name="T15" fmla="*/ 830 h 836"/>
                <a:gd name="T16" fmla="*/ 50 w 73"/>
                <a:gd name="T17" fmla="*/ 834 h 836"/>
                <a:gd name="T18" fmla="*/ 43 w 73"/>
                <a:gd name="T19" fmla="*/ 836 h 836"/>
                <a:gd name="T20" fmla="*/ 36 w 73"/>
                <a:gd name="T21" fmla="*/ 836 h 836"/>
                <a:gd name="T22" fmla="*/ 36 w 73"/>
                <a:gd name="T23" fmla="*/ 836 h 836"/>
                <a:gd name="T24" fmla="*/ 29 w 73"/>
                <a:gd name="T25" fmla="*/ 836 h 836"/>
                <a:gd name="T26" fmla="*/ 22 w 73"/>
                <a:gd name="T27" fmla="*/ 834 h 836"/>
                <a:gd name="T28" fmla="*/ 16 w 73"/>
                <a:gd name="T29" fmla="*/ 830 h 836"/>
                <a:gd name="T30" fmla="*/ 10 w 73"/>
                <a:gd name="T31" fmla="*/ 825 h 836"/>
                <a:gd name="T32" fmla="*/ 7 w 73"/>
                <a:gd name="T33" fmla="*/ 820 h 836"/>
                <a:gd name="T34" fmla="*/ 3 w 73"/>
                <a:gd name="T35" fmla="*/ 813 h 836"/>
                <a:gd name="T36" fmla="*/ 2 w 73"/>
                <a:gd name="T37" fmla="*/ 806 h 836"/>
                <a:gd name="T38" fmla="*/ 0 w 73"/>
                <a:gd name="T39" fmla="*/ 799 h 836"/>
                <a:gd name="T40" fmla="*/ 0 w 73"/>
                <a:gd name="T41" fmla="*/ 36 h 836"/>
                <a:gd name="T42" fmla="*/ 0 w 73"/>
                <a:gd name="T43" fmla="*/ 36 h 836"/>
                <a:gd name="T44" fmla="*/ 2 w 73"/>
                <a:gd name="T45" fmla="*/ 30 h 836"/>
                <a:gd name="T46" fmla="*/ 3 w 73"/>
                <a:gd name="T47" fmla="*/ 23 h 836"/>
                <a:gd name="T48" fmla="*/ 7 w 73"/>
                <a:gd name="T49" fmla="*/ 16 h 836"/>
                <a:gd name="T50" fmla="*/ 10 w 73"/>
                <a:gd name="T51" fmla="*/ 11 h 836"/>
                <a:gd name="T52" fmla="*/ 16 w 73"/>
                <a:gd name="T53" fmla="*/ 7 h 836"/>
                <a:gd name="T54" fmla="*/ 22 w 73"/>
                <a:gd name="T55" fmla="*/ 4 h 836"/>
                <a:gd name="T56" fmla="*/ 29 w 73"/>
                <a:gd name="T57" fmla="*/ 2 h 836"/>
                <a:gd name="T58" fmla="*/ 36 w 73"/>
                <a:gd name="T59" fmla="*/ 0 h 836"/>
                <a:gd name="T60" fmla="*/ 36 w 73"/>
                <a:gd name="T61" fmla="*/ 0 h 836"/>
                <a:gd name="T62" fmla="*/ 43 w 73"/>
                <a:gd name="T63" fmla="*/ 2 h 836"/>
                <a:gd name="T64" fmla="*/ 50 w 73"/>
                <a:gd name="T65" fmla="*/ 4 h 836"/>
                <a:gd name="T66" fmla="*/ 57 w 73"/>
                <a:gd name="T67" fmla="*/ 7 h 836"/>
                <a:gd name="T68" fmla="*/ 62 w 73"/>
                <a:gd name="T69" fmla="*/ 11 h 836"/>
                <a:gd name="T70" fmla="*/ 67 w 73"/>
                <a:gd name="T71" fmla="*/ 16 h 836"/>
                <a:gd name="T72" fmla="*/ 69 w 73"/>
                <a:gd name="T73" fmla="*/ 23 h 836"/>
                <a:gd name="T74" fmla="*/ 73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3" y="806"/>
                  </a:lnTo>
                  <a:lnTo>
                    <a:pt x="69" y="813"/>
                  </a:lnTo>
                  <a:lnTo>
                    <a:pt x="67" y="820"/>
                  </a:lnTo>
                  <a:lnTo>
                    <a:pt x="62" y="825"/>
                  </a:lnTo>
                  <a:lnTo>
                    <a:pt x="57" y="830"/>
                  </a:lnTo>
                  <a:lnTo>
                    <a:pt x="50" y="834"/>
                  </a:lnTo>
                  <a:lnTo>
                    <a:pt x="43" y="836"/>
                  </a:lnTo>
                  <a:lnTo>
                    <a:pt x="36" y="836"/>
                  </a:lnTo>
                  <a:lnTo>
                    <a:pt x="36" y="836"/>
                  </a:lnTo>
                  <a:lnTo>
                    <a:pt x="29" y="836"/>
                  </a:lnTo>
                  <a:lnTo>
                    <a:pt x="22" y="834"/>
                  </a:lnTo>
                  <a:lnTo>
                    <a:pt x="16" y="830"/>
                  </a:lnTo>
                  <a:lnTo>
                    <a:pt x="10" y="825"/>
                  </a:lnTo>
                  <a:lnTo>
                    <a:pt x="7" y="820"/>
                  </a:lnTo>
                  <a:lnTo>
                    <a:pt x="3" y="813"/>
                  </a:lnTo>
                  <a:lnTo>
                    <a:pt x="2" y="806"/>
                  </a:lnTo>
                  <a:lnTo>
                    <a:pt x="0" y="799"/>
                  </a:lnTo>
                  <a:lnTo>
                    <a:pt x="0" y="36"/>
                  </a:lnTo>
                  <a:lnTo>
                    <a:pt x="0" y="36"/>
                  </a:lnTo>
                  <a:lnTo>
                    <a:pt x="2" y="30"/>
                  </a:lnTo>
                  <a:lnTo>
                    <a:pt x="3" y="23"/>
                  </a:lnTo>
                  <a:lnTo>
                    <a:pt x="7" y="16"/>
                  </a:lnTo>
                  <a:lnTo>
                    <a:pt x="10" y="11"/>
                  </a:lnTo>
                  <a:lnTo>
                    <a:pt x="16" y="7"/>
                  </a:lnTo>
                  <a:lnTo>
                    <a:pt x="22" y="4"/>
                  </a:lnTo>
                  <a:lnTo>
                    <a:pt x="29" y="2"/>
                  </a:lnTo>
                  <a:lnTo>
                    <a:pt x="36" y="0"/>
                  </a:lnTo>
                  <a:lnTo>
                    <a:pt x="36" y="0"/>
                  </a:lnTo>
                  <a:lnTo>
                    <a:pt x="43" y="2"/>
                  </a:lnTo>
                  <a:lnTo>
                    <a:pt x="50" y="4"/>
                  </a:lnTo>
                  <a:lnTo>
                    <a:pt x="57" y="7"/>
                  </a:lnTo>
                  <a:lnTo>
                    <a:pt x="62" y="11"/>
                  </a:lnTo>
                  <a:lnTo>
                    <a:pt x="67" y="16"/>
                  </a:lnTo>
                  <a:lnTo>
                    <a:pt x="69" y="23"/>
                  </a:lnTo>
                  <a:lnTo>
                    <a:pt x="73" y="30"/>
                  </a:lnTo>
                  <a:lnTo>
                    <a:pt x="73" y="36"/>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6" name="Freeform 83">
              <a:extLst>
                <a:ext uri="{FF2B5EF4-FFF2-40B4-BE49-F238E27FC236}">
                  <a16:creationId xmlns:a16="http://schemas.microsoft.com/office/drawing/2014/main" id="{2FC26306-3EB0-4351-8B40-BF9730417041}"/>
                </a:ext>
              </a:extLst>
            </p:cNvPr>
            <p:cNvSpPr>
              <a:spLocks/>
            </p:cNvSpPr>
            <p:nvPr/>
          </p:nvSpPr>
          <p:spPr bwMode="auto">
            <a:xfrm>
              <a:off x="6433863" y="13447"/>
              <a:ext cx="40124" cy="132982"/>
            </a:xfrm>
            <a:custGeom>
              <a:avLst/>
              <a:gdLst>
                <a:gd name="T0" fmla="*/ 72 w 72"/>
                <a:gd name="T1" fmla="*/ 37 h 239"/>
                <a:gd name="T2" fmla="*/ 72 w 72"/>
                <a:gd name="T3" fmla="*/ 203 h 239"/>
                <a:gd name="T4" fmla="*/ 72 w 72"/>
                <a:gd name="T5" fmla="*/ 203 h 239"/>
                <a:gd name="T6" fmla="*/ 72 w 72"/>
                <a:gd name="T7" fmla="*/ 210 h 239"/>
                <a:gd name="T8" fmla="*/ 70 w 72"/>
                <a:gd name="T9" fmla="*/ 217 h 239"/>
                <a:gd name="T10" fmla="*/ 67 w 72"/>
                <a:gd name="T11" fmla="*/ 222 h 239"/>
                <a:gd name="T12" fmla="*/ 62 w 72"/>
                <a:gd name="T13" fmla="*/ 227 h 239"/>
                <a:gd name="T14" fmla="*/ 57 w 72"/>
                <a:gd name="T15" fmla="*/ 232 h 239"/>
                <a:gd name="T16" fmla="*/ 51 w 72"/>
                <a:gd name="T17" fmla="*/ 236 h 239"/>
                <a:gd name="T18" fmla="*/ 45 w 72"/>
                <a:gd name="T19" fmla="*/ 237 h 239"/>
                <a:gd name="T20" fmla="*/ 36 w 72"/>
                <a:gd name="T21" fmla="*/ 239 h 239"/>
                <a:gd name="T22" fmla="*/ 36 w 72"/>
                <a:gd name="T23" fmla="*/ 239 h 239"/>
                <a:gd name="T24" fmla="*/ 29 w 72"/>
                <a:gd name="T25" fmla="*/ 237 h 239"/>
                <a:gd name="T26" fmla="*/ 22 w 72"/>
                <a:gd name="T27" fmla="*/ 236 h 239"/>
                <a:gd name="T28" fmla="*/ 17 w 72"/>
                <a:gd name="T29" fmla="*/ 232 h 239"/>
                <a:gd name="T30" fmla="*/ 12 w 72"/>
                <a:gd name="T31" fmla="*/ 227 h 239"/>
                <a:gd name="T32" fmla="*/ 7 w 72"/>
                <a:gd name="T33" fmla="*/ 222 h 239"/>
                <a:gd name="T34" fmla="*/ 3 w 72"/>
                <a:gd name="T35" fmla="*/ 217 h 239"/>
                <a:gd name="T36" fmla="*/ 1 w 72"/>
                <a:gd name="T37" fmla="*/ 210 h 239"/>
                <a:gd name="T38" fmla="*/ 0 w 72"/>
                <a:gd name="T39" fmla="*/ 203 h 239"/>
                <a:gd name="T40" fmla="*/ 0 w 72"/>
                <a:gd name="T41" fmla="*/ 37 h 239"/>
                <a:gd name="T42" fmla="*/ 0 w 72"/>
                <a:gd name="T43" fmla="*/ 37 h 239"/>
                <a:gd name="T44" fmla="*/ 1 w 72"/>
                <a:gd name="T45" fmla="*/ 30 h 239"/>
                <a:gd name="T46" fmla="*/ 3 w 72"/>
                <a:gd name="T47" fmla="*/ 23 h 239"/>
                <a:gd name="T48" fmla="*/ 7 w 72"/>
                <a:gd name="T49" fmla="*/ 16 h 239"/>
                <a:gd name="T50" fmla="*/ 12 w 72"/>
                <a:gd name="T51" fmla="*/ 11 h 239"/>
                <a:gd name="T52" fmla="*/ 17 w 72"/>
                <a:gd name="T53" fmla="*/ 6 h 239"/>
                <a:gd name="T54" fmla="*/ 22 w 72"/>
                <a:gd name="T55" fmla="*/ 4 h 239"/>
                <a:gd name="T56" fmla="*/ 29 w 72"/>
                <a:gd name="T57" fmla="*/ 0 h 239"/>
                <a:gd name="T58" fmla="*/ 36 w 72"/>
                <a:gd name="T59" fmla="*/ 0 h 239"/>
                <a:gd name="T60" fmla="*/ 36 w 72"/>
                <a:gd name="T61" fmla="*/ 0 h 239"/>
                <a:gd name="T62" fmla="*/ 45 w 72"/>
                <a:gd name="T63" fmla="*/ 0 h 239"/>
                <a:gd name="T64" fmla="*/ 51 w 72"/>
                <a:gd name="T65" fmla="*/ 4 h 239"/>
                <a:gd name="T66" fmla="*/ 57 w 72"/>
                <a:gd name="T67" fmla="*/ 6 h 239"/>
                <a:gd name="T68" fmla="*/ 62 w 72"/>
                <a:gd name="T69" fmla="*/ 11 h 239"/>
                <a:gd name="T70" fmla="*/ 67 w 72"/>
                <a:gd name="T71" fmla="*/ 16 h 239"/>
                <a:gd name="T72" fmla="*/ 70 w 72"/>
                <a:gd name="T73" fmla="*/ 23 h 239"/>
                <a:gd name="T74" fmla="*/ 72 w 72"/>
                <a:gd name="T75" fmla="*/ 30 h 239"/>
                <a:gd name="T76" fmla="*/ 72 w 72"/>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239">
                  <a:moveTo>
                    <a:pt x="72" y="37"/>
                  </a:moveTo>
                  <a:lnTo>
                    <a:pt x="72" y="203"/>
                  </a:lnTo>
                  <a:lnTo>
                    <a:pt x="72" y="203"/>
                  </a:lnTo>
                  <a:lnTo>
                    <a:pt x="72" y="210"/>
                  </a:lnTo>
                  <a:lnTo>
                    <a:pt x="70" y="217"/>
                  </a:lnTo>
                  <a:lnTo>
                    <a:pt x="67" y="222"/>
                  </a:lnTo>
                  <a:lnTo>
                    <a:pt x="62" y="227"/>
                  </a:lnTo>
                  <a:lnTo>
                    <a:pt x="57" y="232"/>
                  </a:lnTo>
                  <a:lnTo>
                    <a:pt x="51" y="236"/>
                  </a:lnTo>
                  <a:lnTo>
                    <a:pt x="45" y="237"/>
                  </a:lnTo>
                  <a:lnTo>
                    <a:pt x="36" y="239"/>
                  </a:lnTo>
                  <a:lnTo>
                    <a:pt x="36" y="239"/>
                  </a:lnTo>
                  <a:lnTo>
                    <a:pt x="29" y="237"/>
                  </a:lnTo>
                  <a:lnTo>
                    <a:pt x="22" y="236"/>
                  </a:lnTo>
                  <a:lnTo>
                    <a:pt x="17" y="232"/>
                  </a:lnTo>
                  <a:lnTo>
                    <a:pt x="12" y="227"/>
                  </a:lnTo>
                  <a:lnTo>
                    <a:pt x="7" y="222"/>
                  </a:lnTo>
                  <a:lnTo>
                    <a:pt x="3" y="217"/>
                  </a:lnTo>
                  <a:lnTo>
                    <a:pt x="1" y="210"/>
                  </a:lnTo>
                  <a:lnTo>
                    <a:pt x="0" y="203"/>
                  </a:lnTo>
                  <a:lnTo>
                    <a:pt x="0" y="37"/>
                  </a:lnTo>
                  <a:lnTo>
                    <a:pt x="0" y="37"/>
                  </a:lnTo>
                  <a:lnTo>
                    <a:pt x="1" y="30"/>
                  </a:lnTo>
                  <a:lnTo>
                    <a:pt x="3" y="23"/>
                  </a:lnTo>
                  <a:lnTo>
                    <a:pt x="7" y="16"/>
                  </a:lnTo>
                  <a:lnTo>
                    <a:pt x="12" y="11"/>
                  </a:lnTo>
                  <a:lnTo>
                    <a:pt x="17" y="6"/>
                  </a:lnTo>
                  <a:lnTo>
                    <a:pt x="22" y="4"/>
                  </a:lnTo>
                  <a:lnTo>
                    <a:pt x="29" y="0"/>
                  </a:lnTo>
                  <a:lnTo>
                    <a:pt x="36" y="0"/>
                  </a:lnTo>
                  <a:lnTo>
                    <a:pt x="36" y="0"/>
                  </a:lnTo>
                  <a:lnTo>
                    <a:pt x="45" y="0"/>
                  </a:lnTo>
                  <a:lnTo>
                    <a:pt x="51" y="4"/>
                  </a:lnTo>
                  <a:lnTo>
                    <a:pt x="57" y="6"/>
                  </a:lnTo>
                  <a:lnTo>
                    <a:pt x="62" y="11"/>
                  </a:lnTo>
                  <a:lnTo>
                    <a:pt x="67" y="16"/>
                  </a:lnTo>
                  <a:lnTo>
                    <a:pt x="70" y="23"/>
                  </a:lnTo>
                  <a:lnTo>
                    <a:pt x="72" y="30"/>
                  </a:lnTo>
                  <a:lnTo>
                    <a:pt x="72" y="3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7" name="Freeform 84">
              <a:extLst>
                <a:ext uri="{FF2B5EF4-FFF2-40B4-BE49-F238E27FC236}">
                  <a16:creationId xmlns:a16="http://schemas.microsoft.com/office/drawing/2014/main" id="{44EA5AFC-AE46-4030-B003-CC53FA54FBEE}"/>
                </a:ext>
              </a:extLst>
            </p:cNvPr>
            <p:cNvSpPr>
              <a:spLocks/>
            </p:cNvSpPr>
            <p:nvPr/>
          </p:nvSpPr>
          <p:spPr bwMode="auto">
            <a:xfrm>
              <a:off x="6433863" y="13447"/>
              <a:ext cx="40124" cy="132982"/>
            </a:xfrm>
            <a:custGeom>
              <a:avLst/>
              <a:gdLst>
                <a:gd name="T0" fmla="*/ 72 w 72"/>
                <a:gd name="T1" fmla="*/ 37 h 239"/>
                <a:gd name="T2" fmla="*/ 72 w 72"/>
                <a:gd name="T3" fmla="*/ 203 h 239"/>
                <a:gd name="T4" fmla="*/ 72 w 72"/>
                <a:gd name="T5" fmla="*/ 203 h 239"/>
                <a:gd name="T6" fmla="*/ 72 w 72"/>
                <a:gd name="T7" fmla="*/ 210 h 239"/>
                <a:gd name="T8" fmla="*/ 70 w 72"/>
                <a:gd name="T9" fmla="*/ 217 h 239"/>
                <a:gd name="T10" fmla="*/ 67 w 72"/>
                <a:gd name="T11" fmla="*/ 222 h 239"/>
                <a:gd name="T12" fmla="*/ 62 w 72"/>
                <a:gd name="T13" fmla="*/ 227 h 239"/>
                <a:gd name="T14" fmla="*/ 57 w 72"/>
                <a:gd name="T15" fmla="*/ 232 h 239"/>
                <a:gd name="T16" fmla="*/ 51 w 72"/>
                <a:gd name="T17" fmla="*/ 236 h 239"/>
                <a:gd name="T18" fmla="*/ 45 w 72"/>
                <a:gd name="T19" fmla="*/ 237 h 239"/>
                <a:gd name="T20" fmla="*/ 36 w 72"/>
                <a:gd name="T21" fmla="*/ 239 h 239"/>
                <a:gd name="T22" fmla="*/ 36 w 72"/>
                <a:gd name="T23" fmla="*/ 239 h 239"/>
                <a:gd name="T24" fmla="*/ 29 w 72"/>
                <a:gd name="T25" fmla="*/ 237 h 239"/>
                <a:gd name="T26" fmla="*/ 22 w 72"/>
                <a:gd name="T27" fmla="*/ 236 h 239"/>
                <a:gd name="T28" fmla="*/ 17 w 72"/>
                <a:gd name="T29" fmla="*/ 232 h 239"/>
                <a:gd name="T30" fmla="*/ 12 w 72"/>
                <a:gd name="T31" fmla="*/ 227 h 239"/>
                <a:gd name="T32" fmla="*/ 7 w 72"/>
                <a:gd name="T33" fmla="*/ 222 h 239"/>
                <a:gd name="T34" fmla="*/ 3 w 72"/>
                <a:gd name="T35" fmla="*/ 217 h 239"/>
                <a:gd name="T36" fmla="*/ 1 w 72"/>
                <a:gd name="T37" fmla="*/ 210 h 239"/>
                <a:gd name="T38" fmla="*/ 0 w 72"/>
                <a:gd name="T39" fmla="*/ 203 h 239"/>
                <a:gd name="T40" fmla="*/ 0 w 72"/>
                <a:gd name="T41" fmla="*/ 37 h 239"/>
                <a:gd name="T42" fmla="*/ 0 w 72"/>
                <a:gd name="T43" fmla="*/ 37 h 239"/>
                <a:gd name="T44" fmla="*/ 1 w 72"/>
                <a:gd name="T45" fmla="*/ 30 h 239"/>
                <a:gd name="T46" fmla="*/ 3 w 72"/>
                <a:gd name="T47" fmla="*/ 23 h 239"/>
                <a:gd name="T48" fmla="*/ 7 w 72"/>
                <a:gd name="T49" fmla="*/ 16 h 239"/>
                <a:gd name="T50" fmla="*/ 12 w 72"/>
                <a:gd name="T51" fmla="*/ 11 h 239"/>
                <a:gd name="T52" fmla="*/ 17 w 72"/>
                <a:gd name="T53" fmla="*/ 6 h 239"/>
                <a:gd name="T54" fmla="*/ 22 w 72"/>
                <a:gd name="T55" fmla="*/ 4 h 239"/>
                <a:gd name="T56" fmla="*/ 29 w 72"/>
                <a:gd name="T57" fmla="*/ 0 h 239"/>
                <a:gd name="T58" fmla="*/ 36 w 72"/>
                <a:gd name="T59" fmla="*/ 0 h 239"/>
                <a:gd name="T60" fmla="*/ 36 w 72"/>
                <a:gd name="T61" fmla="*/ 0 h 239"/>
                <a:gd name="T62" fmla="*/ 45 w 72"/>
                <a:gd name="T63" fmla="*/ 0 h 239"/>
                <a:gd name="T64" fmla="*/ 51 w 72"/>
                <a:gd name="T65" fmla="*/ 4 h 239"/>
                <a:gd name="T66" fmla="*/ 57 w 72"/>
                <a:gd name="T67" fmla="*/ 6 h 239"/>
                <a:gd name="T68" fmla="*/ 62 w 72"/>
                <a:gd name="T69" fmla="*/ 11 h 239"/>
                <a:gd name="T70" fmla="*/ 67 w 72"/>
                <a:gd name="T71" fmla="*/ 16 h 239"/>
                <a:gd name="T72" fmla="*/ 70 w 72"/>
                <a:gd name="T73" fmla="*/ 23 h 239"/>
                <a:gd name="T74" fmla="*/ 72 w 72"/>
                <a:gd name="T75" fmla="*/ 30 h 239"/>
                <a:gd name="T76" fmla="*/ 72 w 72"/>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239">
                  <a:moveTo>
                    <a:pt x="72" y="37"/>
                  </a:moveTo>
                  <a:lnTo>
                    <a:pt x="72" y="203"/>
                  </a:lnTo>
                  <a:lnTo>
                    <a:pt x="72" y="203"/>
                  </a:lnTo>
                  <a:lnTo>
                    <a:pt x="72" y="210"/>
                  </a:lnTo>
                  <a:lnTo>
                    <a:pt x="70" y="217"/>
                  </a:lnTo>
                  <a:lnTo>
                    <a:pt x="67" y="222"/>
                  </a:lnTo>
                  <a:lnTo>
                    <a:pt x="62" y="227"/>
                  </a:lnTo>
                  <a:lnTo>
                    <a:pt x="57" y="232"/>
                  </a:lnTo>
                  <a:lnTo>
                    <a:pt x="51" y="236"/>
                  </a:lnTo>
                  <a:lnTo>
                    <a:pt x="45" y="237"/>
                  </a:lnTo>
                  <a:lnTo>
                    <a:pt x="36" y="239"/>
                  </a:lnTo>
                  <a:lnTo>
                    <a:pt x="36" y="239"/>
                  </a:lnTo>
                  <a:lnTo>
                    <a:pt x="29" y="237"/>
                  </a:lnTo>
                  <a:lnTo>
                    <a:pt x="22" y="236"/>
                  </a:lnTo>
                  <a:lnTo>
                    <a:pt x="17" y="232"/>
                  </a:lnTo>
                  <a:lnTo>
                    <a:pt x="12" y="227"/>
                  </a:lnTo>
                  <a:lnTo>
                    <a:pt x="7" y="222"/>
                  </a:lnTo>
                  <a:lnTo>
                    <a:pt x="3" y="217"/>
                  </a:lnTo>
                  <a:lnTo>
                    <a:pt x="1" y="210"/>
                  </a:lnTo>
                  <a:lnTo>
                    <a:pt x="0" y="203"/>
                  </a:lnTo>
                  <a:lnTo>
                    <a:pt x="0" y="37"/>
                  </a:lnTo>
                  <a:lnTo>
                    <a:pt x="0" y="37"/>
                  </a:lnTo>
                  <a:lnTo>
                    <a:pt x="1" y="30"/>
                  </a:lnTo>
                  <a:lnTo>
                    <a:pt x="3" y="23"/>
                  </a:lnTo>
                  <a:lnTo>
                    <a:pt x="7" y="16"/>
                  </a:lnTo>
                  <a:lnTo>
                    <a:pt x="12" y="11"/>
                  </a:lnTo>
                  <a:lnTo>
                    <a:pt x="17" y="6"/>
                  </a:lnTo>
                  <a:lnTo>
                    <a:pt x="22" y="4"/>
                  </a:lnTo>
                  <a:lnTo>
                    <a:pt x="29" y="0"/>
                  </a:lnTo>
                  <a:lnTo>
                    <a:pt x="36" y="0"/>
                  </a:lnTo>
                  <a:lnTo>
                    <a:pt x="36" y="0"/>
                  </a:lnTo>
                  <a:lnTo>
                    <a:pt x="45" y="0"/>
                  </a:lnTo>
                  <a:lnTo>
                    <a:pt x="51" y="4"/>
                  </a:lnTo>
                  <a:lnTo>
                    <a:pt x="57" y="6"/>
                  </a:lnTo>
                  <a:lnTo>
                    <a:pt x="62" y="11"/>
                  </a:lnTo>
                  <a:lnTo>
                    <a:pt x="67" y="16"/>
                  </a:lnTo>
                  <a:lnTo>
                    <a:pt x="70" y="23"/>
                  </a:lnTo>
                  <a:lnTo>
                    <a:pt x="72" y="30"/>
                  </a:lnTo>
                  <a:lnTo>
                    <a:pt x="72" y="37"/>
                  </a:ln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8" name="Freeform 85">
              <a:extLst>
                <a:ext uri="{FF2B5EF4-FFF2-40B4-BE49-F238E27FC236}">
                  <a16:creationId xmlns:a16="http://schemas.microsoft.com/office/drawing/2014/main" id="{2770F80F-6D4D-499E-A189-9211112A267E}"/>
                </a:ext>
              </a:extLst>
            </p:cNvPr>
            <p:cNvSpPr>
              <a:spLocks/>
            </p:cNvSpPr>
            <p:nvPr/>
          </p:nvSpPr>
          <p:spPr bwMode="auto">
            <a:xfrm>
              <a:off x="6865202" y="13447"/>
              <a:ext cx="40682" cy="132982"/>
            </a:xfrm>
            <a:custGeom>
              <a:avLst/>
              <a:gdLst>
                <a:gd name="T0" fmla="*/ 73 w 73"/>
                <a:gd name="T1" fmla="*/ 37 h 239"/>
                <a:gd name="T2" fmla="*/ 73 w 73"/>
                <a:gd name="T3" fmla="*/ 203 h 239"/>
                <a:gd name="T4" fmla="*/ 73 w 73"/>
                <a:gd name="T5" fmla="*/ 203 h 239"/>
                <a:gd name="T6" fmla="*/ 73 w 73"/>
                <a:gd name="T7" fmla="*/ 210 h 239"/>
                <a:gd name="T8" fmla="*/ 71 w 73"/>
                <a:gd name="T9" fmla="*/ 217 h 239"/>
                <a:gd name="T10" fmla="*/ 67 w 73"/>
                <a:gd name="T11" fmla="*/ 222 h 239"/>
                <a:gd name="T12" fmla="*/ 62 w 73"/>
                <a:gd name="T13" fmla="*/ 227 h 239"/>
                <a:gd name="T14" fmla="*/ 57 w 73"/>
                <a:gd name="T15" fmla="*/ 232 h 239"/>
                <a:gd name="T16" fmla="*/ 52 w 73"/>
                <a:gd name="T17" fmla="*/ 236 h 239"/>
                <a:gd name="T18" fmla="*/ 45 w 73"/>
                <a:gd name="T19" fmla="*/ 237 h 239"/>
                <a:gd name="T20" fmla="*/ 36 w 73"/>
                <a:gd name="T21" fmla="*/ 239 h 239"/>
                <a:gd name="T22" fmla="*/ 36 w 73"/>
                <a:gd name="T23" fmla="*/ 239 h 239"/>
                <a:gd name="T24" fmla="*/ 29 w 73"/>
                <a:gd name="T25" fmla="*/ 237 h 239"/>
                <a:gd name="T26" fmla="*/ 23 w 73"/>
                <a:gd name="T27" fmla="*/ 236 h 239"/>
                <a:gd name="T28" fmla="*/ 17 w 73"/>
                <a:gd name="T29" fmla="*/ 232 h 239"/>
                <a:gd name="T30" fmla="*/ 12 w 73"/>
                <a:gd name="T31" fmla="*/ 227 h 239"/>
                <a:gd name="T32" fmla="*/ 7 w 73"/>
                <a:gd name="T33" fmla="*/ 222 h 239"/>
                <a:gd name="T34" fmla="*/ 4 w 73"/>
                <a:gd name="T35" fmla="*/ 217 h 239"/>
                <a:gd name="T36" fmla="*/ 2 w 73"/>
                <a:gd name="T37" fmla="*/ 210 h 239"/>
                <a:gd name="T38" fmla="*/ 0 w 73"/>
                <a:gd name="T39" fmla="*/ 203 h 239"/>
                <a:gd name="T40" fmla="*/ 0 w 73"/>
                <a:gd name="T41" fmla="*/ 37 h 239"/>
                <a:gd name="T42" fmla="*/ 0 w 73"/>
                <a:gd name="T43" fmla="*/ 37 h 239"/>
                <a:gd name="T44" fmla="*/ 2 w 73"/>
                <a:gd name="T45" fmla="*/ 30 h 239"/>
                <a:gd name="T46" fmla="*/ 4 w 73"/>
                <a:gd name="T47" fmla="*/ 23 h 239"/>
                <a:gd name="T48" fmla="*/ 7 w 73"/>
                <a:gd name="T49" fmla="*/ 16 h 239"/>
                <a:gd name="T50" fmla="*/ 12 w 73"/>
                <a:gd name="T51" fmla="*/ 11 h 239"/>
                <a:gd name="T52" fmla="*/ 17 w 73"/>
                <a:gd name="T53" fmla="*/ 6 h 239"/>
                <a:gd name="T54" fmla="*/ 23 w 73"/>
                <a:gd name="T55" fmla="*/ 4 h 239"/>
                <a:gd name="T56" fmla="*/ 29 w 73"/>
                <a:gd name="T57" fmla="*/ 0 h 239"/>
                <a:gd name="T58" fmla="*/ 36 w 73"/>
                <a:gd name="T59" fmla="*/ 0 h 239"/>
                <a:gd name="T60" fmla="*/ 36 w 73"/>
                <a:gd name="T61" fmla="*/ 0 h 239"/>
                <a:gd name="T62" fmla="*/ 45 w 73"/>
                <a:gd name="T63" fmla="*/ 0 h 239"/>
                <a:gd name="T64" fmla="*/ 52 w 73"/>
                <a:gd name="T65" fmla="*/ 4 h 239"/>
                <a:gd name="T66" fmla="*/ 57 w 73"/>
                <a:gd name="T67" fmla="*/ 6 h 239"/>
                <a:gd name="T68" fmla="*/ 62 w 73"/>
                <a:gd name="T69" fmla="*/ 11 h 239"/>
                <a:gd name="T70" fmla="*/ 67 w 73"/>
                <a:gd name="T71" fmla="*/ 16 h 239"/>
                <a:gd name="T72" fmla="*/ 71 w 73"/>
                <a:gd name="T73" fmla="*/ 23 h 239"/>
                <a:gd name="T74" fmla="*/ 73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3" y="210"/>
                  </a:lnTo>
                  <a:lnTo>
                    <a:pt x="71" y="217"/>
                  </a:lnTo>
                  <a:lnTo>
                    <a:pt x="67" y="222"/>
                  </a:lnTo>
                  <a:lnTo>
                    <a:pt x="62" y="227"/>
                  </a:lnTo>
                  <a:lnTo>
                    <a:pt x="57" y="232"/>
                  </a:lnTo>
                  <a:lnTo>
                    <a:pt x="52" y="236"/>
                  </a:lnTo>
                  <a:lnTo>
                    <a:pt x="45" y="237"/>
                  </a:lnTo>
                  <a:lnTo>
                    <a:pt x="36" y="239"/>
                  </a:lnTo>
                  <a:lnTo>
                    <a:pt x="36" y="239"/>
                  </a:lnTo>
                  <a:lnTo>
                    <a:pt x="29" y="237"/>
                  </a:lnTo>
                  <a:lnTo>
                    <a:pt x="23" y="236"/>
                  </a:lnTo>
                  <a:lnTo>
                    <a:pt x="17" y="232"/>
                  </a:lnTo>
                  <a:lnTo>
                    <a:pt x="12" y="227"/>
                  </a:lnTo>
                  <a:lnTo>
                    <a:pt x="7" y="222"/>
                  </a:lnTo>
                  <a:lnTo>
                    <a:pt x="4" y="217"/>
                  </a:lnTo>
                  <a:lnTo>
                    <a:pt x="2" y="210"/>
                  </a:lnTo>
                  <a:lnTo>
                    <a:pt x="0" y="203"/>
                  </a:lnTo>
                  <a:lnTo>
                    <a:pt x="0" y="37"/>
                  </a:lnTo>
                  <a:lnTo>
                    <a:pt x="0" y="37"/>
                  </a:lnTo>
                  <a:lnTo>
                    <a:pt x="2" y="30"/>
                  </a:lnTo>
                  <a:lnTo>
                    <a:pt x="4" y="23"/>
                  </a:lnTo>
                  <a:lnTo>
                    <a:pt x="7" y="16"/>
                  </a:lnTo>
                  <a:lnTo>
                    <a:pt x="12" y="11"/>
                  </a:lnTo>
                  <a:lnTo>
                    <a:pt x="17" y="6"/>
                  </a:lnTo>
                  <a:lnTo>
                    <a:pt x="23" y="4"/>
                  </a:lnTo>
                  <a:lnTo>
                    <a:pt x="29" y="0"/>
                  </a:lnTo>
                  <a:lnTo>
                    <a:pt x="36" y="0"/>
                  </a:lnTo>
                  <a:lnTo>
                    <a:pt x="36" y="0"/>
                  </a:lnTo>
                  <a:lnTo>
                    <a:pt x="45" y="0"/>
                  </a:lnTo>
                  <a:lnTo>
                    <a:pt x="52" y="4"/>
                  </a:lnTo>
                  <a:lnTo>
                    <a:pt x="57" y="6"/>
                  </a:lnTo>
                  <a:lnTo>
                    <a:pt x="62" y="11"/>
                  </a:lnTo>
                  <a:lnTo>
                    <a:pt x="67" y="16"/>
                  </a:lnTo>
                  <a:lnTo>
                    <a:pt x="71" y="23"/>
                  </a:lnTo>
                  <a:lnTo>
                    <a:pt x="73" y="30"/>
                  </a:lnTo>
                  <a:lnTo>
                    <a:pt x="73"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9" name="Freeform 86">
              <a:extLst>
                <a:ext uri="{FF2B5EF4-FFF2-40B4-BE49-F238E27FC236}">
                  <a16:creationId xmlns:a16="http://schemas.microsoft.com/office/drawing/2014/main" id="{44207559-844C-44E4-AB0E-A2C8174CD582}"/>
                </a:ext>
              </a:extLst>
            </p:cNvPr>
            <p:cNvSpPr>
              <a:spLocks/>
            </p:cNvSpPr>
            <p:nvPr/>
          </p:nvSpPr>
          <p:spPr bwMode="auto">
            <a:xfrm>
              <a:off x="6865202" y="13447"/>
              <a:ext cx="40682" cy="132982"/>
            </a:xfrm>
            <a:custGeom>
              <a:avLst/>
              <a:gdLst>
                <a:gd name="T0" fmla="*/ 73 w 73"/>
                <a:gd name="T1" fmla="*/ 37 h 239"/>
                <a:gd name="T2" fmla="*/ 73 w 73"/>
                <a:gd name="T3" fmla="*/ 203 h 239"/>
                <a:gd name="T4" fmla="*/ 73 w 73"/>
                <a:gd name="T5" fmla="*/ 203 h 239"/>
                <a:gd name="T6" fmla="*/ 73 w 73"/>
                <a:gd name="T7" fmla="*/ 210 h 239"/>
                <a:gd name="T8" fmla="*/ 71 w 73"/>
                <a:gd name="T9" fmla="*/ 217 h 239"/>
                <a:gd name="T10" fmla="*/ 67 w 73"/>
                <a:gd name="T11" fmla="*/ 222 h 239"/>
                <a:gd name="T12" fmla="*/ 62 w 73"/>
                <a:gd name="T13" fmla="*/ 227 h 239"/>
                <a:gd name="T14" fmla="*/ 57 w 73"/>
                <a:gd name="T15" fmla="*/ 232 h 239"/>
                <a:gd name="T16" fmla="*/ 52 w 73"/>
                <a:gd name="T17" fmla="*/ 236 h 239"/>
                <a:gd name="T18" fmla="*/ 45 w 73"/>
                <a:gd name="T19" fmla="*/ 237 h 239"/>
                <a:gd name="T20" fmla="*/ 36 w 73"/>
                <a:gd name="T21" fmla="*/ 239 h 239"/>
                <a:gd name="T22" fmla="*/ 36 w 73"/>
                <a:gd name="T23" fmla="*/ 239 h 239"/>
                <a:gd name="T24" fmla="*/ 29 w 73"/>
                <a:gd name="T25" fmla="*/ 237 h 239"/>
                <a:gd name="T26" fmla="*/ 23 w 73"/>
                <a:gd name="T27" fmla="*/ 236 h 239"/>
                <a:gd name="T28" fmla="*/ 17 w 73"/>
                <a:gd name="T29" fmla="*/ 232 h 239"/>
                <a:gd name="T30" fmla="*/ 12 w 73"/>
                <a:gd name="T31" fmla="*/ 227 h 239"/>
                <a:gd name="T32" fmla="*/ 7 w 73"/>
                <a:gd name="T33" fmla="*/ 222 h 239"/>
                <a:gd name="T34" fmla="*/ 4 w 73"/>
                <a:gd name="T35" fmla="*/ 217 h 239"/>
                <a:gd name="T36" fmla="*/ 2 w 73"/>
                <a:gd name="T37" fmla="*/ 210 h 239"/>
                <a:gd name="T38" fmla="*/ 0 w 73"/>
                <a:gd name="T39" fmla="*/ 203 h 239"/>
                <a:gd name="T40" fmla="*/ 0 w 73"/>
                <a:gd name="T41" fmla="*/ 37 h 239"/>
                <a:gd name="T42" fmla="*/ 0 w 73"/>
                <a:gd name="T43" fmla="*/ 37 h 239"/>
                <a:gd name="T44" fmla="*/ 2 w 73"/>
                <a:gd name="T45" fmla="*/ 30 h 239"/>
                <a:gd name="T46" fmla="*/ 4 w 73"/>
                <a:gd name="T47" fmla="*/ 23 h 239"/>
                <a:gd name="T48" fmla="*/ 7 w 73"/>
                <a:gd name="T49" fmla="*/ 16 h 239"/>
                <a:gd name="T50" fmla="*/ 12 w 73"/>
                <a:gd name="T51" fmla="*/ 11 h 239"/>
                <a:gd name="T52" fmla="*/ 17 w 73"/>
                <a:gd name="T53" fmla="*/ 6 h 239"/>
                <a:gd name="T54" fmla="*/ 23 w 73"/>
                <a:gd name="T55" fmla="*/ 4 h 239"/>
                <a:gd name="T56" fmla="*/ 29 w 73"/>
                <a:gd name="T57" fmla="*/ 0 h 239"/>
                <a:gd name="T58" fmla="*/ 36 w 73"/>
                <a:gd name="T59" fmla="*/ 0 h 239"/>
                <a:gd name="T60" fmla="*/ 36 w 73"/>
                <a:gd name="T61" fmla="*/ 0 h 239"/>
                <a:gd name="T62" fmla="*/ 45 w 73"/>
                <a:gd name="T63" fmla="*/ 0 h 239"/>
                <a:gd name="T64" fmla="*/ 52 w 73"/>
                <a:gd name="T65" fmla="*/ 4 h 239"/>
                <a:gd name="T66" fmla="*/ 57 w 73"/>
                <a:gd name="T67" fmla="*/ 6 h 239"/>
                <a:gd name="T68" fmla="*/ 62 w 73"/>
                <a:gd name="T69" fmla="*/ 11 h 239"/>
                <a:gd name="T70" fmla="*/ 67 w 73"/>
                <a:gd name="T71" fmla="*/ 16 h 239"/>
                <a:gd name="T72" fmla="*/ 71 w 73"/>
                <a:gd name="T73" fmla="*/ 23 h 239"/>
                <a:gd name="T74" fmla="*/ 73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3" y="210"/>
                  </a:lnTo>
                  <a:lnTo>
                    <a:pt x="71" y="217"/>
                  </a:lnTo>
                  <a:lnTo>
                    <a:pt x="67" y="222"/>
                  </a:lnTo>
                  <a:lnTo>
                    <a:pt x="62" y="227"/>
                  </a:lnTo>
                  <a:lnTo>
                    <a:pt x="57" y="232"/>
                  </a:lnTo>
                  <a:lnTo>
                    <a:pt x="52" y="236"/>
                  </a:lnTo>
                  <a:lnTo>
                    <a:pt x="45" y="237"/>
                  </a:lnTo>
                  <a:lnTo>
                    <a:pt x="36" y="239"/>
                  </a:lnTo>
                  <a:lnTo>
                    <a:pt x="36" y="239"/>
                  </a:lnTo>
                  <a:lnTo>
                    <a:pt x="29" y="237"/>
                  </a:lnTo>
                  <a:lnTo>
                    <a:pt x="23" y="236"/>
                  </a:lnTo>
                  <a:lnTo>
                    <a:pt x="17" y="232"/>
                  </a:lnTo>
                  <a:lnTo>
                    <a:pt x="12" y="227"/>
                  </a:lnTo>
                  <a:lnTo>
                    <a:pt x="7" y="222"/>
                  </a:lnTo>
                  <a:lnTo>
                    <a:pt x="4" y="217"/>
                  </a:lnTo>
                  <a:lnTo>
                    <a:pt x="2" y="210"/>
                  </a:lnTo>
                  <a:lnTo>
                    <a:pt x="0" y="203"/>
                  </a:lnTo>
                  <a:lnTo>
                    <a:pt x="0" y="37"/>
                  </a:lnTo>
                  <a:lnTo>
                    <a:pt x="0" y="37"/>
                  </a:lnTo>
                  <a:lnTo>
                    <a:pt x="2" y="30"/>
                  </a:lnTo>
                  <a:lnTo>
                    <a:pt x="4" y="23"/>
                  </a:lnTo>
                  <a:lnTo>
                    <a:pt x="7" y="16"/>
                  </a:lnTo>
                  <a:lnTo>
                    <a:pt x="12" y="11"/>
                  </a:lnTo>
                  <a:lnTo>
                    <a:pt x="17" y="6"/>
                  </a:lnTo>
                  <a:lnTo>
                    <a:pt x="23" y="4"/>
                  </a:lnTo>
                  <a:lnTo>
                    <a:pt x="29" y="0"/>
                  </a:lnTo>
                  <a:lnTo>
                    <a:pt x="36" y="0"/>
                  </a:lnTo>
                  <a:lnTo>
                    <a:pt x="36" y="0"/>
                  </a:lnTo>
                  <a:lnTo>
                    <a:pt x="45" y="0"/>
                  </a:lnTo>
                  <a:lnTo>
                    <a:pt x="52" y="4"/>
                  </a:lnTo>
                  <a:lnTo>
                    <a:pt x="57" y="6"/>
                  </a:lnTo>
                  <a:lnTo>
                    <a:pt x="62" y="11"/>
                  </a:lnTo>
                  <a:lnTo>
                    <a:pt x="67" y="16"/>
                  </a:lnTo>
                  <a:lnTo>
                    <a:pt x="71" y="23"/>
                  </a:lnTo>
                  <a:lnTo>
                    <a:pt x="73" y="30"/>
                  </a:lnTo>
                  <a:lnTo>
                    <a:pt x="73" y="3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30" name="Freeform 87">
              <a:extLst>
                <a:ext uri="{FF2B5EF4-FFF2-40B4-BE49-F238E27FC236}">
                  <a16:creationId xmlns:a16="http://schemas.microsoft.com/office/drawing/2014/main" id="{BC462475-21CF-4BD3-970D-5608F2017D07}"/>
                </a:ext>
              </a:extLst>
            </p:cNvPr>
            <p:cNvSpPr>
              <a:spLocks/>
            </p:cNvSpPr>
            <p:nvPr/>
          </p:nvSpPr>
          <p:spPr bwMode="auto">
            <a:xfrm>
              <a:off x="7009539" y="-152920"/>
              <a:ext cx="40682" cy="465159"/>
            </a:xfrm>
            <a:custGeom>
              <a:avLst/>
              <a:gdLst>
                <a:gd name="T0" fmla="*/ 73 w 73"/>
                <a:gd name="T1" fmla="*/ 36 h 836"/>
                <a:gd name="T2" fmla="*/ 73 w 73"/>
                <a:gd name="T3" fmla="*/ 799 h 836"/>
                <a:gd name="T4" fmla="*/ 73 w 73"/>
                <a:gd name="T5" fmla="*/ 799 h 836"/>
                <a:gd name="T6" fmla="*/ 71 w 73"/>
                <a:gd name="T7" fmla="*/ 806 h 836"/>
                <a:gd name="T8" fmla="*/ 70 w 73"/>
                <a:gd name="T9" fmla="*/ 813 h 836"/>
                <a:gd name="T10" fmla="*/ 66 w 73"/>
                <a:gd name="T11" fmla="*/ 820 h 836"/>
                <a:gd name="T12" fmla="*/ 63 w 73"/>
                <a:gd name="T13" fmla="*/ 825 h 836"/>
                <a:gd name="T14" fmla="*/ 56 w 73"/>
                <a:gd name="T15" fmla="*/ 830 h 836"/>
                <a:gd name="T16" fmla="*/ 51 w 73"/>
                <a:gd name="T17" fmla="*/ 834 h 836"/>
                <a:gd name="T18" fmla="*/ 44 w 73"/>
                <a:gd name="T19" fmla="*/ 836 h 836"/>
                <a:gd name="T20" fmla="*/ 37 w 73"/>
                <a:gd name="T21" fmla="*/ 836 h 836"/>
                <a:gd name="T22" fmla="*/ 37 w 73"/>
                <a:gd name="T23" fmla="*/ 836 h 836"/>
                <a:gd name="T24" fmla="*/ 28 w 73"/>
                <a:gd name="T25" fmla="*/ 836 h 836"/>
                <a:gd name="T26" fmla="*/ 23 w 73"/>
                <a:gd name="T27" fmla="*/ 834 h 836"/>
                <a:gd name="T28" fmla="*/ 16 w 73"/>
                <a:gd name="T29" fmla="*/ 830 h 836"/>
                <a:gd name="T30" fmla="*/ 11 w 73"/>
                <a:gd name="T31" fmla="*/ 825 h 836"/>
                <a:gd name="T32" fmla="*/ 6 w 73"/>
                <a:gd name="T33" fmla="*/ 820 h 836"/>
                <a:gd name="T34" fmla="*/ 2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2 w 73"/>
                <a:gd name="T47" fmla="*/ 23 h 836"/>
                <a:gd name="T48" fmla="*/ 6 w 73"/>
                <a:gd name="T49" fmla="*/ 16 h 836"/>
                <a:gd name="T50" fmla="*/ 11 w 73"/>
                <a:gd name="T51" fmla="*/ 11 h 836"/>
                <a:gd name="T52" fmla="*/ 16 w 73"/>
                <a:gd name="T53" fmla="*/ 7 h 836"/>
                <a:gd name="T54" fmla="*/ 23 w 73"/>
                <a:gd name="T55" fmla="*/ 4 h 836"/>
                <a:gd name="T56" fmla="*/ 28 w 73"/>
                <a:gd name="T57" fmla="*/ 2 h 836"/>
                <a:gd name="T58" fmla="*/ 37 w 73"/>
                <a:gd name="T59" fmla="*/ 0 h 836"/>
                <a:gd name="T60" fmla="*/ 37 w 73"/>
                <a:gd name="T61" fmla="*/ 0 h 836"/>
                <a:gd name="T62" fmla="*/ 44 w 73"/>
                <a:gd name="T63" fmla="*/ 2 h 836"/>
                <a:gd name="T64" fmla="*/ 51 w 73"/>
                <a:gd name="T65" fmla="*/ 4 h 836"/>
                <a:gd name="T66" fmla="*/ 56 w 73"/>
                <a:gd name="T67" fmla="*/ 7 h 836"/>
                <a:gd name="T68" fmla="*/ 63 w 73"/>
                <a:gd name="T69" fmla="*/ 11 h 836"/>
                <a:gd name="T70" fmla="*/ 66 w 73"/>
                <a:gd name="T71" fmla="*/ 16 h 836"/>
                <a:gd name="T72" fmla="*/ 70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70" y="813"/>
                  </a:lnTo>
                  <a:lnTo>
                    <a:pt x="66" y="820"/>
                  </a:lnTo>
                  <a:lnTo>
                    <a:pt x="63" y="825"/>
                  </a:lnTo>
                  <a:lnTo>
                    <a:pt x="56" y="830"/>
                  </a:lnTo>
                  <a:lnTo>
                    <a:pt x="51" y="834"/>
                  </a:lnTo>
                  <a:lnTo>
                    <a:pt x="44" y="836"/>
                  </a:lnTo>
                  <a:lnTo>
                    <a:pt x="37" y="836"/>
                  </a:lnTo>
                  <a:lnTo>
                    <a:pt x="37" y="836"/>
                  </a:lnTo>
                  <a:lnTo>
                    <a:pt x="28" y="836"/>
                  </a:lnTo>
                  <a:lnTo>
                    <a:pt x="23" y="834"/>
                  </a:lnTo>
                  <a:lnTo>
                    <a:pt x="16" y="830"/>
                  </a:lnTo>
                  <a:lnTo>
                    <a:pt x="11" y="825"/>
                  </a:lnTo>
                  <a:lnTo>
                    <a:pt x="6" y="820"/>
                  </a:lnTo>
                  <a:lnTo>
                    <a:pt x="2" y="813"/>
                  </a:lnTo>
                  <a:lnTo>
                    <a:pt x="0" y="806"/>
                  </a:lnTo>
                  <a:lnTo>
                    <a:pt x="0" y="799"/>
                  </a:lnTo>
                  <a:lnTo>
                    <a:pt x="0" y="36"/>
                  </a:lnTo>
                  <a:lnTo>
                    <a:pt x="0" y="36"/>
                  </a:lnTo>
                  <a:lnTo>
                    <a:pt x="0" y="30"/>
                  </a:lnTo>
                  <a:lnTo>
                    <a:pt x="2" y="23"/>
                  </a:lnTo>
                  <a:lnTo>
                    <a:pt x="6" y="16"/>
                  </a:lnTo>
                  <a:lnTo>
                    <a:pt x="11" y="11"/>
                  </a:lnTo>
                  <a:lnTo>
                    <a:pt x="16" y="7"/>
                  </a:lnTo>
                  <a:lnTo>
                    <a:pt x="23" y="4"/>
                  </a:lnTo>
                  <a:lnTo>
                    <a:pt x="28" y="2"/>
                  </a:lnTo>
                  <a:lnTo>
                    <a:pt x="37" y="0"/>
                  </a:lnTo>
                  <a:lnTo>
                    <a:pt x="37" y="0"/>
                  </a:lnTo>
                  <a:lnTo>
                    <a:pt x="44" y="2"/>
                  </a:lnTo>
                  <a:lnTo>
                    <a:pt x="51" y="4"/>
                  </a:lnTo>
                  <a:lnTo>
                    <a:pt x="56" y="7"/>
                  </a:lnTo>
                  <a:lnTo>
                    <a:pt x="63" y="11"/>
                  </a:lnTo>
                  <a:lnTo>
                    <a:pt x="66" y="16"/>
                  </a:lnTo>
                  <a:lnTo>
                    <a:pt x="70" y="23"/>
                  </a:lnTo>
                  <a:lnTo>
                    <a:pt x="71" y="30"/>
                  </a:lnTo>
                  <a:lnTo>
                    <a:pt x="7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31" name="Freeform 88">
              <a:extLst>
                <a:ext uri="{FF2B5EF4-FFF2-40B4-BE49-F238E27FC236}">
                  <a16:creationId xmlns:a16="http://schemas.microsoft.com/office/drawing/2014/main" id="{173EB8D7-E2A4-44E7-B134-0954414AFCFD}"/>
                </a:ext>
              </a:extLst>
            </p:cNvPr>
            <p:cNvSpPr>
              <a:spLocks/>
            </p:cNvSpPr>
            <p:nvPr/>
          </p:nvSpPr>
          <p:spPr bwMode="auto">
            <a:xfrm>
              <a:off x="7009539" y="-152920"/>
              <a:ext cx="40682" cy="465159"/>
            </a:xfrm>
            <a:custGeom>
              <a:avLst/>
              <a:gdLst>
                <a:gd name="T0" fmla="*/ 73 w 73"/>
                <a:gd name="T1" fmla="*/ 36 h 836"/>
                <a:gd name="T2" fmla="*/ 73 w 73"/>
                <a:gd name="T3" fmla="*/ 799 h 836"/>
                <a:gd name="T4" fmla="*/ 73 w 73"/>
                <a:gd name="T5" fmla="*/ 799 h 836"/>
                <a:gd name="T6" fmla="*/ 71 w 73"/>
                <a:gd name="T7" fmla="*/ 806 h 836"/>
                <a:gd name="T8" fmla="*/ 70 w 73"/>
                <a:gd name="T9" fmla="*/ 813 h 836"/>
                <a:gd name="T10" fmla="*/ 66 w 73"/>
                <a:gd name="T11" fmla="*/ 820 h 836"/>
                <a:gd name="T12" fmla="*/ 63 w 73"/>
                <a:gd name="T13" fmla="*/ 825 h 836"/>
                <a:gd name="T14" fmla="*/ 56 w 73"/>
                <a:gd name="T15" fmla="*/ 830 h 836"/>
                <a:gd name="T16" fmla="*/ 51 w 73"/>
                <a:gd name="T17" fmla="*/ 834 h 836"/>
                <a:gd name="T18" fmla="*/ 44 w 73"/>
                <a:gd name="T19" fmla="*/ 836 h 836"/>
                <a:gd name="T20" fmla="*/ 37 w 73"/>
                <a:gd name="T21" fmla="*/ 836 h 836"/>
                <a:gd name="T22" fmla="*/ 37 w 73"/>
                <a:gd name="T23" fmla="*/ 836 h 836"/>
                <a:gd name="T24" fmla="*/ 28 w 73"/>
                <a:gd name="T25" fmla="*/ 836 h 836"/>
                <a:gd name="T26" fmla="*/ 23 w 73"/>
                <a:gd name="T27" fmla="*/ 834 h 836"/>
                <a:gd name="T28" fmla="*/ 16 w 73"/>
                <a:gd name="T29" fmla="*/ 830 h 836"/>
                <a:gd name="T30" fmla="*/ 11 w 73"/>
                <a:gd name="T31" fmla="*/ 825 h 836"/>
                <a:gd name="T32" fmla="*/ 6 w 73"/>
                <a:gd name="T33" fmla="*/ 820 h 836"/>
                <a:gd name="T34" fmla="*/ 2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2 w 73"/>
                <a:gd name="T47" fmla="*/ 23 h 836"/>
                <a:gd name="T48" fmla="*/ 6 w 73"/>
                <a:gd name="T49" fmla="*/ 16 h 836"/>
                <a:gd name="T50" fmla="*/ 11 w 73"/>
                <a:gd name="T51" fmla="*/ 11 h 836"/>
                <a:gd name="T52" fmla="*/ 16 w 73"/>
                <a:gd name="T53" fmla="*/ 7 h 836"/>
                <a:gd name="T54" fmla="*/ 23 w 73"/>
                <a:gd name="T55" fmla="*/ 4 h 836"/>
                <a:gd name="T56" fmla="*/ 28 w 73"/>
                <a:gd name="T57" fmla="*/ 2 h 836"/>
                <a:gd name="T58" fmla="*/ 37 w 73"/>
                <a:gd name="T59" fmla="*/ 0 h 836"/>
                <a:gd name="T60" fmla="*/ 37 w 73"/>
                <a:gd name="T61" fmla="*/ 0 h 836"/>
                <a:gd name="T62" fmla="*/ 44 w 73"/>
                <a:gd name="T63" fmla="*/ 2 h 836"/>
                <a:gd name="T64" fmla="*/ 51 w 73"/>
                <a:gd name="T65" fmla="*/ 4 h 836"/>
                <a:gd name="T66" fmla="*/ 56 w 73"/>
                <a:gd name="T67" fmla="*/ 7 h 836"/>
                <a:gd name="T68" fmla="*/ 63 w 73"/>
                <a:gd name="T69" fmla="*/ 11 h 836"/>
                <a:gd name="T70" fmla="*/ 66 w 73"/>
                <a:gd name="T71" fmla="*/ 16 h 836"/>
                <a:gd name="T72" fmla="*/ 70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70" y="813"/>
                  </a:lnTo>
                  <a:lnTo>
                    <a:pt x="66" y="820"/>
                  </a:lnTo>
                  <a:lnTo>
                    <a:pt x="63" y="825"/>
                  </a:lnTo>
                  <a:lnTo>
                    <a:pt x="56" y="830"/>
                  </a:lnTo>
                  <a:lnTo>
                    <a:pt x="51" y="834"/>
                  </a:lnTo>
                  <a:lnTo>
                    <a:pt x="44" y="836"/>
                  </a:lnTo>
                  <a:lnTo>
                    <a:pt x="37" y="836"/>
                  </a:lnTo>
                  <a:lnTo>
                    <a:pt x="37" y="836"/>
                  </a:lnTo>
                  <a:lnTo>
                    <a:pt x="28" y="836"/>
                  </a:lnTo>
                  <a:lnTo>
                    <a:pt x="23" y="834"/>
                  </a:lnTo>
                  <a:lnTo>
                    <a:pt x="16" y="830"/>
                  </a:lnTo>
                  <a:lnTo>
                    <a:pt x="11" y="825"/>
                  </a:lnTo>
                  <a:lnTo>
                    <a:pt x="6" y="820"/>
                  </a:lnTo>
                  <a:lnTo>
                    <a:pt x="2" y="813"/>
                  </a:lnTo>
                  <a:lnTo>
                    <a:pt x="0" y="806"/>
                  </a:lnTo>
                  <a:lnTo>
                    <a:pt x="0" y="799"/>
                  </a:lnTo>
                  <a:lnTo>
                    <a:pt x="0" y="36"/>
                  </a:lnTo>
                  <a:lnTo>
                    <a:pt x="0" y="36"/>
                  </a:lnTo>
                  <a:lnTo>
                    <a:pt x="0" y="30"/>
                  </a:lnTo>
                  <a:lnTo>
                    <a:pt x="2" y="23"/>
                  </a:lnTo>
                  <a:lnTo>
                    <a:pt x="6" y="16"/>
                  </a:lnTo>
                  <a:lnTo>
                    <a:pt x="11" y="11"/>
                  </a:lnTo>
                  <a:lnTo>
                    <a:pt x="16" y="7"/>
                  </a:lnTo>
                  <a:lnTo>
                    <a:pt x="23" y="4"/>
                  </a:lnTo>
                  <a:lnTo>
                    <a:pt x="28" y="2"/>
                  </a:lnTo>
                  <a:lnTo>
                    <a:pt x="37" y="0"/>
                  </a:lnTo>
                  <a:lnTo>
                    <a:pt x="37" y="0"/>
                  </a:lnTo>
                  <a:lnTo>
                    <a:pt x="44" y="2"/>
                  </a:lnTo>
                  <a:lnTo>
                    <a:pt x="51" y="4"/>
                  </a:lnTo>
                  <a:lnTo>
                    <a:pt x="56" y="7"/>
                  </a:lnTo>
                  <a:lnTo>
                    <a:pt x="63" y="11"/>
                  </a:lnTo>
                  <a:lnTo>
                    <a:pt x="66" y="16"/>
                  </a:lnTo>
                  <a:lnTo>
                    <a:pt x="70" y="23"/>
                  </a:lnTo>
                  <a:lnTo>
                    <a:pt x="71" y="30"/>
                  </a:lnTo>
                  <a:lnTo>
                    <a:pt x="73" y="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32" name="Freeform 89">
              <a:extLst>
                <a:ext uri="{FF2B5EF4-FFF2-40B4-BE49-F238E27FC236}">
                  <a16:creationId xmlns:a16="http://schemas.microsoft.com/office/drawing/2014/main" id="{4C1A4A46-B88C-4712-882E-E906590765A2}"/>
                </a:ext>
              </a:extLst>
            </p:cNvPr>
            <p:cNvSpPr>
              <a:spLocks/>
            </p:cNvSpPr>
            <p:nvPr/>
          </p:nvSpPr>
          <p:spPr bwMode="auto">
            <a:xfrm>
              <a:off x="7110965" y="-312610"/>
              <a:ext cx="1015374" cy="783426"/>
            </a:xfrm>
            <a:custGeom>
              <a:avLst/>
              <a:gdLst>
                <a:gd name="T0" fmla="*/ 1822 w 1822"/>
                <a:gd name="T1" fmla="*/ 1166 h 1408"/>
                <a:gd name="T2" fmla="*/ 1822 w 1822"/>
                <a:gd name="T3" fmla="*/ 1408 h 1408"/>
                <a:gd name="T4" fmla="*/ 1516 w 1822"/>
                <a:gd name="T5" fmla="*/ 1408 h 1408"/>
                <a:gd name="T6" fmla="*/ 437 w 1822"/>
                <a:gd name="T7" fmla="*/ 242 h 1408"/>
                <a:gd name="T8" fmla="*/ 0 w 1822"/>
                <a:gd name="T9" fmla="*/ 242 h 1408"/>
                <a:gd name="T10" fmla="*/ 0 w 1822"/>
                <a:gd name="T11" fmla="*/ 0 h 1408"/>
                <a:gd name="T12" fmla="*/ 543 w 1822"/>
                <a:gd name="T13" fmla="*/ 0 h 1408"/>
                <a:gd name="T14" fmla="*/ 1621 w 1822"/>
                <a:gd name="T15" fmla="*/ 1166 h 1408"/>
                <a:gd name="T16" fmla="*/ 1822 w 1822"/>
                <a:gd name="T17" fmla="*/ 1166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2" h="1408">
                  <a:moveTo>
                    <a:pt x="1822" y="1166"/>
                  </a:moveTo>
                  <a:lnTo>
                    <a:pt x="1822" y="1408"/>
                  </a:lnTo>
                  <a:lnTo>
                    <a:pt x="1516" y="1408"/>
                  </a:lnTo>
                  <a:lnTo>
                    <a:pt x="437" y="242"/>
                  </a:lnTo>
                  <a:lnTo>
                    <a:pt x="0" y="242"/>
                  </a:lnTo>
                  <a:lnTo>
                    <a:pt x="0" y="0"/>
                  </a:lnTo>
                  <a:lnTo>
                    <a:pt x="543" y="0"/>
                  </a:lnTo>
                  <a:lnTo>
                    <a:pt x="1621" y="1166"/>
                  </a:lnTo>
                  <a:lnTo>
                    <a:pt x="1822" y="1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33" name="Freeform 90">
              <a:extLst>
                <a:ext uri="{FF2B5EF4-FFF2-40B4-BE49-F238E27FC236}">
                  <a16:creationId xmlns:a16="http://schemas.microsoft.com/office/drawing/2014/main" id="{FDC9D0AE-3D27-419F-B2E6-091592E24563}"/>
                </a:ext>
              </a:extLst>
            </p:cNvPr>
            <p:cNvSpPr>
              <a:spLocks/>
            </p:cNvSpPr>
            <p:nvPr/>
          </p:nvSpPr>
          <p:spPr bwMode="auto">
            <a:xfrm>
              <a:off x="7110965" y="-312610"/>
              <a:ext cx="1015374" cy="783426"/>
            </a:xfrm>
            <a:custGeom>
              <a:avLst/>
              <a:gdLst>
                <a:gd name="T0" fmla="*/ 1822 w 1822"/>
                <a:gd name="T1" fmla="*/ 0 h 1408"/>
                <a:gd name="T2" fmla="*/ 1822 w 1822"/>
                <a:gd name="T3" fmla="*/ 242 h 1408"/>
                <a:gd name="T4" fmla="*/ 1621 w 1822"/>
                <a:gd name="T5" fmla="*/ 242 h 1408"/>
                <a:gd name="T6" fmla="*/ 543 w 1822"/>
                <a:gd name="T7" fmla="*/ 1408 h 1408"/>
                <a:gd name="T8" fmla="*/ 0 w 1822"/>
                <a:gd name="T9" fmla="*/ 1408 h 1408"/>
                <a:gd name="T10" fmla="*/ 0 w 1822"/>
                <a:gd name="T11" fmla="*/ 1166 h 1408"/>
                <a:gd name="T12" fmla="*/ 437 w 1822"/>
                <a:gd name="T13" fmla="*/ 1166 h 1408"/>
                <a:gd name="T14" fmla="*/ 1516 w 1822"/>
                <a:gd name="T15" fmla="*/ 0 h 1408"/>
                <a:gd name="T16" fmla="*/ 1822 w 1822"/>
                <a:gd name="T17" fmla="*/ 0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2" h="1408">
                  <a:moveTo>
                    <a:pt x="1822" y="0"/>
                  </a:moveTo>
                  <a:lnTo>
                    <a:pt x="1822" y="242"/>
                  </a:lnTo>
                  <a:lnTo>
                    <a:pt x="1621" y="242"/>
                  </a:lnTo>
                  <a:lnTo>
                    <a:pt x="543" y="1408"/>
                  </a:lnTo>
                  <a:lnTo>
                    <a:pt x="0" y="1408"/>
                  </a:lnTo>
                  <a:lnTo>
                    <a:pt x="0" y="1166"/>
                  </a:lnTo>
                  <a:lnTo>
                    <a:pt x="437" y="1166"/>
                  </a:lnTo>
                  <a:lnTo>
                    <a:pt x="1516" y="0"/>
                  </a:lnTo>
                  <a:lnTo>
                    <a:pt x="18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34" name="Freeform 91">
              <a:extLst>
                <a:ext uri="{FF2B5EF4-FFF2-40B4-BE49-F238E27FC236}">
                  <a16:creationId xmlns:a16="http://schemas.microsoft.com/office/drawing/2014/main" id="{DF20FE89-F256-4D0B-8211-811AE2C57388}"/>
                </a:ext>
              </a:extLst>
            </p:cNvPr>
            <p:cNvSpPr>
              <a:spLocks/>
            </p:cNvSpPr>
            <p:nvPr/>
          </p:nvSpPr>
          <p:spPr bwMode="auto">
            <a:xfrm>
              <a:off x="7162235" y="-152920"/>
              <a:ext cx="40124" cy="465159"/>
            </a:xfrm>
            <a:custGeom>
              <a:avLst/>
              <a:gdLst>
                <a:gd name="T0" fmla="*/ 72 w 72"/>
                <a:gd name="T1" fmla="*/ 36 h 836"/>
                <a:gd name="T2" fmla="*/ 72 w 72"/>
                <a:gd name="T3" fmla="*/ 799 h 836"/>
                <a:gd name="T4" fmla="*/ 72 w 72"/>
                <a:gd name="T5" fmla="*/ 799 h 836"/>
                <a:gd name="T6" fmla="*/ 72 w 72"/>
                <a:gd name="T7" fmla="*/ 806 h 836"/>
                <a:gd name="T8" fmla="*/ 70 w 72"/>
                <a:gd name="T9" fmla="*/ 813 h 836"/>
                <a:gd name="T10" fmla="*/ 67 w 72"/>
                <a:gd name="T11" fmla="*/ 820 h 836"/>
                <a:gd name="T12" fmla="*/ 62 w 72"/>
                <a:gd name="T13" fmla="*/ 825 h 836"/>
                <a:gd name="T14" fmla="*/ 57 w 72"/>
                <a:gd name="T15" fmla="*/ 830 h 836"/>
                <a:gd name="T16" fmla="*/ 51 w 72"/>
                <a:gd name="T17" fmla="*/ 834 h 836"/>
                <a:gd name="T18" fmla="*/ 44 w 72"/>
                <a:gd name="T19" fmla="*/ 836 h 836"/>
                <a:gd name="T20" fmla="*/ 36 w 72"/>
                <a:gd name="T21" fmla="*/ 836 h 836"/>
                <a:gd name="T22" fmla="*/ 36 w 72"/>
                <a:gd name="T23" fmla="*/ 836 h 836"/>
                <a:gd name="T24" fmla="*/ 29 w 72"/>
                <a:gd name="T25" fmla="*/ 836 h 836"/>
                <a:gd name="T26" fmla="*/ 22 w 72"/>
                <a:gd name="T27" fmla="*/ 834 h 836"/>
                <a:gd name="T28" fmla="*/ 17 w 72"/>
                <a:gd name="T29" fmla="*/ 830 h 836"/>
                <a:gd name="T30" fmla="*/ 12 w 72"/>
                <a:gd name="T31" fmla="*/ 825 h 836"/>
                <a:gd name="T32" fmla="*/ 6 w 72"/>
                <a:gd name="T33" fmla="*/ 820 h 836"/>
                <a:gd name="T34" fmla="*/ 3 w 72"/>
                <a:gd name="T35" fmla="*/ 813 h 836"/>
                <a:gd name="T36" fmla="*/ 1 w 72"/>
                <a:gd name="T37" fmla="*/ 806 h 836"/>
                <a:gd name="T38" fmla="*/ 0 w 72"/>
                <a:gd name="T39" fmla="*/ 799 h 836"/>
                <a:gd name="T40" fmla="*/ 0 w 72"/>
                <a:gd name="T41" fmla="*/ 36 h 836"/>
                <a:gd name="T42" fmla="*/ 0 w 72"/>
                <a:gd name="T43" fmla="*/ 36 h 836"/>
                <a:gd name="T44" fmla="*/ 1 w 72"/>
                <a:gd name="T45" fmla="*/ 30 h 836"/>
                <a:gd name="T46" fmla="*/ 3 w 72"/>
                <a:gd name="T47" fmla="*/ 23 h 836"/>
                <a:gd name="T48" fmla="*/ 6 w 72"/>
                <a:gd name="T49" fmla="*/ 16 h 836"/>
                <a:gd name="T50" fmla="*/ 12 w 72"/>
                <a:gd name="T51" fmla="*/ 11 h 836"/>
                <a:gd name="T52" fmla="*/ 17 w 72"/>
                <a:gd name="T53" fmla="*/ 7 h 836"/>
                <a:gd name="T54" fmla="*/ 22 w 72"/>
                <a:gd name="T55" fmla="*/ 4 h 836"/>
                <a:gd name="T56" fmla="*/ 29 w 72"/>
                <a:gd name="T57" fmla="*/ 2 h 836"/>
                <a:gd name="T58" fmla="*/ 36 w 72"/>
                <a:gd name="T59" fmla="*/ 0 h 836"/>
                <a:gd name="T60" fmla="*/ 36 w 72"/>
                <a:gd name="T61" fmla="*/ 0 h 836"/>
                <a:gd name="T62" fmla="*/ 44 w 72"/>
                <a:gd name="T63" fmla="*/ 2 h 836"/>
                <a:gd name="T64" fmla="*/ 51 w 72"/>
                <a:gd name="T65" fmla="*/ 4 h 836"/>
                <a:gd name="T66" fmla="*/ 57 w 72"/>
                <a:gd name="T67" fmla="*/ 7 h 836"/>
                <a:gd name="T68" fmla="*/ 62 w 72"/>
                <a:gd name="T69" fmla="*/ 11 h 836"/>
                <a:gd name="T70" fmla="*/ 67 w 72"/>
                <a:gd name="T71" fmla="*/ 16 h 836"/>
                <a:gd name="T72" fmla="*/ 70 w 72"/>
                <a:gd name="T73" fmla="*/ 23 h 836"/>
                <a:gd name="T74" fmla="*/ 72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2" y="806"/>
                  </a:lnTo>
                  <a:lnTo>
                    <a:pt x="70" y="813"/>
                  </a:lnTo>
                  <a:lnTo>
                    <a:pt x="67" y="820"/>
                  </a:lnTo>
                  <a:lnTo>
                    <a:pt x="62" y="825"/>
                  </a:lnTo>
                  <a:lnTo>
                    <a:pt x="57" y="830"/>
                  </a:lnTo>
                  <a:lnTo>
                    <a:pt x="51" y="834"/>
                  </a:lnTo>
                  <a:lnTo>
                    <a:pt x="44" y="836"/>
                  </a:lnTo>
                  <a:lnTo>
                    <a:pt x="36" y="836"/>
                  </a:lnTo>
                  <a:lnTo>
                    <a:pt x="36" y="836"/>
                  </a:lnTo>
                  <a:lnTo>
                    <a:pt x="29" y="836"/>
                  </a:lnTo>
                  <a:lnTo>
                    <a:pt x="22" y="834"/>
                  </a:lnTo>
                  <a:lnTo>
                    <a:pt x="17" y="830"/>
                  </a:lnTo>
                  <a:lnTo>
                    <a:pt x="12" y="825"/>
                  </a:lnTo>
                  <a:lnTo>
                    <a:pt x="6" y="820"/>
                  </a:lnTo>
                  <a:lnTo>
                    <a:pt x="3" y="813"/>
                  </a:lnTo>
                  <a:lnTo>
                    <a:pt x="1" y="806"/>
                  </a:lnTo>
                  <a:lnTo>
                    <a:pt x="0" y="799"/>
                  </a:lnTo>
                  <a:lnTo>
                    <a:pt x="0" y="36"/>
                  </a:lnTo>
                  <a:lnTo>
                    <a:pt x="0" y="36"/>
                  </a:lnTo>
                  <a:lnTo>
                    <a:pt x="1" y="30"/>
                  </a:lnTo>
                  <a:lnTo>
                    <a:pt x="3" y="23"/>
                  </a:lnTo>
                  <a:lnTo>
                    <a:pt x="6" y="16"/>
                  </a:lnTo>
                  <a:lnTo>
                    <a:pt x="12" y="11"/>
                  </a:lnTo>
                  <a:lnTo>
                    <a:pt x="17" y="7"/>
                  </a:lnTo>
                  <a:lnTo>
                    <a:pt x="22" y="4"/>
                  </a:lnTo>
                  <a:lnTo>
                    <a:pt x="29" y="2"/>
                  </a:lnTo>
                  <a:lnTo>
                    <a:pt x="36" y="0"/>
                  </a:lnTo>
                  <a:lnTo>
                    <a:pt x="36" y="0"/>
                  </a:lnTo>
                  <a:lnTo>
                    <a:pt x="44" y="2"/>
                  </a:lnTo>
                  <a:lnTo>
                    <a:pt x="51" y="4"/>
                  </a:lnTo>
                  <a:lnTo>
                    <a:pt x="57" y="7"/>
                  </a:lnTo>
                  <a:lnTo>
                    <a:pt x="62" y="11"/>
                  </a:lnTo>
                  <a:lnTo>
                    <a:pt x="67" y="16"/>
                  </a:lnTo>
                  <a:lnTo>
                    <a:pt x="70" y="23"/>
                  </a:lnTo>
                  <a:lnTo>
                    <a:pt x="72" y="30"/>
                  </a:lnTo>
                  <a:lnTo>
                    <a:pt x="7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35" name="Freeform 92">
              <a:extLst>
                <a:ext uri="{FF2B5EF4-FFF2-40B4-BE49-F238E27FC236}">
                  <a16:creationId xmlns:a16="http://schemas.microsoft.com/office/drawing/2014/main" id="{7E13958F-5C8A-4E3B-8295-7ED6287A0366}"/>
                </a:ext>
              </a:extLst>
            </p:cNvPr>
            <p:cNvSpPr>
              <a:spLocks/>
            </p:cNvSpPr>
            <p:nvPr/>
          </p:nvSpPr>
          <p:spPr bwMode="auto">
            <a:xfrm>
              <a:off x="7162235" y="-152920"/>
              <a:ext cx="40124" cy="465159"/>
            </a:xfrm>
            <a:custGeom>
              <a:avLst/>
              <a:gdLst>
                <a:gd name="T0" fmla="*/ 72 w 72"/>
                <a:gd name="T1" fmla="*/ 36 h 836"/>
                <a:gd name="T2" fmla="*/ 72 w 72"/>
                <a:gd name="T3" fmla="*/ 799 h 836"/>
                <a:gd name="T4" fmla="*/ 72 w 72"/>
                <a:gd name="T5" fmla="*/ 799 h 836"/>
                <a:gd name="T6" fmla="*/ 72 w 72"/>
                <a:gd name="T7" fmla="*/ 806 h 836"/>
                <a:gd name="T8" fmla="*/ 70 w 72"/>
                <a:gd name="T9" fmla="*/ 813 h 836"/>
                <a:gd name="T10" fmla="*/ 67 w 72"/>
                <a:gd name="T11" fmla="*/ 820 h 836"/>
                <a:gd name="T12" fmla="*/ 62 w 72"/>
                <a:gd name="T13" fmla="*/ 825 h 836"/>
                <a:gd name="T14" fmla="*/ 57 w 72"/>
                <a:gd name="T15" fmla="*/ 830 h 836"/>
                <a:gd name="T16" fmla="*/ 51 w 72"/>
                <a:gd name="T17" fmla="*/ 834 h 836"/>
                <a:gd name="T18" fmla="*/ 44 w 72"/>
                <a:gd name="T19" fmla="*/ 836 h 836"/>
                <a:gd name="T20" fmla="*/ 36 w 72"/>
                <a:gd name="T21" fmla="*/ 836 h 836"/>
                <a:gd name="T22" fmla="*/ 36 w 72"/>
                <a:gd name="T23" fmla="*/ 836 h 836"/>
                <a:gd name="T24" fmla="*/ 29 w 72"/>
                <a:gd name="T25" fmla="*/ 836 h 836"/>
                <a:gd name="T26" fmla="*/ 22 w 72"/>
                <a:gd name="T27" fmla="*/ 834 h 836"/>
                <a:gd name="T28" fmla="*/ 17 w 72"/>
                <a:gd name="T29" fmla="*/ 830 h 836"/>
                <a:gd name="T30" fmla="*/ 12 w 72"/>
                <a:gd name="T31" fmla="*/ 825 h 836"/>
                <a:gd name="T32" fmla="*/ 6 w 72"/>
                <a:gd name="T33" fmla="*/ 820 h 836"/>
                <a:gd name="T34" fmla="*/ 3 w 72"/>
                <a:gd name="T35" fmla="*/ 813 h 836"/>
                <a:gd name="T36" fmla="*/ 1 w 72"/>
                <a:gd name="T37" fmla="*/ 806 h 836"/>
                <a:gd name="T38" fmla="*/ 0 w 72"/>
                <a:gd name="T39" fmla="*/ 799 h 836"/>
                <a:gd name="T40" fmla="*/ 0 w 72"/>
                <a:gd name="T41" fmla="*/ 36 h 836"/>
                <a:gd name="T42" fmla="*/ 0 w 72"/>
                <a:gd name="T43" fmla="*/ 36 h 836"/>
                <a:gd name="T44" fmla="*/ 1 w 72"/>
                <a:gd name="T45" fmla="*/ 30 h 836"/>
                <a:gd name="T46" fmla="*/ 3 w 72"/>
                <a:gd name="T47" fmla="*/ 23 h 836"/>
                <a:gd name="T48" fmla="*/ 6 w 72"/>
                <a:gd name="T49" fmla="*/ 16 h 836"/>
                <a:gd name="T50" fmla="*/ 12 w 72"/>
                <a:gd name="T51" fmla="*/ 11 h 836"/>
                <a:gd name="T52" fmla="*/ 17 w 72"/>
                <a:gd name="T53" fmla="*/ 7 h 836"/>
                <a:gd name="T54" fmla="*/ 22 w 72"/>
                <a:gd name="T55" fmla="*/ 4 h 836"/>
                <a:gd name="T56" fmla="*/ 29 w 72"/>
                <a:gd name="T57" fmla="*/ 2 h 836"/>
                <a:gd name="T58" fmla="*/ 36 w 72"/>
                <a:gd name="T59" fmla="*/ 0 h 836"/>
                <a:gd name="T60" fmla="*/ 36 w 72"/>
                <a:gd name="T61" fmla="*/ 0 h 836"/>
                <a:gd name="T62" fmla="*/ 44 w 72"/>
                <a:gd name="T63" fmla="*/ 2 h 836"/>
                <a:gd name="T64" fmla="*/ 51 w 72"/>
                <a:gd name="T65" fmla="*/ 4 h 836"/>
                <a:gd name="T66" fmla="*/ 57 w 72"/>
                <a:gd name="T67" fmla="*/ 7 h 836"/>
                <a:gd name="T68" fmla="*/ 62 w 72"/>
                <a:gd name="T69" fmla="*/ 11 h 836"/>
                <a:gd name="T70" fmla="*/ 67 w 72"/>
                <a:gd name="T71" fmla="*/ 16 h 836"/>
                <a:gd name="T72" fmla="*/ 70 w 72"/>
                <a:gd name="T73" fmla="*/ 23 h 836"/>
                <a:gd name="T74" fmla="*/ 72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2" y="806"/>
                  </a:lnTo>
                  <a:lnTo>
                    <a:pt x="70" y="813"/>
                  </a:lnTo>
                  <a:lnTo>
                    <a:pt x="67" y="820"/>
                  </a:lnTo>
                  <a:lnTo>
                    <a:pt x="62" y="825"/>
                  </a:lnTo>
                  <a:lnTo>
                    <a:pt x="57" y="830"/>
                  </a:lnTo>
                  <a:lnTo>
                    <a:pt x="51" y="834"/>
                  </a:lnTo>
                  <a:lnTo>
                    <a:pt x="44" y="836"/>
                  </a:lnTo>
                  <a:lnTo>
                    <a:pt x="36" y="836"/>
                  </a:lnTo>
                  <a:lnTo>
                    <a:pt x="36" y="836"/>
                  </a:lnTo>
                  <a:lnTo>
                    <a:pt x="29" y="836"/>
                  </a:lnTo>
                  <a:lnTo>
                    <a:pt x="22" y="834"/>
                  </a:lnTo>
                  <a:lnTo>
                    <a:pt x="17" y="830"/>
                  </a:lnTo>
                  <a:lnTo>
                    <a:pt x="12" y="825"/>
                  </a:lnTo>
                  <a:lnTo>
                    <a:pt x="6" y="820"/>
                  </a:lnTo>
                  <a:lnTo>
                    <a:pt x="3" y="813"/>
                  </a:lnTo>
                  <a:lnTo>
                    <a:pt x="1" y="806"/>
                  </a:lnTo>
                  <a:lnTo>
                    <a:pt x="0" y="799"/>
                  </a:lnTo>
                  <a:lnTo>
                    <a:pt x="0" y="36"/>
                  </a:lnTo>
                  <a:lnTo>
                    <a:pt x="0" y="36"/>
                  </a:lnTo>
                  <a:lnTo>
                    <a:pt x="1" y="30"/>
                  </a:lnTo>
                  <a:lnTo>
                    <a:pt x="3" y="23"/>
                  </a:lnTo>
                  <a:lnTo>
                    <a:pt x="6" y="16"/>
                  </a:lnTo>
                  <a:lnTo>
                    <a:pt x="12" y="11"/>
                  </a:lnTo>
                  <a:lnTo>
                    <a:pt x="17" y="7"/>
                  </a:lnTo>
                  <a:lnTo>
                    <a:pt x="22" y="4"/>
                  </a:lnTo>
                  <a:lnTo>
                    <a:pt x="29" y="2"/>
                  </a:lnTo>
                  <a:lnTo>
                    <a:pt x="36" y="0"/>
                  </a:lnTo>
                  <a:lnTo>
                    <a:pt x="36" y="0"/>
                  </a:lnTo>
                  <a:lnTo>
                    <a:pt x="44" y="2"/>
                  </a:lnTo>
                  <a:lnTo>
                    <a:pt x="51" y="4"/>
                  </a:lnTo>
                  <a:lnTo>
                    <a:pt x="57" y="7"/>
                  </a:lnTo>
                  <a:lnTo>
                    <a:pt x="62" y="11"/>
                  </a:lnTo>
                  <a:lnTo>
                    <a:pt x="67" y="16"/>
                  </a:lnTo>
                  <a:lnTo>
                    <a:pt x="70" y="23"/>
                  </a:lnTo>
                  <a:lnTo>
                    <a:pt x="72" y="30"/>
                  </a:lnTo>
                  <a:lnTo>
                    <a:pt x="72" y="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36" name="Freeform 93">
              <a:extLst>
                <a:ext uri="{FF2B5EF4-FFF2-40B4-BE49-F238E27FC236}">
                  <a16:creationId xmlns:a16="http://schemas.microsoft.com/office/drawing/2014/main" id="{A428C7CE-5C10-498D-A5F2-954E4B3EDD94}"/>
                </a:ext>
              </a:extLst>
            </p:cNvPr>
            <p:cNvSpPr>
              <a:spLocks/>
            </p:cNvSpPr>
            <p:nvPr/>
          </p:nvSpPr>
          <p:spPr bwMode="auto">
            <a:xfrm>
              <a:off x="7306572" y="-152920"/>
              <a:ext cx="40124" cy="465159"/>
            </a:xfrm>
            <a:custGeom>
              <a:avLst/>
              <a:gdLst>
                <a:gd name="T0" fmla="*/ 72 w 72"/>
                <a:gd name="T1" fmla="*/ 36 h 836"/>
                <a:gd name="T2" fmla="*/ 72 w 72"/>
                <a:gd name="T3" fmla="*/ 799 h 836"/>
                <a:gd name="T4" fmla="*/ 72 w 72"/>
                <a:gd name="T5" fmla="*/ 799 h 836"/>
                <a:gd name="T6" fmla="*/ 71 w 72"/>
                <a:gd name="T7" fmla="*/ 806 h 836"/>
                <a:gd name="T8" fmla="*/ 69 w 72"/>
                <a:gd name="T9" fmla="*/ 813 h 836"/>
                <a:gd name="T10" fmla="*/ 66 w 72"/>
                <a:gd name="T11" fmla="*/ 820 h 836"/>
                <a:gd name="T12" fmla="*/ 62 w 72"/>
                <a:gd name="T13" fmla="*/ 825 h 836"/>
                <a:gd name="T14" fmla="*/ 55 w 72"/>
                <a:gd name="T15" fmla="*/ 830 h 836"/>
                <a:gd name="T16" fmla="*/ 50 w 72"/>
                <a:gd name="T17" fmla="*/ 834 h 836"/>
                <a:gd name="T18" fmla="*/ 43 w 72"/>
                <a:gd name="T19" fmla="*/ 836 h 836"/>
                <a:gd name="T20" fmla="*/ 36 w 72"/>
                <a:gd name="T21" fmla="*/ 836 h 836"/>
                <a:gd name="T22" fmla="*/ 36 w 72"/>
                <a:gd name="T23" fmla="*/ 836 h 836"/>
                <a:gd name="T24" fmla="*/ 27 w 72"/>
                <a:gd name="T25" fmla="*/ 836 h 836"/>
                <a:gd name="T26" fmla="*/ 22 w 72"/>
                <a:gd name="T27" fmla="*/ 834 h 836"/>
                <a:gd name="T28" fmla="*/ 15 w 72"/>
                <a:gd name="T29" fmla="*/ 830 h 836"/>
                <a:gd name="T30" fmla="*/ 10 w 72"/>
                <a:gd name="T31" fmla="*/ 825 h 836"/>
                <a:gd name="T32" fmla="*/ 5 w 72"/>
                <a:gd name="T33" fmla="*/ 820 h 836"/>
                <a:gd name="T34" fmla="*/ 2 w 72"/>
                <a:gd name="T35" fmla="*/ 813 h 836"/>
                <a:gd name="T36" fmla="*/ 0 w 72"/>
                <a:gd name="T37" fmla="*/ 806 h 836"/>
                <a:gd name="T38" fmla="*/ 0 w 72"/>
                <a:gd name="T39" fmla="*/ 799 h 836"/>
                <a:gd name="T40" fmla="*/ 0 w 72"/>
                <a:gd name="T41" fmla="*/ 36 h 836"/>
                <a:gd name="T42" fmla="*/ 0 w 72"/>
                <a:gd name="T43" fmla="*/ 36 h 836"/>
                <a:gd name="T44" fmla="*/ 0 w 72"/>
                <a:gd name="T45" fmla="*/ 30 h 836"/>
                <a:gd name="T46" fmla="*/ 2 w 72"/>
                <a:gd name="T47" fmla="*/ 23 h 836"/>
                <a:gd name="T48" fmla="*/ 5 w 72"/>
                <a:gd name="T49" fmla="*/ 16 h 836"/>
                <a:gd name="T50" fmla="*/ 10 w 72"/>
                <a:gd name="T51" fmla="*/ 11 h 836"/>
                <a:gd name="T52" fmla="*/ 15 w 72"/>
                <a:gd name="T53" fmla="*/ 7 h 836"/>
                <a:gd name="T54" fmla="*/ 22 w 72"/>
                <a:gd name="T55" fmla="*/ 4 h 836"/>
                <a:gd name="T56" fmla="*/ 27 w 72"/>
                <a:gd name="T57" fmla="*/ 2 h 836"/>
                <a:gd name="T58" fmla="*/ 36 w 72"/>
                <a:gd name="T59" fmla="*/ 0 h 836"/>
                <a:gd name="T60" fmla="*/ 36 w 72"/>
                <a:gd name="T61" fmla="*/ 0 h 836"/>
                <a:gd name="T62" fmla="*/ 43 w 72"/>
                <a:gd name="T63" fmla="*/ 2 h 836"/>
                <a:gd name="T64" fmla="*/ 50 w 72"/>
                <a:gd name="T65" fmla="*/ 4 h 836"/>
                <a:gd name="T66" fmla="*/ 55 w 72"/>
                <a:gd name="T67" fmla="*/ 7 h 836"/>
                <a:gd name="T68" fmla="*/ 62 w 72"/>
                <a:gd name="T69" fmla="*/ 11 h 836"/>
                <a:gd name="T70" fmla="*/ 66 w 72"/>
                <a:gd name="T71" fmla="*/ 16 h 836"/>
                <a:gd name="T72" fmla="*/ 69 w 72"/>
                <a:gd name="T73" fmla="*/ 23 h 836"/>
                <a:gd name="T74" fmla="*/ 71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1" y="806"/>
                  </a:lnTo>
                  <a:lnTo>
                    <a:pt x="69" y="813"/>
                  </a:lnTo>
                  <a:lnTo>
                    <a:pt x="66" y="820"/>
                  </a:lnTo>
                  <a:lnTo>
                    <a:pt x="62" y="825"/>
                  </a:lnTo>
                  <a:lnTo>
                    <a:pt x="55" y="830"/>
                  </a:lnTo>
                  <a:lnTo>
                    <a:pt x="50" y="834"/>
                  </a:lnTo>
                  <a:lnTo>
                    <a:pt x="43" y="836"/>
                  </a:lnTo>
                  <a:lnTo>
                    <a:pt x="36" y="836"/>
                  </a:lnTo>
                  <a:lnTo>
                    <a:pt x="36" y="836"/>
                  </a:lnTo>
                  <a:lnTo>
                    <a:pt x="27" y="836"/>
                  </a:lnTo>
                  <a:lnTo>
                    <a:pt x="22" y="834"/>
                  </a:lnTo>
                  <a:lnTo>
                    <a:pt x="15" y="830"/>
                  </a:lnTo>
                  <a:lnTo>
                    <a:pt x="10" y="825"/>
                  </a:lnTo>
                  <a:lnTo>
                    <a:pt x="5" y="820"/>
                  </a:lnTo>
                  <a:lnTo>
                    <a:pt x="2" y="813"/>
                  </a:lnTo>
                  <a:lnTo>
                    <a:pt x="0" y="806"/>
                  </a:lnTo>
                  <a:lnTo>
                    <a:pt x="0" y="799"/>
                  </a:lnTo>
                  <a:lnTo>
                    <a:pt x="0" y="36"/>
                  </a:lnTo>
                  <a:lnTo>
                    <a:pt x="0" y="36"/>
                  </a:lnTo>
                  <a:lnTo>
                    <a:pt x="0" y="30"/>
                  </a:lnTo>
                  <a:lnTo>
                    <a:pt x="2" y="23"/>
                  </a:lnTo>
                  <a:lnTo>
                    <a:pt x="5" y="16"/>
                  </a:lnTo>
                  <a:lnTo>
                    <a:pt x="10" y="11"/>
                  </a:lnTo>
                  <a:lnTo>
                    <a:pt x="15" y="7"/>
                  </a:lnTo>
                  <a:lnTo>
                    <a:pt x="22" y="4"/>
                  </a:lnTo>
                  <a:lnTo>
                    <a:pt x="27" y="2"/>
                  </a:lnTo>
                  <a:lnTo>
                    <a:pt x="36" y="0"/>
                  </a:lnTo>
                  <a:lnTo>
                    <a:pt x="36" y="0"/>
                  </a:lnTo>
                  <a:lnTo>
                    <a:pt x="43" y="2"/>
                  </a:lnTo>
                  <a:lnTo>
                    <a:pt x="50" y="4"/>
                  </a:lnTo>
                  <a:lnTo>
                    <a:pt x="55" y="7"/>
                  </a:lnTo>
                  <a:lnTo>
                    <a:pt x="62" y="11"/>
                  </a:lnTo>
                  <a:lnTo>
                    <a:pt x="66" y="16"/>
                  </a:lnTo>
                  <a:lnTo>
                    <a:pt x="69" y="23"/>
                  </a:lnTo>
                  <a:lnTo>
                    <a:pt x="71" y="30"/>
                  </a:lnTo>
                  <a:lnTo>
                    <a:pt x="7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37" name="Freeform 94">
              <a:extLst>
                <a:ext uri="{FF2B5EF4-FFF2-40B4-BE49-F238E27FC236}">
                  <a16:creationId xmlns:a16="http://schemas.microsoft.com/office/drawing/2014/main" id="{F1275FD0-E3AB-492C-85C4-46790E43F208}"/>
                </a:ext>
              </a:extLst>
            </p:cNvPr>
            <p:cNvSpPr>
              <a:spLocks/>
            </p:cNvSpPr>
            <p:nvPr/>
          </p:nvSpPr>
          <p:spPr bwMode="auto">
            <a:xfrm>
              <a:off x="7306572" y="-152920"/>
              <a:ext cx="40124" cy="465159"/>
            </a:xfrm>
            <a:custGeom>
              <a:avLst/>
              <a:gdLst>
                <a:gd name="T0" fmla="*/ 72 w 72"/>
                <a:gd name="T1" fmla="*/ 36 h 836"/>
                <a:gd name="T2" fmla="*/ 72 w 72"/>
                <a:gd name="T3" fmla="*/ 799 h 836"/>
                <a:gd name="T4" fmla="*/ 72 w 72"/>
                <a:gd name="T5" fmla="*/ 799 h 836"/>
                <a:gd name="T6" fmla="*/ 71 w 72"/>
                <a:gd name="T7" fmla="*/ 806 h 836"/>
                <a:gd name="T8" fmla="*/ 69 w 72"/>
                <a:gd name="T9" fmla="*/ 813 h 836"/>
                <a:gd name="T10" fmla="*/ 66 w 72"/>
                <a:gd name="T11" fmla="*/ 820 h 836"/>
                <a:gd name="T12" fmla="*/ 62 w 72"/>
                <a:gd name="T13" fmla="*/ 825 h 836"/>
                <a:gd name="T14" fmla="*/ 55 w 72"/>
                <a:gd name="T15" fmla="*/ 830 h 836"/>
                <a:gd name="T16" fmla="*/ 50 w 72"/>
                <a:gd name="T17" fmla="*/ 834 h 836"/>
                <a:gd name="T18" fmla="*/ 43 w 72"/>
                <a:gd name="T19" fmla="*/ 836 h 836"/>
                <a:gd name="T20" fmla="*/ 36 w 72"/>
                <a:gd name="T21" fmla="*/ 836 h 836"/>
                <a:gd name="T22" fmla="*/ 36 w 72"/>
                <a:gd name="T23" fmla="*/ 836 h 836"/>
                <a:gd name="T24" fmla="*/ 27 w 72"/>
                <a:gd name="T25" fmla="*/ 836 h 836"/>
                <a:gd name="T26" fmla="*/ 22 w 72"/>
                <a:gd name="T27" fmla="*/ 834 h 836"/>
                <a:gd name="T28" fmla="*/ 15 w 72"/>
                <a:gd name="T29" fmla="*/ 830 h 836"/>
                <a:gd name="T30" fmla="*/ 10 w 72"/>
                <a:gd name="T31" fmla="*/ 825 h 836"/>
                <a:gd name="T32" fmla="*/ 5 w 72"/>
                <a:gd name="T33" fmla="*/ 820 h 836"/>
                <a:gd name="T34" fmla="*/ 2 w 72"/>
                <a:gd name="T35" fmla="*/ 813 h 836"/>
                <a:gd name="T36" fmla="*/ 0 w 72"/>
                <a:gd name="T37" fmla="*/ 806 h 836"/>
                <a:gd name="T38" fmla="*/ 0 w 72"/>
                <a:gd name="T39" fmla="*/ 799 h 836"/>
                <a:gd name="T40" fmla="*/ 0 w 72"/>
                <a:gd name="T41" fmla="*/ 36 h 836"/>
                <a:gd name="T42" fmla="*/ 0 w 72"/>
                <a:gd name="T43" fmla="*/ 36 h 836"/>
                <a:gd name="T44" fmla="*/ 0 w 72"/>
                <a:gd name="T45" fmla="*/ 30 h 836"/>
                <a:gd name="T46" fmla="*/ 2 w 72"/>
                <a:gd name="T47" fmla="*/ 23 h 836"/>
                <a:gd name="T48" fmla="*/ 5 w 72"/>
                <a:gd name="T49" fmla="*/ 16 h 836"/>
                <a:gd name="T50" fmla="*/ 10 w 72"/>
                <a:gd name="T51" fmla="*/ 11 h 836"/>
                <a:gd name="T52" fmla="*/ 15 w 72"/>
                <a:gd name="T53" fmla="*/ 7 h 836"/>
                <a:gd name="T54" fmla="*/ 22 w 72"/>
                <a:gd name="T55" fmla="*/ 4 h 836"/>
                <a:gd name="T56" fmla="*/ 27 w 72"/>
                <a:gd name="T57" fmla="*/ 2 h 836"/>
                <a:gd name="T58" fmla="*/ 36 w 72"/>
                <a:gd name="T59" fmla="*/ 0 h 836"/>
                <a:gd name="T60" fmla="*/ 36 w 72"/>
                <a:gd name="T61" fmla="*/ 0 h 836"/>
                <a:gd name="T62" fmla="*/ 43 w 72"/>
                <a:gd name="T63" fmla="*/ 2 h 836"/>
                <a:gd name="T64" fmla="*/ 50 w 72"/>
                <a:gd name="T65" fmla="*/ 4 h 836"/>
                <a:gd name="T66" fmla="*/ 55 w 72"/>
                <a:gd name="T67" fmla="*/ 7 h 836"/>
                <a:gd name="T68" fmla="*/ 62 w 72"/>
                <a:gd name="T69" fmla="*/ 11 h 836"/>
                <a:gd name="T70" fmla="*/ 66 w 72"/>
                <a:gd name="T71" fmla="*/ 16 h 836"/>
                <a:gd name="T72" fmla="*/ 69 w 72"/>
                <a:gd name="T73" fmla="*/ 23 h 836"/>
                <a:gd name="T74" fmla="*/ 71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1" y="806"/>
                  </a:lnTo>
                  <a:lnTo>
                    <a:pt x="69" y="813"/>
                  </a:lnTo>
                  <a:lnTo>
                    <a:pt x="66" y="820"/>
                  </a:lnTo>
                  <a:lnTo>
                    <a:pt x="62" y="825"/>
                  </a:lnTo>
                  <a:lnTo>
                    <a:pt x="55" y="830"/>
                  </a:lnTo>
                  <a:lnTo>
                    <a:pt x="50" y="834"/>
                  </a:lnTo>
                  <a:lnTo>
                    <a:pt x="43" y="836"/>
                  </a:lnTo>
                  <a:lnTo>
                    <a:pt x="36" y="836"/>
                  </a:lnTo>
                  <a:lnTo>
                    <a:pt x="36" y="836"/>
                  </a:lnTo>
                  <a:lnTo>
                    <a:pt x="27" y="836"/>
                  </a:lnTo>
                  <a:lnTo>
                    <a:pt x="22" y="834"/>
                  </a:lnTo>
                  <a:lnTo>
                    <a:pt x="15" y="830"/>
                  </a:lnTo>
                  <a:lnTo>
                    <a:pt x="10" y="825"/>
                  </a:lnTo>
                  <a:lnTo>
                    <a:pt x="5" y="820"/>
                  </a:lnTo>
                  <a:lnTo>
                    <a:pt x="2" y="813"/>
                  </a:lnTo>
                  <a:lnTo>
                    <a:pt x="0" y="806"/>
                  </a:lnTo>
                  <a:lnTo>
                    <a:pt x="0" y="799"/>
                  </a:lnTo>
                  <a:lnTo>
                    <a:pt x="0" y="36"/>
                  </a:lnTo>
                  <a:lnTo>
                    <a:pt x="0" y="36"/>
                  </a:lnTo>
                  <a:lnTo>
                    <a:pt x="0" y="30"/>
                  </a:lnTo>
                  <a:lnTo>
                    <a:pt x="2" y="23"/>
                  </a:lnTo>
                  <a:lnTo>
                    <a:pt x="5" y="16"/>
                  </a:lnTo>
                  <a:lnTo>
                    <a:pt x="10" y="11"/>
                  </a:lnTo>
                  <a:lnTo>
                    <a:pt x="15" y="7"/>
                  </a:lnTo>
                  <a:lnTo>
                    <a:pt x="22" y="4"/>
                  </a:lnTo>
                  <a:lnTo>
                    <a:pt x="27" y="2"/>
                  </a:lnTo>
                  <a:lnTo>
                    <a:pt x="36" y="0"/>
                  </a:lnTo>
                  <a:lnTo>
                    <a:pt x="36" y="0"/>
                  </a:lnTo>
                  <a:lnTo>
                    <a:pt x="43" y="2"/>
                  </a:lnTo>
                  <a:lnTo>
                    <a:pt x="50" y="4"/>
                  </a:lnTo>
                  <a:lnTo>
                    <a:pt x="55" y="7"/>
                  </a:lnTo>
                  <a:lnTo>
                    <a:pt x="62" y="11"/>
                  </a:lnTo>
                  <a:lnTo>
                    <a:pt x="66" y="16"/>
                  </a:lnTo>
                  <a:lnTo>
                    <a:pt x="69" y="23"/>
                  </a:lnTo>
                  <a:lnTo>
                    <a:pt x="71" y="30"/>
                  </a:lnTo>
                  <a:lnTo>
                    <a:pt x="72" y="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38" name="Freeform 95">
              <a:extLst>
                <a:ext uri="{FF2B5EF4-FFF2-40B4-BE49-F238E27FC236}">
                  <a16:creationId xmlns:a16="http://schemas.microsoft.com/office/drawing/2014/main" id="{3E402EAE-120F-48E2-A45A-84310E0608D0}"/>
                </a:ext>
              </a:extLst>
            </p:cNvPr>
            <p:cNvSpPr>
              <a:spLocks/>
            </p:cNvSpPr>
            <p:nvPr/>
          </p:nvSpPr>
          <p:spPr bwMode="auto">
            <a:xfrm>
              <a:off x="7449794" y="13447"/>
              <a:ext cx="40682" cy="132982"/>
            </a:xfrm>
            <a:custGeom>
              <a:avLst/>
              <a:gdLst>
                <a:gd name="T0" fmla="*/ 73 w 73"/>
                <a:gd name="T1" fmla="*/ 37 h 239"/>
                <a:gd name="T2" fmla="*/ 73 w 73"/>
                <a:gd name="T3" fmla="*/ 203 h 239"/>
                <a:gd name="T4" fmla="*/ 73 w 73"/>
                <a:gd name="T5" fmla="*/ 203 h 239"/>
                <a:gd name="T6" fmla="*/ 73 w 73"/>
                <a:gd name="T7" fmla="*/ 210 h 239"/>
                <a:gd name="T8" fmla="*/ 70 w 73"/>
                <a:gd name="T9" fmla="*/ 217 h 239"/>
                <a:gd name="T10" fmla="*/ 66 w 73"/>
                <a:gd name="T11" fmla="*/ 222 h 239"/>
                <a:gd name="T12" fmla="*/ 63 w 73"/>
                <a:gd name="T13" fmla="*/ 227 h 239"/>
                <a:gd name="T14" fmla="*/ 57 w 73"/>
                <a:gd name="T15" fmla="*/ 232 h 239"/>
                <a:gd name="T16" fmla="*/ 51 w 73"/>
                <a:gd name="T17" fmla="*/ 236 h 239"/>
                <a:gd name="T18" fmla="*/ 44 w 73"/>
                <a:gd name="T19" fmla="*/ 237 h 239"/>
                <a:gd name="T20" fmla="*/ 37 w 73"/>
                <a:gd name="T21" fmla="*/ 239 h 239"/>
                <a:gd name="T22" fmla="*/ 37 w 73"/>
                <a:gd name="T23" fmla="*/ 239 h 239"/>
                <a:gd name="T24" fmla="*/ 30 w 73"/>
                <a:gd name="T25" fmla="*/ 237 h 239"/>
                <a:gd name="T26" fmla="*/ 23 w 73"/>
                <a:gd name="T27" fmla="*/ 236 h 239"/>
                <a:gd name="T28" fmla="*/ 16 w 73"/>
                <a:gd name="T29" fmla="*/ 232 h 239"/>
                <a:gd name="T30" fmla="*/ 11 w 73"/>
                <a:gd name="T31" fmla="*/ 227 h 239"/>
                <a:gd name="T32" fmla="*/ 7 w 73"/>
                <a:gd name="T33" fmla="*/ 222 h 239"/>
                <a:gd name="T34" fmla="*/ 4 w 73"/>
                <a:gd name="T35" fmla="*/ 217 h 239"/>
                <a:gd name="T36" fmla="*/ 0 w 73"/>
                <a:gd name="T37" fmla="*/ 210 h 239"/>
                <a:gd name="T38" fmla="*/ 0 w 73"/>
                <a:gd name="T39" fmla="*/ 203 h 239"/>
                <a:gd name="T40" fmla="*/ 0 w 73"/>
                <a:gd name="T41" fmla="*/ 37 h 239"/>
                <a:gd name="T42" fmla="*/ 0 w 73"/>
                <a:gd name="T43" fmla="*/ 37 h 239"/>
                <a:gd name="T44" fmla="*/ 0 w 73"/>
                <a:gd name="T45" fmla="*/ 30 h 239"/>
                <a:gd name="T46" fmla="*/ 4 w 73"/>
                <a:gd name="T47" fmla="*/ 23 h 239"/>
                <a:gd name="T48" fmla="*/ 7 w 73"/>
                <a:gd name="T49" fmla="*/ 16 h 239"/>
                <a:gd name="T50" fmla="*/ 11 w 73"/>
                <a:gd name="T51" fmla="*/ 11 h 239"/>
                <a:gd name="T52" fmla="*/ 16 w 73"/>
                <a:gd name="T53" fmla="*/ 6 h 239"/>
                <a:gd name="T54" fmla="*/ 23 w 73"/>
                <a:gd name="T55" fmla="*/ 4 h 239"/>
                <a:gd name="T56" fmla="*/ 30 w 73"/>
                <a:gd name="T57" fmla="*/ 0 h 239"/>
                <a:gd name="T58" fmla="*/ 37 w 73"/>
                <a:gd name="T59" fmla="*/ 0 h 239"/>
                <a:gd name="T60" fmla="*/ 37 w 73"/>
                <a:gd name="T61" fmla="*/ 0 h 239"/>
                <a:gd name="T62" fmla="*/ 44 w 73"/>
                <a:gd name="T63" fmla="*/ 0 h 239"/>
                <a:gd name="T64" fmla="*/ 51 w 73"/>
                <a:gd name="T65" fmla="*/ 4 h 239"/>
                <a:gd name="T66" fmla="*/ 57 w 73"/>
                <a:gd name="T67" fmla="*/ 6 h 239"/>
                <a:gd name="T68" fmla="*/ 63 w 73"/>
                <a:gd name="T69" fmla="*/ 11 h 239"/>
                <a:gd name="T70" fmla="*/ 66 w 73"/>
                <a:gd name="T71" fmla="*/ 16 h 239"/>
                <a:gd name="T72" fmla="*/ 70 w 73"/>
                <a:gd name="T73" fmla="*/ 23 h 239"/>
                <a:gd name="T74" fmla="*/ 73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3" y="210"/>
                  </a:lnTo>
                  <a:lnTo>
                    <a:pt x="70" y="217"/>
                  </a:lnTo>
                  <a:lnTo>
                    <a:pt x="66" y="222"/>
                  </a:lnTo>
                  <a:lnTo>
                    <a:pt x="63" y="227"/>
                  </a:lnTo>
                  <a:lnTo>
                    <a:pt x="57" y="232"/>
                  </a:lnTo>
                  <a:lnTo>
                    <a:pt x="51" y="236"/>
                  </a:lnTo>
                  <a:lnTo>
                    <a:pt x="44" y="237"/>
                  </a:lnTo>
                  <a:lnTo>
                    <a:pt x="37" y="239"/>
                  </a:lnTo>
                  <a:lnTo>
                    <a:pt x="37" y="239"/>
                  </a:lnTo>
                  <a:lnTo>
                    <a:pt x="30" y="237"/>
                  </a:lnTo>
                  <a:lnTo>
                    <a:pt x="23" y="236"/>
                  </a:lnTo>
                  <a:lnTo>
                    <a:pt x="16" y="232"/>
                  </a:lnTo>
                  <a:lnTo>
                    <a:pt x="11" y="227"/>
                  </a:lnTo>
                  <a:lnTo>
                    <a:pt x="7" y="222"/>
                  </a:lnTo>
                  <a:lnTo>
                    <a:pt x="4" y="217"/>
                  </a:lnTo>
                  <a:lnTo>
                    <a:pt x="0" y="210"/>
                  </a:lnTo>
                  <a:lnTo>
                    <a:pt x="0" y="203"/>
                  </a:lnTo>
                  <a:lnTo>
                    <a:pt x="0" y="37"/>
                  </a:lnTo>
                  <a:lnTo>
                    <a:pt x="0" y="37"/>
                  </a:lnTo>
                  <a:lnTo>
                    <a:pt x="0" y="30"/>
                  </a:lnTo>
                  <a:lnTo>
                    <a:pt x="4" y="23"/>
                  </a:lnTo>
                  <a:lnTo>
                    <a:pt x="7" y="16"/>
                  </a:lnTo>
                  <a:lnTo>
                    <a:pt x="11" y="11"/>
                  </a:lnTo>
                  <a:lnTo>
                    <a:pt x="16" y="6"/>
                  </a:lnTo>
                  <a:lnTo>
                    <a:pt x="23" y="4"/>
                  </a:lnTo>
                  <a:lnTo>
                    <a:pt x="30" y="0"/>
                  </a:lnTo>
                  <a:lnTo>
                    <a:pt x="37" y="0"/>
                  </a:lnTo>
                  <a:lnTo>
                    <a:pt x="37" y="0"/>
                  </a:lnTo>
                  <a:lnTo>
                    <a:pt x="44" y="0"/>
                  </a:lnTo>
                  <a:lnTo>
                    <a:pt x="51" y="4"/>
                  </a:lnTo>
                  <a:lnTo>
                    <a:pt x="57" y="6"/>
                  </a:lnTo>
                  <a:lnTo>
                    <a:pt x="63" y="11"/>
                  </a:lnTo>
                  <a:lnTo>
                    <a:pt x="66" y="16"/>
                  </a:lnTo>
                  <a:lnTo>
                    <a:pt x="70" y="23"/>
                  </a:lnTo>
                  <a:lnTo>
                    <a:pt x="73" y="30"/>
                  </a:lnTo>
                  <a:lnTo>
                    <a:pt x="73"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39" name="Freeform 96">
              <a:extLst>
                <a:ext uri="{FF2B5EF4-FFF2-40B4-BE49-F238E27FC236}">
                  <a16:creationId xmlns:a16="http://schemas.microsoft.com/office/drawing/2014/main" id="{6E35CC7F-09C2-448E-B806-F3714F7434CE}"/>
                </a:ext>
              </a:extLst>
            </p:cNvPr>
            <p:cNvSpPr>
              <a:spLocks/>
            </p:cNvSpPr>
            <p:nvPr/>
          </p:nvSpPr>
          <p:spPr bwMode="auto">
            <a:xfrm>
              <a:off x="7449794" y="13447"/>
              <a:ext cx="40682" cy="132982"/>
            </a:xfrm>
            <a:custGeom>
              <a:avLst/>
              <a:gdLst>
                <a:gd name="T0" fmla="*/ 73 w 73"/>
                <a:gd name="T1" fmla="*/ 37 h 239"/>
                <a:gd name="T2" fmla="*/ 73 w 73"/>
                <a:gd name="T3" fmla="*/ 203 h 239"/>
                <a:gd name="T4" fmla="*/ 73 w 73"/>
                <a:gd name="T5" fmla="*/ 203 h 239"/>
                <a:gd name="T6" fmla="*/ 73 w 73"/>
                <a:gd name="T7" fmla="*/ 210 h 239"/>
                <a:gd name="T8" fmla="*/ 70 w 73"/>
                <a:gd name="T9" fmla="*/ 217 h 239"/>
                <a:gd name="T10" fmla="*/ 66 w 73"/>
                <a:gd name="T11" fmla="*/ 222 h 239"/>
                <a:gd name="T12" fmla="*/ 63 w 73"/>
                <a:gd name="T13" fmla="*/ 227 h 239"/>
                <a:gd name="T14" fmla="*/ 57 w 73"/>
                <a:gd name="T15" fmla="*/ 232 h 239"/>
                <a:gd name="T16" fmla="*/ 51 w 73"/>
                <a:gd name="T17" fmla="*/ 236 h 239"/>
                <a:gd name="T18" fmla="*/ 44 w 73"/>
                <a:gd name="T19" fmla="*/ 237 h 239"/>
                <a:gd name="T20" fmla="*/ 37 w 73"/>
                <a:gd name="T21" fmla="*/ 239 h 239"/>
                <a:gd name="T22" fmla="*/ 37 w 73"/>
                <a:gd name="T23" fmla="*/ 239 h 239"/>
                <a:gd name="T24" fmla="*/ 30 w 73"/>
                <a:gd name="T25" fmla="*/ 237 h 239"/>
                <a:gd name="T26" fmla="*/ 23 w 73"/>
                <a:gd name="T27" fmla="*/ 236 h 239"/>
                <a:gd name="T28" fmla="*/ 16 w 73"/>
                <a:gd name="T29" fmla="*/ 232 h 239"/>
                <a:gd name="T30" fmla="*/ 11 w 73"/>
                <a:gd name="T31" fmla="*/ 227 h 239"/>
                <a:gd name="T32" fmla="*/ 7 w 73"/>
                <a:gd name="T33" fmla="*/ 222 h 239"/>
                <a:gd name="T34" fmla="*/ 4 w 73"/>
                <a:gd name="T35" fmla="*/ 217 h 239"/>
                <a:gd name="T36" fmla="*/ 0 w 73"/>
                <a:gd name="T37" fmla="*/ 210 h 239"/>
                <a:gd name="T38" fmla="*/ 0 w 73"/>
                <a:gd name="T39" fmla="*/ 203 h 239"/>
                <a:gd name="T40" fmla="*/ 0 w 73"/>
                <a:gd name="T41" fmla="*/ 37 h 239"/>
                <a:gd name="T42" fmla="*/ 0 w 73"/>
                <a:gd name="T43" fmla="*/ 37 h 239"/>
                <a:gd name="T44" fmla="*/ 0 w 73"/>
                <a:gd name="T45" fmla="*/ 30 h 239"/>
                <a:gd name="T46" fmla="*/ 4 w 73"/>
                <a:gd name="T47" fmla="*/ 23 h 239"/>
                <a:gd name="T48" fmla="*/ 7 w 73"/>
                <a:gd name="T49" fmla="*/ 16 h 239"/>
                <a:gd name="T50" fmla="*/ 11 w 73"/>
                <a:gd name="T51" fmla="*/ 11 h 239"/>
                <a:gd name="T52" fmla="*/ 16 w 73"/>
                <a:gd name="T53" fmla="*/ 6 h 239"/>
                <a:gd name="T54" fmla="*/ 23 w 73"/>
                <a:gd name="T55" fmla="*/ 4 h 239"/>
                <a:gd name="T56" fmla="*/ 30 w 73"/>
                <a:gd name="T57" fmla="*/ 0 h 239"/>
                <a:gd name="T58" fmla="*/ 37 w 73"/>
                <a:gd name="T59" fmla="*/ 0 h 239"/>
                <a:gd name="T60" fmla="*/ 37 w 73"/>
                <a:gd name="T61" fmla="*/ 0 h 239"/>
                <a:gd name="T62" fmla="*/ 44 w 73"/>
                <a:gd name="T63" fmla="*/ 0 h 239"/>
                <a:gd name="T64" fmla="*/ 51 w 73"/>
                <a:gd name="T65" fmla="*/ 4 h 239"/>
                <a:gd name="T66" fmla="*/ 57 w 73"/>
                <a:gd name="T67" fmla="*/ 6 h 239"/>
                <a:gd name="T68" fmla="*/ 63 w 73"/>
                <a:gd name="T69" fmla="*/ 11 h 239"/>
                <a:gd name="T70" fmla="*/ 66 w 73"/>
                <a:gd name="T71" fmla="*/ 16 h 239"/>
                <a:gd name="T72" fmla="*/ 70 w 73"/>
                <a:gd name="T73" fmla="*/ 23 h 239"/>
                <a:gd name="T74" fmla="*/ 73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3" y="210"/>
                  </a:lnTo>
                  <a:lnTo>
                    <a:pt x="70" y="217"/>
                  </a:lnTo>
                  <a:lnTo>
                    <a:pt x="66" y="222"/>
                  </a:lnTo>
                  <a:lnTo>
                    <a:pt x="63" y="227"/>
                  </a:lnTo>
                  <a:lnTo>
                    <a:pt x="57" y="232"/>
                  </a:lnTo>
                  <a:lnTo>
                    <a:pt x="51" y="236"/>
                  </a:lnTo>
                  <a:lnTo>
                    <a:pt x="44" y="237"/>
                  </a:lnTo>
                  <a:lnTo>
                    <a:pt x="37" y="239"/>
                  </a:lnTo>
                  <a:lnTo>
                    <a:pt x="37" y="239"/>
                  </a:lnTo>
                  <a:lnTo>
                    <a:pt x="30" y="237"/>
                  </a:lnTo>
                  <a:lnTo>
                    <a:pt x="23" y="236"/>
                  </a:lnTo>
                  <a:lnTo>
                    <a:pt x="16" y="232"/>
                  </a:lnTo>
                  <a:lnTo>
                    <a:pt x="11" y="227"/>
                  </a:lnTo>
                  <a:lnTo>
                    <a:pt x="7" y="222"/>
                  </a:lnTo>
                  <a:lnTo>
                    <a:pt x="4" y="217"/>
                  </a:lnTo>
                  <a:lnTo>
                    <a:pt x="0" y="210"/>
                  </a:lnTo>
                  <a:lnTo>
                    <a:pt x="0" y="203"/>
                  </a:lnTo>
                  <a:lnTo>
                    <a:pt x="0" y="37"/>
                  </a:lnTo>
                  <a:lnTo>
                    <a:pt x="0" y="37"/>
                  </a:lnTo>
                  <a:lnTo>
                    <a:pt x="0" y="30"/>
                  </a:lnTo>
                  <a:lnTo>
                    <a:pt x="4" y="23"/>
                  </a:lnTo>
                  <a:lnTo>
                    <a:pt x="7" y="16"/>
                  </a:lnTo>
                  <a:lnTo>
                    <a:pt x="11" y="11"/>
                  </a:lnTo>
                  <a:lnTo>
                    <a:pt x="16" y="6"/>
                  </a:lnTo>
                  <a:lnTo>
                    <a:pt x="23" y="4"/>
                  </a:lnTo>
                  <a:lnTo>
                    <a:pt x="30" y="0"/>
                  </a:lnTo>
                  <a:lnTo>
                    <a:pt x="37" y="0"/>
                  </a:lnTo>
                  <a:lnTo>
                    <a:pt x="37" y="0"/>
                  </a:lnTo>
                  <a:lnTo>
                    <a:pt x="44" y="0"/>
                  </a:lnTo>
                  <a:lnTo>
                    <a:pt x="51" y="4"/>
                  </a:lnTo>
                  <a:lnTo>
                    <a:pt x="57" y="6"/>
                  </a:lnTo>
                  <a:lnTo>
                    <a:pt x="63" y="11"/>
                  </a:lnTo>
                  <a:lnTo>
                    <a:pt x="66" y="16"/>
                  </a:lnTo>
                  <a:lnTo>
                    <a:pt x="70" y="23"/>
                  </a:lnTo>
                  <a:lnTo>
                    <a:pt x="73" y="30"/>
                  </a:lnTo>
                  <a:lnTo>
                    <a:pt x="73" y="3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40" name="Freeform 97">
              <a:extLst>
                <a:ext uri="{FF2B5EF4-FFF2-40B4-BE49-F238E27FC236}">
                  <a16:creationId xmlns:a16="http://schemas.microsoft.com/office/drawing/2014/main" id="{24F42D49-6213-48B1-A78A-3CFECA77C61F}"/>
                </a:ext>
              </a:extLst>
            </p:cNvPr>
            <p:cNvSpPr>
              <a:spLocks/>
            </p:cNvSpPr>
            <p:nvPr/>
          </p:nvSpPr>
          <p:spPr bwMode="auto">
            <a:xfrm>
              <a:off x="7881691" y="13447"/>
              <a:ext cx="40682" cy="132982"/>
            </a:xfrm>
            <a:custGeom>
              <a:avLst/>
              <a:gdLst>
                <a:gd name="T0" fmla="*/ 73 w 73"/>
                <a:gd name="T1" fmla="*/ 37 h 239"/>
                <a:gd name="T2" fmla="*/ 73 w 73"/>
                <a:gd name="T3" fmla="*/ 203 h 239"/>
                <a:gd name="T4" fmla="*/ 73 w 73"/>
                <a:gd name="T5" fmla="*/ 203 h 239"/>
                <a:gd name="T6" fmla="*/ 73 w 73"/>
                <a:gd name="T7" fmla="*/ 210 h 239"/>
                <a:gd name="T8" fmla="*/ 69 w 73"/>
                <a:gd name="T9" fmla="*/ 217 h 239"/>
                <a:gd name="T10" fmla="*/ 66 w 73"/>
                <a:gd name="T11" fmla="*/ 222 h 239"/>
                <a:gd name="T12" fmla="*/ 62 w 73"/>
                <a:gd name="T13" fmla="*/ 227 h 239"/>
                <a:gd name="T14" fmla="*/ 57 w 73"/>
                <a:gd name="T15" fmla="*/ 232 h 239"/>
                <a:gd name="T16" fmla="*/ 50 w 73"/>
                <a:gd name="T17" fmla="*/ 236 h 239"/>
                <a:gd name="T18" fmla="*/ 43 w 73"/>
                <a:gd name="T19" fmla="*/ 237 h 239"/>
                <a:gd name="T20" fmla="*/ 36 w 73"/>
                <a:gd name="T21" fmla="*/ 239 h 239"/>
                <a:gd name="T22" fmla="*/ 36 w 73"/>
                <a:gd name="T23" fmla="*/ 239 h 239"/>
                <a:gd name="T24" fmla="*/ 29 w 73"/>
                <a:gd name="T25" fmla="*/ 237 h 239"/>
                <a:gd name="T26" fmla="*/ 22 w 73"/>
                <a:gd name="T27" fmla="*/ 236 h 239"/>
                <a:gd name="T28" fmla="*/ 15 w 73"/>
                <a:gd name="T29" fmla="*/ 232 h 239"/>
                <a:gd name="T30" fmla="*/ 10 w 73"/>
                <a:gd name="T31" fmla="*/ 227 h 239"/>
                <a:gd name="T32" fmla="*/ 7 w 73"/>
                <a:gd name="T33" fmla="*/ 222 h 239"/>
                <a:gd name="T34" fmla="*/ 3 w 73"/>
                <a:gd name="T35" fmla="*/ 217 h 239"/>
                <a:gd name="T36" fmla="*/ 0 w 73"/>
                <a:gd name="T37" fmla="*/ 210 h 239"/>
                <a:gd name="T38" fmla="*/ 0 w 73"/>
                <a:gd name="T39" fmla="*/ 203 h 239"/>
                <a:gd name="T40" fmla="*/ 0 w 73"/>
                <a:gd name="T41" fmla="*/ 37 h 239"/>
                <a:gd name="T42" fmla="*/ 0 w 73"/>
                <a:gd name="T43" fmla="*/ 37 h 239"/>
                <a:gd name="T44" fmla="*/ 0 w 73"/>
                <a:gd name="T45" fmla="*/ 30 h 239"/>
                <a:gd name="T46" fmla="*/ 3 w 73"/>
                <a:gd name="T47" fmla="*/ 23 h 239"/>
                <a:gd name="T48" fmla="*/ 7 w 73"/>
                <a:gd name="T49" fmla="*/ 16 h 239"/>
                <a:gd name="T50" fmla="*/ 10 w 73"/>
                <a:gd name="T51" fmla="*/ 11 h 239"/>
                <a:gd name="T52" fmla="*/ 15 w 73"/>
                <a:gd name="T53" fmla="*/ 6 h 239"/>
                <a:gd name="T54" fmla="*/ 22 w 73"/>
                <a:gd name="T55" fmla="*/ 4 h 239"/>
                <a:gd name="T56" fmla="*/ 29 w 73"/>
                <a:gd name="T57" fmla="*/ 0 h 239"/>
                <a:gd name="T58" fmla="*/ 36 w 73"/>
                <a:gd name="T59" fmla="*/ 0 h 239"/>
                <a:gd name="T60" fmla="*/ 36 w 73"/>
                <a:gd name="T61" fmla="*/ 0 h 239"/>
                <a:gd name="T62" fmla="*/ 43 w 73"/>
                <a:gd name="T63" fmla="*/ 0 h 239"/>
                <a:gd name="T64" fmla="*/ 50 w 73"/>
                <a:gd name="T65" fmla="*/ 4 h 239"/>
                <a:gd name="T66" fmla="*/ 57 w 73"/>
                <a:gd name="T67" fmla="*/ 6 h 239"/>
                <a:gd name="T68" fmla="*/ 62 w 73"/>
                <a:gd name="T69" fmla="*/ 11 h 239"/>
                <a:gd name="T70" fmla="*/ 66 w 73"/>
                <a:gd name="T71" fmla="*/ 16 h 239"/>
                <a:gd name="T72" fmla="*/ 69 w 73"/>
                <a:gd name="T73" fmla="*/ 23 h 239"/>
                <a:gd name="T74" fmla="*/ 73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3" y="210"/>
                  </a:lnTo>
                  <a:lnTo>
                    <a:pt x="69" y="217"/>
                  </a:lnTo>
                  <a:lnTo>
                    <a:pt x="66" y="222"/>
                  </a:lnTo>
                  <a:lnTo>
                    <a:pt x="62" y="227"/>
                  </a:lnTo>
                  <a:lnTo>
                    <a:pt x="57" y="232"/>
                  </a:lnTo>
                  <a:lnTo>
                    <a:pt x="50" y="236"/>
                  </a:lnTo>
                  <a:lnTo>
                    <a:pt x="43" y="237"/>
                  </a:lnTo>
                  <a:lnTo>
                    <a:pt x="36" y="239"/>
                  </a:lnTo>
                  <a:lnTo>
                    <a:pt x="36" y="239"/>
                  </a:lnTo>
                  <a:lnTo>
                    <a:pt x="29" y="237"/>
                  </a:lnTo>
                  <a:lnTo>
                    <a:pt x="22" y="236"/>
                  </a:lnTo>
                  <a:lnTo>
                    <a:pt x="15" y="232"/>
                  </a:lnTo>
                  <a:lnTo>
                    <a:pt x="10" y="227"/>
                  </a:lnTo>
                  <a:lnTo>
                    <a:pt x="7" y="222"/>
                  </a:lnTo>
                  <a:lnTo>
                    <a:pt x="3" y="217"/>
                  </a:lnTo>
                  <a:lnTo>
                    <a:pt x="0" y="210"/>
                  </a:lnTo>
                  <a:lnTo>
                    <a:pt x="0" y="203"/>
                  </a:lnTo>
                  <a:lnTo>
                    <a:pt x="0" y="37"/>
                  </a:lnTo>
                  <a:lnTo>
                    <a:pt x="0" y="37"/>
                  </a:lnTo>
                  <a:lnTo>
                    <a:pt x="0" y="30"/>
                  </a:lnTo>
                  <a:lnTo>
                    <a:pt x="3" y="23"/>
                  </a:lnTo>
                  <a:lnTo>
                    <a:pt x="7" y="16"/>
                  </a:lnTo>
                  <a:lnTo>
                    <a:pt x="10" y="11"/>
                  </a:lnTo>
                  <a:lnTo>
                    <a:pt x="15" y="6"/>
                  </a:lnTo>
                  <a:lnTo>
                    <a:pt x="22" y="4"/>
                  </a:lnTo>
                  <a:lnTo>
                    <a:pt x="29" y="0"/>
                  </a:lnTo>
                  <a:lnTo>
                    <a:pt x="36" y="0"/>
                  </a:lnTo>
                  <a:lnTo>
                    <a:pt x="36" y="0"/>
                  </a:lnTo>
                  <a:lnTo>
                    <a:pt x="43" y="0"/>
                  </a:lnTo>
                  <a:lnTo>
                    <a:pt x="50" y="4"/>
                  </a:lnTo>
                  <a:lnTo>
                    <a:pt x="57" y="6"/>
                  </a:lnTo>
                  <a:lnTo>
                    <a:pt x="62" y="11"/>
                  </a:lnTo>
                  <a:lnTo>
                    <a:pt x="66" y="16"/>
                  </a:lnTo>
                  <a:lnTo>
                    <a:pt x="69" y="23"/>
                  </a:lnTo>
                  <a:lnTo>
                    <a:pt x="73" y="30"/>
                  </a:lnTo>
                  <a:lnTo>
                    <a:pt x="73"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41" name="Freeform 98">
              <a:extLst>
                <a:ext uri="{FF2B5EF4-FFF2-40B4-BE49-F238E27FC236}">
                  <a16:creationId xmlns:a16="http://schemas.microsoft.com/office/drawing/2014/main" id="{3F91F521-5FE2-4CB1-BE97-60351103E2EC}"/>
                </a:ext>
              </a:extLst>
            </p:cNvPr>
            <p:cNvSpPr>
              <a:spLocks/>
            </p:cNvSpPr>
            <p:nvPr/>
          </p:nvSpPr>
          <p:spPr bwMode="auto">
            <a:xfrm>
              <a:off x="7881691" y="13447"/>
              <a:ext cx="40682" cy="132982"/>
            </a:xfrm>
            <a:custGeom>
              <a:avLst/>
              <a:gdLst>
                <a:gd name="T0" fmla="*/ 73 w 73"/>
                <a:gd name="T1" fmla="*/ 37 h 239"/>
                <a:gd name="T2" fmla="*/ 73 w 73"/>
                <a:gd name="T3" fmla="*/ 203 h 239"/>
                <a:gd name="T4" fmla="*/ 73 w 73"/>
                <a:gd name="T5" fmla="*/ 203 h 239"/>
                <a:gd name="T6" fmla="*/ 73 w 73"/>
                <a:gd name="T7" fmla="*/ 210 h 239"/>
                <a:gd name="T8" fmla="*/ 69 w 73"/>
                <a:gd name="T9" fmla="*/ 217 h 239"/>
                <a:gd name="T10" fmla="*/ 66 w 73"/>
                <a:gd name="T11" fmla="*/ 222 h 239"/>
                <a:gd name="T12" fmla="*/ 62 w 73"/>
                <a:gd name="T13" fmla="*/ 227 h 239"/>
                <a:gd name="T14" fmla="*/ 57 w 73"/>
                <a:gd name="T15" fmla="*/ 232 h 239"/>
                <a:gd name="T16" fmla="*/ 50 w 73"/>
                <a:gd name="T17" fmla="*/ 236 h 239"/>
                <a:gd name="T18" fmla="*/ 43 w 73"/>
                <a:gd name="T19" fmla="*/ 237 h 239"/>
                <a:gd name="T20" fmla="*/ 36 w 73"/>
                <a:gd name="T21" fmla="*/ 239 h 239"/>
                <a:gd name="T22" fmla="*/ 36 w 73"/>
                <a:gd name="T23" fmla="*/ 239 h 239"/>
                <a:gd name="T24" fmla="*/ 29 w 73"/>
                <a:gd name="T25" fmla="*/ 237 h 239"/>
                <a:gd name="T26" fmla="*/ 22 w 73"/>
                <a:gd name="T27" fmla="*/ 236 h 239"/>
                <a:gd name="T28" fmla="*/ 15 w 73"/>
                <a:gd name="T29" fmla="*/ 232 h 239"/>
                <a:gd name="T30" fmla="*/ 10 w 73"/>
                <a:gd name="T31" fmla="*/ 227 h 239"/>
                <a:gd name="T32" fmla="*/ 7 w 73"/>
                <a:gd name="T33" fmla="*/ 222 h 239"/>
                <a:gd name="T34" fmla="*/ 3 w 73"/>
                <a:gd name="T35" fmla="*/ 217 h 239"/>
                <a:gd name="T36" fmla="*/ 0 w 73"/>
                <a:gd name="T37" fmla="*/ 210 h 239"/>
                <a:gd name="T38" fmla="*/ 0 w 73"/>
                <a:gd name="T39" fmla="*/ 203 h 239"/>
                <a:gd name="T40" fmla="*/ 0 w 73"/>
                <a:gd name="T41" fmla="*/ 37 h 239"/>
                <a:gd name="T42" fmla="*/ 0 w 73"/>
                <a:gd name="T43" fmla="*/ 37 h 239"/>
                <a:gd name="T44" fmla="*/ 0 w 73"/>
                <a:gd name="T45" fmla="*/ 30 h 239"/>
                <a:gd name="T46" fmla="*/ 3 w 73"/>
                <a:gd name="T47" fmla="*/ 23 h 239"/>
                <a:gd name="T48" fmla="*/ 7 w 73"/>
                <a:gd name="T49" fmla="*/ 16 h 239"/>
                <a:gd name="T50" fmla="*/ 10 w 73"/>
                <a:gd name="T51" fmla="*/ 11 h 239"/>
                <a:gd name="T52" fmla="*/ 15 w 73"/>
                <a:gd name="T53" fmla="*/ 6 h 239"/>
                <a:gd name="T54" fmla="*/ 22 w 73"/>
                <a:gd name="T55" fmla="*/ 4 h 239"/>
                <a:gd name="T56" fmla="*/ 29 w 73"/>
                <a:gd name="T57" fmla="*/ 0 h 239"/>
                <a:gd name="T58" fmla="*/ 36 w 73"/>
                <a:gd name="T59" fmla="*/ 0 h 239"/>
                <a:gd name="T60" fmla="*/ 36 w 73"/>
                <a:gd name="T61" fmla="*/ 0 h 239"/>
                <a:gd name="T62" fmla="*/ 43 w 73"/>
                <a:gd name="T63" fmla="*/ 0 h 239"/>
                <a:gd name="T64" fmla="*/ 50 w 73"/>
                <a:gd name="T65" fmla="*/ 4 h 239"/>
                <a:gd name="T66" fmla="*/ 57 w 73"/>
                <a:gd name="T67" fmla="*/ 6 h 239"/>
                <a:gd name="T68" fmla="*/ 62 w 73"/>
                <a:gd name="T69" fmla="*/ 11 h 239"/>
                <a:gd name="T70" fmla="*/ 66 w 73"/>
                <a:gd name="T71" fmla="*/ 16 h 239"/>
                <a:gd name="T72" fmla="*/ 69 w 73"/>
                <a:gd name="T73" fmla="*/ 23 h 239"/>
                <a:gd name="T74" fmla="*/ 73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3" y="210"/>
                  </a:lnTo>
                  <a:lnTo>
                    <a:pt x="69" y="217"/>
                  </a:lnTo>
                  <a:lnTo>
                    <a:pt x="66" y="222"/>
                  </a:lnTo>
                  <a:lnTo>
                    <a:pt x="62" y="227"/>
                  </a:lnTo>
                  <a:lnTo>
                    <a:pt x="57" y="232"/>
                  </a:lnTo>
                  <a:lnTo>
                    <a:pt x="50" y="236"/>
                  </a:lnTo>
                  <a:lnTo>
                    <a:pt x="43" y="237"/>
                  </a:lnTo>
                  <a:lnTo>
                    <a:pt x="36" y="239"/>
                  </a:lnTo>
                  <a:lnTo>
                    <a:pt x="36" y="239"/>
                  </a:lnTo>
                  <a:lnTo>
                    <a:pt x="29" y="237"/>
                  </a:lnTo>
                  <a:lnTo>
                    <a:pt x="22" y="236"/>
                  </a:lnTo>
                  <a:lnTo>
                    <a:pt x="15" y="232"/>
                  </a:lnTo>
                  <a:lnTo>
                    <a:pt x="10" y="227"/>
                  </a:lnTo>
                  <a:lnTo>
                    <a:pt x="7" y="222"/>
                  </a:lnTo>
                  <a:lnTo>
                    <a:pt x="3" y="217"/>
                  </a:lnTo>
                  <a:lnTo>
                    <a:pt x="0" y="210"/>
                  </a:lnTo>
                  <a:lnTo>
                    <a:pt x="0" y="203"/>
                  </a:lnTo>
                  <a:lnTo>
                    <a:pt x="0" y="37"/>
                  </a:lnTo>
                  <a:lnTo>
                    <a:pt x="0" y="37"/>
                  </a:lnTo>
                  <a:lnTo>
                    <a:pt x="0" y="30"/>
                  </a:lnTo>
                  <a:lnTo>
                    <a:pt x="3" y="23"/>
                  </a:lnTo>
                  <a:lnTo>
                    <a:pt x="7" y="16"/>
                  </a:lnTo>
                  <a:lnTo>
                    <a:pt x="10" y="11"/>
                  </a:lnTo>
                  <a:lnTo>
                    <a:pt x="15" y="6"/>
                  </a:lnTo>
                  <a:lnTo>
                    <a:pt x="22" y="4"/>
                  </a:lnTo>
                  <a:lnTo>
                    <a:pt x="29" y="0"/>
                  </a:lnTo>
                  <a:lnTo>
                    <a:pt x="36" y="0"/>
                  </a:lnTo>
                  <a:lnTo>
                    <a:pt x="36" y="0"/>
                  </a:lnTo>
                  <a:lnTo>
                    <a:pt x="43" y="0"/>
                  </a:lnTo>
                  <a:lnTo>
                    <a:pt x="50" y="4"/>
                  </a:lnTo>
                  <a:lnTo>
                    <a:pt x="57" y="6"/>
                  </a:lnTo>
                  <a:lnTo>
                    <a:pt x="62" y="11"/>
                  </a:lnTo>
                  <a:lnTo>
                    <a:pt x="66" y="16"/>
                  </a:lnTo>
                  <a:lnTo>
                    <a:pt x="69" y="23"/>
                  </a:lnTo>
                  <a:lnTo>
                    <a:pt x="73" y="30"/>
                  </a:lnTo>
                  <a:lnTo>
                    <a:pt x="73" y="3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42" name="Freeform 99">
              <a:extLst>
                <a:ext uri="{FF2B5EF4-FFF2-40B4-BE49-F238E27FC236}">
                  <a16:creationId xmlns:a16="http://schemas.microsoft.com/office/drawing/2014/main" id="{F7BED8B2-8696-4778-8DCA-6A1E6DB36979}"/>
                </a:ext>
              </a:extLst>
            </p:cNvPr>
            <p:cNvSpPr>
              <a:spLocks/>
            </p:cNvSpPr>
            <p:nvPr/>
          </p:nvSpPr>
          <p:spPr bwMode="auto">
            <a:xfrm>
              <a:off x="8024914" y="-152920"/>
              <a:ext cx="40682" cy="465159"/>
            </a:xfrm>
            <a:custGeom>
              <a:avLst/>
              <a:gdLst>
                <a:gd name="T0" fmla="*/ 73 w 73"/>
                <a:gd name="T1" fmla="*/ 36 h 836"/>
                <a:gd name="T2" fmla="*/ 73 w 73"/>
                <a:gd name="T3" fmla="*/ 799 h 836"/>
                <a:gd name="T4" fmla="*/ 73 w 73"/>
                <a:gd name="T5" fmla="*/ 799 h 836"/>
                <a:gd name="T6" fmla="*/ 73 w 73"/>
                <a:gd name="T7" fmla="*/ 806 h 836"/>
                <a:gd name="T8" fmla="*/ 71 w 73"/>
                <a:gd name="T9" fmla="*/ 813 h 836"/>
                <a:gd name="T10" fmla="*/ 68 w 73"/>
                <a:gd name="T11" fmla="*/ 820 h 836"/>
                <a:gd name="T12" fmla="*/ 63 w 73"/>
                <a:gd name="T13" fmla="*/ 825 h 836"/>
                <a:gd name="T14" fmla="*/ 58 w 73"/>
                <a:gd name="T15" fmla="*/ 830 h 836"/>
                <a:gd name="T16" fmla="*/ 51 w 73"/>
                <a:gd name="T17" fmla="*/ 834 h 836"/>
                <a:gd name="T18" fmla="*/ 45 w 73"/>
                <a:gd name="T19" fmla="*/ 836 h 836"/>
                <a:gd name="T20" fmla="*/ 37 w 73"/>
                <a:gd name="T21" fmla="*/ 836 h 836"/>
                <a:gd name="T22" fmla="*/ 37 w 73"/>
                <a:gd name="T23" fmla="*/ 836 h 836"/>
                <a:gd name="T24" fmla="*/ 30 w 73"/>
                <a:gd name="T25" fmla="*/ 836 h 836"/>
                <a:gd name="T26" fmla="*/ 23 w 73"/>
                <a:gd name="T27" fmla="*/ 834 h 836"/>
                <a:gd name="T28" fmla="*/ 18 w 73"/>
                <a:gd name="T29" fmla="*/ 830 h 836"/>
                <a:gd name="T30" fmla="*/ 11 w 73"/>
                <a:gd name="T31" fmla="*/ 825 h 836"/>
                <a:gd name="T32" fmla="*/ 7 w 73"/>
                <a:gd name="T33" fmla="*/ 820 h 836"/>
                <a:gd name="T34" fmla="*/ 4 w 73"/>
                <a:gd name="T35" fmla="*/ 813 h 836"/>
                <a:gd name="T36" fmla="*/ 2 w 73"/>
                <a:gd name="T37" fmla="*/ 806 h 836"/>
                <a:gd name="T38" fmla="*/ 0 w 73"/>
                <a:gd name="T39" fmla="*/ 799 h 836"/>
                <a:gd name="T40" fmla="*/ 0 w 73"/>
                <a:gd name="T41" fmla="*/ 36 h 836"/>
                <a:gd name="T42" fmla="*/ 0 w 73"/>
                <a:gd name="T43" fmla="*/ 36 h 836"/>
                <a:gd name="T44" fmla="*/ 2 w 73"/>
                <a:gd name="T45" fmla="*/ 30 h 836"/>
                <a:gd name="T46" fmla="*/ 4 w 73"/>
                <a:gd name="T47" fmla="*/ 23 h 836"/>
                <a:gd name="T48" fmla="*/ 7 w 73"/>
                <a:gd name="T49" fmla="*/ 16 h 836"/>
                <a:gd name="T50" fmla="*/ 11 w 73"/>
                <a:gd name="T51" fmla="*/ 11 h 836"/>
                <a:gd name="T52" fmla="*/ 18 w 73"/>
                <a:gd name="T53" fmla="*/ 7 h 836"/>
                <a:gd name="T54" fmla="*/ 23 w 73"/>
                <a:gd name="T55" fmla="*/ 4 h 836"/>
                <a:gd name="T56" fmla="*/ 30 w 73"/>
                <a:gd name="T57" fmla="*/ 2 h 836"/>
                <a:gd name="T58" fmla="*/ 37 w 73"/>
                <a:gd name="T59" fmla="*/ 0 h 836"/>
                <a:gd name="T60" fmla="*/ 37 w 73"/>
                <a:gd name="T61" fmla="*/ 0 h 836"/>
                <a:gd name="T62" fmla="*/ 45 w 73"/>
                <a:gd name="T63" fmla="*/ 2 h 836"/>
                <a:gd name="T64" fmla="*/ 51 w 73"/>
                <a:gd name="T65" fmla="*/ 4 h 836"/>
                <a:gd name="T66" fmla="*/ 58 w 73"/>
                <a:gd name="T67" fmla="*/ 7 h 836"/>
                <a:gd name="T68" fmla="*/ 63 w 73"/>
                <a:gd name="T69" fmla="*/ 11 h 836"/>
                <a:gd name="T70" fmla="*/ 68 w 73"/>
                <a:gd name="T71" fmla="*/ 16 h 836"/>
                <a:gd name="T72" fmla="*/ 71 w 73"/>
                <a:gd name="T73" fmla="*/ 23 h 836"/>
                <a:gd name="T74" fmla="*/ 73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3" y="806"/>
                  </a:lnTo>
                  <a:lnTo>
                    <a:pt x="71" y="813"/>
                  </a:lnTo>
                  <a:lnTo>
                    <a:pt x="68" y="820"/>
                  </a:lnTo>
                  <a:lnTo>
                    <a:pt x="63" y="825"/>
                  </a:lnTo>
                  <a:lnTo>
                    <a:pt x="58" y="830"/>
                  </a:lnTo>
                  <a:lnTo>
                    <a:pt x="51" y="834"/>
                  </a:lnTo>
                  <a:lnTo>
                    <a:pt x="45" y="836"/>
                  </a:lnTo>
                  <a:lnTo>
                    <a:pt x="37" y="836"/>
                  </a:lnTo>
                  <a:lnTo>
                    <a:pt x="37" y="836"/>
                  </a:lnTo>
                  <a:lnTo>
                    <a:pt x="30" y="836"/>
                  </a:lnTo>
                  <a:lnTo>
                    <a:pt x="23" y="834"/>
                  </a:lnTo>
                  <a:lnTo>
                    <a:pt x="18" y="830"/>
                  </a:lnTo>
                  <a:lnTo>
                    <a:pt x="11" y="825"/>
                  </a:lnTo>
                  <a:lnTo>
                    <a:pt x="7" y="820"/>
                  </a:lnTo>
                  <a:lnTo>
                    <a:pt x="4" y="813"/>
                  </a:lnTo>
                  <a:lnTo>
                    <a:pt x="2" y="806"/>
                  </a:lnTo>
                  <a:lnTo>
                    <a:pt x="0" y="799"/>
                  </a:lnTo>
                  <a:lnTo>
                    <a:pt x="0" y="36"/>
                  </a:lnTo>
                  <a:lnTo>
                    <a:pt x="0" y="36"/>
                  </a:lnTo>
                  <a:lnTo>
                    <a:pt x="2" y="30"/>
                  </a:lnTo>
                  <a:lnTo>
                    <a:pt x="4" y="23"/>
                  </a:lnTo>
                  <a:lnTo>
                    <a:pt x="7" y="16"/>
                  </a:lnTo>
                  <a:lnTo>
                    <a:pt x="11" y="11"/>
                  </a:lnTo>
                  <a:lnTo>
                    <a:pt x="18" y="7"/>
                  </a:lnTo>
                  <a:lnTo>
                    <a:pt x="23" y="4"/>
                  </a:lnTo>
                  <a:lnTo>
                    <a:pt x="30" y="2"/>
                  </a:lnTo>
                  <a:lnTo>
                    <a:pt x="37" y="0"/>
                  </a:lnTo>
                  <a:lnTo>
                    <a:pt x="37" y="0"/>
                  </a:lnTo>
                  <a:lnTo>
                    <a:pt x="45" y="2"/>
                  </a:lnTo>
                  <a:lnTo>
                    <a:pt x="51" y="4"/>
                  </a:lnTo>
                  <a:lnTo>
                    <a:pt x="58" y="7"/>
                  </a:lnTo>
                  <a:lnTo>
                    <a:pt x="63" y="11"/>
                  </a:lnTo>
                  <a:lnTo>
                    <a:pt x="68" y="16"/>
                  </a:lnTo>
                  <a:lnTo>
                    <a:pt x="71" y="23"/>
                  </a:lnTo>
                  <a:lnTo>
                    <a:pt x="73" y="30"/>
                  </a:lnTo>
                  <a:lnTo>
                    <a:pt x="7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43" name="Freeform 100">
              <a:extLst>
                <a:ext uri="{FF2B5EF4-FFF2-40B4-BE49-F238E27FC236}">
                  <a16:creationId xmlns:a16="http://schemas.microsoft.com/office/drawing/2014/main" id="{55928CE3-512E-4F42-A3BA-C0E52212C00E}"/>
                </a:ext>
              </a:extLst>
            </p:cNvPr>
            <p:cNvSpPr>
              <a:spLocks/>
            </p:cNvSpPr>
            <p:nvPr/>
          </p:nvSpPr>
          <p:spPr bwMode="auto">
            <a:xfrm>
              <a:off x="8024914" y="-152920"/>
              <a:ext cx="40682" cy="465159"/>
            </a:xfrm>
            <a:custGeom>
              <a:avLst/>
              <a:gdLst>
                <a:gd name="T0" fmla="*/ 73 w 73"/>
                <a:gd name="T1" fmla="*/ 36 h 836"/>
                <a:gd name="T2" fmla="*/ 73 w 73"/>
                <a:gd name="T3" fmla="*/ 799 h 836"/>
                <a:gd name="T4" fmla="*/ 73 w 73"/>
                <a:gd name="T5" fmla="*/ 799 h 836"/>
                <a:gd name="T6" fmla="*/ 73 w 73"/>
                <a:gd name="T7" fmla="*/ 806 h 836"/>
                <a:gd name="T8" fmla="*/ 71 w 73"/>
                <a:gd name="T9" fmla="*/ 813 h 836"/>
                <a:gd name="T10" fmla="*/ 68 w 73"/>
                <a:gd name="T11" fmla="*/ 820 h 836"/>
                <a:gd name="T12" fmla="*/ 63 w 73"/>
                <a:gd name="T13" fmla="*/ 825 h 836"/>
                <a:gd name="T14" fmla="*/ 58 w 73"/>
                <a:gd name="T15" fmla="*/ 830 h 836"/>
                <a:gd name="T16" fmla="*/ 51 w 73"/>
                <a:gd name="T17" fmla="*/ 834 h 836"/>
                <a:gd name="T18" fmla="*/ 45 w 73"/>
                <a:gd name="T19" fmla="*/ 836 h 836"/>
                <a:gd name="T20" fmla="*/ 37 w 73"/>
                <a:gd name="T21" fmla="*/ 836 h 836"/>
                <a:gd name="T22" fmla="*/ 37 w 73"/>
                <a:gd name="T23" fmla="*/ 836 h 836"/>
                <a:gd name="T24" fmla="*/ 30 w 73"/>
                <a:gd name="T25" fmla="*/ 836 h 836"/>
                <a:gd name="T26" fmla="*/ 23 w 73"/>
                <a:gd name="T27" fmla="*/ 834 h 836"/>
                <a:gd name="T28" fmla="*/ 18 w 73"/>
                <a:gd name="T29" fmla="*/ 830 h 836"/>
                <a:gd name="T30" fmla="*/ 11 w 73"/>
                <a:gd name="T31" fmla="*/ 825 h 836"/>
                <a:gd name="T32" fmla="*/ 7 w 73"/>
                <a:gd name="T33" fmla="*/ 820 h 836"/>
                <a:gd name="T34" fmla="*/ 4 w 73"/>
                <a:gd name="T35" fmla="*/ 813 h 836"/>
                <a:gd name="T36" fmla="*/ 2 w 73"/>
                <a:gd name="T37" fmla="*/ 806 h 836"/>
                <a:gd name="T38" fmla="*/ 0 w 73"/>
                <a:gd name="T39" fmla="*/ 799 h 836"/>
                <a:gd name="T40" fmla="*/ 0 w 73"/>
                <a:gd name="T41" fmla="*/ 36 h 836"/>
                <a:gd name="T42" fmla="*/ 0 w 73"/>
                <a:gd name="T43" fmla="*/ 36 h 836"/>
                <a:gd name="T44" fmla="*/ 2 w 73"/>
                <a:gd name="T45" fmla="*/ 30 h 836"/>
                <a:gd name="T46" fmla="*/ 4 w 73"/>
                <a:gd name="T47" fmla="*/ 23 h 836"/>
                <a:gd name="T48" fmla="*/ 7 w 73"/>
                <a:gd name="T49" fmla="*/ 16 h 836"/>
                <a:gd name="T50" fmla="*/ 11 w 73"/>
                <a:gd name="T51" fmla="*/ 11 h 836"/>
                <a:gd name="T52" fmla="*/ 18 w 73"/>
                <a:gd name="T53" fmla="*/ 7 h 836"/>
                <a:gd name="T54" fmla="*/ 23 w 73"/>
                <a:gd name="T55" fmla="*/ 4 h 836"/>
                <a:gd name="T56" fmla="*/ 30 w 73"/>
                <a:gd name="T57" fmla="*/ 2 h 836"/>
                <a:gd name="T58" fmla="*/ 37 w 73"/>
                <a:gd name="T59" fmla="*/ 0 h 836"/>
                <a:gd name="T60" fmla="*/ 37 w 73"/>
                <a:gd name="T61" fmla="*/ 0 h 836"/>
                <a:gd name="T62" fmla="*/ 45 w 73"/>
                <a:gd name="T63" fmla="*/ 2 h 836"/>
                <a:gd name="T64" fmla="*/ 51 w 73"/>
                <a:gd name="T65" fmla="*/ 4 h 836"/>
                <a:gd name="T66" fmla="*/ 58 w 73"/>
                <a:gd name="T67" fmla="*/ 7 h 836"/>
                <a:gd name="T68" fmla="*/ 63 w 73"/>
                <a:gd name="T69" fmla="*/ 11 h 836"/>
                <a:gd name="T70" fmla="*/ 68 w 73"/>
                <a:gd name="T71" fmla="*/ 16 h 836"/>
                <a:gd name="T72" fmla="*/ 71 w 73"/>
                <a:gd name="T73" fmla="*/ 23 h 836"/>
                <a:gd name="T74" fmla="*/ 73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3" y="806"/>
                  </a:lnTo>
                  <a:lnTo>
                    <a:pt x="71" y="813"/>
                  </a:lnTo>
                  <a:lnTo>
                    <a:pt x="68" y="820"/>
                  </a:lnTo>
                  <a:lnTo>
                    <a:pt x="63" y="825"/>
                  </a:lnTo>
                  <a:lnTo>
                    <a:pt x="58" y="830"/>
                  </a:lnTo>
                  <a:lnTo>
                    <a:pt x="51" y="834"/>
                  </a:lnTo>
                  <a:lnTo>
                    <a:pt x="45" y="836"/>
                  </a:lnTo>
                  <a:lnTo>
                    <a:pt x="37" y="836"/>
                  </a:lnTo>
                  <a:lnTo>
                    <a:pt x="37" y="836"/>
                  </a:lnTo>
                  <a:lnTo>
                    <a:pt x="30" y="836"/>
                  </a:lnTo>
                  <a:lnTo>
                    <a:pt x="23" y="834"/>
                  </a:lnTo>
                  <a:lnTo>
                    <a:pt x="18" y="830"/>
                  </a:lnTo>
                  <a:lnTo>
                    <a:pt x="11" y="825"/>
                  </a:lnTo>
                  <a:lnTo>
                    <a:pt x="7" y="820"/>
                  </a:lnTo>
                  <a:lnTo>
                    <a:pt x="4" y="813"/>
                  </a:lnTo>
                  <a:lnTo>
                    <a:pt x="2" y="806"/>
                  </a:lnTo>
                  <a:lnTo>
                    <a:pt x="0" y="799"/>
                  </a:lnTo>
                  <a:lnTo>
                    <a:pt x="0" y="36"/>
                  </a:lnTo>
                  <a:lnTo>
                    <a:pt x="0" y="36"/>
                  </a:lnTo>
                  <a:lnTo>
                    <a:pt x="2" y="30"/>
                  </a:lnTo>
                  <a:lnTo>
                    <a:pt x="4" y="23"/>
                  </a:lnTo>
                  <a:lnTo>
                    <a:pt x="7" y="16"/>
                  </a:lnTo>
                  <a:lnTo>
                    <a:pt x="11" y="11"/>
                  </a:lnTo>
                  <a:lnTo>
                    <a:pt x="18" y="7"/>
                  </a:lnTo>
                  <a:lnTo>
                    <a:pt x="23" y="4"/>
                  </a:lnTo>
                  <a:lnTo>
                    <a:pt x="30" y="2"/>
                  </a:lnTo>
                  <a:lnTo>
                    <a:pt x="37" y="0"/>
                  </a:lnTo>
                  <a:lnTo>
                    <a:pt x="37" y="0"/>
                  </a:lnTo>
                  <a:lnTo>
                    <a:pt x="45" y="2"/>
                  </a:lnTo>
                  <a:lnTo>
                    <a:pt x="51" y="4"/>
                  </a:lnTo>
                  <a:lnTo>
                    <a:pt x="58" y="7"/>
                  </a:lnTo>
                  <a:lnTo>
                    <a:pt x="63" y="11"/>
                  </a:lnTo>
                  <a:lnTo>
                    <a:pt x="68" y="16"/>
                  </a:lnTo>
                  <a:lnTo>
                    <a:pt x="71" y="23"/>
                  </a:lnTo>
                  <a:lnTo>
                    <a:pt x="73" y="30"/>
                  </a:lnTo>
                  <a:lnTo>
                    <a:pt x="73" y="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44" name="Freeform 101">
              <a:extLst>
                <a:ext uri="{FF2B5EF4-FFF2-40B4-BE49-F238E27FC236}">
                  <a16:creationId xmlns:a16="http://schemas.microsoft.com/office/drawing/2014/main" id="{48744E1F-DCC7-4A15-B72E-9C3ABD013B8A}"/>
                </a:ext>
              </a:extLst>
            </p:cNvPr>
            <p:cNvSpPr>
              <a:spLocks/>
            </p:cNvSpPr>
            <p:nvPr/>
          </p:nvSpPr>
          <p:spPr bwMode="auto">
            <a:xfrm>
              <a:off x="8126340" y="-312610"/>
              <a:ext cx="1015374" cy="783426"/>
            </a:xfrm>
            <a:custGeom>
              <a:avLst/>
              <a:gdLst>
                <a:gd name="T0" fmla="*/ 1822 w 1822"/>
                <a:gd name="T1" fmla="*/ 1166 h 1408"/>
                <a:gd name="T2" fmla="*/ 1822 w 1822"/>
                <a:gd name="T3" fmla="*/ 1408 h 1408"/>
                <a:gd name="T4" fmla="*/ 1516 w 1822"/>
                <a:gd name="T5" fmla="*/ 1408 h 1408"/>
                <a:gd name="T6" fmla="*/ 437 w 1822"/>
                <a:gd name="T7" fmla="*/ 242 h 1408"/>
                <a:gd name="T8" fmla="*/ 0 w 1822"/>
                <a:gd name="T9" fmla="*/ 242 h 1408"/>
                <a:gd name="T10" fmla="*/ 0 w 1822"/>
                <a:gd name="T11" fmla="*/ 0 h 1408"/>
                <a:gd name="T12" fmla="*/ 543 w 1822"/>
                <a:gd name="T13" fmla="*/ 0 h 1408"/>
                <a:gd name="T14" fmla="*/ 1622 w 1822"/>
                <a:gd name="T15" fmla="*/ 1166 h 1408"/>
                <a:gd name="T16" fmla="*/ 1822 w 1822"/>
                <a:gd name="T17" fmla="*/ 1166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2" h="1408">
                  <a:moveTo>
                    <a:pt x="1822" y="1166"/>
                  </a:moveTo>
                  <a:lnTo>
                    <a:pt x="1822" y="1408"/>
                  </a:lnTo>
                  <a:lnTo>
                    <a:pt x="1516" y="1408"/>
                  </a:lnTo>
                  <a:lnTo>
                    <a:pt x="437" y="242"/>
                  </a:lnTo>
                  <a:lnTo>
                    <a:pt x="0" y="242"/>
                  </a:lnTo>
                  <a:lnTo>
                    <a:pt x="0" y="0"/>
                  </a:lnTo>
                  <a:lnTo>
                    <a:pt x="543" y="0"/>
                  </a:lnTo>
                  <a:lnTo>
                    <a:pt x="1622" y="1166"/>
                  </a:lnTo>
                  <a:lnTo>
                    <a:pt x="1822" y="1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45" name="Freeform 102">
              <a:extLst>
                <a:ext uri="{FF2B5EF4-FFF2-40B4-BE49-F238E27FC236}">
                  <a16:creationId xmlns:a16="http://schemas.microsoft.com/office/drawing/2014/main" id="{600B00DF-B483-4ECA-B6D3-267F7C216E36}"/>
                </a:ext>
              </a:extLst>
            </p:cNvPr>
            <p:cNvSpPr>
              <a:spLocks/>
            </p:cNvSpPr>
            <p:nvPr/>
          </p:nvSpPr>
          <p:spPr bwMode="auto">
            <a:xfrm>
              <a:off x="8126340" y="-312610"/>
              <a:ext cx="1015374" cy="783426"/>
            </a:xfrm>
            <a:custGeom>
              <a:avLst/>
              <a:gdLst>
                <a:gd name="T0" fmla="*/ 1822 w 1822"/>
                <a:gd name="T1" fmla="*/ 0 h 1408"/>
                <a:gd name="T2" fmla="*/ 1822 w 1822"/>
                <a:gd name="T3" fmla="*/ 242 h 1408"/>
                <a:gd name="T4" fmla="*/ 1622 w 1822"/>
                <a:gd name="T5" fmla="*/ 242 h 1408"/>
                <a:gd name="T6" fmla="*/ 543 w 1822"/>
                <a:gd name="T7" fmla="*/ 1408 h 1408"/>
                <a:gd name="T8" fmla="*/ 0 w 1822"/>
                <a:gd name="T9" fmla="*/ 1408 h 1408"/>
                <a:gd name="T10" fmla="*/ 0 w 1822"/>
                <a:gd name="T11" fmla="*/ 1166 h 1408"/>
                <a:gd name="T12" fmla="*/ 437 w 1822"/>
                <a:gd name="T13" fmla="*/ 1166 h 1408"/>
                <a:gd name="T14" fmla="*/ 1516 w 1822"/>
                <a:gd name="T15" fmla="*/ 0 h 1408"/>
                <a:gd name="T16" fmla="*/ 1822 w 1822"/>
                <a:gd name="T17" fmla="*/ 0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2" h="1408">
                  <a:moveTo>
                    <a:pt x="1822" y="0"/>
                  </a:moveTo>
                  <a:lnTo>
                    <a:pt x="1822" y="242"/>
                  </a:lnTo>
                  <a:lnTo>
                    <a:pt x="1622" y="242"/>
                  </a:lnTo>
                  <a:lnTo>
                    <a:pt x="543" y="1408"/>
                  </a:lnTo>
                  <a:lnTo>
                    <a:pt x="0" y="1408"/>
                  </a:lnTo>
                  <a:lnTo>
                    <a:pt x="0" y="1166"/>
                  </a:lnTo>
                  <a:lnTo>
                    <a:pt x="437" y="1166"/>
                  </a:lnTo>
                  <a:lnTo>
                    <a:pt x="1516" y="0"/>
                  </a:lnTo>
                  <a:lnTo>
                    <a:pt x="18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46" name="Freeform 103">
              <a:extLst>
                <a:ext uri="{FF2B5EF4-FFF2-40B4-BE49-F238E27FC236}">
                  <a16:creationId xmlns:a16="http://schemas.microsoft.com/office/drawing/2014/main" id="{99B9B511-E2D7-48F9-8F70-E9A5CF35DDE2}"/>
                </a:ext>
              </a:extLst>
            </p:cNvPr>
            <p:cNvSpPr>
              <a:spLocks/>
            </p:cNvSpPr>
            <p:nvPr/>
          </p:nvSpPr>
          <p:spPr bwMode="auto">
            <a:xfrm>
              <a:off x="8177610" y="-152920"/>
              <a:ext cx="40124" cy="465159"/>
            </a:xfrm>
            <a:custGeom>
              <a:avLst/>
              <a:gdLst>
                <a:gd name="T0" fmla="*/ 72 w 72"/>
                <a:gd name="T1" fmla="*/ 36 h 836"/>
                <a:gd name="T2" fmla="*/ 72 w 72"/>
                <a:gd name="T3" fmla="*/ 799 h 836"/>
                <a:gd name="T4" fmla="*/ 72 w 72"/>
                <a:gd name="T5" fmla="*/ 799 h 836"/>
                <a:gd name="T6" fmla="*/ 72 w 72"/>
                <a:gd name="T7" fmla="*/ 806 h 836"/>
                <a:gd name="T8" fmla="*/ 71 w 72"/>
                <a:gd name="T9" fmla="*/ 813 h 836"/>
                <a:gd name="T10" fmla="*/ 67 w 72"/>
                <a:gd name="T11" fmla="*/ 820 h 836"/>
                <a:gd name="T12" fmla="*/ 62 w 72"/>
                <a:gd name="T13" fmla="*/ 825 h 836"/>
                <a:gd name="T14" fmla="*/ 57 w 72"/>
                <a:gd name="T15" fmla="*/ 830 h 836"/>
                <a:gd name="T16" fmla="*/ 50 w 72"/>
                <a:gd name="T17" fmla="*/ 834 h 836"/>
                <a:gd name="T18" fmla="*/ 43 w 72"/>
                <a:gd name="T19" fmla="*/ 836 h 836"/>
                <a:gd name="T20" fmla="*/ 36 w 72"/>
                <a:gd name="T21" fmla="*/ 836 h 836"/>
                <a:gd name="T22" fmla="*/ 36 w 72"/>
                <a:gd name="T23" fmla="*/ 836 h 836"/>
                <a:gd name="T24" fmla="*/ 29 w 72"/>
                <a:gd name="T25" fmla="*/ 836 h 836"/>
                <a:gd name="T26" fmla="*/ 22 w 72"/>
                <a:gd name="T27" fmla="*/ 834 h 836"/>
                <a:gd name="T28" fmla="*/ 15 w 72"/>
                <a:gd name="T29" fmla="*/ 830 h 836"/>
                <a:gd name="T30" fmla="*/ 10 w 72"/>
                <a:gd name="T31" fmla="*/ 825 h 836"/>
                <a:gd name="T32" fmla="*/ 7 w 72"/>
                <a:gd name="T33" fmla="*/ 820 h 836"/>
                <a:gd name="T34" fmla="*/ 3 w 72"/>
                <a:gd name="T35" fmla="*/ 813 h 836"/>
                <a:gd name="T36" fmla="*/ 1 w 72"/>
                <a:gd name="T37" fmla="*/ 806 h 836"/>
                <a:gd name="T38" fmla="*/ 0 w 72"/>
                <a:gd name="T39" fmla="*/ 799 h 836"/>
                <a:gd name="T40" fmla="*/ 0 w 72"/>
                <a:gd name="T41" fmla="*/ 36 h 836"/>
                <a:gd name="T42" fmla="*/ 0 w 72"/>
                <a:gd name="T43" fmla="*/ 36 h 836"/>
                <a:gd name="T44" fmla="*/ 1 w 72"/>
                <a:gd name="T45" fmla="*/ 30 h 836"/>
                <a:gd name="T46" fmla="*/ 3 w 72"/>
                <a:gd name="T47" fmla="*/ 23 h 836"/>
                <a:gd name="T48" fmla="*/ 7 w 72"/>
                <a:gd name="T49" fmla="*/ 16 h 836"/>
                <a:gd name="T50" fmla="*/ 10 w 72"/>
                <a:gd name="T51" fmla="*/ 11 h 836"/>
                <a:gd name="T52" fmla="*/ 15 w 72"/>
                <a:gd name="T53" fmla="*/ 7 h 836"/>
                <a:gd name="T54" fmla="*/ 22 w 72"/>
                <a:gd name="T55" fmla="*/ 4 h 836"/>
                <a:gd name="T56" fmla="*/ 29 w 72"/>
                <a:gd name="T57" fmla="*/ 2 h 836"/>
                <a:gd name="T58" fmla="*/ 36 w 72"/>
                <a:gd name="T59" fmla="*/ 0 h 836"/>
                <a:gd name="T60" fmla="*/ 36 w 72"/>
                <a:gd name="T61" fmla="*/ 0 h 836"/>
                <a:gd name="T62" fmla="*/ 43 w 72"/>
                <a:gd name="T63" fmla="*/ 2 h 836"/>
                <a:gd name="T64" fmla="*/ 50 w 72"/>
                <a:gd name="T65" fmla="*/ 4 h 836"/>
                <a:gd name="T66" fmla="*/ 57 w 72"/>
                <a:gd name="T67" fmla="*/ 7 h 836"/>
                <a:gd name="T68" fmla="*/ 62 w 72"/>
                <a:gd name="T69" fmla="*/ 11 h 836"/>
                <a:gd name="T70" fmla="*/ 67 w 72"/>
                <a:gd name="T71" fmla="*/ 16 h 836"/>
                <a:gd name="T72" fmla="*/ 71 w 72"/>
                <a:gd name="T73" fmla="*/ 23 h 836"/>
                <a:gd name="T74" fmla="*/ 72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2" y="806"/>
                  </a:lnTo>
                  <a:lnTo>
                    <a:pt x="71" y="813"/>
                  </a:lnTo>
                  <a:lnTo>
                    <a:pt x="67" y="820"/>
                  </a:lnTo>
                  <a:lnTo>
                    <a:pt x="62" y="825"/>
                  </a:lnTo>
                  <a:lnTo>
                    <a:pt x="57" y="830"/>
                  </a:lnTo>
                  <a:lnTo>
                    <a:pt x="50" y="834"/>
                  </a:lnTo>
                  <a:lnTo>
                    <a:pt x="43" y="836"/>
                  </a:lnTo>
                  <a:lnTo>
                    <a:pt x="36" y="836"/>
                  </a:lnTo>
                  <a:lnTo>
                    <a:pt x="36" y="836"/>
                  </a:lnTo>
                  <a:lnTo>
                    <a:pt x="29" y="836"/>
                  </a:lnTo>
                  <a:lnTo>
                    <a:pt x="22" y="834"/>
                  </a:lnTo>
                  <a:lnTo>
                    <a:pt x="15" y="830"/>
                  </a:lnTo>
                  <a:lnTo>
                    <a:pt x="10" y="825"/>
                  </a:lnTo>
                  <a:lnTo>
                    <a:pt x="7" y="820"/>
                  </a:lnTo>
                  <a:lnTo>
                    <a:pt x="3" y="813"/>
                  </a:lnTo>
                  <a:lnTo>
                    <a:pt x="1" y="806"/>
                  </a:lnTo>
                  <a:lnTo>
                    <a:pt x="0" y="799"/>
                  </a:lnTo>
                  <a:lnTo>
                    <a:pt x="0" y="36"/>
                  </a:lnTo>
                  <a:lnTo>
                    <a:pt x="0" y="36"/>
                  </a:lnTo>
                  <a:lnTo>
                    <a:pt x="1" y="30"/>
                  </a:lnTo>
                  <a:lnTo>
                    <a:pt x="3" y="23"/>
                  </a:lnTo>
                  <a:lnTo>
                    <a:pt x="7" y="16"/>
                  </a:lnTo>
                  <a:lnTo>
                    <a:pt x="10" y="11"/>
                  </a:lnTo>
                  <a:lnTo>
                    <a:pt x="15" y="7"/>
                  </a:lnTo>
                  <a:lnTo>
                    <a:pt x="22" y="4"/>
                  </a:lnTo>
                  <a:lnTo>
                    <a:pt x="29" y="2"/>
                  </a:lnTo>
                  <a:lnTo>
                    <a:pt x="36" y="0"/>
                  </a:lnTo>
                  <a:lnTo>
                    <a:pt x="36" y="0"/>
                  </a:lnTo>
                  <a:lnTo>
                    <a:pt x="43" y="2"/>
                  </a:lnTo>
                  <a:lnTo>
                    <a:pt x="50" y="4"/>
                  </a:lnTo>
                  <a:lnTo>
                    <a:pt x="57" y="7"/>
                  </a:lnTo>
                  <a:lnTo>
                    <a:pt x="62" y="11"/>
                  </a:lnTo>
                  <a:lnTo>
                    <a:pt x="67" y="16"/>
                  </a:lnTo>
                  <a:lnTo>
                    <a:pt x="71" y="23"/>
                  </a:lnTo>
                  <a:lnTo>
                    <a:pt x="72" y="30"/>
                  </a:lnTo>
                  <a:lnTo>
                    <a:pt x="7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47" name="Freeform 104">
              <a:extLst>
                <a:ext uri="{FF2B5EF4-FFF2-40B4-BE49-F238E27FC236}">
                  <a16:creationId xmlns:a16="http://schemas.microsoft.com/office/drawing/2014/main" id="{40302AD7-F27A-4619-B06F-E9FF63FD623E}"/>
                </a:ext>
              </a:extLst>
            </p:cNvPr>
            <p:cNvSpPr>
              <a:spLocks/>
            </p:cNvSpPr>
            <p:nvPr/>
          </p:nvSpPr>
          <p:spPr bwMode="auto">
            <a:xfrm>
              <a:off x="8177610" y="-152920"/>
              <a:ext cx="40124" cy="465159"/>
            </a:xfrm>
            <a:custGeom>
              <a:avLst/>
              <a:gdLst>
                <a:gd name="T0" fmla="*/ 72 w 72"/>
                <a:gd name="T1" fmla="*/ 36 h 836"/>
                <a:gd name="T2" fmla="*/ 72 w 72"/>
                <a:gd name="T3" fmla="*/ 799 h 836"/>
                <a:gd name="T4" fmla="*/ 72 w 72"/>
                <a:gd name="T5" fmla="*/ 799 h 836"/>
                <a:gd name="T6" fmla="*/ 72 w 72"/>
                <a:gd name="T7" fmla="*/ 806 h 836"/>
                <a:gd name="T8" fmla="*/ 71 w 72"/>
                <a:gd name="T9" fmla="*/ 813 h 836"/>
                <a:gd name="T10" fmla="*/ 67 w 72"/>
                <a:gd name="T11" fmla="*/ 820 h 836"/>
                <a:gd name="T12" fmla="*/ 62 w 72"/>
                <a:gd name="T13" fmla="*/ 825 h 836"/>
                <a:gd name="T14" fmla="*/ 57 w 72"/>
                <a:gd name="T15" fmla="*/ 830 h 836"/>
                <a:gd name="T16" fmla="*/ 50 w 72"/>
                <a:gd name="T17" fmla="*/ 834 h 836"/>
                <a:gd name="T18" fmla="*/ 43 w 72"/>
                <a:gd name="T19" fmla="*/ 836 h 836"/>
                <a:gd name="T20" fmla="*/ 36 w 72"/>
                <a:gd name="T21" fmla="*/ 836 h 836"/>
                <a:gd name="T22" fmla="*/ 36 w 72"/>
                <a:gd name="T23" fmla="*/ 836 h 836"/>
                <a:gd name="T24" fmla="*/ 29 w 72"/>
                <a:gd name="T25" fmla="*/ 836 h 836"/>
                <a:gd name="T26" fmla="*/ 22 w 72"/>
                <a:gd name="T27" fmla="*/ 834 h 836"/>
                <a:gd name="T28" fmla="*/ 15 w 72"/>
                <a:gd name="T29" fmla="*/ 830 h 836"/>
                <a:gd name="T30" fmla="*/ 10 w 72"/>
                <a:gd name="T31" fmla="*/ 825 h 836"/>
                <a:gd name="T32" fmla="*/ 7 w 72"/>
                <a:gd name="T33" fmla="*/ 820 h 836"/>
                <a:gd name="T34" fmla="*/ 3 w 72"/>
                <a:gd name="T35" fmla="*/ 813 h 836"/>
                <a:gd name="T36" fmla="*/ 1 w 72"/>
                <a:gd name="T37" fmla="*/ 806 h 836"/>
                <a:gd name="T38" fmla="*/ 0 w 72"/>
                <a:gd name="T39" fmla="*/ 799 h 836"/>
                <a:gd name="T40" fmla="*/ 0 w 72"/>
                <a:gd name="T41" fmla="*/ 36 h 836"/>
                <a:gd name="T42" fmla="*/ 0 w 72"/>
                <a:gd name="T43" fmla="*/ 36 h 836"/>
                <a:gd name="T44" fmla="*/ 1 w 72"/>
                <a:gd name="T45" fmla="*/ 30 h 836"/>
                <a:gd name="T46" fmla="*/ 3 w 72"/>
                <a:gd name="T47" fmla="*/ 23 h 836"/>
                <a:gd name="T48" fmla="*/ 7 w 72"/>
                <a:gd name="T49" fmla="*/ 16 h 836"/>
                <a:gd name="T50" fmla="*/ 10 w 72"/>
                <a:gd name="T51" fmla="*/ 11 h 836"/>
                <a:gd name="T52" fmla="*/ 15 w 72"/>
                <a:gd name="T53" fmla="*/ 7 h 836"/>
                <a:gd name="T54" fmla="*/ 22 w 72"/>
                <a:gd name="T55" fmla="*/ 4 h 836"/>
                <a:gd name="T56" fmla="*/ 29 w 72"/>
                <a:gd name="T57" fmla="*/ 2 h 836"/>
                <a:gd name="T58" fmla="*/ 36 w 72"/>
                <a:gd name="T59" fmla="*/ 0 h 836"/>
                <a:gd name="T60" fmla="*/ 36 w 72"/>
                <a:gd name="T61" fmla="*/ 0 h 836"/>
                <a:gd name="T62" fmla="*/ 43 w 72"/>
                <a:gd name="T63" fmla="*/ 2 h 836"/>
                <a:gd name="T64" fmla="*/ 50 w 72"/>
                <a:gd name="T65" fmla="*/ 4 h 836"/>
                <a:gd name="T66" fmla="*/ 57 w 72"/>
                <a:gd name="T67" fmla="*/ 7 h 836"/>
                <a:gd name="T68" fmla="*/ 62 w 72"/>
                <a:gd name="T69" fmla="*/ 11 h 836"/>
                <a:gd name="T70" fmla="*/ 67 w 72"/>
                <a:gd name="T71" fmla="*/ 16 h 836"/>
                <a:gd name="T72" fmla="*/ 71 w 72"/>
                <a:gd name="T73" fmla="*/ 23 h 836"/>
                <a:gd name="T74" fmla="*/ 72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2" y="806"/>
                  </a:lnTo>
                  <a:lnTo>
                    <a:pt x="71" y="813"/>
                  </a:lnTo>
                  <a:lnTo>
                    <a:pt x="67" y="820"/>
                  </a:lnTo>
                  <a:lnTo>
                    <a:pt x="62" y="825"/>
                  </a:lnTo>
                  <a:lnTo>
                    <a:pt x="57" y="830"/>
                  </a:lnTo>
                  <a:lnTo>
                    <a:pt x="50" y="834"/>
                  </a:lnTo>
                  <a:lnTo>
                    <a:pt x="43" y="836"/>
                  </a:lnTo>
                  <a:lnTo>
                    <a:pt x="36" y="836"/>
                  </a:lnTo>
                  <a:lnTo>
                    <a:pt x="36" y="836"/>
                  </a:lnTo>
                  <a:lnTo>
                    <a:pt x="29" y="836"/>
                  </a:lnTo>
                  <a:lnTo>
                    <a:pt x="22" y="834"/>
                  </a:lnTo>
                  <a:lnTo>
                    <a:pt x="15" y="830"/>
                  </a:lnTo>
                  <a:lnTo>
                    <a:pt x="10" y="825"/>
                  </a:lnTo>
                  <a:lnTo>
                    <a:pt x="7" y="820"/>
                  </a:lnTo>
                  <a:lnTo>
                    <a:pt x="3" y="813"/>
                  </a:lnTo>
                  <a:lnTo>
                    <a:pt x="1" y="806"/>
                  </a:lnTo>
                  <a:lnTo>
                    <a:pt x="0" y="799"/>
                  </a:lnTo>
                  <a:lnTo>
                    <a:pt x="0" y="36"/>
                  </a:lnTo>
                  <a:lnTo>
                    <a:pt x="0" y="36"/>
                  </a:lnTo>
                  <a:lnTo>
                    <a:pt x="1" y="30"/>
                  </a:lnTo>
                  <a:lnTo>
                    <a:pt x="3" y="23"/>
                  </a:lnTo>
                  <a:lnTo>
                    <a:pt x="7" y="16"/>
                  </a:lnTo>
                  <a:lnTo>
                    <a:pt x="10" y="11"/>
                  </a:lnTo>
                  <a:lnTo>
                    <a:pt x="15" y="7"/>
                  </a:lnTo>
                  <a:lnTo>
                    <a:pt x="22" y="4"/>
                  </a:lnTo>
                  <a:lnTo>
                    <a:pt x="29" y="2"/>
                  </a:lnTo>
                  <a:lnTo>
                    <a:pt x="36" y="0"/>
                  </a:lnTo>
                  <a:lnTo>
                    <a:pt x="36" y="0"/>
                  </a:lnTo>
                  <a:lnTo>
                    <a:pt x="43" y="2"/>
                  </a:lnTo>
                  <a:lnTo>
                    <a:pt x="50" y="4"/>
                  </a:lnTo>
                  <a:lnTo>
                    <a:pt x="57" y="7"/>
                  </a:lnTo>
                  <a:lnTo>
                    <a:pt x="62" y="11"/>
                  </a:lnTo>
                  <a:lnTo>
                    <a:pt x="67" y="16"/>
                  </a:lnTo>
                  <a:lnTo>
                    <a:pt x="71" y="23"/>
                  </a:lnTo>
                  <a:lnTo>
                    <a:pt x="72" y="30"/>
                  </a:lnTo>
                  <a:lnTo>
                    <a:pt x="72" y="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48" name="Freeform 105">
              <a:extLst>
                <a:ext uri="{FF2B5EF4-FFF2-40B4-BE49-F238E27FC236}">
                  <a16:creationId xmlns:a16="http://schemas.microsoft.com/office/drawing/2014/main" id="{E99ECBC7-F981-4474-B798-7BC2025555FD}"/>
                </a:ext>
              </a:extLst>
            </p:cNvPr>
            <p:cNvSpPr>
              <a:spLocks/>
            </p:cNvSpPr>
            <p:nvPr/>
          </p:nvSpPr>
          <p:spPr bwMode="auto">
            <a:xfrm>
              <a:off x="8321947" y="-152920"/>
              <a:ext cx="40682" cy="465159"/>
            </a:xfrm>
            <a:custGeom>
              <a:avLst/>
              <a:gdLst>
                <a:gd name="T0" fmla="*/ 73 w 73"/>
                <a:gd name="T1" fmla="*/ 36 h 836"/>
                <a:gd name="T2" fmla="*/ 73 w 73"/>
                <a:gd name="T3" fmla="*/ 799 h 836"/>
                <a:gd name="T4" fmla="*/ 73 w 73"/>
                <a:gd name="T5" fmla="*/ 799 h 836"/>
                <a:gd name="T6" fmla="*/ 71 w 73"/>
                <a:gd name="T7" fmla="*/ 806 h 836"/>
                <a:gd name="T8" fmla="*/ 69 w 73"/>
                <a:gd name="T9" fmla="*/ 813 h 836"/>
                <a:gd name="T10" fmla="*/ 66 w 73"/>
                <a:gd name="T11" fmla="*/ 820 h 836"/>
                <a:gd name="T12" fmla="*/ 60 w 73"/>
                <a:gd name="T13" fmla="*/ 825 h 836"/>
                <a:gd name="T14" fmla="*/ 55 w 73"/>
                <a:gd name="T15" fmla="*/ 830 h 836"/>
                <a:gd name="T16" fmla="*/ 50 w 73"/>
                <a:gd name="T17" fmla="*/ 834 h 836"/>
                <a:gd name="T18" fmla="*/ 43 w 73"/>
                <a:gd name="T19" fmla="*/ 836 h 836"/>
                <a:gd name="T20" fmla="*/ 36 w 73"/>
                <a:gd name="T21" fmla="*/ 836 h 836"/>
                <a:gd name="T22" fmla="*/ 36 w 73"/>
                <a:gd name="T23" fmla="*/ 836 h 836"/>
                <a:gd name="T24" fmla="*/ 28 w 73"/>
                <a:gd name="T25" fmla="*/ 836 h 836"/>
                <a:gd name="T26" fmla="*/ 21 w 73"/>
                <a:gd name="T27" fmla="*/ 834 h 836"/>
                <a:gd name="T28" fmla="*/ 15 w 73"/>
                <a:gd name="T29" fmla="*/ 830 h 836"/>
                <a:gd name="T30" fmla="*/ 10 w 73"/>
                <a:gd name="T31" fmla="*/ 825 h 836"/>
                <a:gd name="T32" fmla="*/ 5 w 73"/>
                <a:gd name="T33" fmla="*/ 820 h 836"/>
                <a:gd name="T34" fmla="*/ 2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2 w 73"/>
                <a:gd name="T47" fmla="*/ 23 h 836"/>
                <a:gd name="T48" fmla="*/ 5 w 73"/>
                <a:gd name="T49" fmla="*/ 16 h 836"/>
                <a:gd name="T50" fmla="*/ 10 w 73"/>
                <a:gd name="T51" fmla="*/ 11 h 836"/>
                <a:gd name="T52" fmla="*/ 15 w 73"/>
                <a:gd name="T53" fmla="*/ 7 h 836"/>
                <a:gd name="T54" fmla="*/ 21 w 73"/>
                <a:gd name="T55" fmla="*/ 4 h 836"/>
                <a:gd name="T56" fmla="*/ 28 w 73"/>
                <a:gd name="T57" fmla="*/ 2 h 836"/>
                <a:gd name="T58" fmla="*/ 36 w 73"/>
                <a:gd name="T59" fmla="*/ 0 h 836"/>
                <a:gd name="T60" fmla="*/ 36 w 73"/>
                <a:gd name="T61" fmla="*/ 0 h 836"/>
                <a:gd name="T62" fmla="*/ 43 w 73"/>
                <a:gd name="T63" fmla="*/ 2 h 836"/>
                <a:gd name="T64" fmla="*/ 50 w 73"/>
                <a:gd name="T65" fmla="*/ 4 h 836"/>
                <a:gd name="T66" fmla="*/ 55 w 73"/>
                <a:gd name="T67" fmla="*/ 7 h 836"/>
                <a:gd name="T68" fmla="*/ 60 w 73"/>
                <a:gd name="T69" fmla="*/ 11 h 836"/>
                <a:gd name="T70" fmla="*/ 66 w 73"/>
                <a:gd name="T71" fmla="*/ 16 h 836"/>
                <a:gd name="T72" fmla="*/ 69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69" y="813"/>
                  </a:lnTo>
                  <a:lnTo>
                    <a:pt x="66" y="820"/>
                  </a:lnTo>
                  <a:lnTo>
                    <a:pt x="60" y="825"/>
                  </a:lnTo>
                  <a:lnTo>
                    <a:pt x="55" y="830"/>
                  </a:lnTo>
                  <a:lnTo>
                    <a:pt x="50" y="834"/>
                  </a:lnTo>
                  <a:lnTo>
                    <a:pt x="43" y="836"/>
                  </a:lnTo>
                  <a:lnTo>
                    <a:pt x="36" y="836"/>
                  </a:lnTo>
                  <a:lnTo>
                    <a:pt x="36" y="836"/>
                  </a:lnTo>
                  <a:lnTo>
                    <a:pt x="28" y="836"/>
                  </a:lnTo>
                  <a:lnTo>
                    <a:pt x="21" y="834"/>
                  </a:lnTo>
                  <a:lnTo>
                    <a:pt x="15" y="830"/>
                  </a:lnTo>
                  <a:lnTo>
                    <a:pt x="10" y="825"/>
                  </a:lnTo>
                  <a:lnTo>
                    <a:pt x="5" y="820"/>
                  </a:lnTo>
                  <a:lnTo>
                    <a:pt x="2" y="813"/>
                  </a:lnTo>
                  <a:lnTo>
                    <a:pt x="0" y="806"/>
                  </a:lnTo>
                  <a:lnTo>
                    <a:pt x="0" y="799"/>
                  </a:lnTo>
                  <a:lnTo>
                    <a:pt x="0" y="36"/>
                  </a:lnTo>
                  <a:lnTo>
                    <a:pt x="0" y="36"/>
                  </a:lnTo>
                  <a:lnTo>
                    <a:pt x="0" y="30"/>
                  </a:lnTo>
                  <a:lnTo>
                    <a:pt x="2" y="23"/>
                  </a:lnTo>
                  <a:lnTo>
                    <a:pt x="5" y="16"/>
                  </a:lnTo>
                  <a:lnTo>
                    <a:pt x="10" y="11"/>
                  </a:lnTo>
                  <a:lnTo>
                    <a:pt x="15" y="7"/>
                  </a:lnTo>
                  <a:lnTo>
                    <a:pt x="21" y="4"/>
                  </a:lnTo>
                  <a:lnTo>
                    <a:pt x="28" y="2"/>
                  </a:lnTo>
                  <a:lnTo>
                    <a:pt x="36" y="0"/>
                  </a:lnTo>
                  <a:lnTo>
                    <a:pt x="36" y="0"/>
                  </a:lnTo>
                  <a:lnTo>
                    <a:pt x="43" y="2"/>
                  </a:lnTo>
                  <a:lnTo>
                    <a:pt x="50" y="4"/>
                  </a:lnTo>
                  <a:lnTo>
                    <a:pt x="55" y="7"/>
                  </a:lnTo>
                  <a:lnTo>
                    <a:pt x="60" y="11"/>
                  </a:lnTo>
                  <a:lnTo>
                    <a:pt x="66" y="16"/>
                  </a:lnTo>
                  <a:lnTo>
                    <a:pt x="69" y="23"/>
                  </a:lnTo>
                  <a:lnTo>
                    <a:pt x="71" y="30"/>
                  </a:lnTo>
                  <a:lnTo>
                    <a:pt x="7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49" name="Freeform 106">
              <a:extLst>
                <a:ext uri="{FF2B5EF4-FFF2-40B4-BE49-F238E27FC236}">
                  <a16:creationId xmlns:a16="http://schemas.microsoft.com/office/drawing/2014/main" id="{965C8204-5BF6-4B00-A782-16C50B178361}"/>
                </a:ext>
              </a:extLst>
            </p:cNvPr>
            <p:cNvSpPr>
              <a:spLocks/>
            </p:cNvSpPr>
            <p:nvPr/>
          </p:nvSpPr>
          <p:spPr bwMode="auto">
            <a:xfrm>
              <a:off x="8321947" y="-152920"/>
              <a:ext cx="40682" cy="465159"/>
            </a:xfrm>
            <a:custGeom>
              <a:avLst/>
              <a:gdLst>
                <a:gd name="T0" fmla="*/ 73 w 73"/>
                <a:gd name="T1" fmla="*/ 36 h 836"/>
                <a:gd name="T2" fmla="*/ 73 w 73"/>
                <a:gd name="T3" fmla="*/ 799 h 836"/>
                <a:gd name="T4" fmla="*/ 73 w 73"/>
                <a:gd name="T5" fmla="*/ 799 h 836"/>
                <a:gd name="T6" fmla="*/ 71 w 73"/>
                <a:gd name="T7" fmla="*/ 806 h 836"/>
                <a:gd name="T8" fmla="*/ 69 w 73"/>
                <a:gd name="T9" fmla="*/ 813 h 836"/>
                <a:gd name="T10" fmla="*/ 66 w 73"/>
                <a:gd name="T11" fmla="*/ 820 h 836"/>
                <a:gd name="T12" fmla="*/ 60 w 73"/>
                <a:gd name="T13" fmla="*/ 825 h 836"/>
                <a:gd name="T14" fmla="*/ 55 w 73"/>
                <a:gd name="T15" fmla="*/ 830 h 836"/>
                <a:gd name="T16" fmla="*/ 50 w 73"/>
                <a:gd name="T17" fmla="*/ 834 h 836"/>
                <a:gd name="T18" fmla="*/ 43 w 73"/>
                <a:gd name="T19" fmla="*/ 836 h 836"/>
                <a:gd name="T20" fmla="*/ 36 w 73"/>
                <a:gd name="T21" fmla="*/ 836 h 836"/>
                <a:gd name="T22" fmla="*/ 36 w 73"/>
                <a:gd name="T23" fmla="*/ 836 h 836"/>
                <a:gd name="T24" fmla="*/ 28 w 73"/>
                <a:gd name="T25" fmla="*/ 836 h 836"/>
                <a:gd name="T26" fmla="*/ 21 w 73"/>
                <a:gd name="T27" fmla="*/ 834 h 836"/>
                <a:gd name="T28" fmla="*/ 15 w 73"/>
                <a:gd name="T29" fmla="*/ 830 h 836"/>
                <a:gd name="T30" fmla="*/ 10 w 73"/>
                <a:gd name="T31" fmla="*/ 825 h 836"/>
                <a:gd name="T32" fmla="*/ 5 w 73"/>
                <a:gd name="T33" fmla="*/ 820 h 836"/>
                <a:gd name="T34" fmla="*/ 2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2 w 73"/>
                <a:gd name="T47" fmla="*/ 23 h 836"/>
                <a:gd name="T48" fmla="*/ 5 w 73"/>
                <a:gd name="T49" fmla="*/ 16 h 836"/>
                <a:gd name="T50" fmla="*/ 10 w 73"/>
                <a:gd name="T51" fmla="*/ 11 h 836"/>
                <a:gd name="T52" fmla="*/ 15 w 73"/>
                <a:gd name="T53" fmla="*/ 7 h 836"/>
                <a:gd name="T54" fmla="*/ 21 w 73"/>
                <a:gd name="T55" fmla="*/ 4 h 836"/>
                <a:gd name="T56" fmla="*/ 28 w 73"/>
                <a:gd name="T57" fmla="*/ 2 h 836"/>
                <a:gd name="T58" fmla="*/ 36 w 73"/>
                <a:gd name="T59" fmla="*/ 0 h 836"/>
                <a:gd name="T60" fmla="*/ 36 w 73"/>
                <a:gd name="T61" fmla="*/ 0 h 836"/>
                <a:gd name="T62" fmla="*/ 43 w 73"/>
                <a:gd name="T63" fmla="*/ 2 h 836"/>
                <a:gd name="T64" fmla="*/ 50 w 73"/>
                <a:gd name="T65" fmla="*/ 4 h 836"/>
                <a:gd name="T66" fmla="*/ 55 w 73"/>
                <a:gd name="T67" fmla="*/ 7 h 836"/>
                <a:gd name="T68" fmla="*/ 60 w 73"/>
                <a:gd name="T69" fmla="*/ 11 h 836"/>
                <a:gd name="T70" fmla="*/ 66 w 73"/>
                <a:gd name="T71" fmla="*/ 16 h 836"/>
                <a:gd name="T72" fmla="*/ 69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69" y="813"/>
                  </a:lnTo>
                  <a:lnTo>
                    <a:pt x="66" y="820"/>
                  </a:lnTo>
                  <a:lnTo>
                    <a:pt x="60" y="825"/>
                  </a:lnTo>
                  <a:lnTo>
                    <a:pt x="55" y="830"/>
                  </a:lnTo>
                  <a:lnTo>
                    <a:pt x="50" y="834"/>
                  </a:lnTo>
                  <a:lnTo>
                    <a:pt x="43" y="836"/>
                  </a:lnTo>
                  <a:lnTo>
                    <a:pt x="36" y="836"/>
                  </a:lnTo>
                  <a:lnTo>
                    <a:pt x="36" y="836"/>
                  </a:lnTo>
                  <a:lnTo>
                    <a:pt x="28" y="836"/>
                  </a:lnTo>
                  <a:lnTo>
                    <a:pt x="21" y="834"/>
                  </a:lnTo>
                  <a:lnTo>
                    <a:pt x="15" y="830"/>
                  </a:lnTo>
                  <a:lnTo>
                    <a:pt x="10" y="825"/>
                  </a:lnTo>
                  <a:lnTo>
                    <a:pt x="5" y="820"/>
                  </a:lnTo>
                  <a:lnTo>
                    <a:pt x="2" y="813"/>
                  </a:lnTo>
                  <a:lnTo>
                    <a:pt x="0" y="806"/>
                  </a:lnTo>
                  <a:lnTo>
                    <a:pt x="0" y="799"/>
                  </a:lnTo>
                  <a:lnTo>
                    <a:pt x="0" y="36"/>
                  </a:lnTo>
                  <a:lnTo>
                    <a:pt x="0" y="36"/>
                  </a:lnTo>
                  <a:lnTo>
                    <a:pt x="0" y="30"/>
                  </a:lnTo>
                  <a:lnTo>
                    <a:pt x="2" y="23"/>
                  </a:lnTo>
                  <a:lnTo>
                    <a:pt x="5" y="16"/>
                  </a:lnTo>
                  <a:lnTo>
                    <a:pt x="10" y="11"/>
                  </a:lnTo>
                  <a:lnTo>
                    <a:pt x="15" y="7"/>
                  </a:lnTo>
                  <a:lnTo>
                    <a:pt x="21" y="4"/>
                  </a:lnTo>
                  <a:lnTo>
                    <a:pt x="28" y="2"/>
                  </a:lnTo>
                  <a:lnTo>
                    <a:pt x="36" y="0"/>
                  </a:lnTo>
                  <a:lnTo>
                    <a:pt x="36" y="0"/>
                  </a:lnTo>
                  <a:lnTo>
                    <a:pt x="43" y="2"/>
                  </a:lnTo>
                  <a:lnTo>
                    <a:pt x="50" y="4"/>
                  </a:lnTo>
                  <a:lnTo>
                    <a:pt x="55" y="7"/>
                  </a:lnTo>
                  <a:lnTo>
                    <a:pt x="60" y="11"/>
                  </a:lnTo>
                  <a:lnTo>
                    <a:pt x="66" y="16"/>
                  </a:lnTo>
                  <a:lnTo>
                    <a:pt x="69" y="23"/>
                  </a:lnTo>
                  <a:lnTo>
                    <a:pt x="71" y="30"/>
                  </a:lnTo>
                  <a:lnTo>
                    <a:pt x="73" y="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50" name="Freeform 107">
              <a:extLst>
                <a:ext uri="{FF2B5EF4-FFF2-40B4-BE49-F238E27FC236}">
                  <a16:creationId xmlns:a16="http://schemas.microsoft.com/office/drawing/2014/main" id="{7BBBACC8-0EA1-4B50-8EBE-E68DD11FE23B}"/>
                </a:ext>
              </a:extLst>
            </p:cNvPr>
            <p:cNvSpPr>
              <a:spLocks/>
            </p:cNvSpPr>
            <p:nvPr/>
          </p:nvSpPr>
          <p:spPr bwMode="auto">
            <a:xfrm>
              <a:off x="8465726" y="13447"/>
              <a:ext cx="40124" cy="132982"/>
            </a:xfrm>
            <a:custGeom>
              <a:avLst/>
              <a:gdLst>
                <a:gd name="T0" fmla="*/ 72 w 72"/>
                <a:gd name="T1" fmla="*/ 37 h 239"/>
                <a:gd name="T2" fmla="*/ 72 w 72"/>
                <a:gd name="T3" fmla="*/ 203 h 239"/>
                <a:gd name="T4" fmla="*/ 72 w 72"/>
                <a:gd name="T5" fmla="*/ 203 h 239"/>
                <a:gd name="T6" fmla="*/ 70 w 72"/>
                <a:gd name="T7" fmla="*/ 210 h 239"/>
                <a:gd name="T8" fmla="*/ 69 w 72"/>
                <a:gd name="T9" fmla="*/ 217 h 239"/>
                <a:gd name="T10" fmla="*/ 65 w 72"/>
                <a:gd name="T11" fmla="*/ 222 h 239"/>
                <a:gd name="T12" fmla="*/ 62 w 72"/>
                <a:gd name="T13" fmla="*/ 227 h 239"/>
                <a:gd name="T14" fmla="*/ 57 w 72"/>
                <a:gd name="T15" fmla="*/ 232 h 239"/>
                <a:gd name="T16" fmla="*/ 50 w 72"/>
                <a:gd name="T17" fmla="*/ 236 h 239"/>
                <a:gd name="T18" fmla="*/ 43 w 72"/>
                <a:gd name="T19" fmla="*/ 237 h 239"/>
                <a:gd name="T20" fmla="*/ 36 w 72"/>
                <a:gd name="T21" fmla="*/ 239 h 239"/>
                <a:gd name="T22" fmla="*/ 36 w 72"/>
                <a:gd name="T23" fmla="*/ 239 h 239"/>
                <a:gd name="T24" fmla="*/ 29 w 72"/>
                <a:gd name="T25" fmla="*/ 237 h 239"/>
                <a:gd name="T26" fmla="*/ 22 w 72"/>
                <a:gd name="T27" fmla="*/ 236 h 239"/>
                <a:gd name="T28" fmla="*/ 15 w 72"/>
                <a:gd name="T29" fmla="*/ 232 h 239"/>
                <a:gd name="T30" fmla="*/ 10 w 72"/>
                <a:gd name="T31" fmla="*/ 227 h 239"/>
                <a:gd name="T32" fmla="*/ 5 w 72"/>
                <a:gd name="T33" fmla="*/ 222 h 239"/>
                <a:gd name="T34" fmla="*/ 3 w 72"/>
                <a:gd name="T35" fmla="*/ 217 h 239"/>
                <a:gd name="T36" fmla="*/ 0 w 72"/>
                <a:gd name="T37" fmla="*/ 210 h 239"/>
                <a:gd name="T38" fmla="*/ 0 w 72"/>
                <a:gd name="T39" fmla="*/ 203 h 239"/>
                <a:gd name="T40" fmla="*/ 0 w 72"/>
                <a:gd name="T41" fmla="*/ 37 h 239"/>
                <a:gd name="T42" fmla="*/ 0 w 72"/>
                <a:gd name="T43" fmla="*/ 37 h 239"/>
                <a:gd name="T44" fmla="*/ 0 w 72"/>
                <a:gd name="T45" fmla="*/ 30 h 239"/>
                <a:gd name="T46" fmla="*/ 3 w 72"/>
                <a:gd name="T47" fmla="*/ 23 h 239"/>
                <a:gd name="T48" fmla="*/ 5 w 72"/>
                <a:gd name="T49" fmla="*/ 16 h 239"/>
                <a:gd name="T50" fmla="*/ 10 w 72"/>
                <a:gd name="T51" fmla="*/ 11 h 239"/>
                <a:gd name="T52" fmla="*/ 15 w 72"/>
                <a:gd name="T53" fmla="*/ 6 h 239"/>
                <a:gd name="T54" fmla="*/ 22 w 72"/>
                <a:gd name="T55" fmla="*/ 4 h 239"/>
                <a:gd name="T56" fmla="*/ 29 w 72"/>
                <a:gd name="T57" fmla="*/ 0 h 239"/>
                <a:gd name="T58" fmla="*/ 36 w 72"/>
                <a:gd name="T59" fmla="*/ 0 h 239"/>
                <a:gd name="T60" fmla="*/ 36 w 72"/>
                <a:gd name="T61" fmla="*/ 0 h 239"/>
                <a:gd name="T62" fmla="*/ 43 w 72"/>
                <a:gd name="T63" fmla="*/ 0 h 239"/>
                <a:gd name="T64" fmla="*/ 50 w 72"/>
                <a:gd name="T65" fmla="*/ 4 h 239"/>
                <a:gd name="T66" fmla="*/ 57 w 72"/>
                <a:gd name="T67" fmla="*/ 6 h 239"/>
                <a:gd name="T68" fmla="*/ 62 w 72"/>
                <a:gd name="T69" fmla="*/ 11 h 239"/>
                <a:gd name="T70" fmla="*/ 65 w 72"/>
                <a:gd name="T71" fmla="*/ 16 h 239"/>
                <a:gd name="T72" fmla="*/ 69 w 72"/>
                <a:gd name="T73" fmla="*/ 23 h 239"/>
                <a:gd name="T74" fmla="*/ 70 w 72"/>
                <a:gd name="T75" fmla="*/ 30 h 239"/>
                <a:gd name="T76" fmla="*/ 72 w 72"/>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239">
                  <a:moveTo>
                    <a:pt x="72" y="37"/>
                  </a:moveTo>
                  <a:lnTo>
                    <a:pt x="72" y="203"/>
                  </a:lnTo>
                  <a:lnTo>
                    <a:pt x="72" y="203"/>
                  </a:lnTo>
                  <a:lnTo>
                    <a:pt x="70" y="210"/>
                  </a:lnTo>
                  <a:lnTo>
                    <a:pt x="69" y="217"/>
                  </a:lnTo>
                  <a:lnTo>
                    <a:pt x="65" y="222"/>
                  </a:lnTo>
                  <a:lnTo>
                    <a:pt x="62" y="227"/>
                  </a:lnTo>
                  <a:lnTo>
                    <a:pt x="57" y="232"/>
                  </a:lnTo>
                  <a:lnTo>
                    <a:pt x="50" y="236"/>
                  </a:lnTo>
                  <a:lnTo>
                    <a:pt x="43" y="237"/>
                  </a:lnTo>
                  <a:lnTo>
                    <a:pt x="36" y="239"/>
                  </a:lnTo>
                  <a:lnTo>
                    <a:pt x="36" y="239"/>
                  </a:lnTo>
                  <a:lnTo>
                    <a:pt x="29" y="237"/>
                  </a:lnTo>
                  <a:lnTo>
                    <a:pt x="22" y="236"/>
                  </a:lnTo>
                  <a:lnTo>
                    <a:pt x="15" y="232"/>
                  </a:lnTo>
                  <a:lnTo>
                    <a:pt x="10" y="227"/>
                  </a:lnTo>
                  <a:lnTo>
                    <a:pt x="5" y="222"/>
                  </a:lnTo>
                  <a:lnTo>
                    <a:pt x="3" y="217"/>
                  </a:lnTo>
                  <a:lnTo>
                    <a:pt x="0" y="210"/>
                  </a:lnTo>
                  <a:lnTo>
                    <a:pt x="0" y="203"/>
                  </a:lnTo>
                  <a:lnTo>
                    <a:pt x="0" y="37"/>
                  </a:lnTo>
                  <a:lnTo>
                    <a:pt x="0" y="37"/>
                  </a:lnTo>
                  <a:lnTo>
                    <a:pt x="0" y="30"/>
                  </a:lnTo>
                  <a:lnTo>
                    <a:pt x="3" y="23"/>
                  </a:lnTo>
                  <a:lnTo>
                    <a:pt x="5" y="16"/>
                  </a:lnTo>
                  <a:lnTo>
                    <a:pt x="10" y="11"/>
                  </a:lnTo>
                  <a:lnTo>
                    <a:pt x="15" y="6"/>
                  </a:lnTo>
                  <a:lnTo>
                    <a:pt x="22" y="4"/>
                  </a:lnTo>
                  <a:lnTo>
                    <a:pt x="29" y="0"/>
                  </a:lnTo>
                  <a:lnTo>
                    <a:pt x="36" y="0"/>
                  </a:lnTo>
                  <a:lnTo>
                    <a:pt x="36" y="0"/>
                  </a:lnTo>
                  <a:lnTo>
                    <a:pt x="43" y="0"/>
                  </a:lnTo>
                  <a:lnTo>
                    <a:pt x="50" y="4"/>
                  </a:lnTo>
                  <a:lnTo>
                    <a:pt x="57" y="6"/>
                  </a:lnTo>
                  <a:lnTo>
                    <a:pt x="62" y="11"/>
                  </a:lnTo>
                  <a:lnTo>
                    <a:pt x="65" y="16"/>
                  </a:lnTo>
                  <a:lnTo>
                    <a:pt x="69" y="23"/>
                  </a:lnTo>
                  <a:lnTo>
                    <a:pt x="70" y="30"/>
                  </a:lnTo>
                  <a:lnTo>
                    <a:pt x="72"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51" name="Freeform 108">
              <a:extLst>
                <a:ext uri="{FF2B5EF4-FFF2-40B4-BE49-F238E27FC236}">
                  <a16:creationId xmlns:a16="http://schemas.microsoft.com/office/drawing/2014/main" id="{AD3AF0B7-F995-4360-ACE1-0E595EAD2521}"/>
                </a:ext>
              </a:extLst>
            </p:cNvPr>
            <p:cNvSpPr>
              <a:spLocks/>
            </p:cNvSpPr>
            <p:nvPr/>
          </p:nvSpPr>
          <p:spPr bwMode="auto">
            <a:xfrm>
              <a:off x="8465726" y="13447"/>
              <a:ext cx="40124" cy="132982"/>
            </a:xfrm>
            <a:custGeom>
              <a:avLst/>
              <a:gdLst>
                <a:gd name="T0" fmla="*/ 72 w 72"/>
                <a:gd name="T1" fmla="*/ 37 h 239"/>
                <a:gd name="T2" fmla="*/ 72 w 72"/>
                <a:gd name="T3" fmla="*/ 203 h 239"/>
                <a:gd name="T4" fmla="*/ 72 w 72"/>
                <a:gd name="T5" fmla="*/ 203 h 239"/>
                <a:gd name="T6" fmla="*/ 70 w 72"/>
                <a:gd name="T7" fmla="*/ 210 h 239"/>
                <a:gd name="T8" fmla="*/ 69 w 72"/>
                <a:gd name="T9" fmla="*/ 217 h 239"/>
                <a:gd name="T10" fmla="*/ 65 w 72"/>
                <a:gd name="T11" fmla="*/ 222 h 239"/>
                <a:gd name="T12" fmla="*/ 62 w 72"/>
                <a:gd name="T13" fmla="*/ 227 h 239"/>
                <a:gd name="T14" fmla="*/ 57 w 72"/>
                <a:gd name="T15" fmla="*/ 232 h 239"/>
                <a:gd name="T16" fmla="*/ 50 w 72"/>
                <a:gd name="T17" fmla="*/ 236 h 239"/>
                <a:gd name="T18" fmla="*/ 43 w 72"/>
                <a:gd name="T19" fmla="*/ 237 h 239"/>
                <a:gd name="T20" fmla="*/ 36 w 72"/>
                <a:gd name="T21" fmla="*/ 239 h 239"/>
                <a:gd name="T22" fmla="*/ 36 w 72"/>
                <a:gd name="T23" fmla="*/ 239 h 239"/>
                <a:gd name="T24" fmla="*/ 29 w 72"/>
                <a:gd name="T25" fmla="*/ 237 h 239"/>
                <a:gd name="T26" fmla="*/ 22 w 72"/>
                <a:gd name="T27" fmla="*/ 236 h 239"/>
                <a:gd name="T28" fmla="*/ 15 w 72"/>
                <a:gd name="T29" fmla="*/ 232 h 239"/>
                <a:gd name="T30" fmla="*/ 10 w 72"/>
                <a:gd name="T31" fmla="*/ 227 h 239"/>
                <a:gd name="T32" fmla="*/ 5 w 72"/>
                <a:gd name="T33" fmla="*/ 222 h 239"/>
                <a:gd name="T34" fmla="*/ 3 w 72"/>
                <a:gd name="T35" fmla="*/ 217 h 239"/>
                <a:gd name="T36" fmla="*/ 0 w 72"/>
                <a:gd name="T37" fmla="*/ 210 h 239"/>
                <a:gd name="T38" fmla="*/ 0 w 72"/>
                <a:gd name="T39" fmla="*/ 203 h 239"/>
                <a:gd name="T40" fmla="*/ 0 w 72"/>
                <a:gd name="T41" fmla="*/ 37 h 239"/>
                <a:gd name="T42" fmla="*/ 0 w 72"/>
                <a:gd name="T43" fmla="*/ 37 h 239"/>
                <a:gd name="T44" fmla="*/ 0 w 72"/>
                <a:gd name="T45" fmla="*/ 30 h 239"/>
                <a:gd name="T46" fmla="*/ 3 w 72"/>
                <a:gd name="T47" fmla="*/ 23 h 239"/>
                <a:gd name="T48" fmla="*/ 5 w 72"/>
                <a:gd name="T49" fmla="*/ 16 h 239"/>
                <a:gd name="T50" fmla="*/ 10 w 72"/>
                <a:gd name="T51" fmla="*/ 11 h 239"/>
                <a:gd name="T52" fmla="*/ 15 w 72"/>
                <a:gd name="T53" fmla="*/ 6 h 239"/>
                <a:gd name="T54" fmla="*/ 22 w 72"/>
                <a:gd name="T55" fmla="*/ 4 h 239"/>
                <a:gd name="T56" fmla="*/ 29 w 72"/>
                <a:gd name="T57" fmla="*/ 0 h 239"/>
                <a:gd name="T58" fmla="*/ 36 w 72"/>
                <a:gd name="T59" fmla="*/ 0 h 239"/>
                <a:gd name="T60" fmla="*/ 36 w 72"/>
                <a:gd name="T61" fmla="*/ 0 h 239"/>
                <a:gd name="T62" fmla="*/ 43 w 72"/>
                <a:gd name="T63" fmla="*/ 0 h 239"/>
                <a:gd name="T64" fmla="*/ 50 w 72"/>
                <a:gd name="T65" fmla="*/ 4 h 239"/>
                <a:gd name="T66" fmla="*/ 57 w 72"/>
                <a:gd name="T67" fmla="*/ 6 h 239"/>
                <a:gd name="T68" fmla="*/ 62 w 72"/>
                <a:gd name="T69" fmla="*/ 11 h 239"/>
                <a:gd name="T70" fmla="*/ 65 w 72"/>
                <a:gd name="T71" fmla="*/ 16 h 239"/>
                <a:gd name="T72" fmla="*/ 69 w 72"/>
                <a:gd name="T73" fmla="*/ 23 h 239"/>
                <a:gd name="T74" fmla="*/ 70 w 72"/>
                <a:gd name="T75" fmla="*/ 30 h 239"/>
                <a:gd name="T76" fmla="*/ 72 w 72"/>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239">
                  <a:moveTo>
                    <a:pt x="72" y="37"/>
                  </a:moveTo>
                  <a:lnTo>
                    <a:pt x="72" y="203"/>
                  </a:lnTo>
                  <a:lnTo>
                    <a:pt x="72" y="203"/>
                  </a:lnTo>
                  <a:lnTo>
                    <a:pt x="70" y="210"/>
                  </a:lnTo>
                  <a:lnTo>
                    <a:pt x="69" y="217"/>
                  </a:lnTo>
                  <a:lnTo>
                    <a:pt x="65" y="222"/>
                  </a:lnTo>
                  <a:lnTo>
                    <a:pt x="62" y="227"/>
                  </a:lnTo>
                  <a:lnTo>
                    <a:pt x="57" y="232"/>
                  </a:lnTo>
                  <a:lnTo>
                    <a:pt x="50" y="236"/>
                  </a:lnTo>
                  <a:lnTo>
                    <a:pt x="43" y="237"/>
                  </a:lnTo>
                  <a:lnTo>
                    <a:pt x="36" y="239"/>
                  </a:lnTo>
                  <a:lnTo>
                    <a:pt x="36" y="239"/>
                  </a:lnTo>
                  <a:lnTo>
                    <a:pt x="29" y="237"/>
                  </a:lnTo>
                  <a:lnTo>
                    <a:pt x="22" y="236"/>
                  </a:lnTo>
                  <a:lnTo>
                    <a:pt x="15" y="232"/>
                  </a:lnTo>
                  <a:lnTo>
                    <a:pt x="10" y="227"/>
                  </a:lnTo>
                  <a:lnTo>
                    <a:pt x="5" y="222"/>
                  </a:lnTo>
                  <a:lnTo>
                    <a:pt x="3" y="217"/>
                  </a:lnTo>
                  <a:lnTo>
                    <a:pt x="0" y="210"/>
                  </a:lnTo>
                  <a:lnTo>
                    <a:pt x="0" y="203"/>
                  </a:lnTo>
                  <a:lnTo>
                    <a:pt x="0" y="37"/>
                  </a:lnTo>
                  <a:lnTo>
                    <a:pt x="0" y="37"/>
                  </a:lnTo>
                  <a:lnTo>
                    <a:pt x="0" y="30"/>
                  </a:lnTo>
                  <a:lnTo>
                    <a:pt x="3" y="23"/>
                  </a:lnTo>
                  <a:lnTo>
                    <a:pt x="5" y="16"/>
                  </a:lnTo>
                  <a:lnTo>
                    <a:pt x="10" y="11"/>
                  </a:lnTo>
                  <a:lnTo>
                    <a:pt x="15" y="6"/>
                  </a:lnTo>
                  <a:lnTo>
                    <a:pt x="22" y="4"/>
                  </a:lnTo>
                  <a:lnTo>
                    <a:pt x="29" y="0"/>
                  </a:lnTo>
                  <a:lnTo>
                    <a:pt x="36" y="0"/>
                  </a:lnTo>
                  <a:lnTo>
                    <a:pt x="36" y="0"/>
                  </a:lnTo>
                  <a:lnTo>
                    <a:pt x="43" y="0"/>
                  </a:lnTo>
                  <a:lnTo>
                    <a:pt x="50" y="4"/>
                  </a:lnTo>
                  <a:lnTo>
                    <a:pt x="57" y="6"/>
                  </a:lnTo>
                  <a:lnTo>
                    <a:pt x="62" y="11"/>
                  </a:lnTo>
                  <a:lnTo>
                    <a:pt x="65" y="16"/>
                  </a:lnTo>
                  <a:lnTo>
                    <a:pt x="69" y="23"/>
                  </a:lnTo>
                  <a:lnTo>
                    <a:pt x="70" y="30"/>
                  </a:lnTo>
                  <a:lnTo>
                    <a:pt x="72" y="3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52" name="Freeform 109">
              <a:extLst>
                <a:ext uri="{FF2B5EF4-FFF2-40B4-BE49-F238E27FC236}">
                  <a16:creationId xmlns:a16="http://schemas.microsoft.com/office/drawing/2014/main" id="{693299C9-46A1-4679-B947-0E88AED8B43C}"/>
                </a:ext>
              </a:extLst>
            </p:cNvPr>
            <p:cNvSpPr>
              <a:spLocks/>
            </p:cNvSpPr>
            <p:nvPr/>
          </p:nvSpPr>
          <p:spPr bwMode="auto">
            <a:xfrm>
              <a:off x="8897066" y="13447"/>
              <a:ext cx="40682" cy="132982"/>
            </a:xfrm>
            <a:custGeom>
              <a:avLst/>
              <a:gdLst>
                <a:gd name="T0" fmla="*/ 73 w 73"/>
                <a:gd name="T1" fmla="*/ 37 h 239"/>
                <a:gd name="T2" fmla="*/ 73 w 73"/>
                <a:gd name="T3" fmla="*/ 203 h 239"/>
                <a:gd name="T4" fmla="*/ 73 w 73"/>
                <a:gd name="T5" fmla="*/ 203 h 239"/>
                <a:gd name="T6" fmla="*/ 71 w 73"/>
                <a:gd name="T7" fmla="*/ 210 h 239"/>
                <a:gd name="T8" fmla="*/ 69 w 73"/>
                <a:gd name="T9" fmla="*/ 217 h 239"/>
                <a:gd name="T10" fmla="*/ 66 w 73"/>
                <a:gd name="T11" fmla="*/ 222 h 239"/>
                <a:gd name="T12" fmla="*/ 62 w 73"/>
                <a:gd name="T13" fmla="*/ 227 h 239"/>
                <a:gd name="T14" fmla="*/ 57 w 73"/>
                <a:gd name="T15" fmla="*/ 232 h 239"/>
                <a:gd name="T16" fmla="*/ 50 w 73"/>
                <a:gd name="T17" fmla="*/ 236 h 239"/>
                <a:gd name="T18" fmla="*/ 43 w 73"/>
                <a:gd name="T19" fmla="*/ 237 h 239"/>
                <a:gd name="T20" fmla="*/ 36 w 73"/>
                <a:gd name="T21" fmla="*/ 239 h 239"/>
                <a:gd name="T22" fmla="*/ 36 w 73"/>
                <a:gd name="T23" fmla="*/ 239 h 239"/>
                <a:gd name="T24" fmla="*/ 29 w 73"/>
                <a:gd name="T25" fmla="*/ 237 h 239"/>
                <a:gd name="T26" fmla="*/ 22 w 73"/>
                <a:gd name="T27" fmla="*/ 236 h 239"/>
                <a:gd name="T28" fmla="*/ 16 w 73"/>
                <a:gd name="T29" fmla="*/ 232 h 239"/>
                <a:gd name="T30" fmla="*/ 10 w 73"/>
                <a:gd name="T31" fmla="*/ 227 h 239"/>
                <a:gd name="T32" fmla="*/ 5 w 73"/>
                <a:gd name="T33" fmla="*/ 222 h 239"/>
                <a:gd name="T34" fmla="*/ 2 w 73"/>
                <a:gd name="T35" fmla="*/ 217 h 239"/>
                <a:gd name="T36" fmla="*/ 0 w 73"/>
                <a:gd name="T37" fmla="*/ 210 h 239"/>
                <a:gd name="T38" fmla="*/ 0 w 73"/>
                <a:gd name="T39" fmla="*/ 203 h 239"/>
                <a:gd name="T40" fmla="*/ 0 w 73"/>
                <a:gd name="T41" fmla="*/ 37 h 239"/>
                <a:gd name="T42" fmla="*/ 0 w 73"/>
                <a:gd name="T43" fmla="*/ 37 h 239"/>
                <a:gd name="T44" fmla="*/ 0 w 73"/>
                <a:gd name="T45" fmla="*/ 30 h 239"/>
                <a:gd name="T46" fmla="*/ 2 w 73"/>
                <a:gd name="T47" fmla="*/ 23 h 239"/>
                <a:gd name="T48" fmla="*/ 5 w 73"/>
                <a:gd name="T49" fmla="*/ 16 h 239"/>
                <a:gd name="T50" fmla="*/ 10 w 73"/>
                <a:gd name="T51" fmla="*/ 11 h 239"/>
                <a:gd name="T52" fmla="*/ 16 w 73"/>
                <a:gd name="T53" fmla="*/ 6 h 239"/>
                <a:gd name="T54" fmla="*/ 22 w 73"/>
                <a:gd name="T55" fmla="*/ 4 h 239"/>
                <a:gd name="T56" fmla="*/ 29 w 73"/>
                <a:gd name="T57" fmla="*/ 0 h 239"/>
                <a:gd name="T58" fmla="*/ 36 w 73"/>
                <a:gd name="T59" fmla="*/ 0 h 239"/>
                <a:gd name="T60" fmla="*/ 36 w 73"/>
                <a:gd name="T61" fmla="*/ 0 h 239"/>
                <a:gd name="T62" fmla="*/ 43 w 73"/>
                <a:gd name="T63" fmla="*/ 0 h 239"/>
                <a:gd name="T64" fmla="*/ 50 w 73"/>
                <a:gd name="T65" fmla="*/ 4 h 239"/>
                <a:gd name="T66" fmla="*/ 57 w 73"/>
                <a:gd name="T67" fmla="*/ 6 h 239"/>
                <a:gd name="T68" fmla="*/ 62 w 73"/>
                <a:gd name="T69" fmla="*/ 11 h 239"/>
                <a:gd name="T70" fmla="*/ 66 w 73"/>
                <a:gd name="T71" fmla="*/ 16 h 239"/>
                <a:gd name="T72" fmla="*/ 69 w 73"/>
                <a:gd name="T73" fmla="*/ 23 h 239"/>
                <a:gd name="T74" fmla="*/ 71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1" y="210"/>
                  </a:lnTo>
                  <a:lnTo>
                    <a:pt x="69" y="217"/>
                  </a:lnTo>
                  <a:lnTo>
                    <a:pt x="66" y="222"/>
                  </a:lnTo>
                  <a:lnTo>
                    <a:pt x="62" y="227"/>
                  </a:lnTo>
                  <a:lnTo>
                    <a:pt x="57" y="232"/>
                  </a:lnTo>
                  <a:lnTo>
                    <a:pt x="50" y="236"/>
                  </a:lnTo>
                  <a:lnTo>
                    <a:pt x="43" y="237"/>
                  </a:lnTo>
                  <a:lnTo>
                    <a:pt x="36" y="239"/>
                  </a:lnTo>
                  <a:lnTo>
                    <a:pt x="36" y="239"/>
                  </a:lnTo>
                  <a:lnTo>
                    <a:pt x="29" y="237"/>
                  </a:lnTo>
                  <a:lnTo>
                    <a:pt x="22" y="236"/>
                  </a:lnTo>
                  <a:lnTo>
                    <a:pt x="16" y="232"/>
                  </a:lnTo>
                  <a:lnTo>
                    <a:pt x="10" y="227"/>
                  </a:lnTo>
                  <a:lnTo>
                    <a:pt x="5" y="222"/>
                  </a:lnTo>
                  <a:lnTo>
                    <a:pt x="2" y="217"/>
                  </a:lnTo>
                  <a:lnTo>
                    <a:pt x="0" y="210"/>
                  </a:lnTo>
                  <a:lnTo>
                    <a:pt x="0" y="203"/>
                  </a:lnTo>
                  <a:lnTo>
                    <a:pt x="0" y="37"/>
                  </a:lnTo>
                  <a:lnTo>
                    <a:pt x="0" y="37"/>
                  </a:lnTo>
                  <a:lnTo>
                    <a:pt x="0" y="30"/>
                  </a:lnTo>
                  <a:lnTo>
                    <a:pt x="2" y="23"/>
                  </a:lnTo>
                  <a:lnTo>
                    <a:pt x="5" y="16"/>
                  </a:lnTo>
                  <a:lnTo>
                    <a:pt x="10" y="11"/>
                  </a:lnTo>
                  <a:lnTo>
                    <a:pt x="16" y="6"/>
                  </a:lnTo>
                  <a:lnTo>
                    <a:pt x="22" y="4"/>
                  </a:lnTo>
                  <a:lnTo>
                    <a:pt x="29" y="0"/>
                  </a:lnTo>
                  <a:lnTo>
                    <a:pt x="36" y="0"/>
                  </a:lnTo>
                  <a:lnTo>
                    <a:pt x="36" y="0"/>
                  </a:lnTo>
                  <a:lnTo>
                    <a:pt x="43" y="0"/>
                  </a:lnTo>
                  <a:lnTo>
                    <a:pt x="50" y="4"/>
                  </a:lnTo>
                  <a:lnTo>
                    <a:pt x="57" y="6"/>
                  </a:lnTo>
                  <a:lnTo>
                    <a:pt x="62" y="11"/>
                  </a:lnTo>
                  <a:lnTo>
                    <a:pt x="66" y="16"/>
                  </a:lnTo>
                  <a:lnTo>
                    <a:pt x="69" y="23"/>
                  </a:lnTo>
                  <a:lnTo>
                    <a:pt x="71" y="30"/>
                  </a:lnTo>
                  <a:lnTo>
                    <a:pt x="73"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53" name="Freeform 110">
              <a:extLst>
                <a:ext uri="{FF2B5EF4-FFF2-40B4-BE49-F238E27FC236}">
                  <a16:creationId xmlns:a16="http://schemas.microsoft.com/office/drawing/2014/main" id="{479F29B0-D855-41DB-BEC7-30A3974F88A4}"/>
                </a:ext>
              </a:extLst>
            </p:cNvPr>
            <p:cNvSpPr>
              <a:spLocks/>
            </p:cNvSpPr>
            <p:nvPr/>
          </p:nvSpPr>
          <p:spPr bwMode="auto">
            <a:xfrm>
              <a:off x="8897066" y="13447"/>
              <a:ext cx="40682" cy="132982"/>
            </a:xfrm>
            <a:custGeom>
              <a:avLst/>
              <a:gdLst>
                <a:gd name="T0" fmla="*/ 73 w 73"/>
                <a:gd name="T1" fmla="*/ 37 h 239"/>
                <a:gd name="T2" fmla="*/ 73 w 73"/>
                <a:gd name="T3" fmla="*/ 203 h 239"/>
                <a:gd name="T4" fmla="*/ 73 w 73"/>
                <a:gd name="T5" fmla="*/ 203 h 239"/>
                <a:gd name="T6" fmla="*/ 71 w 73"/>
                <a:gd name="T7" fmla="*/ 210 h 239"/>
                <a:gd name="T8" fmla="*/ 69 w 73"/>
                <a:gd name="T9" fmla="*/ 217 h 239"/>
                <a:gd name="T10" fmla="*/ 66 w 73"/>
                <a:gd name="T11" fmla="*/ 222 h 239"/>
                <a:gd name="T12" fmla="*/ 62 w 73"/>
                <a:gd name="T13" fmla="*/ 227 h 239"/>
                <a:gd name="T14" fmla="*/ 57 w 73"/>
                <a:gd name="T15" fmla="*/ 232 h 239"/>
                <a:gd name="T16" fmla="*/ 50 w 73"/>
                <a:gd name="T17" fmla="*/ 236 h 239"/>
                <a:gd name="T18" fmla="*/ 43 w 73"/>
                <a:gd name="T19" fmla="*/ 237 h 239"/>
                <a:gd name="T20" fmla="*/ 36 w 73"/>
                <a:gd name="T21" fmla="*/ 239 h 239"/>
                <a:gd name="T22" fmla="*/ 36 w 73"/>
                <a:gd name="T23" fmla="*/ 239 h 239"/>
                <a:gd name="T24" fmla="*/ 29 w 73"/>
                <a:gd name="T25" fmla="*/ 237 h 239"/>
                <a:gd name="T26" fmla="*/ 22 w 73"/>
                <a:gd name="T27" fmla="*/ 236 h 239"/>
                <a:gd name="T28" fmla="*/ 16 w 73"/>
                <a:gd name="T29" fmla="*/ 232 h 239"/>
                <a:gd name="T30" fmla="*/ 10 w 73"/>
                <a:gd name="T31" fmla="*/ 227 h 239"/>
                <a:gd name="T32" fmla="*/ 5 w 73"/>
                <a:gd name="T33" fmla="*/ 222 h 239"/>
                <a:gd name="T34" fmla="*/ 2 w 73"/>
                <a:gd name="T35" fmla="*/ 217 h 239"/>
                <a:gd name="T36" fmla="*/ 0 w 73"/>
                <a:gd name="T37" fmla="*/ 210 h 239"/>
                <a:gd name="T38" fmla="*/ 0 w 73"/>
                <a:gd name="T39" fmla="*/ 203 h 239"/>
                <a:gd name="T40" fmla="*/ 0 w 73"/>
                <a:gd name="T41" fmla="*/ 37 h 239"/>
                <a:gd name="T42" fmla="*/ 0 w 73"/>
                <a:gd name="T43" fmla="*/ 37 h 239"/>
                <a:gd name="T44" fmla="*/ 0 w 73"/>
                <a:gd name="T45" fmla="*/ 30 h 239"/>
                <a:gd name="T46" fmla="*/ 2 w 73"/>
                <a:gd name="T47" fmla="*/ 23 h 239"/>
                <a:gd name="T48" fmla="*/ 5 w 73"/>
                <a:gd name="T49" fmla="*/ 16 h 239"/>
                <a:gd name="T50" fmla="*/ 10 w 73"/>
                <a:gd name="T51" fmla="*/ 11 h 239"/>
                <a:gd name="T52" fmla="*/ 16 w 73"/>
                <a:gd name="T53" fmla="*/ 6 h 239"/>
                <a:gd name="T54" fmla="*/ 22 w 73"/>
                <a:gd name="T55" fmla="*/ 4 h 239"/>
                <a:gd name="T56" fmla="*/ 29 w 73"/>
                <a:gd name="T57" fmla="*/ 0 h 239"/>
                <a:gd name="T58" fmla="*/ 36 w 73"/>
                <a:gd name="T59" fmla="*/ 0 h 239"/>
                <a:gd name="T60" fmla="*/ 36 w 73"/>
                <a:gd name="T61" fmla="*/ 0 h 239"/>
                <a:gd name="T62" fmla="*/ 43 w 73"/>
                <a:gd name="T63" fmla="*/ 0 h 239"/>
                <a:gd name="T64" fmla="*/ 50 w 73"/>
                <a:gd name="T65" fmla="*/ 4 h 239"/>
                <a:gd name="T66" fmla="*/ 57 w 73"/>
                <a:gd name="T67" fmla="*/ 6 h 239"/>
                <a:gd name="T68" fmla="*/ 62 w 73"/>
                <a:gd name="T69" fmla="*/ 11 h 239"/>
                <a:gd name="T70" fmla="*/ 66 w 73"/>
                <a:gd name="T71" fmla="*/ 16 h 239"/>
                <a:gd name="T72" fmla="*/ 69 w 73"/>
                <a:gd name="T73" fmla="*/ 23 h 239"/>
                <a:gd name="T74" fmla="*/ 71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1" y="210"/>
                  </a:lnTo>
                  <a:lnTo>
                    <a:pt x="69" y="217"/>
                  </a:lnTo>
                  <a:lnTo>
                    <a:pt x="66" y="222"/>
                  </a:lnTo>
                  <a:lnTo>
                    <a:pt x="62" y="227"/>
                  </a:lnTo>
                  <a:lnTo>
                    <a:pt x="57" y="232"/>
                  </a:lnTo>
                  <a:lnTo>
                    <a:pt x="50" y="236"/>
                  </a:lnTo>
                  <a:lnTo>
                    <a:pt x="43" y="237"/>
                  </a:lnTo>
                  <a:lnTo>
                    <a:pt x="36" y="239"/>
                  </a:lnTo>
                  <a:lnTo>
                    <a:pt x="36" y="239"/>
                  </a:lnTo>
                  <a:lnTo>
                    <a:pt x="29" y="237"/>
                  </a:lnTo>
                  <a:lnTo>
                    <a:pt x="22" y="236"/>
                  </a:lnTo>
                  <a:lnTo>
                    <a:pt x="16" y="232"/>
                  </a:lnTo>
                  <a:lnTo>
                    <a:pt x="10" y="227"/>
                  </a:lnTo>
                  <a:lnTo>
                    <a:pt x="5" y="222"/>
                  </a:lnTo>
                  <a:lnTo>
                    <a:pt x="2" y="217"/>
                  </a:lnTo>
                  <a:lnTo>
                    <a:pt x="0" y="210"/>
                  </a:lnTo>
                  <a:lnTo>
                    <a:pt x="0" y="203"/>
                  </a:lnTo>
                  <a:lnTo>
                    <a:pt x="0" y="37"/>
                  </a:lnTo>
                  <a:lnTo>
                    <a:pt x="0" y="37"/>
                  </a:lnTo>
                  <a:lnTo>
                    <a:pt x="0" y="30"/>
                  </a:lnTo>
                  <a:lnTo>
                    <a:pt x="2" y="23"/>
                  </a:lnTo>
                  <a:lnTo>
                    <a:pt x="5" y="16"/>
                  </a:lnTo>
                  <a:lnTo>
                    <a:pt x="10" y="11"/>
                  </a:lnTo>
                  <a:lnTo>
                    <a:pt x="16" y="6"/>
                  </a:lnTo>
                  <a:lnTo>
                    <a:pt x="22" y="4"/>
                  </a:lnTo>
                  <a:lnTo>
                    <a:pt x="29" y="0"/>
                  </a:lnTo>
                  <a:lnTo>
                    <a:pt x="36" y="0"/>
                  </a:lnTo>
                  <a:lnTo>
                    <a:pt x="36" y="0"/>
                  </a:lnTo>
                  <a:lnTo>
                    <a:pt x="43" y="0"/>
                  </a:lnTo>
                  <a:lnTo>
                    <a:pt x="50" y="4"/>
                  </a:lnTo>
                  <a:lnTo>
                    <a:pt x="57" y="6"/>
                  </a:lnTo>
                  <a:lnTo>
                    <a:pt x="62" y="11"/>
                  </a:lnTo>
                  <a:lnTo>
                    <a:pt x="66" y="16"/>
                  </a:lnTo>
                  <a:lnTo>
                    <a:pt x="69" y="23"/>
                  </a:lnTo>
                  <a:lnTo>
                    <a:pt x="71" y="30"/>
                  </a:lnTo>
                  <a:lnTo>
                    <a:pt x="73" y="3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54" name="Freeform 111">
              <a:extLst>
                <a:ext uri="{FF2B5EF4-FFF2-40B4-BE49-F238E27FC236}">
                  <a16:creationId xmlns:a16="http://schemas.microsoft.com/office/drawing/2014/main" id="{3D5633DD-C576-4A2E-A8DE-96413630F6BA}"/>
                </a:ext>
              </a:extLst>
            </p:cNvPr>
            <p:cNvSpPr>
              <a:spLocks/>
            </p:cNvSpPr>
            <p:nvPr/>
          </p:nvSpPr>
          <p:spPr bwMode="auto">
            <a:xfrm>
              <a:off x="9040845" y="-152920"/>
              <a:ext cx="40124" cy="465159"/>
            </a:xfrm>
            <a:custGeom>
              <a:avLst/>
              <a:gdLst>
                <a:gd name="T0" fmla="*/ 72 w 72"/>
                <a:gd name="T1" fmla="*/ 36 h 836"/>
                <a:gd name="T2" fmla="*/ 72 w 72"/>
                <a:gd name="T3" fmla="*/ 799 h 836"/>
                <a:gd name="T4" fmla="*/ 72 w 72"/>
                <a:gd name="T5" fmla="*/ 799 h 836"/>
                <a:gd name="T6" fmla="*/ 72 w 72"/>
                <a:gd name="T7" fmla="*/ 806 h 836"/>
                <a:gd name="T8" fmla="*/ 69 w 72"/>
                <a:gd name="T9" fmla="*/ 813 h 836"/>
                <a:gd name="T10" fmla="*/ 67 w 72"/>
                <a:gd name="T11" fmla="*/ 820 h 836"/>
                <a:gd name="T12" fmla="*/ 62 w 72"/>
                <a:gd name="T13" fmla="*/ 825 h 836"/>
                <a:gd name="T14" fmla="*/ 57 w 72"/>
                <a:gd name="T15" fmla="*/ 830 h 836"/>
                <a:gd name="T16" fmla="*/ 50 w 72"/>
                <a:gd name="T17" fmla="*/ 834 h 836"/>
                <a:gd name="T18" fmla="*/ 43 w 72"/>
                <a:gd name="T19" fmla="*/ 836 h 836"/>
                <a:gd name="T20" fmla="*/ 36 w 72"/>
                <a:gd name="T21" fmla="*/ 836 h 836"/>
                <a:gd name="T22" fmla="*/ 36 w 72"/>
                <a:gd name="T23" fmla="*/ 836 h 836"/>
                <a:gd name="T24" fmla="*/ 29 w 72"/>
                <a:gd name="T25" fmla="*/ 836 h 836"/>
                <a:gd name="T26" fmla="*/ 22 w 72"/>
                <a:gd name="T27" fmla="*/ 834 h 836"/>
                <a:gd name="T28" fmla="*/ 15 w 72"/>
                <a:gd name="T29" fmla="*/ 830 h 836"/>
                <a:gd name="T30" fmla="*/ 10 w 72"/>
                <a:gd name="T31" fmla="*/ 825 h 836"/>
                <a:gd name="T32" fmla="*/ 6 w 72"/>
                <a:gd name="T33" fmla="*/ 820 h 836"/>
                <a:gd name="T34" fmla="*/ 3 w 72"/>
                <a:gd name="T35" fmla="*/ 813 h 836"/>
                <a:gd name="T36" fmla="*/ 1 w 72"/>
                <a:gd name="T37" fmla="*/ 806 h 836"/>
                <a:gd name="T38" fmla="*/ 0 w 72"/>
                <a:gd name="T39" fmla="*/ 799 h 836"/>
                <a:gd name="T40" fmla="*/ 0 w 72"/>
                <a:gd name="T41" fmla="*/ 36 h 836"/>
                <a:gd name="T42" fmla="*/ 0 w 72"/>
                <a:gd name="T43" fmla="*/ 36 h 836"/>
                <a:gd name="T44" fmla="*/ 1 w 72"/>
                <a:gd name="T45" fmla="*/ 30 h 836"/>
                <a:gd name="T46" fmla="*/ 3 w 72"/>
                <a:gd name="T47" fmla="*/ 23 h 836"/>
                <a:gd name="T48" fmla="*/ 6 w 72"/>
                <a:gd name="T49" fmla="*/ 16 h 836"/>
                <a:gd name="T50" fmla="*/ 10 w 72"/>
                <a:gd name="T51" fmla="*/ 11 h 836"/>
                <a:gd name="T52" fmla="*/ 15 w 72"/>
                <a:gd name="T53" fmla="*/ 7 h 836"/>
                <a:gd name="T54" fmla="*/ 22 w 72"/>
                <a:gd name="T55" fmla="*/ 4 h 836"/>
                <a:gd name="T56" fmla="*/ 29 w 72"/>
                <a:gd name="T57" fmla="*/ 2 h 836"/>
                <a:gd name="T58" fmla="*/ 36 w 72"/>
                <a:gd name="T59" fmla="*/ 0 h 836"/>
                <a:gd name="T60" fmla="*/ 36 w 72"/>
                <a:gd name="T61" fmla="*/ 0 h 836"/>
                <a:gd name="T62" fmla="*/ 43 w 72"/>
                <a:gd name="T63" fmla="*/ 2 h 836"/>
                <a:gd name="T64" fmla="*/ 50 w 72"/>
                <a:gd name="T65" fmla="*/ 4 h 836"/>
                <a:gd name="T66" fmla="*/ 57 w 72"/>
                <a:gd name="T67" fmla="*/ 7 h 836"/>
                <a:gd name="T68" fmla="*/ 62 w 72"/>
                <a:gd name="T69" fmla="*/ 11 h 836"/>
                <a:gd name="T70" fmla="*/ 67 w 72"/>
                <a:gd name="T71" fmla="*/ 16 h 836"/>
                <a:gd name="T72" fmla="*/ 69 w 72"/>
                <a:gd name="T73" fmla="*/ 23 h 836"/>
                <a:gd name="T74" fmla="*/ 72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2" y="806"/>
                  </a:lnTo>
                  <a:lnTo>
                    <a:pt x="69" y="813"/>
                  </a:lnTo>
                  <a:lnTo>
                    <a:pt x="67" y="820"/>
                  </a:lnTo>
                  <a:lnTo>
                    <a:pt x="62" y="825"/>
                  </a:lnTo>
                  <a:lnTo>
                    <a:pt x="57" y="830"/>
                  </a:lnTo>
                  <a:lnTo>
                    <a:pt x="50" y="834"/>
                  </a:lnTo>
                  <a:lnTo>
                    <a:pt x="43" y="836"/>
                  </a:lnTo>
                  <a:lnTo>
                    <a:pt x="36" y="836"/>
                  </a:lnTo>
                  <a:lnTo>
                    <a:pt x="36" y="836"/>
                  </a:lnTo>
                  <a:lnTo>
                    <a:pt x="29" y="836"/>
                  </a:lnTo>
                  <a:lnTo>
                    <a:pt x="22" y="834"/>
                  </a:lnTo>
                  <a:lnTo>
                    <a:pt x="15" y="830"/>
                  </a:lnTo>
                  <a:lnTo>
                    <a:pt x="10" y="825"/>
                  </a:lnTo>
                  <a:lnTo>
                    <a:pt x="6" y="820"/>
                  </a:lnTo>
                  <a:lnTo>
                    <a:pt x="3" y="813"/>
                  </a:lnTo>
                  <a:lnTo>
                    <a:pt x="1" y="806"/>
                  </a:lnTo>
                  <a:lnTo>
                    <a:pt x="0" y="799"/>
                  </a:lnTo>
                  <a:lnTo>
                    <a:pt x="0" y="36"/>
                  </a:lnTo>
                  <a:lnTo>
                    <a:pt x="0" y="36"/>
                  </a:lnTo>
                  <a:lnTo>
                    <a:pt x="1" y="30"/>
                  </a:lnTo>
                  <a:lnTo>
                    <a:pt x="3" y="23"/>
                  </a:lnTo>
                  <a:lnTo>
                    <a:pt x="6" y="16"/>
                  </a:lnTo>
                  <a:lnTo>
                    <a:pt x="10" y="11"/>
                  </a:lnTo>
                  <a:lnTo>
                    <a:pt x="15" y="7"/>
                  </a:lnTo>
                  <a:lnTo>
                    <a:pt x="22" y="4"/>
                  </a:lnTo>
                  <a:lnTo>
                    <a:pt x="29" y="2"/>
                  </a:lnTo>
                  <a:lnTo>
                    <a:pt x="36" y="0"/>
                  </a:lnTo>
                  <a:lnTo>
                    <a:pt x="36" y="0"/>
                  </a:lnTo>
                  <a:lnTo>
                    <a:pt x="43" y="2"/>
                  </a:lnTo>
                  <a:lnTo>
                    <a:pt x="50" y="4"/>
                  </a:lnTo>
                  <a:lnTo>
                    <a:pt x="57" y="7"/>
                  </a:lnTo>
                  <a:lnTo>
                    <a:pt x="62" y="11"/>
                  </a:lnTo>
                  <a:lnTo>
                    <a:pt x="67" y="16"/>
                  </a:lnTo>
                  <a:lnTo>
                    <a:pt x="69" y="23"/>
                  </a:lnTo>
                  <a:lnTo>
                    <a:pt x="72" y="30"/>
                  </a:lnTo>
                  <a:lnTo>
                    <a:pt x="7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55" name="Freeform 112">
              <a:extLst>
                <a:ext uri="{FF2B5EF4-FFF2-40B4-BE49-F238E27FC236}">
                  <a16:creationId xmlns:a16="http://schemas.microsoft.com/office/drawing/2014/main" id="{01194CF3-CC73-4751-807C-64C1539E1435}"/>
                </a:ext>
              </a:extLst>
            </p:cNvPr>
            <p:cNvSpPr>
              <a:spLocks/>
            </p:cNvSpPr>
            <p:nvPr/>
          </p:nvSpPr>
          <p:spPr bwMode="auto">
            <a:xfrm>
              <a:off x="9040845" y="-152920"/>
              <a:ext cx="40124" cy="465159"/>
            </a:xfrm>
            <a:custGeom>
              <a:avLst/>
              <a:gdLst>
                <a:gd name="T0" fmla="*/ 72 w 72"/>
                <a:gd name="T1" fmla="*/ 36 h 836"/>
                <a:gd name="T2" fmla="*/ 72 w 72"/>
                <a:gd name="T3" fmla="*/ 799 h 836"/>
                <a:gd name="T4" fmla="*/ 72 w 72"/>
                <a:gd name="T5" fmla="*/ 799 h 836"/>
                <a:gd name="T6" fmla="*/ 72 w 72"/>
                <a:gd name="T7" fmla="*/ 806 h 836"/>
                <a:gd name="T8" fmla="*/ 69 w 72"/>
                <a:gd name="T9" fmla="*/ 813 h 836"/>
                <a:gd name="T10" fmla="*/ 67 w 72"/>
                <a:gd name="T11" fmla="*/ 820 h 836"/>
                <a:gd name="T12" fmla="*/ 62 w 72"/>
                <a:gd name="T13" fmla="*/ 825 h 836"/>
                <a:gd name="T14" fmla="*/ 57 w 72"/>
                <a:gd name="T15" fmla="*/ 830 h 836"/>
                <a:gd name="T16" fmla="*/ 50 w 72"/>
                <a:gd name="T17" fmla="*/ 834 h 836"/>
                <a:gd name="T18" fmla="*/ 43 w 72"/>
                <a:gd name="T19" fmla="*/ 836 h 836"/>
                <a:gd name="T20" fmla="*/ 36 w 72"/>
                <a:gd name="T21" fmla="*/ 836 h 836"/>
                <a:gd name="T22" fmla="*/ 36 w 72"/>
                <a:gd name="T23" fmla="*/ 836 h 836"/>
                <a:gd name="T24" fmla="*/ 29 w 72"/>
                <a:gd name="T25" fmla="*/ 836 h 836"/>
                <a:gd name="T26" fmla="*/ 22 w 72"/>
                <a:gd name="T27" fmla="*/ 834 h 836"/>
                <a:gd name="T28" fmla="*/ 15 w 72"/>
                <a:gd name="T29" fmla="*/ 830 h 836"/>
                <a:gd name="T30" fmla="*/ 10 w 72"/>
                <a:gd name="T31" fmla="*/ 825 h 836"/>
                <a:gd name="T32" fmla="*/ 6 w 72"/>
                <a:gd name="T33" fmla="*/ 820 h 836"/>
                <a:gd name="T34" fmla="*/ 3 w 72"/>
                <a:gd name="T35" fmla="*/ 813 h 836"/>
                <a:gd name="T36" fmla="*/ 1 w 72"/>
                <a:gd name="T37" fmla="*/ 806 h 836"/>
                <a:gd name="T38" fmla="*/ 0 w 72"/>
                <a:gd name="T39" fmla="*/ 799 h 836"/>
                <a:gd name="T40" fmla="*/ 0 w 72"/>
                <a:gd name="T41" fmla="*/ 36 h 836"/>
                <a:gd name="T42" fmla="*/ 0 w 72"/>
                <a:gd name="T43" fmla="*/ 36 h 836"/>
                <a:gd name="T44" fmla="*/ 1 w 72"/>
                <a:gd name="T45" fmla="*/ 30 h 836"/>
                <a:gd name="T46" fmla="*/ 3 w 72"/>
                <a:gd name="T47" fmla="*/ 23 h 836"/>
                <a:gd name="T48" fmla="*/ 6 w 72"/>
                <a:gd name="T49" fmla="*/ 16 h 836"/>
                <a:gd name="T50" fmla="*/ 10 w 72"/>
                <a:gd name="T51" fmla="*/ 11 h 836"/>
                <a:gd name="T52" fmla="*/ 15 w 72"/>
                <a:gd name="T53" fmla="*/ 7 h 836"/>
                <a:gd name="T54" fmla="*/ 22 w 72"/>
                <a:gd name="T55" fmla="*/ 4 h 836"/>
                <a:gd name="T56" fmla="*/ 29 w 72"/>
                <a:gd name="T57" fmla="*/ 2 h 836"/>
                <a:gd name="T58" fmla="*/ 36 w 72"/>
                <a:gd name="T59" fmla="*/ 0 h 836"/>
                <a:gd name="T60" fmla="*/ 36 w 72"/>
                <a:gd name="T61" fmla="*/ 0 h 836"/>
                <a:gd name="T62" fmla="*/ 43 w 72"/>
                <a:gd name="T63" fmla="*/ 2 h 836"/>
                <a:gd name="T64" fmla="*/ 50 w 72"/>
                <a:gd name="T65" fmla="*/ 4 h 836"/>
                <a:gd name="T66" fmla="*/ 57 w 72"/>
                <a:gd name="T67" fmla="*/ 7 h 836"/>
                <a:gd name="T68" fmla="*/ 62 w 72"/>
                <a:gd name="T69" fmla="*/ 11 h 836"/>
                <a:gd name="T70" fmla="*/ 67 w 72"/>
                <a:gd name="T71" fmla="*/ 16 h 836"/>
                <a:gd name="T72" fmla="*/ 69 w 72"/>
                <a:gd name="T73" fmla="*/ 23 h 836"/>
                <a:gd name="T74" fmla="*/ 72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2" y="806"/>
                  </a:lnTo>
                  <a:lnTo>
                    <a:pt x="69" y="813"/>
                  </a:lnTo>
                  <a:lnTo>
                    <a:pt x="67" y="820"/>
                  </a:lnTo>
                  <a:lnTo>
                    <a:pt x="62" y="825"/>
                  </a:lnTo>
                  <a:lnTo>
                    <a:pt x="57" y="830"/>
                  </a:lnTo>
                  <a:lnTo>
                    <a:pt x="50" y="834"/>
                  </a:lnTo>
                  <a:lnTo>
                    <a:pt x="43" y="836"/>
                  </a:lnTo>
                  <a:lnTo>
                    <a:pt x="36" y="836"/>
                  </a:lnTo>
                  <a:lnTo>
                    <a:pt x="36" y="836"/>
                  </a:lnTo>
                  <a:lnTo>
                    <a:pt x="29" y="836"/>
                  </a:lnTo>
                  <a:lnTo>
                    <a:pt x="22" y="834"/>
                  </a:lnTo>
                  <a:lnTo>
                    <a:pt x="15" y="830"/>
                  </a:lnTo>
                  <a:lnTo>
                    <a:pt x="10" y="825"/>
                  </a:lnTo>
                  <a:lnTo>
                    <a:pt x="6" y="820"/>
                  </a:lnTo>
                  <a:lnTo>
                    <a:pt x="3" y="813"/>
                  </a:lnTo>
                  <a:lnTo>
                    <a:pt x="1" y="806"/>
                  </a:lnTo>
                  <a:lnTo>
                    <a:pt x="0" y="799"/>
                  </a:lnTo>
                  <a:lnTo>
                    <a:pt x="0" y="36"/>
                  </a:lnTo>
                  <a:lnTo>
                    <a:pt x="0" y="36"/>
                  </a:lnTo>
                  <a:lnTo>
                    <a:pt x="1" y="30"/>
                  </a:lnTo>
                  <a:lnTo>
                    <a:pt x="3" y="23"/>
                  </a:lnTo>
                  <a:lnTo>
                    <a:pt x="6" y="16"/>
                  </a:lnTo>
                  <a:lnTo>
                    <a:pt x="10" y="11"/>
                  </a:lnTo>
                  <a:lnTo>
                    <a:pt x="15" y="7"/>
                  </a:lnTo>
                  <a:lnTo>
                    <a:pt x="22" y="4"/>
                  </a:lnTo>
                  <a:lnTo>
                    <a:pt x="29" y="2"/>
                  </a:lnTo>
                  <a:lnTo>
                    <a:pt x="36" y="0"/>
                  </a:lnTo>
                  <a:lnTo>
                    <a:pt x="36" y="0"/>
                  </a:lnTo>
                  <a:lnTo>
                    <a:pt x="43" y="2"/>
                  </a:lnTo>
                  <a:lnTo>
                    <a:pt x="50" y="4"/>
                  </a:lnTo>
                  <a:lnTo>
                    <a:pt x="57" y="7"/>
                  </a:lnTo>
                  <a:lnTo>
                    <a:pt x="62" y="11"/>
                  </a:lnTo>
                  <a:lnTo>
                    <a:pt x="67" y="16"/>
                  </a:lnTo>
                  <a:lnTo>
                    <a:pt x="69" y="23"/>
                  </a:lnTo>
                  <a:lnTo>
                    <a:pt x="72" y="30"/>
                  </a:lnTo>
                  <a:lnTo>
                    <a:pt x="72" y="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56" name="Freeform 113">
              <a:extLst>
                <a:ext uri="{FF2B5EF4-FFF2-40B4-BE49-F238E27FC236}">
                  <a16:creationId xmlns:a16="http://schemas.microsoft.com/office/drawing/2014/main" id="{53687062-F9A9-4816-8280-CE110D6E6C85}"/>
                </a:ext>
              </a:extLst>
            </p:cNvPr>
            <p:cNvSpPr>
              <a:spLocks/>
            </p:cNvSpPr>
            <p:nvPr/>
          </p:nvSpPr>
          <p:spPr bwMode="auto">
            <a:xfrm>
              <a:off x="9141714" y="-312610"/>
              <a:ext cx="1016489" cy="783426"/>
            </a:xfrm>
            <a:custGeom>
              <a:avLst/>
              <a:gdLst>
                <a:gd name="T0" fmla="*/ 1824 w 1824"/>
                <a:gd name="T1" fmla="*/ 1166 h 1408"/>
                <a:gd name="T2" fmla="*/ 1824 w 1824"/>
                <a:gd name="T3" fmla="*/ 1408 h 1408"/>
                <a:gd name="T4" fmla="*/ 1518 w 1824"/>
                <a:gd name="T5" fmla="*/ 1408 h 1408"/>
                <a:gd name="T6" fmla="*/ 439 w 1824"/>
                <a:gd name="T7" fmla="*/ 242 h 1408"/>
                <a:gd name="T8" fmla="*/ 0 w 1824"/>
                <a:gd name="T9" fmla="*/ 242 h 1408"/>
                <a:gd name="T10" fmla="*/ 0 w 1824"/>
                <a:gd name="T11" fmla="*/ 0 h 1408"/>
                <a:gd name="T12" fmla="*/ 545 w 1824"/>
                <a:gd name="T13" fmla="*/ 0 h 1408"/>
                <a:gd name="T14" fmla="*/ 1623 w 1824"/>
                <a:gd name="T15" fmla="*/ 1166 h 1408"/>
                <a:gd name="T16" fmla="*/ 1824 w 1824"/>
                <a:gd name="T17" fmla="*/ 1166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4" h="1408">
                  <a:moveTo>
                    <a:pt x="1824" y="1166"/>
                  </a:moveTo>
                  <a:lnTo>
                    <a:pt x="1824" y="1408"/>
                  </a:lnTo>
                  <a:lnTo>
                    <a:pt x="1518" y="1408"/>
                  </a:lnTo>
                  <a:lnTo>
                    <a:pt x="439" y="242"/>
                  </a:lnTo>
                  <a:lnTo>
                    <a:pt x="0" y="242"/>
                  </a:lnTo>
                  <a:lnTo>
                    <a:pt x="0" y="0"/>
                  </a:lnTo>
                  <a:lnTo>
                    <a:pt x="545" y="0"/>
                  </a:lnTo>
                  <a:lnTo>
                    <a:pt x="1623" y="1166"/>
                  </a:lnTo>
                  <a:lnTo>
                    <a:pt x="1824" y="1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57" name="Freeform 114">
              <a:extLst>
                <a:ext uri="{FF2B5EF4-FFF2-40B4-BE49-F238E27FC236}">
                  <a16:creationId xmlns:a16="http://schemas.microsoft.com/office/drawing/2014/main" id="{F76BCDAC-0460-400B-B76A-0AF91B70B29E}"/>
                </a:ext>
              </a:extLst>
            </p:cNvPr>
            <p:cNvSpPr>
              <a:spLocks/>
            </p:cNvSpPr>
            <p:nvPr/>
          </p:nvSpPr>
          <p:spPr bwMode="auto">
            <a:xfrm>
              <a:off x="9141714" y="-312610"/>
              <a:ext cx="1016489" cy="783426"/>
            </a:xfrm>
            <a:custGeom>
              <a:avLst/>
              <a:gdLst>
                <a:gd name="T0" fmla="*/ 1824 w 1824"/>
                <a:gd name="T1" fmla="*/ 0 h 1408"/>
                <a:gd name="T2" fmla="*/ 1824 w 1824"/>
                <a:gd name="T3" fmla="*/ 242 h 1408"/>
                <a:gd name="T4" fmla="*/ 1623 w 1824"/>
                <a:gd name="T5" fmla="*/ 242 h 1408"/>
                <a:gd name="T6" fmla="*/ 545 w 1824"/>
                <a:gd name="T7" fmla="*/ 1408 h 1408"/>
                <a:gd name="T8" fmla="*/ 0 w 1824"/>
                <a:gd name="T9" fmla="*/ 1408 h 1408"/>
                <a:gd name="T10" fmla="*/ 0 w 1824"/>
                <a:gd name="T11" fmla="*/ 1166 h 1408"/>
                <a:gd name="T12" fmla="*/ 439 w 1824"/>
                <a:gd name="T13" fmla="*/ 1166 h 1408"/>
                <a:gd name="T14" fmla="*/ 1518 w 1824"/>
                <a:gd name="T15" fmla="*/ 0 h 1408"/>
                <a:gd name="T16" fmla="*/ 1824 w 1824"/>
                <a:gd name="T17" fmla="*/ 0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4" h="1408">
                  <a:moveTo>
                    <a:pt x="1824" y="0"/>
                  </a:moveTo>
                  <a:lnTo>
                    <a:pt x="1824" y="242"/>
                  </a:lnTo>
                  <a:lnTo>
                    <a:pt x="1623" y="242"/>
                  </a:lnTo>
                  <a:lnTo>
                    <a:pt x="545" y="1408"/>
                  </a:lnTo>
                  <a:lnTo>
                    <a:pt x="0" y="1408"/>
                  </a:lnTo>
                  <a:lnTo>
                    <a:pt x="0" y="1166"/>
                  </a:lnTo>
                  <a:lnTo>
                    <a:pt x="439" y="1166"/>
                  </a:lnTo>
                  <a:lnTo>
                    <a:pt x="1518" y="0"/>
                  </a:lnTo>
                  <a:lnTo>
                    <a:pt x="18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58" name="Freeform 115">
              <a:extLst>
                <a:ext uri="{FF2B5EF4-FFF2-40B4-BE49-F238E27FC236}">
                  <a16:creationId xmlns:a16="http://schemas.microsoft.com/office/drawing/2014/main" id="{681635E6-36B2-4FCE-A7F7-C1BFF1156551}"/>
                </a:ext>
              </a:extLst>
            </p:cNvPr>
            <p:cNvSpPr>
              <a:spLocks/>
            </p:cNvSpPr>
            <p:nvPr/>
          </p:nvSpPr>
          <p:spPr bwMode="auto">
            <a:xfrm>
              <a:off x="9193541" y="-152920"/>
              <a:ext cx="40682" cy="465159"/>
            </a:xfrm>
            <a:custGeom>
              <a:avLst/>
              <a:gdLst>
                <a:gd name="T0" fmla="*/ 73 w 73"/>
                <a:gd name="T1" fmla="*/ 36 h 836"/>
                <a:gd name="T2" fmla="*/ 73 w 73"/>
                <a:gd name="T3" fmla="*/ 799 h 836"/>
                <a:gd name="T4" fmla="*/ 73 w 73"/>
                <a:gd name="T5" fmla="*/ 799 h 836"/>
                <a:gd name="T6" fmla="*/ 71 w 73"/>
                <a:gd name="T7" fmla="*/ 806 h 836"/>
                <a:gd name="T8" fmla="*/ 70 w 73"/>
                <a:gd name="T9" fmla="*/ 813 h 836"/>
                <a:gd name="T10" fmla="*/ 66 w 73"/>
                <a:gd name="T11" fmla="*/ 820 h 836"/>
                <a:gd name="T12" fmla="*/ 63 w 73"/>
                <a:gd name="T13" fmla="*/ 825 h 836"/>
                <a:gd name="T14" fmla="*/ 58 w 73"/>
                <a:gd name="T15" fmla="*/ 830 h 836"/>
                <a:gd name="T16" fmla="*/ 51 w 73"/>
                <a:gd name="T17" fmla="*/ 834 h 836"/>
                <a:gd name="T18" fmla="*/ 44 w 73"/>
                <a:gd name="T19" fmla="*/ 836 h 836"/>
                <a:gd name="T20" fmla="*/ 37 w 73"/>
                <a:gd name="T21" fmla="*/ 836 h 836"/>
                <a:gd name="T22" fmla="*/ 37 w 73"/>
                <a:gd name="T23" fmla="*/ 836 h 836"/>
                <a:gd name="T24" fmla="*/ 30 w 73"/>
                <a:gd name="T25" fmla="*/ 836 h 836"/>
                <a:gd name="T26" fmla="*/ 23 w 73"/>
                <a:gd name="T27" fmla="*/ 834 h 836"/>
                <a:gd name="T28" fmla="*/ 16 w 73"/>
                <a:gd name="T29" fmla="*/ 830 h 836"/>
                <a:gd name="T30" fmla="*/ 11 w 73"/>
                <a:gd name="T31" fmla="*/ 825 h 836"/>
                <a:gd name="T32" fmla="*/ 6 w 73"/>
                <a:gd name="T33" fmla="*/ 820 h 836"/>
                <a:gd name="T34" fmla="*/ 2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2 w 73"/>
                <a:gd name="T47" fmla="*/ 23 h 836"/>
                <a:gd name="T48" fmla="*/ 6 w 73"/>
                <a:gd name="T49" fmla="*/ 16 h 836"/>
                <a:gd name="T50" fmla="*/ 11 w 73"/>
                <a:gd name="T51" fmla="*/ 11 h 836"/>
                <a:gd name="T52" fmla="*/ 16 w 73"/>
                <a:gd name="T53" fmla="*/ 7 h 836"/>
                <a:gd name="T54" fmla="*/ 23 w 73"/>
                <a:gd name="T55" fmla="*/ 4 h 836"/>
                <a:gd name="T56" fmla="*/ 30 w 73"/>
                <a:gd name="T57" fmla="*/ 2 h 836"/>
                <a:gd name="T58" fmla="*/ 37 w 73"/>
                <a:gd name="T59" fmla="*/ 0 h 836"/>
                <a:gd name="T60" fmla="*/ 37 w 73"/>
                <a:gd name="T61" fmla="*/ 0 h 836"/>
                <a:gd name="T62" fmla="*/ 44 w 73"/>
                <a:gd name="T63" fmla="*/ 2 h 836"/>
                <a:gd name="T64" fmla="*/ 51 w 73"/>
                <a:gd name="T65" fmla="*/ 4 h 836"/>
                <a:gd name="T66" fmla="*/ 58 w 73"/>
                <a:gd name="T67" fmla="*/ 7 h 836"/>
                <a:gd name="T68" fmla="*/ 63 w 73"/>
                <a:gd name="T69" fmla="*/ 11 h 836"/>
                <a:gd name="T70" fmla="*/ 66 w 73"/>
                <a:gd name="T71" fmla="*/ 16 h 836"/>
                <a:gd name="T72" fmla="*/ 70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70" y="813"/>
                  </a:lnTo>
                  <a:lnTo>
                    <a:pt x="66" y="820"/>
                  </a:lnTo>
                  <a:lnTo>
                    <a:pt x="63" y="825"/>
                  </a:lnTo>
                  <a:lnTo>
                    <a:pt x="58" y="830"/>
                  </a:lnTo>
                  <a:lnTo>
                    <a:pt x="51" y="834"/>
                  </a:lnTo>
                  <a:lnTo>
                    <a:pt x="44" y="836"/>
                  </a:lnTo>
                  <a:lnTo>
                    <a:pt x="37" y="836"/>
                  </a:lnTo>
                  <a:lnTo>
                    <a:pt x="37" y="836"/>
                  </a:lnTo>
                  <a:lnTo>
                    <a:pt x="30" y="836"/>
                  </a:lnTo>
                  <a:lnTo>
                    <a:pt x="23" y="834"/>
                  </a:lnTo>
                  <a:lnTo>
                    <a:pt x="16" y="830"/>
                  </a:lnTo>
                  <a:lnTo>
                    <a:pt x="11" y="825"/>
                  </a:lnTo>
                  <a:lnTo>
                    <a:pt x="6" y="820"/>
                  </a:lnTo>
                  <a:lnTo>
                    <a:pt x="2" y="813"/>
                  </a:lnTo>
                  <a:lnTo>
                    <a:pt x="0" y="806"/>
                  </a:lnTo>
                  <a:lnTo>
                    <a:pt x="0" y="799"/>
                  </a:lnTo>
                  <a:lnTo>
                    <a:pt x="0" y="36"/>
                  </a:lnTo>
                  <a:lnTo>
                    <a:pt x="0" y="36"/>
                  </a:lnTo>
                  <a:lnTo>
                    <a:pt x="0" y="30"/>
                  </a:lnTo>
                  <a:lnTo>
                    <a:pt x="2" y="23"/>
                  </a:lnTo>
                  <a:lnTo>
                    <a:pt x="6" y="16"/>
                  </a:lnTo>
                  <a:lnTo>
                    <a:pt x="11" y="11"/>
                  </a:lnTo>
                  <a:lnTo>
                    <a:pt x="16" y="7"/>
                  </a:lnTo>
                  <a:lnTo>
                    <a:pt x="23" y="4"/>
                  </a:lnTo>
                  <a:lnTo>
                    <a:pt x="30" y="2"/>
                  </a:lnTo>
                  <a:lnTo>
                    <a:pt x="37" y="0"/>
                  </a:lnTo>
                  <a:lnTo>
                    <a:pt x="37" y="0"/>
                  </a:lnTo>
                  <a:lnTo>
                    <a:pt x="44" y="2"/>
                  </a:lnTo>
                  <a:lnTo>
                    <a:pt x="51" y="4"/>
                  </a:lnTo>
                  <a:lnTo>
                    <a:pt x="58" y="7"/>
                  </a:lnTo>
                  <a:lnTo>
                    <a:pt x="63" y="11"/>
                  </a:lnTo>
                  <a:lnTo>
                    <a:pt x="66" y="16"/>
                  </a:lnTo>
                  <a:lnTo>
                    <a:pt x="70" y="23"/>
                  </a:lnTo>
                  <a:lnTo>
                    <a:pt x="71" y="30"/>
                  </a:lnTo>
                  <a:lnTo>
                    <a:pt x="7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59" name="Freeform 116">
              <a:extLst>
                <a:ext uri="{FF2B5EF4-FFF2-40B4-BE49-F238E27FC236}">
                  <a16:creationId xmlns:a16="http://schemas.microsoft.com/office/drawing/2014/main" id="{14B8C26A-8247-4FF5-AC4C-20992300771D}"/>
                </a:ext>
              </a:extLst>
            </p:cNvPr>
            <p:cNvSpPr>
              <a:spLocks/>
            </p:cNvSpPr>
            <p:nvPr/>
          </p:nvSpPr>
          <p:spPr bwMode="auto">
            <a:xfrm>
              <a:off x="9193541" y="-152920"/>
              <a:ext cx="40682" cy="465159"/>
            </a:xfrm>
            <a:custGeom>
              <a:avLst/>
              <a:gdLst>
                <a:gd name="T0" fmla="*/ 73 w 73"/>
                <a:gd name="T1" fmla="*/ 36 h 836"/>
                <a:gd name="T2" fmla="*/ 73 w 73"/>
                <a:gd name="T3" fmla="*/ 799 h 836"/>
                <a:gd name="T4" fmla="*/ 73 w 73"/>
                <a:gd name="T5" fmla="*/ 799 h 836"/>
                <a:gd name="T6" fmla="*/ 71 w 73"/>
                <a:gd name="T7" fmla="*/ 806 h 836"/>
                <a:gd name="T8" fmla="*/ 70 w 73"/>
                <a:gd name="T9" fmla="*/ 813 h 836"/>
                <a:gd name="T10" fmla="*/ 66 w 73"/>
                <a:gd name="T11" fmla="*/ 820 h 836"/>
                <a:gd name="T12" fmla="*/ 63 w 73"/>
                <a:gd name="T13" fmla="*/ 825 h 836"/>
                <a:gd name="T14" fmla="*/ 58 w 73"/>
                <a:gd name="T15" fmla="*/ 830 h 836"/>
                <a:gd name="T16" fmla="*/ 51 w 73"/>
                <a:gd name="T17" fmla="*/ 834 h 836"/>
                <a:gd name="T18" fmla="*/ 44 w 73"/>
                <a:gd name="T19" fmla="*/ 836 h 836"/>
                <a:gd name="T20" fmla="*/ 37 w 73"/>
                <a:gd name="T21" fmla="*/ 836 h 836"/>
                <a:gd name="T22" fmla="*/ 37 w 73"/>
                <a:gd name="T23" fmla="*/ 836 h 836"/>
                <a:gd name="T24" fmla="*/ 30 w 73"/>
                <a:gd name="T25" fmla="*/ 836 h 836"/>
                <a:gd name="T26" fmla="*/ 23 w 73"/>
                <a:gd name="T27" fmla="*/ 834 h 836"/>
                <a:gd name="T28" fmla="*/ 16 w 73"/>
                <a:gd name="T29" fmla="*/ 830 h 836"/>
                <a:gd name="T30" fmla="*/ 11 w 73"/>
                <a:gd name="T31" fmla="*/ 825 h 836"/>
                <a:gd name="T32" fmla="*/ 6 w 73"/>
                <a:gd name="T33" fmla="*/ 820 h 836"/>
                <a:gd name="T34" fmla="*/ 2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2 w 73"/>
                <a:gd name="T47" fmla="*/ 23 h 836"/>
                <a:gd name="T48" fmla="*/ 6 w 73"/>
                <a:gd name="T49" fmla="*/ 16 h 836"/>
                <a:gd name="T50" fmla="*/ 11 w 73"/>
                <a:gd name="T51" fmla="*/ 11 h 836"/>
                <a:gd name="T52" fmla="*/ 16 w 73"/>
                <a:gd name="T53" fmla="*/ 7 h 836"/>
                <a:gd name="T54" fmla="*/ 23 w 73"/>
                <a:gd name="T55" fmla="*/ 4 h 836"/>
                <a:gd name="T56" fmla="*/ 30 w 73"/>
                <a:gd name="T57" fmla="*/ 2 h 836"/>
                <a:gd name="T58" fmla="*/ 37 w 73"/>
                <a:gd name="T59" fmla="*/ 0 h 836"/>
                <a:gd name="T60" fmla="*/ 37 w 73"/>
                <a:gd name="T61" fmla="*/ 0 h 836"/>
                <a:gd name="T62" fmla="*/ 44 w 73"/>
                <a:gd name="T63" fmla="*/ 2 h 836"/>
                <a:gd name="T64" fmla="*/ 51 w 73"/>
                <a:gd name="T65" fmla="*/ 4 h 836"/>
                <a:gd name="T66" fmla="*/ 58 w 73"/>
                <a:gd name="T67" fmla="*/ 7 h 836"/>
                <a:gd name="T68" fmla="*/ 63 w 73"/>
                <a:gd name="T69" fmla="*/ 11 h 836"/>
                <a:gd name="T70" fmla="*/ 66 w 73"/>
                <a:gd name="T71" fmla="*/ 16 h 836"/>
                <a:gd name="T72" fmla="*/ 70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70" y="813"/>
                  </a:lnTo>
                  <a:lnTo>
                    <a:pt x="66" y="820"/>
                  </a:lnTo>
                  <a:lnTo>
                    <a:pt x="63" y="825"/>
                  </a:lnTo>
                  <a:lnTo>
                    <a:pt x="58" y="830"/>
                  </a:lnTo>
                  <a:lnTo>
                    <a:pt x="51" y="834"/>
                  </a:lnTo>
                  <a:lnTo>
                    <a:pt x="44" y="836"/>
                  </a:lnTo>
                  <a:lnTo>
                    <a:pt x="37" y="836"/>
                  </a:lnTo>
                  <a:lnTo>
                    <a:pt x="37" y="836"/>
                  </a:lnTo>
                  <a:lnTo>
                    <a:pt x="30" y="836"/>
                  </a:lnTo>
                  <a:lnTo>
                    <a:pt x="23" y="834"/>
                  </a:lnTo>
                  <a:lnTo>
                    <a:pt x="16" y="830"/>
                  </a:lnTo>
                  <a:lnTo>
                    <a:pt x="11" y="825"/>
                  </a:lnTo>
                  <a:lnTo>
                    <a:pt x="6" y="820"/>
                  </a:lnTo>
                  <a:lnTo>
                    <a:pt x="2" y="813"/>
                  </a:lnTo>
                  <a:lnTo>
                    <a:pt x="0" y="806"/>
                  </a:lnTo>
                  <a:lnTo>
                    <a:pt x="0" y="799"/>
                  </a:lnTo>
                  <a:lnTo>
                    <a:pt x="0" y="36"/>
                  </a:lnTo>
                  <a:lnTo>
                    <a:pt x="0" y="36"/>
                  </a:lnTo>
                  <a:lnTo>
                    <a:pt x="0" y="30"/>
                  </a:lnTo>
                  <a:lnTo>
                    <a:pt x="2" y="23"/>
                  </a:lnTo>
                  <a:lnTo>
                    <a:pt x="6" y="16"/>
                  </a:lnTo>
                  <a:lnTo>
                    <a:pt x="11" y="11"/>
                  </a:lnTo>
                  <a:lnTo>
                    <a:pt x="16" y="7"/>
                  </a:lnTo>
                  <a:lnTo>
                    <a:pt x="23" y="4"/>
                  </a:lnTo>
                  <a:lnTo>
                    <a:pt x="30" y="2"/>
                  </a:lnTo>
                  <a:lnTo>
                    <a:pt x="37" y="0"/>
                  </a:lnTo>
                  <a:lnTo>
                    <a:pt x="37" y="0"/>
                  </a:lnTo>
                  <a:lnTo>
                    <a:pt x="44" y="2"/>
                  </a:lnTo>
                  <a:lnTo>
                    <a:pt x="51" y="4"/>
                  </a:lnTo>
                  <a:lnTo>
                    <a:pt x="58" y="7"/>
                  </a:lnTo>
                  <a:lnTo>
                    <a:pt x="63" y="11"/>
                  </a:lnTo>
                  <a:lnTo>
                    <a:pt x="66" y="16"/>
                  </a:lnTo>
                  <a:lnTo>
                    <a:pt x="70" y="23"/>
                  </a:lnTo>
                  <a:lnTo>
                    <a:pt x="71" y="30"/>
                  </a:lnTo>
                  <a:lnTo>
                    <a:pt x="73" y="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60" name="Freeform 117">
              <a:extLst>
                <a:ext uri="{FF2B5EF4-FFF2-40B4-BE49-F238E27FC236}">
                  <a16:creationId xmlns:a16="http://schemas.microsoft.com/office/drawing/2014/main" id="{48B0FBB2-EA07-47E9-B390-DE9994413B09}"/>
                </a:ext>
              </a:extLst>
            </p:cNvPr>
            <p:cNvSpPr>
              <a:spLocks/>
            </p:cNvSpPr>
            <p:nvPr/>
          </p:nvSpPr>
          <p:spPr bwMode="auto">
            <a:xfrm>
              <a:off x="9337321" y="-152920"/>
              <a:ext cx="40682" cy="465159"/>
            </a:xfrm>
            <a:custGeom>
              <a:avLst/>
              <a:gdLst>
                <a:gd name="T0" fmla="*/ 73 w 73"/>
                <a:gd name="T1" fmla="*/ 36 h 836"/>
                <a:gd name="T2" fmla="*/ 73 w 73"/>
                <a:gd name="T3" fmla="*/ 799 h 836"/>
                <a:gd name="T4" fmla="*/ 73 w 73"/>
                <a:gd name="T5" fmla="*/ 799 h 836"/>
                <a:gd name="T6" fmla="*/ 73 w 73"/>
                <a:gd name="T7" fmla="*/ 806 h 836"/>
                <a:gd name="T8" fmla="*/ 69 w 73"/>
                <a:gd name="T9" fmla="*/ 813 h 836"/>
                <a:gd name="T10" fmla="*/ 67 w 73"/>
                <a:gd name="T11" fmla="*/ 820 h 836"/>
                <a:gd name="T12" fmla="*/ 62 w 73"/>
                <a:gd name="T13" fmla="*/ 825 h 836"/>
                <a:gd name="T14" fmla="*/ 57 w 73"/>
                <a:gd name="T15" fmla="*/ 830 h 836"/>
                <a:gd name="T16" fmla="*/ 50 w 73"/>
                <a:gd name="T17" fmla="*/ 834 h 836"/>
                <a:gd name="T18" fmla="*/ 43 w 73"/>
                <a:gd name="T19" fmla="*/ 836 h 836"/>
                <a:gd name="T20" fmla="*/ 36 w 73"/>
                <a:gd name="T21" fmla="*/ 836 h 836"/>
                <a:gd name="T22" fmla="*/ 36 w 73"/>
                <a:gd name="T23" fmla="*/ 836 h 836"/>
                <a:gd name="T24" fmla="*/ 29 w 73"/>
                <a:gd name="T25" fmla="*/ 836 h 836"/>
                <a:gd name="T26" fmla="*/ 23 w 73"/>
                <a:gd name="T27" fmla="*/ 834 h 836"/>
                <a:gd name="T28" fmla="*/ 16 w 73"/>
                <a:gd name="T29" fmla="*/ 830 h 836"/>
                <a:gd name="T30" fmla="*/ 10 w 73"/>
                <a:gd name="T31" fmla="*/ 825 h 836"/>
                <a:gd name="T32" fmla="*/ 7 w 73"/>
                <a:gd name="T33" fmla="*/ 820 h 836"/>
                <a:gd name="T34" fmla="*/ 3 w 73"/>
                <a:gd name="T35" fmla="*/ 813 h 836"/>
                <a:gd name="T36" fmla="*/ 2 w 73"/>
                <a:gd name="T37" fmla="*/ 806 h 836"/>
                <a:gd name="T38" fmla="*/ 0 w 73"/>
                <a:gd name="T39" fmla="*/ 799 h 836"/>
                <a:gd name="T40" fmla="*/ 0 w 73"/>
                <a:gd name="T41" fmla="*/ 36 h 836"/>
                <a:gd name="T42" fmla="*/ 0 w 73"/>
                <a:gd name="T43" fmla="*/ 36 h 836"/>
                <a:gd name="T44" fmla="*/ 2 w 73"/>
                <a:gd name="T45" fmla="*/ 30 h 836"/>
                <a:gd name="T46" fmla="*/ 3 w 73"/>
                <a:gd name="T47" fmla="*/ 23 h 836"/>
                <a:gd name="T48" fmla="*/ 7 w 73"/>
                <a:gd name="T49" fmla="*/ 16 h 836"/>
                <a:gd name="T50" fmla="*/ 10 w 73"/>
                <a:gd name="T51" fmla="*/ 11 h 836"/>
                <a:gd name="T52" fmla="*/ 16 w 73"/>
                <a:gd name="T53" fmla="*/ 7 h 836"/>
                <a:gd name="T54" fmla="*/ 23 w 73"/>
                <a:gd name="T55" fmla="*/ 4 h 836"/>
                <a:gd name="T56" fmla="*/ 29 w 73"/>
                <a:gd name="T57" fmla="*/ 2 h 836"/>
                <a:gd name="T58" fmla="*/ 36 w 73"/>
                <a:gd name="T59" fmla="*/ 0 h 836"/>
                <a:gd name="T60" fmla="*/ 36 w 73"/>
                <a:gd name="T61" fmla="*/ 0 h 836"/>
                <a:gd name="T62" fmla="*/ 43 w 73"/>
                <a:gd name="T63" fmla="*/ 2 h 836"/>
                <a:gd name="T64" fmla="*/ 50 w 73"/>
                <a:gd name="T65" fmla="*/ 4 h 836"/>
                <a:gd name="T66" fmla="*/ 57 w 73"/>
                <a:gd name="T67" fmla="*/ 7 h 836"/>
                <a:gd name="T68" fmla="*/ 62 w 73"/>
                <a:gd name="T69" fmla="*/ 11 h 836"/>
                <a:gd name="T70" fmla="*/ 67 w 73"/>
                <a:gd name="T71" fmla="*/ 16 h 836"/>
                <a:gd name="T72" fmla="*/ 69 w 73"/>
                <a:gd name="T73" fmla="*/ 23 h 836"/>
                <a:gd name="T74" fmla="*/ 73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3" y="806"/>
                  </a:lnTo>
                  <a:lnTo>
                    <a:pt x="69" y="813"/>
                  </a:lnTo>
                  <a:lnTo>
                    <a:pt x="67" y="820"/>
                  </a:lnTo>
                  <a:lnTo>
                    <a:pt x="62" y="825"/>
                  </a:lnTo>
                  <a:lnTo>
                    <a:pt x="57" y="830"/>
                  </a:lnTo>
                  <a:lnTo>
                    <a:pt x="50" y="834"/>
                  </a:lnTo>
                  <a:lnTo>
                    <a:pt x="43" y="836"/>
                  </a:lnTo>
                  <a:lnTo>
                    <a:pt x="36" y="836"/>
                  </a:lnTo>
                  <a:lnTo>
                    <a:pt x="36" y="836"/>
                  </a:lnTo>
                  <a:lnTo>
                    <a:pt x="29" y="836"/>
                  </a:lnTo>
                  <a:lnTo>
                    <a:pt x="23" y="834"/>
                  </a:lnTo>
                  <a:lnTo>
                    <a:pt x="16" y="830"/>
                  </a:lnTo>
                  <a:lnTo>
                    <a:pt x="10" y="825"/>
                  </a:lnTo>
                  <a:lnTo>
                    <a:pt x="7" y="820"/>
                  </a:lnTo>
                  <a:lnTo>
                    <a:pt x="3" y="813"/>
                  </a:lnTo>
                  <a:lnTo>
                    <a:pt x="2" y="806"/>
                  </a:lnTo>
                  <a:lnTo>
                    <a:pt x="0" y="799"/>
                  </a:lnTo>
                  <a:lnTo>
                    <a:pt x="0" y="36"/>
                  </a:lnTo>
                  <a:lnTo>
                    <a:pt x="0" y="36"/>
                  </a:lnTo>
                  <a:lnTo>
                    <a:pt x="2" y="30"/>
                  </a:lnTo>
                  <a:lnTo>
                    <a:pt x="3" y="23"/>
                  </a:lnTo>
                  <a:lnTo>
                    <a:pt x="7" y="16"/>
                  </a:lnTo>
                  <a:lnTo>
                    <a:pt x="10" y="11"/>
                  </a:lnTo>
                  <a:lnTo>
                    <a:pt x="16" y="7"/>
                  </a:lnTo>
                  <a:lnTo>
                    <a:pt x="23" y="4"/>
                  </a:lnTo>
                  <a:lnTo>
                    <a:pt x="29" y="2"/>
                  </a:lnTo>
                  <a:lnTo>
                    <a:pt x="36" y="0"/>
                  </a:lnTo>
                  <a:lnTo>
                    <a:pt x="36" y="0"/>
                  </a:lnTo>
                  <a:lnTo>
                    <a:pt x="43" y="2"/>
                  </a:lnTo>
                  <a:lnTo>
                    <a:pt x="50" y="4"/>
                  </a:lnTo>
                  <a:lnTo>
                    <a:pt x="57" y="7"/>
                  </a:lnTo>
                  <a:lnTo>
                    <a:pt x="62" y="11"/>
                  </a:lnTo>
                  <a:lnTo>
                    <a:pt x="67" y="16"/>
                  </a:lnTo>
                  <a:lnTo>
                    <a:pt x="69" y="23"/>
                  </a:lnTo>
                  <a:lnTo>
                    <a:pt x="73" y="30"/>
                  </a:lnTo>
                  <a:lnTo>
                    <a:pt x="7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61" name="Freeform 118">
              <a:extLst>
                <a:ext uri="{FF2B5EF4-FFF2-40B4-BE49-F238E27FC236}">
                  <a16:creationId xmlns:a16="http://schemas.microsoft.com/office/drawing/2014/main" id="{AC3DCB12-8054-4B3F-924D-887C0B58C7CF}"/>
                </a:ext>
              </a:extLst>
            </p:cNvPr>
            <p:cNvSpPr>
              <a:spLocks/>
            </p:cNvSpPr>
            <p:nvPr/>
          </p:nvSpPr>
          <p:spPr bwMode="auto">
            <a:xfrm>
              <a:off x="9337321" y="-152920"/>
              <a:ext cx="40682" cy="465159"/>
            </a:xfrm>
            <a:custGeom>
              <a:avLst/>
              <a:gdLst>
                <a:gd name="T0" fmla="*/ 73 w 73"/>
                <a:gd name="T1" fmla="*/ 36 h 836"/>
                <a:gd name="T2" fmla="*/ 73 w 73"/>
                <a:gd name="T3" fmla="*/ 799 h 836"/>
                <a:gd name="T4" fmla="*/ 73 w 73"/>
                <a:gd name="T5" fmla="*/ 799 h 836"/>
                <a:gd name="T6" fmla="*/ 73 w 73"/>
                <a:gd name="T7" fmla="*/ 806 h 836"/>
                <a:gd name="T8" fmla="*/ 69 w 73"/>
                <a:gd name="T9" fmla="*/ 813 h 836"/>
                <a:gd name="T10" fmla="*/ 67 w 73"/>
                <a:gd name="T11" fmla="*/ 820 h 836"/>
                <a:gd name="T12" fmla="*/ 62 w 73"/>
                <a:gd name="T13" fmla="*/ 825 h 836"/>
                <a:gd name="T14" fmla="*/ 57 w 73"/>
                <a:gd name="T15" fmla="*/ 830 h 836"/>
                <a:gd name="T16" fmla="*/ 50 w 73"/>
                <a:gd name="T17" fmla="*/ 834 h 836"/>
                <a:gd name="T18" fmla="*/ 43 w 73"/>
                <a:gd name="T19" fmla="*/ 836 h 836"/>
                <a:gd name="T20" fmla="*/ 36 w 73"/>
                <a:gd name="T21" fmla="*/ 836 h 836"/>
                <a:gd name="T22" fmla="*/ 36 w 73"/>
                <a:gd name="T23" fmla="*/ 836 h 836"/>
                <a:gd name="T24" fmla="*/ 29 w 73"/>
                <a:gd name="T25" fmla="*/ 836 h 836"/>
                <a:gd name="T26" fmla="*/ 23 w 73"/>
                <a:gd name="T27" fmla="*/ 834 h 836"/>
                <a:gd name="T28" fmla="*/ 16 w 73"/>
                <a:gd name="T29" fmla="*/ 830 h 836"/>
                <a:gd name="T30" fmla="*/ 10 w 73"/>
                <a:gd name="T31" fmla="*/ 825 h 836"/>
                <a:gd name="T32" fmla="*/ 7 w 73"/>
                <a:gd name="T33" fmla="*/ 820 h 836"/>
                <a:gd name="T34" fmla="*/ 3 w 73"/>
                <a:gd name="T35" fmla="*/ 813 h 836"/>
                <a:gd name="T36" fmla="*/ 2 w 73"/>
                <a:gd name="T37" fmla="*/ 806 h 836"/>
                <a:gd name="T38" fmla="*/ 0 w 73"/>
                <a:gd name="T39" fmla="*/ 799 h 836"/>
                <a:gd name="T40" fmla="*/ 0 w 73"/>
                <a:gd name="T41" fmla="*/ 36 h 836"/>
                <a:gd name="T42" fmla="*/ 0 w 73"/>
                <a:gd name="T43" fmla="*/ 36 h 836"/>
                <a:gd name="T44" fmla="*/ 2 w 73"/>
                <a:gd name="T45" fmla="*/ 30 h 836"/>
                <a:gd name="T46" fmla="*/ 3 w 73"/>
                <a:gd name="T47" fmla="*/ 23 h 836"/>
                <a:gd name="T48" fmla="*/ 7 w 73"/>
                <a:gd name="T49" fmla="*/ 16 h 836"/>
                <a:gd name="T50" fmla="*/ 10 w 73"/>
                <a:gd name="T51" fmla="*/ 11 h 836"/>
                <a:gd name="T52" fmla="*/ 16 w 73"/>
                <a:gd name="T53" fmla="*/ 7 h 836"/>
                <a:gd name="T54" fmla="*/ 23 w 73"/>
                <a:gd name="T55" fmla="*/ 4 h 836"/>
                <a:gd name="T56" fmla="*/ 29 w 73"/>
                <a:gd name="T57" fmla="*/ 2 h 836"/>
                <a:gd name="T58" fmla="*/ 36 w 73"/>
                <a:gd name="T59" fmla="*/ 0 h 836"/>
                <a:gd name="T60" fmla="*/ 36 w 73"/>
                <a:gd name="T61" fmla="*/ 0 h 836"/>
                <a:gd name="T62" fmla="*/ 43 w 73"/>
                <a:gd name="T63" fmla="*/ 2 h 836"/>
                <a:gd name="T64" fmla="*/ 50 w 73"/>
                <a:gd name="T65" fmla="*/ 4 h 836"/>
                <a:gd name="T66" fmla="*/ 57 w 73"/>
                <a:gd name="T67" fmla="*/ 7 h 836"/>
                <a:gd name="T68" fmla="*/ 62 w 73"/>
                <a:gd name="T69" fmla="*/ 11 h 836"/>
                <a:gd name="T70" fmla="*/ 67 w 73"/>
                <a:gd name="T71" fmla="*/ 16 h 836"/>
                <a:gd name="T72" fmla="*/ 69 w 73"/>
                <a:gd name="T73" fmla="*/ 23 h 836"/>
                <a:gd name="T74" fmla="*/ 73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3" y="806"/>
                  </a:lnTo>
                  <a:lnTo>
                    <a:pt x="69" y="813"/>
                  </a:lnTo>
                  <a:lnTo>
                    <a:pt x="67" y="820"/>
                  </a:lnTo>
                  <a:lnTo>
                    <a:pt x="62" y="825"/>
                  </a:lnTo>
                  <a:lnTo>
                    <a:pt x="57" y="830"/>
                  </a:lnTo>
                  <a:lnTo>
                    <a:pt x="50" y="834"/>
                  </a:lnTo>
                  <a:lnTo>
                    <a:pt x="43" y="836"/>
                  </a:lnTo>
                  <a:lnTo>
                    <a:pt x="36" y="836"/>
                  </a:lnTo>
                  <a:lnTo>
                    <a:pt x="36" y="836"/>
                  </a:lnTo>
                  <a:lnTo>
                    <a:pt x="29" y="836"/>
                  </a:lnTo>
                  <a:lnTo>
                    <a:pt x="23" y="834"/>
                  </a:lnTo>
                  <a:lnTo>
                    <a:pt x="16" y="830"/>
                  </a:lnTo>
                  <a:lnTo>
                    <a:pt x="10" y="825"/>
                  </a:lnTo>
                  <a:lnTo>
                    <a:pt x="7" y="820"/>
                  </a:lnTo>
                  <a:lnTo>
                    <a:pt x="3" y="813"/>
                  </a:lnTo>
                  <a:lnTo>
                    <a:pt x="2" y="806"/>
                  </a:lnTo>
                  <a:lnTo>
                    <a:pt x="0" y="799"/>
                  </a:lnTo>
                  <a:lnTo>
                    <a:pt x="0" y="36"/>
                  </a:lnTo>
                  <a:lnTo>
                    <a:pt x="0" y="36"/>
                  </a:lnTo>
                  <a:lnTo>
                    <a:pt x="2" y="30"/>
                  </a:lnTo>
                  <a:lnTo>
                    <a:pt x="3" y="23"/>
                  </a:lnTo>
                  <a:lnTo>
                    <a:pt x="7" y="16"/>
                  </a:lnTo>
                  <a:lnTo>
                    <a:pt x="10" y="11"/>
                  </a:lnTo>
                  <a:lnTo>
                    <a:pt x="16" y="7"/>
                  </a:lnTo>
                  <a:lnTo>
                    <a:pt x="23" y="4"/>
                  </a:lnTo>
                  <a:lnTo>
                    <a:pt x="29" y="2"/>
                  </a:lnTo>
                  <a:lnTo>
                    <a:pt x="36" y="0"/>
                  </a:lnTo>
                  <a:lnTo>
                    <a:pt x="36" y="0"/>
                  </a:lnTo>
                  <a:lnTo>
                    <a:pt x="43" y="2"/>
                  </a:lnTo>
                  <a:lnTo>
                    <a:pt x="50" y="4"/>
                  </a:lnTo>
                  <a:lnTo>
                    <a:pt x="57" y="7"/>
                  </a:lnTo>
                  <a:lnTo>
                    <a:pt x="62" y="11"/>
                  </a:lnTo>
                  <a:lnTo>
                    <a:pt x="67" y="16"/>
                  </a:lnTo>
                  <a:lnTo>
                    <a:pt x="69" y="23"/>
                  </a:lnTo>
                  <a:lnTo>
                    <a:pt x="73" y="30"/>
                  </a:lnTo>
                  <a:lnTo>
                    <a:pt x="73" y="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62" name="Freeform 119">
              <a:extLst>
                <a:ext uri="{FF2B5EF4-FFF2-40B4-BE49-F238E27FC236}">
                  <a16:creationId xmlns:a16="http://schemas.microsoft.com/office/drawing/2014/main" id="{874A1987-0C49-4FDA-9318-63DC4436545A}"/>
                </a:ext>
              </a:extLst>
            </p:cNvPr>
            <p:cNvSpPr>
              <a:spLocks/>
            </p:cNvSpPr>
            <p:nvPr/>
          </p:nvSpPr>
          <p:spPr bwMode="auto">
            <a:xfrm>
              <a:off x="9481101" y="13447"/>
              <a:ext cx="40124" cy="132982"/>
            </a:xfrm>
            <a:custGeom>
              <a:avLst/>
              <a:gdLst>
                <a:gd name="T0" fmla="*/ 72 w 72"/>
                <a:gd name="T1" fmla="*/ 37 h 239"/>
                <a:gd name="T2" fmla="*/ 72 w 72"/>
                <a:gd name="T3" fmla="*/ 203 h 239"/>
                <a:gd name="T4" fmla="*/ 72 w 72"/>
                <a:gd name="T5" fmla="*/ 203 h 239"/>
                <a:gd name="T6" fmla="*/ 72 w 72"/>
                <a:gd name="T7" fmla="*/ 210 h 239"/>
                <a:gd name="T8" fmla="*/ 71 w 72"/>
                <a:gd name="T9" fmla="*/ 217 h 239"/>
                <a:gd name="T10" fmla="*/ 67 w 72"/>
                <a:gd name="T11" fmla="*/ 222 h 239"/>
                <a:gd name="T12" fmla="*/ 62 w 72"/>
                <a:gd name="T13" fmla="*/ 227 h 239"/>
                <a:gd name="T14" fmla="*/ 57 w 72"/>
                <a:gd name="T15" fmla="*/ 232 h 239"/>
                <a:gd name="T16" fmla="*/ 51 w 72"/>
                <a:gd name="T17" fmla="*/ 236 h 239"/>
                <a:gd name="T18" fmla="*/ 45 w 72"/>
                <a:gd name="T19" fmla="*/ 237 h 239"/>
                <a:gd name="T20" fmla="*/ 36 w 72"/>
                <a:gd name="T21" fmla="*/ 239 h 239"/>
                <a:gd name="T22" fmla="*/ 36 w 72"/>
                <a:gd name="T23" fmla="*/ 239 h 239"/>
                <a:gd name="T24" fmla="*/ 29 w 72"/>
                <a:gd name="T25" fmla="*/ 237 h 239"/>
                <a:gd name="T26" fmla="*/ 22 w 72"/>
                <a:gd name="T27" fmla="*/ 236 h 239"/>
                <a:gd name="T28" fmla="*/ 17 w 72"/>
                <a:gd name="T29" fmla="*/ 232 h 239"/>
                <a:gd name="T30" fmla="*/ 12 w 72"/>
                <a:gd name="T31" fmla="*/ 227 h 239"/>
                <a:gd name="T32" fmla="*/ 7 w 72"/>
                <a:gd name="T33" fmla="*/ 222 h 239"/>
                <a:gd name="T34" fmla="*/ 3 w 72"/>
                <a:gd name="T35" fmla="*/ 217 h 239"/>
                <a:gd name="T36" fmla="*/ 1 w 72"/>
                <a:gd name="T37" fmla="*/ 210 h 239"/>
                <a:gd name="T38" fmla="*/ 0 w 72"/>
                <a:gd name="T39" fmla="*/ 203 h 239"/>
                <a:gd name="T40" fmla="*/ 0 w 72"/>
                <a:gd name="T41" fmla="*/ 37 h 239"/>
                <a:gd name="T42" fmla="*/ 0 w 72"/>
                <a:gd name="T43" fmla="*/ 37 h 239"/>
                <a:gd name="T44" fmla="*/ 1 w 72"/>
                <a:gd name="T45" fmla="*/ 30 h 239"/>
                <a:gd name="T46" fmla="*/ 3 w 72"/>
                <a:gd name="T47" fmla="*/ 23 h 239"/>
                <a:gd name="T48" fmla="*/ 7 w 72"/>
                <a:gd name="T49" fmla="*/ 16 h 239"/>
                <a:gd name="T50" fmla="*/ 12 w 72"/>
                <a:gd name="T51" fmla="*/ 11 h 239"/>
                <a:gd name="T52" fmla="*/ 17 w 72"/>
                <a:gd name="T53" fmla="*/ 6 h 239"/>
                <a:gd name="T54" fmla="*/ 22 w 72"/>
                <a:gd name="T55" fmla="*/ 4 h 239"/>
                <a:gd name="T56" fmla="*/ 29 w 72"/>
                <a:gd name="T57" fmla="*/ 0 h 239"/>
                <a:gd name="T58" fmla="*/ 36 w 72"/>
                <a:gd name="T59" fmla="*/ 0 h 239"/>
                <a:gd name="T60" fmla="*/ 36 w 72"/>
                <a:gd name="T61" fmla="*/ 0 h 239"/>
                <a:gd name="T62" fmla="*/ 45 w 72"/>
                <a:gd name="T63" fmla="*/ 0 h 239"/>
                <a:gd name="T64" fmla="*/ 51 w 72"/>
                <a:gd name="T65" fmla="*/ 4 h 239"/>
                <a:gd name="T66" fmla="*/ 57 w 72"/>
                <a:gd name="T67" fmla="*/ 6 h 239"/>
                <a:gd name="T68" fmla="*/ 62 w 72"/>
                <a:gd name="T69" fmla="*/ 11 h 239"/>
                <a:gd name="T70" fmla="*/ 67 w 72"/>
                <a:gd name="T71" fmla="*/ 16 h 239"/>
                <a:gd name="T72" fmla="*/ 71 w 72"/>
                <a:gd name="T73" fmla="*/ 23 h 239"/>
                <a:gd name="T74" fmla="*/ 72 w 72"/>
                <a:gd name="T75" fmla="*/ 30 h 239"/>
                <a:gd name="T76" fmla="*/ 72 w 72"/>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239">
                  <a:moveTo>
                    <a:pt x="72" y="37"/>
                  </a:moveTo>
                  <a:lnTo>
                    <a:pt x="72" y="203"/>
                  </a:lnTo>
                  <a:lnTo>
                    <a:pt x="72" y="203"/>
                  </a:lnTo>
                  <a:lnTo>
                    <a:pt x="72" y="210"/>
                  </a:lnTo>
                  <a:lnTo>
                    <a:pt x="71" y="217"/>
                  </a:lnTo>
                  <a:lnTo>
                    <a:pt x="67" y="222"/>
                  </a:lnTo>
                  <a:lnTo>
                    <a:pt x="62" y="227"/>
                  </a:lnTo>
                  <a:lnTo>
                    <a:pt x="57" y="232"/>
                  </a:lnTo>
                  <a:lnTo>
                    <a:pt x="51" y="236"/>
                  </a:lnTo>
                  <a:lnTo>
                    <a:pt x="45" y="237"/>
                  </a:lnTo>
                  <a:lnTo>
                    <a:pt x="36" y="239"/>
                  </a:lnTo>
                  <a:lnTo>
                    <a:pt x="36" y="239"/>
                  </a:lnTo>
                  <a:lnTo>
                    <a:pt x="29" y="237"/>
                  </a:lnTo>
                  <a:lnTo>
                    <a:pt x="22" y="236"/>
                  </a:lnTo>
                  <a:lnTo>
                    <a:pt x="17" y="232"/>
                  </a:lnTo>
                  <a:lnTo>
                    <a:pt x="12" y="227"/>
                  </a:lnTo>
                  <a:lnTo>
                    <a:pt x="7" y="222"/>
                  </a:lnTo>
                  <a:lnTo>
                    <a:pt x="3" y="217"/>
                  </a:lnTo>
                  <a:lnTo>
                    <a:pt x="1" y="210"/>
                  </a:lnTo>
                  <a:lnTo>
                    <a:pt x="0" y="203"/>
                  </a:lnTo>
                  <a:lnTo>
                    <a:pt x="0" y="37"/>
                  </a:lnTo>
                  <a:lnTo>
                    <a:pt x="0" y="37"/>
                  </a:lnTo>
                  <a:lnTo>
                    <a:pt x="1" y="30"/>
                  </a:lnTo>
                  <a:lnTo>
                    <a:pt x="3" y="23"/>
                  </a:lnTo>
                  <a:lnTo>
                    <a:pt x="7" y="16"/>
                  </a:lnTo>
                  <a:lnTo>
                    <a:pt x="12" y="11"/>
                  </a:lnTo>
                  <a:lnTo>
                    <a:pt x="17" y="6"/>
                  </a:lnTo>
                  <a:lnTo>
                    <a:pt x="22" y="4"/>
                  </a:lnTo>
                  <a:lnTo>
                    <a:pt x="29" y="0"/>
                  </a:lnTo>
                  <a:lnTo>
                    <a:pt x="36" y="0"/>
                  </a:lnTo>
                  <a:lnTo>
                    <a:pt x="36" y="0"/>
                  </a:lnTo>
                  <a:lnTo>
                    <a:pt x="45" y="0"/>
                  </a:lnTo>
                  <a:lnTo>
                    <a:pt x="51" y="4"/>
                  </a:lnTo>
                  <a:lnTo>
                    <a:pt x="57" y="6"/>
                  </a:lnTo>
                  <a:lnTo>
                    <a:pt x="62" y="11"/>
                  </a:lnTo>
                  <a:lnTo>
                    <a:pt x="67" y="16"/>
                  </a:lnTo>
                  <a:lnTo>
                    <a:pt x="71" y="23"/>
                  </a:lnTo>
                  <a:lnTo>
                    <a:pt x="72" y="30"/>
                  </a:lnTo>
                  <a:lnTo>
                    <a:pt x="72"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63" name="Freeform 120">
              <a:extLst>
                <a:ext uri="{FF2B5EF4-FFF2-40B4-BE49-F238E27FC236}">
                  <a16:creationId xmlns:a16="http://schemas.microsoft.com/office/drawing/2014/main" id="{32E71997-C602-451B-AAB7-FB8012008FAD}"/>
                </a:ext>
              </a:extLst>
            </p:cNvPr>
            <p:cNvSpPr>
              <a:spLocks/>
            </p:cNvSpPr>
            <p:nvPr/>
          </p:nvSpPr>
          <p:spPr bwMode="auto">
            <a:xfrm>
              <a:off x="9481101" y="13447"/>
              <a:ext cx="40124" cy="132982"/>
            </a:xfrm>
            <a:custGeom>
              <a:avLst/>
              <a:gdLst>
                <a:gd name="T0" fmla="*/ 72 w 72"/>
                <a:gd name="T1" fmla="*/ 37 h 239"/>
                <a:gd name="T2" fmla="*/ 72 w 72"/>
                <a:gd name="T3" fmla="*/ 203 h 239"/>
                <a:gd name="T4" fmla="*/ 72 w 72"/>
                <a:gd name="T5" fmla="*/ 203 h 239"/>
                <a:gd name="T6" fmla="*/ 72 w 72"/>
                <a:gd name="T7" fmla="*/ 210 h 239"/>
                <a:gd name="T8" fmla="*/ 71 w 72"/>
                <a:gd name="T9" fmla="*/ 217 h 239"/>
                <a:gd name="T10" fmla="*/ 67 w 72"/>
                <a:gd name="T11" fmla="*/ 222 h 239"/>
                <a:gd name="T12" fmla="*/ 62 w 72"/>
                <a:gd name="T13" fmla="*/ 227 h 239"/>
                <a:gd name="T14" fmla="*/ 57 w 72"/>
                <a:gd name="T15" fmla="*/ 232 h 239"/>
                <a:gd name="T16" fmla="*/ 51 w 72"/>
                <a:gd name="T17" fmla="*/ 236 h 239"/>
                <a:gd name="T18" fmla="*/ 45 w 72"/>
                <a:gd name="T19" fmla="*/ 237 h 239"/>
                <a:gd name="T20" fmla="*/ 36 w 72"/>
                <a:gd name="T21" fmla="*/ 239 h 239"/>
                <a:gd name="T22" fmla="*/ 36 w 72"/>
                <a:gd name="T23" fmla="*/ 239 h 239"/>
                <a:gd name="T24" fmla="*/ 29 w 72"/>
                <a:gd name="T25" fmla="*/ 237 h 239"/>
                <a:gd name="T26" fmla="*/ 22 w 72"/>
                <a:gd name="T27" fmla="*/ 236 h 239"/>
                <a:gd name="T28" fmla="*/ 17 w 72"/>
                <a:gd name="T29" fmla="*/ 232 h 239"/>
                <a:gd name="T30" fmla="*/ 12 w 72"/>
                <a:gd name="T31" fmla="*/ 227 h 239"/>
                <a:gd name="T32" fmla="*/ 7 w 72"/>
                <a:gd name="T33" fmla="*/ 222 h 239"/>
                <a:gd name="T34" fmla="*/ 3 w 72"/>
                <a:gd name="T35" fmla="*/ 217 h 239"/>
                <a:gd name="T36" fmla="*/ 1 w 72"/>
                <a:gd name="T37" fmla="*/ 210 h 239"/>
                <a:gd name="T38" fmla="*/ 0 w 72"/>
                <a:gd name="T39" fmla="*/ 203 h 239"/>
                <a:gd name="T40" fmla="*/ 0 w 72"/>
                <a:gd name="T41" fmla="*/ 37 h 239"/>
                <a:gd name="T42" fmla="*/ 0 w 72"/>
                <a:gd name="T43" fmla="*/ 37 h 239"/>
                <a:gd name="T44" fmla="*/ 1 w 72"/>
                <a:gd name="T45" fmla="*/ 30 h 239"/>
                <a:gd name="T46" fmla="*/ 3 w 72"/>
                <a:gd name="T47" fmla="*/ 23 h 239"/>
                <a:gd name="T48" fmla="*/ 7 w 72"/>
                <a:gd name="T49" fmla="*/ 16 h 239"/>
                <a:gd name="T50" fmla="*/ 12 w 72"/>
                <a:gd name="T51" fmla="*/ 11 h 239"/>
                <a:gd name="T52" fmla="*/ 17 w 72"/>
                <a:gd name="T53" fmla="*/ 6 h 239"/>
                <a:gd name="T54" fmla="*/ 22 w 72"/>
                <a:gd name="T55" fmla="*/ 4 h 239"/>
                <a:gd name="T56" fmla="*/ 29 w 72"/>
                <a:gd name="T57" fmla="*/ 0 h 239"/>
                <a:gd name="T58" fmla="*/ 36 w 72"/>
                <a:gd name="T59" fmla="*/ 0 h 239"/>
                <a:gd name="T60" fmla="*/ 36 w 72"/>
                <a:gd name="T61" fmla="*/ 0 h 239"/>
                <a:gd name="T62" fmla="*/ 45 w 72"/>
                <a:gd name="T63" fmla="*/ 0 h 239"/>
                <a:gd name="T64" fmla="*/ 51 w 72"/>
                <a:gd name="T65" fmla="*/ 4 h 239"/>
                <a:gd name="T66" fmla="*/ 57 w 72"/>
                <a:gd name="T67" fmla="*/ 6 h 239"/>
                <a:gd name="T68" fmla="*/ 62 w 72"/>
                <a:gd name="T69" fmla="*/ 11 h 239"/>
                <a:gd name="T70" fmla="*/ 67 w 72"/>
                <a:gd name="T71" fmla="*/ 16 h 239"/>
                <a:gd name="T72" fmla="*/ 71 w 72"/>
                <a:gd name="T73" fmla="*/ 23 h 239"/>
                <a:gd name="T74" fmla="*/ 72 w 72"/>
                <a:gd name="T75" fmla="*/ 30 h 239"/>
                <a:gd name="T76" fmla="*/ 72 w 72"/>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239">
                  <a:moveTo>
                    <a:pt x="72" y="37"/>
                  </a:moveTo>
                  <a:lnTo>
                    <a:pt x="72" y="203"/>
                  </a:lnTo>
                  <a:lnTo>
                    <a:pt x="72" y="203"/>
                  </a:lnTo>
                  <a:lnTo>
                    <a:pt x="72" y="210"/>
                  </a:lnTo>
                  <a:lnTo>
                    <a:pt x="71" y="217"/>
                  </a:lnTo>
                  <a:lnTo>
                    <a:pt x="67" y="222"/>
                  </a:lnTo>
                  <a:lnTo>
                    <a:pt x="62" y="227"/>
                  </a:lnTo>
                  <a:lnTo>
                    <a:pt x="57" y="232"/>
                  </a:lnTo>
                  <a:lnTo>
                    <a:pt x="51" y="236"/>
                  </a:lnTo>
                  <a:lnTo>
                    <a:pt x="45" y="237"/>
                  </a:lnTo>
                  <a:lnTo>
                    <a:pt x="36" y="239"/>
                  </a:lnTo>
                  <a:lnTo>
                    <a:pt x="36" y="239"/>
                  </a:lnTo>
                  <a:lnTo>
                    <a:pt x="29" y="237"/>
                  </a:lnTo>
                  <a:lnTo>
                    <a:pt x="22" y="236"/>
                  </a:lnTo>
                  <a:lnTo>
                    <a:pt x="17" y="232"/>
                  </a:lnTo>
                  <a:lnTo>
                    <a:pt x="12" y="227"/>
                  </a:lnTo>
                  <a:lnTo>
                    <a:pt x="7" y="222"/>
                  </a:lnTo>
                  <a:lnTo>
                    <a:pt x="3" y="217"/>
                  </a:lnTo>
                  <a:lnTo>
                    <a:pt x="1" y="210"/>
                  </a:lnTo>
                  <a:lnTo>
                    <a:pt x="0" y="203"/>
                  </a:lnTo>
                  <a:lnTo>
                    <a:pt x="0" y="37"/>
                  </a:lnTo>
                  <a:lnTo>
                    <a:pt x="0" y="37"/>
                  </a:lnTo>
                  <a:lnTo>
                    <a:pt x="1" y="30"/>
                  </a:lnTo>
                  <a:lnTo>
                    <a:pt x="3" y="23"/>
                  </a:lnTo>
                  <a:lnTo>
                    <a:pt x="7" y="16"/>
                  </a:lnTo>
                  <a:lnTo>
                    <a:pt x="12" y="11"/>
                  </a:lnTo>
                  <a:lnTo>
                    <a:pt x="17" y="6"/>
                  </a:lnTo>
                  <a:lnTo>
                    <a:pt x="22" y="4"/>
                  </a:lnTo>
                  <a:lnTo>
                    <a:pt x="29" y="0"/>
                  </a:lnTo>
                  <a:lnTo>
                    <a:pt x="36" y="0"/>
                  </a:lnTo>
                  <a:lnTo>
                    <a:pt x="36" y="0"/>
                  </a:lnTo>
                  <a:lnTo>
                    <a:pt x="45" y="0"/>
                  </a:lnTo>
                  <a:lnTo>
                    <a:pt x="51" y="4"/>
                  </a:lnTo>
                  <a:lnTo>
                    <a:pt x="57" y="6"/>
                  </a:lnTo>
                  <a:lnTo>
                    <a:pt x="62" y="11"/>
                  </a:lnTo>
                  <a:lnTo>
                    <a:pt x="67" y="16"/>
                  </a:lnTo>
                  <a:lnTo>
                    <a:pt x="71" y="23"/>
                  </a:lnTo>
                  <a:lnTo>
                    <a:pt x="72" y="30"/>
                  </a:lnTo>
                  <a:lnTo>
                    <a:pt x="72" y="3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64" name="Freeform 121">
              <a:extLst>
                <a:ext uri="{FF2B5EF4-FFF2-40B4-BE49-F238E27FC236}">
                  <a16:creationId xmlns:a16="http://schemas.microsoft.com/office/drawing/2014/main" id="{AD924F5C-C342-4289-8B94-B451296B0921}"/>
                </a:ext>
              </a:extLst>
            </p:cNvPr>
            <p:cNvSpPr>
              <a:spLocks/>
            </p:cNvSpPr>
            <p:nvPr/>
          </p:nvSpPr>
          <p:spPr bwMode="auto">
            <a:xfrm>
              <a:off x="9912440" y="13447"/>
              <a:ext cx="40682" cy="132982"/>
            </a:xfrm>
            <a:custGeom>
              <a:avLst/>
              <a:gdLst>
                <a:gd name="T0" fmla="*/ 73 w 73"/>
                <a:gd name="T1" fmla="*/ 37 h 239"/>
                <a:gd name="T2" fmla="*/ 73 w 73"/>
                <a:gd name="T3" fmla="*/ 203 h 239"/>
                <a:gd name="T4" fmla="*/ 73 w 73"/>
                <a:gd name="T5" fmla="*/ 203 h 239"/>
                <a:gd name="T6" fmla="*/ 73 w 73"/>
                <a:gd name="T7" fmla="*/ 210 h 239"/>
                <a:gd name="T8" fmla="*/ 71 w 73"/>
                <a:gd name="T9" fmla="*/ 217 h 239"/>
                <a:gd name="T10" fmla="*/ 68 w 73"/>
                <a:gd name="T11" fmla="*/ 222 h 239"/>
                <a:gd name="T12" fmla="*/ 62 w 73"/>
                <a:gd name="T13" fmla="*/ 227 h 239"/>
                <a:gd name="T14" fmla="*/ 57 w 73"/>
                <a:gd name="T15" fmla="*/ 232 h 239"/>
                <a:gd name="T16" fmla="*/ 52 w 73"/>
                <a:gd name="T17" fmla="*/ 236 h 239"/>
                <a:gd name="T18" fmla="*/ 45 w 73"/>
                <a:gd name="T19" fmla="*/ 237 h 239"/>
                <a:gd name="T20" fmla="*/ 36 w 73"/>
                <a:gd name="T21" fmla="*/ 239 h 239"/>
                <a:gd name="T22" fmla="*/ 36 w 73"/>
                <a:gd name="T23" fmla="*/ 239 h 239"/>
                <a:gd name="T24" fmla="*/ 29 w 73"/>
                <a:gd name="T25" fmla="*/ 237 h 239"/>
                <a:gd name="T26" fmla="*/ 23 w 73"/>
                <a:gd name="T27" fmla="*/ 236 h 239"/>
                <a:gd name="T28" fmla="*/ 17 w 73"/>
                <a:gd name="T29" fmla="*/ 232 h 239"/>
                <a:gd name="T30" fmla="*/ 12 w 73"/>
                <a:gd name="T31" fmla="*/ 227 h 239"/>
                <a:gd name="T32" fmla="*/ 7 w 73"/>
                <a:gd name="T33" fmla="*/ 222 h 239"/>
                <a:gd name="T34" fmla="*/ 4 w 73"/>
                <a:gd name="T35" fmla="*/ 217 h 239"/>
                <a:gd name="T36" fmla="*/ 2 w 73"/>
                <a:gd name="T37" fmla="*/ 210 h 239"/>
                <a:gd name="T38" fmla="*/ 0 w 73"/>
                <a:gd name="T39" fmla="*/ 203 h 239"/>
                <a:gd name="T40" fmla="*/ 0 w 73"/>
                <a:gd name="T41" fmla="*/ 37 h 239"/>
                <a:gd name="T42" fmla="*/ 0 w 73"/>
                <a:gd name="T43" fmla="*/ 37 h 239"/>
                <a:gd name="T44" fmla="*/ 2 w 73"/>
                <a:gd name="T45" fmla="*/ 30 h 239"/>
                <a:gd name="T46" fmla="*/ 4 w 73"/>
                <a:gd name="T47" fmla="*/ 23 h 239"/>
                <a:gd name="T48" fmla="*/ 7 w 73"/>
                <a:gd name="T49" fmla="*/ 16 h 239"/>
                <a:gd name="T50" fmla="*/ 12 w 73"/>
                <a:gd name="T51" fmla="*/ 11 h 239"/>
                <a:gd name="T52" fmla="*/ 17 w 73"/>
                <a:gd name="T53" fmla="*/ 6 h 239"/>
                <a:gd name="T54" fmla="*/ 23 w 73"/>
                <a:gd name="T55" fmla="*/ 4 h 239"/>
                <a:gd name="T56" fmla="*/ 29 w 73"/>
                <a:gd name="T57" fmla="*/ 0 h 239"/>
                <a:gd name="T58" fmla="*/ 36 w 73"/>
                <a:gd name="T59" fmla="*/ 0 h 239"/>
                <a:gd name="T60" fmla="*/ 36 w 73"/>
                <a:gd name="T61" fmla="*/ 0 h 239"/>
                <a:gd name="T62" fmla="*/ 45 w 73"/>
                <a:gd name="T63" fmla="*/ 0 h 239"/>
                <a:gd name="T64" fmla="*/ 52 w 73"/>
                <a:gd name="T65" fmla="*/ 4 h 239"/>
                <a:gd name="T66" fmla="*/ 57 w 73"/>
                <a:gd name="T67" fmla="*/ 6 h 239"/>
                <a:gd name="T68" fmla="*/ 62 w 73"/>
                <a:gd name="T69" fmla="*/ 11 h 239"/>
                <a:gd name="T70" fmla="*/ 68 w 73"/>
                <a:gd name="T71" fmla="*/ 16 h 239"/>
                <a:gd name="T72" fmla="*/ 71 w 73"/>
                <a:gd name="T73" fmla="*/ 23 h 239"/>
                <a:gd name="T74" fmla="*/ 73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3" y="210"/>
                  </a:lnTo>
                  <a:lnTo>
                    <a:pt x="71" y="217"/>
                  </a:lnTo>
                  <a:lnTo>
                    <a:pt x="68" y="222"/>
                  </a:lnTo>
                  <a:lnTo>
                    <a:pt x="62" y="227"/>
                  </a:lnTo>
                  <a:lnTo>
                    <a:pt x="57" y="232"/>
                  </a:lnTo>
                  <a:lnTo>
                    <a:pt x="52" y="236"/>
                  </a:lnTo>
                  <a:lnTo>
                    <a:pt x="45" y="237"/>
                  </a:lnTo>
                  <a:lnTo>
                    <a:pt x="36" y="239"/>
                  </a:lnTo>
                  <a:lnTo>
                    <a:pt x="36" y="239"/>
                  </a:lnTo>
                  <a:lnTo>
                    <a:pt x="29" y="237"/>
                  </a:lnTo>
                  <a:lnTo>
                    <a:pt x="23" y="236"/>
                  </a:lnTo>
                  <a:lnTo>
                    <a:pt x="17" y="232"/>
                  </a:lnTo>
                  <a:lnTo>
                    <a:pt x="12" y="227"/>
                  </a:lnTo>
                  <a:lnTo>
                    <a:pt x="7" y="222"/>
                  </a:lnTo>
                  <a:lnTo>
                    <a:pt x="4" y="217"/>
                  </a:lnTo>
                  <a:lnTo>
                    <a:pt x="2" y="210"/>
                  </a:lnTo>
                  <a:lnTo>
                    <a:pt x="0" y="203"/>
                  </a:lnTo>
                  <a:lnTo>
                    <a:pt x="0" y="37"/>
                  </a:lnTo>
                  <a:lnTo>
                    <a:pt x="0" y="37"/>
                  </a:lnTo>
                  <a:lnTo>
                    <a:pt x="2" y="30"/>
                  </a:lnTo>
                  <a:lnTo>
                    <a:pt x="4" y="23"/>
                  </a:lnTo>
                  <a:lnTo>
                    <a:pt x="7" y="16"/>
                  </a:lnTo>
                  <a:lnTo>
                    <a:pt x="12" y="11"/>
                  </a:lnTo>
                  <a:lnTo>
                    <a:pt x="17" y="6"/>
                  </a:lnTo>
                  <a:lnTo>
                    <a:pt x="23" y="4"/>
                  </a:lnTo>
                  <a:lnTo>
                    <a:pt x="29" y="0"/>
                  </a:lnTo>
                  <a:lnTo>
                    <a:pt x="36" y="0"/>
                  </a:lnTo>
                  <a:lnTo>
                    <a:pt x="36" y="0"/>
                  </a:lnTo>
                  <a:lnTo>
                    <a:pt x="45" y="0"/>
                  </a:lnTo>
                  <a:lnTo>
                    <a:pt x="52" y="4"/>
                  </a:lnTo>
                  <a:lnTo>
                    <a:pt x="57" y="6"/>
                  </a:lnTo>
                  <a:lnTo>
                    <a:pt x="62" y="11"/>
                  </a:lnTo>
                  <a:lnTo>
                    <a:pt x="68" y="16"/>
                  </a:lnTo>
                  <a:lnTo>
                    <a:pt x="71" y="23"/>
                  </a:lnTo>
                  <a:lnTo>
                    <a:pt x="73" y="30"/>
                  </a:lnTo>
                  <a:lnTo>
                    <a:pt x="73"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65" name="Freeform 122">
              <a:extLst>
                <a:ext uri="{FF2B5EF4-FFF2-40B4-BE49-F238E27FC236}">
                  <a16:creationId xmlns:a16="http://schemas.microsoft.com/office/drawing/2014/main" id="{B7E38F33-BE51-40D8-AFDE-75162ECE305E}"/>
                </a:ext>
              </a:extLst>
            </p:cNvPr>
            <p:cNvSpPr>
              <a:spLocks/>
            </p:cNvSpPr>
            <p:nvPr/>
          </p:nvSpPr>
          <p:spPr bwMode="auto">
            <a:xfrm>
              <a:off x="9912440" y="13447"/>
              <a:ext cx="40682" cy="132982"/>
            </a:xfrm>
            <a:custGeom>
              <a:avLst/>
              <a:gdLst>
                <a:gd name="T0" fmla="*/ 73 w 73"/>
                <a:gd name="T1" fmla="*/ 37 h 239"/>
                <a:gd name="T2" fmla="*/ 73 w 73"/>
                <a:gd name="T3" fmla="*/ 203 h 239"/>
                <a:gd name="T4" fmla="*/ 73 w 73"/>
                <a:gd name="T5" fmla="*/ 203 h 239"/>
                <a:gd name="T6" fmla="*/ 73 w 73"/>
                <a:gd name="T7" fmla="*/ 210 h 239"/>
                <a:gd name="T8" fmla="*/ 71 w 73"/>
                <a:gd name="T9" fmla="*/ 217 h 239"/>
                <a:gd name="T10" fmla="*/ 68 w 73"/>
                <a:gd name="T11" fmla="*/ 222 h 239"/>
                <a:gd name="T12" fmla="*/ 62 w 73"/>
                <a:gd name="T13" fmla="*/ 227 h 239"/>
                <a:gd name="T14" fmla="*/ 57 w 73"/>
                <a:gd name="T15" fmla="*/ 232 h 239"/>
                <a:gd name="T16" fmla="*/ 52 w 73"/>
                <a:gd name="T17" fmla="*/ 236 h 239"/>
                <a:gd name="T18" fmla="*/ 45 w 73"/>
                <a:gd name="T19" fmla="*/ 237 h 239"/>
                <a:gd name="T20" fmla="*/ 36 w 73"/>
                <a:gd name="T21" fmla="*/ 239 h 239"/>
                <a:gd name="T22" fmla="*/ 36 w 73"/>
                <a:gd name="T23" fmla="*/ 239 h 239"/>
                <a:gd name="T24" fmla="*/ 29 w 73"/>
                <a:gd name="T25" fmla="*/ 237 h 239"/>
                <a:gd name="T26" fmla="*/ 23 w 73"/>
                <a:gd name="T27" fmla="*/ 236 h 239"/>
                <a:gd name="T28" fmla="*/ 17 w 73"/>
                <a:gd name="T29" fmla="*/ 232 h 239"/>
                <a:gd name="T30" fmla="*/ 12 w 73"/>
                <a:gd name="T31" fmla="*/ 227 h 239"/>
                <a:gd name="T32" fmla="*/ 7 w 73"/>
                <a:gd name="T33" fmla="*/ 222 h 239"/>
                <a:gd name="T34" fmla="*/ 4 w 73"/>
                <a:gd name="T35" fmla="*/ 217 h 239"/>
                <a:gd name="T36" fmla="*/ 2 w 73"/>
                <a:gd name="T37" fmla="*/ 210 h 239"/>
                <a:gd name="T38" fmla="*/ 0 w 73"/>
                <a:gd name="T39" fmla="*/ 203 h 239"/>
                <a:gd name="T40" fmla="*/ 0 w 73"/>
                <a:gd name="T41" fmla="*/ 37 h 239"/>
                <a:gd name="T42" fmla="*/ 0 w 73"/>
                <a:gd name="T43" fmla="*/ 37 h 239"/>
                <a:gd name="T44" fmla="*/ 2 w 73"/>
                <a:gd name="T45" fmla="*/ 30 h 239"/>
                <a:gd name="T46" fmla="*/ 4 w 73"/>
                <a:gd name="T47" fmla="*/ 23 h 239"/>
                <a:gd name="T48" fmla="*/ 7 w 73"/>
                <a:gd name="T49" fmla="*/ 16 h 239"/>
                <a:gd name="T50" fmla="*/ 12 w 73"/>
                <a:gd name="T51" fmla="*/ 11 h 239"/>
                <a:gd name="T52" fmla="*/ 17 w 73"/>
                <a:gd name="T53" fmla="*/ 6 h 239"/>
                <a:gd name="T54" fmla="*/ 23 w 73"/>
                <a:gd name="T55" fmla="*/ 4 h 239"/>
                <a:gd name="T56" fmla="*/ 29 w 73"/>
                <a:gd name="T57" fmla="*/ 0 h 239"/>
                <a:gd name="T58" fmla="*/ 36 w 73"/>
                <a:gd name="T59" fmla="*/ 0 h 239"/>
                <a:gd name="T60" fmla="*/ 36 w 73"/>
                <a:gd name="T61" fmla="*/ 0 h 239"/>
                <a:gd name="T62" fmla="*/ 45 w 73"/>
                <a:gd name="T63" fmla="*/ 0 h 239"/>
                <a:gd name="T64" fmla="*/ 52 w 73"/>
                <a:gd name="T65" fmla="*/ 4 h 239"/>
                <a:gd name="T66" fmla="*/ 57 w 73"/>
                <a:gd name="T67" fmla="*/ 6 h 239"/>
                <a:gd name="T68" fmla="*/ 62 w 73"/>
                <a:gd name="T69" fmla="*/ 11 h 239"/>
                <a:gd name="T70" fmla="*/ 68 w 73"/>
                <a:gd name="T71" fmla="*/ 16 h 239"/>
                <a:gd name="T72" fmla="*/ 71 w 73"/>
                <a:gd name="T73" fmla="*/ 23 h 239"/>
                <a:gd name="T74" fmla="*/ 73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3" y="210"/>
                  </a:lnTo>
                  <a:lnTo>
                    <a:pt x="71" y="217"/>
                  </a:lnTo>
                  <a:lnTo>
                    <a:pt x="68" y="222"/>
                  </a:lnTo>
                  <a:lnTo>
                    <a:pt x="62" y="227"/>
                  </a:lnTo>
                  <a:lnTo>
                    <a:pt x="57" y="232"/>
                  </a:lnTo>
                  <a:lnTo>
                    <a:pt x="52" y="236"/>
                  </a:lnTo>
                  <a:lnTo>
                    <a:pt x="45" y="237"/>
                  </a:lnTo>
                  <a:lnTo>
                    <a:pt x="36" y="239"/>
                  </a:lnTo>
                  <a:lnTo>
                    <a:pt x="36" y="239"/>
                  </a:lnTo>
                  <a:lnTo>
                    <a:pt x="29" y="237"/>
                  </a:lnTo>
                  <a:lnTo>
                    <a:pt x="23" y="236"/>
                  </a:lnTo>
                  <a:lnTo>
                    <a:pt x="17" y="232"/>
                  </a:lnTo>
                  <a:lnTo>
                    <a:pt x="12" y="227"/>
                  </a:lnTo>
                  <a:lnTo>
                    <a:pt x="7" y="222"/>
                  </a:lnTo>
                  <a:lnTo>
                    <a:pt x="4" y="217"/>
                  </a:lnTo>
                  <a:lnTo>
                    <a:pt x="2" y="210"/>
                  </a:lnTo>
                  <a:lnTo>
                    <a:pt x="0" y="203"/>
                  </a:lnTo>
                  <a:lnTo>
                    <a:pt x="0" y="37"/>
                  </a:lnTo>
                  <a:lnTo>
                    <a:pt x="0" y="37"/>
                  </a:lnTo>
                  <a:lnTo>
                    <a:pt x="2" y="30"/>
                  </a:lnTo>
                  <a:lnTo>
                    <a:pt x="4" y="23"/>
                  </a:lnTo>
                  <a:lnTo>
                    <a:pt x="7" y="16"/>
                  </a:lnTo>
                  <a:lnTo>
                    <a:pt x="12" y="11"/>
                  </a:lnTo>
                  <a:lnTo>
                    <a:pt x="17" y="6"/>
                  </a:lnTo>
                  <a:lnTo>
                    <a:pt x="23" y="4"/>
                  </a:lnTo>
                  <a:lnTo>
                    <a:pt x="29" y="0"/>
                  </a:lnTo>
                  <a:lnTo>
                    <a:pt x="36" y="0"/>
                  </a:lnTo>
                  <a:lnTo>
                    <a:pt x="36" y="0"/>
                  </a:lnTo>
                  <a:lnTo>
                    <a:pt x="45" y="0"/>
                  </a:lnTo>
                  <a:lnTo>
                    <a:pt x="52" y="4"/>
                  </a:lnTo>
                  <a:lnTo>
                    <a:pt x="57" y="6"/>
                  </a:lnTo>
                  <a:lnTo>
                    <a:pt x="62" y="11"/>
                  </a:lnTo>
                  <a:lnTo>
                    <a:pt x="68" y="16"/>
                  </a:lnTo>
                  <a:lnTo>
                    <a:pt x="71" y="23"/>
                  </a:lnTo>
                  <a:lnTo>
                    <a:pt x="73" y="30"/>
                  </a:lnTo>
                  <a:lnTo>
                    <a:pt x="73" y="3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66" name="Freeform 123">
              <a:extLst>
                <a:ext uri="{FF2B5EF4-FFF2-40B4-BE49-F238E27FC236}">
                  <a16:creationId xmlns:a16="http://schemas.microsoft.com/office/drawing/2014/main" id="{BC725A25-77C7-4C97-A988-25E1CA221682}"/>
                </a:ext>
              </a:extLst>
            </p:cNvPr>
            <p:cNvSpPr>
              <a:spLocks/>
            </p:cNvSpPr>
            <p:nvPr/>
          </p:nvSpPr>
          <p:spPr bwMode="auto">
            <a:xfrm>
              <a:off x="10056777" y="-152920"/>
              <a:ext cx="40682" cy="465159"/>
            </a:xfrm>
            <a:custGeom>
              <a:avLst/>
              <a:gdLst>
                <a:gd name="T0" fmla="*/ 73 w 73"/>
                <a:gd name="T1" fmla="*/ 36 h 836"/>
                <a:gd name="T2" fmla="*/ 73 w 73"/>
                <a:gd name="T3" fmla="*/ 799 h 836"/>
                <a:gd name="T4" fmla="*/ 73 w 73"/>
                <a:gd name="T5" fmla="*/ 799 h 836"/>
                <a:gd name="T6" fmla="*/ 71 w 73"/>
                <a:gd name="T7" fmla="*/ 806 h 836"/>
                <a:gd name="T8" fmla="*/ 70 w 73"/>
                <a:gd name="T9" fmla="*/ 813 h 836"/>
                <a:gd name="T10" fmla="*/ 66 w 73"/>
                <a:gd name="T11" fmla="*/ 820 h 836"/>
                <a:gd name="T12" fmla="*/ 63 w 73"/>
                <a:gd name="T13" fmla="*/ 825 h 836"/>
                <a:gd name="T14" fmla="*/ 56 w 73"/>
                <a:gd name="T15" fmla="*/ 830 h 836"/>
                <a:gd name="T16" fmla="*/ 51 w 73"/>
                <a:gd name="T17" fmla="*/ 834 h 836"/>
                <a:gd name="T18" fmla="*/ 44 w 73"/>
                <a:gd name="T19" fmla="*/ 836 h 836"/>
                <a:gd name="T20" fmla="*/ 37 w 73"/>
                <a:gd name="T21" fmla="*/ 836 h 836"/>
                <a:gd name="T22" fmla="*/ 37 w 73"/>
                <a:gd name="T23" fmla="*/ 836 h 836"/>
                <a:gd name="T24" fmla="*/ 28 w 73"/>
                <a:gd name="T25" fmla="*/ 836 h 836"/>
                <a:gd name="T26" fmla="*/ 23 w 73"/>
                <a:gd name="T27" fmla="*/ 834 h 836"/>
                <a:gd name="T28" fmla="*/ 16 w 73"/>
                <a:gd name="T29" fmla="*/ 830 h 836"/>
                <a:gd name="T30" fmla="*/ 11 w 73"/>
                <a:gd name="T31" fmla="*/ 825 h 836"/>
                <a:gd name="T32" fmla="*/ 6 w 73"/>
                <a:gd name="T33" fmla="*/ 820 h 836"/>
                <a:gd name="T34" fmla="*/ 2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2 w 73"/>
                <a:gd name="T47" fmla="*/ 23 h 836"/>
                <a:gd name="T48" fmla="*/ 6 w 73"/>
                <a:gd name="T49" fmla="*/ 16 h 836"/>
                <a:gd name="T50" fmla="*/ 11 w 73"/>
                <a:gd name="T51" fmla="*/ 11 h 836"/>
                <a:gd name="T52" fmla="*/ 16 w 73"/>
                <a:gd name="T53" fmla="*/ 7 h 836"/>
                <a:gd name="T54" fmla="*/ 23 w 73"/>
                <a:gd name="T55" fmla="*/ 4 h 836"/>
                <a:gd name="T56" fmla="*/ 28 w 73"/>
                <a:gd name="T57" fmla="*/ 2 h 836"/>
                <a:gd name="T58" fmla="*/ 37 w 73"/>
                <a:gd name="T59" fmla="*/ 0 h 836"/>
                <a:gd name="T60" fmla="*/ 37 w 73"/>
                <a:gd name="T61" fmla="*/ 0 h 836"/>
                <a:gd name="T62" fmla="*/ 44 w 73"/>
                <a:gd name="T63" fmla="*/ 2 h 836"/>
                <a:gd name="T64" fmla="*/ 51 w 73"/>
                <a:gd name="T65" fmla="*/ 4 h 836"/>
                <a:gd name="T66" fmla="*/ 56 w 73"/>
                <a:gd name="T67" fmla="*/ 7 h 836"/>
                <a:gd name="T68" fmla="*/ 63 w 73"/>
                <a:gd name="T69" fmla="*/ 11 h 836"/>
                <a:gd name="T70" fmla="*/ 66 w 73"/>
                <a:gd name="T71" fmla="*/ 16 h 836"/>
                <a:gd name="T72" fmla="*/ 70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70" y="813"/>
                  </a:lnTo>
                  <a:lnTo>
                    <a:pt x="66" y="820"/>
                  </a:lnTo>
                  <a:lnTo>
                    <a:pt x="63" y="825"/>
                  </a:lnTo>
                  <a:lnTo>
                    <a:pt x="56" y="830"/>
                  </a:lnTo>
                  <a:lnTo>
                    <a:pt x="51" y="834"/>
                  </a:lnTo>
                  <a:lnTo>
                    <a:pt x="44" y="836"/>
                  </a:lnTo>
                  <a:lnTo>
                    <a:pt x="37" y="836"/>
                  </a:lnTo>
                  <a:lnTo>
                    <a:pt x="37" y="836"/>
                  </a:lnTo>
                  <a:lnTo>
                    <a:pt x="28" y="836"/>
                  </a:lnTo>
                  <a:lnTo>
                    <a:pt x="23" y="834"/>
                  </a:lnTo>
                  <a:lnTo>
                    <a:pt x="16" y="830"/>
                  </a:lnTo>
                  <a:lnTo>
                    <a:pt x="11" y="825"/>
                  </a:lnTo>
                  <a:lnTo>
                    <a:pt x="6" y="820"/>
                  </a:lnTo>
                  <a:lnTo>
                    <a:pt x="2" y="813"/>
                  </a:lnTo>
                  <a:lnTo>
                    <a:pt x="0" y="806"/>
                  </a:lnTo>
                  <a:lnTo>
                    <a:pt x="0" y="799"/>
                  </a:lnTo>
                  <a:lnTo>
                    <a:pt x="0" y="36"/>
                  </a:lnTo>
                  <a:lnTo>
                    <a:pt x="0" y="36"/>
                  </a:lnTo>
                  <a:lnTo>
                    <a:pt x="0" y="30"/>
                  </a:lnTo>
                  <a:lnTo>
                    <a:pt x="2" y="23"/>
                  </a:lnTo>
                  <a:lnTo>
                    <a:pt x="6" y="16"/>
                  </a:lnTo>
                  <a:lnTo>
                    <a:pt x="11" y="11"/>
                  </a:lnTo>
                  <a:lnTo>
                    <a:pt x="16" y="7"/>
                  </a:lnTo>
                  <a:lnTo>
                    <a:pt x="23" y="4"/>
                  </a:lnTo>
                  <a:lnTo>
                    <a:pt x="28" y="2"/>
                  </a:lnTo>
                  <a:lnTo>
                    <a:pt x="37" y="0"/>
                  </a:lnTo>
                  <a:lnTo>
                    <a:pt x="37" y="0"/>
                  </a:lnTo>
                  <a:lnTo>
                    <a:pt x="44" y="2"/>
                  </a:lnTo>
                  <a:lnTo>
                    <a:pt x="51" y="4"/>
                  </a:lnTo>
                  <a:lnTo>
                    <a:pt x="56" y="7"/>
                  </a:lnTo>
                  <a:lnTo>
                    <a:pt x="63" y="11"/>
                  </a:lnTo>
                  <a:lnTo>
                    <a:pt x="66" y="16"/>
                  </a:lnTo>
                  <a:lnTo>
                    <a:pt x="70" y="23"/>
                  </a:lnTo>
                  <a:lnTo>
                    <a:pt x="71" y="30"/>
                  </a:lnTo>
                  <a:lnTo>
                    <a:pt x="7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67" name="Freeform 124">
              <a:extLst>
                <a:ext uri="{FF2B5EF4-FFF2-40B4-BE49-F238E27FC236}">
                  <a16:creationId xmlns:a16="http://schemas.microsoft.com/office/drawing/2014/main" id="{92B55F21-770D-4F39-847D-1CFDAB850D3F}"/>
                </a:ext>
              </a:extLst>
            </p:cNvPr>
            <p:cNvSpPr>
              <a:spLocks/>
            </p:cNvSpPr>
            <p:nvPr/>
          </p:nvSpPr>
          <p:spPr bwMode="auto">
            <a:xfrm>
              <a:off x="10056777" y="-152920"/>
              <a:ext cx="40682" cy="465159"/>
            </a:xfrm>
            <a:custGeom>
              <a:avLst/>
              <a:gdLst>
                <a:gd name="T0" fmla="*/ 73 w 73"/>
                <a:gd name="T1" fmla="*/ 36 h 836"/>
                <a:gd name="T2" fmla="*/ 73 w 73"/>
                <a:gd name="T3" fmla="*/ 799 h 836"/>
                <a:gd name="T4" fmla="*/ 73 w 73"/>
                <a:gd name="T5" fmla="*/ 799 h 836"/>
                <a:gd name="T6" fmla="*/ 71 w 73"/>
                <a:gd name="T7" fmla="*/ 806 h 836"/>
                <a:gd name="T8" fmla="*/ 70 w 73"/>
                <a:gd name="T9" fmla="*/ 813 h 836"/>
                <a:gd name="T10" fmla="*/ 66 w 73"/>
                <a:gd name="T11" fmla="*/ 820 h 836"/>
                <a:gd name="T12" fmla="*/ 63 w 73"/>
                <a:gd name="T13" fmla="*/ 825 h 836"/>
                <a:gd name="T14" fmla="*/ 56 w 73"/>
                <a:gd name="T15" fmla="*/ 830 h 836"/>
                <a:gd name="T16" fmla="*/ 51 w 73"/>
                <a:gd name="T17" fmla="*/ 834 h 836"/>
                <a:gd name="T18" fmla="*/ 44 w 73"/>
                <a:gd name="T19" fmla="*/ 836 h 836"/>
                <a:gd name="T20" fmla="*/ 37 w 73"/>
                <a:gd name="T21" fmla="*/ 836 h 836"/>
                <a:gd name="T22" fmla="*/ 37 w 73"/>
                <a:gd name="T23" fmla="*/ 836 h 836"/>
                <a:gd name="T24" fmla="*/ 28 w 73"/>
                <a:gd name="T25" fmla="*/ 836 h 836"/>
                <a:gd name="T26" fmla="*/ 23 w 73"/>
                <a:gd name="T27" fmla="*/ 834 h 836"/>
                <a:gd name="T28" fmla="*/ 16 w 73"/>
                <a:gd name="T29" fmla="*/ 830 h 836"/>
                <a:gd name="T30" fmla="*/ 11 w 73"/>
                <a:gd name="T31" fmla="*/ 825 h 836"/>
                <a:gd name="T32" fmla="*/ 6 w 73"/>
                <a:gd name="T33" fmla="*/ 820 h 836"/>
                <a:gd name="T34" fmla="*/ 2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2 w 73"/>
                <a:gd name="T47" fmla="*/ 23 h 836"/>
                <a:gd name="T48" fmla="*/ 6 w 73"/>
                <a:gd name="T49" fmla="*/ 16 h 836"/>
                <a:gd name="T50" fmla="*/ 11 w 73"/>
                <a:gd name="T51" fmla="*/ 11 h 836"/>
                <a:gd name="T52" fmla="*/ 16 w 73"/>
                <a:gd name="T53" fmla="*/ 7 h 836"/>
                <a:gd name="T54" fmla="*/ 23 w 73"/>
                <a:gd name="T55" fmla="*/ 4 h 836"/>
                <a:gd name="T56" fmla="*/ 28 w 73"/>
                <a:gd name="T57" fmla="*/ 2 h 836"/>
                <a:gd name="T58" fmla="*/ 37 w 73"/>
                <a:gd name="T59" fmla="*/ 0 h 836"/>
                <a:gd name="T60" fmla="*/ 37 w 73"/>
                <a:gd name="T61" fmla="*/ 0 h 836"/>
                <a:gd name="T62" fmla="*/ 44 w 73"/>
                <a:gd name="T63" fmla="*/ 2 h 836"/>
                <a:gd name="T64" fmla="*/ 51 w 73"/>
                <a:gd name="T65" fmla="*/ 4 h 836"/>
                <a:gd name="T66" fmla="*/ 56 w 73"/>
                <a:gd name="T67" fmla="*/ 7 h 836"/>
                <a:gd name="T68" fmla="*/ 63 w 73"/>
                <a:gd name="T69" fmla="*/ 11 h 836"/>
                <a:gd name="T70" fmla="*/ 66 w 73"/>
                <a:gd name="T71" fmla="*/ 16 h 836"/>
                <a:gd name="T72" fmla="*/ 70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70" y="813"/>
                  </a:lnTo>
                  <a:lnTo>
                    <a:pt x="66" y="820"/>
                  </a:lnTo>
                  <a:lnTo>
                    <a:pt x="63" y="825"/>
                  </a:lnTo>
                  <a:lnTo>
                    <a:pt x="56" y="830"/>
                  </a:lnTo>
                  <a:lnTo>
                    <a:pt x="51" y="834"/>
                  </a:lnTo>
                  <a:lnTo>
                    <a:pt x="44" y="836"/>
                  </a:lnTo>
                  <a:lnTo>
                    <a:pt x="37" y="836"/>
                  </a:lnTo>
                  <a:lnTo>
                    <a:pt x="37" y="836"/>
                  </a:lnTo>
                  <a:lnTo>
                    <a:pt x="28" y="836"/>
                  </a:lnTo>
                  <a:lnTo>
                    <a:pt x="23" y="834"/>
                  </a:lnTo>
                  <a:lnTo>
                    <a:pt x="16" y="830"/>
                  </a:lnTo>
                  <a:lnTo>
                    <a:pt x="11" y="825"/>
                  </a:lnTo>
                  <a:lnTo>
                    <a:pt x="6" y="820"/>
                  </a:lnTo>
                  <a:lnTo>
                    <a:pt x="2" y="813"/>
                  </a:lnTo>
                  <a:lnTo>
                    <a:pt x="0" y="806"/>
                  </a:lnTo>
                  <a:lnTo>
                    <a:pt x="0" y="799"/>
                  </a:lnTo>
                  <a:lnTo>
                    <a:pt x="0" y="36"/>
                  </a:lnTo>
                  <a:lnTo>
                    <a:pt x="0" y="36"/>
                  </a:lnTo>
                  <a:lnTo>
                    <a:pt x="0" y="30"/>
                  </a:lnTo>
                  <a:lnTo>
                    <a:pt x="2" y="23"/>
                  </a:lnTo>
                  <a:lnTo>
                    <a:pt x="6" y="16"/>
                  </a:lnTo>
                  <a:lnTo>
                    <a:pt x="11" y="11"/>
                  </a:lnTo>
                  <a:lnTo>
                    <a:pt x="16" y="7"/>
                  </a:lnTo>
                  <a:lnTo>
                    <a:pt x="23" y="4"/>
                  </a:lnTo>
                  <a:lnTo>
                    <a:pt x="28" y="2"/>
                  </a:lnTo>
                  <a:lnTo>
                    <a:pt x="37" y="0"/>
                  </a:lnTo>
                  <a:lnTo>
                    <a:pt x="37" y="0"/>
                  </a:lnTo>
                  <a:lnTo>
                    <a:pt x="44" y="2"/>
                  </a:lnTo>
                  <a:lnTo>
                    <a:pt x="51" y="4"/>
                  </a:lnTo>
                  <a:lnTo>
                    <a:pt x="56" y="7"/>
                  </a:lnTo>
                  <a:lnTo>
                    <a:pt x="63" y="11"/>
                  </a:lnTo>
                  <a:lnTo>
                    <a:pt x="66" y="16"/>
                  </a:lnTo>
                  <a:lnTo>
                    <a:pt x="70" y="23"/>
                  </a:lnTo>
                  <a:lnTo>
                    <a:pt x="71" y="30"/>
                  </a:lnTo>
                  <a:lnTo>
                    <a:pt x="73" y="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68" name="Freeform 125">
              <a:extLst>
                <a:ext uri="{FF2B5EF4-FFF2-40B4-BE49-F238E27FC236}">
                  <a16:creationId xmlns:a16="http://schemas.microsoft.com/office/drawing/2014/main" id="{F1FF6EB6-4581-4CC2-8AE1-1C61CD13AF1B}"/>
                </a:ext>
              </a:extLst>
            </p:cNvPr>
            <p:cNvSpPr>
              <a:spLocks/>
            </p:cNvSpPr>
            <p:nvPr/>
          </p:nvSpPr>
          <p:spPr bwMode="auto">
            <a:xfrm>
              <a:off x="10157089" y="-312610"/>
              <a:ext cx="1016489" cy="783426"/>
            </a:xfrm>
            <a:custGeom>
              <a:avLst/>
              <a:gdLst>
                <a:gd name="T0" fmla="*/ 1824 w 1824"/>
                <a:gd name="T1" fmla="*/ 1166 h 1408"/>
                <a:gd name="T2" fmla="*/ 1824 w 1824"/>
                <a:gd name="T3" fmla="*/ 1408 h 1408"/>
                <a:gd name="T4" fmla="*/ 1516 w 1824"/>
                <a:gd name="T5" fmla="*/ 1408 h 1408"/>
                <a:gd name="T6" fmla="*/ 438 w 1824"/>
                <a:gd name="T7" fmla="*/ 242 h 1408"/>
                <a:gd name="T8" fmla="*/ 0 w 1824"/>
                <a:gd name="T9" fmla="*/ 242 h 1408"/>
                <a:gd name="T10" fmla="*/ 0 w 1824"/>
                <a:gd name="T11" fmla="*/ 0 h 1408"/>
                <a:gd name="T12" fmla="*/ 545 w 1824"/>
                <a:gd name="T13" fmla="*/ 0 h 1408"/>
                <a:gd name="T14" fmla="*/ 1623 w 1824"/>
                <a:gd name="T15" fmla="*/ 1166 h 1408"/>
                <a:gd name="T16" fmla="*/ 1824 w 1824"/>
                <a:gd name="T17" fmla="*/ 1166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4" h="1408">
                  <a:moveTo>
                    <a:pt x="1824" y="1166"/>
                  </a:moveTo>
                  <a:lnTo>
                    <a:pt x="1824" y="1408"/>
                  </a:lnTo>
                  <a:lnTo>
                    <a:pt x="1516" y="1408"/>
                  </a:lnTo>
                  <a:lnTo>
                    <a:pt x="438" y="242"/>
                  </a:lnTo>
                  <a:lnTo>
                    <a:pt x="0" y="242"/>
                  </a:lnTo>
                  <a:lnTo>
                    <a:pt x="0" y="0"/>
                  </a:lnTo>
                  <a:lnTo>
                    <a:pt x="545" y="0"/>
                  </a:lnTo>
                  <a:lnTo>
                    <a:pt x="1623" y="1166"/>
                  </a:lnTo>
                  <a:lnTo>
                    <a:pt x="1824" y="1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69" name="Freeform 126">
              <a:extLst>
                <a:ext uri="{FF2B5EF4-FFF2-40B4-BE49-F238E27FC236}">
                  <a16:creationId xmlns:a16="http://schemas.microsoft.com/office/drawing/2014/main" id="{DC399F7E-7BE7-40AE-A9F2-A2C0E1B7F819}"/>
                </a:ext>
              </a:extLst>
            </p:cNvPr>
            <p:cNvSpPr>
              <a:spLocks/>
            </p:cNvSpPr>
            <p:nvPr/>
          </p:nvSpPr>
          <p:spPr bwMode="auto">
            <a:xfrm>
              <a:off x="10157089" y="-312610"/>
              <a:ext cx="1016489" cy="783426"/>
            </a:xfrm>
            <a:custGeom>
              <a:avLst/>
              <a:gdLst>
                <a:gd name="T0" fmla="*/ 1824 w 1824"/>
                <a:gd name="T1" fmla="*/ 0 h 1408"/>
                <a:gd name="T2" fmla="*/ 1824 w 1824"/>
                <a:gd name="T3" fmla="*/ 242 h 1408"/>
                <a:gd name="T4" fmla="*/ 1623 w 1824"/>
                <a:gd name="T5" fmla="*/ 242 h 1408"/>
                <a:gd name="T6" fmla="*/ 545 w 1824"/>
                <a:gd name="T7" fmla="*/ 1408 h 1408"/>
                <a:gd name="T8" fmla="*/ 0 w 1824"/>
                <a:gd name="T9" fmla="*/ 1408 h 1408"/>
                <a:gd name="T10" fmla="*/ 0 w 1824"/>
                <a:gd name="T11" fmla="*/ 1166 h 1408"/>
                <a:gd name="T12" fmla="*/ 438 w 1824"/>
                <a:gd name="T13" fmla="*/ 1166 h 1408"/>
                <a:gd name="T14" fmla="*/ 1516 w 1824"/>
                <a:gd name="T15" fmla="*/ 0 h 1408"/>
                <a:gd name="T16" fmla="*/ 1824 w 1824"/>
                <a:gd name="T17" fmla="*/ 0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4" h="1408">
                  <a:moveTo>
                    <a:pt x="1824" y="0"/>
                  </a:moveTo>
                  <a:lnTo>
                    <a:pt x="1824" y="242"/>
                  </a:lnTo>
                  <a:lnTo>
                    <a:pt x="1623" y="242"/>
                  </a:lnTo>
                  <a:lnTo>
                    <a:pt x="545" y="1408"/>
                  </a:lnTo>
                  <a:lnTo>
                    <a:pt x="0" y="1408"/>
                  </a:lnTo>
                  <a:lnTo>
                    <a:pt x="0" y="1166"/>
                  </a:lnTo>
                  <a:lnTo>
                    <a:pt x="438" y="1166"/>
                  </a:lnTo>
                  <a:lnTo>
                    <a:pt x="1516" y="0"/>
                  </a:lnTo>
                  <a:lnTo>
                    <a:pt x="18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70" name="Freeform 127">
              <a:extLst>
                <a:ext uri="{FF2B5EF4-FFF2-40B4-BE49-F238E27FC236}">
                  <a16:creationId xmlns:a16="http://schemas.microsoft.com/office/drawing/2014/main" id="{F0AECCA3-80C8-465F-B47B-BEAA6CB48B4A}"/>
                </a:ext>
              </a:extLst>
            </p:cNvPr>
            <p:cNvSpPr>
              <a:spLocks/>
            </p:cNvSpPr>
            <p:nvPr/>
          </p:nvSpPr>
          <p:spPr bwMode="auto">
            <a:xfrm>
              <a:off x="10209473" y="-152920"/>
              <a:ext cx="40124" cy="465159"/>
            </a:xfrm>
            <a:custGeom>
              <a:avLst/>
              <a:gdLst>
                <a:gd name="T0" fmla="*/ 72 w 72"/>
                <a:gd name="T1" fmla="*/ 36 h 836"/>
                <a:gd name="T2" fmla="*/ 72 w 72"/>
                <a:gd name="T3" fmla="*/ 799 h 836"/>
                <a:gd name="T4" fmla="*/ 72 w 72"/>
                <a:gd name="T5" fmla="*/ 799 h 836"/>
                <a:gd name="T6" fmla="*/ 70 w 72"/>
                <a:gd name="T7" fmla="*/ 806 h 836"/>
                <a:gd name="T8" fmla="*/ 69 w 72"/>
                <a:gd name="T9" fmla="*/ 813 h 836"/>
                <a:gd name="T10" fmla="*/ 65 w 72"/>
                <a:gd name="T11" fmla="*/ 820 h 836"/>
                <a:gd name="T12" fmla="*/ 60 w 72"/>
                <a:gd name="T13" fmla="*/ 825 h 836"/>
                <a:gd name="T14" fmla="*/ 55 w 72"/>
                <a:gd name="T15" fmla="*/ 830 h 836"/>
                <a:gd name="T16" fmla="*/ 50 w 72"/>
                <a:gd name="T17" fmla="*/ 834 h 836"/>
                <a:gd name="T18" fmla="*/ 43 w 72"/>
                <a:gd name="T19" fmla="*/ 836 h 836"/>
                <a:gd name="T20" fmla="*/ 36 w 72"/>
                <a:gd name="T21" fmla="*/ 836 h 836"/>
                <a:gd name="T22" fmla="*/ 36 w 72"/>
                <a:gd name="T23" fmla="*/ 836 h 836"/>
                <a:gd name="T24" fmla="*/ 27 w 72"/>
                <a:gd name="T25" fmla="*/ 836 h 836"/>
                <a:gd name="T26" fmla="*/ 20 w 72"/>
                <a:gd name="T27" fmla="*/ 834 h 836"/>
                <a:gd name="T28" fmla="*/ 15 w 72"/>
                <a:gd name="T29" fmla="*/ 830 h 836"/>
                <a:gd name="T30" fmla="*/ 10 w 72"/>
                <a:gd name="T31" fmla="*/ 825 h 836"/>
                <a:gd name="T32" fmla="*/ 5 w 72"/>
                <a:gd name="T33" fmla="*/ 820 h 836"/>
                <a:gd name="T34" fmla="*/ 1 w 72"/>
                <a:gd name="T35" fmla="*/ 813 h 836"/>
                <a:gd name="T36" fmla="*/ 0 w 72"/>
                <a:gd name="T37" fmla="*/ 806 h 836"/>
                <a:gd name="T38" fmla="*/ 0 w 72"/>
                <a:gd name="T39" fmla="*/ 799 h 836"/>
                <a:gd name="T40" fmla="*/ 0 w 72"/>
                <a:gd name="T41" fmla="*/ 36 h 836"/>
                <a:gd name="T42" fmla="*/ 0 w 72"/>
                <a:gd name="T43" fmla="*/ 36 h 836"/>
                <a:gd name="T44" fmla="*/ 0 w 72"/>
                <a:gd name="T45" fmla="*/ 30 h 836"/>
                <a:gd name="T46" fmla="*/ 1 w 72"/>
                <a:gd name="T47" fmla="*/ 23 h 836"/>
                <a:gd name="T48" fmla="*/ 5 w 72"/>
                <a:gd name="T49" fmla="*/ 16 h 836"/>
                <a:gd name="T50" fmla="*/ 10 w 72"/>
                <a:gd name="T51" fmla="*/ 11 h 836"/>
                <a:gd name="T52" fmla="*/ 15 w 72"/>
                <a:gd name="T53" fmla="*/ 7 h 836"/>
                <a:gd name="T54" fmla="*/ 20 w 72"/>
                <a:gd name="T55" fmla="*/ 4 h 836"/>
                <a:gd name="T56" fmla="*/ 27 w 72"/>
                <a:gd name="T57" fmla="*/ 2 h 836"/>
                <a:gd name="T58" fmla="*/ 36 w 72"/>
                <a:gd name="T59" fmla="*/ 0 h 836"/>
                <a:gd name="T60" fmla="*/ 36 w 72"/>
                <a:gd name="T61" fmla="*/ 0 h 836"/>
                <a:gd name="T62" fmla="*/ 43 w 72"/>
                <a:gd name="T63" fmla="*/ 2 h 836"/>
                <a:gd name="T64" fmla="*/ 50 w 72"/>
                <a:gd name="T65" fmla="*/ 4 h 836"/>
                <a:gd name="T66" fmla="*/ 55 w 72"/>
                <a:gd name="T67" fmla="*/ 7 h 836"/>
                <a:gd name="T68" fmla="*/ 60 w 72"/>
                <a:gd name="T69" fmla="*/ 11 h 836"/>
                <a:gd name="T70" fmla="*/ 65 w 72"/>
                <a:gd name="T71" fmla="*/ 16 h 836"/>
                <a:gd name="T72" fmla="*/ 69 w 72"/>
                <a:gd name="T73" fmla="*/ 23 h 836"/>
                <a:gd name="T74" fmla="*/ 70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0" y="806"/>
                  </a:lnTo>
                  <a:lnTo>
                    <a:pt x="69" y="813"/>
                  </a:lnTo>
                  <a:lnTo>
                    <a:pt x="65" y="820"/>
                  </a:lnTo>
                  <a:lnTo>
                    <a:pt x="60" y="825"/>
                  </a:lnTo>
                  <a:lnTo>
                    <a:pt x="55" y="830"/>
                  </a:lnTo>
                  <a:lnTo>
                    <a:pt x="50" y="834"/>
                  </a:lnTo>
                  <a:lnTo>
                    <a:pt x="43" y="836"/>
                  </a:lnTo>
                  <a:lnTo>
                    <a:pt x="36" y="836"/>
                  </a:lnTo>
                  <a:lnTo>
                    <a:pt x="36" y="836"/>
                  </a:lnTo>
                  <a:lnTo>
                    <a:pt x="27" y="836"/>
                  </a:lnTo>
                  <a:lnTo>
                    <a:pt x="20" y="834"/>
                  </a:lnTo>
                  <a:lnTo>
                    <a:pt x="15" y="830"/>
                  </a:lnTo>
                  <a:lnTo>
                    <a:pt x="10" y="825"/>
                  </a:lnTo>
                  <a:lnTo>
                    <a:pt x="5" y="820"/>
                  </a:lnTo>
                  <a:lnTo>
                    <a:pt x="1" y="813"/>
                  </a:lnTo>
                  <a:lnTo>
                    <a:pt x="0" y="806"/>
                  </a:lnTo>
                  <a:lnTo>
                    <a:pt x="0" y="799"/>
                  </a:lnTo>
                  <a:lnTo>
                    <a:pt x="0" y="36"/>
                  </a:lnTo>
                  <a:lnTo>
                    <a:pt x="0" y="36"/>
                  </a:lnTo>
                  <a:lnTo>
                    <a:pt x="0" y="30"/>
                  </a:lnTo>
                  <a:lnTo>
                    <a:pt x="1" y="23"/>
                  </a:lnTo>
                  <a:lnTo>
                    <a:pt x="5" y="16"/>
                  </a:lnTo>
                  <a:lnTo>
                    <a:pt x="10" y="11"/>
                  </a:lnTo>
                  <a:lnTo>
                    <a:pt x="15" y="7"/>
                  </a:lnTo>
                  <a:lnTo>
                    <a:pt x="20" y="4"/>
                  </a:lnTo>
                  <a:lnTo>
                    <a:pt x="27" y="2"/>
                  </a:lnTo>
                  <a:lnTo>
                    <a:pt x="36" y="0"/>
                  </a:lnTo>
                  <a:lnTo>
                    <a:pt x="36" y="0"/>
                  </a:lnTo>
                  <a:lnTo>
                    <a:pt x="43" y="2"/>
                  </a:lnTo>
                  <a:lnTo>
                    <a:pt x="50" y="4"/>
                  </a:lnTo>
                  <a:lnTo>
                    <a:pt x="55" y="7"/>
                  </a:lnTo>
                  <a:lnTo>
                    <a:pt x="60" y="11"/>
                  </a:lnTo>
                  <a:lnTo>
                    <a:pt x="65" y="16"/>
                  </a:lnTo>
                  <a:lnTo>
                    <a:pt x="69" y="23"/>
                  </a:lnTo>
                  <a:lnTo>
                    <a:pt x="70" y="30"/>
                  </a:lnTo>
                  <a:lnTo>
                    <a:pt x="7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71" name="Freeform 128">
              <a:extLst>
                <a:ext uri="{FF2B5EF4-FFF2-40B4-BE49-F238E27FC236}">
                  <a16:creationId xmlns:a16="http://schemas.microsoft.com/office/drawing/2014/main" id="{8F751DDE-267A-4489-8B98-1A87624F94FE}"/>
                </a:ext>
              </a:extLst>
            </p:cNvPr>
            <p:cNvSpPr>
              <a:spLocks/>
            </p:cNvSpPr>
            <p:nvPr/>
          </p:nvSpPr>
          <p:spPr bwMode="auto">
            <a:xfrm>
              <a:off x="10209473" y="-152920"/>
              <a:ext cx="40124" cy="465159"/>
            </a:xfrm>
            <a:custGeom>
              <a:avLst/>
              <a:gdLst>
                <a:gd name="T0" fmla="*/ 72 w 72"/>
                <a:gd name="T1" fmla="*/ 36 h 836"/>
                <a:gd name="T2" fmla="*/ 72 w 72"/>
                <a:gd name="T3" fmla="*/ 799 h 836"/>
                <a:gd name="T4" fmla="*/ 72 w 72"/>
                <a:gd name="T5" fmla="*/ 799 h 836"/>
                <a:gd name="T6" fmla="*/ 70 w 72"/>
                <a:gd name="T7" fmla="*/ 806 h 836"/>
                <a:gd name="T8" fmla="*/ 69 w 72"/>
                <a:gd name="T9" fmla="*/ 813 h 836"/>
                <a:gd name="T10" fmla="*/ 65 w 72"/>
                <a:gd name="T11" fmla="*/ 820 h 836"/>
                <a:gd name="T12" fmla="*/ 60 w 72"/>
                <a:gd name="T13" fmla="*/ 825 h 836"/>
                <a:gd name="T14" fmla="*/ 55 w 72"/>
                <a:gd name="T15" fmla="*/ 830 h 836"/>
                <a:gd name="T16" fmla="*/ 50 w 72"/>
                <a:gd name="T17" fmla="*/ 834 h 836"/>
                <a:gd name="T18" fmla="*/ 43 w 72"/>
                <a:gd name="T19" fmla="*/ 836 h 836"/>
                <a:gd name="T20" fmla="*/ 36 w 72"/>
                <a:gd name="T21" fmla="*/ 836 h 836"/>
                <a:gd name="T22" fmla="*/ 36 w 72"/>
                <a:gd name="T23" fmla="*/ 836 h 836"/>
                <a:gd name="T24" fmla="*/ 27 w 72"/>
                <a:gd name="T25" fmla="*/ 836 h 836"/>
                <a:gd name="T26" fmla="*/ 20 w 72"/>
                <a:gd name="T27" fmla="*/ 834 h 836"/>
                <a:gd name="T28" fmla="*/ 15 w 72"/>
                <a:gd name="T29" fmla="*/ 830 h 836"/>
                <a:gd name="T30" fmla="*/ 10 w 72"/>
                <a:gd name="T31" fmla="*/ 825 h 836"/>
                <a:gd name="T32" fmla="*/ 5 w 72"/>
                <a:gd name="T33" fmla="*/ 820 h 836"/>
                <a:gd name="T34" fmla="*/ 1 w 72"/>
                <a:gd name="T35" fmla="*/ 813 h 836"/>
                <a:gd name="T36" fmla="*/ 0 w 72"/>
                <a:gd name="T37" fmla="*/ 806 h 836"/>
                <a:gd name="T38" fmla="*/ 0 w 72"/>
                <a:gd name="T39" fmla="*/ 799 h 836"/>
                <a:gd name="T40" fmla="*/ 0 w 72"/>
                <a:gd name="T41" fmla="*/ 36 h 836"/>
                <a:gd name="T42" fmla="*/ 0 w 72"/>
                <a:gd name="T43" fmla="*/ 36 h 836"/>
                <a:gd name="T44" fmla="*/ 0 w 72"/>
                <a:gd name="T45" fmla="*/ 30 h 836"/>
                <a:gd name="T46" fmla="*/ 1 w 72"/>
                <a:gd name="T47" fmla="*/ 23 h 836"/>
                <a:gd name="T48" fmla="*/ 5 w 72"/>
                <a:gd name="T49" fmla="*/ 16 h 836"/>
                <a:gd name="T50" fmla="*/ 10 w 72"/>
                <a:gd name="T51" fmla="*/ 11 h 836"/>
                <a:gd name="T52" fmla="*/ 15 w 72"/>
                <a:gd name="T53" fmla="*/ 7 h 836"/>
                <a:gd name="T54" fmla="*/ 20 w 72"/>
                <a:gd name="T55" fmla="*/ 4 h 836"/>
                <a:gd name="T56" fmla="*/ 27 w 72"/>
                <a:gd name="T57" fmla="*/ 2 h 836"/>
                <a:gd name="T58" fmla="*/ 36 w 72"/>
                <a:gd name="T59" fmla="*/ 0 h 836"/>
                <a:gd name="T60" fmla="*/ 36 w 72"/>
                <a:gd name="T61" fmla="*/ 0 h 836"/>
                <a:gd name="T62" fmla="*/ 43 w 72"/>
                <a:gd name="T63" fmla="*/ 2 h 836"/>
                <a:gd name="T64" fmla="*/ 50 w 72"/>
                <a:gd name="T65" fmla="*/ 4 h 836"/>
                <a:gd name="T66" fmla="*/ 55 w 72"/>
                <a:gd name="T67" fmla="*/ 7 h 836"/>
                <a:gd name="T68" fmla="*/ 60 w 72"/>
                <a:gd name="T69" fmla="*/ 11 h 836"/>
                <a:gd name="T70" fmla="*/ 65 w 72"/>
                <a:gd name="T71" fmla="*/ 16 h 836"/>
                <a:gd name="T72" fmla="*/ 69 w 72"/>
                <a:gd name="T73" fmla="*/ 23 h 836"/>
                <a:gd name="T74" fmla="*/ 70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0" y="806"/>
                  </a:lnTo>
                  <a:lnTo>
                    <a:pt x="69" y="813"/>
                  </a:lnTo>
                  <a:lnTo>
                    <a:pt x="65" y="820"/>
                  </a:lnTo>
                  <a:lnTo>
                    <a:pt x="60" y="825"/>
                  </a:lnTo>
                  <a:lnTo>
                    <a:pt x="55" y="830"/>
                  </a:lnTo>
                  <a:lnTo>
                    <a:pt x="50" y="834"/>
                  </a:lnTo>
                  <a:lnTo>
                    <a:pt x="43" y="836"/>
                  </a:lnTo>
                  <a:lnTo>
                    <a:pt x="36" y="836"/>
                  </a:lnTo>
                  <a:lnTo>
                    <a:pt x="36" y="836"/>
                  </a:lnTo>
                  <a:lnTo>
                    <a:pt x="27" y="836"/>
                  </a:lnTo>
                  <a:lnTo>
                    <a:pt x="20" y="834"/>
                  </a:lnTo>
                  <a:lnTo>
                    <a:pt x="15" y="830"/>
                  </a:lnTo>
                  <a:lnTo>
                    <a:pt x="10" y="825"/>
                  </a:lnTo>
                  <a:lnTo>
                    <a:pt x="5" y="820"/>
                  </a:lnTo>
                  <a:lnTo>
                    <a:pt x="1" y="813"/>
                  </a:lnTo>
                  <a:lnTo>
                    <a:pt x="0" y="806"/>
                  </a:lnTo>
                  <a:lnTo>
                    <a:pt x="0" y="799"/>
                  </a:lnTo>
                  <a:lnTo>
                    <a:pt x="0" y="36"/>
                  </a:lnTo>
                  <a:lnTo>
                    <a:pt x="0" y="36"/>
                  </a:lnTo>
                  <a:lnTo>
                    <a:pt x="0" y="30"/>
                  </a:lnTo>
                  <a:lnTo>
                    <a:pt x="1" y="23"/>
                  </a:lnTo>
                  <a:lnTo>
                    <a:pt x="5" y="16"/>
                  </a:lnTo>
                  <a:lnTo>
                    <a:pt x="10" y="11"/>
                  </a:lnTo>
                  <a:lnTo>
                    <a:pt x="15" y="7"/>
                  </a:lnTo>
                  <a:lnTo>
                    <a:pt x="20" y="4"/>
                  </a:lnTo>
                  <a:lnTo>
                    <a:pt x="27" y="2"/>
                  </a:lnTo>
                  <a:lnTo>
                    <a:pt x="36" y="0"/>
                  </a:lnTo>
                  <a:lnTo>
                    <a:pt x="36" y="0"/>
                  </a:lnTo>
                  <a:lnTo>
                    <a:pt x="43" y="2"/>
                  </a:lnTo>
                  <a:lnTo>
                    <a:pt x="50" y="4"/>
                  </a:lnTo>
                  <a:lnTo>
                    <a:pt x="55" y="7"/>
                  </a:lnTo>
                  <a:lnTo>
                    <a:pt x="60" y="11"/>
                  </a:lnTo>
                  <a:lnTo>
                    <a:pt x="65" y="16"/>
                  </a:lnTo>
                  <a:lnTo>
                    <a:pt x="69" y="23"/>
                  </a:lnTo>
                  <a:lnTo>
                    <a:pt x="70" y="30"/>
                  </a:lnTo>
                  <a:lnTo>
                    <a:pt x="72" y="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72" name="Freeform 129">
              <a:extLst>
                <a:ext uri="{FF2B5EF4-FFF2-40B4-BE49-F238E27FC236}">
                  <a16:creationId xmlns:a16="http://schemas.microsoft.com/office/drawing/2014/main" id="{65CBD914-EBCA-48C2-B66B-45AED80973E2}"/>
                </a:ext>
              </a:extLst>
            </p:cNvPr>
            <p:cNvSpPr>
              <a:spLocks/>
            </p:cNvSpPr>
            <p:nvPr/>
          </p:nvSpPr>
          <p:spPr bwMode="auto">
            <a:xfrm>
              <a:off x="10352696" y="-152920"/>
              <a:ext cx="40682" cy="465159"/>
            </a:xfrm>
            <a:custGeom>
              <a:avLst/>
              <a:gdLst>
                <a:gd name="T0" fmla="*/ 73 w 73"/>
                <a:gd name="T1" fmla="*/ 36 h 836"/>
                <a:gd name="T2" fmla="*/ 73 w 73"/>
                <a:gd name="T3" fmla="*/ 799 h 836"/>
                <a:gd name="T4" fmla="*/ 73 w 73"/>
                <a:gd name="T5" fmla="*/ 799 h 836"/>
                <a:gd name="T6" fmla="*/ 73 w 73"/>
                <a:gd name="T7" fmla="*/ 806 h 836"/>
                <a:gd name="T8" fmla="*/ 69 w 73"/>
                <a:gd name="T9" fmla="*/ 813 h 836"/>
                <a:gd name="T10" fmla="*/ 66 w 73"/>
                <a:gd name="T11" fmla="*/ 820 h 836"/>
                <a:gd name="T12" fmla="*/ 62 w 73"/>
                <a:gd name="T13" fmla="*/ 825 h 836"/>
                <a:gd name="T14" fmla="*/ 57 w 73"/>
                <a:gd name="T15" fmla="*/ 830 h 836"/>
                <a:gd name="T16" fmla="*/ 50 w 73"/>
                <a:gd name="T17" fmla="*/ 834 h 836"/>
                <a:gd name="T18" fmla="*/ 43 w 73"/>
                <a:gd name="T19" fmla="*/ 836 h 836"/>
                <a:gd name="T20" fmla="*/ 36 w 73"/>
                <a:gd name="T21" fmla="*/ 836 h 836"/>
                <a:gd name="T22" fmla="*/ 36 w 73"/>
                <a:gd name="T23" fmla="*/ 836 h 836"/>
                <a:gd name="T24" fmla="*/ 30 w 73"/>
                <a:gd name="T25" fmla="*/ 836 h 836"/>
                <a:gd name="T26" fmla="*/ 23 w 73"/>
                <a:gd name="T27" fmla="*/ 834 h 836"/>
                <a:gd name="T28" fmla="*/ 16 w 73"/>
                <a:gd name="T29" fmla="*/ 830 h 836"/>
                <a:gd name="T30" fmla="*/ 11 w 73"/>
                <a:gd name="T31" fmla="*/ 825 h 836"/>
                <a:gd name="T32" fmla="*/ 7 w 73"/>
                <a:gd name="T33" fmla="*/ 820 h 836"/>
                <a:gd name="T34" fmla="*/ 4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4 w 73"/>
                <a:gd name="T47" fmla="*/ 23 h 836"/>
                <a:gd name="T48" fmla="*/ 7 w 73"/>
                <a:gd name="T49" fmla="*/ 16 h 836"/>
                <a:gd name="T50" fmla="*/ 11 w 73"/>
                <a:gd name="T51" fmla="*/ 11 h 836"/>
                <a:gd name="T52" fmla="*/ 16 w 73"/>
                <a:gd name="T53" fmla="*/ 7 h 836"/>
                <a:gd name="T54" fmla="*/ 23 w 73"/>
                <a:gd name="T55" fmla="*/ 4 h 836"/>
                <a:gd name="T56" fmla="*/ 30 w 73"/>
                <a:gd name="T57" fmla="*/ 2 h 836"/>
                <a:gd name="T58" fmla="*/ 36 w 73"/>
                <a:gd name="T59" fmla="*/ 0 h 836"/>
                <a:gd name="T60" fmla="*/ 36 w 73"/>
                <a:gd name="T61" fmla="*/ 0 h 836"/>
                <a:gd name="T62" fmla="*/ 43 w 73"/>
                <a:gd name="T63" fmla="*/ 2 h 836"/>
                <a:gd name="T64" fmla="*/ 50 w 73"/>
                <a:gd name="T65" fmla="*/ 4 h 836"/>
                <a:gd name="T66" fmla="*/ 57 w 73"/>
                <a:gd name="T67" fmla="*/ 7 h 836"/>
                <a:gd name="T68" fmla="*/ 62 w 73"/>
                <a:gd name="T69" fmla="*/ 11 h 836"/>
                <a:gd name="T70" fmla="*/ 66 w 73"/>
                <a:gd name="T71" fmla="*/ 16 h 836"/>
                <a:gd name="T72" fmla="*/ 69 w 73"/>
                <a:gd name="T73" fmla="*/ 23 h 836"/>
                <a:gd name="T74" fmla="*/ 73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3" y="806"/>
                  </a:lnTo>
                  <a:lnTo>
                    <a:pt x="69" y="813"/>
                  </a:lnTo>
                  <a:lnTo>
                    <a:pt x="66" y="820"/>
                  </a:lnTo>
                  <a:lnTo>
                    <a:pt x="62" y="825"/>
                  </a:lnTo>
                  <a:lnTo>
                    <a:pt x="57" y="830"/>
                  </a:lnTo>
                  <a:lnTo>
                    <a:pt x="50" y="834"/>
                  </a:lnTo>
                  <a:lnTo>
                    <a:pt x="43" y="836"/>
                  </a:lnTo>
                  <a:lnTo>
                    <a:pt x="36" y="836"/>
                  </a:lnTo>
                  <a:lnTo>
                    <a:pt x="36" y="836"/>
                  </a:lnTo>
                  <a:lnTo>
                    <a:pt x="30" y="836"/>
                  </a:lnTo>
                  <a:lnTo>
                    <a:pt x="23" y="834"/>
                  </a:lnTo>
                  <a:lnTo>
                    <a:pt x="16" y="830"/>
                  </a:lnTo>
                  <a:lnTo>
                    <a:pt x="11" y="825"/>
                  </a:lnTo>
                  <a:lnTo>
                    <a:pt x="7" y="820"/>
                  </a:lnTo>
                  <a:lnTo>
                    <a:pt x="4" y="813"/>
                  </a:lnTo>
                  <a:lnTo>
                    <a:pt x="0" y="806"/>
                  </a:lnTo>
                  <a:lnTo>
                    <a:pt x="0" y="799"/>
                  </a:lnTo>
                  <a:lnTo>
                    <a:pt x="0" y="36"/>
                  </a:lnTo>
                  <a:lnTo>
                    <a:pt x="0" y="36"/>
                  </a:lnTo>
                  <a:lnTo>
                    <a:pt x="0" y="30"/>
                  </a:lnTo>
                  <a:lnTo>
                    <a:pt x="4" y="23"/>
                  </a:lnTo>
                  <a:lnTo>
                    <a:pt x="7" y="16"/>
                  </a:lnTo>
                  <a:lnTo>
                    <a:pt x="11" y="11"/>
                  </a:lnTo>
                  <a:lnTo>
                    <a:pt x="16" y="7"/>
                  </a:lnTo>
                  <a:lnTo>
                    <a:pt x="23" y="4"/>
                  </a:lnTo>
                  <a:lnTo>
                    <a:pt x="30" y="2"/>
                  </a:lnTo>
                  <a:lnTo>
                    <a:pt x="36" y="0"/>
                  </a:lnTo>
                  <a:lnTo>
                    <a:pt x="36" y="0"/>
                  </a:lnTo>
                  <a:lnTo>
                    <a:pt x="43" y="2"/>
                  </a:lnTo>
                  <a:lnTo>
                    <a:pt x="50" y="4"/>
                  </a:lnTo>
                  <a:lnTo>
                    <a:pt x="57" y="7"/>
                  </a:lnTo>
                  <a:lnTo>
                    <a:pt x="62" y="11"/>
                  </a:lnTo>
                  <a:lnTo>
                    <a:pt x="66" y="16"/>
                  </a:lnTo>
                  <a:lnTo>
                    <a:pt x="69" y="23"/>
                  </a:lnTo>
                  <a:lnTo>
                    <a:pt x="73" y="30"/>
                  </a:lnTo>
                  <a:lnTo>
                    <a:pt x="7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73" name="Freeform 130">
              <a:extLst>
                <a:ext uri="{FF2B5EF4-FFF2-40B4-BE49-F238E27FC236}">
                  <a16:creationId xmlns:a16="http://schemas.microsoft.com/office/drawing/2014/main" id="{78304E33-1AE0-4A57-85CC-FADA237BB555}"/>
                </a:ext>
              </a:extLst>
            </p:cNvPr>
            <p:cNvSpPr>
              <a:spLocks/>
            </p:cNvSpPr>
            <p:nvPr/>
          </p:nvSpPr>
          <p:spPr bwMode="auto">
            <a:xfrm>
              <a:off x="10352696" y="-152920"/>
              <a:ext cx="40682" cy="465159"/>
            </a:xfrm>
            <a:custGeom>
              <a:avLst/>
              <a:gdLst>
                <a:gd name="T0" fmla="*/ 73 w 73"/>
                <a:gd name="T1" fmla="*/ 36 h 836"/>
                <a:gd name="T2" fmla="*/ 73 w 73"/>
                <a:gd name="T3" fmla="*/ 799 h 836"/>
                <a:gd name="T4" fmla="*/ 73 w 73"/>
                <a:gd name="T5" fmla="*/ 799 h 836"/>
                <a:gd name="T6" fmla="*/ 73 w 73"/>
                <a:gd name="T7" fmla="*/ 806 h 836"/>
                <a:gd name="T8" fmla="*/ 69 w 73"/>
                <a:gd name="T9" fmla="*/ 813 h 836"/>
                <a:gd name="T10" fmla="*/ 66 w 73"/>
                <a:gd name="T11" fmla="*/ 820 h 836"/>
                <a:gd name="T12" fmla="*/ 62 w 73"/>
                <a:gd name="T13" fmla="*/ 825 h 836"/>
                <a:gd name="T14" fmla="*/ 57 w 73"/>
                <a:gd name="T15" fmla="*/ 830 h 836"/>
                <a:gd name="T16" fmla="*/ 50 w 73"/>
                <a:gd name="T17" fmla="*/ 834 h 836"/>
                <a:gd name="T18" fmla="*/ 43 w 73"/>
                <a:gd name="T19" fmla="*/ 836 h 836"/>
                <a:gd name="T20" fmla="*/ 36 w 73"/>
                <a:gd name="T21" fmla="*/ 836 h 836"/>
                <a:gd name="T22" fmla="*/ 36 w 73"/>
                <a:gd name="T23" fmla="*/ 836 h 836"/>
                <a:gd name="T24" fmla="*/ 30 w 73"/>
                <a:gd name="T25" fmla="*/ 836 h 836"/>
                <a:gd name="T26" fmla="*/ 23 w 73"/>
                <a:gd name="T27" fmla="*/ 834 h 836"/>
                <a:gd name="T28" fmla="*/ 16 w 73"/>
                <a:gd name="T29" fmla="*/ 830 h 836"/>
                <a:gd name="T30" fmla="*/ 11 w 73"/>
                <a:gd name="T31" fmla="*/ 825 h 836"/>
                <a:gd name="T32" fmla="*/ 7 w 73"/>
                <a:gd name="T33" fmla="*/ 820 h 836"/>
                <a:gd name="T34" fmla="*/ 4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4 w 73"/>
                <a:gd name="T47" fmla="*/ 23 h 836"/>
                <a:gd name="T48" fmla="*/ 7 w 73"/>
                <a:gd name="T49" fmla="*/ 16 h 836"/>
                <a:gd name="T50" fmla="*/ 11 w 73"/>
                <a:gd name="T51" fmla="*/ 11 h 836"/>
                <a:gd name="T52" fmla="*/ 16 w 73"/>
                <a:gd name="T53" fmla="*/ 7 h 836"/>
                <a:gd name="T54" fmla="*/ 23 w 73"/>
                <a:gd name="T55" fmla="*/ 4 h 836"/>
                <a:gd name="T56" fmla="*/ 30 w 73"/>
                <a:gd name="T57" fmla="*/ 2 h 836"/>
                <a:gd name="T58" fmla="*/ 36 w 73"/>
                <a:gd name="T59" fmla="*/ 0 h 836"/>
                <a:gd name="T60" fmla="*/ 36 w 73"/>
                <a:gd name="T61" fmla="*/ 0 h 836"/>
                <a:gd name="T62" fmla="*/ 43 w 73"/>
                <a:gd name="T63" fmla="*/ 2 h 836"/>
                <a:gd name="T64" fmla="*/ 50 w 73"/>
                <a:gd name="T65" fmla="*/ 4 h 836"/>
                <a:gd name="T66" fmla="*/ 57 w 73"/>
                <a:gd name="T67" fmla="*/ 7 h 836"/>
                <a:gd name="T68" fmla="*/ 62 w 73"/>
                <a:gd name="T69" fmla="*/ 11 h 836"/>
                <a:gd name="T70" fmla="*/ 66 w 73"/>
                <a:gd name="T71" fmla="*/ 16 h 836"/>
                <a:gd name="T72" fmla="*/ 69 w 73"/>
                <a:gd name="T73" fmla="*/ 23 h 836"/>
                <a:gd name="T74" fmla="*/ 73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3" y="806"/>
                  </a:lnTo>
                  <a:lnTo>
                    <a:pt x="69" y="813"/>
                  </a:lnTo>
                  <a:lnTo>
                    <a:pt x="66" y="820"/>
                  </a:lnTo>
                  <a:lnTo>
                    <a:pt x="62" y="825"/>
                  </a:lnTo>
                  <a:lnTo>
                    <a:pt x="57" y="830"/>
                  </a:lnTo>
                  <a:lnTo>
                    <a:pt x="50" y="834"/>
                  </a:lnTo>
                  <a:lnTo>
                    <a:pt x="43" y="836"/>
                  </a:lnTo>
                  <a:lnTo>
                    <a:pt x="36" y="836"/>
                  </a:lnTo>
                  <a:lnTo>
                    <a:pt x="36" y="836"/>
                  </a:lnTo>
                  <a:lnTo>
                    <a:pt x="30" y="836"/>
                  </a:lnTo>
                  <a:lnTo>
                    <a:pt x="23" y="834"/>
                  </a:lnTo>
                  <a:lnTo>
                    <a:pt x="16" y="830"/>
                  </a:lnTo>
                  <a:lnTo>
                    <a:pt x="11" y="825"/>
                  </a:lnTo>
                  <a:lnTo>
                    <a:pt x="7" y="820"/>
                  </a:lnTo>
                  <a:lnTo>
                    <a:pt x="4" y="813"/>
                  </a:lnTo>
                  <a:lnTo>
                    <a:pt x="0" y="806"/>
                  </a:lnTo>
                  <a:lnTo>
                    <a:pt x="0" y="799"/>
                  </a:lnTo>
                  <a:lnTo>
                    <a:pt x="0" y="36"/>
                  </a:lnTo>
                  <a:lnTo>
                    <a:pt x="0" y="36"/>
                  </a:lnTo>
                  <a:lnTo>
                    <a:pt x="0" y="30"/>
                  </a:lnTo>
                  <a:lnTo>
                    <a:pt x="4" y="23"/>
                  </a:lnTo>
                  <a:lnTo>
                    <a:pt x="7" y="16"/>
                  </a:lnTo>
                  <a:lnTo>
                    <a:pt x="11" y="11"/>
                  </a:lnTo>
                  <a:lnTo>
                    <a:pt x="16" y="7"/>
                  </a:lnTo>
                  <a:lnTo>
                    <a:pt x="23" y="4"/>
                  </a:lnTo>
                  <a:lnTo>
                    <a:pt x="30" y="2"/>
                  </a:lnTo>
                  <a:lnTo>
                    <a:pt x="36" y="0"/>
                  </a:lnTo>
                  <a:lnTo>
                    <a:pt x="36" y="0"/>
                  </a:lnTo>
                  <a:lnTo>
                    <a:pt x="43" y="2"/>
                  </a:lnTo>
                  <a:lnTo>
                    <a:pt x="50" y="4"/>
                  </a:lnTo>
                  <a:lnTo>
                    <a:pt x="57" y="7"/>
                  </a:lnTo>
                  <a:lnTo>
                    <a:pt x="62" y="11"/>
                  </a:lnTo>
                  <a:lnTo>
                    <a:pt x="66" y="16"/>
                  </a:lnTo>
                  <a:lnTo>
                    <a:pt x="69" y="23"/>
                  </a:lnTo>
                  <a:lnTo>
                    <a:pt x="73" y="30"/>
                  </a:lnTo>
                  <a:lnTo>
                    <a:pt x="73" y="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74" name="Freeform 131">
              <a:extLst>
                <a:ext uri="{FF2B5EF4-FFF2-40B4-BE49-F238E27FC236}">
                  <a16:creationId xmlns:a16="http://schemas.microsoft.com/office/drawing/2014/main" id="{AAB1347D-93CC-4092-A28F-2424AFACFB0F}"/>
                </a:ext>
              </a:extLst>
            </p:cNvPr>
            <p:cNvSpPr>
              <a:spLocks/>
            </p:cNvSpPr>
            <p:nvPr/>
          </p:nvSpPr>
          <p:spPr bwMode="auto">
            <a:xfrm>
              <a:off x="10496476" y="13447"/>
              <a:ext cx="40124" cy="132982"/>
            </a:xfrm>
            <a:custGeom>
              <a:avLst/>
              <a:gdLst>
                <a:gd name="T0" fmla="*/ 72 w 72"/>
                <a:gd name="T1" fmla="*/ 37 h 239"/>
                <a:gd name="T2" fmla="*/ 72 w 72"/>
                <a:gd name="T3" fmla="*/ 203 h 239"/>
                <a:gd name="T4" fmla="*/ 72 w 72"/>
                <a:gd name="T5" fmla="*/ 203 h 239"/>
                <a:gd name="T6" fmla="*/ 72 w 72"/>
                <a:gd name="T7" fmla="*/ 210 h 239"/>
                <a:gd name="T8" fmla="*/ 71 w 72"/>
                <a:gd name="T9" fmla="*/ 217 h 239"/>
                <a:gd name="T10" fmla="*/ 67 w 72"/>
                <a:gd name="T11" fmla="*/ 222 h 239"/>
                <a:gd name="T12" fmla="*/ 62 w 72"/>
                <a:gd name="T13" fmla="*/ 227 h 239"/>
                <a:gd name="T14" fmla="*/ 57 w 72"/>
                <a:gd name="T15" fmla="*/ 232 h 239"/>
                <a:gd name="T16" fmla="*/ 50 w 72"/>
                <a:gd name="T17" fmla="*/ 236 h 239"/>
                <a:gd name="T18" fmla="*/ 45 w 72"/>
                <a:gd name="T19" fmla="*/ 237 h 239"/>
                <a:gd name="T20" fmla="*/ 36 w 72"/>
                <a:gd name="T21" fmla="*/ 239 h 239"/>
                <a:gd name="T22" fmla="*/ 36 w 72"/>
                <a:gd name="T23" fmla="*/ 239 h 239"/>
                <a:gd name="T24" fmla="*/ 29 w 72"/>
                <a:gd name="T25" fmla="*/ 237 h 239"/>
                <a:gd name="T26" fmla="*/ 22 w 72"/>
                <a:gd name="T27" fmla="*/ 236 h 239"/>
                <a:gd name="T28" fmla="*/ 17 w 72"/>
                <a:gd name="T29" fmla="*/ 232 h 239"/>
                <a:gd name="T30" fmla="*/ 10 w 72"/>
                <a:gd name="T31" fmla="*/ 227 h 239"/>
                <a:gd name="T32" fmla="*/ 7 w 72"/>
                <a:gd name="T33" fmla="*/ 222 h 239"/>
                <a:gd name="T34" fmla="*/ 3 w 72"/>
                <a:gd name="T35" fmla="*/ 217 h 239"/>
                <a:gd name="T36" fmla="*/ 1 w 72"/>
                <a:gd name="T37" fmla="*/ 210 h 239"/>
                <a:gd name="T38" fmla="*/ 0 w 72"/>
                <a:gd name="T39" fmla="*/ 203 h 239"/>
                <a:gd name="T40" fmla="*/ 0 w 72"/>
                <a:gd name="T41" fmla="*/ 37 h 239"/>
                <a:gd name="T42" fmla="*/ 0 w 72"/>
                <a:gd name="T43" fmla="*/ 37 h 239"/>
                <a:gd name="T44" fmla="*/ 1 w 72"/>
                <a:gd name="T45" fmla="*/ 30 h 239"/>
                <a:gd name="T46" fmla="*/ 3 w 72"/>
                <a:gd name="T47" fmla="*/ 23 h 239"/>
                <a:gd name="T48" fmla="*/ 7 w 72"/>
                <a:gd name="T49" fmla="*/ 16 h 239"/>
                <a:gd name="T50" fmla="*/ 10 w 72"/>
                <a:gd name="T51" fmla="*/ 11 h 239"/>
                <a:gd name="T52" fmla="*/ 17 w 72"/>
                <a:gd name="T53" fmla="*/ 6 h 239"/>
                <a:gd name="T54" fmla="*/ 22 w 72"/>
                <a:gd name="T55" fmla="*/ 4 h 239"/>
                <a:gd name="T56" fmla="*/ 29 w 72"/>
                <a:gd name="T57" fmla="*/ 0 h 239"/>
                <a:gd name="T58" fmla="*/ 36 w 72"/>
                <a:gd name="T59" fmla="*/ 0 h 239"/>
                <a:gd name="T60" fmla="*/ 36 w 72"/>
                <a:gd name="T61" fmla="*/ 0 h 239"/>
                <a:gd name="T62" fmla="*/ 45 w 72"/>
                <a:gd name="T63" fmla="*/ 0 h 239"/>
                <a:gd name="T64" fmla="*/ 50 w 72"/>
                <a:gd name="T65" fmla="*/ 4 h 239"/>
                <a:gd name="T66" fmla="*/ 57 w 72"/>
                <a:gd name="T67" fmla="*/ 6 h 239"/>
                <a:gd name="T68" fmla="*/ 62 w 72"/>
                <a:gd name="T69" fmla="*/ 11 h 239"/>
                <a:gd name="T70" fmla="*/ 67 w 72"/>
                <a:gd name="T71" fmla="*/ 16 h 239"/>
                <a:gd name="T72" fmla="*/ 71 w 72"/>
                <a:gd name="T73" fmla="*/ 23 h 239"/>
                <a:gd name="T74" fmla="*/ 72 w 72"/>
                <a:gd name="T75" fmla="*/ 30 h 239"/>
                <a:gd name="T76" fmla="*/ 72 w 72"/>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239">
                  <a:moveTo>
                    <a:pt x="72" y="37"/>
                  </a:moveTo>
                  <a:lnTo>
                    <a:pt x="72" y="203"/>
                  </a:lnTo>
                  <a:lnTo>
                    <a:pt x="72" y="203"/>
                  </a:lnTo>
                  <a:lnTo>
                    <a:pt x="72" y="210"/>
                  </a:lnTo>
                  <a:lnTo>
                    <a:pt x="71" y="217"/>
                  </a:lnTo>
                  <a:lnTo>
                    <a:pt x="67" y="222"/>
                  </a:lnTo>
                  <a:lnTo>
                    <a:pt x="62" y="227"/>
                  </a:lnTo>
                  <a:lnTo>
                    <a:pt x="57" y="232"/>
                  </a:lnTo>
                  <a:lnTo>
                    <a:pt x="50" y="236"/>
                  </a:lnTo>
                  <a:lnTo>
                    <a:pt x="45" y="237"/>
                  </a:lnTo>
                  <a:lnTo>
                    <a:pt x="36" y="239"/>
                  </a:lnTo>
                  <a:lnTo>
                    <a:pt x="36" y="239"/>
                  </a:lnTo>
                  <a:lnTo>
                    <a:pt x="29" y="237"/>
                  </a:lnTo>
                  <a:lnTo>
                    <a:pt x="22" y="236"/>
                  </a:lnTo>
                  <a:lnTo>
                    <a:pt x="17" y="232"/>
                  </a:lnTo>
                  <a:lnTo>
                    <a:pt x="10" y="227"/>
                  </a:lnTo>
                  <a:lnTo>
                    <a:pt x="7" y="222"/>
                  </a:lnTo>
                  <a:lnTo>
                    <a:pt x="3" y="217"/>
                  </a:lnTo>
                  <a:lnTo>
                    <a:pt x="1" y="210"/>
                  </a:lnTo>
                  <a:lnTo>
                    <a:pt x="0" y="203"/>
                  </a:lnTo>
                  <a:lnTo>
                    <a:pt x="0" y="37"/>
                  </a:lnTo>
                  <a:lnTo>
                    <a:pt x="0" y="37"/>
                  </a:lnTo>
                  <a:lnTo>
                    <a:pt x="1" y="30"/>
                  </a:lnTo>
                  <a:lnTo>
                    <a:pt x="3" y="23"/>
                  </a:lnTo>
                  <a:lnTo>
                    <a:pt x="7" y="16"/>
                  </a:lnTo>
                  <a:lnTo>
                    <a:pt x="10" y="11"/>
                  </a:lnTo>
                  <a:lnTo>
                    <a:pt x="17" y="6"/>
                  </a:lnTo>
                  <a:lnTo>
                    <a:pt x="22" y="4"/>
                  </a:lnTo>
                  <a:lnTo>
                    <a:pt x="29" y="0"/>
                  </a:lnTo>
                  <a:lnTo>
                    <a:pt x="36" y="0"/>
                  </a:lnTo>
                  <a:lnTo>
                    <a:pt x="36" y="0"/>
                  </a:lnTo>
                  <a:lnTo>
                    <a:pt x="45" y="0"/>
                  </a:lnTo>
                  <a:lnTo>
                    <a:pt x="50" y="4"/>
                  </a:lnTo>
                  <a:lnTo>
                    <a:pt x="57" y="6"/>
                  </a:lnTo>
                  <a:lnTo>
                    <a:pt x="62" y="11"/>
                  </a:lnTo>
                  <a:lnTo>
                    <a:pt x="67" y="16"/>
                  </a:lnTo>
                  <a:lnTo>
                    <a:pt x="71" y="23"/>
                  </a:lnTo>
                  <a:lnTo>
                    <a:pt x="72" y="30"/>
                  </a:lnTo>
                  <a:lnTo>
                    <a:pt x="72"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75" name="Freeform 132">
              <a:extLst>
                <a:ext uri="{FF2B5EF4-FFF2-40B4-BE49-F238E27FC236}">
                  <a16:creationId xmlns:a16="http://schemas.microsoft.com/office/drawing/2014/main" id="{5B429B8E-7FD5-478D-B8F2-3C7A4BAFDEE6}"/>
                </a:ext>
              </a:extLst>
            </p:cNvPr>
            <p:cNvSpPr>
              <a:spLocks/>
            </p:cNvSpPr>
            <p:nvPr/>
          </p:nvSpPr>
          <p:spPr bwMode="auto">
            <a:xfrm>
              <a:off x="10496476" y="13447"/>
              <a:ext cx="40124" cy="132982"/>
            </a:xfrm>
            <a:custGeom>
              <a:avLst/>
              <a:gdLst>
                <a:gd name="T0" fmla="*/ 72 w 72"/>
                <a:gd name="T1" fmla="*/ 37 h 239"/>
                <a:gd name="T2" fmla="*/ 72 w 72"/>
                <a:gd name="T3" fmla="*/ 203 h 239"/>
                <a:gd name="T4" fmla="*/ 72 w 72"/>
                <a:gd name="T5" fmla="*/ 203 h 239"/>
                <a:gd name="T6" fmla="*/ 72 w 72"/>
                <a:gd name="T7" fmla="*/ 210 h 239"/>
                <a:gd name="T8" fmla="*/ 71 w 72"/>
                <a:gd name="T9" fmla="*/ 217 h 239"/>
                <a:gd name="T10" fmla="*/ 67 w 72"/>
                <a:gd name="T11" fmla="*/ 222 h 239"/>
                <a:gd name="T12" fmla="*/ 62 w 72"/>
                <a:gd name="T13" fmla="*/ 227 h 239"/>
                <a:gd name="T14" fmla="*/ 57 w 72"/>
                <a:gd name="T15" fmla="*/ 232 h 239"/>
                <a:gd name="T16" fmla="*/ 50 w 72"/>
                <a:gd name="T17" fmla="*/ 236 h 239"/>
                <a:gd name="T18" fmla="*/ 45 w 72"/>
                <a:gd name="T19" fmla="*/ 237 h 239"/>
                <a:gd name="T20" fmla="*/ 36 w 72"/>
                <a:gd name="T21" fmla="*/ 239 h 239"/>
                <a:gd name="T22" fmla="*/ 36 w 72"/>
                <a:gd name="T23" fmla="*/ 239 h 239"/>
                <a:gd name="T24" fmla="*/ 29 w 72"/>
                <a:gd name="T25" fmla="*/ 237 h 239"/>
                <a:gd name="T26" fmla="*/ 22 w 72"/>
                <a:gd name="T27" fmla="*/ 236 h 239"/>
                <a:gd name="T28" fmla="*/ 17 w 72"/>
                <a:gd name="T29" fmla="*/ 232 h 239"/>
                <a:gd name="T30" fmla="*/ 10 w 72"/>
                <a:gd name="T31" fmla="*/ 227 h 239"/>
                <a:gd name="T32" fmla="*/ 7 w 72"/>
                <a:gd name="T33" fmla="*/ 222 h 239"/>
                <a:gd name="T34" fmla="*/ 3 w 72"/>
                <a:gd name="T35" fmla="*/ 217 h 239"/>
                <a:gd name="T36" fmla="*/ 1 w 72"/>
                <a:gd name="T37" fmla="*/ 210 h 239"/>
                <a:gd name="T38" fmla="*/ 0 w 72"/>
                <a:gd name="T39" fmla="*/ 203 h 239"/>
                <a:gd name="T40" fmla="*/ 0 w 72"/>
                <a:gd name="T41" fmla="*/ 37 h 239"/>
                <a:gd name="T42" fmla="*/ 0 w 72"/>
                <a:gd name="T43" fmla="*/ 37 h 239"/>
                <a:gd name="T44" fmla="*/ 1 w 72"/>
                <a:gd name="T45" fmla="*/ 30 h 239"/>
                <a:gd name="T46" fmla="*/ 3 w 72"/>
                <a:gd name="T47" fmla="*/ 23 h 239"/>
                <a:gd name="T48" fmla="*/ 7 w 72"/>
                <a:gd name="T49" fmla="*/ 16 h 239"/>
                <a:gd name="T50" fmla="*/ 10 w 72"/>
                <a:gd name="T51" fmla="*/ 11 h 239"/>
                <a:gd name="T52" fmla="*/ 17 w 72"/>
                <a:gd name="T53" fmla="*/ 6 h 239"/>
                <a:gd name="T54" fmla="*/ 22 w 72"/>
                <a:gd name="T55" fmla="*/ 4 h 239"/>
                <a:gd name="T56" fmla="*/ 29 w 72"/>
                <a:gd name="T57" fmla="*/ 0 h 239"/>
                <a:gd name="T58" fmla="*/ 36 w 72"/>
                <a:gd name="T59" fmla="*/ 0 h 239"/>
                <a:gd name="T60" fmla="*/ 36 w 72"/>
                <a:gd name="T61" fmla="*/ 0 h 239"/>
                <a:gd name="T62" fmla="*/ 45 w 72"/>
                <a:gd name="T63" fmla="*/ 0 h 239"/>
                <a:gd name="T64" fmla="*/ 50 w 72"/>
                <a:gd name="T65" fmla="*/ 4 h 239"/>
                <a:gd name="T66" fmla="*/ 57 w 72"/>
                <a:gd name="T67" fmla="*/ 6 h 239"/>
                <a:gd name="T68" fmla="*/ 62 w 72"/>
                <a:gd name="T69" fmla="*/ 11 h 239"/>
                <a:gd name="T70" fmla="*/ 67 w 72"/>
                <a:gd name="T71" fmla="*/ 16 h 239"/>
                <a:gd name="T72" fmla="*/ 71 w 72"/>
                <a:gd name="T73" fmla="*/ 23 h 239"/>
                <a:gd name="T74" fmla="*/ 72 w 72"/>
                <a:gd name="T75" fmla="*/ 30 h 239"/>
                <a:gd name="T76" fmla="*/ 72 w 72"/>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239">
                  <a:moveTo>
                    <a:pt x="72" y="37"/>
                  </a:moveTo>
                  <a:lnTo>
                    <a:pt x="72" y="203"/>
                  </a:lnTo>
                  <a:lnTo>
                    <a:pt x="72" y="203"/>
                  </a:lnTo>
                  <a:lnTo>
                    <a:pt x="72" y="210"/>
                  </a:lnTo>
                  <a:lnTo>
                    <a:pt x="71" y="217"/>
                  </a:lnTo>
                  <a:lnTo>
                    <a:pt x="67" y="222"/>
                  </a:lnTo>
                  <a:lnTo>
                    <a:pt x="62" y="227"/>
                  </a:lnTo>
                  <a:lnTo>
                    <a:pt x="57" y="232"/>
                  </a:lnTo>
                  <a:lnTo>
                    <a:pt x="50" y="236"/>
                  </a:lnTo>
                  <a:lnTo>
                    <a:pt x="45" y="237"/>
                  </a:lnTo>
                  <a:lnTo>
                    <a:pt x="36" y="239"/>
                  </a:lnTo>
                  <a:lnTo>
                    <a:pt x="36" y="239"/>
                  </a:lnTo>
                  <a:lnTo>
                    <a:pt x="29" y="237"/>
                  </a:lnTo>
                  <a:lnTo>
                    <a:pt x="22" y="236"/>
                  </a:lnTo>
                  <a:lnTo>
                    <a:pt x="17" y="232"/>
                  </a:lnTo>
                  <a:lnTo>
                    <a:pt x="10" y="227"/>
                  </a:lnTo>
                  <a:lnTo>
                    <a:pt x="7" y="222"/>
                  </a:lnTo>
                  <a:lnTo>
                    <a:pt x="3" y="217"/>
                  </a:lnTo>
                  <a:lnTo>
                    <a:pt x="1" y="210"/>
                  </a:lnTo>
                  <a:lnTo>
                    <a:pt x="0" y="203"/>
                  </a:lnTo>
                  <a:lnTo>
                    <a:pt x="0" y="37"/>
                  </a:lnTo>
                  <a:lnTo>
                    <a:pt x="0" y="37"/>
                  </a:lnTo>
                  <a:lnTo>
                    <a:pt x="1" y="30"/>
                  </a:lnTo>
                  <a:lnTo>
                    <a:pt x="3" y="23"/>
                  </a:lnTo>
                  <a:lnTo>
                    <a:pt x="7" y="16"/>
                  </a:lnTo>
                  <a:lnTo>
                    <a:pt x="10" y="11"/>
                  </a:lnTo>
                  <a:lnTo>
                    <a:pt x="17" y="6"/>
                  </a:lnTo>
                  <a:lnTo>
                    <a:pt x="22" y="4"/>
                  </a:lnTo>
                  <a:lnTo>
                    <a:pt x="29" y="0"/>
                  </a:lnTo>
                  <a:lnTo>
                    <a:pt x="36" y="0"/>
                  </a:lnTo>
                  <a:lnTo>
                    <a:pt x="36" y="0"/>
                  </a:lnTo>
                  <a:lnTo>
                    <a:pt x="45" y="0"/>
                  </a:lnTo>
                  <a:lnTo>
                    <a:pt x="50" y="4"/>
                  </a:lnTo>
                  <a:lnTo>
                    <a:pt x="57" y="6"/>
                  </a:lnTo>
                  <a:lnTo>
                    <a:pt x="62" y="11"/>
                  </a:lnTo>
                  <a:lnTo>
                    <a:pt x="67" y="16"/>
                  </a:lnTo>
                  <a:lnTo>
                    <a:pt x="71" y="23"/>
                  </a:lnTo>
                  <a:lnTo>
                    <a:pt x="72" y="30"/>
                  </a:lnTo>
                  <a:lnTo>
                    <a:pt x="72" y="3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76" name="Freeform 133">
              <a:extLst>
                <a:ext uri="{FF2B5EF4-FFF2-40B4-BE49-F238E27FC236}">
                  <a16:creationId xmlns:a16="http://schemas.microsoft.com/office/drawing/2014/main" id="{EEBD51E0-6E97-4CC3-B2AA-DDB5E52CDA4D}"/>
                </a:ext>
              </a:extLst>
            </p:cNvPr>
            <p:cNvSpPr>
              <a:spLocks/>
            </p:cNvSpPr>
            <p:nvPr/>
          </p:nvSpPr>
          <p:spPr bwMode="auto">
            <a:xfrm>
              <a:off x="10927814" y="13447"/>
              <a:ext cx="40682" cy="132982"/>
            </a:xfrm>
            <a:custGeom>
              <a:avLst/>
              <a:gdLst>
                <a:gd name="T0" fmla="*/ 73 w 73"/>
                <a:gd name="T1" fmla="*/ 37 h 239"/>
                <a:gd name="T2" fmla="*/ 73 w 73"/>
                <a:gd name="T3" fmla="*/ 203 h 239"/>
                <a:gd name="T4" fmla="*/ 73 w 73"/>
                <a:gd name="T5" fmla="*/ 203 h 239"/>
                <a:gd name="T6" fmla="*/ 73 w 73"/>
                <a:gd name="T7" fmla="*/ 210 h 239"/>
                <a:gd name="T8" fmla="*/ 71 w 73"/>
                <a:gd name="T9" fmla="*/ 217 h 239"/>
                <a:gd name="T10" fmla="*/ 68 w 73"/>
                <a:gd name="T11" fmla="*/ 222 h 239"/>
                <a:gd name="T12" fmla="*/ 62 w 73"/>
                <a:gd name="T13" fmla="*/ 227 h 239"/>
                <a:gd name="T14" fmla="*/ 57 w 73"/>
                <a:gd name="T15" fmla="*/ 232 h 239"/>
                <a:gd name="T16" fmla="*/ 50 w 73"/>
                <a:gd name="T17" fmla="*/ 236 h 239"/>
                <a:gd name="T18" fmla="*/ 43 w 73"/>
                <a:gd name="T19" fmla="*/ 237 h 239"/>
                <a:gd name="T20" fmla="*/ 37 w 73"/>
                <a:gd name="T21" fmla="*/ 239 h 239"/>
                <a:gd name="T22" fmla="*/ 37 w 73"/>
                <a:gd name="T23" fmla="*/ 239 h 239"/>
                <a:gd name="T24" fmla="*/ 30 w 73"/>
                <a:gd name="T25" fmla="*/ 237 h 239"/>
                <a:gd name="T26" fmla="*/ 23 w 73"/>
                <a:gd name="T27" fmla="*/ 236 h 239"/>
                <a:gd name="T28" fmla="*/ 16 w 73"/>
                <a:gd name="T29" fmla="*/ 232 h 239"/>
                <a:gd name="T30" fmla="*/ 11 w 73"/>
                <a:gd name="T31" fmla="*/ 227 h 239"/>
                <a:gd name="T32" fmla="*/ 7 w 73"/>
                <a:gd name="T33" fmla="*/ 222 h 239"/>
                <a:gd name="T34" fmla="*/ 4 w 73"/>
                <a:gd name="T35" fmla="*/ 217 h 239"/>
                <a:gd name="T36" fmla="*/ 2 w 73"/>
                <a:gd name="T37" fmla="*/ 210 h 239"/>
                <a:gd name="T38" fmla="*/ 0 w 73"/>
                <a:gd name="T39" fmla="*/ 203 h 239"/>
                <a:gd name="T40" fmla="*/ 0 w 73"/>
                <a:gd name="T41" fmla="*/ 37 h 239"/>
                <a:gd name="T42" fmla="*/ 0 w 73"/>
                <a:gd name="T43" fmla="*/ 37 h 239"/>
                <a:gd name="T44" fmla="*/ 2 w 73"/>
                <a:gd name="T45" fmla="*/ 30 h 239"/>
                <a:gd name="T46" fmla="*/ 4 w 73"/>
                <a:gd name="T47" fmla="*/ 23 h 239"/>
                <a:gd name="T48" fmla="*/ 7 w 73"/>
                <a:gd name="T49" fmla="*/ 16 h 239"/>
                <a:gd name="T50" fmla="*/ 11 w 73"/>
                <a:gd name="T51" fmla="*/ 11 h 239"/>
                <a:gd name="T52" fmla="*/ 16 w 73"/>
                <a:gd name="T53" fmla="*/ 6 h 239"/>
                <a:gd name="T54" fmla="*/ 23 w 73"/>
                <a:gd name="T55" fmla="*/ 4 h 239"/>
                <a:gd name="T56" fmla="*/ 30 w 73"/>
                <a:gd name="T57" fmla="*/ 0 h 239"/>
                <a:gd name="T58" fmla="*/ 37 w 73"/>
                <a:gd name="T59" fmla="*/ 0 h 239"/>
                <a:gd name="T60" fmla="*/ 37 w 73"/>
                <a:gd name="T61" fmla="*/ 0 h 239"/>
                <a:gd name="T62" fmla="*/ 43 w 73"/>
                <a:gd name="T63" fmla="*/ 0 h 239"/>
                <a:gd name="T64" fmla="*/ 50 w 73"/>
                <a:gd name="T65" fmla="*/ 4 h 239"/>
                <a:gd name="T66" fmla="*/ 57 w 73"/>
                <a:gd name="T67" fmla="*/ 6 h 239"/>
                <a:gd name="T68" fmla="*/ 62 w 73"/>
                <a:gd name="T69" fmla="*/ 11 h 239"/>
                <a:gd name="T70" fmla="*/ 68 w 73"/>
                <a:gd name="T71" fmla="*/ 16 h 239"/>
                <a:gd name="T72" fmla="*/ 71 w 73"/>
                <a:gd name="T73" fmla="*/ 23 h 239"/>
                <a:gd name="T74" fmla="*/ 73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3" y="210"/>
                  </a:lnTo>
                  <a:lnTo>
                    <a:pt x="71" y="217"/>
                  </a:lnTo>
                  <a:lnTo>
                    <a:pt x="68" y="222"/>
                  </a:lnTo>
                  <a:lnTo>
                    <a:pt x="62" y="227"/>
                  </a:lnTo>
                  <a:lnTo>
                    <a:pt x="57" y="232"/>
                  </a:lnTo>
                  <a:lnTo>
                    <a:pt x="50" y="236"/>
                  </a:lnTo>
                  <a:lnTo>
                    <a:pt x="43" y="237"/>
                  </a:lnTo>
                  <a:lnTo>
                    <a:pt x="37" y="239"/>
                  </a:lnTo>
                  <a:lnTo>
                    <a:pt x="37" y="239"/>
                  </a:lnTo>
                  <a:lnTo>
                    <a:pt x="30" y="237"/>
                  </a:lnTo>
                  <a:lnTo>
                    <a:pt x="23" y="236"/>
                  </a:lnTo>
                  <a:lnTo>
                    <a:pt x="16" y="232"/>
                  </a:lnTo>
                  <a:lnTo>
                    <a:pt x="11" y="227"/>
                  </a:lnTo>
                  <a:lnTo>
                    <a:pt x="7" y="222"/>
                  </a:lnTo>
                  <a:lnTo>
                    <a:pt x="4" y="217"/>
                  </a:lnTo>
                  <a:lnTo>
                    <a:pt x="2" y="210"/>
                  </a:lnTo>
                  <a:lnTo>
                    <a:pt x="0" y="203"/>
                  </a:lnTo>
                  <a:lnTo>
                    <a:pt x="0" y="37"/>
                  </a:lnTo>
                  <a:lnTo>
                    <a:pt x="0" y="37"/>
                  </a:lnTo>
                  <a:lnTo>
                    <a:pt x="2" y="30"/>
                  </a:lnTo>
                  <a:lnTo>
                    <a:pt x="4" y="23"/>
                  </a:lnTo>
                  <a:lnTo>
                    <a:pt x="7" y="16"/>
                  </a:lnTo>
                  <a:lnTo>
                    <a:pt x="11" y="11"/>
                  </a:lnTo>
                  <a:lnTo>
                    <a:pt x="16" y="6"/>
                  </a:lnTo>
                  <a:lnTo>
                    <a:pt x="23" y="4"/>
                  </a:lnTo>
                  <a:lnTo>
                    <a:pt x="30" y="0"/>
                  </a:lnTo>
                  <a:lnTo>
                    <a:pt x="37" y="0"/>
                  </a:lnTo>
                  <a:lnTo>
                    <a:pt x="37" y="0"/>
                  </a:lnTo>
                  <a:lnTo>
                    <a:pt x="43" y="0"/>
                  </a:lnTo>
                  <a:lnTo>
                    <a:pt x="50" y="4"/>
                  </a:lnTo>
                  <a:lnTo>
                    <a:pt x="57" y="6"/>
                  </a:lnTo>
                  <a:lnTo>
                    <a:pt x="62" y="11"/>
                  </a:lnTo>
                  <a:lnTo>
                    <a:pt x="68" y="16"/>
                  </a:lnTo>
                  <a:lnTo>
                    <a:pt x="71" y="23"/>
                  </a:lnTo>
                  <a:lnTo>
                    <a:pt x="73" y="30"/>
                  </a:lnTo>
                  <a:lnTo>
                    <a:pt x="73"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77" name="Freeform 134">
              <a:extLst>
                <a:ext uri="{FF2B5EF4-FFF2-40B4-BE49-F238E27FC236}">
                  <a16:creationId xmlns:a16="http://schemas.microsoft.com/office/drawing/2014/main" id="{A31916B5-E111-4301-8FED-F6F5E71B93BF}"/>
                </a:ext>
              </a:extLst>
            </p:cNvPr>
            <p:cNvSpPr>
              <a:spLocks/>
            </p:cNvSpPr>
            <p:nvPr/>
          </p:nvSpPr>
          <p:spPr bwMode="auto">
            <a:xfrm>
              <a:off x="10927814" y="13447"/>
              <a:ext cx="40682" cy="132982"/>
            </a:xfrm>
            <a:custGeom>
              <a:avLst/>
              <a:gdLst>
                <a:gd name="T0" fmla="*/ 73 w 73"/>
                <a:gd name="T1" fmla="*/ 37 h 239"/>
                <a:gd name="T2" fmla="*/ 73 w 73"/>
                <a:gd name="T3" fmla="*/ 203 h 239"/>
                <a:gd name="T4" fmla="*/ 73 w 73"/>
                <a:gd name="T5" fmla="*/ 203 h 239"/>
                <a:gd name="T6" fmla="*/ 73 w 73"/>
                <a:gd name="T7" fmla="*/ 210 h 239"/>
                <a:gd name="T8" fmla="*/ 71 w 73"/>
                <a:gd name="T9" fmla="*/ 217 h 239"/>
                <a:gd name="T10" fmla="*/ 68 w 73"/>
                <a:gd name="T11" fmla="*/ 222 h 239"/>
                <a:gd name="T12" fmla="*/ 62 w 73"/>
                <a:gd name="T13" fmla="*/ 227 h 239"/>
                <a:gd name="T14" fmla="*/ 57 w 73"/>
                <a:gd name="T15" fmla="*/ 232 h 239"/>
                <a:gd name="T16" fmla="*/ 50 w 73"/>
                <a:gd name="T17" fmla="*/ 236 h 239"/>
                <a:gd name="T18" fmla="*/ 43 w 73"/>
                <a:gd name="T19" fmla="*/ 237 h 239"/>
                <a:gd name="T20" fmla="*/ 37 w 73"/>
                <a:gd name="T21" fmla="*/ 239 h 239"/>
                <a:gd name="T22" fmla="*/ 37 w 73"/>
                <a:gd name="T23" fmla="*/ 239 h 239"/>
                <a:gd name="T24" fmla="*/ 30 w 73"/>
                <a:gd name="T25" fmla="*/ 237 h 239"/>
                <a:gd name="T26" fmla="*/ 23 w 73"/>
                <a:gd name="T27" fmla="*/ 236 h 239"/>
                <a:gd name="T28" fmla="*/ 16 w 73"/>
                <a:gd name="T29" fmla="*/ 232 h 239"/>
                <a:gd name="T30" fmla="*/ 11 w 73"/>
                <a:gd name="T31" fmla="*/ 227 h 239"/>
                <a:gd name="T32" fmla="*/ 7 w 73"/>
                <a:gd name="T33" fmla="*/ 222 h 239"/>
                <a:gd name="T34" fmla="*/ 4 w 73"/>
                <a:gd name="T35" fmla="*/ 217 h 239"/>
                <a:gd name="T36" fmla="*/ 2 w 73"/>
                <a:gd name="T37" fmla="*/ 210 h 239"/>
                <a:gd name="T38" fmla="*/ 0 w 73"/>
                <a:gd name="T39" fmla="*/ 203 h 239"/>
                <a:gd name="T40" fmla="*/ 0 w 73"/>
                <a:gd name="T41" fmla="*/ 37 h 239"/>
                <a:gd name="T42" fmla="*/ 0 w 73"/>
                <a:gd name="T43" fmla="*/ 37 h 239"/>
                <a:gd name="T44" fmla="*/ 2 w 73"/>
                <a:gd name="T45" fmla="*/ 30 h 239"/>
                <a:gd name="T46" fmla="*/ 4 w 73"/>
                <a:gd name="T47" fmla="*/ 23 h 239"/>
                <a:gd name="T48" fmla="*/ 7 w 73"/>
                <a:gd name="T49" fmla="*/ 16 h 239"/>
                <a:gd name="T50" fmla="*/ 11 w 73"/>
                <a:gd name="T51" fmla="*/ 11 h 239"/>
                <a:gd name="T52" fmla="*/ 16 w 73"/>
                <a:gd name="T53" fmla="*/ 6 h 239"/>
                <a:gd name="T54" fmla="*/ 23 w 73"/>
                <a:gd name="T55" fmla="*/ 4 h 239"/>
                <a:gd name="T56" fmla="*/ 30 w 73"/>
                <a:gd name="T57" fmla="*/ 0 h 239"/>
                <a:gd name="T58" fmla="*/ 37 w 73"/>
                <a:gd name="T59" fmla="*/ 0 h 239"/>
                <a:gd name="T60" fmla="*/ 37 w 73"/>
                <a:gd name="T61" fmla="*/ 0 h 239"/>
                <a:gd name="T62" fmla="*/ 43 w 73"/>
                <a:gd name="T63" fmla="*/ 0 h 239"/>
                <a:gd name="T64" fmla="*/ 50 w 73"/>
                <a:gd name="T65" fmla="*/ 4 h 239"/>
                <a:gd name="T66" fmla="*/ 57 w 73"/>
                <a:gd name="T67" fmla="*/ 6 h 239"/>
                <a:gd name="T68" fmla="*/ 62 w 73"/>
                <a:gd name="T69" fmla="*/ 11 h 239"/>
                <a:gd name="T70" fmla="*/ 68 w 73"/>
                <a:gd name="T71" fmla="*/ 16 h 239"/>
                <a:gd name="T72" fmla="*/ 71 w 73"/>
                <a:gd name="T73" fmla="*/ 23 h 239"/>
                <a:gd name="T74" fmla="*/ 73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3" y="210"/>
                  </a:lnTo>
                  <a:lnTo>
                    <a:pt x="71" y="217"/>
                  </a:lnTo>
                  <a:lnTo>
                    <a:pt x="68" y="222"/>
                  </a:lnTo>
                  <a:lnTo>
                    <a:pt x="62" y="227"/>
                  </a:lnTo>
                  <a:lnTo>
                    <a:pt x="57" y="232"/>
                  </a:lnTo>
                  <a:lnTo>
                    <a:pt x="50" y="236"/>
                  </a:lnTo>
                  <a:lnTo>
                    <a:pt x="43" y="237"/>
                  </a:lnTo>
                  <a:lnTo>
                    <a:pt x="37" y="239"/>
                  </a:lnTo>
                  <a:lnTo>
                    <a:pt x="37" y="239"/>
                  </a:lnTo>
                  <a:lnTo>
                    <a:pt x="30" y="237"/>
                  </a:lnTo>
                  <a:lnTo>
                    <a:pt x="23" y="236"/>
                  </a:lnTo>
                  <a:lnTo>
                    <a:pt x="16" y="232"/>
                  </a:lnTo>
                  <a:lnTo>
                    <a:pt x="11" y="227"/>
                  </a:lnTo>
                  <a:lnTo>
                    <a:pt x="7" y="222"/>
                  </a:lnTo>
                  <a:lnTo>
                    <a:pt x="4" y="217"/>
                  </a:lnTo>
                  <a:lnTo>
                    <a:pt x="2" y="210"/>
                  </a:lnTo>
                  <a:lnTo>
                    <a:pt x="0" y="203"/>
                  </a:lnTo>
                  <a:lnTo>
                    <a:pt x="0" y="37"/>
                  </a:lnTo>
                  <a:lnTo>
                    <a:pt x="0" y="37"/>
                  </a:lnTo>
                  <a:lnTo>
                    <a:pt x="2" y="30"/>
                  </a:lnTo>
                  <a:lnTo>
                    <a:pt x="4" y="23"/>
                  </a:lnTo>
                  <a:lnTo>
                    <a:pt x="7" y="16"/>
                  </a:lnTo>
                  <a:lnTo>
                    <a:pt x="11" y="11"/>
                  </a:lnTo>
                  <a:lnTo>
                    <a:pt x="16" y="6"/>
                  </a:lnTo>
                  <a:lnTo>
                    <a:pt x="23" y="4"/>
                  </a:lnTo>
                  <a:lnTo>
                    <a:pt x="30" y="0"/>
                  </a:lnTo>
                  <a:lnTo>
                    <a:pt x="37" y="0"/>
                  </a:lnTo>
                  <a:lnTo>
                    <a:pt x="37" y="0"/>
                  </a:lnTo>
                  <a:lnTo>
                    <a:pt x="43" y="0"/>
                  </a:lnTo>
                  <a:lnTo>
                    <a:pt x="50" y="4"/>
                  </a:lnTo>
                  <a:lnTo>
                    <a:pt x="57" y="6"/>
                  </a:lnTo>
                  <a:lnTo>
                    <a:pt x="62" y="11"/>
                  </a:lnTo>
                  <a:lnTo>
                    <a:pt x="68" y="16"/>
                  </a:lnTo>
                  <a:lnTo>
                    <a:pt x="71" y="23"/>
                  </a:lnTo>
                  <a:lnTo>
                    <a:pt x="73" y="30"/>
                  </a:lnTo>
                  <a:lnTo>
                    <a:pt x="73" y="3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78" name="Freeform 135">
              <a:extLst>
                <a:ext uri="{FF2B5EF4-FFF2-40B4-BE49-F238E27FC236}">
                  <a16:creationId xmlns:a16="http://schemas.microsoft.com/office/drawing/2014/main" id="{12524C4E-26F8-4349-AF69-8434385E1691}"/>
                </a:ext>
              </a:extLst>
            </p:cNvPr>
            <p:cNvSpPr>
              <a:spLocks/>
            </p:cNvSpPr>
            <p:nvPr/>
          </p:nvSpPr>
          <p:spPr bwMode="auto">
            <a:xfrm>
              <a:off x="11072709" y="-152920"/>
              <a:ext cx="40124" cy="465159"/>
            </a:xfrm>
            <a:custGeom>
              <a:avLst/>
              <a:gdLst>
                <a:gd name="T0" fmla="*/ 72 w 72"/>
                <a:gd name="T1" fmla="*/ 36 h 836"/>
                <a:gd name="T2" fmla="*/ 72 w 72"/>
                <a:gd name="T3" fmla="*/ 799 h 836"/>
                <a:gd name="T4" fmla="*/ 72 w 72"/>
                <a:gd name="T5" fmla="*/ 799 h 836"/>
                <a:gd name="T6" fmla="*/ 70 w 72"/>
                <a:gd name="T7" fmla="*/ 806 h 836"/>
                <a:gd name="T8" fmla="*/ 69 w 72"/>
                <a:gd name="T9" fmla="*/ 813 h 836"/>
                <a:gd name="T10" fmla="*/ 65 w 72"/>
                <a:gd name="T11" fmla="*/ 820 h 836"/>
                <a:gd name="T12" fmla="*/ 60 w 72"/>
                <a:gd name="T13" fmla="*/ 825 h 836"/>
                <a:gd name="T14" fmla="*/ 55 w 72"/>
                <a:gd name="T15" fmla="*/ 830 h 836"/>
                <a:gd name="T16" fmla="*/ 50 w 72"/>
                <a:gd name="T17" fmla="*/ 834 h 836"/>
                <a:gd name="T18" fmla="*/ 43 w 72"/>
                <a:gd name="T19" fmla="*/ 836 h 836"/>
                <a:gd name="T20" fmla="*/ 36 w 72"/>
                <a:gd name="T21" fmla="*/ 836 h 836"/>
                <a:gd name="T22" fmla="*/ 36 w 72"/>
                <a:gd name="T23" fmla="*/ 836 h 836"/>
                <a:gd name="T24" fmla="*/ 27 w 72"/>
                <a:gd name="T25" fmla="*/ 836 h 836"/>
                <a:gd name="T26" fmla="*/ 20 w 72"/>
                <a:gd name="T27" fmla="*/ 834 h 836"/>
                <a:gd name="T28" fmla="*/ 15 w 72"/>
                <a:gd name="T29" fmla="*/ 830 h 836"/>
                <a:gd name="T30" fmla="*/ 10 w 72"/>
                <a:gd name="T31" fmla="*/ 825 h 836"/>
                <a:gd name="T32" fmla="*/ 5 w 72"/>
                <a:gd name="T33" fmla="*/ 820 h 836"/>
                <a:gd name="T34" fmla="*/ 1 w 72"/>
                <a:gd name="T35" fmla="*/ 813 h 836"/>
                <a:gd name="T36" fmla="*/ 0 w 72"/>
                <a:gd name="T37" fmla="*/ 806 h 836"/>
                <a:gd name="T38" fmla="*/ 0 w 72"/>
                <a:gd name="T39" fmla="*/ 799 h 836"/>
                <a:gd name="T40" fmla="*/ 0 w 72"/>
                <a:gd name="T41" fmla="*/ 36 h 836"/>
                <a:gd name="T42" fmla="*/ 0 w 72"/>
                <a:gd name="T43" fmla="*/ 36 h 836"/>
                <a:gd name="T44" fmla="*/ 0 w 72"/>
                <a:gd name="T45" fmla="*/ 30 h 836"/>
                <a:gd name="T46" fmla="*/ 1 w 72"/>
                <a:gd name="T47" fmla="*/ 23 h 836"/>
                <a:gd name="T48" fmla="*/ 5 w 72"/>
                <a:gd name="T49" fmla="*/ 16 h 836"/>
                <a:gd name="T50" fmla="*/ 10 w 72"/>
                <a:gd name="T51" fmla="*/ 11 h 836"/>
                <a:gd name="T52" fmla="*/ 15 w 72"/>
                <a:gd name="T53" fmla="*/ 7 h 836"/>
                <a:gd name="T54" fmla="*/ 20 w 72"/>
                <a:gd name="T55" fmla="*/ 4 h 836"/>
                <a:gd name="T56" fmla="*/ 27 w 72"/>
                <a:gd name="T57" fmla="*/ 2 h 836"/>
                <a:gd name="T58" fmla="*/ 36 w 72"/>
                <a:gd name="T59" fmla="*/ 0 h 836"/>
                <a:gd name="T60" fmla="*/ 36 w 72"/>
                <a:gd name="T61" fmla="*/ 0 h 836"/>
                <a:gd name="T62" fmla="*/ 43 w 72"/>
                <a:gd name="T63" fmla="*/ 2 h 836"/>
                <a:gd name="T64" fmla="*/ 50 w 72"/>
                <a:gd name="T65" fmla="*/ 4 h 836"/>
                <a:gd name="T66" fmla="*/ 55 w 72"/>
                <a:gd name="T67" fmla="*/ 7 h 836"/>
                <a:gd name="T68" fmla="*/ 60 w 72"/>
                <a:gd name="T69" fmla="*/ 11 h 836"/>
                <a:gd name="T70" fmla="*/ 65 w 72"/>
                <a:gd name="T71" fmla="*/ 16 h 836"/>
                <a:gd name="T72" fmla="*/ 69 w 72"/>
                <a:gd name="T73" fmla="*/ 23 h 836"/>
                <a:gd name="T74" fmla="*/ 70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0" y="806"/>
                  </a:lnTo>
                  <a:lnTo>
                    <a:pt x="69" y="813"/>
                  </a:lnTo>
                  <a:lnTo>
                    <a:pt x="65" y="820"/>
                  </a:lnTo>
                  <a:lnTo>
                    <a:pt x="60" y="825"/>
                  </a:lnTo>
                  <a:lnTo>
                    <a:pt x="55" y="830"/>
                  </a:lnTo>
                  <a:lnTo>
                    <a:pt x="50" y="834"/>
                  </a:lnTo>
                  <a:lnTo>
                    <a:pt x="43" y="836"/>
                  </a:lnTo>
                  <a:lnTo>
                    <a:pt x="36" y="836"/>
                  </a:lnTo>
                  <a:lnTo>
                    <a:pt x="36" y="836"/>
                  </a:lnTo>
                  <a:lnTo>
                    <a:pt x="27" y="836"/>
                  </a:lnTo>
                  <a:lnTo>
                    <a:pt x="20" y="834"/>
                  </a:lnTo>
                  <a:lnTo>
                    <a:pt x="15" y="830"/>
                  </a:lnTo>
                  <a:lnTo>
                    <a:pt x="10" y="825"/>
                  </a:lnTo>
                  <a:lnTo>
                    <a:pt x="5" y="820"/>
                  </a:lnTo>
                  <a:lnTo>
                    <a:pt x="1" y="813"/>
                  </a:lnTo>
                  <a:lnTo>
                    <a:pt x="0" y="806"/>
                  </a:lnTo>
                  <a:lnTo>
                    <a:pt x="0" y="799"/>
                  </a:lnTo>
                  <a:lnTo>
                    <a:pt x="0" y="36"/>
                  </a:lnTo>
                  <a:lnTo>
                    <a:pt x="0" y="36"/>
                  </a:lnTo>
                  <a:lnTo>
                    <a:pt x="0" y="30"/>
                  </a:lnTo>
                  <a:lnTo>
                    <a:pt x="1" y="23"/>
                  </a:lnTo>
                  <a:lnTo>
                    <a:pt x="5" y="16"/>
                  </a:lnTo>
                  <a:lnTo>
                    <a:pt x="10" y="11"/>
                  </a:lnTo>
                  <a:lnTo>
                    <a:pt x="15" y="7"/>
                  </a:lnTo>
                  <a:lnTo>
                    <a:pt x="20" y="4"/>
                  </a:lnTo>
                  <a:lnTo>
                    <a:pt x="27" y="2"/>
                  </a:lnTo>
                  <a:lnTo>
                    <a:pt x="36" y="0"/>
                  </a:lnTo>
                  <a:lnTo>
                    <a:pt x="36" y="0"/>
                  </a:lnTo>
                  <a:lnTo>
                    <a:pt x="43" y="2"/>
                  </a:lnTo>
                  <a:lnTo>
                    <a:pt x="50" y="4"/>
                  </a:lnTo>
                  <a:lnTo>
                    <a:pt x="55" y="7"/>
                  </a:lnTo>
                  <a:lnTo>
                    <a:pt x="60" y="11"/>
                  </a:lnTo>
                  <a:lnTo>
                    <a:pt x="65" y="16"/>
                  </a:lnTo>
                  <a:lnTo>
                    <a:pt x="69" y="23"/>
                  </a:lnTo>
                  <a:lnTo>
                    <a:pt x="70" y="30"/>
                  </a:lnTo>
                  <a:lnTo>
                    <a:pt x="7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79" name="Freeform 136">
              <a:extLst>
                <a:ext uri="{FF2B5EF4-FFF2-40B4-BE49-F238E27FC236}">
                  <a16:creationId xmlns:a16="http://schemas.microsoft.com/office/drawing/2014/main" id="{91CE1DD7-1BED-4838-BD9E-F1D2C42B7F51}"/>
                </a:ext>
              </a:extLst>
            </p:cNvPr>
            <p:cNvSpPr>
              <a:spLocks/>
            </p:cNvSpPr>
            <p:nvPr/>
          </p:nvSpPr>
          <p:spPr bwMode="auto">
            <a:xfrm>
              <a:off x="11072709" y="-152920"/>
              <a:ext cx="40124" cy="465159"/>
            </a:xfrm>
            <a:custGeom>
              <a:avLst/>
              <a:gdLst>
                <a:gd name="T0" fmla="*/ 72 w 72"/>
                <a:gd name="T1" fmla="*/ 36 h 836"/>
                <a:gd name="T2" fmla="*/ 72 w 72"/>
                <a:gd name="T3" fmla="*/ 799 h 836"/>
                <a:gd name="T4" fmla="*/ 72 w 72"/>
                <a:gd name="T5" fmla="*/ 799 h 836"/>
                <a:gd name="T6" fmla="*/ 70 w 72"/>
                <a:gd name="T7" fmla="*/ 806 h 836"/>
                <a:gd name="T8" fmla="*/ 69 w 72"/>
                <a:gd name="T9" fmla="*/ 813 h 836"/>
                <a:gd name="T10" fmla="*/ 65 w 72"/>
                <a:gd name="T11" fmla="*/ 820 h 836"/>
                <a:gd name="T12" fmla="*/ 60 w 72"/>
                <a:gd name="T13" fmla="*/ 825 h 836"/>
                <a:gd name="T14" fmla="*/ 55 w 72"/>
                <a:gd name="T15" fmla="*/ 830 h 836"/>
                <a:gd name="T16" fmla="*/ 50 w 72"/>
                <a:gd name="T17" fmla="*/ 834 h 836"/>
                <a:gd name="T18" fmla="*/ 43 w 72"/>
                <a:gd name="T19" fmla="*/ 836 h 836"/>
                <a:gd name="T20" fmla="*/ 36 w 72"/>
                <a:gd name="T21" fmla="*/ 836 h 836"/>
                <a:gd name="T22" fmla="*/ 36 w 72"/>
                <a:gd name="T23" fmla="*/ 836 h 836"/>
                <a:gd name="T24" fmla="*/ 27 w 72"/>
                <a:gd name="T25" fmla="*/ 836 h 836"/>
                <a:gd name="T26" fmla="*/ 20 w 72"/>
                <a:gd name="T27" fmla="*/ 834 h 836"/>
                <a:gd name="T28" fmla="*/ 15 w 72"/>
                <a:gd name="T29" fmla="*/ 830 h 836"/>
                <a:gd name="T30" fmla="*/ 10 w 72"/>
                <a:gd name="T31" fmla="*/ 825 h 836"/>
                <a:gd name="T32" fmla="*/ 5 w 72"/>
                <a:gd name="T33" fmla="*/ 820 h 836"/>
                <a:gd name="T34" fmla="*/ 1 w 72"/>
                <a:gd name="T35" fmla="*/ 813 h 836"/>
                <a:gd name="T36" fmla="*/ 0 w 72"/>
                <a:gd name="T37" fmla="*/ 806 h 836"/>
                <a:gd name="T38" fmla="*/ 0 w 72"/>
                <a:gd name="T39" fmla="*/ 799 h 836"/>
                <a:gd name="T40" fmla="*/ 0 w 72"/>
                <a:gd name="T41" fmla="*/ 36 h 836"/>
                <a:gd name="T42" fmla="*/ 0 w 72"/>
                <a:gd name="T43" fmla="*/ 36 h 836"/>
                <a:gd name="T44" fmla="*/ 0 w 72"/>
                <a:gd name="T45" fmla="*/ 30 h 836"/>
                <a:gd name="T46" fmla="*/ 1 w 72"/>
                <a:gd name="T47" fmla="*/ 23 h 836"/>
                <a:gd name="T48" fmla="*/ 5 w 72"/>
                <a:gd name="T49" fmla="*/ 16 h 836"/>
                <a:gd name="T50" fmla="*/ 10 w 72"/>
                <a:gd name="T51" fmla="*/ 11 h 836"/>
                <a:gd name="T52" fmla="*/ 15 w 72"/>
                <a:gd name="T53" fmla="*/ 7 h 836"/>
                <a:gd name="T54" fmla="*/ 20 w 72"/>
                <a:gd name="T55" fmla="*/ 4 h 836"/>
                <a:gd name="T56" fmla="*/ 27 w 72"/>
                <a:gd name="T57" fmla="*/ 2 h 836"/>
                <a:gd name="T58" fmla="*/ 36 w 72"/>
                <a:gd name="T59" fmla="*/ 0 h 836"/>
                <a:gd name="T60" fmla="*/ 36 w 72"/>
                <a:gd name="T61" fmla="*/ 0 h 836"/>
                <a:gd name="T62" fmla="*/ 43 w 72"/>
                <a:gd name="T63" fmla="*/ 2 h 836"/>
                <a:gd name="T64" fmla="*/ 50 w 72"/>
                <a:gd name="T65" fmla="*/ 4 h 836"/>
                <a:gd name="T66" fmla="*/ 55 w 72"/>
                <a:gd name="T67" fmla="*/ 7 h 836"/>
                <a:gd name="T68" fmla="*/ 60 w 72"/>
                <a:gd name="T69" fmla="*/ 11 h 836"/>
                <a:gd name="T70" fmla="*/ 65 w 72"/>
                <a:gd name="T71" fmla="*/ 16 h 836"/>
                <a:gd name="T72" fmla="*/ 69 w 72"/>
                <a:gd name="T73" fmla="*/ 23 h 836"/>
                <a:gd name="T74" fmla="*/ 70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0" y="806"/>
                  </a:lnTo>
                  <a:lnTo>
                    <a:pt x="69" y="813"/>
                  </a:lnTo>
                  <a:lnTo>
                    <a:pt x="65" y="820"/>
                  </a:lnTo>
                  <a:lnTo>
                    <a:pt x="60" y="825"/>
                  </a:lnTo>
                  <a:lnTo>
                    <a:pt x="55" y="830"/>
                  </a:lnTo>
                  <a:lnTo>
                    <a:pt x="50" y="834"/>
                  </a:lnTo>
                  <a:lnTo>
                    <a:pt x="43" y="836"/>
                  </a:lnTo>
                  <a:lnTo>
                    <a:pt x="36" y="836"/>
                  </a:lnTo>
                  <a:lnTo>
                    <a:pt x="36" y="836"/>
                  </a:lnTo>
                  <a:lnTo>
                    <a:pt x="27" y="836"/>
                  </a:lnTo>
                  <a:lnTo>
                    <a:pt x="20" y="834"/>
                  </a:lnTo>
                  <a:lnTo>
                    <a:pt x="15" y="830"/>
                  </a:lnTo>
                  <a:lnTo>
                    <a:pt x="10" y="825"/>
                  </a:lnTo>
                  <a:lnTo>
                    <a:pt x="5" y="820"/>
                  </a:lnTo>
                  <a:lnTo>
                    <a:pt x="1" y="813"/>
                  </a:lnTo>
                  <a:lnTo>
                    <a:pt x="0" y="806"/>
                  </a:lnTo>
                  <a:lnTo>
                    <a:pt x="0" y="799"/>
                  </a:lnTo>
                  <a:lnTo>
                    <a:pt x="0" y="36"/>
                  </a:lnTo>
                  <a:lnTo>
                    <a:pt x="0" y="36"/>
                  </a:lnTo>
                  <a:lnTo>
                    <a:pt x="0" y="30"/>
                  </a:lnTo>
                  <a:lnTo>
                    <a:pt x="1" y="23"/>
                  </a:lnTo>
                  <a:lnTo>
                    <a:pt x="5" y="16"/>
                  </a:lnTo>
                  <a:lnTo>
                    <a:pt x="10" y="11"/>
                  </a:lnTo>
                  <a:lnTo>
                    <a:pt x="15" y="7"/>
                  </a:lnTo>
                  <a:lnTo>
                    <a:pt x="20" y="4"/>
                  </a:lnTo>
                  <a:lnTo>
                    <a:pt x="27" y="2"/>
                  </a:lnTo>
                  <a:lnTo>
                    <a:pt x="36" y="0"/>
                  </a:lnTo>
                  <a:lnTo>
                    <a:pt x="36" y="0"/>
                  </a:lnTo>
                  <a:lnTo>
                    <a:pt x="43" y="2"/>
                  </a:lnTo>
                  <a:lnTo>
                    <a:pt x="50" y="4"/>
                  </a:lnTo>
                  <a:lnTo>
                    <a:pt x="55" y="7"/>
                  </a:lnTo>
                  <a:lnTo>
                    <a:pt x="60" y="11"/>
                  </a:lnTo>
                  <a:lnTo>
                    <a:pt x="65" y="16"/>
                  </a:lnTo>
                  <a:lnTo>
                    <a:pt x="69" y="23"/>
                  </a:lnTo>
                  <a:lnTo>
                    <a:pt x="70" y="30"/>
                  </a:lnTo>
                  <a:lnTo>
                    <a:pt x="72" y="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80" name="Freeform 137">
              <a:extLst>
                <a:ext uri="{FF2B5EF4-FFF2-40B4-BE49-F238E27FC236}">
                  <a16:creationId xmlns:a16="http://schemas.microsoft.com/office/drawing/2014/main" id="{CF42162F-1326-4378-BEC7-08E0C551C978}"/>
                </a:ext>
              </a:extLst>
            </p:cNvPr>
            <p:cNvSpPr>
              <a:spLocks/>
            </p:cNvSpPr>
            <p:nvPr/>
          </p:nvSpPr>
          <p:spPr bwMode="auto">
            <a:xfrm>
              <a:off x="11173578" y="-312610"/>
              <a:ext cx="1015374" cy="783426"/>
            </a:xfrm>
            <a:custGeom>
              <a:avLst/>
              <a:gdLst>
                <a:gd name="T0" fmla="*/ 1822 w 1822"/>
                <a:gd name="T1" fmla="*/ 1166 h 1408"/>
                <a:gd name="T2" fmla="*/ 1822 w 1822"/>
                <a:gd name="T3" fmla="*/ 1408 h 1408"/>
                <a:gd name="T4" fmla="*/ 1516 w 1822"/>
                <a:gd name="T5" fmla="*/ 1408 h 1408"/>
                <a:gd name="T6" fmla="*/ 437 w 1822"/>
                <a:gd name="T7" fmla="*/ 242 h 1408"/>
                <a:gd name="T8" fmla="*/ 0 w 1822"/>
                <a:gd name="T9" fmla="*/ 242 h 1408"/>
                <a:gd name="T10" fmla="*/ 0 w 1822"/>
                <a:gd name="T11" fmla="*/ 0 h 1408"/>
                <a:gd name="T12" fmla="*/ 543 w 1822"/>
                <a:gd name="T13" fmla="*/ 0 h 1408"/>
                <a:gd name="T14" fmla="*/ 1622 w 1822"/>
                <a:gd name="T15" fmla="*/ 1166 h 1408"/>
                <a:gd name="T16" fmla="*/ 1822 w 1822"/>
                <a:gd name="T17" fmla="*/ 1166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2" h="1408">
                  <a:moveTo>
                    <a:pt x="1822" y="1166"/>
                  </a:moveTo>
                  <a:lnTo>
                    <a:pt x="1822" y="1408"/>
                  </a:lnTo>
                  <a:lnTo>
                    <a:pt x="1516" y="1408"/>
                  </a:lnTo>
                  <a:lnTo>
                    <a:pt x="437" y="242"/>
                  </a:lnTo>
                  <a:lnTo>
                    <a:pt x="0" y="242"/>
                  </a:lnTo>
                  <a:lnTo>
                    <a:pt x="0" y="0"/>
                  </a:lnTo>
                  <a:lnTo>
                    <a:pt x="543" y="0"/>
                  </a:lnTo>
                  <a:lnTo>
                    <a:pt x="1622" y="1166"/>
                  </a:lnTo>
                  <a:lnTo>
                    <a:pt x="1822" y="1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81" name="Freeform 138">
              <a:extLst>
                <a:ext uri="{FF2B5EF4-FFF2-40B4-BE49-F238E27FC236}">
                  <a16:creationId xmlns:a16="http://schemas.microsoft.com/office/drawing/2014/main" id="{D7C0E727-1F62-4C7C-948C-1982327CC2BA}"/>
                </a:ext>
              </a:extLst>
            </p:cNvPr>
            <p:cNvSpPr>
              <a:spLocks/>
            </p:cNvSpPr>
            <p:nvPr/>
          </p:nvSpPr>
          <p:spPr bwMode="auto">
            <a:xfrm>
              <a:off x="11173578" y="-312610"/>
              <a:ext cx="1015374" cy="783426"/>
            </a:xfrm>
            <a:custGeom>
              <a:avLst/>
              <a:gdLst>
                <a:gd name="T0" fmla="*/ 1822 w 1822"/>
                <a:gd name="T1" fmla="*/ 0 h 1408"/>
                <a:gd name="T2" fmla="*/ 1822 w 1822"/>
                <a:gd name="T3" fmla="*/ 242 h 1408"/>
                <a:gd name="T4" fmla="*/ 1622 w 1822"/>
                <a:gd name="T5" fmla="*/ 242 h 1408"/>
                <a:gd name="T6" fmla="*/ 543 w 1822"/>
                <a:gd name="T7" fmla="*/ 1408 h 1408"/>
                <a:gd name="T8" fmla="*/ 0 w 1822"/>
                <a:gd name="T9" fmla="*/ 1408 h 1408"/>
                <a:gd name="T10" fmla="*/ 0 w 1822"/>
                <a:gd name="T11" fmla="*/ 1166 h 1408"/>
                <a:gd name="T12" fmla="*/ 437 w 1822"/>
                <a:gd name="T13" fmla="*/ 1166 h 1408"/>
                <a:gd name="T14" fmla="*/ 1516 w 1822"/>
                <a:gd name="T15" fmla="*/ 0 h 1408"/>
                <a:gd name="T16" fmla="*/ 1822 w 1822"/>
                <a:gd name="T17" fmla="*/ 0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2" h="1408">
                  <a:moveTo>
                    <a:pt x="1822" y="0"/>
                  </a:moveTo>
                  <a:lnTo>
                    <a:pt x="1822" y="242"/>
                  </a:lnTo>
                  <a:lnTo>
                    <a:pt x="1622" y="242"/>
                  </a:lnTo>
                  <a:lnTo>
                    <a:pt x="543" y="1408"/>
                  </a:lnTo>
                  <a:lnTo>
                    <a:pt x="0" y="1408"/>
                  </a:lnTo>
                  <a:lnTo>
                    <a:pt x="0" y="1166"/>
                  </a:lnTo>
                  <a:lnTo>
                    <a:pt x="437" y="1166"/>
                  </a:lnTo>
                  <a:lnTo>
                    <a:pt x="1516" y="0"/>
                  </a:lnTo>
                  <a:lnTo>
                    <a:pt x="18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82" name="Freeform 139">
              <a:extLst>
                <a:ext uri="{FF2B5EF4-FFF2-40B4-BE49-F238E27FC236}">
                  <a16:creationId xmlns:a16="http://schemas.microsoft.com/office/drawing/2014/main" id="{FECFE4B9-D57F-4492-B9A2-D5A5C510F343}"/>
                </a:ext>
              </a:extLst>
            </p:cNvPr>
            <p:cNvSpPr>
              <a:spLocks/>
            </p:cNvSpPr>
            <p:nvPr/>
          </p:nvSpPr>
          <p:spPr bwMode="auto">
            <a:xfrm>
              <a:off x="11224847" y="-152920"/>
              <a:ext cx="40124" cy="465159"/>
            </a:xfrm>
            <a:custGeom>
              <a:avLst/>
              <a:gdLst>
                <a:gd name="T0" fmla="*/ 72 w 72"/>
                <a:gd name="T1" fmla="*/ 36 h 836"/>
                <a:gd name="T2" fmla="*/ 72 w 72"/>
                <a:gd name="T3" fmla="*/ 799 h 836"/>
                <a:gd name="T4" fmla="*/ 72 w 72"/>
                <a:gd name="T5" fmla="*/ 799 h 836"/>
                <a:gd name="T6" fmla="*/ 72 w 72"/>
                <a:gd name="T7" fmla="*/ 806 h 836"/>
                <a:gd name="T8" fmla="*/ 71 w 72"/>
                <a:gd name="T9" fmla="*/ 813 h 836"/>
                <a:gd name="T10" fmla="*/ 67 w 72"/>
                <a:gd name="T11" fmla="*/ 820 h 836"/>
                <a:gd name="T12" fmla="*/ 62 w 72"/>
                <a:gd name="T13" fmla="*/ 825 h 836"/>
                <a:gd name="T14" fmla="*/ 57 w 72"/>
                <a:gd name="T15" fmla="*/ 830 h 836"/>
                <a:gd name="T16" fmla="*/ 50 w 72"/>
                <a:gd name="T17" fmla="*/ 834 h 836"/>
                <a:gd name="T18" fmla="*/ 43 w 72"/>
                <a:gd name="T19" fmla="*/ 836 h 836"/>
                <a:gd name="T20" fmla="*/ 36 w 72"/>
                <a:gd name="T21" fmla="*/ 836 h 836"/>
                <a:gd name="T22" fmla="*/ 36 w 72"/>
                <a:gd name="T23" fmla="*/ 836 h 836"/>
                <a:gd name="T24" fmla="*/ 29 w 72"/>
                <a:gd name="T25" fmla="*/ 836 h 836"/>
                <a:gd name="T26" fmla="*/ 22 w 72"/>
                <a:gd name="T27" fmla="*/ 834 h 836"/>
                <a:gd name="T28" fmla="*/ 15 w 72"/>
                <a:gd name="T29" fmla="*/ 830 h 836"/>
                <a:gd name="T30" fmla="*/ 10 w 72"/>
                <a:gd name="T31" fmla="*/ 825 h 836"/>
                <a:gd name="T32" fmla="*/ 7 w 72"/>
                <a:gd name="T33" fmla="*/ 820 h 836"/>
                <a:gd name="T34" fmla="*/ 3 w 72"/>
                <a:gd name="T35" fmla="*/ 813 h 836"/>
                <a:gd name="T36" fmla="*/ 1 w 72"/>
                <a:gd name="T37" fmla="*/ 806 h 836"/>
                <a:gd name="T38" fmla="*/ 0 w 72"/>
                <a:gd name="T39" fmla="*/ 799 h 836"/>
                <a:gd name="T40" fmla="*/ 0 w 72"/>
                <a:gd name="T41" fmla="*/ 36 h 836"/>
                <a:gd name="T42" fmla="*/ 0 w 72"/>
                <a:gd name="T43" fmla="*/ 36 h 836"/>
                <a:gd name="T44" fmla="*/ 1 w 72"/>
                <a:gd name="T45" fmla="*/ 30 h 836"/>
                <a:gd name="T46" fmla="*/ 3 w 72"/>
                <a:gd name="T47" fmla="*/ 23 h 836"/>
                <a:gd name="T48" fmla="*/ 7 w 72"/>
                <a:gd name="T49" fmla="*/ 16 h 836"/>
                <a:gd name="T50" fmla="*/ 10 w 72"/>
                <a:gd name="T51" fmla="*/ 11 h 836"/>
                <a:gd name="T52" fmla="*/ 15 w 72"/>
                <a:gd name="T53" fmla="*/ 7 h 836"/>
                <a:gd name="T54" fmla="*/ 22 w 72"/>
                <a:gd name="T55" fmla="*/ 4 h 836"/>
                <a:gd name="T56" fmla="*/ 29 w 72"/>
                <a:gd name="T57" fmla="*/ 2 h 836"/>
                <a:gd name="T58" fmla="*/ 36 w 72"/>
                <a:gd name="T59" fmla="*/ 0 h 836"/>
                <a:gd name="T60" fmla="*/ 36 w 72"/>
                <a:gd name="T61" fmla="*/ 0 h 836"/>
                <a:gd name="T62" fmla="*/ 43 w 72"/>
                <a:gd name="T63" fmla="*/ 2 h 836"/>
                <a:gd name="T64" fmla="*/ 50 w 72"/>
                <a:gd name="T65" fmla="*/ 4 h 836"/>
                <a:gd name="T66" fmla="*/ 57 w 72"/>
                <a:gd name="T67" fmla="*/ 7 h 836"/>
                <a:gd name="T68" fmla="*/ 62 w 72"/>
                <a:gd name="T69" fmla="*/ 11 h 836"/>
                <a:gd name="T70" fmla="*/ 67 w 72"/>
                <a:gd name="T71" fmla="*/ 16 h 836"/>
                <a:gd name="T72" fmla="*/ 71 w 72"/>
                <a:gd name="T73" fmla="*/ 23 h 836"/>
                <a:gd name="T74" fmla="*/ 72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2" y="806"/>
                  </a:lnTo>
                  <a:lnTo>
                    <a:pt x="71" y="813"/>
                  </a:lnTo>
                  <a:lnTo>
                    <a:pt x="67" y="820"/>
                  </a:lnTo>
                  <a:lnTo>
                    <a:pt x="62" y="825"/>
                  </a:lnTo>
                  <a:lnTo>
                    <a:pt x="57" y="830"/>
                  </a:lnTo>
                  <a:lnTo>
                    <a:pt x="50" y="834"/>
                  </a:lnTo>
                  <a:lnTo>
                    <a:pt x="43" y="836"/>
                  </a:lnTo>
                  <a:lnTo>
                    <a:pt x="36" y="836"/>
                  </a:lnTo>
                  <a:lnTo>
                    <a:pt x="36" y="836"/>
                  </a:lnTo>
                  <a:lnTo>
                    <a:pt x="29" y="836"/>
                  </a:lnTo>
                  <a:lnTo>
                    <a:pt x="22" y="834"/>
                  </a:lnTo>
                  <a:lnTo>
                    <a:pt x="15" y="830"/>
                  </a:lnTo>
                  <a:lnTo>
                    <a:pt x="10" y="825"/>
                  </a:lnTo>
                  <a:lnTo>
                    <a:pt x="7" y="820"/>
                  </a:lnTo>
                  <a:lnTo>
                    <a:pt x="3" y="813"/>
                  </a:lnTo>
                  <a:lnTo>
                    <a:pt x="1" y="806"/>
                  </a:lnTo>
                  <a:lnTo>
                    <a:pt x="0" y="799"/>
                  </a:lnTo>
                  <a:lnTo>
                    <a:pt x="0" y="36"/>
                  </a:lnTo>
                  <a:lnTo>
                    <a:pt x="0" y="36"/>
                  </a:lnTo>
                  <a:lnTo>
                    <a:pt x="1" y="30"/>
                  </a:lnTo>
                  <a:lnTo>
                    <a:pt x="3" y="23"/>
                  </a:lnTo>
                  <a:lnTo>
                    <a:pt x="7" y="16"/>
                  </a:lnTo>
                  <a:lnTo>
                    <a:pt x="10" y="11"/>
                  </a:lnTo>
                  <a:lnTo>
                    <a:pt x="15" y="7"/>
                  </a:lnTo>
                  <a:lnTo>
                    <a:pt x="22" y="4"/>
                  </a:lnTo>
                  <a:lnTo>
                    <a:pt x="29" y="2"/>
                  </a:lnTo>
                  <a:lnTo>
                    <a:pt x="36" y="0"/>
                  </a:lnTo>
                  <a:lnTo>
                    <a:pt x="36" y="0"/>
                  </a:lnTo>
                  <a:lnTo>
                    <a:pt x="43" y="2"/>
                  </a:lnTo>
                  <a:lnTo>
                    <a:pt x="50" y="4"/>
                  </a:lnTo>
                  <a:lnTo>
                    <a:pt x="57" y="7"/>
                  </a:lnTo>
                  <a:lnTo>
                    <a:pt x="62" y="11"/>
                  </a:lnTo>
                  <a:lnTo>
                    <a:pt x="67" y="16"/>
                  </a:lnTo>
                  <a:lnTo>
                    <a:pt x="71" y="23"/>
                  </a:lnTo>
                  <a:lnTo>
                    <a:pt x="72" y="30"/>
                  </a:lnTo>
                  <a:lnTo>
                    <a:pt x="7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83" name="Freeform 140">
              <a:extLst>
                <a:ext uri="{FF2B5EF4-FFF2-40B4-BE49-F238E27FC236}">
                  <a16:creationId xmlns:a16="http://schemas.microsoft.com/office/drawing/2014/main" id="{171E5CA2-3203-47EC-BE77-D0B4783285D7}"/>
                </a:ext>
              </a:extLst>
            </p:cNvPr>
            <p:cNvSpPr>
              <a:spLocks/>
            </p:cNvSpPr>
            <p:nvPr/>
          </p:nvSpPr>
          <p:spPr bwMode="auto">
            <a:xfrm>
              <a:off x="11224847" y="-152920"/>
              <a:ext cx="40124" cy="465159"/>
            </a:xfrm>
            <a:custGeom>
              <a:avLst/>
              <a:gdLst>
                <a:gd name="T0" fmla="*/ 72 w 72"/>
                <a:gd name="T1" fmla="*/ 36 h 836"/>
                <a:gd name="T2" fmla="*/ 72 w 72"/>
                <a:gd name="T3" fmla="*/ 799 h 836"/>
                <a:gd name="T4" fmla="*/ 72 w 72"/>
                <a:gd name="T5" fmla="*/ 799 h 836"/>
                <a:gd name="T6" fmla="*/ 72 w 72"/>
                <a:gd name="T7" fmla="*/ 806 h 836"/>
                <a:gd name="T8" fmla="*/ 71 w 72"/>
                <a:gd name="T9" fmla="*/ 813 h 836"/>
                <a:gd name="T10" fmla="*/ 67 w 72"/>
                <a:gd name="T11" fmla="*/ 820 h 836"/>
                <a:gd name="T12" fmla="*/ 62 w 72"/>
                <a:gd name="T13" fmla="*/ 825 h 836"/>
                <a:gd name="T14" fmla="*/ 57 w 72"/>
                <a:gd name="T15" fmla="*/ 830 h 836"/>
                <a:gd name="T16" fmla="*/ 50 w 72"/>
                <a:gd name="T17" fmla="*/ 834 h 836"/>
                <a:gd name="T18" fmla="*/ 43 w 72"/>
                <a:gd name="T19" fmla="*/ 836 h 836"/>
                <a:gd name="T20" fmla="*/ 36 w 72"/>
                <a:gd name="T21" fmla="*/ 836 h 836"/>
                <a:gd name="T22" fmla="*/ 36 w 72"/>
                <a:gd name="T23" fmla="*/ 836 h 836"/>
                <a:gd name="T24" fmla="*/ 29 w 72"/>
                <a:gd name="T25" fmla="*/ 836 h 836"/>
                <a:gd name="T26" fmla="*/ 22 w 72"/>
                <a:gd name="T27" fmla="*/ 834 h 836"/>
                <a:gd name="T28" fmla="*/ 15 w 72"/>
                <a:gd name="T29" fmla="*/ 830 h 836"/>
                <a:gd name="T30" fmla="*/ 10 w 72"/>
                <a:gd name="T31" fmla="*/ 825 h 836"/>
                <a:gd name="T32" fmla="*/ 7 w 72"/>
                <a:gd name="T33" fmla="*/ 820 h 836"/>
                <a:gd name="T34" fmla="*/ 3 w 72"/>
                <a:gd name="T35" fmla="*/ 813 h 836"/>
                <a:gd name="T36" fmla="*/ 1 w 72"/>
                <a:gd name="T37" fmla="*/ 806 h 836"/>
                <a:gd name="T38" fmla="*/ 0 w 72"/>
                <a:gd name="T39" fmla="*/ 799 h 836"/>
                <a:gd name="T40" fmla="*/ 0 w 72"/>
                <a:gd name="T41" fmla="*/ 36 h 836"/>
                <a:gd name="T42" fmla="*/ 0 w 72"/>
                <a:gd name="T43" fmla="*/ 36 h 836"/>
                <a:gd name="T44" fmla="*/ 1 w 72"/>
                <a:gd name="T45" fmla="*/ 30 h 836"/>
                <a:gd name="T46" fmla="*/ 3 w 72"/>
                <a:gd name="T47" fmla="*/ 23 h 836"/>
                <a:gd name="T48" fmla="*/ 7 w 72"/>
                <a:gd name="T49" fmla="*/ 16 h 836"/>
                <a:gd name="T50" fmla="*/ 10 w 72"/>
                <a:gd name="T51" fmla="*/ 11 h 836"/>
                <a:gd name="T52" fmla="*/ 15 w 72"/>
                <a:gd name="T53" fmla="*/ 7 h 836"/>
                <a:gd name="T54" fmla="*/ 22 w 72"/>
                <a:gd name="T55" fmla="*/ 4 h 836"/>
                <a:gd name="T56" fmla="*/ 29 w 72"/>
                <a:gd name="T57" fmla="*/ 2 h 836"/>
                <a:gd name="T58" fmla="*/ 36 w 72"/>
                <a:gd name="T59" fmla="*/ 0 h 836"/>
                <a:gd name="T60" fmla="*/ 36 w 72"/>
                <a:gd name="T61" fmla="*/ 0 h 836"/>
                <a:gd name="T62" fmla="*/ 43 w 72"/>
                <a:gd name="T63" fmla="*/ 2 h 836"/>
                <a:gd name="T64" fmla="*/ 50 w 72"/>
                <a:gd name="T65" fmla="*/ 4 h 836"/>
                <a:gd name="T66" fmla="*/ 57 w 72"/>
                <a:gd name="T67" fmla="*/ 7 h 836"/>
                <a:gd name="T68" fmla="*/ 62 w 72"/>
                <a:gd name="T69" fmla="*/ 11 h 836"/>
                <a:gd name="T70" fmla="*/ 67 w 72"/>
                <a:gd name="T71" fmla="*/ 16 h 836"/>
                <a:gd name="T72" fmla="*/ 71 w 72"/>
                <a:gd name="T73" fmla="*/ 23 h 836"/>
                <a:gd name="T74" fmla="*/ 72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2" y="806"/>
                  </a:lnTo>
                  <a:lnTo>
                    <a:pt x="71" y="813"/>
                  </a:lnTo>
                  <a:lnTo>
                    <a:pt x="67" y="820"/>
                  </a:lnTo>
                  <a:lnTo>
                    <a:pt x="62" y="825"/>
                  </a:lnTo>
                  <a:lnTo>
                    <a:pt x="57" y="830"/>
                  </a:lnTo>
                  <a:lnTo>
                    <a:pt x="50" y="834"/>
                  </a:lnTo>
                  <a:lnTo>
                    <a:pt x="43" y="836"/>
                  </a:lnTo>
                  <a:lnTo>
                    <a:pt x="36" y="836"/>
                  </a:lnTo>
                  <a:lnTo>
                    <a:pt x="36" y="836"/>
                  </a:lnTo>
                  <a:lnTo>
                    <a:pt x="29" y="836"/>
                  </a:lnTo>
                  <a:lnTo>
                    <a:pt x="22" y="834"/>
                  </a:lnTo>
                  <a:lnTo>
                    <a:pt x="15" y="830"/>
                  </a:lnTo>
                  <a:lnTo>
                    <a:pt x="10" y="825"/>
                  </a:lnTo>
                  <a:lnTo>
                    <a:pt x="7" y="820"/>
                  </a:lnTo>
                  <a:lnTo>
                    <a:pt x="3" y="813"/>
                  </a:lnTo>
                  <a:lnTo>
                    <a:pt x="1" y="806"/>
                  </a:lnTo>
                  <a:lnTo>
                    <a:pt x="0" y="799"/>
                  </a:lnTo>
                  <a:lnTo>
                    <a:pt x="0" y="36"/>
                  </a:lnTo>
                  <a:lnTo>
                    <a:pt x="0" y="36"/>
                  </a:lnTo>
                  <a:lnTo>
                    <a:pt x="1" y="30"/>
                  </a:lnTo>
                  <a:lnTo>
                    <a:pt x="3" y="23"/>
                  </a:lnTo>
                  <a:lnTo>
                    <a:pt x="7" y="16"/>
                  </a:lnTo>
                  <a:lnTo>
                    <a:pt x="10" y="11"/>
                  </a:lnTo>
                  <a:lnTo>
                    <a:pt x="15" y="7"/>
                  </a:lnTo>
                  <a:lnTo>
                    <a:pt x="22" y="4"/>
                  </a:lnTo>
                  <a:lnTo>
                    <a:pt x="29" y="2"/>
                  </a:lnTo>
                  <a:lnTo>
                    <a:pt x="36" y="0"/>
                  </a:lnTo>
                  <a:lnTo>
                    <a:pt x="36" y="0"/>
                  </a:lnTo>
                  <a:lnTo>
                    <a:pt x="43" y="2"/>
                  </a:lnTo>
                  <a:lnTo>
                    <a:pt x="50" y="4"/>
                  </a:lnTo>
                  <a:lnTo>
                    <a:pt x="57" y="7"/>
                  </a:lnTo>
                  <a:lnTo>
                    <a:pt x="62" y="11"/>
                  </a:lnTo>
                  <a:lnTo>
                    <a:pt x="67" y="16"/>
                  </a:lnTo>
                  <a:lnTo>
                    <a:pt x="71" y="23"/>
                  </a:lnTo>
                  <a:lnTo>
                    <a:pt x="72" y="30"/>
                  </a:lnTo>
                  <a:lnTo>
                    <a:pt x="72" y="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84" name="Freeform 141">
              <a:extLst>
                <a:ext uri="{FF2B5EF4-FFF2-40B4-BE49-F238E27FC236}">
                  <a16:creationId xmlns:a16="http://schemas.microsoft.com/office/drawing/2014/main" id="{6F1D01A4-2F87-4933-94CD-5ECEB72B567E}"/>
                </a:ext>
              </a:extLst>
            </p:cNvPr>
            <p:cNvSpPr>
              <a:spLocks/>
            </p:cNvSpPr>
            <p:nvPr/>
          </p:nvSpPr>
          <p:spPr bwMode="auto">
            <a:xfrm>
              <a:off x="11369185" y="-152920"/>
              <a:ext cx="40682" cy="465159"/>
            </a:xfrm>
            <a:custGeom>
              <a:avLst/>
              <a:gdLst>
                <a:gd name="T0" fmla="*/ 73 w 73"/>
                <a:gd name="T1" fmla="*/ 36 h 836"/>
                <a:gd name="T2" fmla="*/ 73 w 73"/>
                <a:gd name="T3" fmla="*/ 799 h 836"/>
                <a:gd name="T4" fmla="*/ 73 w 73"/>
                <a:gd name="T5" fmla="*/ 799 h 836"/>
                <a:gd name="T6" fmla="*/ 71 w 73"/>
                <a:gd name="T7" fmla="*/ 806 h 836"/>
                <a:gd name="T8" fmla="*/ 69 w 73"/>
                <a:gd name="T9" fmla="*/ 813 h 836"/>
                <a:gd name="T10" fmla="*/ 66 w 73"/>
                <a:gd name="T11" fmla="*/ 820 h 836"/>
                <a:gd name="T12" fmla="*/ 60 w 73"/>
                <a:gd name="T13" fmla="*/ 825 h 836"/>
                <a:gd name="T14" fmla="*/ 55 w 73"/>
                <a:gd name="T15" fmla="*/ 830 h 836"/>
                <a:gd name="T16" fmla="*/ 50 w 73"/>
                <a:gd name="T17" fmla="*/ 834 h 836"/>
                <a:gd name="T18" fmla="*/ 43 w 73"/>
                <a:gd name="T19" fmla="*/ 836 h 836"/>
                <a:gd name="T20" fmla="*/ 36 w 73"/>
                <a:gd name="T21" fmla="*/ 836 h 836"/>
                <a:gd name="T22" fmla="*/ 36 w 73"/>
                <a:gd name="T23" fmla="*/ 836 h 836"/>
                <a:gd name="T24" fmla="*/ 28 w 73"/>
                <a:gd name="T25" fmla="*/ 836 h 836"/>
                <a:gd name="T26" fmla="*/ 21 w 73"/>
                <a:gd name="T27" fmla="*/ 834 h 836"/>
                <a:gd name="T28" fmla="*/ 16 w 73"/>
                <a:gd name="T29" fmla="*/ 830 h 836"/>
                <a:gd name="T30" fmla="*/ 10 w 73"/>
                <a:gd name="T31" fmla="*/ 825 h 836"/>
                <a:gd name="T32" fmla="*/ 5 w 73"/>
                <a:gd name="T33" fmla="*/ 820 h 836"/>
                <a:gd name="T34" fmla="*/ 2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2 w 73"/>
                <a:gd name="T47" fmla="*/ 23 h 836"/>
                <a:gd name="T48" fmla="*/ 5 w 73"/>
                <a:gd name="T49" fmla="*/ 16 h 836"/>
                <a:gd name="T50" fmla="*/ 10 w 73"/>
                <a:gd name="T51" fmla="*/ 11 h 836"/>
                <a:gd name="T52" fmla="*/ 16 w 73"/>
                <a:gd name="T53" fmla="*/ 7 h 836"/>
                <a:gd name="T54" fmla="*/ 21 w 73"/>
                <a:gd name="T55" fmla="*/ 4 h 836"/>
                <a:gd name="T56" fmla="*/ 28 w 73"/>
                <a:gd name="T57" fmla="*/ 2 h 836"/>
                <a:gd name="T58" fmla="*/ 36 w 73"/>
                <a:gd name="T59" fmla="*/ 0 h 836"/>
                <a:gd name="T60" fmla="*/ 36 w 73"/>
                <a:gd name="T61" fmla="*/ 0 h 836"/>
                <a:gd name="T62" fmla="*/ 43 w 73"/>
                <a:gd name="T63" fmla="*/ 2 h 836"/>
                <a:gd name="T64" fmla="*/ 50 w 73"/>
                <a:gd name="T65" fmla="*/ 4 h 836"/>
                <a:gd name="T66" fmla="*/ 55 w 73"/>
                <a:gd name="T67" fmla="*/ 7 h 836"/>
                <a:gd name="T68" fmla="*/ 60 w 73"/>
                <a:gd name="T69" fmla="*/ 11 h 836"/>
                <a:gd name="T70" fmla="*/ 66 w 73"/>
                <a:gd name="T71" fmla="*/ 16 h 836"/>
                <a:gd name="T72" fmla="*/ 69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69" y="813"/>
                  </a:lnTo>
                  <a:lnTo>
                    <a:pt x="66" y="820"/>
                  </a:lnTo>
                  <a:lnTo>
                    <a:pt x="60" y="825"/>
                  </a:lnTo>
                  <a:lnTo>
                    <a:pt x="55" y="830"/>
                  </a:lnTo>
                  <a:lnTo>
                    <a:pt x="50" y="834"/>
                  </a:lnTo>
                  <a:lnTo>
                    <a:pt x="43" y="836"/>
                  </a:lnTo>
                  <a:lnTo>
                    <a:pt x="36" y="836"/>
                  </a:lnTo>
                  <a:lnTo>
                    <a:pt x="36" y="836"/>
                  </a:lnTo>
                  <a:lnTo>
                    <a:pt x="28" y="836"/>
                  </a:lnTo>
                  <a:lnTo>
                    <a:pt x="21" y="834"/>
                  </a:lnTo>
                  <a:lnTo>
                    <a:pt x="16" y="830"/>
                  </a:lnTo>
                  <a:lnTo>
                    <a:pt x="10" y="825"/>
                  </a:lnTo>
                  <a:lnTo>
                    <a:pt x="5" y="820"/>
                  </a:lnTo>
                  <a:lnTo>
                    <a:pt x="2" y="813"/>
                  </a:lnTo>
                  <a:lnTo>
                    <a:pt x="0" y="806"/>
                  </a:lnTo>
                  <a:lnTo>
                    <a:pt x="0" y="799"/>
                  </a:lnTo>
                  <a:lnTo>
                    <a:pt x="0" y="36"/>
                  </a:lnTo>
                  <a:lnTo>
                    <a:pt x="0" y="36"/>
                  </a:lnTo>
                  <a:lnTo>
                    <a:pt x="0" y="30"/>
                  </a:lnTo>
                  <a:lnTo>
                    <a:pt x="2" y="23"/>
                  </a:lnTo>
                  <a:lnTo>
                    <a:pt x="5" y="16"/>
                  </a:lnTo>
                  <a:lnTo>
                    <a:pt x="10" y="11"/>
                  </a:lnTo>
                  <a:lnTo>
                    <a:pt x="16" y="7"/>
                  </a:lnTo>
                  <a:lnTo>
                    <a:pt x="21" y="4"/>
                  </a:lnTo>
                  <a:lnTo>
                    <a:pt x="28" y="2"/>
                  </a:lnTo>
                  <a:lnTo>
                    <a:pt x="36" y="0"/>
                  </a:lnTo>
                  <a:lnTo>
                    <a:pt x="36" y="0"/>
                  </a:lnTo>
                  <a:lnTo>
                    <a:pt x="43" y="2"/>
                  </a:lnTo>
                  <a:lnTo>
                    <a:pt x="50" y="4"/>
                  </a:lnTo>
                  <a:lnTo>
                    <a:pt x="55" y="7"/>
                  </a:lnTo>
                  <a:lnTo>
                    <a:pt x="60" y="11"/>
                  </a:lnTo>
                  <a:lnTo>
                    <a:pt x="66" y="16"/>
                  </a:lnTo>
                  <a:lnTo>
                    <a:pt x="69" y="23"/>
                  </a:lnTo>
                  <a:lnTo>
                    <a:pt x="71" y="30"/>
                  </a:lnTo>
                  <a:lnTo>
                    <a:pt x="7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85" name="Freeform 142">
              <a:extLst>
                <a:ext uri="{FF2B5EF4-FFF2-40B4-BE49-F238E27FC236}">
                  <a16:creationId xmlns:a16="http://schemas.microsoft.com/office/drawing/2014/main" id="{F545AA89-DF8B-4FA7-A7F1-6958A225C0A2}"/>
                </a:ext>
              </a:extLst>
            </p:cNvPr>
            <p:cNvSpPr>
              <a:spLocks/>
            </p:cNvSpPr>
            <p:nvPr/>
          </p:nvSpPr>
          <p:spPr bwMode="auto">
            <a:xfrm>
              <a:off x="11369185" y="-152920"/>
              <a:ext cx="40682" cy="465159"/>
            </a:xfrm>
            <a:custGeom>
              <a:avLst/>
              <a:gdLst>
                <a:gd name="T0" fmla="*/ 73 w 73"/>
                <a:gd name="T1" fmla="*/ 36 h 836"/>
                <a:gd name="T2" fmla="*/ 73 w 73"/>
                <a:gd name="T3" fmla="*/ 799 h 836"/>
                <a:gd name="T4" fmla="*/ 73 w 73"/>
                <a:gd name="T5" fmla="*/ 799 h 836"/>
                <a:gd name="T6" fmla="*/ 71 w 73"/>
                <a:gd name="T7" fmla="*/ 806 h 836"/>
                <a:gd name="T8" fmla="*/ 69 w 73"/>
                <a:gd name="T9" fmla="*/ 813 h 836"/>
                <a:gd name="T10" fmla="*/ 66 w 73"/>
                <a:gd name="T11" fmla="*/ 820 h 836"/>
                <a:gd name="T12" fmla="*/ 60 w 73"/>
                <a:gd name="T13" fmla="*/ 825 h 836"/>
                <a:gd name="T14" fmla="*/ 55 w 73"/>
                <a:gd name="T15" fmla="*/ 830 h 836"/>
                <a:gd name="T16" fmla="*/ 50 w 73"/>
                <a:gd name="T17" fmla="*/ 834 h 836"/>
                <a:gd name="T18" fmla="*/ 43 w 73"/>
                <a:gd name="T19" fmla="*/ 836 h 836"/>
                <a:gd name="T20" fmla="*/ 36 w 73"/>
                <a:gd name="T21" fmla="*/ 836 h 836"/>
                <a:gd name="T22" fmla="*/ 36 w 73"/>
                <a:gd name="T23" fmla="*/ 836 h 836"/>
                <a:gd name="T24" fmla="*/ 28 w 73"/>
                <a:gd name="T25" fmla="*/ 836 h 836"/>
                <a:gd name="T26" fmla="*/ 21 w 73"/>
                <a:gd name="T27" fmla="*/ 834 h 836"/>
                <a:gd name="T28" fmla="*/ 16 w 73"/>
                <a:gd name="T29" fmla="*/ 830 h 836"/>
                <a:gd name="T30" fmla="*/ 10 w 73"/>
                <a:gd name="T31" fmla="*/ 825 h 836"/>
                <a:gd name="T32" fmla="*/ 5 w 73"/>
                <a:gd name="T33" fmla="*/ 820 h 836"/>
                <a:gd name="T34" fmla="*/ 2 w 73"/>
                <a:gd name="T35" fmla="*/ 813 h 836"/>
                <a:gd name="T36" fmla="*/ 0 w 73"/>
                <a:gd name="T37" fmla="*/ 806 h 836"/>
                <a:gd name="T38" fmla="*/ 0 w 73"/>
                <a:gd name="T39" fmla="*/ 799 h 836"/>
                <a:gd name="T40" fmla="*/ 0 w 73"/>
                <a:gd name="T41" fmla="*/ 36 h 836"/>
                <a:gd name="T42" fmla="*/ 0 w 73"/>
                <a:gd name="T43" fmla="*/ 36 h 836"/>
                <a:gd name="T44" fmla="*/ 0 w 73"/>
                <a:gd name="T45" fmla="*/ 30 h 836"/>
                <a:gd name="T46" fmla="*/ 2 w 73"/>
                <a:gd name="T47" fmla="*/ 23 h 836"/>
                <a:gd name="T48" fmla="*/ 5 w 73"/>
                <a:gd name="T49" fmla="*/ 16 h 836"/>
                <a:gd name="T50" fmla="*/ 10 w 73"/>
                <a:gd name="T51" fmla="*/ 11 h 836"/>
                <a:gd name="T52" fmla="*/ 16 w 73"/>
                <a:gd name="T53" fmla="*/ 7 h 836"/>
                <a:gd name="T54" fmla="*/ 21 w 73"/>
                <a:gd name="T55" fmla="*/ 4 h 836"/>
                <a:gd name="T56" fmla="*/ 28 w 73"/>
                <a:gd name="T57" fmla="*/ 2 h 836"/>
                <a:gd name="T58" fmla="*/ 36 w 73"/>
                <a:gd name="T59" fmla="*/ 0 h 836"/>
                <a:gd name="T60" fmla="*/ 36 w 73"/>
                <a:gd name="T61" fmla="*/ 0 h 836"/>
                <a:gd name="T62" fmla="*/ 43 w 73"/>
                <a:gd name="T63" fmla="*/ 2 h 836"/>
                <a:gd name="T64" fmla="*/ 50 w 73"/>
                <a:gd name="T65" fmla="*/ 4 h 836"/>
                <a:gd name="T66" fmla="*/ 55 w 73"/>
                <a:gd name="T67" fmla="*/ 7 h 836"/>
                <a:gd name="T68" fmla="*/ 60 w 73"/>
                <a:gd name="T69" fmla="*/ 11 h 836"/>
                <a:gd name="T70" fmla="*/ 66 w 73"/>
                <a:gd name="T71" fmla="*/ 16 h 836"/>
                <a:gd name="T72" fmla="*/ 69 w 73"/>
                <a:gd name="T73" fmla="*/ 23 h 836"/>
                <a:gd name="T74" fmla="*/ 71 w 73"/>
                <a:gd name="T75" fmla="*/ 30 h 836"/>
                <a:gd name="T76" fmla="*/ 73 w 73"/>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836">
                  <a:moveTo>
                    <a:pt x="73" y="36"/>
                  </a:moveTo>
                  <a:lnTo>
                    <a:pt x="73" y="799"/>
                  </a:lnTo>
                  <a:lnTo>
                    <a:pt x="73" y="799"/>
                  </a:lnTo>
                  <a:lnTo>
                    <a:pt x="71" y="806"/>
                  </a:lnTo>
                  <a:lnTo>
                    <a:pt x="69" y="813"/>
                  </a:lnTo>
                  <a:lnTo>
                    <a:pt x="66" y="820"/>
                  </a:lnTo>
                  <a:lnTo>
                    <a:pt x="60" y="825"/>
                  </a:lnTo>
                  <a:lnTo>
                    <a:pt x="55" y="830"/>
                  </a:lnTo>
                  <a:lnTo>
                    <a:pt x="50" y="834"/>
                  </a:lnTo>
                  <a:lnTo>
                    <a:pt x="43" y="836"/>
                  </a:lnTo>
                  <a:lnTo>
                    <a:pt x="36" y="836"/>
                  </a:lnTo>
                  <a:lnTo>
                    <a:pt x="36" y="836"/>
                  </a:lnTo>
                  <a:lnTo>
                    <a:pt x="28" y="836"/>
                  </a:lnTo>
                  <a:lnTo>
                    <a:pt x="21" y="834"/>
                  </a:lnTo>
                  <a:lnTo>
                    <a:pt x="16" y="830"/>
                  </a:lnTo>
                  <a:lnTo>
                    <a:pt x="10" y="825"/>
                  </a:lnTo>
                  <a:lnTo>
                    <a:pt x="5" y="820"/>
                  </a:lnTo>
                  <a:lnTo>
                    <a:pt x="2" y="813"/>
                  </a:lnTo>
                  <a:lnTo>
                    <a:pt x="0" y="806"/>
                  </a:lnTo>
                  <a:lnTo>
                    <a:pt x="0" y="799"/>
                  </a:lnTo>
                  <a:lnTo>
                    <a:pt x="0" y="36"/>
                  </a:lnTo>
                  <a:lnTo>
                    <a:pt x="0" y="36"/>
                  </a:lnTo>
                  <a:lnTo>
                    <a:pt x="0" y="30"/>
                  </a:lnTo>
                  <a:lnTo>
                    <a:pt x="2" y="23"/>
                  </a:lnTo>
                  <a:lnTo>
                    <a:pt x="5" y="16"/>
                  </a:lnTo>
                  <a:lnTo>
                    <a:pt x="10" y="11"/>
                  </a:lnTo>
                  <a:lnTo>
                    <a:pt x="16" y="7"/>
                  </a:lnTo>
                  <a:lnTo>
                    <a:pt x="21" y="4"/>
                  </a:lnTo>
                  <a:lnTo>
                    <a:pt x="28" y="2"/>
                  </a:lnTo>
                  <a:lnTo>
                    <a:pt x="36" y="0"/>
                  </a:lnTo>
                  <a:lnTo>
                    <a:pt x="36" y="0"/>
                  </a:lnTo>
                  <a:lnTo>
                    <a:pt x="43" y="2"/>
                  </a:lnTo>
                  <a:lnTo>
                    <a:pt x="50" y="4"/>
                  </a:lnTo>
                  <a:lnTo>
                    <a:pt x="55" y="7"/>
                  </a:lnTo>
                  <a:lnTo>
                    <a:pt x="60" y="11"/>
                  </a:lnTo>
                  <a:lnTo>
                    <a:pt x="66" y="16"/>
                  </a:lnTo>
                  <a:lnTo>
                    <a:pt x="69" y="23"/>
                  </a:lnTo>
                  <a:lnTo>
                    <a:pt x="71" y="30"/>
                  </a:lnTo>
                  <a:lnTo>
                    <a:pt x="73" y="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86" name="Freeform 143">
              <a:extLst>
                <a:ext uri="{FF2B5EF4-FFF2-40B4-BE49-F238E27FC236}">
                  <a16:creationId xmlns:a16="http://schemas.microsoft.com/office/drawing/2014/main" id="{A2EF025F-5DF0-4FE8-B937-6D59F1EB448C}"/>
                </a:ext>
              </a:extLst>
            </p:cNvPr>
            <p:cNvSpPr>
              <a:spLocks/>
            </p:cNvSpPr>
            <p:nvPr/>
          </p:nvSpPr>
          <p:spPr bwMode="auto">
            <a:xfrm>
              <a:off x="11512965" y="13447"/>
              <a:ext cx="40124" cy="132982"/>
            </a:xfrm>
            <a:custGeom>
              <a:avLst/>
              <a:gdLst>
                <a:gd name="T0" fmla="*/ 72 w 72"/>
                <a:gd name="T1" fmla="*/ 37 h 239"/>
                <a:gd name="T2" fmla="*/ 72 w 72"/>
                <a:gd name="T3" fmla="*/ 203 h 239"/>
                <a:gd name="T4" fmla="*/ 72 w 72"/>
                <a:gd name="T5" fmla="*/ 203 h 239"/>
                <a:gd name="T6" fmla="*/ 70 w 72"/>
                <a:gd name="T7" fmla="*/ 210 h 239"/>
                <a:gd name="T8" fmla="*/ 69 w 72"/>
                <a:gd name="T9" fmla="*/ 217 h 239"/>
                <a:gd name="T10" fmla="*/ 65 w 72"/>
                <a:gd name="T11" fmla="*/ 222 h 239"/>
                <a:gd name="T12" fmla="*/ 62 w 72"/>
                <a:gd name="T13" fmla="*/ 227 h 239"/>
                <a:gd name="T14" fmla="*/ 57 w 72"/>
                <a:gd name="T15" fmla="*/ 232 h 239"/>
                <a:gd name="T16" fmla="*/ 50 w 72"/>
                <a:gd name="T17" fmla="*/ 236 h 239"/>
                <a:gd name="T18" fmla="*/ 43 w 72"/>
                <a:gd name="T19" fmla="*/ 237 h 239"/>
                <a:gd name="T20" fmla="*/ 36 w 72"/>
                <a:gd name="T21" fmla="*/ 239 h 239"/>
                <a:gd name="T22" fmla="*/ 36 w 72"/>
                <a:gd name="T23" fmla="*/ 239 h 239"/>
                <a:gd name="T24" fmla="*/ 29 w 72"/>
                <a:gd name="T25" fmla="*/ 237 h 239"/>
                <a:gd name="T26" fmla="*/ 22 w 72"/>
                <a:gd name="T27" fmla="*/ 236 h 239"/>
                <a:gd name="T28" fmla="*/ 15 w 72"/>
                <a:gd name="T29" fmla="*/ 232 h 239"/>
                <a:gd name="T30" fmla="*/ 10 w 72"/>
                <a:gd name="T31" fmla="*/ 227 h 239"/>
                <a:gd name="T32" fmla="*/ 5 w 72"/>
                <a:gd name="T33" fmla="*/ 222 h 239"/>
                <a:gd name="T34" fmla="*/ 1 w 72"/>
                <a:gd name="T35" fmla="*/ 217 h 239"/>
                <a:gd name="T36" fmla="*/ 0 w 72"/>
                <a:gd name="T37" fmla="*/ 210 h 239"/>
                <a:gd name="T38" fmla="*/ 0 w 72"/>
                <a:gd name="T39" fmla="*/ 203 h 239"/>
                <a:gd name="T40" fmla="*/ 0 w 72"/>
                <a:gd name="T41" fmla="*/ 37 h 239"/>
                <a:gd name="T42" fmla="*/ 0 w 72"/>
                <a:gd name="T43" fmla="*/ 37 h 239"/>
                <a:gd name="T44" fmla="*/ 0 w 72"/>
                <a:gd name="T45" fmla="*/ 30 h 239"/>
                <a:gd name="T46" fmla="*/ 1 w 72"/>
                <a:gd name="T47" fmla="*/ 23 h 239"/>
                <a:gd name="T48" fmla="*/ 5 w 72"/>
                <a:gd name="T49" fmla="*/ 16 h 239"/>
                <a:gd name="T50" fmla="*/ 10 w 72"/>
                <a:gd name="T51" fmla="*/ 11 h 239"/>
                <a:gd name="T52" fmla="*/ 15 w 72"/>
                <a:gd name="T53" fmla="*/ 6 h 239"/>
                <a:gd name="T54" fmla="*/ 22 w 72"/>
                <a:gd name="T55" fmla="*/ 4 h 239"/>
                <a:gd name="T56" fmla="*/ 29 w 72"/>
                <a:gd name="T57" fmla="*/ 0 h 239"/>
                <a:gd name="T58" fmla="*/ 36 w 72"/>
                <a:gd name="T59" fmla="*/ 0 h 239"/>
                <a:gd name="T60" fmla="*/ 36 w 72"/>
                <a:gd name="T61" fmla="*/ 0 h 239"/>
                <a:gd name="T62" fmla="*/ 43 w 72"/>
                <a:gd name="T63" fmla="*/ 0 h 239"/>
                <a:gd name="T64" fmla="*/ 50 w 72"/>
                <a:gd name="T65" fmla="*/ 4 h 239"/>
                <a:gd name="T66" fmla="*/ 57 w 72"/>
                <a:gd name="T67" fmla="*/ 6 h 239"/>
                <a:gd name="T68" fmla="*/ 62 w 72"/>
                <a:gd name="T69" fmla="*/ 11 h 239"/>
                <a:gd name="T70" fmla="*/ 65 w 72"/>
                <a:gd name="T71" fmla="*/ 16 h 239"/>
                <a:gd name="T72" fmla="*/ 69 w 72"/>
                <a:gd name="T73" fmla="*/ 23 h 239"/>
                <a:gd name="T74" fmla="*/ 70 w 72"/>
                <a:gd name="T75" fmla="*/ 30 h 239"/>
                <a:gd name="T76" fmla="*/ 72 w 72"/>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239">
                  <a:moveTo>
                    <a:pt x="72" y="37"/>
                  </a:moveTo>
                  <a:lnTo>
                    <a:pt x="72" y="203"/>
                  </a:lnTo>
                  <a:lnTo>
                    <a:pt x="72" y="203"/>
                  </a:lnTo>
                  <a:lnTo>
                    <a:pt x="70" y="210"/>
                  </a:lnTo>
                  <a:lnTo>
                    <a:pt x="69" y="217"/>
                  </a:lnTo>
                  <a:lnTo>
                    <a:pt x="65" y="222"/>
                  </a:lnTo>
                  <a:lnTo>
                    <a:pt x="62" y="227"/>
                  </a:lnTo>
                  <a:lnTo>
                    <a:pt x="57" y="232"/>
                  </a:lnTo>
                  <a:lnTo>
                    <a:pt x="50" y="236"/>
                  </a:lnTo>
                  <a:lnTo>
                    <a:pt x="43" y="237"/>
                  </a:lnTo>
                  <a:lnTo>
                    <a:pt x="36" y="239"/>
                  </a:lnTo>
                  <a:lnTo>
                    <a:pt x="36" y="239"/>
                  </a:lnTo>
                  <a:lnTo>
                    <a:pt x="29" y="237"/>
                  </a:lnTo>
                  <a:lnTo>
                    <a:pt x="22" y="236"/>
                  </a:lnTo>
                  <a:lnTo>
                    <a:pt x="15" y="232"/>
                  </a:lnTo>
                  <a:lnTo>
                    <a:pt x="10" y="227"/>
                  </a:lnTo>
                  <a:lnTo>
                    <a:pt x="5" y="222"/>
                  </a:lnTo>
                  <a:lnTo>
                    <a:pt x="1" y="217"/>
                  </a:lnTo>
                  <a:lnTo>
                    <a:pt x="0" y="210"/>
                  </a:lnTo>
                  <a:lnTo>
                    <a:pt x="0" y="203"/>
                  </a:lnTo>
                  <a:lnTo>
                    <a:pt x="0" y="37"/>
                  </a:lnTo>
                  <a:lnTo>
                    <a:pt x="0" y="37"/>
                  </a:lnTo>
                  <a:lnTo>
                    <a:pt x="0" y="30"/>
                  </a:lnTo>
                  <a:lnTo>
                    <a:pt x="1" y="23"/>
                  </a:lnTo>
                  <a:lnTo>
                    <a:pt x="5" y="16"/>
                  </a:lnTo>
                  <a:lnTo>
                    <a:pt x="10" y="11"/>
                  </a:lnTo>
                  <a:lnTo>
                    <a:pt x="15" y="6"/>
                  </a:lnTo>
                  <a:lnTo>
                    <a:pt x="22" y="4"/>
                  </a:lnTo>
                  <a:lnTo>
                    <a:pt x="29" y="0"/>
                  </a:lnTo>
                  <a:lnTo>
                    <a:pt x="36" y="0"/>
                  </a:lnTo>
                  <a:lnTo>
                    <a:pt x="36" y="0"/>
                  </a:lnTo>
                  <a:lnTo>
                    <a:pt x="43" y="0"/>
                  </a:lnTo>
                  <a:lnTo>
                    <a:pt x="50" y="4"/>
                  </a:lnTo>
                  <a:lnTo>
                    <a:pt x="57" y="6"/>
                  </a:lnTo>
                  <a:lnTo>
                    <a:pt x="62" y="11"/>
                  </a:lnTo>
                  <a:lnTo>
                    <a:pt x="65" y="16"/>
                  </a:lnTo>
                  <a:lnTo>
                    <a:pt x="69" y="23"/>
                  </a:lnTo>
                  <a:lnTo>
                    <a:pt x="70" y="30"/>
                  </a:lnTo>
                  <a:lnTo>
                    <a:pt x="72"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87" name="Freeform 144">
              <a:extLst>
                <a:ext uri="{FF2B5EF4-FFF2-40B4-BE49-F238E27FC236}">
                  <a16:creationId xmlns:a16="http://schemas.microsoft.com/office/drawing/2014/main" id="{775594D0-59C4-490B-8A29-CD98783DC347}"/>
                </a:ext>
              </a:extLst>
            </p:cNvPr>
            <p:cNvSpPr>
              <a:spLocks/>
            </p:cNvSpPr>
            <p:nvPr/>
          </p:nvSpPr>
          <p:spPr bwMode="auto">
            <a:xfrm>
              <a:off x="11512965" y="13447"/>
              <a:ext cx="40124" cy="132982"/>
            </a:xfrm>
            <a:custGeom>
              <a:avLst/>
              <a:gdLst>
                <a:gd name="T0" fmla="*/ 72 w 72"/>
                <a:gd name="T1" fmla="*/ 37 h 239"/>
                <a:gd name="T2" fmla="*/ 72 w 72"/>
                <a:gd name="T3" fmla="*/ 203 h 239"/>
                <a:gd name="T4" fmla="*/ 72 w 72"/>
                <a:gd name="T5" fmla="*/ 203 h 239"/>
                <a:gd name="T6" fmla="*/ 70 w 72"/>
                <a:gd name="T7" fmla="*/ 210 h 239"/>
                <a:gd name="T8" fmla="*/ 69 w 72"/>
                <a:gd name="T9" fmla="*/ 217 h 239"/>
                <a:gd name="T10" fmla="*/ 65 w 72"/>
                <a:gd name="T11" fmla="*/ 222 h 239"/>
                <a:gd name="T12" fmla="*/ 62 w 72"/>
                <a:gd name="T13" fmla="*/ 227 h 239"/>
                <a:gd name="T14" fmla="*/ 57 w 72"/>
                <a:gd name="T15" fmla="*/ 232 h 239"/>
                <a:gd name="T16" fmla="*/ 50 w 72"/>
                <a:gd name="T17" fmla="*/ 236 h 239"/>
                <a:gd name="T18" fmla="*/ 43 w 72"/>
                <a:gd name="T19" fmla="*/ 237 h 239"/>
                <a:gd name="T20" fmla="*/ 36 w 72"/>
                <a:gd name="T21" fmla="*/ 239 h 239"/>
                <a:gd name="T22" fmla="*/ 36 w 72"/>
                <a:gd name="T23" fmla="*/ 239 h 239"/>
                <a:gd name="T24" fmla="*/ 29 w 72"/>
                <a:gd name="T25" fmla="*/ 237 h 239"/>
                <a:gd name="T26" fmla="*/ 22 w 72"/>
                <a:gd name="T27" fmla="*/ 236 h 239"/>
                <a:gd name="T28" fmla="*/ 15 w 72"/>
                <a:gd name="T29" fmla="*/ 232 h 239"/>
                <a:gd name="T30" fmla="*/ 10 w 72"/>
                <a:gd name="T31" fmla="*/ 227 h 239"/>
                <a:gd name="T32" fmla="*/ 5 w 72"/>
                <a:gd name="T33" fmla="*/ 222 h 239"/>
                <a:gd name="T34" fmla="*/ 1 w 72"/>
                <a:gd name="T35" fmla="*/ 217 h 239"/>
                <a:gd name="T36" fmla="*/ 0 w 72"/>
                <a:gd name="T37" fmla="*/ 210 h 239"/>
                <a:gd name="T38" fmla="*/ 0 w 72"/>
                <a:gd name="T39" fmla="*/ 203 h 239"/>
                <a:gd name="T40" fmla="*/ 0 w 72"/>
                <a:gd name="T41" fmla="*/ 37 h 239"/>
                <a:gd name="T42" fmla="*/ 0 w 72"/>
                <a:gd name="T43" fmla="*/ 37 h 239"/>
                <a:gd name="T44" fmla="*/ 0 w 72"/>
                <a:gd name="T45" fmla="*/ 30 h 239"/>
                <a:gd name="T46" fmla="*/ 1 w 72"/>
                <a:gd name="T47" fmla="*/ 23 h 239"/>
                <a:gd name="T48" fmla="*/ 5 w 72"/>
                <a:gd name="T49" fmla="*/ 16 h 239"/>
                <a:gd name="T50" fmla="*/ 10 w 72"/>
                <a:gd name="T51" fmla="*/ 11 h 239"/>
                <a:gd name="T52" fmla="*/ 15 w 72"/>
                <a:gd name="T53" fmla="*/ 6 h 239"/>
                <a:gd name="T54" fmla="*/ 22 w 72"/>
                <a:gd name="T55" fmla="*/ 4 h 239"/>
                <a:gd name="T56" fmla="*/ 29 w 72"/>
                <a:gd name="T57" fmla="*/ 0 h 239"/>
                <a:gd name="T58" fmla="*/ 36 w 72"/>
                <a:gd name="T59" fmla="*/ 0 h 239"/>
                <a:gd name="T60" fmla="*/ 36 w 72"/>
                <a:gd name="T61" fmla="*/ 0 h 239"/>
                <a:gd name="T62" fmla="*/ 43 w 72"/>
                <a:gd name="T63" fmla="*/ 0 h 239"/>
                <a:gd name="T64" fmla="*/ 50 w 72"/>
                <a:gd name="T65" fmla="*/ 4 h 239"/>
                <a:gd name="T66" fmla="*/ 57 w 72"/>
                <a:gd name="T67" fmla="*/ 6 h 239"/>
                <a:gd name="T68" fmla="*/ 62 w 72"/>
                <a:gd name="T69" fmla="*/ 11 h 239"/>
                <a:gd name="T70" fmla="*/ 65 w 72"/>
                <a:gd name="T71" fmla="*/ 16 h 239"/>
                <a:gd name="T72" fmla="*/ 69 w 72"/>
                <a:gd name="T73" fmla="*/ 23 h 239"/>
                <a:gd name="T74" fmla="*/ 70 w 72"/>
                <a:gd name="T75" fmla="*/ 30 h 239"/>
                <a:gd name="T76" fmla="*/ 72 w 72"/>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239">
                  <a:moveTo>
                    <a:pt x="72" y="37"/>
                  </a:moveTo>
                  <a:lnTo>
                    <a:pt x="72" y="203"/>
                  </a:lnTo>
                  <a:lnTo>
                    <a:pt x="72" y="203"/>
                  </a:lnTo>
                  <a:lnTo>
                    <a:pt x="70" y="210"/>
                  </a:lnTo>
                  <a:lnTo>
                    <a:pt x="69" y="217"/>
                  </a:lnTo>
                  <a:lnTo>
                    <a:pt x="65" y="222"/>
                  </a:lnTo>
                  <a:lnTo>
                    <a:pt x="62" y="227"/>
                  </a:lnTo>
                  <a:lnTo>
                    <a:pt x="57" y="232"/>
                  </a:lnTo>
                  <a:lnTo>
                    <a:pt x="50" y="236"/>
                  </a:lnTo>
                  <a:lnTo>
                    <a:pt x="43" y="237"/>
                  </a:lnTo>
                  <a:lnTo>
                    <a:pt x="36" y="239"/>
                  </a:lnTo>
                  <a:lnTo>
                    <a:pt x="36" y="239"/>
                  </a:lnTo>
                  <a:lnTo>
                    <a:pt x="29" y="237"/>
                  </a:lnTo>
                  <a:lnTo>
                    <a:pt x="22" y="236"/>
                  </a:lnTo>
                  <a:lnTo>
                    <a:pt x="15" y="232"/>
                  </a:lnTo>
                  <a:lnTo>
                    <a:pt x="10" y="227"/>
                  </a:lnTo>
                  <a:lnTo>
                    <a:pt x="5" y="222"/>
                  </a:lnTo>
                  <a:lnTo>
                    <a:pt x="1" y="217"/>
                  </a:lnTo>
                  <a:lnTo>
                    <a:pt x="0" y="210"/>
                  </a:lnTo>
                  <a:lnTo>
                    <a:pt x="0" y="203"/>
                  </a:lnTo>
                  <a:lnTo>
                    <a:pt x="0" y="37"/>
                  </a:lnTo>
                  <a:lnTo>
                    <a:pt x="0" y="37"/>
                  </a:lnTo>
                  <a:lnTo>
                    <a:pt x="0" y="30"/>
                  </a:lnTo>
                  <a:lnTo>
                    <a:pt x="1" y="23"/>
                  </a:lnTo>
                  <a:lnTo>
                    <a:pt x="5" y="16"/>
                  </a:lnTo>
                  <a:lnTo>
                    <a:pt x="10" y="11"/>
                  </a:lnTo>
                  <a:lnTo>
                    <a:pt x="15" y="6"/>
                  </a:lnTo>
                  <a:lnTo>
                    <a:pt x="22" y="4"/>
                  </a:lnTo>
                  <a:lnTo>
                    <a:pt x="29" y="0"/>
                  </a:lnTo>
                  <a:lnTo>
                    <a:pt x="36" y="0"/>
                  </a:lnTo>
                  <a:lnTo>
                    <a:pt x="36" y="0"/>
                  </a:lnTo>
                  <a:lnTo>
                    <a:pt x="43" y="0"/>
                  </a:lnTo>
                  <a:lnTo>
                    <a:pt x="50" y="4"/>
                  </a:lnTo>
                  <a:lnTo>
                    <a:pt x="57" y="6"/>
                  </a:lnTo>
                  <a:lnTo>
                    <a:pt x="62" y="11"/>
                  </a:lnTo>
                  <a:lnTo>
                    <a:pt x="65" y="16"/>
                  </a:lnTo>
                  <a:lnTo>
                    <a:pt x="69" y="23"/>
                  </a:lnTo>
                  <a:lnTo>
                    <a:pt x="70" y="30"/>
                  </a:lnTo>
                  <a:lnTo>
                    <a:pt x="72" y="3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88" name="Freeform 145">
              <a:extLst>
                <a:ext uri="{FF2B5EF4-FFF2-40B4-BE49-F238E27FC236}">
                  <a16:creationId xmlns:a16="http://schemas.microsoft.com/office/drawing/2014/main" id="{6D690577-90E1-4137-8091-FE72B3474B50}"/>
                </a:ext>
              </a:extLst>
            </p:cNvPr>
            <p:cNvSpPr>
              <a:spLocks/>
            </p:cNvSpPr>
            <p:nvPr/>
          </p:nvSpPr>
          <p:spPr bwMode="auto">
            <a:xfrm>
              <a:off x="11944304" y="13447"/>
              <a:ext cx="40682" cy="132982"/>
            </a:xfrm>
            <a:custGeom>
              <a:avLst/>
              <a:gdLst>
                <a:gd name="T0" fmla="*/ 73 w 73"/>
                <a:gd name="T1" fmla="*/ 37 h 239"/>
                <a:gd name="T2" fmla="*/ 73 w 73"/>
                <a:gd name="T3" fmla="*/ 203 h 239"/>
                <a:gd name="T4" fmla="*/ 73 w 73"/>
                <a:gd name="T5" fmla="*/ 203 h 239"/>
                <a:gd name="T6" fmla="*/ 71 w 73"/>
                <a:gd name="T7" fmla="*/ 210 h 239"/>
                <a:gd name="T8" fmla="*/ 69 w 73"/>
                <a:gd name="T9" fmla="*/ 217 h 239"/>
                <a:gd name="T10" fmla="*/ 66 w 73"/>
                <a:gd name="T11" fmla="*/ 222 h 239"/>
                <a:gd name="T12" fmla="*/ 62 w 73"/>
                <a:gd name="T13" fmla="*/ 227 h 239"/>
                <a:gd name="T14" fmla="*/ 57 w 73"/>
                <a:gd name="T15" fmla="*/ 232 h 239"/>
                <a:gd name="T16" fmla="*/ 50 w 73"/>
                <a:gd name="T17" fmla="*/ 236 h 239"/>
                <a:gd name="T18" fmla="*/ 43 w 73"/>
                <a:gd name="T19" fmla="*/ 237 h 239"/>
                <a:gd name="T20" fmla="*/ 36 w 73"/>
                <a:gd name="T21" fmla="*/ 239 h 239"/>
                <a:gd name="T22" fmla="*/ 36 w 73"/>
                <a:gd name="T23" fmla="*/ 239 h 239"/>
                <a:gd name="T24" fmla="*/ 29 w 73"/>
                <a:gd name="T25" fmla="*/ 237 h 239"/>
                <a:gd name="T26" fmla="*/ 23 w 73"/>
                <a:gd name="T27" fmla="*/ 236 h 239"/>
                <a:gd name="T28" fmla="*/ 16 w 73"/>
                <a:gd name="T29" fmla="*/ 232 h 239"/>
                <a:gd name="T30" fmla="*/ 10 w 73"/>
                <a:gd name="T31" fmla="*/ 227 h 239"/>
                <a:gd name="T32" fmla="*/ 5 w 73"/>
                <a:gd name="T33" fmla="*/ 222 h 239"/>
                <a:gd name="T34" fmla="*/ 2 w 73"/>
                <a:gd name="T35" fmla="*/ 217 h 239"/>
                <a:gd name="T36" fmla="*/ 0 w 73"/>
                <a:gd name="T37" fmla="*/ 210 h 239"/>
                <a:gd name="T38" fmla="*/ 0 w 73"/>
                <a:gd name="T39" fmla="*/ 203 h 239"/>
                <a:gd name="T40" fmla="*/ 0 w 73"/>
                <a:gd name="T41" fmla="*/ 37 h 239"/>
                <a:gd name="T42" fmla="*/ 0 w 73"/>
                <a:gd name="T43" fmla="*/ 37 h 239"/>
                <a:gd name="T44" fmla="*/ 0 w 73"/>
                <a:gd name="T45" fmla="*/ 30 h 239"/>
                <a:gd name="T46" fmla="*/ 2 w 73"/>
                <a:gd name="T47" fmla="*/ 23 h 239"/>
                <a:gd name="T48" fmla="*/ 5 w 73"/>
                <a:gd name="T49" fmla="*/ 16 h 239"/>
                <a:gd name="T50" fmla="*/ 10 w 73"/>
                <a:gd name="T51" fmla="*/ 11 h 239"/>
                <a:gd name="T52" fmla="*/ 16 w 73"/>
                <a:gd name="T53" fmla="*/ 6 h 239"/>
                <a:gd name="T54" fmla="*/ 23 w 73"/>
                <a:gd name="T55" fmla="*/ 4 h 239"/>
                <a:gd name="T56" fmla="*/ 29 w 73"/>
                <a:gd name="T57" fmla="*/ 0 h 239"/>
                <a:gd name="T58" fmla="*/ 36 w 73"/>
                <a:gd name="T59" fmla="*/ 0 h 239"/>
                <a:gd name="T60" fmla="*/ 36 w 73"/>
                <a:gd name="T61" fmla="*/ 0 h 239"/>
                <a:gd name="T62" fmla="*/ 43 w 73"/>
                <a:gd name="T63" fmla="*/ 0 h 239"/>
                <a:gd name="T64" fmla="*/ 50 w 73"/>
                <a:gd name="T65" fmla="*/ 4 h 239"/>
                <a:gd name="T66" fmla="*/ 57 w 73"/>
                <a:gd name="T67" fmla="*/ 6 h 239"/>
                <a:gd name="T68" fmla="*/ 62 w 73"/>
                <a:gd name="T69" fmla="*/ 11 h 239"/>
                <a:gd name="T70" fmla="*/ 66 w 73"/>
                <a:gd name="T71" fmla="*/ 16 h 239"/>
                <a:gd name="T72" fmla="*/ 69 w 73"/>
                <a:gd name="T73" fmla="*/ 23 h 239"/>
                <a:gd name="T74" fmla="*/ 71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1" y="210"/>
                  </a:lnTo>
                  <a:lnTo>
                    <a:pt x="69" y="217"/>
                  </a:lnTo>
                  <a:lnTo>
                    <a:pt x="66" y="222"/>
                  </a:lnTo>
                  <a:lnTo>
                    <a:pt x="62" y="227"/>
                  </a:lnTo>
                  <a:lnTo>
                    <a:pt x="57" y="232"/>
                  </a:lnTo>
                  <a:lnTo>
                    <a:pt x="50" y="236"/>
                  </a:lnTo>
                  <a:lnTo>
                    <a:pt x="43" y="237"/>
                  </a:lnTo>
                  <a:lnTo>
                    <a:pt x="36" y="239"/>
                  </a:lnTo>
                  <a:lnTo>
                    <a:pt x="36" y="239"/>
                  </a:lnTo>
                  <a:lnTo>
                    <a:pt x="29" y="237"/>
                  </a:lnTo>
                  <a:lnTo>
                    <a:pt x="23" y="236"/>
                  </a:lnTo>
                  <a:lnTo>
                    <a:pt x="16" y="232"/>
                  </a:lnTo>
                  <a:lnTo>
                    <a:pt x="10" y="227"/>
                  </a:lnTo>
                  <a:lnTo>
                    <a:pt x="5" y="222"/>
                  </a:lnTo>
                  <a:lnTo>
                    <a:pt x="2" y="217"/>
                  </a:lnTo>
                  <a:lnTo>
                    <a:pt x="0" y="210"/>
                  </a:lnTo>
                  <a:lnTo>
                    <a:pt x="0" y="203"/>
                  </a:lnTo>
                  <a:lnTo>
                    <a:pt x="0" y="37"/>
                  </a:lnTo>
                  <a:lnTo>
                    <a:pt x="0" y="37"/>
                  </a:lnTo>
                  <a:lnTo>
                    <a:pt x="0" y="30"/>
                  </a:lnTo>
                  <a:lnTo>
                    <a:pt x="2" y="23"/>
                  </a:lnTo>
                  <a:lnTo>
                    <a:pt x="5" y="16"/>
                  </a:lnTo>
                  <a:lnTo>
                    <a:pt x="10" y="11"/>
                  </a:lnTo>
                  <a:lnTo>
                    <a:pt x="16" y="6"/>
                  </a:lnTo>
                  <a:lnTo>
                    <a:pt x="23" y="4"/>
                  </a:lnTo>
                  <a:lnTo>
                    <a:pt x="29" y="0"/>
                  </a:lnTo>
                  <a:lnTo>
                    <a:pt x="36" y="0"/>
                  </a:lnTo>
                  <a:lnTo>
                    <a:pt x="36" y="0"/>
                  </a:lnTo>
                  <a:lnTo>
                    <a:pt x="43" y="0"/>
                  </a:lnTo>
                  <a:lnTo>
                    <a:pt x="50" y="4"/>
                  </a:lnTo>
                  <a:lnTo>
                    <a:pt x="57" y="6"/>
                  </a:lnTo>
                  <a:lnTo>
                    <a:pt x="62" y="11"/>
                  </a:lnTo>
                  <a:lnTo>
                    <a:pt x="66" y="16"/>
                  </a:lnTo>
                  <a:lnTo>
                    <a:pt x="69" y="23"/>
                  </a:lnTo>
                  <a:lnTo>
                    <a:pt x="71" y="30"/>
                  </a:lnTo>
                  <a:lnTo>
                    <a:pt x="73"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89" name="Freeform 146">
              <a:extLst>
                <a:ext uri="{FF2B5EF4-FFF2-40B4-BE49-F238E27FC236}">
                  <a16:creationId xmlns:a16="http://schemas.microsoft.com/office/drawing/2014/main" id="{EB7D15FC-E27A-409C-A634-ADEFC5A6D3AF}"/>
                </a:ext>
              </a:extLst>
            </p:cNvPr>
            <p:cNvSpPr>
              <a:spLocks/>
            </p:cNvSpPr>
            <p:nvPr/>
          </p:nvSpPr>
          <p:spPr bwMode="auto">
            <a:xfrm>
              <a:off x="11944304" y="13447"/>
              <a:ext cx="40682" cy="132982"/>
            </a:xfrm>
            <a:custGeom>
              <a:avLst/>
              <a:gdLst>
                <a:gd name="T0" fmla="*/ 73 w 73"/>
                <a:gd name="T1" fmla="*/ 37 h 239"/>
                <a:gd name="T2" fmla="*/ 73 w 73"/>
                <a:gd name="T3" fmla="*/ 203 h 239"/>
                <a:gd name="T4" fmla="*/ 73 w 73"/>
                <a:gd name="T5" fmla="*/ 203 h 239"/>
                <a:gd name="T6" fmla="*/ 71 w 73"/>
                <a:gd name="T7" fmla="*/ 210 h 239"/>
                <a:gd name="T8" fmla="*/ 69 w 73"/>
                <a:gd name="T9" fmla="*/ 217 h 239"/>
                <a:gd name="T10" fmla="*/ 66 w 73"/>
                <a:gd name="T11" fmla="*/ 222 h 239"/>
                <a:gd name="T12" fmla="*/ 62 w 73"/>
                <a:gd name="T13" fmla="*/ 227 h 239"/>
                <a:gd name="T14" fmla="*/ 57 w 73"/>
                <a:gd name="T15" fmla="*/ 232 h 239"/>
                <a:gd name="T16" fmla="*/ 50 w 73"/>
                <a:gd name="T17" fmla="*/ 236 h 239"/>
                <a:gd name="T18" fmla="*/ 43 w 73"/>
                <a:gd name="T19" fmla="*/ 237 h 239"/>
                <a:gd name="T20" fmla="*/ 36 w 73"/>
                <a:gd name="T21" fmla="*/ 239 h 239"/>
                <a:gd name="T22" fmla="*/ 36 w 73"/>
                <a:gd name="T23" fmla="*/ 239 h 239"/>
                <a:gd name="T24" fmla="*/ 29 w 73"/>
                <a:gd name="T25" fmla="*/ 237 h 239"/>
                <a:gd name="T26" fmla="*/ 23 w 73"/>
                <a:gd name="T27" fmla="*/ 236 h 239"/>
                <a:gd name="T28" fmla="*/ 16 w 73"/>
                <a:gd name="T29" fmla="*/ 232 h 239"/>
                <a:gd name="T30" fmla="*/ 10 w 73"/>
                <a:gd name="T31" fmla="*/ 227 h 239"/>
                <a:gd name="T32" fmla="*/ 5 w 73"/>
                <a:gd name="T33" fmla="*/ 222 h 239"/>
                <a:gd name="T34" fmla="*/ 2 w 73"/>
                <a:gd name="T35" fmla="*/ 217 h 239"/>
                <a:gd name="T36" fmla="*/ 0 w 73"/>
                <a:gd name="T37" fmla="*/ 210 h 239"/>
                <a:gd name="T38" fmla="*/ 0 w 73"/>
                <a:gd name="T39" fmla="*/ 203 h 239"/>
                <a:gd name="T40" fmla="*/ 0 w 73"/>
                <a:gd name="T41" fmla="*/ 37 h 239"/>
                <a:gd name="T42" fmla="*/ 0 w 73"/>
                <a:gd name="T43" fmla="*/ 37 h 239"/>
                <a:gd name="T44" fmla="*/ 0 w 73"/>
                <a:gd name="T45" fmla="*/ 30 h 239"/>
                <a:gd name="T46" fmla="*/ 2 w 73"/>
                <a:gd name="T47" fmla="*/ 23 h 239"/>
                <a:gd name="T48" fmla="*/ 5 w 73"/>
                <a:gd name="T49" fmla="*/ 16 h 239"/>
                <a:gd name="T50" fmla="*/ 10 w 73"/>
                <a:gd name="T51" fmla="*/ 11 h 239"/>
                <a:gd name="T52" fmla="*/ 16 w 73"/>
                <a:gd name="T53" fmla="*/ 6 h 239"/>
                <a:gd name="T54" fmla="*/ 23 w 73"/>
                <a:gd name="T55" fmla="*/ 4 h 239"/>
                <a:gd name="T56" fmla="*/ 29 w 73"/>
                <a:gd name="T57" fmla="*/ 0 h 239"/>
                <a:gd name="T58" fmla="*/ 36 w 73"/>
                <a:gd name="T59" fmla="*/ 0 h 239"/>
                <a:gd name="T60" fmla="*/ 36 w 73"/>
                <a:gd name="T61" fmla="*/ 0 h 239"/>
                <a:gd name="T62" fmla="*/ 43 w 73"/>
                <a:gd name="T63" fmla="*/ 0 h 239"/>
                <a:gd name="T64" fmla="*/ 50 w 73"/>
                <a:gd name="T65" fmla="*/ 4 h 239"/>
                <a:gd name="T66" fmla="*/ 57 w 73"/>
                <a:gd name="T67" fmla="*/ 6 h 239"/>
                <a:gd name="T68" fmla="*/ 62 w 73"/>
                <a:gd name="T69" fmla="*/ 11 h 239"/>
                <a:gd name="T70" fmla="*/ 66 w 73"/>
                <a:gd name="T71" fmla="*/ 16 h 239"/>
                <a:gd name="T72" fmla="*/ 69 w 73"/>
                <a:gd name="T73" fmla="*/ 23 h 239"/>
                <a:gd name="T74" fmla="*/ 71 w 73"/>
                <a:gd name="T75" fmla="*/ 30 h 239"/>
                <a:gd name="T76" fmla="*/ 73 w 73"/>
                <a:gd name="T77" fmla="*/ 3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239">
                  <a:moveTo>
                    <a:pt x="73" y="37"/>
                  </a:moveTo>
                  <a:lnTo>
                    <a:pt x="73" y="203"/>
                  </a:lnTo>
                  <a:lnTo>
                    <a:pt x="73" y="203"/>
                  </a:lnTo>
                  <a:lnTo>
                    <a:pt x="71" y="210"/>
                  </a:lnTo>
                  <a:lnTo>
                    <a:pt x="69" y="217"/>
                  </a:lnTo>
                  <a:lnTo>
                    <a:pt x="66" y="222"/>
                  </a:lnTo>
                  <a:lnTo>
                    <a:pt x="62" y="227"/>
                  </a:lnTo>
                  <a:lnTo>
                    <a:pt x="57" y="232"/>
                  </a:lnTo>
                  <a:lnTo>
                    <a:pt x="50" y="236"/>
                  </a:lnTo>
                  <a:lnTo>
                    <a:pt x="43" y="237"/>
                  </a:lnTo>
                  <a:lnTo>
                    <a:pt x="36" y="239"/>
                  </a:lnTo>
                  <a:lnTo>
                    <a:pt x="36" y="239"/>
                  </a:lnTo>
                  <a:lnTo>
                    <a:pt x="29" y="237"/>
                  </a:lnTo>
                  <a:lnTo>
                    <a:pt x="23" y="236"/>
                  </a:lnTo>
                  <a:lnTo>
                    <a:pt x="16" y="232"/>
                  </a:lnTo>
                  <a:lnTo>
                    <a:pt x="10" y="227"/>
                  </a:lnTo>
                  <a:lnTo>
                    <a:pt x="5" y="222"/>
                  </a:lnTo>
                  <a:lnTo>
                    <a:pt x="2" y="217"/>
                  </a:lnTo>
                  <a:lnTo>
                    <a:pt x="0" y="210"/>
                  </a:lnTo>
                  <a:lnTo>
                    <a:pt x="0" y="203"/>
                  </a:lnTo>
                  <a:lnTo>
                    <a:pt x="0" y="37"/>
                  </a:lnTo>
                  <a:lnTo>
                    <a:pt x="0" y="37"/>
                  </a:lnTo>
                  <a:lnTo>
                    <a:pt x="0" y="30"/>
                  </a:lnTo>
                  <a:lnTo>
                    <a:pt x="2" y="23"/>
                  </a:lnTo>
                  <a:lnTo>
                    <a:pt x="5" y="16"/>
                  </a:lnTo>
                  <a:lnTo>
                    <a:pt x="10" y="11"/>
                  </a:lnTo>
                  <a:lnTo>
                    <a:pt x="16" y="6"/>
                  </a:lnTo>
                  <a:lnTo>
                    <a:pt x="23" y="4"/>
                  </a:lnTo>
                  <a:lnTo>
                    <a:pt x="29" y="0"/>
                  </a:lnTo>
                  <a:lnTo>
                    <a:pt x="36" y="0"/>
                  </a:lnTo>
                  <a:lnTo>
                    <a:pt x="36" y="0"/>
                  </a:lnTo>
                  <a:lnTo>
                    <a:pt x="43" y="0"/>
                  </a:lnTo>
                  <a:lnTo>
                    <a:pt x="50" y="4"/>
                  </a:lnTo>
                  <a:lnTo>
                    <a:pt x="57" y="6"/>
                  </a:lnTo>
                  <a:lnTo>
                    <a:pt x="62" y="11"/>
                  </a:lnTo>
                  <a:lnTo>
                    <a:pt x="66" y="16"/>
                  </a:lnTo>
                  <a:lnTo>
                    <a:pt x="69" y="23"/>
                  </a:lnTo>
                  <a:lnTo>
                    <a:pt x="71" y="30"/>
                  </a:lnTo>
                  <a:lnTo>
                    <a:pt x="73" y="3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90" name="Freeform 147">
              <a:extLst>
                <a:ext uri="{FF2B5EF4-FFF2-40B4-BE49-F238E27FC236}">
                  <a16:creationId xmlns:a16="http://schemas.microsoft.com/office/drawing/2014/main" id="{6F2BAF23-AA1B-429D-9E48-4655ADC35041}"/>
                </a:ext>
              </a:extLst>
            </p:cNvPr>
            <p:cNvSpPr>
              <a:spLocks/>
            </p:cNvSpPr>
            <p:nvPr/>
          </p:nvSpPr>
          <p:spPr bwMode="auto">
            <a:xfrm>
              <a:off x="12088083" y="-152920"/>
              <a:ext cx="40124" cy="465159"/>
            </a:xfrm>
            <a:custGeom>
              <a:avLst/>
              <a:gdLst>
                <a:gd name="T0" fmla="*/ 72 w 72"/>
                <a:gd name="T1" fmla="*/ 36 h 836"/>
                <a:gd name="T2" fmla="*/ 72 w 72"/>
                <a:gd name="T3" fmla="*/ 799 h 836"/>
                <a:gd name="T4" fmla="*/ 72 w 72"/>
                <a:gd name="T5" fmla="*/ 799 h 836"/>
                <a:gd name="T6" fmla="*/ 72 w 72"/>
                <a:gd name="T7" fmla="*/ 806 h 836"/>
                <a:gd name="T8" fmla="*/ 69 w 72"/>
                <a:gd name="T9" fmla="*/ 813 h 836"/>
                <a:gd name="T10" fmla="*/ 65 w 72"/>
                <a:gd name="T11" fmla="*/ 820 h 836"/>
                <a:gd name="T12" fmla="*/ 62 w 72"/>
                <a:gd name="T13" fmla="*/ 825 h 836"/>
                <a:gd name="T14" fmla="*/ 57 w 72"/>
                <a:gd name="T15" fmla="*/ 830 h 836"/>
                <a:gd name="T16" fmla="*/ 50 w 72"/>
                <a:gd name="T17" fmla="*/ 834 h 836"/>
                <a:gd name="T18" fmla="*/ 43 w 72"/>
                <a:gd name="T19" fmla="*/ 836 h 836"/>
                <a:gd name="T20" fmla="*/ 36 w 72"/>
                <a:gd name="T21" fmla="*/ 836 h 836"/>
                <a:gd name="T22" fmla="*/ 36 w 72"/>
                <a:gd name="T23" fmla="*/ 836 h 836"/>
                <a:gd name="T24" fmla="*/ 29 w 72"/>
                <a:gd name="T25" fmla="*/ 836 h 836"/>
                <a:gd name="T26" fmla="*/ 22 w 72"/>
                <a:gd name="T27" fmla="*/ 834 h 836"/>
                <a:gd name="T28" fmla="*/ 15 w 72"/>
                <a:gd name="T29" fmla="*/ 830 h 836"/>
                <a:gd name="T30" fmla="*/ 10 w 72"/>
                <a:gd name="T31" fmla="*/ 825 h 836"/>
                <a:gd name="T32" fmla="*/ 7 w 72"/>
                <a:gd name="T33" fmla="*/ 820 h 836"/>
                <a:gd name="T34" fmla="*/ 3 w 72"/>
                <a:gd name="T35" fmla="*/ 813 h 836"/>
                <a:gd name="T36" fmla="*/ 1 w 72"/>
                <a:gd name="T37" fmla="*/ 806 h 836"/>
                <a:gd name="T38" fmla="*/ 0 w 72"/>
                <a:gd name="T39" fmla="*/ 799 h 836"/>
                <a:gd name="T40" fmla="*/ 0 w 72"/>
                <a:gd name="T41" fmla="*/ 36 h 836"/>
                <a:gd name="T42" fmla="*/ 0 w 72"/>
                <a:gd name="T43" fmla="*/ 36 h 836"/>
                <a:gd name="T44" fmla="*/ 1 w 72"/>
                <a:gd name="T45" fmla="*/ 30 h 836"/>
                <a:gd name="T46" fmla="*/ 3 w 72"/>
                <a:gd name="T47" fmla="*/ 23 h 836"/>
                <a:gd name="T48" fmla="*/ 7 w 72"/>
                <a:gd name="T49" fmla="*/ 16 h 836"/>
                <a:gd name="T50" fmla="*/ 10 w 72"/>
                <a:gd name="T51" fmla="*/ 11 h 836"/>
                <a:gd name="T52" fmla="*/ 15 w 72"/>
                <a:gd name="T53" fmla="*/ 7 h 836"/>
                <a:gd name="T54" fmla="*/ 22 w 72"/>
                <a:gd name="T55" fmla="*/ 4 h 836"/>
                <a:gd name="T56" fmla="*/ 29 w 72"/>
                <a:gd name="T57" fmla="*/ 2 h 836"/>
                <a:gd name="T58" fmla="*/ 36 w 72"/>
                <a:gd name="T59" fmla="*/ 0 h 836"/>
                <a:gd name="T60" fmla="*/ 36 w 72"/>
                <a:gd name="T61" fmla="*/ 0 h 836"/>
                <a:gd name="T62" fmla="*/ 43 w 72"/>
                <a:gd name="T63" fmla="*/ 2 h 836"/>
                <a:gd name="T64" fmla="*/ 50 w 72"/>
                <a:gd name="T65" fmla="*/ 4 h 836"/>
                <a:gd name="T66" fmla="*/ 57 w 72"/>
                <a:gd name="T67" fmla="*/ 7 h 836"/>
                <a:gd name="T68" fmla="*/ 62 w 72"/>
                <a:gd name="T69" fmla="*/ 11 h 836"/>
                <a:gd name="T70" fmla="*/ 65 w 72"/>
                <a:gd name="T71" fmla="*/ 16 h 836"/>
                <a:gd name="T72" fmla="*/ 69 w 72"/>
                <a:gd name="T73" fmla="*/ 23 h 836"/>
                <a:gd name="T74" fmla="*/ 72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2" y="806"/>
                  </a:lnTo>
                  <a:lnTo>
                    <a:pt x="69" y="813"/>
                  </a:lnTo>
                  <a:lnTo>
                    <a:pt x="65" y="820"/>
                  </a:lnTo>
                  <a:lnTo>
                    <a:pt x="62" y="825"/>
                  </a:lnTo>
                  <a:lnTo>
                    <a:pt x="57" y="830"/>
                  </a:lnTo>
                  <a:lnTo>
                    <a:pt x="50" y="834"/>
                  </a:lnTo>
                  <a:lnTo>
                    <a:pt x="43" y="836"/>
                  </a:lnTo>
                  <a:lnTo>
                    <a:pt x="36" y="836"/>
                  </a:lnTo>
                  <a:lnTo>
                    <a:pt x="36" y="836"/>
                  </a:lnTo>
                  <a:lnTo>
                    <a:pt x="29" y="836"/>
                  </a:lnTo>
                  <a:lnTo>
                    <a:pt x="22" y="834"/>
                  </a:lnTo>
                  <a:lnTo>
                    <a:pt x="15" y="830"/>
                  </a:lnTo>
                  <a:lnTo>
                    <a:pt x="10" y="825"/>
                  </a:lnTo>
                  <a:lnTo>
                    <a:pt x="7" y="820"/>
                  </a:lnTo>
                  <a:lnTo>
                    <a:pt x="3" y="813"/>
                  </a:lnTo>
                  <a:lnTo>
                    <a:pt x="1" y="806"/>
                  </a:lnTo>
                  <a:lnTo>
                    <a:pt x="0" y="799"/>
                  </a:lnTo>
                  <a:lnTo>
                    <a:pt x="0" y="36"/>
                  </a:lnTo>
                  <a:lnTo>
                    <a:pt x="0" y="36"/>
                  </a:lnTo>
                  <a:lnTo>
                    <a:pt x="1" y="30"/>
                  </a:lnTo>
                  <a:lnTo>
                    <a:pt x="3" y="23"/>
                  </a:lnTo>
                  <a:lnTo>
                    <a:pt x="7" y="16"/>
                  </a:lnTo>
                  <a:lnTo>
                    <a:pt x="10" y="11"/>
                  </a:lnTo>
                  <a:lnTo>
                    <a:pt x="15" y="7"/>
                  </a:lnTo>
                  <a:lnTo>
                    <a:pt x="22" y="4"/>
                  </a:lnTo>
                  <a:lnTo>
                    <a:pt x="29" y="2"/>
                  </a:lnTo>
                  <a:lnTo>
                    <a:pt x="36" y="0"/>
                  </a:lnTo>
                  <a:lnTo>
                    <a:pt x="36" y="0"/>
                  </a:lnTo>
                  <a:lnTo>
                    <a:pt x="43" y="2"/>
                  </a:lnTo>
                  <a:lnTo>
                    <a:pt x="50" y="4"/>
                  </a:lnTo>
                  <a:lnTo>
                    <a:pt x="57" y="7"/>
                  </a:lnTo>
                  <a:lnTo>
                    <a:pt x="62" y="11"/>
                  </a:lnTo>
                  <a:lnTo>
                    <a:pt x="65" y="16"/>
                  </a:lnTo>
                  <a:lnTo>
                    <a:pt x="69" y="23"/>
                  </a:lnTo>
                  <a:lnTo>
                    <a:pt x="72" y="30"/>
                  </a:lnTo>
                  <a:lnTo>
                    <a:pt x="7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91" name="Freeform 148">
              <a:extLst>
                <a:ext uri="{FF2B5EF4-FFF2-40B4-BE49-F238E27FC236}">
                  <a16:creationId xmlns:a16="http://schemas.microsoft.com/office/drawing/2014/main" id="{BF63BBAE-1212-43C1-8D8C-A5314BB9D597}"/>
                </a:ext>
              </a:extLst>
            </p:cNvPr>
            <p:cNvSpPr>
              <a:spLocks/>
            </p:cNvSpPr>
            <p:nvPr/>
          </p:nvSpPr>
          <p:spPr bwMode="auto">
            <a:xfrm>
              <a:off x="12088083" y="-152920"/>
              <a:ext cx="40124" cy="465159"/>
            </a:xfrm>
            <a:custGeom>
              <a:avLst/>
              <a:gdLst>
                <a:gd name="T0" fmla="*/ 72 w 72"/>
                <a:gd name="T1" fmla="*/ 36 h 836"/>
                <a:gd name="T2" fmla="*/ 72 w 72"/>
                <a:gd name="T3" fmla="*/ 799 h 836"/>
                <a:gd name="T4" fmla="*/ 72 w 72"/>
                <a:gd name="T5" fmla="*/ 799 h 836"/>
                <a:gd name="T6" fmla="*/ 72 w 72"/>
                <a:gd name="T7" fmla="*/ 806 h 836"/>
                <a:gd name="T8" fmla="*/ 69 w 72"/>
                <a:gd name="T9" fmla="*/ 813 h 836"/>
                <a:gd name="T10" fmla="*/ 65 w 72"/>
                <a:gd name="T11" fmla="*/ 820 h 836"/>
                <a:gd name="T12" fmla="*/ 62 w 72"/>
                <a:gd name="T13" fmla="*/ 825 h 836"/>
                <a:gd name="T14" fmla="*/ 57 w 72"/>
                <a:gd name="T15" fmla="*/ 830 h 836"/>
                <a:gd name="T16" fmla="*/ 50 w 72"/>
                <a:gd name="T17" fmla="*/ 834 h 836"/>
                <a:gd name="T18" fmla="*/ 43 w 72"/>
                <a:gd name="T19" fmla="*/ 836 h 836"/>
                <a:gd name="T20" fmla="*/ 36 w 72"/>
                <a:gd name="T21" fmla="*/ 836 h 836"/>
                <a:gd name="T22" fmla="*/ 36 w 72"/>
                <a:gd name="T23" fmla="*/ 836 h 836"/>
                <a:gd name="T24" fmla="*/ 29 w 72"/>
                <a:gd name="T25" fmla="*/ 836 h 836"/>
                <a:gd name="T26" fmla="*/ 22 w 72"/>
                <a:gd name="T27" fmla="*/ 834 h 836"/>
                <a:gd name="T28" fmla="*/ 15 w 72"/>
                <a:gd name="T29" fmla="*/ 830 h 836"/>
                <a:gd name="T30" fmla="*/ 10 w 72"/>
                <a:gd name="T31" fmla="*/ 825 h 836"/>
                <a:gd name="T32" fmla="*/ 7 w 72"/>
                <a:gd name="T33" fmla="*/ 820 h 836"/>
                <a:gd name="T34" fmla="*/ 3 w 72"/>
                <a:gd name="T35" fmla="*/ 813 h 836"/>
                <a:gd name="T36" fmla="*/ 1 w 72"/>
                <a:gd name="T37" fmla="*/ 806 h 836"/>
                <a:gd name="T38" fmla="*/ 0 w 72"/>
                <a:gd name="T39" fmla="*/ 799 h 836"/>
                <a:gd name="T40" fmla="*/ 0 w 72"/>
                <a:gd name="T41" fmla="*/ 36 h 836"/>
                <a:gd name="T42" fmla="*/ 0 w 72"/>
                <a:gd name="T43" fmla="*/ 36 h 836"/>
                <a:gd name="T44" fmla="*/ 1 w 72"/>
                <a:gd name="T45" fmla="*/ 30 h 836"/>
                <a:gd name="T46" fmla="*/ 3 w 72"/>
                <a:gd name="T47" fmla="*/ 23 h 836"/>
                <a:gd name="T48" fmla="*/ 7 w 72"/>
                <a:gd name="T49" fmla="*/ 16 h 836"/>
                <a:gd name="T50" fmla="*/ 10 w 72"/>
                <a:gd name="T51" fmla="*/ 11 h 836"/>
                <a:gd name="T52" fmla="*/ 15 w 72"/>
                <a:gd name="T53" fmla="*/ 7 h 836"/>
                <a:gd name="T54" fmla="*/ 22 w 72"/>
                <a:gd name="T55" fmla="*/ 4 h 836"/>
                <a:gd name="T56" fmla="*/ 29 w 72"/>
                <a:gd name="T57" fmla="*/ 2 h 836"/>
                <a:gd name="T58" fmla="*/ 36 w 72"/>
                <a:gd name="T59" fmla="*/ 0 h 836"/>
                <a:gd name="T60" fmla="*/ 36 w 72"/>
                <a:gd name="T61" fmla="*/ 0 h 836"/>
                <a:gd name="T62" fmla="*/ 43 w 72"/>
                <a:gd name="T63" fmla="*/ 2 h 836"/>
                <a:gd name="T64" fmla="*/ 50 w 72"/>
                <a:gd name="T65" fmla="*/ 4 h 836"/>
                <a:gd name="T66" fmla="*/ 57 w 72"/>
                <a:gd name="T67" fmla="*/ 7 h 836"/>
                <a:gd name="T68" fmla="*/ 62 w 72"/>
                <a:gd name="T69" fmla="*/ 11 h 836"/>
                <a:gd name="T70" fmla="*/ 65 w 72"/>
                <a:gd name="T71" fmla="*/ 16 h 836"/>
                <a:gd name="T72" fmla="*/ 69 w 72"/>
                <a:gd name="T73" fmla="*/ 23 h 836"/>
                <a:gd name="T74" fmla="*/ 72 w 72"/>
                <a:gd name="T75" fmla="*/ 30 h 836"/>
                <a:gd name="T76" fmla="*/ 72 w 72"/>
                <a:gd name="T77" fmla="*/ 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836">
                  <a:moveTo>
                    <a:pt x="72" y="36"/>
                  </a:moveTo>
                  <a:lnTo>
                    <a:pt x="72" y="799"/>
                  </a:lnTo>
                  <a:lnTo>
                    <a:pt x="72" y="799"/>
                  </a:lnTo>
                  <a:lnTo>
                    <a:pt x="72" y="806"/>
                  </a:lnTo>
                  <a:lnTo>
                    <a:pt x="69" y="813"/>
                  </a:lnTo>
                  <a:lnTo>
                    <a:pt x="65" y="820"/>
                  </a:lnTo>
                  <a:lnTo>
                    <a:pt x="62" y="825"/>
                  </a:lnTo>
                  <a:lnTo>
                    <a:pt x="57" y="830"/>
                  </a:lnTo>
                  <a:lnTo>
                    <a:pt x="50" y="834"/>
                  </a:lnTo>
                  <a:lnTo>
                    <a:pt x="43" y="836"/>
                  </a:lnTo>
                  <a:lnTo>
                    <a:pt x="36" y="836"/>
                  </a:lnTo>
                  <a:lnTo>
                    <a:pt x="36" y="836"/>
                  </a:lnTo>
                  <a:lnTo>
                    <a:pt x="29" y="836"/>
                  </a:lnTo>
                  <a:lnTo>
                    <a:pt x="22" y="834"/>
                  </a:lnTo>
                  <a:lnTo>
                    <a:pt x="15" y="830"/>
                  </a:lnTo>
                  <a:lnTo>
                    <a:pt x="10" y="825"/>
                  </a:lnTo>
                  <a:lnTo>
                    <a:pt x="7" y="820"/>
                  </a:lnTo>
                  <a:lnTo>
                    <a:pt x="3" y="813"/>
                  </a:lnTo>
                  <a:lnTo>
                    <a:pt x="1" y="806"/>
                  </a:lnTo>
                  <a:lnTo>
                    <a:pt x="0" y="799"/>
                  </a:lnTo>
                  <a:lnTo>
                    <a:pt x="0" y="36"/>
                  </a:lnTo>
                  <a:lnTo>
                    <a:pt x="0" y="36"/>
                  </a:lnTo>
                  <a:lnTo>
                    <a:pt x="1" y="30"/>
                  </a:lnTo>
                  <a:lnTo>
                    <a:pt x="3" y="23"/>
                  </a:lnTo>
                  <a:lnTo>
                    <a:pt x="7" y="16"/>
                  </a:lnTo>
                  <a:lnTo>
                    <a:pt x="10" y="11"/>
                  </a:lnTo>
                  <a:lnTo>
                    <a:pt x="15" y="7"/>
                  </a:lnTo>
                  <a:lnTo>
                    <a:pt x="22" y="4"/>
                  </a:lnTo>
                  <a:lnTo>
                    <a:pt x="29" y="2"/>
                  </a:lnTo>
                  <a:lnTo>
                    <a:pt x="36" y="0"/>
                  </a:lnTo>
                  <a:lnTo>
                    <a:pt x="36" y="0"/>
                  </a:lnTo>
                  <a:lnTo>
                    <a:pt x="43" y="2"/>
                  </a:lnTo>
                  <a:lnTo>
                    <a:pt x="50" y="4"/>
                  </a:lnTo>
                  <a:lnTo>
                    <a:pt x="57" y="7"/>
                  </a:lnTo>
                  <a:lnTo>
                    <a:pt x="62" y="11"/>
                  </a:lnTo>
                  <a:lnTo>
                    <a:pt x="65" y="16"/>
                  </a:lnTo>
                  <a:lnTo>
                    <a:pt x="69" y="23"/>
                  </a:lnTo>
                  <a:lnTo>
                    <a:pt x="72" y="30"/>
                  </a:lnTo>
                  <a:lnTo>
                    <a:pt x="72" y="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192" name="Rectangular Callout 1"/>
          <p:cNvSpPr/>
          <p:nvPr/>
        </p:nvSpPr>
        <p:spPr>
          <a:xfrm>
            <a:off x="1414558" y="3380254"/>
            <a:ext cx="2155636" cy="1755126"/>
          </a:xfrm>
          <a:prstGeom prst="rect">
            <a:avLst/>
          </a:prstGeom>
          <a:noFill/>
          <a:ln w="53975" cap="sq">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050" b="1"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l" defTabSz="544222" rtl="0" eaLnBrk="1" fontAlgn="base" latinLnBrk="0" hangingPunct="1">
              <a:lnSpc>
                <a:spcPct val="100000"/>
              </a:lnSpc>
              <a:spcBef>
                <a:spcPct val="0"/>
              </a:spcBef>
              <a:spcAft>
                <a:spcPts val="50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a:ea typeface="+mn-ea"/>
                <a:cs typeface="+mn-cs"/>
              </a:rPr>
              <a:t>Organize, operate, and behave as a digital leader </a:t>
            </a:r>
            <a:r>
              <a:rPr kumimoji="0" lang="en-US" sz="1050" b="0" i="0" u="none" strike="noStrike" kern="1200" cap="none" spc="0" normalizeH="0" baseline="0" noProof="0" dirty="0">
                <a:ln>
                  <a:noFill/>
                </a:ln>
                <a:solidFill>
                  <a:srgbClr val="000000"/>
                </a:solidFill>
                <a:effectLst/>
                <a:uLnTx/>
                <a:uFillTx/>
                <a:latin typeface="Open Sans"/>
                <a:ea typeface="+mn-ea"/>
                <a:cs typeface="+mn-cs"/>
              </a:rPr>
              <a:t>in the technology world. Become more customer centric, agile, increase speed to value, build digital leaders, and continuously innovate </a:t>
            </a:r>
          </a:p>
        </p:txBody>
      </p:sp>
      <p:sp>
        <p:nvSpPr>
          <p:cNvPr id="193" name="Rectangular Callout 40"/>
          <p:cNvSpPr/>
          <p:nvPr/>
        </p:nvSpPr>
        <p:spPr>
          <a:xfrm>
            <a:off x="3964062" y="3380255"/>
            <a:ext cx="2348721" cy="1755125"/>
          </a:xfrm>
          <a:prstGeom prst="rect">
            <a:avLst/>
          </a:prstGeom>
          <a:solidFill>
            <a:schemeClr val="accent3">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l"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mn-cs"/>
              </a:rPr>
              <a:t>To be </a:t>
            </a:r>
            <a:r>
              <a:rPr kumimoji="0" lang="en-US" sz="1050" b="1" i="0" u="none" strike="noStrike" kern="1200" cap="none" spc="0" normalizeH="0" baseline="0" noProof="0" dirty="0">
                <a:ln>
                  <a:noFill/>
                </a:ln>
                <a:solidFill>
                  <a:srgbClr val="000000"/>
                </a:solidFill>
                <a:effectLst/>
                <a:uLnTx/>
                <a:uFillTx/>
                <a:latin typeface="Open Sans"/>
                <a:ea typeface="+mn-ea"/>
                <a:cs typeface="+mn-cs"/>
              </a:rPr>
              <a:t>America’s</a:t>
            </a:r>
            <a:r>
              <a:rPr kumimoji="0" lang="en-US" sz="1050" b="0" i="0" u="none" strike="noStrike" kern="1200" cap="none" spc="0" normalizeH="0" baseline="0" noProof="0" dirty="0">
                <a:ln>
                  <a:noFill/>
                </a:ln>
                <a:solidFill>
                  <a:srgbClr val="000000"/>
                </a:solidFill>
                <a:effectLst/>
                <a:uLnTx/>
                <a:uFillTx/>
                <a:latin typeface="Open Sans"/>
                <a:ea typeface="+mn-ea"/>
                <a:cs typeface="+mn-cs"/>
              </a:rPr>
              <a:t> </a:t>
            </a:r>
            <a:r>
              <a:rPr kumimoji="0" lang="en-US" sz="1050" b="1" i="0" u="none" strike="noStrike" kern="1200" cap="none" spc="0" normalizeH="0" baseline="0" noProof="0" dirty="0">
                <a:ln>
                  <a:noFill/>
                </a:ln>
                <a:solidFill>
                  <a:srgbClr val="000000"/>
                </a:solidFill>
                <a:effectLst/>
                <a:uLnTx/>
                <a:uFillTx/>
                <a:latin typeface="Open Sans"/>
                <a:ea typeface="+mn-ea"/>
                <a:cs typeface="+mn-cs"/>
              </a:rPr>
              <a:t>most digital electric utility,</a:t>
            </a:r>
            <a:r>
              <a:rPr kumimoji="0" lang="en-US" sz="1050" b="0" i="0" u="none" strike="noStrike" kern="1200" cap="none" spc="0" normalizeH="0" baseline="0" noProof="0" dirty="0">
                <a:ln>
                  <a:noFill/>
                </a:ln>
                <a:solidFill>
                  <a:srgbClr val="000000"/>
                </a:solidFill>
                <a:effectLst/>
                <a:uLnTx/>
                <a:uFillTx/>
                <a:latin typeface="Open Sans"/>
                <a:ea typeface="+mn-ea"/>
                <a:cs typeface="+mn-cs"/>
              </a:rPr>
              <a:t> capable of rapid innovation, with a digital ready workforce and organization in synch with the constantly evolving future of work</a:t>
            </a:r>
          </a:p>
        </p:txBody>
      </p:sp>
      <p:sp>
        <p:nvSpPr>
          <p:cNvPr id="194" name="Rectangular Callout 41"/>
          <p:cNvSpPr/>
          <p:nvPr/>
        </p:nvSpPr>
        <p:spPr>
          <a:xfrm>
            <a:off x="6514607" y="3380255"/>
            <a:ext cx="2350008" cy="1755125"/>
          </a:xfrm>
          <a:prstGeom prst="rect">
            <a:avLst/>
          </a:prstGeom>
          <a:solidFill>
            <a:schemeClr val="accent4">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l"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050" b="1" i="0" u="none" strike="noStrike" kern="1200" cap="none" spc="0" normalizeH="0" baseline="0" noProof="0" dirty="0">
                <a:ln>
                  <a:noFill/>
                </a:ln>
                <a:solidFill>
                  <a:srgbClr val="000000"/>
                </a:solidFill>
                <a:effectLst/>
                <a:uLnTx/>
                <a:uFillTx/>
                <a:latin typeface="Open Sans"/>
                <a:ea typeface="+mn-ea"/>
                <a:cs typeface="+mn-cs"/>
              </a:rPr>
              <a:t>Leapfrog from a traditional to a digital organization </a:t>
            </a:r>
            <a:r>
              <a:rPr kumimoji="0" lang="en-US" sz="1050" b="0" i="0" u="none" strike="noStrike" kern="1200" cap="none" spc="0" normalizeH="0" baseline="0" noProof="0" dirty="0">
                <a:ln>
                  <a:noFill/>
                </a:ln>
                <a:solidFill>
                  <a:srgbClr val="000000"/>
                </a:solidFill>
                <a:effectLst/>
                <a:uLnTx/>
                <a:uFillTx/>
                <a:latin typeface="Open Sans"/>
                <a:ea typeface="+mn-ea"/>
                <a:cs typeface="+mn-cs"/>
              </a:rPr>
              <a:t>as rapidly as possible, providing the best digital technologies, organization, and readiness to better enable and support the mission</a:t>
            </a:r>
          </a:p>
        </p:txBody>
      </p:sp>
      <p:sp>
        <p:nvSpPr>
          <p:cNvPr id="195" name="Rectangular Callout 42"/>
          <p:cNvSpPr/>
          <p:nvPr/>
        </p:nvSpPr>
        <p:spPr>
          <a:xfrm>
            <a:off x="9091652" y="3380255"/>
            <a:ext cx="2350008" cy="1755125"/>
          </a:xfrm>
          <a:prstGeom prst="rect">
            <a:avLst/>
          </a:prstGeom>
          <a:solidFill>
            <a:schemeClr val="accent2">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l"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050" b="1" i="0" u="none" strike="noStrike" kern="1200" cap="none" spc="0" normalizeH="0" baseline="0" noProof="0" dirty="0">
                <a:ln>
                  <a:noFill/>
                </a:ln>
                <a:solidFill>
                  <a:srgbClr val="000000"/>
                </a:solidFill>
                <a:effectLst/>
                <a:uLnTx/>
                <a:uFillTx/>
                <a:latin typeface="Open Sans"/>
                <a:ea typeface="+mn-ea"/>
                <a:cs typeface="+mn-cs"/>
              </a:rPr>
              <a:t>Hyper-p</a:t>
            </a:r>
            <a:r>
              <a:rPr kumimoji="0" lang="en-US" sz="1050" b="1" i="0" u="none" strike="noStrike" kern="1200" cap="none" spc="0" normalizeH="0" baseline="0" noProof="0" dirty="0" err="1">
                <a:ln>
                  <a:noFill/>
                </a:ln>
                <a:solidFill>
                  <a:srgbClr val="000000"/>
                </a:solidFill>
                <a:effectLst/>
                <a:uLnTx/>
                <a:uFillTx/>
                <a:latin typeface="Open Sans"/>
                <a:ea typeface="+mn-ea"/>
                <a:cs typeface="+mn-cs"/>
              </a:rPr>
              <a:t>ersonalize</a:t>
            </a:r>
            <a:r>
              <a:rPr kumimoji="0" lang="en-US" sz="1050" b="1" i="0" u="none" strike="noStrike" kern="1200" cap="none" spc="0" normalizeH="0" baseline="0" noProof="0" dirty="0">
                <a:ln>
                  <a:noFill/>
                </a:ln>
                <a:solidFill>
                  <a:srgbClr val="000000"/>
                </a:solidFill>
                <a:effectLst/>
                <a:uLnTx/>
                <a:uFillTx/>
                <a:latin typeface="Open Sans"/>
                <a:ea typeface="+mn-ea"/>
                <a:cs typeface="+mn-cs"/>
              </a:rPr>
              <a:t> the bank’s customer experiences </a:t>
            </a:r>
            <a:r>
              <a:rPr kumimoji="0" lang="en-US" sz="1050" b="0" i="0" u="none" strike="noStrike" kern="1200" cap="none" spc="0" normalizeH="0" baseline="0" noProof="0" dirty="0">
                <a:ln>
                  <a:noFill/>
                </a:ln>
                <a:solidFill>
                  <a:srgbClr val="000000"/>
                </a:solidFill>
                <a:effectLst/>
                <a:uLnTx/>
                <a:uFillTx/>
                <a:latin typeface="Open Sans"/>
                <a:ea typeface="+mn-ea"/>
                <a:cs typeface="+mn-cs"/>
              </a:rPr>
              <a:t>leveraging a digitally-able culture and workforce by enabling everyday customer-centric actions with digital skills and capabilities                    </a:t>
            </a:r>
          </a:p>
        </p:txBody>
      </p:sp>
      <p:sp>
        <p:nvSpPr>
          <p:cNvPr id="196" name="Rectangle 195">
            <a:extLst>
              <a:ext uri="{FF2B5EF4-FFF2-40B4-BE49-F238E27FC236}">
                <a16:creationId xmlns:a16="http://schemas.microsoft.com/office/drawing/2014/main" id="{04B411CE-26C8-4BD6-863C-29AF9D6D0C1E}"/>
              </a:ext>
            </a:extLst>
          </p:cNvPr>
          <p:cNvSpPr/>
          <p:nvPr/>
        </p:nvSpPr>
        <p:spPr>
          <a:xfrm>
            <a:off x="3962775" y="2072251"/>
            <a:ext cx="2349311" cy="4251924"/>
          </a:xfrm>
          <a:prstGeom prst="rect">
            <a:avLst/>
          </a:prstGeom>
          <a:noFill/>
          <a:ln w="53975" cap="sq">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197" name="Rectangle 196">
            <a:extLst>
              <a:ext uri="{FF2B5EF4-FFF2-40B4-BE49-F238E27FC236}">
                <a16:creationId xmlns:a16="http://schemas.microsoft.com/office/drawing/2014/main" id="{2AADC588-3F04-448E-B8C6-BFA6257B1692}"/>
              </a:ext>
            </a:extLst>
          </p:cNvPr>
          <p:cNvSpPr/>
          <p:nvPr/>
        </p:nvSpPr>
        <p:spPr>
          <a:xfrm>
            <a:off x="6514607" y="2072251"/>
            <a:ext cx="2349311" cy="4251924"/>
          </a:xfrm>
          <a:prstGeom prst="rect">
            <a:avLst/>
          </a:prstGeom>
          <a:noFill/>
          <a:ln w="53975" cap="sq">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198" name="Rectangle 197">
            <a:extLst>
              <a:ext uri="{FF2B5EF4-FFF2-40B4-BE49-F238E27FC236}">
                <a16:creationId xmlns:a16="http://schemas.microsoft.com/office/drawing/2014/main" id="{F20BAEF7-CB7A-4AB1-A7BB-88A7F125432F}"/>
              </a:ext>
            </a:extLst>
          </p:cNvPr>
          <p:cNvSpPr/>
          <p:nvPr/>
        </p:nvSpPr>
        <p:spPr>
          <a:xfrm>
            <a:off x="9066438" y="2064905"/>
            <a:ext cx="2349311" cy="4251924"/>
          </a:xfrm>
          <a:prstGeom prst="rect">
            <a:avLst/>
          </a:prstGeom>
          <a:noFill/>
          <a:ln w="53975" cap="sq">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199" name="Rectangle 198">
            <a:extLst>
              <a:ext uri="{FF2B5EF4-FFF2-40B4-BE49-F238E27FC236}">
                <a16:creationId xmlns:a16="http://schemas.microsoft.com/office/drawing/2014/main" id="{4A0685C2-1501-4B15-B18F-6A4D86AD1885}"/>
              </a:ext>
            </a:extLst>
          </p:cNvPr>
          <p:cNvSpPr/>
          <p:nvPr/>
        </p:nvSpPr>
        <p:spPr>
          <a:xfrm>
            <a:off x="1410943" y="2072251"/>
            <a:ext cx="2349311" cy="4251924"/>
          </a:xfrm>
          <a:prstGeom prst="rect">
            <a:avLst/>
          </a:prstGeom>
          <a:noFill/>
          <a:ln w="53975" cap="sq">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200" name="Rectangle 199"/>
          <p:cNvSpPr/>
          <p:nvPr/>
        </p:nvSpPr>
        <p:spPr>
          <a:xfrm>
            <a:off x="1414558" y="5255000"/>
            <a:ext cx="2155636" cy="900246"/>
          </a:xfrm>
          <a:prstGeom prst="rect">
            <a:avLst/>
          </a:prstGeom>
          <a:noFill/>
          <a:ln w="19050">
            <a:noFill/>
          </a:ln>
        </p:spPr>
        <p:txBody>
          <a:bodyPr wrap="square">
            <a:spAutoFit/>
          </a:bodyPr>
          <a:lstStyle/>
          <a:p>
            <a:pPr marL="0" marR="0" lvl="0" indent="0" algn="l"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050" b="0" i="0" u="none" strike="noStrike" kern="1200" cap="none" spc="0" normalizeH="0" baseline="0" noProof="0" dirty="0">
                <a:ln>
                  <a:noFill/>
                </a:ln>
                <a:solidFill>
                  <a:srgbClr val="000000"/>
                </a:solidFill>
                <a:effectLst/>
                <a:uLnTx/>
                <a:uFillTx/>
                <a:latin typeface="Open Sans"/>
                <a:ea typeface="Open Sans Semibold" charset="0"/>
                <a:cs typeface="Open Sans Semibold" charset="0"/>
              </a:rPr>
              <a:t>Rewire the </a:t>
            </a:r>
            <a:r>
              <a:rPr kumimoji="0" lang="en-US" sz="1050" b="0" i="0" u="none" strike="noStrike" kern="1200" cap="none" spc="0" normalizeH="0" baseline="0" noProof="0" dirty="0">
                <a:ln>
                  <a:noFill/>
                </a:ln>
                <a:solidFill>
                  <a:srgbClr val="000000"/>
                </a:solidFill>
                <a:effectLst/>
                <a:uLnTx/>
                <a:uFillTx/>
                <a:latin typeface="Open Sans"/>
                <a:ea typeface="Calibri" panose="020F0502020204030204" pitchFamily="34" charset="0"/>
                <a:cs typeface="Times New Roman" panose="02020603050405020304" pitchFamily="18" charset="0"/>
              </a:rPr>
              <a:t>organization for digital while creating digital leaders and teams that can help the organization continuously transform</a:t>
            </a:r>
            <a:endParaRPr kumimoji="0" lang="en-US" sz="105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01" name="Rectangle 200"/>
          <p:cNvSpPr/>
          <p:nvPr/>
        </p:nvSpPr>
        <p:spPr>
          <a:xfrm>
            <a:off x="3964062" y="5255000"/>
            <a:ext cx="2046773" cy="1223412"/>
          </a:xfrm>
          <a:prstGeom prst="rect">
            <a:avLst/>
          </a:prstGeom>
          <a:noFill/>
          <a:ln w="19050">
            <a:noFill/>
          </a:ln>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rchitect and build a function that innovates digital business and operational solutions while enabling the rest of the organization to become more digital</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02" name="Rectangle 201"/>
          <p:cNvSpPr/>
          <p:nvPr/>
        </p:nvSpPr>
        <p:spPr>
          <a:xfrm>
            <a:off x="9091654" y="5255000"/>
            <a:ext cx="2185946" cy="1061829"/>
          </a:xfrm>
          <a:prstGeom prst="rect">
            <a:avLst/>
          </a:prstGeom>
          <a:noFill/>
          <a:ln w="19050">
            <a:noFill/>
          </a:ln>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mn-cs"/>
              </a:rPr>
              <a:t>Enable the marketing function to “be” more digital while personalizing customers experiences  </a:t>
            </a: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03" name="Rectangle 3">
            <a:extLst>
              <a:ext uri="{FF2B5EF4-FFF2-40B4-BE49-F238E27FC236}">
                <a16:creationId xmlns:a16="http://schemas.microsoft.com/office/drawing/2014/main" id="{271786EF-5076-420A-B47D-F1FF741147C3}"/>
              </a:ext>
            </a:extLst>
          </p:cNvPr>
          <p:cNvSpPr>
            <a:spLocks/>
          </p:cNvSpPr>
          <p:nvPr/>
        </p:nvSpPr>
        <p:spPr bwMode="auto">
          <a:xfrm rot="16200000">
            <a:off x="403977" y="4150812"/>
            <a:ext cx="1538382" cy="27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p>
            <a:pPr marL="0" marR="0" lvl="0" indent="0" algn="ctr" defTabSz="1219170" rtl="0" eaLnBrk="1" fontAlgn="auto" latinLnBrk="0" hangingPunct="1">
              <a:lnSpc>
                <a:spcPct val="90000"/>
              </a:lnSpc>
              <a:spcBef>
                <a:spcPts val="0"/>
              </a:spcBef>
              <a:spcAft>
                <a:spcPts val="30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Frutiger Next Pro Medium"/>
                <a:sym typeface="Frutiger Next Pro Medium" charset="0"/>
              </a:rPr>
              <a:t>DIGITAL AMBITIONS</a:t>
            </a:r>
          </a:p>
        </p:txBody>
      </p:sp>
      <p:sp>
        <p:nvSpPr>
          <p:cNvPr id="204" name="Rectangle 3">
            <a:extLst>
              <a:ext uri="{FF2B5EF4-FFF2-40B4-BE49-F238E27FC236}">
                <a16:creationId xmlns:a16="http://schemas.microsoft.com/office/drawing/2014/main" id="{2E12CB4D-0AF2-4DAE-8947-C2704ABF8933}"/>
              </a:ext>
            </a:extLst>
          </p:cNvPr>
          <p:cNvSpPr>
            <a:spLocks/>
          </p:cNvSpPr>
          <p:nvPr/>
        </p:nvSpPr>
        <p:spPr bwMode="auto">
          <a:xfrm rot="16200000">
            <a:off x="577354" y="5590421"/>
            <a:ext cx="1191626" cy="27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p>
            <a:pPr marL="0" marR="0" lvl="0" indent="0" algn="ctr" defTabSz="1219170" rtl="0" eaLnBrk="1" fontAlgn="auto" latinLnBrk="0" hangingPunct="1">
              <a:lnSpc>
                <a:spcPct val="90000"/>
              </a:lnSpc>
              <a:spcBef>
                <a:spcPts val="0"/>
              </a:spcBef>
              <a:spcAft>
                <a:spcPts val="30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Frutiger Next Pro Medium"/>
                <a:sym typeface="Frutiger Next Pro Medium" charset="0"/>
              </a:rPr>
              <a:t>DIGITAL DNA</a:t>
            </a:r>
          </a:p>
        </p:txBody>
      </p:sp>
      <p:sp>
        <p:nvSpPr>
          <p:cNvPr id="205" name="Rectangle 204">
            <a:extLst>
              <a:ext uri="{FF2B5EF4-FFF2-40B4-BE49-F238E27FC236}">
                <a16:creationId xmlns:a16="http://schemas.microsoft.com/office/drawing/2014/main" id="{00FA17B0-386B-4B15-8E81-A20CDACCF9A2}"/>
              </a:ext>
            </a:extLst>
          </p:cNvPr>
          <p:cNvSpPr/>
          <p:nvPr/>
        </p:nvSpPr>
        <p:spPr>
          <a:xfrm>
            <a:off x="6536047" y="5255000"/>
            <a:ext cx="2130582" cy="900246"/>
          </a:xfrm>
          <a:prstGeom prst="rect">
            <a:avLst/>
          </a:prstGeom>
          <a:noFill/>
          <a:ln w="19050">
            <a:noFill/>
          </a:ln>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mn-cs"/>
              </a:rPr>
              <a:t>Focus on aligning digital technologies with how the org is organized, operates, and behaves—to keep shaping its DNA for everyday readiness</a:t>
            </a:r>
          </a:p>
        </p:txBody>
      </p:sp>
      <p:sp>
        <p:nvSpPr>
          <p:cNvPr id="206" name="Rectangle 3">
            <a:extLst>
              <a:ext uri="{FF2B5EF4-FFF2-40B4-BE49-F238E27FC236}">
                <a16:creationId xmlns:a16="http://schemas.microsoft.com/office/drawing/2014/main" id="{8E85FD50-4FFD-1A46-8DE9-680E29F18221}"/>
              </a:ext>
            </a:extLst>
          </p:cNvPr>
          <p:cNvSpPr>
            <a:spLocks/>
          </p:cNvSpPr>
          <p:nvPr/>
        </p:nvSpPr>
        <p:spPr bwMode="auto">
          <a:xfrm rot="16200000">
            <a:off x="858400" y="2514870"/>
            <a:ext cx="629537" cy="27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lstStyle/>
          <a:p>
            <a:pPr marL="0" marR="0" lvl="0" indent="0" algn="ctr" defTabSz="1219170" rtl="0" eaLnBrk="1" fontAlgn="auto" latinLnBrk="0" hangingPunct="1">
              <a:lnSpc>
                <a:spcPct val="90000"/>
              </a:lnSpc>
              <a:spcBef>
                <a:spcPts val="0"/>
              </a:spcBef>
              <a:spcAft>
                <a:spcPts val="30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Frutiger Next Pro Medium"/>
                <a:sym typeface="Frutiger Next Pro Medium" charset="0"/>
              </a:rPr>
              <a:t>WHO</a:t>
            </a:r>
          </a:p>
        </p:txBody>
      </p:sp>
      <p:sp>
        <p:nvSpPr>
          <p:cNvPr id="207" name="Rectangle 206">
            <a:extLst>
              <a:ext uri="{FF2B5EF4-FFF2-40B4-BE49-F238E27FC236}">
                <a16:creationId xmlns:a16="http://schemas.microsoft.com/office/drawing/2014/main" id="{786D1B92-2D4A-2D4D-AF6A-056F5CA95EE9}"/>
              </a:ext>
            </a:extLst>
          </p:cNvPr>
          <p:cNvSpPr/>
          <p:nvPr/>
        </p:nvSpPr>
        <p:spPr>
          <a:xfrm>
            <a:off x="1410943" y="2812235"/>
            <a:ext cx="2350008" cy="461665"/>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 very large global technology innovator </a:t>
            </a:r>
            <a:endParaRPr kumimoji="0" lang="en-US" sz="12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208" name="Rectangle 207">
            <a:extLst>
              <a:ext uri="{FF2B5EF4-FFF2-40B4-BE49-F238E27FC236}">
                <a16:creationId xmlns:a16="http://schemas.microsoft.com/office/drawing/2014/main" id="{7F4AC1C0-A585-B54D-A0E9-C0F20983AE03}"/>
              </a:ext>
            </a:extLst>
          </p:cNvPr>
          <p:cNvSpPr/>
          <p:nvPr/>
        </p:nvSpPr>
        <p:spPr>
          <a:xfrm>
            <a:off x="3962775" y="2865277"/>
            <a:ext cx="2350008" cy="461665"/>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ne of the largest electric utilities in the US</a:t>
            </a:r>
            <a:endParaRPr kumimoji="0" lang="en-US" sz="12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209" name="Rectangle 208">
            <a:extLst>
              <a:ext uri="{FF2B5EF4-FFF2-40B4-BE49-F238E27FC236}">
                <a16:creationId xmlns:a16="http://schemas.microsoft.com/office/drawing/2014/main" id="{C4B63FBE-2372-F94A-A83F-6F8A67F07FED}"/>
              </a:ext>
            </a:extLst>
          </p:cNvPr>
          <p:cNvSpPr/>
          <p:nvPr/>
        </p:nvSpPr>
        <p:spPr>
          <a:xfrm>
            <a:off x="6514607" y="2865277"/>
            <a:ext cx="2350008" cy="461665"/>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A branch of the US </a:t>
            </a:r>
            <a:br>
              <a:rPr kumimoji="0" lang="en-US" sz="1200" b="1" i="0" u="none" strike="noStrike" kern="1200" cap="none" spc="0" normalizeH="0" baseline="0" noProof="0" dirty="0">
                <a:ln>
                  <a:noFill/>
                </a:ln>
                <a:solidFill>
                  <a:srgbClr val="000000"/>
                </a:solidFill>
                <a:effectLst/>
                <a:uLnTx/>
                <a:uFillTx/>
                <a:latin typeface="Open Sans"/>
                <a:ea typeface="+mn-ea"/>
                <a:cs typeface="+mn-cs"/>
              </a:rPr>
            </a:br>
            <a:r>
              <a:rPr kumimoji="0" lang="en-US" sz="1200" b="1" i="0" u="none" strike="noStrike" kern="1200" cap="none" spc="0" normalizeH="0" baseline="0" noProof="0" dirty="0">
                <a:ln>
                  <a:noFill/>
                </a:ln>
                <a:solidFill>
                  <a:srgbClr val="000000"/>
                </a:solidFill>
                <a:effectLst/>
                <a:uLnTx/>
                <a:uFillTx/>
                <a:latin typeface="Open Sans"/>
                <a:ea typeface="+mn-ea"/>
                <a:cs typeface="+mn-cs"/>
              </a:rPr>
              <a:t>Dept. of Defense </a:t>
            </a:r>
          </a:p>
        </p:txBody>
      </p:sp>
      <p:sp>
        <p:nvSpPr>
          <p:cNvPr id="210" name="Rectangle 209">
            <a:extLst>
              <a:ext uri="{FF2B5EF4-FFF2-40B4-BE49-F238E27FC236}">
                <a16:creationId xmlns:a16="http://schemas.microsoft.com/office/drawing/2014/main" id="{43E45C98-CA56-C447-899E-B61683ECDDA6}"/>
              </a:ext>
            </a:extLst>
          </p:cNvPr>
          <p:cNvSpPr/>
          <p:nvPr/>
        </p:nvSpPr>
        <p:spPr>
          <a:xfrm>
            <a:off x="9066438" y="2880847"/>
            <a:ext cx="2350008"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A large global bank</a:t>
            </a:r>
          </a:p>
        </p:txBody>
      </p:sp>
      <p:grpSp>
        <p:nvGrpSpPr>
          <p:cNvPr id="211" name="Group 210">
            <a:extLst>
              <a:ext uri="{FF2B5EF4-FFF2-40B4-BE49-F238E27FC236}">
                <a16:creationId xmlns:a16="http://schemas.microsoft.com/office/drawing/2014/main" id="{A7EA16A9-710B-49DF-87D9-740FCFD7DA8E}"/>
              </a:ext>
            </a:extLst>
          </p:cNvPr>
          <p:cNvGrpSpPr>
            <a:grpSpLocks noChangeAspect="1"/>
          </p:cNvGrpSpPr>
          <p:nvPr/>
        </p:nvGrpSpPr>
        <p:grpSpPr>
          <a:xfrm>
            <a:off x="4931850" y="2222372"/>
            <a:ext cx="411163" cy="536575"/>
            <a:chOff x="3711575" y="3590926"/>
            <a:chExt cx="411163" cy="536575"/>
          </a:xfrm>
          <a:solidFill>
            <a:schemeClr val="tx2"/>
          </a:solidFill>
        </p:grpSpPr>
        <p:sp>
          <p:nvSpPr>
            <p:cNvPr id="212" name="Rectangle 438">
              <a:extLst>
                <a:ext uri="{FF2B5EF4-FFF2-40B4-BE49-F238E27FC236}">
                  <a16:creationId xmlns:a16="http://schemas.microsoft.com/office/drawing/2014/main" id="{B06DB56F-DC7D-4527-8471-F31275480229}"/>
                </a:ext>
              </a:extLst>
            </p:cNvPr>
            <p:cNvSpPr>
              <a:spLocks noChangeArrowheads="1"/>
            </p:cNvSpPr>
            <p:nvPr/>
          </p:nvSpPr>
          <p:spPr bwMode="auto">
            <a:xfrm>
              <a:off x="3889375" y="3895726"/>
              <a:ext cx="53975" cy="160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3" name="Freeform 439">
              <a:extLst>
                <a:ext uri="{FF2B5EF4-FFF2-40B4-BE49-F238E27FC236}">
                  <a16:creationId xmlns:a16="http://schemas.microsoft.com/office/drawing/2014/main" id="{E1912038-04B6-4269-B175-8116E9722FD7}"/>
                </a:ext>
              </a:extLst>
            </p:cNvPr>
            <p:cNvSpPr>
              <a:spLocks/>
            </p:cNvSpPr>
            <p:nvPr/>
          </p:nvSpPr>
          <p:spPr bwMode="auto">
            <a:xfrm>
              <a:off x="3817938" y="3824288"/>
              <a:ext cx="53975" cy="53975"/>
            </a:xfrm>
            <a:custGeom>
              <a:avLst/>
              <a:gdLst>
                <a:gd name="T0" fmla="*/ 68 w 135"/>
                <a:gd name="T1" fmla="*/ 0 h 135"/>
                <a:gd name="T2" fmla="*/ 68 w 135"/>
                <a:gd name="T3" fmla="*/ 0 h 135"/>
                <a:gd name="T4" fmla="*/ 60 w 135"/>
                <a:gd name="T5" fmla="*/ 1 h 135"/>
                <a:gd name="T6" fmla="*/ 54 w 135"/>
                <a:gd name="T7" fmla="*/ 2 h 135"/>
                <a:gd name="T8" fmla="*/ 47 w 135"/>
                <a:gd name="T9" fmla="*/ 3 h 135"/>
                <a:gd name="T10" fmla="*/ 41 w 135"/>
                <a:gd name="T11" fmla="*/ 5 h 135"/>
                <a:gd name="T12" fmla="*/ 30 w 135"/>
                <a:gd name="T13" fmla="*/ 12 h 135"/>
                <a:gd name="T14" fmla="*/ 19 w 135"/>
                <a:gd name="T15" fmla="*/ 20 h 135"/>
                <a:gd name="T16" fmla="*/ 11 w 135"/>
                <a:gd name="T17" fmla="*/ 30 h 135"/>
                <a:gd name="T18" fmla="*/ 5 w 135"/>
                <a:gd name="T19" fmla="*/ 42 h 135"/>
                <a:gd name="T20" fmla="*/ 3 w 135"/>
                <a:gd name="T21" fmla="*/ 48 h 135"/>
                <a:gd name="T22" fmla="*/ 1 w 135"/>
                <a:gd name="T23" fmla="*/ 55 h 135"/>
                <a:gd name="T24" fmla="*/ 0 w 135"/>
                <a:gd name="T25" fmla="*/ 61 h 135"/>
                <a:gd name="T26" fmla="*/ 0 w 135"/>
                <a:gd name="T27" fmla="*/ 68 h 135"/>
                <a:gd name="T28" fmla="*/ 0 w 135"/>
                <a:gd name="T29" fmla="*/ 68 h 135"/>
                <a:gd name="T30" fmla="*/ 0 w 135"/>
                <a:gd name="T31" fmla="*/ 75 h 135"/>
                <a:gd name="T32" fmla="*/ 1 w 135"/>
                <a:gd name="T33" fmla="*/ 82 h 135"/>
                <a:gd name="T34" fmla="*/ 3 w 135"/>
                <a:gd name="T35" fmla="*/ 88 h 135"/>
                <a:gd name="T36" fmla="*/ 5 w 135"/>
                <a:gd name="T37" fmla="*/ 94 h 135"/>
                <a:gd name="T38" fmla="*/ 11 w 135"/>
                <a:gd name="T39" fmla="*/ 106 h 135"/>
                <a:gd name="T40" fmla="*/ 19 w 135"/>
                <a:gd name="T41" fmla="*/ 116 h 135"/>
                <a:gd name="T42" fmla="*/ 30 w 135"/>
                <a:gd name="T43" fmla="*/ 124 h 135"/>
                <a:gd name="T44" fmla="*/ 41 w 135"/>
                <a:gd name="T45" fmla="*/ 130 h 135"/>
                <a:gd name="T46" fmla="*/ 47 w 135"/>
                <a:gd name="T47" fmla="*/ 133 h 135"/>
                <a:gd name="T48" fmla="*/ 54 w 135"/>
                <a:gd name="T49" fmla="*/ 134 h 135"/>
                <a:gd name="T50" fmla="*/ 60 w 135"/>
                <a:gd name="T51" fmla="*/ 135 h 135"/>
                <a:gd name="T52" fmla="*/ 68 w 135"/>
                <a:gd name="T53" fmla="*/ 135 h 135"/>
                <a:gd name="T54" fmla="*/ 135 w 135"/>
                <a:gd name="T55" fmla="*/ 135 h 135"/>
                <a:gd name="T56" fmla="*/ 135 w 135"/>
                <a:gd name="T57" fmla="*/ 68 h 135"/>
                <a:gd name="T58" fmla="*/ 135 w 135"/>
                <a:gd name="T59" fmla="*/ 68 h 135"/>
                <a:gd name="T60" fmla="*/ 134 w 135"/>
                <a:gd name="T61" fmla="*/ 61 h 135"/>
                <a:gd name="T62" fmla="*/ 133 w 135"/>
                <a:gd name="T63" fmla="*/ 55 h 135"/>
                <a:gd name="T64" fmla="*/ 132 w 135"/>
                <a:gd name="T65" fmla="*/ 48 h 135"/>
                <a:gd name="T66" fmla="*/ 130 w 135"/>
                <a:gd name="T67" fmla="*/ 42 h 135"/>
                <a:gd name="T68" fmla="*/ 123 w 135"/>
                <a:gd name="T69" fmla="*/ 30 h 135"/>
                <a:gd name="T70" fmla="*/ 115 w 135"/>
                <a:gd name="T71" fmla="*/ 20 h 135"/>
                <a:gd name="T72" fmla="*/ 105 w 135"/>
                <a:gd name="T73" fmla="*/ 12 h 135"/>
                <a:gd name="T74" fmla="*/ 93 w 135"/>
                <a:gd name="T75" fmla="*/ 5 h 135"/>
                <a:gd name="T76" fmla="*/ 87 w 135"/>
                <a:gd name="T77" fmla="*/ 3 h 135"/>
                <a:gd name="T78" fmla="*/ 81 w 135"/>
                <a:gd name="T79" fmla="*/ 2 h 135"/>
                <a:gd name="T80" fmla="*/ 74 w 135"/>
                <a:gd name="T81" fmla="*/ 1 h 135"/>
                <a:gd name="T82" fmla="*/ 68 w 135"/>
                <a:gd name="T83" fmla="*/ 0 h 135"/>
                <a:gd name="T84" fmla="*/ 68 w 135"/>
                <a:gd name="T85"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5" h="135">
                  <a:moveTo>
                    <a:pt x="68" y="0"/>
                  </a:moveTo>
                  <a:lnTo>
                    <a:pt x="68" y="0"/>
                  </a:lnTo>
                  <a:lnTo>
                    <a:pt x="60" y="1"/>
                  </a:lnTo>
                  <a:lnTo>
                    <a:pt x="54" y="2"/>
                  </a:lnTo>
                  <a:lnTo>
                    <a:pt x="47" y="3"/>
                  </a:lnTo>
                  <a:lnTo>
                    <a:pt x="41" y="5"/>
                  </a:lnTo>
                  <a:lnTo>
                    <a:pt x="30" y="12"/>
                  </a:lnTo>
                  <a:lnTo>
                    <a:pt x="19" y="20"/>
                  </a:lnTo>
                  <a:lnTo>
                    <a:pt x="11" y="30"/>
                  </a:lnTo>
                  <a:lnTo>
                    <a:pt x="5" y="42"/>
                  </a:lnTo>
                  <a:lnTo>
                    <a:pt x="3" y="48"/>
                  </a:lnTo>
                  <a:lnTo>
                    <a:pt x="1" y="55"/>
                  </a:lnTo>
                  <a:lnTo>
                    <a:pt x="0" y="61"/>
                  </a:lnTo>
                  <a:lnTo>
                    <a:pt x="0" y="68"/>
                  </a:lnTo>
                  <a:lnTo>
                    <a:pt x="0" y="68"/>
                  </a:lnTo>
                  <a:lnTo>
                    <a:pt x="0" y="75"/>
                  </a:lnTo>
                  <a:lnTo>
                    <a:pt x="1" y="82"/>
                  </a:lnTo>
                  <a:lnTo>
                    <a:pt x="3" y="88"/>
                  </a:lnTo>
                  <a:lnTo>
                    <a:pt x="5" y="94"/>
                  </a:lnTo>
                  <a:lnTo>
                    <a:pt x="11" y="106"/>
                  </a:lnTo>
                  <a:lnTo>
                    <a:pt x="19" y="116"/>
                  </a:lnTo>
                  <a:lnTo>
                    <a:pt x="30" y="124"/>
                  </a:lnTo>
                  <a:lnTo>
                    <a:pt x="41" y="130"/>
                  </a:lnTo>
                  <a:lnTo>
                    <a:pt x="47" y="133"/>
                  </a:lnTo>
                  <a:lnTo>
                    <a:pt x="54" y="134"/>
                  </a:lnTo>
                  <a:lnTo>
                    <a:pt x="60" y="135"/>
                  </a:lnTo>
                  <a:lnTo>
                    <a:pt x="68" y="135"/>
                  </a:lnTo>
                  <a:lnTo>
                    <a:pt x="135" y="135"/>
                  </a:lnTo>
                  <a:lnTo>
                    <a:pt x="135" y="68"/>
                  </a:lnTo>
                  <a:lnTo>
                    <a:pt x="135" y="68"/>
                  </a:lnTo>
                  <a:lnTo>
                    <a:pt x="134" y="61"/>
                  </a:lnTo>
                  <a:lnTo>
                    <a:pt x="133" y="55"/>
                  </a:lnTo>
                  <a:lnTo>
                    <a:pt x="132" y="48"/>
                  </a:lnTo>
                  <a:lnTo>
                    <a:pt x="130" y="42"/>
                  </a:lnTo>
                  <a:lnTo>
                    <a:pt x="123" y="30"/>
                  </a:lnTo>
                  <a:lnTo>
                    <a:pt x="115" y="20"/>
                  </a:lnTo>
                  <a:lnTo>
                    <a:pt x="105" y="12"/>
                  </a:lnTo>
                  <a:lnTo>
                    <a:pt x="93" y="5"/>
                  </a:lnTo>
                  <a:lnTo>
                    <a:pt x="87" y="3"/>
                  </a:lnTo>
                  <a:lnTo>
                    <a:pt x="81" y="2"/>
                  </a:lnTo>
                  <a:lnTo>
                    <a:pt x="74" y="1"/>
                  </a:lnTo>
                  <a:lnTo>
                    <a:pt x="68" y="0"/>
                  </a:lnTo>
                  <a:lnTo>
                    <a:pt x="6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4" name="Freeform 440">
              <a:extLst>
                <a:ext uri="{FF2B5EF4-FFF2-40B4-BE49-F238E27FC236}">
                  <a16:creationId xmlns:a16="http://schemas.microsoft.com/office/drawing/2014/main" id="{1DDD3340-AE5E-4B01-9E7E-9AE9D4B0ED7A}"/>
                </a:ext>
              </a:extLst>
            </p:cNvPr>
            <p:cNvSpPr>
              <a:spLocks/>
            </p:cNvSpPr>
            <p:nvPr/>
          </p:nvSpPr>
          <p:spPr bwMode="auto">
            <a:xfrm>
              <a:off x="3711575" y="3590926"/>
              <a:ext cx="411163" cy="465138"/>
            </a:xfrm>
            <a:custGeom>
              <a:avLst/>
              <a:gdLst>
                <a:gd name="T0" fmla="*/ 824 w 1036"/>
                <a:gd name="T1" fmla="*/ 935 h 1170"/>
                <a:gd name="T2" fmla="*/ 924 w 1036"/>
                <a:gd name="T3" fmla="*/ 839 h 1170"/>
                <a:gd name="T4" fmla="*/ 994 w 1036"/>
                <a:gd name="T5" fmla="*/ 721 h 1170"/>
                <a:gd name="T6" fmla="*/ 1030 w 1036"/>
                <a:gd name="T7" fmla="*/ 588 h 1170"/>
                <a:gd name="T8" fmla="*/ 1035 w 1036"/>
                <a:gd name="T9" fmla="*/ 492 h 1170"/>
                <a:gd name="T10" fmla="*/ 1018 w 1036"/>
                <a:gd name="T11" fmla="*/ 389 h 1170"/>
                <a:gd name="T12" fmla="*/ 984 w 1036"/>
                <a:gd name="T13" fmla="*/ 293 h 1170"/>
                <a:gd name="T14" fmla="*/ 933 w 1036"/>
                <a:gd name="T15" fmla="*/ 209 h 1170"/>
                <a:gd name="T16" fmla="*/ 865 w 1036"/>
                <a:gd name="T17" fmla="*/ 135 h 1170"/>
                <a:gd name="T18" fmla="*/ 786 w 1036"/>
                <a:gd name="T19" fmla="*/ 75 h 1170"/>
                <a:gd name="T20" fmla="*/ 696 w 1036"/>
                <a:gd name="T21" fmla="*/ 32 h 1170"/>
                <a:gd name="T22" fmla="*/ 596 w 1036"/>
                <a:gd name="T23" fmla="*/ 6 h 1170"/>
                <a:gd name="T24" fmla="*/ 518 w 1036"/>
                <a:gd name="T25" fmla="*/ 0 h 1170"/>
                <a:gd name="T26" fmla="*/ 413 w 1036"/>
                <a:gd name="T27" fmla="*/ 10 h 1170"/>
                <a:gd name="T28" fmla="*/ 316 w 1036"/>
                <a:gd name="T29" fmla="*/ 40 h 1170"/>
                <a:gd name="T30" fmla="*/ 228 w 1036"/>
                <a:gd name="T31" fmla="*/ 89 h 1170"/>
                <a:gd name="T32" fmla="*/ 151 w 1036"/>
                <a:gd name="T33" fmla="*/ 152 h 1170"/>
                <a:gd name="T34" fmla="*/ 88 w 1036"/>
                <a:gd name="T35" fmla="*/ 228 h 1170"/>
                <a:gd name="T36" fmla="*/ 41 w 1036"/>
                <a:gd name="T37" fmla="*/ 317 h 1170"/>
                <a:gd name="T38" fmla="*/ 11 w 1036"/>
                <a:gd name="T39" fmla="*/ 414 h 1170"/>
                <a:gd name="T40" fmla="*/ 0 w 1036"/>
                <a:gd name="T41" fmla="*/ 518 h 1170"/>
                <a:gd name="T42" fmla="*/ 11 w 1036"/>
                <a:gd name="T43" fmla="*/ 623 h 1170"/>
                <a:gd name="T44" fmla="*/ 56 w 1036"/>
                <a:gd name="T45" fmla="*/ 752 h 1170"/>
                <a:gd name="T46" fmla="*/ 133 w 1036"/>
                <a:gd name="T47" fmla="*/ 865 h 1170"/>
                <a:gd name="T48" fmla="*/ 239 w 1036"/>
                <a:gd name="T49" fmla="*/ 954 h 1170"/>
                <a:gd name="T50" fmla="*/ 270 w 1036"/>
                <a:gd name="T51" fmla="*/ 1153 h 1170"/>
                <a:gd name="T52" fmla="*/ 280 w 1036"/>
                <a:gd name="T53" fmla="*/ 1167 h 1170"/>
                <a:gd name="T54" fmla="*/ 405 w 1036"/>
                <a:gd name="T55" fmla="*/ 1170 h 1170"/>
                <a:gd name="T56" fmla="*/ 326 w 1036"/>
                <a:gd name="T57" fmla="*/ 765 h 1170"/>
                <a:gd name="T58" fmla="*/ 284 w 1036"/>
                <a:gd name="T59" fmla="*/ 752 h 1170"/>
                <a:gd name="T60" fmla="*/ 251 w 1036"/>
                <a:gd name="T61" fmla="*/ 724 h 1170"/>
                <a:gd name="T62" fmla="*/ 229 w 1036"/>
                <a:gd name="T63" fmla="*/ 687 h 1170"/>
                <a:gd name="T64" fmla="*/ 225 w 1036"/>
                <a:gd name="T65" fmla="*/ 653 h 1170"/>
                <a:gd name="T66" fmla="*/ 234 w 1036"/>
                <a:gd name="T67" fmla="*/ 610 h 1170"/>
                <a:gd name="T68" fmla="*/ 257 w 1036"/>
                <a:gd name="T69" fmla="*/ 573 h 1170"/>
                <a:gd name="T70" fmla="*/ 294 w 1036"/>
                <a:gd name="T71" fmla="*/ 550 h 1170"/>
                <a:gd name="T72" fmla="*/ 338 w 1036"/>
                <a:gd name="T73" fmla="*/ 540 h 1170"/>
                <a:gd name="T74" fmla="*/ 371 w 1036"/>
                <a:gd name="T75" fmla="*/ 545 h 1170"/>
                <a:gd name="T76" fmla="*/ 408 w 1036"/>
                <a:gd name="T77" fmla="*/ 566 h 1170"/>
                <a:gd name="T78" fmla="*/ 436 w 1036"/>
                <a:gd name="T79" fmla="*/ 599 h 1170"/>
                <a:gd name="T80" fmla="*/ 449 w 1036"/>
                <a:gd name="T81" fmla="*/ 642 h 1170"/>
                <a:gd name="T82" fmla="*/ 585 w 1036"/>
                <a:gd name="T83" fmla="*/ 653 h 1170"/>
                <a:gd name="T84" fmla="*/ 590 w 1036"/>
                <a:gd name="T85" fmla="*/ 619 h 1170"/>
                <a:gd name="T86" fmla="*/ 611 w 1036"/>
                <a:gd name="T87" fmla="*/ 582 h 1170"/>
                <a:gd name="T88" fmla="*/ 644 w 1036"/>
                <a:gd name="T89" fmla="*/ 554 h 1170"/>
                <a:gd name="T90" fmla="*/ 686 w 1036"/>
                <a:gd name="T91" fmla="*/ 541 h 1170"/>
                <a:gd name="T92" fmla="*/ 720 w 1036"/>
                <a:gd name="T93" fmla="*/ 542 h 1170"/>
                <a:gd name="T94" fmla="*/ 760 w 1036"/>
                <a:gd name="T95" fmla="*/ 559 h 1170"/>
                <a:gd name="T96" fmla="*/ 791 w 1036"/>
                <a:gd name="T97" fmla="*/ 590 h 1170"/>
                <a:gd name="T98" fmla="*/ 808 w 1036"/>
                <a:gd name="T99" fmla="*/ 630 h 1170"/>
                <a:gd name="T100" fmla="*/ 809 w 1036"/>
                <a:gd name="T101" fmla="*/ 664 h 1170"/>
                <a:gd name="T102" fmla="*/ 797 w 1036"/>
                <a:gd name="T103" fmla="*/ 706 h 1170"/>
                <a:gd name="T104" fmla="*/ 769 w 1036"/>
                <a:gd name="T105" fmla="*/ 739 h 1170"/>
                <a:gd name="T106" fmla="*/ 731 w 1036"/>
                <a:gd name="T107" fmla="*/ 761 h 1170"/>
                <a:gd name="T108" fmla="*/ 630 w 1036"/>
                <a:gd name="T109" fmla="*/ 765 h 1170"/>
                <a:gd name="T110" fmla="*/ 747 w 1036"/>
                <a:gd name="T111" fmla="*/ 1170 h 1170"/>
                <a:gd name="T112" fmla="*/ 761 w 1036"/>
                <a:gd name="T113" fmla="*/ 1161 h 1170"/>
                <a:gd name="T114" fmla="*/ 765 w 1036"/>
                <a:gd name="T115" fmla="*/ 972 h 1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6" h="1170">
                  <a:moveTo>
                    <a:pt x="765" y="972"/>
                  </a:moveTo>
                  <a:lnTo>
                    <a:pt x="765" y="972"/>
                  </a:lnTo>
                  <a:lnTo>
                    <a:pt x="795" y="954"/>
                  </a:lnTo>
                  <a:lnTo>
                    <a:pt x="824" y="935"/>
                  </a:lnTo>
                  <a:lnTo>
                    <a:pt x="852" y="913"/>
                  </a:lnTo>
                  <a:lnTo>
                    <a:pt x="878" y="890"/>
                  </a:lnTo>
                  <a:lnTo>
                    <a:pt x="902" y="865"/>
                  </a:lnTo>
                  <a:lnTo>
                    <a:pt x="924" y="839"/>
                  </a:lnTo>
                  <a:lnTo>
                    <a:pt x="944" y="811"/>
                  </a:lnTo>
                  <a:lnTo>
                    <a:pt x="963" y="782"/>
                  </a:lnTo>
                  <a:lnTo>
                    <a:pt x="980" y="752"/>
                  </a:lnTo>
                  <a:lnTo>
                    <a:pt x="994" y="721"/>
                  </a:lnTo>
                  <a:lnTo>
                    <a:pt x="1007" y="689"/>
                  </a:lnTo>
                  <a:lnTo>
                    <a:pt x="1016" y="657"/>
                  </a:lnTo>
                  <a:lnTo>
                    <a:pt x="1025" y="623"/>
                  </a:lnTo>
                  <a:lnTo>
                    <a:pt x="1030" y="588"/>
                  </a:lnTo>
                  <a:lnTo>
                    <a:pt x="1035" y="553"/>
                  </a:lnTo>
                  <a:lnTo>
                    <a:pt x="1036" y="518"/>
                  </a:lnTo>
                  <a:lnTo>
                    <a:pt x="1036" y="518"/>
                  </a:lnTo>
                  <a:lnTo>
                    <a:pt x="1035" y="492"/>
                  </a:lnTo>
                  <a:lnTo>
                    <a:pt x="1032" y="465"/>
                  </a:lnTo>
                  <a:lnTo>
                    <a:pt x="1029" y="439"/>
                  </a:lnTo>
                  <a:lnTo>
                    <a:pt x="1025" y="414"/>
                  </a:lnTo>
                  <a:lnTo>
                    <a:pt x="1018" y="389"/>
                  </a:lnTo>
                  <a:lnTo>
                    <a:pt x="1012" y="364"/>
                  </a:lnTo>
                  <a:lnTo>
                    <a:pt x="1003" y="340"/>
                  </a:lnTo>
                  <a:lnTo>
                    <a:pt x="995" y="317"/>
                  </a:lnTo>
                  <a:lnTo>
                    <a:pt x="984" y="293"/>
                  </a:lnTo>
                  <a:lnTo>
                    <a:pt x="972" y="271"/>
                  </a:lnTo>
                  <a:lnTo>
                    <a:pt x="961" y="250"/>
                  </a:lnTo>
                  <a:lnTo>
                    <a:pt x="947" y="228"/>
                  </a:lnTo>
                  <a:lnTo>
                    <a:pt x="933" y="209"/>
                  </a:lnTo>
                  <a:lnTo>
                    <a:pt x="917" y="188"/>
                  </a:lnTo>
                  <a:lnTo>
                    <a:pt x="900" y="170"/>
                  </a:lnTo>
                  <a:lnTo>
                    <a:pt x="883" y="152"/>
                  </a:lnTo>
                  <a:lnTo>
                    <a:pt x="865" y="135"/>
                  </a:lnTo>
                  <a:lnTo>
                    <a:pt x="847" y="119"/>
                  </a:lnTo>
                  <a:lnTo>
                    <a:pt x="828" y="103"/>
                  </a:lnTo>
                  <a:lnTo>
                    <a:pt x="807" y="89"/>
                  </a:lnTo>
                  <a:lnTo>
                    <a:pt x="786" y="75"/>
                  </a:lnTo>
                  <a:lnTo>
                    <a:pt x="764" y="63"/>
                  </a:lnTo>
                  <a:lnTo>
                    <a:pt x="742" y="51"/>
                  </a:lnTo>
                  <a:lnTo>
                    <a:pt x="719" y="40"/>
                  </a:lnTo>
                  <a:lnTo>
                    <a:pt x="696" y="32"/>
                  </a:lnTo>
                  <a:lnTo>
                    <a:pt x="671" y="23"/>
                  </a:lnTo>
                  <a:lnTo>
                    <a:pt x="646" y="17"/>
                  </a:lnTo>
                  <a:lnTo>
                    <a:pt x="622" y="10"/>
                  </a:lnTo>
                  <a:lnTo>
                    <a:pt x="596" y="6"/>
                  </a:lnTo>
                  <a:lnTo>
                    <a:pt x="570" y="3"/>
                  </a:lnTo>
                  <a:lnTo>
                    <a:pt x="545" y="1"/>
                  </a:lnTo>
                  <a:lnTo>
                    <a:pt x="518" y="0"/>
                  </a:lnTo>
                  <a:lnTo>
                    <a:pt x="518" y="0"/>
                  </a:lnTo>
                  <a:lnTo>
                    <a:pt x="491" y="1"/>
                  </a:lnTo>
                  <a:lnTo>
                    <a:pt x="464" y="3"/>
                  </a:lnTo>
                  <a:lnTo>
                    <a:pt x="438" y="6"/>
                  </a:lnTo>
                  <a:lnTo>
                    <a:pt x="413" y="10"/>
                  </a:lnTo>
                  <a:lnTo>
                    <a:pt x="388" y="17"/>
                  </a:lnTo>
                  <a:lnTo>
                    <a:pt x="363" y="23"/>
                  </a:lnTo>
                  <a:lnTo>
                    <a:pt x="340" y="32"/>
                  </a:lnTo>
                  <a:lnTo>
                    <a:pt x="316" y="40"/>
                  </a:lnTo>
                  <a:lnTo>
                    <a:pt x="293" y="51"/>
                  </a:lnTo>
                  <a:lnTo>
                    <a:pt x="271" y="63"/>
                  </a:lnTo>
                  <a:lnTo>
                    <a:pt x="249" y="75"/>
                  </a:lnTo>
                  <a:lnTo>
                    <a:pt x="228" y="89"/>
                  </a:lnTo>
                  <a:lnTo>
                    <a:pt x="208" y="103"/>
                  </a:lnTo>
                  <a:lnTo>
                    <a:pt x="189" y="119"/>
                  </a:lnTo>
                  <a:lnTo>
                    <a:pt x="169" y="135"/>
                  </a:lnTo>
                  <a:lnTo>
                    <a:pt x="151" y="152"/>
                  </a:lnTo>
                  <a:lnTo>
                    <a:pt x="134" y="170"/>
                  </a:lnTo>
                  <a:lnTo>
                    <a:pt x="118" y="188"/>
                  </a:lnTo>
                  <a:lnTo>
                    <a:pt x="103" y="209"/>
                  </a:lnTo>
                  <a:lnTo>
                    <a:pt x="88" y="228"/>
                  </a:lnTo>
                  <a:lnTo>
                    <a:pt x="75" y="250"/>
                  </a:lnTo>
                  <a:lnTo>
                    <a:pt x="62" y="271"/>
                  </a:lnTo>
                  <a:lnTo>
                    <a:pt x="50" y="293"/>
                  </a:lnTo>
                  <a:lnTo>
                    <a:pt x="41" y="317"/>
                  </a:lnTo>
                  <a:lnTo>
                    <a:pt x="31" y="340"/>
                  </a:lnTo>
                  <a:lnTo>
                    <a:pt x="22" y="364"/>
                  </a:lnTo>
                  <a:lnTo>
                    <a:pt x="16" y="389"/>
                  </a:lnTo>
                  <a:lnTo>
                    <a:pt x="11" y="414"/>
                  </a:lnTo>
                  <a:lnTo>
                    <a:pt x="5" y="439"/>
                  </a:lnTo>
                  <a:lnTo>
                    <a:pt x="2" y="465"/>
                  </a:lnTo>
                  <a:lnTo>
                    <a:pt x="0" y="492"/>
                  </a:lnTo>
                  <a:lnTo>
                    <a:pt x="0" y="518"/>
                  </a:lnTo>
                  <a:lnTo>
                    <a:pt x="0" y="518"/>
                  </a:lnTo>
                  <a:lnTo>
                    <a:pt x="1" y="553"/>
                  </a:lnTo>
                  <a:lnTo>
                    <a:pt x="4" y="588"/>
                  </a:lnTo>
                  <a:lnTo>
                    <a:pt x="11" y="623"/>
                  </a:lnTo>
                  <a:lnTo>
                    <a:pt x="18" y="657"/>
                  </a:lnTo>
                  <a:lnTo>
                    <a:pt x="29" y="689"/>
                  </a:lnTo>
                  <a:lnTo>
                    <a:pt x="41" y="721"/>
                  </a:lnTo>
                  <a:lnTo>
                    <a:pt x="56" y="752"/>
                  </a:lnTo>
                  <a:lnTo>
                    <a:pt x="72" y="782"/>
                  </a:lnTo>
                  <a:lnTo>
                    <a:pt x="91" y="811"/>
                  </a:lnTo>
                  <a:lnTo>
                    <a:pt x="111" y="839"/>
                  </a:lnTo>
                  <a:lnTo>
                    <a:pt x="133" y="865"/>
                  </a:lnTo>
                  <a:lnTo>
                    <a:pt x="158" y="890"/>
                  </a:lnTo>
                  <a:lnTo>
                    <a:pt x="183" y="913"/>
                  </a:lnTo>
                  <a:lnTo>
                    <a:pt x="210" y="935"/>
                  </a:lnTo>
                  <a:lnTo>
                    <a:pt x="239" y="954"/>
                  </a:lnTo>
                  <a:lnTo>
                    <a:pt x="270" y="972"/>
                  </a:lnTo>
                  <a:lnTo>
                    <a:pt x="270" y="1148"/>
                  </a:lnTo>
                  <a:lnTo>
                    <a:pt x="270" y="1148"/>
                  </a:lnTo>
                  <a:lnTo>
                    <a:pt x="270" y="1153"/>
                  </a:lnTo>
                  <a:lnTo>
                    <a:pt x="271" y="1158"/>
                  </a:lnTo>
                  <a:lnTo>
                    <a:pt x="273" y="1161"/>
                  </a:lnTo>
                  <a:lnTo>
                    <a:pt x="277" y="1164"/>
                  </a:lnTo>
                  <a:lnTo>
                    <a:pt x="280" y="1167"/>
                  </a:lnTo>
                  <a:lnTo>
                    <a:pt x="284" y="1169"/>
                  </a:lnTo>
                  <a:lnTo>
                    <a:pt x="287" y="1170"/>
                  </a:lnTo>
                  <a:lnTo>
                    <a:pt x="293" y="1170"/>
                  </a:lnTo>
                  <a:lnTo>
                    <a:pt x="405" y="1170"/>
                  </a:lnTo>
                  <a:lnTo>
                    <a:pt x="405" y="765"/>
                  </a:lnTo>
                  <a:lnTo>
                    <a:pt x="338" y="765"/>
                  </a:lnTo>
                  <a:lnTo>
                    <a:pt x="338" y="765"/>
                  </a:lnTo>
                  <a:lnTo>
                    <a:pt x="326" y="765"/>
                  </a:lnTo>
                  <a:lnTo>
                    <a:pt x="315" y="763"/>
                  </a:lnTo>
                  <a:lnTo>
                    <a:pt x="304" y="761"/>
                  </a:lnTo>
                  <a:lnTo>
                    <a:pt x="294" y="757"/>
                  </a:lnTo>
                  <a:lnTo>
                    <a:pt x="284" y="752"/>
                  </a:lnTo>
                  <a:lnTo>
                    <a:pt x="274" y="746"/>
                  </a:lnTo>
                  <a:lnTo>
                    <a:pt x="266" y="739"/>
                  </a:lnTo>
                  <a:lnTo>
                    <a:pt x="257" y="733"/>
                  </a:lnTo>
                  <a:lnTo>
                    <a:pt x="251" y="724"/>
                  </a:lnTo>
                  <a:lnTo>
                    <a:pt x="244" y="716"/>
                  </a:lnTo>
                  <a:lnTo>
                    <a:pt x="238" y="706"/>
                  </a:lnTo>
                  <a:lnTo>
                    <a:pt x="234" y="697"/>
                  </a:lnTo>
                  <a:lnTo>
                    <a:pt x="229" y="687"/>
                  </a:lnTo>
                  <a:lnTo>
                    <a:pt x="227" y="675"/>
                  </a:lnTo>
                  <a:lnTo>
                    <a:pt x="225" y="664"/>
                  </a:lnTo>
                  <a:lnTo>
                    <a:pt x="225" y="653"/>
                  </a:lnTo>
                  <a:lnTo>
                    <a:pt x="225" y="653"/>
                  </a:lnTo>
                  <a:lnTo>
                    <a:pt x="225" y="642"/>
                  </a:lnTo>
                  <a:lnTo>
                    <a:pt x="227" y="630"/>
                  </a:lnTo>
                  <a:lnTo>
                    <a:pt x="229" y="619"/>
                  </a:lnTo>
                  <a:lnTo>
                    <a:pt x="234" y="610"/>
                  </a:lnTo>
                  <a:lnTo>
                    <a:pt x="238" y="599"/>
                  </a:lnTo>
                  <a:lnTo>
                    <a:pt x="244" y="590"/>
                  </a:lnTo>
                  <a:lnTo>
                    <a:pt x="251" y="582"/>
                  </a:lnTo>
                  <a:lnTo>
                    <a:pt x="257" y="573"/>
                  </a:lnTo>
                  <a:lnTo>
                    <a:pt x="266" y="566"/>
                  </a:lnTo>
                  <a:lnTo>
                    <a:pt x="274" y="559"/>
                  </a:lnTo>
                  <a:lnTo>
                    <a:pt x="284" y="554"/>
                  </a:lnTo>
                  <a:lnTo>
                    <a:pt x="294" y="550"/>
                  </a:lnTo>
                  <a:lnTo>
                    <a:pt x="304" y="545"/>
                  </a:lnTo>
                  <a:lnTo>
                    <a:pt x="315" y="542"/>
                  </a:lnTo>
                  <a:lnTo>
                    <a:pt x="326" y="541"/>
                  </a:lnTo>
                  <a:lnTo>
                    <a:pt x="338" y="540"/>
                  </a:lnTo>
                  <a:lnTo>
                    <a:pt x="338" y="540"/>
                  </a:lnTo>
                  <a:lnTo>
                    <a:pt x="348" y="541"/>
                  </a:lnTo>
                  <a:lnTo>
                    <a:pt x="360" y="542"/>
                  </a:lnTo>
                  <a:lnTo>
                    <a:pt x="371" y="545"/>
                  </a:lnTo>
                  <a:lnTo>
                    <a:pt x="382" y="550"/>
                  </a:lnTo>
                  <a:lnTo>
                    <a:pt x="391" y="554"/>
                  </a:lnTo>
                  <a:lnTo>
                    <a:pt x="400" y="559"/>
                  </a:lnTo>
                  <a:lnTo>
                    <a:pt x="408" y="566"/>
                  </a:lnTo>
                  <a:lnTo>
                    <a:pt x="417" y="573"/>
                  </a:lnTo>
                  <a:lnTo>
                    <a:pt x="424" y="582"/>
                  </a:lnTo>
                  <a:lnTo>
                    <a:pt x="431" y="590"/>
                  </a:lnTo>
                  <a:lnTo>
                    <a:pt x="436" y="599"/>
                  </a:lnTo>
                  <a:lnTo>
                    <a:pt x="441" y="610"/>
                  </a:lnTo>
                  <a:lnTo>
                    <a:pt x="445" y="619"/>
                  </a:lnTo>
                  <a:lnTo>
                    <a:pt x="448" y="630"/>
                  </a:lnTo>
                  <a:lnTo>
                    <a:pt x="449" y="642"/>
                  </a:lnTo>
                  <a:lnTo>
                    <a:pt x="450" y="653"/>
                  </a:lnTo>
                  <a:lnTo>
                    <a:pt x="450" y="720"/>
                  </a:lnTo>
                  <a:lnTo>
                    <a:pt x="585" y="720"/>
                  </a:lnTo>
                  <a:lnTo>
                    <a:pt x="585" y="653"/>
                  </a:lnTo>
                  <a:lnTo>
                    <a:pt x="585" y="653"/>
                  </a:lnTo>
                  <a:lnTo>
                    <a:pt x="585" y="642"/>
                  </a:lnTo>
                  <a:lnTo>
                    <a:pt x="587" y="630"/>
                  </a:lnTo>
                  <a:lnTo>
                    <a:pt x="590" y="619"/>
                  </a:lnTo>
                  <a:lnTo>
                    <a:pt x="594" y="610"/>
                  </a:lnTo>
                  <a:lnTo>
                    <a:pt x="598" y="599"/>
                  </a:lnTo>
                  <a:lnTo>
                    <a:pt x="605" y="590"/>
                  </a:lnTo>
                  <a:lnTo>
                    <a:pt x="611" y="582"/>
                  </a:lnTo>
                  <a:lnTo>
                    <a:pt x="617" y="573"/>
                  </a:lnTo>
                  <a:lnTo>
                    <a:pt x="626" y="566"/>
                  </a:lnTo>
                  <a:lnTo>
                    <a:pt x="635" y="559"/>
                  </a:lnTo>
                  <a:lnTo>
                    <a:pt x="644" y="554"/>
                  </a:lnTo>
                  <a:lnTo>
                    <a:pt x="654" y="550"/>
                  </a:lnTo>
                  <a:lnTo>
                    <a:pt x="665" y="545"/>
                  </a:lnTo>
                  <a:lnTo>
                    <a:pt x="675" y="542"/>
                  </a:lnTo>
                  <a:lnTo>
                    <a:pt x="686" y="541"/>
                  </a:lnTo>
                  <a:lnTo>
                    <a:pt x="698" y="540"/>
                  </a:lnTo>
                  <a:lnTo>
                    <a:pt x="698" y="540"/>
                  </a:lnTo>
                  <a:lnTo>
                    <a:pt x="709" y="541"/>
                  </a:lnTo>
                  <a:lnTo>
                    <a:pt x="720" y="542"/>
                  </a:lnTo>
                  <a:lnTo>
                    <a:pt x="731" y="545"/>
                  </a:lnTo>
                  <a:lnTo>
                    <a:pt x="742" y="550"/>
                  </a:lnTo>
                  <a:lnTo>
                    <a:pt x="751" y="554"/>
                  </a:lnTo>
                  <a:lnTo>
                    <a:pt x="760" y="559"/>
                  </a:lnTo>
                  <a:lnTo>
                    <a:pt x="769" y="566"/>
                  </a:lnTo>
                  <a:lnTo>
                    <a:pt x="777" y="573"/>
                  </a:lnTo>
                  <a:lnTo>
                    <a:pt x="785" y="582"/>
                  </a:lnTo>
                  <a:lnTo>
                    <a:pt x="791" y="590"/>
                  </a:lnTo>
                  <a:lnTo>
                    <a:pt x="797" y="599"/>
                  </a:lnTo>
                  <a:lnTo>
                    <a:pt x="801" y="610"/>
                  </a:lnTo>
                  <a:lnTo>
                    <a:pt x="805" y="619"/>
                  </a:lnTo>
                  <a:lnTo>
                    <a:pt x="808" y="630"/>
                  </a:lnTo>
                  <a:lnTo>
                    <a:pt x="809" y="642"/>
                  </a:lnTo>
                  <a:lnTo>
                    <a:pt x="810" y="653"/>
                  </a:lnTo>
                  <a:lnTo>
                    <a:pt x="810" y="653"/>
                  </a:lnTo>
                  <a:lnTo>
                    <a:pt x="809" y="664"/>
                  </a:lnTo>
                  <a:lnTo>
                    <a:pt x="808" y="675"/>
                  </a:lnTo>
                  <a:lnTo>
                    <a:pt x="805" y="687"/>
                  </a:lnTo>
                  <a:lnTo>
                    <a:pt x="801" y="697"/>
                  </a:lnTo>
                  <a:lnTo>
                    <a:pt x="797" y="706"/>
                  </a:lnTo>
                  <a:lnTo>
                    <a:pt x="791" y="716"/>
                  </a:lnTo>
                  <a:lnTo>
                    <a:pt x="785" y="724"/>
                  </a:lnTo>
                  <a:lnTo>
                    <a:pt x="777" y="733"/>
                  </a:lnTo>
                  <a:lnTo>
                    <a:pt x="769" y="739"/>
                  </a:lnTo>
                  <a:lnTo>
                    <a:pt x="760" y="746"/>
                  </a:lnTo>
                  <a:lnTo>
                    <a:pt x="751" y="752"/>
                  </a:lnTo>
                  <a:lnTo>
                    <a:pt x="742" y="757"/>
                  </a:lnTo>
                  <a:lnTo>
                    <a:pt x="731" y="761"/>
                  </a:lnTo>
                  <a:lnTo>
                    <a:pt x="720" y="763"/>
                  </a:lnTo>
                  <a:lnTo>
                    <a:pt x="709" y="765"/>
                  </a:lnTo>
                  <a:lnTo>
                    <a:pt x="698" y="765"/>
                  </a:lnTo>
                  <a:lnTo>
                    <a:pt x="630" y="765"/>
                  </a:lnTo>
                  <a:lnTo>
                    <a:pt x="630" y="1170"/>
                  </a:lnTo>
                  <a:lnTo>
                    <a:pt x="743" y="1170"/>
                  </a:lnTo>
                  <a:lnTo>
                    <a:pt x="743" y="1170"/>
                  </a:lnTo>
                  <a:lnTo>
                    <a:pt x="747" y="1170"/>
                  </a:lnTo>
                  <a:lnTo>
                    <a:pt x="751" y="1169"/>
                  </a:lnTo>
                  <a:lnTo>
                    <a:pt x="755" y="1167"/>
                  </a:lnTo>
                  <a:lnTo>
                    <a:pt x="759" y="1164"/>
                  </a:lnTo>
                  <a:lnTo>
                    <a:pt x="761" y="1161"/>
                  </a:lnTo>
                  <a:lnTo>
                    <a:pt x="763" y="1158"/>
                  </a:lnTo>
                  <a:lnTo>
                    <a:pt x="764" y="1153"/>
                  </a:lnTo>
                  <a:lnTo>
                    <a:pt x="765" y="1148"/>
                  </a:lnTo>
                  <a:lnTo>
                    <a:pt x="765" y="97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5" name="Freeform 441">
              <a:extLst>
                <a:ext uri="{FF2B5EF4-FFF2-40B4-BE49-F238E27FC236}">
                  <a16:creationId xmlns:a16="http://schemas.microsoft.com/office/drawing/2014/main" id="{09029658-1339-4122-8210-151DD9BC1DBC}"/>
                </a:ext>
              </a:extLst>
            </p:cNvPr>
            <p:cNvSpPr>
              <a:spLocks/>
            </p:cNvSpPr>
            <p:nvPr/>
          </p:nvSpPr>
          <p:spPr bwMode="auto">
            <a:xfrm>
              <a:off x="3960813" y="3824288"/>
              <a:ext cx="53975" cy="53975"/>
            </a:xfrm>
            <a:custGeom>
              <a:avLst/>
              <a:gdLst>
                <a:gd name="T0" fmla="*/ 135 w 135"/>
                <a:gd name="T1" fmla="*/ 68 h 135"/>
                <a:gd name="T2" fmla="*/ 135 w 135"/>
                <a:gd name="T3" fmla="*/ 68 h 135"/>
                <a:gd name="T4" fmla="*/ 134 w 135"/>
                <a:gd name="T5" fmla="*/ 61 h 135"/>
                <a:gd name="T6" fmla="*/ 133 w 135"/>
                <a:gd name="T7" fmla="*/ 55 h 135"/>
                <a:gd name="T8" fmla="*/ 132 w 135"/>
                <a:gd name="T9" fmla="*/ 48 h 135"/>
                <a:gd name="T10" fmla="*/ 130 w 135"/>
                <a:gd name="T11" fmla="*/ 42 h 135"/>
                <a:gd name="T12" fmla="*/ 124 w 135"/>
                <a:gd name="T13" fmla="*/ 30 h 135"/>
                <a:gd name="T14" fmla="*/ 115 w 135"/>
                <a:gd name="T15" fmla="*/ 20 h 135"/>
                <a:gd name="T16" fmla="*/ 105 w 135"/>
                <a:gd name="T17" fmla="*/ 12 h 135"/>
                <a:gd name="T18" fmla="*/ 94 w 135"/>
                <a:gd name="T19" fmla="*/ 5 h 135"/>
                <a:gd name="T20" fmla="*/ 87 w 135"/>
                <a:gd name="T21" fmla="*/ 3 h 135"/>
                <a:gd name="T22" fmla="*/ 81 w 135"/>
                <a:gd name="T23" fmla="*/ 2 h 135"/>
                <a:gd name="T24" fmla="*/ 74 w 135"/>
                <a:gd name="T25" fmla="*/ 1 h 135"/>
                <a:gd name="T26" fmla="*/ 68 w 135"/>
                <a:gd name="T27" fmla="*/ 0 h 135"/>
                <a:gd name="T28" fmla="*/ 68 w 135"/>
                <a:gd name="T29" fmla="*/ 0 h 135"/>
                <a:gd name="T30" fmla="*/ 60 w 135"/>
                <a:gd name="T31" fmla="*/ 1 h 135"/>
                <a:gd name="T32" fmla="*/ 54 w 135"/>
                <a:gd name="T33" fmla="*/ 2 h 135"/>
                <a:gd name="T34" fmla="*/ 48 w 135"/>
                <a:gd name="T35" fmla="*/ 3 h 135"/>
                <a:gd name="T36" fmla="*/ 41 w 135"/>
                <a:gd name="T37" fmla="*/ 5 h 135"/>
                <a:gd name="T38" fmla="*/ 30 w 135"/>
                <a:gd name="T39" fmla="*/ 12 h 135"/>
                <a:gd name="T40" fmla="*/ 20 w 135"/>
                <a:gd name="T41" fmla="*/ 20 h 135"/>
                <a:gd name="T42" fmla="*/ 11 w 135"/>
                <a:gd name="T43" fmla="*/ 30 h 135"/>
                <a:gd name="T44" fmla="*/ 6 w 135"/>
                <a:gd name="T45" fmla="*/ 42 h 135"/>
                <a:gd name="T46" fmla="*/ 4 w 135"/>
                <a:gd name="T47" fmla="*/ 48 h 135"/>
                <a:gd name="T48" fmla="*/ 1 w 135"/>
                <a:gd name="T49" fmla="*/ 55 h 135"/>
                <a:gd name="T50" fmla="*/ 0 w 135"/>
                <a:gd name="T51" fmla="*/ 61 h 135"/>
                <a:gd name="T52" fmla="*/ 0 w 135"/>
                <a:gd name="T53" fmla="*/ 68 h 135"/>
                <a:gd name="T54" fmla="*/ 0 w 135"/>
                <a:gd name="T55" fmla="*/ 135 h 135"/>
                <a:gd name="T56" fmla="*/ 68 w 135"/>
                <a:gd name="T57" fmla="*/ 135 h 135"/>
                <a:gd name="T58" fmla="*/ 68 w 135"/>
                <a:gd name="T59" fmla="*/ 135 h 135"/>
                <a:gd name="T60" fmla="*/ 74 w 135"/>
                <a:gd name="T61" fmla="*/ 135 h 135"/>
                <a:gd name="T62" fmla="*/ 81 w 135"/>
                <a:gd name="T63" fmla="*/ 134 h 135"/>
                <a:gd name="T64" fmla="*/ 87 w 135"/>
                <a:gd name="T65" fmla="*/ 133 h 135"/>
                <a:gd name="T66" fmla="*/ 94 w 135"/>
                <a:gd name="T67" fmla="*/ 130 h 135"/>
                <a:gd name="T68" fmla="*/ 105 w 135"/>
                <a:gd name="T69" fmla="*/ 124 h 135"/>
                <a:gd name="T70" fmla="*/ 115 w 135"/>
                <a:gd name="T71" fmla="*/ 116 h 135"/>
                <a:gd name="T72" fmla="*/ 124 w 135"/>
                <a:gd name="T73" fmla="*/ 106 h 135"/>
                <a:gd name="T74" fmla="*/ 130 w 135"/>
                <a:gd name="T75" fmla="*/ 94 h 135"/>
                <a:gd name="T76" fmla="*/ 132 w 135"/>
                <a:gd name="T77" fmla="*/ 88 h 135"/>
                <a:gd name="T78" fmla="*/ 133 w 135"/>
                <a:gd name="T79" fmla="*/ 82 h 135"/>
                <a:gd name="T80" fmla="*/ 134 w 135"/>
                <a:gd name="T81" fmla="*/ 75 h 135"/>
                <a:gd name="T82" fmla="*/ 135 w 135"/>
                <a:gd name="T83" fmla="*/ 68 h 135"/>
                <a:gd name="T84" fmla="*/ 135 w 135"/>
                <a:gd name="T85" fmla="*/ 6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5" h="135">
                  <a:moveTo>
                    <a:pt x="135" y="68"/>
                  </a:moveTo>
                  <a:lnTo>
                    <a:pt x="135" y="68"/>
                  </a:lnTo>
                  <a:lnTo>
                    <a:pt x="134" y="61"/>
                  </a:lnTo>
                  <a:lnTo>
                    <a:pt x="133" y="55"/>
                  </a:lnTo>
                  <a:lnTo>
                    <a:pt x="132" y="48"/>
                  </a:lnTo>
                  <a:lnTo>
                    <a:pt x="130" y="42"/>
                  </a:lnTo>
                  <a:lnTo>
                    <a:pt x="124" y="30"/>
                  </a:lnTo>
                  <a:lnTo>
                    <a:pt x="115" y="20"/>
                  </a:lnTo>
                  <a:lnTo>
                    <a:pt x="105" y="12"/>
                  </a:lnTo>
                  <a:lnTo>
                    <a:pt x="94" y="5"/>
                  </a:lnTo>
                  <a:lnTo>
                    <a:pt x="87" y="3"/>
                  </a:lnTo>
                  <a:lnTo>
                    <a:pt x="81" y="2"/>
                  </a:lnTo>
                  <a:lnTo>
                    <a:pt x="74" y="1"/>
                  </a:lnTo>
                  <a:lnTo>
                    <a:pt x="68" y="0"/>
                  </a:lnTo>
                  <a:lnTo>
                    <a:pt x="68" y="0"/>
                  </a:lnTo>
                  <a:lnTo>
                    <a:pt x="60" y="1"/>
                  </a:lnTo>
                  <a:lnTo>
                    <a:pt x="54" y="2"/>
                  </a:lnTo>
                  <a:lnTo>
                    <a:pt x="48" y="3"/>
                  </a:lnTo>
                  <a:lnTo>
                    <a:pt x="41" y="5"/>
                  </a:lnTo>
                  <a:lnTo>
                    <a:pt x="30" y="12"/>
                  </a:lnTo>
                  <a:lnTo>
                    <a:pt x="20" y="20"/>
                  </a:lnTo>
                  <a:lnTo>
                    <a:pt x="11" y="30"/>
                  </a:lnTo>
                  <a:lnTo>
                    <a:pt x="6" y="42"/>
                  </a:lnTo>
                  <a:lnTo>
                    <a:pt x="4" y="48"/>
                  </a:lnTo>
                  <a:lnTo>
                    <a:pt x="1" y="55"/>
                  </a:lnTo>
                  <a:lnTo>
                    <a:pt x="0" y="61"/>
                  </a:lnTo>
                  <a:lnTo>
                    <a:pt x="0" y="68"/>
                  </a:lnTo>
                  <a:lnTo>
                    <a:pt x="0" y="135"/>
                  </a:lnTo>
                  <a:lnTo>
                    <a:pt x="68" y="135"/>
                  </a:lnTo>
                  <a:lnTo>
                    <a:pt x="68" y="135"/>
                  </a:lnTo>
                  <a:lnTo>
                    <a:pt x="74" y="135"/>
                  </a:lnTo>
                  <a:lnTo>
                    <a:pt x="81" y="134"/>
                  </a:lnTo>
                  <a:lnTo>
                    <a:pt x="87" y="133"/>
                  </a:lnTo>
                  <a:lnTo>
                    <a:pt x="94" y="130"/>
                  </a:lnTo>
                  <a:lnTo>
                    <a:pt x="105" y="124"/>
                  </a:lnTo>
                  <a:lnTo>
                    <a:pt x="115" y="116"/>
                  </a:lnTo>
                  <a:lnTo>
                    <a:pt x="124" y="106"/>
                  </a:lnTo>
                  <a:lnTo>
                    <a:pt x="130" y="94"/>
                  </a:lnTo>
                  <a:lnTo>
                    <a:pt x="132" y="88"/>
                  </a:lnTo>
                  <a:lnTo>
                    <a:pt x="133" y="82"/>
                  </a:lnTo>
                  <a:lnTo>
                    <a:pt x="134" y="75"/>
                  </a:lnTo>
                  <a:lnTo>
                    <a:pt x="135" y="68"/>
                  </a:lnTo>
                  <a:lnTo>
                    <a:pt x="135"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6" name="Freeform 442">
              <a:extLst>
                <a:ext uri="{FF2B5EF4-FFF2-40B4-BE49-F238E27FC236}">
                  <a16:creationId xmlns:a16="http://schemas.microsoft.com/office/drawing/2014/main" id="{7BEC3002-2E52-4955-A7C3-B524BD89AFDA}"/>
                </a:ext>
              </a:extLst>
            </p:cNvPr>
            <p:cNvSpPr>
              <a:spLocks/>
            </p:cNvSpPr>
            <p:nvPr/>
          </p:nvSpPr>
          <p:spPr bwMode="auto">
            <a:xfrm>
              <a:off x="3817938" y="4073526"/>
              <a:ext cx="196850" cy="19050"/>
            </a:xfrm>
            <a:custGeom>
              <a:avLst/>
              <a:gdLst>
                <a:gd name="T0" fmla="*/ 495 w 495"/>
                <a:gd name="T1" fmla="*/ 22 h 45"/>
                <a:gd name="T2" fmla="*/ 495 w 495"/>
                <a:gd name="T3" fmla="*/ 22 h 45"/>
                <a:gd name="T4" fmla="*/ 494 w 495"/>
                <a:gd name="T5" fmla="*/ 18 h 45"/>
                <a:gd name="T6" fmla="*/ 493 w 495"/>
                <a:gd name="T7" fmla="*/ 13 h 45"/>
                <a:gd name="T8" fmla="*/ 491 w 495"/>
                <a:gd name="T9" fmla="*/ 10 h 45"/>
                <a:gd name="T10" fmla="*/ 489 w 495"/>
                <a:gd name="T11" fmla="*/ 7 h 45"/>
                <a:gd name="T12" fmla="*/ 485 w 495"/>
                <a:gd name="T13" fmla="*/ 4 h 45"/>
                <a:gd name="T14" fmla="*/ 481 w 495"/>
                <a:gd name="T15" fmla="*/ 2 h 45"/>
                <a:gd name="T16" fmla="*/ 477 w 495"/>
                <a:gd name="T17" fmla="*/ 1 h 45"/>
                <a:gd name="T18" fmla="*/ 473 w 495"/>
                <a:gd name="T19" fmla="*/ 0 h 45"/>
                <a:gd name="T20" fmla="*/ 23 w 495"/>
                <a:gd name="T21" fmla="*/ 0 h 45"/>
                <a:gd name="T22" fmla="*/ 23 w 495"/>
                <a:gd name="T23" fmla="*/ 0 h 45"/>
                <a:gd name="T24" fmla="*/ 17 w 495"/>
                <a:gd name="T25" fmla="*/ 1 h 45"/>
                <a:gd name="T26" fmla="*/ 14 w 495"/>
                <a:gd name="T27" fmla="*/ 2 h 45"/>
                <a:gd name="T28" fmla="*/ 10 w 495"/>
                <a:gd name="T29" fmla="*/ 4 h 45"/>
                <a:gd name="T30" fmla="*/ 7 w 495"/>
                <a:gd name="T31" fmla="*/ 7 h 45"/>
                <a:gd name="T32" fmla="*/ 3 w 495"/>
                <a:gd name="T33" fmla="*/ 10 h 45"/>
                <a:gd name="T34" fmla="*/ 1 w 495"/>
                <a:gd name="T35" fmla="*/ 13 h 45"/>
                <a:gd name="T36" fmla="*/ 0 w 495"/>
                <a:gd name="T37" fmla="*/ 18 h 45"/>
                <a:gd name="T38" fmla="*/ 0 w 495"/>
                <a:gd name="T39" fmla="*/ 22 h 45"/>
                <a:gd name="T40" fmla="*/ 0 w 495"/>
                <a:gd name="T41" fmla="*/ 22 h 45"/>
                <a:gd name="T42" fmla="*/ 0 w 495"/>
                <a:gd name="T43" fmla="*/ 27 h 45"/>
                <a:gd name="T44" fmla="*/ 1 w 495"/>
                <a:gd name="T45" fmla="*/ 32 h 45"/>
                <a:gd name="T46" fmla="*/ 3 w 495"/>
                <a:gd name="T47" fmla="*/ 35 h 45"/>
                <a:gd name="T48" fmla="*/ 7 w 495"/>
                <a:gd name="T49" fmla="*/ 38 h 45"/>
                <a:gd name="T50" fmla="*/ 10 w 495"/>
                <a:gd name="T51" fmla="*/ 41 h 45"/>
                <a:gd name="T52" fmla="*/ 14 w 495"/>
                <a:gd name="T53" fmla="*/ 43 h 45"/>
                <a:gd name="T54" fmla="*/ 17 w 495"/>
                <a:gd name="T55" fmla="*/ 45 h 45"/>
                <a:gd name="T56" fmla="*/ 23 w 495"/>
                <a:gd name="T57" fmla="*/ 45 h 45"/>
                <a:gd name="T58" fmla="*/ 473 w 495"/>
                <a:gd name="T59" fmla="*/ 45 h 45"/>
                <a:gd name="T60" fmla="*/ 473 w 495"/>
                <a:gd name="T61" fmla="*/ 45 h 45"/>
                <a:gd name="T62" fmla="*/ 477 w 495"/>
                <a:gd name="T63" fmla="*/ 45 h 45"/>
                <a:gd name="T64" fmla="*/ 481 w 495"/>
                <a:gd name="T65" fmla="*/ 43 h 45"/>
                <a:gd name="T66" fmla="*/ 485 w 495"/>
                <a:gd name="T67" fmla="*/ 41 h 45"/>
                <a:gd name="T68" fmla="*/ 489 w 495"/>
                <a:gd name="T69" fmla="*/ 38 h 45"/>
                <a:gd name="T70" fmla="*/ 491 w 495"/>
                <a:gd name="T71" fmla="*/ 35 h 45"/>
                <a:gd name="T72" fmla="*/ 493 w 495"/>
                <a:gd name="T73" fmla="*/ 32 h 45"/>
                <a:gd name="T74" fmla="*/ 494 w 495"/>
                <a:gd name="T75" fmla="*/ 27 h 45"/>
                <a:gd name="T76" fmla="*/ 495 w 495"/>
                <a:gd name="T77" fmla="*/ 22 h 45"/>
                <a:gd name="T78" fmla="*/ 495 w 495"/>
                <a:gd name="T79" fmla="*/ 2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95" h="45">
                  <a:moveTo>
                    <a:pt x="495" y="22"/>
                  </a:moveTo>
                  <a:lnTo>
                    <a:pt x="495" y="22"/>
                  </a:lnTo>
                  <a:lnTo>
                    <a:pt x="494" y="18"/>
                  </a:lnTo>
                  <a:lnTo>
                    <a:pt x="493" y="13"/>
                  </a:lnTo>
                  <a:lnTo>
                    <a:pt x="491" y="10"/>
                  </a:lnTo>
                  <a:lnTo>
                    <a:pt x="489" y="7"/>
                  </a:lnTo>
                  <a:lnTo>
                    <a:pt x="485" y="4"/>
                  </a:lnTo>
                  <a:lnTo>
                    <a:pt x="481" y="2"/>
                  </a:lnTo>
                  <a:lnTo>
                    <a:pt x="477" y="1"/>
                  </a:lnTo>
                  <a:lnTo>
                    <a:pt x="473" y="0"/>
                  </a:lnTo>
                  <a:lnTo>
                    <a:pt x="23" y="0"/>
                  </a:lnTo>
                  <a:lnTo>
                    <a:pt x="23" y="0"/>
                  </a:lnTo>
                  <a:lnTo>
                    <a:pt x="17" y="1"/>
                  </a:lnTo>
                  <a:lnTo>
                    <a:pt x="14" y="2"/>
                  </a:lnTo>
                  <a:lnTo>
                    <a:pt x="10" y="4"/>
                  </a:lnTo>
                  <a:lnTo>
                    <a:pt x="7" y="7"/>
                  </a:lnTo>
                  <a:lnTo>
                    <a:pt x="3" y="10"/>
                  </a:lnTo>
                  <a:lnTo>
                    <a:pt x="1" y="13"/>
                  </a:lnTo>
                  <a:lnTo>
                    <a:pt x="0" y="18"/>
                  </a:lnTo>
                  <a:lnTo>
                    <a:pt x="0" y="22"/>
                  </a:lnTo>
                  <a:lnTo>
                    <a:pt x="0" y="22"/>
                  </a:lnTo>
                  <a:lnTo>
                    <a:pt x="0" y="27"/>
                  </a:lnTo>
                  <a:lnTo>
                    <a:pt x="1" y="32"/>
                  </a:lnTo>
                  <a:lnTo>
                    <a:pt x="3" y="35"/>
                  </a:lnTo>
                  <a:lnTo>
                    <a:pt x="7" y="38"/>
                  </a:lnTo>
                  <a:lnTo>
                    <a:pt x="10" y="41"/>
                  </a:lnTo>
                  <a:lnTo>
                    <a:pt x="14" y="43"/>
                  </a:lnTo>
                  <a:lnTo>
                    <a:pt x="17" y="45"/>
                  </a:lnTo>
                  <a:lnTo>
                    <a:pt x="23" y="45"/>
                  </a:lnTo>
                  <a:lnTo>
                    <a:pt x="473" y="45"/>
                  </a:lnTo>
                  <a:lnTo>
                    <a:pt x="473" y="45"/>
                  </a:lnTo>
                  <a:lnTo>
                    <a:pt x="477" y="45"/>
                  </a:lnTo>
                  <a:lnTo>
                    <a:pt x="481" y="43"/>
                  </a:lnTo>
                  <a:lnTo>
                    <a:pt x="485" y="41"/>
                  </a:lnTo>
                  <a:lnTo>
                    <a:pt x="489" y="38"/>
                  </a:lnTo>
                  <a:lnTo>
                    <a:pt x="491" y="35"/>
                  </a:lnTo>
                  <a:lnTo>
                    <a:pt x="493" y="32"/>
                  </a:lnTo>
                  <a:lnTo>
                    <a:pt x="494" y="27"/>
                  </a:lnTo>
                  <a:lnTo>
                    <a:pt x="495" y="22"/>
                  </a:lnTo>
                  <a:lnTo>
                    <a:pt x="495" y="2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7" name="Freeform 443">
              <a:extLst>
                <a:ext uri="{FF2B5EF4-FFF2-40B4-BE49-F238E27FC236}">
                  <a16:creationId xmlns:a16="http://schemas.microsoft.com/office/drawing/2014/main" id="{BC4F3035-A592-46B5-B252-62EF99CCDC8F}"/>
                </a:ext>
              </a:extLst>
            </p:cNvPr>
            <p:cNvSpPr>
              <a:spLocks/>
            </p:cNvSpPr>
            <p:nvPr/>
          </p:nvSpPr>
          <p:spPr bwMode="auto">
            <a:xfrm>
              <a:off x="3871913" y="4110038"/>
              <a:ext cx="88900" cy="17463"/>
            </a:xfrm>
            <a:custGeom>
              <a:avLst/>
              <a:gdLst>
                <a:gd name="T0" fmla="*/ 23 w 225"/>
                <a:gd name="T1" fmla="*/ 0 h 45"/>
                <a:gd name="T2" fmla="*/ 23 w 225"/>
                <a:gd name="T3" fmla="*/ 0 h 45"/>
                <a:gd name="T4" fmla="*/ 17 w 225"/>
                <a:gd name="T5" fmla="*/ 1 h 45"/>
                <a:gd name="T6" fmla="*/ 14 w 225"/>
                <a:gd name="T7" fmla="*/ 2 h 45"/>
                <a:gd name="T8" fmla="*/ 10 w 225"/>
                <a:gd name="T9" fmla="*/ 4 h 45"/>
                <a:gd name="T10" fmla="*/ 7 w 225"/>
                <a:gd name="T11" fmla="*/ 7 h 45"/>
                <a:gd name="T12" fmla="*/ 3 w 225"/>
                <a:gd name="T13" fmla="*/ 10 h 45"/>
                <a:gd name="T14" fmla="*/ 1 w 225"/>
                <a:gd name="T15" fmla="*/ 14 h 45"/>
                <a:gd name="T16" fmla="*/ 0 w 225"/>
                <a:gd name="T17" fmla="*/ 18 h 45"/>
                <a:gd name="T18" fmla="*/ 0 w 225"/>
                <a:gd name="T19" fmla="*/ 22 h 45"/>
                <a:gd name="T20" fmla="*/ 0 w 225"/>
                <a:gd name="T21" fmla="*/ 22 h 45"/>
                <a:gd name="T22" fmla="*/ 0 w 225"/>
                <a:gd name="T23" fmla="*/ 27 h 45"/>
                <a:gd name="T24" fmla="*/ 1 w 225"/>
                <a:gd name="T25" fmla="*/ 32 h 45"/>
                <a:gd name="T26" fmla="*/ 3 w 225"/>
                <a:gd name="T27" fmla="*/ 35 h 45"/>
                <a:gd name="T28" fmla="*/ 7 w 225"/>
                <a:gd name="T29" fmla="*/ 38 h 45"/>
                <a:gd name="T30" fmla="*/ 10 w 225"/>
                <a:gd name="T31" fmla="*/ 41 h 45"/>
                <a:gd name="T32" fmla="*/ 14 w 225"/>
                <a:gd name="T33" fmla="*/ 44 h 45"/>
                <a:gd name="T34" fmla="*/ 17 w 225"/>
                <a:gd name="T35" fmla="*/ 45 h 45"/>
                <a:gd name="T36" fmla="*/ 23 w 225"/>
                <a:gd name="T37" fmla="*/ 45 h 45"/>
                <a:gd name="T38" fmla="*/ 203 w 225"/>
                <a:gd name="T39" fmla="*/ 45 h 45"/>
                <a:gd name="T40" fmla="*/ 203 w 225"/>
                <a:gd name="T41" fmla="*/ 45 h 45"/>
                <a:gd name="T42" fmla="*/ 207 w 225"/>
                <a:gd name="T43" fmla="*/ 45 h 45"/>
                <a:gd name="T44" fmla="*/ 211 w 225"/>
                <a:gd name="T45" fmla="*/ 44 h 45"/>
                <a:gd name="T46" fmla="*/ 215 w 225"/>
                <a:gd name="T47" fmla="*/ 41 h 45"/>
                <a:gd name="T48" fmla="*/ 219 w 225"/>
                <a:gd name="T49" fmla="*/ 38 h 45"/>
                <a:gd name="T50" fmla="*/ 221 w 225"/>
                <a:gd name="T51" fmla="*/ 35 h 45"/>
                <a:gd name="T52" fmla="*/ 223 w 225"/>
                <a:gd name="T53" fmla="*/ 32 h 45"/>
                <a:gd name="T54" fmla="*/ 224 w 225"/>
                <a:gd name="T55" fmla="*/ 27 h 45"/>
                <a:gd name="T56" fmla="*/ 225 w 225"/>
                <a:gd name="T57" fmla="*/ 22 h 45"/>
                <a:gd name="T58" fmla="*/ 225 w 225"/>
                <a:gd name="T59" fmla="*/ 22 h 45"/>
                <a:gd name="T60" fmla="*/ 224 w 225"/>
                <a:gd name="T61" fmla="*/ 18 h 45"/>
                <a:gd name="T62" fmla="*/ 223 w 225"/>
                <a:gd name="T63" fmla="*/ 14 h 45"/>
                <a:gd name="T64" fmla="*/ 221 w 225"/>
                <a:gd name="T65" fmla="*/ 10 h 45"/>
                <a:gd name="T66" fmla="*/ 219 w 225"/>
                <a:gd name="T67" fmla="*/ 7 h 45"/>
                <a:gd name="T68" fmla="*/ 215 w 225"/>
                <a:gd name="T69" fmla="*/ 4 h 45"/>
                <a:gd name="T70" fmla="*/ 211 w 225"/>
                <a:gd name="T71" fmla="*/ 2 h 45"/>
                <a:gd name="T72" fmla="*/ 207 w 225"/>
                <a:gd name="T73" fmla="*/ 1 h 45"/>
                <a:gd name="T74" fmla="*/ 203 w 225"/>
                <a:gd name="T75" fmla="*/ 0 h 45"/>
                <a:gd name="T76" fmla="*/ 23 w 225"/>
                <a:gd name="T7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5" h="45">
                  <a:moveTo>
                    <a:pt x="23" y="0"/>
                  </a:moveTo>
                  <a:lnTo>
                    <a:pt x="23" y="0"/>
                  </a:lnTo>
                  <a:lnTo>
                    <a:pt x="17" y="1"/>
                  </a:lnTo>
                  <a:lnTo>
                    <a:pt x="14" y="2"/>
                  </a:lnTo>
                  <a:lnTo>
                    <a:pt x="10" y="4"/>
                  </a:lnTo>
                  <a:lnTo>
                    <a:pt x="7" y="7"/>
                  </a:lnTo>
                  <a:lnTo>
                    <a:pt x="3" y="10"/>
                  </a:lnTo>
                  <a:lnTo>
                    <a:pt x="1" y="14"/>
                  </a:lnTo>
                  <a:lnTo>
                    <a:pt x="0" y="18"/>
                  </a:lnTo>
                  <a:lnTo>
                    <a:pt x="0" y="22"/>
                  </a:lnTo>
                  <a:lnTo>
                    <a:pt x="0" y="22"/>
                  </a:lnTo>
                  <a:lnTo>
                    <a:pt x="0" y="27"/>
                  </a:lnTo>
                  <a:lnTo>
                    <a:pt x="1" y="32"/>
                  </a:lnTo>
                  <a:lnTo>
                    <a:pt x="3" y="35"/>
                  </a:lnTo>
                  <a:lnTo>
                    <a:pt x="7" y="38"/>
                  </a:lnTo>
                  <a:lnTo>
                    <a:pt x="10" y="41"/>
                  </a:lnTo>
                  <a:lnTo>
                    <a:pt x="14" y="44"/>
                  </a:lnTo>
                  <a:lnTo>
                    <a:pt x="17" y="45"/>
                  </a:lnTo>
                  <a:lnTo>
                    <a:pt x="23" y="45"/>
                  </a:lnTo>
                  <a:lnTo>
                    <a:pt x="203" y="45"/>
                  </a:lnTo>
                  <a:lnTo>
                    <a:pt x="203" y="45"/>
                  </a:lnTo>
                  <a:lnTo>
                    <a:pt x="207" y="45"/>
                  </a:lnTo>
                  <a:lnTo>
                    <a:pt x="211" y="44"/>
                  </a:lnTo>
                  <a:lnTo>
                    <a:pt x="215" y="41"/>
                  </a:lnTo>
                  <a:lnTo>
                    <a:pt x="219" y="38"/>
                  </a:lnTo>
                  <a:lnTo>
                    <a:pt x="221" y="35"/>
                  </a:lnTo>
                  <a:lnTo>
                    <a:pt x="223" y="32"/>
                  </a:lnTo>
                  <a:lnTo>
                    <a:pt x="224" y="27"/>
                  </a:lnTo>
                  <a:lnTo>
                    <a:pt x="225" y="22"/>
                  </a:lnTo>
                  <a:lnTo>
                    <a:pt x="225" y="22"/>
                  </a:lnTo>
                  <a:lnTo>
                    <a:pt x="224" y="18"/>
                  </a:lnTo>
                  <a:lnTo>
                    <a:pt x="223" y="14"/>
                  </a:lnTo>
                  <a:lnTo>
                    <a:pt x="221" y="10"/>
                  </a:lnTo>
                  <a:lnTo>
                    <a:pt x="219" y="7"/>
                  </a:lnTo>
                  <a:lnTo>
                    <a:pt x="215" y="4"/>
                  </a:lnTo>
                  <a:lnTo>
                    <a:pt x="211" y="2"/>
                  </a:lnTo>
                  <a:lnTo>
                    <a:pt x="207" y="1"/>
                  </a:lnTo>
                  <a:lnTo>
                    <a:pt x="203" y="0"/>
                  </a:lnTo>
                  <a:lnTo>
                    <a:pt x="2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218" name="Group 217">
            <a:extLst>
              <a:ext uri="{FF2B5EF4-FFF2-40B4-BE49-F238E27FC236}">
                <a16:creationId xmlns:a16="http://schemas.microsoft.com/office/drawing/2014/main" id="{A3828998-1786-4D0A-8E0E-700DB3926E00}"/>
              </a:ext>
            </a:extLst>
          </p:cNvPr>
          <p:cNvGrpSpPr>
            <a:grpSpLocks noChangeAspect="1"/>
          </p:cNvGrpSpPr>
          <p:nvPr/>
        </p:nvGrpSpPr>
        <p:grpSpPr>
          <a:xfrm>
            <a:off x="2299291" y="2222372"/>
            <a:ext cx="554038" cy="555625"/>
            <a:chOff x="1854200" y="1858963"/>
            <a:chExt cx="554038" cy="555625"/>
          </a:xfrm>
          <a:solidFill>
            <a:schemeClr val="tx2"/>
          </a:solidFill>
        </p:grpSpPr>
        <p:sp>
          <p:nvSpPr>
            <p:cNvPr id="219" name="Freeform 90">
              <a:extLst>
                <a:ext uri="{FF2B5EF4-FFF2-40B4-BE49-F238E27FC236}">
                  <a16:creationId xmlns:a16="http://schemas.microsoft.com/office/drawing/2014/main" id="{BE7B14DE-2B70-4AA0-A956-A29848ECA67D}"/>
                </a:ext>
              </a:extLst>
            </p:cNvPr>
            <p:cNvSpPr>
              <a:spLocks noEditPoints="1"/>
            </p:cNvSpPr>
            <p:nvPr/>
          </p:nvSpPr>
          <p:spPr bwMode="auto">
            <a:xfrm>
              <a:off x="1854200" y="1858963"/>
              <a:ext cx="519113" cy="412750"/>
            </a:xfrm>
            <a:custGeom>
              <a:avLst/>
              <a:gdLst>
                <a:gd name="T0" fmla="*/ 68 w 1308"/>
                <a:gd name="T1" fmla="*/ 0 h 1038"/>
                <a:gd name="T2" fmla="*/ 60 w 1308"/>
                <a:gd name="T3" fmla="*/ 0 h 1038"/>
                <a:gd name="T4" fmla="*/ 47 w 1308"/>
                <a:gd name="T5" fmla="*/ 3 h 1038"/>
                <a:gd name="T6" fmla="*/ 30 w 1308"/>
                <a:gd name="T7" fmla="*/ 12 h 1038"/>
                <a:gd name="T8" fmla="*/ 12 w 1308"/>
                <a:gd name="T9" fmla="*/ 30 h 1038"/>
                <a:gd name="T10" fmla="*/ 3 w 1308"/>
                <a:gd name="T11" fmla="*/ 47 h 1038"/>
                <a:gd name="T12" fmla="*/ 0 w 1308"/>
                <a:gd name="T13" fmla="*/ 60 h 1038"/>
                <a:gd name="T14" fmla="*/ 0 w 1308"/>
                <a:gd name="T15" fmla="*/ 970 h 1038"/>
                <a:gd name="T16" fmla="*/ 0 w 1308"/>
                <a:gd name="T17" fmla="*/ 977 h 1038"/>
                <a:gd name="T18" fmla="*/ 3 w 1308"/>
                <a:gd name="T19" fmla="*/ 991 h 1038"/>
                <a:gd name="T20" fmla="*/ 12 w 1308"/>
                <a:gd name="T21" fmla="*/ 1008 h 1038"/>
                <a:gd name="T22" fmla="*/ 30 w 1308"/>
                <a:gd name="T23" fmla="*/ 1026 h 1038"/>
                <a:gd name="T24" fmla="*/ 47 w 1308"/>
                <a:gd name="T25" fmla="*/ 1035 h 1038"/>
                <a:gd name="T26" fmla="*/ 60 w 1308"/>
                <a:gd name="T27" fmla="*/ 1037 h 1038"/>
                <a:gd name="T28" fmla="*/ 767 w 1308"/>
                <a:gd name="T29" fmla="*/ 1038 h 1038"/>
                <a:gd name="T30" fmla="*/ 293 w 1308"/>
                <a:gd name="T31" fmla="*/ 903 h 1038"/>
                <a:gd name="T32" fmla="*/ 289 w 1308"/>
                <a:gd name="T33" fmla="*/ 901 h 1038"/>
                <a:gd name="T34" fmla="*/ 280 w 1308"/>
                <a:gd name="T35" fmla="*/ 898 h 1038"/>
                <a:gd name="T36" fmla="*/ 274 w 1308"/>
                <a:gd name="T37" fmla="*/ 893 h 1038"/>
                <a:gd name="T38" fmla="*/ 271 w 1308"/>
                <a:gd name="T39" fmla="*/ 884 h 1038"/>
                <a:gd name="T40" fmla="*/ 271 w 1308"/>
                <a:gd name="T41" fmla="*/ 158 h 1038"/>
                <a:gd name="T42" fmla="*/ 271 w 1308"/>
                <a:gd name="T43" fmla="*/ 154 h 1038"/>
                <a:gd name="T44" fmla="*/ 274 w 1308"/>
                <a:gd name="T45" fmla="*/ 145 h 1038"/>
                <a:gd name="T46" fmla="*/ 280 w 1308"/>
                <a:gd name="T47" fmla="*/ 139 h 1038"/>
                <a:gd name="T48" fmla="*/ 289 w 1308"/>
                <a:gd name="T49" fmla="*/ 135 h 1038"/>
                <a:gd name="T50" fmla="*/ 1151 w 1308"/>
                <a:gd name="T51" fmla="*/ 135 h 1038"/>
                <a:gd name="T52" fmla="*/ 1155 w 1308"/>
                <a:gd name="T53" fmla="*/ 135 h 1038"/>
                <a:gd name="T54" fmla="*/ 1163 w 1308"/>
                <a:gd name="T55" fmla="*/ 139 h 1038"/>
                <a:gd name="T56" fmla="*/ 1169 w 1308"/>
                <a:gd name="T57" fmla="*/ 145 h 1038"/>
                <a:gd name="T58" fmla="*/ 1172 w 1308"/>
                <a:gd name="T59" fmla="*/ 154 h 1038"/>
                <a:gd name="T60" fmla="*/ 1173 w 1308"/>
                <a:gd name="T61" fmla="*/ 496 h 1038"/>
                <a:gd name="T62" fmla="*/ 1308 w 1308"/>
                <a:gd name="T63" fmla="*/ 68 h 1038"/>
                <a:gd name="T64" fmla="*/ 1308 w 1308"/>
                <a:gd name="T65" fmla="*/ 60 h 1038"/>
                <a:gd name="T66" fmla="*/ 1305 w 1308"/>
                <a:gd name="T67" fmla="*/ 47 h 1038"/>
                <a:gd name="T68" fmla="*/ 1297 w 1308"/>
                <a:gd name="T69" fmla="*/ 30 h 1038"/>
                <a:gd name="T70" fmla="*/ 1278 w 1308"/>
                <a:gd name="T71" fmla="*/ 12 h 1038"/>
                <a:gd name="T72" fmla="*/ 1261 w 1308"/>
                <a:gd name="T73" fmla="*/ 3 h 1038"/>
                <a:gd name="T74" fmla="*/ 1247 w 1308"/>
                <a:gd name="T75" fmla="*/ 0 h 1038"/>
                <a:gd name="T76" fmla="*/ 1241 w 1308"/>
                <a:gd name="T77" fmla="*/ 0 h 1038"/>
                <a:gd name="T78" fmla="*/ 135 w 1308"/>
                <a:gd name="T79" fmla="*/ 564 h 1038"/>
                <a:gd name="T80" fmla="*/ 117 w 1308"/>
                <a:gd name="T81" fmla="*/ 560 h 1038"/>
                <a:gd name="T82" fmla="*/ 103 w 1308"/>
                <a:gd name="T83" fmla="*/ 550 h 1038"/>
                <a:gd name="T84" fmla="*/ 93 w 1308"/>
                <a:gd name="T85" fmla="*/ 536 h 1038"/>
                <a:gd name="T86" fmla="*/ 90 w 1308"/>
                <a:gd name="T87" fmla="*/ 519 h 1038"/>
                <a:gd name="T88" fmla="*/ 91 w 1308"/>
                <a:gd name="T89" fmla="*/ 509 h 1038"/>
                <a:gd name="T90" fmla="*/ 98 w 1308"/>
                <a:gd name="T91" fmla="*/ 493 h 1038"/>
                <a:gd name="T92" fmla="*/ 109 w 1308"/>
                <a:gd name="T93" fmla="*/ 481 h 1038"/>
                <a:gd name="T94" fmla="*/ 126 w 1308"/>
                <a:gd name="T95" fmla="*/ 475 h 1038"/>
                <a:gd name="T96" fmla="*/ 135 w 1308"/>
                <a:gd name="T97" fmla="*/ 474 h 1038"/>
                <a:gd name="T98" fmla="*/ 152 w 1308"/>
                <a:gd name="T99" fmla="*/ 477 h 1038"/>
                <a:gd name="T100" fmla="*/ 167 w 1308"/>
                <a:gd name="T101" fmla="*/ 487 h 1038"/>
                <a:gd name="T102" fmla="*/ 177 w 1308"/>
                <a:gd name="T103" fmla="*/ 501 h 1038"/>
                <a:gd name="T104" fmla="*/ 180 w 1308"/>
                <a:gd name="T105" fmla="*/ 519 h 1038"/>
                <a:gd name="T106" fmla="*/ 179 w 1308"/>
                <a:gd name="T107" fmla="*/ 528 h 1038"/>
                <a:gd name="T108" fmla="*/ 173 w 1308"/>
                <a:gd name="T109" fmla="*/ 544 h 1038"/>
                <a:gd name="T110" fmla="*/ 160 w 1308"/>
                <a:gd name="T111" fmla="*/ 557 h 1038"/>
                <a:gd name="T112" fmla="*/ 144 w 1308"/>
                <a:gd name="T113" fmla="*/ 563 h 1038"/>
                <a:gd name="T114" fmla="*/ 135 w 1308"/>
                <a:gd name="T115" fmla="*/ 564 h 10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08" h="1038">
                  <a:moveTo>
                    <a:pt x="1241" y="0"/>
                  </a:moveTo>
                  <a:lnTo>
                    <a:pt x="68" y="0"/>
                  </a:lnTo>
                  <a:lnTo>
                    <a:pt x="68" y="0"/>
                  </a:lnTo>
                  <a:lnTo>
                    <a:pt x="60" y="0"/>
                  </a:lnTo>
                  <a:lnTo>
                    <a:pt x="54" y="1"/>
                  </a:lnTo>
                  <a:lnTo>
                    <a:pt x="47" y="3"/>
                  </a:lnTo>
                  <a:lnTo>
                    <a:pt x="41" y="5"/>
                  </a:lnTo>
                  <a:lnTo>
                    <a:pt x="30" y="12"/>
                  </a:lnTo>
                  <a:lnTo>
                    <a:pt x="19" y="19"/>
                  </a:lnTo>
                  <a:lnTo>
                    <a:pt x="12" y="30"/>
                  </a:lnTo>
                  <a:lnTo>
                    <a:pt x="5" y="41"/>
                  </a:lnTo>
                  <a:lnTo>
                    <a:pt x="3" y="47"/>
                  </a:lnTo>
                  <a:lnTo>
                    <a:pt x="1" y="54"/>
                  </a:lnTo>
                  <a:lnTo>
                    <a:pt x="0" y="60"/>
                  </a:lnTo>
                  <a:lnTo>
                    <a:pt x="0" y="68"/>
                  </a:lnTo>
                  <a:lnTo>
                    <a:pt x="0" y="970"/>
                  </a:lnTo>
                  <a:lnTo>
                    <a:pt x="0" y="970"/>
                  </a:lnTo>
                  <a:lnTo>
                    <a:pt x="0" y="977"/>
                  </a:lnTo>
                  <a:lnTo>
                    <a:pt x="1" y="983"/>
                  </a:lnTo>
                  <a:lnTo>
                    <a:pt x="3" y="991"/>
                  </a:lnTo>
                  <a:lnTo>
                    <a:pt x="5" y="996"/>
                  </a:lnTo>
                  <a:lnTo>
                    <a:pt x="12" y="1008"/>
                  </a:lnTo>
                  <a:lnTo>
                    <a:pt x="19" y="1018"/>
                  </a:lnTo>
                  <a:lnTo>
                    <a:pt x="30" y="1026"/>
                  </a:lnTo>
                  <a:lnTo>
                    <a:pt x="41" y="1033"/>
                  </a:lnTo>
                  <a:lnTo>
                    <a:pt x="47" y="1035"/>
                  </a:lnTo>
                  <a:lnTo>
                    <a:pt x="54" y="1037"/>
                  </a:lnTo>
                  <a:lnTo>
                    <a:pt x="60" y="1037"/>
                  </a:lnTo>
                  <a:lnTo>
                    <a:pt x="68" y="1038"/>
                  </a:lnTo>
                  <a:lnTo>
                    <a:pt x="767" y="1038"/>
                  </a:lnTo>
                  <a:lnTo>
                    <a:pt x="767" y="903"/>
                  </a:lnTo>
                  <a:lnTo>
                    <a:pt x="293" y="903"/>
                  </a:lnTo>
                  <a:lnTo>
                    <a:pt x="293" y="903"/>
                  </a:lnTo>
                  <a:lnTo>
                    <a:pt x="289" y="901"/>
                  </a:lnTo>
                  <a:lnTo>
                    <a:pt x="285" y="900"/>
                  </a:lnTo>
                  <a:lnTo>
                    <a:pt x="280" y="898"/>
                  </a:lnTo>
                  <a:lnTo>
                    <a:pt x="277" y="896"/>
                  </a:lnTo>
                  <a:lnTo>
                    <a:pt x="274" y="893"/>
                  </a:lnTo>
                  <a:lnTo>
                    <a:pt x="272" y="889"/>
                  </a:lnTo>
                  <a:lnTo>
                    <a:pt x="271" y="884"/>
                  </a:lnTo>
                  <a:lnTo>
                    <a:pt x="271" y="880"/>
                  </a:lnTo>
                  <a:lnTo>
                    <a:pt x="271" y="158"/>
                  </a:lnTo>
                  <a:lnTo>
                    <a:pt x="271" y="158"/>
                  </a:lnTo>
                  <a:lnTo>
                    <a:pt x="271" y="154"/>
                  </a:lnTo>
                  <a:lnTo>
                    <a:pt x="272" y="149"/>
                  </a:lnTo>
                  <a:lnTo>
                    <a:pt x="274" y="145"/>
                  </a:lnTo>
                  <a:lnTo>
                    <a:pt x="277" y="142"/>
                  </a:lnTo>
                  <a:lnTo>
                    <a:pt x="280" y="139"/>
                  </a:lnTo>
                  <a:lnTo>
                    <a:pt x="285" y="137"/>
                  </a:lnTo>
                  <a:lnTo>
                    <a:pt x="289" y="135"/>
                  </a:lnTo>
                  <a:lnTo>
                    <a:pt x="293" y="135"/>
                  </a:lnTo>
                  <a:lnTo>
                    <a:pt x="1151" y="135"/>
                  </a:lnTo>
                  <a:lnTo>
                    <a:pt x="1151" y="135"/>
                  </a:lnTo>
                  <a:lnTo>
                    <a:pt x="1155" y="135"/>
                  </a:lnTo>
                  <a:lnTo>
                    <a:pt x="1159" y="137"/>
                  </a:lnTo>
                  <a:lnTo>
                    <a:pt x="1163" y="139"/>
                  </a:lnTo>
                  <a:lnTo>
                    <a:pt x="1167" y="142"/>
                  </a:lnTo>
                  <a:lnTo>
                    <a:pt x="1169" y="145"/>
                  </a:lnTo>
                  <a:lnTo>
                    <a:pt x="1171" y="149"/>
                  </a:lnTo>
                  <a:lnTo>
                    <a:pt x="1172" y="154"/>
                  </a:lnTo>
                  <a:lnTo>
                    <a:pt x="1173" y="158"/>
                  </a:lnTo>
                  <a:lnTo>
                    <a:pt x="1173" y="496"/>
                  </a:lnTo>
                  <a:lnTo>
                    <a:pt x="1308" y="496"/>
                  </a:lnTo>
                  <a:lnTo>
                    <a:pt x="1308" y="68"/>
                  </a:lnTo>
                  <a:lnTo>
                    <a:pt x="1308" y="68"/>
                  </a:lnTo>
                  <a:lnTo>
                    <a:pt x="1308" y="60"/>
                  </a:lnTo>
                  <a:lnTo>
                    <a:pt x="1307" y="54"/>
                  </a:lnTo>
                  <a:lnTo>
                    <a:pt x="1305" y="47"/>
                  </a:lnTo>
                  <a:lnTo>
                    <a:pt x="1303" y="41"/>
                  </a:lnTo>
                  <a:lnTo>
                    <a:pt x="1297" y="30"/>
                  </a:lnTo>
                  <a:lnTo>
                    <a:pt x="1288" y="19"/>
                  </a:lnTo>
                  <a:lnTo>
                    <a:pt x="1278" y="12"/>
                  </a:lnTo>
                  <a:lnTo>
                    <a:pt x="1267" y="5"/>
                  </a:lnTo>
                  <a:lnTo>
                    <a:pt x="1261" y="3"/>
                  </a:lnTo>
                  <a:lnTo>
                    <a:pt x="1255" y="1"/>
                  </a:lnTo>
                  <a:lnTo>
                    <a:pt x="1247" y="0"/>
                  </a:lnTo>
                  <a:lnTo>
                    <a:pt x="1241" y="0"/>
                  </a:lnTo>
                  <a:lnTo>
                    <a:pt x="1241" y="0"/>
                  </a:lnTo>
                  <a:close/>
                  <a:moveTo>
                    <a:pt x="135" y="564"/>
                  </a:moveTo>
                  <a:lnTo>
                    <a:pt x="135" y="564"/>
                  </a:lnTo>
                  <a:lnTo>
                    <a:pt x="126" y="563"/>
                  </a:lnTo>
                  <a:lnTo>
                    <a:pt x="117" y="560"/>
                  </a:lnTo>
                  <a:lnTo>
                    <a:pt x="109" y="557"/>
                  </a:lnTo>
                  <a:lnTo>
                    <a:pt x="103" y="550"/>
                  </a:lnTo>
                  <a:lnTo>
                    <a:pt x="98" y="544"/>
                  </a:lnTo>
                  <a:lnTo>
                    <a:pt x="93" y="536"/>
                  </a:lnTo>
                  <a:lnTo>
                    <a:pt x="91" y="528"/>
                  </a:lnTo>
                  <a:lnTo>
                    <a:pt x="90" y="519"/>
                  </a:lnTo>
                  <a:lnTo>
                    <a:pt x="90" y="519"/>
                  </a:lnTo>
                  <a:lnTo>
                    <a:pt x="91" y="509"/>
                  </a:lnTo>
                  <a:lnTo>
                    <a:pt x="93" y="501"/>
                  </a:lnTo>
                  <a:lnTo>
                    <a:pt x="98" y="493"/>
                  </a:lnTo>
                  <a:lnTo>
                    <a:pt x="103" y="487"/>
                  </a:lnTo>
                  <a:lnTo>
                    <a:pt x="109" y="481"/>
                  </a:lnTo>
                  <a:lnTo>
                    <a:pt x="117" y="477"/>
                  </a:lnTo>
                  <a:lnTo>
                    <a:pt x="126" y="475"/>
                  </a:lnTo>
                  <a:lnTo>
                    <a:pt x="135" y="474"/>
                  </a:lnTo>
                  <a:lnTo>
                    <a:pt x="135" y="474"/>
                  </a:lnTo>
                  <a:lnTo>
                    <a:pt x="144" y="475"/>
                  </a:lnTo>
                  <a:lnTo>
                    <a:pt x="152" y="477"/>
                  </a:lnTo>
                  <a:lnTo>
                    <a:pt x="160" y="481"/>
                  </a:lnTo>
                  <a:lnTo>
                    <a:pt x="167" y="487"/>
                  </a:lnTo>
                  <a:lnTo>
                    <a:pt x="173" y="493"/>
                  </a:lnTo>
                  <a:lnTo>
                    <a:pt x="177" y="501"/>
                  </a:lnTo>
                  <a:lnTo>
                    <a:pt x="179" y="509"/>
                  </a:lnTo>
                  <a:lnTo>
                    <a:pt x="180" y="519"/>
                  </a:lnTo>
                  <a:lnTo>
                    <a:pt x="180" y="519"/>
                  </a:lnTo>
                  <a:lnTo>
                    <a:pt x="179" y="528"/>
                  </a:lnTo>
                  <a:lnTo>
                    <a:pt x="177" y="536"/>
                  </a:lnTo>
                  <a:lnTo>
                    <a:pt x="173" y="544"/>
                  </a:lnTo>
                  <a:lnTo>
                    <a:pt x="167" y="550"/>
                  </a:lnTo>
                  <a:lnTo>
                    <a:pt x="160" y="557"/>
                  </a:lnTo>
                  <a:lnTo>
                    <a:pt x="152" y="560"/>
                  </a:lnTo>
                  <a:lnTo>
                    <a:pt x="144" y="563"/>
                  </a:lnTo>
                  <a:lnTo>
                    <a:pt x="135" y="564"/>
                  </a:lnTo>
                  <a:lnTo>
                    <a:pt x="135" y="56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0" name="Freeform 91">
              <a:extLst>
                <a:ext uri="{FF2B5EF4-FFF2-40B4-BE49-F238E27FC236}">
                  <a16:creationId xmlns:a16="http://schemas.microsoft.com/office/drawing/2014/main" id="{FBCB03F0-3059-49D8-B924-D0FDAECA91D7}"/>
                </a:ext>
              </a:extLst>
            </p:cNvPr>
            <p:cNvSpPr>
              <a:spLocks noEditPoints="1"/>
            </p:cNvSpPr>
            <p:nvPr/>
          </p:nvSpPr>
          <p:spPr bwMode="auto">
            <a:xfrm>
              <a:off x="2176463" y="2074863"/>
              <a:ext cx="231775" cy="339725"/>
            </a:xfrm>
            <a:custGeom>
              <a:avLst/>
              <a:gdLst>
                <a:gd name="T0" fmla="*/ 60 w 587"/>
                <a:gd name="T1" fmla="*/ 0 h 857"/>
                <a:gd name="T2" fmla="*/ 41 w 587"/>
                <a:gd name="T3" fmla="*/ 5 h 857"/>
                <a:gd name="T4" fmla="*/ 12 w 587"/>
                <a:gd name="T5" fmla="*/ 30 h 857"/>
                <a:gd name="T6" fmla="*/ 1 w 587"/>
                <a:gd name="T7" fmla="*/ 53 h 857"/>
                <a:gd name="T8" fmla="*/ 0 w 587"/>
                <a:gd name="T9" fmla="*/ 789 h 857"/>
                <a:gd name="T10" fmla="*/ 1 w 587"/>
                <a:gd name="T11" fmla="*/ 802 h 857"/>
                <a:gd name="T12" fmla="*/ 12 w 587"/>
                <a:gd name="T13" fmla="*/ 827 h 857"/>
                <a:gd name="T14" fmla="*/ 41 w 587"/>
                <a:gd name="T15" fmla="*/ 852 h 857"/>
                <a:gd name="T16" fmla="*/ 60 w 587"/>
                <a:gd name="T17" fmla="*/ 856 h 857"/>
                <a:gd name="T18" fmla="*/ 519 w 587"/>
                <a:gd name="T19" fmla="*/ 857 h 857"/>
                <a:gd name="T20" fmla="*/ 539 w 587"/>
                <a:gd name="T21" fmla="*/ 854 h 857"/>
                <a:gd name="T22" fmla="*/ 566 w 587"/>
                <a:gd name="T23" fmla="*/ 837 h 857"/>
                <a:gd name="T24" fmla="*/ 583 w 587"/>
                <a:gd name="T25" fmla="*/ 810 h 857"/>
                <a:gd name="T26" fmla="*/ 587 w 587"/>
                <a:gd name="T27" fmla="*/ 789 h 857"/>
                <a:gd name="T28" fmla="*/ 587 w 587"/>
                <a:gd name="T29" fmla="*/ 60 h 857"/>
                <a:gd name="T30" fmla="*/ 581 w 587"/>
                <a:gd name="T31" fmla="*/ 40 h 857"/>
                <a:gd name="T32" fmla="*/ 557 w 587"/>
                <a:gd name="T33" fmla="*/ 11 h 857"/>
                <a:gd name="T34" fmla="*/ 533 w 587"/>
                <a:gd name="T35" fmla="*/ 1 h 857"/>
                <a:gd name="T36" fmla="*/ 68 w 587"/>
                <a:gd name="T37" fmla="*/ 0 h 857"/>
                <a:gd name="T38" fmla="*/ 284 w 587"/>
                <a:gd name="T39" fmla="*/ 788 h 857"/>
                <a:gd name="T40" fmla="*/ 261 w 587"/>
                <a:gd name="T41" fmla="*/ 775 h 857"/>
                <a:gd name="T42" fmla="*/ 249 w 587"/>
                <a:gd name="T43" fmla="*/ 753 h 857"/>
                <a:gd name="T44" fmla="*/ 249 w 587"/>
                <a:gd name="T45" fmla="*/ 734 h 857"/>
                <a:gd name="T46" fmla="*/ 261 w 587"/>
                <a:gd name="T47" fmla="*/ 712 h 857"/>
                <a:gd name="T48" fmla="*/ 284 w 587"/>
                <a:gd name="T49" fmla="*/ 700 h 857"/>
                <a:gd name="T50" fmla="*/ 302 w 587"/>
                <a:gd name="T51" fmla="*/ 700 h 857"/>
                <a:gd name="T52" fmla="*/ 326 w 587"/>
                <a:gd name="T53" fmla="*/ 712 h 857"/>
                <a:gd name="T54" fmla="*/ 337 w 587"/>
                <a:gd name="T55" fmla="*/ 734 h 857"/>
                <a:gd name="T56" fmla="*/ 337 w 587"/>
                <a:gd name="T57" fmla="*/ 753 h 857"/>
                <a:gd name="T58" fmla="*/ 326 w 587"/>
                <a:gd name="T59" fmla="*/ 775 h 857"/>
                <a:gd name="T60" fmla="*/ 302 w 587"/>
                <a:gd name="T61" fmla="*/ 788 h 857"/>
                <a:gd name="T62" fmla="*/ 496 w 587"/>
                <a:gd name="T63" fmla="*/ 112 h 857"/>
                <a:gd name="T64" fmla="*/ 495 w 587"/>
                <a:gd name="T65" fmla="*/ 613 h 857"/>
                <a:gd name="T66" fmla="*/ 490 w 587"/>
                <a:gd name="T67" fmla="*/ 625 h 857"/>
                <a:gd name="T68" fmla="*/ 478 w 587"/>
                <a:gd name="T69" fmla="*/ 630 h 857"/>
                <a:gd name="T70" fmla="*/ 113 w 587"/>
                <a:gd name="T71" fmla="*/ 631 h 857"/>
                <a:gd name="T72" fmla="*/ 100 w 587"/>
                <a:gd name="T73" fmla="*/ 627 h 857"/>
                <a:gd name="T74" fmla="*/ 91 w 587"/>
                <a:gd name="T75" fmla="*/ 617 h 857"/>
                <a:gd name="T76" fmla="*/ 90 w 587"/>
                <a:gd name="T77" fmla="*/ 112 h 857"/>
                <a:gd name="T78" fmla="*/ 91 w 587"/>
                <a:gd name="T79" fmla="*/ 104 h 857"/>
                <a:gd name="T80" fmla="*/ 100 w 587"/>
                <a:gd name="T81" fmla="*/ 93 h 857"/>
                <a:gd name="T82" fmla="*/ 113 w 587"/>
                <a:gd name="T83" fmla="*/ 90 h 857"/>
                <a:gd name="T84" fmla="*/ 478 w 587"/>
                <a:gd name="T85" fmla="*/ 90 h 857"/>
                <a:gd name="T86" fmla="*/ 490 w 587"/>
                <a:gd name="T87" fmla="*/ 96 h 857"/>
                <a:gd name="T88" fmla="*/ 495 w 587"/>
                <a:gd name="T89" fmla="*/ 108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7" h="857">
                  <a:moveTo>
                    <a:pt x="68" y="0"/>
                  </a:moveTo>
                  <a:lnTo>
                    <a:pt x="68" y="0"/>
                  </a:lnTo>
                  <a:lnTo>
                    <a:pt x="60" y="0"/>
                  </a:lnTo>
                  <a:lnTo>
                    <a:pt x="54" y="1"/>
                  </a:lnTo>
                  <a:lnTo>
                    <a:pt x="47" y="3"/>
                  </a:lnTo>
                  <a:lnTo>
                    <a:pt x="41" y="5"/>
                  </a:lnTo>
                  <a:lnTo>
                    <a:pt x="30" y="11"/>
                  </a:lnTo>
                  <a:lnTo>
                    <a:pt x="19" y="19"/>
                  </a:lnTo>
                  <a:lnTo>
                    <a:pt x="12" y="30"/>
                  </a:lnTo>
                  <a:lnTo>
                    <a:pt x="5" y="40"/>
                  </a:lnTo>
                  <a:lnTo>
                    <a:pt x="3" y="47"/>
                  </a:lnTo>
                  <a:lnTo>
                    <a:pt x="1" y="53"/>
                  </a:lnTo>
                  <a:lnTo>
                    <a:pt x="0" y="60"/>
                  </a:lnTo>
                  <a:lnTo>
                    <a:pt x="0" y="67"/>
                  </a:lnTo>
                  <a:lnTo>
                    <a:pt x="0" y="789"/>
                  </a:lnTo>
                  <a:lnTo>
                    <a:pt x="0" y="789"/>
                  </a:lnTo>
                  <a:lnTo>
                    <a:pt x="0" y="796"/>
                  </a:lnTo>
                  <a:lnTo>
                    <a:pt x="1" y="802"/>
                  </a:lnTo>
                  <a:lnTo>
                    <a:pt x="3" y="810"/>
                  </a:lnTo>
                  <a:lnTo>
                    <a:pt x="5" y="815"/>
                  </a:lnTo>
                  <a:lnTo>
                    <a:pt x="12" y="827"/>
                  </a:lnTo>
                  <a:lnTo>
                    <a:pt x="19" y="837"/>
                  </a:lnTo>
                  <a:lnTo>
                    <a:pt x="30" y="845"/>
                  </a:lnTo>
                  <a:lnTo>
                    <a:pt x="41" y="852"/>
                  </a:lnTo>
                  <a:lnTo>
                    <a:pt x="47" y="854"/>
                  </a:lnTo>
                  <a:lnTo>
                    <a:pt x="54" y="856"/>
                  </a:lnTo>
                  <a:lnTo>
                    <a:pt x="60" y="856"/>
                  </a:lnTo>
                  <a:lnTo>
                    <a:pt x="68" y="857"/>
                  </a:lnTo>
                  <a:lnTo>
                    <a:pt x="519" y="857"/>
                  </a:lnTo>
                  <a:lnTo>
                    <a:pt x="519" y="857"/>
                  </a:lnTo>
                  <a:lnTo>
                    <a:pt x="525" y="856"/>
                  </a:lnTo>
                  <a:lnTo>
                    <a:pt x="533" y="856"/>
                  </a:lnTo>
                  <a:lnTo>
                    <a:pt x="539" y="854"/>
                  </a:lnTo>
                  <a:lnTo>
                    <a:pt x="545" y="852"/>
                  </a:lnTo>
                  <a:lnTo>
                    <a:pt x="557" y="845"/>
                  </a:lnTo>
                  <a:lnTo>
                    <a:pt x="566" y="837"/>
                  </a:lnTo>
                  <a:lnTo>
                    <a:pt x="575" y="827"/>
                  </a:lnTo>
                  <a:lnTo>
                    <a:pt x="581" y="815"/>
                  </a:lnTo>
                  <a:lnTo>
                    <a:pt x="583" y="810"/>
                  </a:lnTo>
                  <a:lnTo>
                    <a:pt x="586" y="802"/>
                  </a:lnTo>
                  <a:lnTo>
                    <a:pt x="587" y="796"/>
                  </a:lnTo>
                  <a:lnTo>
                    <a:pt x="587" y="789"/>
                  </a:lnTo>
                  <a:lnTo>
                    <a:pt x="587" y="67"/>
                  </a:lnTo>
                  <a:lnTo>
                    <a:pt x="587" y="67"/>
                  </a:lnTo>
                  <a:lnTo>
                    <a:pt x="587" y="60"/>
                  </a:lnTo>
                  <a:lnTo>
                    <a:pt x="586" y="53"/>
                  </a:lnTo>
                  <a:lnTo>
                    <a:pt x="583" y="47"/>
                  </a:lnTo>
                  <a:lnTo>
                    <a:pt x="581" y="40"/>
                  </a:lnTo>
                  <a:lnTo>
                    <a:pt x="575" y="30"/>
                  </a:lnTo>
                  <a:lnTo>
                    <a:pt x="566" y="19"/>
                  </a:lnTo>
                  <a:lnTo>
                    <a:pt x="557" y="11"/>
                  </a:lnTo>
                  <a:lnTo>
                    <a:pt x="545" y="5"/>
                  </a:lnTo>
                  <a:lnTo>
                    <a:pt x="539" y="3"/>
                  </a:lnTo>
                  <a:lnTo>
                    <a:pt x="533" y="1"/>
                  </a:lnTo>
                  <a:lnTo>
                    <a:pt x="525" y="0"/>
                  </a:lnTo>
                  <a:lnTo>
                    <a:pt x="519" y="0"/>
                  </a:lnTo>
                  <a:lnTo>
                    <a:pt x="68" y="0"/>
                  </a:lnTo>
                  <a:close/>
                  <a:moveTo>
                    <a:pt x="293" y="789"/>
                  </a:moveTo>
                  <a:lnTo>
                    <a:pt x="293" y="789"/>
                  </a:lnTo>
                  <a:lnTo>
                    <a:pt x="284" y="788"/>
                  </a:lnTo>
                  <a:lnTo>
                    <a:pt x="275" y="785"/>
                  </a:lnTo>
                  <a:lnTo>
                    <a:pt x="268" y="782"/>
                  </a:lnTo>
                  <a:lnTo>
                    <a:pt x="261" y="775"/>
                  </a:lnTo>
                  <a:lnTo>
                    <a:pt x="256" y="769"/>
                  </a:lnTo>
                  <a:lnTo>
                    <a:pt x="251" y="761"/>
                  </a:lnTo>
                  <a:lnTo>
                    <a:pt x="249" y="753"/>
                  </a:lnTo>
                  <a:lnTo>
                    <a:pt x="248" y="744"/>
                  </a:lnTo>
                  <a:lnTo>
                    <a:pt x="248" y="744"/>
                  </a:lnTo>
                  <a:lnTo>
                    <a:pt x="249" y="734"/>
                  </a:lnTo>
                  <a:lnTo>
                    <a:pt x="251" y="726"/>
                  </a:lnTo>
                  <a:lnTo>
                    <a:pt x="256" y="718"/>
                  </a:lnTo>
                  <a:lnTo>
                    <a:pt x="261" y="712"/>
                  </a:lnTo>
                  <a:lnTo>
                    <a:pt x="268" y="707"/>
                  </a:lnTo>
                  <a:lnTo>
                    <a:pt x="275" y="702"/>
                  </a:lnTo>
                  <a:lnTo>
                    <a:pt x="284" y="700"/>
                  </a:lnTo>
                  <a:lnTo>
                    <a:pt x="293" y="699"/>
                  </a:lnTo>
                  <a:lnTo>
                    <a:pt x="293" y="699"/>
                  </a:lnTo>
                  <a:lnTo>
                    <a:pt x="302" y="700"/>
                  </a:lnTo>
                  <a:lnTo>
                    <a:pt x="311" y="702"/>
                  </a:lnTo>
                  <a:lnTo>
                    <a:pt x="318" y="707"/>
                  </a:lnTo>
                  <a:lnTo>
                    <a:pt x="326" y="712"/>
                  </a:lnTo>
                  <a:lnTo>
                    <a:pt x="331" y="718"/>
                  </a:lnTo>
                  <a:lnTo>
                    <a:pt x="335" y="726"/>
                  </a:lnTo>
                  <a:lnTo>
                    <a:pt x="337" y="734"/>
                  </a:lnTo>
                  <a:lnTo>
                    <a:pt x="339" y="744"/>
                  </a:lnTo>
                  <a:lnTo>
                    <a:pt x="339" y="744"/>
                  </a:lnTo>
                  <a:lnTo>
                    <a:pt x="337" y="753"/>
                  </a:lnTo>
                  <a:lnTo>
                    <a:pt x="335" y="761"/>
                  </a:lnTo>
                  <a:lnTo>
                    <a:pt x="331" y="769"/>
                  </a:lnTo>
                  <a:lnTo>
                    <a:pt x="326" y="775"/>
                  </a:lnTo>
                  <a:lnTo>
                    <a:pt x="318" y="782"/>
                  </a:lnTo>
                  <a:lnTo>
                    <a:pt x="311" y="785"/>
                  </a:lnTo>
                  <a:lnTo>
                    <a:pt x="302" y="788"/>
                  </a:lnTo>
                  <a:lnTo>
                    <a:pt x="293" y="789"/>
                  </a:lnTo>
                  <a:lnTo>
                    <a:pt x="293" y="789"/>
                  </a:lnTo>
                  <a:close/>
                  <a:moveTo>
                    <a:pt x="496" y="112"/>
                  </a:moveTo>
                  <a:lnTo>
                    <a:pt x="496" y="609"/>
                  </a:lnTo>
                  <a:lnTo>
                    <a:pt x="496" y="609"/>
                  </a:lnTo>
                  <a:lnTo>
                    <a:pt x="495" y="613"/>
                  </a:lnTo>
                  <a:lnTo>
                    <a:pt x="494" y="617"/>
                  </a:lnTo>
                  <a:lnTo>
                    <a:pt x="492" y="622"/>
                  </a:lnTo>
                  <a:lnTo>
                    <a:pt x="490" y="625"/>
                  </a:lnTo>
                  <a:lnTo>
                    <a:pt x="487" y="627"/>
                  </a:lnTo>
                  <a:lnTo>
                    <a:pt x="482" y="629"/>
                  </a:lnTo>
                  <a:lnTo>
                    <a:pt x="478" y="630"/>
                  </a:lnTo>
                  <a:lnTo>
                    <a:pt x="474" y="631"/>
                  </a:lnTo>
                  <a:lnTo>
                    <a:pt x="113" y="631"/>
                  </a:lnTo>
                  <a:lnTo>
                    <a:pt x="113" y="631"/>
                  </a:lnTo>
                  <a:lnTo>
                    <a:pt x="109" y="630"/>
                  </a:lnTo>
                  <a:lnTo>
                    <a:pt x="104" y="629"/>
                  </a:lnTo>
                  <a:lnTo>
                    <a:pt x="100" y="627"/>
                  </a:lnTo>
                  <a:lnTo>
                    <a:pt x="97" y="625"/>
                  </a:lnTo>
                  <a:lnTo>
                    <a:pt x="94" y="622"/>
                  </a:lnTo>
                  <a:lnTo>
                    <a:pt x="91" y="617"/>
                  </a:lnTo>
                  <a:lnTo>
                    <a:pt x="90" y="613"/>
                  </a:lnTo>
                  <a:lnTo>
                    <a:pt x="90" y="609"/>
                  </a:lnTo>
                  <a:lnTo>
                    <a:pt x="90" y="112"/>
                  </a:lnTo>
                  <a:lnTo>
                    <a:pt x="90" y="112"/>
                  </a:lnTo>
                  <a:lnTo>
                    <a:pt x="90" y="108"/>
                  </a:lnTo>
                  <a:lnTo>
                    <a:pt x="91" y="104"/>
                  </a:lnTo>
                  <a:lnTo>
                    <a:pt x="94" y="99"/>
                  </a:lnTo>
                  <a:lnTo>
                    <a:pt x="97" y="96"/>
                  </a:lnTo>
                  <a:lnTo>
                    <a:pt x="100" y="93"/>
                  </a:lnTo>
                  <a:lnTo>
                    <a:pt x="104" y="91"/>
                  </a:lnTo>
                  <a:lnTo>
                    <a:pt x="109" y="90"/>
                  </a:lnTo>
                  <a:lnTo>
                    <a:pt x="113" y="90"/>
                  </a:lnTo>
                  <a:lnTo>
                    <a:pt x="474" y="90"/>
                  </a:lnTo>
                  <a:lnTo>
                    <a:pt x="474" y="90"/>
                  </a:lnTo>
                  <a:lnTo>
                    <a:pt x="478" y="90"/>
                  </a:lnTo>
                  <a:lnTo>
                    <a:pt x="482" y="91"/>
                  </a:lnTo>
                  <a:lnTo>
                    <a:pt x="487" y="93"/>
                  </a:lnTo>
                  <a:lnTo>
                    <a:pt x="490" y="96"/>
                  </a:lnTo>
                  <a:lnTo>
                    <a:pt x="492" y="99"/>
                  </a:lnTo>
                  <a:lnTo>
                    <a:pt x="494" y="104"/>
                  </a:lnTo>
                  <a:lnTo>
                    <a:pt x="495" y="108"/>
                  </a:lnTo>
                  <a:lnTo>
                    <a:pt x="496" y="112"/>
                  </a:lnTo>
                  <a:lnTo>
                    <a:pt x="496" y="1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221" name="Group 220">
            <a:extLst>
              <a:ext uri="{FF2B5EF4-FFF2-40B4-BE49-F238E27FC236}">
                <a16:creationId xmlns:a16="http://schemas.microsoft.com/office/drawing/2014/main" id="{3FA410CF-1F90-4C24-83D8-181545E9EC29}"/>
              </a:ext>
            </a:extLst>
          </p:cNvPr>
          <p:cNvGrpSpPr>
            <a:grpSpLocks noChangeAspect="1"/>
          </p:cNvGrpSpPr>
          <p:nvPr/>
        </p:nvGrpSpPr>
        <p:grpSpPr>
          <a:xfrm>
            <a:off x="10001298" y="2227224"/>
            <a:ext cx="519113" cy="534987"/>
            <a:chOff x="7143750" y="2736851"/>
            <a:chExt cx="519113" cy="534987"/>
          </a:xfrm>
          <a:solidFill>
            <a:schemeClr val="tx2"/>
          </a:solidFill>
        </p:grpSpPr>
        <p:sp>
          <p:nvSpPr>
            <p:cNvPr id="222" name="Freeform 373">
              <a:extLst>
                <a:ext uri="{FF2B5EF4-FFF2-40B4-BE49-F238E27FC236}">
                  <a16:creationId xmlns:a16="http://schemas.microsoft.com/office/drawing/2014/main" id="{AECC6D5E-A46E-4ADC-96D8-B65B0D7160B5}"/>
                </a:ext>
              </a:extLst>
            </p:cNvPr>
            <p:cNvSpPr>
              <a:spLocks/>
            </p:cNvSpPr>
            <p:nvPr/>
          </p:nvSpPr>
          <p:spPr bwMode="auto">
            <a:xfrm>
              <a:off x="7358063" y="2968626"/>
              <a:ext cx="90488" cy="250825"/>
            </a:xfrm>
            <a:custGeom>
              <a:avLst/>
              <a:gdLst>
                <a:gd name="T0" fmla="*/ 22 w 225"/>
                <a:gd name="T1" fmla="*/ 0 h 630"/>
                <a:gd name="T2" fmla="*/ 22 w 225"/>
                <a:gd name="T3" fmla="*/ 0 h 630"/>
                <a:gd name="T4" fmla="*/ 18 w 225"/>
                <a:gd name="T5" fmla="*/ 0 h 630"/>
                <a:gd name="T6" fmla="*/ 14 w 225"/>
                <a:gd name="T7" fmla="*/ 1 h 630"/>
                <a:gd name="T8" fmla="*/ 10 w 225"/>
                <a:gd name="T9" fmla="*/ 3 h 630"/>
                <a:gd name="T10" fmla="*/ 6 w 225"/>
                <a:gd name="T11" fmla="*/ 6 h 630"/>
                <a:gd name="T12" fmla="*/ 4 w 225"/>
                <a:gd name="T13" fmla="*/ 10 h 630"/>
                <a:gd name="T14" fmla="*/ 2 w 225"/>
                <a:gd name="T15" fmla="*/ 13 h 630"/>
                <a:gd name="T16" fmla="*/ 1 w 225"/>
                <a:gd name="T17" fmla="*/ 17 h 630"/>
                <a:gd name="T18" fmla="*/ 0 w 225"/>
                <a:gd name="T19" fmla="*/ 23 h 630"/>
                <a:gd name="T20" fmla="*/ 0 w 225"/>
                <a:gd name="T21" fmla="*/ 608 h 630"/>
                <a:gd name="T22" fmla="*/ 0 w 225"/>
                <a:gd name="T23" fmla="*/ 608 h 630"/>
                <a:gd name="T24" fmla="*/ 1 w 225"/>
                <a:gd name="T25" fmla="*/ 612 h 630"/>
                <a:gd name="T26" fmla="*/ 2 w 225"/>
                <a:gd name="T27" fmla="*/ 617 h 630"/>
                <a:gd name="T28" fmla="*/ 4 w 225"/>
                <a:gd name="T29" fmla="*/ 620 h 630"/>
                <a:gd name="T30" fmla="*/ 6 w 225"/>
                <a:gd name="T31" fmla="*/ 623 h 630"/>
                <a:gd name="T32" fmla="*/ 10 w 225"/>
                <a:gd name="T33" fmla="*/ 626 h 630"/>
                <a:gd name="T34" fmla="*/ 14 w 225"/>
                <a:gd name="T35" fmla="*/ 628 h 630"/>
                <a:gd name="T36" fmla="*/ 18 w 225"/>
                <a:gd name="T37" fmla="*/ 629 h 630"/>
                <a:gd name="T38" fmla="*/ 22 w 225"/>
                <a:gd name="T39" fmla="*/ 630 h 630"/>
                <a:gd name="T40" fmla="*/ 203 w 225"/>
                <a:gd name="T41" fmla="*/ 630 h 630"/>
                <a:gd name="T42" fmla="*/ 203 w 225"/>
                <a:gd name="T43" fmla="*/ 630 h 630"/>
                <a:gd name="T44" fmla="*/ 207 w 225"/>
                <a:gd name="T45" fmla="*/ 629 h 630"/>
                <a:gd name="T46" fmla="*/ 211 w 225"/>
                <a:gd name="T47" fmla="*/ 628 h 630"/>
                <a:gd name="T48" fmla="*/ 215 w 225"/>
                <a:gd name="T49" fmla="*/ 626 h 630"/>
                <a:gd name="T50" fmla="*/ 219 w 225"/>
                <a:gd name="T51" fmla="*/ 623 h 630"/>
                <a:gd name="T52" fmla="*/ 222 w 225"/>
                <a:gd name="T53" fmla="*/ 620 h 630"/>
                <a:gd name="T54" fmla="*/ 224 w 225"/>
                <a:gd name="T55" fmla="*/ 617 h 630"/>
                <a:gd name="T56" fmla="*/ 225 w 225"/>
                <a:gd name="T57" fmla="*/ 612 h 630"/>
                <a:gd name="T58" fmla="*/ 225 w 225"/>
                <a:gd name="T59" fmla="*/ 608 h 630"/>
                <a:gd name="T60" fmla="*/ 225 w 225"/>
                <a:gd name="T61" fmla="*/ 23 h 630"/>
                <a:gd name="T62" fmla="*/ 225 w 225"/>
                <a:gd name="T63" fmla="*/ 23 h 630"/>
                <a:gd name="T64" fmla="*/ 225 w 225"/>
                <a:gd name="T65" fmla="*/ 17 h 630"/>
                <a:gd name="T66" fmla="*/ 224 w 225"/>
                <a:gd name="T67" fmla="*/ 13 h 630"/>
                <a:gd name="T68" fmla="*/ 222 w 225"/>
                <a:gd name="T69" fmla="*/ 10 h 630"/>
                <a:gd name="T70" fmla="*/ 219 w 225"/>
                <a:gd name="T71" fmla="*/ 6 h 630"/>
                <a:gd name="T72" fmla="*/ 215 w 225"/>
                <a:gd name="T73" fmla="*/ 3 h 630"/>
                <a:gd name="T74" fmla="*/ 211 w 225"/>
                <a:gd name="T75" fmla="*/ 1 h 630"/>
                <a:gd name="T76" fmla="*/ 207 w 225"/>
                <a:gd name="T77" fmla="*/ 0 h 630"/>
                <a:gd name="T78" fmla="*/ 203 w 225"/>
                <a:gd name="T79" fmla="*/ 0 h 630"/>
                <a:gd name="T80" fmla="*/ 22 w 225"/>
                <a:gd name="T81" fmla="*/ 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5" h="630">
                  <a:moveTo>
                    <a:pt x="22" y="0"/>
                  </a:moveTo>
                  <a:lnTo>
                    <a:pt x="22" y="0"/>
                  </a:lnTo>
                  <a:lnTo>
                    <a:pt x="18" y="0"/>
                  </a:lnTo>
                  <a:lnTo>
                    <a:pt x="14" y="1"/>
                  </a:lnTo>
                  <a:lnTo>
                    <a:pt x="10" y="3"/>
                  </a:lnTo>
                  <a:lnTo>
                    <a:pt x="6" y="6"/>
                  </a:lnTo>
                  <a:lnTo>
                    <a:pt x="4" y="10"/>
                  </a:lnTo>
                  <a:lnTo>
                    <a:pt x="2" y="13"/>
                  </a:lnTo>
                  <a:lnTo>
                    <a:pt x="1" y="17"/>
                  </a:lnTo>
                  <a:lnTo>
                    <a:pt x="0" y="23"/>
                  </a:lnTo>
                  <a:lnTo>
                    <a:pt x="0" y="608"/>
                  </a:lnTo>
                  <a:lnTo>
                    <a:pt x="0" y="608"/>
                  </a:lnTo>
                  <a:lnTo>
                    <a:pt x="1" y="612"/>
                  </a:lnTo>
                  <a:lnTo>
                    <a:pt x="2" y="617"/>
                  </a:lnTo>
                  <a:lnTo>
                    <a:pt x="4" y="620"/>
                  </a:lnTo>
                  <a:lnTo>
                    <a:pt x="6" y="623"/>
                  </a:lnTo>
                  <a:lnTo>
                    <a:pt x="10" y="626"/>
                  </a:lnTo>
                  <a:lnTo>
                    <a:pt x="14" y="628"/>
                  </a:lnTo>
                  <a:lnTo>
                    <a:pt x="18" y="629"/>
                  </a:lnTo>
                  <a:lnTo>
                    <a:pt x="22" y="630"/>
                  </a:lnTo>
                  <a:lnTo>
                    <a:pt x="203" y="630"/>
                  </a:lnTo>
                  <a:lnTo>
                    <a:pt x="203" y="630"/>
                  </a:lnTo>
                  <a:lnTo>
                    <a:pt x="207" y="629"/>
                  </a:lnTo>
                  <a:lnTo>
                    <a:pt x="211" y="628"/>
                  </a:lnTo>
                  <a:lnTo>
                    <a:pt x="215" y="626"/>
                  </a:lnTo>
                  <a:lnTo>
                    <a:pt x="219" y="623"/>
                  </a:lnTo>
                  <a:lnTo>
                    <a:pt x="222" y="620"/>
                  </a:lnTo>
                  <a:lnTo>
                    <a:pt x="224" y="617"/>
                  </a:lnTo>
                  <a:lnTo>
                    <a:pt x="225" y="612"/>
                  </a:lnTo>
                  <a:lnTo>
                    <a:pt x="225" y="608"/>
                  </a:lnTo>
                  <a:lnTo>
                    <a:pt x="225" y="23"/>
                  </a:lnTo>
                  <a:lnTo>
                    <a:pt x="225" y="23"/>
                  </a:lnTo>
                  <a:lnTo>
                    <a:pt x="225" y="17"/>
                  </a:lnTo>
                  <a:lnTo>
                    <a:pt x="224" y="13"/>
                  </a:lnTo>
                  <a:lnTo>
                    <a:pt x="222" y="10"/>
                  </a:lnTo>
                  <a:lnTo>
                    <a:pt x="219" y="6"/>
                  </a:lnTo>
                  <a:lnTo>
                    <a:pt x="215" y="3"/>
                  </a:lnTo>
                  <a:lnTo>
                    <a:pt x="211" y="1"/>
                  </a:lnTo>
                  <a:lnTo>
                    <a:pt x="207" y="0"/>
                  </a:lnTo>
                  <a:lnTo>
                    <a:pt x="203" y="0"/>
                  </a:lnTo>
                  <a:lnTo>
                    <a:pt x="2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3" name="Freeform 374">
              <a:extLst>
                <a:ext uri="{FF2B5EF4-FFF2-40B4-BE49-F238E27FC236}">
                  <a16:creationId xmlns:a16="http://schemas.microsoft.com/office/drawing/2014/main" id="{B1828CC2-0FD6-43FC-AF6F-76657A2950E3}"/>
                </a:ext>
              </a:extLst>
            </p:cNvPr>
            <p:cNvSpPr>
              <a:spLocks/>
            </p:cNvSpPr>
            <p:nvPr/>
          </p:nvSpPr>
          <p:spPr bwMode="auto">
            <a:xfrm>
              <a:off x="7197725" y="2968626"/>
              <a:ext cx="88900" cy="250825"/>
            </a:xfrm>
            <a:custGeom>
              <a:avLst/>
              <a:gdLst>
                <a:gd name="T0" fmla="*/ 22 w 225"/>
                <a:gd name="T1" fmla="*/ 0 h 630"/>
                <a:gd name="T2" fmla="*/ 22 w 225"/>
                <a:gd name="T3" fmla="*/ 0 h 630"/>
                <a:gd name="T4" fmla="*/ 18 w 225"/>
                <a:gd name="T5" fmla="*/ 0 h 630"/>
                <a:gd name="T6" fmla="*/ 14 w 225"/>
                <a:gd name="T7" fmla="*/ 1 h 630"/>
                <a:gd name="T8" fmla="*/ 9 w 225"/>
                <a:gd name="T9" fmla="*/ 3 h 630"/>
                <a:gd name="T10" fmla="*/ 6 w 225"/>
                <a:gd name="T11" fmla="*/ 6 h 630"/>
                <a:gd name="T12" fmla="*/ 4 w 225"/>
                <a:gd name="T13" fmla="*/ 10 h 630"/>
                <a:gd name="T14" fmla="*/ 2 w 225"/>
                <a:gd name="T15" fmla="*/ 13 h 630"/>
                <a:gd name="T16" fmla="*/ 1 w 225"/>
                <a:gd name="T17" fmla="*/ 17 h 630"/>
                <a:gd name="T18" fmla="*/ 0 w 225"/>
                <a:gd name="T19" fmla="*/ 23 h 630"/>
                <a:gd name="T20" fmla="*/ 0 w 225"/>
                <a:gd name="T21" fmla="*/ 608 h 630"/>
                <a:gd name="T22" fmla="*/ 0 w 225"/>
                <a:gd name="T23" fmla="*/ 608 h 630"/>
                <a:gd name="T24" fmla="*/ 1 w 225"/>
                <a:gd name="T25" fmla="*/ 612 h 630"/>
                <a:gd name="T26" fmla="*/ 2 w 225"/>
                <a:gd name="T27" fmla="*/ 617 h 630"/>
                <a:gd name="T28" fmla="*/ 4 w 225"/>
                <a:gd name="T29" fmla="*/ 620 h 630"/>
                <a:gd name="T30" fmla="*/ 6 w 225"/>
                <a:gd name="T31" fmla="*/ 623 h 630"/>
                <a:gd name="T32" fmla="*/ 9 w 225"/>
                <a:gd name="T33" fmla="*/ 626 h 630"/>
                <a:gd name="T34" fmla="*/ 14 w 225"/>
                <a:gd name="T35" fmla="*/ 628 h 630"/>
                <a:gd name="T36" fmla="*/ 18 w 225"/>
                <a:gd name="T37" fmla="*/ 629 h 630"/>
                <a:gd name="T38" fmla="*/ 22 w 225"/>
                <a:gd name="T39" fmla="*/ 630 h 630"/>
                <a:gd name="T40" fmla="*/ 202 w 225"/>
                <a:gd name="T41" fmla="*/ 630 h 630"/>
                <a:gd name="T42" fmla="*/ 202 w 225"/>
                <a:gd name="T43" fmla="*/ 630 h 630"/>
                <a:gd name="T44" fmla="*/ 207 w 225"/>
                <a:gd name="T45" fmla="*/ 629 h 630"/>
                <a:gd name="T46" fmla="*/ 211 w 225"/>
                <a:gd name="T47" fmla="*/ 628 h 630"/>
                <a:gd name="T48" fmla="*/ 215 w 225"/>
                <a:gd name="T49" fmla="*/ 626 h 630"/>
                <a:gd name="T50" fmla="*/ 218 w 225"/>
                <a:gd name="T51" fmla="*/ 623 h 630"/>
                <a:gd name="T52" fmla="*/ 222 w 225"/>
                <a:gd name="T53" fmla="*/ 620 h 630"/>
                <a:gd name="T54" fmla="*/ 224 w 225"/>
                <a:gd name="T55" fmla="*/ 617 h 630"/>
                <a:gd name="T56" fmla="*/ 225 w 225"/>
                <a:gd name="T57" fmla="*/ 612 h 630"/>
                <a:gd name="T58" fmla="*/ 225 w 225"/>
                <a:gd name="T59" fmla="*/ 608 h 630"/>
                <a:gd name="T60" fmla="*/ 225 w 225"/>
                <a:gd name="T61" fmla="*/ 23 h 630"/>
                <a:gd name="T62" fmla="*/ 225 w 225"/>
                <a:gd name="T63" fmla="*/ 23 h 630"/>
                <a:gd name="T64" fmla="*/ 225 w 225"/>
                <a:gd name="T65" fmla="*/ 17 h 630"/>
                <a:gd name="T66" fmla="*/ 224 w 225"/>
                <a:gd name="T67" fmla="*/ 13 h 630"/>
                <a:gd name="T68" fmla="*/ 222 w 225"/>
                <a:gd name="T69" fmla="*/ 10 h 630"/>
                <a:gd name="T70" fmla="*/ 218 w 225"/>
                <a:gd name="T71" fmla="*/ 6 h 630"/>
                <a:gd name="T72" fmla="*/ 215 w 225"/>
                <a:gd name="T73" fmla="*/ 3 h 630"/>
                <a:gd name="T74" fmla="*/ 211 w 225"/>
                <a:gd name="T75" fmla="*/ 1 h 630"/>
                <a:gd name="T76" fmla="*/ 207 w 225"/>
                <a:gd name="T77" fmla="*/ 0 h 630"/>
                <a:gd name="T78" fmla="*/ 202 w 225"/>
                <a:gd name="T79" fmla="*/ 0 h 630"/>
                <a:gd name="T80" fmla="*/ 22 w 225"/>
                <a:gd name="T81" fmla="*/ 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5" h="630">
                  <a:moveTo>
                    <a:pt x="22" y="0"/>
                  </a:moveTo>
                  <a:lnTo>
                    <a:pt x="22" y="0"/>
                  </a:lnTo>
                  <a:lnTo>
                    <a:pt x="18" y="0"/>
                  </a:lnTo>
                  <a:lnTo>
                    <a:pt x="14" y="1"/>
                  </a:lnTo>
                  <a:lnTo>
                    <a:pt x="9" y="3"/>
                  </a:lnTo>
                  <a:lnTo>
                    <a:pt x="6" y="6"/>
                  </a:lnTo>
                  <a:lnTo>
                    <a:pt x="4" y="10"/>
                  </a:lnTo>
                  <a:lnTo>
                    <a:pt x="2" y="13"/>
                  </a:lnTo>
                  <a:lnTo>
                    <a:pt x="1" y="17"/>
                  </a:lnTo>
                  <a:lnTo>
                    <a:pt x="0" y="23"/>
                  </a:lnTo>
                  <a:lnTo>
                    <a:pt x="0" y="608"/>
                  </a:lnTo>
                  <a:lnTo>
                    <a:pt x="0" y="608"/>
                  </a:lnTo>
                  <a:lnTo>
                    <a:pt x="1" y="612"/>
                  </a:lnTo>
                  <a:lnTo>
                    <a:pt x="2" y="617"/>
                  </a:lnTo>
                  <a:lnTo>
                    <a:pt x="4" y="620"/>
                  </a:lnTo>
                  <a:lnTo>
                    <a:pt x="6" y="623"/>
                  </a:lnTo>
                  <a:lnTo>
                    <a:pt x="9" y="626"/>
                  </a:lnTo>
                  <a:lnTo>
                    <a:pt x="14" y="628"/>
                  </a:lnTo>
                  <a:lnTo>
                    <a:pt x="18" y="629"/>
                  </a:lnTo>
                  <a:lnTo>
                    <a:pt x="22" y="630"/>
                  </a:lnTo>
                  <a:lnTo>
                    <a:pt x="202" y="630"/>
                  </a:lnTo>
                  <a:lnTo>
                    <a:pt x="202" y="630"/>
                  </a:lnTo>
                  <a:lnTo>
                    <a:pt x="207" y="629"/>
                  </a:lnTo>
                  <a:lnTo>
                    <a:pt x="211" y="628"/>
                  </a:lnTo>
                  <a:lnTo>
                    <a:pt x="215" y="626"/>
                  </a:lnTo>
                  <a:lnTo>
                    <a:pt x="218" y="623"/>
                  </a:lnTo>
                  <a:lnTo>
                    <a:pt x="222" y="620"/>
                  </a:lnTo>
                  <a:lnTo>
                    <a:pt x="224" y="617"/>
                  </a:lnTo>
                  <a:lnTo>
                    <a:pt x="225" y="612"/>
                  </a:lnTo>
                  <a:lnTo>
                    <a:pt x="225" y="608"/>
                  </a:lnTo>
                  <a:lnTo>
                    <a:pt x="225" y="23"/>
                  </a:lnTo>
                  <a:lnTo>
                    <a:pt x="225" y="23"/>
                  </a:lnTo>
                  <a:lnTo>
                    <a:pt x="225" y="17"/>
                  </a:lnTo>
                  <a:lnTo>
                    <a:pt x="224" y="13"/>
                  </a:lnTo>
                  <a:lnTo>
                    <a:pt x="222" y="10"/>
                  </a:lnTo>
                  <a:lnTo>
                    <a:pt x="218" y="6"/>
                  </a:lnTo>
                  <a:lnTo>
                    <a:pt x="215" y="3"/>
                  </a:lnTo>
                  <a:lnTo>
                    <a:pt x="211" y="1"/>
                  </a:lnTo>
                  <a:lnTo>
                    <a:pt x="207" y="0"/>
                  </a:lnTo>
                  <a:lnTo>
                    <a:pt x="202" y="0"/>
                  </a:lnTo>
                  <a:lnTo>
                    <a:pt x="2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4" name="Freeform 375">
              <a:extLst>
                <a:ext uri="{FF2B5EF4-FFF2-40B4-BE49-F238E27FC236}">
                  <a16:creationId xmlns:a16="http://schemas.microsoft.com/office/drawing/2014/main" id="{0179FEA7-19FF-452F-9C47-0DEF43C50CC6}"/>
                </a:ext>
              </a:extLst>
            </p:cNvPr>
            <p:cNvSpPr>
              <a:spLocks/>
            </p:cNvSpPr>
            <p:nvPr/>
          </p:nvSpPr>
          <p:spPr bwMode="auto">
            <a:xfrm>
              <a:off x="7519988" y="2968626"/>
              <a:ext cx="88900" cy="250825"/>
            </a:xfrm>
            <a:custGeom>
              <a:avLst/>
              <a:gdLst>
                <a:gd name="T0" fmla="*/ 23 w 225"/>
                <a:gd name="T1" fmla="*/ 0 h 630"/>
                <a:gd name="T2" fmla="*/ 23 w 225"/>
                <a:gd name="T3" fmla="*/ 0 h 630"/>
                <a:gd name="T4" fmla="*/ 18 w 225"/>
                <a:gd name="T5" fmla="*/ 0 h 630"/>
                <a:gd name="T6" fmla="*/ 14 w 225"/>
                <a:gd name="T7" fmla="*/ 1 h 630"/>
                <a:gd name="T8" fmla="*/ 10 w 225"/>
                <a:gd name="T9" fmla="*/ 3 h 630"/>
                <a:gd name="T10" fmla="*/ 7 w 225"/>
                <a:gd name="T11" fmla="*/ 6 h 630"/>
                <a:gd name="T12" fmla="*/ 4 w 225"/>
                <a:gd name="T13" fmla="*/ 10 h 630"/>
                <a:gd name="T14" fmla="*/ 2 w 225"/>
                <a:gd name="T15" fmla="*/ 13 h 630"/>
                <a:gd name="T16" fmla="*/ 1 w 225"/>
                <a:gd name="T17" fmla="*/ 17 h 630"/>
                <a:gd name="T18" fmla="*/ 0 w 225"/>
                <a:gd name="T19" fmla="*/ 23 h 630"/>
                <a:gd name="T20" fmla="*/ 0 w 225"/>
                <a:gd name="T21" fmla="*/ 608 h 630"/>
                <a:gd name="T22" fmla="*/ 0 w 225"/>
                <a:gd name="T23" fmla="*/ 608 h 630"/>
                <a:gd name="T24" fmla="*/ 1 w 225"/>
                <a:gd name="T25" fmla="*/ 612 h 630"/>
                <a:gd name="T26" fmla="*/ 2 w 225"/>
                <a:gd name="T27" fmla="*/ 617 h 630"/>
                <a:gd name="T28" fmla="*/ 4 w 225"/>
                <a:gd name="T29" fmla="*/ 620 h 630"/>
                <a:gd name="T30" fmla="*/ 7 w 225"/>
                <a:gd name="T31" fmla="*/ 623 h 630"/>
                <a:gd name="T32" fmla="*/ 10 w 225"/>
                <a:gd name="T33" fmla="*/ 626 h 630"/>
                <a:gd name="T34" fmla="*/ 14 w 225"/>
                <a:gd name="T35" fmla="*/ 628 h 630"/>
                <a:gd name="T36" fmla="*/ 18 w 225"/>
                <a:gd name="T37" fmla="*/ 629 h 630"/>
                <a:gd name="T38" fmla="*/ 23 w 225"/>
                <a:gd name="T39" fmla="*/ 630 h 630"/>
                <a:gd name="T40" fmla="*/ 203 w 225"/>
                <a:gd name="T41" fmla="*/ 630 h 630"/>
                <a:gd name="T42" fmla="*/ 203 w 225"/>
                <a:gd name="T43" fmla="*/ 630 h 630"/>
                <a:gd name="T44" fmla="*/ 207 w 225"/>
                <a:gd name="T45" fmla="*/ 629 h 630"/>
                <a:gd name="T46" fmla="*/ 211 w 225"/>
                <a:gd name="T47" fmla="*/ 628 h 630"/>
                <a:gd name="T48" fmla="*/ 216 w 225"/>
                <a:gd name="T49" fmla="*/ 626 h 630"/>
                <a:gd name="T50" fmla="*/ 219 w 225"/>
                <a:gd name="T51" fmla="*/ 623 h 630"/>
                <a:gd name="T52" fmla="*/ 222 w 225"/>
                <a:gd name="T53" fmla="*/ 620 h 630"/>
                <a:gd name="T54" fmla="*/ 224 w 225"/>
                <a:gd name="T55" fmla="*/ 617 h 630"/>
                <a:gd name="T56" fmla="*/ 225 w 225"/>
                <a:gd name="T57" fmla="*/ 612 h 630"/>
                <a:gd name="T58" fmla="*/ 225 w 225"/>
                <a:gd name="T59" fmla="*/ 608 h 630"/>
                <a:gd name="T60" fmla="*/ 225 w 225"/>
                <a:gd name="T61" fmla="*/ 23 h 630"/>
                <a:gd name="T62" fmla="*/ 225 w 225"/>
                <a:gd name="T63" fmla="*/ 23 h 630"/>
                <a:gd name="T64" fmla="*/ 225 w 225"/>
                <a:gd name="T65" fmla="*/ 17 h 630"/>
                <a:gd name="T66" fmla="*/ 224 w 225"/>
                <a:gd name="T67" fmla="*/ 13 h 630"/>
                <a:gd name="T68" fmla="*/ 222 w 225"/>
                <a:gd name="T69" fmla="*/ 10 h 630"/>
                <a:gd name="T70" fmla="*/ 219 w 225"/>
                <a:gd name="T71" fmla="*/ 6 h 630"/>
                <a:gd name="T72" fmla="*/ 216 w 225"/>
                <a:gd name="T73" fmla="*/ 3 h 630"/>
                <a:gd name="T74" fmla="*/ 211 w 225"/>
                <a:gd name="T75" fmla="*/ 1 h 630"/>
                <a:gd name="T76" fmla="*/ 207 w 225"/>
                <a:gd name="T77" fmla="*/ 0 h 630"/>
                <a:gd name="T78" fmla="*/ 203 w 225"/>
                <a:gd name="T79" fmla="*/ 0 h 630"/>
                <a:gd name="T80" fmla="*/ 23 w 225"/>
                <a:gd name="T81" fmla="*/ 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5" h="630">
                  <a:moveTo>
                    <a:pt x="23" y="0"/>
                  </a:moveTo>
                  <a:lnTo>
                    <a:pt x="23" y="0"/>
                  </a:lnTo>
                  <a:lnTo>
                    <a:pt x="18" y="0"/>
                  </a:lnTo>
                  <a:lnTo>
                    <a:pt x="14" y="1"/>
                  </a:lnTo>
                  <a:lnTo>
                    <a:pt x="10" y="3"/>
                  </a:lnTo>
                  <a:lnTo>
                    <a:pt x="7" y="6"/>
                  </a:lnTo>
                  <a:lnTo>
                    <a:pt x="4" y="10"/>
                  </a:lnTo>
                  <a:lnTo>
                    <a:pt x="2" y="13"/>
                  </a:lnTo>
                  <a:lnTo>
                    <a:pt x="1" y="17"/>
                  </a:lnTo>
                  <a:lnTo>
                    <a:pt x="0" y="23"/>
                  </a:lnTo>
                  <a:lnTo>
                    <a:pt x="0" y="608"/>
                  </a:lnTo>
                  <a:lnTo>
                    <a:pt x="0" y="608"/>
                  </a:lnTo>
                  <a:lnTo>
                    <a:pt x="1" y="612"/>
                  </a:lnTo>
                  <a:lnTo>
                    <a:pt x="2" y="617"/>
                  </a:lnTo>
                  <a:lnTo>
                    <a:pt x="4" y="620"/>
                  </a:lnTo>
                  <a:lnTo>
                    <a:pt x="7" y="623"/>
                  </a:lnTo>
                  <a:lnTo>
                    <a:pt x="10" y="626"/>
                  </a:lnTo>
                  <a:lnTo>
                    <a:pt x="14" y="628"/>
                  </a:lnTo>
                  <a:lnTo>
                    <a:pt x="18" y="629"/>
                  </a:lnTo>
                  <a:lnTo>
                    <a:pt x="23" y="630"/>
                  </a:lnTo>
                  <a:lnTo>
                    <a:pt x="203" y="630"/>
                  </a:lnTo>
                  <a:lnTo>
                    <a:pt x="203" y="630"/>
                  </a:lnTo>
                  <a:lnTo>
                    <a:pt x="207" y="629"/>
                  </a:lnTo>
                  <a:lnTo>
                    <a:pt x="211" y="628"/>
                  </a:lnTo>
                  <a:lnTo>
                    <a:pt x="216" y="626"/>
                  </a:lnTo>
                  <a:lnTo>
                    <a:pt x="219" y="623"/>
                  </a:lnTo>
                  <a:lnTo>
                    <a:pt x="222" y="620"/>
                  </a:lnTo>
                  <a:lnTo>
                    <a:pt x="224" y="617"/>
                  </a:lnTo>
                  <a:lnTo>
                    <a:pt x="225" y="612"/>
                  </a:lnTo>
                  <a:lnTo>
                    <a:pt x="225" y="608"/>
                  </a:lnTo>
                  <a:lnTo>
                    <a:pt x="225" y="23"/>
                  </a:lnTo>
                  <a:lnTo>
                    <a:pt x="225" y="23"/>
                  </a:lnTo>
                  <a:lnTo>
                    <a:pt x="225" y="17"/>
                  </a:lnTo>
                  <a:lnTo>
                    <a:pt x="224" y="13"/>
                  </a:lnTo>
                  <a:lnTo>
                    <a:pt x="222" y="10"/>
                  </a:lnTo>
                  <a:lnTo>
                    <a:pt x="219" y="6"/>
                  </a:lnTo>
                  <a:lnTo>
                    <a:pt x="216" y="3"/>
                  </a:lnTo>
                  <a:lnTo>
                    <a:pt x="211" y="1"/>
                  </a:lnTo>
                  <a:lnTo>
                    <a:pt x="207" y="0"/>
                  </a:lnTo>
                  <a:lnTo>
                    <a:pt x="203" y="0"/>
                  </a:lnTo>
                  <a:lnTo>
                    <a:pt x="2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5" name="Freeform 376">
              <a:extLst>
                <a:ext uri="{FF2B5EF4-FFF2-40B4-BE49-F238E27FC236}">
                  <a16:creationId xmlns:a16="http://schemas.microsoft.com/office/drawing/2014/main" id="{6F8676AF-83E3-44A1-8A22-4572AE21D102}"/>
                </a:ext>
              </a:extLst>
            </p:cNvPr>
            <p:cNvSpPr>
              <a:spLocks/>
            </p:cNvSpPr>
            <p:nvPr/>
          </p:nvSpPr>
          <p:spPr bwMode="auto">
            <a:xfrm>
              <a:off x="7143750" y="3236913"/>
              <a:ext cx="519113" cy="34925"/>
            </a:xfrm>
            <a:custGeom>
              <a:avLst/>
              <a:gdLst>
                <a:gd name="T0" fmla="*/ 0 w 1305"/>
                <a:gd name="T1" fmla="*/ 67 h 90"/>
                <a:gd name="T2" fmla="*/ 0 w 1305"/>
                <a:gd name="T3" fmla="*/ 67 h 90"/>
                <a:gd name="T4" fmla="*/ 1 w 1305"/>
                <a:gd name="T5" fmla="*/ 71 h 90"/>
                <a:gd name="T6" fmla="*/ 2 w 1305"/>
                <a:gd name="T7" fmla="*/ 76 h 90"/>
                <a:gd name="T8" fmla="*/ 4 w 1305"/>
                <a:gd name="T9" fmla="*/ 79 h 90"/>
                <a:gd name="T10" fmla="*/ 6 w 1305"/>
                <a:gd name="T11" fmla="*/ 82 h 90"/>
                <a:gd name="T12" fmla="*/ 9 w 1305"/>
                <a:gd name="T13" fmla="*/ 85 h 90"/>
                <a:gd name="T14" fmla="*/ 14 w 1305"/>
                <a:gd name="T15" fmla="*/ 87 h 90"/>
                <a:gd name="T16" fmla="*/ 18 w 1305"/>
                <a:gd name="T17" fmla="*/ 89 h 90"/>
                <a:gd name="T18" fmla="*/ 22 w 1305"/>
                <a:gd name="T19" fmla="*/ 90 h 90"/>
                <a:gd name="T20" fmla="*/ 1283 w 1305"/>
                <a:gd name="T21" fmla="*/ 90 h 90"/>
                <a:gd name="T22" fmla="*/ 1283 w 1305"/>
                <a:gd name="T23" fmla="*/ 90 h 90"/>
                <a:gd name="T24" fmla="*/ 1287 w 1305"/>
                <a:gd name="T25" fmla="*/ 89 h 90"/>
                <a:gd name="T26" fmla="*/ 1291 w 1305"/>
                <a:gd name="T27" fmla="*/ 87 h 90"/>
                <a:gd name="T28" fmla="*/ 1296 w 1305"/>
                <a:gd name="T29" fmla="*/ 85 h 90"/>
                <a:gd name="T30" fmla="*/ 1299 w 1305"/>
                <a:gd name="T31" fmla="*/ 82 h 90"/>
                <a:gd name="T32" fmla="*/ 1302 w 1305"/>
                <a:gd name="T33" fmla="*/ 79 h 90"/>
                <a:gd name="T34" fmla="*/ 1304 w 1305"/>
                <a:gd name="T35" fmla="*/ 76 h 90"/>
                <a:gd name="T36" fmla="*/ 1305 w 1305"/>
                <a:gd name="T37" fmla="*/ 71 h 90"/>
                <a:gd name="T38" fmla="*/ 1305 w 1305"/>
                <a:gd name="T39" fmla="*/ 67 h 90"/>
                <a:gd name="T40" fmla="*/ 1305 w 1305"/>
                <a:gd name="T41" fmla="*/ 22 h 90"/>
                <a:gd name="T42" fmla="*/ 1305 w 1305"/>
                <a:gd name="T43" fmla="*/ 22 h 90"/>
                <a:gd name="T44" fmla="*/ 1305 w 1305"/>
                <a:gd name="T45" fmla="*/ 17 h 90"/>
                <a:gd name="T46" fmla="*/ 1304 w 1305"/>
                <a:gd name="T47" fmla="*/ 12 h 90"/>
                <a:gd name="T48" fmla="*/ 1302 w 1305"/>
                <a:gd name="T49" fmla="*/ 9 h 90"/>
                <a:gd name="T50" fmla="*/ 1299 w 1305"/>
                <a:gd name="T51" fmla="*/ 6 h 90"/>
                <a:gd name="T52" fmla="*/ 1296 w 1305"/>
                <a:gd name="T53" fmla="*/ 3 h 90"/>
                <a:gd name="T54" fmla="*/ 1291 w 1305"/>
                <a:gd name="T55" fmla="*/ 1 h 90"/>
                <a:gd name="T56" fmla="*/ 1287 w 1305"/>
                <a:gd name="T57" fmla="*/ 0 h 90"/>
                <a:gd name="T58" fmla="*/ 1283 w 1305"/>
                <a:gd name="T59" fmla="*/ 0 h 90"/>
                <a:gd name="T60" fmla="*/ 22 w 1305"/>
                <a:gd name="T61" fmla="*/ 0 h 90"/>
                <a:gd name="T62" fmla="*/ 22 w 1305"/>
                <a:gd name="T63" fmla="*/ 0 h 90"/>
                <a:gd name="T64" fmla="*/ 18 w 1305"/>
                <a:gd name="T65" fmla="*/ 0 h 90"/>
                <a:gd name="T66" fmla="*/ 14 w 1305"/>
                <a:gd name="T67" fmla="*/ 1 h 90"/>
                <a:gd name="T68" fmla="*/ 9 w 1305"/>
                <a:gd name="T69" fmla="*/ 3 h 90"/>
                <a:gd name="T70" fmla="*/ 6 w 1305"/>
                <a:gd name="T71" fmla="*/ 6 h 90"/>
                <a:gd name="T72" fmla="*/ 4 w 1305"/>
                <a:gd name="T73" fmla="*/ 9 h 90"/>
                <a:gd name="T74" fmla="*/ 2 w 1305"/>
                <a:gd name="T75" fmla="*/ 12 h 90"/>
                <a:gd name="T76" fmla="*/ 1 w 1305"/>
                <a:gd name="T77" fmla="*/ 17 h 90"/>
                <a:gd name="T78" fmla="*/ 0 w 1305"/>
                <a:gd name="T79" fmla="*/ 22 h 90"/>
                <a:gd name="T80" fmla="*/ 0 w 1305"/>
                <a:gd name="T81" fmla="*/ 6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05" h="90">
                  <a:moveTo>
                    <a:pt x="0" y="67"/>
                  </a:moveTo>
                  <a:lnTo>
                    <a:pt x="0" y="67"/>
                  </a:lnTo>
                  <a:lnTo>
                    <a:pt x="1" y="71"/>
                  </a:lnTo>
                  <a:lnTo>
                    <a:pt x="2" y="76"/>
                  </a:lnTo>
                  <a:lnTo>
                    <a:pt x="4" y="79"/>
                  </a:lnTo>
                  <a:lnTo>
                    <a:pt x="6" y="82"/>
                  </a:lnTo>
                  <a:lnTo>
                    <a:pt x="9" y="85"/>
                  </a:lnTo>
                  <a:lnTo>
                    <a:pt x="14" y="87"/>
                  </a:lnTo>
                  <a:lnTo>
                    <a:pt x="18" y="89"/>
                  </a:lnTo>
                  <a:lnTo>
                    <a:pt x="22" y="90"/>
                  </a:lnTo>
                  <a:lnTo>
                    <a:pt x="1283" y="90"/>
                  </a:lnTo>
                  <a:lnTo>
                    <a:pt x="1283" y="90"/>
                  </a:lnTo>
                  <a:lnTo>
                    <a:pt x="1287" y="89"/>
                  </a:lnTo>
                  <a:lnTo>
                    <a:pt x="1291" y="87"/>
                  </a:lnTo>
                  <a:lnTo>
                    <a:pt x="1296" y="85"/>
                  </a:lnTo>
                  <a:lnTo>
                    <a:pt x="1299" y="82"/>
                  </a:lnTo>
                  <a:lnTo>
                    <a:pt x="1302" y="79"/>
                  </a:lnTo>
                  <a:lnTo>
                    <a:pt x="1304" y="76"/>
                  </a:lnTo>
                  <a:lnTo>
                    <a:pt x="1305" y="71"/>
                  </a:lnTo>
                  <a:lnTo>
                    <a:pt x="1305" y="67"/>
                  </a:lnTo>
                  <a:lnTo>
                    <a:pt x="1305" y="22"/>
                  </a:lnTo>
                  <a:lnTo>
                    <a:pt x="1305" y="22"/>
                  </a:lnTo>
                  <a:lnTo>
                    <a:pt x="1305" y="17"/>
                  </a:lnTo>
                  <a:lnTo>
                    <a:pt x="1304" y="12"/>
                  </a:lnTo>
                  <a:lnTo>
                    <a:pt x="1302" y="9"/>
                  </a:lnTo>
                  <a:lnTo>
                    <a:pt x="1299" y="6"/>
                  </a:lnTo>
                  <a:lnTo>
                    <a:pt x="1296" y="3"/>
                  </a:lnTo>
                  <a:lnTo>
                    <a:pt x="1291" y="1"/>
                  </a:lnTo>
                  <a:lnTo>
                    <a:pt x="1287" y="0"/>
                  </a:lnTo>
                  <a:lnTo>
                    <a:pt x="1283" y="0"/>
                  </a:lnTo>
                  <a:lnTo>
                    <a:pt x="22" y="0"/>
                  </a:lnTo>
                  <a:lnTo>
                    <a:pt x="22" y="0"/>
                  </a:lnTo>
                  <a:lnTo>
                    <a:pt x="18" y="0"/>
                  </a:lnTo>
                  <a:lnTo>
                    <a:pt x="14" y="1"/>
                  </a:lnTo>
                  <a:lnTo>
                    <a:pt x="9" y="3"/>
                  </a:lnTo>
                  <a:lnTo>
                    <a:pt x="6" y="6"/>
                  </a:lnTo>
                  <a:lnTo>
                    <a:pt x="4" y="9"/>
                  </a:lnTo>
                  <a:lnTo>
                    <a:pt x="2" y="12"/>
                  </a:lnTo>
                  <a:lnTo>
                    <a:pt x="1" y="17"/>
                  </a:lnTo>
                  <a:lnTo>
                    <a:pt x="0" y="22"/>
                  </a:lnTo>
                  <a:lnTo>
                    <a:pt x="0" y="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6" name="Freeform 377">
              <a:extLst>
                <a:ext uri="{FF2B5EF4-FFF2-40B4-BE49-F238E27FC236}">
                  <a16:creationId xmlns:a16="http://schemas.microsoft.com/office/drawing/2014/main" id="{8EF5424F-71DD-4548-A9E7-423D50B0E79E}"/>
                </a:ext>
              </a:extLst>
            </p:cNvPr>
            <p:cNvSpPr>
              <a:spLocks noEditPoints="1"/>
            </p:cNvSpPr>
            <p:nvPr/>
          </p:nvSpPr>
          <p:spPr bwMode="auto">
            <a:xfrm>
              <a:off x="7143750" y="2736851"/>
              <a:ext cx="519113" cy="214313"/>
            </a:xfrm>
            <a:custGeom>
              <a:avLst/>
              <a:gdLst>
                <a:gd name="T0" fmla="*/ 0 w 1305"/>
                <a:gd name="T1" fmla="*/ 518 h 540"/>
                <a:gd name="T2" fmla="*/ 1 w 1305"/>
                <a:gd name="T3" fmla="*/ 522 h 540"/>
                <a:gd name="T4" fmla="*/ 4 w 1305"/>
                <a:gd name="T5" fmla="*/ 529 h 540"/>
                <a:gd name="T6" fmla="*/ 9 w 1305"/>
                <a:gd name="T7" fmla="*/ 536 h 540"/>
                <a:gd name="T8" fmla="*/ 18 w 1305"/>
                <a:gd name="T9" fmla="*/ 539 h 540"/>
                <a:gd name="T10" fmla="*/ 1283 w 1305"/>
                <a:gd name="T11" fmla="*/ 540 h 540"/>
                <a:gd name="T12" fmla="*/ 1287 w 1305"/>
                <a:gd name="T13" fmla="*/ 539 h 540"/>
                <a:gd name="T14" fmla="*/ 1296 w 1305"/>
                <a:gd name="T15" fmla="*/ 536 h 540"/>
                <a:gd name="T16" fmla="*/ 1302 w 1305"/>
                <a:gd name="T17" fmla="*/ 529 h 540"/>
                <a:gd name="T18" fmla="*/ 1305 w 1305"/>
                <a:gd name="T19" fmla="*/ 522 h 540"/>
                <a:gd name="T20" fmla="*/ 1305 w 1305"/>
                <a:gd name="T21" fmla="*/ 382 h 540"/>
                <a:gd name="T22" fmla="*/ 1305 w 1305"/>
                <a:gd name="T23" fmla="*/ 376 h 540"/>
                <a:gd name="T24" fmla="*/ 1299 w 1305"/>
                <a:gd name="T25" fmla="*/ 366 h 540"/>
                <a:gd name="T26" fmla="*/ 664 w 1305"/>
                <a:gd name="T27" fmla="*/ 2 h 540"/>
                <a:gd name="T28" fmla="*/ 659 w 1305"/>
                <a:gd name="T29" fmla="*/ 0 h 540"/>
                <a:gd name="T30" fmla="*/ 647 w 1305"/>
                <a:gd name="T31" fmla="*/ 0 h 540"/>
                <a:gd name="T32" fmla="*/ 11 w 1305"/>
                <a:gd name="T33" fmla="*/ 362 h 540"/>
                <a:gd name="T34" fmla="*/ 6 w 1305"/>
                <a:gd name="T35" fmla="*/ 366 h 540"/>
                <a:gd name="T36" fmla="*/ 1 w 1305"/>
                <a:gd name="T37" fmla="*/ 376 h 540"/>
                <a:gd name="T38" fmla="*/ 0 w 1305"/>
                <a:gd name="T39" fmla="*/ 382 h 540"/>
                <a:gd name="T40" fmla="*/ 653 w 1305"/>
                <a:gd name="T41" fmla="*/ 202 h 540"/>
                <a:gd name="T42" fmla="*/ 671 w 1305"/>
                <a:gd name="T43" fmla="*/ 203 h 540"/>
                <a:gd name="T44" fmla="*/ 688 w 1305"/>
                <a:gd name="T45" fmla="*/ 209 h 540"/>
                <a:gd name="T46" fmla="*/ 703 w 1305"/>
                <a:gd name="T47" fmla="*/ 217 h 540"/>
                <a:gd name="T48" fmla="*/ 717 w 1305"/>
                <a:gd name="T49" fmla="*/ 228 h 540"/>
                <a:gd name="T50" fmla="*/ 728 w 1305"/>
                <a:gd name="T51" fmla="*/ 242 h 540"/>
                <a:gd name="T52" fmla="*/ 736 w 1305"/>
                <a:gd name="T53" fmla="*/ 257 h 540"/>
                <a:gd name="T54" fmla="*/ 742 w 1305"/>
                <a:gd name="T55" fmla="*/ 274 h 540"/>
                <a:gd name="T56" fmla="*/ 743 w 1305"/>
                <a:gd name="T57" fmla="*/ 292 h 540"/>
                <a:gd name="T58" fmla="*/ 743 w 1305"/>
                <a:gd name="T59" fmla="*/ 301 h 540"/>
                <a:gd name="T60" fmla="*/ 738 w 1305"/>
                <a:gd name="T61" fmla="*/ 319 h 540"/>
                <a:gd name="T62" fmla="*/ 732 w 1305"/>
                <a:gd name="T63" fmla="*/ 335 h 540"/>
                <a:gd name="T64" fmla="*/ 722 w 1305"/>
                <a:gd name="T65" fmla="*/ 349 h 540"/>
                <a:gd name="T66" fmla="*/ 710 w 1305"/>
                <a:gd name="T67" fmla="*/ 361 h 540"/>
                <a:gd name="T68" fmla="*/ 695 w 1305"/>
                <a:gd name="T69" fmla="*/ 371 h 540"/>
                <a:gd name="T70" fmla="*/ 679 w 1305"/>
                <a:gd name="T71" fmla="*/ 378 h 540"/>
                <a:gd name="T72" fmla="*/ 662 w 1305"/>
                <a:gd name="T73" fmla="*/ 381 h 540"/>
                <a:gd name="T74" fmla="*/ 653 w 1305"/>
                <a:gd name="T75" fmla="*/ 382 h 540"/>
                <a:gd name="T76" fmla="*/ 634 w 1305"/>
                <a:gd name="T77" fmla="*/ 380 h 540"/>
                <a:gd name="T78" fmla="*/ 618 w 1305"/>
                <a:gd name="T79" fmla="*/ 375 h 540"/>
                <a:gd name="T80" fmla="*/ 602 w 1305"/>
                <a:gd name="T81" fmla="*/ 366 h 540"/>
                <a:gd name="T82" fmla="*/ 589 w 1305"/>
                <a:gd name="T83" fmla="*/ 356 h 540"/>
                <a:gd name="T84" fmla="*/ 579 w 1305"/>
                <a:gd name="T85" fmla="*/ 343 h 540"/>
                <a:gd name="T86" fmla="*/ 570 w 1305"/>
                <a:gd name="T87" fmla="*/ 327 h 540"/>
                <a:gd name="T88" fmla="*/ 565 w 1305"/>
                <a:gd name="T89" fmla="*/ 311 h 540"/>
                <a:gd name="T90" fmla="*/ 562 w 1305"/>
                <a:gd name="T91" fmla="*/ 292 h 540"/>
                <a:gd name="T92" fmla="*/ 564 w 1305"/>
                <a:gd name="T93" fmla="*/ 283 h 540"/>
                <a:gd name="T94" fmla="*/ 567 w 1305"/>
                <a:gd name="T95" fmla="*/ 266 h 540"/>
                <a:gd name="T96" fmla="*/ 573 w 1305"/>
                <a:gd name="T97" fmla="*/ 249 h 540"/>
                <a:gd name="T98" fmla="*/ 583 w 1305"/>
                <a:gd name="T99" fmla="*/ 234 h 540"/>
                <a:gd name="T100" fmla="*/ 596 w 1305"/>
                <a:gd name="T101" fmla="*/ 223 h 540"/>
                <a:gd name="T102" fmla="*/ 610 w 1305"/>
                <a:gd name="T103" fmla="*/ 213 h 540"/>
                <a:gd name="T104" fmla="*/ 626 w 1305"/>
                <a:gd name="T105" fmla="*/ 206 h 540"/>
                <a:gd name="T106" fmla="*/ 644 w 1305"/>
                <a:gd name="T107" fmla="*/ 202 h 540"/>
                <a:gd name="T108" fmla="*/ 653 w 1305"/>
                <a:gd name="T109" fmla="*/ 202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05" h="540">
                  <a:moveTo>
                    <a:pt x="0" y="382"/>
                  </a:moveTo>
                  <a:lnTo>
                    <a:pt x="0" y="518"/>
                  </a:lnTo>
                  <a:lnTo>
                    <a:pt x="0" y="518"/>
                  </a:lnTo>
                  <a:lnTo>
                    <a:pt x="1" y="522"/>
                  </a:lnTo>
                  <a:lnTo>
                    <a:pt x="2" y="526"/>
                  </a:lnTo>
                  <a:lnTo>
                    <a:pt x="4" y="529"/>
                  </a:lnTo>
                  <a:lnTo>
                    <a:pt x="6" y="533"/>
                  </a:lnTo>
                  <a:lnTo>
                    <a:pt x="9" y="536"/>
                  </a:lnTo>
                  <a:lnTo>
                    <a:pt x="14" y="538"/>
                  </a:lnTo>
                  <a:lnTo>
                    <a:pt x="18" y="539"/>
                  </a:lnTo>
                  <a:lnTo>
                    <a:pt x="22" y="540"/>
                  </a:lnTo>
                  <a:lnTo>
                    <a:pt x="1283" y="540"/>
                  </a:lnTo>
                  <a:lnTo>
                    <a:pt x="1283" y="540"/>
                  </a:lnTo>
                  <a:lnTo>
                    <a:pt x="1287" y="539"/>
                  </a:lnTo>
                  <a:lnTo>
                    <a:pt x="1291" y="538"/>
                  </a:lnTo>
                  <a:lnTo>
                    <a:pt x="1296" y="536"/>
                  </a:lnTo>
                  <a:lnTo>
                    <a:pt x="1299" y="533"/>
                  </a:lnTo>
                  <a:lnTo>
                    <a:pt x="1302" y="529"/>
                  </a:lnTo>
                  <a:lnTo>
                    <a:pt x="1304" y="526"/>
                  </a:lnTo>
                  <a:lnTo>
                    <a:pt x="1305" y="522"/>
                  </a:lnTo>
                  <a:lnTo>
                    <a:pt x="1305" y="518"/>
                  </a:lnTo>
                  <a:lnTo>
                    <a:pt x="1305" y="382"/>
                  </a:lnTo>
                  <a:lnTo>
                    <a:pt x="1305" y="382"/>
                  </a:lnTo>
                  <a:lnTo>
                    <a:pt x="1305" y="376"/>
                  </a:lnTo>
                  <a:lnTo>
                    <a:pt x="1302" y="371"/>
                  </a:lnTo>
                  <a:lnTo>
                    <a:pt x="1299" y="366"/>
                  </a:lnTo>
                  <a:lnTo>
                    <a:pt x="1295" y="362"/>
                  </a:lnTo>
                  <a:lnTo>
                    <a:pt x="664" y="2"/>
                  </a:lnTo>
                  <a:lnTo>
                    <a:pt x="664" y="2"/>
                  </a:lnTo>
                  <a:lnTo>
                    <a:pt x="659" y="0"/>
                  </a:lnTo>
                  <a:lnTo>
                    <a:pt x="653" y="0"/>
                  </a:lnTo>
                  <a:lnTo>
                    <a:pt x="647" y="0"/>
                  </a:lnTo>
                  <a:lnTo>
                    <a:pt x="642" y="2"/>
                  </a:lnTo>
                  <a:lnTo>
                    <a:pt x="11" y="362"/>
                  </a:lnTo>
                  <a:lnTo>
                    <a:pt x="11" y="362"/>
                  </a:lnTo>
                  <a:lnTo>
                    <a:pt x="6" y="366"/>
                  </a:lnTo>
                  <a:lnTo>
                    <a:pt x="3" y="371"/>
                  </a:lnTo>
                  <a:lnTo>
                    <a:pt x="1" y="376"/>
                  </a:lnTo>
                  <a:lnTo>
                    <a:pt x="0" y="382"/>
                  </a:lnTo>
                  <a:lnTo>
                    <a:pt x="0" y="382"/>
                  </a:lnTo>
                  <a:close/>
                  <a:moveTo>
                    <a:pt x="653" y="202"/>
                  </a:moveTo>
                  <a:lnTo>
                    <a:pt x="653" y="202"/>
                  </a:lnTo>
                  <a:lnTo>
                    <a:pt x="662" y="202"/>
                  </a:lnTo>
                  <a:lnTo>
                    <a:pt x="671" y="203"/>
                  </a:lnTo>
                  <a:lnTo>
                    <a:pt x="679" y="206"/>
                  </a:lnTo>
                  <a:lnTo>
                    <a:pt x="688" y="209"/>
                  </a:lnTo>
                  <a:lnTo>
                    <a:pt x="695" y="213"/>
                  </a:lnTo>
                  <a:lnTo>
                    <a:pt x="703" y="217"/>
                  </a:lnTo>
                  <a:lnTo>
                    <a:pt x="710" y="223"/>
                  </a:lnTo>
                  <a:lnTo>
                    <a:pt x="717" y="228"/>
                  </a:lnTo>
                  <a:lnTo>
                    <a:pt x="722" y="234"/>
                  </a:lnTo>
                  <a:lnTo>
                    <a:pt x="728" y="242"/>
                  </a:lnTo>
                  <a:lnTo>
                    <a:pt x="732" y="249"/>
                  </a:lnTo>
                  <a:lnTo>
                    <a:pt x="736" y="257"/>
                  </a:lnTo>
                  <a:lnTo>
                    <a:pt x="738" y="266"/>
                  </a:lnTo>
                  <a:lnTo>
                    <a:pt x="742" y="274"/>
                  </a:lnTo>
                  <a:lnTo>
                    <a:pt x="743" y="283"/>
                  </a:lnTo>
                  <a:lnTo>
                    <a:pt x="743" y="292"/>
                  </a:lnTo>
                  <a:lnTo>
                    <a:pt x="743" y="292"/>
                  </a:lnTo>
                  <a:lnTo>
                    <a:pt x="743" y="301"/>
                  </a:lnTo>
                  <a:lnTo>
                    <a:pt x="742" y="311"/>
                  </a:lnTo>
                  <a:lnTo>
                    <a:pt x="738" y="319"/>
                  </a:lnTo>
                  <a:lnTo>
                    <a:pt x="736" y="327"/>
                  </a:lnTo>
                  <a:lnTo>
                    <a:pt x="732" y="335"/>
                  </a:lnTo>
                  <a:lnTo>
                    <a:pt x="728" y="343"/>
                  </a:lnTo>
                  <a:lnTo>
                    <a:pt x="722" y="349"/>
                  </a:lnTo>
                  <a:lnTo>
                    <a:pt x="717" y="356"/>
                  </a:lnTo>
                  <a:lnTo>
                    <a:pt x="710" y="361"/>
                  </a:lnTo>
                  <a:lnTo>
                    <a:pt x="703" y="366"/>
                  </a:lnTo>
                  <a:lnTo>
                    <a:pt x="695" y="371"/>
                  </a:lnTo>
                  <a:lnTo>
                    <a:pt x="688" y="375"/>
                  </a:lnTo>
                  <a:lnTo>
                    <a:pt x="679" y="378"/>
                  </a:lnTo>
                  <a:lnTo>
                    <a:pt x="671" y="380"/>
                  </a:lnTo>
                  <a:lnTo>
                    <a:pt x="662" y="381"/>
                  </a:lnTo>
                  <a:lnTo>
                    <a:pt x="653" y="382"/>
                  </a:lnTo>
                  <a:lnTo>
                    <a:pt x="653" y="382"/>
                  </a:lnTo>
                  <a:lnTo>
                    <a:pt x="644" y="381"/>
                  </a:lnTo>
                  <a:lnTo>
                    <a:pt x="634" y="380"/>
                  </a:lnTo>
                  <a:lnTo>
                    <a:pt x="626" y="378"/>
                  </a:lnTo>
                  <a:lnTo>
                    <a:pt x="618" y="375"/>
                  </a:lnTo>
                  <a:lnTo>
                    <a:pt x="610" y="371"/>
                  </a:lnTo>
                  <a:lnTo>
                    <a:pt x="602" y="366"/>
                  </a:lnTo>
                  <a:lnTo>
                    <a:pt x="596" y="361"/>
                  </a:lnTo>
                  <a:lnTo>
                    <a:pt x="589" y="356"/>
                  </a:lnTo>
                  <a:lnTo>
                    <a:pt x="583" y="349"/>
                  </a:lnTo>
                  <a:lnTo>
                    <a:pt x="579" y="343"/>
                  </a:lnTo>
                  <a:lnTo>
                    <a:pt x="573" y="335"/>
                  </a:lnTo>
                  <a:lnTo>
                    <a:pt x="570" y="327"/>
                  </a:lnTo>
                  <a:lnTo>
                    <a:pt x="567" y="319"/>
                  </a:lnTo>
                  <a:lnTo>
                    <a:pt x="565" y="311"/>
                  </a:lnTo>
                  <a:lnTo>
                    <a:pt x="564" y="301"/>
                  </a:lnTo>
                  <a:lnTo>
                    <a:pt x="562" y="292"/>
                  </a:lnTo>
                  <a:lnTo>
                    <a:pt x="562" y="292"/>
                  </a:lnTo>
                  <a:lnTo>
                    <a:pt x="564" y="283"/>
                  </a:lnTo>
                  <a:lnTo>
                    <a:pt x="565" y="274"/>
                  </a:lnTo>
                  <a:lnTo>
                    <a:pt x="567" y="266"/>
                  </a:lnTo>
                  <a:lnTo>
                    <a:pt x="570" y="257"/>
                  </a:lnTo>
                  <a:lnTo>
                    <a:pt x="573" y="249"/>
                  </a:lnTo>
                  <a:lnTo>
                    <a:pt x="579" y="242"/>
                  </a:lnTo>
                  <a:lnTo>
                    <a:pt x="583" y="234"/>
                  </a:lnTo>
                  <a:lnTo>
                    <a:pt x="589" y="228"/>
                  </a:lnTo>
                  <a:lnTo>
                    <a:pt x="596" y="223"/>
                  </a:lnTo>
                  <a:lnTo>
                    <a:pt x="602" y="217"/>
                  </a:lnTo>
                  <a:lnTo>
                    <a:pt x="610" y="213"/>
                  </a:lnTo>
                  <a:lnTo>
                    <a:pt x="618" y="209"/>
                  </a:lnTo>
                  <a:lnTo>
                    <a:pt x="626" y="206"/>
                  </a:lnTo>
                  <a:lnTo>
                    <a:pt x="634" y="203"/>
                  </a:lnTo>
                  <a:lnTo>
                    <a:pt x="644" y="202"/>
                  </a:lnTo>
                  <a:lnTo>
                    <a:pt x="653" y="202"/>
                  </a:lnTo>
                  <a:lnTo>
                    <a:pt x="653" y="20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227" name="Group 226">
            <a:extLst>
              <a:ext uri="{FF2B5EF4-FFF2-40B4-BE49-F238E27FC236}">
                <a16:creationId xmlns:a16="http://schemas.microsoft.com/office/drawing/2014/main" id="{19E5F4D6-0316-4C2B-A1B0-82ACA99F5189}"/>
              </a:ext>
            </a:extLst>
          </p:cNvPr>
          <p:cNvGrpSpPr/>
          <p:nvPr/>
        </p:nvGrpSpPr>
        <p:grpSpPr>
          <a:xfrm>
            <a:off x="7384473" y="2311175"/>
            <a:ext cx="622300" cy="373063"/>
            <a:chOff x="7384473" y="1913615"/>
            <a:chExt cx="622300" cy="373063"/>
          </a:xfrm>
        </p:grpSpPr>
        <p:sp>
          <p:nvSpPr>
            <p:cNvPr id="228" name="Freeform 386">
              <a:extLst>
                <a:ext uri="{FF2B5EF4-FFF2-40B4-BE49-F238E27FC236}">
                  <a16:creationId xmlns:a16="http://schemas.microsoft.com/office/drawing/2014/main" id="{F6E1F243-A5B8-4856-B0E1-B10E8BBA9692}"/>
                </a:ext>
              </a:extLst>
            </p:cNvPr>
            <p:cNvSpPr>
              <a:spLocks noChangeAspect="1" noEditPoints="1"/>
            </p:cNvSpPr>
            <p:nvPr/>
          </p:nvSpPr>
          <p:spPr bwMode="auto">
            <a:xfrm>
              <a:off x="7384473" y="1913615"/>
              <a:ext cx="622300" cy="373063"/>
            </a:xfrm>
            <a:custGeom>
              <a:avLst/>
              <a:gdLst>
                <a:gd name="T0" fmla="*/ 53 w 1569"/>
                <a:gd name="T1" fmla="*/ 0 h 942"/>
                <a:gd name="T2" fmla="*/ 42 w 1569"/>
                <a:gd name="T3" fmla="*/ 1 h 942"/>
                <a:gd name="T4" fmla="*/ 23 w 1569"/>
                <a:gd name="T5" fmla="*/ 9 h 942"/>
                <a:gd name="T6" fmla="*/ 9 w 1569"/>
                <a:gd name="T7" fmla="*/ 23 h 942"/>
                <a:gd name="T8" fmla="*/ 1 w 1569"/>
                <a:gd name="T9" fmla="*/ 41 h 942"/>
                <a:gd name="T10" fmla="*/ 0 w 1569"/>
                <a:gd name="T11" fmla="*/ 890 h 942"/>
                <a:gd name="T12" fmla="*/ 1 w 1569"/>
                <a:gd name="T13" fmla="*/ 899 h 942"/>
                <a:gd name="T14" fmla="*/ 9 w 1569"/>
                <a:gd name="T15" fmla="*/ 918 h 942"/>
                <a:gd name="T16" fmla="*/ 23 w 1569"/>
                <a:gd name="T17" fmla="*/ 932 h 942"/>
                <a:gd name="T18" fmla="*/ 42 w 1569"/>
                <a:gd name="T19" fmla="*/ 941 h 942"/>
                <a:gd name="T20" fmla="*/ 1517 w 1569"/>
                <a:gd name="T21" fmla="*/ 942 h 942"/>
                <a:gd name="T22" fmla="*/ 1527 w 1569"/>
                <a:gd name="T23" fmla="*/ 941 h 942"/>
                <a:gd name="T24" fmla="*/ 1545 w 1569"/>
                <a:gd name="T25" fmla="*/ 932 h 942"/>
                <a:gd name="T26" fmla="*/ 1560 w 1569"/>
                <a:gd name="T27" fmla="*/ 918 h 942"/>
                <a:gd name="T28" fmla="*/ 1568 w 1569"/>
                <a:gd name="T29" fmla="*/ 899 h 942"/>
                <a:gd name="T30" fmla="*/ 1569 w 1569"/>
                <a:gd name="T31" fmla="*/ 52 h 942"/>
                <a:gd name="T32" fmla="*/ 1568 w 1569"/>
                <a:gd name="T33" fmla="*/ 41 h 942"/>
                <a:gd name="T34" fmla="*/ 1560 w 1569"/>
                <a:gd name="T35" fmla="*/ 23 h 942"/>
                <a:gd name="T36" fmla="*/ 1545 w 1569"/>
                <a:gd name="T37" fmla="*/ 9 h 942"/>
                <a:gd name="T38" fmla="*/ 1527 w 1569"/>
                <a:gd name="T39" fmla="*/ 1 h 942"/>
                <a:gd name="T40" fmla="*/ 1517 w 1569"/>
                <a:gd name="T41" fmla="*/ 0 h 942"/>
                <a:gd name="T42" fmla="*/ 373 w 1569"/>
                <a:gd name="T43" fmla="*/ 104 h 942"/>
                <a:gd name="T44" fmla="*/ 428 w 1569"/>
                <a:gd name="T45" fmla="*/ 140 h 942"/>
                <a:gd name="T46" fmla="*/ 410 w 1569"/>
                <a:gd name="T47" fmla="*/ 213 h 942"/>
                <a:gd name="T48" fmla="*/ 335 w 1569"/>
                <a:gd name="T49" fmla="*/ 213 h 942"/>
                <a:gd name="T50" fmla="*/ 317 w 1569"/>
                <a:gd name="T51" fmla="*/ 140 h 942"/>
                <a:gd name="T52" fmla="*/ 357 w 1569"/>
                <a:gd name="T53" fmla="*/ 354 h 942"/>
                <a:gd name="T54" fmla="*/ 390 w 1569"/>
                <a:gd name="T55" fmla="*/ 354 h 942"/>
                <a:gd name="T56" fmla="*/ 399 w 1569"/>
                <a:gd name="T57" fmla="*/ 384 h 942"/>
                <a:gd name="T58" fmla="*/ 373 w 1569"/>
                <a:gd name="T59" fmla="*/ 405 h 942"/>
                <a:gd name="T60" fmla="*/ 346 w 1569"/>
                <a:gd name="T61" fmla="*/ 384 h 942"/>
                <a:gd name="T62" fmla="*/ 357 w 1569"/>
                <a:gd name="T63" fmla="*/ 354 h 942"/>
                <a:gd name="T64" fmla="*/ 160 w 1569"/>
                <a:gd name="T65" fmla="*/ 104 h 942"/>
                <a:gd name="T66" fmla="*/ 216 w 1569"/>
                <a:gd name="T67" fmla="*/ 140 h 942"/>
                <a:gd name="T68" fmla="*/ 198 w 1569"/>
                <a:gd name="T69" fmla="*/ 213 h 942"/>
                <a:gd name="T70" fmla="*/ 123 w 1569"/>
                <a:gd name="T71" fmla="*/ 213 h 942"/>
                <a:gd name="T72" fmla="*/ 105 w 1569"/>
                <a:gd name="T73" fmla="*/ 140 h 942"/>
                <a:gd name="T74" fmla="*/ 143 w 1569"/>
                <a:gd name="T75" fmla="*/ 354 h 942"/>
                <a:gd name="T76" fmla="*/ 176 w 1569"/>
                <a:gd name="T77" fmla="*/ 354 h 942"/>
                <a:gd name="T78" fmla="*/ 187 w 1569"/>
                <a:gd name="T79" fmla="*/ 384 h 942"/>
                <a:gd name="T80" fmla="*/ 160 w 1569"/>
                <a:gd name="T81" fmla="*/ 405 h 942"/>
                <a:gd name="T82" fmla="*/ 134 w 1569"/>
                <a:gd name="T83" fmla="*/ 384 h 942"/>
                <a:gd name="T84" fmla="*/ 143 w 1569"/>
                <a:gd name="T85" fmla="*/ 354 h 942"/>
                <a:gd name="T86" fmla="*/ 53 w 1569"/>
                <a:gd name="T87" fmla="*/ 837 h 942"/>
                <a:gd name="T88" fmla="*/ 1517 w 1569"/>
                <a:gd name="T89" fmla="*/ 733 h 942"/>
                <a:gd name="T90" fmla="*/ 1517 w 1569"/>
                <a:gd name="T91" fmla="*/ 628 h 942"/>
                <a:gd name="T92" fmla="*/ 53 w 1569"/>
                <a:gd name="T93" fmla="*/ 524 h 942"/>
                <a:gd name="T94" fmla="*/ 1517 w 1569"/>
                <a:gd name="T95" fmla="*/ 524 h 942"/>
                <a:gd name="T96" fmla="*/ 1517 w 1569"/>
                <a:gd name="T97" fmla="*/ 418 h 942"/>
                <a:gd name="T98" fmla="*/ 523 w 1569"/>
                <a:gd name="T99" fmla="*/ 313 h 942"/>
                <a:gd name="T100" fmla="*/ 1517 w 1569"/>
                <a:gd name="T101" fmla="*/ 418 h 942"/>
                <a:gd name="T102" fmla="*/ 523 w 1569"/>
                <a:gd name="T103" fmla="*/ 209 h 942"/>
                <a:gd name="T104" fmla="*/ 1517 w 1569"/>
                <a:gd name="T105" fmla="*/ 104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69" h="942">
                  <a:moveTo>
                    <a:pt x="1517" y="0"/>
                  </a:moveTo>
                  <a:lnTo>
                    <a:pt x="53" y="0"/>
                  </a:lnTo>
                  <a:lnTo>
                    <a:pt x="53" y="0"/>
                  </a:lnTo>
                  <a:lnTo>
                    <a:pt x="42" y="1"/>
                  </a:lnTo>
                  <a:lnTo>
                    <a:pt x="31" y="4"/>
                  </a:lnTo>
                  <a:lnTo>
                    <a:pt x="23" y="9"/>
                  </a:lnTo>
                  <a:lnTo>
                    <a:pt x="15" y="16"/>
                  </a:lnTo>
                  <a:lnTo>
                    <a:pt x="9" y="23"/>
                  </a:lnTo>
                  <a:lnTo>
                    <a:pt x="4" y="32"/>
                  </a:lnTo>
                  <a:lnTo>
                    <a:pt x="1" y="41"/>
                  </a:lnTo>
                  <a:lnTo>
                    <a:pt x="0" y="52"/>
                  </a:lnTo>
                  <a:lnTo>
                    <a:pt x="0" y="890"/>
                  </a:lnTo>
                  <a:lnTo>
                    <a:pt x="0" y="890"/>
                  </a:lnTo>
                  <a:lnTo>
                    <a:pt x="1" y="899"/>
                  </a:lnTo>
                  <a:lnTo>
                    <a:pt x="4" y="910"/>
                  </a:lnTo>
                  <a:lnTo>
                    <a:pt x="9" y="918"/>
                  </a:lnTo>
                  <a:lnTo>
                    <a:pt x="15" y="926"/>
                  </a:lnTo>
                  <a:lnTo>
                    <a:pt x="23" y="932"/>
                  </a:lnTo>
                  <a:lnTo>
                    <a:pt x="31" y="938"/>
                  </a:lnTo>
                  <a:lnTo>
                    <a:pt x="42" y="941"/>
                  </a:lnTo>
                  <a:lnTo>
                    <a:pt x="53" y="942"/>
                  </a:lnTo>
                  <a:lnTo>
                    <a:pt x="1517" y="942"/>
                  </a:lnTo>
                  <a:lnTo>
                    <a:pt x="1517" y="942"/>
                  </a:lnTo>
                  <a:lnTo>
                    <a:pt x="1527" y="941"/>
                  </a:lnTo>
                  <a:lnTo>
                    <a:pt x="1537" y="938"/>
                  </a:lnTo>
                  <a:lnTo>
                    <a:pt x="1545" y="932"/>
                  </a:lnTo>
                  <a:lnTo>
                    <a:pt x="1554" y="926"/>
                  </a:lnTo>
                  <a:lnTo>
                    <a:pt x="1560" y="918"/>
                  </a:lnTo>
                  <a:lnTo>
                    <a:pt x="1565" y="910"/>
                  </a:lnTo>
                  <a:lnTo>
                    <a:pt x="1568" y="899"/>
                  </a:lnTo>
                  <a:lnTo>
                    <a:pt x="1569" y="890"/>
                  </a:lnTo>
                  <a:lnTo>
                    <a:pt x="1569" y="52"/>
                  </a:lnTo>
                  <a:lnTo>
                    <a:pt x="1569" y="52"/>
                  </a:lnTo>
                  <a:lnTo>
                    <a:pt x="1568" y="41"/>
                  </a:lnTo>
                  <a:lnTo>
                    <a:pt x="1565" y="32"/>
                  </a:lnTo>
                  <a:lnTo>
                    <a:pt x="1560" y="23"/>
                  </a:lnTo>
                  <a:lnTo>
                    <a:pt x="1554" y="16"/>
                  </a:lnTo>
                  <a:lnTo>
                    <a:pt x="1545" y="9"/>
                  </a:lnTo>
                  <a:lnTo>
                    <a:pt x="1537" y="4"/>
                  </a:lnTo>
                  <a:lnTo>
                    <a:pt x="1527" y="1"/>
                  </a:lnTo>
                  <a:lnTo>
                    <a:pt x="1517" y="0"/>
                  </a:lnTo>
                  <a:lnTo>
                    <a:pt x="1517" y="0"/>
                  </a:lnTo>
                  <a:close/>
                  <a:moveTo>
                    <a:pt x="357" y="140"/>
                  </a:moveTo>
                  <a:lnTo>
                    <a:pt x="373" y="104"/>
                  </a:lnTo>
                  <a:lnTo>
                    <a:pt x="390" y="140"/>
                  </a:lnTo>
                  <a:lnTo>
                    <a:pt x="428" y="140"/>
                  </a:lnTo>
                  <a:lnTo>
                    <a:pt x="399" y="170"/>
                  </a:lnTo>
                  <a:lnTo>
                    <a:pt x="410" y="213"/>
                  </a:lnTo>
                  <a:lnTo>
                    <a:pt x="373" y="192"/>
                  </a:lnTo>
                  <a:lnTo>
                    <a:pt x="335" y="213"/>
                  </a:lnTo>
                  <a:lnTo>
                    <a:pt x="346" y="170"/>
                  </a:lnTo>
                  <a:lnTo>
                    <a:pt x="317" y="140"/>
                  </a:lnTo>
                  <a:lnTo>
                    <a:pt x="357" y="140"/>
                  </a:lnTo>
                  <a:close/>
                  <a:moveTo>
                    <a:pt x="357" y="354"/>
                  </a:moveTo>
                  <a:lnTo>
                    <a:pt x="373" y="318"/>
                  </a:lnTo>
                  <a:lnTo>
                    <a:pt x="390" y="354"/>
                  </a:lnTo>
                  <a:lnTo>
                    <a:pt x="428" y="354"/>
                  </a:lnTo>
                  <a:lnTo>
                    <a:pt x="399" y="384"/>
                  </a:lnTo>
                  <a:lnTo>
                    <a:pt x="410" y="426"/>
                  </a:lnTo>
                  <a:lnTo>
                    <a:pt x="373" y="405"/>
                  </a:lnTo>
                  <a:lnTo>
                    <a:pt x="335" y="426"/>
                  </a:lnTo>
                  <a:lnTo>
                    <a:pt x="346" y="384"/>
                  </a:lnTo>
                  <a:lnTo>
                    <a:pt x="317" y="354"/>
                  </a:lnTo>
                  <a:lnTo>
                    <a:pt x="357" y="354"/>
                  </a:lnTo>
                  <a:close/>
                  <a:moveTo>
                    <a:pt x="143" y="140"/>
                  </a:moveTo>
                  <a:lnTo>
                    <a:pt x="160" y="104"/>
                  </a:lnTo>
                  <a:lnTo>
                    <a:pt x="176" y="140"/>
                  </a:lnTo>
                  <a:lnTo>
                    <a:pt x="216" y="140"/>
                  </a:lnTo>
                  <a:lnTo>
                    <a:pt x="187" y="170"/>
                  </a:lnTo>
                  <a:lnTo>
                    <a:pt x="198" y="213"/>
                  </a:lnTo>
                  <a:lnTo>
                    <a:pt x="160" y="192"/>
                  </a:lnTo>
                  <a:lnTo>
                    <a:pt x="123" y="213"/>
                  </a:lnTo>
                  <a:lnTo>
                    <a:pt x="134" y="170"/>
                  </a:lnTo>
                  <a:lnTo>
                    <a:pt x="105" y="140"/>
                  </a:lnTo>
                  <a:lnTo>
                    <a:pt x="143" y="140"/>
                  </a:lnTo>
                  <a:close/>
                  <a:moveTo>
                    <a:pt x="143" y="354"/>
                  </a:moveTo>
                  <a:lnTo>
                    <a:pt x="160" y="318"/>
                  </a:lnTo>
                  <a:lnTo>
                    <a:pt x="176" y="354"/>
                  </a:lnTo>
                  <a:lnTo>
                    <a:pt x="216" y="354"/>
                  </a:lnTo>
                  <a:lnTo>
                    <a:pt x="187" y="384"/>
                  </a:lnTo>
                  <a:lnTo>
                    <a:pt x="198" y="426"/>
                  </a:lnTo>
                  <a:lnTo>
                    <a:pt x="160" y="405"/>
                  </a:lnTo>
                  <a:lnTo>
                    <a:pt x="123" y="426"/>
                  </a:lnTo>
                  <a:lnTo>
                    <a:pt x="134" y="384"/>
                  </a:lnTo>
                  <a:lnTo>
                    <a:pt x="105" y="354"/>
                  </a:lnTo>
                  <a:lnTo>
                    <a:pt x="143" y="354"/>
                  </a:lnTo>
                  <a:close/>
                  <a:moveTo>
                    <a:pt x="1517" y="837"/>
                  </a:moveTo>
                  <a:lnTo>
                    <a:pt x="53" y="837"/>
                  </a:lnTo>
                  <a:lnTo>
                    <a:pt x="53" y="733"/>
                  </a:lnTo>
                  <a:lnTo>
                    <a:pt x="1517" y="733"/>
                  </a:lnTo>
                  <a:lnTo>
                    <a:pt x="1517" y="837"/>
                  </a:lnTo>
                  <a:close/>
                  <a:moveTo>
                    <a:pt x="1517" y="628"/>
                  </a:moveTo>
                  <a:lnTo>
                    <a:pt x="53" y="628"/>
                  </a:lnTo>
                  <a:lnTo>
                    <a:pt x="53" y="524"/>
                  </a:lnTo>
                  <a:lnTo>
                    <a:pt x="523" y="524"/>
                  </a:lnTo>
                  <a:lnTo>
                    <a:pt x="1517" y="524"/>
                  </a:lnTo>
                  <a:lnTo>
                    <a:pt x="1517" y="628"/>
                  </a:lnTo>
                  <a:close/>
                  <a:moveTo>
                    <a:pt x="1517" y="418"/>
                  </a:moveTo>
                  <a:lnTo>
                    <a:pt x="523" y="418"/>
                  </a:lnTo>
                  <a:lnTo>
                    <a:pt x="523" y="313"/>
                  </a:lnTo>
                  <a:lnTo>
                    <a:pt x="1517" y="313"/>
                  </a:lnTo>
                  <a:lnTo>
                    <a:pt x="1517" y="418"/>
                  </a:lnTo>
                  <a:close/>
                  <a:moveTo>
                    <a:pt x="1517" y="209"/>
                  </a:moveTo>
                  <a:lnTo>
                    <a:pt x="523" y="209"/>
                  </a:lnTo>
                  <a:lnTo>
                    <a:pt x="523" y="104"/>
                  </a:lnTo>
                  <a:lnTo>
                    <a:pt x="1517" y="104"/>
                  </a:lnTo>
                  <a:lnTo>
                    <a:pt x="1517" y="209"/>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9" name="Rectangle 228">
              <a:extLst>
                <a:ext uri="{FF2B5EF4-FFF2-40B4-BE49-F238E27FC236}">
                  <a16:creationId xmlns:a16="http://schemas.microsoft.com/office/drawing/2014/main" id="{19AFE2C2-90A6-4679-ACA6-E55A8C4587F0}"/>
                </a:ext>
              </a:extLst>
            </p:cNvPr>
            <p:cNvSpPr/>
            <p:nvPr/>
          </p:nvSpPr>
          <p:spPr>
            <a:xfrm>
              <a:off x="7401577" y="1927091"/>
              <a:ext cx="178710" cy="18505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cxnSp>
        <p:nvCxnSpPr>
          <p:cNvPr id="230" name="Straight Connector 229">
            <a:extLst>
              <a:ext uri="{FF2B5EF4-FFF2-40B4-BE49-F238E27FC236}">
                <a16:creationId xmlns:a16="http://schemas.microsoft.com/office/drawing/2014/main" id="{7B9D3FB9-969E-4385-8D82-2D247B1984E6}"/>
              </a:ext>
            </a:extLst>
          </p:cNvPr>
          <p:cNvCxnSpPr>
            <a:cxnSpLocks/>
          </p:cNvCxnSpPr>
          <p:nvPr/>
        </p:nvCxnSpPr>
        <p:spPr>
          <a:xfrm>
            <a:off x="914400" y="3370312"/>
            <a:ext cx="10515658" cy="0"/>
          </a:xfrm>
          <a:prstGeom prst="line">
            <a:avLst/>
          </a:prstGeom>
          <a:ln w="2222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9A47C20C-E689-4D51-B9B4-59089EBCEDAD}"/>
              </a:ext>
            </a:extLst>
          </p:cNvPr>
          <p:cNvCxnSpPr>
            <a:cxnSpLocks/>
          </p:cNvCxnSpPr>
          <p:nvPr/>
        </p:nvCxnSpPr>
        <p:spPr>
          <a:xfrm>
            <a:off x="914400" y="5142159"/>
            <a:ext cx="10515658" cy="0"/>
          </a:xfrm>
          <a:prstGeom prst="line">
            <a:avLst/>
          </a:prstGeom>
          <a:ln w="2222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07616"/>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2B7AC2-8F97-4E5B-92C9-6ADE85140A6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132"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562B7AC2-8F97-4E5B-92C9-6ADE85140A6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388FCEE-22D8-44F9-BF29-CA0D6A75D67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35B02637-A3A2-4469-890E-F300AC4A9A60}"/>
              </a:ext>
            </a:extLst>
          </p:cNvPr>
          <p:cNvSpPr>
            <a:spLocks noGrp="1"/>
          </p:cNvSpPr>
          <p:nvPr>
            <p:ph type="title"/>
          </p:nvPr>
        </p:nvSpPr>
        <p:spPr/>
        <p:txBody>
          <a:bodyPr/>
          <a:lstStyle/>
          <a:p>
            <a:r>
              <a:rPr lang="en-US" dirty="0"/>
              <a:t>It demands a clear focus</a:t>
            </a:r>
          </a:p>
        </p:txBody>
      </p:sp>
      <p:sp>
        <p:nvSpPr>
          <p:cNvPr id="27" name="Text Placeholder 26">
            <a:extLst>
              <a:ext uri="{FF2B5EF4-FFF2-40B4-BE49-F238E27FC236}">
                <a16:creationId xmlns:a16="http://schemas.microsoft.com/office/drawing/2014/main" id="{8F1DEBFA-B62D-4EC1-AFD4-4A40E957281E}"/>
              </a:ext>
            </a:extLst>
          </p:cNvPr>
          <p:cNvSpPr>
            <a:spLocks noGrp="1"/>
          </p:cNvSpPr>
          <p:nvPr>
            <p:ph type="body" sz="quarter" idx="14"/>
          </p:nvPr>
        </p:nvSpPr>
        <p:spPr/>
        <p:txBody>
          <a:bodyPr/>
          <a:lstStyle/>
          <a:p>
            <a:r>
              <a:rPr lang="en-US" dirty="0"/>
              <a:t>In the face of disruption, a signature ambition ensures that Digital Transformation takes the shape and scale that’s right for your business</a:t>
            </a:r>
          </a:p>
        </p:txBody>
      </p:sp>
      <p:sp>
        <p:nvSpPr>
          <p:cNvPr id="28" name="Text Placeholder 27">
            <a:extLst>
              <a:ext uri="{FF2B5EF4-FFF2-40B4-BE49-F238E27FC236}">
                <a16:creationId xmlns:a16="http://schemas.microsoft.com/office/drawing/2014/main" id="{C630A753-842C-420F-9013-683F3828BD2F}"/>
              </a:ext>
            </a:extLst>
          </p:cNvPr>
          <p:cNvSpPr>
            <a:spLocks noGrp="1"/>
          </p:cNvSpPr>
          <p:nvPr>
            <p:ph type="body" sz="quarter" idx="15"/>
          </p:nvPr>
        </p:nvSpPr>
        <p:spPr/>
        <p:txBody>
          <a:bodyPr/>
          <a:lstStyle/>
          <a:p>
            <a:r>
              <a:rPr lang="en-US" dirty="0"/>
              <a:t>table</a:t>
            </a:r>
          </a:p>
        </p:txBody>
      </p:sp>
      <p:sp>
        <p:nvSpPr>
          <p:cNvPr id="34" name="Title 3"/>
          <p:cNvSpPr txBox="1">
            <a:spLocks/>
          </p:cNvSpPr>
          <p:nvPr/>
        </p:nvSpPr>
        <p:spPr>
          <a:xfrm>
            <a:off x="917518" y="5568624"/>
            <a:ext cx="9837283" cy="457455"/>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algn="r"/>
            <a:r>
              <a:rPr lang="en-US" sz="2400" dirty="0">
                <a:latin typeface="Chronicle Display Light" pitchFamily="2" charset="0"/>
              </a:rPr>
              <a:t>…a signature ambition dictates the fundamental shifts required to the business model</a:t>
            </a:r>
            <a:endParaRPr lang="en-US" sz="2400" dirty="0">
              <a:solidFill>
                <a:srgbClr val="92D050"/>
              </a:solidFill>
              <a:latin typeface="Chronicle Display Light" pitchFamily="2" charset="0"/>
            </a:endParaRPr>
          </a:p>
        </p:txBody>
      </p:sp>
      <p:sp>
        <p:nvSpPr>
          <p:cNvPr id="35" name="Title 3"/>
          <p:cNvSpPr txBox="1">
            <a:spLocks/>
          </p:cNvSpPr>
          <p:nvPr/>
        </p:nvSpPr>
        <p:spPr>
          <a:xfrm>
            <a:off x="948813" y="1896585"/>
            <a:ext cx="8510290" cy="457455"/>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r>
              <a:rPr lang="en-US" sz="2400" dirty="0">
                <a:latin typeface="Chronicle Display Light" pitchFamily="2" charset="0"/>
              </a:rPr>
              <a:t>In the case of a…</a:t>
            </a:r>
            <a:endParaRPr lang="en-US" sz="2400" dirty="0">
              <a:solidFill>
                <a:srgbClr val="92D050"/>
              </a:solidFill>
              <a:latin typeface="Chronicle Display Light" pitchFamily="2" charset="0"/>
            </a:endParaRPr>
          </a:p>
        </p:txBody>
      </p:sp>
      <p:graphicFrame>
        <p:nvGraphicFramePr>
          <p:cNvPr id="36" name="Table 35"/>
          <p:cNvGraphicFramePr>
            <a:graphicFrameLocks noGrp="1"/>
          </p:cNvGraphicFramePr>
          <p:nvPr/>
        </p:nvGraphicFramePr>
        <p:xfrm>
          <a:off x="948812" y="2433900"/>
          <a:ext cx="9448801" cy="2873706"/>
        </p:xfrm>
        <a:graphic>
          <a:graphicData uri="http://schemas.openxmlformats.org/drawingml/2006/table">
            <a:tbl>
              <a:tblPr firstRow="1" bandRow="1">
                <a:tableStyleId>{5C22544A-7EE6-4342-B048-85BDC9FD1C3A}</a:tableStyleId>
              </a:tblPr>
              <a:tblGrid>
                <a:gridCol w="1965490">
                  <a:extLst>
                    <a:ext uri="{9D8B030D-6E8A-4147-A177-3AD203B41FA5}">
                      <a16:colId xmlns:a16="http://schemas.microsoft.com/office/drawing/2014/main" val="673288032"/>
                    </a:ext>
                  </a:extLst>
                </a:gridCol>
                <a:gridCol w="3384201">
                  <a:extLst>
                    <a:ext uri="{9D8B030D-6E8A-4147-A177-3AD203B41FA5}">
                      <a16:colId xmlns:a16="http://schemas.microsoft.com/office/drawing/2014/main" val="1829626114"/>
                    </a:ext>
                  </a:extLst>
                </a:gridCol>
                <a:gridCol w="4099110">
                  <a:extLst>
                    <a:ext uri="{9D8B030D-6E8A-4147-A177-3AD203B41FA5}">
                      <a16:colId xmlns:a16="http://schemas.microsoft.com/office/drawing/2014/main" val="936720305"/>
                    </a:ext>
                  </a:extLst>
                </a:gridCol>
              </a:tblGrid>
              <a:tr h="364526">
                <a:tc>
                  <a:txBody>
                    <a:bodyPr/>
                    <a:lstStyle/>
                    <a:p>
                      <a:endParaRPr lang="en-US" sz="1400" dirty="0">
                        <a:solidFill>
                          <a:schemeClr val="tx1"/>
                        </a:solidFill>
                      </a:endParaRPr>
                    </a:p>
                  </a:txBody>
                  <a:tcPr>
                    <a:lnR w="12700" cmpd="sng">
                      <a:noFill/>
                    </a:lnR>
                    <a:lnB w="38100" cmpd="sng">
                      <a:noFill/>
                    </a:lnB>
                    <a:solidFill>
                      <a:schemeClr val="bg1"/>
                    </a:solidFill>
                  </a:tcPr>
                </a:tc>
                <a:tc>
                  <a:txBody>
                    <a:bodyPr/>
                    <a:lstStyle/>
                    <a:p>
                      <a:pPr algn="l"/>
                      <a:r>
                        <a:rPr lang="en-US" sz="1400" dirty="0">
                          <a:solidFill>
                            <a:schemeClr val="tx1"/>
                          </a:solidFill>
                        </a:rPr>
                        <a:t>Disruptive Force</a:t>
                      </a:r>
                    </a:p>
                  </a:txBody>
                  <a:tcPr anchor="ctr">
                    <a:lnL w="12700" cmpd="sng">
                      <a:noFill/>
                    </a:lnL>
                    <a:lnR w="12700" cmpd="sng">
                      <a:noFill/>
                    </a:lnR>
                    <a:lnT w="12700" cmpd="sng">
                      <a:noFill/>
                    </a:lnT>
                    <a:lnB w="190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400" dirty="0">
                          <a:solidFill>
                            <a:schemeClr val="tx1"/>
                          </a:solidFill>
                        </a:rPr>
                        <a:t>Signature Ambition</a:t>
                      </a:r>
                    </a:p>
                  </a:txBody>
                  <a:tcPr anchor="ctr">
                    <a:lnL w="12700" cmpd="sng">
                      <a:noFill/>
                    </a:lnL>
                    <a:lnR w="12700" cmpd="sng">
                      <a:noFill/>
                    </a:lnR>
                    <a:lnT w="12700" cmpd="sng">
                      <a:noFill/>
                    </a:lnT>
                    <a:lnB w="190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2400107"/>
                  </a:ext>
                </a:extLst>
              </a:tr>
              <a:tr h="934550">
                <a:tc>
                  <a:txBody>
                    <a:bodyPr/>
                    <a:lstStyle/>
                    <a:p>
                      <a:r>
                        <a:rPr lang="en-US" sz="1400" b="1" dirty="0">
                          <a:solidFill>
                            <a:schemeClr val="tx1"/>
                          </a:solidFill>
                        </a:rPr>
                        <a:t>Direct Seller </a:t>
                      </a:r>
                      <a:r>
                        <a:rPr lang="en-US" sz="1400" b="0" dirty="0">
                          <a:solidFill>
                            <a:schemeClr val="tx1"/>
                          </a:solidFill>
                        </a:rPr>
                        <a:t>(Food)</a:t>
                      </a:r>
                    </a:p>
                  </a:txBody>
                  <a:tcP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Our consumers demand a </a:t>
                      </a:r>
                      <a:br>
                        <a:rPr lang="en-US" sz="1200" dirty="0">
                          <a:solidFill>
                            <a:schemeClr val="tx1"/>
                          </a:solidFill>
                        </a:rPr>
                      </a:br>
                      <a:r>
                        <a:rPr lang="en-US" sz="1200" dirty="0">
                          <a:solidFill>
                            <a:schemeClr val="tx1"/>
                          </a:solidFill>
                        </a:rPr>
                        <a:t>personalized shopping experience </a:t>
                      </a:r>
                      <a:br>
                        <a:rPr lang="en-US" sz="1200" dirty="0">
                          <a:solidFill>
                            <a:schemeClr val="tx1"/>
                          </a:solidFill>
                        </a:rPr>
                      </a:br>
                      <a:r>
                        <a:rPr lang="en-US" sz="1200" dirty="0">
                          <a:solidFill>
                            <a:schemeClr val="tx1"/>
                          </a:solidFill>
                        </a:rPr>
                        <a:t>that our current model can’t meet…</a:t>
                      </a:r>
                    </a:p>
                  </a:txBody>
                  <a:tcPr>
                    <a:lnL w="12700" cmpd="sng">
                      <a:noFill/>
                    </a:lnL>
                    <a:lnT w="19050" cap="flat" cmpd="sng" algn="ctr">
                      <a:solidFill>
                        <a:schemeClr val="bg1">
                          <a:lumMod val="8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We need to take our end-to-end sales</a:t>
                      </a:r>
                      <a:br>
                        <a:rPr lang="en-US" sz="1200" dirty="0">
                          <a:solidFill>
                            <a:schemeClr val="tx1"/>
                          </a:solidFill>
                        </a:rPr>
                      </a:br>
                      <a:r>
                        <a:rPr lang="en-US" sz="1200" dirty="0">
                          <a:solidFill>
                            <a:schemeClr val="tx1"/>
                          </a:solidFill>
                        </a:rPr>
                        <a:t> experience online and develop the right talent </a:t>
                      </a:r>
                      <a:br>
                        <a:rPr lang="en-US" sz="1200" dirty="0">
                          <a:solidFill>
                            <a:schemeClr val="tx1"/>
                          </a:solidFill>
                        </a:rPr>
                      </a:br>
                      <a:r>
                        <a:rPr lang="en-US" sz="1200" dirty="0">
                          <a:solidFill>
                            <a:schemeClr val="tx1"/>
                          </a:solidFill>
                        </a:rPr>
                        <a:t>models to appeal to our target customer base…</a:t>
                      </a:r>
                    </a:p>
                  </a:txBody>
                  <a:tcPr>
                    <a:lnT w="19050" cap="flat" cmpd="sng" algn="ctr">
                      <a:solidFill>
                        <a:schemeClr val="bg1">
                          <a:lumMod val="8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27938658"/>
                  </a:ext>
                </a:extLst>
              </a:tr>
              <a:tr h="934550">
                <a:tc>
                  <a:txBody>
                    <a:bodyPr/>
                    <a:lstStyle/>
                    <a:p>
                      <a:r>
                        <a:rPr lang="en-US" sz="1400" b="1" dirty="0">
                          <a:solidFill>
                            <a:schemeClr val="tx1"/>
                          </a:solidFill>
                        </a:rPr>
                        <a:t>Mass</a:t>
                      </a:r>
                      <a:r>
                        <a:rPr lang="en-US" sz="1400" b="1" baseline="0" dirty="0">
                          <a:solidFill>
                            <a:schemeClr val="tx1"/>
                          </a:solidFill>
                        </a:rPr>
                        <a:t> Grocer</a:t>
                      </a:r>
                      <a:endParaRPr lang="en-US" sz="1400" b="1" dirty="0">
                        <a:solidFill>
                          <a:schemeClr val="tx1"/>
                        </a:solidFill>
                      </a:endParaRPr>
                    </a:p>
                  </a:txBody>
                  <a:tcP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We are facing new competitive </a:t>
                      </a:r>
                      <a:br>
                        <a:rPr lang="en-US" sz="1200" dirty="0">
                          <a:solidFill>
                            <a:schemeClr val="tx1"/>
                          </a:solidFill>
                        </a:rPr>
                      </a:br>
                      <a:r>
                        <a:rPr lang="en-US" sz="1200" dirty="0">
                          <a:solidFill>
                            <a:schemeClr val="tx1"/>
                          </a:solidFill>
                        </a:rPr>
                        <a:t>pressures from digitally native retailers…</a:t>
                      </a:r>
                    </a:p>
                  </a:txBody>
                  <a:tcPr>
                    <a:lnL w="12700" cmpd="sng">
                      <a:noFill/>
                    </a:lnL>
                    <a:lnT w="6350" cap="flat" cmpd="sng" algn="ctr">
                      <a:solidFill>
                        <a:schemeClr val="bg1">
                          <a:lumMod val="50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We need to better serve a new, aspirational </a:t>
                      </a:r>
                      <a:br>
                        <a:rPr lang="en-US" sz="1200" dirty="0">
                          <a:solidFill>
                            <a:schemeClr val="tx1"/>
                          </a:solidFill>
                        </a:rPr>
                      </a:br>
                      <a:r>
                        <a:rPr lang="en-US" sz="1200" dirty="0">
                          <a:solidFill>
                            <a:schemeClr val="tx1"/>
                          </a:solidFill>
                        </a:rPr>
                        <a:t>customer base through a differentiated, omnichannel shopping experience to survive as a retailer…</a:t>
                      </a:r>
                    </a:p>
                  </a:txBody>
                  <a:tcPr>
                    <a:lnT w="6350" cap="flat" cmpd="sng" algn="ctr">
                      <a:solidFill>
                        <a:schemeClr val="bg1">
                          <a:lumMod val="50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89661101"/>
                  </a:ext>
                </a:extLst>
              </a:tr>
              <a:tr h="0">
                <a:tc>
                  <a:txBody>
                    <a:bodyPr/>
                    <a:lstStyle/>
                    <a:p>
                      <a:r>
                        <a:rPr lang="en-US" sz="1400" b="1" dirty="0">
                          <a:solidFill>
                            <a:schemeClr val="tx1"/>
                          </a:solidFill>
                        </a:rPr>
                        <a:t>Food</a:t>
                      </a:r>
                      <a:r>
                        <a:rPr lang="en-US" sz="1400" b="1" baseline="0" dirty="0">
                          <a:solidFill>
                            <a:schemeClr val="tx1"/>
                          </a:solidFill>
                        </a:rPr>
                        <a:t> Manufacturer</a:t>
                      </a:r>
                      <a:endParaRPr lang="en-US" sz="1400" b="1" dirty="0">
                        <a:solidFill>
                          <a:schemeClr val="tx1"/>
                        </a:solidFill>
                      </a:endParaRPr>
                    </a:p>
                  </a:txBody>
                  <a:tcP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Cutting-edge analytic tools and technologies allow us to rapidly enhance core processes…</a:t>
                      </a:r>
                    </a:p>
                  </a:txBody>
                  <a:tcPr>
                    <a:lnL w="12700" cmpd="sng">
                      <a:noFill/>
                    </a:lnL>
                    <a:lnT w="19050" cap="flat" cmpd="sng" algn="ctr">
                      <a:solidFill>
                        <a:schemeClr val="bg1">
                          <a:lumMod val="85000"/>
                        </a:schemeClr>
                      </a:solidFill>
                      <a:prstDash val="solid"/>
                      <a:round/>
                      <a:headEnd type="none" w="med" len="med"/>
                      <a:tailEnd type="none" w="med" len="med"/>
                    </a:lnT>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We need to transform our outdated </a:t>
                      </a:r>
                      <a:br>
                        <a:rPr lang="en-US" sz="1200" dirty="0">
                          <a:solidFill>
                            <a:schemeClr val="tx1"/>
                          </a:solidFill>
                        </a:rPr>
                      </a:br>
                      <a:r>
                        <a:rPr lang="en-US" sz="1200" dirty="0">
                          <a:solidFill>
                            <a:schemeClr val="tx1"/>
                          </a:solidFill>
                        </a:rPr>
                        <a:t>customer care model to cut cost while maintaining superb service to meet our Board’s targets…</a:t>
                      </a:r>
                    </a:p>
                  </a:txBody>
                  <a:tcPr>
                    <a:lnT w="19050" cap="flat" cmpd="sng" algn="ctr">
                      <a:solidFill>
                        <a:schemeClr val="bg1">
                          <a:lumMod val="85000"/>
                        </a:schemeClr>
                      </a:solidFill>
                      <a:prstDash val="solid"/>
                      <a:round/>
                      <a:headEnd type="none" w="med" len="med"/>
                      <a:tailEnd type="none" w="med" len="med"/>
                    </a:lnT>
                    <a:solidFill>
                      <a:schemeClr val="bg1"/>
                    </a:solidFill>
                  </a:tcPr>
                </a:tc>
                <a:extLst>
                  <a:ext uri="{0D108BD9-81ED-4DB2-BD59-A6C34878D82A}">
                    <a16:rowId xmlns:a16="http://schemas.microsoft.com/office/drawing/2014/main" val="3060453991"/>
                  </a:ext>
                </a:extLst>
              </a:tr>
            </a:tbl>
          </a:graphicData>
        </a:graphic>
      </p:graphicFrame>
      <p:cxnSp>
        <p:nvCxnSpPr>
          <p:cNvPr id="37" name="Straight Connector 36">
            <a:extLst>
              <a:ext uri="{FF2B5EF4-FFF2-40B4-BE49-F238E27FC236}">
                <a16:creationId xmlns:a16="http://schemas.microsoft.com/office/drawing/2014/main" id="{4A9E2F2D-17B7-454A-9FBF-133741D95296}"/>
              </a:ext>
            </a:extLst>
          </p:cNvPr>
          <p:cNvCxnSpPr>
            <a:cxnSpLocks/>
          </p:cNvCxnSpPr>
          <p:nvPr/>
        </p:nvCxnSpPr>
        <p:spPr>
          <a:xfrm flipV="1">
            <a:off x="1010639" y="3104131"/>
            <a:ext cx="1752834" cy="1"/>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4C706F4-7443-DB4E-9001-B83A780B737B}"/>
              </a:ext>
            </a:extLst>
          </p:cNvPr>
          <p:cNvCxnSpPr>
            <a:cxnSpLocks/>
          </p:cNvCxnSpPr>
          <p:nvPr/>
        </p:nvCxnSpPr>
        <p:spPr>
          <a:xfrm flipV="1">
            <a:off x="1010639" y="4038600"/>
            <a:ext cx="1752834" cy="1"/>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189F65D-65AA-4844-9BDC-EB3920EBD8D3}"/>
              </a:ext>
            </a:extLst>
          </p:cNvPr>
          <p:cNvCxnSpPr>
            <a:cxnSpLocks/>
          </p:cNvCxnSpPr>
          <p:nvPr/>
        </p:nvCxnSpPr>
        <p:spPr>
          <a:xfrm flipV="1">
            <a:off x="1010639" y="4971854"/>
            <a:ext cx="1752834" cy="1"/>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72425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D9CE03D-37CD-4973-8731-6AB1A7B9B44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0" name="think-cell Slide" r:id="rId6" imgW="395" imgH="396" progId="TCLayout.ActiveDocument.1">
                  <p:embed/>
                </p:oleObj>
              </mc:Choice>
              <mc:Fallback>
                <p:oleObj name="think-cell Slide" r:id="rId6" imgW="395" imgH="396" progId="TCLayout.ActiveDocument.1">
                  <p:embed/>
                  <p:pic>
                    <p:nvPicPr>
                      <p:cNvPr id="8" name="Object 7" hidden="1">
                        <a:extLst>
                          <a:ext uri="{FF2B5EF4-FFF2-40B4-BE49-F238E27FC236}">
                            <a16:creationId xmlns:a16="http://schemas.microsoft.com/office/drawing/2014/main" id="{5D9CE03D-37CD-4973-8731-6AB1A7B9B44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8DFE305-CDF3-4485-AE47-D282327A2CE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a:sym typeface="Chronicle Display Black"/>
            </a:endParaRPr>
          </a:p>
        </p:txBody>
      </p:sp>
      <p:sp>
        <p:nvSpPr>
          <p:cNvPr id="2" name="Title 1">
            <a:extLst>
              <a:ext uri="{FF2B5EF4-FFF2-40B4-BE49-F238E27FC236}">
                <a16:creationId xmlns:a16="http://schemas.microsoft.com/office/drawing/2014/main" id="{A59B79B7-2365-4556-9E1F-0A5EE0A4E823}"/>
              </a:ext>
            </a:extLst>
          </p:cNvPr>
          <p:cNvSpPr>
            <a:spLocks noGrp="1"/>
          </p:cNvSpPr>
          <p:nvPr>
            <p:ph type="title"/>
          </p:nvPr>
        </p:nvSpPr>
        <p:spPr/>
        <p:txBody>
          <a:bodyPr/>
          <a:lstStyle/>
          <a:p>
            <a:r>
              <a:rPr lang="en-US" dirty="0"/>
              <a:t>Workshop Agenda</a:t>
            </a:r>
          </a:p>
        </p:txBody>
      </p:sp>
      <p:sp>
        <p:nvSpPr>
          <p:cNvPr id="3" name="Text Placeholder 2">
            <a:extLst>
              <a:ext uri="{FF2B5EF4-FFF2-40B4-BE49-F238E27FC236}">
                <a16:creationId xmlns:a16="http://schemas.microsoft.com/office/drawing/2014/main" id="{5D4544C7-795C-4610-9C9F-4660358B80EB}"/>
              </a:ext>
            </a:extLst>
          </p:cNvPr>
          <p:cNvSpPr>
            <a:spLocks noGrp="1"/>
          </p:cNvSpPr>
          <p:nvPr>
            <p:ph type="body" sz="quarter" idx="15"/>
          </p:nvPr>
        </p:nvSpPr>
        <p:spPr/>
        <p:txBody>
          <a:bodyPr/>
          <a:lstStyle/>
          <a:p>
            <a:r>
              <a:rPr lang="en-US" dirty="0"/>
              <a:t>Agenda &amp; Table of Contents</a:t>
            </a:r>
          </a:p>
        </p:txBody>
      </p:sp>
      <p:graphicFrame>
        <p:nvGraphicFramePr>
          <p:cNvPr id="5" name="Table 4">
            <a:extLst>
              <a:ext uri="{FF2B5EF4-FFF2-40B4-BE49-F238E27FC236}">
                <a16:creationId xmlns:a16="http://schemas.microsoft.com/office/drawing/2014/main" id="{72BACA8D-4426-4688-B21B-DAC03A82F105}"/>
              </a:ext>
            </a:extLst>
          </p:cNvPr>
          <p:cNvGraphicFramePr>
            <a:graphicFrameLocks noGrp="1"/>
          </p:cNvGraphicFramePr>
          <p:nvPr/>
        </p:nvGraphicFramePr>
        <p:xfrm>
          <a:off x="914399" y="1394221"/>
          <a:ext cx="10363199" cy="4802545"/>
        </p:xfrm>
        <a:graphic>
          <a:graphicData uri="http://schemas.openxmlformats.org/drawingml/2006/table">
            <a:tbl>
              <a:tblPr firstRow="1" bandRow="1">
                <a:tableStyleId>{6E25E649-3F16-4E02-A733-19D2CDBF48F0}</a:tableStyleId>
              </a:tblPr>
              <a:tblGrid>
                <a:gridCol w="6112243">
                  <a:extLst>
                    <a:ext uri="{9D8B030D-6E8A-4147-A177-3AD203B41FA5}">
                      <a16:colId xmlns:a16="http://schemas.microsoft.com/office/drawing/2014/main" val="4272310587"/>
                    </a:ext>
                  </a:extLst>
                </a:gridCol>
                <a:gridCol w="1299851">
                  <a:extLst>
                    <a:ext uri="{9D8B030D-6E8A-4147-A177-3AD203B41FA5}">
                      <a16:colId xmlns:a16="http://schemas.microsoft.com/office/drawing/2014/main" val="3613097140"/>
                    </a:ext>
                  </a:extLst>
                </a:gridCol>
                <a:gridCol w="1153387">
                  <a:extLst>
                    <a:ext uri="{9D8B030D-6E8A-4147-A177-3AD203B41FA5}">
                      <a16:colId xmlns:a16="http://schemas.microsoft.com/office/drawing/2014/main" val="354940341"/>
                    </a:ext>
                  </a:extLst>
                </a:gridCol>
                <a:gridCol w="1797718">
                  <a:extLst>
                    <a:ext uri="{9D8B030D-6E8A-4147-A177-3AD203B41FA5}">
                      <a16:colId xmlns:a16="http://schemas.microsoft.com/office/drawing/2014/main" val="991853344"/>
                    </a:ext>
                  </a:extLst>
                </a:gridCol>
              </a:tblGrid>
              <a:tr h="0">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400" b="1" baseline="0" dirty="0">
                          <a:solidFill>
                            <a:schemeClr val="tx1"/>
                          </a:solidFill>
                          <a:latin typeface="+mn-lt"/>
                          <a:ea typeface="Open Sans" charset="0"/>
                          <a:cs typeface="Open Sans" charset="0"/>
                        </a:rPr>
                        <a:t>Topic</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ctr" defTabSz="914400" rtl="0" eaLnBrk="1" fontAlgn="auto" latinLnBrk="0" hangingPunct="1">
                        <a:lnSpc>
                          <a:spcPct val="130000"/>
                        </a:lnSpc>
                        <a:spcBef>
                          <a:spcPts val="100"/>
                        </a:spcBef>
                        <a:spcAft>
                          <a:spcPts val="0"/>
                        </a:spcAft>
                        <a:buClrTx/>
                        <a:buSzTx/>
                        <a:buFontTx/>
                        <a:buNone/>
                        <a:tabLst/>
                        <a:defRPr/>
                      </a:pPr>
                      <a:r>
                        <a:rPr lang="en-US" sz="1400" b="1" baseline="0" dirty="0">
                          <a:solidFill>
                            <a:schemeClr val="tx1"/>
                          </a:solidFill>
                          <a:latin typeface="+mn-lt"/>
                          <a:ea typeface="Open Sans" charset="0"/>
                          <a:cs typeface="Open Sans" charset="0"/>
                        </a:rPr>
                        <a:t>Time</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ctr" defTabSz="914400" rtl="0" eaLnBrk="1" fontAlgn="auto" latinLnBrk="0" hangingPunct="1">
                        <a:lnSpc>
                          <a:spcPct val="130000"/>
                        </a:lnSpc>
                        <a:spcBef>
                          <a:spcPts val="100"/>
                        </a:spcBef>
                        <a:spcAft>
                          <a:spcPts val="0"/>
                        </a:spcAft>
                        <a:buClrTx/>
                        <a:buSzTx/>
                        <a:buFontTx/>
                        <a:buNone/>
                        <a:tabLst/>
                        <a:defRPr/>
                      </a:pPr>
                      <a:r>
                        <a:rPr lang="en-US" sz="1400" b="1" baseline="0" dirty="0">
                          <a:solidFill>
                            <a:schemeClr val="tx1"/>
                          </a:solidFill>
                          <a:latin typeface="+mn-lt"/>
                          <a:ea typeface="Open Sans" charset="0"/>
                          <a:cs typeface="Open Sans" charset="0"/>
                        </a:rPr>
                        <a:t>Duratio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400" b="1" baseline="0" dirty="0">
                          <a:solidFill>
                            <a:schemeClr val="tx1"/>
                          </a:solidFill>
                          <a:latin typeface="+mn-lt"/>
                          <a:ea typeface="Open Sans" charset="0"/>
                          <a:cs typeface="Open Sans" charset="0"/>
                        </a:rPr>
                        <a:t>Facilitator</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305676026"/>
                  </a:ext>
                </a:extLst>
              </a:tr>
              <a:tr h="0">
                <a:tc gridSpan="4">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 dirty="0">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904745163"/>
                  </a:ext>
                </a:extLst>
              </a:tr>
              <a:tr h="254189">
                <a:tc gridSpan="4">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a:latin typeface="+mn-lt"/>
                        </a:rPr>
                        <a:t>Trade Terms Policy Overview</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hMerge="1">
                  <a:txBody>
                    <a:bodyPr/>
                    <a:lstStyle/>
                    <a:p>
                      <a:pPr marL="0" indent="0" algn="l">
                        <a:buFont typeface="Arial" panose="020B0604020202020204" pitchFamily="34" charset="0"/>
                        <a:buNone/>
                      </a:pPr>
                      <a:endParaRPr lang="en-US" sz="14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pPr marL="0" indent="0" algn="l">
                        <a:buFont typeface="Arial" panose="020B0604020202020204" pitchFamily="34" charset="0"/>
                        <a:buNone/>
                      </a:pPr>
                      <a:endParaRPr lang="en-US" sz="14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pPr marL="0" indent="0" algn="l">
                        <a:buFont typeface="Arial" panose="020B0604020202020204" pitchFamily="34" charset="0"/>
                        <a:buNone/>
                      </a:pPr>
                      <a:endParaRPr lang="en-US" sz="14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2165276059"/>
                  </a:ext>
                </a:extLst>
              </a:tr>
              <a:tr h="254189">
                <a:tc>
                  <a:txBody>
                    <a:bodyPr/>
                    <a:lstStyle/>
                    <a:p>
                      <a:pPr marL="457200" lvl="1" indent="0" algn="l">
                        <a:buFont typeface="Arial" panose="020B0604020202020204" pitchFamily="34" charset="0"/>
                        <a:buNone/>
                      </a:pPr>
                      <a:r>
                        <a:rPr lang="en-US" sz="1200" dirty="0">
                          <a:latin typeface="+mn-lt"/>
                        </a:rPr>
                        <a:t>Policy Introductio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200" dirty="0">
                          <a:latin typeface="+mn-lt"/>
                        </a:rPr>
                        <a:t>9:30-10:30</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200" dirty="0">
                          <a:latin typeface="+mn-lt"/>
                        </a:rPr>
                        <a:t>60</a:t>
                      </a:r>
                      <a:r>
                        <a:rPr lang="en-US" sz="1200" baseline="0" dirty="0">
                          <a:latin typeface="+mn-lt"/>
                        </a:rPr>
                        <a:t> min</a:t>
                      </a:r>
                      <a:endParaRPr lang="en-US" sz="12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Font typeface="Arial" panose="020B0604020202020204" pitchFamily="34" charset="0"/>
                        <a:buNone/>
                      </a:pPr>
                      <a:endParaRPr lang="en-US" sz="12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88437665"/>
                  </a:ext>
                </a:extLst>
              </a:tr>
              <a:tr h="254189">
                <a:tc>
                  <a:txBody>
                    <a:bodyPr/>
                    <a:lstStyle/>
                    <a:p>
                      <a:pPr marL="457200" lvl="1" indent="0" algn="l">
                        <a:buFont typeface="Arial" panose="020B0604020202020204" pitchFamily="34" charset="0"/>
                        <a:buNone/>
                      </a:pPr>
                      <a:r>
                        <a:rPr lang="en-US" sz="1200" dirty="0">
                          <a:latin typeface="+mn-lt"/>
                        </a:rPr>
                        <a:t>Policy</a:t>
                      </a:r>
                      <a:r>
                        <a:rPr lang="en-US" sz="1200" baseline="0" dirty="0">
                          <a:latin typeface="+mn-lt"/>
                        </a:rPr>
                        <a:t> Review: Jeopardy </a:t>
                      </a:r>
                      <a:endParaRPr lang="en-US" sz="12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200" dirty="0">
                          <a:latin typeface="+mn-lt"/>
                        </a:rPr>
                        <a:t>10:30-10:45</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200" baseline="0" dirty="0">
                          <a:latin typeface="+mn-lt"/>
                        </a:rPr>
                        <a:t>15 min</a:t>
                      </a:r>
                      <a:endParaRPr lang="en-US" sz="12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Font typeface="Arial" panose="020B0604020202020204" pitchFamily="34" charset="0"/>
                        <a:buNone/>
                      </a:pPr>
                      <a:endParaRPr lang="en-US" sz="12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31164460"/>
                  </a:ext>
                </a:extLst>
              </a:tr>
              <a:tr h="254189">
                <a:tc>
                  <a:txBody>
                    <a:bodyPr/>
                    <a:lstStyle/>
                    <a:p>
                      <a:pPr marL="457200" lvl="1" indent="0" algn="l">
                        <a:buFont typeface="Arial" panose="020B0604020202020204" pitchFamily="34" charset="0"/>
                        <a:buNone/>
                      </a:pPr>
                      <a:r>
                        <a:rPr lang="en-US" sz="1200" dirty="0">
                          <a:latin typeface="+mn-lt"/>
                        </a:rPr>
                        <a:t>Customer</a:t>
                      </a:r>
                      <a:r>
                        <a:rPr lang="en-US" sz="1200" baseline="0" dirty="0">
                          <a:latin typeface="+mn-lt"/>
                        </a:rPr>
                        <a:t> Impact</a:t>
                      </a:r>
                      <a:endParaRPr lang="en-US" sz="12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200" dirty="0">
                          <a:latin typeface="+mn-lt"/>
                        </a:rPr>
                        <a:t>10:45-11:15</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200" dirty="0">
                          <a:latin typeface="+mn-lt"/>
                        </a:rPr>
                        <a:t>30 mi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Font typeface="Arial" panose="020B0604020202020204" pitchFamily="34" charset="0"/>
                        <a:buNone/>
                      </a:pPr>
                      <a:endParaRPr lang="en-US" sz="12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9639366"/>
                  </a:ext>
                </a:extLst>
              </a:tr>
              <a:tr h="254189">
                <a:tc>
                  <a:txBody>
                    <a:bodyPr/>
                    <a:lstStyle/>
                    <a:p>
                      <a:pPr marL="457200" lvl="1" indent="0" algn="l">
                        <a:buFont typeface="Arial" panose="020B0604020202020204" pitchFamily="34" charset="0"/>
                        <a:buNone/>
                      </a:pPr>
                      <a:r>
                        <a:rPr lang="en-US" sz="1200" dirty="0">
                          <a:latin typeface="+mn-lt"/>
                        </a:rPr>
                        <a:t>Lunch</a:t>
                      </a:r>
                      <a:r>
                        <a:rPr lang="en-US" sz="1200" baseline="0" dirty="0">
                          <a:latin typeface="+mn-lt"/>
                        </a:rPr>
                        <a:t> Break</a:t>
                      </a:r>
                      <a:endParaRPr lang="en-US" sz="12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buFont typeface="Arial" panose="020B0604020202020204" pitchFamily="34" charset="0"/>
                        <a:buNone/>
                      </a:pPr>
                      <a:r>
                        <a:rPr lang="en-US" sz="1200" dirty="0">
                          <a:latin typeface="+mn-lt"/>
                        </a:rPr>
                        <a:t>11:15-12:45</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buFont typeface="Arial" panose="020B0604020202020204" pitchFamily="34" charset="0"/>
                        <a:buNone/>
                      </a:pPr>
                      <a:r>
                        <a:rPr lang="en-US" sz="1200" dirty="0">
                          <a:latin typeface="+mn-lt"/>
                        </a:rPr>
                        <a:t>90 mi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a:buFont typeface="Arial" panose="020B0604020202020204" pitchFamily="34" charset="0"/>
                        <a:buNone/>
                      </a:pPr>
                      <a:endParaRPr lang="en-US" sz="12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0822829"/>
                  </a:ext>
                </a:extLst>
              </a:tr>
              <a:tr h="0">
                <a:tc gridSpan="4">
                  <a:txBody>
                    <a:bodyPr/>
                    <a:lstStyle/>
                    <a:p>
                      <a:pPr marL="0" indent="0" algn="ctr">
                        <a:buFont typeface="Arial" panose="020B0604020202020204" pitchFamily="34" charset="0"/>
                        <a:buNone/>
                      </a:pPr>
                      <a:endParaRPr lang="en-US" sz="100" dirty="0">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327457256"/>
                  </a:ext>
                </a:extLst>
              </a:tr>
              <a:tr h="254189">
                <a:tc gridSpan="4">
                  <a:txBody>
                    <a:bodyPr/>
                    <a:lstStyle/>
                    <a:p>
                      <a:pPr marL="0" indent="0" algn="l">
                        <a:buFont typeface="Arial" panose="020B0604020202020204" pitchFamily="34" charset="0"/>
                        <a:buNone/>
                      </a:pPr>
                      <a:r>
                        <a:rPr lang="en-US" sz="1200" b="1" dirty="0">
                          <a:latin typeface="+mn-lt"/>
                        </a:rPr>
                        <a:t>Sell-in</a:t>
                      </a:r>
                      <a:r>
                        <a:rPr lang="en-US" sz="1200" b="1" baseline="0" dirty="0">
                          <a:latin typeface="+mn-lt"/>
                        </a:rPr>
                        <a:t> Toolkit</a:t>
                      </a:r>
                      <a:endParaRPr lang="en-US" sz="1200" b="1"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hMerge="1">
                  <a:txBody>
                    <a:bodyPr/>
                    <a:lstStyle/>
                    <a:p>
                      <a:pPr marL="0" indent="0" algn="l">
                        <a:buFont typeface="Arial" panose="020B0604020202020204" pitchFamily="34" charset="0"/>
                        <a:buNone/>
                      </a:pPr>
                      <a:endParaRPr lang="en-US" sz="14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l">
                        <a:buFont typeface="Arial" panose="020B0604020202020204" pitchFamily="34" charset="0"/>
                        <a:buNone/>
                      </a:pPr>
                      <a:endParaRPr lang="en-US" sz="14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l">
                        <a:buFont typeface="Arial" panose="020B0604020202020204" pitchFamily="34" charset="0"/>
                        <a:buNone/>
                      </a:pPr>
                      <a:endParaRPr lang="en-US" sz="14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7585874"/>
                  </a:ext>
                </a:extLst>
              </a:tr>
              <a:tr h="254189">
                <a:tc>
                  <a:txBody>
                    <a:bodyPr/>
                    <a:lstStyle/>
                    <a:p>
                      <a:pPr marL="457200" lvl="1" indent="0" algn="l">
                        <a:buFont typeface="Arial" panose="020B0604020202020204" pitchFamily="34" charset="0"/>
                        <a:buNone/>
                      </a:pPr>
                      <a:r>
                        <a:rPr lang="en-US" sz="1200" dirty="0">
                          <a:latin typeface="+mn-lt"/>
                        </a:rPr>
                        <a:t>Sell-in Toolkit Overview</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200" dirty="0">
                          <a:latin typeface="+mn-lt"/>
                        </a:rPr>
                        <a:t>12:45-1:15</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200" dirty="0">
                          <a:latin typeface="+mn-lt"/>
                        </a:rPr>
                        <a:t>30 mi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Font typeface="Arial" panose="020B0604020202020204" pitchFamily="34" charset="0"/>
                        <a:buNone/>
                      </a:pPr>
                      <a:endParaRPr lang="en-US" sz="12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1805250"/>
                  </a:ext>
                </a:extLst>
              </a:tr>
              <a:tr h="423648">
                <a:tc>
                  <a:txBody>
                    <a:bodyPr/>
                    <a:lstStyle/>
                    <a:p>
                      <a:pPr marL="457200" lvl="1" indent="0" algn="l">
                        <a:buFont typeface="Arial" panose="020B0604020202020204" pitchFamily="34" charset="0"/>
                        <a:buNone/>
                      </a:pPr>
                      <a:r>
                        <a:rPr lang="en-US" sz="1200" dirty="0">
                          <a:latin typeface="+mn-lt"/>
                        </a:rPr>
                        <a:t>Sell-in Activity:</a:t>
                      </a:r>
                      <a:r>
                        <a:rPr lang="en-US" sz="1200" baseline="0" dirty="0">
                          <a:latin typeface="+mn-lt"/>
                        </a:rPr>
                        <a:t> </a:t>
                      </a:r>
                      <a:r>
                        <a:rPr lang="en-US" sz="1200" dirty="0">
                          <a:latin typeface="+mn-lt"/>
                        </a:rPr>
                        <a:t>Customer Impact Dashboard</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200" dirty="0">
                          <a:latin typeface="+mn-lt"/>
                        </a:rPr>
                        <a:t>1:15-2:15</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200" dirty="0">
                          <a:latin typeface="+mn-lt"/>
                        </a:rPr>
                        <a:t>60 mi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Font typeface="Arial" panose="020B0604020202020204" pitchFamily="34" charset="0"/>
                        <a:buNone/>
                      </a:pPr>
                      <a:endParaRPr lang="en-US" sz="12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9588406"/>
                  </a:ext>
                </a:extLst>
              </a:tr>
              <a:tr h="254189">
                <a:tc>
                  <a:txBody>
                    <a:bodyPr/>
                    <a:lstStyle/>
                    <a:p>
                      <a:pPr marL="457200" lvl="1" indent="0" algn="l">
                        <a:buFont typeface="Arial" panose="020B0604020202020204" pitchFamily="34" charset="0"/>
                        <a:buNone/>
                      </a:pPr>
                      <a:r>
                        <a:rPr lang="en-US" sz="1200" dirty="0">
                          <a:latin typeface="+mn-lt"/>
                        </a:rPr>
                        <a:t>Sell-in Activity: SAP Report Exercise</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200" dirty="0">
                          <a:latin typeface="+mn-lt"/>
                        </a:rPr>
                        <a:t>2:15-2:45</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200" dirty="0">
                          <a:latin typeface="+mn-lt"/>
                        </a:rPr>
                        <a:t>30 mi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Font typeface="Arial" panose="020B0604020202020204" pitchFamily="34" charset="0"/>
                        <a:buNone/>
                      </a:pPr>
                      <a:endParaRPr lang="en-US" sz="12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30599673"/>
                  </a:ext>
                </a:extLst>
              </a:tr>
              <a:tr h="254189">
                <a:tc>
                  <a:txBody>
                    <a:bodyPr/>
                    <a:lstStyle/>
                    <a:p>
                      <a:pPr marL="457200" lvl="1" indent="0" algn="l">
                        <a:buFont typeface="Arial" panose="020B0604020202020204" pitchFamily="34" charset="0"/>
                        <a:buNone/>
                      </a:pPr>
                      <a:r>
                        <a:rPr lang="en-US" sz="1200" dirty="0">
                          <a:latin typeface="+mn-lt"/>
                        </a:rPr>
                        <a:t>Break </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buFont typeface="Arial" panose="020B0604020202020204" pitchFamily="34" charset="0"/>
                        <a:buNone/>
                      </a:pPr>
                      <a:r>
                        <a:rPr lang="en-US" sz="1200" dirty="0">
                          <a:latin typeface="+mn-lt"/>
                        </a:rPr>
                        <a:t>2:45-3:00</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buFont typeface="Arial" panose="020B0604020202020204" pitchFamily="34" charset="0"/>
                        <a:buNone/>
                      </a:pPr>
                      <a:r>
                        <a:rPr lang="en-US" sz="1200" dirty="0">
                          <a:latin typeface="+mn-lt"/>
                        </a:rPr>
                        <a:t>15</a:t>
                      </a:r>
                      <a:r>
                        <a:rPr lang="en-US" sz="1200" baseline="0" dirty="0">
                          <a:latin typeface="+mn-lt"/>
                        </a:rPr>
                        <a:t> min</a:t>
                      </a:r>
                      <a:endParaRPr lang="en-US" sz="12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a:buFont typeface="Arial" panose="020B0604020202020204" pitchFamily="34" charset="0"/>
                        <a:buNone/>
                      </a:pPr>
                      <a:endParaRPr lang="en-US" sz="12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81498642"/>
                  </a:ext>
                </a:extLst>
              </a:tr>
              <a:tr h="0">
                <a:tc gridSpan="4">
                  <a:txBody>
                    <a:bodyPr/>
                    <a:lstStyle/>
                    <a:p>
                      <a:pPr marL="0" indent="0" algn="ctr">
                        <a:buFont typeface="Arial" panose="020B0604020202020204" pitchFamily="34" charset="0"/>
                        <a:buNone/>
                      </a:pPr>
                      <a:endParaRPr lang="en-US" sz="100" dirty="0">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156881522"/>
                  </a:ext>
                </a:extLst>
              </a:tr>
              <a:tr h="254189">
                <a:tc gridSpan="4">
                  <a:txBody>
                    <a:bodyPr/>
                    <a:lstStyle/>
                    <a:p>
                      <a:pPr marL="0" indent="0" algn="l">
                        <a:buFont typeface="Arial" panose="020B0604020202020204" pitchFamily="34" charset="0"/>
                        <a:buNone/>
                      </a:pPr>
                      <a:r>
                        <a:rPr lang="en-US" sz="1200" b="1" dirty="0">
                          <a:latin typeface="+mn-lt"/>
                        </a:rPr>
                        <a:t>Customer Communicatio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hMerge="1">
                  <a:txBody>
                    <a:bodyPr/>
                    <a:lstStyle/>
                    <a:p>
                      <a:pPr marL="0" indent="0" algn="l">
                        <a:buFont typeface="Arial" panose="020B0604020202020204" pitchFamily="34" charset="0"/>
                        <a:buNone/>
                      </a:pPr>
                      <a:endParaRPr lang="en-US" sz="14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pPr marL="0" indent="0" algn="l">
                        <a:buFont typeface="Arial" panose="020B0604020202020204" pitchFamily="34" charset="0"/>
                        <a:buNone/>
                      </a:pPr>
                      <a:endParaRPr lang="en-US" sz="14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pPr marL="0" indent="0" algn="l">
                        <a:buFont typeface="Arial" panose="020B0604020202020204" pitchFamily="34" charset="0"/>
                        <a:buNone/>
                      </a:pPr>
                      <a:endParaRPr lang="en-US" sz="14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710537526"/>
                  </a:ext>
                </a:extLst>
              </a:tr>
              <a:tr h="254189">
                <a:tc>
                  <a:txBody>
                    <a:bodyPr/>
                    <a:lstStyle/>
                    <a:p>
                      <a:pPr marL="457200" lvl="1" indent="0" algn="l">
                        <a:buFont typeface="Arial" panose="020B0604020202020204" pitchFamily="34" charset="0"/>
                        <a:buNone/>
                      </a:pPr>
                      <a:r>
                        <a:rPr lang="en-US" sz="1200" dirty="0">
                          <a:latin typeface="+mn-lt"/>
                        </a:rPr>
                        <a:t>Key Messages to Reinforce with Customer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200" dirty="0">
                          <a:latin typeface="+mn-lt"/>
                        </a:rPr>
                        <a:t>3:00-3:45</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200" dirty="0">
                          <a:latin typeface="+mn-lt"/>
                        </a:rPr>
                        <a:t>45 mi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Font typeface="Arial" panose="020B0604020202020204" pitchFamily="34" charset="0"/>
                        <a:buNone/>
                      </a:pPr>
                      <a:endParaRPr lang="en-US" sz="12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9255115"/>
                  </a:ext>
                </a:extLst>
              </a:tr>
              <a:tr h="254189">
                <a:tc>
                  <a:txBody>
                    <a:bodyPr/>
                    <a:lstStyle/>
                    <a:p>
                      <a:pPr marL="457200" lvl="1" indent="0" algn="l">
                        <a:buFont typeface="Arial" panose="020B0604020202020204" pitchFamily="34" charset="0"/>
                        <a:buNone/>
                      </a:pPr>
                      <a:r>
                        <a:rPr lang="en-US" sz="1200" dirty="0">
                          <a:latin typeface="+mn-lt"/>
                        </a:rPr>
                        <a:t>Customer Communication</a:t>
                      </a:r>
                      <a:r>
                        <a:rPr lang="en-US" sz="1200" baseline="0" dirty="0">
                          <a:latin typeface="+mn-lt"/>
                        </a:rPr>
                        <a:t> Activity: Role Play</a:t>
                      </a:r>
                      <a:endParaRPr lang="en-US" sz="12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200" dirty="0">
                          <a:latin typeface="+mn-lt"/>
                        </a:rPr>
                        <a:t>3:45-4:30</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200" baseline="0" dirty="0">
                          <a:latin typeface="+mn-lt"/>
                        </a:rPr>
                        <a:t>45 min</a:t>
                      </a:r>
                      <a:endParaRPr lang="en-US" sz="12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Font typeface="Arial" panose="020B0604020202020204" pitchFamily="34" charset="0"/>
                        <a:buNone/>
                      </a:pPr>
                      <a:endParaRPr lang="en-US" sz="12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3073866"/>
                  </a:ext>
                </a:extLst>
              </a:tr>
              <a:tr h="0">
                <a:tc gridSpan="4">
                  <a:txBody>
                    <a:bodyPr/>
                    <a:lstStyle/>
                    <a:p>
                      <a:pPr marL="0" lvl="0" indent="0" algn="ctr">
                        <a:buFont typeface="Arial" panose="020B0604020202020204" pitchFamily="34" charset="0"/>
                        <a:buNone/>
                      </a:pPr>
                      <a:endParaRPr lang="en-US" sz="100" dirty="0">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l">
                        <a:buFont typeface="Arial" panose="020B0604020202020204" pitchFamily="34" charset="0"/>
                        <a:buNone/>
                      </a:pPr>
                      <a:endParaRPr lang="en-US" sz="1400" dirty="0">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l">
                        <a:buFont typeface="Arial" panose="020B0604020202020204" pitchFamily="34" charset="0"/>
                        <a:buNone/>
                      </a:pPr>
                      <a:endParaRPr lang="en-US" sz="1400" dirty="0">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l">
                        <a:buFont typeface="Arial" panose="020B0604020202020204" pitchFamily="34" charset="0"/>
                        <a:buNone/>
                      </a:pPr>
                      <a:endParaRPr lang="en-US" sz="1400" dirty="0">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6514785"/>
                  </a:ext>
                </a:extLst>
              </a:tr>
              <a:tr h="254189">
                <a:tc>
                  <a:txBody>
                    <a:bodyPr/>
                    <a:lstStyle/>
                    <a:p>
                      <a:pPr marL="0" lvl="0" indent="0" algn="l">
                        <a:buFont typeface="Arial" panose="020B0604020202020204" pitchFamily="34" charset="0"/>
                        <a:buNone/>
                      </a:pPr>
                      <a:r>
                        <a:rPr lang="en-US" sz="1200" b="1" dirty="0">
                          <a:latin typeface="+mn-lt"/>
                        </a:rPr>
                        <a:t>Wrap-up,</a:t>
                      </a:r>
                      <a:r>
                        <a:rPr lang="en-US" sz="1200" b="1" baseline="0" dirty="0">
                          <a:latin typeface="+mn-lt"/>
                        </a:rPr>
                        <a:t> Questions, Next Steps</a:t>
                      </a:r>
                      <a:endParaRPr lang="en-US" sz="1200" b="1"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200" dirty="0">
                          <a:latin typeface="+mn-lt"/>
                        </a:rPr>
                        <a:t>4:30-5:00</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200" dirty="0">
                          <a:latin typeface="+mn-lt"/>
                        </a:rPr>
                        <a:t>30 mi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Font typeface="Arial" panose="020B0604020202020204" pitchFamily="34" charset="0"/>
                        <a:buNone/>
                      </a:pPr>
                      <a:endParaRPr lang="en-US" sz="12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1173937"/>
                  </a:ext>
                </a:extLst>
              </a:tr>
            </a:tbl>
          </a:graphicData>
        </a:graphic>
      </p:graphicFrame>
    </p:spTree>
    <p:extLst>
      <p:ext uri="{BB962C8B-B14F-4D97-AF65-F5344CB8AC3E}">
        <p14:creationId xmlns:p14="http://schemas.microsoft.com/office/powerpoint/2010/main" val="102360474"/>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DBA430-12C1-47D7-886C-0BCFB6D0B5A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7156" name="think-cell Slide" r:id="rId6" imgW="415" imgH="416" progId="TCLayout.ActiveDocument.1">
                  <p:embed/>
                </p:oleObj>
              </mc:Choice>
              <mc:Fallback>
                <p:oleObj name="think-cell Slide" r:id="rId6" imgW="415" imgH="416" progId="TCLayout.ActiveDocument.1">
                  <p:embed/>
                  <p:pic>
                    <p:nvPicPr>
                      <p:cNvPr id="6" name="Object 5" hidden="1">
                        <a:extLst>
                          <a:ext uri="{FF2B5EF4-FFF2-40B4-BE49-F238E27FC236}">
                            <a16:creationId xmlns:a16="http://schemas.microsoft.com/office/drawing/2014/main" id="{A8DBA430-12C1-47D7-886C-0BCFB6D0B5A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0665F4C-DD4A-406B-A8DD-323AF945A46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0FA94E0D-CB45-48AA-81FF-5491665E3B14}"/>
              </a:ext>
            </a:extLst>
          </p:cNvPr>
          <p:cNvSpPr>
            <a:spLocks noGrp="1"/>
          </p:cNvSpPr>
          <p:nvPr>
            <p:ph type="title"/>
          </p:nvPr>
        </p:nvSpPr>
        <p:spPr/>
        <p:txBody>
          <a:bodyPr/>
          <a:lstStyle/>
          <a:p>
            <a:r>
              <a:rPr lang="en-US" dirty="0"/>
              <a:t>Survey Participant Stories: Outboard</a:t>
            </a:r>
          </a:p>
        </p:txBody>
      </p:sp>
      <p:sp>
        <p:nvSpPr>
          <p:cNvPr id="3" name="Text Placeholder 2">
            <a:extLst>
              <a:ext uri="{FF2B5EF4-FFF2-40B4-BE49-F238E27FC236}">
                <a16:creationId xmlns:a16="http://schemas.microsoft.com/office/drawing/2014/main" id="{894186DD-5142-4DEF-AD52-122D6A6F30C4}"/>
              </a:ext>
            </a:extLst>
          </p:cNvPr>
          <p:cNvSpPr>
            <a:spLocks noGrp="1"/>
          </p:cNvSpPr>
          <p:nvPr>
            <p:ph type="body" sz="quarter" idx="14"/>
          </p:nvPr>
        </p:nvSpPr>
        <p:spPr/>
        <p:txBody>
          <a:bodyPr/>
          <a:lstStyle/>
          <a:p>
            <a:r>
              <a:rPr lang="en-US" dirty="0"/>
              <a:t>Interviewees expressed varying motivations for and preferences when using their products</a:t>
            </a:r>
          </a:p>
        </p:txBody>
      </p:sp>
      <p:graphicFrame>
        <p:nvGraphicFramePr>
          <p:cNvPr id="7" name="Table 6">
            <a:extLst>
              <a:ext uri="{FF2B5EF4-FFF2-40B4-BE49-F238E27FC236}">
                <a16:creationId xmlns:a16="http://schemas.microsoft.com/office/drawing/2014/main" id="{62087D89-0E16-47EF-8454-6AFB3C36C115}"/>
              </a:ext>
            </a:extLst>
          </p:cNvPr>
          <p:cNvGraphicFramePr>
            <a:graphicFrameLocks noGrp="1"/>
          </p:cNvGraphicFramePr>
          <p:nvPr/>
        </p:nvGraphicFramePr>
        <p:xfrm>
          <a:off x="914399" y="1644257"/>
          <a:ext cx="10351008" cy="5016500"/>
        </p:xfrm>
        <a:graphic>
          <a:graphicData uri="http://schemas.openxmlformats.org/drawingml/2006/table">
            <a:tbl>
              <a:tblPr firstRow="1" bandRow="1">
                <a:tableStyleId>{5C22544A-7EE6-4342-B048-85BDC9FD1C3A}</a:tableStyleId>
              </a:tblPr>
              <a:tblGrid>
                <a:gridCol w="2587752">
                  <a:extLst>
                    <a:ext uri="{9D8B030D-6E8A-4147-A177-3AD203B41FA5}">
                      <a16:colId xmlns:a16="http://schemas.microsoft.com/office/drawing/2014/main" val="2258388021"/>
                    </a:ext>
                  </a:extLst>
                </a:gridCol>
                <a:gridCol w="2587752">
                  <a:extLst>
                    <a:ext uri="{9D8B030D-6E8A-4147-A177-3AD203B41FA5}">
                      <a16:colId xmlns:a16="http://schemas.microsoft.com/office/drawing/2014/main" val="3401560750"/>
                    </a:ext>
                  </a:extLst>
                </a:gridCol>
                <a:gridCol w="2587752">
                  <a:extLst>
                    <a:ext uri="{9D8B030D-6E8A-4147-A177-3AD203B41FA5}">
                      <a16:colId xmlns:a16="http://schemas.microsoft.com/office/drawing/2014/main" val="2535258198"/>
                    </a:ext>
                  </a:extLst>
                </a:gridCol>
                <a:gridCol w="2587752">
                  <a:extLst>
                    <a:ext uri="{9D8B030D-6E8A-4147-A177-3AD203B41FA5}">
                      <a16:colId xmlns:a16="http://schemas.microsoft.com/office/drawing/2014/main" val="512237205"/>
                    </a:ext>
                  </a:extLst>
                </a:gridCol>
              </a:tblGrid>
              <a:tr h="268078">
                <a:tc>
                  <a:txBody>
                    <a:bodyPr/>
                    <a:lstStyle/>
                    <a:p>
                      <a:pPr algn="ctr"/>
                      <a:r>
                        <a:rPr lang="en-US" sz="1200" dirty="0">
                          <a:solidFill>
                            <a:schemeClr val="tx1"/>
                          </a:solidFill>
                          <a:latin typeface="+mn-lt"/>
                        </a:rPr>
                        <a:t>FRANKLIN</a:t>
                      </a:r>
                    </a:p>
                  </a:txBody>
                  <a:tcPr anchor="ctr">
                    <a:solidFill>
                      <a:schemeClr val="accent3"/>
                    </a:solidFill>
                  </a:tcPr>
                </a:tc>
                <a:tc>
                  <a:txBody>
                    <a:bodyPr/>
                    <a:lstStyle/>
                    <a:p>
                      <a:pPr algn="ctr"/>
                      <a:r>
                        <a:rPr lang="en-US" sz="1200" dirty="0">
                          <a:solidFill>
                            <a:schemeClr val="tx1"/>
                          </a:solidFill>
                          <a:latin typeface="+mn-lt"/>
                        </a:rPr>
                        <a:t>DAWN</a:t>
                      </a:r>
                    </a:p>
                  </a:txBody>
                  <a:tcPr anchor="ctr">
                    <a:solidFill>
                      <a:schemeClr val="accent3"/>
                    </a:solidFill>
                  </a:tcPr>
                </a:tc>
                <a:tc>
                  <a:txBody>
                    <a:bodyPr/>
                    <a:lstStyle/>
                    <a:p>
                      <a:pPr algn="ctr"/>
                      <a:r>
                        <a:rPr lang="en-US" sz="1200" dirty="0">
                          <a:solidFill>
                            <a:schemeClr val="tx1"/>
                          </a:solidFill>
                          <a:latin typeface="+mn-lt"/>
                        </a:rPr>
                        <a:t>RANDY</a:t>
                      </a:r>
                    </a:p>
                  </a:txBody>
                  <a:tcPr anchor="ctr">
                    <a:solidFill>
                      <a:schemeClr val="accent3"/>
                    </a:solidFill>
                  </a:tcPr>
                </a:tc>
                <a:tc>
                  <a:txBody>
                    <a:bodyPr/>
                    <a:lstStyle/>
                    <a:p>
                      <a:pPr algn="ctr"/>
                      <a:r>
                        <a:rPr lang="en-US" sz="1200" dirty="0">
                          <a:solidFill>
                            <a:schemeClr val="tx1"/>
                          </a:solidFill>
                          <a:latin typeface="+mn-lt"/>
                        </a:rPr>
                        <a:t>BRIANA</a:t>
                      </a:r>
                    </a:p>
                  </a:txBody>
                  <a:tcPr anchor="ctr">
                    <a:solidFill>
                      <a:schemeClr val="accent3"/>
                    </a:solidFill>
                  </a:tcPr>
                </a:tc>
                <a:extLst>
                  <a:ext uri="{0D108BD9-81ED-4DB2-BD59-A6C34878D82A}">
                    <a16:rowId xmlns:a16="http://schemas.microsoft.com/office/drawing/2014/main" val="2117005690"/>
                  </a:ext>
                </a:extLst>
              </a:tr>
              <a:tr h="223854">
                <a:tc>
                  <a:txBody>
                    <a:bodyPr/>
                    <a:lstStyle/>
                    <a:p>
                      <a:pPr algn="ctr"/>
                      <a:r>
                        <a:rPr lang="en-US" sz="1050" b="0" i="1" dirty="0">
                          <a:solidFill>
                            <a:schemeClr val="tx1"/>
                          </a:solidFill>
                          <a:latin typeface="+mn-lt"/>
                        </a:rPr>
                        <a:t>OUTBOARD</a:t>
                      </a:r>
                    </a:p>
                  </a:txBody>
                  <a:tcPr anchor="ctr">
                    <a:solidFill>
                      <a:schemeClr val="accent3">
                        <a:lumMod val="20000"/>
                        <a:lumOff val="80000"/>
                      </a:schemeClr>
                    </a:solidFill>
                  </a:tcPr>
                </a:tc>
                <a:tc>
                  <a:txBody>
                    <a:bodyPr/>
                    <a:lstStyle/>
                    <a:p>
                      <a:pPr algn="ctr"/>
                      <a:r>
                        <a:rPr lang="en-US" sz="1050" b="0" i="1" dirty="0">
                          <a:solidFill>
                            <a:schemeClr val="tx1"/>
                          </a:solidFill>
                          <a:latin typeface="+mn-lt"/>
                        </a:rPr>
                        <a:t>OUTBOARD</a:t>
                      </a:r>
                    </a:p>
                  </a:txBody>
                  <a:tcPr anchor="ctr">
                    <a:solidFill>
                      <a:schemeClr val="accent3">
                        <a:lumMod val="20000"/>
                        <a:lumOff val="80000"/>
                      </a:schemeClr>
                    </a:solidFill>
                  </a:tcPr>
                </a:tc>
                <a:tc>
                  <a:txBody>
                    <a:bodyPr/>
                    <a:lstStyle/>
                    <a:p>
                      <a:pPr algn="ctr"/>
                      <a:r>
                        <a:rPr lang="en-US" sz="1050" b="0" i="1" dirty="0">
                          <a:solidFill>
                            <a:schemeClr val="tx1"/>
                          </a:solidFill>
                          <a:latin typeface="+mn-lt"/>
                        </a:rPr>
                        <a:t>OUTBOARD</a:t>
                      </a:r>
                    </a:p>
                  </a:txBody>
                  <a:tcPr anchor="ctr">
                    <a:solidFill>
                      <a:schemeClr val="accent3">
                        <a:lumMod val="20000"/>
                        <a:lumOff val="80000"/>
                      </a:schemeClr>
                    </a:solidFill>
                  </a:tcPr>
                </a:tc>
                <a:tc>
                  <a:txBody>
                    <a:bodyPr/>
                    <a:lstStyle/>
                    <a:p>
                      <a:pPr algn="ctr"/>
                      <a:r>
                        <a:rPr lang="en-US" sz="1050" b="0" i="1" dirty="0">
                          <a:solidFill>
                            <a:schemeClr val="tx1"/>
                          </a:solidFill>
                          <a:latin typeface="+mn-lt"/>
                        </a:rPr>
                        <a:t>OUTBOARD</a:t>
                      </a:r>
                    </a:p>
                  </a:txBody>
                  <a:tcPr anchor="ctr">
                    <a:solidFill>
                      <a:schemeClr val="accent3">
                        <a:lumMod val="20000"/>
                        <a:lumOff val="80000"/>
                      </a:schemeClr>
                    </a:solidFill>
                  </a:tcPr>
                </a:tc>
                <a:extLst>
                  <a:ext uri="{0D108BD9-81ED-4DB2-BD59-A6C34878D82A}">
                    <a16:rowId xmlns:a16="http://schemas.microsoft.com/office/drawing/2014/main" val="3818281040"/>
                  </a:ext>
                </a:extLst>
              </a:tr>
              <a:tr h="2962656">
                <a:tc>
                  <a:txBody>
                    <a:bodyPr/>
                    <a:lstStyle/>
                    <a:p>
                      <a:pPr marL="0" indent="0">
                        <a:buFont typeface="Arial" panose="020B0604020202020204" pitchFamily="34" charset="0"/>
                        <a:buNone/>
                      </a:pPr>
                      <a:r>
                        <a:rPr lang="en-US" sz="1100" dirty="0"/>
                        <a:t>Franklin,</a:t>
                      </a:r>
                      <a:r>
                        <a:rPr lang="en-US" sz="1100" baseline="0" dirty="0"/>
                        <a:t> </a:t>
                      </a:r>
                      <a:r>
                        <a:rPr lang="en-US" sz="1100" b="1" baseline="0" dirty="0"/>
                        <a:t>the GM of a waterfront café near Chicago, IL</a:t>
                      </a:r>
                      <a:r>
                        <a:rPr lang="en-US" sz="1100" baseline="0" dirty="0"/>
                        <a:t>, has a boat that he uses both for recreation and marketing for the restaurant.</a:t>
                      </a:r>
                    </a:p>
                    <a:p>
                      <a:pPr marL="0" indent="0">
                        <a:buFont typeface="Arial" panose="020B0604020202020204" pitchFamily="34" charset="0"/>
                        <a:buNone/>
                      </a:pPr>
                      <a:endParaRPr lang="en-US" sz="1100" baseline="0" dirty="0"/>
                    </a:p>
                    <a:p>
                      <a:pPr marL="0" indent="0">
                        <a:buFont typeface="Arial" panose="020B0604020202020204" pitchFamily="34" charset="0"/>
                        <a:buNone/>
                      </a:pPr>
                      <a:r>
                        <a:rPr lang="en-US" sz="1100" baseline="0" dirty="0"/>
                        <a:t>He </a:t>
                      </a:r>
                      <a:r>
                        <a:rPr lang="en-US" sz="1100" b="0" baseline="0" dirty="0"/>
                        <a:t>originally used a gas-powered 250 </a:t>
                      </a:r>
                      <a:r>
                        <a:rPr lang="en-US" sz="1100" b="0" baseline="0" dirty="0" err="1"/>
                        <a:t>hp</a:t>
                      </a:r>
                      <a:r>
                        <a:rPr lang="en-US" sz="1100" b="0" baseline="0" dirty="0"/>
                        <a:t> engine that he bought used but </a:t>
                      </a:r>
                      <a:r>
                        <a:rPr lang="en-US" sz="1100" b="1" baseline="0" dirty="0"/>
                        <a:t>recently purchased a new 300 hp all-electric engine.</a:t>
                      </a:r>
                    </a:p>
                    <a:p>
                      <a:pPr marL="0" indent="0">
                        <a:buFont typeface="Arial" panose="020B0604020202020204" pitchFamily="34" charset="0"/>
                        <a:buNone/>
                      </a:pPr>
                      <a:endParaRPr lang="en-US" sz="1100" baseline="0" dirty="0"/>
                    </a:p>
                    <a:p>
                      <a:pPr marL="0" indent="0">
                        <a:buFont typeface="Arial" panose="020B0604020202020204" pitchFamily="34" charset="0"/>
                        <a:buNone/>
                      </a:pPr>
                      <a:r>
                        <a:rPr lang="en-US" sz="1100" baseline="0" dirty="0"/>
                        <a:t>He was driven to buy by the </a:t>
                      </a:r>
                      <a:r>
                        <a:rPr lang="en-US" sz="1100" b="1" baseline="0" dirty="0"/>
                        <a:t>number of issues</a:t>
                      </a:r>
                      <a:r>
                        <a:rPr lang="en-US" sz="1100" baseline="0" dirty="0"/>
                        <a:t> (including with leakage and steering) he experienced with his XXX and the </a:t>
                      </a:r>
                      <a:r>
                        <a:rPr lang="en-US" sz="1100" b="1" baseline="0" dirty="0"/>
                        <a:t>desire for a quieter, more fuel-efficient, and more eco-friendly engine.</a:t>
                      </a:r>
                      <a:endParaRPr lang="en-US" sz="1100" b="1" dirty="0"/>
                    </a:p>
                  </a:txBody>
                  <a:tcPr>
                    <a:solidFill>
                      <a:schemeClr val="bg1"/>
                    </a:solidFill>
                  </a:tcPr>
                </a:tc>
                <a:tc>
                  <a:txBody>
                    <a:bodyPr/>
                    <a:lstStyle/>
                    <a:p>
                      <a:pPr marL="0" indent="0">
                        <a:buFont typeface="Arial" panose="020B0604020202020204" pitchFamily="34" charset="0"/>
                        <a:buNone/>
                      </a:pPr>
                      <a:r>
                        <a:rPr lang="en-US" sz="1100" baseline="0" dirty="0"/>
                        <a:t>Dawn and her husband use their boat </a:t>
                      </a:r>
                      <a:r>
                        <a:rPr lang="en-US" sz="1100" b="1" baseline="0" dirty="0"/>
                        <a:t>with a 200 </a:t>
                      </a:r>
                      <a:r>
                        <a:rPr lang="en-US" sz="1100" b="1" baseline="0" dirty="0" err="1"/>
                        <a:t>hp</a:t>
                      </a:r>
                      <a:r>
                        <a:rPr lang="en-US" sz="1100" b="1" baseline="0" dirty="0"/>
                        <a:t> engine to go out in the bay near their house in Long Island, NY </a:t>
                      </a:r>
                      <a:r>
                        <a:rPr lang="en-US" sz="1100" baseline="0" dirty="0"/>
                        <a:t>nearly every day during the summer.</a:t>
                      </a:r>
                    </a:p>
                    <a:p>
                      <a:pPr marL="0" indent="0">
                        <a:buFont typeface="Arial" panose="020B0604020202020204" pitchFamily="34" charset="0"/>
                        <a:buNone/>
                      </a:pPr>
                      <a:endParaRPr lang="en-US" sz="1100" baseline="0" dirty="0"/>
                    </a:p>
                    <a:p>
                      <a:pPr marL="0" indent="0">
                        <a:buFont typeface="Arial" panose="020B0604020202020204" pitchFamily="34" charset="0"/>
                        <a:buNone/>
                      </a:pPr>
                      <a:r>
                        <a:rPr lang="en-US" sz="1100" baseline="0" dirty="0"/>
                        <a:t>They </a:t>
                      </a:r>
                      <a:r>
                        <a:rPr lang="en-US" sz="1100" b="1" baseline="0" dirty="0"/>
                        <a:t>bought the boat and engine lightly used from a friend </a:t>
                      </a:r>
                      <a:r>
                        <a:rPr lang="en-US" sz="1100" baseline="0" dirty="0"/>
                        <a:t>so were confident of the quality and condition.</a:t>
                      </a:r>
                    </a:p>
                    <a:p>
                      <a:pPr marL="0" indent="0">
                        <a:buFont typeface="Arial" panose="020B0604020202020204" pitchFamily="34" charset="0"/>
                        <a:buNone/>
                      </a:pPr>
                      <a:endParaRPr lang="en-US" sz="1100" baseline="0" dirty="0"/>
                    </a:p>
                    <a:p>
                      <a:pPr marL="0" indent="0">
                        <a:buFont typeface="Arial" panose="020B0604020202020204" pitchFamily="34" charset="0"/>
                        <a:buNone/>
                      </a:pPr>
                      <a:r>
                        <a:rPr lang="en-US" sz="1100" baseline="0" dirty="0"/>
                        <a:t>They </a:t>
                      </a:r>
                      <a:r>
                        <a:rPr lang="en-US" sz="1100" b="1" baseline="0" dirty="0"/>
                        <a:t>use the boat to socialize with fellow boaters </a:t>
                      </a:r>
                      <a:r>
                        <a:rPr lang="en-US" sz="1100" baseline="0" dirty="0"/>
                        <a:t>and love how quiet and smooth-running the engine is, especially when they are trying to call or talk with their friends. </a:t>
                      </a:r>
                    </a:p>
                  </a:txBody>
                  <a:tcPr>
                    <a:solidFill>
                      <a:schemeClr val="bg1"/>
                    </a:solidFill>
                  </a:tcPr>
                </a:tc>
                <a:tc>
                  <a:txBody>
                    <a:bodyPr/>
                    <a:lstStyle/>
                    <a:p>
                      <a:pPr marL="0" indent="0">
                        <a:buFont typeface="Arial" panose="020B0604020202020204" pitchFamily="34" charset="0"/>
                        <a:buNone/>
                      </a:pPr>
                      <a:r>
                        <a:rPr lang="en-US" sz="1100" baseline="0" dirty="0"/>
                        <a:t>Randy is a </a:t>
                      </a:r>
                      <a:r>
                        <a:rPr lang="en-US" sz="1100" b="1" baseline="0" dirty="0"/>
                        <a:t>recreational boater who splits his time between Los Angeles, CA and Melbourne Beach, FL.</a:t>
                      </a:r>
                    </a:p>
                    <a:p>
                      <a:pPr marL="0" indent="0">
                        <a:buFont typeface="Arial" panose="020B0604020202020204" pitchFamily="34" charset="0"/>
                        <a:buNone/>
                      </a:pPr>
                      <a:endParaRPr lang="en-US" sz="1100" b="1" baseline="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1" baseline="0" dirty="0"/>
                        <a:t>He is brand loyal</a:t>
                      </a:r>
                      <a:r>
                        <a:rPr lang="en-US" sz="1100" b="0" baseline="0" dirty="0"/>
                        <a:t> - to engines and overall. For instance, he’s bought four Ford F-150s. Still, he </a:t>
                      </a:r>
                      <a:r>
                        <a:rPr lang="en-US" sz="1100" b="1" baseline="0" dirty="0"/>
                        <a:t>sees boat engines as more easily replaced than fixed. </a:t>
                      </a:r>
                      <a:endParaRPr lang="en-US" sz="1100" b="0" baseline="0" dirty="0"/>
                    </a:p>
                    <a:p>
                      <a:pPr marL="0" indent="0">
                        <a:buFont typeface="Arial" panose="020B0604020202020204" pitchFamily="34" charset="0"/>
                        <a:buNone/>
                      </a:pPr>
                      <a:endParaRPr lang="en-US" sz="1100" b="0" baseline="0" dirty="0"/>
                    </a:p>
                    <a:p>
                      <a:pPr marL="0" indent="0">
                        <a:buFont typeface="Arial" panose="020B0604020202020204" pitchFamily="34" charset="0"/>
                        <a:buNone/>
                      </a:pPr>
                      <a:r>
                        <a:rPr lang="en-US" sz="1100" b="0" baseline="0" dirty="0"/>
                        <a:t>A </a:t>
                      </a:r>
                      <a:r>
                        <a:rPr lang="en-US" sz="1100" b="1" baseline="0" dirty="0"/>
                        <a:t>die-hard techie, he and his family use multiple devices, </a:t>
                      </a:r>
                      <a:r>
                        <a:rPr lang="en-US" sz="1100" b="0" i="0" baseline="0" dirty="0"/>
                        <a:t>including</a:t>
                      </a:r>
                      <a:r>
                        <a:rPr lang="en-US" sz="1100" b="1" baseline="0" dirty="0"/>
                        <a:t> </a:t>
                      </a:r>
                      <a:r>
                        <a:rPr lang="en-US" sz="1100" b="0" baseline="0" dirty="0"/>
                        <a:t>smart home systems. He’s already installed technology on his boat, including an anti-theft tracking system but </a:t>
                      </a:r>
                      <a:r>
                        <a:rPr lang="en-US" sz="1100" b="1" baseline="0" dirty="0"/>
                        <a:t>wishes there was more good technology to use on board</a:t>
                      </a:r>
                      <a:r>
                        <a:rPr lang="en-US" sz="1100" b="0" baseline="0" dirty="0"/>
                        <a:t> at a reasonable price.</a:t>
                      </a:r>
                    </a:p>
                  </a:txBody>
                  <a:tcPr>
                    <a:solidFill>
                      <a:schemeClr val="bg1"/>
                    </a:solidFill>
                  </a:tcPr>
                </a:tc>
                <a:tc>
                  <a:txBody>
                    <a:bodyPr/>
                    <a:lstStyle/>
                    <a:p>
                      <a:pPr marL="0" indent="0">
                        <a:buFont typeface="Arial" panose="020B0604020202020204" pitchFamily="34" charset="0"/>
                        <a:buNone/>
                      </a:pPr>
                      <a:r>
                        <a:rPr lang="en-US" sz="1100" baseline="0" dirty="0"/>
                        <a:t>Briana uses her Southwind boat with </a:t>
                      </a:r>
                      <a:r>
                        <a:rPr lang="en-US" sz="1100" b="1" baseline="0" dirty="0"/>
                        <a:t>a 200 hp outboard for fishing and recreation off the coast of Tampa, FL. </a:t>
                      </a:r>
                    </a:p>
                    <a:p>
                      <a:pPr marL="0" indent="0">
                        <a:buFont typeface="Arial" panose="020B0604020202020204" pitchFamily="34" charset="0"/>
                        <a:buNone/>
                      </a:pPr>
                      <a:endParaRPr lang="en-US" sz="1100" baseline="0" dirty="0"/>
                    </a:p>
                    <a:p>
                      <a:pPr marL="0" indent="0">
                        <a:buFont typeface="Arial" panose="020B0604020202020204" pitchFamily="34" charset="0"/>
                        <a:buNone/>
                      </a:pPr>
                      <a:r>
                        <a:rPr lang="en-US" sz="1100" baseline="0" dirty="0"/>
                        <a:t>She bought her new boat at a local dealer after selling her previous one. She </a:t>
                      </a:r>
                      <a:r>
                        <a:rPr lang="en-US" sz="1100" b="1" baseline="0" dirty="0"/>
                        <a:t>sought out the engine specifically on the recommendation of local mechanics and dealers </a:t>
                      </a:r>
                      <a:r>
                        <a:rPr lang="en-US" sz="1100" baseline="0" dirty="0"/>
                        <a:t>and used classifieds and Craigslist to search.</a:t>
                      </a:r>
                    </a:p>
                    <a:p>
                      <a:pPr marL="0" indent="0">
                        <a:buFont typeface="Arial" panose="020B0604020202020204" pitchFamily="34" charset="0"/>
                        <a:buNone/>
                      </a:pPr>
                      <a:endParaRPr lang="en-US" sz="1100" baseline="0" dirty="0"/>
                    </a:p>
                    <a:p>
                      <a:pPr marL="0" indent="0">
                        <a:buFont typeface="Arial" panose="020B0604020202020204" pitchFamily="34" charset="0"/>
                        <a:buNone/>
                      </a:pPr>
                      <a:r>
                        <a:rPr lang="en-US" sz="1100" baseline="0" dirty="0"/>
                        <a:t>During her search, Briana was </a:t>
                      </a:r>
                      <a:r>
                        <a:rPr lang="en-US" sz="1100" b="1" baseline="0" dirty="0"/>
                        <a:t>focused on the reliability of a given engine and, if it was used, how well maintained it was. </a:t>
                      </a:r>
                      <a:r>
                        <a:rPr lang="en-US" sz="1100" baseline="0" dirty="0"/>
                        <a:t>She herself conducts regular preventative maintenance.</a:t>
                      </a:r>
                    </a:p>
                  </a:txBody>
                  <a:tcPr>
                    <a:solidFill>
                      <a:schemeClr val="bg1"/>
                    </a:solidFill>
                  </a:tcPr>
                </a:tc>
                <a:extLst>
                  <a:ext uri="{0D108BD9-81ED-4DB2-BD59-A6C34878D82A}">
                    <a16:rowId xmlns:a16="http://schemas.microsoft.com/office/drawing/2014/main" val="1264659542"/>
                  </a:ext>
                </a:extLst>
              </a:tr>
              <a:tr h="0">
                <a:tc>
                  <a:txBody>
                    <a:bodyPr/>
                    <a:lstStyle/>
                    <a:p>
                      <a:endParaRPr lang="en-US" sz="100" dirty="0"/>
                    </a:p>
                  </a:txBody>
                  <a:tcPr>
                    <a:solidFill>
                      <a:schemeClr val="accent3"/>
                    </a:solidFill>
                  </a:tcPr>
                </a:tc>
                <a:tc>
                  <a:txBody>
                    <a:bodyPr/>
                    <a:lstStyle/>
                    <a:p>
                      <a:endParaRPr lang="en-US" sz="100" dirty="0"/>
                    </a:p>
                  </a:txBody>
                  <a:tcPr>
                    <a:solidFill>
                      <a:schemeClr val="accent3"/>
                    </a:solidFill>
                  </a:tcPr>
                </a:tc>
                <a:tc>
                  <a:txBody>
                    <a:bodyPr/>
                    <a:lstStyle/>
                    <a:p>
                      <a:endParaRPr lang="en-US" sz="100" dirty="0"/>
                    </a:p>
                  </a:txBody>
                  <a:tcPr>
                    <a:solidFill>
                      <a:schemeClr val="accent3"/>
                    </a:solidFill>
                  </a:tcPr>
                </a:tc>
                <a:tc>
                  <a:txBody>
                    <a:bodyPr/>
                    <a:lstStyle/>
                    <a:p>
                      <a:endParaRPr lang="en-US" sz="100" dirty="0"/>
                    </a:p>
                  </a:txBody>
                  <a:tcPr>
                    <a:solidFill>
                      <a:schemeClr val="accent3"/>
                    </a:solidFill>
                  </a:tcPr>
                </a:tc>
                <a:extLst>
                  <a:ext uri="{0D108BD9-81ED-4DB2-BD59-A6C34878D82A}">
                    <a16:rowId xmlns:a16="http://schemas.microsoft.com/office/drawing/2014/main" val="1529629236"/>
                  </a:ext>
                </a:extLst>
              </a:tr>
              <a:tr h="769084">
                <a:tc>
                  <a:txBody>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lang="en-US" sz="1100" b="0" i="1" dirty="0">
                          <a:ea typeface="ヒラギノ角ゴ Pro W3" charset="-128"/>
                          <a:cs typeface="Georgia"/>
                        </a:rPr>
                        <a:t>“Like you get a beater car, it was the same thing with the boat. I just wanted to get my first boat like that”</a:t>
                      </a:r>
                    </a:p>
                  </a:txBody>
                  <a:tcPr>
                    <a:noFill/>
                  </a:tcPr>
                </a:tc>
                <a:tc>
                  <a:txBody>
                    <a:bodyPr/>
                    <a:lstStyle/>
                    <a:p>
                      <a:r>
                        <a:rPr lang="en-US" sz="1100" i="1" dirty="0"/>
                        <a:t>“Most of our friends have boats. We're always calling around to find out where everybody is, if they're at a certain restaurant or beach so we can meet up”</a:t>
                      </a:r>
                    </a:p>
                  </a:txBody>
                  <a:tcPr>
                    <a:noFill/>
                  </a:tcPr>
                </a:tc>
                <a:tc>
                  <a:txBody>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lang="en-US" sz="1100" i="1" kern="1200" dirty="0">
                          <a:solidFill>
                            <a:schemeClr val="dk1"/>
                          </a:solidFill>
                          <a:effectLst/>
                          <a:latin typeface="+mn-lt"/>
                          <a:ea typeface="+mn-ea"/>
                          <a:cs typeface="+mn-cs"/>
                        </a:rPr>
                        <a:t>“I wish there was more technology for a boat like Apple Car Play or that would show me fuel levels and when maintenance is needed. I would pay more for a ‘technology package” </a:t>
                      </a:r>
                      <a:endParaRPr lang="en-US" sz="1100" kern="1200" dirty="0">
                        <a:solidFill>
                          <a:schemeClr val="dk1"/>
                        </a:solidFill>
                        <a:effectLst/>
                        <a:latin typeface="+mn-lt"/>
                        <a:ea typeface="+mn-ea"/>
                        <a:cs typeface="+mn-cs"/>
                      </a:endParaRPr>
                    </a:p>
                    <a:p>
                      <a:pPr hangingPunct="0"/>
                      <a:endParaRPr lang="en-US" sz="1100" i="1" kern="1200" dirty="0">
                        <a:solidFill>
                          <a:schemeClr val="tx1"/>
                        </a:solidFill>
                        <a:effectLst/>
                        <a:latin typeface="+mn-lt"/>
                        <a:ea typeface="+mn-ea"/>
                        <a:cs typeface="+mn-cs"/>
                      </a:endParaRPr>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i="1" kern="1200" dirty="0">
                          <a:solidFill>
                            <a:schemeClr val="dk1"/>
                          </a:solidFill>
                          <a:effectLst/>
                          <a:latin typeface="+mn-lt"/>
                          <a:ea typeface="+mn-ea"/>
                          <a:cs typeface="+mn-cs"/>
                        </a:rPr>
                        <a:t>“The dealerships were better at keeping logs but I couldn’t confirm they were authentic. Private</a:t>
                      </a:r>
                      <a:r>
                        <a:rPr lang="en-US" sz="1100" i="1" kern="1200" baseline="0" dirty="0">
                          <a:solidFill>
                            <a:schemeClr val="dk1"/>
                          </a:solidFill>
                          <a:effectLst/>
                          <a:latin typeface="+mn-lt"/>
                          <a:ea typeface="+mn-ea"/>
                          <a:cs typeface="+mn-cs"/>
                        </a:rPr>
                        <a:t> sellers </a:t>
                      </a:r>
                      <a:r>
                        <a:rPr lang="en-US" sz="1100" i="1" kern="1200" dirty="0">
                          <a:solidFill>
                            <a:schemeClr val="dk1"/>
                          </a:solidFill>
                          <a:effectLst/>
                          <a:latin typeface="+mn-lt"/>
                          <a:ea typeface="+mn-ea"/>
                          <a:cs typeface="+mn-cs"/>
                        </a:rPr>
                        <a:t>either claimed to have no issues or just kept no logs of approximate hours”</a:t>
                      </a:r>
                      <a:endParaRPr lang="en-US" sz="1100" kern="1200" dirty="0">
                        <a:solidFill>
                          <a:schemeClr val="dk1"/>
                        </a:solidFill>
                        <a:effectLst/>
                        <a:latin typeface="+mn-lt"/>
                        <a:ea typeface="+mn-ea"/>
                        <a:cs typeface="+mn-cs"/>
                      </a:endParaRPr>
                    </a:p>
                  </a:txBody>
                  <a:tcPr>
                    <a:noFill/>
                  </a:tcPr>
                </a:tc>
                <a:extLst>
                  <a:ext uri="{0D108BD9-81ED-4DB2-BD59-A6C34878D82A}">
                    <a16:rowId xmlns:a16="http://schemas.microsoft.com/office/drawing/2014/main" val="121332325"/>
                  </a:ext>
                </a:extLst>
              </a:tr>
            </a:tbl>
          </a:graphicData>
        </a:graphic>
      </p:graphicFrame>
      <p:sp>
        <p:nvSpPr>
          <p:cNvPr id="10" name="Text Placeholder 9">
            <a:extLst>
              <a:ext uri="{FF2B5EF4-FFF2-40B4-BE49-F238E27FC236}">
                <a16:creationId xmlns:a16="http://schemas.microsoft.com/office/drawing/2014/main" id="{81E607F5-B2B6-4D96-8E70-EDA0589594AE}"/>
              </a:ext>
            </a:extLst>
          </p:cNvPr>
          <p:cNvSpPr>
            <a:spLocks noGrp="1"/>
          </p:cNvSpPr>
          <p:nvPr>
            <p:ph type="body" sz="quarter" idx="15"/>
          </p:nvPr>
        </p:nvSpPr>
        <p:spPr/>
        <p:txBody>
          <a:bodyPr/>
          <a:lstStyle/>
          <a:p>
            <a:r>
              <a:rPr lang="en-US" dirty="0"/>
              <a:t>table</a:t>
            </a:r>
          </a:p>
        </p:txBody>
      </p:sp>
    </p:spTree>
    <p:extLst>
      <p:ext uri="{BB962C8B-B14F-4D97-AF65-F5344CB8AC3E}">
        <p14:creationId xmlns:p14="http://schemas.microsoft.com/office/powerpoint/2010/main" val="3781494211"/>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A04D845-7507-45B2-B664-911607EDCD6D}"/>
              </a:ext>
            </a:extLst>
          </p:cNvPr>
          <p:cNvGraphicFramePr>
            <a:graphicFrameLocks noChangeAspect="1"/>
          </p:cNvGraphicFramePr>
          <p:nvPr>
            <p:custDataLst>
              <p:tags r:id="rId2"/>
            </p:custDataLst>
            <p:extLst>
              <p:ext uri="{D42A27DB-BD31-4B8C-83A1-F6EECF244321}">
                <p14:modId xmlns:p14="http://schemas.microsoft.com/office/powerpoint/2010/main" val="3012342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8180" name="think-cell Slide" r:id="rId6" imgW="415" imgH="416" progId="TCLayout.ActiveDocument.1">
                  <p:embed/>
                </p:oleObj>
              </mc:Choice>
              <mc:Fallback>
                <p:oleObj name="think-cell Slide" r:id="rId6" imgW="415" imgH="416" progId="TCLayout.ActiveDocument.1">
                  <p:embed/>
                  <p:pic>
                    <p:nvPicPr>
                      <p:cNvPr id="5" name="Object 4" hidden="1">
                        <a:extLst>
                          <a:ext uri="{FF2B5EF4-FFF2-40B4-BE49-F238E27FC236}">
                            <a16:creationId xmlns:a16="http://schemas.microsoft.com/office/drawing/2014/main" id="{5A04D845-7507-45B2-B664-911607EDCD6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44295A8-FDBD-41DC-BB1F-F6B600C3C7D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10FDDDDC-51DC-4852-BDE7-1B6E1D31C74A}"/>
              </a:ext>
            </a:extLst>
          </p:cNvPr>
          <p:cNvSpPr>
            <a:spLocks noGrp="1"/>
          </p:cNvSpPr>
          <p:nvPr>
            <p:ph type="title"/>
          </p:nvPr>
        </p:nvSpPr>
        <p:spPr/>
        <p:txBody>
          <a:bodyPr/>
          <a:lstStyle/>
          <a:p>
            <a:r>
              <a:rPr lang="en-US" dirty="0"/>
              <a:t>Sophisticated marketing approach</a:t>
            </a:r>
          </a:p>
        </p:txBody>
      </p:sp>
      <p:sp>
        <p:nvSpPr>
          <p:cNvPr id="3" name="Text Placeholder 2">
            <a:extLst>
              <a:ext uri="{FF2B5EF4-FFF2-40B4-BE49-F238E27FC236}">
                <a16:creationId xmlns:a16="http://schemas.microsoft.com/office/drawing/2014/main" id="{4220212C-295E-4DEA-AB53-FCEB2B36291D}"/>
              </a:ext>
            </a:extLst>
          </p:cNvPr>
          <p:cNvSpPr>
            <a:spLocks noGrp="1"/>
          </p:cNvSpPr>
          <p:nvPr>
            <p:ph type="body" sz="quarter" idx="14"/>
          </p:nvPr>
        </p:nvSpPr>
        <p:spPr/>
        <p:txBody>
          <a:bodyPr/>
          <a:lstStyle/>
          <a:p>
            <a:r>
              <a:rPr lang="en-US" dirty="0"/>
              <a:t>A range of analytical frameworks and approaches are available based on the maturity of the market</a:t>
            </a:r>
          </a:p>
        </p:txBody>
      </p:sp>
      <p:sp>
        <p:nvSpPr>
          <p:cNvPr id="27" name="Text Placeholder 26">
            <a:extLst>
              <a:ext uri="{FF2B5EF4-FFF2-40B4-BE49-F238E27FC236}">
                <a16:creationId xmlns:a16="http://schemas.microsoft.com/office/drawing/2014/main" id="{7BDAF67B-B18D-49AF-9FBF-ADDEBD397DFA}"/>
              </a:ext>
            </a:extLst>
          </p:cNvPr>
          <p:cNvSpPr>
            <a:spLocks noGrp="1"/>
          </p:cNvSpPr>
          <p:nvPr>
            <p:ph type="body" sz="quarter" idx="15"/>
          </p:nvPr>
        </p:nvSpPr>
        <p:spPr/>
        <p:txBody>
          <a:bodyPr/>
          <a:lstStyle/>
          <a:p>
            <a:r>
              <a:rPr lang="en-US" dirty="0"/>
              <a:t>table</a:t>
            </a:r>
          </a:p>
        </p:txBody>
      </p:sp>
      <p:cxnSp>
        <p:nvCxnSpPr>
          <p:cNvPr id="6" name="Straight Connector 5">
            <a:extLst>
              <a:ext uri="{FF2B5EF4-FFF2-40B4-BE49-F238E27FC236}">
                <a16:creationId xmlns:a16="http://schemas.microsoft.com/office/drawing/2014/main" id="{77177F6F-B885-4569-A3E2-A1413C7C22D3}"/>
              </a:ext>
            </a:extLst>
          </p:cNvPr>
          <p:cNvCxnSpPr/>
          <p:nvPr/>
        </p:nvCxnSpPr>
        <p:spPr>
          <a:xfrm>
            <a:off x="2735381" y="3403256"/>
            <a:ext cx="2383692" cy="0"/>
          </a:xfrm>
          <a:prstGeom prst="line">
            <a:avLst/>
          </a:prstGeom>
          <a:ln w="28575">
            <a:solidFill>
              <a:schemeClr val="accent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E3D81DE-7EA2-43C4-A7D9-850A95F862D4}"/>
              </a:ext>
            </a:extLst>
          </p:cNvPr>
          <p:cNvCxnSpPr/>
          <p:nvPr/>
        </p:nvCxnSpPr>
        <p:spPr>
          <a:xfrm>
            <a:off x="5771662" y="3403256"/>
            <a:ext cx="2383692" cy="0"/>
          </a:xfrm>
          <a:prstGeom prst="line">
            <a:avLst/>
          </a:prstGeom>
          <a:ln w="28575">
            <a:solidFill>
              <a:schemeClr val="accent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19208D54-A406-4793-ADB8-9EC7386D199A}"/>
              </a:ext>
            </a:extLst>
          </p:cNvPr>
          <p:cNvCxnSpPr/>
          <p:nvPr/>
        </p:nvCxnSpPr>
        <p:spPr>
          <a:xfrm>
            <a:off x="8956431" y="3403256"/>
            <a:ext cx="2383692" cy="0"/>
          </a:xfrm>
          <a:prstGeom prst="line">
            <a:avLst/>
          </a:prstGeom>
          <a:ln w="28575">
            <a:solidFill>
              <a:schemeClr val="accent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E780DF5-FAF8-4641-BAF9-E8238E0DFDAC}"/>
              </a:ext>
            </a:extLst>
          </p:cNvPr>
          <p:cNvCxnSpPr/>
          <p:nvPr/>
        </p:nvCxnSpPr>
        <p:spPr>
          <a:xfrm>
            <a:off x="2735381" y="2683364"/>
            <a:ext cx="2383692" cy="0"/>
          </a:xfrm>
          <a:prstGeom prst="line">
            <a:avLst/>
          </a:prstGeom>
          <a:ln w="28575">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BA95CF1-07F6-4F32-8146-937E4664520C}"/>
              </a:ext>
            </a:extLst>
          </p:cNvPr>
          <p:cNvCxnSpPr/>
          <p:nvPr/>
        </p:nvCxnSpPr>
        <p:spPr>
          <a:xfrm>
            <a:off x="5771662" y="2683364"/>
            <a:ext cx="2383692" cy="0"/>
          </a:xfrm>
          <a:prstGeom prst="line">
            <a:avLst/>
          </a:prstGeom>
          <a:ln w="28575">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8C911C9-D1FE-431B-A8B5-ED8D38D49435}"/>
              </a:ext>
            </a:extLst>
          </p:cNvPr>
          <p:cNvCxnSpPr/>
          <p:nvPr/>
        </p:nvCxnSpPr>
        <p:spPr>
          <a:xfrm>
            <a:off x="8956431" y="2683364"/>
            <a:ext cx="2383692" cy="0"/>
          </a:xfrm>
          <a:prstGeom prst="line">
            <a:avLst/>
          </a:prstGeom>
          <a:ln w="28575">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12" name="Table 11">
            <a:extLst>
              <a:ext uri="{FF2B5EF4-FFF2-40B4-BE49-F238E27FC236}">
                <a16:creationId xmlns:a16="http://schemas.microsoft.com/office/drawing/2014/main" id="{F73E6063-4F30-4C5F-B490-F2DD5E644D45}"/>
              </a:ext>
            </a:extLst>
          </p:cNvPr>
          <p:cNvGraphicFramePr>
            <a:graphicFrameLocks noGrp="1"/>
          </p:cNvGraphicFramePr>
          <p:nvPr/>
        </p:nvGraphicFramePr>
        <p:xfrm>
          <a:off x="914400" y="1825160"/>
          <a:ext cx="10941354" cy="4686574"/>
        </p:xfrm>
        <a:graphic>
          <a:graphicData uri="http://schemas.openxmlformats.org/drawingml/2006/table">
            <a:tbl>
              <a:tblPr firstRow="1" bandRow="1">
                <a:tableStyleId>{2D5ABB26-0587-4C30-8999-92F81FD0307C}</a:tableStyleId>
              </a:tblPr>
              <a:tblGrid>
                <a:gridCol w="1737360">
                  <a:extLst>
                    <a:ext uri="{9D8B030D-6E8A-4147-A177-3AD203B41FA5}">
                      <a16:colId xmlns:a16="http://schemas.microsoft.com/office/drawing/2014/main" val="647989049"/>
                    </a:ext>
                  </a:extLst>
                </a:gridCol>
                <a:gridCol w="3067998">
                  <a:extLst>
                    <a:ext uri="{9D8B030D-6E8A-4147-A177-3AD203B41FA5}">
                      <a16:colId xmlns:a16="http://schemas.microsoft.com/office/drawing/2014/main" val="3983738023"/>
                    </a:ext>
                  </a:extLst>
                </a:gridCol>
                <a:gridCol w="3067998">
                  <a:extLst>
                    <a:ext uri="{9D8B030D-6E8A-4147-A177-3AD203B41FA5}">
                      <a16:colId xmlns:a16="http://schemas.microsoft.com/office/drawing/2014/main" val="2022868797"/>
                    </a:ext>
                  </a:extLst>
                </a:gridCol>
                <a:gridCol w="3067998">
                  <a:extLst>
                    <a:ext uri="{9D8B030D-6E8A-4147-A177-3AD203B41FA5}">
                      <a16:colId xmlns:a16="http://schemas.microsoft.com/office/drawing/2014/main" val="3509281229"/>
                    </a:ext>
                  </a:extLst>
                </a:gridCol>
              </a:tblGrid>
              <a:tr h="4887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mn-lt"/>
                        <a:ea typeface="+mn-ea"/>
                        <a:cs typeface="+mn-cs"/>
                      </a:endParaRPr>
                    </a:p>
                  </a:txBody>
                  <a:tcPr marT="91440" marB="9144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a:r>
                        <a:rPr lang="en-US" sz="1400" b="1" dirty="0"/>
                        <a:t>Basic</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i="1" dirty="0"/>
                        <a:t>(China, Brazil</a:t>
                      </a:r>
                      <a:r>
                        <a:rPr lang="en-US" sz="1400" b="0" i="1" baseline="0" dirty="0"/>
                        <a:t>)</a:t>
                      </a:r>
                      <a:endParaRPr lang="en-US" sz="1400" b="0" i="1" dirty="0"/>
                    </a:p>
                  </a:txBody>
                  <a:tcPr marT="91440" marB="9144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a:r>
                        <a:rPr lang="en-US" sz="1400" b="1" dirty="0"/>
                        <a:t>Standard</a:t>
                      </a:r>
                    </a:p>
                    <a:p>
                      <a:pPr algn="ctr"/>
                      <a:r>
                        <a:rPr lang="en-US" sz="1400" b="0" i="1" dirty="0"/>
                        <a:t>(France,</a:t>
                      </a:r>
                      <a:r>
                        <a:rPr lang="en-US" sz="1400" b="0" i="1" baseline="0" dirty="0"/>
                        <a:t> Germany)</a:t>
                      </a:r>
                      <a:endParaRPr lang="en-US" sz="1400" b="0" i="1" dirty="0"/>
                    </a:p>
                  </a:txBody>
                  <a:tcPr marT="91440" marB="9144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a:r>
                        <a:rPr lang="en-US" sz="1400" b="1" dirty="0"/>
                        <a:t>Advanced</a:t>
                      </a:r>
                    </a:p>
                    <a:p>
                      <a:pPr algn="ctr"/>
                      <a:r>
                        <a:rPr lang="en-US" sz="1400" b="0" i="1" dirty="0"/>
                        <a:t>(US,</a:t>
                      </a:r>
                      <a:r>
                        <a:rPr lang="en-US" sz="1400" b="0" i="1" baseline="0" dirty="0"/>
                        <a:t> UK)</a:t>
                      </a:r>
                      <a:endParaRPr lang="en-US" sz="1400" b="0" i="1" dirty="0"/>
                    </a:p>
                  </a:txBody>
                  <a:tcPr marT="91440" marB="9144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26485014"/>
                  </a:ext>
                </a:extLst>
              </a:tr>
              <a:tr h="62928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effectLst/>
                          <a:uLnTx/>
                          <a:uFillTx/>
                        </a:rPr>
                        <a:t>DATA COVERAGE</a:t>
                      </a:r>
                      <a:endParaRPr kumimoji="0" lang="en-US" sz="1400" b="1" u="none" strike="noStrike" kern="1200" cap="none" spc="0" normalizeH="0" baseline="0" noProof="0" dirty="0">
                        <a:ln>
                          <a:noFill/>
                        </a:ln>
                        <a:solidFill>
                          <a:schemeClr val="tx1"/>
                        </a:solidFill>
                        <a:effectLst/>
                        <a:uLnTx/>
                        <a:uFillTx/>
                        <a:latin typeface="+mn-lt"/>
                        <a:ea typeface="+mn-ea"/>
                        <a:cs typeface="+mn-cs"/>
                      </a:endParaRPr>
                    </a:p>
                  </a:txBody>
                  <a:tcPr marT="91440" marB="91440" anchor="ctr">
                    <a:lnL>
                      <a:noFill/>
                    </a:lnL>
                    <a:lnR>
                      <a:noFill/>
                    </a:lnR>
                    <a:lnT w="28575"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344488"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sz="1100" b="1" spc="200"/>
                      </a:pPr>
                      <a:endParaRPr kumimoji="0" lang="en-US" sz="1200" b="1" i="0" u="none" strike="noStrike" kern="1200" cap="none" spc="200" normalizeH="0" baseline="0" noProof="0" dirty="0">
                        <a:ln>
                          <a:noFill/>
                        </a:ln>
                        <a:solidFill>
                          <a:srgbClr val="000000"/>
                        </a:solidFill>
                        <a:effectLst/>
                        <a:uLnTx/>
                        <a:uFillTx/>
                        <a:latin typeface="+mn-lt"/>
                        <a:ea typeface="+mn-ea"/>
                        <a:cs typeface="+mn-cs"/>
                      </a:endParaRPr>
                    </a:p>
                  </a:txBody>
                  <a:tcPr marT="91440" marB="91440" anchor="ctr">
                    <a:lnL>
                      <a:noFill/>
                    </a:lnL>
                    <a:lnR>
                      <a:noFill/>
                    </a:lnR>
                    <a:lnT w="28575"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200"/>
                        </a:spcBef>
                        <a:spcAft>
                          <a:spcPts val="0"/>
                        </a:spcAft>
                        <a:buClrTx/>
                        <a:buSzTx/>
                        <a:buFont typeface="Arial" panose="020B0604020202020204" pitchFamily="34" charset="0"/>
                        <a:buNone/>
                        <a:tabLst/>
                        <a:defRPr sz="1100" b="1" spc="200"/>
                      </a:pPr>
                      <a:endParaRPr kumimoji="0" lang="en-US" sz="1200" b="1" i="0" u="none" strike="noStrike" kern="1200" cap="none" spc="200" normalizeH="0" baseline="0" noProof="0" dirty="0">
                        <a:ln>
                          <a:noFill/>
                        </a:ln>
                        <a:solidFill>
                          <a:srgbClr val="000000"/>
                        </a:solidFill>
                        <a:effectLst/>
                        <a:uLnTx/>
                        <a:uFillTx/>
                        <a:latin typeface="+mn-lt"/>
                        <a:ea typeface="+mn-ea"/>
                        <a:cs typeface="+mn-cs"/>
                      </a:endParaRPr>
                    </a:p>
                  </a:txBody>
                  <a:tcPr marT="91440" marB="91440" anchor="ctr">
                    <a:lnL>
                      <a:noFill/>
                    </a:lnL>
                    <a:lnR>
                      <a:noFill/>
                    </a:lnR>
                    <a:lnT w="28575"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828800" marR="0" lvl="4" indent="0" algn="ctr" defTabSz="914400" rtl="0" eaLnBrk="1" fontAlgn="auto" latinLnBrk="0" hangingPunct="1">
                        <a:lnSpc>
                          <a:spcPct val="100000"/>
                        </a:lnSpc>
                        <a:spcBef>
                          <a:spcPts val="200"/>
                        </a:spcBef>
                        <a:spcAft>
                          <a:spcPts val="0"/>
                        </a:spcAft>
                        <a:buClrTx/>
                        <a:buSzTx/>
                        <a:buFont typeface="Arial" panose="020B0604020202020204" pitchFamily="34" charset="0"/>
                        <a:buNone/>
                        <a:tabLst/>
                        <a:defRPr sz="1100" b="1" spc="200"/>
                      </a:pPr>
                      <a:endParaRPr kumimoji="0" lang="en-US" sz="1200" b="1" i="0" u="none" strike="noStrike" kern="1200" cap="none" spc="200" normalizeH="0" baseline="0" noProof="0" dirty="0">
                        <a:ln>
                          <a:noFill/>
                        </a:ln>
                        <a:solidFill>
                          <a:srgbClr val="000000"/>
                        </a:solidFill>
                        <a:effectLst/>
                        <a:uLnTx/>
                        <a:uFillTx/>
                        <a:latin typeface="+mn-lt"/>
                        <a:ea typeface="+mn-ea"/>
                        <a:cs typeface="+mn-cs"/>
                      </a:endParaRPr>
                    </a:p>
                  </a:txBody>
                  <a:tcPr marT="91440" marB="91440" anchor="ctr">
                    <a:lnL>
                      <a:noFill/>
                    </a:lnL>
                    <a:lnR>
                      <a:noFill/>
                    </a:lnR>
                    <a:lnT w="28575"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45440447"/>
                  </a:ext>
                </a:extLst>
              </a:tr>
              <a:tr h="7451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effectLst/>
                          <a:uLnTx/>
                          <a:uFillTx/>
                        </a:rPr>
                        <a:t>GRANULARITY OF BASELINE PLANS</a:t>
                      </a:r>
                      <a:endParaRPr kumimoji="0" lang="en-US" sz="1400" b="1" u="none" strike="noStrike" kern="1200" cap="none" spc="0" normalizeH="0" baseline="0" noProof="0" dirty="0">
                        <a:ln>
                          <a:noFill/>
                        </a:ln>
                        <a:solidFill>
                          <a:schemeClr val="tx1"/>
                        </a:solidFill>
                        <a:effectLst/>
                        <a:uLnTx/>
                        <a:uFillTx/>
                        <a:latin typeface="+mn-lt"/>
                        <a:ea typeface="+mn-ea"/>
                        <a:cs typeface="+mn-cs"/>
                      </a:endParaRPr>
                    </a:p>
                  </a:txBody>
                  <a:tcPr marT="91440" marB="91440" anchor="ctr">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 typeface="Arial" panose="020B0604020202020204" pitchFamily="34" charset="0"/>
                        <a:buNone/>
                      </a:pPr>
                      <a:endParaRPr kumimoji="0" lang="en-US" sz="1200" b="1" i="0" u="none" strike="noStrike" kern="1200" cap="none" spc="200" normalizeH="0" baseline="0" dirty="0">
                        <a:ln>
                          <a:noFill/>
                        </a:ln>
                        <a:solidFill>
                          <a:srgbClr val="000000"/>
                        </a:solidFill>
                        <a:effectLst/>
                        <a:uLnTx/>
                        <a:uFillTx/>
                        <a:latin typeface="+mn-lt"/>
                        <a:ea typeface="+mn-ea"/>
                        <a:cs typeface="+mn-cs"/>
                      </a:endParaRPr>
                    </a:p>
                  </a:txBody>
                  <a:tcPr marT="91440" marB="91440" anchor="ctr">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20000"/>
                        </a:lnSpc>
                        <a:spcBef>
                          <a:spcPts val="200"/>
                        </a:spcBef>
                        <a:spcAft>
                          <a:spcPts val="0"/>
                        </a:spcAft>
                        <a:buClrTx/>
                        <a:buSzTx/>
                        <a:buFont typeface="Arial" panose="020B0604020202020204" pitchFamily="34" charset="0"/>
                        <a:buNone/>
                        <a:tabLst/>
                        <a:defRPr sz="1000"/>
                      </a:pPr>
                      <a:endParaRPr kumimoji="0" lang="en-US" sz="1200" b="1" i="0" u="none" strike="noStrike" kern="1200" cap="none" spc="200" normalizeH="0" baseline="0" noProof="0" dirty="0">
                        <a:ln>
                          <a:noFill/>
                        </a:ln>
                        <a:solidFill>
                          <a:srgbClr val="000000"/>
                        </a:solidFill>
                        <a:effectLst/>
                        <a:uLnTx/>
                        <a:uFillTx/>
                        <a:latin typeface="+mn-lt"/>
                        <a:ea typeface="+mn-ea"/>
                        <a:cs typeface="+mn-cs"/>
                      </a:endParaRPr>
                    </a:p>
                  </a:txBody>
                  <a:tcPr marT="91440" marB="91440" anchor="ctr">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828800" marR="0" lvl="4" indent="0" algn="ctr" defTabSz="914400" rtl="0" eaLnBrk="1" fontAlgn="auto" latinLnBrk="0" hangingPunct="1">
                        <a:lnSpc>
                          <a:spcPct val="100000"/>
                        </a:lnSpc>
                        <a:spcBef>
                          <a:spcPts val="200"/>
                        </a:spcBef>
                        <a:spcAft>
                          <a:spcPts val="0"/>
                        </a:spcAft>
                        <a:buClrTx/>
                        <a:buSzTx/>
                        <a:buFont typeface="Arial" panose="020B0604020202020204" pitchFamily="34" charset="0"/>
                        <a:buNone/>
                        <a:tabLst/>
                        <a:defRPr sz="1100" b="1" spc="200"/>
                      </a:pPr>
                      <a:endParaRPr kumimoji="0" lang="en-US" sz="1200" b="1" i="0" u="none" strike="noStrike" kern="1200" cap="none" spc="200" normalizeH="0" baseline="0" noProof="0" dirty="0">
                        <a:ln>
                          <a:noFill/>
                        </a:ln>
                        <a:solidFill>
                          <a:srgbClr val="000000"/>
                        </a:solidFill>
                        <a:effectLst/>
                        <a:uLnTx/>
                        <a:uFillTx/>
                        <a:latin typeface="+mn-lt"/>
                        <a:ea typeface="+mn-ea"/>
                        <a:cs typeface="+mn-cs"/>
                      </a:endParaRPr>
                    </a:p>
                  </a:txBody>
                  <a:tcPr marT="91440" marB="91440" anchor="ctr">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81602796"/>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effectLst/>
                          <a:uLnTx/>
                          <a:uFillTx/>
                        </a:rPr>
                        <a:t>ANALYSES WE EXPECT TO LEVERAGE</a:t>
                      </a:r>
                      <a:endParaRPr kumimoji="0" lang="en-US" sz="1400" b="1" u="none" strike="noStrike" kern="1200" cap="none" spc="0" normalizeH="0" baseline="0" noProof="0" dirty="0">
                        <a:ln>
                          <a:noFill/>
                        </a:ln>
                        <a:solidFill>
                          <a:schemeClr val="tx1"/>
                        </a:solidFill>
                        <a:effectLst/>
                        <a:uLnTx/>
                        <a:uFillTx/>
                        <a:latin typeface="+mn-lt"/>
                        <a:ea typeface="+mn-ea"/>
                        <a:cs typeface="+mn-cs"/>
                      </a:endParaRPr>
                    </a:p>
                  </a:txBody>
                  <a:tcPr marT="91440" marB="91440" anchor="ctr">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sz="1100" b="1" spc="200"/>
                      </a:pPr>
                      <a:r>
                        <a:rPr kumimoji="0" lang="en-US" sz="1100" b="0" i="0" u="none" strike="noStrike" kern="1200" cap="none" spc="0" normalizeH="0" baseline="0" noProof="0" dirty="0">
                          <a:ln>
                            <a:noFill/>
                          </a:ln>
                          <a:solidFill>
                            <a:srgbClr val="000000"/>
                          </a:solidFill>
                          <a:effectLst/>
                          <a:uLnTx/>
                          <a:uFillTx/>
                          <a:latin typeface="+mn-lt"/>
                          <a:ea typeface="+mn-ea"/>
                          <a:cs typeface="+mn-cs"/>
                        </a:rPr>
                        <a:t>Total gross-to-net levels</a:t>
                      </a:r>
                    </a:p>
                    <a:p>
                      <a:pPr marL="171450" marR="0" lvl="0" indent="-17145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sz="1100" b="1" spc="200"/>
                      </a:pPr>
                      <a:r>
                        <a:rPr kumimoji="0" lang="en-US" sz="1100" b="0" i="0" u="none" strike="noStrike" kern="1200" cap="none" spc="0" normalizeH="0" baseline="0" noProof="0" dirty="0">
                          <a:ln>
                            <a:noFill/>
                          </a:ln>
                          <a:solidFill>
                            <a:srgbClr val="000000"/>
                          </a:solidFill>
                          <a:effectLst/>
                          <a:uLnTx/>
                          <a:uFillTx/>
                          <a:latin typeface="+mn-lt"/>
                          <a:ea typeface="+mn-ea"/>
                          <a:cs typeface="+mn-cs"/>
                        </a:rPr>
                        <a:t>Shipment-based performance metrics (sales growth, assortment, </a:t>
                      </a:r>
                      <a:r>
                        <a:rPr kumimoji="0" lang="en-US" sz="1100" b="0" i="0" u="none" strike="noStrike" kern="1200" cap="none" spc="0" normalizeH="0" baseline="0" noProof="0" dirty="0" err="1">
                          <a:ln>
                            <a:noFill/>
                          </a:ln>
                          <a:solidFill>
                            <a:srgbClr val="000000"/>
                          </a:solidFill>
                          <a:effectLst/>
                          <a:uLnTx/>
                          <a:uFillTx/>
                          <a:latin typeface="+mn-lt"/>
                          <a:ea typeface="+mn-ea"/>
                          <a:cs typeface="+mn-cs"/>
                        </a:rPr>
                        <a:t>etc</a:t>
                      </a:r>
                      <a:r>
                        <a:rPr kumimoji="0" lang="en-US" sz="1100" b="0" i="0" u="none" strike="noStrike" kern="1200" cap="none" spc="0" normalizeH="0" baseline="0" noProof="0" dirty="0">
                          <a:ln>
                            <a:noFill/>
                          </a:ln>
                          <a:solidFill>
                            <a:srgbClr val="000000"/>
                          </a:solidFill>
                          <a:effectLst/>
                          <a:uLnTx/>
                          <a:uFillTx/>
                          <a:latin typeface="+mn-lt"/>
                          <a:ea typeface="+mn-ea"/>
                          <a:cs typeface="+mn-cs"/>
                        </a:rPr>
                        <a:t>)</a:t>
                      </a:r>
                    </a:p>
                    <a:p>
                      <a:pPr marL="171450" marR="0" lvl="0" indent="-17145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sz="1100" b="1" spc="200"/>
                      </a:pPr>
                      <a:r>
                        <a:rPr kumimoji="0" lang="en-US" sz="1100" b="0" i="0" u="none" strike="noStrike" kern="1200" cap="none" spc="0" normalizeH="0" baseline="0" noProof="0" dirty="0">
                          <a:ln>
                            <a:noFill/>
                          </a:ln>
                          <a:solidFill>
                            <a:srgbClr val="000000"/>
                          </a:solidFill>
                          <a:effectLst/>
                          <a:uLnTx/>
                          <a:uFillTx/>
                          <a:latin typeface="+mn-lt"/>
                          <a:ea typeface="+mn-ea"/>
                          <a:cs typeface="+mn-cs"/>
                        </a:rPr>
                        <a:t>Pay for performance alignment</a:t>
                      </a:r>
                    </a:p>
                    <a:p>
                      <a:pPr marL="171450" marR="0" lvl="0" indent="-17145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sz="1100" b="1" spc="200"/>
                      </a:pPr>
                      <a:r>
                        <a:rPr kumimoji="0" lang="en-US" sz="1100" b="0" i="0" u="none" strike="noStrike" kern="1200" cap="none" spc="0" normalizeH="0" baseline="0" noProof="0" dirty="0">
                          <a:ln>
                            <a:noFill/>
                          </a:ln>
                          <a:solidFill>
                            <a:srgbClr val="000000"/>
                          </a:solidFill>
                          <a:effectLst/>
                          <a:uLnTx/>
                          <a:uFillTx/>
                          <a:latin typeface="+mn-lt"/>
                          <a:ea typeface="+mn-ea"/>
                          <a:cs typeface="+mn-cs"/>
                        </a:rPr>
                        <a:t>Guidelines for net price minimums between channels (e.g. modern vs. traditional trade)</a:t>
                      </a:r>
                    </a:p>
                  </a:txBody>
                  <a:tcPr marT="91440" marB="91440">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sz="1000"/>
                      </a:pPr>
                      <a:r>
                        <a:rPr kumimoji="0" lang="en-US" sz="1100" b="0" i="1" u="none" strike="noStrike" kern="1200" cap="none" spc="0" normalizeH="0" baseline="0" noProof="0" dirty="0">
                          <a:ln>
                            <a:noFill/>
                          </a:ln>
                          <a:solidFill>
                            <a:srgbClr val="000000"/>
                          </a:solidFill>
                          <a:effectLst/>
                          <a:uLnTx/>
                          <a:uFillTx/>
                          <a:latin typeface="+mn-lt"/>
                          <a:ea typeface="+mn-ea"/>
                          <a:cs typeface="+mn-cs"/>
                        </a:rPr>
                        <a:t>Basic, plus:</a:t>
                      </a:r>
                    </a:p>
                    <a:p>
                      <a:pPr marL="171450" marR="0" lvl="0" indent="-17145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sz="1000"/>
                      </a:pPr>
                      <a:r>
                        <a:rPr kumimoji="0" lang="en-US" sz="1100" b="0" i="0" u="none" strike="noStrike" kern="1200" cap="none" spc="0" normalizeH="0" baseline="0" noProof="0" dirty="0">
                          <a:ln>
                            <a:noFill/>
                          </a:ln>
                          <a:solidFill>
                            <a:srgbClr val="000000"/>
                          </a:solidFill>
                          <a:effectLst/>
                          <a:uLnTx/>
                          <a:uFillTx/>
                          <a:latin typeface="+mn-lt"/>
                          <a:ea typeface="+mn-ea"/>
                          <a:cs typeface="+mn-cs"/>
                        </a:rPr>
                        <a:t>Event-level ROIs &amp; guidelines supported by base / lift model</a:t>
                      </a:r>
                    </a:p>
                    <a:p>
                      <a:pPr marL="171450" marR="0" lvl="0" indent="-17145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sz="1000"/>
                      </a:pPr>
                      <a:r>
                        <a:rPr kumimoji="0" lang="en-US" sz="1100" b="0" i="0" u="none" strike="noStrike" kern="1200" cap="none" spc="0" normalizeH="0" baseline="0" noProof="0" dirty="0">
                          <a:ln>
                            <a:noFill/>
                          </a:ln>
                          <a:solidFill>
                            <a:srgbClr val="000000"/>
                          </a:solidFill>
                          <a:effectLst/>
                          <a:uLnTx/>
                          <a:uFillTx/>
                          <a:latin typeface="+mn-lt"/>
                          <a:ea typeface="+mn-ea"/>
                          <a:cs typeface="+mn-cs"/>
                        </a:rPr>
                        <a:t>Customer segmentation &amp; funding alignment</a:t>
                      </a:r>
                    </a:p>
                    <a:p>
                      <a:pPr marL="171450" marR="0" lvl="0" indent="-17145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sz="1000"/>
                      </a:pPr>
                      <a:r>
                        <a:rPr kumimoji="0" lang="en-US" sz="1100" b="0" i="0" u="none" strike="noStrike" kern="1200" cap="none" spc="0" normalizeH="0" baseline="0" noProof="0" dirty="0">
                          <a:ln>
                            <a:noFill/>
                          </a:ln>
                          <a:solidFill>
                            <a:srgbClr val="000000"/>
                          </a:solidFill>
                          <a:effectLst/>
                          <a:uLnTx/>
                          <a:uFillTx/>
                          <a:latin typeface="+mn-lt"/>
                          <a:ea typeface="+mn-ea"/>
                          <a:cs typeface="+mn-cs"/>
                        </a:rPr>
                        <a:t>Retailer margin math &amp; win-win opportunity identification</a:t>
                      </a:r>
                    </a:p>
                  </a:txBody>
                  <a:tcPr marT="91440" marB="91440">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sz="1100" b="1" spc="200"/>
                      </a:pPr>
                      <a:r>
                        <a:rPr kumimoji="0" lang="en-US" sz="1100" b="0" i="1" u="none" strike="noStrike" kern="1200" cap="none" spc="0" normalizeH="0" baseline="0" noProof="0" dirty="0">
                          <a:ln>
                            <a:noFill/>
                          </a:ln>
                          <a:solidFill>
                            <a:srgbClr val="000000"/>
                          </a:solidFill>
                          <a:effectLst/>
                          <a:uLnTx/>
                          <a:uFillTx/>
                          <a:latin typeface="+mn-lt"/>
                          <a:ea typeface="+mn-ea"/>
                          <a:cs typeface="+mn-cs"/>
                        </a:rPr>
                        <a:t>Standard, plus: </a:t>
                      </a:r>
                    </a:p>
                    <a:p>
                      <a:pPr marL="171450" marR="0" lvl="0" indent="-17145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sz="1100" b="1" spc="200"/>
                      </a:pPr>
                      <a:r>
                        <a:rPr kumimoji="0" lang="en-US" sz="1100" b="0" i="0" u="none" strike="noStrike" kern="1200" cap="none" spc="0" normalizeH="0" baseline="0" noProof="0" dirty="0">
                          <a:ln>
                            <a:noFill/>
                          </a:ln>
                          <a:solidFill>
                            <a:srgbClr val="000000"/>
                          </a:solidFill>
                          <a:effectLst/>
                          <a:uLnTx/>
                          <a:uFillTx/>
                          <a:latin typeface="+mn-lt"/>
                          <a:ea typeface="+mn-ea"/>
                          <a:cs typeface="+mn-cs"/>
                        </a:rPr>
                        <a:t>True predictive promotional planning ability, with clear ROI thresholds</a:t>
                      </a:r>
                    </a:p>
                    <a:p>
                      <a:pPr marL="171450" marR="0" lvl="0" indent="-17145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sz="1100" b="1" spc="200"/>
                      </a:pPr>
                      <a:r>
                        <a:rPr kumimoji="0" lang="en-US" sz="1100" b="0" i="0" u="none" strike="noStrike" kern="1200" cap="none" spc="0" normalizeH="0" baseline="0" noProof="0" dirty="0">
                          <a:ln>
                            <a:noFill/>
                          </a:ln>
                          <a:solidFill>
                            <a:srgbClr val="000000"/>
                          </a:solidFill>
                          <a:effectLst/>
                          <a:uLnTx/>
                          <a:uFillTx/>
                          <a:latin typeface="+mn-lt"/>
                          <a:ea typeface="+mn-ea"/>
                          <a:cs typeface="+mn-cs"/>
                        </a:rPr>
                        <a:t>TPO models including multiple scenarios and range of business objectives</a:t>
                      </a:r>
                    </a:p>
                    <a:p>
                      <a:pPr marL="171450" marR="0" lvl="0" indent="-17145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sz="1100" b="1" spc="200"/>
                      </a:pPr>
                      <a:r>
                        <a:rPr kumimoji="0" lang="en-US" sz="1100" b="0" i="0" u="none" strike="noStrike" kern="1200" cap="none" spc="0" normalizeH="0" baseline="0" noProof="0" dirty="0">
                          <a:ln>
                            <a:noFill/>
                          </a:ln>
                          <a:solidFill>
                            <a:srgbClr val="000000"/>
                          </a:solidFill>
                          <a:effectLst/>
                          <a:uLnTx/>
                          <a:uFillTx/>
                          <a:latin typeface="+mn-lt"/>
                          <a:ea typeface="+mn-ea"/>
                          <a:cs typeface="+mn-cs"/>
                        </a:rPr>
                        <a:t>Potential for store-level </a:t>
                      </a:r>
                      <a:r>
                        <a:rPr kumimoji="0" lang="en-US" sz="1100" b="0" i="0" u="none" strike="noStrike" kern="1200" cap="none" spc="0" normalizeH="0" baseline="0" noProof="0" dirty="0" err="1">
                          <a:ln>
                            <a:noFill/>
                          </a:ln>
                          <a:solidFill>
                            <a:srgbClr val="000000"/>
                          </a:solidFill>
                          <a:effectLst/>
                          <a:uLnTx/>
                          <a:uFillTx/>
                          <a:latin typeface="+mn-lt"/>
                          <a:ea typeface="+mn-ea"/>
                          <a:cs typeface="+mn-cs"/>
                        </a:rPr>
                        <a:t>optimisation</a:t>
                      </a:r>
                      <a:r>
                        <a:rPr kumimoji="0" lang="en-US" sz="1100" b="0" i="0" u="none" strike="noStrike" kern="1200" cap="none" spc="0" normalizeH="0" baseline="0" noProof="0" dirty="0">
                          <a:ln>
                            <a:noFill/>
                          </a:ln>
                          <a:solidFill>
                            <a:srgbClr val="000000"/>
                          </a:solidFill>
                          <a:effectLst/>
                          <a:uLnTx/>
                          <a:uFillTx/>
                          <a:latin typeface="+mn-lt"/>
                          <a:ea typeface="+mn-ea"/>
                          <a:cs typeface="+mn-cs"/>
                        </a:rPr>
                        <a:t> in DSD markets</a:t>
                      </a:r>
                    </a:p>
                  </a:txBody>
                  <a:tcPr marT="91440" marB="91440">
                    <a:lnL>
                      <a:noFill/>
                    </a:lnL>
                    <a:lnR>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1540014"/>
                  </a:ext>
                </a:extLst>
              </a:tr>
              <a:tr h="81459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effectLst/>
                          <a:uLnTx/>
                          <a:uFillTx/>
                        </a:rPr>
                        <a:t>SUPPORTING DATA</a:t>
                      </a:r>
                      <a:endParaRPr kumimoji="0" lang="en-US" sz="1400" b="1" u="none" strike="noStrike" kern="1200" cap="none" spc="0" normalizeH="0" baseline="0" noProof="0" dirty="0">
                        <a:ln>
                          <a:noFill/>
                        </a:ln>
                        <a:solidFill>
                          <a:schemeClr val="tx1"/>
                        </a:solidFill>
                        <a:effectLst/>
                        <a:uLnTx/>
                        <a:uFillTx/>
                        <a:latin typeface="+mn-lt"/>
                        <a:ea typeface="+mn-ea"/>
                        <a:cs typeface="+mn-cs"/>
                      </a:endParaRPr>
                    </a:p>
                  </a:txBody>
                  <a:tcPr marT="91440" marB="91440" anchor="ctr">
                    <a:lnL>
                      <a:noFill/>
                    </a:lnL>
                    <a:lnR>
                      <a:noFill/>
                    </a:lnR>
                    <a:lnT w="6350" cap="flat" cmpd="sng" algn="ctr">
                      <a:solidFill>
                        <a:schemeClr val="bg1">
                          <a:lumMod val="85000"/>
                        </a:schemeClr>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sz="1100" b="1" spc="200"/>
                      </a:pPr>
                      <a:r>
                        <a:rPr kumimoji="0" lang="en-US" sz="1100" b="0" i="0" u="none" strike="noStrike" kern="1200" cap="none" spc="0" normalizeH="0" baseline="0" noProof="0" dirty="0">
                          <a:ln>
                            <a:noFill/>
                          </a:ln>
                          <a:solidFill>
                            <a:srgbClr val="000000"/>
                          </a:solidFill>
                          <a:effectLst/>
                          <a:uLnTx/>
                          <a:uFillTx/>
                          <a:latin typeface="+mn-lt"/>
                          <a:ea typeface="+mn-ea"/>
                          <a:cs typeface="+mn-cs"/>
                        </a:rPr>
                        <a:t>General ledger data</a:t>
                      </a:r>
                    </a:p>
                    <a:p>
                      <a:pPr marL="171450" marR="0" lvl="0" indent="-17145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sz="1100" b="1" spc="200"/>
                      </a:pPr>
                      <a:r>
                        <a:rPr kumimoji="0" lang="en-US" sz="1100" b="0" i="0" u="none" strike="noStrike" kern="1200" cap="none" spc="0" normalizeH="0" baseline="0" noProof="0" dirty="0">
                          <a:ln>
                            <a:noFill/>
                          </a:ln>
                          <a:solidFill>
                            <a:srgbClr val="000000"/>
                          </a:solidFill>
                          <a:effectLst/>
                          <a:uLnTx/>
                          <a:uFillTx/>
                          <a:latin typeface="+mn-lt"/>
                          <a:ea typeface="+mn-ea"/>
                          <a:cs typeface="+mn-cs"/>
                        </a:rPr>
                        <a:t>Sell-out data where available</a:t>
                      </a:r>
                    </a:p>
                    <a:p>
                      <a:pPr marL="171450" marR="0" lvl="0" indent="-17145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sz="1100" b="1" spc="200"/>
                      </a:pPr>
                      <a:r>
                        <a:rPr kumimoji="0" lang="en-US" sz="1100" b="0" i="0" u="none" strike="noStrike" kern="1200" cap="none" spc="0" normalizeH="0" baseline="0" noProof="0" dirty="0">
                          <a:ln>
                            <a:noFill/>
                          </a:ln>
                          <a:solidFill>
                            <a:srgbClr val="000000"/>
                          </a:solidFill>
                          <a:effectLst/>
                          <a:uLnTx/>
                          <a:uFillTx/>
                          <a:latin typeface="+mn-lt"/>
                          <a:ea typeface="+mn-ea"/>
                          <a:cs typeface="+mn-cs"/>
                        </a:rPr>
                        <a:t>Distributor sales (if applicable)</a:t>
                      </a:r>
                    </a:p>
                  </a:txBody>
                  <a:tcPr marT="91440" marB="91440">
                    <a:lnL>
                      <a:noFill/>
                    </a:lnL>
                    <a:lnR>
                      <a:noFill/>
                    </a:lnR>
                    <a:lnT w="6350" cap="flat" cmpd="sng" algn="ctr">
                      <a:solidFill>
                        <a:schemeClr val="bg1">
                          <a:lumMod val="85000"/>
                        </a:schemeClr>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sz="1000"/>
                      </a:pPr>
                      <a:r>
                        <a:rPr kumimoji="0" lang="en-US" sz="1100" b="0" i="1" u="none" strike="noStrike" kern="1200" cap="none" spc="0" normalizeH="0" baseline="0" noProof="0" dirty="0">
                          <a:ln>
                            <a:noFill/>
                          </a:ln>
                          <a:solidFill>
                            <a:srgbClr val="000000"/>
                          </a:solidFill>
                          <a:effectLst/>
                          <a:uLnTx/>
                          <a:uFillTx/>
                          <a:latin typeface="+mn-lt"/>
                          <a:ea typeface="+mn-ea"/>
                          <a:cs typeface="+mn-cs"/>
                        </a:rPr>
                        <a:t>Basic, plus:</a:t>
                      </a:r>
                    </a:p>
                    <a:p>
                      <a:pPr marL="171450" marR="0" lvl="0" indent="-17145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sz="1000"/>
                      </a:pPr>
                      <a:r>
                        <a:rPr kumimoji="0" lang="en-US" sz="1100" b="0" i="0" u="none" strike="noStrike" kern="1200" cap="none" spc="0" normalizeH="0" baseline="0" noProof="0" dirty="0">
                          <a:ln>
                            <a:noFill/>
                          </a:ln>
                          <a:solidFill>
                            <a:srgbClr val="000000"/>
                          </a:solidFill>
                          <a:effectLst/>
                          <a:uLnTx/>
                          <a:uFillTx/>
                          <a:latin typeface="+mn-lt"/>
                          <a:ea typeface="+mn-ea"/>
                          <a:cs typeface="+mn-cs"/>
                        </a:rPr>
                        <a:t>Sell-out data and retailer margins</a:t>
                      </a:r>
                    </a:p>
                    <a:p>
                      <a:pPr marL="171450" marR="0" lvl="0" indent="-17145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sz="1000"/>
                      </a:pPr>
                      <a:r>
                        <a:rPr kumimoji="0" lang="en-US" sz="1100" b="0" i="0" u="none" strike="noStrike" kern="1200" cap="none" spc="0" normalizeH="0" baseline="0" noProof="0" dirty="0">
                          <a:ln>
                            <a:noFill/>
                          </a:ln>
                          <a:solidFill>
                            <a:srgbClr val="000000"/>
                          </a:solidFill>
                          <a:effectLst/>
                          <a:uLnTx/>
                          <a:uFillTx/>
                          <a:latin typeface="+mn-lt"/>
                          <a:ea typeface="+mn-ea"/>
                          <a:cs typeface="+mn-cs"/>
                        </a:rPr>
                        <a:t>Promotional plans where available</a:t>
                      </a:r>
                    </a:p>
                    <a:p>
                      <a:pPr marL="171450" marR="0" lvl="0" indent="-17145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sz="1000"/>
                      </a:pPr>
                      <a:r>
                        <a:rPr kumimoji="0" lang="en-US" sz="1100" b="0" i="0" u="none" strike="noStrike" kern="1200" cap="none" spc="0" normalizeH="0" baseline="0" noProof="0" dirty="0">
                          <a:ln>
                            <a:noFill/>
                          </a:ln>
                          <a:solidFill>
                            <a:srgbClr val="000000"/>
                          </a:solidFill>
                          <a:effectLst/>
                          <a:uLnTx/>
                          <a:uFillTx/>
                          <a:latin typeface="+mn-lt"/>
                          <a:ea typeface="+mn-ea"/>
                          <a:cs typeface="+mn-cs"/>
                        </a:rPr>
                        <a:t>Previous price &amp; promo studies</a:t>
                      </a:r>
                    </a:p>
                  </a:txBody>
                  <a:tcPr marT="91440" marB="91440">
                    <a:lnL>
                      <a:noFill/>
                    </a:lnL>
                    <a:lnR>
                      <a:noFill/>
                    </a:lnR>
                    <a:lnT w="6350" cap="flat" cmpd="sng" algn="ctr">
                      <a:solidFill>
                        <a:schemeClr val="bg1">
                          <a:lumMod val="85000"/>
                        </a:schemeClr>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sz="1100" b="1" spc="200"/>
                      </a:pPr>
                      <a:r>
                        <a:rPr kumimoji="0" lang="en-US" sz="1100" b="0" i="1" u="none" strike="noStrike" kern="1200" cap="none" spc="0" normalizeH="0" baseline="0" noProof="0" dirty="0">
                          <a:ln>
                            <a:noFill/>
                          </a:ln>
                          <a:solidFill>
                            <a:srgbClr val="000000"/>
                          </a:solidFill>
                          <a:effectLst/>
                          <a:uLnTx/>
                          <a:uFillTx/>
                          <a:latin typeface="+mn-lt"/>
                          <a:ea typeface="+mn-ea"/>
                          <a:cs typeface="+mn-cs"/>
                        </a:rPr>
                        <a:t>Standard, plus:</a:t>
                      </a:r>
                    </a:p>
                    <a:p>
                      <a:pPr marL="171450" marR="0" lvl="0" indent="-171450" algn="l" defTabSz="914400" rtl="0" eaLnBrk="1" fontAlgn="auto" latinLnBrk="0" hangingPunct="1">
                        <a:lnSpc>
                          <a:spcPct val="120000"/>
                        </a:lnSpc>
                        <a:spcBef>
                          <a:spcPts val="200"/>
                        </a:spcBef>
                        <a:spcAft>
                          <a:spcPts val="0"/>
                        </a:spcAft>
                        <a:buClrTx/>
                        <a:buSzTx/>
                        <a:buFont typeface="Arial" panose="020B0604020202020204" pitchFamily="34" charset="0"/>
                        <a:buChar char="•"/>
                        <a:tabLst/>
                        <a:defRPr sz="1100" b="1" spc="200"/>
                      </a:pPr>
                      <a:r>
                        <a:rPr kumimoji="0" lang="en-US" sz="1100" b="0" i="0" u="none" strike="noStrike" kern="1200" cap="none" spc="0" normalizeH="0" baseline="0" noProof="0" dirty="0">
                          <a:ln>
                            <a:noFill/>
                          </a:ln>
                          <a:solidFill>
                            <a:srgbClr val="000000"/>
                          </a:solidFill>
                          <a:effectLst/>
                          <a:uLnTx/>
                          <a:uFillTx/>
                          <a:latin typeface="+mn-lt"/>
                          <a:ea typeface="+mn-ea"/>
                          <a:cs typeface="+mn-cs"/>
                        </a:rPr>
                        <a:t>Working econometric model and predictive scenario tools where live</a:t>
                      </a:r>
                    </a:p>
                  </a:txBody>
                  <a:tcPr marT="91440" marB="91440">
                    <a:lnL>
                      <a:noFill/>
                    </a:lnL>
                    <a:lnR>
                      <a:noFill/>
                    </a:lnR>
                    <a:lnT w="6350" cap="flat" cmpd="sng" algn="ctr">
                      <a:solidFill>
                        <a:schemeClr val="bg1">
                          <a:lumMod val="85000"/>
                        </a:schemeClr>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516860351"/>
                  </a:ext>
                </a:extLst>
              </a:tr>
            </a:tbl>
          </a:graphicData>
        </a:graphic>
      </p:graphicFrame>
      <p:sp>
        <p:nvSpPr>
          <p:cNvPr id="13" name="TextBox 12">
            <a:extLst>
              <a:ext uri="{FF2B5EF4-FFF2-40B4-BE49-F238E27FC236}">
                <a16:creationId xmlns:a16="http://schemas.microsoft.com/office/drawing/2014/main" id="{B41ACDF8-5800-49CF-AA2E-A591EDF71D5D}"/>
              </a:ext>
            </a:extLst>
          </p:cNvPr>
          <p:cNvSpPr txBox="1"/>
          <p:nvPr/>
        </p:nvSpPr>
        <p:spPr>
          <a:xfrm>
            <a:off x="2760271" y="2843212"/>
            <a:ext cx="47929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Open Sans"/>
                <a:ea typeface="+mn-ea"/>
                <a:cs typeface="+mn-cs"/>
              </a:rPr>
              <a:t>Low</a:t>
            </a:r>
          </a:p>
        </p:txBody>
      </p:sp>
      <p:sp>
        <p:nvSpPr>
          <p:cNvPr id="14" name="Diamond 13">
            <a:extLst>
              <a:ext uri="{FF2B5EF4-FFF2-40B4-BE49-F238E27FC236}">
                <a16:creationId xmlns:a16="http://schemas.microsoft.com/office/drawing/2014/main" id="{6653F9C7-83DB-44BA-A13C-ECD9E07C0DB2}"/>
              </a:ext>
            </a:extLst>
          </p:cNvPr>
          <p:cNvSpPr/>
          <p:nvPr/>
        </p:nvSpPr>
        <p:spPr>
          <a:xfrm>
            <a:off x="2821781" y="2528218"/>
            <a:ext cx="320040" cy="320040"/>
          </a:xfrm>
          <a:prstGeom prst="diamond">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5" name="Diamond 14">
            <a:extLst>
              <a:ext uri="{FF2B5EF4-FFF2-40B4-BE49-F238E27FC236}">
                <a16:creationId xmlns:a16="http://schemas.microsoft.com/office/drawing/2014/main" id="{62B5CA2F-6CB4-44B3-9F21-ACB3B8B82E59}"/>
              </a:ext>
            </a:extLst>
          </p:cNvPr>
          <p:cNvSpPr/>
          <p:nvPr/>
        </p:nvSpPr>
        <p:spPr>
          <a:xfrm>
            <a:off x="6816737" y="2528218"/>
            <a:ext cx="320040" cy="320040"/>
          </a:xfrm>
          <a:prstGeom prst="diamond">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6" name="Diamond 15">
            <a:extLst>
              <a:ext uri="{FF2B5EF4-FFF2-40B4-BE49-F238E27FC236}">
                <a16:creationId xmlns:a16="http://schemas.microsoft.com/office/drawing/2014/main" id="{660264CE-7843-4573-ABD3-5FE6BE52F1F1}"/>
              </a:ext>
            </a:extLst>
          </p:cNvPr>
          <p:cNvSpPr/>
          <p:nvPr/>
        </p:nvSpPr>
        <p:spPr>
          <a:xfrm>
            <a:off x="10911709" y="2528218"/>
            <a:ext cx="320040" cy="320040"/>
          </a:xfrm>
          <a:prstGeom prst="diamond">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7" name="TextBox 16">
            <a:extLst>
              <a:ext uri="{FF2B5EF4-FFF2-40B4-BE49-F238E27FC236}">
                <a16:creationId xmlns:a16="http://schemas.microsoft.com/office/drawing/2014/main" id="{331C47EE-7C03-43C1-9E34-4FA62A1E6E34}"/>
              </a:ext>
            </a:extLst>
          </p:cNvPr>
          <p:cNvSpPr txBox="1"/>
          <p:nvPr/>
        </p:nvSpPr>
        <p:spPr>
          <a:xfrm>
            <a:off x="6629492" y="2843212"/>
            <a:ext cx="742855"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Open Sans"/>
                <a:ea typeface="+mn-ea"/>
                <a:cs typeface="+mn-cs"/>
              </a:rPr>
              <a:t>Medium</a:t>
            </a:r>
          </a:p>
        </p:txBody>
      </p:sp>
      <p:sp>
        <p:nvSpPr>
          <p:cNvPr id="18" name="TextBox 17">
            <a:extLst>
              <a:ext uri="{FF2B5EF4-FFF2-40B4-BE49-F238E27FC236}">
                <a16:creationId xmlns:a16="http://schemas.microsoft.com/office/drawing/2014/main" id="{B0487A79-1915-4181-B57B-5D25E5C42DFF}"/>
              </a:ext>
            </a:extLst>
          </p:cNvPr>
          <p:cNvSpPr txBox="1"/>
          <p:nvPr/>
        </p:nvSpPr>
        <p:spPr>
          <a:xfrm>
            <a:off x="10798759" y="2843212"/>
            <a:ext cx="568814"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Open Sans"/>
                <a:ea typeface="+mn-ea"/>
                <a:cs typeface="+mn-cs"/>
              </a:rPr>
              <a:t>High</a:t>
            </a:r>
          </a:p>
        </p:txBody>
      </p:sp>
      <p:sp>
        <p:nvSpPr>
          <p:cNvPr id="19" name="Diamond 18">
            <a:extLst>
              <a:ext uri="{FF2B5EF4-FFF2-40B4-BE49-F238E27FC236}">
                <a16:creationId xmlns:a16="http://schemas.microsoft.com/office/drawing/2014/main" id="{5E2929EA-1C03-43F1-91E7-9036CAF04D2F}"/>
              </a:ext>
            </a:extLst>
          </p:cNvPr>
          <p:cNvSpPr/>
          <p:nvPr/>
        </p:nvSpPr>
        <p:spPr>
          <a:xfrm>
            <a:off x="10664055" y="3236334"/>
            <a:ext cx="320040" cy="320040"/>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0" name="TextBox 19">
            <a:extLst>
              <a:ext uri="{FF2B5EF4-FFF2-40B4-BE49-F238E27FC236}">
                <a16:creationId xmlns:a16="http://schemas.microsoft.com/office/drawing/2014/main" id="{670BD84E-6181-4FC7-B8CB-A13137CBCBE6}"/>
              </a:ext>
            </a:extLst>
          </p:cNvPr>
          <p:cNvSpPr txBox="1"/>
          <p:nvPr/>
        </p:nvSpPr>
        <p:spPr>
          <a:xfrm>
            <a:off x="10551105" y="3551533"/>
            <a:ext cx="568814"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Open Sans"/>
                <a:ea typeface="+mn-ea"/>
                <a:cs typeface="+mn-cs"/>
              </a:rPr>
              <a:t>High</a:t>
            </a:r>
          </a:p>
        </p:txBody>
      </p:sp>
      <p:sp>
        <p:nvSpPr>
          <p:cNvPr id="21" name="Diamond 20">
            <a:extLst>
              <a:ext uri="{FF2B5EF4-FFF2-40B4-BE49-F238E27FC236}">
                <a16:creationId xmlns:a16="http://schemas.microsoft.com/office/drawing/2014/main" id="{B87A30C5-51D2-4F26-9C9C-3AD04C70F7B2}"/>
              </a:ext>
            </a:extLst>
          </p:cNvPr>
          <p:cNvSpPr/>
          <p:nvPr/>
        </p:nvSpPr>
        <p:spPr>
          <a:xfrm>
            <a:off x="6545436" y="3231288"/>
            <a:ext cx="320040" cy="320040"/>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22" name="TextBox 21">
            <a:extLst>
              <a:ext uri="{FF2B5EF4-FFF2-40B4-BE49-F238E27FC236}">
                <a16:creationId xmlns:a16="http://schemas.microsoft.com/office/drawing/2014/main" id="{0EF53185-CA9F-4880-90E4-6C7D45810A2F}"/>
              </a:ext>
            </a:extLst>
          </p:cNvPr>
          <p:cNvSpPr txBox="1"/>
          <p:nvPr/>
        </p:nvSpPr>
        <p:spPr>
          <a:xfrm>
            <a:off x="6358191" y="3551533"/>
            <a:ext cx="742855"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Open Sans"/>
                <a:ea typeface="+mn-ea"/>
                <a:cs typeface="+mn-cs"/>
              </a:rPr>
              <a:t>Medium</a:t>
            </a:r>
          </a:p>
        </p:txBody>
      </p:sp>
      <p:sp>
        <p:nvSpPr>
          <p:cNvPr id="23" name="TextBox 22">
            <a:extLst>
              <a:ext uri="{FF2B5EF4-FFF2-40B4-BE49-F238E27FC236}">
                <a16:creationId xmlns:a16="http://schemas.microsoft.com/office/drawing/2014/main" id="{FB2B1964-17FA-4214-A675-808AF12F4FED}"/>
              </a:ext>
            </a:extLst>
          </p:cNvPr>
          <p:cNvSpPr txBox="1"/>
          <p:nvPr/>
        </p:nvSpPr>
        <p:spPr>
          <a:xfrm>
            <a:off x="2714580" y="3551533"/>
            <a:ext cx="47929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Open Sans"/>
                <a:ea typeface="+mn-ea"/>
                <a:cs typeface="+mn-cs"/>
              </a:rPr>
              <a:t>Low</a:t>
            </a:r>
          </a:p>
        </p:txBody>
      </p:sp>
      <p:sp>
        <p:nvSpPr>
          <p:cNvPr id="24" name="Diamond 23">
            <a:extLst>
              <a:ext uri="{FF2B5EF4-FFF2-40B4-BE49-F238E27FC236}">
                <a16:creationId xmlns:a16="http://schemas.microsoft.com/office/drawing/2014/main" id="{A2A3AA1B-D2ED-45E2-8D58-566F225F4E32}"/>
              </a:ext>
            </a:extLst>
          </p:cNvPr>
          <p:cNvSpPr/>
          <p:nvPr/>
        </p:nvSpPr>
        <p:spPr>
          <a:xfrm>
            <a:off x="2819376" y="3231288"/>
            <a:ext cx="320040" cy="320040"/>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Tree>
    <p:extLst>
      <p:ext uri="{BB962C8B-B14F-4D97-AF65-F5344CB8AC3E}">
        <p14:creationId xmlns:p14="http://schemas.microsoft.com/office/powerpoint/2010/main" val="1682016677"/>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133D16D-751B-42ED-A477-C59FE16A7053}"/>
              </a:ext>
            </a:extLst>
          </p:cNvPr>
          <p:cNvSpPr>
            <a:spLocks noGrp="1"/>
          </p:cNvSpPr>
          <p:nvPr>
            <p:ph type="body" sz="quarter" idx="10"/>
          </p:nvPr>
        </p:nvSpPr>
        <p:spPr/>
        <p:txBody>
          <a:bodyPr/>
          <a:lstStyle/>
          <a:p>
            <a:r>
              <a:rPr lang="en-US" dirty="0"/>
              <a:t>Frameworks &amp; Concept Illustration</a:t>
            </a:r>
          </a:p>
        </p:txBody>
      </p:sp>
      <p:grpSp>
        <p:nvGrpSpPr>
          <p:cNvPr id="3" name="Group 2">
            <a:extLst>
              <a:ext uri="{FF2B5EF4-FFF2-40B4-BE49-F238E27FC236}">
                <a16:creationId xmlns:a16="http://schemas.microsoft.com/office/drawing/2014/main" id="{D3B4E7E0-79B7-4261-9CBC-E1D6949A9A04}"/>
              </a:ext>
            </a:extLst>
          </p:cNvPr>
          <p:cNvGrpSpPr/>
          <p:nvPr/>
        </p:nvGrpSpPr>
        <p:grpSpPr>
          <a:xfrm>
            <a:off x="2277508" y="6274108"/>
            <a:ext cx="7636984" cy="501266"/>
            <a:chOff x="2277508" y="6274107"/>
            <a:chExt cx="7636984" cy="583893"/>
          </a:xfrm>
        </p:grpSpPr>
        <p:sp>
          <p:nvSpPr>
            <p:cNvPr id="4" name="Text Placeholder 1">
              <a:extLst>
                <a:ext uri="{FF2B5EF4-FFF2-40B4-BE49-F238E27FC236}">
                  <a16:creationId xmlns:a16="http://schemas.microsoft.com/office/drawing/2014/main" id="{6441676D-0FB4-4008-A539-06D21BED367F}"/>
                </a:ext>
              </a:extLst>
            </p:cNvPr>
            <p:cNvSpPr txBox="1">
              <a:spLocks/>
            </p:cNvSpPr>
            <p:nvPr/>
          </p:nvSpPr>
          <p:spPr>
            <a:xfrm>
              <a:off x="2277508" y="6274107"/>
              <a:ext cx="7636984" cy="583893"/>
            </a:xfrm>
            <a:prstGeom prst="rect">
              <a:avLst/>
            </a:prstGeom>
          </p:spPr>
          <p:txBody>
            <a:bodyPr vert="horz"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800" dirty="0">
                  <a:solidFill>
                    <a:srgbClr val="000000"/>
                  </a:solidFill>
                  <a:latin typeface="+mn-lt"/>
                </a:rPr>
                <a:t>Click Here to Return to the Table of Contents</a:t>
              </a:r>
              <a:endParaRPr lang="en-US" sz="2800" dirty="0">
                <a:latin typeface="+mn-lt"/>
              </a:endParaRPr>
            </a:p>
          </p:txBody>
        </p:sp>
        <p:sp>
          <p:nvSpPr>
            <p:cNvPr id="5" name="Rectangle 4">
              <a:hlinkClick r:id="rId2" action="ppaction://hlinksldjump"/>
              <a:extLst>
                <a:ext uri="{FF2B5EF4-FFF2-40B4-BE49-F238E27FC236}">
                  <a16:creationId xmlns:a16="http://schemas.microsoft.com/office/drawing/2014/main" id="{20D5D327-41CD-4D56-AEE9-7E19BDFA001D}"/>
                </a:ext>
              </a:extLst>
            </p:cNvPr>
            <p:cNvSpPr/>
            <p:nvPr/>
          </p:nvSpPr>
          <p:spPr>
            <a:xfrm>
              <a:off x="2401677" y="6274107"/>
              <a:ext cx="7425369" cy="4792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spTree>
    <p:extLst>
      <p:ext uri="{BB962C8B-B14F-4D97-AF65-F5344CB8AC3E}">
        <p14:creationId xmlns:p14="http://schemas.microsoft.com/office/powerpoint/2010/main" val="3949097206"/>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a:extLst>
              <a:ext uri="{FF2B5EF4-FFF2-40B4-BE49-F238E27FC236}">
                <a16:creationId xmlns:a16="http://schemas.microsoft.com/office/drawing/2014/main" id="{E2A95015-E10C-4BB5-895F-72DB6F66D88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9204" name="think-cell Slide" r:id="rId6" imgW="395" imgH="396" progId="TCLayout.ActiveDocument.1">
                  <p:embed/>
                </p:oleObj>
              </mc:Choice>
              <mc:Fallback>
                <p:oleObj name="think-cell Slide" r:id="rId6" imgW="395" imgH="396" progId="TCLayout.ActiveDocument.1">
                  <p:embed/>
                  <p:pic>
                    <p:nvPicPr>
                      <p:cNvPr id="26" name="Object 25" hidden="1">
                        <a:extLst>
                          <a:ext uri="{FF2B5EF4-FFF2-40B4-BE49-F238E27FC236}">
                            <a16:creationId xmlns:a16="http://schemas.microsoft.com/office/drawing/2014/main" id="{E2A95015-E10C-4BB5-895F-72DB6F66D88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5" name="Rectangle 24" hidden="1">
            <a:extLst>
              <a:ext uri="{FF2B5EF4-FFF2-40B4-BE49-F238E27FC236}">
                <a16:creationId xmlns:a16="http://schemas.microsoft.com/office/drawing/2014/main" id="{20FDE27D-A490-47F8-B4A2-B6503284F71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0C795DB3-B01E-4D80-B263-94B680FD1BEE}"/>
              </a:ext>
            </a:extLst>
          </p:cNvPr>
          <p:cNvSpPr>
            <a:spLocks noGrp="1"/>
          </p:cNvSpPr>
          <p:nvPr>
            <p:ph type="title"/>
          </p:nvPr>
        </p:nvSpPr>
        <p:spPr/>
        <p:txBody>
          <a:bodyPr/>
          <a:lstStyle/>
          <a:p>
            <a:r>
              <a:rPr lang="en-US" dirty="0"/>
              <a:t>Realizing the Global Client Ambition</a:t>
            </a:r>
          </a:p>
        </p:txBody>
      </p:sp>
      <p:sp>
        <p:nvSpPr>
          <p:cNvPr id="27" name="Text Placeholder 26">
            <a:extLst>
              <a:ext uri="{FF2B5EF4-FFF2-40B4-BE49-F238E27FC236}">
                <a16:creationId xmlns:a16="http://schemas.microsoft.com/office/drawing/2014/main" id="{81FC87B7-79FE-41BA-A683-DE3FDCAA3E6B}"/>
              </a:ext>
            </a:extLst>
          </p:cNvPr>
          <p:cNvSpPr>
            <a:spLocks noGrp="1"/>
          </p:cNvSpPr>
          <p:nvPr>
            <p:ph type="body" sz="quarter" idx="14"/>
          </p:nvPr>
        </p:nvSpPr>
        <p:spPr/>
        <p:txBody>
          <a:bodyPr/>
          <a:lstStyle/>
          <a:p>
            <a:r>
              <a:rPr lang="en-US" dirty="0"/>
              <a:t>With functions and a dedicated digital team working together, Client can meet and exceed its ambition</a:t>
            </a:r>
          </a:p>
          <a:p>
            <a:endParaRPr lang="en-US" dirty="0"/>
          </a:p>
        </p:txBody>
      </p:sp>
      <p:sp>
        <p:nvSpPr>
          <p:cNvPr id="28" name="Text Placeholder 27">
            <a:extLst>
              <a:ext uri="{FF2B5EF4-FFF2-40B4-BE49-F238E27FC236}">
                <a16:creationId xmlns:a16="http://schemas.microsoft.com/office/drawing/2014/main" id="{8B8B648D-4B9E-42BD-9047-7A5EA67E7C78}"/>
              </a:ext>
            </a:extLst>
          </p:cNvPr>
          <p:cNvSpPr>
            <a:spLocks noGrp="1"/>
          </p:cNvSpPr>
          <p:nvPr>
            <p:ph type="body" sz="quarter" idx="15"/>
          </p:nvPr>
        </p:nvSpPr>
        <p:spPr>
          <a:xfrm>
            <a:off x="914971" y="466344"/>
            <a:ext cx="3836138" cy="258128"/>
          </a:xfrm>
        </p:spPr>
        <p:txBody>
          <a:bodyPr/>
          <a:lstStyle/>
          <a:p>
            <a:r>
              <a:rPr lang="en-US" dirty="0"/>
              <a:t>FRAMEWORKS &amp; CONCEPT ILLUSTRATION</a:t>
            </a:r>
          </a:p>
        </p:txBody>
      </p:sp>
      <p:sp>
        <p:nvSpPr>
          <p:cNvPr id="3" name="Title 1">
            <a:extLst>
              <a:ext uri="{FF2B5EF4-FFF2-40B4-BE49-F238E27FC236}">
                <a16:creationId xmlns:a16="http://schemas.microsoft.com/office/drawing/2014/main" id="{5703E51E-03F4-42CF-B6F4-A26F42C3FC23}"/>
              </a:ext>
            </a:extLst>
          </p:cNvPr>
          <p:cNvSpPr txBox="1">
            <a:spLocks/>
          </p:cNvSpPr>
          <p:nvPr/>
        </p:nvSpPr>
        <p:spPr>
          <a:xfrm>
            <a:off x="478367" y="429433"/>
            <a:ext cx="11226800" cy="387798"/>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sp>
        <p:nvSpPr>
          <p:cNvPr id="4" name="Rectangle 3">
            <a:extLst>
              <a:ext uri="{FF2B5EF4-FFF2-40B4-BE49-F238E27FC236}">
                <a16:creationId xmlns:a16="http://schemas.microsoft.com/office/drawing/2014/main" id="{9E88BCFC-F1C8-441C-8AF5-9E8CA8EF7935}"/>
              </a:ext>
            </a:extLst>
          </p:cNvPr>
          <p:cNvSpPr/>
          <p:nvPr/>
        </p:nvSpPr>
        <p:spPr>
          <a:xfrm>
            <a:off x="8528304" y="2318524"/>
            <a:ext cx="3011424" cy="3614928"/>
          </a:xfrm>
          <a:prstGeom prst="rect">
            <a:avLst/>
          </a:prstGeom>
          <a:solidFill>
            <a:schemeClr val="accent4">
              <a:lumMod val="20000"/>
              <a:lumOff val="80000"/>
            </a:schemeClr>
          </a:solidFill>
          <a:ln w="38100">
            <a:solidFill>
              <a:schemeClr val="accent4"/>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5" name="Rectangle 4">
            <a:extLst>
              <a:ext uri="{FF2B5EF4-FFF2-40B4-BE49-F238E27FC236}">
                <a16:creationId xmlns:a16="http://schemas.microsoft.com/office/drawing/2014/main" id="{474F8FC8-1CA2-46CB-8CD2-8096A44509E2}"/>
              </a:ext>
            </a:extLst>
          </p:cNvPr>
          <p:cNvSpPr/>
          <p:nvPr/>
        </p:nvSpPr>
        <p:spPr>
          <a:xfrm>
            <a:off x="5941568" y="3251212"/>
            <a:ext cx="2837688" cy="2682240"/>
          </a:xfrm>
          <a:prstGeom prst="rect">
            <a:avLst/>
          </a:prstGeom>
          <a:solidFill>
            <a:schemeClr val="accent3">
              <a:lumMod val="20000"/>
              <a:lumOff val="80000"/>
            </a:schemeClr>
          </a:solidFill>
          <a:ln w="38100">
            <a:solidFill>
              <a:schemeClr val="accent3"/>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6" name="Rectangle 5">
            <a:extLst>
              <a:ext uri="{FF2B5EF4-FFF2-40B4-BE49-F238E27FC236}">
                <a16:creationId xmlns:a16="http://schemas.microsoft.com/office/drawing/2014/main" id="{EAA22027-5157-4DED-BED4-60229B278D7F}"/>
              </a:ext>
            </a:extLst>
          </p:cNvPr>
          <p:cNvSpPr/>
          <p:nvPr/>
        </p:nvSpPr>
        <p:spPr>
          <a:xfrm>
            <a:off x="3354832" y="4513084"/>
            <a:ext cx="2837688" cy="1420368"/>
          </a:xfrm>
          <a:prstGeom prst="rect">
            <a:avLst/>
          </a:prstGeom>
          <a:solidFill>
            <a:schemeClr val="accent2">
              <a:lumMod val="20000"/>
              <a:lumOff val="80000"/>
            </a:schemeClr>
          </a:solidFill>
          <a:ln w="38100">
            <a:solidFill>
              <a:schemeClr val="accent2"/>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7" name="Rectangle 6">
            <a:extLst>
              <a:ext uri="{FF2B5EF4-FFF2-40B4-BE49-F238E27FC236}">
                <a16:creationId xmlns:a16="http://schemas.microsoft.com/office/drawing/2014/main" id="{19D178E9-CEEC-4724-8795-49AF8F272241}"/>
              </a:ext>
            </a:extLst>
          </p:cNvPr>
          <p:cNvSpPr/>
          <p:nvPr/>
        </p:nvSpPr>
        <p:spPr>
          <a:xfrm>
            <a:off x="801964" y="5458121"/>
            <a:ext cx="2837688" cy="475331"/>
          </a:xfrm>
          <a:prstGeom prst="rect">
            <a:avLst/>
          </a:prstGeom>
          <a:solidFill>
            <a:schemeClr val="accent1">
              <a:lumMod val="20000"/>
              <a:lumOff val="80000"/>
            </a:schemeClr>
          </a:solidFill>
          <a:ln w="38100">
            <a:solidFill>
              <a:schemeClr val="accent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8" name="Text Placeholder 5">
            <a:extLst>
              <a:ext uri="{FF2B5EF4-FFF2-40B4-BE49-F238E27FC236}">
                <a16:creationId xmlns:a16="http://schemas.microsoft.com/office/drawing/2014/main" id="{D0A8504F-7948-48A6-9772-6DBFD4784782}"/>
              </a:ext>
            </a:extLst>
          </p:cNvPr>
          <p:cNvSpPr txBox="1">
            <a:spLocks/>
          </p:cNvSpPr>
          <p:nvPr/>
        </p:nvSpPr>
        <p:spPr>
          <a:xfrm>
            <a:off x="866623" y="5541896"/>
            <a:ext cx="438183" cy="307777"/>
          </a:xfrm>
          <a:prstGeom prst="rect">
            <a:avLst/>
          </a:prstGeom>
        </p:spPr>
        <p:txBody>
          <a:bodyPr wrap="square" lIns="0" tIns="0" rIns="0" bIns="0">
            <a:spAutoFit/>
          </a:bodyPr>
          <a:lstStyle>
            <a:defPPr>
              <a:defRPr lang="en-US"/>
            </a:defPPr>
            <a:lvl1pPr>
              <a:defRPr sz="11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000000"/>
              </a:solidFill>
              <a:effectLst/>
              <a:uLnTx/>
              <a:uFillTx/>
              <a:ea typeface="+mn-ea"/>
              <a:cs typeface="+mn-cs"/>
            </a:endParaRPr>
          </a:p>
        </p:txBody>
      </p:sp>
      <p:sp>
        <p:nvSpPr>
          <p:cNvPr id="9" name="Text Placeholder 5">
            <a:extLst>
              <a:ext uri="{FF2B5EF4-FFF2-40B4-BE49-F238E27FC236}">
                <a16:creationId xmlns:a16="http://schemas.microsoft.com/office/drawing/2014/main" id="{4808432D-955F-40FB-9CCA-A2B6A01F8112}"/>
              </a:ext>
            </a:extLst>
          </p:cNvPr>
          <p:cNvSpPr txBox="1">
            <a:spLocks/>
          </p:cNvSpPr>
          <p:nvPr/>
        </p:nvSpPr>
        <p:spPr>
          <a:xfrm>
            <a:off x="1145309" y="5534154"/>
            <a:ext cx="2315997" cy="338554"/>
          </a:xfrm>
          <a:prstGeom prst="rect">
            <a:avLst/>
          </a:prstGeom>
        </p:spPr>
        <p:txBody>
          <a:bodyPr wrap="square" lIns="0" tIns="0" rIns="0" bIns="0">
            <a:spAutoFit/>
          </a:bodyPr>
          <a:lstStyle>
            <a:defPPr>
              <a:defRPr lang="en-US"/>
            </a:defPPr>
            <a:lvl1pPr>
              <a:defRPr sz="1100" b="1"/>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6B747B">
                    <a:lumMod val="75000"/>
                  </a:srgbClr>
                </a:solidFill>
                <a:effectLst/>
                <a:uLnTx/>
                <a:uFillTx/>
                <a:ea typeface="Open Sans Light" panose="020B0306030504020204" pitchFamily="34" charset="0"/>
                <a:cs typeface="Open Sans Light" panose="020B0306030504020204" pitchFamily="34" charset="0"/>
              </a:rPr>
              <a:t>growth means doing what you do today, and continuing to do it well</a:t>
            </a:r>
            <a:endParaRPr kumimoji="0" lang="en-US" b="1" i="0" u="none" strike="noStrike" kern="1200" cap="none" spc="0" normalizeH="0" baseline="0" noProof="0" dirty="0">
              <a:ln>
                <a:noFill/>
              </a:ln>
              <a:solidFill>
                <a:srgbClr val="6B747B">
                  <a:lumMod val="75000"/>
                </a:srgbClr>
              </a:solidFill>
              <a:effectLst/>
              <a:uLnTx/>
              <a:uFillTx/>
              <a:ea typeface="Open Sans Light" panose="020B0306030504020204" pitchFamily="34" charset="0"/>
              <a:cs typeface="Open Sans Light" panose="020B0306030504020204" pitchFamily="34" charset="0"/>
            </a:endParaRPr>
          </a:p>
        </p:txBody>
      </p:sp>
      <p:sp>
        <p:nvSpPr>
          <p:cNvPr id="10" name="Text Placeholder 5">
            <a:extLst>
              <a:ext uri="{FF2B5EF4-FFF2-40B4-BE49-F238E27FC236}">
                <a16:creationId xmlns:a16="http://schemas.microsoft.com/office/drawing/2014/main" id="{6653DAAB-9FE8-4603-9218-BC66AB00D200}"/>
              </a:ext>
            </a:extLst>
          </p:cNvPr>
          <p:cNvSpPr txBox="1">
            <a:spLocks/>
          </p:cNvSpPr>
          <p:nvPr/>
        </p:nvSpPr>
        <p:spPr>
          <a:xfrm>
            <a:off x="3381915" y="4678717"/>
            <a:ext cx="808643" cy="430887"/>
          </a:xfrm>
          <a:prstGeom prst="rect">
            <a:avLst/>
          </a:prstGeom>
        </p:spPr>
        <p:txBody>
          <a:bodyPr wrap="square" lIns="0" tIns="0" rIns="0" bIns="0">
            <a:spAutoFit/>
          </a:bodyPr>
          <a:lstStyle>
            <a:defPPr>
              <a:defRPr lang="en-US"/>
            </a:defPPr>
            <a:lvl1pPr>
              <a:defRPr sz="11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6B747B">
                    <a:lumMod val="75000"/>
                  </a:srgbClr>
                </a:solidFill>
                <a:effectLst/>
                <a:uLnTx/>
                <a:uFillTx/>
                <a:ea typeface="+mn-ea"/>
                <a:cs typeface="+mn-cs"/>
              </a:rPr>
              <a:t>1x</a:t>
            </a:r>
          </a:p>
        </p:txBody>
      </p:sp>
      <p:sp>
        <p:nvSpPr>
          <p:cNvPr id="11" name="Text Placeholder 5">
            <a:extLst>
              <a:ext uri="{FF2B5EF4-FFF2-40B4-BE49-F238E27FC236}">
                <a16:creationId xmlns:a16="http://schemas.microsoft.com/office/drawing/2014/main" id="{832EE385-F0F1-48FA-BFCE-CAE1BCAEAE53}"/>
              </a:ext>
            </a:extLst>
          </p:cNvPr>
          <p:cNvSpPr txBox="1">
            <a:spLocks/>
          </p:cNvSpPr>
          <p:nvPr/>
        </p:nvSpPr>
        <p:spPr>
          <a:xfrm>
            <a:off x="4068251" y="4710900"/>
            <a:ext cx="2112256" cy="846386"/>
          </a:xfrm>
          <a:prstGeom prst="rect">
            <a:avLst/>
          </a:prstGeom>
        </p:spPr>
        <p:txBody>
          <a:bodyPr wrap="square" lIns="0" tIns="0" rIns="0" bIns="0">
            <a:spAutoFit/>
          </a:bodyPr>
          <a:lstStyle>
            <a:defPPr>
              <a:defRPr lang="en-US"/>
            </a:defPPr>
            <a:lvl1pPr>
              <a:defRPr sz="1100" b="1"/>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6B747B">
                    <a:lumMod val="75000"/>
                  </a:srgbClr>
                </a:solidFill>
                <a:effectLst/>
                <a:uLnTx/>
                <a:uFillTx/>
                <a:ea typeface="Open Sans Light" panose="020B0306030504020204" pitchFamily="34" charset="0"/>
                <a:cs typeface="Open Sans Light" panose="020B0306030504020204" pitchFamily="34" charset="0"/>
              </a:rPr>
              <a:t>growth means doing what you do today in a best-in-class wa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6B747B">
                  <a:lumMod val="75000"/>
                </a:srgbClr>
              </a:solidFill>
              <a:effectLst/>
              <a:uLnTx/>
              <a:uFillTx/>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6B747B">
                    <a:lumMod val="75000"/>
                  </a:srgbClr>
                </a:solidFill>
                <a:effectLst/>
                <a:uLnTx/>
                <a:uFillTx/>
                <a:ea typeface="Open Sans Light" panose="020B0306030504020204" pitchFamily="34" charset="0"/>
                <a:cs typeface="Open Sans Light" panose="020B0306030504020204" pitchFamily="34" charset="0"/>
              </a:rPr>
              <a:t>Excel in traditional e-commerce spaces, Precision Marketing</a:t>
            </a:r>
            <a:endParaRPr kumimoji="0" lang="en-US" b="1" i="0" u="none" strike="noStrike" kern="1200" cap="none" spc="0" normalizeH="0" baseline="0" noProof="0" dirty="0">
              <a:ln>
                <a:noFill/>
              </a:ln>
              <a:solidFill>
                <a:srgbClr val="6B747B">
                  <a:lumMod val="75000"/>
                </a:srgbClr>
              </a:solidFill>
              <a:effectLst/>
              <a:uLnTx/>
              <a:uFillTx/>
              <a:ea typeface="Open Sans Light" panose="020B0306030504020204" pitchFamily="34" charset="0"/>
              <a:cs typeface="Open Sans Light" panose="020B0306030504020204" pitchFamily="34" charset="0"/>
            </a:endParaRPr>
          </a:p>
        </p:txBody>
      </p:sp>
      <p:sp>
        <p:nvSpPr>
          <p:cNvPr id="12" name="Text Placeholder 5">
            <a:extLst>
              <a:ext uri="{FF2B5EF4-FFF2-40B4-BE49-F238E27FC236}">
                <a16:creationId xmlns:a16="http://schemas.microsoft.com/office/drawing/2014/main" id="{8F9BF788-519C-4E8F-88D4-69DEBA87E1A5}"/>
              </a:ext>
            </a:extLst>
          </p:cNvPr>
          <p:cNvSpPr txBox="1">
            <a:spLocks/>
          </p:cNvSpPr>
          <p:nvPr/>
        </p:nvSpPr>
        <p:spPr>
          <a:xfrm>
            <a:off x="5972695" y="3426576"/>
            <a:ext cx="901722" cy="430887"/>
          </a:xfrm>
          <a:prstGeom prst="rect">
            <a:avLst/>
          </a:prstGeom>
        </p:spPr>
        <p:txBody>
          <a:bodyPr wrap="square" lIns="0" tIns="0" rIns="0" bIns="0">
            <a:spAutoFit/>
          </a:bodyPr>
          <a:lstStyle>
            <a:defPPr>
              <a:defRPr lang="en-US"/>
            </a:defPPr>
            <a:lvl1pPr>
              <a:defRPr sz="11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6B747B">
                    <a:lumMod val="75000"/>
                  </a:srgbClr>
                </a:solidFill>
                <a:effectLst/>
                <a:uLnTx/>
                <a:uFillTx/>
                <a:ea typeface="+mn-ea"/>
                <a:cs typeface="+mn-cs"/>
              </a:rPr>
              <a:t>2x</a:t>
            </a:r>
          </a:p>
        </p:txBody>
      </p:sp>
      <p:sp>
        <p:nvSpPr>
          <p:cNvPr id="13" name="Text Placeholder 5">
            <a:extLst>
              <a:ext uri="{FF2B5EF4-FFF2-40B4-BE49-F238E27FC236}">
                <a16:creationId xmlns:a16="http://schemas.microsoft.com/office/drawing/2014/main" id="{DBFC3123-8399-4C27-B554-073D58B0118A}"/>
              </a:ext>
            </a:extLst>
          </p:cNvPr>
          <p:cNvSpPr txBox="1">
            <a:spLocks/>
          </p:cNvSpPr>
          <p:nvPr/>
        </p:nvSpPr>
        <p:spPr>
          <a:xfrm>
            <a:off x="6778883" y="3449908"/>
            <a:ext cx="1870061" cy="1523494"/>
          </a:xfrm>
          <a:prstGeom prst="rect">
            <a:avLst/>
          </a:prstGeom>
        </p:spPr>
        <p:txBody>
          <a:bodyPr wrap="square" lIns="0" tIns="0" rIns="0" bIns="0">
            <a:spAutoFit/>
          </a:bodyPr>
          <a:lstStyle>
            <a:defPPr>
              <a:defRPr lang="en-US"/>
            </a:defPPr>
            <a:lvl1pPr>
              <a:defRPr sz="1100" b="1"/>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6B747B">
                    <a:lumMod val="75000"/>
                  </a:srgbClr>
                </a:solidFill>
                <a:effectLst/>
                <a:uLnTx/>
                <a:uFillTx/>
                <a:ea typeface="Open Sans Light" panose="020B0306030504020204" pitchFamily="34" charset="0"/>
                <a:cs typeface="Open Sans Light" panose="020B0306030504020204" pitchFamily="34" charset="0"/>
              </a:rPr>
              <a:t>growth means excelling at what you do today while expanding and advancing digital capabiliti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6B747B">
                  <a:lumMod val="75000"/>
                </a:srgbClr>
              </a:solidFill>
              <a:effectLst/>
              <a:uLnTx/>
              <a:uFillTx/>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6B747B">
                    <a:lumMod val="75000"/>
                  </a:srgbClr>
                </a:solidFill>
                <a:effectLst/>
                <a:uLnTx/>
                <a:uFillTx/>
                <a:ea typeface="Open Sans Light" panose="020B0306030504020204" pitchFamily="34" charset="0"/>
                <a:cs typeface="Open Sans Light" panose="020B0306030504020204" pitchFamily="34" charset="0"/>
              </a:rPr>
              <a:t>Achieve a holistic view of the consumer experience, tap into alternative sources of data </a:t>
            </a:r>
            <a:endParaRPr kumimoji="0" lang="en-US" b="1" i="0" u="none" strike="noStrike" kern="1200" cap="none" spc="0" normalizeH="0" baseline="0" noProof="0" dirty="0">
              <a:ln>
                <a:noFill/>
              </a:ln>
              <a:solidFill>
                <a:srgbClr val="6B747B">
                  <a:lumMod val="75000"/>
                </a:srgbClr>
              </a:solidFill>
              <a:effectLst/>
              <a:uLnTx/>
              <a:uFillTx/>
              <a:ea typeface="Open Sans Light" panose="020B0306030504020204" pitchFamily="34" charset="0"/>
              <a:cs typeface="Open Sans Light" panose="020B0306030504020204" pitchFamily="34" charset="0"/>
            </a:endParaRPr>
          </a:p>
        </p:txBody>
      </p:sp>
      <p:sp>
        <p:nvSpPr>
          <p:cNvPr id="14" name="Text Placeholder 5">
            <a:extLst>
              <a:ext uri="{FF2B5EF4-FFF2-40B4-BE49-F238E27FC236}">
                <a16:creationId xmlns:a16="http://schemas.microsoft.com/office/drawing/2014/main" id="{BB208A11-BB5B-48C2-A381-BDBF0D03236D}"/>
              </a:ext>
            </a:extLst>
          </p:cNvPr>
          <p:cNvSpPr txBox="1">
            <a:spLocks/>
          </p:cNvSpPr>
          <p:nvPr/>
        </p:nvSpPr>
        <p:spPr>
          <a:xfrm>
            <a:off x="8446831" y="2505534"/>
            <a:ext cx="1223561" cy="430887"/>
          </a:xfrm>
          <a:prstGeom prst="rect">
            <a:avLst/>
          </a:prstGeom>
        </p:spPr>
        <p:txBody>
          <a:bodyPr wrap="square" lIns="0" tIns="0" rIns="0" bIns="0">
            <a:spAutoFit/>
          </a:bodyPr>
          <a:lstStyle>
            <a:defPPr>
              <a:defRPr lang="en-US"/>
            </a:defPPr>
            <a:lvl1pPr>
              <a:defRPr sz="11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6B747B">
                    <a:lumMod val="75000"/>
                  </a:srgbClr>
                </a:solidFill>
                <a:effectLst/>
                <a:uLnTx/>
                <a:uFillTx/>
                <a:ea typeface="+mn-ea"/>
                <a:cs typeface="+mn-cs"/>
              </a:rPr>
              <a:t>5x+</a:t>
            </a:r>
          </a:p>
        </p:txBody>
      </p:sp>
      <p:sp>
        <p:nvSpPr>
          <p:cNvPr id="15" name="Text Placeholder 5">
            <a:extLst>
              <a:ext uri="{FF2B5EF4-FFF2-40B4-BE49-F238E27FC236}">
                <a16:creationId xmlns:a16="http://schemas.microsoft.com/office/drawing/2014/main" id="{2AA9AC91-D0F8-45B3-B61B-F084AE6582C0}"/>
              </a:ext>
            </a:extLst>
          </p:cNvPr>
          <p:cNvSpPr txBox="1">
            <a:spLocks/>
          </p:cNvSpPr>
          <p:nvPr/>
        </p:nvSpPr>
        <p:spPr>
          <a:xfrm>
            <a:off x="9497306" y="2528866"/>
            <a:ext cx="1919224" cy="1862048"/>
          </a:xfrm>
          <a:prstGeom prst="rect">
            <a:avLst/>
          </a:prstGeom>
        </p:spPr>
        <p:txBody>
          <a:bodyPr wrap="square" lIns="0" tIns="0" rIns="0" bIns="0">
            <a:spAutoFit/>
          </a:bodyPr>
          <a:lstStyle>
            <a:defPPr>
              <a:defRPr lang="en-US"/>
            </a:defPPr>
            <a:lvl1pPr>
              <a:defRPr sz="1100" b="1"/>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6B747B">
                    <a:lumMod val="75000"/>
                  </a:srgbClr>
                </a:solidFill>
                <a:effectLst/>
                <a:uLnTx/>
                <a:uFillTx/>
                <a:ea typeface="Open Sans Light" panose="020B0306030504020204" pitchFamily="34" charset="0"/>
                <a:cs typeface="Open Sans Light" panose="020B0306030504020204" pitchFamily="34" charset="0"/>
              </a:rPr>
              <a:t>growth means thinking beyond traditional digital implementation to truly transformational play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6B747B">
                  <a:lumMod val="75000"/>
                </a:srgbClr>
              </a:solidFill>
              <a:effectLst/>
              <a:uLnTx/>
              <a:uFillTx/>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6B747B">
                    <a:lumMod val="75000"/>
                  </a:srgbClr>
                </a:solidFill>
                <a:effectLst/>
                <a:uLnTx/>
                <a:uFillTx/>
                <a:ea typeface="Open Sans Light" panose="020B0306030504020204" pitchFamily="34" charset="0"/>
                <a:cs typeface="Open Sans Light" panose="020B0306030504020204" pitchFamily="34" charset="0"/>
              </a:rPr>
              <a:t>This involves developing new methodologies to collect data, gather insights from it, and create actionable next steps to alter major business functions</a:t>
            </a:r>
            <a:endParaRPr kumimoji="0" lang="en-US" b="1" i="0" u="none" strike="noStrike" kern="1200" cap="none" spc="0" normalizeH="0" baseline="0" noProof="0" dirty="0">
              <a:ln>
                <a:noFill/>
              </a:ln>
              <a:solidFill>
                <a:srgbClr val="6B747B">
                  <a:lumMod val="75000"/>
                </a:srgbClr>
              </a:solidFill>
              <a:effectLst/>
              <a:uLnTx/>
              <a:uFillTx/>
              <a:ea typeface="Open Sans Light" panose="020B0306030504020204" pitchFamily="34" charset="0"/>
              <a:cs typeface="Open Sans Light" panose="020B0306030504020204" pitchFamily="34" charset="0"/>
            </a:endParaRPr>
          </a:p>
        </p:txBody>
      </p:sp>
      <p:sp>
        <p:nvSpPr>
          <p:cNvPr id="16" name="Text Placeholder 7">
            <a:extLst>
              <a:ext uri="{FF2B5EF4-FFF2-40B4-BE49-F238E27FC236}">
                <a16:creationId xmlns:a16="http://schemas.microsoft.com/office/drawing/2014/main" id="{4FFAC384-B83F-4E9C-A3EF-C9CA8C22CFD5}"/>
              </a:ext>
            </a:extLst>
          </p:cNvPr>
          <p:cNvSpPr txBox="1">
            <a:spLocks/>
          </p:cNvSpPr>
          <p:nvPr/>
        </p:nvSpPr>
        <p:spPr>
          <a:xfrm>
            <a:off x="801831" y="4771195"/>
            <a:ext cx="2047222" cy="896232"/>
          </a:xfrm>
          <a:prstGeom prst="rect">
            <a:avLst/>
          </a:prstGeom>
          <a:ln>
            <a:noFill/>
          </a:ln>
        </p:spPr>
        <p:txBody>
          <a:bodyPr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1000"/>
              </a:spcBef>
              <a:spcAft>
                <a:spcPts val="0"/>
              </a:spcAft>
              <a:buClr>
                <a:srgbClr val="787878"/>
              </a:buClr>
              <a:buSzPct val="75000"/>
              <a:buFont typeface="Wingdings" charset="2"/>
              <a:buNone/>
              <a:tabLst/>
              <a:defRPr/>
            </a:pPr>
            <a:r>
              <a:rPr kumimoji="0" lang="en-US" sz="1600" b="1" i="0" u="none" strike="noStrike" kern="1200" cap="none" spc="0" normalizeH="0" baseline="0" noProof="0" dirty="0">
                <a:ln>
                  <a:noFill/>
                </a:ln>
                <a:solidFill>
                  <a:srgbClr val="6B747B">
                    <a:lumMod val="75000"/>
                  </a:srgbClr>
                </a:solidFill>
                <a:effectLst/>
                <a:uLnTx/>
                <a:uFillTx/>
                <a:ea typeface="Chronicle Display Black" charset="0"/>
                <a:cs typeface="Chronicle Display Black" charset="0"/>
              </a:rPr>
              <a:t>Today</a:t>
            </a:r>
          </a:p>
        </p:txBody>
      </p:sp>
      <p:sp>
        <p:nvSpPr>
          <p:cNvPr id="17" name="Text Placeholder 7">
            <a:extLst>
              <a:ext uri="{FF2B5EF4-FFF2-40B4-BE49-F238E27FC236}">
                <a16:creationId xmlns:a16="http://schemas.microsoft.com/office/drawing/2014/main" id="{D979743A-8FA3-4B3A-A747-F604E639FDD9}"/>
              </a:ext>
            </a:extLst>
          </p:cNvPr>
          <p:cNvSpPr txBox="1">
            <a:spLocks/>
          </p:cNvSpPr>
          <p:nvPr/>
        </p:nvSpPr>
        <p:spPr>
          <a:xfrm>
            <a:off x="5941568" y="2466526"/>
            <a:ext cx="1521012" cy="896232"/>
          </a:xfrm>
          <a:prstGeom prst="rect">
            <a:avLst/>
          </a:prstGeom>
          <a:ln>
            <a:noFill/>
          </a:ln>
        </p:spPr>
        <p:txBody>
          <a:bodyPr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1000"/>
              </a:spcBef>
              <a:spcAft>
                <a:spcPts val="0"/>
              </a:spcAft>
              <a:buClr>
                <a:srgbClr val="787878"/>
              </a:buClr>
              <a:buSzPct val="75000"/>
              <a:buFont typeface="Wingdings" charset="2"/>
              <a:buNone/>
              <a:tabLst/>
              <a:defRPr/>
            </a:pPr>
            <a:r>
              <a:rPr kumimoji="0" lang="en-US" sz="1600" b="1" i="0" u="none" strike="noStrike" kern="1200" cap="none" spc="0" normalizeH="0" baseline="0" noProof="0" dirty="0">
                <a:ln>
                  <a:noFill/>
                </a:ln>
                <a:solidFill>
                  <a:srgbClr val="6B747B">
                    <a:lumMod val="75000"/>
                  </a:srgbClr>
                </a:solidFill>
                <a:effectLst/>
                <a:uLnTx/>
                <a:uFillTx/>
                <a:ea typeface="Chronicle Display Black" charset="0"/>
                <a:cs typeface="Chronicle Display Black" charset="0"/>
              </a:rPr>
              <a:t>Consumer at the core</a:t>
            </a:r>
          </a:p>
        </p:txBody>
      </p:sp>
      <p:sp>
        <p:nvSpPr>
          <p:cNvPr id="18" name="Text Placeholder 7">
            <a:extLst>
              <a:ext uri="{FF2B5EF4-FFF2-40B4-BE49-F238E27FC236}">
                <a16:creationId xmlns:a16="http://schemas.microsoft.com/office/drawing/2014/main" id="{BCBD9B54-D5B0-403A-805C-41F6FF884CF8}"/>
              </a:ext>
            </a:extLst>
          </p:cNvPr>
          <p:cNvSpPr txBox="1">
            <a:spLocks/>
          </p:cNvSpPr>
          <p:nvPr/>
        </p:nvSpPr>
        <p:spPr>
          <a:xfrm>
            <a:off x="8484127" y="1683154"/>
            <a:ext cx="2047222" cy="752384"/>
          </a:xfrm>
          <a:prstGeom prst="rect">
            <a:avLst/>
          </a:prstGeom>
          <a:ln>
            <a:noFill/>
          </a:ln>
        </p:spPr>
        <p:txBody>
          <a:bodyPr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1000"/>
              </a:spcBef>
              <a:spcAft>
                <a:spcPts val="0"/>
              </a:spcAft>
              <a:buClr>
                <a:srgbClr val="787878"/>
              </a:buClr>
              <a:buSzPct val="75000"/>
              <a:buFont typeface="Wingdings" charset="2"/>
              <a:buNone/>
              <a:tabLst/>
              <a:defRPr/>
            </a:pPr>
            <a:r>
              <a:rPr kumimoji="0" lang="en-US" sz="1600" b="1" i="0" u="none" strike="noStrike" kern="1200" cap="none" spc="0" normalizeH="0" baseline="0" noProof="0" dirty="0">
                <a:ln>
                  <a:noFill/>
                </a:ln>
                <a:solidFill>
                  <a:srgbClr val="6B747B">
                    <a:lumMod val="75000"/>
                  </a:srgbClr>
                </a:solidFill>
                <a:effectLst/>
                <a:uLnTx/>
                <a:uFillTx/>
                <a:ea typeface="Chronicle Display Black" charset="0"/>
                <a:cs typeface="Chronicle Display Black" charset="0"/>
              </a:rPr>
              <a:t>Embedded digital</a:t>
            </a:r>
          </a:p>
        </p:txBody>
      </p:sp>
      <p:sp>
        <p:nvSpPr>
          <p:cNvPr id="19" name="Text Placeholder 7">
            <a:extLst>
              <a:ext uri="{FF2B5EF4-FFF2-40B4-BE49-F238E27FC236}">
                <a16:creationId xmlns:a16="http://schemas.microsoft.com/office/drawing/2014/main" id="{8350E8A5-C451-4C78-9D08-101DCF84C0C5}"/>
              </a:ext>
            </a:extLst>
          </p:cNvPr>
          <p:cNvSpPr txBox="1">
            <a:spLocks/>
          </p:cNvSpPr>
          <p:nvPr/>
        </p:nvSpPr>
        <p:spPr>
          <a:xfrm>
            <a:off x="3306560" y="3853612"/>
            <a:ext cx="1770120" cy="752384"/>
          </a:xfrm>
          <a:prstGeom prst="rect">
            <a:avLst/>
          </a:prstGeom>
          <a:ln>
            <a:noFill/>
          </a:ln>
        </p:spPr>
        <p:txBody>
          <a:bodyPr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1000"/>
              </a:spcBef>
              <a:spcAft>
                <a:spcPts val="0"/>
              </a:spcAft>
              <a:buClr>
                <a:srgbClr val="787878"/>
              </a:buClr>
              <a:buSzPct val="75000"/>
              <a:buFont typeface="Wingdings" charset="2"/>
              <a:buNone/>
              <a:tabLst/>
              <a:defRPr/>
            </a:pPr>
            <a:r>
              <a:rPr kumimoji="0" lang="en-US" sz="1600" b="1" i="0" u="none" strike="noStrike" kern="1200" cap="none" spc="0" normalizeH="0" baseline="0" noProof="0" dirty="0">
                <a:ln>
                  <a:noFill/>
                </a:ln>
                <a:solidFill>
                  <a:srgbClr val="6B747B">
                    <a:lumMod val="75000"/>
                  </a:srgbClr>
                </a:solidFill>
                <a:effectLst/>
                <a:uLnTx/>
                <a:uFillTx/>
                <a:ea typeface="Chronicle Display Black" charset="0"/>
                <a:cs typeface="Chronicle Display Black" charset="0"/>
              </a:rPr>
              <a:t>Catching up</a:t>
            </a:r>
          </a:p>
        </p:txBody>
      </p:sp>
    </p:spTree>
    <p:extLst>
      <p:ext uri="{BB962C8B-B14F-4D97-AF65-F5344CB8AC3E}">
        <p14:creationId xmlns:p14="http://schemas.microsoft.com/office/powerpoint/2010/main" val="572982592"/>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 name="Object 81" hidden="1">
            <a:extLst>
              <a:ext uri="{FF2B5EF4-FFF2-40B4-BE49-F238E27FC236}">
                <a16:creationId xmlns:a16="http://schemas.microsoft.com/office/drawing/2014/main" id="{41F46EF0-FED6-4A38-8D7C-B22017F7AC5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0228" name="think-cell Slide" r:id="rId6" imgW="395" imgH="396" progId="TCLayout.ActiveDocument.1">
                  <p:embed/>
                </p:oleObj>
              </mc:Choice>
              <mc:Fallback>
                <p:oleObj name="think-cell Slide" r:id="rId6" imgW="395" imgH="396" progId="TCLayout.ActiveDocument.1">
                  <p:embed/>
                  <p:pic>
                    <p:nvPicPr>
                      <p:cNvPr id="82" name="Object 81" hidden="1">
                        <a:extLst>
                          <a:ext uri="{FF2B5EF4-FFF2-40B4-BE49-F238E27FC236}">
                            <a16:creationId xmlns:a16="http://schemas.microsoft.com/office/drawing/2014/main" id="{41F46EF0-FED6-4A38-8D7C-B22017F7AC5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1" name="Rectangle 80" hidden="1">
            <a:extLst>
              <a:ext uri="{FF2B5EF4-FFF2-40B4-BE49-F238E27FC236}">
                <a16:creationId xmlns:a16="http://schemas.microsoft.com/office/drawing/2014/main" id="{545D1A1C-60AA-41A7-80D2-F2AAB9A75D0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814EB8CC-19B1-45A9-949F-0C7E8A3D44ED}"/>
              </a:ext>
            </a:extLst>
          </p:cNvPr>
          <p:cNvSpPr>
            <a:spLocks noGrp="1"/>
          </p:cNvSpPr>
          <p:nvPr>
            <p:ph type="title"/>
          </p:nvPr>
        </p:nvSpPr>
        <p:spPr/>
        <p:txBody>
          <a:bodyPr/>
          <a:lstStyle/>
          <a:p>
            <a:r>
              <a:rPr lang="en-US" dirty="0"/>
              <a:t>How to tap into the power of crowdsourcing </a:t>
            </a:r>
          </a:p>
        </p:txBody>
      </p:sp>
      <p:sp>
        <p:nvSpPr>
          <p:cNvPr id="3" name="Text Placeholder 2">
            <a:extLst>
              <a:ext uri="{FF2B5EF4-FFF2-40B4-BE49-F238E27FC236}">
                <a16:creationId xmlns:a16="http://schemas.microsoft.com/office/drawing/2014/main" id="{6C11F4FD-A665-413A-8150-6F0E46F96131}"/>
              </a:ext>
            </a:extLst>
          </p:cNvPr>
          <p:cNvSpPr>
            <a:spLocks noGrp="1"/>
          </p:cNvSpPr>
          <p:nvPr>
            <p:ph type="body" sz="quarter" idx="14"/>
          </p:nvPr>
        </p:nvSpPr>
        <p:spPr>
          <a:xfrm>
            <a:off x="914721" y="1353312"/>
            <a:ext cx="10362880" cy="475488"/>
          </a:xfrm>
        </p:spPr>
        <p:txBody>
          <a:bodyPr/>
          <a:lstStyle/>
          <a:p>
            <a:r>
              <a:rPr lang="en-US" dirty="0"/>
              <a:t>Subtitle</a:t>
            </a:r>
          </a:p>
        </p:txBody>
      </p:sp>
      <p:sp>
        <p:nvSpPr>
          <p:cNvPr id="4" name="Text Placeholder 3">
            <a:extLst>
              <a:ext uri="{FF2B5EF4-FFF2-40B4-BE49-F238E27FC236}">
                <a16:creationId xmlns:a16="http://schemas.microsoft.com/office/drawing/2014/main" id="{C4050FF1-9ECF-4698-8921-01A61D1D1CC2}"/>
              </a:ext>
            </a:extLst>
          </p:cNvPr>
          <p:cNvSpPr>
            <a:spLocks noGrp="1"/>
          </p:cNvSpPr>
          <p:nvPr>
            <p:ph type="body" sz="quarter" idx="15"/>
          </p:nvPr>
        </p:nvSpPr>
        <p:spPr>
          <a:xfrm>
            <a:off x="914970" y="466344"/>
            <a:ext cx="3939833" cy="228600"/>
          </a:xfrm>
        </p:spPr>
        <p:txBody>
          <a:bodyPr/>
          <a:lstStyle/>
          <a:p>
            <a:r>
              <a:rPr lang="en-US" dirty="0"/>
              <a:t>FRAMEWORKS &amp; CONCEPT ILLUSTRATION</a:t>
            </a:r>
          </a:p>
          <a:p>
            <a:endParaRPr lang="en-US" dirty="0"/>
          </a:p>
        </p:txBody>
      </p:sp>
      <p:sp>
        <p:nvSpPr>
          <p:cNvPr id="5" name="Title 1">
            <a:extLst>
              <a:ext uri="{FF2B5EF4-FFF2-40B4-BE49-F238E27FC236}">
                <a16:creationId xmlns:a16="http://schemas.microsoft.com/office/drawing/2014/main" id="{605E43F5-DB08-478A-B62D-6B398EFCB136}"/>
              </a:ext>
            </a:extLst>
          </p:cNvPr>
          <p:cNvSpPr txBox="1">
            <a:spLocks/>
          </p:cNvSpPr>
          <p:nvPr/>
        </p:nvSpPr>
        <p:spPr>
          <a:xfrm>
            <a:off x="469900" y="402587"/>
            <a:ext cx="11252200"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b="1" dirty="0"/>
          </a:p>
        </p:txBody>
      </p:sp>
      <p:sp>
        <p:nvSpPr>
          <p:cNvPr id="6" name="Rectangle 5">
            <a:extLst>
              <a:ext uri="{FF2B5EF4-FFF2-40B4-BE49-F238E27FC236}">
                <a16:creationId xmlns:a16="http://schemas.microsoft.com/office/drawing/2014/main" id="{5CA9EA75-E01F-4747-B4E9-95E3EE4C54F6}"/>
              </a:ext>
            </a:extLst>
          </p:cNvPr>
          <p:cNvSpPr/>
          <p:nvPr/>
        </p:nvSpPr>
        <p:spPr>
          <a:xfrm>
            <a:off x="1217113" y="3382454"/>
            <a:ext cx="1585320" cy="2837326"/>
          </a:xfrm>
          <a:prstGeom prst="rect">
            <a:avLst/>
          </a:prstGeom>
          <a:solidFill>
            <a:srgbClr val="EBF4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1718" rtl="0" eaLnBrk="1" fontAlgn="base" latinLnBrk="0" hangingPunct="1">
              <a:lnSpc>
                <a:spcPct val="100000"/>
              </a:lnSpc>
              <a:spcBef>
                <a:spcPct val="0"/>
              </a:spcBef>
              <a:spcAft>
                <a:spcPct val="0"/>
              </a:spcAft>
              <a:buClrTx/>
              <a:buSzTx/>
              <a:buFontTx/>
              <a:buNone/>
              <a:tabLst/>
              <a:defRPr/>
            </a:pPr>
            <a:endParaRPr kumimoji="0" lang="en-US" sz="1239" b="0" i="0" u="none" strike="noStrike" kern="1200" cap="none" spc="0" normalizeH="0" baseline="0" noProof="0">
              <a:ln>
                <a:noFill/>
              </a:ln>
              <a:solidFill>
                <a:srgbClr val="0097A9"/>
              </a:solidFill>
              <a:effectLst/>
              <a:uLnTx/>
              <a:uFillTx/>
              <a:ea typeface="+mn-ea"/>
              <a:cs typeface="+mn-cs"/>
              <a:sym typeface="Gotham Book" charset="0"/>
            </a:endParaRPr>
          </a:p>
        </p:txBody>
      </p:sp>
      <p:sp>
        <p:nvSpPr>
          <p:cNvPr id="7" name="Rectangle 6">
            <a:extLst>
              <a:ext uri="{FF2B5EF4-FFF2-40B4-BE49-F238E27FC236}">
                <a16:creationId xmlns:a16="http://schemas.microsoft.com/office/drawing/2014/main" id="{2F6905A2-586E-468C-B59E-321F9A1BCE64}"/>
              </a:ext>
            </a:extLst>
          </p:cNvPr>
          <p:cNvSpPr/>
          <p:nvPr/>
        </p:nvSpPr>
        <p:spPr>
          <a:xfrm>
            <a:off x="2850514" y="3381585"/>
            <a:ext cx="1585320" cy="2837326"/>
          </a:xfrm>
          <a:prstGeom prst="rect">
            <a:avLst/>
          </a:prstGeom>
          <a:solidFill>
            <a:srgbClr val="E0ED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1718" rtl="0" eaLnBrk="1" fontAlgn="base" latinLnBrk="0" hangingPunct="1">
              <a:lnSpc>
                <a:spcPct val="100000"/>
              </a:lnSpc>
              <a:spcBef>
                <a:spcPct val="0"/>
              </a:spcBef>
              <a:spcAft>
                <a:spcPct val="0"/>
              </a:spcAft>
              <a:buClrTx/>
              <a:buSzTx/>
              <a:buFontTx/>
              <a:buNone/>
              <a:tabLst/>
              <a:defRPr/>
            </a:pPr>
            <a:endParaRPr kumimoji="0" lang="en-US" sz="1239" b="0" i="0" u="none" strike="noStrike" kern="1200" cap="none" spc="0" normalizeH="0" baseline="0" noProof="0">
              <a:ln>
                <a:noFill/>
              </a:ln>
              <a:solidFill>
                <a:srgbClr val="0097A9"/>
              </a:solidFill>
              <a:effectLst/>
              <a:uLnTx/>
              <a:uFillTx/>
              <a:ea typeface="+mn-ea"/>
              <a:cs typeface="+mn-cs"/>
              <a:sym typeface="Gotham Book" charset="0"/>
            </a:endParaRPr>
          </a:p>
        </p:txBody>
      </p:sp>
      <p:sp>
        <p:nvSpPr>
          <p:cNvPr id="8" name="Rectangle 7">
            <a:extLst>
              <a:ext uri="{FF2B5EF4-FFF2-40B4-BE49-F238E27FC236}">
                <a16:creationId xmlns:a16="http://schemas.microsoft.com/office/drawing/2014/main" id="{750F833C-B6FB-441E-9866-9191E9467BE9}"/>
              </a:ext>
            </a:extLst>
          </p:cNvPr>
          <p:cNvSpPr/>
          <p:nvPr/>
        </p:nvSpPr>
        <p:spPr>
          <a:xfrm>
            <a:off x="4483914" y="3381585"/>
            <a:ext cx="1585320" cy="2837326"/>
          </a:xfrm>
          <a:prstGeom prst="rect">
            <a:avLst/>
          </a:prstGeom>
          <a:solidFill>
            <a:srgbClr val="E0F4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1718" rtl="0" eaLnBrk="1" fontAlgn="base" latinLnBrk="0" hangingPunct="1">
              <a:lnSpc>
                <a:spcPct val="100000"/>
              </a:lnSpc>
              <a:spcBef>
                <a:spcPct val="0"/>
              </a:spcBef>
              <a:spcAft>
                <a:spcPct val="0"/>
              </a:spcAft>
              <a:buClrTx/>
              <a:buSzTx/>
              <a:buFontTx/>
              <a:buNone/>
              <a:tabLst/>
              <a:defRPr/>
            </a:pPr>
            <a:endParaRPr kumimoji="0" lang="en-US" sz="1239" b="0" i="0" u="none" strike="noStrike" kern="1200" cap="none" spc="0" normalizeH="0" baseline="0" noProof="0">
              <a:ln>
                <a:noFill/>
              </a:ln>
              <a:solidFill>
                <a:srgbClr val="0097A9"/>
              </a:solidFill>
              <a:effectLst/>
              <a:uLnTx/>
              <a:uFillTx/>
              <a:ea typeface="+mn-ea"/>
              <a:cs typeface="+mn-cs"/>
              <a:sym typeface="Gotham Book" charset="0"/>
            </a:endParaRPr>
          </a:p>
        </p:txBody>
      </p:sp>
      <p:sp>
        <p:nvSpPr>
          <p:cNvPr id="9" name="Rectangle 8">
            <a:extLst>
              <a:ext uri="{FF2B5EF4-FFF2-40B4-BE49-F238E27FC236}">
                <a16:creationId xmlns:a16="http://schemas.microsoft.com/office/drawing/2014/main" id="{F4F22D23-E0BA-4A84-8EC7-3F5E4EEA5081}"/>
              </a:ext>
            </a:extLst>
          </p:cNvPr>
          <p:cNvSpPr/>
          <p:nvPr/>
        </p:nvSpPr>
        <p:spPr>
          <a:xfrm>
            <a:off x="6117314" y="3381585"/>
            <a:ext cx="1585320" cy="2837326"/>
          </a:xfrm>
          <a:prstGeom prst="rect">
            <a:avLst/>
          </a:prstGeom>
          <a:solidFill>
            <a:srgbClr val="D9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1718" rtl="0" eaLnBrk="1" fontAlgn="base" latinLnBrk="0" hangingPunct="1">
              <a:lnSpc>
                <a:spcPct val="100000"/>
              </a:lnSpc>
              <a:spcBef>
                <a:spcPct val="0"/>
              </a:spcBef>
              <a:spcAft>
                <a:spcPct val="0"/>
              </a:spcAft>
              <a:buClrTx/>
              <a:buSzTx/>
              <a:buFontTx/>
              <a:buNone/>
              <a:tabLst/>
              <a:defRPr/>
            </a:pPr>
            <a:endParaRPr kumimoji="0" lang="en-US" sz="1239" b="0" i="0" u="none" strike="noStrike" kern="1200" cap="none" spc="0" normalizeH="0" baseline="0" noProof="0">
              <a:ln>
                <a:noFill/>
              </a:ln>
              <a:solidFill>
                <a:srgbClr val="0097A9"/>
              </a:solidFill>
              <a:effectLst/>
              <a:uLnTx/>
              <a:uFillTx/>
              <a:ea typeface="+mn-ea"/>
              <a:cs typeface="+mn-cs"/>
              <a:sym typeface="Gotham Book" charset="0"/>
            </a:endParaRPr>
          </a:p>
        </p:txBody>
      </p:sp>
      <p:sp>
        <p:nvSpPr>
          <p:cNvPr id="10" name="Rectangle 9">
            <a:extLst>
              <a:ext uri="{FF2B5EF4-FFF2-40B4-BE49-F238E27FC236}">
                <a16:creationId xmlns:a16="http://schemas.microsoft.com/office/drawing/2014/main" id="{3D92351A-E329-4580-BA29-4B47FEDAAAC7}"/>
              </a:ext>
            </a:extLst>
          </p:cNvPr>
          <p:cNvSpPr/>
          <p:nvPr/>
        </p:nvSpPr>
        <p:spPr>
          <a:xfrm>
            <a:off x="9384114" y="3381585"/>
            <a:ext cx="1585320" cy="2837326"/>
          </a:xfrm>
          <a:prstGeom prst="rect">
            <a:avLst/>
          </a:prstGeom>
          <a:solidFill>
            <a:srgbClr val="DBE0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1718" rtl="0" eaLnBrk="1" fontAlgn="base" latinLnBrk="0" hangingPunct="1">
              <a:lnSpc>
                <a:spcPct val="100000"/>
              </a:lnSpc>
              <a:spcBef>
                <a:spcPct val="0"/>
              </a:spcBef>
              <a:spcAft>
                <a:spcPct val="0"/>
              </a:spcAft>
              <a:buClrTx/>
              <a:buSzTx/>
              <a:buFontTx/>
              <a:buNone/>
              <a:tabLst/>
              <a:defRPr/>
            </a:pPr>
            <a:endParaRPr kumimoji="0" lang="en-US" sz="1239" b="0" i="0" u="none" strike="noStrike" kern="1200" cap="none" spc="0" normalizeH="0" baseline="0" noProof="0">
              <a:ln>
                <a:noFill/>
              </a:ln>
              <a:solidFill>
                <a:srgbClr val="0097A9"/>
              </a:solidFill>
              <a:effectLst/>
              <a:uLnTx/>
              <a:uFillTx/>
              <a:ea typeface="+mn-ea"/>
              <a:cs typeface="+mn-cs"/>
              <a:sym typeface="Gotham Book" charset="0"/>
            </a:endParaRPr>
          </a:p>
        </p:txBody>
      </p:sp>
      <p:sp>
        <p:nvSpPr>
          <p:cNvPr id="11" name="Rectangle 10">
            <a:extLst>
              <a:ext uri="{FF2B5EF4-FFF2-40B4-BE49-F238E27FC236}">
                <a16:creationId xmlns:a16="http://schemas.microsoft.com/office/drawing/2014/main" id="{9D69822E-7D7E-44BA-9728-BD532EFCAA1E}"/>
              </a:ext>
            </a:extLst>
          </p:cNvPr>
          <p:cNvSpPr/>
          <p:nvPr/>
        </p:nvSpPr>
        <p:spPr>
          <a:xfrm>
            <a:off x="7750715" y="3381585"/>
            <a:ext cx="1585320" cy="2837326"/>
          </a:xfrm>
          <a:prstGeom prst="rect">
            <a:avLst/>
          </a:prstGeom>
          <a:solidFill>
            <a:srgbClr val="E0E0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1718" rtl="0" eaLnBrk="1" fontAlgn="base" latinLnBrk="0" hangingPunct="1">
              <a:lnSpc>
                <a:spcPct val="100000"/>
              </a:lnSpc>
              <a:spcBef>
                <a:spcPct val="0"/>
              </a:spcBef>
              <a:spcAft>
                <a:spcPct val="0"/>
              </a:spcAft>
              <a:buClrTx/>
              <a:buSzTx/>
              <a:buFontTx/>
              <a:buNone/>
              <a:tabLst/>
              <a:defRPr/>
            </a:pPr>
            <a:endParaRPr kumimoji="0" lang="en-US" sz="1239" b="0" i="0" u="none" strike="noStrike" kern="1200" cap="none" spc="0" normalizeH="0" baseline="0" noProof="0">
              <a:ln>
                <a:noFill/>
              </a:ln>
              <a:solidFill>
                <a:srgbClr val="0097A9"/>
              </a:solidFill>
              <a:effectLst/>
              <a:uLnTx/>
              <a:uFillTx/>
              <a:ea typeface="+mn-ea"/>
              <a:cs typeface="+mn-cs"/>
              <a:sym typeface="Gotham Book" charset="0"/>
            </a:endParaRPr>
          </a:p>
        </p:txBody>
      </p:sp>
      <p:pic>
        <p:nvPicPr>
          <p:cNvPr id="12" name="Picture 2" descr="http://www.gigwalk.com/wp-content/uploads/2016/02/GigwalkLogo3.png">
            <a:extLst>
              <a:ext uri="{FF2B5EF4-FFF2-40B4-BE49-F238E27FC236}">
                <a16:creationId xmlns:a16="http://schemas.microsoft.com/office/drawing/2014/main" id="{36223009-86D1-4930-A1FC-F793C8E132F2}"/>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530311" y="3604399"/>
            <a:ext cx="995879" cy="257079"/>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https://static1.squarespace.com/static/568af8d2d82d5e25a610856b/5755bf8b60b5e95b9541f1d9/5759f221e707eb26eb75c4fa/1465512484948/findyr_logo.jpg">
            <a:extLst>
              <a:ext uri="{FF2B5EF4-FFF2-40B4-BE49-F238E27FC236}">
                <a16:creationId xmlns:a16="http://schemas.microsoft.com/office/drawing/2014/main" id="{0E1352FB-7F57-4A9E-8CC4-4C527F69F1B2}"/>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636305" y="4479228"/>
            <a:ext cx="783892" cy="34277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0" descr="https://upload.wikimedia.org/wikipedia/en/f/fa/DigitalGlobe_logo.png">
            <a:extLst>
              <a:ext uri="{FF2B5EF4-FFF2-40B4-BE49-F238E27FC236}">
                <a16:creationId xmlns:a16="http://schemas.microsoft.com/office/drawing/2014/main" id="{F51C5677-68EA-439F-B151-B3634360E770}"/>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428400" y="5454995"/>
            <a:ext cx="1199701" cy="37186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s://static1.squarespace.com/static/5238fdb1e4b05b013e6d8e8b/t/53509509e4b0d23446a61cdf/1397789968457/">
            <a:extLst>
              <a:ext uri="{FF2B5EF4-FFF2-40B4-BE49-F238E27FC236}">
                <a16:creationId xmlns:a16="http://schemas.microsoft.com/office/drawing/2014/main" id="{3F1E1C86-C83B-45B0-B695-49DB9BB72665}"/>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945674" y="4043123"/>
            <a:ext cx="1426559" cy="315262"/>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6" descr="https://www.greenbook.org/logos/InCrowd-Logo-For-Greenbook_pp8634279635514902057684000.jpg">
            <a:extLst>
              <a:ext uri="{FF2B5EF4-FFF2-40B4-BE49-F238E27FC236}">
                <a16:creationId xmlns:a16="http://schemas.microsoft.com/office/drawing/2014/main" id="{3164596B-62B7-4217-9C92-6830603C4782}"/>
              </a:ext>
            </a:extLst>
          </p:cNvPr>
          <p:cNvPicPr>
            <a:picLocks noChangeAspect="1" noChangeArrowheads="1"/>
          </p:cNvPicPr>
          <p:nvPr/>
        </p:nvPicPr>
        <p:blipFill rotWithShape="1">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005268" y="4883894"/>
            <a:ext cx="1307370" cy="514158"/>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http://www.flashstarts.com/wp-content/uploads/2014/12/reMesh_logo-03.png">
            <a:extLst>
              <a:ext uri="{FF2B5EF4-FFF2-40B4-BE49-F238E27FC236}">
                <a16:creationId xmlns:a16="http://schemas.microsoft.com/office/drawing/2014/main" id="{B4A0A02E-7640-4008-B228-3FAEF7563364}"/>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556091" y="3538901"/>
            <a:ext cx="1581697" cy="405564"/>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http://menacristal.com/uploads/images/partenaires/eyeka.jpg">
            <a:extLst>
              <a:ext uri="{FF2B5EF4-FFF2-40B4-BE49-F238E27FC236}">
                <a16:creationId xmlns:a16="http://schemas.microsoft.com/office/drawing/2014/main" id="{43BD8D57-5098-4535-9284-87BE7D615350}"/>
              </a:ext>
            </a:extLst>
          </p:cNvPr>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406201" y="3588614"/>
            <a:ext cx="1028315" cy="291349"/>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http://dailylounge.com/uploads/blog/betterific_web2.jpg">
            <a:extLst>
              <a:ext uri="{FF2B5EF4-FFF2-40B4-BE49-F238E27FC236}">
                <a16:creationId xmlns:a16="http://schemas.microsoft.com/office/drawing/2014/main" id="{FDBE0852-7C41-4F9F-AB3B-3F41962ADBCA}"/>
              </a:ext>
            </a:extLst>
          </p:cNvPr>
          <p:cNvPicPr>
            <a:picLocks noChangeAspect="1" noChangeArrowheads="1"/>
          </p:cNvPicPr>
          <p:nvPr/>
        </p:nvPicPr>
        <p:blipFill rotWithShape="1">
          <a:blip r:embed="rId15">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4751963" y="4533976"/>
            <a:ext cx="1075386" cy="30309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https://pbs.twimg.com/media/A1kMWGHCQAAoCxM.jpg">
            <a:extLst>
              <a:ext uri="{FF2B5EF4-FFF2-40B4-BE49-F238E27FC236}">
                <a16:creationId xmlns:a16="http://schemas.microsoft.com/office/drawing/2014/main" id="{934F23BF-3841-433E-827A-38B1AE0EA384}"/>
              </a:ext>
            </a:extLst>
          </p:cNvPr>
          <p:cNvPicPr>
            <a:picLocks noChangeAspect="1" noChangeArrowheads="1"/>
          </p:cNvPicPr>
          <p:nvPr/>
        </p:nvPicPr>
        <p:blipFill>
          <a:blip r:embed="rId16" cstate="hq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200776" y="4300062"/>
            <a:ext cx="1439165" cy="260511"/>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https://assets.toptal.io/assets/front/static/public/blocks/branding/logo/logo_ef4e34.png">
            <a:extLst>
              <a:ext uri="{FF2B5EF4-FFF2-40B4-BE49-F238E27FC236}">
                <a16:creationId xmlns:a16="http://schemas.microsoft.com/office/drawing/2014/main" id="{6B0EA5E6-E979-4736-9AED-A5B4F2D6C5DB}"/>
              </a:ext>
            </a:extLst>
          </p:cNvPr>
          <p:cNvPicPr>
            <a:picLocks noChangeAspect="1" noChangeArrowheads="1"/>
          </p:cNvPicPr>
          <p:nvPr/>
        </p:nvPicPr>
        <p:blipFill rotWithShape="1">
          <a:blip r:embed="rId17" cstate="hqprint">
            <a:extLst>
              <a:ext uri="{28A0092B-C50C-407E-A947-70E740481C1C}">
                <a14:useLocalDpi xmlns:a14="http://schemas.microsoft.com/office/drawing/2010/main" val="0"/>
              </a:ext>
            </a:extLst>
          </a:blip>
          <a:srcRect t="18031" b="17481"/>
          <a:stretch/>
        </p:blipFill>
        <p:spPr bwMode="auto">
          <a:xfrm>
            <a:off x="9602594" y="4447331"/>
            <a:ext cx="1161935" cy="375999"/>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 descr="http://www.featuredcustomers.com/media/Company.logo/applauselogo_whitebackground_notag_medium.png">
            <a:extLst>
              <a:ext uri="{FF2B5EF4-FFF2-40B4-BE49-F238E27FC236}">
                <a16:creationId xmlns:a16="http://schemas.microsoft.com/office/drawing/2014/main" id="{FAE2AEBB-53BD-4DAD-8B29-BFAB35489030}"/>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9486546" y="5399438"/>
            <a:ext cx="1394028" cy="240917"/>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Image result for experfy">
            <a:extLst>
              <a:ext uri="{FF2B5EF4-FFF2-40B4-BE49-F238E27FC236}">
                <a16:creationId xmlns:a16="http://schemas.microsoft.com/office/drawing/2014/main" id="{A63C8C89-B68B-4659-8993-FD1673483785}"/>
              </a:ext>
            </a:extLst>
          </p:cNvPr>
          <p:cNvPicPr>
            <a:picLocks noChangeAspect="1" noChangeArrowheads="1"/>
          </p:cNvPicPr>
          <p:nvPr/>
        </p:nvPicPr>
        <p:blipFill>
          <a:blip r:embed="rId1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956508" y="4122724"/>
            <a:ext cx="1189112" cy="396371"/>
          </a:xfrm>
          <a:prstGeom prst="rect">
            <a:avLst/>
          </a:prstGeom>
          <a:noFill/>
        </p:spPr>
      </p:pic>
      <p:pic>
        <p:nvPicPr>
          <p:cNvPr id="24" name="Picture 6" descr="http://www.thequirksevent.com/uploads/Intengo_logo.png">
            <a:extLst>
              <a:ext uri="{FF2B5EF4-FFF2-40B4-BE49-F238E27FC236}">
                <a16:creationId xmlns:a16="http://schemas.microsoft.com/office/drawing/2014/main" id="{92A07F0D-45AA-4BCC-A9A7-E45674519EC5}"/>
              </a:ext>
            </a:extLst>
          </p:cNvPr>
          <p:cNvPicPr>
            <a:picLocks noChangeAspect="1" noChangeArrowheads="1"/>
          </p:cNvPicPr>
          <p:nvPr/>
        </p:nvPicPr>
        <p:blipFill>
          <a:blip r:embed="rId20" cstate="hqprint">
            <a:extLst>
              <a:ext uri="{28A0092B-C50C-407E-A947-70E740481C1C}">
                <a14:useLocalDpi xmlns:a14="http://schemas.microsoft.com/office/drawing/2010/main" val="0"/>
              </a:ext>
            </a:extLst>
          </a:blip>
          <a:srcRect/>
          <a:stretch>
            <a:fillRect/>
          </a:stretch>
        </p:blipFill>
        <p:spPr bwMode="auto">
          <a:xfrm>
            <a:off x="5075424" y="5349629"/>
            <a:ext cx="428465" cy="500989"/>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descr="http://brandu.events/wp-content/uploads/2015/03/tongal-logo1.png">
            <a:extLst>
              <a:ext uri="{FF2B5EF4-FFF2-40B4-BE49-F238E27FC236}">
                <a16:creationId xmlns:a16="http://schemas.microsoft.com/office/drawing/2014/main" id="{6F1EF78E-8942-4952-9DFC-6347925AC2D4}"/>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a:stretch/>
        </p:blipFill>
        <p:spPr bwMode="auto">
          <a:xfrm>
            <a:off x="6353855" y="4904363"/>
            <a:ext cx="1133009" cy="410416"/>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25">
            <a:extLst>
              <a:ext uri="{FF2B5EF4-FFF2-40B4-BE49-F238E27FC236}">
                <a16:creationId xmlns:a16="http://schemas.microsoft.com/office/drawing/2014/main" id="{53934F59-2D60-48BA-8A0C-07AA7EF0C337}"/>
              </a:ext>
            </a:extLst>
          </p:cNvPr>
          <p:cNvSpPr/>
          <p:nvPr/>
        </p:nvSpPr>
        <p:spPr bwMode="gray">
          <a:xfrm>
            <a:off x="1406463" y="3898782"/>
            <a:ext cx="1242232" cy="124374"/>
          </a:xfrm>
          <a:prstGeom prst="rect">
            <a:avLst/>
          </a:prstGeom>
          <a:noFill/>
          <a:ln w="19050" algn="ctr">
            <a:noFill/>
            <a:miter lim="800000"/>
            <a:headEnd/>
            <a:tailEnd/>
          </a:ln>
        </p:spPr>
        <p:txBody>
          <a:bodyPr wrap="square" lIns="83313" tIns="83313" rIns="83313" bIns="83313" rtlCol="0" anchor="ctr"/>
          <a:lstStyle/>
          <a:p>
            <a:pPr marL="0" marR="0" lvl="0" indent="0" algn="ctr" defTabSz="671718" rtl="0" eaLnBrk="1" fontAlgn="base" latinLnBrk="0" hangingPunct="1">
              <a:lnSpc>
                <a:spcPct val="106000"/>
              </a:lnSpc>
              <a:spcBef>
                <a:spcPct val="0"/>
              </a:spcBef>
              <a:spcAft>
                <a:spcPct val="0"/>
              </a:spcAft>
              <a:buClrTx/>
              <a:buSzTx/>
              <a:buFontTx/>
              <a:buNone/>
              <a:tabLst/>
              <a:defRPr/>
            </a:pPr>
            <a:r>
              <a:rPr kumimoji="0" lang="en-US" sz="843" b="0" i="0" u="none" strike="noStrike" kern="1200" cap="none" spc="0" normalizeH="0" baseline="0" noProof="0" dirty="0">
                <a:ln>
                  <a:noFill/>
                </a:ln>
                <a:solidFill>
                  <a:srgbClr val="343434"/>
                </a:solidFill>
                <a:effectLst/>
                <a:uLnTx/>
                <a:uFillTx/>
                <a:ea typeface="ヒラギノ角ゴ ProN W3" charset="0"/>
                <a:cs typeface="+mn-cs"/>
                <a:sym typeface="Gotham Book" charset="0"/>
              </a:rPr>
              <a:t>Mystery shoppers</a:t>
            </a:r>
          </a:p>
        </p:txBody>
      </p:sp>
      <p:sp>
        <p:nvSpPr>
          <p:cNvPr id="27" name="Rectangle 26">
            <a:extLst>
              <a:ext uri="{FF2B5EF4-FFF2-40B4-BE49-F238E27FC236}">
                <a16:creationId xmlns:a16="http://schemas.microsoft.com/office/drawing/2014/main" id="{104D002D-BB4D-4321-A993-66B0BA1EEF7F}"/>
              </a:ext>
            </a:extLst>
          </p:cNvPr>
          <p:cNvSpPr/>
          <p:nvPr/>
        </p:nvSpPr>
        <p:spPr bwMode="gray">
          <a:xfrm>
            <a:off x="1356650" y="4939126"/>
            <a:ext cx="1366455" cy="124374"/>
          </a:xfrm>
          <a:prstGeom prst="rect">
            <a:avLst/>
          </a:prstGeom>
          <a:noFill/>
          <a:ln w="19050" algn="ctr">
            <a:noFill/>
            <a:miter lim="800000"/>
            <a:headEnd/>
            <a:tailEnd/>
          </a:ln>
        </p:spPr>
        <p:txBody>
          <a:bodyPr wrap="square" lIns="83313" tIns="83313" rIns="83313" bIns="83313" rtlCol="0" anchor="ctr"/>
          <a:lstStyle/>
          <a:p>
            <a:pPr marL="0" marR="0" lvl="0" indent="0" algn="ctr" defTabSz="671718" rtl="0" eaLnBrk="1" fontAlgn="base" latinLnBrk="0" hangingPunct="1">
              <a:lnSpc>
                <a:spcPct val="106000"/>
              </a:lnSpc>
              <a:spcBef>
                <a:spcPct val="0"/>
              </a:spcBef>
              <a:spcAft>
                <a:spcPct val="0"/>
              </a:spcAft>
              <a:buClrTx/>
              <a:buSzTx/>
              <a:buFontTx/>
              <a:buNone/>
              <a:tabLst/>
              <a:defRPr/>
            </a:pPr>
            <a:r>
              <a:rPr kumimoji="0" lang="en-US" sz="843" b="0" i="0" u="none" strike="noStrike" kern="1200" cap="none" spc="0" normalizeH="0" baseline="0" noProof="0" dirty="0">
                <a:ln>
                  <a:noFill/>
                </a:ln>
                <a:solidFill>
                  <a:srgbClr val="343434"/>
                </a:solidFill>
                <a:effectLst/>
                <a:uLnTx/>
                <a:uFillTx/>
                <a:ea typeface="ヒラギノ角ゴ ProN W3" charset="0"/>
                <a:cs typeface="+mn-cs"/>
                <a:sym typeface="Gotham Book" charset="0"/>
              </a:rPr>
              <a:t>Real-time data collection</a:t>
            </a:r>
          </a:p>
        </p:txBody>
      </p:sp>
      <p:sp>
        <p:nvSpPr>
          <p:cNvPr id="28" name="Rectangle 27">
            <a:extLst>
              <a:ext uri="{FF2B5EF4-FFF2-40B4-BE49-F238E27FC236}">
                <a16:creationId xmlns:a16="http://schemas.microsoft.com/office/drawing/2014/main" id="{A58997FC-10AD-40BF-A398-8278519B9CFB}"/>
              </a:ext>
            </a:extLst>
          </p:cNvPr>
          <p:cNvSpPr/>
          <p:nvPr/>
        </p:nvSpPr>
        <p:spPr bwMode="gray">
          <a:xfrm>
            <a:off x="1350648" y="5911937"/>
            <a:ext cx="1366455" cy="124374"/>
          </a:xfrm>
          <a:prstGeom prst="rect">
            <a:avLst/>
          </a:prstGeom>
          <a:noFill/>
          <a:ln w="19050" algn="ctr">
            <a:noFill/>
            <a:miter lim="800000"/>
            <a:headEnd/>
            <a:tailEnd/>
          </a:ln>
        </p:spPr>
        <p:txBody>
          <a:bodyPr wrap="square" lIns="83313" tIns="83313" rIns="83313" bIns="83313" rtlCol="0" anchor="ctr"/>
          <a:lstStyle/>
          <a:p>
            <a:pPr marL="0" marR="0" lvl="0" indent="0" algn="ctr" defTabSz="671718" rtl="0" eaLnBrk="1" fontAlgn="base" latinLnBrk="0" hangingPunct="1">
              <a:lnSpc>
                <a:spcPct val="106000"/>
              </a:lnSpc>
              <a:spcBef>
                <a:spcPct val="0"/>
              </a:spcBef>
              <a:spcAft>
                <a:spcPct val="0"/>
              </a:spcAft>
              <a:buClrTx/>
              <a:buSzTx/>
              <a:buFontTx/>
              <a:buNone/>
              <a:tabLst/>
              <a:defRPr/>
            </a:pPr>
            <a:r>
              <a:rPr kumimoji="0" lang="en-US" sz="843" b="0" i="0" u="none" strike="noStrike" kern="1200" cap="none" spc="0" normalizeH="0" baseline="0" noProof="0" dirty="0">
                <a:ln>
                  <a:noFill/>
                </a:ln>
                <a:solidFill>
                  <a:srgbClr val="343434"/>
                </a:solidFill>
                <a:effectLst/>
                <a:uLnTx/>
                <a:uFillTx/>
                <a:ea typeface="ヒラギノ角ゴ ProN W3" charset="0"/>
                <a:cs typeface="+mn-cs"/>
                <a:sym typeface="Gotham Book" charset="0"/>
              </a:rPr>
              <a:t>Geospatial analysis</a:t>
            </a:r>
          </a:p>
        </p:txBody>
      </p:sp>
      <p:sp>
        <p:nvSpPr>
          <p:cNvPr id="29" name="Rectangle 28">
            <a:extLst>
              <a:ext uri="{FF2B5EF4-FFF2-40B4-BE49-F238E27FC236}">
                <a16:creationId xmlns:a16="http://schemas.microsoft.com/office/drawing/2014/main" id="{349F6F5B-5652-4CD3-A891-76CACE0C076D}"/>
              </a:ext>
            </a:extLst>
          </p:cNvPr>
          <p:cNvSpPr/>
          <p:nvPr/>
        </p:nvSpPr>
        <p:spPr bwMode="gray">
          <a:xfrm>
            <a:off x="2969061" y="4389934"/>
            <a:ext cx="1366455" cy="124374"/>
          </a:xfrm>
          <a:prstGeom prst="rect">
            <a:avLst/>
          </a:prstGeom>
          <a:noFill/>
          <a:ln w="19050" algn="ctr">
            <a:noFill/>
            <a:miter lim="800000"/>
            <a:headEnd/>
            <a:tailEnd/>
          </a:ln>
        </p:spPr>
        <p:txBody>
          <a:bodyPr wrap="square" lIns="83313" tIns="83313" rIns="83313" bIns="83313" rtlCol="0" anchor="ctr"/>
          <a:lstStyle/>
          <a:p>
            <a:pPr marL="0" marR="0" lvl="0" indent="0" algn="ctr" defTabSz="671718" rtl="0" eaLnBrk="1" fontAlgn="base" latinLnBrk="0" hangingPunct="1">
              <a:lnSpc>
                <a:spcPct val="106000"/>
              </a:lnSpc>
              <a:spcBef>
                <a:spcPct val="0"/>
              </a:spcBef>
              <a:spcAft>
                <a:spcPct val="0"/>
              </a:spcAft>
              <a:buClrTx/>
              <a:buSzTx/>
              <a:buFontTx/>
              <a:buNone/>
              <a:tabLst/>
              <a:defRPr/>
            </a:pPr>
            <a:r>
              <a:rPr kumimoji="0" lang="en-US" sz="843" b="0" i="0" u="none" strike="noStrike" kern="1200" cap="none" spc="0" normalizeH="0" baseline="0" noProof="0" dirty="0">
                <a:ln>
                  <a:noFill/>
                </a:ln>
                <a:solidFill>
                  <a:srgbClr val="343434"/>
                </a:solidFill>
                <a:effectLst/>
                <a:uLnTx/>
                <a:uFillTx/>
                <a:ea typeface="ヒラギノ角ゴ ProN W3" charset="0"/>
                <a:cs typeface="+mn-cs"/>
                <a:sym typeface="Gotham Book" charset="0"/>
              </a:rPr>
              <a:t>Collaborative simulations</a:t>
            </a:r>
          </a:p>
        </p:txBody>
      </p:sp>
      <p:sp>
        <p:nvSpPr>
          <p:cNvPr id="30" name="Rectangle 29">
            <a:extLst>
              <a:ext uri="{FF2B5EF4-FFF2-40B4-BE49-F238E27FC236}">
                <a16:creationId xmlns:a16="http://schemas.microsoft.com/office/drawing/2014/main" id="{3EE12CAF-1868-4C7F-A177-0761F75E4918}"/>
              </a:ext>
            </a:extLst>
          </p:cNvPr>
          <p:cNvSpPr/>
          <p:nvPr/>
        </p:nvSpPr>
        <p:spPr bwMode="gray">
          <a:xfrm>
            <a:off x="2988132" y="5436941"/>
            <a:ext cx="1366455" cy="124374"/>
          </a:xfrm>
          <a:prstGeom prst="rect">
            <a:avLst/>
          </a:prstGeom>
          <a:noFill/>
          <a:ln w="19050" algn="ctr">
            <a:noFill/>
            <a:miter lim="800000"/>
            <a:headEnd/>
            <a:tailEnd/>
          </a:ln>
        </p:spPr>
        <p:txBody>
          <a:bodyPr wrap="square" lIns="83313" tIns="83313" rIns="83313" bIns="83313" rtlCol="0" anchor="ctr"/>
          <a:lstStyle/>
          <a:p>
            <a:pPr marL="0" marR="0" lvl="0" indent="0" algn="ctr" defTabSz="671718" rtl="0" eaLnBrk="1" fontAlgn="base" latinLnBrk="0" hangingPunct="1">
              <a:lnSpc>
                <a:spcPct val="106000"/>
              </a:lnSpc>
              <a:spcBef>
                <a:spcPct val="0"/>
              </a:spcBef>
              <a:spcAft>
                <a:spcPct val="0"/>
              </a:spcAft>
              <a:buClrTx/>
              <a:buSzTx/>
              <a:buFontTx/>
              <a:buNone/>
              <a:tabLst/>
              <a:defRPr/>
            </a:pPr>
            <a:r>
              <a:rPr kumimoji="0" lang="en-US" sz="843" b="0" i="0" u="none" strike="noStrike" kern="1200" cap="none" spc="0" normalizeH="0" baseline="0" noProof="0" dirty="0">
                <a:ln>
                  <a:noFill/>
                </a:ln>
                <a:solidFill>
                  <a:srgbClr val="343434"/>
                </a:solidFill>
                <a:effectLst/>
                <a:uLnTx/>
                <a:uFillTx/>
                <a:ea typeface="ヒラギノ角ゴ ProN W3" charset="0"/>
                <a:cs typeface="+mn-cs"/>
                <a:sym typeface="Gotham Book" charset="0"/>
              </a:rPr>
              <a:t>Physician surveys</a:t>
            </a:r>
          </a:p>
        </p:txBody>
      </p:sp>
      <p:sp>
        <p:nvSpPr>
          <p:cNvPr id="31" name="Rectangle 30">
            <a:extLst>
              <a:ext uri="{FF2B5EF4-FFF2-40B4-BE49-F238E27FC236}">
                <a16:creationId xmlns:a16="http://schemas.microsoft.com/office/drawing/2014/main" id="{93A1865E-3C14-4771-9CD1-50C3D9597CD0}"/>
              </a:ext>
            </a:extLst>
          </p:cNvPr>
          <p:cNvSpPr/>
          <p:nvPr/>
        </p:nvSpPr>
        <p:spPr bwMode="gray">
          <a:xfrm>
            <a:off x="4663711" y="3882279"/>
            <a:ext cx="1366455" cy="124374"/>
          </a:xfrm>
          <a:prstGeom prst="rect">
            <a:avLst/>
          </a:prstGeom>
          <a:noFill/>
          <a:ln w="19050" algn="ctr">
            <a:noFill/>
            <a:miter lim="800000"/>
            <a:headEnd/>
            <a:tailEnd/>
          </a:ln>
        </p:spPr>
        <p:txBody>
          <a:bodyPr wrap="square" lIns="83313" tIns="83313" rIns="83313" bIns="83313" rtlCol="0" anchor="ctr"/>
          <a:lstStyle/>
          <a:p>
            <a:pPr marL="0" marR="0" lvl="0" indent="0" algn="ctr" defTabSz="671718" rtl="0" eaLnBrk="1" fontAlgn="base" latinLnBrk="0" hangingPunct="1">
              <a:lnSpc>
                <a:spcPct val="106000"/>
              </a:lnSpc>
              <a:spcBef>
                <a:spcPct val="0"/>
              </a:spcBef>
              <a:spcAft>
                <a:spcPct val="0"/>
              </a:spcAft>
              <a:buClrTx/>
              <a:buSzTx/>
              <a:buFontTx/>
              <a:buNone/>
              <a:tabLst/>
              <a:defRPr/>
            </a:pPr>
            <a:r>
              <a:rPr kumimoji="0" lang="en-US" sz="843" b="0" i="0" u="none" strike="noStrike" kern="1200" cap="none" spc="0" normalizeH="0" baseline="0" noProof="0" dirty="0">
                <a:ln>
                  <a:noFill/>
                </a:ln>
                <a:solidFill>
                  <a:srgbClr val="343434"/>
                </a:solidFill>
                <a:effectLst/>
                <a:uLnTx/>
                <a:uFillTx/>
                <a:ea typeface="ヒラギノ角ゴ ProN W3" charset="0"/>
                <a:cs typeface="+mn-cs"/>
                <a:sym typeface="Gotham Book" charset="0"/>
              </a:rPr>
              <a:t>Virtual focus groups</a:t>
            </a:r>
          </a:p>
        </p:txBody>
      </p:sp>
      <p:sp>
        <p:nvSpPr>
          <p:cNvPr id="32" name="Rectangle 31">
            <a:extLst>
              <a:ext uri="{FF2B5EF4-FFF2-40B4-BE49-F238E27FC236}">
                <a16:creationId xmlns:a16="http://schemas.microsoft.com/office/drawing/2014/main" id="{644324F1-654B-46E3-8927-5FEF45295511}"/>
              </a:ext>
            </a:extLst>
          </p:cNvPr>
          <p:cNvSpPr/>
          <p:nvPr/>
        </p:nvSpPr>
        <p:spPr bwMode="gray">
          <a:xfrm>
            <a:off x="4605768" y="4885332"/>
            <a:ext cx="1366455" cy="124374"/>
          </a:xfrm>
          <a:prstGeom prst="rect">
            <a:avLst/>
          </a:prstGeom>
          <a:noFill/>
          <a:ln w="19050" algn="ctr">
            <a:noFill/>
            <a:miter lim="800000"/>
            <a:headEnd/>
            <a:tailEnd/>
          </a:ln>
        </p:spPr>
        <p:txBody>
          <a:bodyPr wrap="square" lIns="83313" tIns="83313" rIns="83313" bIns="83313" rtlCol="0" anchor="ctr"/>
          <a:lstStyle/>
          <a:p>
            <a:pPr marL="0" marR="0" lvl="0" indent="0" algn="ctr" defTabSz="671718" rtl="0" eaLnBrk="1" fontAlgn="base" latinLnBrk="0" hangingPunct="1">
              <a:lnSpc>
                <a:spcPct val="106000"/>
              </a:lnSpc>
              <a:spcBef>
                <a:spcPct val="0"/>
              </a:spcBef>
              <a:spcAft>
                <a:spcPct val="0"/>
              </a:spcAft>
              <a:buClrTx/>
              <a:buSzTx/>
              <a:buFontTx/>
              <a:buNone/>
              <a:tabLst/>
              <a:defRPr/>
            </a:pPr>
            <a:r>
              <a:rPr kumimoji="0" lang="en-US" sz="843" b="0" i="0" u="none" strike="noStrike" kern="1200" cap="none" spc="0" normalizeH="0" baseline="0" noProof="0" dirty="0">
                <a:ln>
                  <a:noFill/>
                </a:ln>
                <a:solidFill>
                  <a:srgbClr val="343434"/>
                </a:solidFill>
                <a:effectLst/>
                <a:uLnTx/>
                <a:uFillTx/>
                <a:ea typeface="ヒラギノ角ゴ ProN W3" charset="0"/>
                <a:cs typeface="+mn-cs"/>
                <a:sym typeface="Gotham Book" charset="0"/>
              </a:rPr>
              <a:t>Short-form ideation</a:t>
            </a:r>
          </a:p>
        </p:txBody>
      </p:sp>
      <p:sp>
        <p:nvSpPr>
          <p:cNvPr id="33" name="Rectangle 32">
            <a:extLst>
              <a:ext uri="{FF2B5EF4-FFF2-40B4-BE49-F238E27FC236}">
                <a16:creationId xmlns:a16="http://schemas.microsoft.com/office/drawing/2014/main" id="{E1581D73-F5DA-46C9-B930-7CF7DA7A4040}"/>
              </a:ext>
            </a:extLst>
          </p:cNvPr>
          <p:cNvSpPr/>
          <p:nvPr/>
        </p:nvSpPr>
        <p:spPr bwMode="gray">
          <a:xfrm>
            <a:off x="4532870" y="5888191"/>
            <a:ext cx="1503100" cy="124374"/>
          </a:xfrm>
          <a:prstGeom prst="rect">
            <a:avLst/>
          </a:prstGeom>
          <a:noFill/>
          <a:ln w="19050" algn="ctr">
            <a:noFill/>
            <a:miter lim="800000"/>
            <a:headEnd/>
            <a:tailEnd/>
          </a:ln>
        </p:spPr>
        <p:txBody>
          <a:bodyPr wrap="square" lIns="83313" tIns="83313" rIns="83313" bIns="83313" rtlCol="0" anchor="ctr"/>
          <a:lstStyle/>
          <a:p>
            <a:pPr marL="0" marR="0" lvl="0" indent="0" algn="ctr" defTabSz="671718" rtl="0" eaLnBrk="1" fontAlgn="base" latinLnBrk="0" hangingPunct="1">
              <a:lnSpc>
                <a:spcPct val="106000"/>
              </a:lnSpc>
              <a:spcBef>
                <a:spcPct val="0"/>
              </a:spcBef>
              <a:spcAft>
                <a:spcPct val="0"/>
              </a:spcAft>
              <a:buClrTx/>
              <a:buSzTx/>
              <a:buFontTx/>
              <a:buNone/>
              <a:tabLst/>
              <a:defRPr/>
            </a:pPr>
            <a:r>
              <a:rPr kumimoji="0" lang="en-US" sz="843" b="0" i="0" u="none" strike="noStrike" kern="1200" cap="none" spc="0" normalizeH="0" baseline="0" noProof="0" dirty="0">
                <a:ln>
                  <a:noFill/>
                </a:ln>
                <a:solidFill>
                  <a:srgbClr val="343434"/>
                </a:solidFill>
                <a:effectLst/>
                <a:uLnTx/>
                <a:uFillTx/>
                <a:ea typeface="ヒラギノ角ゴ ProN W3" charset="0"/>
                <a:cs typeface="+mn-cs"/>
                <a:sym typeface="Gotham Book" charset="0"/>
              </a:rPr>
              <a:t>Prediction marketplace</a:t>
            </a:r>
          </a:p>
        </p:txBody>
      </p:sp>
      <p:sp>
        <p:nvSpPr>
          <p:cNvPr id="34" name="Rectangle 33">
            <a:extLst>
              <a:ext uri="{FF2B5EF4-FFF2-40B4-BE49-F238E27FC236}">
                <a16:creationId xmlns:a16="http://schemas.microsoft.com/office/drawing/2014/main" id="{8A9A07CB-9F7D-4884-9067-07CFA327C668}"/>
              </a:ext>
            </a:extLst>
          </p:cNvPr>
          <p:cNvSpPr/>
          <p:nvPr/>
        </p:nvSpPr>
        <p:spPr bwMode="gray">
          <a:xfrm>
            <a:off x="6157400" y="3905851"/>
            <a:ext cx="1503100" cy="124374"/>
          </a:xfrm>
          <a:prstGeom prst="rect">
            <a:avLst/>
          </a:prstGeom>
          <a:noFill/>
          <a:ln w="19050" algn="ctr">
            <a:noFill/>
            <a:miter lim="800000"/>
            <a:headEnd/>
            <a:tailEnd/>
          </a:ln>
        </p:spPr>
        <p:txBody>
          <a:bodyPr wrap="square" lIns="83313" tIns="83313" rIns="83313" bIns="83313" rtlCol="0" anchor="ctr"/>
          <a:lstStyle/>
          <a:p>
            <a:pPr marL="0" marR="0" lvl="0" indent="0" algn="ctr" defTabSz="671718" rtl="0" eaLnBrk="1" fontAlgn="base" latinLnBrk="0" hangingPunct="1">
              <a:lnSpc>
                <a:spcPct val="106000"/>
              </a:lnSpc>
              <a:spcBef>
                <a:spcPct val="0"/>
              </a:spcBef>
              <a:spcAft>
                <a:spcPct val="0"/>
              </a:spcAft>
              <a:buClrTx/>
              <a:buSzTx/>
              <a:buFontTx/>
              <a:buNone/>
              <a:tabLst/>
              <a:defRPr/>
            </a:pPr>
            <a:r>
              <a:rPr kumimoji="0" lang="en-US" sz="843" b="0" i="0" u="none" strike="noStrike" kern="1200" cap="none" spc="0" normalizeH="0" baseline="0" noProof="0" dirty="0">
                <a:ln>
                  <a:noFill/>
                </a:ln>
                <a:solidFill>
                  <a:srgbClr val="343434"/>
                </a:solidFill>
                <a:effectLst/>
                <a:uLnTx/>
                <a:uFillTx/>
                <a:ea typeface="ヒラギノ角ゴ ProN W3" charset="0"/>
                <a:cs typeface="+mn-cs"/>
                <a:sym typeface="Gotham Book" charset="0"/>
              </a:rPr>
              <a:t>Creative visualizations</a:t>
            </a:r>
          </a:p>
        </p:txBody>
      </p:sp>
      <p:sp>
        <p:nvSpPr>
          <p:cNvPr id="35" name="Rectangle 34">
            <a:extLst>
              <a:ext uri="{FF2B5EF4-FFF2-40B4-BE49-F238E27FC236}">
                <a16:creationId xmlns:a16="http://schemas.microsoft.com/office/drawing/2014/main" id="{B15E67C8-906C-4ED1-B9BC-95ED101F1577}"/>
              </a:ext>
            </a:extLst>
          </p:cNvPr>
          <p:cNvSpPr/>
          <p:nvPr/>
        </p:nvSpPr>
        <p:spPr bwMode="gray">
          <a:xfrm>
            <a:off x="6168809" y="4586040"/>
            <a:ext cx="1503100" cy="124374"/>
          </a:xfrm>
          <a:prstGeom prst="rect">
            <a:avLst/>
          </a:prstGeom>
          <a:noFill/>
          <a:ln w="19050" algn="ctr">
            <a:noFill/>
            <a:miter lim="800000"/>
            <a:headEnd/>
            <a:tailEnd/>
          </a:ln>
        </p:spPr>
        <p:txBody>
          <a:bodyPr wrap="square" lIns="83313" tIns="83313" rIns="83313" bIns="83313" rtlCol="0" anchor="ctr"/>
          <a:lstStyle/>
          <a:p>
            <a:pPr marL="0" marR="0" lvl="0" indent="0" algn="ctr" defTabSz="671718" rtl="0" eaLnBrk="1" fontAlgn="base" latinLnBrk="0" hangingPunct="1">
              <a:lnSpc>
                <a:spcPct val="106000"/>
              </a:lnSpc>
              <a:spcBef>
                <a:spcPct val="0"/>
              </a:spcBef>
              <a:spcAft>
                <a:spcPct val="0"/>
              </a:spcAft>
              <a:buClrTx/>
              <a:buSzTx/>
              <a:buFontTx/>
              <a:buNone/>
              <a:tabLst/>
              <a:defRPr/>
            </a:pPr>
            <a:r>
              <a:rPr kumimoji="0" lang="en-US" sz="843" b="0" i="0" u="none" strike="noStrike" kern="1200" cap="none" spc="0" normalizeH="0" baseline="0" noProof="0" dirty="0">
                <a:ln>
                  <a:noFill/>
                </a:ln>
                <a:solidFill>
                  <a:srgbClr val="343434"/>
                </a:solidFill>
                <a:effectLst/>
                <a:uLnTx/>
                <a:uFillTx/>
                <a:ea typeface="ヒラギノ角ゴ ProN W3" charset="0"/>
                <a:cs typeface="+mn-cs"/>
                <a:sym typeface="Gotham Book" charset="0"/>
              </a:rPr>
              <a:t>Millennial ideation</a:t>
            </a:r>
          </a:p>
        </p:txBody>
      </p:sp>
      <p:sp>
        <p:nvSpPr>
          <p:cNvPr id="36" name="Rectangle 35">
            <a:extLst>
              <a:ext uri="{FF2B5EF4-FFF2-40B4-BE49-F238E27FC236}">
                <a16:creationId xmlns:a16="http://schemas.microsoft.com/office/drawing/2014/main" id="{6DF3C9C6-D343-4A41-8259-C29DA527643A}"/>
              </a:ext>
            </a:extLst>
          </p:cNvPr>
          <p:cNvSpPr/>
          <p:nvPr/>
        </p:nvSpPr>
        <p:spPr bwMode="gray">
          <a:xfrm>
            <a:off x="6137788" y="5326054"/>
            <a:ext cx="1503100" cy="124374"/>
          </a:xfrm>
          <a:prstGeom prst="rect">
            <a:avLst/>
          </a:prstGeom>
          <a:noFill/>
          <a:ln w="19050" algn="ctr">
            <a:noFill/>
            <a:miter lim="800000"/>
            <a:headEnd/>
            <a:tailEnd/>
          </a:ln>
        </p:spPr>
        <p:txBody>
          <a:bodyPr wrap="square" lIns="83313" tIns="83313" rIns="83313" bIns="83313" rtlCol="0" anchor="ctr"/>
          <a:lstStyle/>
          <a:p>
            <a:pPr marL="0" marR="0" lvl="0" indent="0" algn="ctr" defTabSz="671718" rtl="0" eaLnBrk="1" fontAlgn="base" latinLnBrk="0" hangingPunct="1">
              <a:lnSpc>
                <a:spcPct val="106000"/>
              </a:lnSpc>
              <a:spcBef>
                <a:spcPct val="0"/>
              </a:spcBef>
              <a:spcAft>
                <a:spcPct val="0"/>
              </a:spcAft>
              <a:buClrTx/>
              <a:buSzTx/>
              <a:buFontTx/>
              <a:buNone/>
              <a:tabLst/>
              <a:defRPr/>
            </a:pPr>
            <a:r>
              <a:rPr kumimoji="0" lang="en-US" sz="843" b="0" i="0" u="none" strike="noStrike" kern="1200" cap="none" spc="0" normalizeH="0" baseline="0" noProof="0" dirty="0">
                <a:ln>
                  <a:noFill/>
                </a:ln>
                <a:solidFill>
                  <a:srgbClr val="343434"/>
                </a:solidFill>
                <a:effectLst/>
                <a:uLnTx/>
                <a:uFillTx/>
                <a:ea typeface="ヒラギノ角ゴ ProN W3" charset="0"/>
                <a:cs typeface="+mn-cs"/>
                <a:sym typeface="Gotham Book" charset="0"/>
              </a:rPr>
              <a:t>Video creation</a:t>
            </a:r>
          </a:p>
        </p:txBody>
      </p:sp>
      <p:sp>
        <p:nvSpPr>
          <p:cNvPr id="37" name="Rectangle 36">
            <a:extLst>
              <a:ext uri="{FF2B5EF4-FFF2-40B4-BE49-F238E27FC236}">
                <a16:creationId xmlns:a16="http://schemas.microsoft.com/office/drawing/2014/main" id="{09E1E2E7-E9B0-482D-AC5A-514BA0E9BCC7}"/>
              </a:ext>
            </a:extLst>
          </p:cNvPr>
          <p:cNvSpPr/>
          <p:nvPr/>
        </p:nvSpPr>
        <p:spPr bwMode="gray">
          <a:xfrm>
            <a:off x="6154049" y="6037924"/>
            <a:ext cx="1503100" cy="124374"/>
          </a:xfrm>
          <a:prstGeom prst="rect">
            <a:avLst/>
          </a:prstGeom>
          <a:noFill/>
          <a:ln w="19050" algn="ctr">
            <a:noFill/>
            <a:miter lim="800000"/>
            <a:headEnd/>
            <a:tailEnd/>
          </a:ln>
        </p:spPr>
        <p:txBody>
          <a:bodyPr wrap="square" lIns="83313" tIns="83313" rIns="83313" bIns="83313" rtlCol="0" anchor="ctr"/>
          <a:lstStyle/>
          <a:p>
            <a:pPr marL="0" marR="0" lvl="0" indent="0" algn="ctr" defTabSz="671718" rtl="0" eaLnBrk="1" fontAlgn="base" latinLnBrk="0" hangingPunct="1">
              <a:lnSpc>
                <a:spcPct val="106000"/>
              </a:lnSpc>
              <a:spcBef>
                <a:spcPct val="0"/>
              </a:spcBef>
              <a:spcAft>
                <a:spcPct val="0"/>
              </a:spcAft>
              <a:buClrTx/>
              <a:buSzTx/>
              <a:buFontTx/>
              <a:buNone/>
              <a:tabLst/>
              <a:defRPr/>
            </a:pPr>
            <a:r>
              <a:rPr kumimoji="0" lang="en-US" sz="843" b="0" i="0" u="none" strike="noStrike" kern="1200" cap="none" spc="0" normalizeH="0" baseline="0" noProof="0" dirty="0">
                <a:ln>
                  <a:noFill/>
                </a:ln>
                <a:solidFill>
                  <a:srgbClr val="343434"/>
                </a:solidFill>
                <a:effectLst/>
                <a:uLnTx/>
                <a:uFillTx/>
                <a:ea typeface="ヒラギノ角ゴ ProN W3" charset="0"/>
                <a:cs typeface="+mn-cs"/>
                <a:sym typeface="Gotham Book" charset="0"/>
              </a:rPr>
              <a:t>Industrial design</a:t>
            </a:r>
          </a:p>
        </p:txBody>
      </p:sp>
      <p:sp>
        <p:nvSpPr>
          <p:cNvPr id="38" name="Rectangle 37">
            <a:extLst>
              <a:ext uri="{FF2B5EF4-FFF2-40B4-BE49-F238E27FC236}">
                <a16:creationId xmlns:a16="http://schemas.microsoft.com/office/drawing/2014/main" id="{6AB5EB9E-B843-41E2-9155-FE2C096A17B6}"/>
              </a:ext>
            </a:extLst>
          </p:cNvPr>
          <p:cNvSpPr/>
          <p:nvPr/>
        </p:nvSpPr>
        <p:spPr bwMode="gray">
          <a:xfrm>
            <a:off x="7835162" y="4569503"/>
            <a:ext cx="1366455" cy="124374"/>
          </a:xfrm>
          <a:prstGeom prst="rect">
            <a:avLst/>
          </a:prstGeom>
          <a:noFill/>
          <a:ln w="19050" algn="ctr">
            <a:noFill/>
            <a:miter lim="800000"/>
            <a:headEnd/>
            <a:tailEnd/>
          </a:ln>
        </p:spPr>
        <p:txBody>
          <a:bodyPr wrap="square" lIns="83313" tIns="83313" rIns="83313" bIns="83313" rtlCol="0" anchor="ctr"/>
          <a:lstStyle/>
          <a:p>
            <a:pPr marL="0" marR="0" lvl="0" indent="0" algn="ctr" defTabSz="671718" rtl="0" eaLnBrk="1" fontAlgn="base" latinLnBrk="0" hangingPunct="1">
              <a:lnSpc>
                <a:spcPct val="106000"/>
              </a:lnSpc>
              <a:spcBef>
                <a:spcPct val="0"/>
              </a:spcBef>
              <a:spcAft>
                <a:spcPct val="0"/>
              </a:spcAft>
              <a:buClrTx/>
              <a:buSzTx/>
              <a:buFontTx/>
              <a:buNone/>
              <a:tabLst/>
              <a:defRPr/>
            </a:pPr>
            <a:r>
              <a:rPr kumimoji="0" lang="en-US" sz="843" b="0" i="0" u="none" strike="noStrike" kern="1200" cap="none" spc="0" normalizeH="0" baseline="0" noProof="0" dirty="0">
                <a:ln>
                  <a:noFill/>
                </a:ln>
                <a:solidFill>
                  <a:srgbClr val="343434"/>
                </a:solidFill>
                <a:effectLst/>
                <a:uLnTx/>
                <a:uFillTx/>
                <a:ea typeface="ヒラギノ角ゴ ProN W3" charset="0"/>
                <a:cs typeface="+mn-cs"/>
                <a:sym typeface="Gotham Book" charset="0"/>
              </a:rPr>
              <a:t>Data science competitions</a:t>
            </a:r>
          </a:p>
        </p:txBody>
      </p:sp>
      <p:sp>
        <p:nvSpPr>
          <p:cNvPr id="39" name="Rectangle 38">
            <a:extLst>
              <a:ext uri="{FF2B5EF4-FFF2-40B4-BE49-F238E27FC236}">
                <a16:creationId xmlns:a16="http://schemas.microsoft.com/office/drawing/2014/main" id="{01B34B4C-5493-4D3E-B40A-A54D1A173F70}"/>
              </a:ext>
            </a:extLst>
          </p:cNvPr>
          <p:cNvSpPr/>
          <p:nvPr/>
        </p:nvSpPr>
        <p:spPr bwMode="gray">
          <a:xfrm>
            <a:off x="7799340" y="5509066"/>
            <a:ext cx="1503100" cy="124374"/>
          </a:xfrm>
          <a:prstGeom prst="rect">
            <a:avLst/>
          </a:prstGeom>
          <a:noFill/>
          <a:ln w="19050" algn="ctr">
            <a:noFill/>
            <a:miter lim="800000"/>
            <a:headEnd/>
            <a:tailEnd/>
          </a:ln>
        </p:spPr>
        <p:txBody>
          <a:bodyPr wrap="square" lIns="83313" tIns="83313" rIns="83313" bIns="83313" rtlCol="0" anchor="ctr"/>
          <a:lstStyle/>
          <a:p>
            <a:pPr marL="0" marR="0" lvl="0" indent="0" algn="ctr" defTabSz="671718" rtl="0" eaLnBrk="1" fontAlgn="base" latinLnBrk="0" hangingPunct="1">
              <a:lnSpc>
                <a:spcPct val="106000"/>
              </a:lnSpc>
              <a:spcBef>
                <a:spcPct val="0"/>
              </a:spcBef>
              <a:spcAft>
                <a:spcPct val="0"/>
              </a:spcAft>
              <a:buClrTx/>
              <a:buSzTx/>
              <a:buFontTx/>
              <a:buNone/>
              <a:tabLst/>
              <a:defRPr/>
            </a:pPr>
            <a:r>
              <a:rPr kumimoji="0" lang="en-US" sz="843" b="0" i="0" u="none" strike="noStrike" kern="1200" cap="none" spc="0" normalizeH="0" baseline="0" noProof="0" dirty="0">
                <a:ln>
                  <a:noFill/>
                </a:ln>
                <a:solidFill>
                  <a:srgbClr val="343434"/>
                </a:solidFill>
                <a:effectLst/>
                <a:uLnTx/>
                <a:uFillTx/>
                <a:ea typeface="ヒラギノ角ゴ ProN W3" charset="0"/>
                <a:cs typeface="+mn-cs"/>
                <a:sym typeface="Gotham Book" charset="0"/>
              </a:rPr>
              <a:t>Data science competitions</a:t>
            </a:r>
          </a:p>
        </p:txBody>
      </p:sp>
      <p:sp>
        <p:nvSpPr>
          <p:cNvPr id="40" name="Rectangle 39">
            <a:extLst>
              <a:ext uri="{FF2B5EF4-FFF2-40B4-BE49-F238E27FC236}">
                <a16:creationId xmlns:a16="http://schemas.microsoft.com/office/drawing/2014/main" id="{8BBBB26B-9049-4E90-A774-977917F80C08}"/>
              </a:ext>
            </a:extLst>
          </p:cNvPr>
          <p:cNvSpPr/>
          <p:nvPr/>
        </p:nvSpPr>
        <p:spPr bwMode="gray">
          <a:xfrm>
            <a:off x="9524626" y="3940903"/>
            <a:ext cx="1503100" cy="124374"/>
          </a:xfrm>
          <a:prstGeom prst="rect">
            <a:avLst/>
          </a:prstGeom>
          <a:noFill/>
          <a:ln w="19050" algn="ctr">
            <a:noFill/>
            <a:miter lim="800000"/>
            <a:headEnd/>
            <a:tailEnd/>
          </a:ln>
        </p:spPr>
        <p:txBody>
          <a:bodyPr wrap="square" lIns="83313" tIns="83313" rIns="83313" bIns="83313" rtlCol="0" anchor="ctr"/>
          <a:lstStyle/>
          <a:p>
            <a:pPr marL="0" marR="0" lvl="0" indent="0" algn="ctr" defTabSz="671718" rtl="0" eaLnBrk="1" fontAlgn="base" latinLnBrk="0" hangingPunct="1">
              <a:lnSpc>
                <a:spcPct val="106000"/>
              </a:lnSpc>
              <a:spcBef>
                <a:spcPct val="0"/>
              </a:spcBef>
              <a:spcAft>
                <a:spcPct val="0"/>
              </a:spcAft>
              <a:buClrTx/>
              <a:buSzTx/>
              <a:buFontTx/>
              <a:buNone/>
              <a:tabLst/>
              <a:defRPr/>
            </a:pPr>
            <a:r>
              <a:rPr kumimoji="0" lang="en-US" sz="843" b="0" i="0" u="none" strike="noStrike" kern="1200" cap="none" spc="0" normalizeH="0" baseline="0" noProof="0" dirty="0">
                <a:ln>
                  <a:noFill/>
                </a:ln>
                <a:solidFill>
                  <a:srgbClr val="343434"/>
                </a:solidFill>
                <a:effectLst/>
                <a:uLnTx/>
                <a:uFillTx/>
                <a:ea typeface="ヒラギノ角ゴ ProN W3" charset="0"/>
                <a:cs typeface="+mn-cs"/>
                <a:sym typeface="Gotham Book" charset="0"/>
              </a:rPr>
              <a:t>Design competitions</a:t>
            </a:r>
          </a:p>
        </p:txBody>
      </p:sp>
      <p:sp>
        <p:nvSpPr>
          <p:cNvPr id="41" name="Rectangle 40">
            <a:extLst>
              <a:ext uri="{FF2B5EF4-FFF2-40B4-BE49-F238E27FC236}">
                <a16:creationId xmlns:a16="http://schemas.microsoft.com/office/drawing/2014/main" id="{19835BF2-9483-480A-94F8-B3F2AF7BF84C}"/>
              </a:ext>
            </a:extLst>
          </p:cNvPr>
          <p:cNvSpPr/>
          <p:nvPr/>
        </p:nvSpPr>
        <p:spPr bwMode="gray">
          <a:xfrm>
            <a:off x="9416441" y="4808450"/>
            <a:ext cx="1653410" cy="124374"/>
          </a:xfrm>
          <a:prstGeom prst="rect">
            <a:avLst/>
          </a:prstGeom>
          <a:noFill/>
          <a:ln w="19050" algn="ctr">
            <a:noFill/>
            <a:miter lim="800000"/>
            <a:headEnd/>
            <a:tailEnd/>
          </a:ln>
        </p:spPr>
        <p:txBody>
          <a:bodyPr wrap="square" lIns="83313" tIns="83313" rIns="83313" bIns="83313" rtlCol="0" anchor="ctr"/>
          <a:lstStyle/>
          <a:p>
            <a:pPr marL="0" marR="0" lvl="0" indent="0" algn="ctr" defTabSz="671718" rtl="0" eaLnBrk="1" fontAlgn="base" latinLnBrk="0" hangingPunct="1">
              <a:lnSpc>
                <a:spcPct val="106000"/>
              </a:lnSpc>
              <a:spcBef>
                <a:spcPct val="0"/>
              </a:spcBef>
              <a:spcAft>
                <a:spcPct val="0"/>
              </a:spcAft>
              <a:buClrTx/>
              <a:buSzTx/>
              <a:buFontTx/>
              <a:buNone/>
              <a:tabLst/>
              <a:defRPr/>
            </a:pPr>
            <a:r>
              <a:rPr kumimoji="0" lang="en-US" sz="843" b="0" i="0" u="none" strike="noStrike" kern="1200" cap="none" spc="0" normalizeH="0" baseline="0" noProof="0" dirty="0">
                <a:ln>
                  <a:noFill/>
                </a:ln>
                <a:solidFill>
                  <a:srgbClr val="343434"/>
                </a:solidFill>
                <a:effectLst/>
                <a:uLnTx/>
                <a:uFillTx/>
                <a:ea typeface="ヒラギノ角ゴ ProN W3" charset="0"/>
                <a:cs typeface="+mn-cs"/>
                <a:sym typeface="Gotham Book" charset="0"/>
              </a:rPr>
              <a:t>Design and development</a:t>
            </a:r>
          </a:p>
        </p:txBody>
      </p:sp>
      <p:sp>
        <p:nvSpPr>
          <p:cNvPr id="42" name="Rectangle 41">
            <a:extLst>
              <a:ext uri="{FF2B5EF4-FFF2-40B4-BE49-F238E27FC236}">
                <a16:creationId xmlns:a16="http://schemas.microsoft.com/office/drawing/2014/main" id="{14C3DDAC-C0CD-4671-B433-C26FA4B31633}"/>
              </a:ext>
            </a:extLst>
          </p:cNvPr>
          <p:cNvSpPr/>
          <p:nvPr/>
        </p:nvSpPr>
        <p:spPr bwMode="gray">
          <a:xfrm>
            <a:off x="9486547" y="5619261"/>
            <a:ext cx="1503100" cy="124374"/>
          </a:xfrm>
          <a:prstGeom prst="rect">
            <a:avLst/>
          </a:prstGeom>
          <a:noFill/>
          <a:ln w="19050" algn="ctr">
            <a:noFill/>
            <a:miter lim="800000"/>
            <a:headEnd/>
            <a:tailEnd/>
          </a:ln>
        </p:spPr>
        <p:txBody>
          <a:bodyPr wrap="square" lIns="83313" tIns="83313" rIns="83313" bIns="83313" rtlCol="0" anchor="ctr"/>
          <a:lstStyle/>
          <a:p>
            <a:pPr marL="0" marR="0" lvl="0" indent="0" algn="ctr" defTabSz="671718" rtl="0" eaLnBrk="1" fontAlgn="base" latinLnBrk="0" hangingPunct="1">
              <a:lnSpc>
                <a:spcPct val="106000"/>
              </a:lnSpc>
              <a:spcBef>
                <a:spcPct val="0"/>
              </a:spcBef>
              <a:spcAft>
                <a:spcPct val="0"/>
              </a:spcAft>
              <a:buClrTx/>
              <a:buSzTx/>
              <a:buFontTx/>
              <a:buNone/>
              <a:tabLst/>
              <a:defRPr/>
            </a:pPr>
            <a:r>
              <a:rPr kumimoji="0" lang="en-US" sz="843" b="0" i="0" u="none" strike="noStrike" kern="1200" cap="none" spc="0" normalizeH="0" baseline="0" noProof="0" dirty="0">
                <a:ln>
                  <a:noFill/>
                </a:ln>
                <a:solidFill>
                  <a:srgbClr val="343434"/>
                </a:solidFill>
                <a:effectLst/>
                <a:uLnTx/>
                <a:uFillTx/>
                <a:ea typeface="ヒラギノ角ゴ ProN W3" charset="0"/>
                <a:cs typeface="+mn-cs"/>
                <a:sym typeface="Gotham Book" charset="0"/>
              </a:rPr>
              <a:t>Digital testing</a:t>
            </a:r>
          </a:p>
        </p:txBody>
      </p:sp>
      <p:sp>
        <p:nvSpPr>
          <p:cNvPr id="43" name="Content Placeholder 2">
            <a:extLst>
              <a:ext uri="{FF2B5EF4-FFF2-40B4-BE49-F238E27FC236}">
                <a16:creationId xmlns:a16="http://schemas.microsoft.com/office/drawing/2014/main" id="{A40A5654-6181-410B-83E7-F3EB871362B7}"/>
              </a:ext>
            </a:extLst>
          </p:cNvPr>
          <p:cNvSpPr txBox="1">
            <a:spLocks/>
          </p:cNvSpPr>
          <p:nvPr/>
        </p:nvSpPr>
        <p:spPr>
          <a:xfrm>
            <a:off x="1117751" y="3119013"/>
            <a:ext cx="1613436" cy="253133"/>
          </a:xfrm>
          <a:prstGeom prst="rect">
            <a:avLst/>
          </a:prstGeom>
        </p:spPr>
        <p:txBody>
          <a:bodyPr vert="horz" lIns="62947" tIns="31473" rIns="62947" bIns="31473" rtlCol="0">
            <a:noAutofit/>
          </a:bodyPr>
          <a:lstStyle>
            <a:lvl1pPr marL="0" indent="0" algn="l" defTabSz="1166592" rtl="0" eaLnBrk="1" latinLnBrk="0" hangingPunct="1">
              <a:lnSpc>
                <a:spcPct val="100000"/>
              </a:lnSpc>
              <a:spcBef>
                <a:spcPts val="1276"/>
              </a:spcBef>
              <a:buClr>
                <a:schemeClr val="accent5"/>
              </a:buClr>
              <a:buSzPct val="75000"/>
              <a:buFont typeface="Arial" panose="020B0604020202020204" pitchFamily="34" charset="0"/>
              <a:buNone/>
              <a:defRPr sz="2552" kern="1200">
                <a:solidFill>
                  <a:schemeClr val="bg1">
                    <a:lumMod val="65000"/>
                  </a:schemeClr>
                </a:solidFill>
                <a:latin typeface="+mn-lt"/>
                <a:ea typeface="+mn-ea"/>
                <a:cs typeface="+mn-cs"/>
              </a:defRPr>
            </a:lvl1pPr>
            <a:lvl2pPr marL="583296" indent="0" algn="ctr" defTabSz="1166592" rtl="0" eaLnBrk="1" latinLnBrk="0" hangingPunct="1">
              <a:lnSpc>
                <a:spcPct val="100000"/>
              </a:lnSpc>
              <a:spcBef>
                <a:spcPts val="638"/>
              </a:spcBef>
              <a:buClr>
                <a:schemeClr val="accent5"/>
              </a:buClr>
              <a:buSzPct val="75000"/>
              <a:buFont typeface="Arial" panose="020B0604020202020204" pitchFamily="34" charset="0"/>
              <a:buNone/>
              <a:defRPr sz="2552" kern="1200">
                <a:solidFill>
                  <a:schemeClr val="tx1"/>
                </a:solidFill>
                <a:latin typeface="+mn-lt"/>
                <a:ea typeface="+mn-ea"/>
                <a:cs typeface="+mn-cs"/>
              </a:defRPr>
            </a:lvl2pPr>
            <a:lvl3pPr marL="1166592" indent="0" algn="ctr" defTabSz="1166592" rtl="0" eaLnBrk="1" latinLnBrk="0" hangingPunct="1">
              <a:lnSpc>
                <a:spcPct val="100000"/>
              </a:lnSpc>
              <a:spcBef>
                <a:spcPts val="638"/>
              </a:spcBef>
              <a:buClr>
                <a:schemeClr val="accent5"/>
              </a:buClr>
              <a:buSzPct val="75000"/>
              <a:buFont typeface="Arial" panose="020B0604020202020204" pitchFamily="34" charset="0"/>
              <a:buNone/>
              <a:defRPr sz="2296" kern="1200">
                <a:solidFill>
                  <a:schemeClr val="tx1"/>
                </a:solidFill>
                <a:latin typeface="+mn-lt"/>
                <a:ea typeface="+mn-ea"/>
                <a:cs typeface="+mn-cs"/>
              </a:defRPr>
            </a:lvl3pPr>
            <a:lvl4pPr marL="1749887" indent="0" algn="ctr" defTabSz="1166592" rtl="0" eaLnBrk="1" latinLnBrk="0" hangingPunct="1">
              <a:lnSpc>
                <a:spcPct val="100000"/>
              </a:lnSpc>
              <a:spcBef>
                <a:spcPts val="638"/>
              </a:spcBef>
              <a:buClr>
                <a:schemeClr val="accent5"/>
              </a:buClr>
              <a:buSzPct val="75000"/>
              <a:buFont typeface="Arial" panose="020B0604020202020204" pitchFamily="34" charset="0"/>
              <a:buNone/>
              <a:defRPr sz="2041" kern="1200">
                <a:solidFill>
                  <a:schemeClr val="tx1"/>
                </a:solidFill>
                <a:latin typeface="+mn-lt"/>
                <a:ea typeface="+mn-ea"/>
                <a:cs typeface="+mn-cs"/>
              </a:defRPr>
            </a:lvl4pPr>
            <a:lvl5pPr marL="2333183" indent="0" algn="ctr" defTabSz="1166592" rtl="0" eaLnBrk="1" latinLnBrk="0" hangingPunct="1">
              <a:lnSpc>
                <a:spcPct val="100000"/>
              </a:lnSpc>
              <a:spcBef>
                <a:spcPts val="638"/>
              </a:spcBef>
              <a:buClr>
                <a:schemeClr val="accent5"/>
              </a:buClr>
              <a:buSzPct val="75000"/>
              <a:buFont typeface="Arial" panose="020B0604020202020204" pitchFamily="34" charset="0"/>
              <a:buNone/>
              <a:defRPr sz="2041" kern="1200">
                <a:solidFill>
                  <a:schemeClr val="tx1"/>
                </a:solidFill>
                <a:latin typeface="+mn-lt"/>
                <a:ea typeface="+mn-ea"/>
                <a:cs typeface="+mn-cs"/>
              </a:defRPr>
            </a:lvl5pPr>
            <a:lvl6pPr marL="2916479" indent="0" algn="ctr" defTabSz="1166592" rtl="0" eaLnBrk="1" latinLnBrk="0" hangingPunct="1">
              <a:lnSpc>
                <a:spcPct val="90000"/>
              </a:lnSpc>
              <a:spcBef>
                <a:spcPts val="638"/>
              </a:spcBef>
              <a:buFont typeface="Arial" panose="020B0604020202020204" pitchFamily="34" charset="0"/>
              <a:buNone/>
              <a:defRPr sz="2041" kern="1200">
                <a:solidFill>
                  <a:schemeClr val="tx1"/>
                </a:solidFill>
                <a:latin typeface="+mn-lt"/>
                <a:ea typeface="+mn-ea"/>
                <a:cs typeface="+mn-cs"/>
              </a:defRPr>
            </a:lvl6pPr>
            <a:lvl7pPr marL="3499775" indent="0" algn="ctr" defTabSz="1166592" rtl="0" eaLnBrk="1" latinLnBrk="0" hangingPunct="1">
              <a:lnSpc>
                <a:spcPct val="90000"/>
              </a:lnSpc>
              <a:spcBef>
                <a:spcPts val="638"/>
              </a:spcBef>
              <a:buFont typeface="Arial" panose="020B0604020202020204" pitchFamily="34" charset="0"/>
              <a:buNone/>
              <a:defRPr sz="2041" kern="1200">
                <a:solidFill>
                  <a:schemeClr val="tx1"/>
                </a:solidFill>
                <a:latin typeface="+mn-lt"/>
                <a:ea typeface="+mn-ea"/>
                <a:cs typeface="+mn-cs"/>
              </a:defRPr>
            </a:lvl7pPr>
            <a:lvl8pPr marL="4083070" indent="0" algn="ctr" defTabSz="1166592" rtl="0" eaLnBrk="1" latinLnBrk="0" hangingPunct="1">
              <a:lnSpc>
                <a:spcPct val="90000"/>
              </a:lnSpc>
              <a:spcBef>
                <a:spcPts val="638"/>
              </a:spcBef>
              <a:buFont typeface="Arial" panose="020B0604020202020204" pitchFamily="34" charset="0"/>
              <a:buNone/>
              <a:defRPr sz="2041" kern="1200">
                <a:solidFill>
                  <a:schemeClr val="tx1"/>
                </a:solidFill>
                <a:latin typeface="+mn-lt"/>
                <a:ea typeface="+mn-ea"/>
                <a:cs typeface="+mn-cs"/>
              </a:defRPr>
            </a:lvl8pPr>
            <a:lvl9pPr marL="4666366" indent="0" algn="ctr" defTabSz="1166592" rtl="0" eaLnBrk="1" latinLnBrk="0" hangingPunct="1">
              <a:lnSpc>
                <a:spcPct val="90000"/>
              </a:lnSpc>
              <a:spcBef>
                <a:spcPts val="638"/>
              </a:spcBef>
              <a:buFont typeface="Arial" panose="020B0604020202020204" pitchFamily="34" charset="0"/>
              <a:buNone/>
              <a:defRPr sz="2041" kern="1200">
                <a:solidFill>
                  <a:schemeClr val="tx1"/>
                </a:solidFill>
                <a:latin typeface="+mn-lt"/>
                <a:ea typeface="+mn-ea"/>
                <a:cs typeface="+mn-cs"/>
              </a:defRPr>
            </a:lvl9pPr>
          </a:lstStyle>
          <a:p>
            <a:pPr marL="0" marR="0" lvl="0" indent="0" algn="l" defTabSz="1093333" rtl="0" eaLnBrk="1" fontAlgn="auto" latinLnBrk="0" hangingPunct="1">
              <a:lnSpc>
                <a:spcPct val="100000"/>
              </a:lnSpc>
              <a:spcBef>
                <a:spcPts val="0"/>
              </a:spcBef>
              <a:spcAft>
                <a:spcPts val="0"/>
              </a:spcAft>
              <a:buClr>
                <a:srgbClr val="0097A9"/>
              </a:buClr>
              <a:buSzPct val="75000"/>
              <a:buFont typeface="Arial" panose="020B0604020202020204" pitchFamily="34" charset="0"/>
              <a:buNone/>
              <a:tabLst/>
              <a:defRPr/>
            </a:pPr>
            <a:r>
              <a:rPr kumimoji="0" lang="en-US" sz="984" b="1" i="1" u="none" strike="noStrike" kern="1200" cap="none" spc="0" normalizeH="0" baseline="0" noProof="0" dirty="0">
                <a:ln>
                  <a:noFill/>
                </a:ln>
                <a:solidFill>
                  <a:prstClr val="black">
                    <a:lumMod val="65000"/>
                    <a:lumOff val="35000"/>
                  </a:prstClr>
                </a:solidFill>
                <a:effectLst/>
                <a:uLnTx/>
                <a:uFillTx/>
                <a:ea typeface="+mn-ea"/>
                <a:cs typeface="+mn-cs"/>
                <a:sym typeface="Gotham Book" charset="0"/>
              </a:rPr>
              <a:t>Learn something</a:t>
            </a:r>
          </a:p>
          <a:p>
            <a:pPr marL="0" marR="0" lvl="0" indent="0" algn="l" defTabSz="1093333" rtl="0" eaLnBrk="1" fontAlgn="auto" latinLnBrk="0" hangingPunct="1">
              <a:lnSpc>
                <a:spcPct val="100000"/>
              </a:lnSpc>
              <a:spcBef>
                <a:spcPts val="0"/>
              </a:spcBef>
              <a:spcAft>
                <a:spcPts val="0"/>
              </a:spcAft>
              <a:buClr>
                <a:srgbClr val="0097A9"/>
              </a:buClr>
              <a:buSzPct val="75000"/>
              <a:buFont typeface="Arial" panose="020B0604020202020204" pitchFamily="34" charset="0"/>
              <a:buNone/>
              <a:tabLst/>
              <a:defRPr/>
            </a:pPr>
            <a:endParaRPr kumimoji="0" lang="en-US" sz="984" b="1" i="1" u="none" strike="noStrike" kern="1200" cap="none" spc="0" normalizeH="0" baseline="0" noProof="0" dirty="0">
              <a:ln>
                <a:noFill/>
              </a:ln>
              <a:solidFill>
                <a:prstClr val="black">
                  <a:lumMod val="65000"/>
                  <a:lumOff val="35000"/>
                </a:prstClr>
              </a:solidFill>
              <a:effectLst/>
              <a:uLnTx/>
              <a:uFillTx/>
              <a:ea typeface="+mn-ea"/>
              <a:cs typeface="+mn-cs"/>
              <a:sym typeface="Gotham Book" charset="0"/>
            </a:endParaRPr>
          </a:p>
          <a:p>
            <a:pPr marL="0" marR="0" lvl="0" indent="0" algn="l" defTabSz="1093333" rtl="0" eaLnBrk="1" fontAlgn="auto" latinLnBrk="0" hangingPunct="1">
              <a:lnSpc>
                <a:spcPct val="100000"/>
              </a:lnSpc>
              <a:spcBef>
                <a:spcPts val="0"/>
              </a:spcBef>
              <a:spcAft>
                <a:spcPts val="0"/>
              </a:spcAft>
              <a:buClr>
                <a:srgbClr val="0097A9"/>
              </a:buClr>
              <a:buSzPct val="75000"/>
              <a:buFont typeface="Arial" panose="020B0604020202020204" pitchFamily="34" charset="0"/>
              <a:buNone/>
              <a:tabLst/>
              <a:defRPr/>
            </a:pPr>
            <a:endParaRPr kumimoji="0" lang="en-US" sz="984" b="1" i="1" u="none" strike="noStrike" kern="1200" cap="none" spc="0" normalizeH="0" baseline="0" noProof="0" dirty="0">
              <a:ln>
                <a:noFill/>
              </a:ln>
              <a:solidFill>
                <a:prstClr val="black">
                  <a:lumMod val="65000"/>
                  <a:lumOff val="35000"/>
                </a:prstClr>
              </a:solidFill>
              <a:effectLst/>
              <a:uLnTx/>
              <a:uFillTx/>
              <a:ea typeface="+mn-ea"/>
              <a:cs typeface="+mn-cs"/>
              <a:sym typeface="Gotham Book" charset="0"/>
            </a:endParaRPr>
          </a:p>
          <a:p>
            <a:pPr marL="0" marR="0" lvl="0" indent="0" algn="l" defTabSz="1093333" rtl="0" eaLnBrk="1" fontAlgn="auto" latinLnBrk="0" hangingPunct="1">
              <a:lnSpc>
                <a:spcPct val="100000"/>
              </a:lnSpc>
              <a:spcBef>
                <a:spcPts val="0"/>
              </a:spcBef>
              <a:spcAft>
                <a:spcPts val="0"/>
              </a:spcAft>
              <a:buClr>
                <a:srgbClr val="0097A9"/>
              </a:buClr>
              <a:buSzPct val="75000"/>
              <a:buFont typeface="Arial" panose="020B0604020202020204" pitchFamily="34" charset="0"/>
              <a:buNone/>
              <a:tabLst/>
              <a:defRPr/>
            </a:pPr>
            <a:endParaRPr kumimoji="0" lang="en-US" sz="984" b="1" i="1" u="none" strike="noStrike" kern="1200" cap="none" spc="0" normalizeH="0" baseline="0" noProof="0" dirty="0">
              <a:ln>
                <a:noFill/>
              </a:ln>
              <a:solidFill>
                <a:prstClr val="black">
                  <a:lumMod val="65000"/>
                  <a:lumOff val="35000"/>
                </a:prstClr>
              </a:solidFill>
              <a:effectLst/>
              <a:uLnTx/>
              <a:uFillTx/>
              <a:ea typeface="+mn-ea"/>
              <a:cs typeface="+mn-cs"/>
              <a:sym typeface="Gotham Book" charset="0"/>
            </a:endParaRPr>
          </a:p>
        </p:txBody>
      </p:sp>
      <p:cxnSp>
        <p:nvCxnSpPr>
          <p:cNvPr id="44" name="Straight Arrow Connector 43">
            <a:extLst>
              <a:ext uri="{FF2B5EF4-FFF2-40B4-BE49-F238E27FC236}">
                <a16:creationId xmlns:a16="http://schemas.microsoft.com/office/drawing/2014/main" id="{A53DD0D0-1BD9-48C9-9E99-3187FA20DA8D}"/>
              </a:ext>
            </a:extLst>
          </p:cNvPr>
          <p:cNvCxnSpPr/>
          <p:nvPr/>
        </p:nvCxnSpPr>
        <p:spPr>
          <a:xfrm flipV="1">
            <a:off x="1095758" y="3097808"/>
            <a:ext cx="9992917" cy="0"/>
          </a:xfrm>
          <a:prstGeom prst="straightConnector1">
            <a:avLst/>
          </a:prstGeom>
          <a:noFill/>
          <a:ln w="19050" cap="flat" cmpd="sng" algn="ctr">
            <a:solidFill>
              <a:schemeClr val="tx1">
                <a:lumMod val="50000"/>
                <a:lumOff val="50000"/>
              </a:schemeClr>
            </a:solidFill>
            <a:prstDash val="solid"/>
            <a:headEnd type="triangle"/>
            <a:tailEnd type="triangle"/>
          </a:ln>
          <a:effectLst/>
        </p:spPr>
      </p:cxnSp>
      <p:sp>
        <p:nvSpPr>
          <p:cNvPr id="45" name="Content Placeholder 2">
            <a:extLst>
              <a:ext uri="{FF2B5EF4-FFF2-40B4-BE49-F238E27FC236}">
                <a16:creationId xmlns:a16="http://schemas.microsoft.com/office/drawing/2014/main" id="{A955CEDC-A5DA-4973-B13C-D099BC0738F5}"/>
              </a:ext>
            </a:extLst>
          </p:cNvPr>
          <p:cNvSpPr txBox="1">
            <a:spLocks/>
          </p:cNvSpPr>
          <p:nvPr/>
        </p:nvSpPr>
        <p:spPr>
          <a:xfrm>
            <a:off x="9313927" y="3119013"/>
            <a:ext cx="1748245" cy="248234"/>
          </a:xfrm>
          <a:prstGeom prst="rect">
            <a:avLst/>
          </a:prstGeom>
        </p:spPr>
        <p:txBody>
          <a:bodyPr vert="horz" lIns="62947" tIns="31473" rIns="62947" bIns="31473" rtlCol="0">
            <a:noAutofit/>
          </a:bodyPr>
          <a:lstStyle>
            <a:lvl1pPr marL="0" indent="0" algn="l" defTabSz="1166592" rtl="0" eaLnBrk="1" latinLnBrk="0" hangingPunct="1">
              <a:lnSpc>
                <a:spcPct val="100000"/>
              </a:lnSpc>
              <a:spcBef>
                <a:spcPts val="1276"/>
              </a:spcBef>
              <a:buClr>
                <a:schemeClr val="accent5"/>
              </a:buClr>
              <a:buSzPct val="75000"/>
              <a:buFont typeface="Arial" panose="020B0604020202020204" pitchFamily="34" charset="0"/>
              <a:buNone/>
              <a:defRPr sz="2552" kern="1200">
                <a:solidFill>
                  <a:schemeClr val="bg1">
                    <a:lumMod val="65000"/>
                  </a:schemeClr>
                </a:solidFill>
                <a:latin typeface="+mn-lt"/>
                <a:ea typeface="+mn-ea"/>
                <a:cs typeface="+mn-cs"/>
              </a:defRPr>
            </a:lvl1pPr>
            <a:lvl2pPr marL="583296" indent="0" algn="ctr" defTabSz="1166592" rtl="0" eaLnBrk="1" latinLnBrk="0" hangingPunct="1">
              <a:lnSpc>
                <a:spcPct val="100000"/>
              </a:lnSpc>
              <a:spcBef>
                <a:spcPts val="638"/>
              </a:spcBef>
              <a:buClr>
                <a:schemeClr val="accent5"/>
              </a:buClr>
              <a:buSzPct val="75000"/>
              <a:buFont typeface="Arial" panose="020B0604020202020204" pitchFamily="34" charset="0"/>
              <a:buNone/>
              <a:defRPr sz="2552" kern="1200">
                <a:solidFill>
                  <a:schemeClr val="tx1"/>
                </a:solidFill>
                <a:latin typeface="+mn-lt"/>
                <a:ea typeface="+mn-ea"/>
                <a:cs typeface="+mn-cs"/>
              </a:defRPr>
            </a:lvl2pPr>
            <a:lvl3pPr marL="1166592" indent="0" algn="ctr" defTabSz="1166592" rtl="0" eaLnBrk="1" latinLnBrk="0" hangingPunct="1">
              <a:lnSpc>
                <a:spcPct val="100000"/>
              </a:lnSpc>
              <a:spcBef>
                <a:spcPts val="638"/>
              </a:spcBef>
              <a:buClr>
                <a:schemeClr val="accent5"/>
              </a:buClr>
              <a:buSzPct val="75000"/>
              <a:buFont typeface="Arial" panose="020B0604020202020204" pitchFamily="34" charset="0"/>
              <a:buNone/>
              <a:defRPr sz="2296" kern="1200">
                <a:solidFill>
                  <a:schemeClr val="tx1"/>
                </a:solidFill>
                <a:latin typeface="+mn-lt"/>
                <a:ea typeface="+mn-ea"/>
                <a:cs typeface="+mn-cs"/>
              </a:defRPr>
            </a:lvl3pPr>
            <a:lvl4pPr marL="1749887" indent="0" algn="ctr" defTabSz="1166592" rtl="0" eaLnBrk="1" latinLnBrk="0" hangingPunct="1">
              <a:lnSpc>
                <a:spcPct val="100000"/>
              </a:lnSpc>
              <a:spcBef>
                <a:spcPts val="638"/>
              </a:spcBef>
              <a:buClr>
                <a:schemeClr val="accent5"/>
              </a:buClr>
              <a:buSzPct val="75000"/>
              <a:buFont typeface="Arial" panose="020B0604020202020204" pitchFamily="34" charset="0"/>
              <a:buNone/>
              <a:defRPr sz="2041" kern="1200">
                <a:solidFill>
                  <a:schemeClr val="tx1"/>
                </a:solidFill>
                <a:latin typeface="+mn-lt"/>
                <a:ea typeface="+mn-ea"/>
                <a:cs typeface="+mn-cs"/>
              </a:defRPr>
            </a:lvl4pPr>
            <a:lvl5pPr marL="2333183" indent="0" algn="ctr" defTabSz="1166592" rtl="0" eaLnBrk="1" latinLnBrk="0" hangingPunct="1">
              <a:lnSpc>
                <a:spcPct val="100000"/>
              </a:lnSpc>
              <a:spcBef>
                <a:spcPts val="638"/>
              </a:spcBef>
              <a:buClr>
                <a:schemeClr val="accent5"/>
              </a:buClr>
              <a:buSzPct val="75000"/>
              <a:buFont typeface="Arial" panose="020B0604020202020204" pitchFamily="34" charset="0"/>
              <a:buNone/>
              <a:defRPr sz="2041" kern="1200">
                <a:solidFill>
                  <a:schemeClr val="tx1"/>
                </a:solidFill>
                <a:latin typeface="+mn-lt"/>
                <a:ea typeface="+mn-ea"/>
                <a:cs typeface="+mn-cs"/>
              </a:defRPr>
            </a:lvl5pPr>
            <a:lvl6pPr marL="2916479" indent="0" algn="ctr" defTabSz="1166592" rtl="0" eaLnBrk="1" latinLnBrk="0" hangingPunct="1">
              <a:lnSpc>
                <a:spcPct val="90000"/>
              </a:lnSpc>
              <a:spcBef>
                <a:spcPts val="638"/>
              </a:spcBef>
              <a:buFont typeface="Arial" panose="020B0604020202020204" pitchFamily="34" charset="0"/>
              <a:buNone/>
              <a:defRPr sz="2041" kern="1200">
                <a:solidFill>
                  <a:schemeClr val="tx1"/>
                </a:solidFill>
                <a:latin typeface="+mn-lt"/>
                <a:ea typeface="+mn-ea"/>
                <a:cs typeface="+mn-cs"/>
              </a:defRPr>
            </a:lvl6pPr>
            <a:lvl7pPr marL="3499775" indent="0" algn="ctr" defTabSz="1166592" rtl="0" eaLnBrk="1" latinLnBrk="0" hangingPunct="1">
              <a:lnSpc>
                <a:spcPct val="90000"/>
              </a:lnSpc>
              <a:spcBef>
                <a:spcPts val="638"/>
              </a:spcBef>
              <a:buFont typeface="Arial" panose="020B0604020202020204" pitchFamily="34" charset="0"/>
              <a:buNone/>
              <a:defRPr sz="2041" kern="1200">
                <a:solidFill>
                  <a:schemeClr val="tx1"/>
                </a:solidFill>
                <a:latin typeface="+mn-lt"/>
                <a:ea typeface="+mn-ea"/>
                <a:cs typeface="+mn-cs"/>
              </a:defRPr>
            </a:lvl7pPr>
            <a:lvl8pPr marL="4083070" indent="0" algn="ctr" defTabSz="1166592" rtl="0" eaLnBrk="1" latinLnBrk="0" hangingPunct="1">
              <a:lnSpc>
                <a:spcPct val="90000"/>
              </a:lnSpc>
              <a:spcBef>
                <a:spcPts val="638"/>
              </a:spcBef>
              <a:buFont typeface="Arial" panose="020B0604020202020204" pitchFamily="34" charset="0"/>
              <a:buNone/>
              <a:defRPr sz="2041" kern="1200">
                <a:solidFill>
                  <a:schemeClr val="tx1"/>
                </a:solidFill>
                <a:latin typeface="+mn-lt"/>
                <a:ea typeface="+mn-ea"/>
                <a:cs typeface="+mn-cs"/>
              </a:defRPr>
            </a:lvl8pPr>
            <a:lvl9pPr marL="4666366" indent="0" algn="ctr" defTabSz="1166592" rtl="0" eaLnBrk="1" latinLnBrk="0" hangingPunct="1">
              <a:lnSpc>
                <a:spcPct val="90000"/>
              </a:lnSpc>
              <a:spcBef>
                <a:spcPts val="638"/>
              </a:spcBef>
              <a:buFont typeface="Arial" panose="020B0604020202020204" pitchFamily="34" charset="0"/>
              <a:buNone/>
              <a:defRPr sz="2041" kern="1200">
                <a:solidFill>
                  <a:schemeClr val="tx1"/>
                </a:solidFill>
                <a:latin typeface="+mn-lt"/>
                <a:ea typeface="+mn-ea"/>
                <a:cs typeface="+mn-cs"/>
              </a:defRPr>
            </a:lvl9pPr>
          </a:lstStyle>
          <a:p>
            <a:pPr marL="0" marR="0" lvl="0" indent="0" algn="r" defTabSz="1093333" rtl="0" eaLnBrk="1" fontAlgn="auto" latinLnBrk="0" hangingPunct="1">
              <a:lnSpc>
                <a:spcPct val="100000"/>
              </a:lnSpc>
              <a:spcBef>
                <a:spcPts val="0"/>
              </a:spcBef>
              <a:spcAft>
                <a:spcPts val="0"/>
              </a:spcAft>
              <a:buClr>
                <a:srgbClr val="0097A9"/>
              </a:buClr>
              <a:buSzPct val="75000"/>
              <a:buFont typeface="Arial" panose="020B0604020202020204" pitchFamily="34" charset="0"/>
              <a:buNone/>
              <a:tabLst/>
              <a:defRPr/>
            </a:pPr>
            <a:r>
              <a:rPr kumimoji="0" lang="en-US" sz="984" b="1" i="1" u="none" strike="noStrike" kern="1200" cap="none" spc="0" normalizeH="0" baseline="0" noProof="0" dirty="0">
                <a:ln>
                  <a:noFill/>
                </a:ln>
                <a:solidFill>
                  <a:prstClr val="black">
                    <a:lumMod val="65000"/>
                    <a:lumOff val="35000"/>
                  </a:prstClr>
                </a:solidFill>
                <a:effectLst/>
                <a:uLnTx/>
                <a:uFillTx/>
                <a:ea typeface="+mn-ea"/>
                <a:cs typeface="+mn-cs"/>
                <a:sym typeface="Gotham Book" charset="0"/>
              </a:rPr>
              <a:t>Build something</a:t>
            </a:r>
          </a:p>
          <a:p>
            <a:pPr marL="0" marR="0" lvl="0" indent="0" algn="r" defTabSz="1093333" rtl="0" eaLnBrk="1" fontAlgn="auto" latinLnBrk="0" hangingPunct="1">
              <a:lnSpc>
                <a:spcPct val="100000"/>
              </a:lnSpc>
              <a:spcBef>
                <a:spcPts val="0"/>
              </a:spcBef>
              <a:spcAft>
                <a:spcPts val="0"/>
              </a:spcAft>
              <a:buClr>
                <a:srgbClr val="0097A9"/>
              </a:buClr>
              <a:buSzPct val="75000"/>
              <a:buFont typeface="Arial" panose="020B0604020202020204" pitchFamily="34" charset="0"/>
              <a:buNone/>
              <a:tabLst/>
              <a:defRPr/>
            </a:pPr>
            <a:endParaRPr kumimoji="0" lang="en-US" sz="984" b="1" i="1" u="none" strike="noStrike" kern="1200" cap="none" spc="0" normalizeH="0" baseline="0" noProof="0" dirty="0">
              <a:ln>
                <a:noFill/>
              </a:ln>
              <a:solidFill>
                <a:prstClr val="black">
                  <a:lumMod val="65000"/>
                  <a:lumOff val="35000"/>
                </a:prstClr>
              </a:solidFill>
              <a:effectLst/>
              <a:uLnTx/>
              <a:uFillTx/>
              <a:ea typeface="+mn-ea"/>
              <a:cs typeface="+mn-cs"/>
              <a:sym typeface="Gotham Book" charset="0"/>
            </a:endParaRPr>
          </a:p>
          <a:p>
            <a:pPr marL="0" marR="0" lvl="0" indent="0" algn="r" defTabSz="1093333" rtl="0" eaLnBrk="1" fontAlgn="auto" latinLnBrk="0" hangingPunct="1">
              <a:lnSpc>
                <a:spcPct val="100000"/>
              </a:lnSpc>
              <a:spcBef>
                <a:spcPts val="0"/>
              </a:spcBef>
              <a:spcAft>
                <a:spcPts val="0"/>
              </a:spcAft>
              <a:buClr>
                <a:srgbClr val="0097A9"/>
              </a:buClr>
              <a:buSzPct val="75000"/>
              <a:buFont typeface="Arial" panose="020B0604020202020204" pitchFamily="34" charset="0"/>
              <a:buNone/>
              <a:tabLst/>
              <a:defRPr/>
            </a:pPr>
            <a:endParaRPr kumimoji="0" lang="en-US" sz="984" b="1" i="1" u="none" strike="noStrike" kern="1200" cap="none" spc="0" normalizeH="0" baseline="0" noProof="0" dirty="0">
              <a:ln>
                <a:noFill/>
              </a:ln>
              <a:solidFill>
                <a:prstClr val="black">
                  <a:lumMod val="65000"/>
                  <a:lumOff val="35000"/>
                </a:prstClr>
              </a:solidFill>
              <a:effectLst/>
              <a:uLnTx/>
              <a:uFillTx/>
              <a:ea typeface="+mn-ea"/>
              <a:cs typeface="+mn-cs"/>
              <a:sym typeface="Gotham Book" charset="0"/>
            </a:endParaRPr>
          </a:p>
          <a:p>
            <a:pPr marL="0" marR="0" lvl="0" indent="0" algn="r" defTabSz="1093333" rtl="0" eaLnBrk="1" fontAlgn="auto" latinLnBrk="0" hangingPunct="1">
              <a:lnSpc>
                <a:spcPct val="100000"/>
              </a:lnSpc>
              <a:spcBef>
                <a:spcPts val="0"/>
              </a:spcBef>
              <a:spcAft>
                <a:spcPts val="0"/>
              </a:spcAft>
              <a:buClr>
                <a:srgbClr val="0097A9"/>
              </a:buClr>
              <a:buSzPct val="75000"/>
              <a:buFont typeface="Arial" panose="020B0604020202020204" pitchFamily="34" charset="0"/>
              <a:buNone/>
              <a:tabLst/>
              <a:defRPr/>
            </a:pPr>
            <a:endParaRPr kumimoji="0" lang="en-US" sz="984" b="1" i="1" u="none" strike="noStrike" kern="1200" cap="none" spc="0" normalizeH="0" baseline="0" noProof="0" dirty="0">
              <a:ln>
                <a:noFill/>
              </a:ln>
              <a:solidFill>
                <a:prstClr val="black">
                  <a:lumMod val="65000"/>
                  <a:lumOff val="35000"/>
                </a:prstClr>
              </a:solidFill>
              <a:effectLst/>
              <a:uLnTx/>
              <a:uFillTx/>
              <a:ea typeface="+mn-ea"/>
              <a:cs typeface="+mn-cs"/>
              <a:sym typeface="Gotham Book" charset="0"/>
            </a:endParaRPr>
          </a:p>
        </p:txBody>
      </p:sp>
      <p:sp>
        <p:nvSpPr>
          <p:cNvPr id="46" name="Rectangle 45">
            <a:extLst>
              <a:ext uri="{FF2B5EF4-FFF2-40B4-BE49-F238E27FC236}">
                <a16:creationId xmlns:a16="http://schemas.microsoft.com/office/drawing/2014/main" id="{3A8A1E03-E30B-4DD1-9FEE-BD23292CB497}"/>
              </a:ext>
            </a:extLst>
          </p:cNvPr>
          <p:cNvSpPr/>
          <p:nvPr/>
        </p:nvSpPr>
        <p:spPr bwMode="gray">
          <a:xfrm>
            <a:off x="1230569" y="2028614"/>
            <a:ext cx="9738561" cy="985469"/>
          </a:xfrm>
          <a:prstGeom prst="rect">
            <a:avLst/>
          </a:prstGeom>
          <a:solidFill>
            <a:sysClr val="window" lastClr="FFFFFF">
              <a:lumMod val="95000"/>
            </a:sysClr>
          </a:solidFill>
          <a:ln w="19050" algn="ctr">
            <a:noFill/>
            <a:miter lim="800000"/>
            <a:headEnd/>
            <a:tailEnd/>
          </a:ln>
        </p:spPr>
        <p:txBody>
          <a:bodyPr wrap="square" lIns="83313" tIns="83313" rIns="83313" bIns="83313" rtlCol="0" anchor="ctr"/>
          <a:lstStyle/>
          <a:p>
            <a:pPr marL="0" marR="0" lvl="0" indent="0" algn="ctr" defTabSz="856978" rtl="0" eaLnBrk="1" fontAlgn="auto" latinLnBrk="0" hangingPunct="1">
              <a:lnSpc>
                <a:spcPct val="106000"/>
              </a:lnSpc>
              <a:spcBef>
                <a:spcPts val="0"/>
              </a:spcBef>
              <a:spcAft>
                <a:spcPts val="0"/>
              </a:spcAft>
              <a:buClrTx/>
              <a:buSzTx/>
              <a:buFontTx/>
              <a:buNone/>
              <a:tabLst/>
              <a:defRPr/>
            </a:pPr>
            <a:endParaRPr kumimoji="0" lang="en-US" sz="1499" b="1" i="0" u="none" strike="noStrike" kern="0" cap="none" spc="0" normalizeH="0" baseline="0" noProof="0" dirty="0">
              <a:ln>
                <a:noFill/>
              </a:ln>
              <a:solidFill>
                <a:prstClr val="white"/>
              </a:solidFill>
              <a:effectLst/>
              <a:uLnTx/>
              <a:uFillTx/>
              <a:ea typeface="ヒラギノ角ゴ ProN W3" charset="0"/>
              <a:cs typeface="+mn-cs"/>
              <a:sym typeface="Gotham Book" charset="0"/>
            </a:endParaRPr>
          </a:p>
        </p:txBody>
      </p:sp>
      <p:grpSp>
        <p:nvGrpSpPr>
          <p:cNvPr id="47" name="Group 862">
            <a:extLst>
              <a:ext uri="{FF2B5EF4-FFF2-40B4-BE49-F238E27FC236}">
                <a16:creationId xmlns:a16="http://schemas.microsoft.com/office/drawing/2014/main" id="{3DFAC7E8-B5DA-4A01-8063-8E516C6AFCCB}"/>
              </a:ext>
            </a:extLst>
          </p:cNvPr>
          <p:cNvGrpSpPr>
            <a:grpSpLocks noChangeAspect="1"/>
          </p:cNvGrpSpPr>
          <p:nvPr/>
        </p:nvGrpSpPr>
        <p:grpSpPr bwMode="auto">
          <a:xfrm>
            <a:off x="9967610" y="2101884"/>
            <a:ext cx="512651" cy="514158"/>
            <a:chOff x="6607" y="3441"/>
            <a:chExt cx="340" cy="341"/>
          </a:xfrm>
          <a:solidFill>
            <a:srgbClr val="012169"/>
          </a:solidFill>
        </p:grpSpPr>
        <p:sp>
          <p:nvSpPr>
            <p:cNvPr id="48" name="Freeform 863">
              <a:extLst>
                <a:ext uri="{FF2B5EF4-FFF2-40B4-BE49-F238E27FC236}">
                  <a16:creationId xmlns:a16="http://schemas.microsoft.com/office/drawing/2014/main" id="{64CE3829-8907-42BB-A684-98713D6A9AC7}"/>
                </a:ext>
              </a:extLst>
            </p:cNvPr>
            <p:cNvSpPr>
              <a:spLocks noEditPoints="1"/>
            </p:cNvSpPr>
            <p:nvPr/>
          </p:nvSpPr>
          <p:spPr bwMode="auto">
            <a:xfrm>
              <a:off x="6607" y="344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49" name="Freeform 864">
              <a:extLst>
                <a:ext uri="{FF2B5EF4-FFF2-40B4-BE49-F238E27FC236}">
                  <a16:creationId xmlns:a16="http://schemas.microsoft.com/office/drawing/2014/main" id="{0823DCB0-45B8-49BD-BA6E-EEA2CDDF9A5C}"/>
                </a:ext>
              </a:extLst>
            </p:cNvPr>
            <p:cNvSpPr>
              <a:spLocks noEditPoints="1"/>
            </p:cNvSpPr>
            <p:nvPr/>
          </p:nvSpPr>
          <p:spPr bwMode="auto">
            <a:xfrm>
              <a:off x="6671" y="3519"/>
              <a:ext cx="198" cy="184"/>
            </a:xfrm>
            <a:custGeom>
              <a:avLst/>
              <a:gdLst>
                <a:gd name="T0" fmla="*/ 256 w 298"/>
                <a:gd name="T1" fmla="*/ 192 h 277"/>
                <a:gd name="T2" fmla="*/ 223 w 298"/>
                <a:gd name="T3" fmla="*/ 208 h 277"/>
                <a:gd name="T4" fmla="*/ 84 w 298"/>
                <a:gd name="T5" fmla="*/ 146 h 277"/>
                <a:gd name="T6" fmla="*/ 85 w 298"/>
                <a:gd name="T7" fmla="*/ 139 h 277"/>
                <a:gd name="T8" fmla="*/ 84 w 298"/>
                <a:gd name="T9" fmla="*/ 131 h 277"/>
                <a:gd name="T10" fmla="*/ 223 w 298"/>
                <a:gd name="T11" fmla="*/ 69 h 277"/>
                <a:gd name="T12" fmla="*/ 256 w 298"/>
                <a:gd name="T13" fmla="*/ 85 h 277"/>
                <a:gd name="T14" fmla="*/ 298 w 298"/>
                <a:gd name="T15" fmla="*/ 43 h 277"/>
                <a:gd name="T16" fmla="*/ 256 w 298"/>
                <a:gd name="T17" fmla="*/ 0 h 277"/>
                <a:gd name="T18" fmla="*/ 213 w 298"/>
                <a:gd name="T19" fmla="*/ 43 h 277"/>
                <a:gd name="T20" fmla="*/ 214 w 298"/>
                <a:gd name="T21" fmla="*/ 50 h 277"/>
                <a:gd name="T22" fmla="*/ 75 w 298"/>
                <a:gd name="T23" fmla="*/ 112 h 277"/>
                <a:gd name="T24" fmla="*/ 42 w 298"/>
                <a:gd name="T25" fmla="*/ 96 h 277"/>
                <a:gd name="T26" fmla="*/ 0 w 298"/>
                <a:gd name="T27" fmla="*/ 139 h 277"/>
                <a:gd name="T28" fmla="*/ 42 w 298"/>
                <a:gd name="T29" fmla="*/ 181 h 277"/>
                <a:gd name="T30" fmla="*/ 75 w 298"/>
                <a:gd name="T31" fmla="*/ 165 h 277"/>
                <a:gd name="T32" fmla="*/ 214 w 298"/>
                <a:gd name="T33" fmla="*/ 227 h 277"/>
                <a:gd name="T34" fmla="*/ 213 w 298"/>
                <a:gd name="T35" fmla="*/ 235 h 277"/>
                <a:gd name="T36" fmla="*/ 256 w 298"/>
                <a:gd name="T37" fmla="*/ 277 h 277"/>
                <a:gd name="T38" fmla="*/ 298 w 298"/>
                <a:gd name="T39" fmla="*/ 235 h 277"/>
                <a:gd name="T40" fmla="*/ 256 w 298"/>
                <a:gd name="T41" fmla="*/ 192 h 277"/>
                <a:gd name="T42" fmla="*/ 256 w 298"/>
                <a:gd name="T43" fmla="*/ 21 h 277"/>
                <a:gd name="T44" fmla="*/ 277 w 298"/>
                <a:gd name="T45" fmla="*/ 43 h 277"/>
                <a:gd name="T46" fmla="*/ 256 w 298"/>
                <a:gd name="T47" fmla="*/ 64 h 277"/>
                <a:gd name="T48" fmla="*/ 234 w 298"/>
                <a:gd name="T49" fmla="*/ 43 h 277"/>
                <a:gd name="T50" fmla="*/ 256 w 298"/>
                <a:gd name="T51" fmla="*/ 21 h 277"/>
                <a:gd name="T52" fmla="*/ 42 w 298"/>
                <a:gd name="T53" fmla="*/ 160 h 277"/>
                <a:gd name="T54" fmla="*/ 21 w 298"/>
                <a:gd name="T55" fmla="*/ 139 h 277"/>
                <a:gd name="T56" fmla="*/ 42 w 298"/>
                <a:gd name="T57" fmla="*/ 117 h 277"/>
                <a:gd name="T58" fmla="*/ 64 w 298"/>
                <a:gd name="T59" fmla="*/ 139 h 277"/>
                <a:gd name="T60" fmla="*/ 42 w 298"/>
                <a:gd name="T61" fmla="*/ 160 h 277"/>
                <a:gd name="T62" fmla="*/ 256 w 298"/>
                <a:gd name="T63" fmla="*/ 256 h 277"/>
                <a:gd name="T64" fmla="*/ 234 w 298"/>
                <a:gd name="T65" fmla="*/ 235 h 277"/>
                <a:gd name="T66" fmla="*/ 256 w 298"/>
                <a:gd name="T67" fmla="*/ 213 h 277"/>
                <a:gd name="T68" fmla="*/ 277 w 298"/>
                <a:gd name="T69" fmla="*/ 235 h 277"/>
                <a:gd name="T70" fmla="*/ 256 w 298"/>
                <a:gd name="T71"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8" h="277">
                  <a:moveTo>
                    <a:pt x="256" y="192"/>
                  </a:moveTo>
                  <a:cubicBezTo>
                    <a:pt x="242" y="192"/>
                    <a:pt x="230" y="198"/>
                    <a:pt x="223" y="208"/>
                  </a:cubicBezTo>
                  <a:cubicBezTo>
                    <a:pt x="84" y="146"/>
                    <a:pt x="84" y="146"/>
                    <a:pt x="84" y="146"/>
                  </a:cubicBezTo>
                  <a:cubicBezTo>
                    <a:pt x="85" y="143"/>
                    <a:pt x="85" y="141"/>
                    <a:pt x="85" y="139"/>
                  </a:cubicBezTo>
                  <a:cubicBezTo>
                    <a:pt x="85" y="136"/>
                    <a:pt x="85" y="134"/>
                    <a:pt x="84" y="131"/>
                  </a:cubicBezTo>
                  <a:cubicBezTo>
                    <a:pt x="223" y="69"/>
                    <a:pt x="223" y="69"/>
                    <a:pt x="223" y="69"/>
                  </a:cubicBezTo>
                  <a:cubicBezTo>
                    <a:pt x="230" y="79"/>
                    <a:pt x="242" y="85"/>
                    <a:pt x="256" y="85"/>
                  </a:cubicBezTo>
                  <a:cubicBezTo>
                    <a:pt x="279" y="85"/>
                    <a:pt x="298" y="66"/>
                    <a:pt x="298" y="43"/>
                  </a:cubicBezTo>
                  <a:cubicBezTo>
                    <a:pt x="298" y="19"/>
                    <a:pt x="279" y="0"/>
                    <a:pt x="256" y="0"/>
                  </a:cubicBezTo>
                  <a:cubicBezTo>
                    <a:pt x="232" y="0"/>
                    <a:pt x="213" y="19"/>
                    <a:pt x="213" y="43"/>
                  </a:cubicBezTo>
                  <a:cubicBezTo>
                    <a:pt x="213" y="45"/>
                    <a:pt x="213" y="48"/>
                    <a:pt x="214" y="50"/>
                  </a:cubicBezTo>
                  <a:cubicBezTo>
                    <a:pt x="75" y="112"/>
                    <a:pt x="75" y="112"/>
                    <a:pt x="75" y="112"/>
                  </a:cubicBezTo>
                  <a:cubicBezTo>
                    <a:pt x="68" y="102"/>
                    <a:pt x="56" y="96"/>
                    <a:pt x="42" y="96"/>
                  </a:cubicBezTo>
                  <a:cubicBezTo>
                    <a:pt x="19" y="96"/>
                    <a:pt x="0" y="115"/>
                    <a:pt x="0" y="139"/>
                  </a:cubicBezTo>
                  <a:cubicBezTo>
                    <a:pt x="0" y="162"/>
                    <a:pt x="19" y="181"/>
                    <a:pt x="42" y="181"/>
                  </a:cubicBezTo>
                  <a:cubicBezTo>
                    <a:pt x="56" y="181"/>
                    <a:pt x="68" y="175"/>
                    <a:pt x="75" y="165"/>
                  </a:cubicBezTo>
                  <a:cubicBezTo>
                    <a:pt x="214" y="227"/>
                    <a:pt x="214" y="227"/>
                    <a:pt x="214" y="227"/>
                  </a:cubicBezTo>
                  <a:cubicBezTo>
                    <a:pt x="213" y="230"/>
                    <a:pt x="213" y="232"/>
                    <a:pt x="213" y="235"/>
                  </a:cubicBezTo>
                  <a:cubicBezTo>
                    <a:pt x="213" y="258"/>
                    <a:pt x="232" y="277"/>
                    <a:pt x="256" y="277"/>
                  </a:cubicBezTo>
                  <a:cubicBezTo>
                    <a:pt x="279" y="277"/>
                    <a:pt x="298" y="258"/>
                    <a:pt x="298" y="235"/>
                  </a:cubicBezTo>
                  <a:cubicBezTo>
                    <a:pt x="298" y="211"/>
                    <a:pt x="279" y="192"/>
                    <a:pt x="256" y="192"/>
                  </a:cubicBezTo>
                  <a:close/>
                  <a:moveTo>
                    <a:pt x="256" y="21"/>
                  </a:moveTo>
                  <a:cubicBezTo>
                    <a:pt x="267" y="21"/>
                    <a:pt x="277" y="31"/>
                    <a:pt x="277" y="43"/>
                  </a:cubicBezTo>
                  <a:cubicBezTo>
                    <a:pt x="277" y="54"/>
                    <a:pt x="267" y="64"/>
                    <a:pt x="256" y="64"/>
                  </a:cubicBezTo>
                  <a:cubicBezTo>
                    <a:pt x="244" y="64"/>
                    <a:pt x="234" y="54"/>
                    <a:pt x="234" y="43"/>
                  </a:cubicBezTo>
                  <a:cubicBezTo>
                    <a:pt x="234" y="31"/>
                    <a:pt x="244" y="21"/>
                    <a:pt x="256" y="21"/>
                  </a:cubicBezTo>
                  <a:close/>
                  <a:moveTo>
                    <a:pt x="42" y="160"/>
                  </a:moveTo>
                  <a:cubicBezTo>
                    <a:pt x="31" y="160"/>
                    <a:pt x="21" y="150"/>
                    <a:pt x="21" y="139"/>
                  </a:cubicBezTo>
                  <a:cubicBezTo>
                    <a:pt x="21" y="127"/>
                    <a:pt x="31" y="117"/>
                    <a:pt x="42" y="117"/>
                  </a:cubicBezTo>
                  <a:cubicBezTo>
                    <a:pt x="54" y="117"/>
                    <a:pt x="64" y="127"/>
                    <a:pt x="64" y="139"/>
                  </a:cubicBezTo>
                  <a:cubicBezTo>
                    <a:pt x="64" y="150"/>
                    <a:pt x="54" y="160"/>
                    <a:pt x="42" y="160"/>
                  </a:cubicBezTo>
                  <a:close/>
                  <a:moveTo>
                    <a:pt x="256" y="256"/>
                  </a:moveTo>
                  <a:cubicBezTo>
                    <a:pt x="244" y="256"/>
                    <a:pt x="234" y="246"/>
                    <a:pt x="234" y="235"/>
                  </a:cubicBezTo>
                  <a:cubicBezTo>
                    <a:pt x="234" y="223"/>
                    <a:pt x="244" y="213"/>
                    <a:pt x="256" y="213"/>
                  </a:cubicBezTo>
                  <a:cubicBezTo>
                    <a:pt x="267" y="213"/>
                    <a:pt x="277" y="223"/>
                    <a:pt x="277" y="235"/>
                  </a:cubicBezTo>
                  <a:cubicBezTo>
                    <a:pt x="277" y="246"/>
                    <a:pt x="267" y="256"/>
                    <a:pt x="256" y="2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dirty="0">
                <a:ln>
                  <a:noFill/>
                </a:ln>
                <a:solidFill>
                  <a:prstClr val="black"/>
                </a:solidFill>
                <a:effectLst/>
                <a:uLnTx/>
                <a:uFillTx/>
                <a:ea typeface="ヒラギノ角ゴ ProN W3" charset="0"/>
                <a:cs typeface="+mn-cs"/>
                <a:sym typeface="Gotham Book" charset="0"/>
              </a:endParaRPr>
            </a:p>
          </p:txBody>
        </p:sp>
      </p:grpSp>
      <p:grpSp>
        <p:nvGrpSpPr>
          <p:cNvPr id="50" name="Group 463">
            <a:extLst>
              <a:ext uri="{FF2B5EF4-FFF2-40B4-BE49-F238E27FC236}">
                <a16:creationId xmlns:a16="http://schemas.microsoft.com/office/drawing/2014/main" id="{F364C628-4884-4C69-BB46-A5129A809F01}"/>
              </a:ext>
            </a:extLst>
          </p:cNvPr>
          <p:cNvGrpSpPr>
            <a:grpSpLocks noChangeAspect="1"/>
          </p:cNvGrpSpPr>
          <p:nvPr/>
        </p:nvGrpSpPr>
        <p:grpSpPr bwMode="auto">
          <a:xfrm>
            <a:off x="8316737" y="2102393"/>
            <a:ext cx="514158" cy="514158"/>
            <a:chOff x="1110" y="1564"/>
            <a:chExt cx="340" cy="340"/>
          </a:xfrm>
          <a:solidFill>
            <a:srgbClr val="007680"/>
          </a:solidFill>
        </p:grpSpPr>
        <p:sp>
          <p:nvSpPr>
            <p:cNvPr id="51" name="Freeform 464">
              <a:extLst>
                <a:ext uri="{FF2B5EF4-FFF2-40B4-BE49-F238E27FC236}">
                  <a16:creationId xmlns:a16="http://schemas.microsoft.com/office/drawing/2014/main" id="{4E94072E-705A-4204-B2A9-96667BE61D24}"/>
                </a:ext>
              </a:extLst>
            </p:cNvPr>
            <p:cNvSpPr>
              <a:spLocks noEditPoints="1"/>
            </p:cNvSpPr>
            <p:nvPr/>
          </p:nvSpPr>
          <p:spPr bwMode="auto">
            <a:xfrm>
              <a:off x="1174" y="1656"/>
              <a:ext cx="212" cy="148"/>
            </a:xfrm>
            <a:custGeom>
              <a:avLst/>
              <a:gdLst>
                <a:gd name="T0" fmla="*/ 277 w 320"/>
                <a:gd name="T1" fmla="*/ 0 h 224"/>
                <a:gd name="T2" fmla="*/ 234 w 320"/>
                <a:gd name="T3" fmla="*/ 43 h 224"/>
                <a:gd name="T4" fmla="*/ 246 w 320"/>
                <a:gd name="T5" fmla="*/ 73 h 224"/>
                <a:gd name="T6" fmla="*/ 204 w 320"/>
                <a:gd name="T7" fmla="*/ 141 h 224"/>
                <a:gd name="T8" fmla="*/ 192 w 320"/>
                <a:gd name="T9" fmla="*/ 139 h 224"/>
                <a:gd name="T10" fmla="*/ 182 w 320"/>
                <a:gd name="T11" fmla="*/ 140 h 224"/>
                <a:gd name="T12" fmla="*/ 146 w 320"/>
                <a:gd name="T13" fmla="*/ 74 h 224"/>
                <a:gd name="T14" fmla="*/ 160 w 320"/>
                <a:gd name="T15" fmla="*/ 43 h 224"/>
                <a:gd name="T16" fmla="*/ 117 w 320"/>
                <a:gd name="T17" fmla="*/ 0 h 224"/>
                <a:gd name="T18" fmla="*/ 74 w 320"/>
                <a:gd name="T19" fmla="*/ 43 h 224"/>
                <a:gd name="T20" fmla="*/ 88 w 320"/>
                <a:gd name="T21" fmla="*/ 74 h 224"/>
                <a:gd name="T22" fmla="*/ 52 w 320"/>
                <a:gd name="T23" fmla="*/ 140 h 224"/>
                <a:gd name="T24" fmla="*/ 42 w 320"/>
                <a:gd name="T25" fmla="*/ 139 h 224"/>
                <a:gd name="T26" fmla="*/ 0 w 320"/>
                <a:gd name="T27" fmla="*/ 182 h 224"/>
                <a:gd name="T28" fmla="*/ 42 w 320"/>
                <a:gd name="T29" fmla="*/ 224 h 224"/>
                <a:gd name="T30" fmla="*/ 85 w 320"/>
                <a:gd name="T31" fmla="*/ 182 h 224"/>
                <a:gd name="T32" fmla="*/ 71 w 320"/>
                <a:gd name="T33" fmla="*/ 150 h 224"/>
                <a:gd name="T34" fmla="*/ 107 w 320"/>
                <a:gd name="T35" fmla="*/ 84 h 224"/>
                <a:gd name="T36" fmla="*/ 117 w 320"/>
                <a:gd name="T37" fmla="*/ 86 h 224"/>
                <a:gd name="T38" fmla="*/ 127 w 320"/>
                <a:gd name="T39" fmla="*/ 84 h 224"/>
                <a:gd name="T40" fmla="*/ 163 w 320"/>
                <a:gd name="T41" fmla="*/ 150 h 224"/>
                <a:gd name="T42" fmla="*/ 149 w 320"/>
                <a:gd name="T43" fmla="*/ 182 h 224"/>
                <a:gd name="T44" fmla="*/ 192 w 320"/>
                <a:gd name="T45" fmla="*/ 224 h 224"/>
                <a:gd name="T46" fmla="*/ 234 w 320"/>
                <a:gd name="T47" fmla="*/ 182 h 224"/>
                <a:gd name="T48" fmla="*/ 222 w 320"/>
                <a:gd name="T49" fmla="*/ 152 h 224"/>
                <a:gd name="T50" fmla="*/ 265 w 320"/>
                <a:gd name="T51" fmla="*/ 84 h 224"/>
                <a:gd name="T52" fmla="*/ 277 w 320"/>
                <a:gd name="T53" fmla="*/ 86 h 224"/>
                <a:gd name="T54" fmla="*/ 320 w 320"/>
                <a:gd name="T55" fmla="*/ 43 h 224"/>
                <a:gd name="T56" fmla="*/ 277 w 320"/>
                <a:gd name="T57" fmla="*/ 0 h 224"/>
                <a:gd name="T58" fmla="*/ 42 w 320"/>
                <a:gd name="T59" fmla="*/ 203 h 224"/>
                <a:gd name="T60" fmla="*/ 21 w 320"/>
                <a:gd name="T61" fmla="*/ 182 h 224"/>
                <a:gd name="T62" fmla="*/ 42 w 320"/>
                <a:gd name="T63" fmla="*/ 160 h 224"/>
                <a:gd name="T64" fmla="*/ 64 w 320"/>
                <a:gd name="T65" fmla="*/ 182 h 224"/>
                <a:gd name="T66" fmla="*/ 42 w 320"/>
                <a:gd name="T67" fmla="*/ 203 h 224"/>
                <a:gd name="T68" fmla="*/ 96 w 320"/>
                <a:gd name="T69" fmla="*/ 43 h 224"/>
                <a:gd name="T70" fmla="*/ 117 w 320"/>
                <a:gd name="T71" fmla="*/ 22 h 224"/>
                <a:gd name="T72" fmla="*/ 138 w 320"/>
                <a:gd name="T73" fmla="*/ 43 h 224"/>
                <a:gd name="T74" fmla="*/ 117 w 320"/>
                <a:gd name="T75" fmla="*/ 64 h 224"/>
                <a:gd name="T76" fmla="*/ 96 w 320"/>
                <a:gd name="T77" fmla="*/ 43 h 224"/>
                <a:gd name="T78" fmla="*/ 192 w 320"/>
                <a:gd name="T79" fmla="*/ 203 h 224"/>
                <a:gd name="T80" fmla="*/ 170 w 320"/>
                <a:gd name="T81" fmla="*/ 182 h 224"/>
                <a:gd name="T82" fmla="*/ 192 w 320"/>
                <a:gd name="T83" fmla="*/ 160 h 224"/>
                <a:gd name="T84" fmla="*/ 213 w 320"/>
                <a:gd name="T85" fmla="*/ 182 h 224"/>
                <a:gd name="T86" fmla="*/ 192 w 320"/>
                <a:gd name="T87" fmla="*/ 203 h 224"/>
                <a:gd name="T88" fmla="*/ 277 w 320"/>
                <a:gd name="T89" fmla="*/ 64 h 224"/>
                <a:gd name="T90" fmla="*/ 256 w 320"/>
                <a:gd name="T91" fmla="*/ 43 h 224"/>
                <a:gd name="T92" fmla="*/ 277 w 320"/>
                <a:gd name="T93" fmla="*/ 22 h 224"/>
                <a:gd name="T94" fmla="*/ 298 w 320"/>
                <a:gd name="T95" fmla="*/ 43 h 224"/>
                <a:gd name="T96" fmla="*/ 277 w 320"/>
                <a:gd name="T97" fmla="*/ 6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224">
                  <a:moveTo>
                    <a:pt x="277" y="0"/>
                  </a:moveTo>
                  <a:cubicBezTo>
                    <a:pt x="253" y="0"/>
                    <a:pt x="234" y="19"/>
                    <a:pt x="234" y="43"/>
                  </a:cubicBezTo>
                  <a:cubicBezTo>
                    <a:pt x="234" y="54"/>
                    <a:pt x="239" y="65"/>
                    <a:pt x="246" y="73"/>
                  </a:cubicBezTo>
                  <a:cubicBezTo>
                    <a:pt x="204" y="141"/>
                    <a:pt x="204" y="141"/>
                    <a:pt x="204" y="141"/>
                  </a:cubicBezTo>
                  <a:cubicBezTo>
                    <a:pt x="200" y="140"/>
                    <a:pt x="196" y="139"/>
                    <a:pt x="192" y="139"/>
                  </a:cubicBezTo>
                  <a:cubicBezTo>
                    <a:pt x="188" y="139"/>
                    <a:pt x="185" y="140"/>
                    <a:pt x="182" y="140"/>
                  </a:cubicBezTo>
                  <a:cubicBezTo>
                    <a:pt x="146" y="74"/>
                    <a:pt x="146" y="74"/>
                    <a:pt x="146" y="74"/>
                  </a:cubicBezTo>
                  <a:cubicBezTo>
                    <a:pt x="154" y="66"/>
                    <a:pt x="160" y="55"/>
                    <a:pt x="160" y="43"/>
                  </a:cubicBezTo>
                  <a:cubicBezTo>
                    <a:pt x="160" y="19"/>
                    <a:pt x="141" y="0"/>
                    <a:pt x="117" y="0"/>
                  </a:cubicBezTo>
                  <a:cubicBezTo>
                    <a:pt x="93" y="0"/>
                    <a:pt x="74" y="19"/>
                    <a:pt x="74" y="43"/>
                  </a:cubicBezTo>
                  <a:cubicBezTo>
                    <a:pt x="74" y="55"/>
                    <a:pt x="80" y="66"/>
                    <a:pt x="88" y="74"/>
                  </a:cubicBezTo>
                  <a:cubicBezTo>
                    <a:pt x="52" y="140"/>
                    <a:pt x="52" y="140"/>
                    <a:pt x="52" y="140"/>
                  </a:cubicBezTo>
                  <a:cubicBezTo>
                    <a:pt x="49" y="140"/>
                    <a:pt x="46" y="139"/>
                    <a:pt x="42" y="139"/>
                  </a:cubicBezTo>
                  <a:cubicBezTo>
                    <a:pt x="19" y="139"/>
                    <a:pt x="0" y="158"/>
                    <a:pt x="0" y="182"/>
                  </a:cubicBezTo>
                  <a:cubicBezTo>
                    <a:pt x="0" y="205"/>
                    <a:pt x="19" y="224"/>
                    <a:pt x="42" y="224"/>
                  </a:cubicBezTo>
                  <a:cubicBezTo>
                    <a:pt x="66" y="224"/>
                    <a:pt x="85" y="205"/>
                    <a:pt x="85" y="182"/>
                  </a:cubicBezTo>
                  <a:cubicBezTo>
                    <a:pt x="85" y="169"/>
                    <a:pt x="80" y="158"/>
                    <a:pt x="71" y="150"/>
                  </a:cubicBezTo>
                  <a:cubicBezTo>
                    <a:pt x="107" y="84"/>
                    <a:pt x="107" y="84"/>
                    <a:pt x="107" y="84"/>
                  </a:cubicBezTo>
                  <a:cubicBezTo>
                    <a:pt x="110" y="85"/>
                    <a:pt x="113" y="86"/>
                    <a:pt x="117" y="86"/>
                  </a:cubicBezTo>
                  <a:cubicBezTo>
                    <a:pt x="121" y="86"/>
                    <a:pt x="124" y="85"/>
                    <a:pt x="127" y="84"/>
                  </a:cubicBezTo>
                  <a:cubicBezTo>
                    <a:pt x="163" y="150"/>
                    <a:pt x="163" y="150"/>
                    <a:pt x="163" y="150"/>
                  </a:cubicBezTo>
                  <a:cubicBezTo>
                    <a:pt x="154" y="158"/>
                    <a:pt x="149" y="169"/>
                    <a:pt x="149" y="182"/>
                  </a:cubicBezTo>
                  <a:cubicBezTo>
                    <a:pt x="149" y="205"/>
                    <a:pt x="168" y="224"/>
                    <a:pt x="192" y="224"/>
                  </a:cubicBezTo>
                  <a:cubicBezTo>
                    <a:pt x="215" y="224"/>
                    <a:pt x="234" y="205"/>
                    <a:pt x="234" y="182"/>
                  </a:cubicBezTo>
                  <a:cubicBezTo>
                    <a:pt x="234" y="170"/>
                    <a:pt x="230" y="160"/>
                    <a:pt x="222" y="152"/>
                  </a:cubicBezTo>
                  <a:cubicBezTo>
                    <a:pt x="265" y="84"/>
                    <a:pt x="265" y="84"/>
                    <a:pt x="265" y="84"/>
                  </a:cubicBezTo>
                  <a:cubicBezTo>
                    <a:pt x="269" y="85"/>
                    <a:pt x="273" y="86"/>
                    <a:pt x="277" y="86"/>
                  </a:cubicBezTo>
                  <a:cubicBezTo>
                    <a:pt x="301" y="86"/>
                    <a:pt x="320" y="67"/>
                    <a:pt x="320" y="43"/>
                  </a:cubicBezTo>
                  <a:cubicBezTo>
                    <a:pt x="320" y="19"/>
                    <a:pt x="301" y="0"/>
                    <a:pt x="277" y="0"/>
                  </a:cubicBezTo>
                  <a:close/>
                  <a:moveTo>
                    <a:pt x="42" y="203"/>
                  </a:moveTo>
                  <a:cubicBezTo>
                    <a:pt x="31" y="203"/>
                    <a:pt x="21" y="193"/>
                    <a:pt x="21" y="182"/>
                  </a:cubicBezTo>
                  <a:cubicBezTo>
                    <a:pt x="21" y="170"/>
                    <a:pt x="31" y="160"/>
                    <a:pt x="42" y="160"/>
                  </a:cubicBezTo>
                  <a:cubicBezTo>
                    <a:pt x="54" y="160"/>
                    <a:pt x="64" y="170"/>
                    <a:pt x="64" y="182"/>
                  </a:cubicBezTo>
                  <a:cubicBezTo>
                    <a:pt x="64" y="193"/>
                    <a:pt x="54" y="203"/>
                    <a:pt x="42" y="203"/>
                  </a:cubicBezTo>
                  <a:close/>
                  <a:moveTo>
                    <a:pt x="96" y="43"/>
                  </a:moveTo>
                  <a:cubicBezTo>
                    <a:pt x="96" y="31"/>
                    <a:pt x="105" y="22"/>
                    <a:pt x="117" y="22"/>
                  </a:cubicBezTo>
                  <a:cubicBezTo>
                    <a:pt x="129" y="22"/>
                    <a:pt x="138" y="31"/>
                    <a:pt x="138" y="43"/>
                  </a:cubicBezTo>
                  <a:cubicBezTo>
                    <a:pt x="138" y="55"/>
                    <a:pt x="129" y="64"/>
                    <a:pt x="117" y="64"/>
                  </a:cubicBezTo>
                  <a:cubicBezTo>
                    <a:pt x="105" y="64"/>
                    <a:pt x="96" y="55"/>
                    <a:pt x="96" y="43"/>
                  </a:cubicBezTo>
                  <a:close/>
                  <a:moveTo>
                    <a:pt x="192" y="203"/>
                  </a:moveTo>
                  <a:cubicBezTo>
                    <a:pt x="180" y="203"/>
                    <a:pt x="170" y="193"/>
                    <a:pt x="170" y="182"/>
                  </a:cubicBezTo>
                  <a:cubicBezTo>
                    <a:pt x="170" y="170"/>
                    <a:pt x="180" y="160"/>
                    <a:pt x="192" y="160"/>
                  </a:cubicBezTo>
                  <a:cubicBezTo>
                    <a:pt x="203" y="160"/>
                    <a:pt x="213" y="170"/>
                    <a:pt x="213" y="182"/>
                  </a:cubicBezTo>
                  <a:cubicBezTo>
                    <a:pt x="213" y="193"/>
                    <a:pt x="203" y="203"/>
                    <a:pt x="192" y="203"/>
                  </a:cubicBezTo>
                  <a:close/>
                  <a:moveTo>
                    <a:pt x="277" y="64"/>
                  </a:moveTo>
                  <a:cubicBezTo>
                    <a:pt x="265" y="64"/>
                    <a:pt x="256" y="55"/>
                    <a:pt x="256" y="43"/>
                  </a:cubicBezTo>
                  <a:cubicBezTo>
                    <a:pt x="256" y="31"/>
                    <a:pt x="265" y="22"/>
                    <a:pt x="277" y="22"/>
                  </a:cubicBezTo>
                  <a:cubicBezTo>
                    <a:pt x="289" y="22"/>
                    <a:pt x="298" y="31"/>
                    <a:pt x="298" y="43"/>
                  </a:cubicBezTo>
                  <a:cubicBezTo>
                    <a:pt x="298" y="55"/>
                    <a:pt x="289" y="64"/>
                    <a:pt x="277"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2" name="Freeform 465">
              <a:extLst>
                <a:ext uri="{FF2B5EF4-FFF2-40B4-BE49-F238E27FC236}">
                  <a16:creationId xmlns:a16="http://schemas.microsoft.com/office/drawing/2014/main" id="{6EE0B9BC-8A44-4FB4-9919-531827245F2F}"/>
                </a:ext>
              </a:extLst>
            </p:cNvPr>
            <p:cNvSpPr>
              <a:spLocks noEditPoints="1"/>
            </p:cNvSpPr>
            <p:nvPr/>
          </p:nvSpPr>
          <p:spPr bwMode="auto">
            <a:xfrm>
              <a:off x="1110" y="15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dirty="0">
                <a:ln>
                  <a:noFill/>
                </a:ln>
                <a:solidFill>
                  <a:prstClr val="black"/>
                </a:solidFill>
                <a:effectLst/>
                <a:uLnTx/>
                <a:uFillTx/>
                <a:ea typeface="ヒラギノ角ゴ ProN W3" charset="0"/>
                <a:cs typeface="+mn-cs"/>
                <a:sym typeface="Gotham Book" charset="0"/>
              </a:endParaRPr>
            </a:p>
          </p:txBody>
        </p:sp>
      </p:grpSp>
      <p:grpSp>
        <p:nvGrpSpPr>
          <p:cNvPr id="53" name="Group 252">
            <a:extLst>
              <a:ext uri="{FF2B5EF4-FFF2-40B4-BE49-F238E27FC236}">
                <a16:creationId xmlns:a16="http://schemas.microsoft.com/office/drawing/2014/main" id="{77D652E1-3479-4BC4-BC30-BC5DD496E4A8}"/>
              </a:ext>
            </a:extLst>
          </p:cNvPr>
          <p:cNvGrpSpPr>
            <a:grpSpLocks noChangeAspect="1"/>
          </p:cNvGrpSpPr>
          <p:nvPr/>
        </p:nvGrpSpPr>
        <p:grpSpPr bwMode="auto">
          <a:xfrm>
            <a:off x="6665866" y="2102393"/>
            <a:ext cx="514158" cy="514158"/>
            <a:chOff x="4251" y="799"/>
            <a:chExt cx="340" cy="340"/>
          </a:xfrm>
          <a:solidFill>
            <a:srgbClr val="0097A9"/>
          </a:solidFill>
        </p:grpSpPr>
        <p:sp>
          <p:nvSpPr>
            <p:cNvPr id="54" name="Freeform 253">
              <a:extLst>
                <a:ext uri="{FF2B5EF4-FFF2-40B4-BE49-F238E27FC236}">
                  <a16:creationId xmlns:a16="http://schemas.microsoft.com/office/drawing/2014/main" id="{E0A939C6-301A-49E1-A666-49A2A7CF586F}"/>
                </a:ext>
              </a:extLst>
            </p:cNvPr>
            <p:cNvSpPr>
              <a:spLocks/>
            </p:cNvSpPr>
            <p:nvPr/>
          </p:nvSpPr>
          <p:spPr bwMode="auto">
            <a:xfrm>
              <a:off x="4314" y="950"/>
              <a:ext cx="70" cy="89"/>
            </a:xfrm>
            <a:custGeom>
              <a:avLst/>
              <a:gdLst>
                <a:gd name="T0" fmla="*/ 58 w 105"/>
                <a:gd name="T1" fmla="*/ 91 h 134"/>
                <a:gd name="T2" fmla="*/ 99 w 105"/>
                <a:gd name="T3" fmla="*/ 35 h 134"/>
                <a:gd name="T4" fmla="*/ 10 w 105"/>
                <a:gd name="T5" fmla="*/ 6 h 134"/>
                <a:gd name="T6" fmla="*/ 1 w 105"/>
                <a:gd name="T7" fmla="*/ 18 h 134"/>
                <a:gd name="T8" fmla="*/ 12 w 105"/>
                <a:gd name="T9" fmla="*/ 28 h 134"/>
                <a:gd name="T10" fmla="*/ 79 w 105"/>
                <a:gd name="T11" fmla="*/ 41 h 134"/>
                <a:gd name="T12" fmla="*/ 50 w 105"/>
                <a:gd name="T13" fmla="*/ 71 h 134"/>
                <a:gd name="T14" fmla="*/ 27 w 105"/>
                <a:gd name="T15" fmla="*/ 98 h 134"/>
                <a:gd name="T16" fmla="*/ 48 w 105"/>
                <a:gd name="T17" fmla="*/ 132 h 134"/>
                <a:gd name="T18" fmla="*/ 54 w 105"/>
                <a:gd name="T19" fmla="*/ 134 h 134"/>
                <a:gd name="T20" fmla="*/ 63 w 105"/>
                <a:gd name="T21" fmla="*/ 130 h 134"/>
                <a:gd name="T22" fmla="*/ 60 w 105"/>
                <a:gd name="T23" fmla="*/ 115 h 134"/>
                <a:gd name="T24" fmla="*/ 48 w 105"/>
                <a:gd name="T25" fmla="*/ 99 h 134"/>
                <a:gd name="T26" fmla="*/ 58 w 105"/>
                <a:gd name="T27" fmla="*/ 9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5" h="134">
                  <a:moveTo>
                    <a:pt x="58" y="91"/>
                  </a:moveTo>
                  <a:cubicBezTo>
                    <a:pt x="88" y="77"/>
                    <a:pt x="105" y="55"/>
                    <a:pt x="99" y="35"/>
                  </a:cubicBezTo>
                  <a:cubicBezTo>
                    <a:pt x="96" y="22"/>
                    <a:pt x="80" y="0"/>
                    <a:pt x="10" y="6"/>
                  </a:cubicBezTo>
                  <a:cubicBezTo>
                    <a:pt x="5" y="7"/>
                    <a:pt x="0" y="12"/>
                    <a:pt x="1" y="18"/>
                  </a:cubicBezTo>
                  <a:cubicBezTo>
                    <a:pt x="1" y="24"/>
                    <a:pt x="6" y="28"/>
                    <a:pt x="12" y="28"/>
                  </a:cubicBezTo>
                  <a:cubicBezTo>
                    <a:pt x="61" y="23"/>
                    <a:pt x="77" y="34"/>
                    <a:pt x="79" y="41"/>
                  </a:cubicBezTo>
                  <a:cubicBezTo>
                    <a:pt x="81" y="48"/>
                    <a:pt x="70" y="62"/>
                    <a:pt x="50" y="71"/>
                  </a:cubicBezTo>
                  <a:cubicBezTo>
                    <a:pt x="35" y="78"/>
                    <a:pt x="28" y="87"/>
                    <a:pt x="27" y="98"/>
                  </a:cubicBezTo>
                  <a:cubicBezTo>
                    <a:pt x="25" y="116"/>
                    <a:pt x="46" y="131"/>
                    <a:pt x="48" y="132"/>
                  </a:cubicBezTo>
                  <a:cubicBezTo>
                    <a:pt x="50" y="134"/>
                    <a:pt x="52" y="134"/>
                    <a:pt x="54" y="134"/>
                  </a:cubicBezTo>
                  <a:cubicBezTo>
                    <a:pt x="57" y="134"/>
                    <a:pt x="61" y="133"/>
                    <a:pt x="63" y="130"/>
                  </a:cubicBezTo>
                  <a:cubicBezTo>
                    <a:pt x="66" y="125"/>
                    <a:pt x="65" y="118"/>
                    <a:pt x="60" y="115"/>
                  </a:cubicBezTo>
                  <a:cubicBezTo>
                    <a:pt x="56" y="112"/>
                    <a:pt x="48" y="104"/>
                    <a:pt x="48" y="99"/>
                  </a:cubicBezTo>
                  <a:cubicBezTo>
                    <a:pt x="48" y="97"/>
                    <a:pt x="52" y="94"/>
                    <a:pt x="58" y="9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5" name="Freeform 254">
              <a:extLst>
                <a:ext uri="{FF2B5EF4-FFF2-40B4-BE49-F238E27FC236}">
                  <a16:creationId xmlns:a16="http://schemas.microsoft.com/office/drawing/2014/main" id="{A11B5E05-F377-4E84-B5A2-2EAE729B01EF}"/>
                </a:ext>
              </a:extLst>
            </p:cNvPr>
            <p:cNvSpPr>
              <a:spLocks noEditPoints="1"/>
            </p:cNvSpPr>
            <p:nvPr/>
          </p:nvSpPr>
          <p:spPr bwMode="auto">
            <a:xfrm>
              <a:off x="4371" y="902"/>
              <a:ext cx="146" cy="145"/>
            </a:xfrm>
            <a:custGeom>
              <a:avLst/>
              <a:gdLst>
                <a:gd name="T0" fmla="*/ 215 w 219"/>
                <a:gd name="T1" fmla="*/ 35 h 219"/>
                <a:gd name="T2" fmla="*/ 185 w 219"/>
                <a:gd name="T3" fmla="*/ 4 h 219"/>
                <a:gd name="T4" fmla="*/ 170 w 219"/>
                <a:gd name="T5" fmla="*/ 4 h 219"/>
                <a:gd name="T6" fmla="*/ 110 w 219"/>
                <a:gd name="T7" fmla="*/ 65 h 219"/>
                <a:gd name="T8" fmla="*/ 19 w 219"/>
                <a:gd name="T9" fmla="*/ 155 h 219"/>
                <a:gd name="T10" fmla="*/ 17 w 219"/>
                <a:gd name="T11" fmla="*/ 159 h 219"/>
                <a:gd name="T12" fmla="*/ 2 w 219"/>
                <a:gd name="T13" fmla="*/ 205 h 219"/>
                <a:gd name="T14" fmla="*/ 4 w 219"/>
                <a:gd name="T15" fmla="*/ 216 h 219"/>
                <a:gd name="T16" fmla="*/ 12 w 219"/>
                <a:gd name="T17" fmla="*/ 219 h 219"/>
                <a:gd name="T18" fmla="*/ 15 w 219"/>
                <a:gd name="T19" fmla="*/ 218 h 219"/>
                <a:gd name="T20" fmla="*/ 60 w 219"/>
                <a:gd name="T21" fmla="*/ 203 h 219"/>
                <a:gd name="T22" fmla="*/ 65 w 219"/>
                <a:gd name="T23" fmla="*/ 201 h 219"/>
                <a:gd name="T24" fmla="*/ 155 w 219"/>
                <a:gd name="T25" fmla="*/ 110 h 219"/>
                <a:gd name="T26" fmla="*/ 215 w 219"/>
                <a:gd name="T27" fmla="*/ 50 h 219"/>
                <a:gd name="T28" fmla="*/ 219 w 219"/>
                <a:gd name="T29" fmla="*/ 42 h 219"/>
                <a:gd name="T30" fmla="*/ 215 w 219"/>
                <a:gd name="T31" fmla="*/ 35 h 219"/>
                <a:gd name="T32" fmla="*/ 51 w 219"/>
                <a:gd name="T33" fmla="*/ 184 h 219"/>
                <a:gd name="T34" fmla="*/ 29 w 219"/>
                <a:gd name="T35" fmla="*/ 191 h 219"/>
                <a:gd name="T36" fmla="*/ 36 w 219"/>
                <a:gd name="T37" fmla="*/ 169 h 219"/>
                <a:gd name="T38" fmla="*/ 117 w 219"/>
                <a:gd name="T39" fmla="*/ 87 h 219"/>
                <a:gd name="T40" fmla="*/ 132 w 219"/>
                <a:gd name="T41" fmla="*/ 102 h 219"/>
                <a:gd name="T42" fmla="*/ 51 w 219"/>
                <a:gd name="T43" fmla="*/ 184 h 219"/>
                <a:gd name="T44" fmla="*/ 148 w 219"/>
                <a:gd name="T45" fmla="*/ 87 h 219"/>
                <a:gd name="T46" fmla="*/ 132 w 219"/>
                <a:gd name="T47" fmla="*/ 72 h 219"/>
                <a:gd name="T48" fmla="*/ 178 w 219"/>
                <a:gd name="T49" fmla="*/ 27 h 219"/>
                <a:gd name="T50" fmla="*/ 193 w 219"/>
                <a:gd name="T51" fmla="*/ 42 h 219"/>
                <a:gd name="T52" fmla="*/ 148 w 219"/>
                <a:gd name="T53" fmla="*/ 87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9" h="219">
                  <a:moveTo>
                    <a:pt x="215" y="35"/>
                  </a:moveTo>
                  <a:cubicBezTo>
                    <a:pt x="185" y="4"/>
                    <a:pt x="185" y="4"/>
                    <a:pt x="185" y="4"/>
                  </a:cubicBezTo>
                  <a:cubicBezTo>
                    <a:pt x="181" y="0"/>
                    <a:pt x="174" y="0"/>
                    <a:pt x="170" y="4"/>
                  </a:cubicBezTo>
                  <a:cubicBezTo>
                    <a:pt x="110" y="65"/>
                    <a:pt x="110" y="65"/>
                    <a:pt x="110" y="65"/>
                  </a:cubicBezTo>
                  <a:cubicBezTo>
                    <a:pt x="19" y="155"/>
                    <a:pt x="19" y="155"/>
                    <a:pt x="19" y="155"/>
                  </a:cubicBezTo>
                  <a:cubicBezTo>
                    <a:pt x="18" y="156"/>
                    <a:pt x="17" y="158"/>
                    <a:pt x="17" y="159"/>
                  </a:cubicBezTo>
                  <a:cubicBezTo>
                    <a:pt x="2" y="205"/>
                    <a:pt x="2" y="205"/>
                    <a:pt x="2" y="205"/>
                  </a:cubicBezTo>
                  <a:cubicBezTo>
                    <a:pt x="0" y="209"/>
                    <a:pt x="1" y="213"/>
                    <a:pt x="4" y="216"/>
                  </a:cubicBezTo>
                  <a:cubicBezTo>
                    <a:pt x="6" y="218"/>
                    <a:pt x="9" y="219"/>
                    <a:pt x="12" y="219"/>
                  </a:cubicBezTo>
                  <a:cubicBezTo>
                    <a:pt x="13" y="219"/>
                    <a:pt x="14" y="219"/>
                    <a:pt x="15" y="218"/>
                  </a:cubicBezTo>
                  <a:cubicBezTo>
                    <a:pt x="60" y="203"/>
                    <a:pt x="60" y="203"/>
                    <a:pt x="60" y="203"/>
                  </a:cubicBezTo>
                  <a:cubicBezTo>
                    <a:pt x="62" y="203"/>
                    <a:pt x="63" y="202"/>
                    <a:pt x="65" y="201"/>
                  </a:cubicBezTo>
                  <a:cubicBezTo>
                    <a:pt x="155" y="110"/>
                    <a:pt x="155" y="110"/>
                    <a:pt x="155" y="110"/>
                  </a:cubicBezTo>
                  <a:cubicBezTo>
                    <a:pt x="215" y="50"/>
                    <a:pt x="215" y="50"/>
                    <a:pt x="215" y="50"/>
                  </a:cubicBezTo>
                  <a:cubicBezTo>
                    <a:pt x="217" y="48"/>
                    <a:pt x="219" y="45"/>
                    <a:pt x="219" y="42"/>
                  </a:cubicBezTo>
                  <a:cubicBezTo>
                    <a:pt x="219" y="39"/>
                    <a:pt x="217" y="37"/>
                    <a:pt x="215" y="35"/>
                  </a:cubicBezTo>
                  <a:close/>
                  <a:moveTo>
                    <a:pt x="51" y="184"/>
                  </a:moveTo>
                  <a:cubicBezTo>
                    <a:pt x="29" y="191"/>
                    <a:pt x="29" y="191"/>
                    <a:pt x="29" y="191"/>
                  </a:cubicBezTo>
                  <a:cubicBezTo>
                    <a:pt x="36" y="169"/>
                    <a:pt x="36" y="169"/>
                    <a:pt x="36" y="169"/>
                  </a:cubicBezTo>
                  <a:cubicBezTo>
                    <a:pt x="117" y="87"/>
                    <a:pt x="117" y="87"/>
                    <a:pt x="117" y="87"/>
                  </a:cubicBezTo>
                  <a:cubicBezTo>
                    <a:pt x="132" y="102"/>
                    <a:pt x="132" y="102"/>
                    <a:pt x="132" y="102"/>
                  </a:cubicBezTo>
                  <a:lnTo>
                    <a:pt x="51" y="184"/>
                  </a:lnTo>
                  <a:close/>
                  <a:moveTo>
                    <a:pt x="148" y="87"/>
                  </a:moveTo>
                  <a:cubicBezTo>
                    <a:pt x="132" y="72"/>
                    <a:pt x="132" y="72"/>
                    <a:pt x="132" y="72"/>
                  </a:cubicBezTo>
                  <a:cubicBezTo>
                    <a:pt x="178" y="27"/>
                    <a:pt x="178" y="27"/>
                    <a:pt x="178" y="27"/>
                  </a:cubicBezTo>
                  <a:cubicBezTo>
                    <a:pt x="193" y="42"/>
                    <a:pt x="193" y="42"/>
                    <a:pt x="193" y="42"/>
                  </a:cubicBezTo>
                  <a:lnTo>
                    <a:pt x="148" y="8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6" name="Freeform 255">
              <a:extLst>
                <a:ext uri="{FF2B5EF4-FFF2-40B4-BE49-F238E27FC236}">
                  <a16:creationId xmlns:a16="http://schemas.microsoft.com/office/drawing/2014/main" id="{3E3661CA-5169-4DD5-851C-BC84E55FB318}"/>
                </a:ext>
              </a:extLst>
            </p:cNvPr>
            <p:cNvSpPr>
              <a:spLocks noEditPoints="1"/>
            </p:cNvSpPr>
            <p:nvPr/>
          </p:nvSpPr>
          <p:spPr bwMode="auto">
            <a:xfrm>
              <a:off x="4251" y="79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dirty="0">
                <a:ln>
                  <a:noFill/>
                </a:ln>
                <a:solidFill>
                  <a:prstClr val="black"/>
                </a:solidFill>
                <a:effectLst/>
                <a:uLnTx/>
                <a:uFillTx/>
                <a:ea typeface="ヒラギノ角ゴ ProN W3" charset="0"/>
                <a:cs typeface="+mn-cs"/>
                <a:sym typeface="Gotham Book" charset="0"/>
              </a:endParaRPr>
            </a:p>
          </p:txBody>
        </p:sp>
      </p:grpSp>
      <p:grpSp>
        <p:nvGrpSpPr>
          <p:cNvPr id="57" name="Group 1012">
            <a:extLst>
              <a:ext uri="{FF2B5EF4-FFF2-40B4-BE49-F238E27FC236}">
                <a16:creationId xmlns:a16="http://schemas.microsoft.com/office/drawing/2014/main" id="{C78CC77A-CA9C-44B8-BC4E-B1157E40E9FA}"/>
              </a:ext>
            </a:extLst>
          </p:cNvPr>
          <p:cNvGrpSpPr>
            <a:grpSpLocks noChangeAspect="1"/>
          </p:cNvGrpSpPr>
          <p:nvPr/>
        </p:nvGrpSpPr>
        <p:grpSpPr bwMode="auto">
          <a:xfrm>
            <a:off x="1711741" y="2102393"/>
            <a:ext cx="514158" cy="514158"/>
            <a:chOff x="1878" y="3998"/>
            <a:chExt cx="340" cy="340"/>
          </a:xfrm>
          <a:solidFill>
            <a:srgbClr val="86BC25"/>
          </a:solidFill>
        </p:grpSpPr>
        <p:sp>
          <p:nvSpPr>
            <p:cNvPr id="58" name="Freeform 1013">
              <a:extLst>
                <a:ext uri="{FF2B5EF4-FFF2-40B4-BE49-F238E27FC236}">
                  <a16:creationId xmlns:a16="http://schemas.microsoft.com/office/drawing/2014/main" id="{6B9AB5FA-0522-40A6-A822-EFA0E7375C2C}"/>
                </a:ext>
              </a:extLst>
            </p:cNvPr>
            <p:cNvSpPr>
              <a:spLocks noEditPoints="1"/>
            </p:cNvSpPr>
            <p:nvPr/>
          </p:nvSpPr>
          <p:spPr bwMode="auto">
            <a:xfrm>
              <a:off x="1955" y="4068"/>
              <a:ext cx="186" cy="192"/>
            </a:xfrm>
            <a:custGeom>
              <a:avLst/>
              <a:gdLst>
                <a:gd name="T0" fmla="*/ 212 w 280"/>
                <a:gd name="T1" fmla="*/ 0 h 288"/>
                <a:gd name="T2" fmla="*/ 178 w 280"/>
                <a:gd name="T3" fmla="*/ 14 h 288"/>
                <a:gd name="T4" fmla="*/ 162 w 280"/>
                <a:gd name="T5" fmla="*/ 101 h 288"/>
                <a:gd name="T6" fmla="*/ 188 w 280"/>
                <a:gd name="T7" fmla="*/ 178 h 288"/>
                <a:gd name="T8" fmla="*/ 261 w 280"/>
                <a:gd name="T9" fmla="*/ 196 h 288"/>
                <a:gd name="T10" fmla="*/ 271 w 280"/>
                <a:gd name="T11" fmla="*/ 189 h 288"/>
                <a:gd name="T12" fmla="*/ 280 w 280"/>
                <a:gd name="T13" fmla="*/ 83 h 288"/>
                <a:gd name="T14" fmla="*/ 196 w 280"/>
                <a:gd name="T15" fmla="*/ 157 h 288"/>
                <a:gd name="T16" fmla="*/ 194 w 280"/>
                <a:gd name="T17" fmla="*/ 29 h 288"/>
                <a:gd name="T18" fmla="*/ 212 w 280"/>
                <a:gd name="T19" fmla="*/ 22 h 288"/>
                <a:gd name="T20" fmla="*/ 253 w 280"/>
                <a:gd name="T21" fmla="*/ 171 h 288"/>
                <a:gd name="T22" fmla="*/ 177 w 280"/>
                <a:gd name="T23" fmla="*/ 208 h 288"/>
                <a:gd name="T24" fmla="*/ 209 w 280"/>
                <a:gd name="T25" fmla="*/ 288 h 288"/>
                <a:gd name="T26" fmla="*/ 241 w 280"/>
                <a:gd name="T27" fmla="*/ 280 h 288"/>
                <a:gd name="T28" fmla="*/ 260 w 280"/>
                <a:gd name="T29" fmla="*/ 231 h 288"/>
                <a:gd name="T30" fmla="*/ 188 w 280"/>
                <a:gd name="T31" fmla="*/ 199 h 288"/>
                <a:gd name="T32" fmla="*/ 228 w 280"/>
                <a:gd name="T33" fmla="*/ 263 h 288"/>
                <a:gd name="T34" fmla="*/ 194 w 280"/>
                <a:gd name="T35" fmla="*/ 243 h 288"/>
                <a:gd name="T36" fmla="*/ 238 w 280"/>
                <a:gd name="T37" fmla="*/ 232 h 288"/>
                <a:gd name="T38" fmla="*/ 69 w 280"/>
                <a:gd name="T39" fmla="*/ 0 h 288"/>
                <a:gd name="T40" fmla="*/ 0 w 280"/>
                <a:gd name="T41" fmla="*/ 83 h 288"/>
                <a:gd name="T42" fmla="*/ 9 w 280"/>
                <a:gd name="T43" fmla="*/ 188 h 288"/>
                <a:gd name="T44" fmla="*/ 20 w 280"/>
                <a:gd name="T45" fmla="*/ 196 h 288"/>
                <a:gd name="T46" fmla="*/ 92 w 280"/>
                <a:gd name="T47" fmla="*/ 178 h 288"/>
                <a:gd name="T48" fmla="*/ 119 w 280"/>
                <a:gd name="T49" fmla="*/ 101 h 288"/>
                <a:gd name="T50" fmla="*/ 102 w 280"/>
                <a:gd name="T51" fmla="*/ 14 h 288"/>
                <a:gd name="T52" fmla="*/ 98 w 280"/>
                <a:gd name="T53" fmla="*/ 96 h 288"/>
                <a:gd name="T54" fmla="*/ 28 w 280"/>
                <a:gd name="T55" fmla="*/ 171 h 288"/>
                <a:gd name="T56" fmla="*/ 69 w 280"/>
                <a:gd name="T57" fmla="*/ 22 h 288"/>
                <a:gd name="T58" fmla="*/ 86 w 280"/>
                <a:gd name="T59" fmla="*/ 29 h 288"/>
                <a:gd name="T60" fmla="*/ 103 w 280"/>
                <a:gd name="T61" fmla="*/ 208 h 288"/>
                <a:gd name="T62" fmla="*/ 22 w 280"/>
                <a:gd name="T63" fmla="*/ 223 h 288"/>
                <a:gd name="T64" fmla="*/ 23 w 280"/>
                <a:gd name="T65" fmla="*/ 252 h 288"/>
                <a:gd name="T66" fmla="*/ 66 w 280"/>
                <a:gd name="T67" fmla="*/ 288 h 288"/>
                <a:gd name="T68" fmla="*/ 100 w 280"/>
                <a:gd name="T69" fmla="*/ 271 h 288"/>
                <a:gd name="T70" fmla="*/ 103 w 280"/>
                <a:gd name="T71" fmla="*/ 208 h 288"/>
                <a:gd name="T72" fmla="*/ 69 w 280"/>
                <a:gd name="T73" fmla="*/ 267 h 288"/>
                <a:gd name="T74" fmla="*/ 45 w 280"/>
                <a:gd name="T75" fmla="*/ 249 h 288"/>
                <a:gd name="T76" fmla="*/ 84 w 280"/>
                <a:gd name="T77" fmla="*/ 220 h 288"/>
                <a:gd name="T78" fmla="*/ 83 w 280"/>
                <a:gd name="T79" fmla="*/ 25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88">
                  <a:moveTo>
                    <a:pt x="280" y="83"/>
                  </a:moveTo>
                  <a:cubicBezTo>
                    <a:pt x="280" y="79"/>
                    <a:pt x="271" y="0"/>
                    <a:pt x="212" y="0"/>
                  </a:cubicBezTo>
                  <a:cubicBezTo>
                    <a:pt x="212" y="0"/>
                    <a:pt x="212" y="0"/>
                    <a:pt x="212" y="0"/>
                  </a:cubicBezTo>
                  <a:cubicBezTo>
                    <a:pt x="198" y="0"/>
                    <a:pt x="187" y="5"/>
                    <a:pt x="178" y="14"/>
                  </a:cubicBezTo>
                  <a:cubicBezTo>
                    <a:pt x="155" y="41"/>
                    <a:pt x="161" y="93"/>
                    <a:pt x="161" y="99"/>
                  </a:cubicBezTo>
                  <a:cubicBezTo>
                    <a:pt x="161" y="100"/>
                    <a:pt x="162" y="100"/>
                    <a:pt x="162" y="101"/>
                  </a:cubicBezTo>
                  <a:cubicBezTo>
                    <a:pt x="165" y="115"/>
                    <a:pt x="177" y="169"/>
                    <a:pt x="177" y="170"/>
                  </a:cubicBezTo>
                  <a:cubicBezTo>
                    <a:pt x="178" y="175"/>
                    <a:pt x="183" y="179"/>
                    <a:pt x="188" y="178"/>
                  </a:cubicBezTo>
                  <a:cubicBezTo>
                    <a:pt x="206" y="177"/>
                    <a:pt x="244" y="190"/>
                    <a:pt x="257" y="195"/>
                  </a:cubicBezTo>
                  <a:cubicBezTo>
                    <a:pt x="258" y="196"/>
                    <a:pt x="260" y="196"/>
                    <a:pt x="261" y="196"/>
                  </a:cubicBezTo>
                  <a:cubicBezTo>
                    <a:pt x="263" y="196"/>
                    <a:pt x="264" y="196"/>
                    <a:pt x="266" y="195"/>
                  </a:cubicBezTo>
                  <a:cubicBezTo>
                    <a:pt x="268" y="194"/>
                    <a:pt x="270" y="191"/>
                    <a:pt x="271" y="189"/>
                  </a:cubicBezTo>
                  <a:cubicBezTo>
                    <a:pt x="280" y="159"/>
                    <a:pt x="280" y="87"/>
                    <a:pt x="280" y="84"/>
                  </a:cubicBezTo>
                  <a:cubicBezTo>
                    <a:pt x="280" y="83"/>
                    <a:pt x="280" y="83"/>
                    <a:pt x="280" y="83"/>
                  </a:cubicBezTo>
                  <a:close/>
                  <a:moveTo>
                    <a:pt x="253" y="171"/>
                  </a:moveTo>
                  <a:cubicBezTo>
                    <a:pt x="239" y="166"/>
                    <a:pt x="215" y="159"/>
                    <a:pt x="196" y="157"/>
                  </a:cubicBezTo>
                  <a:cubicBezTo>
                    <a:pt x="193" y="141"/>
                    <a:pt x="185" y="108"/>
                    <a:pt x="183" y="96"/>
                  </a:cubicBezTo>
                  <a:cubicBezTo>
                    <a:pt x="181" y="82"/>
                    <a:pt x="180" y="45"/>
                    <a:pt x="194" y="29"/>
                  </a:cubicBezTo>
                  <a:cubicBezTo>
                    <a:pt x="199" y="24"/>
                    <a:pt x="204" y="22"/>
                    <a:pt x="212" y="22"/>
                  </a:cubicBezTo>
                  <a:cubicBezTo>
                    <a:pt x="212" y="22"/>
                    <a:pt x="212" y="22"/>
                    <a:pt x="212" y="22"/>
                  </a:cubicBezTo>
                  <a:cubicBezTo>
                    <a:pt x="250" y="22"/>
                    <a:pt x="258" y="78"/>
                    <a:pt x="259" y="85"/>
                  </a:cubicBezTo>
                  <a:cubicBezTo>
                    <a:pt x="259" y="91"/>
                    <a:pt x="258" y="141"/>
                    <a:pt x="253" y="171"/>
                  </a:cubicBezTo>
                  <a:close/>
                  <a:moveTo>
                    <a:pt x="188" y="199"/>
                  </a:moveTo>
                  <a:cubicBezTo>
                    <a:pt x="182" y="199"/>
                    <a:pt x="178" y="203"/>
                    <a:pt x="177" y="208"/>
                  </a:cubicBezTo>
                  <a:cubicBezTo>
                    <a:pt x="173" y="240"/>
                    <a:pt x="173" y="240"/>
                    <a:pt x="173" y="240"/>
                  </a:cubicBezTo>
                  <a:cubicBezTo>
                    <a:pt x="169" y="263"/>
                    <a:pt x="186" y="285"/>
                    <a:pt x="209" y="288"/>
                  </a:cubicBezTo>
                  <a:cubicBezTo>
                    <a:pt x="211" y="288"/>
                    <a:pt x="213" y="288"/>
                    <a:pt x="215" y="288"/>
                  </a:cubicBezTo>
                  <a:cubicBezTo>
                    <a:pt x="224" y="288"/>
                    <a:pt x="233" y="285"/>
                    <a:pt x="241" y="280"/>
                  </a:cubicBezTo>
                  <a:cubicBezTo>
                    <a:pt x="250" y="273"/>
                    <a:pt x="256" y="263"/>
                    <a:pt x="257" y="252"/>
                  </a:cubicBezTo>
                  <a:cubicBezTo>
                    <a:pt x="260" y="231"/>
                    <a:pt x="260" y="231"/>
                    <a:pt x="260" y="231"/>
                  </a:cubicBezTo>
                  <a:cubicBezTo>
                    <a:pt x="261" y="228"/>
                    <a:pt x="260" y="225"/>
                    <a:pt x="258" y="223"/>
                  </a:cubicBezTo>
                  <a:cubicBezTo>
                    <a:pt x="246" y="206"/>
                    <a:pt x="223" y="199"/>
                    <a:pt x="188" y="199"/>
                  </a:cubicBezTo>
                  <a:close/>
                  <a:moveTo>
                    <a:pt x="236" y="249"/>
                  </a:moveTo>
                  <a:cubicBezTo>
                    <a:pt x="235" y="254"/>
                    <a:pt x="232" y="259"/>
                    <a:pt x="228" y="263"/>
                  </a:cubicBezTo>
                  <a:cubicBezTo>
                    <a:pt x="223" y="266"/>
                    <a:pt x="218" y="268"/>
                    <a:pt x="212" y="267"/>
                  </a:cubicBezTo>
                  <a:cubicBezTo>
                    <a:pt x="200" y="265"/>
                    <a:pt x="192" y="254"/>
                    <a:pt x="194" y="243"/>
                  </a:cubicBezTo>
                  <a:cubicBezTo>
                    <a:pt x="197" y="220"/>
                    <a:pt x="197" y="220"/>
                    <a:pt x="197" y="220"/>
                  </a:cubicBezTo>
                  <a:cubicBezTo>
                    <a:pt x="217" y="221"/>
                    <a:pt x="231" y="225"/>
                    <a:pt x="238" y="232"/>
                  </a:cubicBezTo>
                  <a:lnTo>
                    <a:pt x="236" y="249"/>
                  </a:lnTo>
                  <a:close/>
                  <a:moveTo>
                    <a:pt x="69" y="0"/>
                  </a:moveTo>
                  <a:cubicBezTo>
                    <a:pt x="69" y="0"/>
                    <a:pt x="69" y="0"/>
                    <a:pt x="69" y="0"/>
                  </a:cubicBezTo>
                  <a:cubicBezTo>
                    <a:pt x="10" y="0"/>
                    <a:pt x="1" y="79"/>
                    <a:pt x="0" y="83"/>
                  </a:cubicBezTo>
                  <a:cubicBezTo>
                    <a:pt x="0" y="83"/>
                    <a:pt x="0" y="83"/>
                    <a:pt x="0" y="84"/>
                  </a:cubicBezTo>
                  <a:cubicBezTo>
                    <a:pt x="0" y="87"/>
                    <a:pt x="1" y="159"/>
                    <a:pt x="9" y="188"/>
                  </a:cubicBezTo>
                  <a:cubicBezTo>
                    <a:pt x="10" y="191"/>
                    <a:pt x="12" y="194"/>
                    <a:pt x="15" y="195"/>
                  </a:cubicBezTo>
                  <a:cubicBezTo>
                    <a:pt x="17" y="196"/>
                    <a:pt x="18" y="196"/>
                    <a:pt x="20" y="196"/>
                  </a:cubicBezTo>
                  <a:cubicBezTo>
                    <a:pt x="21" y="196"/>
                    <a:pt x="22" y="196"/>
                    <a:pt x="24" y="195"/>
                  </a:cubicBezTo>
                  <a:cubicBezTo>
                    <a:pt x="37" y="190"/>
                    <a:pt x="75" y="177"/>
                    <a:pt x="92" y="178"/>
                  </a:cubicBezTo>
                  <a:cubicBezTo>
                    <a:pt x="98" y="179"/>
                    <a:pt x="102" y="175"/>
                    <a:pt x="104" y="170"/>
                  </a:cubicBezTo>
                  <a:cubicBezTo>
                    <a:pt x="104" y="170"/>
                    <a:pt x="115" y="115"/>
                    <a:pt x="119" y="101"/>
                  </a:cubicBezTo>
                  <a:cubicBezTo>
                    <a:pt x="119" y="100"/>
                    <a:pt x="119" y="100"/>
                    <a:pt x="119" y="100"/>
                  </a:cubicBezTo>
                  <a:cubicBezTo>
                    <a:pt x="120" y="94"/>
                    <a:pt x="126" y="41"/>
                    <a:pt x="102" y="14"/>
                  </a:cubicBezTo>
                  <a:cubicBezTo>
                    <a:pt x="94" y="5"/>
                    <a:pt x="82" y="0"/>
                    <a:pt x="69" y="0"/>
                  </a:cubicBezTo>
                  <a:close/>
                  <a:moveTo>
                    <a:pt x="98" y="96"/>
                  </a:moveTo>
                  <a:cubicBezTo>
                    <a:pt x="95" y="108"/>
                    <a:pt x="88" y="142"/>
                    <a:pt x="85" y="157"/>
                  </a:cubicBezTo>
                  <a:cubicBezTo>
                    <a:pt x="66" y="159"/>
                    <a:pt x="42" y="166"/>
                    <a:pt x="28" y="171"/>
                  </a:cubicBezTo>
                  <a:cubicBezTo>
                    <a:pt x="22" y="142"/>
                    <a:pt x="22" y="91"/>
                    <a:pt x="22" y="85"/>
                  </a:cubicBezTo>
                  <a:cubicBezTo>
                    <a:pt x="22" y="78"/>
                    <a:pt x="31" y="22"/>
                    <a:pt x="69" y="22"/>
                  </a:cubicBezTo>
                  <a:cubicBezTo>
                    <a:pt x="69" y="22"/>
                    <a:pt x="69" y="22"/>
                    <a:pt x="69" y="22"/>
                  </a:cubicBezTo>
                  <a:cubicBezTo>
                    <a:pt x="76" y="22"/>
                    <a:pt x="82" y="24"/>
                    <a:pt x="86" y="29"/>
                  </a:cubicBezTo>
                  <a:cubicBezTo>
                    <a:pt x="101" y="45"/>
                    <a:pt x="100" y="82"/>
                    <a:pt x="98" y="96"/>
                  </a:cubicBezTo>
                  <a:close/>
                  <a:moveTo>
                    <a:pt x="103" y="208"/>
                  </a:moveTo>
                  <a:cubicBezTo>
                    <a:pt x="103" y="203"/>
                    <a:pt x="98" y="199"/>
                    <a:pt x="93" y="199"/>
                  </a:cubicBezTo>
                  <a:cubicBezTo>
                    <a:pt x="58" y="199"/>
                    <a:pt x="34" y="206"/>
                    <a:pt x="22" y="223"/>
                  </a:cubicBezTo>
                  <a:cubicBezTo>
                    <a:pt x="21" y="225"/>
                    <a:pt x="20" y="228"/>
                    <a:pt x="20" y="231"/>
                  </a:cubicBezTo>
                  <a:cubicBezTo>
                    <a:pt x="23" y="252"/>
                    <a:pt x="23" y="252"/>
                    <a:pt x="23" y="252"/>
                  </a:cubicBezTo>
                  <a:cubicBezTo>
                    <a:pt x="25" y="263"/>
                    <a:pt x="31" y="273"/>
                    <a:pt x="40" y="280"/>
                  </a:cubicBezTo>
                  <a:cubicBezTo>
                    <a:pt x="47" y="285"/>
                    <a:pt x="56" y="288"/>
                    <a:pt x="66" y="288"/>
                  </a:cubicBezTo>
                  <a:cubicBezTo>
                    <a:pt x="68" y="288"/>
                    <a:pt x="70" y="288"/>
                    <a:pt x="72" y="288"/>
                  </a:cubicBezTo>
                  <a:cubicBezTo>
                    <a:pt x="83" y="286"/>
                    <a:pt x="93" y="280"/>
                    <a:pt x="100" y="271"/>
                  </a:cubicBezTo>
                  <a:cubicBezTo>
                    <a:pt x="107" y="262"/>
                    <a:pt x="109" y="251"/>
                    <a:pt x="108" y="240"/>
                  </a:cubicBezTo>
                  <a:lnTo>
                    <a:pt x="103" y="208"/>
                  </a:lnTo>
                  <a:close/>
                  <a:moveTo>
                    <a:pt x="83" y="258"/>
                  </a:moveTo>
                  <a:cubicBezTo>
                    <a:pt x="79" y="263"/>
                    <a:pt x="74" y="266"/>
                    <a:pt x="69" y="267"/>
                  </a:cubicBezTo>
                  <a:cubicBezTo>
                    <a:pt x="63" y="268"/>
                    <a:pt x="57" y="266"/>
                    <a:pt x="53" y="263"/>
                  </a:cubicBezTo>
                  <a:cubicBezTo>
                    <a:pt x="48" y="259"/>
                    <a:pt x="45" y="254"/>
                    <a:pt x="45" y="249"/>
                  </a:cubicBezTo>
                  <a:cubicBezTo>
                    <a:pt x="42" y="232"/>
                    <a:pt x="42" y="232"/>
                    <a:pt x="42" y="232"/>
                  </a:cubicBezTo>
                  <a:cubicBezTo>
                    <a:pt x="50" y="225"/>
                    <a:pt x="64" y="221"/>
                    <a:pt x="84" y="220"/>
                  </a:cubicBezTo>
                  <a:cubicBezTo>
                    <a:pt x="87" y="243"/>
                    <a:pt x="87" y="243"/>
                    <a:pt x="87" y="243"/>
                  </a:cubicBezTo>
                  <a:cubicBezTo>
                    <a:pt x="88" y="248"/>
                    <a:pt x="86" y="254"/>
                    <a:pt x="83" y="25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9" name="Freeform 1014">
              <a:extLst>
                <a:ext uri="{FF2B5EF4-FFF2-40B4-BE49-F238E27FC236}">
                  <a16:creationId xmlns:a16="http://schemas.microsoft.com/office/drawing/2014/main" id="{3CD5F971-5666-4E6C-81BF-B091181C7500}"/>
                </a:ext>
              </a:extLst>
            </p:cNvPr>
            <p:cNvSpPr>
              <a:spLocks noEditPoints="1"/>
            </p:cNvSpPr>
            <p:nvPr/>
          </p:nvSpPr>
          <p:spPr bwMode="auto">
            <a:xfrm>
              <a:off x="1878"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dirty="0">
                <a:ln>
                  <a:noFill/>
                </a:ln>
                <a:solidFill>
                  <a:prstClr val="black"/>
                </a:solidFill>
                <a:effectLst/>
                <a:uLnTx/>
                <a:uFillTx/>
                <a:ea typeface="ヒラギノ角ゴ ProN W3" charset="0"/>
                <a:cs typeface="+mn-cs"/>
                <a:sym typeface="Gotham Book" charset="0"/>
              </a:endParaRPr>
            </a:p>
          </p:txBody>
        </p:sp>
      </p:grpSp>
      <p:grpSp>
        <p:nvGrpSpPr>
          <p:cNvPr id="60" name="Group 638">
            <a:extLst>
              <a:ext uri="{FF2B5EF4-FFF2-40B4-BE49-F238E27FC236}">
                <a16:creationId xmlns:a16="http://schemas.microsoft.com/office/drawing/2014/main" id="{DA58B5C2-223A-42CA-92F9-65CEE9CACFEB}"/>
              </a:ext>
            </a:extLst>
          </p:cNvPr>
          <p:cNvGrpSpPr>
            <a:grpSpLocks noChangeAspect="1"/>
          </p:cNvGrpSpPr>
          <p:nvPr/>
        </p:nvGrpSpPr>
        <p:grpSpPr bwMode="auto">
          <a:xfrm>
            <a:off x="3362612" y="2102393"/>
            <a:ext cx="515669" cy="514158"/>
            <a:chOff x="1900" y="2357"/>
            <a:chExt cx="341" cy="340"/>
          </a:xfrm>
          <a:solidFill>
            <a:srgbClr val="046A38"/>
          </a:solidFill>
        </p:grpSpPr>
        <p:sp>
          <p:nvSpPr>
            <p:cNvPr id="61" name="Freeform 639">
              <a:extLst>
                <a:ext uri="{FF2B5EF4-FFF2-40B4-BE49-F238E27FC236}">
                  <a16:creationId xmlns:a16="http://schemas.microsoft.com/office/drawing/2014/main" id="{FE2A3A7A-76E6-4988-BA4E-DDBBAEF62BE0}"/>
                </a:ext>
              </a:extLst>
            </p:cNvPr>
            <p:cNvSpPr>
              <a:spLocks/>
            </p:cNvSpPr>
            <p:nvPr/>
          </p:nvSpPr>
          <p:spPr bwMode="auto">
            <a:xfrm>
              <a:off x="1964" y="2419"/>
              <a:ext cx="213" cy="214"/>
            </a:xfrm>
            <a:custGeom>
              <a:avLst/>
              <a:gdLst>
                <a:gd name="T0" fmla="*/ 234 w 320"/>
                <a:gd name="T1" fmla="*/ 303 h 322"/>
                <a:gd name="T2" fmla="*/ 213 w 320"/>
                <a:gd name="T3" fmla="*/ 322 h 322"/>
                <a:gd name="T4" fmla="*/ 199 w 320"/>
                <a:gd name="T5" fmla="*/ 317 h 322"/>
                <a:gd name="T6" fmla="*/ 160 w 320"/>
                <a:gd name="T7" fmla="*/ 322 h 322"/>
                <a:gd name="T8" fmla="*/ 0 w 320"/>
                <a:gd name="T9" fmla="*/ 162 h 322"/>
                <a:gd name="T10" fmla="*/ 11 w 320"/>
                <a:gd name="T11" fmla="*/ 102 h 322"/>
                <a:gd name="T12" fmla="*/ 34 w 320"/>
                <a:gd name="T13" fmla="*/ 63 h 322"/>
                <a:gd name="T14" fmla="*/ 49 w 320"/>
                <a:gd name="T15" fmla="*/ 61 h 322"/>
                <a:gd name="T16" fmla="*/ 51 w 320"/>
                <a:gd name="T17" fmla="*/ 76 h 322"/>
                <a:gd name="T18" fmla="*/ 31 w 320"/>
                <a:gd name="T19" fmla="*/ 110 h 322"/>
                <a:gd name="T20" fmla="*/ 21 w 320"/>
                <a:gd name="T21" fmla="*/ 162 h 322"/>
                <a:gd name="T22" fmla="*/ 160 w 320"/>
                <a:gd name="T23" fmla="*/ 300 h 322"/>
                <a:gd name="T24" fmla="*/ 192 w 320"/>
                <a:gd name="T25" fmla="*/ 296 h 322"/>
                <a:gd name="T26" fmla="*/ 213 w 320"/>
                <a:gd name="T27" fmla="*/ 279 h 322"/>
                <a:gd name="T28" fmla="*/ 226 w 320"/>
                <a:gd name="T29" fmla="*/ 283 h 322"/>
                <a:gd name="T30" fmla="*/ 298 w 320"/>
                <a:gd name="T31" fmla="*/ 162 h 322"/>
                <a:gd name="T32" fmla="*/ 249 w 320"/>
                <a:gd name="T33" fmla="*/ 56 h 322"/>
                <a:gd name="T34" fmla="*/ 230 w 320"/>
                <a:gd name="T35" fmla="*/ 82 h 322"/>
                <a:gd name="T36" fmla="*/ 266 w 320"/>
                <a:gd name="T37" fmla="*/ 162 h 322"/>
                <a:gd name="T38" fmla="*/ 160 w 320"/>
                <a:gd name="T39" fmla="*/ 268 h 322"/>
                <a:gd name="T40" fmla="*/ 55 w 320"/>
                <a:gd name="T41" fmla="*/ 181 h 322"/>
                <a:gd name="T42" fmla="*/ 42 w 320"/>
                <a:gd name="T43" fmla="*/ 162 h 322"/>
                <a:gd name="T44" fmla="*/ 55 w 320"/>
                <a:gd name="T45" fmla="*/ 142 h 322"/>
                <a:gd name="T46" fmla="*/ 59 w 320"/>
                <a:gd name="T47" fmla="*/ 126 h 322"/>
                <a:gd name="T48" fmla="*/ 73 w 320"/>
                <a:gd name="T49" fmla="*/ 120 h 322"/>
                <a:gd name="T50" fmla="*/ 79 w 320"/>
                <a:gd name="T51" fmla="*/ 133 h 322"/>
                <a:gd name="T52" fmla="*/ 76 w 320"/>
                <a:gd name="T53" fmla="*/ 144 h 322"/>
                <a:gd name="T54" fmla="*/ 85 w 320"/>
                <a:gd name="T55" fmla="*/ 162 h 322"/>
                <a:gd name="T56" fmla="*/ 76 w 320"/>
                <a:gd name="T57" fmla="*/ 179 h 322"/>
                <a:gd name="T58" fmla="*/ 160 w 320"/>
                <a:gd name="T59" fmla="*/ 247 h 322"/>
                <a:gd name="T60" fmla="*/ 245 w 320"/>
                <a:gd name="T61" fmla="*/ 162 h 322"/>
                <a:gd name="T62" fmla="*/ 217 w 320"/>
                <a:gd name="T63" fmla="*/ 99 h 322"/>
                <a:gd name="T64" fmla="*/ 199 w 320"/>
                <a:gd name="T65" fmla="*/ 125 h 322"/>
                <a:gd name="T66" fmla="*/ 213 w 320"/>
                <a:gd name="T67" fmla="*/ 162 h 322"/>
                <a:gd name="T68" fmla="*/ 160 w 320"/>
                <a:gd name="T69" fmla="*/ 215 h 322"/>
                <a:gd name="T70" fmla="*/ 106 w 320"/>
                <a:gd name="T71" fmla="*/ 162 h 322"/>
                <a:gd name="T72" fmla="*/ 133 w 320"/>
                <a:gd name="T73" fmla="*/ 115 h 322"/>
                <a:gd name="T74" fmla="*/ 148 w 320"/>
                <a:gd name="T75" fmla="*/ 119 h 322"/>
                <a:gd name="T76" fmla="*/ 144 w 320"/>
                <a:gd name="T77" fmla="*/ 134 h 322"/>
                <a:gd name="T78" fmla="*/ 128 w 320"/>
                <a:gd name="T79" fmla="*/ 162 h 322"/>
                <a:gd name="T80" fmla="*/ 160 w 320"/>
                <a:gd name="T81" fmla="*/ 194 h 322"/>
                <a:gd name="T82" fmla="*/ 192 w 320"/>
                <a:gd name="T83" fmla="*/ 162 h 322"/>
                <a:gd name="T84" fmla="*/ 186 w 320"/>
                <a:gd name="T85" fmla="*/ 143 h 322"/>
                <a:gd name="T86" fmla="*/ 168 w 320"/>
                <a:gd name="T87" fmla="*/ 168 h 322"/>
                <a:gd name="T88" fmla="*/ 160 w 320"/>
                <a:gd name="T89" fmla="*/ 172 h 322"/>
                <a:gd name="T90" fmla="*/ 153 w 320"/>
                <a:gd name="T91" fmla="*/ 170 h 322"/>
                <a:gd name="T92" fmla="*/ 151 w 320"/>
                <a:gd name="T93" fmla="*/ 155 h 322"/>
                <a:gd name="T94" fmla="*/ 258 w 320"/>
                <a:gd name="T95" fmla="*/ 6 h 322"/>
                <a:gd name="T96" fmla="*/ 273 w 320"/>
                <a:gd name="T97" fmla="*/ 4 h 322"/>
                <a:gd name="T98" fmla="*/ 275 w 320"/>
                <a:gd name="T99" fmla="*/ 19 h 322"/>
                <a:gd name="T100" fmla="*/ 261 w 320"/>
                <a:gd name="T101" fmla="*/ 38 h 322"/>
                <a:gd name="T102" fmla="*/ 320 w 320"/>
                <a:gd name="T103" fmla="*/ 162 h 322"/>
                <a:gd name="T104" fmla="*/ 234 w 320"/>
                <a:gd name="T105" fmla="*/ 303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0" h="322">
                  <a:moveTo>
                    <a:pt x="234" y="303"/>
                  </a:moveTo>
                  <a:cubicBezTo>
                    <a:pt x="233" y="314"/>
                    <a:pt x="224" y="322"/>
                    <a:pt x="213" y="322"/>
                  </a:cubicBezTo>
                  <a:cubicBezTo>
                    <a:pt x="208" y="322"/>
                    <a:pt x="203" y="320"/>
                    <a:pt x="199" y="317"/>
                  </a:cubicBezTo>
                  <a:cubicBezTo>
                    <a:pt x="187" y="320"/>
                    <a:pt x="173" y="322"/>
                    <a:pt x="160" y="322"/>
                  </a:cubicBezTo>
                  <a:cubicBezTo>
                    <a:pt x="71" y="322"/>
                    <a:pt x="0" y="250"/>
                    <a:pt x="0" y="162"/>
                  </a:cubicBezTo>
                  <a:cubicBezTo>
                    <a:pt x="0" y="141"/>
                    <a:pt x="4" y="121"/>
                    <a:pt x="11" y="102"/>
                  </a:cubicBezTo>
                  <a:cubicBezTo>
                    <a:pt x="17" y="88"/>
                    <a:pt x="24" y="75"/>
                    <a:pt x="34" y="63"/>
                  </a:cubicBezTo>
                  <a:cubicBezTo>
                    <a:pt x="38" y="58"/>
                    <a:pt x="44" y="57"/>
                    <a:pt x="49" y="61"/>
                  </a:cubicBezTo>
                  <a:cubicBezTo>
                    <a:pt x="54" y="65"/>
                    <a:pt x="54" y="71"/>
                    <a:pt x="51" y="76"/>
                  </a:cubicBezTo>
                  <a:cubicBezTo>
                    <a:pt x="42" y="86"/>
                    <a:pt x="36" y="98"/>
                    <a:pt x="31" y="110"/>
                  </a:cubicBezTo>
                  <a:cubicBezTo>
                    <a:pt x="24" y="126"/>
                    <a:pt x="21" y="144"/>
                    <a:pt x="21" y="162"/>
                  </a:cubicBezTo>
                  <a:cubicBezTo>
                    <a:pt x="21" y="238"/>
                    <a:pt x="83" y="300"/>
                    <a:pt x="160" y="300"/>
                  </a:cubicBezTo>
                  <a:cubicBezTo>
                    <a:pt x="171" y="300"/>
                    <a:pt x="182" y="299"/>
                    <a:pt x="192" y="296"/>
                  </a:cubicBezTo>
                  <a:cubicBezTo>
                    <a:pt x="194" y="286"/>
                    <a:pt x="203" y="279"/>
                    <a:pt x="213" y="279"/>
                  </a:cubicBezTo>
                  <a:cubicBezTo>
                    <a:pt x="218" y="279"/>
                    <a:pt x="222" y="281"/>
                    <a:pt x="226" y="283"/>
                  </a:cubicBezTo>
                  <a:cubicBezTo>
                    <a:pt x="269" y="260"/>
                    <a:pt x="298" y="214"/>
                    <a:pt x="298" y="162"/>
                  </a:cubicBezTo>
                  <a:cubicBezTo>
                    <a:pt x="298" y="120"/>
                    <a:pt x="280" y="82"/>
                    <a:pt x="249" y="56"/>
                  </a:cubicBezTo>
                  <a:cubicBezTo>
                    <a:pt x="230" y="82"/>
                    <a:pt x="230" y="82"/>
                    <a:pt x="230" y="82"/>
                  </a:cubicBezTo>
                  <a:cubicBezTo>
                    <a:pt x="253" y="102"/>
                    <a:pt x="266" y="131"/>
                    <a:pt x="266" y="162"/>
                  </a:cubicBezTo>
                  <a:cubicBezTo>
                    <a:pt x="266" y="220"/>
                    <a:pt x="218" y="268"/>
                    <a:pt x="160" y="268"/>
                  </a:cubicBezTo>
                  <a:cubicBezTo>
                    <a:pt x="107" y="268"/>
                    <a:pt x="64" y="231"/>
                    <a:pt x="55" y="181"/>
                  </a:cubicBezTo>
                  <a:cubicBezTo>
                    <a:pt x="47" y="178"/>
                    <a:pt x="42" y="170"/>
                    <a:pt x="42" y="162"/>
                  </a:cubicBezTo>
                  <a:cubicBezTo>
                    <a:pt x="42" y="153"/>
                    <a:pt x="47" y="146"/>
                    <a:pt x="55" y="142"/>
                  </a:cubicBezTo>
                  <a:cubicBezTo>
                    <a:pt x="56" y="137"/>
                    <a:pt x="57" y="131"/>
                    <a:pt x="59" y="126"/>
                  </a:cubicBezTo>
                  <a:cubicBezTo>
                    <a:pt x="61" y="121"/>
                    <a:pt x="67" y="118"/>
                    <a:pt x="73" y="120"/>
                  </a:cubicBezTo>
                  <a:cubicBezTo>
                    <a:pt x="78" y="122"/>
                    <a:pt x="81" y="128"/>
                    <a:pt x="79" y="133"/>
                  </a:cubicBezTo>
                  <a:cubicBezTo>
                    <a:pt x="78" y="137"/>
                    <a:pt x="77" y="141"/>
                    <a:pt x="76" y="144"/>
                  </a:cubicBezTo>
                  <a:cubicBezTo>
                    <a:pt x="81" y="148"/>
                    <a:pt x="85" y="155"/>
                    <a:pt x="85" y="162"/>
                  </a:cubicBezTo>
                  <a:cubicBezTo>
                    <a:pt x="85" y="169"/>
                    <a:pt x="81" y="175"/>
                    <a:pt x="76" y="179"/>
                  </a:cubicBezTo>
                  <a:cubicBezTo>
                    <a:pt x="84" y="218"/>
                    <a:pt x="119" y="247"/>
                    <a:pt x="160" y="247"/>
                  </a:cubicBezTo>
                  <a:cubicBezTo>
                    <a:pt x="207" y="247"/>
                    <a:pt x="245" y="209"/>
                    <a:pt x="245" y="162"/>
                  </a:cubicBezTo>
                  <a:cubicBezTo>
                    <a:pt x="245" y="138"/>
                    <a:pt x="235" y="115"/>
                    <a:pt x="217" y="99"/>
                  </a:cubicBezTo>
                  <a:cubicBezTo>
                    <a:pt x="199" y="125"/>
                    <a:pt x="199" y="125"/>
                    <a:pt x="199" y="125"/>
                  </a:cubicBezTo>
                  <a:cubicBezTo>
                    <a:pt x="208" y="135"/>
                    <a:pt x="213" y="148"/>
                    <a:pt x="213" y="162"/>
                  </a:cubicBezTo>
                  <a:cubicBezTo>
                    <a:pt x="213" y="191"/>
                    <a:pt x="189" y="215"/>
                    <a:pt x="160" y="215"/>
                  </a:cubicBezTo>
                  <a:cubicBezTo>
                    <a:pt x="130" y="215"/>
                    <a:pt x="106" y="191"/>
                    <a:pt x="106" y="162"/>
                  </a:cubicBezTo>
                  <a:cubicBezTo>
                    <a:pt x="106" y="143"/>
                    <a:pt x="117" y="125"/>
                    <a:pt x="133" y="115"/>
                  </a:cubicBezTo>
                  <a:cubicBezTo>
                    <a:pt x="138" y="113"/>
                    <a:pt x="145" y="114"/>
                    <a:pt x="148" y="119"/>
                  </a:cubicBezTo>
                  <a:cubicBezTo>
                    <a:pt x="151" y="124"/>
                    <a:pt x="149" y="131"/>
                    <a:pt x="144" y="134"/>
                  </a:cubicBezTo>
                  <a:cubicBezTo>
                    <a:pt x="134" y="140"/>
                    <a:pt x="128" y="150"/>
                    <a:pt x="128" y="162"/>
                  </a:cubicBezTo>
                  <a:cubicBezTo>
                    <a:pt x="128" y="179"/>
                    <a:pt x="142" y="194"/>
                    <a:pt x="160" y="194"/>
                  </a:cubicBezTo>
                  <a:cubicBezTo>
                    <a:pt x="177" y="194"/>
                    <a:pt x="192" y="179"/>
                    <a:pt x="192" y="162"/>
                  </a:cubicBezTo>
                  <a:cubicBezTo>
                    <a:pt x="192" y="155"/>
                    <a:pt x="190" y="149"/>
                    <a:pt x="186" y="143"/>
                  </a:cubicBezTo>
                  <a:cubicBezTo>
                    <a:pt x="168" y="168"/>
                    <a:pt x="168" y="168"/>
                    <a:pt x="168" y="168"/>
                  </a:cubicBezTo>
                  <a:cubicBezTo>
                    <a:pt x="166" y="171"/>
                    <a:pt x="163" y="172"/>
                    <a:pt x="160" y="172"/>
                  </a:cubicBezTo>
                  <a:cubicBezTo>
                    <a:pt x="158" y="172"/>
                    <a:pt x="155" y="172"/>
                    <a:pt x="153" y="170"/>
                  </a:cubicBezTo>
                  <a:cubicBezTo>
                    <a:pt x="149" y="167"/>
                    <a:pt x="148" y="160"/>
                    <a:pt x="151" y="155"/>
                  </a:cubicBezTo>
                  <a:cubicBezTo>
                    <a:pt x="258" y="6"/>
                    <a:pt x="258" y="6"/>
                    <a:pt x="258" y="6"/>
                  </a:cubicBezTo>
                  <a:cubicBezTo>
                    <a:pt x="261" y="1"/>
                    <a:pt x="268" y="0"/>
                    <a:pt x="273" y="4"/>
                  </a:cubicBezTo>
                  <a:cubicBezTo>
                    <a:pt x="277" y="7"/>
                    <a:pt x="278" y="14"/>
                    <a:pt x="275" y="19"/>
                  </a:cubicBezTo>
                  <a:cubicBezTo>
                    <a:pt x="261" y="38"/>
                    <a:pt x="261" y="38"/>
                    <a:pt x="261" y="38"/>
                  </a:cubicBezTo>
                  <a:cubicBezTo>
                    <a:pt x="298" y="69"/>
                    <a:pt x="320" y="113"/>
                    <a:pt x="320" y="162"/>
                  </a:cubicBezTo>
                  <a:cubicBezTo>
                    <a:pt x="320" y="223"/>
                    <a:pt x="285" y="276"/>
                    <a:pt x="234" y="3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62" name="Freeform 640">
              <a:extLst>
                <a:ext uri="{FF2B5EF4-FFF2-40B4-BE49-F238E27FC236}">
                  <a16:creationId xmlns:a16="http://schemas.microsoft.com/office/drawing/2014/main" id="{614BE2C8-18FF-462F-AAD9-39610AD53394}"/>
                </a:ext>
              </a:extLst>
            </p:cNvPr>
            <p:cNvSpPr>
              <a:spLocks noEditPoints="1"/>
            </p:cNvSpPr>
            <p:nvPr/>
          </p:nvSpPr>
          <p:spPr bwMode="auto">
            <a:xfrm>
              <a:off x="1900" y="235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dirty="0">
                <a:ln>
                  <a:noFill/>
                </a:ln>
                <a:solidFill>
                  <a:prstClr val="black"/>
                </a:solidFill>
                <a:effectLst/>
                <a:uLnTx/>
                <a:uFillTx/>
                <a:ea typeface="ヒラギノ角ゴ ProN W3" charset="0"/>
                <a:cs typeface="+mn-cs"/>
                <a:sym typeface="Gotham Book" charset="0"/>
              </a:endParaRPr>
            </a:p>
          </p:txBody>
        </p:sp>
      </p:grpSp>
      <p:grpSp>
        <p:nvGrpSpPr>
          <p:cNvPr id="63" name="Group 266">
            <a:extLst>
              <a:ext uri="{FF2B5EF4-FFF2-40B4-BE49-F238E27FC236}">
                <a16:creationId xmlns:a16="http://schemas.microsoft.com/office/drawing/2014/main" id="{C97C0A4A-CBC3-4630-802F-E904188A0901}"/>
              </a:ext>
            </a:extLst>
          </p:cNvPr>
          <p:cNvGrpSpPr>
            <a:grpSpLocks noChangeAspect="1"/>
          </p:cNvGrpSpPr>
          <p:nvPr/>
        </p:nvGrpSpPr>
        <p:grpSpPr bwMode="auto">
          <a:xfrm>
            <a:off x="5014995" y="2102086"/>
            <a:ext cx="514158" cy="514158"/>
            <a:chOff x="1926" y="792"/>
            <a:chExt cx="340" cy="340"/>
          </a:xfrm>
          <a:solidFill>
            <a:srgbClr val="62B5E5"/>
          </a:solidFill>
        </p:grpSpPr>
        <p:sp>
          <p:nvSpPr>
            <p:cNvPr id="64" name="Freeform 267">
              <a:extLst>
                <a:ext uri="{FF2B5EF4-FFF2-40B4-BE49-F238E27FC236}">
                  <a16:creationId xmlns:a16="http://schemas.microsoft.com/office/drawing/2014/main" id="{758712D4-ADC2-4B41-AAF6-99C20A3A82CA}"/>
                </a:ext>
              </a:extLst>
            </p:cNvPr>
            <p:cNvSpPr>
              <a:spLocks noEditPoints="1"/>
            </p:cNvSpPr>
            <p:nvPr/>
          </p:nvSpPr>
          <p:spPr bwMode="auto">
            <a:xfrm>
              <a:off x="1926"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65" name="Freeform 268">
              <a:extLst>
                <a:ext uri="{FF2B5EF4-FFF2-40B4-BE49-F238E27FC236}">
                  <a16:creationId xmlns:a16="http://schemas.microsoft.com/office/drawing/2014/main" id="{D44C8894-7C83-4E19-BE89-609F8721C946}"/>
                </a:ext>
              </a:extLst>
            </p:cNvPr>
            <p:cNvSpPr>
              <a:spLocks noEditPoints="1"/>
            </p:cNvSpPr>
            <p:nvPr/>
          </p:nvSpPr>
          <p:spPr bwMode="auto">
            <a:xfrm>
              <a:off x="1996" y="875"/>
              <a:ext cx="196" cy="157"/>
            </a:xfrm>
            <a:custGeom>
              <a:avLst/>
              <a:gdLst>
                <a:gd name="T0" fmla="*/ 75 w 295"/>
                <a:gd name="T1" fmla="*/ 163 h 237"/>
                <a:gd name="T2" fmla="*/ 118 w 295"/>
                <a:gd name="T3" fmla="*/ 120 h 237"/>
                <a:gd name="T4" fmla="*/ 75 w 295"/>
                <a:gd name="T5" fmla="*/ 77 h 237"/>
                <a:gd name="T6" fmla="*/ 32 w 295"/>
                <a:gd name="T7" fmla="*/ 120 h 237"/>
                <a:gd name="T8" fmla="*/ 75 w 295"/>
                <a:gd name="T9" fmla="*/ 163 h 237"/>
                <a:gd name="T10" fmla="*/ 75 w 295"/>
                <a:gd name="T11" fmla="*/ 99 h 237"/>
                <a:gd name="T12" fmla="*/ 96 w 295"/>
                <a:gd name="T13" fmla="*/ 120 h 237"/>
                <a:gd name="T14" fmla="*/ 75 w 295"/>
                <a:gd name="T15" fmla="*/ 141 h 237"/>
                <a:gd name="T16" fmla="*/ 54 w 295"/>
                <a:gd name="T17" fmla="*/ 120 h 237"/>
                <a:gd name="T18" fmla="*/ 75 w 295"/>
                <a:gd name="T19" fmla="*/ 99 h 237"/>
                <a:gd name="T20" fmla="*/ 171 w 295"/>
                <a:gd name="T21" fmla="*/ 90 h 237"/>
                <a:gd name="T22" fmla="*/ 182 w 295"/>
                <a:gd name="T23" fmla="*/ 119 h 237"/>
                <a:gd name="T24" fmla="*/ 171 w 295"/>
                <a:gd name="T25" fmla="*/ 148 h 237"/>
                <a:gd name="T26" fmla="*/ 163 w 295"/>
                <a:gd name="T27" fmla="*/ 151 h 237"/>
                <a:gd name="T28" fmla="*/ 156 w 295"/>
                <a:gd name="T29" fmla="*/ 149 h 237"/>
                <a:gd name="T30" fmla="*/ 155 w 295"/>
                <a:gd name="T31" fmla="*/ 133 h 237"/>
                <a:gd name="T32" fmla="*/ 161 w 295"/>
                <a:gd name="T33" fmla="*/ 119 h 237"/>
                <a:gd name="T34" fmla="*/ 155 w 295"/>
                <a:gd name="T35" fmla="*/ 105 h 237"/>
                <a:gd name="T36" fmla="*/ 156 w 295"/>
                <a:gd name="T37" fmla="*/ 90 h 237"/>
                <a:gd name="T38" fmla="*/ 171 w 295"/>
                <a:gd name="T39" fmla="*/ 90 h 237"/>
                <a:gd name="T40" fmla="*/ 239 w 295"/>
                <a:gd name="T41" fmla="*/ 119 h 237"/>
                <a:gd name="T42" fmla="*/ 204 w 295"/>
                <a:gd name="T43" fmla="*/ 192 h 237"/>
                <a:gd name="T44" fmla="*/ 197 w 295"/>
                <a:gd name="T45" fmla="*/ 194 h 237"/>
                <a:gd name="T46" fmla="*/ 189 w 295"/>
                <a:gd name="T47" fmla="*/ 191 h 237"/>
                <a:gd name="T48" fmla="*/ 190 w 295"/>
                <a:gd name="T49" fmla="*/ 176 h 237"/>
                <a:gd name="T50" fmla="*/ 217 w 295"/>
                <a:gd name="T51" fmla="*/ 119 h 237"/>
                <a:gd name="T52" fmla="*/ 190 w 295"/>
                <a:gd name="T53" fmla="*/ 63 h 237"/>
                <a:gd name="T54" fmla="*/ 189 w 295"/>
                <a:gd name="T55" fmla="*/ 48 h 237"/>
                <a:gd name="T56" fmla="*/ 204 w 295"/>
                <a:gd name="T57" fmla="*/ 47 h 237"/>
                <a:gd name="T58" fmla="*/ 239 w 295"/>
                <a:gd name="T59" fmla="*/ 119 h 237"/>
                <a:gd name="T60" fmla="*/ 295 w 295"/>
                <a:gd name="T61" fmla="*/ 119 h 237"/>
                <a:gd name="T62" fmla="*/ 238 w 295"/>
                <a:gd name="T63" fmla="*/ 235 h 237"/>
                <a:gd name="T64" fmla="*/ 231 w 295"/>
                <a:gd name="T65" fmla="*/ 237 h 237"/>
                <a:gd name="T66" fmla="*/ 223 w 295"/>
                <a:gd name="T67" fmla="*/ 233 h 237"/>
                <a:gd name="T68" fmla="*/ 225 w 295"/>
                <a:gd name="T69" fmla="*/ 218 h 237"/>
                <a:gd name="T70" fmla="*/ 274 w 295"/>
                <a:gd name="T71" fmla="*/ 119 h 237"/>
                <a:gd name="T72" fmla="*/ 225 w 295"/>
                <a:gd name="T73" fmla="*/ 20 h 237"/>
                <a:gd name="T74" fmla="*/ 223 w 295"/>
                <a:gd name="T75" fmla="*/ 5 h 237"/>
                <a:gd name="T76" fmla="*/ 238 w 295"/>
                <a:gd name="T77" fmla="*/ 3 h 237"/>
                <a:gd name="T78" fmla="*/ 295 w 295"/>
                <a:gd name="T79" fmla="*/ 119 h 237"/>
                <a:gd name="T80" fmla="*/ 150 w 295"/>
                <a:gd name="T81" fmla="*/ 195 h 237"/>
                <a:gd name="T82" fmla="*/ 150 w 295"/>
                <a:gd name="T83" fmla="*/ 227 h 237"/>
                <a:gd name="T84" fmla="*/ 139 w 295"/>
                <a:gd name="T85" fmla="*/ 237 h 237"/>
                <a:gd name="T86" fmla="*/ 128 w 295"/>
                <a:gd name="T87" fmla="*/ 227 h 237"/>
                <a:gd name="T88" fmla="*/ 128 w 295"/>
                <a:gd name="T89" fmla="*/ 205 h 237"/>
                <a:gd name="T90" fmla="*/ 22 w 295"/>
                <a:gd name="T91" fmla="*/ 205 h 237"/>
                <a:gd name="T92" fmla="*/ 22 w 295"/>
                <a:gd name="T93" fmla="*/ 227 h 237"/>
                <a:gd name="T94" fmla="*/ 11 w 295"/>
                <a:gd name="T95" fmla="*/ 237 h 237"/>
                <a:gd name="T96" fmla="*/ 0 w 295"/>
                <a:gd name="T97" fmla="*/ 227 h 237"/>
                <a:gd name="T98" fmla="*/ 0 w 295"/>
                <a:gd name="T99" fmla="*/ 195 h 237"/>
                <a:gd name="T100" fmla="*/ 11 w 295"/>
                <a:gd name="T101" fmla="*/ 184 h 237"/>
                <a:gd name="T102" fmla="*/ 139 w 295"/>
                <a:gd name="T103" fmla="*/ 184 h 237"/>
                <a:gd name="T104" fmla="*/ 150 w 295"/>
                <a:gd name="T105" fmla="*/ 19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5" h="237">
                  <a:moveTo>
                    <a:pt x="75" y="163"/>
                  </a:moveTo>
                  <a:cubicBezTo>
                    <a:pt x="99" y="163"/>
                    <a:pt x="118" y="144"/>
                    <a:pt x="118" y="120"/>
                  </a:cubicBezTo>
                  <a:cubicBezTo>
                    <a:pt x="118" y="96"/>
                    <a:pt x="99" y="77"/>
                    <a:pt x="75" y="77"/>
                  </a:cubicBezTo>
                  <a:cubicBezTo>
                    <a:pt x="51" y="77"/>
                    <a:pt x="32" y="96"/>
                    <a:pt x="32" y="120"/>
                  </a:cubicBezTo>
                  <a:cubicBezTo>
                    <a:pt x="32" y="144"/>
                    <a:pt x="51" y="163"/>
                    <a:pt x="75" y="163"/>
                  </a:cubicBezTo>
                  <a:close/>
                  <a:moveTo>
                    <a:pt x="75" y="99"/>
                  </a:moveTo>
                  <a:cubicBezTo>
                    <a:pt x="87" y="99"/>
                    <a:pt x="96" y="108"/>
                    <a:pt x="96" y="120"/>
                  </a:cubicBezTo>
                  <a:cubicBezTo>
                    <a:pt x="96" y="132"/>
                    <a:pt x="87" y="141"/>
                    <a:pt x="75" y="141"/>
                  </a:cubicBezTo>
                  <a:cubicBezTo>
                    <a:pt x="63" y="141"/>
                    <a:pt x="54" y="132"/>
                    <a:pt x="54" y="120"/>
                  </a:cubicBezTo>
                  <a:cubicBezTo>
                    <a:pt x="54" y="108"/>
                    <a:pt x="63" y="99"/>
                    <a:pt x="75" y="99"/>
                  </a:cubicBezTo>
                  <a:close/>
                  <a:moveTo>
                    <a:pt x="171" y="90"/>
                  </a:moveTo>
                  <a:cubicBezTo>
                    <a:pt x="178" y="98"/>
                    <a:pt x="182" y="109"/>
                    <a:pt x="182" y="119"/>
                  </a:cubicBezTo>
                  <a:cubicBezTo>
                    <a:pt x="182" y="130"/>
                    <a:pt x="178" y="140"/>
                    <a:pt x="171" y="148"/>
                  </a:cubicBezTo>
                  <a:cubicBezTo>
                    <a:pt x="169" y="150"/>
                    <a:pt x="166" y="151"/>
                    <a:pt x="163" y="151"/>
                  </a:cubicBezTo>
                  <a:cubicBezTo>
                    <a:pt x="160" y="151"/>
                    <a:pt x="158" y="150"/>
                    <a:pt x="156" y="149"/>
                  </a:cubicBezTo>
                  <a:cubicBezTo>
                    <a:pt x="151" y="144"/>
                    <a:pt x="151" y="138"/>
                    <a:pt x="155" y="133"/>
                  </a:cubicBezTo>
                  <a:cubicBezTo>
                    <a:pt x="159" y="130"/>
                    <a:pt x="161" y="124"/>
                    <a:pt x="161" y="119"/>
                  </a:cubicBezTo>
                  <a:cubicBezTo>
                    <a:pt x="161" y="114"/>
                    <a:pt x="159" y="109"/>
                    <a:pt x="155" y="105"/>
                  </a:cubicBezTo>
                  <a:cubicBezTo>
                    <a:pt x="151" y="101"/>
                    <a:pt x="151" y="94"/>
                    <a:pt x="156" y="90"/>
                  </a:cubicBezTo>
                  <a:cubicBezTo>
                    <a:pt x="160" y="86"/>
                    <a:pt x="167" y="86"/>
                    <a:pt x="171" y="90"/>
                  </a:cubicBezTo>
                  <a:close/>
                  <a:moveTo>
                    <a:pt x="239" y="119"/>
                  </a:moveTo>
                  <a:cubicBezTo>
                    <a:pt x="239" y="147"/>
                    <a:pt x="226" y="174"/>
                    <a:pt x="204" y="192"/>
                  </a:cubicBezTo>
                  <a:cubicBezTo>
                    <a:pt x="202" y="194"/>
                    <a:pt x="200" y="194"/>
                    <a:pt x="197" y="194"/>
                  </a:cubicBezTo>
                  <a:cubicBezTo>
                    <a:pt x="194" y="194"/>
                    <a:pt x="191" y="193"/>
                    <a:pt x="189" y="191"/>
                  </a:cubicBezTo>
                  <a:cubicBezTo>
                    <a:pt x="185" y="186"/>
                    <a:pt x="186" y="179"/>
                    <a:pt x="190" y="176"/>
                  </a:cubicBezTo>
                  <a:cubicBezTo>
                    <a:pt x="207" y="161"/>
                    <a:pt x="217" y="141"/>
                    <a:pt x="217" y="119"/>
                  </a:cubicBezTo>
                  <a:cubicBezTo>
                    <a:pt x="217" y="98"/>
                    <a:pt x="207" y="77"/>
                    <a:pt x="190" y="63"/>
                  </a:cubicBezTo>
                  <a:cubicBezTo>
                    <a:pt x="186" y="59"/>
                    <a:pt x="185" y="52"/>
                    <a:pt x="189" y="48"/>
                  </a:cubicBezTo>
                  <a:cubicBezTo>
                    <a:pt x="193" y="43"/>
                    <a:pt x="200" y="43"/>
                    <a:pt x="204" y="47"/>
                  </a:cubicBezTo>
                  <a:cubicBezTo>
                    <a:pt x="226" y="65"/>
                    <a:pt x="239" y="91"/>
                    <a:pt x="239" y="119"/>
                  </a:cubicBezTo>
                  <a:close/>
                  <a:moveTo>
                    <a:pt x="295" y="119"/>
                  </a:moveTo>
                  <a:cubicBezTo>
                    <a:pt x="295" y="164"/>
                    <a:pt x="274" y="206"/>
                    <a:pt x="238" y="235"/>
                  </a:cubicBezTo>
                  <a:cubicBezTo>
                    <a:pt x="236" y="237"/>
                    <a:pt x="234" y="237"/>
                    <a:pt x="231" y="237"/>
                  </a:cubicBezTo>
                  <a:cubicBezTo>
                    <a:pt x="228" y="237"/>
                    <a:pt x="225" y="236"/>
                    <a:pt x="223" y="233"/>
                  </a:cubicBezTo>
                  <a:cubicBezTo>
                    <a:pt x="219" y="229"/>
                    <a:pt x="220" y="222"/>
                    <a:pt x="225" y="218"/>
                  </a:cubicBezTo>
                  <a:cubicBezTo>
                    <a:pt x="256" y="194"/>
                    <a:pt x="274" y="158"/>
                    <a:pt x="274" y="119"/>
                  </a:cubicBezTo>
                  <a:cubicBezTo>
                    <a:pt x="274" y="81"/>
                    <a:pt x="256" y="45"/>
                    <a:pt x="225" y="20"/>
                  </a:cubicBezTo>
                  <a:cubicBezTo>
                    <a:pt x="220" y="17"/>
                    <a:pt x="219" y="10"/>
                    <a:pt x="223" y="5"/>
                  </a:cubicBezTo>
                  <a:cubicBezTo>
                    <a:pt x="227" y="1"/>
                    <a:pt x="233" y="0"/>
                    <a:pt x="238" y="3"/>
                  </a:cubicBezTo>
                  <a:cubicBezTo>
                    <a:pt x="274" y="32"/>
                    <a:pt x="295" y="74"/>
                    <a:pt x="295" y="119"/>
                  </a:cubicBezTo>
                  <a:close/>
                  <a:moveTo>
                    <a:pt x="150" y="195"/>
                  </a:moveTo>
                  <a:cubicBezTo>
                    <a:pt x="150" y="227"/>
                    <a:pt x="150" y="227"/>
                    <a:pt x="150" y="227"/>
                  </a:cubicBezTo>
                  <a:cubicBezTo>
                    <a:pt x="150" y="233"/>
                    <a:pt x="145" y="237"/>
                    <a:pt x="139" y="237"/>
                  </a:cubicBezTo>
                  <a:cubicBezTo>
                    <a:pt x="133" y="237"/>
                    <a:pt x="128" y="233"/>
                    <a:pt x="128" y="227"/>
                  </a:cubicBezTo>
                  <a:cubicBezTo>
                    <a:pt x="128" y="205"/>
                    <a:pt x="128" y="205"/>
                    <a:pt x="128" y="205"/>
                  </a:cubicBezTo>
                  <a:cubicBezTo>
                    <a:pt x="22" y="205"/>
                    <a:pt x="22" y="205"/>
                    <a:pt x="22" y="205"/>
                  </a:cubicBezTo>
                  <a:cubicBezTo>
                    <a:pt x="22" y="227"/>
                    <a:pt x="22" y="227"/>
                    <a:pt x="22" y="227"/>
                  </a:cubicBezTo>
                  <a:cubicBezTo>
                    <a:pt x="22" y="233"/>
                    <a:pt x="17" y="237"/>
                    <a:pt x="11" y="237"/>
                  </a:cubicBezTo>
                  <a:cubicBezTo>
                    <a:pt x="5" y="237"/>
                    <a:pt x="0" y="233"/>
                    <a:pt x="0" y="227"/>
                  </a:cubicBezTo>
                  <a:cubicBezTo>
                    <a:pt x="0" y="195"/>
                    <a:pt x="0" y="195"/>
                    <a:pt x="0" y="195"/>
                  </a:cubicBezTo>
                  <a:cubicBezTo>
                    <a:pt x="0" y="189"/>
                    <a:pt x="5" y="184"/>
                    <a:pt x="11" y="184"/>
                  </a:cubicBezTo>
                  <a:cubicBezTo>
                    <a:pt x="139" y="184"/>
                    <a:pt x="139" y="184"/>
                    <a:pt x="139" y="184"/>
                  </a:cubicBezTo>
                  <a:cubicBezTo>
                    <a:pt x="145" y="184"/>
                    <a:pt x="150" y="189"/>
                    <a:pt x="150" y="19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dirty="0">
                <a:ln>
                  <a:noFill/>
                </a:ln>
                <a:solidFill>
                  <a:prstClr val="black"/>
                </a:solidFill>
                <a:effectLst/>
                <a:uLnTx/>
                <a:uFillTx/>
                <a:ea typeface="ヒラギノ角ゴ ProN W3" charset="0"/>
                <a:cs typeface="+mn-cs"/>
                <a:sym typeface="Gotham Book" charset="0"/>
              </a:endParaRPr>
            </a:p>
          </p:txBody>
        </p:sp>
      </p:grpSp>
      <p:sp>
        <p:nvSpPr>
          <p:cNvPr id="66" name="Rectangle 65">
            <a:extLst>
              <a:ext uri="{FF2B5EF4-FFF2-40B4-BE49-F238E27FC236}">
                <a16:creationId xmlns:a16="http://schemas.microsoft.com/office/drawing/2014/main" id="{0FA88F75-46B0-4566-B753-EB272EA3FC72}"/>
              </a:ext>
            </a:extLst>
          </p:cNvPr>
          <p:cNvSpPr/>
          <p:nvPr/>
        </p:nvSpPr>
        <p:spPr bwMode="gray">
          <a:xfrm>
            <a:off x="1226720" y="1905927"/>
            <a:ext cx="5664303" cy="68554"/>
          </a:xfrm>
          <a:prstGeom prst="rect">
            <a:avLst/>
          </a:prstGeom>
          <a:solidFill>
            <a:schemeClr val="accent4"/>
          </a:solidFill>
          <a:ln w="19050" algn="ctr">
            <a:noFill/>
            <a:miter lim="800000"/>
            <a:headEnd/>
            <a:tailEnd/>
          </a:ln>
        </p:spPr>
        <p:txBody>
          <a:bodyPr wrap="square" lIns="83313" tIns="83313" rIns="83313" bIns="83313" rtlCol="0" anchor="ctr"/>
          <a:lstStyle/>
          <a:p>
            <a:pPr marL="0" marR="0" lvl="0" indent="0" algn="ctr" defTabSz="856978" rtl="0" eaLnBrk="1" fontAlgn="auto" latinLnBrk="0" hangingPunct="1">
              <a:lnSpc>
                <a:spcPct val="106000"/>
              </a:lnSpc>
              <a:spcBef>
                <a:spcPts val="0"/>
              </a:spcBef>
              <a:spcAft>
                <a:spcPts val="0"/>
              </a:spcAft>
              <a:buClrTx/>
              <a:buSzTx/>
              <a:buFontTx/>
              <a:buNone/>
              <a:tabLst/>
              <a:defRPr/>
            </a:pPr>
            <a:endParaRPr kumimoji="0" lang="en-US" sz="1499" b="1" i="0" u="none" strike="noStrike" kern="0" cap="none" spc="0" normalizeH="0" baseline="0" noProof="0" dirty="0">
              <a:ln>
                <a:noFill/>
              </a:ln>
              <a:solidFill>
                <a:prstClr val="white"/>
              </a:solidFill>
              <a:effectLst/>
              <a:uLnTx/>
              <a:uFillTx/>
              <a:ea typeface="ヒラギノ角ゴ ProN W3" charset="0"/>
              <a:cs typeface="+mn-cs"/>
              <a:sym typeface="Gotham Book" charset="0"/>
            </a:endParaRPr>
          </a:p>
        </p:txBody>
      </p:sp>
      <p:sp>
        <p:nvSpPr>
          <p:cNvPr id="67" name="Rectangle 66">
            <a:extLst>
              <a:ext uri="{FF2B5EF4-FFF2-40B4-BE49-F238E27FC236}">
                <a16:creationId xmlns:a16="http://schemas.microsoft.com/office/drawing/2014/main" id="{0F861CB2-A260-4EDB-BC9C-BDB50CAF786F}"/>
              </a:ext>
            </a:extLst>
          </p:cNvPr>
          <p:cNvSpPr/>
          <p:nvPr/>
        </p:nvSpPr>
        <p:spPr bwMode="gray">
          <a:xfrm>
            <a:off x="6950132" y="1905927"/>
            <a:ext cx="4018999" cy="68554"/>
          </a:xfrm>
          <a:prstGeom prst="rect">
            <a:avLst/>
          </a:prstGeom>
          <a:solidFill>
            <a:schemeClr val="accent1"/>
          </a:solidFill>
          <a:ln w="19050" algn="ctr">
            <a:noFill/>
            <a:miter lim="800000"/>
            <a:headEnd/>
            <a:tailEnd/>
          </a:ln>
        </p:spPr>
        <p:txBody>
          <a:bodyPr wrap="square" lIns="83313" tIns="83313" rIns="83313" bIns="83313" rtlCol="0" anchor="ctr"/>
          <a:lstStyle/>
          <a:p>
            <a:pPr marL="0" marR="0" lvl="0" indent="0" algn="ctr" defTabSz="856978" rtl="0" eaLnBrk="1" fontAlgn="auto" latinLnBrk="0" hangingPunct="1">
              <a:lnSpc>
                <a:spcPct val="106000"/>
              </a:lnSpc>
              <a:spcBef>
                <a:spcPts val="0"/>
              </a:spcBef>
              <a:spcAft>
                <a:spcPts val="0"/>
              </a:spcAft>
              <a:buClrTx/>
              <a:buSzTx/>
              <a:buFontTx/>
              <a:buNone/>
              <a:tabLst/>
              <a:defRPr/>
            </a:pPr>
            <a:endParaRPr kumimoji="0" lang="en-US" sz="1499" b="1" i="0" u="none" strike="noStrike" kern="0" cap="none" spc="0" normalizeH="0" baseline="0" noProof="0" dirty="0">
              <a:ln>
                <a:noFill/>
              </a:ln>
              <a:solidFill>
                <a:prstClr val="white"/>
              </a:solidFill>
              <a:effectLst/>
              <a:uLnTx/>
              <a:uFillTx/>
              <a:ea typeface="ヒラギノ角ゴ ProN W3" charset="0"/>
              <a:cs typeface="+mn-cs"/>
              <a:sym typeface="Gotham Book" charset="0"/>
            </a:endParaRPr>
          </a:p>
        </p:txBody>
      </p:sp>
      <p:sp>
        <p:nvSpPr>
          <p:cNvPr id="68" name="TextBox 67">
            <a:extLst>
              <a:ext uri="{FF2B5EF4-FFF2-40B4-BE49-F238E27FC236}">
                <a16:creationId xmlns:a16="http://schemas.microsoft.com/office/drawing/2014/main" id="{5AA9F997-793F-4308-9D8C-C402BAEA7BD6}"/>
              </a:ext>
            </a:extLst>
          </p:cNvPr>
          <p:cNvSpPr txBox="1"/>
          <p:nvPr/>
        </p:nvSpPr>
        <p:spPr>
          <a:xfrm>
            <a:off x="2835219" y="1651289"/>
            <a:ext cx="2447304" cy="230704"/>
          </a:xfrm>
          <a:prstGeom prst="rect">
            <a:avLst/>
          </a:prstGeom>
          <a:noFill/>
        </p:spPr>
        <p:txBody>
          <a:bodyPr vert="horz" wrap="square" lIns="0" tIns="0" rIns="0" bIns="0" rtlCol="0">
            <a:spAutoFit/>
          </a:bodyPr>
          <a:lstStyle/>
          <a:p>
            <a:pPr marL="0" marR="0" lvl="0" indent="0" algn="ctr" defTabSz="856978" rtl="0" eaLnBrk="1" fontAlgn="auto" latinLnBrk="0" hangingPunct="1">
              <a:lnSpc>
                <a:spcPct val="100000"/>
              </a:lnSpc>
              <a:spcBef>
                <a:spcPts val="187"/>
              </a:spcBef>
              <a:spcAft>
                <a:spcPts val="0"/>
              </a:spcAft>
              <a:buClrTx/>
              <a:buSzPct val="100000"/>
              <a:buFontTx/>
              <a:buNone/>
              <a:tabLst/>
              <a:defRPr/>
            </a:pPr>
            <a:r>
              <a:rPr kumimoji="0" lang="en-US" sz="1499" b="1" i="0" u="none" strike="noStrike" kern="0" cap="none" spc="0" normalizeH="0" baseline="0" noProof="0" dirty="0">
                <a:ln>
                  <a:noFill/>
                </a:ln>
                <a:solidFill>
                  <a:schemeClr val="accent4"/>
                </a:solidFill>
                <a:effectLst/>
                <a:uLnTx/>
                <a:uFillTx/>
                <a:ea typeface="ヒラギノ角ゴ ProN W3" charset="0"/>
                <a:cs typeface="+mn-cs"/>
                <a:sym typeface="Gotham Book" charset="0"/>
              </a:rPr>
              <a:t>INSIGHTS</a:t>
            </a:r>
          </a:p>
        </p:txBody>
      </p:sp>
      <p:sp>
        <p:nvSpPr>
          <p:cNvPr id="69" name="TextBox 68">
            <a:extLst>
              <a:ext uri="{FF2B5EF4-FFF2-40B4-BE49-F238E27FC236}">
                <a16:creationId xmlns:a16="http://schemas.microsoft.com/office/drawing/2014/main" id="{DEE60E05-94DA-41E3-847D-01944BC32D40}"/>
              </a:ext>
            </a:extLst>
          </p:cNvPr>
          <p:cNvSpPr txBox="1"/>
          <p:nvPr/>
        </p:nvSpPr>
        <p:spPr>
          <a:xfrm>
            <a:off x="7735980" y="1651289"/>
            <a:ext cx="2447304" cy="230704"/>
          </a:xfrm>
          <a:prstGeom prst="rect">
            <a:avLst/>
          </a:prstGeom>
          <a:noFill/>
        </p:spPr>
        <p:txBody>
          <a:bodyPr vert="horz" wrap="square" lIns="0" tIns="0" rIns="0" bIns="0" rtlCol="0">
            <a:spAutoFit/>
          </a:bodyPr>
          <a:lstStyle/>
          <a:p>
            <a:pPr marL="0" marR="0" lvl="0" indent="0" algn="ctr" defTabSz="856978" rtl="0" eaLnBrk="1" fontAlgn="auto" latinLnBrk="0" hangingPunct="1">
              <a:lnSpc>
                <a:spcPct val="100000"/>
              </a:lnSpc>
              <a:spcBef>
                <a:spcPts val="187"/>
              </a:spcBef>
              <a:spcAft>
                <a:spcPts val="0"/>
              </a:spcAft>
              <a:buClrTx/>
              <a:buSzPct val="100000"/>
              <a:buFontTx/>
              <a:buNone/>
              <a:tabLst/>
              <a:defRPr/>
            </a:pPr>
            <a:r>
              <a:rPr kumimoji="0" lang="en-US" sz="1499" b="1" i="0" u="none" strike="noStrike" kern="0" cap="none" spc="0" normalizeH="0" baseline="0" noProof="0" dirty="0">
                <a:ln>
                  <a:noFill/>
                </a:ln>
                <a:solidFill>
                  <a:schemeClr val="accent1"/>
                </a:solidFill>
                <a:effectLst/>
                <a:uLnTx/>
                <a:uFillTx/>
                <a:ea typeface="ヒラギノ角ゴ ProN W3" charset="0"/>
                <a:cs typeface="+mn-cs"/>
                <a:sym typeface="Gotham Book" charset="0"/>
              </a:rPr>
              <a:t>DIGITAL ASSETS</a:t>
            </a:r>
          </a:p>
        </p:txBody>
      </p:sp>
      <p:sp>
        <p:nvSpPr>
          <p:cNvPr id="70" name="Text Placeholder 3">
            <a:extLst>
              <a:ext uri="{FF2B5EF4-FFF2-40B4-BE49-F238E27FC236}">
                <a16:creationId xmlns:a16="http://schemas.microsoft.com/office/drawing/2014/main" id="{EA832D41-8B7E-4BD6-85BA-98B7CE95C961}"/>
              </a:ext>
            </a:extLst>
          </p:cNvPr>
          <p:cNvSpPr txBox="1">
            <a:spLocks/>
          </p:cNvSpPr>
          <p:nvPr/>
        </p:nvSpPr>
        <p:spPr>
          <a:xfrm>
            <a:off x="1291928" y="2667592"/>
            <a:ext cx="1353783" cy="342772"/>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1800" b="0" kern="1200">
                <a:solidFill>
                  <a:srgbClr val="575757"/>
                </a:solidFill>
                <a:latin typeface="+mj-lt"/>
                <a:ea typeface="Open Sans Light" panose="020B0306030504020204" pitchFamily="34" charset="0"/>
                <a:cs typeface="Open Sans Light" panose="020B030603050402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839361" rtl="0" eaLnBrk="1" fontAlgn="auto" latinLnBrk="0" hangingPunct="1">
              <a:lnSpc>
                <a:spcPct val="100000"/>
              </a:lnSpc>
              <a:spcBef>
                <a:spcPts val="0"/>
              </a:spcBef>
              <a:spcAft>
                <a:spcPts val="0"/>
              </a:spcAft>
              <a:buClrTx/>
              <a:buSzPct val="100000"/>
              <a:buFontTx/>
              <a:buNone/>
              <a:tabLst/>
              <a:defRPr/>
            </a:pPr>
            <a:r>
              <a:rPr kumimoji="0" lang="en-US" sz="937" b="1" i="0" u="none" strike="noStrike" kern="1200" cap="none" spc="0" normalizeH="0" baseline="0" noProof="0" dirty="0">
                <a:ln>
                  <a:noFill/>
                </a:ln>
                <a:solidFill>
                  <a:srgbClr val="86BC25"/>
                </a:solidFill>
                <a:effectLst/>
                <a:uLnTx/>
                <a:uFillTx/>
                <a:latin typeface="+mn-lt"/>
                <a:ea typeface="Open Sans Light" panose="020B0306030504020204" pitchFamily="34" charset="0"/>
                <a:cs typeface="Open Sans Light" panose="020B0306030504020204" pitchFamily="34" charset="0"/>
                <a:sym typeface="Gotham Book" charset="0"/>
              </a:rPr>
              <a:t>ON-THE-GROUND DATA COLLECTION</a:t>
            </a:r>
          </a:p>
        </p:txBody>
      </p:sp>
      <p:sp>
        <p:nvSpPr>
          <p:cNvPr id="71" name="Text Placeholder 3">
            <a:extLst>
              <a:ext uri="{FF2B5EF4-FFF2-40B4-BE49-F238E27FC236}">
                <a16:creationId xmlns:a16="http://schemas.microsoft.com/office/drawing/2014/main" id="{FA6C3BB5-86CD-43FE-9753-400BC486EE55}"/>
              </a:ext>
            </a:extLst>
          </p:cNvPr>
          <p:cNvSpPr txBox="1">
            <a:spLocks/>
          </p:cNvSpPr>
          <p:nvPr/>
        </p:nvSpPr>
        <p:spPr>
          <a:xfrm>
            <a:off x="2857178" y="2667592"/>
            <a:ext cx="1526536" cy="342772"/>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1800" b="0" kern="1200">
                <a:solidFill>
                  <a:srgbClr val="575757"/>
                </a:solidFill>
                <a:latin typeface="+mj-lt"/>
                <a:ea typeface="Open Sans Light" panose="020B0306030504020204" pitchFamily="34" charset="0"/>
                <a:cs typeface="Open Sans Light" panose="020B030603050402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839361" rtl="0" eaLnBrk="1" fontAlgn="auto" latinLnBrk="0" hangingPunct="1">
              <a:lnSpc>
                <a:spcPct val="100000"/>
              </a:lnSpc>
              <a:spcBef>
                <a:spcPts val="0"/>
              </a:spcBef>
              <a:spcAft>
                <a:spcPts val="0"/>
              </a:spcAft>
              <a:buClrTx/>
              <a:buSzPct val="100000"/>
              <a:buFontTx/>
              <a:buNone/>
              <a:tabLst/>
              <a:defRPr/>
            </a:pPr>
            <a:r>
              <a:rPr kumimoji="0" lang="en-US" sz="937" b="1" i="0" u="none" strike="noStrike" kern="1200" cap="none" spc="0" normalizeH="0" baseline="0" noProof="0" dirty="0">
                <a:ln>
                  <a:noFill/>
                </a:ln>
                <a:solidFill>
                  <a:srgbClr val="046A38"/>
                </a:solidFill>
                <a:effectLst/>
                <a:uLnTx/>
                <a:uFillTx/>
                <a:latin typeface="+mn-lt"/>
                <a:ea typeface="Open Sans Light" panose="020B0306030504020204" pitchFamily="34" charset="0"/>
                <a:cs typeface="Open Sans Light" panose="020B0306030504020204" pitchFamily="34" charset="0"/>
                <a:sym typeface="Gotham Book" charset="0"/>
              </a:rPr>
              <a:t>MARKET AND </a:t>
            </a:r>
            <a:br>
              <a:rPr kumimoji="0" lang="en-US" sz="937" b="1" i="0" u="none" strike="noStrike" kern="1200" cap="none" spc="0" normalizeH="0" baseline="0" noProof="0" dirty="0">
                <a:ln>
                  <a:noFill/>
                </a:ln>
                <a:solidFill>
                  <a:srgbClr val="046A38"/>
                </a:solidFill>
                <a:effectLst/>
                <a:uLnTx/>
                <a:uFillTx/>
                <a:latin typeface="+mn-lt"/>
                <a:ea typeface="Open Sans Light" panose="020B0306030504020204" pitchFamily="34" charset="0"/>
                <a:cs typeface="Open Sans Light" panose="020B0306030504020204" pitchFamily="34" charset="0"/>
                <a:sym typeface="Gotham Book" charset="0"/>
              </a:rPr>
            </a:br>
            <a:r>
              <a:rPr kumimoji="0" lang="en-US" sz="937" b="1" i="0" u="none" strike="noStrike" kern="1200" cap="none" spc="0" normalizeH="0" baseline="0" noProof="0" dirty="0">
                <a:ln>
                  <a:noFill/>
                </a:ln>
                <a:solidFill>
                  <a:srgbClr val="046A38"/>
                </a:solidFill>
                <a:effectLst/>
                <a:uLnTx/>
                <a:uFillTx/>
                <a:latin typeface="+mn-lt"/>
                <a:ea typeface="Open Sans Light" panose="020B0306030504020204" pitchFamily="34" charset="0"/>
                <a:cs typeface="Open Sans Light" panose="020B0306030504020204" pitchFamily="34" charset="0"/>
                <a:sym typeface="Gotham Book" charset="0"/>
              </a:rPr>
              <a:t>INDUSTRY INSIGHTS</a:t>
            </a:r>
          </a:p>
        </p:txBody>
      </p:sp>
      <p:sp>
        <p:nvSpPr>
          <p:cNvPr id="72" name="Text Placeholder 3">
            <a:extLst>
              <a:ext uri="{FF2B5EF4-FFF2-40B4-BE49-F238E27FC236}">
                <a16:creationId xmlns:a16="http://schemas.microsoft.com/office/drawing/2014/main" id="{0D36C96A-72C1-4131-99DF-1216BF7FCF0D}"/>
              </a:ext>
            </a:extLst>
          </p:cNvPr>
          <p:cNvSpPr txBox="1">
            <a:spLocks/>
          </p:cNvSpPr>
          <p:nvPr/>
        </p:nvSpPr>
        <p:spPr>
          <a:xfrm>
            <a:off x="4595181" y="2667592"/>
            <a:ext cx="1353783" cy="342772"/>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1800" b="0" kern="1200">
                <a:solidFill>
                  <a:srgbClr val="575757"/>
                </a:solidFill>
                <a:latin typeface="+mj-lt"/>
                <a:ea typeface="Open Sans Light" panose="020B0306030504020204" pitchFamily="34" charset="0"/>
                <a:cs typeface="Open Sans Light" panose="020B030603050402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839361" rtl="0" eaLnBrk="1" fontAlgn="auto" latinLnBrk="0" hangingPunct="1">
              <a:lnSpc>
                <a:spcPct val="100000"/>
              </a:lnSpc>
              <a:spcBef>
                <a:spcPts val="0"/>
              </a:spcBef>
              <a:spcAft>
                <a:spcPts val="0"/>
              </a:spcAft>
              <a:buClrTx/>
              <a:buSzPct val="100000"/>
              <a:buFontTx/>
              <a:buNone/>
              <a:tabLst/>
              <a:defRPr/>
            </a:pPr>
            <a:r>
              <a:rPr kumimoji="0" lang="en-US" sz="937" b="1" i="0" u="none" strike="noStrike" kern="1200" cap="none" spc="0" normalizeH="0" baseline="0" noProof="0" dirty="0">
                <a:ln>
                  <a:noFill/>
                </a:ln>
                <a:solidFill>
                  <a:srgbClr val="62B5E5"/>
                </a:solidFill>
                <a:effectLst/>
                <a:uLnTx/>
                <a:uFillTx/>
                <a:latin typeface="+mn-lt"/>
                <a:ea typeface="Open Sans Light" panose="020B0306030504020204" pitchFamily="34" charset="0"/>
                <a:cs typeface="Open Sans Light" panose="020B0306030504020204" pitchFamily="34" charset="0"/>
                <a:sym typeface="Gotham Book" charset="0"/>
              </a:rPr>
              <a:t>CONSUMER</a:t>
            </a:r>
          </a:p>
          <a:p>
            <a:pPr marL="0" marR="0" lvl="0" indent="0" algn="ctr" defTabSz="839361" rtl="0" eaLnBrk="1" fontAlgn="auto" latinLnBrk="0" hangingPunct="1">
              <a:lnSpc>
                <a:spcPct val="100000"/>
              </a:lnSpc>
              <a:spcBef>
                <a:spcPts val="0"/>
              </a:spcBef>
              <a:spcAft>
                <a:spcPts val="0"/>
              </a:spcAft>
              <a:buClrTx/>
              <a:buSzPct val="100000"/>
              <a:buFontTx/>
              <a:buNone/>
              <a:tabLst/>
              <a:defRPr/>
            </a:pPr>
            <a:r>
              <a:rPr kumimoji="0" lang="en-US" sz="937" b="1" i="0" u="none" strike="noStrike" kern="1200" cap="none" spc="0" normalizeH="0" baseline="0" noProof="0" dirty="0">
                <a:ln>
                  <a:noFill/>
                </a:ln>
                <a:solidFill>
                  <a:srgbClr val="62B5E5"/>
                </a:solidFill>
                <a:effectLst/>
                <a:uLnTx/>
                <a:uFillTx/>
                <a:latin typeface="+mn-lt"/>
                <a:ea typeface="Open Sans Light" panose="020B0306030504020204" pitchFamily="34" charset="0"/>
                <a:cs typeface="Open Sans Light" panose="020B0306030504020204" pitchFamily="34" charset="0"/>
                <a:sym typeface="Gotham Book" charset="0"/>
              </a:rPr>
              <a:t>INSIGHTS</a:t>
            </a:r>
          </a:p>
        </p:txBody>
      </p:sp>
      <p:sp>
        <p:nvSpPr>
          <p:cNvPr id="73" name="Text Placeholder 3">
            <a:extLst>
              <a:ext uri="{FF2B5EF4-FFF2-40B4-BE49-F238E27FC236}">
                <a16:creationId xmlns:a16="http://schemas.microsoft.com/office/drawing/2014/main" id="{54F938BD-D56A-4C86-93A0-13EA4BC4A7BC}"/>
              </a:ext>
            </a:extLst>
          </p:cNvPr>
          <p:cNvSpPr txBox="1">
            <a:spLocks/>
          </p:cNvSpPr>
          <p:nvPr/>
        </p:nvSpPr>
        <p:spPr>
          <a:xfrm>
            <a:off x="6246052" y="2667592"/>
            <a:ext cx="1353783" cy="342772"/>
          </a:xfrm>
          <a:prstGeom prst="rect">
            <a:avLst/>
          </a:prstGeom>
        </p:spPr>
        <p:txBody>
          <a:bodyPr vert="horz" lIns="0" tIns="0" rIns="0" bIns="0" rtlCol="0" anchor="t">
            <a:noAutofit/>
          </a:bodyPr>
          <a:lstStyle>
            <a:lvl1pPr marL="0" indent="0" algn="l" defTabSz="1219170" rtl="0" eaLnBrk="1" latinLnBrk="0" hangingPunct="1">
              <a:spcBef>
                <a:spcPts val="0"/>
              </a:spcBef>
              <a:spcAft>
                <a:spcPts val="1333"/>
              </a:spcAft>
              <a:buSzPct val="100000"/>
              <a:buFontTx/>
              <a:buNone/>
              <a:defRPr sz="1800" b="0" kern="1200">
                <a:solidFill>
                  <a:srgbClr val="575757"/>
                </a:solidFill>
                <a:latin typeface="+mj-lt"/>
                <a:ea typeface="Open Sans Light" panose="020B0306030504020204" pitchFamily="34" charset="0"/>
                <a:cs typeface="Open Sans Light" panose="020B030603050402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839361" rtl="0" eaLnBrk="1" fontAlgn="auto" latinLnBrk="0" hangingPunct="1">
              <a:lnSpc>
                <a:spcPct val="100000"/>
              </a:lnSpc>
              <a:spcBef>
                <a:spcPts val="0"/>
              </a:spcBef>
              <a:spcAft>
                <a:spcPts val="0"/>
              </a:spcAft>
              <a:buClrTx/>
              <a:buSzPct val="100000"/>
              <a:buFontTx/>
              <a:buNone/>
              <a:tabLst/>
              <a:defRPr/>
            </a:pPr>
            <a:r>
              <a:rPr kumimoji="0" lang="en-US" sz="937" b="1" i="0" u="none" strike="noStrike" kern="1200" cap="none" spc="0" normalizeH="0" baseline="0" noProof="0" dirty="0">
                <a:ln>
                  <a:noFill/>
                </a:ln>
                <a:solidFill>
                  <a:srgbClr val="0097A9"/>
                </a:solidFill>
                <a:effectLst/>
                <a:uLnTx/>
                <a:uFillTx/>
                <a:latin typeface="+mn-lt"/>
                <a:ea typeface="Open Sans Light" panose="020B0306030504020204" pitchFamily="34" charset="0"/>
                <a:cs typeface="Open Sans Light" panose="020B0306030504020204" pitchFamily="34" charset="0"/>
                <a:sym typeface="Gotham Book" charset="0"/>
              </a:rPr>
              <a:t>CO-CREATION</a:t>
            </a:r>
          </a:p>
        </p:txBody>
      </p:sp>
      <p:sp>
        <p:nvSpPr>
          <p:cNvPr id="74" name="Text Placeholder 3">
            <a:extLst>
              <a:ext uri="{FF2B5EF4-FFF2-40B4-BE49-F238E27FC236}">
                <a16:creationId xmlns:a16="http://schemas.microsoft.com/office/drawing/2014/main" id="{A180BE93-DBB9-4F26-BC9C-2463975197E1}"/>
              </a:ext>
            </a:extLst>
          </p:cNvPr>
          <p:cNvSpPr txBox="1">
            <a:spLocks/>
          </p:cNvSpPr>
          <p:nvPr/>
        </p:nvSpPr>
        <p:spPr>
          <a:xfrm>
            <a:off x="7896923" y="2667592"/>
            <a:ext cx="1353783" cy="342772"/>
          </a:xfrm>
          <a:prstGeom prst="rect">
            <a:avLst/>
          </a:prstGeom>
        </p:spPr>
        <p:txBody>
          <a:bodyPr vert="horz" lIns="0" tIns="0" rIns="0" bIns="0" rtlCol="0" anchor="t">
            <a:noAutofit/>
          </a:bodyPr>
          <a:lstStyle>
            <a:lvl1pPr marL="0" indent="0" algn="l" defTabSz="1219170" rtl="0" eaLnBrk="1" latinLnBrk="0" hangingPunct="1">
              <a:spcBef>
                <a:spcPts val="0"/>
              </a:spcBef>
              <a:spcAft>
                <a:spcPts val="1333"/>
              </a:spcAft>
              <a:buSzPct val="100000"/>
              <a:buFontTx/>
              <a:buNone/>
              <a:defRPr sz="1800" b="0" kern="1200">
                <a:solidFill>
                  <a:srgbClr val="575757"/>
                </a:solidFill>
                <a:latin typeface="+mj-lt"/>
                <a:ea typeface="Open Sans Light" panose="020B0306030504020204" pitchFamily="34" charset="0"/>
                <a:cs typeface="Open Sans Light" panose="020B030603050402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839361" rtl="0" eaLnBrk="1" fontAlgn="auto" latinLnBrk="0" hangingPunct="1">
              <a:lnSpc>
                <a:spcPct val="100000"/>
              </a:lnSpc>
              <a:spcBef>
                <a:spcPts val="0"/>
              </a:spcBef>
              <a:spcAft>
                <a:spcPts val="0"/>
              </a:spcAft>
              <a:buClrTx/>
              <a:buSzPct val="100000"/>
              <a:buFontTx/>
              <a:buNone/>
              <a:tabLst/>
              <a:defRPr/>
            </a:pPr>
            <a:r>
              <a:rPr kumimoji="0" lang="en-US" sz="937" b="1" i="0" u="none" strike="noStrike" kern="1200" cap="none" spc="0" normalizeH="0" baseline="0" noProof="0" dirty="0">
                <a:ln>
                  <a:noFill/>
                </a:ln>
                <a:solidFill>
                  <a:srgbClr val="007680"/>
                </a:solidFill>
                <a:effectLst/>
                <a:uLnTx/>
                <a:uFillTx/>
                <a:latin typeface="+mn-lt"/>
                <a:ea typeface="Open Sans Light" panose="020B0306030504020204" pitchFamily="34" charset="0"/>
                <a:cs typeface="Open Sans Light" panose="020B0306030504020204" pitchFamily="34" charset="0"/>
                <a:sym typeface="Gotham Book" charset="0"/>
              </a:rPr>
              <a:t>DATA SCIENCE</a:t>
            </a:r>
            <a:br>
              <a:rPr kumimoji="0" lang="en-US" sz="937" b="1" i="0" u="none" strike="noStrike" kern="1200" cap="none" spc="0" normalizeH="0" baseline="0" noProof="0" dirty="0">
                <a:ln>
                  <a:noFill/>
                </a:ln>
                <a:solidFill>
                  <a:srgbClr val="007680"/>
                </a:solidFill>
                <a:effectLst/>
                <a:uLnTx/>
                <a:uFillTx/>
                <a:latin typeface="+mn-lt"/>
                <a:ea typeface="Open Sans Light" panose="020B0306030504020204" pitchFamily="34" charset="0"/>
                <a:cs typeface="Open Sans Light" panose="020B0306030504020204" pitchFamily="34" charset="0"/>
                <a:sym typeface="Gotham Book" charset="0"/>
              </a:rPr>
            </a:br>
            <a:r>
              <a:rPr kumimoji="0" lang="en-US" sz="937" b="1" i="0" u="none" strike="noStrike" kern="1200" cap="none" spc="0" normalizeH="0" baseline="0" noProof="0" dirty="0">
                <a:ln>
                  <a:noFill/>
                </a:ln>
                <a:solidFill>
                  <a:srgbClr val="007680"/>
                </a:solidFill>
                <a:effectLst/>
                <a:uLnTx/>
                <a:uFillTx/>
                <a:latin typeface="+mn-lt"/>
                <a:ea typeface="Open Sans Light" panose="020B0306030504020204" pitchFamily="34" charset="0"/>
                <a:cs typeface="Open Sans Light" panose="020B0306030504020204" pitchFamily="34" charset="0"/>
                <a:sym typeface="Gotham Book" charset="0"/>
              </a:rPr>
              <a:t>AND ANALYTICS</a:t>
            </a:r>
          </a:p>
        </p:txBody>
      </p:sp>
      <p:sp>
        <p:nvSpPr>
          <p:cNvPr id="75" name="Text Placeholder 3">
            <a:extLst>
              <a:ext uri="{FF2B5EF4-FFF2-40B4-BE49-F238E27FC236}">
                <a16:creationId xmlns:a16="http://schemas.microsoft.com/office/drawing/2014/main" id="{01AC84AB-EB79-45D7-A45C-A8DC96106F35}"/>
              </a:ext>
            </a:extLst>
          </p:cNvPr>
          <p:cNvSpPr txBox="1">
            <a:spLocks/>
          </p:cNvSpPr>
          <p:nvPr/>
        </p:nvSpPr>
        <p:spPr>
          <a:xfrm>
            <a:off x="9552954" y="2667592"/>
            <a:ext cx="1353783" cy="342772"/>
          </a:xfrm>
          <a:prstGeom prst="rect">
            <a:avLst/>
          </a:prstGeom>
        </p:spPr>
        <p:txBody>
          <a:bodyPr vert="horz" lIns="0" tIns="0" rIns="0" bIns="0" rtlCol="0" anchor="t">
            <a:noAutofit/>
          </a:bodyPr>
          <a:lstStyle>
            <a:lvl1pPr marL="0" indent="0" algn="l" defTabSz="1219170" rtl="0" eaLnBrk="1" latinLnBrk="0" hangingPunct="1">
              <a:spcBef>
                <a:spcPts val="0"/>
              </a:spcBef>
              <a:spcAft>
                <a:spcPts val="1333"/>
              </a:spcAft>
              <a:buSzPct val="100000"/>
              <a:buFontTx/>
              <a:buNone/>
              <a:defRPr sz="1800" b="0" kern="1200">
                <a:solidFill>
                  <a:srgbClr val="575757"/>
                </a:solidFill>
                <a:latin typeface="+mj-lt"/>
                <a:ea typeface="Open Sans Light" panose="020B0306030504020204" pitchFamily="34" charset="0"/>
                <a:cs typeface="Open Sans Light" panose="020B030603050402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839361" rtl="0" eaLnBrk="1" fontAlgn="auto" latinLnBrk="0" hangingPunct="1">
              <a:lnSpc>
                <a:spcPct val="100000"/>
              </a:lnSpc>
              <a:spcBef>
                <a:spcPts val="0"/>
              </a:spcBef>
              <a:spcAft>
                <a:spcPts val="0"/>
              </a:spcAft>
              <a:buClrTx/>
              <a:buSzPct val="100000"/>
              <a:buFontTx/>
              <a:buNone/>
              <a:tabLst/>
              <a:defRPr/>
            </a:pPr>
            <a:r>
              <a:rPr kumimoji="0" lang="en-US" sz="937" b="1" i="0" u="none" strike="noStrike" kern="1200" cap="none" spc="0" normalizeH="0" baseline="0" noProof="0" dirty="0">
                <a:ln>
                  <a:noFill/>
                </a:ln>
                <a:solidFill>
                  <a:srgbClr val="012169"/>
                </a:solidFill>
                <a:effectLst/>
                <a:uLnTx/>
                <a:uFillTx/>
                <a:latin typeface="+mn-lt"/>
                <a:ea typeface="Open Sans Light" panose="020B0306030504020204" pitchFamily="34" charset="0"/>
                <a:cs typeface="Open Sans Light" panose="020B0306030504020204" pitchFamily="34" charset="0"/>
                <a:sym typeface="Gotham Book" charset="0"/>
              </a:rPr>
              <a:t>DIGITAL DESIGN </a:t>
            </a:r>
            <a:br>
              <a:rPr kumimoji="0" lang="en-US" sz="937" b="1" i="0" u="none" strike="noStrike" kern="1200" cap="none" spc="0" normalizeH="0" baseline="0" noProof="0" dirty="0">
                <a:ln>
                  <a:noFill/>
                </a:ln>
                <a:solidFill>
                  <a:srgbClr val="012169"/>
                </a:solidFill>
                <a:effectLst/>
                <a:uLnTx/>
                <a:uFillTx/>
                <a:latin typeface="+mn-lt"/>
                <a:ea typeface="Open Sans Light" panose="020B0306030504020204" pitchFamily="34" charset="0"/>
                <a:cs typeface="Open Sans Light" panose="020B0306030504020204" pitchFamily="34" charset="0"/>
                <a:sym typeface="Gotham Book" charset="0"/>
              </a:rPr>
            </a:br>
            <a:r>
              <a:rPr kumimoji="0" lang="en-US" sz="937" b="1" i="0" u="none" strike="noStrike" kern="1200" cap="none" spc="0" normalizeH="0" baseline="0" noProof="0" dirty="0">
                <a:ln>
                  <a:noFill/>
                </a:ln>
                <a:solidFill>
                  <a:srgbClr val="012169"/>
                </a:solidFill>
                <a:effectLst/>
                <a:uLnTx/>
                <a:uFillTx/>
                <a:latin typeface="+mn-lt"/>
                <a:ea typeface="Open Sans Light" panose="020B0306030504020204" pitchFamily="34" charset="0"/>
                <a:cs typeface="Open Sans Light" panose="020B0306030504020204" pitchFamily="34" charset="0"/>
                <a:sym typeface="Gotham Book" charset="0"/>
              </a:rPr>
              <a:t>AND DEVELOPMENT</a:t>
            </a:r>
          </a:p>
        </p:txBody>
      </p:sp>
      <p:pic>
        <p:nvPicPr>
          <p:cNvPr id="76" name="Picture 75">
            <a:extLst>
              <a:ext uri="{FF2B5EF4-FFF2-40B4-BE49-F238E27FC236}">
                <a16:creationId xmlns:a16="http://schemas.microsoft.com/office/drawing/2014/main" id="{0D97F6EE-82D5-4650-9D61-2810DF84DC94}"/>
              </a:ext>
            </a:extLst>
          </p:cNvPr>
          <p:cNvPicPr>
            <a:picLocks noChangeAspect="1"/>
          </p:cNvPicPr>
          <p:nvPr/>
        </p:nvPicPr>
        <p:blipFill rotWithShape="1">
          <a:blip r:embed="rId22" cstate="email">
            <a:extLst>
              <a:ext uri="{28A0092B-C50C-407E-A947-70E740481C1C}">
                <a14:useLocalDpi xmlns:a14="http://schemas.microsoft.com/office/drawing/2010/main" val="0"/>
              </a:ext>
            </a:extLst>
          </a:blip>
          <a:srcRect/>
          <a:stretch/>
        </p:blipFill>
        <p:spPr>
          <a:xfrm>
            <a:off x="8182078" y="5117746"/>
            <a:ext cx="813517" cy="304289"/>
          </a:xfrm>
          <a:prstGeom prst="rect">
            <a:avLst/>
          </a:prstGeom>
        </p:spPr>
      </p:pic>
      <p:pic>
        <p:nvPicPr>
          <p:cNvPr id="77" name="Picture 76">
            <a:extLst>
              <a:ext uri="{FF2B5EF4-FFF2-40B4-BE49-F238E27FC236}">
                <a16:creationId xmlns:a16="http://schemas.microsoft.com/office/drawing/2014/main" id="{7AF1CFEE-310A-423A-A690-CBC1E97CD94B}"/>
              </a:ext>
            </a:extLst>
          </p:cNvPr>
          <p:cNvPicPr>
            <a:picLocks noChangeAspect="1"/>
          </p:cNvPicPr>
          <p:nvPr/>
        </p:nvPicPr>
        <p:blipFill>
          <a:blip r:embed="rId2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345026" y="5585662"/>
            <a:ext cx="1228381" cy="443801"/>
          </a:xfrm>
          <a:prstGeom prst="rect">
            <a:avLst/>
          </a:prstGeom>
        </p:spPr>
      </p:pic>
      <p:pic>
        <p:nvPicPr>
          <p:cNvPr id="78" name="Picture 2" descr="http://newmediaeurope.com/2015/wp-content/uploads/2014/10/99designs-nmeu.png">
            <a:extLst>
              <a:ext uri="{FF2B5EF4-FFF2-40B4-BE49-F238E27FC236}">
                <a16:creationId xmlns:a16="http://schemas.microsoft.com/office/drawing/2014/main" id="{7110F1EC-B9D5-4DEC-9BBA-E0EC5ECA478D}"/>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9604855" y="3398138"/>
            <a:ext cx="1275001" cy="6375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8797906"/>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2050C652-7C37-452D-8C6D-CE491BB9F4F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252" name="think-cell Slide" r:id="rId6" imgW="395" imgH="396" progId="TCLayout.ActiveDocument.1">
                  <p:embed/>
                </p:oleObj>
              </mc:Choice>
              <mc:Fallback>
                <p:oleObj name="think-cell Slide" r:id="rId6" imgW="395" imgH="396" progId="TCLayout.ActiveDocument.1">
                  <p:embed/>
                  <p:pic>
                    <p:nvPicPr>
                      <p:cNvPr id="22" name="Object 21" hidden="1">
                        <a:extLst>
                          <a:ext uri="{FF2B5EF4-FFF2-40B4-BE49-F238E27FC236}">
                            <a16:creationId xmlns:a16="http://schemas.microsoft.com/office/drawing/2014/main" id="{2050C652-7C37-452D-8C6D-CE491BB9F4F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1" name="Rectangle 20" hidden="1">
            <a:extLst>
              <a:ext uri="{FF2B5EF4-FFF2-40B4-BE49-F238E27FC236}">
                <a16:creationId xmlns:a16="http://schemas.microsoft.com/office/drawing/2014/main" id="{F928EC20-3658-4963-AB27-3442FACB2CE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8902FFFC-08E4-458B-8200-728D3546C945}"/>
              </a:ext>
            </a:extLst>
          </p:cNvPr>
          <p:cNvSpPr>
            <a:spLocks noGrp="1"/>
          </p:cNvSpPr>
          <p:nvPr>
            <p:ph type="title"/>
          </p:nvPr>
        </p:nvSpPr>
        <p:spPr/>
        <p:txBody>
          <a:bodyPr/>
          <a:lstStyle/>
          <a:p>
            <a:r>
              <a:rPr lang="en-US" dirty="0"/>
              <a:t>Synergies between TTS and TPO</a:t>
            </a:r>
          </a:p>
        </p:txBody>
      </p:sp>
      <p:sp>
        <p:nvSpPr>
          <p:cNvPr id="3" name="Text Placeholder 2">
            <a:extLst>
              <a:ext uri="{FF2B5EF4-FFF2-40B4-BE49-F238E27FC236}">
                <a16:creationId xmlns:a16="http://schemas.microsoft.com/office/drawing/2014/main" id="{2ADC6B72-1952-458C-92AF-BF368F6924A0}"/>
              </a:ext>
            </a:extLst>
          </p:cNvPr>
          <p:cNvSpPr>
            <a:spLocks noGrp="1"/>
          </p:cNvSpPr>
          <p:nvPr>
            <p:ph type="body" sz="quarter" idx="14"/>
          </p:nvPr>
        </p:nvSpPr>
        <p:spPr/>
        <p:txBody>
          <a:bodyPr/>
          <a:lstStyle/>
          <a:p>
            <a:r>
              <a:rPr lang="en-US" dirty="0"/>
              <a:t>We see opportunities for Client to benefit from using the same partner across TTS and TPO</a:t>
            </a:r>
            <a:endParaRPr lang="en-US" sz="1000" dirty="0"/>
          </a:p>
        </p:txBody>
      </p:sp>
      <p:sp>
        <p:nvSpPr>
          <p:cNvPr id="4" name="Text Placeholder 3">
            <a:extLst>
              <a:ext uri="{FF2B5EF4-FFF2-40B4-BE49-F238E27FC236}">
                <a16:creationId xmlns:a16="http://schemas.microsoft.com/office/drawing/2014/main" id="{69808E6D-605B-472F-99F7-887D8016A901}"/>
              </a:ext>
            </a:extLst>
          </p:cNvPr>
          <p:cNvSpPr>
            <a:spLocks noGrp="1"/>
          </p:cNvSpPr>
          <p:nvPr>
            <p:ph type="body" sz="quarter" idx="15"/>
          </p:nvPr>
        </p:nvSpPr>
        <p:spPr>
          <a:xfrm>
            <a:off x="914970" y="466344"/>
            <a:ext cx="3798431" cy="228600"/>
          </a:xfrm>
        </p:spPr>
        <p:txBody>
          <a:bodyPr/>
          <a:lstStyle/>
          <a:p>
            <a:r>
              <a:rPr lang="en-US" dirty="0"/>
              <a:t>FRAMEWORKS &amp; CONCEPT ILLUSTRATION</a:t>
            </a:r>
          </a:p>
        </p:txBody>
      </p:sp>
      <p:sp>
        <p:nvSpPr>
          <p:cNvPr id="5" name="Oval 4">
            <a:extLst>
              <a:ext uri="{FF2B5EF4-FFF2-40B4-BE49-F238E27FC236}">
                <a16:creationId xmlns:a16="http://schemas.microsoft.com/office/drawing/2014/main" id="{E824F32E-1CF4-4F96-A2BD-CF0EC685B7A4}"/>
              </a:ext>
            </a:extLst>
          </p:cNvPr>
          <p:cNvSpPr/>
          <p:nvPr/>
        </p:nvSpPr>
        <p:spPr>
          <a:xfrm>
            <a:off x="2987892" y="2376484"/>
            <a:ext cx="4038448" cy="3817163"/>
          </a:xfrm>
          <a:prstGeom prst="ellipse">
            <a:avLst/>
          </a:prstGeom>
          <a:solidFill>
            <a:schemeClr val="accent1">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ea typeface="+mn-ea"/>
              <a:cs typeface="+mn-cs"/>
            </a:endParaRPr>
          </a:p>
        </p:txBody>
      </p:sp>
      <p:sp>
        <p:nvSpPr>
          <p:cNvPr id="6" name="Oval 5">
            <a:extLst>
              <a:ext uri="{FF2B5EF4-FFF2-40B4-BE49-F238E27FC236}">
                <a16:creationId xmlns:a16="http://schemas.microsoft.com/office/drawing/2014/main" id="{9A8A3242-F2DA-4D3D-9847-9AF08E86796C}"/>
              </a:ext>
            </a:extLst>
          </p:cNvPr>
          <p:cNvSpPr/>
          <p:nvPr/>
        </p:nvSpPr>
        <p:spPr>
          <a:xfrm>
            <a:off x="5269538" y="2376484"/>
            <a:ext cx="4038448" cy="3817163"/>
          </a:xfrm>
          <a:prstGeom prst="ellipse">
            <a:avLst/>
          </a:prstGeom>
          <a:solidFill>
            <a:schemeClr val="accent3">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ea typeface="+mn-ea"/>
              <a:cs typeface="+mn-cs"/>
            </a:endParaRPr>
          </a:p>
        </p:txBody>
      </p:sp>
      <p:sp>
        <p:nvSpPr>
          <p:cNvPr id="7" name="Title 1">
            <a:extLst>
              <a:ext uri="{FF2B5EF4-FFF2-40B4-BE49-F238E27FC236}">
                <a16:creationId xmlns:a16="http://schemas.microsoft.com/office/drawing/2014/main" id="{4F21E729-298D-41FE-A72C-7EC2043F3E52}"/>
              </a:ext>
            </a:extLst>
          </p:cNvPr>
          <p:cNvSpPr txBox="1">
            <a:spLocks/>
          </p:cNvSpPr>
          <p:nvPr/>
        </p:nvSpPr>
        <p:spPr>
          <a:xfrm>
            <a:off x="914400" y="694944"/>
            <a:ext cx="10363200"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sp>
        <p:nvSpPr>
          <p:cNvPr id="8" name="Text Placeholder 2">
            <a:extLst>
              <a:ext uri="{FF2B5EF4-FFF2-40B4-BE49-F238E27FC236}">
                <a16:creationId xmlns:a16="http://schemas.microsoft.com/office/drawing/2014/main" id="{AEED8CE3-2651-4EDD-A554-01526A5F333F}"/>
              </a:ext>
            </a:extLst>
          </p:cNvPr>
          <p:cNvSpPr txBox="1">
            <a:spLocks/>
          </p:cNvSpPr>
          <p:nvPr/>
        </p:nvSpPr>
        <p:spPr>
          <a:xfrm>
            <a:off x="914721" y="1353312"/>
            <a:ext cx="10362880" cy="475488"/>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12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87878"/>
              </a:buClr>
            </a:pPr>
            <a:endParaRPr lang="en-US" sz="1100" dirty="0"/>
          </a:p>
        </p:txBody>
      </p:sp>
      <p:sp>
        <p:nvSpPr>
          <p:cNvPr id="9" name="TextBox 8">
            <a:extLst>
              <a:ext uri="{FF2B5EF4-FFF2-40B4-BE49-F238E27FC236}">
                <a16:creationId xmlns:a16="http://schemas.microsoft.com/office/drawing/2014/main" id="{C1660E9C-9300-46E8-BD0D-44C2FF33270F}"/>
              </a:ext>
            </a:extLst>
          </p:cNvPr>
          <p:cNvSpPr txBox="1"/>
          <p:nvPr/>
        </p:nvSpPr>
        <p:spPr>
          <a:xfrm>
            <a:off x="4490716" y="1851767"/>
            <a:ext cx="333824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ea typeface="+mn-ea"/>
                <a:cs typeface="+mn-cs"/>
              </a:rPr>
              <a:t>POTENTIAL SYNERGIES</a:t>
            </a:r>
          </a:p>
        </p:txBody>
      </p:sp>
      <p:sp>
        <p:nvSpPr>
          <p:cNvPr id="10" name="Rounded Rectangle 37">
            <a:extLst>
              <a:ext uri="{FF2B5EF4-FFF2-40B4-BE49-F238E27FC236}">
                <a16:creationId xmlns:a16="http://schemas.microsoft.com/office/drawing/2014/main" id="{0230D75A-D3A0-4AB2-9E92-10281EDCBF5C}"/>
              </a:ext>
            </a:extLst>
          </p:cNvPr>
          <p:cNvSpPr/>
          <p:nvPr/>
        </p:nvSpPr>
        <p:spPr>
          <a:xfrm>
            <a:off x="3762503" y="3295290"/>
            <a:ext cx="4747077" cy="320040"/>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A5A5A"/>
                </a:solidFill>
                <a:effectLst/>
                <a:uLnTx/>
                <a:uFillTx/>
                <a:ea typeface="+mn-ea"/>
                <a:cs typeface="+mn-cs"/>
              </a:rPr>
              <a:t>Consistency in platform, tools, technology and visualization</a:t>
            </a:r>
          </a:p>
        </p:txBody>
      </p:sp>
      <p:sp>
        <p:nvSpPr>
          <p:cNvPr id="11" name="Rounded Rectangle 39">
            <a:extLst>
              <a:ext uri="{FF2B5EF4-FFF2-40B4-BE49-F238E27FC236}">
                <a16:creationId xmlns:a16="http://schemas.microsoft.com/office/drawing/2014/main" id="{F22A9883-CFB5-46ED-B14B-E465B31C7F84}"/>
              </a:ext>
            </a:extLst>
          </p:cNvPr>
          <p:cNvSpPr/>
          <p:nvPr/>
        </p:nvSpPr>
        <p:spPr>
          <a:xfrm>
            <a:off x="3762503" y="3720415"/>
            <a:ext cx="4747077" cy="320040"/>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A5A5A"/>
                </a:solidFill>
                <a:effectLst/>
                <a:uLnTx/>
                <a:uFillTx/>
                <a:ea typeface="+mn-ea"/>
                <a:cs typeface="+mn-cs"/>
              </a:rPr>
              <a:t>One change management (and training) effort</a:t>
            </a:r>
            <a:endParaRPr kumimoji="0" lang="en-GB" sz="1200" b="1" i="0" u="none" strike="noStrike" kern="1200" cap="none" spc="0" normalizeH="0" baseline="0" noProof="0" dirty="0">
              <a:ln>
                <a:noFill/>
              </a:ln>
              <a:solidFill>
                <a:srgbClr val="5A5A5A"/>
              </a:solidFill>
              <a:effectLst/>
              <a:uLnTx/>
              <a:uFillTx/>
              <a:ea typeface="+mn-ea"/>
              <a:cs typeface="+mn-cs"/>
            </a:endParaRPr>
          </a:p>
        </p:txBody>
      </p:sp>
      <p:sp>
        <p:nvSpPr>
          <p:cNvPr id="12" name="Rounded Rectangle 40">
            <a:extLst>
              <a:ext uri="{FF2B5EF4-FFF2-40B4-BE49-F238E27FC236}">
                <a16:creationId xmlns:a16="http://schemas.microsoft.com/office/drawing/2014/main" id="{8F69A9D1-88CE-44C2-A499-98B810049BB3}"/>
              </a:ext>
            </a:extLst>
          </p:cNvPr>
          <p:cNvSpPr/>
          <p:nvPr/>
        </p:nvSpPr>
        <p:spPr>
          <a:xfrm>
            <a:off x="3762503" y="4145540"/>
            <a:ext cx="4747077" cy="320040"/>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A5A5A"/>
                </a:solidFill>
                <a:effectLst/>
                <a:uLnTx/>
                <a:uFillTx/>
                <a:ea typeface="+mn-ea"/>
                <a:cs typeface="+mn-cs"/>
              </a:rPr>
              <a:t>Local market nuances considered in TPO models</a:t>
            </a:r>
          </a:p>
        </p:txBody>
      </p:sp>
      <p:sp>
        <p:nvSpPr>
          <p:cNvPr id="13" name="Rounded Rectangle 41">
            <a:extLst>
              <a:ext uri="{FF2B5EF4-FFF2-40B4-BE49-F238E27FC236}">
                <a16:creationId xmlns:a16="http://schemas.microsoft.com/office/drawing/2014/main" id="{CC731966-F989-4247-A42D-ACBE1F57DDE2}"/>
              </a:ext>
            </a:extLst>
          </p:cNvPr>
          <p:cNvSpPr/>
          <p:nvPr/>
        </p:nvSpPr>
        <p:spPr>
          <a:xfrm>
            <a:off x="3762503" y="4570665"/>
            <a:ext cx="4747077" cy="320040"/>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A5A5A"/>
                </a:solidFill>
                <a:effectLst/>
                <a:uLnTx/>
                <a:uFillTx/>
                <a:ea typeface="+mn-ea"/>
                <a:cs typeface="+mn-cs"/>
              </a:rPr>
              <a:t>Data collection in a format conducive to TPO</a:t>
            </a:r>
          </a:p>
        </p:txBody>
      </p:sp>
      <p:sp>
        <p:nvSpPr>
          <p:cNvPr id="14" name="Rounded Rectangle 42">
            <a:extLst>
              <a:ext uri="{FF2B5EF4-FFF2-40B4-BE49-F238E27FC236}">
                <a16:creationId xmlns:a16="http://schemas.microsoft.com/office/drawing/2014/main" id="{0659D750-2C7C-4852-A969-AC6D4B083524}"/>
              </a:ext>
            </a:extLst>
          </p:cNvPr>
          <p:cNvSpPr/>
          <p:nvPr/>
        </p:nvSpPr>
        <p:spPr>
          <a:xfrm>
            <a:off x="3762503" y="2870165"/>
            <a:ext cx="4747077" cy="320040"/>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A5A5A"/>
                </a:solidFill>
                <a:effectLst/>
                <a:uLnTx/>
                <a:uFillTx/>
                <a:ea typeface="+mn-ea"/>
                <a:cs typeface="+mn-cs"/>
              </a:rPr>
              <a:t>Shared leadership, stakeholder engagement and reporting</a:t>
            </a:r>
          </a:p>
        </p:txBody>
      </p:sp>
      <p:sp>
        <p:nvSpPr>
          <p:cNvPr id="15" name="Rounded Rectangle 43">
            <a:extLst>
              <a:ext uri="{FF2B5EF4-FFF2-40B4-BE49-F238E27FC236}">
                <a16:creationId xmlns:a16="http://schemas.microsoft.com/office/drawing/2014/main" id="{07DCB33C-5141-4561-BFDF-4F5ED02404D9}"/>
              </a:ext>
            </a:extLst>
          </p:cNvPr>
          <p:cNvSpPr/>
          <p:nvPr/>
        </p:nvSpPr>
        <p:spPr>
          <a:xfrm>
            <a:off x="3786298" y="5002903"/>
            <a:ext cx="4747077" cy="320040"/>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A5A5A"/>
                </a:solidFill>
                <a:effectLst/>
                <a:uLnTx/>
                <a:uFillTx/>
                <a:ea typeface="+mn-ea"/>
                <a:cs typeface="+mn-cs"/>
              </a:rPr>
              <a:t>Seamless ways of working</a:t>
            </a:r>
          </a:p>
        </p:txBody>
      </p:sp>
      <p:sp>
        <p:nvSpPr>
          <p:cNvPr id="16" name="Rounded Rectangle 44">
            <a:extLst>
              <a:ext uri="{FF2B5EF4-FFF2-40B4-BE49-F238E27FC236}">
                <a16:creationId xmlns:a16="http://schemas.microsoft.com/office/drawing/2014/main" id="{637F619D-3F2B-41C5-AABF-A1D6FDB6B48D}"/>
              </a:ext>
            </a:extLst>
          </p:cNvPr>
          <p:cNvSpPr/>
          <p:nvPr/>
        </p:nvSpPr>
        <p:spPr>
          <a:xfrm>
            <a:off x="3786298" y="5420914"/>
            <a:ext cx="4747077" cy="320040"/>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A5A5A"/>
                </a:solidFill>
                <a:effectLst/>
                <a:uLnTx/>
                <a:uFillTx/>
                <a:ea typeface="+mn-ea"/>
                <a:cs typeface="+mn-cs"/>
              </a:rPr>
              <a:t>Efficiencies in project management &amp; communications</a:t>
            </a:r>
          </a:p>
        </p:txBody>
      </p:sp>
      <p:sp>
        <p:nvSpPr>
          <p:cNvPr id="17" name="TextBox 16">
            <a:extLst>
              <a:ext uri="{FF2B5EF4-FFF2-40B4-BE49-F238E27FC236}">
                <a16:creationId xmlns:a16="http://schemas.microsoft.com/office/drawing/2014/main" id="{144FE00A-D4C3-492E-B772-2283E4E674B0}"/>
              </a:ext>
            </a:extLst>
          </p:cNvPr>
          <p:cNvSpPr txBox="1"/>
          <p:nvPr/>
        </p:nvSpPr>
        <p:spPr>
          <a:xfrm>
            <a:off x="1201692" y="4008924"/>
            <a:ext cx="1259927"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srgbClr val="000000"/>
                </a:solidFill>
                <a:effectLst/>
                <a:uLnTx/>
                <a:uFillTx/>
                <a:ea typeface="+mn-ea"/>
                <a:cs typeface="+mn-cs"/>
              </a:rPr>
              <a:t>TTS</a:t>
            </a:r>
          </a:p>
        </p:txBody>
      </p:sp>
      <p:sp>
        <p:nvSpPr>
          <p:cNvPr id="18" name="TextBox 17">
            <a:extLst>
              <a:ext uri="{FF2B5EF4-FFF2-40B4-BE49-F238E27FC236}">
                <a16:creationId xmlns:a16="http://schemas.microsoft.com/office/drawing/2014/main" id="{539464FC-E9FD-4D51-BB5C-D5C62E53780F}"/>
              </a:ext>
            </a:extLst>
          </p:cNvPr>
          <p:cNvSpPr txBox="1"/>
          <p:nvPr/>
        </p:nvSpPr>
        <p:spPr>
          <a:xfrm>
            <a:off x="9857417" y="4008924"/>
            <a:ext cx="1259927"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srgbClr val="000000"/>
                </a:solidFill>
                <a:effectLst/>
                <a:uLnTx/>
                <a:uFillTx/>
                <a:ea typeface="+mn-ea"/>
                <a:cs typeface="+mn-cs"/>
              </a:rPr>
              <a:t>TPO</a:t>
            </a:r>
          </a:p>
        </p:txBody>
      </p:sp>
    </p:spTree>
    <p:extLst>
      <p:ext uri="{BB962C8B-B14F-4D97-AF65-F5344CB8AC3E}">
        <p14:creationId xmlns:p14="http://schemas.microsoft.com/office/powerpoint/2010/main" val="358776016"/>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a:extLst>
              <a:ext uri="{FF2B5EF4-FFF2-40B4-BE49-F238E27FC236}">
                <a16:creationId xmlns:a16="http://schemas.microsoft.com/office/drawing/2014/main" id="{08674D85-DD9F-461A-A347-7A3322B3E6D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276" name="think-cell Slide" r:id="rId6" imgW="395" imgH="396" progId="TCLayout.ActiveDocument.1">
                  <p:embed/>
                </p:oleObj>
              </mc:Choice>
              <mc:Fallback>
                <p:oleObj name="think-cell Slide" r:id="rId6" imgW="395" imgH="396" progId="TCLayout.ActiveDocument.1">
                  <p:embed/>
                  <p:pic>
                    <p:nvPicPr>
                      <p:cNvPr id="37" name="Object 36" hidden="1">
                        <a:extLst>
                          <a:ext uri="{FF2B5EF4-FFF2-40B4-BE49-F238E27FC236}">
                            <a16:creationId xmlns:a16="http://schemas.microsoft.com/office/drawing/2014/main" id="{08674D85-DD9F-461A-A347-7A3322B3E6D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Rectangle 35" hidden="1">
            <a:extLst>
              <a:ext uri="{FF2B5EF4-FFF2-40B4-BE49-F238E27FC236}">
                <a16:creationId xmlns:a16="http://schemas.microsoft.com/office/drawing/2014/main" id="{AA4447CA-AEA4-4186-B01A-0467EC087E0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CF16106C-3176-41C9-80DA-6054CD520444}"/>
              </a:ext>
            </a:extLst>
          </p:cNvPr>
          <p:cNvSpPr>
            <a:spLocks noGrp="1"/>
          </p:cNvSpPr>
          <p:nvPr>
            <p:ph type="title"/>
          </p:nvPr>
        </p:nvSpPr>
        <p:spPr/>
        <p:txBody>
          <a:bodyPr/>
          <a:lstStyle/>
          <a:p>
            <a:r>
              <a:rPr lang="en-US" dirty="0"/>
              <a:t>A Platform For Continued Growth</a:t>
            </a:r>
          </a:p>
        </p:txBody>
      </p:sp>
      <p:sp>
        <p:nvSpPr>
          <p:cNvPr id="3" name="Text Placeholder 2">
            <a:extLst>
              <a:ext uri="{FF2B5EF4-FFF2-40B4-BE49-F238E27FC236}">
                <a16:creationId xmlns:a16="http://schemas.microsoft.com/office/drawing/2014/main" id="{05F1F5B6-1BD1-4697-A83D-72C5AF0E8602}"/>
              </a:ext>
            </a:extLst>
          </p:cNvPr>
          <p:cNvSpPr>
            <a:spLocks noGrp="1"/>
          </p:cNvSpPr>
          <p:nvPr>
            <p:ph type="body" sz="quarter" idx="14"/>
          </p:nvPr>
        </p:nvSpPr>
        <p:spPr/>
        <p:txBody>
          <a:bodyPr/>
          <a:lstStyle/>
          <a:p>
            <a:r>
              <a:rPr lang="en-US" dirty="0"/>
              <a:t>Building an integrated fan experience is more than just increased revenue and satisfaction; it is a platform that will enable the Sports Client to continue to enhance the fan experience and drive meaningful growth </a:t>
            </a:r>
          </a:p>
        </p:txBody>
      </p:sp>
      <p:sp>
        <p:nvSpPr>
          <p:cNvPr id="4" name="Text Placeholder 3">
            <a:extLst>
              <a:ext uri="{FF2B5EF4-FFF2-40B4-BE49-F238E27FC236}">
                <a16:creationId xmlns:a16="http://schemas.microsoft.com/office/drawing/2014/main" id="{99537563-597D-4FAF-A4E4-13F1B8E2B188}"/>
              </a:ext>
            </a:extLst>
          </p:cNvPr>
          <p:cNvSpPr>
            <a:spLocks noGrp="1"/>
          </p:cNvSpPr>
          <p:nvPr>
            <p:ph type="body" sz="quarter" idx="15"/>
          </p:nvPr>
        </p:nvSpPr>
        <p:spPr>
          <a:xfrm>
            <a:off x="914970" y="466343"/>
            <a:ext cx="3704163" cy="219035"/>
          </a:xfrm>
        </p:spPr>
        <p:txBody>
          <a:bodyPr/>
          <a:lstStyle/>
          <a:p>
            <a:r>
              <a:rPr lang="en-US" dirty="0"/>
              <a:t>FRAMEWORKS &amp; CONCEPT ILLUSTRATION</a:t>
            </a:r>
          </a:p>
        </p:txBody>
      </p:sp>
      <p:sp>
        <p:nvSpPr>
          <p:cNvPr id="6" name="Title 1">
            <a:extLst>
              <a:ext uri="{FF2B5EF4-FFF2-40B4-BE49-F238E27FC236}">
                <a16:creationId xmlns:a16="http://schemas.microsoft.com/office/drawing/2014/main" id="{73DBD2B5-6615-4C2A-91D0-D92AE5A6506C}"/>
              </a:ext>
            </a:extLst>
          </p:cNvPr>
          <p:cNvSpPr txBox="1">
            <a:spLocks/>
          </p:cNvSpPr>
          <p:nvPr/>
        </p:nvSpPr>
        <p:spPr>
          <a:xfrm>
            <a:off x="914400" y="804672"/>
            <a:ext cx="6984274" cy="666319"/>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sp>
        <p:nvSpPr>
          <p:cNvPr id="8" name="Rectangle 7">
            <a:extLst>
              <a:ext uri="{FF2B5EF4-FFF2-40B4-BE49-F238E27FC236}">
                <a16:creationId xmlns:a16="http://schemas.microsoft.com/office/drawing/2014/main" id="{EA876D17-A6AE-43FF-A4EB-A1E7C3E75E58}"/>
              </a:ext>
            </a:extLst>
          </p:cNvPr>
          <p:cNvSpPr/>
          <p:nvPr/>
        </p:nvSpPr>
        <p:spPr>
          <a:xfrm>
            <a:off x="6382896" y="2288160"/>
            <a:ext cx="4366130" cy="1015663"/>
          </a:xfrm>
          <a:prstGeom prst="rect">
            <a:avLst/>
          </a:prstGeom>
        </p:spPr>
        <p:txBody>
          <a:bodyPr wrap="square">
            <a:spAutoFit/>
          </a:bodyPr>
          <a:lstStyle/>
          <a:p>
            <a:pPr marL="0" marR="0" lvl="0" indent="0" algn="l" defTabSz="914400" rtl="0" eaLnBrk="1" fontAlgn="base" latinLnBrk="0" hangingPunct="1">
              <a:lnSpc>
                <a:spcPts val="18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Open Sans"/>
                <a:ea typeface="+mn-ea"/>
                <a:cs typeface="+mn-cs"/>
              </a:rPr>
              <a:t>1 — </a:t>
            </a:r>
            <a:r>
              <a:rPr kumimoji="0" lang="en-US" sz="1200" b="0" i="0" u="none" strike="noStrike" kern="1200" cap="none" spc="0" normalizeH="0" baseline="0" noProof="0" dirty="0">
                <a:ln>
                  <a:noFill/>
                </a:ln>
                <a:solidFill>
                  <a:prstClr val="black"/>
                </a:solidFill>
                <a:effectLst/>
                <a:uLnTx/>
                <a:uFillTx/>
                <a:latin typeface="Open Sans"/>
                <a:ea typeface="+mn-ea"/>
                <a:cs typeface="+mn-cs"/>
              </a:rPr>
              <a:t>Create </a:t>
            </a:r>
            <a:r>
              <a:rPr kumimoji="0" lang="en-US" sz="1200" b="1" i="0" u="none" strike="noStrike" kern="1200" cap="none" spc="0" normalizeH="0" baseline="0" noProof="0" dirty="0">
                <a:ln>
                  <a:noFill/>
                </a:ln>
                <a:solidFill>
                  <a:prstClr val="black"/>
                </a:solidFill>
                <a:effectLst/>
                <a:uLnTx/>
                <a:uFillTx/>
                <a:latin typeface="Open Sans"/>
                <a:ea typeface="+mn-ea"/>
                <a:cs typeface="+mn-cs"/>
              </a:rPr>
              <a:t>backend arena software solutions </a:t>
            </a:r>
            <a:r>
              <a:rPr kumimoji="0" lang="en-US" sz="1200" b="0" i="0" u="none" strike="noStrike" kern="1200" cap="none" spc="0" normalizeH="0" baseline="0" noProof="0" dirty="0">
                <a:ln>
                  <a:noFill/>
                </a:ln>
                <a:solidFill>
                  <a:prstClr val="black"/>
                </a:solidFill>
                <a:effectLst/>
                <a:uLnTx/>
                <a:uFillTx/>
                <a:latin typeface="Open Sans"/>
                <a:ea typeface="+mn-ea"/>
                <a:cs typeface="+mn-cs"/>
              </a:rPr>
              <a:t>that enable plug and play capabilities</a:t>
            </a:r>
          </a:p>
          <a:p>
            <a:pPr marL="0" marR="0" lvl="0" indent="0" algn="l" defTabSz="914400" rtl="0" eaLnBrk="1" fontAlgn="base" latinLnBrk="0" hangingPunct="1">
              <a:lnSpc>
                <a:spcPts val="18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Open Sans"/>
                <a:ea typeface="+mn-ea"/>
                <a:cs typeface="+mn-cs"/>
              </a:rPr>
              <a:t>2 — Innovate products and offerings with regularity </a:t>
            </a:r>
            <a:r>
              <a:rPr kumimoji="0" lang="en-US" sz="1200" b="0" i="0" u="none" strike="noStrike" kern="1200" cap="none" spc="0" normalizeH="0" baseline="0" noProof="0" dirty="0">
                <a:ln>
                  <a:noFill/>
                </a:ln>
                <a:solidFill>
                  <a:prstClr val="black"/>
                </a:solidFill>
                <a:effectLst/>
                <a:uLnTx/>
                <a:uFillTx/>
                <a:latin typeface="Open Sans"/>
                <a:ea typeface="+mn-ea"/>
                <a:cs typeface="+mn-cs"/>
              </a:rPr>
              <a:t>within the confines of Sports Arena</a:t>
            </a:r>
          </a:p>
        </p:txBody>
      </p:sp>
      <p:grpSp>
        <p:nvGrpSpPr>
          <p:cNvPr id="9" name="Group 819">
            <a:extLst>
              <a:ext uri="{FF2B5EF4-FFF2-40B4-BE49-F238E27FC236}">
                <a16:creationId xmlns:a16="http://schemas.microsoft.com/office/drawing/2014/main" id="{7FB1A1E2-7999-4B02-A374-BD2722509E7A}"/>
              </a:ext>
            </a:extLst>
          </p:cNvPr>
          <p:cNvGrpSpPr/>
          <p:nvPr/>
        </p:nvGrpSpPr>
        <p:grpSpPr>
          <a:xfrm>
            <a:off x="1486195" y="2277886"/>
            <a:ext cx="3389975" cy="3717074"/>
            <a:chOff x="-2" y="-2"/>
            <a:chExt cx="3870543" cy="4244013"/>
          </a:xfrm>
        </p:grpSpPr>
        <p:grpSp>
          <p:nvGrpSpPr>
            <p:cNvPr id="10" name="Group 815">
              <a:extLst>
                <a:ext uri="{FF2B5EF4-FFF2-40B4-BE49-F238E27FC236}">
                  <a16:creationId xmlns:a16="http://schemas.microsoft.com/office/drawing/2014/main" id="{41DD400E-B475-4C0E-A294-97847C416284}"/>
                </a:ext>
              </a:extLst>
            </p:cNvPr>
            <p:cNvGrpSpPr/>
            <p:nvPr/>
          </p:nvGrpSpPr>
          <p:grpSpPr>
            <a:xfrm>
              <a:off x="-2" y="-2"/>
              <a:ext cx="3870543" cy="4244013"/>
              <a:chOff x="-1" y="-1"/>
              <a:chExt cx="3870542" cy="4244011"/>
            </a:xfrm>
          </p:grpSpPr>
          <p:sp>
            <p:nvSpPr>
              <p:cNvPr id="14" name="Shape 808">
                <a:extLst>
                  <a:ext uri="{FF2B5EF4-FFF2-40B4-BE49-F238E27FC236}">
                    <a16:creationId xmlns:a16="http://schemas.microsoft.com/office/drawing/2014/main" id="{C2ECEB26-0162-4800-BCE4-4789232122C6}"/>
                  </a:ext>
                </a:extLst>
              </p:cNvPr>
              <p:cNvSpPr/>
              <p:nvPr/>
            </p:nvSpPr>
            <p:spPr>
              <a:xfrm>
                <a:off x="-1" y="-1"/>
                <a:ext cx="2501821" cy="2517645"/>
              </a:xfrm>
              <a:prstGeom prst="ellipse">
                <a:avLst/>
              </a:prstGeom>
              <a:noFill/>
              <a:ln w="88900" cap="flat">
                <a:solidFill>
                  <a:schemeClr val="accent1"/>
                </a:solidFill>
                <a:prstDash val="solid"/>
                <a:miter lim="8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2400">
                    <a:solidFill>
                      <a:srgbClr val="FFFFFF"/>
                    </a:solidFill>
                  </a:defRPr>
                </a:pPr>
                <a:endParaRPr kumimoji="0" sz="24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5" name="Shape 809">
                <a:extLst>
                  <a:ext uri="{FF2B5EF4-FFF2-40B4-BE49-F238E27FC236}">
                    <a16:creationId xmlns:a16="http://schemas.microsoft.com/office/drawing/2014/main" id="{08FFA590-BA47-4088-B4E3-4317FDB26725}"/>
                  </a:ext>
                </a:extLst>
              </p:cNvPr>
              <p:cNvSpPr/>
              <p:nvPr/>
            </p:nvSpPr>
            <p:spPr>
              <a:xfrm>
                <a:off x="1368721" y="692700"/>
                <a:ext cx="2501820" cy="2517645"/>
              </a:xfrm>
              <a:prstGeom prst="ellipse">
                <a:avLst/>
              </a:prstGeom>
              <a:noFill/>
              <a:ln w="88900" cap="flat">
                <a:solidFill>
                  <a:schemeClr val="accent3"/>
                </a:solidFill>
                <a:prstDash val="solid"/>
                <a:miter lim="8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2400">
                    <a:solidFill>
                      <a:srgbClr val="FFFFFF"/>
                    </a:solidFill>
                  </a:defRPr>
                </a:pPr>
                <a:endParaRPr kumimoji="0" sz="24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6" name="Shape 810">
                <a:extLst>
                  <a:ext uri="{FF2B5EF4-FFF2-40B4-BE49-F238E27FC236}">
                    <a16:creationId xmlns:a16="http://schemas.microsoft.com/office/drawing/2014/main" id="{A904CE33-4FCF-42CB-8BDF-81B2C554D6DA}"/>
                  </a:ext>
                </a:extLst>
              </p:cNvPr>
              <p:cNvSpPr/>
              <p:nvPr/>
            </p:nvSpPr>
            <p:spPr>
              <a:xfrm>
                <a:off x="-1" y="1726365"/>
                <a:ext cx="2501821" cy="2517645"/>
              </a:xfrm>
              <a:prstGeom prst="ellipse">
                <a:avLst/>
              </a:prstGeom>
              <a:noFill/>
              <a:ln w="88900" cap="flat">
                <a:solidFill>
                  <a:schemeClr val="accent2"/>
                </a:solidFill>
                <a:prstDash val="solid"/>
                <a:miter lim="8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2400">
                    <a:solidFill>
                      <a:srgbClr val="FFFFFF"/>
                    </a:solidFill>
                  </a:defRPr>
                </a:pPr>
                <a:endParaRPr kumimoji="0" sz="24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7" name="Shape 811">
                <a:extLst>
                  <a:ext uri="{FF2B5EF4-FFF2-40B4-BE49-F238E27FC236}">
                    <a16:creationId xmlns:a16="http://schemas.microsoft.com/office/drawing/2014/main" id="{210414F8-EC6A-4D7B-A25A-149FB6BCD7B6}"/>
                  </a:ext>
                </a:extLst>
              </p:cNvPr>
              <p:cNvSpPr/>
              <p:nvPr/>
            </p:nvSpPr>
            <p:spPr>
              <a:xfrm>
                <a:off x="44782" y="108529"/>
                <a:ext cx="2432305" cy="2355449"/>
              </a:xfrm>
              <a:prstGeom prst="ellipse">
                <a:avLst/>
              </a:prstGeom>
              <a:solidFill>
                <a:srgbClr val="FFFFFF">
                  <a:alpha val="81000"/>
                </a:srgbClr>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2400">
                    <a:solidFill>
                      <a:srgbClr val="FFFFFF"/>
                    </a:solidFill>
                  </a:defRPr>
                </a:pPr>
                <a:endParaRPr kumimoji="0" sz="24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8" name="Shape 812">
                <a:extLst>
                  <a:ext uri="{FF2B5EF4-FFF2-40B4-BE49-F238E27FC236}">
                    <a16:creationId xmlns:a16="http://schemas.microsoft.com/office/drawing/2014/main" id="{13627D32-3327-4DF6-B86E-31A9DBFFA77D}"/>
                  </a:ext>
                </a:extLst>
              </p:cNvPr>
              <p:cNvSpPr/>
              <p:nvPr/>
            </p:nvSpPr>
            <p:spPr>
              <a:xfrm>
                <a:off x="1448625" y="738420"/>
                <a:ext cx="2352401" cy="2432305"/>
              </a:xfrm>
              <a:prstGeom prst="ellipse">
                <a:avLst/>
              </a:prstGeom>
              <a:solidFill>
                <a:srgbClr val="FFFFFF">
                  <a:alpha val="81000"/>
                </a:srgbClr>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2400">
                    <a:solidFill>
                      <a:srgbClr val="FFFFFF"/>
                    </a:solidFill>
                  </a:defRPr>
                </a:pPr>
                <a:endParaRPr kumimoji="0" sz="24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9" name="Shape 813">
                <a:extLst>
                  <a:ext uri="{FF2B5EF4-FFF2-40B4-BE49-F238E27FC236}">
                    <a16:creationId xmlns:a16="http://schemas.microsoft.com/office/drawing/2014/main" id="{2BEA4A3E-9CB7-4557-9F09-8B157B0C678F}"/>
                  </a:ext>
                </a:extLst>
              </p:cNvPr>
              <p:cNvSpPr/>
              <p:nvPr/>
            </p:nvSpPr>
            <p:spPr>
              <a:xfrm>
                <a:off x="44782" y="1799114"/>
                <a:ext cx="2414955" cy="2352608"/>
              </a:xfrm>
              <a:prstGeom prst="ellipse">
                <a:avLst/>
              </a:prstGeom>
              <a:solidFill>
                <a:srgbClr val="FFFFFF">
                  <a:alpha val="81000"/>
                </a:srgbClr>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2400">
                    <a:solidFill>
                      <a:srgbClr val="FFFFFF"/>
                    </a:solidFill>
                  </a:defRPr>
                </a:pPr>
                <a:endParaRPr kumimoji="0" sz="24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20" name="Shape 814">
                <a:extLst>
                  <a:ext uri="{FF2B5EF4-FFF2-40B4-BE49-F238E27FC236}">
                    <a16:creationId xmlns:a16="http://schemas.microsoft.com/office/drawing/2014/main" id="{87CC57CB-4147-4C81-816B-A17510D1E883}"/>
                  </a:ext>
                </a:extLst>
              </p:cNvPr>
              <p:cNvSpPr/>
              <p:nvPr/>
            </p:nvSpPr>
            <p:spPr>
              <a:xfrm rot="218945">
                <a:off x="1368190" y="1710988"/>
                <a:ext cx="755424" cy="78461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872" y="997"/>
                    </a:lnTo>
                    <a:cubicBezTo>
                      <a:pt x="6326" y="2384"/>
                      <a:pt x="9662" y="3983"/>
                      <a:pt x="12861" y="5778"/>
                    </a:cubicBezTo>
                    <a:lnTo>
                      <a:pt x="21600" y="11452"/>
                    </a:lnTo>
                    <a:lnTo>
                      <a:pt x="21562" y="11485"/>
                    </a:lnTo>
                    <a:cubicBezTo>
                      <a:pt x="17570" y="14611"/>
                      <a:pt x="13257" y="17380"/>
                      <a:pt x="8677" y="19741"/>
                    </a:cubicBezTo>
                    <a:lnTo>
                      <a:pt x="4611" y="21600"/>
                    </a:lnTo>
                    <a:lnTo>
                      <a:pt x="2067" y="13999"/>
                    </a:lnTo>
                    <a:cubicBezTo>
                      <a:pt x="1202" y="10634"/>
                      <a:pt x="572" y="7182"/>
                      <a:pt x="195" y="3660"/>
                    </a:cubicBezTo>
                    <a:close/>
                  </a:path>
                </a:pathLst>
              </a:custGeom>
              <a:blipFill rotWithShape="1">
                <a:blip r:embed="rId8">
                  <a:extLst>
                    <a:ext uri="{28A0092B-C50C-407E-A947-70E740481C1C}">
                      <a14:useLocalDpi xmlns:a14="http://schemas.microsoft.com/office/drawing/2010/main" val="0"/>
                    </a:ext>
                  </a:extLst>
                </a:blip>
                <a:srcRect/>
                <a:tile tx="0" ty="0" sx="100000" sy="100000" flip="none" algn="tl"/>
              </a:blip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2400">
                    <a:solidFill>
                      <a:srgbClr val="FFFFFF"/>
                    </a:solidFill>
                  </a:defRPr>
                </a:pPr>
                <a:endParaRPr kumimoji="0" sz="2400" b="0" i="0" u="none" strike="noStrike" kern="1200" cap="none" spc="0" normalizeH="0" baseline="0" noProof="0" dirty="0">
                  <a:ln>
                    <a:noFill/>
                  </a:ln>
                  <a:solidFill>
                    <a:srgbClr val="FFFFFF"/>
                  </a:solidFill>
                  <a:effectLst/>
                  <a:uLnTx/>
                  <a:uFillTx/>
                  <a:latin typeface="Open Sans"/>
                  <a:ea typeface="+mn-ea"/>
                  <a:cs typeface="+mn-cs"/>
                </a:endParaRPr>
              </a:p>
            </p:txBody>
          </p:sp>
        </p:grpSp>
        <p:sp>
          <p:nvSpPr>
            <p:cNvPr id="11" name="Shape 816">
              <a:extLst>
                <a:ext uri="{FF2B5EF4-FFF2-40B4-BE49-F238E27FC236}">
                  <a16:creationId xmlns:a16="http://schemas.microsoft.com/office/drawing/2014/main" id="{430D0FEE-CB84-4F0B-9C51-D30DE8989B59}"/>
                </a:ext>
              </a:extLst>
            </p:cNvPr>
            <p:cNvSpPr/>
            <p:nvPr/>
          </p:nvSpPr>
          <p:spPr>
            <a:xfrm>
              <a:off x="480929" y="2961789"/>
              <a:ext cx="1500506" cy="49197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lvl1pPr algn="ctr">
                <a:defRPr b="1" spc="-3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 normalizeH="0" baseline="0" noProof="0" dirty="0">
                  <a:ln>
                    <a:noFill/>
                  </a:ln>
                  <a:solidFill>
                    <a:prstClr val="black"/>
                  </a:solidFill>
                  <a:effectLst/>
                  <a:uLnTx/>
                  <a:uFillTx/>
                  <a:latin typeface="Open Sans"/>
                  <a:ea typeface="+mn-ea"/>
                  <a:cs typeface="+mn-cs"/>
                </a:rPr>
                <a:t>Data Capture &amp; Analysis</a:t>
              </a:r>
              <a:endParaRPr kumimoji="0" sz="1400" b="1" i="0" u="none" strike="noStrike" kern="1200" cap="none" spc="-30" normalizeH="0" baseline="0" noProof="0" dirty="0">
                <a:ln>
                  <a:noFill/>
                </a:ln>
                <a:solidFill>
                  <a:prstClr val="black"/>
                </a:solidFill>
                <a:effectLst/>
                <a:uLnTx/>
                <a:uFillTx/>
                <a:latin typeface="Open Sans"/>
                <a:ea typeface="+mn-ea"/>
                <a:cs typeface="+mn-cs"/>
              </a:endParaRPr>
            </a:p>
          </p:txBody>
        </p:sp>
        <p:sp>
          <p:nvSpPr>
            <p:cNvPr id="12" name="Shape 817">
              <a:extLst>
                <a:ext uri="{FF2B5EF4-FFF2-40B4-BE49-F238E27FC236}">
                  <a16:creationId xmlns:a16="http://schemas.microsoft.com/office/drawing/2014/main" id="{61D6AE6E-3BEB-4585-8293-E70CEC40D627}"/>
                </a:ext>
              </a:extLst>
            </p:cNvPr>
            <p:cNvSpPr/>
            <p:nvPr/>
          </p:nvSpPr>
          <p:spPr>
            <a:xfrm>
              <a:off x="379791" y="774723"/>
              <a:ext cx="1769291" cy="49197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lvl1pPr algn="ctr">
                <a:defRPr b="1" spc="-3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 normalizeH="0" baseline="0" noProof="0" dirty="0">
                  <a:ln>
                    <a:noFill/>
                  </a:ln>
                  <a:solidFill>
                    <a:prstClr val="black"/>
                  </a:solidFill>
                  <a:effectLst/>
                  <a:uLnTx/>
                  <a:uFillTx/>
                  <a:latin typeface="Open Sans"/>
                  <a:ea typeface="+mn-ea"/>
                  <a:cs typeface="+mn-cs"/>
                </a:rPr>
                <a:t>Capabilities (Core+)</a:t>
              </a:r>
              <a:endParaRPr kumimoji="0" sz="1400" b="1" i="0" u="none" strike="noStrike" kern="1200" cap="none" spc="-30" normalizeH="0" baseline="0" noProof="0" dirty="0">
                <a:ln>
                  <a:noFill/>
                </a:ln>
                <a:solidFill>
                  <a:prstClr val="black"/>
                </a:solidFill>
                <a:effectLst/>
                <a:uLnTx/>
                <a:uFillTx/>
                <a:latin typeface="Open Sans"/>
                <a:ea typeface="+mn-ea"/>
                <a:cs typeface="+mn-cs"/>
              </a:endParaRPr>
            </a:p>
          </p:txBody>
        </p:sp>
        <p:sp>
          <p:nvSpPr>
            <p:cNvPr id="13" name="Shape 818">
              <a:extLst>
                <a:ext uri="{FF2B5EF4-FFF2-40B4-BE49-F238E27FC236}">
                  <a16:creationId xmlns:a16="http://schemas.microsoft.com/office/drawing/2014/main" id="{EE531366-1669-4572-AD22-C09C2E1F67D2}"/>
                </a:ext>
              </a:extLst>
            </p:cNvPr>
            <p:cNvSpPr/>
            <p:nvPr/>
          </p:nvSpPr>
          <p:spPr>
            <a:xfrm>
              <a:off x="1980412" y="1669520"/>
              <a:ext cx="1585316" cy="49197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lvl1pPr algn="ctr">
                <a:defRPr b="1" spc="-3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 normalizeH="0" baseline="0" noProof="0" dirty="0">
                  <a:ln>
                    <a:noFill/>
                  </a:ln>
                  <a:solidFill>
                    <a:prstClr val="black"/>
                  </a:solidFill>
                  <a:effectLst/>
                  <a:uLnTx/>
                  <a:uFillTx/>
                  <a:latin typeface="Open Sans"/>
                  <a:ea typeface="+mn-ea"/>
                  <a:cs typeface="+mn-cs"/>
                </a:rPr>
                <a:t>Digital Mobile Interface</a:t>
              </a:r>
              <a:endParaRPr kumimoji="0" sz="1400" b="1" i="0" u="none" strike="noStrike" kern="1200" cap="none" spc="-30" normalizeH="0" baseline="0" noProof="0" dirty="0">
                <a:ln>
                  <a:noFill/>
                </a:ln>
                <a:solidFill>
                  <a:prstClr val="black"/>
                </a:solidFill>
                <a:effectLst/>
                <a:uLnTx/>
                <a:uFillTx/>
                <a:latin typeface="Open Sans"/>
                <a:ea typeface="+mn-ea"/>
                <a:cs typeface="+mn-cs"/>
              </a:endParaRPr>
            </a:p>
          </p:txBody>
        </p:sp>
      </p:grpSp>
      <p:grpSp>
        <p:nvGrpSpPr>
          <p:cNvPr id="21" name="Group 822">
            <a:extLst>
              <a:ext uri="{FF2B5EF4-FFF2-40B4-BE49-F238E27FC236}">
                <a16:creationId xmlns:a16="http://schemas.microsoft.com/office/drawing/2014/main" id="{59AEC793-4076-4EA7-B2B1-DB49897E0BBB}"/>
              </a:ext>
            </a:extLst>
          </p:cNvPr>
          <p:cNvGrpSpPr/>
          <p:nvPr/>
        </p:nvGrpSpPr>
        <p:grpSpPr>
          <a:xfrm>
            <a:off x="2916084" y="2252616"/>
            <a:ext cx="2598612" cy="1843992"/>
            <a:chOff x="0" y="146061"/>
            <a:chExt cx="2598610" cy="1843990"/>
          </a:xfrm>
        </p:grpSpPr>
        <p:sp>
          <p:nvSpPr>
            <p:cNvPr id="22" name="Shape 820">
              <a:extLst>
                <a:ext uri="{FF2B5EF4-FFF2-40B4-BE49-F238E27FC236}">
                  <a16:creationId xmlns:a16="http://schemas.microsoft.com/office/drawing/2014/main" id="{AB4AE6B6-9624-407B-9134-DDE2170A02B5}"/>
                </a:ext>
              </a:extLst>
            </p:cNvPr>
            <p:cNvSpPr/>
            <p:nvPr/>
          </p:nvSpPr>
          <p:spPr>
            <a:xfrm>
              <a:off x="0" y="186904"/>
              <a:ext cx="853863" cy="180314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5289"/>
                  </a:lnTo>
                  <a:moveTo>
                    <a:pt x="21600" y="992"/>
                  </a:moveTo>
                  <a:lnTo>
                    <a:pt x="18371" y="992"/>
                  </a:lnTo>
                  <a:lnTo>
                    <a:pt x="0" y="21600"/>
                  </a:lnTo>
                </a:path>
              </a:pathLst>
            </a:custGeom>
            <a:noFill/>
            <a:ln w="12700" cap="flat">
              <a:solidFill>
                <a:srgbClr val="808080"/>
              </a:solidFill>
              <a:prstDash val="solid"/>
              <a:miter lim="800000"/>
            </a:ln>
            <a:effectLst/>
          </p:spPr>
          <p:txBody>
            <a:bodyPr wrap="square" lIns="45719" tIns="45719" rIns="45719" bIns="45719"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400">
                  <a:solidFill>
                    <a:srgbClr val="808080"/>
                  </a:solidFill>
                </a:defRPr>
              </a:pPr>
              <a:endParaRPr kumimoji="0" sz="1400" b="0" i="0" u="none" strike="noStrike" kern="1200" cap="none" spc="0" normalizeH="0" baseline="0" noProof="0" dirty="0">
                <a:ln>
                  <a:noFill/>
                </a:ln>
                <a:solidFill>
                  <a:srgbClr val="808080"/>
                </a:solidFill>
                <a:effectLst/>
                <a:uLnTx/>
                <a:uFillTx/>
                <a:latin typeface="Open Sans"/>
                <a:ea typeface="+mn-ea"/>
                <a:cs typeface="+mn-cs"/>
              </a:endParaRPr>
            </a:p>
          </p:txBody>
        </p:sp>
        <p:sp>
          <p:nvSpPr>
            <p:cNvPr id="23" name="Shape 821">
              <a:extLst>
                <a:ext uri="{FF2B5EF4-FFF2-40B4-BE49-F238E27FC236}">
                  <a16:creationId xmlns:a16="http://schemas.microsoft.com/office/drawing/2014/main" id="{599230F4-CA53-4AE4-A4E4-E0397C2ED0DD}"/>
                </a:ext>
              </a:extLst>
            </p:cNvPr>
            <p:cNvSpPr/>
            <p:nvPr/>
          </p:nvSpPr>
          <p:spPr>
            <a:xfrm>
              <a:off x="988067" y="146061"/>
              <a:ext cx="1610543" cy="52321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defRPr sz="1400">
                  <a:solidFill>
                    <a:srgbClr val="808080"/>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808080"/>
                  </a:solidFill>
                  <a:effectLst/>
                  <a:uLnTx/>
                  <a:uFillTx/>
                  <a:latin typeface="Open Sans"/>
                  <a:ea typeface="+mn-ea"/>
                  <a:cs typeface="+mn-cs"/>
                </a:rPr>
                <a:t>Integrated Fan Experience</a:t>
              </a:r>
              <a:endParaRPr kumimoji="0" sz="1400" b="0" i="0" u="none" strike="noStrike" kern="1200" cap="none" spc="0" normalizeH="0" baseline="0" noProof="0" dirty="0">
                <a:ln>
                  <a:noFill/>
                </a:ln>
                <a:solidFill>
                  <a:srgbClr val="808080"/>
                </a:solidFill>
                <a:effectLst/>
                <a:uLnTx/>
                <a:uFillTx/>
                <a:latin typeface="Open Sans"/>
                <a:ea typeface="+mn-ea"/>
                <a:cs typeface="+mn-cs"/>
              </a:endParaRPr>
            </a:p>
          </p:txBody>
        </p:sp>
      </p:grpSp>
      <p:cxnSp>
        <p:nvCxnSpPr>
          <p:cNvPr id="25" name="Straight Connector 24">
            <a:extLst>
              <a:ext uri="{FF2B5EF4-FFF2-40B4-BE49-F238E27FC236}">
                <a16:creationId xmlns:a16="http://schemas.microsoft.com/office/drawing/2014/main" id="{6C9E5FA2-2CFF-47E5-BCDC-C4CA0C734DA5}"/>
              </a:ext>
            </a:extLst>
          </p:cNvPr>
          <p:cNvCxnSpPr/>
          <p:nvPr/>
        </p:nvCxnSpPr>
        <p:spPr>
          <a:xfrm>
            <a:off x="6382896" y="2241226"/>
            <a:ext cx="4429760" cy="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9714A57-83BB-4820-A06B-2FCDB1C41E53}"/>
              </a:ext>
            </a:extLst>
          </p:cNvPr>
          <p:cNvCxnSpPr/>
          <p:nvPr/>
        </p:nvCxnSpPr>
        <p:spPr>
          <a:xfrm>
            <a:off x="6382896" y="3690888"/>
            <a:ext cx="4429760"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68F8EEE-F594-4425-B73D-B3D00B286DC2}"/>
              </a:ext>
            </a:extLst>
          </p:cNvPr>
          <p:cNvCxnSpPr/>
          <p:nvPr/>
        </p:nvCxnSpPr>
        <p:spPr>
          <a:xfrm>
            <a:off x="6382896" y="5140549"/>
            <a:ext cx="4429760" cy="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1E745C3F-B288-4AF0-9EF2-27B65ADE4EE1}"/>
              </a:ext>
            </a:extLst>
          </p:cNvPr>
          <p:cNvSpPr/>
          <p:nvPr/>
        </p:nvSpPr>
        <p:spPr>
          <a:xfrm>
            <a:off x="6382896" y="3747178"/>
            <a:ext cx="4366130" cy="1015663"/>
          </a:xfrm>
          <a:prstGeom prst="rect">
            <a:avLst/>
          </a:prstGeom>
        </p:spPr>
        <p:txBody>
          <a:bodyPr wrap="square">
            <a:spAutoFit/>
          </a:bodyPr>
          <a:lstStyle/>
          <a:p>
            <a:pPr marL="0" marR="0" lvl="0" indent="0" algn="l" defTabSz="914400" rtl="0" eaLnBrk="1" fontAlgn="base" latinLnBrk="0" hangingPunct="1">
              <a:lnSpc>
                <a:spcPts val="18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Open Sans"/>
                <a:ea typeface="+mn-ea"/>
                <a:cs typeface="+mn-cs"/>
              </a:rPr>
              <a:t>1 — </a:t>
            </a:r>
            <a:r>
              <a:rPr kumimoji="0" lang="en-US" sz="1200" b="0" i="0" u="none" strike="noStrike" kern="1200" cap="none" spc="0" normalizeH="0" baseline="0" noProof="0" dirty="0">
                <a:ln>
                  <a:noFill/>
                </a:ln>
                <a:solidFill>
                  <a:prstClr val="black"/>
                </a:solidFill>
                <a:effectLst/>
                <a:uLnTx/>
                <a:uFillTx/>
                <a:latin typeface="Open Sans"/>
                <a:ea typeface="+mn-ea"/>
                <a:cs typeface="+mn-cs"/>
              </a:rPr>
              <a:t>Rapidly react to </a:t>
            </a:r>
            <a:r>
              <a:rPr kumimoji="0" lang="en-US" sz="1200" b="1" i="0" u="none" strike="noStrike" kern="1200" cap="none" spc="0" normalizeH="0" baseline="0" noProof="0" dirty="0">
                <a:ln>
                  <a:noFill/>
                </a:ln>
                <a:solidFill>
                  <a:prstClr val="black"/>
                </a:solidFill>
                <a:effectLst/>
                <a:uLnTx/>
                <a:uFillTx/>
                <a:latin typeface="Open Sans"/>
                <a:ea typeface="+mn-ea"/>
                <a:cs typeface="+mn-cs"/>
              </a:rPr>
              <a:t>emerging consumer preferences and behaviors</a:t>
            </a:r>
          </a:p>
          <a:p>
            <a:pPr marL="0" marR="0" lvl="0" indent="0" algn="l" defTabSz="914400" rtl="0" eaLnBrk="1" fontAlgn="base" latinLnBrk="0" hangingPunct="1">
              <a:lnSpc>
                <a:spcPts val="18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Open Sans"/>
                <a:ea typeface="+mn-ea"/>
                <a:cs typeface="+mn-cs"/>
              </a:rPr>
              <a:t>2 — </a:t>
            </a:r>
            <a:r>
              <a:rPr kumimoji="0" lang="en-US" sz="1200" b="0" i="0" u="none" strike="noStrike" kern="1200" cap="none" spc="0" normalizeH="0" baseline="0" noProof="0" dirty="0">
                <a:ln>
                  <a:noFill/>
                </a:ln>
                <a:solidFill>
                  <a:prstClr val="black"/>
                </a:solidFill>
                <a:effectLst/>
                <a:uLnTx/>
                <a:uFillTx/>
                <a:latin typeface="Open Sans"/>
                <a:ea typeface="+mn-ea"/>
                <a:cs typeface="+mn-cs"/>
              </a:rPr>
              <a:t>Enable </a:t>
            </a:r>
            <a:r>
              <a:rPr kumimoji="0" lang="en-US" sz="1200" b="1" i="0" u="none" strike="noStrike" kern="1200" cap="none" spc="0" normalizeH="0" baseline="0" noProof="0" dirty="0">
                <a:ln>
                  <a:noFill/>
                </a:ln>
                <a:solidFill>
                  <a:prstClr val="black"/>
                </a:solidFill>
                <a:effectLst/>
                <a:uLnTx/>
                <a:uFillTx/>
                <a:latin typeface="Open Sans"/>
                <a:ea typeface="+mn-ea"/>
                <a:cs typeface="+mn-cs"/>
              </a:rPr>
              <a:t>flexibility </a:t>
            </a:r>
            <a:r>
              <a:rPr kumimoji="0" lang="en-US" sz="1200" b="0" i="0" u="none" strike="noStrike" kern="1200" cap="none" spc="0" normalizeH="0" baseline="0" noProof="0" dirty="0">
                <a:ln>
                  <a:noFill/>
                </a:ln>
                <a:solidFill>
                  <a:prstClr val="black"/>
                </a:solidFill>
                <a:effectLst/>
                <a:uLnTx/>
                <a:uFillTx/>
                <a:latin typeface="Open Sans"/>
                <a:ea typeface="+mn-ea"/>
                <a:cs typeface="+mn-cs"/>
              </a:rPr>
              <a:t>of design and adaptability of platform to meet evolving digital demands</a:t>
            </a:r>
          </a:p>
        </p:txBody>
      </p:sp>
      <p:sp>
        <p:nvSpPr>
          <p:cNvPr id="29" name="Rectangle 28">
            <a:extLst>
              <a:ext uri="{FF2B5EF4-FFF2-40B4-BE49-F238E27FC236}">
                <a16:creationId xmlns:a16="http://schemas.microsoft.com/office/drawing/2014/main" id="{F4516130-E12A-4782-8884-DB2983332BCA}"/>
              </a:ext>
            </a:extLst>
          </p:cNvPr>
          <p:cNvSpPr/>
          <p:nvPr/>
        </p:nvSpPr>
        <p:spPr>
          <a:xfrm>
            <a:off x="6382896" y="5214328"/>
            <a:ext cx="4366130" cy="1015663"/>
          </a:xfrm>
          <a:prstGeom prst="rect">
            <a:avLst/>
          </a:prstGeom>
        </p:spPr>
        <p:txBody>
          <a:bodyPr wrap="square">
            <a:spAutoFit/>
          </a:bodyPr>
          <a:lstStyle/>
          <a:p>
            <a:pPr marL="0" marR="0" lvl="0" indent="0" algn="l" defTabSz="914400" rtl="0" eaLnBrk="1" fontAlgn="base" latinLnBrk="0" hangingPunct="1">
              <a:lnSpc>
                <a:spcPts val="18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Open Sans"/>
                <a:ea typeface="+mn-ea"/>
                <a:cs typeface="+mn-cs"/>
              </a:rPr>
              <a:t>1 — </a:t>
            </a:r>
            <a:r>
              <a:rPr kumimoji="0" lang="en-US" sz="1200" b="0" i="0" u="none" strike="noStrike" kern="1200" cap="none" spc="0" normalizeH="0" baseline="0" noProof="0" dirty="0">
                <a:ln>
                  <a:noFill/>
                </a:ln>
                <a:solidFill>
                  <a:prstClr val="black"/>
                </a:solidFill>
                <a:effectLst/>
                <a:uLnTx/>
                <a:uFillTx/>
                <a:latin typeface="Open Sans"/>
                <a:ea typeface="+mn-ea"/>
                <a:cs typeface="+mn-cs"/>
              </a:rPr>
              <a:t>Develop a </a:t>
            </a:r>
            <a:r>
              <a:rPr kumimoji="0" lang="en-US" sz="1200" b="1" i="0" u="none" strike="noStrike" kern="1200" cap="none" spc="0" normalizeH="0" baseline="0" noProof="0" dirty="0">
                <a:ln>
                  <a:noFill/>
                </a:ln>
                <a:solidFill>
                  <a:prstClr val="black"/>
                </a:solidFill>
                <a:effectLst/>
                <a:uLnTx/>
                <a:uFillTx/>
                <a:latin typeface="Open Sans"/>
                <a:ea typeface="+mn-ea"/>
                <a:cs typeface="+mn-cs"/>
              </a:rPr>
              <a:t>robust loyalty and rewards program </a:t>
            </a:r>
            <a:r>
              <a:rPr kumimoji="0" lang="en-US" sz="1200" b="0" i="0" u="none" strike="noStrike" kern="1200" cap="none" spc="0" normalizeH="0" baseline="0" noProof="0" dirty="0">
                <a:ln>
                  <a:noFill/>
                </a:ln>
                <a:solidFill>
                  <a:prstClr val="black"/>
                </a:solidFill>
                <a:effectLst/>
                <a:uLnTx/>
                <a:uFillTx/>
                <a:latin typeface="Open Sans"/>
                <a:ea typeface="+mn-ea"/>
                <a:cs typeface="+mn-cs"/>
              </a:rPr>
              <a:t>that incentivizes engagement</a:t>
            </a:r>
          </a:p>
          <a:p>
            <a:pPr marL="0" marR="0" lvl="0" indent="0" algn="l" defTabSz="914400" rtl="0" eaLnBrk="1" fontAlgn="base" latinLnBrk="0" hangingPunct="1">
              <a:lnSpc>
                <a:spcPts val="18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Open Sans"/>
                <a:ea typeface="+mn-ea"/>
                <a:cs typeface="+mn-cs"/>
              </a:rPr>
              <a:t>2 — </a:t>
            </a:r>
            <a:r>
              <a:rPr kumimoji="0" lang="en-US" sz="1200" b="0" i="0" u="none" strike="noStrike" kern="1200" cap="none" spc="0" normalizeH="0" baseline="0" noProof="0" dirty="0">
                <a:ln>
                  <a:noFill/>
                </a:ln>
                <a:solidFill>
                  <a:prstClr val="black"/>
                </a:solidFill>
                <a:effectLst/>
                <a:uLnTx/>
                <a:uFillTx/>
                <a:latin typeface="Open Sans"/>
                <a:ea typeface="+mn-ea"/>
                <a:cs typeface="+mn-cs"/>
              </a:rPr>
              <a:t>Provide a diverse set of offerings to </a:t>
            </a:r>
            <a:r>
              <a:rPr kumimoji="0" lang="en-US" sz="1200" b="1" i="0" u="none" strike="noStrike" kern="1200" cap="none" spc="0" normalizeH="0" baseline="0" noProof="0" dirty="0">
                <a:ln>
                  <a:noFill/>
                </a:ln>
                <a:solidFill>
                  <a:prstClr val="black"/>
                </a:solidFill>
                <a:effectLst/>
                <a:uLnTx/>
                <a:uFillTx/>
                <a:latin typeface="Open Sans"/>
                <a:ea typeface="+mn-ea"/>
                <a:cs typeface="+mn-cs"/>
              </a:rPr>
              <a:t>deliver to Corporate Partners</a:t>
            </a:r>
          </a:p>
        </p:txBody>
      </p:sp>
      <p:sp>
        <p:nvSpPr>
          <p:cNvPr id="30" name="TextBox 29">
            <a:extLst>
              <a:ext uri="{FF2B5EF4-FFF2-40B4-BE49-F238E27FC236}">
                <a16:creationId xmlns:a16="http://schemas.microsoft.com/office/drawing/2014/main" id="{389C1FEA-65ED-4CC0-8D26-D644B8F20113}"/>
              </a:ext>
            </a:extLst>
          </p:cNvPr>
          <p:cNvSpPr txBox="1"/>
          <p:nvPr/>
        </p:nvSpPr>
        <p:spPr>
          <a:xfrm>
            <a:off x="6382896" y="1931115"/>
            <a:ext cx="358067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small" spc="0" normalizeH="0" baseline="0" noProof="0" dirty="0">
                <a:ln>
                  <a:noFill/>
                </a:ln>
                <a:solidFill>
                  <a:prstClr val="black"/>
                </a:solidFill>
                <a:effectLst/>
                <a:uLnTx/>
                <a:uFillTx/>
                <a:latin typeface="Open Sans"/>
                <a:ea typeface="+mn-ea"/>
                <a:cs typeface="+mn-cs"/>
              </a:rPr>
              <a:t>Building the stadium of the future</a:t>
            </a:r>
          </a:p>
        </p:txBody>
      </p:sp>
      <p:sp>
        <p:nvSpPr>
          <p:cNvPr id="31" name="TextBox 30">
            <a:extLst>
              <a:ext uri="{FF2B5EF4-FFF2-40B4-BE49-F238E27FC236}">
                <a16:creationId xmlns:a16="http://schemas.microsoft.com/office/drawing/2014/main" id="{E14FB953-6C6E-4738-B5DD-F92E400D7D0B}"/>
              </a:ext>
            </a:extLst>
          </p:cNvPr>
          <p:cNvSpPr txBox="1"/>
          <p:nvPr/>
        </p:nvSpPr>
        <p:spPr>
          <a:xfrm>
            <a:off x="6382896" y="3410037"/>
            <a:ext cx="296018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small" spc="0" normalizeH="0" baseline="0" noProof="0" dirty="0">
                <a:ln>
                  <a:noFill/>
                </a:ln>
                <a:solidFill>
                  <a:prstClr val="black"/>
                </a:solidFill>
                <a:effectLst/>
                <a:uLnTx/>
                <a:uFillTx/>
                <a:latin typeface="Open Sans"/>
                <a:ea typeface="+mn-ea"/>
                <a:cs typeface="+mn-cs"/>
              </a:rPr>
              <a:t>Keeping up with the trends</a:t>
            </a:r>
          </a:p>
        </p:txBody>
      </p:sp>
      <p:sp>
        <p:nvSpPr>
          <p:cNvPr id="32" name="TextBox 31">
            <a:extLst>
              <a:ext uri="{FF2B5EF4-FFF2-40B4-BE49-F238E27FC236}">
                <a16:creationId xmlns:a16="http://schemas.microsoft.com/office/drawing/2014/main" id="{9713E00F-61DD-4BF7-9967-EBA2E87E8FE5}"/>
              </a:ext>
            </a:extLst>
          </p:cNvPr>
          <p:cNvSpPr txBox="1"/>
          <p:nvPr/>
        </p:nvSpPr>
        <p:spPr>
          <a:xfrm>
            <a:off x="6382896" y="4828449"/>
            <a:ext cx="296018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small" spc="0" normalizeH="0" baseline="0" noProof="0" dirty="0">
                <a:ln>
                  <a:noFill/>
                </a:ln>
                <a:solidFill>
                  <a:prstClr val="black"/>
                </a:solidFill>
                <a:effectLst/>
                <a:uLnTx/>
                <a:uFillTx/>
                <a:latin typeface="Open Sans"/>
                <a:ea typeface="+mn-ea"/>
                <a:cs typeface="+mn-cs"/>
              </a:rPr>
              <a:t>Harnessing the power of data</a:t>
            </a:r>
          </a:p>
        </p:txBody>
      </p:sp>
    </p:spTree>
    <p:extLst>
      <p:ext uri="{BB962C8B-B14F-4D97-AF65-F5344CB8AC3E}">
        <p14:creationId xmlns:p14="http://schemas.microsoft.com/office/powerpoint/2010/main" val="3823487962"/>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7" name="Object 76" hidden="1">
            <a:extLst>
              <a:ext uri="{FF2B5EF4-FFF2-40B4-BE49-F238E27FC236}">
                <a16:creationId xmlns:a16="http://schemas.microsoft.com/office/drawing/2014/main" id="{90154D49-BE92-4FB1-B020-2D4AD89272A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3300" name="think-cell Slide" r:id="rId6" imgW="395" imgH="396" progId="TCLayout.ActiveDocument.1">
                  <p:embed/>
                </p:oleObj>
              </mc:Choice>
              <mc:Fallback>
                <p:oleObj name="think-cell Slide" r:id="rId6" imgW="395" imgH="396" progId="TCLayout.ActiveDocument.1">
                  <p:embed/>
                  <p:pic>
                    <p:nvPicPr>
                      <p:cNvPr id="77" name="Object 76" hidden="1">
                        <a:extLst>
                          <a:ext uri="{FF2B5EF4-FFF2-40B4-BE49-F238E27FC236}">
                            <a16:creationId xmlns:a16="http://schemas.microsoft.com/office/drawing/2014/main" id="{90154D49-BE92-4FB1-B020-2D4AD89272A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6" name="Rectangle 75" hidden="1">
            <a:extLst>
              <a:ext uri="{FF2B5EF4-FFF2-40B4-BE49-F238E27FC236}">
                <a16:creationId xmlns:a16="http://schemas.microsoft.com/office/drawing/2014/main" id="{24F4B873-B304-45BA-9B20-FCCBAE53733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F35EBCA2-8B28-42E3-9F48-BC4ED0261257}"/>
              </a:ext>
            </a:extLst>
          </p:cNvPr>
          <p:cNvSpPr>
            <a:spLocks noGrp="1"/>
          </p:cNvSpPr>
          <p:nvPr>
            <p:ph type="title"/>
          </p:nvPr>
        </p:nvSpPr>
        <p:spPr/>
        <p:txBody>
          <a:bodyPr/>
          <a:lstStyle/>
          <a:p>
            <a:r>
              <a:rPr lang="en-US" dirty="0"/>
              <a:t>Our agile methodology ensures full contact</a:t>
            </a:r>
          </a:p>
        </p:txBody>
      </p:sp>
      <p:sp>
        <p:nvSpPr>
          <p:cNvPr id="3" name="Text Placeholder 2">
            <a:extLst>
              <a:ext uri="{FF2B5EF4-FFF2-40B4-BE49-F238E27FC236}">
                <a16:creationId xmlns:a16="http://schemas.microsoft.com/office/drawing/2014/main" id="{731A61EA-1CE3-42D3-BBD8-489E1848F62F}"/>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53A80DE3-64CE-468B-BA10-DA878456AC81}"/>
              </a:ext>
            </a:extLst>
          </p:cNvPr>
          <p:cNvSpPr>
            <a:spLocks noGrp="1"/>
          </p:cNvSpPr>
          <p:nvPr>
            <p:ph type="body" sz="quarter" idx="15"/>
          </p:nvPr>
        </p:nvSpPr>
        <p:spPr>
          <a:xfrm>
            <a:off x="914970" y="466344"/>
            <a:ext cx="3641553" cy="224722"/>
          </a:xfrm>
        </p:spPr>
        <p:txBody>
          <a:bodyPr/>
          <a:lstStyle/>
          <a:p>
            <a:r>
              <a:rPr lang="en-US" dirty="0"/>
              <a:t>FRAMEWORKS &amp; CONCEPT ILLUSTRATION</a:t>
            </a:r>
          </a:p>
          <a:p>
            <a:endParaRPr lang="en-US" dirty="0"/>
          </a:p>
        </p:txBody>
      </p:sp>
      <p:sp>
        <p:nvSpPr>
          <p:cNvPr id="6" name="Title 1">
            <a:extLst>
              <a:ext uri="{FF2B5EF4-FFF2-40B4-BE49-F238E27FC236}">
                <a16:creationId xmlns:a16="http://schemas.microsoft.com/office/drawing/2014/main" id="{0F38F073-251C-4D92-BA0C-8296CD11A495}"/>
              </a:ext>
            </a:extLst>
          </p:cNvPr>
          <p:cNvSpPr txBox="1">
            <a:spLocks/>
          </p:cNvSpPr>
          <p:nvPr/>
        </p:nvSpPr>
        <p:spPr>
          <a:xfrm>
            <a:off x="513595" y="1087210"/>
            <a:ext cx="10241279" cy="754546"/>
          </a:xfrm>
          <a:prstGeom prst="rect">
            <a:avLst/>
          </a:prstGeom>
        </p:spPr>
        <p:txBody>
          <a:bodyPr lIns="0" tIns="0" rIns="0" bIns="0" anchor="t">
            <a:noAutofit/>
          </a:bodyPr>
          <a:lstStyle>
            <a:lvl1pPr algn="l" defTabSz="457200" rtl="0" eaLnBrk="1" latinLnBrk="0" hangingPunct="1">
              <a:spcBef>
                <a:spcPct val="0"/>
              </a:spcBef>
              <a:buNone/>
              <a:defRPr sz="2400" kern="1200" baseline="0">
                <a:solidFill>
                  <a:srgbClr val="0D0D0D"/>
                </a:solidFill>
                <a:latin typeface="Georgia"/>
                <a:ea typeface="+mj-ea"/>
                <a:cs typeface="Georgia"/>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US" sz="2400" b="0" i="0" u="none" strike="noStrike" kern="1200" cap="none" spc="0" normalizeH="0" baseline="0" noProof="0" dirty="0">
              <a:ln>
                <a:noFill/>
              </a:ln>
              <a:solidFill>
                <a:srgbClr val="0D0D0D"/>
              </a:solidFill>
              <a:effectLst/>
              <a:uLnTx/>
              <a:uFillTx/>
              <a:latin typeface="Georgia"/>
              <a:ea typeface="+mj-ea"/>
            </a:endParaRPr>
          </a:p>
        </p:txBody>
      </p:sp>
      <p:grpSp>
        <p:nvGrpSpPr>
          <p:cNvPr id="8" name="Group 7">
            <a:extLst>
              <a:ext uri="{FF2B5EF4-FFF2-40B4-BE49-F238E27FC236}">
                <a16:creationId xmlns:a16="http://schemas.microsoft.com/office/drawing/2014/main" id="{F40617FF-94C9-4DEF-B5AF-52602674AC50}"/>
              </a:ext>
            </a:extLst>
          </p:cNvPr>
          <p:cNvGrpSpPr/>
          <p:nvPr/>
        </p:nvGrpSpPr>
        <p:grpSpPr>
          <a:xfrm rot="10800000">
            <a:off x="1310641" y="1782216"/>
            <a:ext cx="7838233" cy="321817"/>
            <a:chOff x="3418109" y="5223536"/>
            <a:chExt cx="5830888" cy="274320"/>
          </a:xfrm>
          <a:solidFill>
            <a:schemeClr val="accent1">
              <a:lumMod val="20000"/>
              <a:lumOff val="80000"/>
            </a:schemeClr>
          </a:solidFill>
        </p:grpSpPr>
        <p:sp>
          <p:nvSpPr>
            <p:cNvPr id="70" name="Rectangle 69">
              <a:extLst>
                <a:ext uri="{FF2B5EF4-FFF2-40B4-BE49-F238E27FC236}">
                  <a16:creationId xmlns:a16="http://schemas.microsoft.com/office/drawing/2014/main" id="{853C4040-8EA1-43A8-8D73-53BFE961AF5E}"/>
                </a:ext>
              </a:extLst>
            </p:cNvPr>
            <p:cNvSpPr/>
            <p:nvPr/>
          </p:nvSpPr>
          <p:spPr>
            <a:xfrm>
              <a:off x="3418109" y="5326120"/>
              <a:ext cx="5715000" cy="6915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ea typeface="+mn-ea"/>
                <a:cs typeface="+mn-cs"/>
              </a:endParaRPr>
            </a:p>
          </p:txBody>
        </p:sp>
        <p:sp>
          <p:nvSpPr>
            <p:cNvPr id="71" name="Right Triangle 70">
              <a:extLst>
                <a:ext uri="{FF2B5EF4-FFF2-40B4-BE49-F238E27FC236}">
                  <a16:creationId xmlns:a16="http://schemas.microsoft.com/office/drawing/2014/main" id="{62D4E38E-171A-4619-8A09-34ECB80475CF}"/>
                </a:ext>
              </a:extLst>
            </p:cNvPr>
            <p:cNvSpPr/>
            <p:nvPr/>
          </p:nvSpPr>
          <p:spPr>
            <a:xfrm rot="13500000">
              <a:off x="8974677" y="5223536"/>
              <a:ext cx="274320" cy="274320"/>
            </a:xfrm>
            <a:prstGeom prst="rtTriangl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ea typeface="+mn-ea"/>
                <a:cs typeface="+mn-cs"/>
              </a:endParaRPr>
            </a:p>
          </p:txBody>
        </p:sp>
      </p:grpSp>
      <p:grpSp>
        <p:nvGrpSpPr>
          <p:cNvPr id="9" name="Group 8">
            <a:extLst>
              <a:ext uri="{FF2B5EF4-FFF2-40B4-BE49-F238E27FC236}">
                <a16:creationId xmlns:a16="http://schemas.microsoft.com/office/drawing/2014/main" id="{B3EE5DAF-7717-4970-BDB3-F401D209BACB}"/>
              </a:ext>
            </a:extLst>
          </p:cNvPr>
          <p:cNvGrpSpPr>
            <a:grpSpLocks noChangeAspect="1"/>
          </p:cNvGrpSpPr>
          <p:nvPr/>
        </p:nvGrpSpPr>
        <p:grpSpPr>
          <a:xfrm>
            <a:off x="10087554" y="2171508"/>
            <a:ext cx="660881" cy="589998"/>
            <a:chOff x="6362199" y="3016407"/>
            <a:chExt cx="512128" cy="457200"/>
          </a:xfrm>
          <a:solidFill>
            <a:schemeClr val="accent1"/>
          </a:solidFill>
        </p:grpSpPr>
        <p:sp>
          <p:nvSpPr>
            <p:cNvPr id="68" name="Block Arc 67">
              <a:extLst>
                <a:ext uri="{FF2B5EF4-FFF2-40B4-BE49-F238E27FC236}">
                  <a16:creationId xmlns:a16="http://schemas.microsoft.com/office/drawing/2014/main" id="{48371F42-0970-4B9A-865D-923712FF0FA4}"/>
                </a:ext>
              </a:extLst>
            </p:cNvPr>
            <p:cNvSpPr/>
            <p:nvPr/>
          </p:nvSpPr>
          <p:spPr>
            <a:xfrm>
              <a:off x="6362199" y="3016407"/>
              <a:ext cx="457200" cy="457200"/>
            </a:xfrm>
            <a:prstGeom prst="blockArc">
              <a:avLst>
                <a:gd name="adj1" fmla="val 10583377"/>
                <a:gd name="adj2" fmla="val 1227139"/>
                <a:gd name="adj3" fmla="val 10478"/>
              </a:avLst>
            </a:prstGeom>
            <a:grp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ea typeface="+mn-ea"/>
                <a:cs typeface="+mn-cs"/>
              </a:endParaRPr>
            </a:p>
          </p:txBody>
        </p:sp>
        <p:sp>
          <p:nvSpPr>
            <p:cNvPr id="69" name="Right Triangle 68">
              <a:extLst>
                <a:ext uri="{FF2B5EF4-FFF2-40B4-BE49-F238E27FC236}">
                  <a16:creationId xmlns:a16="http://schemas.microsoft.com/office/drawing/2014/main" id="{FE9C65D3-266E-4AE4-BB57-32D9B98AF55A}"/>
                </a:ext>
              </a:extLst>
            </p:cNvPr>
            <p:cNvSpPr>
              <a:spLocks noChangeAspect="1"/>
            </p:cNvSpPr>
            <p:nvPr/>
          </p:nvSpPr>
          <p:spPr>
            <a:xfrm rot="20064520">
              <a:off x="6691447" y="3222768"/>
              <a:ext cx="182880" cy="182880"/>
            </a:xfrm>
            <a:prstGeom prst="rtTriangle">
              <a:avLst/>
            </a:prstGeom>
            <a:grp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ea typeface="+mn-ea"/>
                <a:cs typeface="+mn-cs"/>
              </a:endParaRPr>
            </a:p>
          </p:txBody>
        </p:sp>
      </p:grpSp>
      <p:sp>
        <p:nvSpPr>
          <p:cNvPr id="10" name="Oval 9">
            <a:extLst>
              <a:ext uri="{FF2B5EF4-FFF2-40B4-BE49-F238E27FC236}">
                <a16:creationId xmlns:a16="http://schemas.microsoft.com/office/drawing/2014/main" id="{7B5DA460-4F83-4A31-89C4-B1FC4131FFEE}"/>
              </a:ext>
            </a:extLst>
          </p:cNvPr>
          <p:cNvSpPr>
            <a:spLocks noChangeAspect="1"/>
          </p:cNvSpPr>
          <p:nvPr/>
        </p:nvSpPr>
        <p:spPr>
          <a:xfrm>
            <a:off x="8109153" y="1953745"/>
            <a:ext cx="2145448" cy="2145447"/>
          </a:xfrm>
          <a:prstGeom prst="ellipse">
            <a:avLst/>
          </a:prstGeom>
          <a:solidFill>
            <a:schemeClr val="bg1">
              <a:lumMod val="95000"/>
            </a:schemeClr>
          </a:solidFill>
          <a:ln>
            <a:solidFill>
              <a:schemeClr val="accent1">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ea typeface="+mn-ea"/>
              <a:cs typeface="+mn-cs"/>
            </a:endParaRPr>
          </a:p>
        </p:txBody>
      </p:sp>
      <p:grpSp>
        <p:nvGrpSpPr>
          <p:cNvPr id="11" name="Group 10">
            <a:extLst>
              <a:ext uri="{FF2B5EF4-FFF2-40B4-BE49-F238E27FC236}">
                <a16:creationId xmlns:a16="http://schemas.microsoft.com/office/drawing/2014/main" id="{E692BA00-ED27-42E9-934E-AAD62721DB8D}"/>
              </a:ext>
            </a:extLst>
          </p:cNvPr>
          <p:cNvGrpSpPr/>
          <p:nvPr/>
        </p:nvGrpSpPr>
        <p:grpSpPr>
          <a:xfrm>
            <a:off x="7707191" y="1070468"/>
            <a:ext cx="2949371" cy="3810403"/>
            <a:chOff x="6635865" y="5515428"/>
            <a:chExt cx="2514072" cy="3248025"/>
          </a:xfrm>
        </p:grpSpPr>
        <p:sp>
          <p:nvSpPr>
            <p:cNvPr id="66" name="Arc 65">
              <a:extLst>
                <a:ext uri="{FF2B5EF4-FFF2-40B4-BE49-F238E27FC236}">
                  <a16:creationId xmlns:a16="http://schemas.microsoft.com/office/drawing/2014/main" id="{8CE7A00E-A6B9-4A28-8B50-FCBAE4D6862C}"/>
                </a:ext>
              </a:extLst>
            </p:cNvPr>
            <p:cNvSpPr>
              <a:spLocks noChangeAspect="1"/>
            </p:cNvSpPr>
            <p:nvPr/>
          </p:nvSpPr>
          <p:spPr>
            <a:xfrm>
              <a:off x="7321137" y="5515428"/>
              <a:ext cx="1828800" cy="1828800"/>
            </a:xfrm>
            <a:prstGeom prst="arc">
              <a:avLst>
                <a:gd name="adj1" fmla="val 3158499"/>
                <a:gd name="adj2" fmla="val 5559898"/>
              </a:avLst>
            </a:prstGeom>
            <a:ln w="12700" cmpd="sng">
              <a:solidFill>
                <a:schemeClr val="accent1">
                  <a:lumMod val="40000"/>
                  <a:lumOff val="6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Calibri"/>
                <a:ea typeface="+mn-ea"/>
                <a:cs typeface="+mn-cs"/>
              </a:endParaRPr>
            </a:p>
          </p:txBody>
        </p:sp>
        <p:sp>
          <p:nvSpPr>
            <p:cNvPr id="67" name="Arc 66">
              <a:extLst>
                <a:ext uri="{FF2B5EF4-FFF2-40B4-BE49-F238E27FC236}">
                  <a16:creationId xmlns:a16="http://schemas.microsoft.com/office/drawing/2014/main" id="{02941804-D90C-4ADE-BDF4-6945DC14824C}"/>
                </a:ext>
              </a:extLst>
            </p:cNvPr>
            <p:cNvSpPr>
              <a:spLocks noChangeAspect="1"/>
            </p:cNvSpPr>
            <p:nvPr/>
          </p:nvSpPr>
          <p:spPr>
            <a:xfrm rot="10800000">
              <a:off x="6635865" y="6934653"/>
              <a:ext cx="1828800" cy="1828800"/>
            </a:xfrm>
            <a:prstGeom prst="arc">
              <a:avLst>
                <a:gd name="adj1" fmla="val 3158499"/>
                <a:gd name="adj2" fmla="val 5583724"/>
              </a:avLst>
            </a:prstGeom>
            <a:ln w="12700" cmpd="sng">
              <a:solidFill>
                <a:schemeClr val="accent1">
                  <a:lumMod val="40000"/>
                  <a:lumOff val="6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12" name="Group 11">
            <a:extLst>
              <a:ext uri="{FF2B5EF4-FFF2-40B4-BE49-F238E27FC236}">
                <a16:creationId xmlns:a16="http://schemas.microsoft.com/office/drawing/2014/main" id="{4EADDBBD-AE80-4F06-9D2F-B6882EFD2A89}"/>
              </a:ext>
            </a:extLst>
          </p:cNvPr>
          <p:cNvGrpSpPr/>
          <p:nvPr/>
        </p:nvGrpSpPr>
        <p:grpSpPr>
          <a:xfrm>
            <a:off x="8055518" y="1900110"/>
            <a:ext cx="2252719" cy="2252718"/>
            <a:chOff x="6997624" y="3474082"/>
            <a:chExt cx="1920239" cy="1920239"/>
          </a:xfrm>
        </p:grpSpPr>
        <p:sp>
          <p:nvSpPr>
            <p:cNvPr id="64" name="Block Arc 63">
              <a:extLst>
                <a:ext uri="{FF2B5EF4-FFF2-40B4-BE49-F238E27FC236}">
                  <a16:creationId xmlns:a16="http://schemas.microsoft.com/office/drawing/2014/main" id="{DAC01B41-D5A8-48E3-AB7C-642702C50113}"/>
                </a:ext>
              </a:extLst>
            </p:cNvPr>
            <p:cNvSpPr/>
            <p:nvPr/>
          </p:nvSpPr>
          <p:spPr>
            <a:xfrm>
              <a:off x="6997624" y="3474082"/>
              <a:ext cx="1920239" cy="1920239"/>
            </a:xfrm>
            <a:prstGeom prst="blockArc">
              <a:avLst>
                <a:gd name="adj1" fmla="val 8689887"/>
                <a:gd name="adj2" fmla="val 5383275"/>
                <a:gd name="adj3" fmla="val 355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ea typeface="+mn-ea"/>
                <a:cs typeface="+mn-cs"/>
              </a:endParaRPr>
            </a:p>
          </p:txBody>
        </p:sp>
        <p:sp>
          <p:nvSpPr>
            <p:cNvPr id="65" name="Right Triangle 64">
              <a:extLst>
                <a:ext uri="{FF2B5EF4-FFF2-40B4-BE49-F238E27FC236}">
                  <a16:creationId xmlns:a16="http://schemas.microsoft.com/office/drawing/2014/main" id="{D7DC837D-294C-4A53-85A5-0CD6BBC8CD80}"/>
                </a:ext>
              </a:extLst>
            </p:cNvPr>
            <p:cNvSpPr/>
            <p:nvPr/>
          </p:nvSpPr>
          <p:spPr>
            <a:xfrm rot="16734840">
              <a:off x="7051700" y="4820560"/>
              <a:ext cx="274320" cy="274320"/>
            </a:xfrm>
            <a:prstGeom prst="r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ea typeface="+mn-ea"/>
                <a:cs typeface="+mn-cs"/>
              </a:endParaRPr>
            </a:p>
          </p:txBody>
        </p:sp>
      </p:grpSp>
      <p:sp>
        <p:nvSpPr>
          <p:cNvPr id="13" name="Oval 12">
            <a:extLst>
              <a:ext uri="{FF2B5EF4-FFF2-40B4-BE49-F238E27FC236}">
                <a16:creationId xmlns:a16="http://schemas.microsoft.com/office/drawing/2014/main" id="{9C13A91B-09A4-4401-B869-2DA37FF0A5FF}"/>
              </a:ext>
            </a:extLst>
          </p:cNvPr>
          <p:cNvSpPr/>
          <p:nvPr/>
        </p:nvSpPr>
        <p:spPr>
          <a:xfrm>
            <a:off x="8756203" y="2597380"/>
            <a:ext cx="851347" cy="858179"/>
          </a:xfrm>
          <a:prstGeom prst="ellipse">
            <a:avLst/>
          </a:prstGeom>
          <a:solidFill>
            <a:schemeClr val="accent1">
              <a:lumMod val="60000"/>
              <a:lumOff val="40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ea typeface="+mn-ea"/>
                <a:cs typeface="Frutiger Next Pro Medium"/>
              </a:rPr>
              <a:t>RELEASE</a:t>
            </a:r>
          </a:p>
        </p:txBody>
      </p:sp>
      <p:grpSp>
        <p:nvGrpSpPr>
          <p:cNvPr id="14" name="Group 13">
            <a:extLst>
              <a:ext uri="{FF2B5EF4-FFF2-40B4-BE49-F238E27FC236}">
                <a16:creationId xmlns:a16="http://schemas.microsoft.com/office/drawing/2014/main" id="{AAD2479B-C54B-48A7-9279-934C08D6442F}"/>
              </a:ext>
            </a:extLst>
          </p:cNvPr>
          <p:cNvGrpSpPr>
            <a:grpSpLocks noChangeAspect="1"/>
          </p:cNvGrpSpPr>
          <p:nvPr/>
        </p:nvGrpSpPr>
        <p:grpSpPr>
          <a:xfrm>
            <a:off x="3425192" y="2171508"/>
            <a:ext cx="660881" cy="589998"/>
            <a:chOff x="6362199" y="3016407"/>
            <a:chExt cx="512128" cy="457200"/>
          </a:xfrm>
        </p:grpSpPr>
        <p:sp>
          <p:nvSpPr>
            <p:cNvPr id="62" name="Block Arc 61">
              <a:extLst>
                <a:ext uri="{FF2B5EF4-FFF2-40B4-BE49-F238E27FC236}">
                  <a16:creationId xmlns:a16="http://schemas.microsoft.com/office/drawing/2014/main" id="{E8D7120E-5726-4D6A-A111-D77BA15DC8EC}"/>
                </a:ext>
              </a:extLst>
            </p:cNvPr>
            <p:cNvSpPr/>
            <p:nvPr/>
          </p:nvSpPr>
          <p:spPr>
            <a:xfrm>
              <a:off x="6362199" y="3016407"/>
              <a:ext cx="457200" cy="457200"/>
            </a:xfrm>
            <a:prstGeom prst="blockArc">
              <a:avLst>
                <a:gd name="adj1" fmla="val 10583377"/>
                <a:gd name="adj2" fmla="val 1227139"/>
                <a:gd name="adj3" fmla="val 10478"/>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ea typeface="+mn-ea"/>
                <a:cs typeface="+mn-cs"/>
              </a:endParaRPr>
            </a:p>
          </p:txBody>
        </p:sp>
        <p:sp>
          <p:nvSpPr>
            <p:cNvPr id="63" name="Right Triangle 62">
              <a:extLst>
                <a:ext uri="{FF2B5EF4-FFF2-40B4-BE49-F238E27FC236}">
                  <a16:creationId xmlns:a16="http://schemas.microsoft.com/office/drawing/2014/main" id="{7D68B569-3848-41E4-8592-B73FEB49345F}"/>
                </a:ext>
              </a:extLst>
            </p:cNvPr>
            <p:cNvSpPr>
              <a:spLocks noChangeAspect="1"/>
            </p:cNvSpPr>
            <p:nvPr/>
          </p:nvSpPr>
          <p:spPr>
            <a:xfrm rot="20064520">
              <a:off x="6691447" y="3222768"/>
              <a:ext cx="182880" cy="182880"/>
            </a:xfrm>
            <a:prstGeom prst="r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ea typeface="+mn-ea"/>
                <a:cs typeface="+mn-cs"/>
              </a:endParaRPr>
            </a:p>
          </p:txBody>
        </p:sp>
      </p:grpSp>
      <p:sp>
        <p:nvSpPr>
          <p:cNvPr id="15" name="Oval 14">
            <a:extLst>
              <a:ext uri="{FF2B5EF4-FFF2-40B4-BE49-F238E27FC236}">
                <a16:creationId xmlns:a16="http://schemas.microsoft.com/office/drawing/2014/main" id="{943174D9-A4BF-4557-A1BC-2537759667E4}"/>
              </a:ext>
            </a:extLst>
          </p:cNvPr>
          <p:cNvSpPr>
            <a:spLocks noChangeAspect="1"/>
          </p:cNvSpPr>
          <p:nvPr/>
        </p:nvSpPr>
        <p:spPr>
          <a:xfrm>
            <a:off x="1451784" y="1953993"/>
            <a:ext cx="2145447" cy="2145447"/>
          </a:xfrm>
          <a:prstGeom prst="ellipse">
            <a:avLst/>
          </a:prstGeom>
          <a:solidFill>
            <a:schemeClr val="bg1">
              <a:lumMod val="95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ea typeface="+mn-ea"/>
              <a:cs typeface="+mn-cs"/>
            </a:endParaRPr>
          </a:p>
        </p:txBody>
      </p:sp>
      <p:grpSp>
        <p:nvGrpSpPr>
          <p:cNvPr id="16" name="Group 15">
            <a:extLst>
              <a:ext uri="{FF2B5EF4-FFF2-40B4-BE49-F238E27FC236}">
                <a16:creationId xmlns:a16="http://schemas.microsoft.com/office/drawing/2014/main" id="{7B6EBCDF-F7B2-404C-A871-393D4FA507A6}"/>
              </a:ext>
            </a:extLst>
          </p:cNvPr>
          <p:cNvGrpSpPr/>
          <p:nvPr/>
        </p:nvGrpSpPr>
        <p:grpSpPr>
          <a:xfrm>
            <a:off x="568241" y="1006641"/>
            <a:ext cx="3912535" cy="3938553"/>
            <a:chOff x="1392979" y="5463366"/>
            <a:chExt cx="3335083" cy="3357261"/>
          </a:xfrm>
        </p:grpSpPr>
        <p:sp>
          <p:nvSpPr>
            <p:cNvPr id="58" name="Arc 57">
              <a:extLst>
                <a:ext uri="{FF2B5EF4-FFF2-40B4-BE49-F238E27FC236}">
                  <a16:creationId xmlns:a16="http://schemas.microsoft.com/office/drawing/2014/main" id="{EFFC1743-3EC8-49A7-B945-73745069612B}"/>
                </a:ext>
              </a:extLst>
            </p:cNvPr>
            <p:cNvSpPr>
              <a:spLocks noChangeAspect="1"/>
            </p:cNvSpPr>
            <p:nvPr/>
          </p:nvSpPr>
          <p:spPr>
            <a:xfrm rot="4600591">
              <a:off x="2899262" y="6387723"/>
              <a:ext cx="1828800" cy="1828800"/>
            </a:xfrm>
            <a:prstGeom prst="arc">
              <a:avLst>
                <a:gd name="adj1" fmla="val 3046378"/>
                <a:gd name="adj2" fmla="val 5512202"/>
              </a:avLst>
            </a:prstGeom>
            <a:ln w="12700" cmpd="sng">
              <a:solidFill>
                <a:schemeClr val="accent1">
                  <a:lumMod val="40000"/>
                  <a:lumOff val="6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Calibri"/>
                <a:ea typeface="+mn-ea"/>
                <a:cs typeface="+mn-cs"/>
              </a:endParaRPr>
            </a:p>
          </p:txBody>
        </p:sp>
        <p:sp>
          <p:nvSpPr>
            <p:cNvPr id="59" name="Arc 58">
              <a:extLst>
                <a:ext uri="{FF2B5EF4-FFF2-40B4-BE49-F238E27FC236}">
                  <a16:creationId xmlns:a16="http://schemas.microsoft.com/office/drawing/2014/main" id="{DD815413-87CC-46C6-BB35-F7F354048049}"/>
                </a:ext>
              </a:extLst>
            </p:cNvPr>
            <p:cNvSpPr>
              <a:spLocks noChangeAspect="1"/>
            </p:cNvSpPr>
            <p:nvPr/>
          </p:nvSpPr>
          <p:spPr>
            <a:xfrm rot="4600591" flipH="1" flipV="1">
              <a:off x="1392979" y="6075130"/>
              <a:ext cx="1828800" cy="1828800"/>
            </a:xfrm>
            <a:prstGeom prst="arc">
              <a:avLst>
                <a:gd name="adj1" fmla="val 3065318"/>
                <a:gd name="adj2" fmla="val 5618112"/>
              </a:avLst>
            </a:prstGeom>
            <a:ln w="12700" cmpd="sng">
              <a:solidFill>
                <a:schemeClr val="accent1">
                  <a:lumMod val="40000"/>
                  <a:lumOff val="6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Calibri"/>
                <a:ea typeface="+mn-ea"/>
                <a:cs typeface="+mn-cs"/>
              </a:endParaRPr>
            </a:p>
          </p:txBody>
        </p:sp>
        <p:sp>
          <p:nvSpPr>
            <p:cNvPr id="60" name="Arc 59">
              <a:extLst>
                <a:ext uri="{FF2B5EF4-FFF2-40B4-BE49-F238E27FC236}">
                  <a16:creationId xmlns:a16="http://schemas.microsoft.com/office/drawing/2014/main" id="{334F6851-A991-4DD4-8DB5-A2CB6A1377AF}"/>
                </a:ext>
              </a:extLst>
            </p:cNvPr>
            <p:cNvSpPr>
              <a:spLocks noChangeAspect="1"/>
            </p:cNvSpPr>
            <p:nvPr/>
          </p:nvSpPr>
          <p:spPr>
            <a:xfrm rot="10040637" flipH="1" flipV="1">
              <a:off x="2337554" y="5463366"/>
              <a:ext cx="1828800" cy="1828800"/>
            </a:xfrm>
            <a:prstGeom prst="arc">
              <a:avLst>
                <a:gd name="adj1" fmla="val 3158499"/>
                <a:gd name="adj2" fmla="val 5618321"/>
              </a:avLst>
            </a:prstGeom>
            <a:ln w="12700" cmpd="sng">
              <a:solidFill>
                <a:schemeClr val="accent1">
                  <a:lumMod val="40000"/>
                  <a:lumOff val="6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Calibri"/>
                <a:ea typeface="+mn-ea"/>
                <a:cs typeface="+mn-cs"/>
              </a:endParaRPr>
            </a:p>
          </p:txBody>
        </p:sp>
        <p:sp>
          <p:nvSpPr>
            <p:cNvPr id="61" name="Arc 60">
              <a:extLst>
                <a:ext uri="{FF2B5EF4-FFF2-40B4-BE49-F238E27FC236}">
                  <a16:creationId xmlns:a16="http://schemas.microsoft.com/office/drawing/2014/main" id="{80DCEA06-92D4-40B3-B15D-903140C6A085}"/>
                </a:ext>
              </a:extLst>
            </p:cNvPr>
            <p:cNvSpPr>
              <a:spLocks noChangeAspect="1"/>
            </p:cNvSpPr>
            <p:nvPr/>
          </p:nvSpPr>
          <p:spPr>
            <a:xfrm rot="10040637">
              <a:off x="1974897" y="6991827"/>
              <a:ext cx="1828800" cy="1828800"/>
            </a:xfrm>
            <a:prstGeom prst="arc">
              <a:avLst>
                <a:gd name="adj1" fmla="val 3091357"/>
                <a:gd name="adj2" fmla="val 5596596"/>
              </a:avLst>
            </a:prstGeom>
            <a:ln w="12700" cmpd="sng">
              <a:solidFill>
                <a:schemeClr val="accent1">
                  <a:lumMod val="40000"/>
                  <a:lumOff val="6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17" name="Group 16">
            <a:extLst>
              <a:ext uri="{FF2B5EF4-FFF2-40B4-BE49-F238E27FC236}">
                <a16:creationId xmlns:a16="http://schemas.microsoft.com/office/drawing/2014/main" id="{EC2DE453-2776-4B5E-958B-6333E3F1A86F}"/>
              </a:ext>
            </a:extLst>
          </p:cNvPr>
          <p:cNvGrpSpPr/>
          <p:nvPr/>
        </p:nvGrpSpPr>
        <p:grpSpPr>
          <a:xfrm>
            <a:off x="1398149" y="1900358"/>
            <a:ext cx="2252718" cy="2252718"/>
            <a:chOff x="6997624" y="3474082"/>
            <a:chExt cx="1920239" cy="1920239"/>
          </a:xfrm>
        </p:grpSpPr>
        <p:sp>
          <p:nvSpPr>
            <p:cNvPr id="56" name="Block Arc 55">
              <a:extLst>
                <a:ext uri="{FF2B5EF4-FFF2-40B4-BE49-F238E27FC236}">
                  <a16:creationId xmlns:a16="http://schemas.microsoft.com/office/drawing/2014/main" id="{B5039D20-18DC-492D-B495-9F08AEDB4768}"/>
                </a:ext>
              </a:extLst>
            </p:cNvPr>
            <p:cNvSpPr/>
            <p:nvPr/>
          </p:nvSpPr>
          <p:spPr>
            <a:xfrm>
              <a:off x="6997624" y="3474082"/>
              <a:ext cx="1920239" cy="1920239"/>
            </a:xfrm>
            <a:prstGeom prst="blockArc">
              <a:avLst>
                <a:gd name="adj1" fmla="val 8689887"/>
                <a:gd name="adj2" fmla="val 5383275"/>
                <a:gd name="adj3" fmla="val 355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ea typeface="+mn-ea"/>
                <a:cs typeface="+mn-cs"/>
              </a:endParaRPr>
            </a:p>
          </p:txBody>
        </p:sp>
        <p:sp>
          <p:nvSpPr>
            <p:cNvPr id="57" name="Right Triangle 56">
              <a:extLst>
                <a:ext uri="{FF2B5EF4-FFF2-40B4-BE49-F238E27FC236}">
                  <a16:creationId xmlns:a16="http://schemas.microsoft.com/office/drawing/2014/main" id="{12C664DE-91C5-4AEC-9314-0490708D38B5}"/>
                </a:ext>
              </a:extLst>
            </p:cNvPr>
            <p:cNvSpPr/>
            <p:nvPr/>
          </p:nvSpPr>
          <p:spPr>
            <a:xfrm rot="16734840">
              <a:off x="7051700" y="4820560"/>
              <a:ext cx="274320" cy="274320"/>
            </a:xfrm>
            <a:prstGeom prst="r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ea typeface="+mn-ea"/>
                <a:cs typeface="+mn-cs"/>
              </a:endParaRPr>
            </a:p>
          </p:txBody>
        </p:sp>
      </p:grpSp>
      <p:sp>
        <p:nvSpPr>
          <p:cNvPr id="18" name="Oval 17">
            <a:extLst>
              <a:ext uri="{FF2B5EF4-FFF2-40B4-BE49-F238E27FC236}">
                <a16:creationId xmlns:a16="http://schemas.microsoft.com/office/drawing/2014/main" id="{C72828AE-E136-4A6C-9CD6-83D04C4D5DA6}"/>
              </a:ext>
            </a:extLst>
          </p:cNvPr>
          <p:cNvSpPr/>
          <p:nvPr/>
        </p:nvSpPr>
        <p:spPr>
          <a:xfrm>
            <a:off x="2098835" y="2612570"/>
            <a:ext cx="851346" cy="858179"/>
          </a:xfrm>
          <a:prstGeom prst="ellipse">
            <a:avLst/>
          </a:prstGeom>
          <a:solidFill>
            <a:schemeClr val="accent1">
              <a:lumMod val="60000"/>
              <a:lumOff val="40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ea typeface="+mn-ea"/>
                <a:cs typeface="Frutiger Next Pro Medium"/>
              </a:rPr>
              <a:t>DISCOVERY</a:t>
            </a:r>
          </a:p>
        </p:txBody>
      </p:sp>
      <p:sp>
        <p:nvSpPr>
          <p:cNvPr id="19" name="TextBox 18">
            <a:extLst>
              <a:ext uri="{FF2B5EF4-FFF2-40B4-BE49-F238E27FC236}">
                <a16:creationId xmlns:a16="http://schemas.microsoft.com/office/drawing/2014/main" id="{93F8F75A-265C-49B4-A25E-4BE55AFEF15E}"/>
              </a:ext>
            </a:extLst>
          </p:cNvPr>
          <p:cNvSpPr txBox="1"/>
          <p:nvPr/>
        </p:nvSpPr>
        <p:spPr>
          <a:xfrm>
            <a:off x="1893070" y="2286051"/>
            <a:ext cx="526556" cy="276999"/>
          </a:xfrm>
          <a:prstGeom prst="rect">
            <a:avLst/>
          </a:prstGeom>
        </p:spPr>
        <p:txBody>
          <a:bodyPr vert="horz" wrap="square" lIns="0" tIns="0" rIns="0" bIns="0"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65000"/>
                    <a:lumOff val="35000"/>
                  </a:srgbClr>
                </a:solidFill>
                <a:effectLst/>
                <a:uLnTx/>
                <a:uFillTx/>
                <a:ea typeface="Calibri" charset="0"/>
                <a:cs typeface="Calibri" charset="0"/>
              </a:rPr>
              <a:t>Pla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65000"/>
                    <a:lumOff val="35000"/>
                  </a:srgbClr>
                </a:solidFill>
                <a:effectLst/>
                <a:uLnTx/>
                <a:uFillTx/>
                <a:ea typeface="Calibri" charset="0"/>
                <a:cs typeface="Calibri" charset="0"/>
              </a:rPr>
              <a:t>project</a:t>
            </a:r>
          </a:p>
        </p:txBody>
      </p:sp>
      <p:sp>
        <p:nvSpPr>
          <p:cNvPr id="20" name="TextBox 19">
            <a:extLst>
              <a:ext uri="{FF2B5EF4-FFF2-40B4-BE49-F238E27FC236}">
                <a16:creationId xmlns:a16="http://schemas.microsoft.com/office/drawing/2014/main" id="{F74619B8-B3E0-4875-A52D-4E3ABC64462F}"/>
              </a:ext>
            </a:extLst>
          </p:cNvPr>
          <p:cNvSpPr txBox="1"/>
          <p:nvPr/>
        </p:nvSpPr>
        <p:spPr>
          <a:xfrm>
            <a:off x="2716336" y="2244018"/>
            <a:ext cx="715699" cy="276999"/>
          </a:xfrm>
          <a:prstGeom prst="rect">
            <a:avLst/>
          </a:prstGeom>
        </p:spPr>
        <p:txBody>
          <a:bodyPr vert="horz" wrap="square" lIns="0" tIns="0" rIns="0" bIns="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65000"/>
                    <a:lumOff val="35000"/>
                  </a:srgbClr>
                </a:solidFill>
                <a:effectLst/>
                <a:uLnTx/>
                <a:uFillTx/>
                <a:ea typeface="Calibri" charset="0"/>
                <a:cs typeface="Calibri" charset="0"/>
              </a:rPr>
              <a:t>Setu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65000"/>
                    <a:lumOff val="35000"/>
                  </a:srgbClr>
                </a:solidFill>
                <a:effectLst/>
                <a:uLnTx/>
                <a:uFillTx/>
                <a:ea typeface="Calibri" charset="0"/>
                <a:cs typeface="Calibri" charset="0"/>
              </a:rPr>
              <a:t>foundation</a:t>
            </a:r>
          </a:p>
        </p:txBody>
      </p:sp>
      <p:sp>
        <p:nvSpPr>
          <p:cNvPr id="21" name="TextBox 20">
            <a:extLst>
              <a:ext uri="{FF2B5EF4-FFF2-40B4-BE49-F238E27FC236}">
                <a16:creationId xmlns:a16="http://schemas.microsoft.com/office/drawing/2014/main" id="{9A0AE2B0-E36E-4661-9DD6-0FAA6B5FD31D}"/>
              </a:ext>
            </a:extLst>
          </p:cNvPr>
          <p:cNvSpPr txBox="1"/>
          <p:nvPr/>
        </p:nvSpPr>
        <p:spPr>
          <a:xfrm>
            <a:off x="2563643" y="3525503"/>
            <a:ext cx="787269" cy="276999"/>
          </a:xfrm>
          <a:prstGeom prst="rect">
            <a:avLst/>
          </a:prstGeom>
        </p:spPr>
        <p:txBody>
          <a:bodyPr vert="horz" wrap="square" lIns="0" tIns="0" rIns="0" bIns="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65000"/>
                    <a:lumOff val="35000"/>
                  </a:srgbClr>
                </a:solidFill>
                <a:effectLst/>
                <a:uLnTx/>
                <a:uFillTx/>
                <a:ea typeface="Calibri" charset="0"/>
                <a:cs typeface="Calibri" charset="0"/>
              </a:rPr>
              <a:t>Establish architecture</a:t>
            </a:r>
          </a:p>
        </p:txBody>
      </p:sp>
      <p:sp>
        <p:nvSpPr>
          <p:cNvPr id="22" name="TextBox 21">
            <a:extLst>
              <a:ext uri="{FF2B5EF4-FFF2-40B4-BE49-F238E27FC236}">
                <a16:creationId xmlns:a16="http://schemas.microsoft.com/office/drawing/2014/main" id="{82BCFD47-D2FF-4B91-9E59-97B8078CA108}"/>
              </a:ext>
            </a:extLst>
          </p:cNvPr>
          <p:cNvSpPr txBox="1"/>
          <p:nvPr/>
        </p:nvSpPr>
        <p:spPr>
          <a:xfrm>
            <a:off x="1893070" y="3487403"/>
            <a:ext cx="444393" cy="276999"/>
          </a:xfrm>
          <a:prstGeom prst="rect">
            <a:avLst/>
          </a:prstGeom>
        </p:spPr>
        <p:txBody>
          <a:bodyPr vert="horz" wrap="square" lIns="0" tIns="0" rIns="0" bIns="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65000"/>
                    <a:lumOff val="35000"/>
                  </a:srgbClr>
                </a:solidFill>
                <a:effectLst/>
                <a:uLnTx/>
                <a:uFillTx/>
                <a:ea typeface="Calibri" charset="0"/>
                <a:cs typeface="Calibri" charset="0"/>
              </a:rPr>
              <a:t>Initial</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65000"/>
                    <a:lumOff val="35000"/>
                  </a:srgbClr>
                </a:solidFill>
                <a:effectLst/>
                <a:uLnTx/>
                <a:uFillTx/>
                <a:ea typeface="Calibri" charset="0"/>
                <a:cs typeface="Calibri" charset="0"/>
              </a:rPr>
              <a:t>design</a:t>
            </a:r>
          </a:p>
        </p:txBody>
      </p:sp>
      <p:grpSp>
        <p:nvGrpSpPr>
          <p:cNvPr id="23" name="Group 22">
            <a:extLst>
              <a:ext uri="{FF2B5EF4-FFF2-40B4-BE49-F238E27FC236}">
                <a16:creationId xmlns:a16="http://schemas.microsoft.com/office/drawing/2014/main" id="{BEBE6524-4046-493C-9E69-47CD70761D7E}"/>
              </a:ext>
            </a:extLst>
          </p:cNvPr>
          <p:cNvGrpSpPr>
            <a:grpSpLocks noChangeAspect="1"/>
          </p:cNvGrpSpPr>
          <p:nvPr/>
        </p:nvGrpSpPr>
        <p:grpSpPr>
          <a:xfrm>
            <a:off x="6852381" y="2171508"/>
            <a:ext cx="660881" cy="589998"/>
            <a:chOff x="6362199" y="3016407"/>
            <a:chExt cx="512128" cy="457200"/>
          </a:xfrm>
          <a:solidFill>
            <a:schemeClr val="accent1"/>
          </a:solidFill>
        </p:grpSpPr>
        <p:sp>
          <p:nvSpPr>
            <p:cNvPr id="54" name="Block Arc 53">
              <a:extLst>
                <a:ext uri="{FF2B5EF4-FFF2-40B4-BE49-F238E27FC236}">
                  <a16:creationId xmlns:a16="http://schemas.microsoft.com/office/drawing/2014/main" id="{113D2DE4-905A-49FD-9AD2-A59E98D6C123}"/>
                </a:ext>
              </a:extLst>
            </p:cNvPr>
            <p:cNvSpPr/>
            <p:nvPr/>
          </p:nvSpPr>
          <p:spPr>
            <a:xfrm>
              <a:off x="6362199" y="3016407"/>
              <a:ext cx="457200" cy="457200"/>
            </a:xfrm>
            <a:prstGeom prst="blockArc">
              <a:avLst>
                <a:gd name="adj1" fmla="val 10583377"/>
                <a:gd name="adj2" fmla="val 1227139"/>
                <a:gd name="adj3" fmla="val 10478"/>
              </a:avLst>
            </a:prstGeom>
            <a:grp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ea typeface="+mn-ea"/>
                <a:cs typeface="+mn-cs"/>
              </a:endParaRPr>
            </a:p>
          </p:txBody>
        </p:sp>
        <p:sp>
          <p:nvSpPr>
            <p:cNvPr id="55" name="Right Triangle 54">
              <a:extLst>
                <a:ext uri="{FF2B5EF4-FFF2-40B4-BE49-F238E27FC236}">
                  <a16:creationId xmlns:a16="http://schemas.microsoft.com/office/drawing/2014/main" id="{169E1A76-2719-47E0-9CDD-6291FB16BCC9}"/>
                </a:ext>
              </a:extLst>
            </p:cNvPr>
            <p:cNvSpPr>
              <a:spLocks noChangeAspect="1"/>
            </p:cNvSpPr>
            <p:nvPr/>
          </p:nvSpPr>
          <p:spPr>
            <a:xfrm rot="20064520">
              <a:off x="6691447" y="3222768"/>
              <a:ext cx="182880" cy="182880"/>
            </a:xfrm>
            <a:prstGeom prst="rtTriangle">
              <a:avLst/>
            </a:prstGeom>
            <a:grp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ea typeface="+mn-ea"/>
                <a:cs typeface="+mn-cs"/>
              </a:endParaRPr>
            </a:p>
          </p:txBody>
        </p:sp>
      </p:grpSp>
      <p:sp>
        <p:nvSpPr>
          <p:cNvPr id="24" name="Oval 23">
            <a:extLst>
              <a:ext uri="{FF2B5EF4-FFF2-40B4-BE49-F238E27FC236}">
                <a16:creationId xmlns:a16="http://schemas.microsoft.com/office/drawing/2014/main" id="{06F73DDC-130F-4252-AD21-1DEFC204B2F1}"/>
              </a:ext>
            </a:extLst>
          </p:cNvPr>
          <p:cNvSpPr>
            <a:spLocks noChangeAspect="1"/>
          </p:cNvSpPr>
          <p:nvPr/>
        </p:nvSpPr>
        <p:spPr>
          <a:xfrm>
            <a:off x="4872732" y="1956641"/>
            <a:ext cx="2145447" cy="2145447"/>
          </a:xfrm>
          <a:prstGeom prst="ellipse">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ea typeface="+mn-ea"/>
              <a:cs typeface="+mn-cs"/>
            </a:endParaRPr>
          </a:p>
        </p:txBody>
      </p:sp>
      <p:grpSp>
        <p:nvGrpSpPr>
          <p:cNvPr id="25" name="Group 24">
            <a:extLst>
              <a:ext uri="{FF2B5EF4-FFF2-40B4-BE49-F238E27FC236}">
                <a16:creationId xmlns:a16="http://schemas.microsoft.com/office/drawing/2014/main" id="{93BE7C2E-9FC5-40E3-B51B-7016905E51BF}"/>
              </a:ext>
            </a:extLst>
          </p:cNvPr>
          <p:cNvGrpSpPr/>
          <p:nvPr/>
        </p:nvGrpSpPr>
        <p:grpSpPr>
          <a:xfrm>
            <a:off x="4044601" y="988727"/>
            <a:ext cx="3801712" cy="3979676"/>
            <a:chOff x="3859304" y="5447603"/>
            <a:chExt cx="3240616" cy="3392315"/>
          </a:xfrm>
        </p:grpSpPr>
        <p:sp>
          <p:nvSpPr>
            <p:cNvPr id="48" name="Arc 47">
              <a:extLst>
                <a:ext uri="{FF2B5EF4-FFF2-40B4-BE49-F238E27FC236}">
                  <a16:creationId xmlns:a16="http://schemas.microsoft.com/office/drawing/2014/main" id="{4B3E9E83-D376-470D-9514-5D30EE72B354}"/>
                </a:ext>
              </a:extLst>
            </p:cNvPr>
            <p:cNvSpPr>
              <a:spLocks noChangeAspect="1"/>
            </p:cNvSpPr>
            <p:nvPr/>
          </p:nvSpPr>
          <p:spPr>
            <a:xfrm rot="15981533">
              <a:off x="3859304" y="5948772"/>
              <a:ext cx="1828800" cy="1828800"/>
            </a:xfrm>
            <a:prstGeom prst="arc">
              <a:avLst>
                <a:gd name="adj1" fmla="val 3084658"/>
                <a:gd name="adj2" fmla="val 5571882"/>
              </a:avLst>
            </a:prstGeom>
            <a:ln w="12700" cmpd="sng">
              <a:solidFill>
                <a:schemeClr val="accent1">
                  <a:lumMod val="40000"/>
                  <a:lumOff val="6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Calibri"/>
                <a:ea typeface="+mn-ea"/>
                <a:cs typeface="+mn-cs"/>
              </a:endParaRPr>
            </a:p>
          </p:txBody>
        </p:sp>
        <p:sp>
          <p:nvSpPr>
            <p:cNvPr id="49" name="Arc 48">
              <a:extLst>
                <a:ext uri="{FF2B5EF4-FFF2-40B4-BE49-F238E27FC236}">
                  <a16:creationId xmlns:a16="http://schemas.microsoft.com/office/drawing/2014/main" id="{88C66D76-8F45-4B89-BD2E-6BED58869DA1}"/>
                </a:ext>
              </a:extLst>
            </p:cNvPr>
            <p:cNvSpPr>
              <a:spLocks noChangeAspect="1"/>
            </p:cNvSpPr>
            <p:nvPr/>
          </p:nvSpPr>
          <p:spPr>
            <a:xfrm rot="15981533" flipH="1" flipV="1">
              <a:off x="5271120" y="6506867"/>
              <a:ext cx="1828800" cy="1828800"/>
            </a:xfrm>
            <a:prstGeom prst="arc">
              <a:avLst>
                <a:gd name="adj1" fmla="val 3040382"/>
                <a:gd name="adj2" fmla="val 5583825"/>
              </a:avLst>
            </a:prstGeom>
            <a:ln w="12700" cmpd="sng">
              <a:solidFill>
                <a:schemeClr val="accent1">
                  <a:lumMod val="40000"/>
                  <a:lumOff val="6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Calibri"/>
                <a:ea typeface="+mn-ea"/>
                <a:cs typeface="+mn-cs"/>
              </a:endParaRPr>
            </a:p>
          </p:txBody>
        </p:sp>
        <p:sp>
          <p:nvSpPr>
            <p:cNvPr id="50" name="Arc 49">
              <a:extLst>
                <a:ext uri="{FF2B5EF4-FFF2-40B4-BE49-F238E27FC236}">
                  <a16:creationId xmlns:a16="http://schemas.microsoft.com/office/drawing/2014/main" id="{06A780DD-EC57-4885-A922-F6227AB9BC4B}"/>
                </a:ext>
              </a:extLst>
            </p:cNvPr>
            <p:cNvSpPr>
              <a:spLocks noChangeAspect="1"/>
            </p:cNvSpPr>
            <p:nvPr/>
          </p:nvSpPr>
          <p:spPr>
            <a:xfrm rot="19740000" flipH="1" flipV="1">
              <a:off x="4636017" y="7011118"/>
              <a:ext cx="1828800" cy="1828800"/>
            </a:xfrm>
            <a:prstGeom prst="arc">
              <a:avLst>
                <a:gd name="adj1" fmla="val 3158499"/>
                <a:gd name="adj2" fmla="val 5591682"/>
              </a:avLst>
            </a:prstGeom>
            <a:ln w="12700" cmpd="sng">
              <a:solidFill>
                <a:schemeClr val="accent1">
                  <a:lumMod val="40000"/>
                  <a:lumOff val="6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Calibri"/>
                <a:ea typeface="+mn-ea"/>
                <a:cs typeface="+mn-cs"/>
              </a:endParaRPr>
            </a:p>
          </p:txBody>
        </p:sp>
        <p:sp>
          <p:nvSpPr>
            <p:cNvPr id="51" name="Arc 50">
              <a:extLst>
                <a:ext uri="{FF2B5EF4-FFF2-40B4-BE49-F238E27FC236}">
                  <a16:creationId xmlns:a16="http://schemas.microsoft.com/office/drawing/2014/main" id="{43AAC0E7-C201-4FC0-AC88-353872EB0C35}"/>
                </a:ext>
              </a:extLst>
            </p:cNvPr>
            <p:cNvSpPr>
              <a:spLocks noChangeAspect="1"/>
            </p:cNvSpPr>
            <p:nvPr/>
          </p:nvSpPr>
          <p:spPr>
            <a:xfrm rot="19740000">
              <a:off x="4495236" y="5447603"/>
              <a:ext cx="1828800" cy="1828800"/>
            </a:xfrm>
            <a:prstGeom prst="arc">
              <a:avLst>
                <a:gd name="adj1" fmla="val 3158499"/>
                <a:gd name="adj2" fmla="val 5570457"/>
              </a:avLst>
            </a:prstGeom>
            <a:ln w="12700" cmpd="sng">
              <a:solidFill>
                <a:schemeClr val="accent1">
                  <a:lumMod val="40000"/>
                  <a:lumOff val="6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Calibri"/>
                <a:ea typeface="+mn-ea"/>
                <a:cs typeface="+mn-cs"/>
              </a:endParaRPr>
            </a:p>
          </p:txBody>
        </p:sp>
        <p:sp>
          <p:nvSpPr>
            <p:cNvPr id="52" name="Arc 51">
              <a:extLst>
                <a:ext uri="{FF2B5EF4-FFF2-40B4-BE49-F238E27FC236}">
                  <a16:creationId xmlns:a16="http://schemas.microsoft.com/office/drawing/2014/main" id="{879AF386-67AB-4D2B-9510-BB173FE959E2}"/>
                </a:ext>
              </a:extLst>
            </p:cNvPr>
            <p:cNvSpPr>
              <a:spLocks noChangeAspect="1"/>
            </p:cNvSpPr>
            <p:nvPr/>
          </p:nvSpPr>
          <p:spPr>
            <a:xfrm rot="1669157" flipH="1" flipV="1">
              <a:off x="3934695" y="6698820"/>
              <a:ext cx="1828800" cy="1828800"/>
            </a:xfrm>
            <a:prstGeom prst="arc">
              <a:avLst>
                <a:gd name="adj1" fmla="val 3158499"/>
                <a:gd name="adj2" fmla="val 5565453"/>
              </a:avLst>
            </a:prstGeom>
            <a:ln w="12700" cmpd="sng">
              <a:solidFill>
                <a:schemeClr val="accent1">
                  <a:lumMod val="40000"/>
                  <a:lumOff val="6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Calibri"/>
                <a:ea typeface="+mn-ea"/>
                <a:cs typeface="+mn-cs"/>
              </a:endParaRPr>
            </a:p>
          </p:txBody>
        </p:sp>
        <p:sp>
          <p:nvSpPr>
            <p:cNvPr id="53" name="Arc 52">
              <a:extLst>
                <a:ext uri="{FF2B5EF4-FFF2-40B4-BE49-F238E27FC236}">
                  <a16:creationId xmlns:a16="http://schemas.microsoft.com/office/drawing/2014/main" id="{3FCCD700-DF73-4221-889A-630E51FCF650}"/>
                </a:ext>
              </a:extLst>
            </p:cNvPr>
            <p:cNvSpPr>
              <a:spLocks noChangeAspect="1"/>
            </p:cNvSpPr>
            <p:nvPr/>
          </p:nvSpPr>
          <p:spPr>
            <a:xfrm rot="1669157">
              <a:off x="5195763" y="5756373"/>
              <a:ext cx="1828800" cy="1828800"/>
            </a:xfrm>
            <a:prstGeom prst="arc">
              <a:avLst>
                <a:gd name="adj1" fmla="val 3111524"/>
                <a:gd name="adj2" fmla="val 5512202"/>
              </a:avLst>
            </a:prstGeom>
            <a:ln w="12700" cmpd="sng">
              <a:solidFill>
                <a:schemeClr val="accent1">
                  <a:lumMod val="40000"/>
                  <a:lumOff val="6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26" name="Group 25">
            <a:extLst>
              <a:ext uri="{FF2B5EF4-FFF2-40B4-BE49-F238E27FC236}">
                <a16:creationId xmlns:a16="http://schemas.microsoft.com/office/drawing/2014/main" id="{79802C88-0770-449A-9EF0-A3738F5A5F27}"/>
              </a:ext>
            </a:extLst>
          </p:cNvPr>
          <p:cNvGrpSpPr/>
          <p:nvPr/>
        </p:nvGrpSpPr>
        <p:grpSpPr>
          <a:xfrm>
            <a:off x="4819097" y="1903006"/>
            <a:ext cx="2252718" cy="2252718"/>
            <a:chOff x="6997624" y="3474082"/>
            <a:chExt cx="1920239" cy="1920239"/>
          </a:xfrm>
        </p:grpSpPr>
        <p:sp>
          <p:nvSpPr>
            <p:cNvPr id="46" name="Block Arc 45">
              <a:extLst>
                <a:ext uri="{FF2B5EF4-FFF2-40B4-BE49-F238E27FC236}">
                  <a16:creationId xmlns:a16="http://schemas.microsoft.com/office/drawing/2014/main" id="{8F6C3A27-8F65-49BE-8720-7FFA144E4742}"/>
                </a:ext>
              </a:extLst>
            </p:cNvPr>
            <p:cNvSpPr/>
            <p:nvPr/>
          </p:nvSpPr>
          <p:spPr>
            <a:xfrm>
              <a:off x="6997624" y="3474082"/>
              <a:ext cx="1920239" cy="1920239"/>
            </a:xfrm>
            <a:prstGeom prst="blockArc">
              <a:avLst>
                <a:gd name="adj1" fmla="val 8689887"/>
                <a:gd name="adj2" fmla="val 5383275"/>
                <a:gd name="adj3" fmla="val 355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ea typeface="+mn-ea"/>
                <a:cs typeface="+mn-cs"/>
              </a:endParaRPr>
            </a:p>
          </p:txBody>
        </p:sp>
        <p:sp>
          <p:nvSpPr>
            <p:cNvPr id="47" name="Right Triangle 46">
              <a:extLst>
                <a:ext uri="{FF2B5EF4-FFF2-40B4-BE49-F238E27FC236}">
                  <a16:creationId xmlns:a16="http://schemas.microsoft.com/office/drawing/2014/main" id="{8BEC7299-7074-47B0-8762-60A90ED56837}"/>
                </a:ext>
              </a:extLst>
            </p:cNvPr>
            <p:cNvSpPr/>
            <p:nvPr/>
          </p:nvSpPr>
          <p:spPr>
            <a:xfrm rot="16734840">
              <a:off x="7051700" y="4820560"/>
              <a:ext cx="274320" cy="274320"/>
            </a:xfrm>
            <a:prstGeom prst="r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ea typeface="+mn-ea"/>
                <a:cs typeface="+mn-cs"/>
              </a:endParaRPr>
            </a:p>
          </p:txBody>
        </p:sp>
      </p:grpSp>
      <p:sp>
        <p:nvSpPr>
          <p:cNvPr id="27" name="Oval 26">
            <a:extLst>
              <a:ext uri="{FF2B5EF4-FFF2-40B4-BE49-F238E27FC236}">
                <a16:creationId xmlns:a16="http://schemas.microsoft.com/office/drawing/2014/main" id="{FB2D0B66-7858-453B-A0F7-14C4B45D7CC2}"/>
              </a:ext>
            </a:extLst>
          </p:cNvPr>
          <p:cNvSpPr/>
          <p:nvPr/>
        </p:nvSpPr>
        <p:spPr>
          <a:xfrm>
            <a:off x="5519783" y="2600275"/>
            <a:ext cx="851346" cy="858179"/>
          </a:xfrm>
          <a:prstGeom prst="ellipse">
            <a:avLst/>
          </a:prstGeom>
          <a:solidFill>
            <a:schemeClr val="accent1">
              <a:lumMod val="60000"/>
              <a:lumOff val="40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ea typeface="+mn-ea"/>
                <a:cs typeface="Frutiger Next Pro Medium"/>
              </a:rPr>
              <a:t>SPRIN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ea typeface="+mn-ea"/>
                <a:cs typeface="Frutiger Next Pro Medium"/>
              </a:rPr>
              <a:t>CYCLE</a:t>
            </a:r>
          </a:p>
        </p:txBody>
      </p:sp>
      <p:sp>
        <p:nvSpPr>
          <p:cNvPr id="28" name="TextBox 27">
            <a:extLst>
              <a:ext uri="{FF2B5EF4-FFF2-40B4-BE49-F238E27FC236}">
                <a16:creationId xmlns:a16="http://schemas.microsoft.com/office/drawing/2014/main" id="{9C24EE0A-F442-4790-8A0B-C92761C96E64}"/>
              </a:ext>
            </a:extLst>
          </p:cNvPr>
          <p:cNvSpPr txBox="1"/>
          <p:nvPr/>
        </p:nvSpPr>
        <p:spPr>
          <a:xfrm>
            <a:off x="5568614" y="2170250"/>
            <a:ext cx="403994" cy="276999"/>
          </a:xfrm>
          <a:prstGeom prst="rect">
            <a:avLst/>
          </a:prstGeom>
        </p:spPr>
        <p:txBody>
          <a:bodyPr vert="horz" wrap="square" lIns="0" tIns="0" rIns="0" bIns="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65000"/>
                    <a:lumOff val="35000"/>
                  </a:srgbClr>
                </a:solidFill>
                <a:effectLst/>
                <a:uLnTx/>
                <a:uFillTx/>
                <a:ea typeface="Calibri" charset="0"/>
                <a:cs typeface="Calibri" charset="0"/>
              </a:rPr>
              <a:t>Pla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65000"/>
                    <a:lumOff val="35000"/>
                  </a:srgbClr>
                </a:solidFill>
                <a:effectLst/>
                <a:uLnTx/>
                <a:uFillTx/>
                <a:ea typeface="Calibri" charset="0"/>
                <a:cs typeface="Calibri" charset="0"/>
              </a:rPr>
              <a:t>Sprint</a:t>
            </a:r>
          </a:p>
        </p:txBody>
      </p:sp>
      <p:sp>
        <p:nvSpPr>
          <p:cNvPr id="29" name="TextBox 28">
            <a:extLst>
              <a:ext uri="{FF2B5EF4-FFF2-40B4-BE49-F238E27FC236}">
                <a16:creationId xmlns:a16="http://schemas.microsoft.com/office/drawing/2014/main" id="{8189E9A8-4F5F-49CF-9FE2-7704936909C5}"/>
              </a:ext>
            </a:extLst>
          </p:cNvPr>
          <p:cNvSpPr txBox="1"/>
          <p:nvPr/>
        </p:nvSpPr>
        <p:spPr>
          <a:xfrm>
            <a:off x="6284044" y="2349027"/>
            <a:ext cx="403994" cy="276999"/>
          </a:xfrm>
          <a:prstGeom prst="rect">
            <a:avLst/>
          </a:prstGeom>
        </p:spPr>
        <p:txBody>
          <a:bodyPr vert="horz" wrap="square" lIns="0" tIns="0" rIns="0" bIns="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65000"/>
                    <a:lumOff val="35000"/>
                  </a:srgbClr>
                </a:solidFill>
                <a:effectLst/>
                <a:uLnTx/>
                <a:uFillTx/>
                <a:ea typeface="Calibri" charset="0"/>
                <a:cs typeface="Calibri" charset="0"/>
              </a:rPr>
              <a:t>Clos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65000"/>
                    <a:lumOff val="35000"/>
                  </a:srgbClr>
                </a:solidFill>
                <a:effectLst/>
                <a:uLnTx/>
                <a:uFillTx/>
                <a:ea typeface="Calibri" charset="0"/>
                <a:cs typeface="Calibri" charset="0"/>
              </a:rPr>
              <a:t>sprint</a:t>
            </a:r>
          </a:p>
        </p:txBody>
      </p:sp>
      <p:sp>
        <p:nvSpPr>
          <p:cNvPr id="30" name="TextBox 29">
            <a:extLst>
              <a:ext uri="{FF2B5EF4-FFF2-40B4-BE49-F238E27FC236}">
                <a16:creationId xmlns:a16="http://schemas.microsoft.com/office/drawing/2014/main" id="{6B7D4045-6D7D-4182-98AE-FE28D7E9605D}"/>
              </a:ext>
            </a:extLst>
          </p:cNvPr>
          <p:cNvSpPr txBox="1"/>
          <p:nvPr/>
        </p:nvSpPr>
        <p:spPr>
          <a:xfrm>
            <a:off x="6461504" y="3086036"/>
            <a:ext cx="537716" cy="276999"/>
          </a:xfrm>
          <a:prstGeom prst="rect">
            <a:avLst/>
          </a:prstGeom>
        </p:spPr>
        <p:txBody>
          <a:bodyPr vert="horz" wrap="square" lIns="0" tIns="0" rIns="0" bIns="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65000"/>
                    <a:lumOff val="35000"/>
                  </a:srgbClr>
                </a:solidFill>
                <a:effectLst/>
                <a:uLnTx/>
                <a:uFillTx/>
                <a:ea typeface="Calibri" charset="0"/>
                <a:cs typeface="Calibri" charset="0"/>
              </a:rPr>
              <a:t>Test Features</a:t>
            </a:r>
          </a:p>
        </p:txBody>
      </p:sp>
      <p:sp>
        <p:nvSpPr>
          <p:cNvPr id="31" name="TextBox 30">
            <a:extLst>
              <a:ext uri="{FF2B5EF4-FFF2-40B4-BE49-F238E27FC236}">
                <a16:creationId xmlns:a16="http://schemas.microsoft.com/office/drawing/2014/main" id="{00714581-CDD3-41D7-8D10-87972441A135}"/>
              </a:ext>
            </a:extLst>
          </p:cNvPr>
          <p:cNvSpPr txBox="1"/>
          <p:nvPr/>
        </p:nvSpPr>
        <p:spPr>
          <a:xfrm>
            <a:off x="5948614" y="3540464"/>
            <a:ext cx="537716" cy="276999"/>
          </a:xfrm>
          <a:prstGeom prst="rect">
            <a:avLst/>
          </a:prstGeom>
        </p:spPr>
        <p:txBody>
          <a:bodyPr vert="horz" wrap="square" lIns="0" tIns="0" rIns="0" bIns="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65000"/>
                    <a:lumOff val="35000"/>
                  </a:srgbClr>
                </a:solidFill>
                <a:effectLst/>
                <a:uLnTx/>
                <a:uFillTx/>
                <a:ea typeface="Calibri" charset="0"/>
                <a:cs typeface="Calibri" charset="0"/>
              </a:rPr>
              <a:t>Develop features</a:t>
            </a:r>
          </a:p>
        </p:txBody>
      </p:sp>
      <p:sp>
        <p:nvSpPr>
          <p:cNvPr id="32" name="TextBox 31">
            <a:extLst>
              <a:ext uri="{FF2B5EF4-FFF2-40B4-BE49-F238E27FC236}">
                <a16:creationId xmlns:a16="http://schemas.microsoft.com/office/drawing/2014/main" id="{118D9F3E-7B7E-41CC-93FE-887B83FB5713}"/>
              </a:ext>
            </a:extLst>
          </p:cNvPr>
          <p:cNvSpPr txBox="1"/>
          <p:nvPr/>
        </p:nvSpPr>
        <p:spPr>
          <a:xfrm>
            <a:off x="5270692" y="3430615"/>
            <a:ext cx="537716" cy="276999"/>
          </a:xfrm>
          <a:prstGeom prst="rect">
            <a:avLst/>
          </a:prstGeom>
        </p:spPr>
        <p:txBody>
          <a:bodyPr vert="horz" wrap="square" lIns="0" tIns="0" rIns="0" bIns="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65000"/>
                    <a:lumOff val="35000"/>
                  </a:srgbClr>
                </a:solidFill>
                <a:effectLst/>
                <a:uLnTx/>
                <a:uFillTx/>
                <a:ea typeface="Calibri" charset="0"/>
                <a:cs typeface="Calibri" charset="0"/>
              </a:rPr>
              <a:t>Design features</a:t>
            </a:r>
          </a:p>
        </p:txBody>
      </p:sp>
      <p:sp>
        <p:nvSpPr>
          <p:cNvPr id="33" name="TextBox 32">
            <a:extLst>
              <a:ext uri="{FF2B5EF4-FFF2-40B4-BE49-F238E27FC236}">
                <a16:creationId xmlns:a16="http://schemas.microsoft.com/office/drawing/2014/main" id="{BEBEB238-B153-4142-A87A-922D2C17DBEE}"/>
              </a:ext>
            </a:extLst>
          </p:cNvPr>
          <p:cNvSpPr txBox="1"/>
          <p:nvPr/>
        </p:nvSpPr>
        <p:spPr>
          <a:xfrm>
            <a:off x="5022709" y="2708551"/>
            <a:ext cx="537716" cy="276999"/>
          </a:xfrm>
          <a:prstGeom prst="rect">
            <a:avLst/>
          </a:prstGeom>
        </p:spPr>
        <p:txBody>
          <a:bodyPr vert="horz" wrap="square" lIns="0" tIns="0" rIns="0" bIns="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65000"/>
                    <a:lumOff val="35000"/>
                  </a:srgbClr>
                </a:solidFill>
                <a:effectLst/>
                <a:uLnTx/>
                <a:uFillTx/>
                <a:ea typeface="Calibri" charset="0"/>
                <a:cs typeface="Calibri" charset="0"/>
              </a:rPr>
              <a:t>Manage sprint</a:t>
            </a:r>
          </a:p>
        </p:txBody>
      </p:sp>
      <p:sp>
        <p:nvSpPr>
          <p:cNvPr id="34" name="TextBox 33">
            <a:extLst>
              <a:ext uri="{FF2B5EF4-FFF2-40B4-BE49-F238E27FC236}">
                <a16:creationId xmlns:a16="http://schemas.microsoft.com/office/drawing/2014/main" id="{5F14FA7B-E796-41A9-BB89-FDE47AAF6856}"/>
              </a:ext>
            </a:extLst>
          </p:cNvPr>
          <p:cNvSpPr txBox="1"/>
          <p:nvPr/>
        </p:nvSpPr>
        <p:spPr>
          <a:xfrm>
            <a:off x="8788241" y="2225720"/>
            <a:ext cx="787269" cy="138499"/>
          </a:xfrm>
          <a:prstGeom prst="rect">
            <a:avLst/>
          </a:prstGeom>
        </p:spPr>
        <p:txBody>
          <a:bodyPr vert="horz" wrap="square" lIns="0" tIns="0" rIns="0" bIns="0" rtlCol="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65000"/>
                    <a:lumOff val="35000"/>
                  </a:srgbClr>
                </a:solidFill>
                <a:effectLst/>
                <a:uLnTx/>
                <a:uFillTx/>
                <a:ea typeface="Calibri" charset="0"/>
                <a:cs typeface="Calibri" charset="0"/>
              </a:rPr>
              <a:t>Deploy code</a:t>
            </a:r>
          </a:p>
        </p:txBody>
      </p:sp>
      <p:sp>
        <p:nvSpPr>
          <p:cNvPr id="35" name="TextBox 34">
            <a:extLst>
              <a:ext uri="{FF2B5EF4-FFF2-40B4-BE49-F238E27FC236}">
                <a16:creationId xmlns:a16="http://schemas.microsoft.com/office/drawing/2014/main" id="{A9C017C1-9BB7-4DA1-BCA3-CEB26134F7BA}"/>
              </a:ext>
            </a:extLst>
          </p:cNvPr>
          <p:cNvSpPr txBox="1"/>
          <p:nvPr/>
        </p:nvSpPr>
        <p:spPr>
          <a:xfrm>
            <a:off x="8788241" y="3609537"/>
            <a:ext cx="787269" cy="138499"/>
          </a:xfrm>
          <a:prstGeom prst="rect">
            <a:avLst/>
          </a:prstGeom>
        </p:spPr>
        <p:txBody>
          <a:bodyPr vert="horz" wrap="square" lIns="0" tIns="0" rIns="0" bIns="0" rtlCol="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65000"/>
                    <a:lumOff val="35000"/>
                  </a:srgbClr>
                </a:solidFill>
                <a:effectLst/>
                <a:uLnTx/>
                <a:uFillTx/>
                <a:ea typeface="Calibri" charset="0"/>
                <a:cs typeface="Calibri" charset="0"/>
              </a:rPr>
              <a:t>Close release</a:t>
            </a:r>
          </a:p>
        </p:txBody>
      </p:sp>
      <p:sp>
        <p:nvSpPr>
          <p:cNvPr id="36" name="TextBox 35">
            <a:extLst>
              <a:ext uri="{FF2B5EF4-FFF2-40B4-BE49-F238E27FC236}">
                <a16:creationId xmlns:a16="http://schemas.microsoft.com/office/drawing/2014/main" id="{5BFDC323-7759-4AF6-ABF0-60EF8A644EAA}"/>
              </a:ext>
            </a:extLst>
          </p:cNvPr>
          <p:cNvSpPr txBox="1"/>
          <p:nvPr/>
        </p:nvSpPr>
        <p:spPr>
          <a:xfrm>
            <a:off x="510649" y="4000634"/>
            <a:ext cx="799992" cy="215444"/>
          </a:xfrm>
          <a:prstGeom prst="rect">
            <a:avLst/>
          </a:prstGeom>
        </p:spPr>
        <p:txBody>
          <a:bodyPr vert="horz" wrap="square" lIns="0" tIns="0" rIns="0" bIns="0" rtlCol="0" anchor="ctr">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lumMod val="50000"/>
                  </a:schemeClr>
                </a:solidFill>
                <a:effectLst/>
                <a:uLnTx/>
                <a:uFillTx/>
                <a:ea typeface="+mn-ea"/>
                <a:cs typeface="Frutiger Next Pro Bold"/>
              </a:rPr>
              <a:t>Vision</a:t>
            </a:r>
          </a:p>
        </p:txBody>
      </p:sp>
      <p:sp>
        <p:nvSpPr>
          <p:cNvPr id="37" name="TextBox 36">
            <a:extLst>
              <a:ext uri="{FF2B5EF4-FFF2-40B4-BE49-F238E27FC236}">
                <a16:creationId xmlns:a16="http://schemas.microsoft.com/office/drawing/2014/main" id="{986FCDBD-3CB5-4081-BD72-BACA0D5233EE}"/>
              </a:ext>
            </a:extLst>
          </p:cNvPr>
          <p:cNvSpPr txBox="1"/>
          <p:nvPr/>
        </p:nvSpPr>
        <p:spPr>
          <a:xfrm>
            <a:off x="11031639" y="3995164"/>
            <a:ext cx="649712" cy="215444"/>
          </a:xfrm>
          <a:prstGeom prst="rect">
            <a:avLst/>
          </a:prstGeom>
        </p:spPr>
        <p:txBody>
          <a:bodyPr vert="horz" wrap="square" lIns="0" tIns="0" rIns="0" bIns="0"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lumMod val="50000"/>
                  </a:schemeClr>
                </a:solidFill>
                <a:effectLst/>
                <a:uLnTx/>
                <a:uFillTx/>
                <a:ea typeface="+mn-ea"/>
                <a:cs typeface="Frutiger Next Pro Bold"/>
              </a:rPr>
              <a:t>Launch</a:t>
            </a:r>
          </a:p>
        </p:txBody>
      </p:sp>
      <p:cxnSp>
        <p:nvCxnSpPr>
          <p:cNvPr id="38" name="Straight Connector 37">
            <a:extLst>
              <a:ext uri="{FF2B5EF4-FFF2-40B4-BE49-F238E27FC236}">
                <a16:creationId xmlns:a16="http://schemas.microsoft.com/office/drawing/2014/main" id="{A084C89C-5E15-4925-88EC-51C083FCF591}"/>
              </a:ext>
            </a:extLst>
          </p:cNvPr>
          <p:cNvCxnSpPr/>
          <p:nvPr/>
        </p:nvCxnSpPr>
        <p:spPr>
          <a:xfrm>
            <a:off x="10925620" y="4687641"/>
            <a:ext cx="1" cy="1"/>
          </a:xfrm>
          <a:prstGeom prst="line">
            <a:avLst/>
          </a:prstGeom>
          <a:ln>
            <a:solidFill>
              <a:srgbClr val="00A1DE"/>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a:extLst>
              <a:ext uri="{FF2B5EF4-FFF2-40B4-BE49-F238E27FC236}">
                <a16:creationId xmlns:a16="http://schemas.microsoft.com/office/drawing/2014/main" id="{CD897BFE-048F-4D92-92E1-3F115BE50C38}"/>
              </a:ext>
            </a:extLst>
          </p:cNvPr>
          <p:cNvCxnSpPr/>
          <p:nvPr/>
        </p:nvCxnSpPr>
        <p:spPr>
          <a:xfrm>
            <a:off x="1712424" y="4687641"/>
            <a:ext cx="1" cy="1"/>
          </a:xfrm>
          <a:prstGeom prst="line">
            <a:avLst/>
          </a:prstGeom>
          <a:ln>
            <a:solidFill>
              <a:srgbClr val="00A1DE"/>
            </a:solidFill>
          </a:ln>
          <a:effectLst/>
        </p:spPr>
        <p:style>
          <a:lnRef idx="2">
            <a:schemeClr val="accent1"/>
          </a:lnRef>
          <a:fillRef idx="0">
            <a:schemeClr val="accent1"/>
          </a:fillRef>
          <a:effectRef idx="1">
            <a:schemeClr val="accent1"/>
          </a:effectRef>
          <a:fontRef idx="minor">
            <a:schemeClr val="tx1"/>
          </a:fontRef>
        </p:style>
      </p:cxnSp>
      <p:grpSp>
        <p:nvGrpSpPr>
          <p:cNvPr id="40" name="Group 39">
            <a:extLst>
              <a:ext uri="{FF2B5EF4-FFF2-40B4-BE49-F238E27FC236}">
                <a16:creationId xmlns:a16="http://schemas.microsoft.com/office/drawing/2014/main" id="{472E6BDF-9508-4602-830E-1E2F912C0BB4}"/>
              </a:ext>
            </a:extLst>
          </p:cNvPr>
          <p:cNvGrpSpPr/>
          <p:nvPr/>
        </p:nvGrpSpPr>
        <p:grpSpPr>
          <a:xfrm>
            <a:off x="1378310" y="3955482"/>
            <a:ext cx="9547310" cy="321817"/>
            <a:chOff x="1297026" y="5223536"/>
            <a:chExt cx="7951971" cy="274320"/>
          </a:xfrm>
          <a:solidFill>
            <a:schemeClr val="accent1"/>
          </a:solidFill>
        </p:grpSpPr>
        <p:sp>
          <p:nvSpPr>
            <p:cNvPr id="44" name="Rectangle 43">
              <a:extLst>
                <a:ext uri="{FF2B5EF4-FFF2-40B4-BE49-F238E27FC236}">
                  <a16:creationId xmlns:a16="http://schemas.microsoft.com/office/drawing/2014/main" id="{4DD50B39-667C-43AB-8CF7-B4E7BF37E38C}"/>
                </a:ext>
              </a:extLst>
            </p:cNvPr>
            <p:cNvSpPr/>
            <p:nvPr/>
          </p:nvSpPr>
          <p:spPr>
            <a:xfrm>
              <a:off x="1297026" y="5320603"/>
              <a:ext cx="7898803" cy="74669"/>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ea typeface="+mn-ea"/>
                <a:cs typeface="+mn-cs"/>
              </a:endParaRPr>
            </a:p>
          </p:txBody>
        </p:sp>
        <p:sp>
          <p:nvSpPr>
            <p:cNvPr id="45" name="Right Triangle 44">
              <a:extLst>
                <a:ext uri="{FF2B5EF4-FFF2-40B4-BE49-F238E27FC236}">
                  <a16:creationId xmlns:a16="http://schemas.microsoft.com/office/drawing/2014/main" id="{2D393DEB-3F8C-4AED-970C-30E6CC2B0900}"/>
                </a:ext>
              </a:extLst>
            </p:cNvPr>
            <p:cNvSpPr/>
            <p:nvPr/>
          </p:nvSpPr>
          <p:spPr>
            <a:xfrm rot="13500000">
              <a:off x="8974677" y="5223536"/>
              <a:ext cx="274320" cy="274320"/>
            </a:xfrm>
            <a:prstGeom prst="rtTriangl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ea typeface="+mn-ea"/>
                <a:cs typeface="+mn-cs"/>
              </a:endParaRPr>
            </a:p>
          </p:txBody>
        </p:sp>
      </p:grpSp>
      <p:sp>
        <p:nvSpPr>
          <p:cNvPr id="41" name="TextBox 40">
            <a:extLst>
              <a:ext uri="{FF2B5EF4-FFF2-40B4-BE49-F238E27FC236}">
                <a16:creationId xmlns:a16="http://schemas.microsoft.com/office/drawing/2014/main" id="{CECDA666-2B09-4C08-A099-F5FD65FB9F55}"/>
              </a:ext>
            </a:extLst>
          </p:cNvPr>
          <p:cNvSpPr txBox="1"/>
          <p:nvPr/>
        </p:nvSpPr>
        <p:spPr>
          <a:xfrm>
            <a:off x="1790803" y="4312621"/>
            <a:ext cx="1737897" cy="1918474"/>
          </a:xfrm>
          <a:prstGeom prst="rect">
            <a:avLst/>
          </a:prstGeom>
          <a:noFill/>
        </p:spPr>
        <p:txBody>
          <a:bodyPr wrap="square" lIns="0" tIns="0" rIns="0" bIns="0" rtlCol="0">
            <a:spAutoFit/>
          </a:bodyPr>
          <a:lstStyle/>
          <a:p>
            <a:pPr marL="171450" marR="0" lvl="0" indent="-171450" algn="l" defTabSz="457200" rtl="0" eaLnBrk="1" fontAlgn="auto" latinLnBrk="0" hangingPunct="1">
              <a:lnSpc>
                <a:spcPct val="150000"/>
              </a:lnSpc>
              <a:spcBef>
                <a:spcPts val="0"/>
              </a:spcBef>
              <a:spcAft>
                <a:spcPts val="400"/>
              </a:spcAft>
              <a:buClrTx/>
              <a:buSzTx/>
              <a:buFont typeface="Wingdings" charset="2"/>
              <a:buChar char="ü"/>
              <a:tabLst/>
              <a:defRPr/>
            </a:pPr>
            <a:r>
              <a:rPr kumimoji="0" lang="en-US" sz="1200" b="0" i="0" u="none" strike="noStrike" kern="1200" cap="none" spc="0" normalizeH="0" baseline="0" noProof="0" dirty="0">
                <a:ln>
                  <a:noFill/>
                </a:ln>
                <a:solidFill>
                  <a:srgbClr val="000000"/>
                </a:solidFill>
                <a:effectLst/>
                <a:uLnTx/>
                <a:uFillTx/>
                <a:ea typeface="+mn-ea"/>
                <a:cs typeface="+mn-cs"/>
              </a:rPr>
              <a:t>Interviews</a:t>
            </a:r>
          </a:p>
          <a:p>
            <a:pPr marL="171450" marR="0" lvl="0" indent="-171450" algn="l" defTabSz="457200" rtl="0" eaLnBrk="1" fontAlgn="auto" latinLnBrk="0" hangingPunct="1">
              <a:lnSpc>
                <a:spcPct val="150000"/>
              </a:lnSpc>
              <a:spcBef>
                <a:spcPts val="0"/>
              </a:spcBef>
              <a:spcAft>
                <a:spcPts val="400"/>
              </a:spcAft>
              <a:buClrTx/>
              <a:buSzTx/>
              <a:buFont typeface="Wingdings" charset="2"/>
              <a:buChar char="ü"/>
              <a:tabLst/>
              <a:defRPr/>
            </a:pPr>
            <a:r>
              <a:rPr kumimoji="0" lang="en-US" sz="1200" b="0" i="0" u="none" strike="noStrike" kern="1200" cap="none" spc="0" normalizeH="0" baseline="0" noProof="0" dirty="0">
                <a:ln>
                  <a:noFill/>
                </a:ln>
                <a:solidFill>
                  <a:srgbClr val="000000"/>
                </a:solidFill>
                <a:effectLst/>
                <a:uLnTx/>
                <a:uFillTx/>
                <a:ea typeface="+mn-ea"/>
                <a:cs typeface="+mn-cs"/>
              </a:rPr>
              <a:t>Observations</a:t>
            </a:r>
          </a:p>
          <a:p>
            <a:pPr marL="171450" marR="0" lvl="0" indent="-171450" algn="l" defTabSz="457200" rtl="0" eaLnBrk="1" fontAlgn="auto" latinLnBrk="0" hangingPunct="1">
              <a:lnSpc>
                <a:spcPct val="150000"/>
              </a:lnSpc>
              <a:spcBef>
                <a:spcPts val="0"/>
              </a:spcBef>
              <a:spcAft>
                <a:spcPts val="400"/>
              </a:spcAft>
              <a:buClrTx/>
              <a:buSzTx/>
              <a:buFont typeface="Wingdings" charset="2"/>
              <a:buChar char="ü"/>
              <a:tabLst/>
              <a:defRPr/>
            </a:pPr>
            <a:r>
              <a:rPr kumimoji="0" lang="en-US" sz="1200" b="0" i="0" u="none" strike="noStrike" kern="1200" cap="none" spc="0" normalizeH="0" baseline="0" noProof="0" dirty="0">
                <a:ln>
                  <a:noFill/>
                </a:ln>
                <a:solidFill>
                  <a:srgbClr val="000000"/>
                </a:solidFill>
                <a:effectLst/>
                <a:uLnTx/>
                <a:uFillTx/>
                <a:ea typeface="+mn-ea"/>
                <a:cs typeface="+mn-cs"/>
              </a:rPr>
              <a:t>Affinity Diagraming</a:t>
            </a:r>
          </a:p>
          <a:p>
            <a:pPr marL="171450" marR="0" lvl="0" indent="-171450" algn="l" defTabSz="457200" rtl="0" eaLnBrk="1" fontAlgn="auto" latinLnBrk="0" hangingPunct="1">
              <a:lnSpc>
                <a:spcPct val="150000"/>
              </a:lnSpc>
              <a:spcBef>
                <a:spcPts val="0"/>
              </a:spcBef>
              <a:spcAft>
                <a:spcPts val="400"/>
              </a:spcAft>
              <a:buClrTx/>
              <a:buSzTx/>
              <a:buFont typeface="Wingdings" charset="2"/>
              <a:buChar char="ü"/>
              <a:tabLst/>
              <a:defRPr/>
            </a:pPr>
            <a:r>
              <a:rPr kumimoji="0" lang="en-US" sz="1200" b="0" i="0" u="none" strike="noStrike" kern="1200" cap="none" spc="0" normalizeH="0" baseline="0" noProof="0" dirty="0">
                <a:ln>
                  <a:noFill/>
                </a:ln>
                <a:solidFill>
                  <a:srgbClr val="000000"/>
                </a:solidFill>
                <a:effectLst/>
                <a:uLnTx/>
                <a:uFillTx/>
                <a:ea typeface="+mn-ea"/>
                <a:cs typeface="+mn-cs"/>
              </a:rPr>
              <a:t>Personas</a:t>
            </a:r>
          </a:p>
          <a:p>
            <a:pPr marL="171450" marR="0" lvl="0" indent="-171450" algn="l" defTabSz="457200" rtl="0" eaLnBrk="1" fontAlgn="auto" latinLnBrk="0" hangingPunct="1">
              <a:lnSpc>
                <a:spcPct val="150000"/>
              </a:lnSpc>
              <a:spcBef>
                <a:spcPts val="0"/>
              </a:spcBef>
              <a:spcAft>
                <a:spcPts val="400"/>
              </a:spcAft>
              <a:buClrTx/>
              <a:buSzTx/>
              <a:buFont typeface="Wingdings" charset="2"/>
              <a:buChar char="ü"/>
              <a:tabLst/>
              <a:defRPr/>
            </a:pPr>
            <a:r>
              <a:rPr kumimoji="0" lang="en-US" sz="1200" b="0" i="0" u="none" strike="noStrike" kern="1200" cap="none" spc="0" normalizeH="0" baseline="0" noProof="0" dirty="0">
                <a:ln>
                  <a:noFill/>
                </a:ln>
                <a:solidFill>
                  <a:srgbClr val="000000"/>
                </a:solidFill>
                <a:effectLst/>
                <a:uLnTx/>
                <a:uFillTx/>
                <a:ea typeface="+mn-ea"/>
                <a:cs typeface="+mn-cs"/>
              </a:rPr>
              <a:t>Journey Mapping</a:t>
            </a:r>
          </a:p>
          <a:p>
            <a:pPr marL="171450" marR="0" lvl="0" indent="-171450" algn="l" defTabSz="457200" rtl="0" eaLnBrk="1" fontAlgn="auto" latinLnBrk="0" hangingPunct="1">
              <a:lnSpc>
                <a:spcPct val="150000"/>
              </a:lnSpc>
              <a:spcBef>
                <a:spcPts val="0"/>
              </a:spcBef>
              <a:spcAft>
                <a:spcPts val="400"/>
              </a:spcAft>
              <a:buClrTx/>
              <a:buSzTx/>
              <a:buFont typeface="Wingdings" charset="2"/>
              <a:buChar char="ü"/>
              <a:tabLst/>
              <a:defRPr/>
            </a:pPr>
            <a:r>
              <a:rPr kumimoji="0" lang="en-US" sz="1200" b="0" i="0" u="none" strike="noStrike" kern="1200" cap="none" spc="0" normalizeH="0" baseline="0" noProof="0" dirty="0">
                <a:ln>
                  <a:noFill/>
                </a:ln>
                <a:solidFill>
                  <a:srgbClr val="000000"/>
                </a:solidFill>
                <a:effectLst/>
                <a:uLnTx/>
                <a:uFillTx/>
                <a:ea typeface="+mn-ea"/>
                <a:cs typeface="+mn-cs"/>
              </a:rPr>
              <a:t>Storyboarding</a:t>
            </a:r>
          </a:p>
        </p:txBody>
      </p:sp>
      <p:sp>
        <p:nvSpPr>
          <p:cNvPr id="42" name="TextBox 41">
            <a:extLst>
              <a:ext uri="{FF2B5EF4-FFF2-40B4-BE49-F238E27FC236}">
                <a16:creationId xmlns:a16="http://schemas.microsoft.com/office/drawing/2014/main" id="{CC951275-24AC-43BC-A9EE-0F1FDD7CB209}"/>
              </a:ext>
            </a:extLst>
          </p:cNvPr>
          <p:cNvSpPr txBox="1"/>
          <p:nvPr/>
        </p:nvSpPr>
        <p:spPr>
          <a:xfrm>
            <a:off x="5147485" y="4312621"/>
            <a:ext cx="1737897" cy="1918474"/>
          </a:xfrm>
          <a:prstGeom prst="rect">
            <a:avLst/>
          </a:prstGeom>
          <a:noFill/>
        </p:spPr>
        <p:txBody>
          <a:bodyPr wrap="square" lIns="0" tIns="0" rIns="0" bIns="0" rtlCol="0">
            <a:spAutoFit/>
          </a:bodyPr>
          <a:lstStyle/>
          <a:p>
            <a:pPr marL="171450" marR="0" lvl="0" indent="-171450" algn="l" defTabSz="457200" rtl="0" eaLnBrk="1" fontAlgn="auto" latinLnBrk="0" hangingPunct="1">
              <a:lnSpc>
                <a:spcPct val="150000"/>
              </a:lnSpc>
              <a:spcBef>
                <a:spcPts val="0"/>
              </a:spcBef>
              <a:spcAft>
                <a:spcPts val="400"/>
              </a:spcAft>
              <a:buClrTx/>
              <a:buSzTx/>
              <a:buFont typeface="Wingdings" charset="2"/>
              <a:buChar char="ü"/>
              <a:tabLst/>
              <a:defRPr/>
            </a:pPr>
            <a:r>
              <a:rPr kumimoji="0" lang="en-US" sz="1200" b="0" i="0" u="none" strike="noStrike" kern="1200" cap="none" spc="0" normalizeH="0" baseline="0" noProof="0" dirty="0">
                <a:ln>
                  <a:noFill/>
                </a:ln>
                <a:solidFill>
                  <a:srgbClr val="000000"/>
                </a:solidFill>
                <a:effectLst/>
                <a:uLnTx/>
                <a:uFillTx/>
                <a:ea typeface="+mn-ea"/>
                <a:cs typeface="+mn-cs"/>
              </a:rPr>
              <a:t>Rapid Prototyping</a:t>
            </a:r>
          </a:p>
          <a:p>
            <a:pPr marL="171450" marR="0" lvl="0" indent="-171450" algn="l" defTabSz="457200" rtl="0" eaLnBrk="1" fontAlgn="auto" latinLnBrk="0" hangingPunct="1">
              <a:lnSpc>
                <a:spcPct val="150000"/>
              </a:lnSpc>
              <a:spcBef>
                <a:spcPts val="0"/>
              </a:spcBef>
              <a:spcAft>
                <a:spcPts val="400"/>
              </a:spcAft>
              <a:buClrTx/>
              <a:buSzTx/>
              <a:buFont typeface="Wingdings" charset="2"/>
              <a:buChar char="ü"/>
              <a:tabLst/>
              <a:defRPr/>
            </a:pPr>
            <a:r>
              <a:rPr kumimoji="0" lang="en-US" sz="1200" b="0" i="0" u="none" strike="noStrike" kern="1200" cap="none" spc="0" normalizeH="0" baseline="0" noProof="0" dirty="0">
                <a:ln>
                  <a:noFill/>
                </a:ln>
                <a:solidFill>
                  <a:srgbClr val="000000"/>
                </a:solidFill>
                <a:effectLst/>
                <a:uLnTx/>
                <a:uFillTx/>
                <a:ea typeface="+mn-ea"/>
                <a:cs typeface="+mn-cs"/>
              </a:rPr>
              <a:t>Navigation Map</a:t>
            </a:r>
          </a:p>
          <a:p>
            <a:pPr marL="171450" marR="0" lvl="0" indent="-171450" algn="l" defTabSz="457200" rtl="0" eaLnBrk="1" fontAlgn="auto" latinLnBrk="0" hangingPunct="1">
              <a:lnSpc>
                <a:spcPct val="150000"/>
              </a:lnSpc>
              <a:spcBef>
                <a:spcPts val="0"/>
              </a:spcBef>
              <a:spcAft>
                <a:spcPts val="400"/>
              </a:spcAft>
              <a:buClrTx/>
              <a:buSzTx/>
              <a:buFont typeface="Wingdings" charset="2"/>
              <a:buChar char="ü"/>
              <a:tabLst/>
              <a:defRPr/>
            </a:pPr>
            <a:r>
              <a:rPr kumimoji="0" lang="en-US" sz="1200" b="0" i="0" u="none" strike="noStrike" kern="1200" cap="none" spc="0" normalizeH="0" baseline="0" noProof="0" dirty="0">
                <a:ln>
                  <a:noFill/>
                </a:ln>
                <a:solidFill>
                  <a:srgbClr val="000000"/>
                </a:solidFill>
                <a:effectLst/>
                <a:uLnTx/>
                <a:uFillTx/>
                <a:ea typeface="+mn-ea"/>
                <a:cs typeface="+mn-cs"/>
              </a:rPr>
              <a:t>Use Cases</a:t>
            </a:r>
          </a:p>
          <a:p>
            <a:pPr marL="171450" marR="0" lvl="0" indent="-171450" algn="l" defTabSz="457200" rtl="0" eaLnBrk="1" fontAlgn="auto" latinLnBrk="0" hangingPunct="1">
              <a:lnSpc>
                <a:spcPct val="150000"/>
              </a:lnSpc>
              <a:spcBef>
                <a:spcPts val="0"/>
              </a:spcBef>
              <a:spcAft>
                <a:spcPts val="400"/>
              </a:spcAft>
              <a:buClrTx/>
              <a:buSzTx/>
              <a:buFont typeface="Wingdings" charset="2"/>
              <a:buChar char="ü"/>
              <a:tabLst/>
              <a:defRPr/>
            </a:pPr>
            <a:r>
              <a:rPr kumimoji="0" lang="en-US" sz="1200" b="0" i="0" u="none" strike="noStrike" kern="1200" cap="none" spc="0" normalizeH="0" baseline="0" noProof="0" dirty="0">
                <a:ln>
                  <a:noFill/>
                </a:ln>
                <a:solidFill>
                  <a:srgbClr val="000000"/>
                </a:solidFill>
                <a:effectLst/>
                <a:uLnTx/>
                <a:uFillTx/>
                <a:ea typeface="+mn-ea"/>
                <a:cs typeface="+mn-cs"/>
              </a:rPr>
              <a:t>A/B Testing</a:t>
            </a:r>
          </a:p>
          <a:p>
            <a:pPr marL="171450" marR="0" lvl="0" indent="-171450" algn="l" defTabSz="457200" rtl="0" eaLnBrk="1" fontAlgn="auto" latinLnBrk="0" hangingPunct="1">
              <a:lnSpc>
                <a:spcPct val="150000"/>
              </a:lnSpc>
              <a:spcBef>
                <a:spcPts val="0"/>
              </a:spcBef>
              <a:spcAft>
                <a:spcPts val="400"/>
              </a:spcAft>
              <a:buClrTx/>
              <a:buSzTx/>
              <a:buFont typeface="Wingdings" charset="2"/>
              <a:buChar char="ü"/>
              <a:tabLst/>
              <a:defRPr/>
            </a:pPr>
            <a:r>
              <a:rPr kumimoji="0" lang="en-US" sz="1200" b="0" i="0" u="none" strike="noStrike" kern="1200" cap="none" spc="0" normalizeH="0" baseline="0" noProof="0" dirty="0">
                <a:ln>
                  <a:noFill/>
                </a:ln>
                <a:solidFill>
                  <a:srgbClr val="000000"/>
                </a:solidFill>
                <a:effectLst/>
                <a:uLnTx/>
                <a:uFillTx/>
                <a:ea typeface="+mn-ea"/>
                <a:cs typeface="+mn-cs"/>
              </a:rPr>
              <a:t>Usability Testing</a:t>
            </a:r>
          </a:p>
          <a:p>
            <a:pPr marL="171450" marR="0" lvl="0" indent="-171450" algn="l" defTabSz="457200" rtl="0" eaLnBrk="1" fontAlgn="auto" latinLnBrk="0" hangingPunct="1">
              <a:lnSpc>
                <a:spcPct val="150000"/>
              </a:lnSpc>
              <a:spcBef>
                <a:spcPts val="0"/>
              </a:spcBef>
              <a:spcAft>
                <a:spcPts val="400"/>
              </a:spcAft>
              <a:buClrTx/>
              <a:buSzTx/>
              <a:buFont typeface="Wingdings" charset="2"/>
              <a:buChar char="ü"/>
              <a:tabLst/>
              <a:defRPr/>
            </a:pPr>
            <a:r>
              <a:rPr kumimoji="0" lang="en-US" sz="1200" b="0" i="0" u="none" strike="noStrike" kern="1200" cap="none" spc="0" normalizeH="0" baseline="0" noProof="0" dirty="0">
                <a:ln>
                  <a:noFill/>
                </a:ln>
                <a:solidFill>
                  <a:srgbClr val="000000"/>
                </a:solidFill>
                <a:effectLst/>
                <a:uLnTx/>
                <a:uFillTx/>
                <a:ea typeface="+mn-ea"/>
                <a:cs typeface="+mn-cs"/>
              </a:rPr>
              <a:t>Diagnostic Evaluation</a:t>
            </a:r>
          </a:p>
        </p:txBody>
      </p:sp>
      <p:sp>
        <p:nvSpPr>
          <p:cNvPr id="43" name="TextBox 42">
            <a:extLst>
              <a:ext uri="{FF2B5EF4-FFF2-40B4-BE49-F238E27FC236}">
                <a16:creationId xmlns:a16="http://schemas.microsoft.com/office/drawing/2014/main" id="{53976CD5-2DBF-4C46-A7F5-3E0805FF5B62}"/>
              </a:ext>
            </a:extLst>
          </p:cNvPr>
          <p:cNvSpPr txBox="1"/>
          <p:nvPr/>
        </p:nvSpPr>
        <p:spPr>
          <a:xfrm>
            <a:off x="8518954" y="4371785"/>
            <a:ext cx="1737897" cy="1590179"/>
          </a:xfrm>
          <a:prstGeom prst="rect">
            <a:avLst/>
          </a:prstGeom>
          <a:noFill/>
        </p:spPr>
        <p:txBody>
          <a:bodyPr wrap="square" lIns="0" tIns="0" rIns="0" bIns="0" rtlCol="0">
            <a:spAutoFit/>
          </a:bodyPr>
          <a:lstStyle/>
          <a:p>
            <a:pPr marL="171450" marR="0" lvl="0" indent="-171450" algn="l" defTabSz="457200" rtl="0" eaLnBrk="1" fontAlgn="auto" latinLnBrk="0" hangingPunct="1">
              <a:lnSpc>
                <a:spcPct val="150000"/>
              </a:lnSpc>
              <a:spcBef>
                <a:spcPts val="0"/>
              </a:spcBef>
              <a:spcAft>
                <a:spcPts val="400"/>
              </a:spcAft>
              <a:buClrTx/>
              <a:buSzTx/>
              <a:buFont typeface="Wingdings" charset="2"/>
              <a:buChar char="ü"/>
              <a:tabLst/>
              <a:defRPr/>
            </a:pPr>
            <a:r>
              <a:rPr kumimoji="0" lang="en-US" sz="1200" b="0" i="0" u="none" strike="noStrike" kern="1200" cap="none" spc="0" normalizeH="0" baseline="0" noProof="0" dirty="0">
                <a:ln>
                  <a:noFill/>
                </a:ln>
                <a:solidFill>
                  <a:srgbClr val="000000"/>
                </a:solidFill>
                <a:effectLst/>
                <a:uLnTx/>
                <a:uFillTx/>
                <a:ea typeface="+mn-ea"/>
                <a:cs typeface="+mn-cs"/>
              </a:rPr>
              <a:t>Usability Testing</a:t>
            </a:r>
          </a:p>
          <a:p>
            <a:pPr marL="171450" marR="0" lvl="0" indent="-171450" algn="l" defTabSz="457200" rtl="0" eaLnBrk="1" fontAlgn="auto" latinLnBrk="0" hangingPunct="1">
              <a:lnSpc>
                <a:spcPct val="150000"/>
              </a:lnSpc>
              <a:spcBef>
                <a:spcPts val="0"/>
              </a:spcBef>
              <a:spcAft>
                <a:spcPts val="400"/>
              </a:spcAft>
              <a:buClrTx/>
              <a:buSzTx/>
              <a:buFont typeface="Wingdings" charset="2"/>
              <a:buChar char="ü"/>
              <a:tabLst/>
              <a:defRPr/>
            </a:pPr>
            <a:r>
              <a:rPr kumimoji="0" lang="en-US" sz="1200" b="0" i="0" u="none" strike="noStrike" kern="1200" cap="none" spc="0" normalizeH="0" baseline="0" noProof="0" dirty="0">
                <a:ln>
                  <a:noFill/>
                </a:ln>
                <a:solidFill>
                  <a:srgbClr val="000000"/>
                </a:solidFill>
                <a:effectLst/>
                <a:uLnTx/>
                <a:uFillTx/>
                <a:ea typeface="+mn-ea"/>
                <a:cs typeface="+mn-cs"/>
              </a:rPr>
              <a:t>A/B Testing</a:t>
            </a:r>
          </a:p>
          <a:p>
            <a:pPr marL="171450" marR="0" lvl="0" indent="-171450" algn="l" defTabSz="457200" rtl="0" eaLnBrk="1" fontAlgn="auto" latinLnBrk="0" hangingPunct="1">
              <a:lnSpc>
                <a:spcPct val="150000"/>
              </a:lnSpc>
              <a:spcBef>
                <a:spcPts val="0"/>
              </a:spcBef>
              <a:spcAft>
                <a:spcPts val="400"/>
              </a:spcAft>
              <a:buClrTx/>
              <a:buSzTx/>
              <a:buFont typeface="Wingdings" charset="2"/>
              <a:buChar char="ü"/>
              <a:tabLst/>
              <a:defRPr/>
            </a:pPr>
            <a:r>
              <a:rPr kumimoji="0" lang="en-US" sz="1200" b="0" i="0" u="none" strike="noStrike" kern="1200" cap="none" spc="0" normalizeH="0" baseline="0" noProof="0" dirty="0">
                <a:ln>
                  <a:noFill/>
                </a:ln>
                <a:solidFill>
                  <a:srgbClr val="000000"/>
                </a:solidFill>
                <a:effectLst/>
                <a:uLnTx/>
                <a:uFillTx/>
                <a:ea typeface="+mn-ea"/>
                <a:cs typeface="+mn-cs"/>
              </a:rPr>
              <a:t>User Surveys</a:t>
            </a:r>
          </a:p>
          <a:p>
            <a:pPr marL="171450" marR="0" lvl="0" indent="-171450" algn="l" defTabSz="457200" rtl="0" eaLnBrk="1" fontAlgn="auto" latinLnBrk="0" hangingPunct="1">
              <a:lnSpc>
                <a:spcPct val="150000"/>
              </a:lnSpc>
              <a:spcBef>
                <a:spcPts val="0"/>
              </a:spcBef>
              <a:spcAft>
                <a:spcPts val="400"/>
              </a:spcAft>
              <a:buClrTx/>
              <a:buSzTx/>
              <a:buFont typeface="Wingdings" charset="2"/>
              <a:buChar char="ü"/>
              <a:tabLst/>
              <a:defRPr/>
            </a:pPr>
            <a:r>
              <a:rPr kumimoji="0" lang="en-US" sz="1200" b="0" i="0" u="none" strike="noStrike" kern="1200" cap="none" spc="0" normalizeH="0" baseline="0" noProof="0" dirty="0">
                <a:ln>
                  <a:noFill/>
                </a:ln>
                <a:solidFill>
                  <a:srgbClr val="000000"/>
                </a:solidFill>
                <a:effectLst/>
                <a:uLnTx/>
                <a:uFillTx/>
                <a:ea typeface="+mn-ea"/>
                <a:cs typeface="+mn-cs"/>
              </a:rPr>
              <a:t>Heuristic Evaluation</a:t>
            </a:r>
          </a:p>
          <a:p>
            <a:pPr marL="171450" marR="0" lvl="0" indent="-171450" algn="l" defTabSz="457200" rtl="0" eaLnBrk="1" fontAlgn="auto" latinLnBrk="0" hangingPunct="1">
              <a:lnSpc>
                <a:spcPct val="150000"/>
              </a:lnSpc>
              <a:spcBef>
                <a:spcPts val="0"/>
              </a:spcBef>
              <a:spcAft>
                <a:spcPts val="400"/>
              </a:spcAft>
              <a:buClrTx/>
              <a:buSzTx/>
              <a:buFont typeface="Wingdings" charset="2"/>
              <a:buChar char="ü"/>
              <a:tabLst/>
              <a:defRPr/>
            </a:pPr>
            <a:r>
              <a:rPr kumimoji="0" lang="en-US" sz="1200" b="0" i="0" u="none" strike="noStrike" kern="1200" cap="none" spc="0" normalizeH="0" baseline="0" noProof="0" dirty="0">
                <a:ln>
                  <a:noFill/>
                </a:ln>
                <a:solidFill>
                  <a:srgbClr val="000000"/>
                </a:solidFill>
                <a:effectLst/>
                <a:uLnTx/>
                <a:uFillTx/>
                <a:ea typeface="+mn-ea"/>
                <a:cs typeface="+mn-cs"/>
              </a:rPr>
              <a:t>Usability Testing</a:t>
            </a:r>
          </a:p>
        </p:txBody>
      </p:sp>
    </p:spTree>
    <p:extLst>
      <p:ext uri="{BB962C8B-B14F-4D97-AF65-F5344CB8AC3E}">
        <p14:creationId xmlns:p14="http://schemas.microsoft.com/office/powerpoint/2010/main" val="1147523359"/>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7A28A578-EA55-4B70-AC1A-ACC5AA7CE9C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24" name="think-cell Slide" r:id="rId6" imgW="395" imgH="396" progId="TCLayout.ActiveDocument.1">
                  <p:embed/>
                </p:oleObj>
              </mc:Choice>
              <mc:Fallback>
                <p:oleObj name="think-cell Slide" r:id="rId6" imgW="395" imgH="396" progId="TCLayout.ActiveDocument.1">
                  <p:embed/>
                  <p:pic>
                    <p:nvPicPr>
                      <p:cNvPr id="29" name="Object 28" hidden="1">
                        <a:extLst>
                          <a:ext uri="{FF2B5EF4-FFF2-40B4-BE49-F238E27FC236}">
                            <a16:creationId xmlns:a16="http://schemas.microsoft.com/office/drawing/2014/main" id="{7A28A578-EA55-4B70-AC1A-ACC5AA7CE9C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8" name="Rectangle 27" hidden="1">
            <a:extLst>
              <a:ext uri="{FF2B5EF4-FFF2-40B4-BE49-F238E27FC236}">
                <a16:creationId xmlns:a16="http://schemas.microsoft.com/office/drawing/2014/main" id="{7253376A-F54B-4CF1-BFE6-E40654A115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A84D9EF3-5143-4CE6-95EA-6C9B1A16AD98}"/>
              </a:ext>
            </a:extLst>
          </p:cNvPr>
          <p:cNvSpPr>
            <a:spLocks noGrp="1"/>
          </p:cNvSpPr>
          <p:nvPr>
            <p:ph type="title"/>
          </p:nvPr>
        </p:nvSpPr>
        <p:spPr/>
        <p:txBody>
          <a:bodyPr/>
          <a:lstStyle/>
          <a:p>
            <a:r>
              <a:rPr lang="en-US" dirty="0"/>
              <a:t>Future State: Standards, Metrics, and Incentives</a:t>
            </a:r>
          </a:p>
        </p:txBody>
      </p:sp>
      <p:sp>
        <p:nvSpPr>
          <p:cNvPr id="3" name="Text Placeholder 2">
            <a:extLst>
              <a:ext uri="{FF2B5EF4-FFF2-40B4-BE49-F238E27FC236}">
                <a16:creationId xmlns:a16="http://schemas.microsoft.com/office/drawing/2014/main" id="{B5D5111B-FB3F-4AD9-8160-CA76AA851039}"/>
              </a:ext>
            </a:extLst>
          </p:cNvPr>
          <p:cNvSpPr>
            <a:spLocks noGrp="1"/>
          </p:cNvSpPr>
          <p:nvPr>
            <p:ph type="body" sz="quarter" idx="14"/>
          </p:nvPr>
        </p:nvSpPr>
        <p:spPr>
          <a:xfrm>
            <a:off x="914721" y="1353312"/>
            <a:ext cx="10362880" cy="475488"/>
          </a:xfrm>
        </p:spPr>
        <p:txBody>
          <a:bodyPr/>
          <a:lstStyle/>
          <a:p>
            <a:r>
              <a:rPr lang="en-US" dirty="0"/>
              <a:t>OEM Client should restructure their current standards, metrics, and incentives into an integrated program where each reinforce one another, and resources are allocated to drive desired dealer and consumer behaviors </a:t>
            </a:r>
          </a:p>
          <a:p>
            <a:endParaRPr lang="en-US" dirty="0"/>
          </a:p>
        </p:txBody>
      </p:sp>
      <p:sp>
        <p:nvSpPr>
          <p:cNvPr id="4" name="Text Placeholder 3">
            <a:extLst>
              <a:ext uri="{FF2B5EF4-FFF2-40B4-BE49-F238E27FC236}">
                <a16:creationId xmlns:a16="http://schemas.microsoft.com/office/drawing/2014/main" id="{89CCBDE4-01FC-42CC-AE10-72F53D95ECAA}"/>
              </a:ext>
            </a:extLst>
          </p:cNvPr>
          <p:cNvSpPr>
            <a:spLocks noGrp="1"/>
          </p:cNvSpPr>
          <p:nvPr>
            <p:ph type="body" sz="quarter" idx="15"/>
          </p:nvPr>
        </p:nvSpPr>
        <p:spPr>
          <a:xfrm>
            <a:off x="914970" y="466344"/>
            <a:ext cx="3620413" cy="228600"/>
          </a:xfrm>
        </p:spPr>
        <p:txBody>
          <a:bodyPr/>
          <a:lstStyle/>
          <a:p>
            <a:r>
              <a:rPr lang="en-US" dirty="0"/>
              <a:t>FRAMEWORKS &amp; CONCEPT ILLUSTRATION</a:t>
            </a:r>
          </a:p>
        </p:txBody>
      </p:sp>
      <p:sp>
        <p:nvSpPr>
          <p:cNvPr id="6" name="Title 2">
            <a:extLst>
              <a:ext uri="{FF2B5EF4-FFF2-40B4-BE49-F238E27FC236}">
                <a16:creationId xmlns:a16="http://schemas.microsoft.com/office/drawing/2014/main" id="{4642AAF1-0A9D-4AD7-A4E9-23ADE4E6C3F1}"/>
              </a:ext>
            </a:extLst>
          </p:cNvPr>
          <p:cNvSpPr txBox="1">
            <a:spLocks/>
          </p:cNvSpPr>
          <p:nvPr/>
        </p:nvSpPr>
        <p:spPr>
          <a:xfrm>
            <a:off x="469900" y="402587"/>
            <a:ext cx="11252200"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sp>
        <p:nvSpPr>
          <p:cNvPr id="7" name="Oval 6">
            <a:extLst>
              <a:ext uri="{FF2B5EF4-FFF2-40B4-BE49-F238E27FC236}">
                <a16:creationId xmlns:a16="http://schemas.microsoft.com/office/drawing/2014/main" id="{E0220CA5-3813-4363-99D9-0660171194A2}"/>
              </a:ext>
            </a:extLst>
          </p:cNvPr>
          <p:cNvSpPr/>
          <p:nvPr/>
        </p:nvSpPr>
        <p:spPr>
          <a:xfrm>
            <a:off x="3338552" y="1961529"/>
            <a:ext cx="3040084" cy="3040084"/>
          </a:xfrm>
          <a:prstGeom prst="ellipse">
            <a:avLst/>
          </a:prstGeom>
          <a:solidFill>
            <a:schemeClr val="bg1">
              <a:lumMod val="65000"/>
              <a:alpha val="29804"/>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86BC25"/>
              </a:solidFill>
              <a:effectLst/>
              <a:uLnTx/>
              <a:uFillTx/>
              <a:ea typeface="+mn-ea"/>
              <a:cs typeface="+mn-cs"/>
            </a:endParaRPr>
          </a:p>
        </p:txBody>
      </p:sp>
      <p:sp>
        <p:nvSpPr>
          <p:cNvPr id="8" name="Oval 7">
            <a:extLst>
              <a:ext uri="{FF2B5EF4-FFF2-40B4-BE49-F238E27FC236}">
                <a16:creationId xmlns:a16="http://schemas.microsoft.com/office/drawing/2014/main" id="{6F0485CF-64B1-4D34-9D9A-5184CC79799C}"/>
              </a:ext>
            </a:extLst>
          </p:cNvPr>
          <p:cNvSpPr/>
          <p:nvPr/>
        </p:nvSpPr>
        <p:spPr>
          <a:xfrm>
            <a:off x="5212874" y="1961529"/>
            <a:ext cx="3040084" cy="3040084"/>
          </a:xfrm>
          <a:prstGeom prst="ellipse">
            <a:avLst/>
          </a:prstGeom>
          <a:solidFill>
            <a:schemeClr val="accent2">
              <a:lumMod val="40000"/>
              <a:lumOff val="60000"/>
              <a:alpha val="29804"/>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ea typeface="+mn-ea"/>
              <a:cs typeface="+mn-cs"/>
            </a:endParaRPr>
          </a:p>
        </p:txBody>
      </p:sp>
      <p:sp>
        <p:nvSpPr>
          <p:cNvPr id="9" name="Oval 8">
            <a:extLst>
              <a:ext uri="{FF2B5EF4-FFF2-40B4-BE49-F238E27FC236}">
                <a16:creationId xmlns:a16="http://schemas.microsoft.com/office/drawing/2014/main" id="{8E31E916-AF2A-4733-998C-839A7F4E7A10}"/>
              </a:ext>
            </a:extLst>
          </p:cNvPr>
          <p:cNvSpPr/>
          <p:nvPr/>
        </p:nvSpPr>
        <p:spPr>
          <a:xfrm>
            <a:off x="4275713" y="3481571"/>
            <a:ext cx="3040084" cy="3040084"/>
          </a:xfrm>
          <a:prstGeom prst="ellipse">
            <a:avLst/>
          </a:prstGeom>
          <a:solidFill>
            <a:schemeClr val="accent3">
              <a:lumMod val="60000"/>
              <a:lumOff val="40000"/>
              <a:alpha val="29804"/>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ea typeface="+mn-ea"/>
              <a:cs typeface="+mn-cs"/>
            </a:endParaRPr>
          </a:p>
        </p:txBody>
      </p:sp>
      <p:sp>
        <p:nvSpPr>
          <p:cNvPr id="10" name="Freeform 6">
            <a:extLst>
              <a:ext uri="{FF2B5EF4-FFF2-40B4-BE49-F238E27FC236}">
                <a16:creationId xmlns:a16="http://schemas.microsoft.com/office/drawing/2014/main" id="{A72CF05D-45A2-484C-9FDF-CD3C2561B8A5}"/>
              </a:ext>
            </a:extLst>
          </p:cNvPr>
          <p:cNvSpPr/>
          <p:nvPr/>
        </p:nvSpPr>
        <p:spPr>
          <a:xfrm>
            <a:off x="6022376" y="1997156"/>
            <a:ext cx="2173184" cy="688769"/>
          </a:xfrm>
          <a:custGeom>
            <a:avLst/>
            <a:gdLst>
              <a:gd name="connsiteX0" fmla="*/ 0 w 2173184"/>
              <a:gd name="connsiteY0" fmla="*/ 0 h 688769"/>
              <a:gd name="connsiteX1" fmla="*/ 2173184 w 2173184"/>
              <a:gd name="connsiteY1" fmla="*/ 688769 h 688769"/>
            </a:gdLst>
            <a:ahLst/>
            <a:cxnLst>
              <a:cxn ang="0">
                <a:pos x="connsiteX0" y="connsiteY0"/>
              </a:cxn>
              <a:cxn ang="0">
                <a:pos x="connsiteX1" y="connsiteY1"/>
              </a:cxn>
            </a:cxnLst>
            <a:rect l="l" t="t" r="r" b="b"/>
            <a:pathLst>
              <a:path w="2173184" h="688769">
                <a:moveTo>
                  <a:pt x="0" y="0"/>
                </a:moveTo>
                <a:cubicBezTo>
                  <a:pt x="907472" y="209797"/>
                  <a:pt x="1814945" y="419595"/>
                  <a:pt x="2173184" y="688769"/>
                </a:cubicBezTo>
              </a:path>
            </a:pathLst>
          </a:cu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ea typeface="+mn-ea"/>
              <a:cs typeface="+mn-cs"/>
            </a:endParaRPr>
          </a:p>
        </p:txBody>
      </p:sp>
      <p:cxnSp>
        <p:nvCxnSpPr>
          <p:cNvPr id="11" name="Straight Connector 10">
            <a:extLst>
              <a:ext uri="{FF2B5EF4-FFF2-40B4-BE49-F238E27FC236}">
                <a16:creationId xmlns:a16="http://schemas.microsoft.com/office/drawing/2014/main" id="{11CC2E8D-B172-4DDE-82BE-66FA67E505BF}"/>
              </a:ext>
            </a:extLst>
          </p:cNvPr>
          <p:cNvCxnSpPr/>
          <p:nvPr/>
        </p:nvCxnSpPr>
        <p:spPr>
          <a:xfrm flipH="1">
            <a:off x="2611004" y="2005215"/>
            <a:ext cx="1352843" cy="0"/>
          </a:xfrm>
          <a:prstGeom prst="line">
            <a:avLst/>
          </a:prstGeom>
          <a:ln w="28575" cmpd="sng">
            <a:solidFill>
              <a:schemeClr val="bg1">
                <a:lumMod val="65000"/>
              </a:schemeClr>
            </a:solidFill>
            <a:prstDash val="sysDot"/>
          </a:ln>
          <a:effectLst/>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160AE24E-D7DA-4B05-8C01-BD7D00ABEAA9}"/>
              </a:ext>
            </a:extLst>
          </p:cNvPr>
          <p:cNvSpPr txBox="1"/>
          <p:nvPr/>
        </p:nvSpPr>
        <p:spPr>
          <a:xfrm>
            <a:off x="9027377" y="1955037"/>
            <a:ext cx="2621173" cy="2908489"/>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prstClr val="black"/>
                </a:solidFill>
                <a:effectLst/>
                <a:uLnTx/>
                <a:uFillTx/>
                <a:ea typeface="Ubuntu Medium" charset="0"/>
                <a:cs typeface="Ubuntu Medium" charset="0"/>
              </a:rPr>
              <a:t>Support the delivery and </a:t>
            </a:r>
            <a:br>
              <a:rPr kumimoji="0" lang="en-US" sz="1100" b="0" i="1" u="none" strike="noStrike" kern="1200" cap="none" spc="0" normalizeH="0" baseline="0" noProof="0" dirty="0">
                <a:ln>
                  <a:noFill/>
                </a:ln>
                <a:solidFill>
                  <a:prstClr val="black"/>
                </a:solidFill>
                <a:effectLst/>
                <a:uLnTx/>
                <a:uFillTx/>
                <a:ea typeface="Ubuntu Medium" charset="0"/>
                <a:cs typeface="Ubuntu Medium" charset="0"/>
              </a:rPr>
            </a:br>
            <a:r>
              <a:rPr kumimoji="0" lang="en-US" sz="1100" b="0" i="1" u="none" strike="noStrike" kern="1200" cap="none" spc="0" normalizeH="0" baseline="0" noProof="0" dirty="0">
                <a:ln>
                  <a:noFill/>
                </a:ln>
                <a:solidFill>
                  <a:prstClr val="black"/>
                </a:solidFill>
                <a:effectLst/>
                <a:uLnTx/>
                <a:uFillTx/>
                <a:ea typeface="Ubuntu Medium" charset="0"/>
                <a:cs typeface="Ubuntu Medium" charset="0"/>
              </a:rPr>
              <a:t>adherence to the standards that drive incentive payouts</a:t>
            </a:r>
          </a:p>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prstClr val="black"/>
                </a:solidFill>
                <a:effectLst/>
                <a:uLnTx/>
                <a:uFillTx/>
                <a:ea typeface="Ubuntu Medium" charset="0"/>
                <a:cs typeface="Ubuntu Medium" charset="0"/>
              </a:rPr>
              <a:t>Review annually for business relevance and alignment changes </a:t>
            </a:r>
            <a:br>
              <a:rPr kumimoji="0" lang="en-US" sz="1100" b="0" i="1" u="none" strike="noStrike" kern="1200" cap="none" spc="0" normalizeH="0" baseline="0" noProof="0" dirty="0">
                <a:ln>
                  <a:noFill/>
                </a:ln>
                <a:solidFill>
                  <a:prstClr val="black"/>
                </a:solidFill>
                <a:effectLst/>
                <a:uLnTx/>
                <a:uFillTx/>
                <a:ea typeface="Ubuntu Medium" charset="0"/>
                <a:cs typeface="Ubuntu Medium" charset="0"/>
              </a:rPr>
            </a:br>
            <a:r>
              <a:rPr kumimoji="0" lang="en-US" sz="1100" b="0" i="1" u="none" strike="noStrike" kern="1200" cap="none" spc="0" normalizeH="0" baseline="0" noProof="0" dirty="0">
                <a:ln>
                  <a:noFill/>
                </a:ln>
                <a:solidFill>
                  <a:prstClr val="black"/>
                </a:solidFill>
                <a:effectLst/>
                <a:uLnTx/>
                <a:uFillTx/>
                <a:ea typeface="Ubuntu Medium" charset="0"/>
                <a:cs typeface="Ubuntu Medium" charset="0"/>
              </a:rPr>
              <a:t>in standards/policies</a:t>
            </a:r>
          </a:p>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prstClr val="black"/>
                </a:solidFill>
                <a:effectLst/>
                <a:uLnTx/>
                <a:uFillTx/>
                <a:ea typeface="Ubuntu Medium" charset="0"/>
                <a:cs typeface="Ubuntu Medium" charset="0"/>
              </a:rPr>
              <a:t>Tactically they should: </a:t>
            </a:r>
          </a:p>
          <a:p>
            <a:pPr marL="45720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1" u="none" strike="noStrike" kern="1200" cap="none" spc="0" normalizeH="0" baseline="0" noProof="0" dirty="0">
                <a:ln>
                  <a:noFill/>
                </a:ln>
                <a:solidFill>
                  <a:prstClr val="black"/>
                </a:solidFill>
                <a:effectLst/>
                <a:uLnTx/>
                <a:uFillTx/>
                <a:ea typeface="Ubuntu Medium" charset="0"/>
                <a:cs typeface="Ubuntu Medium" charset="0"/>
              </a:rPr>
              <a:t>Reflect current state of business</a:t>
            </a:r>
          </a:p>
          <a:p>
            <a:pPr marL="45720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1" u="none" strike="noStrike" kern="1200" cap="none" spc="0" normalizeH="0" baseline="0" noProof="0" dirty="0">
                <a:ln>
                  <a:noFill/>
                </a:ln>
                <a:solidFill>
                  <a:prstClr val="black"/>
                </a:solidFill>
                <a:effectLst/>
                <a:uLnTx/>
                <a:uFillTx/>
                <a:ea typeface="Ubuntu Medium" charset="0"/>
                <a:cs typeface="Ubuntu Medium" charset="0"/>
              </a:rPr>
              <a:t>Provide leading indicators</a:t>
            </a:r>
          </a:p>
          <a:p>
            <a:pPr marL="45720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1" u="none" strike="noStrike" kern="1200" cap="none" spc="0" normalizeH="0" baseline="0" noProof="0" dirty="0">
                <a:ln>
                  <a:noFill/>
                </a:ln>
                <a:solidFill>
                  <a:prstClr val="black"/>
                </a:solidFill>
                <a:effectLst/>
                <a:uLnTx/>
                <a:uFillTx/>
                <a:ea typeface="Ubuntu Medium" charset="0"/>
                <a:cs typeface="Ubuntu Medium" charset="0"/>
              </a:rPr>
              <a:t>Be more nimble</a:t>
            </a:r>
          </a:p>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prstClr val="black"/>
                </a:solidFill>
                <a:effectLst/>
                <a:uLnTx/>
                <a:uFillTx/>
                <a:ea typeface="Ubuntu Medium" charset="0"/>
                <a:cs typeface="Ubuntu Medium" charset="0"/>
              </a:rPr>
              <a:t>Strategically they should:</a:t>
            </a:r>
          </a:p>
          <a:p>
            <a:pPr marL="45720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1" u="none" strike="noStrike" kern="1200" cap="none" spc="0" normalizeH="0" baseline="0" noProof="0" dirty="0">
                <a:ln>
                  <a:noFill/>
                </a:ln>
                <a:solidFill>
                  <a:prstClr val="black"/>
                </a:solidFill>
                <a:effectLst/>
                <a:uLnTx/>
                <a:uFillTx/>
                <a:ea typeface="Ubuntu Medium" charset="0"/>
                <a:cs typeface="Ubuntu Medium" charset="0"/>
              </a:rPr>
              <a:t>Measure progress towards longer term goals</a:t>
            </a:r>
          </a:p>
          <a:p>
            <a:pPr marL="45720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1" u="none" strike="noStrike" kern="1200" cap="none" spc="0" normalizeH="0" baseline="0" noProof="0" dirty="0">
                <a:ln>
                  <a:noFill/>
                </a:ln>
                <a:solidFill>
                  <a:prstClr val="black"/>
                </a:solidFill>
                <a:effectLst/>
                <a:uLnTx/>
                <a:uFillTx/>
                <a:ea typeface="Ubuntu Medium" charset="0"/>
                <a:cs typeface="Ubuntu Medium" charset="0"/>
              </a:rPr>
              <a:t>Move slower</a:t>
            </a:r>
          </a:p>
        </p:txBody>
      </p:sp>
      <p:sp>
        <p:nvSpPr>
          <p:cNvPr id="13" name="TextBox 12">
            <a:extLst>
              <a:ext uri="{FF2B5EF4-FFF2-40B4-BE49-F238E27FC236}">
                <a16:creationId xmlns:a16="http://schemas.microsoft.com/office/drawing/2014/main" id="{C138B1CA-922C-4F14-BC0D-15342894A8EA}"/>
              </a:ext>
            </a:extLst>
          </p:cNvPr>
          <p:cNvSpPr txBox="1"/>
          <p:nvPr/>
        </p:nvSpPr>
        <p:spPr>
          <a:xfrm>
            <a:off x="8548224" y="5414069"/>
            <a:ext cx="2914204" cy="1246495"/>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prstClr val="black"/>
                </a:solidFill>
                <a:effectLst/>
                <a:uLnTx/>
                <a:uFillTx/>
                <a:ea typeface="Ubuntu Medium" charset="0"/>
                <a:cs typeface="Ubuntu Medium" charset="0"/>
              </a:rPr>
              <a:t>Tactical components: </a:t>
            </a:r>
          </a:p>
          <a:p>
            <a:pPr marL="45720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1" u="none" strike="noStrike" kern="1200" cap="none" spc="0" normalizeH="0" baseline="0" noProof="0" dirty="0">
                <a:ln>
                  <a:noFill/>
                </a:ln>
                <a:solidFill>
                  <a:prstClr val="black"/>
                </a:solidFill>
                <a:effectLst/>
                <a:uLnTx/>
                <a:uFillTx/>
                <a:ea typeface="Ubuntu Medium" charset="0"/>
                <a:cs typeface="Ubuntu Medium" charset="0"/>
              </a:rPr>
              <a:t>Monthly/quarterly programs that address performance needs</a:t>
            </a:r>
          </a:p>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prstClr val="black"/>
                </a:solidFill>
                <a:effectLst/>
                <a:uLnTx/>
                <a:uFillTx/>
                <a:ea typeface="Ubuntu Medium" charset="0"/>
                <a:cs typeface="Ubuntu Medium" charset="0"/>
              </a:rPr>
              <a:t>Strategic Components:</a:t>
            </a:r>
          </a:p>
          <a:p>
            <a:pPr marL="45720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0" i="1" u="none" strike="noStrike" kern="1200" cap="none" spc="0" normalizeH="0" baseline="0" noProof="0" dirty="0">
                <a:ln>
                  <a:noFill/>
                </a:ln>
                <a:solidFill>
                  <a:prstClr val="black"/>
                </a:solidFill>
                <a:effectLst/>
                <a:uLnTx/>
                <a:uFillTx/>
                <a:ea typeface="Ubuntu Medium" charset="0"/>
                <a:cs typeface="Ubuntu Medium" charset="0"/>
              </a:rPr>
              <a:t>Annual programs that </a:t>
            </a:r>
            <a:br>
              <a:rPr kumimoji="0" lang="en-US" sz="1100" b="0" i="1" u="none" strike="noStrike" kern="1200" cap="none" spc="0" normalizeH="0" baseline="0" noProof="0" dirty="0">
                <a:ln>
                  <a:noFill/>
                </a:ln>
                <a:solidFill>
                  <a:prstClr val="black"/>
                </a:solidFill>
                <a:effectLst/>
                <a:uLnTx/>
                <a:uFillTx/>
                <a:ea typeface="Ubuntu Medium" charset="0"/>
                <a:cs typeface="Ubuntu Medium" charset="0"/>
              </a:rPr>
            </a:br>
            <a:r>
              <a:rPr kumimoji="0" lang="en-US" sz="1100" b="0" i="1" u="none" strike="noStrike" kern="1200" cap="none" spc="0" normalizeH="0" baseline="0" noProof="0" dirty="0">
                <a:ln>
                  <a:noFill/>
                </a:ln>
                <a:solidFill>
                  <a:prstClr val="black"/>
                </a:solidFill>
                <a:effectLst/>
                <a:uLnTx/>
                <a:uFillTx/>
                <a:ea typeface="Ubuntu Medium" charset="0"/>
                <a:cs typeface="Ubuntu Medium" charset="0"/>
              </a:rPr>
              <a:t>remain consistent </a:t>
            </a:r>
          </a:p>
        </p:txBody>
      </p:sp>
      <p:sp>
        <p:nvSpPr>
          <p:cNvPr id="14" name="TextBox 13">
            <a:extLst>
              <a:ext uri="{FF2B5EF4-FFF2-40B4-BE49-F238E27FC236}">
                <a16:creationId xmlns:a16="http://schemas.microsoft.com/office/drawing/2014/main" id="{9D8DD984-C1DC-4CB1-9426-17818734A893}"/>
              </a:ext>
            </a:extLst>
          </p:cNvPr>
          <p:cNvSpPr txBox="1"/>
          <p:nvPr/>
        </p:nvSpPr>
        <p:spPr>
          <a:xfrm>
            <a:off x="391970" y="5387410"/>
            <a:ext cx="2731775" cy="830997"/>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prstClr val="black"/>
                </a:solidFill>
                <a:effectLst/>
                <a:uLnTx/>
                <a:uFillTx/>
                <a:ea typeface="Ubuntu Medium" charset="0"/>
                <a:cs typeface="Ubuntu Medium" charset="0"/>
              </a:rPr>
              <a:t>Leverage the established metrics that are based on published standards</a:t>
            </a:r>
          </a:p>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prstClr val="black"/>
                </a:solidFill>
                <a:effectLst/>
                <a:uLnTx/>
                <a:uFillTx/>
                <a:ea typeface="Ubuntu Medium" charset="0"/>
                <a:cs typeface="Ubuntu Medium" charset="0"/>
              </a:rPr>
              <a:t>Based on individual dealer performance against peer groups</a:t>
            </a:r>
          </a:p>
        </p:txBody>
      </p:sp>
      <p:cxnSp>
        <p:nvCxnSpPr>
          <p:cNvPr id="15" name="Straight Connector 14">
            <a:extLst>
              <a:ext uri="{FF2B5EF4-FFF2-40B4-BE49-F238E27FC236}">
                <a16:creationId xmlns:a16="http://schemas.microsoft.com/office/drawing/2014/main" id="{D0B7BA7F-9336-457D-9EEA-74B9E38B0389}"/>
              </a:ext>
            </a:extLst>
          </p:cNvPr>
          <p:cNvCxnSpPr/>
          <p:nvPr/>
        </p:nvCxnSpPr>
        <p:spPr>
          <a:xfrm flipH="1">
            <a:off x="3214591" y="5452169"/>
            <a:ext cx="907238" cy="0"/>
          </a:xfrm>
          <a:prstGeom prst="line">
            <a:avLst/>
          </a:prstGeom>
          <a:ln w="28575" cmpd="sng">
            <a:solidFill>
              <a:schemeClr val="accent3"/>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C1E407DC-0120-4316-95C4-D7BDC0CFADE3}"/>
              </a:ext>
            </a:extLst>
          </p:cNvPr>
          <p:cNvCxnSpPr/>
          <p:nvPr/>
        </p:nvCxnSpPr>
        <p:spPr>
          <a:xfrm flipH="1">
            <a:off x="7497474" y="5464327"/>
            <a:ext cx="907238" cy="0"/>
          </a:xfrm>
          <a:prstGeom prst="line">
            <a:avLst/>
          </a:prstGeom>
          <a:ln w="28575" cmpd="sng">
            <a:solidFill>
              <a:schemeClr val="accent3"/>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0F5FD994-F6D6-45B5-B8CE-080234757EEA}"/>
              </a:ext>
            </a:extLst>
          </p:cNvPr>
          <p:cNvCxnSpPr/>
          <p:nvPr/>
        </p:nvCxnSpPr>
        <p:spPr>
          <a:xfrm flipH="1">
            <a:off x="7562231" y="2005215"/>
            <a:ext cx="1352843" cy="0"/>
          </a:xfrm>
          <a:prstGeom prst="line">
            <a:avLst/>
          </a:prstGeom>
          <a:ln w="28575" cmpd="sng">
            <a:solidFill>
              <a:schemeClr val="accent2">
                <a:lumMod val="60000"/>
                <a:lumOff val="40000"/>
              </a:schemeClr>
            </a:solidFill>
            <a:prstDash val="sysDot"/>
          </a:ln>
          <a:effectLst/>
        </p:spPr>
        <p:style>
          <a:lnRef idx="2">
            <a:schemeClr val="accent1"/>
          </a:lnRef>
          <a:fillRef idx="0">
            <a:schemeClr val="accent1"/>
          </a:fillRef>
          <a:effectRef idx="1">
            <a:schemeClr val="accent1"/>
          </a:effectRef>
          <a:fontRef idx="minor">
            <a:schemeClr val="tx1"/>
          </a:fontRef>
        </p:style>
      </p:cxnSp>
      <p:pic>
        <p:nvPicPr>
          <p:cNvPr id="19" name="Picture 18">
            <a:extLst>
              <a:ext uri="{FF2B5EF4-FFF2-40B4-BE49-F238E27FC236}">
                <a16:creationId xmlns:a16="http://schemas.microsoft.com/office/drawing/2014/main" id="{A1D19A59-9FD4-4DA6-80D9-EFB93A45F264}"/>
              </a:ext>
            </a:extLst>
          </p:cNvPr>
          <p:cNvPicPr>
            <a:picLocks noChangeAspect="1"/>
          </p:cNvPicPr>
          <p:nvPr/>
        </p:nvPicPr>
        <p:blipFill rotWithShape="1">
          <a:blip r:embed="rId8" cstate="screen">
            <a:grayscl/>
            <a:extLst>
              <a:ext uri="{28A0092B-C50C-407E-A947-70E740481C1C}">
                <a14:useLocalDpi xmlns:a14="http://schemas.microsoft.com/office/drawing/2010/main" val="0"/>
              </a:ext>
            </a:extLst>
          </a:blip>
          <a:srcRect/>
          <a:stretch/>
        </p:blipFill>
        <p:spPr>
          <a:xfrm>
            <a:off x="5931614" y="7995158"/>
            <a:ext cx="6151415" cy="5343789"/>
          </a:xfrm>
          <a:prstGeom prst="rect">
            <a:avLst/>
          </a:prstGeom>
        </p:spPr>
      </p:pic>
      <p:sp>
        <p:nvSpPr>
          <p:cNvPr id="20" name="TextBox 19">
            <a:extLst>
              <a:ext uri="{FF2B5EF4-FFF2-40B4-BE49-F238E27FC236}">
                <a16:creationId xmlns:a16="http://schemas.microsoft.com/office/drawing/2014/main" id="{3F5A591C-2E5A-42AC-936C-C674822441A6}"/>
              </a:ext>
            </a:extLst>
          </p:cNvPr>
          <p:cNvSpPr txBox="1"/>
          <p:nvPr/>
        </p:nvSpPr>
        <p:spPr>
          <a:xfrm>
            <a:off x="4817508" y="5015170"/>
            <a:ext cx="1945823" cy="110799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prstClr val="white">
                    <a:lumMod val="50000"/>
                  </a:prstClr>
                </a:solidFill>
                <a:ea typeface="Calibri" charset="0"/>
                <a:cs typeface="Calibri" charset="0"/>
              </a:rPr>
              <a:t>Incentiv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lumMod val="65000"/>
                    <a:lumOff val="35000"/>
                  </a:prstClr>
                </a:solidFill>
                <a:effectLst/>
                <a:uLnTx/>
                <a:uFillTx/>
                <a:ea typeface="Calibri" charset="0"/>
                <a:cs typeface="Calibri" charset="0"/>
              </a:rPr>
              <a:t>Programs derived as a function of metric targets and balanced between tactical needs and strategic direc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46A38"/>
              </a:solidFill>
              <a:effectLst/>
              <a:uLnTx/>
              <a:uFillTx/>
              <a:ea typeface="+mn-ea"/>
              <a:cs typeface="+mn-cs"/>
            </a:endParaRPr>
          </a:p>
        </p:txBody>
      </p:sp>
      <p:sp>
        <p:nvSpPr>
          <p:cNvPr id="21" name="TextBox 20">
            <a:extLst>
              <a:ext uri="{FF2B5EF4-FFF2-40B4-BE49-F238E27FC236}">
                <a16:creationId xmlns:a16="http://schemas.microsoft.com/office/drawing/2014/main" id="{1DA0B147-9C3E-4310-99DD-15EDB5C29B12}"/>
              </a:ext>
            </a:extLst>
          </p:cNvPr>
          <p:cNvSpPr txBox="1"/>
          <p:nvPr/>
        </p:nvSpPr>
        <p:spPr>
          <a:xfrm>
            <a:off x="5182262" y="3492612"/>
            <a:ext cx="1209369" cy="84638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ea typeface="+mn-ea"/>
                <a:cs typeface="+mn-cs"/>
              </a:rPr>
              <a:t>Integrated Program of Standards, Metrics, and Incentives</a:t>
            </a:r>
          </a:p>
        </p:txBody>
      </p:sp>
      <p:sp>
        <p:nvSpPr>
          <p:cNvPr id="22" name="TextBox 21">
            <a:extLst>
              <a:ext uri="{FF2B5EF4-FFF2-40B4-BE49-F238E27FC236}">
                <a16:creationId xmlns:a16="http://schemas.microsoft.com/office/drawing/2014/main" id="{CCD4E2A2-AC3B-4DCA-B91C-3F456D620D56}"/>
              </a:ext>
            </a:extLst>
          </p:cNvPr>
          <p:cNvSpPr txBox="1"/>
          <p:nvPr/>
        </p:nvSpPr>
        <p:spPr>
          <a:xfrm>
            <a:off x="6807505" y="2628108"/>
            <a:ext cx="1111327" cy="120032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lumMod val="50000"/>
                  </a:schemeClr>
                </a:solidFill>
                <a:effectLst/>
                <a:uLnTx/>
                <a:uFillTx/>
                <a:ea typeface="Calibri" charset="0"/>
                <a:cs typeface="Calibri" charset="0"/>
              </a:rPr>
              <a:t>Metric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lumMod val="65000"/>
                    <a:lumOff val="35000"/>
                  </a:prstClr>
                </a:solidFill>
                <a:effectLst/>
                <a:uLnTx/>
                <a:uFillTx/>
                <a:ea typeface="Calibri" charset="0"/>
                <a:cs typeface="Calibri" charset="0"/>
              </a:rPr>
              <a:t>Quantitative elements that </a:t>
            </a:r>
            <a:br>
              <a:rPr kumimoji="0" lang="en-US" sz="1100" b="0" i="0" u="none" strike="noStrike" kern="0" cap="none" spc="0" normalizeH="0" baseline="0" noProof="0" dirty="0">
                <a:ln>
                  <a:noFill/>
                </a:ln>
                <a:solidFill>
                  <a:prstClr val="black">
                    <a:lumMod val="65000"/>
                    <a:lumOff val="35000"/>
                  </a:prstClr>
                </a:solidFill>
                <a:effectLst/>
                <a:uLnTx/>
                <a:uFillTx/>
                <a:ea typeface="Calibri" charset="0"/>
                <a:cs typeface="Calibri" charset="0"/>
              </a:rPr>
            </a:br>
            <a:r>
              <a:rPr kumimoji="0" lang="en-US" sz="1100" b="0" i="0" u="none" strike="noStrike" kern="0" cap="none" spc="0" normalizeH="0" baseline="0" noProof="0" dirty="0">
                <a:ln>
                  <a:noFill/>
                </a:ln>
                <a:solidFill>
                  <a:prstClr val="black">
                    <a:lumMod val="65000"/>
                    <a:lumOff val="35000"/>
                  </a:prstClr>
                </a:solidFill>
                <a:effectLst/>
                <a:uLnTx/>
                <a:uFillTx/>
                <a:ea typeface="Calibri" charset="0"/>
                <a:cs typeface="Calibri" charset="0"/>
              </a:rPr>
              <a:t>measure relevant performance criteria</a:t>
            </a:r>
          </a:p>
        </p:txBody>
      </p:sp>
      <p:sp>
        <p:nvSpPr>
          <p:cNvPr id="23" name="TextBox 22">
            <a:extLst>
              <a:ext uri="{FF2B5EF4-FFF2-40B4-BE49-F238E27FC236}">
                <a16:creationId xmlns:a16="http://schemas.microsoft.com/office/drawing/2014/main" id="{870E28F7-9886-43B8-94C8-034EB5D1452C}"/>
              </a:ext>
            </a:extLst>
          </p:cNvPr>
          <p:cNvSpPr txBox="1"/>
          <p:nvPr/>
        </p:nvSpPr>
        <p:spPr>
          <a:xfrm>
            <a:off x="3634269" y="2628108"/>
            <a:ext cx="1547994" cy="13952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prstClr val="white">
                    <a:lumMod val="50000"/>
                  </a:prstClr>
                </a:solidFill>
                <a:effectLst/>
                <a:uLnTx/>
                <a:uFillTx/>
                <a:ea typeface="Calibri" charset="0"/>
                <a:cs typeface="Calibri" charset="0"/>
              </a:rPr>
              <a:t>Standard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lumMod val="65000"/>
                    <a:lumOff val="35000"/>
                  </a:prstClr>
                </a:solidFill>
                <a:effectLst/>
                <a:uLnTx/>
                <a:uFillTx/>
                <a:ea typeface="Calibri" charset="0"/>
                <a:cs typeface="Calibri" charset="0"/>
              </a:rPr>
              <a:t>Comprehensive and meaningful requirements that are structured with the intent to drive value, consistency and transparency</a:t>
            </a:r>
          </a:p>
        </p:txBody>
      </p:sp>
      <p:sp>
        <p:nvSpPr>
          <p:cNvPr id="24" name="TextBox 23">
            <a:extLst>
              <a:ext uri="{FF2B5EF4-FFF2-40B4-BE49-F238E27FC236}">
                <a16:creationId xmlns:a16="http://schemas.microsoft.com/office/drawing/2014/main" id="{A63C9F4C-AB1C-4205-90C4-ECCE7CD6A206}"/>
              </a:ext>
            </a:extLst>
          </p:cNvPr>
          <p:cNvSpPr txBox="1"/>
          <p:nvPr/>
        </p:nvSpPr>
        <p:spPr>
          <a:xfrm>
            <a:off x="996253" y="2244026"/>
            <a:ext cx="2098759" cy="2330510"/>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prstClr val="black"/>
                </a:solidFill>
                <a:effectLst/>
                <a:uLnTx/>
                <a:uFillTx/>
                <a:ea typeface="Ubuntu Medium" charset="0"/>
                <a:cs typeface="Ubuntu Medium" charset="0"/>
              </a:rPr>
              <a:t>Establish a stable set of “core values” that can be adjusted on an annual basis to retain business relevance</a:t>
            </a:r>
          </a:p>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prstClr val="black"/>
                </a:solidFill>
                <a:effectLst/>
                <a:uLnTx/>
                <a:uFillTx/>
                <a:ea typeface="Ubuntu Medium" charset="0"/>
                <a:cs typeface="Ubuntu Medium" charset="0"/>
              </a:rPr>
              <a:t>Provide dealers with guidance on quality and customer interaction</a:t>
            </a:r>
          </a:p>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prstClr val="black"/>
                </a:solidFill>
                <a:effectLst/>
                <a:uLnTx/>
                <a:uFillTx/>
                <a:ea typeface="Ubuntu Medium" charset="0"/>
                <a:cs typeface="Ubuntu Medium" charset="0"/>
              </a:rPr>
              <a:t>Provide customers with transparency, consistency, and ease of shopping/buying </a:t>
            </a:r>
          </a:p>
          <a:p>
            <a:pPr marL="0" marR="0" lvl="0" indent="0" algn="r" defTabSz="914400" rtl="0" eaLnBrk="1" fontAlgn="auto" latinLnBrk="0" hangingPunct="1">
              <a:lnSpc>
                <a:spcPct val="110000"/>
              </a:lnSpc>
              <a:spcBef>
                <a:spcPts val="600"/>
              </a:spcBef>
              <a:spcAft>
                <a:spcPts val="600"/>
              </a:spcAft>
              <a:buClrTx/>
              <a:buSzTx/>
              <a:buFontTx/>
              <a:buNone/>
              <a:tabLst/>
              <a:defRPr/>
            </a:pPr>
            <a:endParaRPr kumimoji="0" lang="en-US" sz="1100" b="0" i="1" u="none" strike="noStrike" kern="1200" cap="none" spc="0" normalizeH="0" baseline="0" noProof="0" dirty="0">
              <a:ln>
                <a:noFill/>
              </a:ln>
              <a:solidFill>
                <a:prstClr val="black"/>
              </a:solidFill>
              <a:effectLst/>
              <a:uLnTx/>
              <a:uFillTx/>
              <a:ea typeface="Calibri" charset="0"/>
              <a:cs typeface="Calibri" charset="0"/>
            </a:endParaRPr>
          </a:p>
        </p:txBody>
      </p:sp>
    </p:spTree>
    <p:extLst>
      <p:ext uri="{BB962C8B-B14F-4D97-AF65-F5344CB8AC3E}">
        <p14:creationId xmlns:p14="http://schemas.microsoft.com/office/powerpoint/2010/main" val="666414621"/>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ct 42" hidden="1">
            <a:extLst>
              <a:ext uri="{FF2B5EF4-FFF2-40B4-BE49-F238E27FC236}">
                <a16:creationId xmlns:a16="http://schemas.microsoft.com/office/drawing/2014/main" id="{3C4A2EB8-F958-4127-998F-7C759874A35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348" name="think-cell Slide" r:id="rId6" imgW="395" imgH="396" progId="TCLayout.ActiveDocument.1">
                  <p:embed/>
                </p:oleObj>
              </mc:Choice>
              <mc:Fallback>
                <p:oleObj name="think-cell Slide" r:id="rId6" imgW="395" imgH="396" progId="TCLayout.ActiveDocument.1">
                  <p:embed/>
                  <p:pic>
                    <p:nvPicPr>
                      <p:cNvPr id="43" name="Object 42" hidden="1">
                        <a:extLst>
                          <a:ext uri="{FF2B5EF4-FFF2-40B4-BE49-F238E27FC236}">
                            <a16:creationId xmlns:a16="http://schemas.microsoft.com/office/drawing/2014/main" id="{3C4A2EB8-F958-4127-998F-7C759874A35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2" name="Rectangle 41" hidden="1">
            <a:extLst>
              <a:ext uri="{FF2B5EF4-FFF2-40B4-BE49-F238E27FC236}">
                <a16:creationId xmlns:a16="http://schemas.microsoft.com/office/drawing/2014/main" id="{96C64607-4FD6-4423-8C4A-099D1376B62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24833FEF-F754-4FAC-9F09-6C8788B9515F}"/>
              </a:ext>
            </a:extLst>
          </p:cNvPr>
          <p:cNvSpPr>
            <a:spLocks noGrp="1"/>
          </p:cNvSpPr>
          <p:nvPr>
            <p:ph type="title"/>
          </p:nvPr>
        </p:nvSpPr>
        <p:spPr/>
        <p:txBody>
          <a:bodyPr/>
          <a:lstStyle/>
          <a:p>
            <a:r>
              <a:rPr lang="en-US" dirty="0"/>
              <a:t>Diverse Perspectives</a:t>
            </a:r>
          </a:p>
        </p:txBody>
      </p:sp>
      <p:sp>
        <p:nvSpPr>
          <p:cNvPr id="3" name="Text Placeholder 2">
            <a:extLst>
              <a:ext uri="{FF2B5EF4-FFF2-40B4-BE49-F238E27FC236}">
                <a16:creationId xmlns:a16="http://schemas.microsoft.com/office/drawing/2014/main" id="{22AD6FD7-112C-4D1B-BCC4-018F54BBA3D6}"/>
              </a:ext>
            </a:extLst>
          </p:cNvPr>
          <p:cNvSpPr>
            <a:spLocks noGrp="1"/>
          </p:cNvSpPr>
          <p:nvPr>
            <p:ph type="body" sz="quarter" idx="14"/>
          </p:nvPr>
        </p:nvSpPr>
        <p:spPr/>
        <p:txBody>
          <a:bodyPr/>
          <a:lstStyle/>
          <a:p>
            <a:r>
              <a:rPr lang="en-US" dirty="0"/>
              <a:t>Throughout the assessment, we have gathered and analyzed various data sources to develop a well-rounded, diverse perspective on ways to help our OEM Client improve their strategy </a:t>
            </a:r>
          </a:p>
        </p:txBody>
      </p:sp>
      <p:sp>
        <p:nvSpPr>
          <p:cNvPr id="4" name="Text Placeholder 3">
            <a:extLst>
              <a:ext uri="{FF2B5EF4-FFF2-40B4-BE49-F238E27FC236}">
                <a16:creationId xmlns:a16="http://schemas.microsoft.com/office/drawing/2014/main" id="{3A9E9079-64A2-4377-9D29-A705A74FE2A7}"/>
              </a:ext>
            </a:extLst>
          </p:cNvPr>
          <p:cNvSpPr>
            <a:spLocks noGrp="1"/>
          </p:cNvSpPr>
          <p:nvPr>
            <p:ph type="body" sz="quarter" idx="15"/>
          </p:nvPr>
        </p:nvSpPr>
        <p:spPr>
          <a:xfrm>
            <a:off x="914970" y="466344"/>
            <a:ext cx="3809429" cy="113783"/>
          </a:xfrm>
        </p:spPr>
        <p:txBody>
          <a:bodyPr/>
          <a:lstStyle/>
          <a:p>
            <a:r>
              <a:rPr lang="en-US" dirty="0"/>
              <a:t>FRAMEWORKS &amp; CONCEPT ILLUSTRATION</a:t>
            </a:r>
          </a:p>
        </p:txBody>
      </p:sp>
      <p:sp>
        <p:nvSpPr>
          <p:cNvPr id="5" name="Title 2">
            <a:extLst>
              <a:ext uri="{FF2B5EF4-FFF2-40B4-BE49-F238E27FC236}">
                <a16:creationId xmlns:a16="http://schemas.microsoft.com/office/drawing/2014/main" id="{C020C7BC-E8EB-42B6-8238-FE6EA4D82198}"/>
              </a:ext>
            </a:extLst>
          </p:cNvPr>
          <p:cNvSpPr txBox="1">
            <a:spLocks/>
          </p:cNvSpPr>
          <p:nvPr/>
        </p:nvSpPr>
        <p:spPr>
          <a:xfrm>
            <a:off x="469900" y="402587"/>
            <a:ext cx="11252200"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sp>
        <p:nvSpPr>
          <p:cNvPr id="6" name="Text Placeholder 7">
            <a:extLst>
              <a:ext uri="{FF2B5EF4-FFF2-40B4-BE49-F238E27FC236}">
                <a16:creationId xmlns:a16="http://schemas.microsoft.com/office/drawing/2014/main" id="{A9958DFF-E809-40C1-A4E0-E029B14F34E2}"/>
              </a:ext>
            </a:extLst>
          </p:cNvPr>
          <p:cNvSpPr txBox="1">
            <a:spLocks/>
          </p:cNvSpPr>
          <p:nvPr/>
        </p:nvSpPr>
        <p:spPr>
          <a:xfrm>
            <a:off x="224844" y="1796793"/>
            <a:ext cx="11252200" cy="757255"/>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600" dirty="0"/>
          </a:p>
        </p:txBody>
      </p:sp>
      <p:sp>
        <p:nvSpPr>
          <p:cNvPr id="7" name="Rectangle 6">
            <a:extLst>
              <a:ext uri="{FF2B5EF4-FFF2-40B4-BE49-F238E27FC236}">
                <a16:creationId xmlns:a16="http://schemas.microsoft.com/office/drawing/2014/main" id="{60DB4E7E-FF5A-4581-B58F-2FE3A8978015}"/>
              </a:ext>
            </a:extLst>
          </p:cNvPr>
          <p:cNvSpPr/>
          <p:nvPr/>
        </p:nvSpPr>
        <p:spPr bwMode="gray">
          <a:xfrm>
            <a:off x="0" y="5742890"/>
            <a:ext cx="12192000" cy="648766"/>
          </a:xfrm>
          <a:prstGeom prst="rect">
            <a:avLst/>
          </a:prstGeom>
          <a:solidFill>
            <a:schemeClr val="bg1">
              <a:lumMod val="85000"/>
            </a:schemeClr>
          </a:solidFill>
          <a:ln w="19050" algn="ctr">
            <a:noFill/>
            <a:miter lim="800000"/>
            <a:headEnd/>
            <a:tailEnd/>
          </a:ln>
        </p:spPr>
        <p:txBody>
          <a:bodyPr wrap="square" lIns="914400" tIns="88900" rIns="9144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prstClr val="black"/>
                </a:solidFill>
                <a:effectLst/>
                <a:uLnTx/>
                <a:uFillTx/>
                <a:ea typeface="+mn-ea"/>
                <a:cs typeface="+mn-cs"/>
              </a:rPr>
              <a:t>Our analysis of </a:t>
            </a:r>
            <a:r>
              <a:rPr kumimoji="0" lang="en-US" sz="1400" b="1" i="1" u="none" strike="noStrike" kern="1200" cap="none" spc="0" normalizeH="0" baseline="0" noProof="0" dirty="0">
                <a:ln>
                  <a:noFill/>
                </a:ln>
                <a:solidFill>
                  <a:prstClr val="black"/>
                </a:solidFill>
                <a:effectLst/>
                <a:uLnTx/>
                <a:uFillTx/>
                <a:ea typeface="+mn-ea"/>
                <a:cs typeface="+mn-cs"/>
              </a:rPr>
              <a:t>diverse data sources provides a basis and support for each of the key </a:t>
            </a:r>
            <a:br>
              <a:rPr kumimoji="0" lang="en-US" sz="1400" b="1" i="1" u="none" strike="noStrike" kern="1200" cap="none" spc="0" normalizeH="0" baseline="0" noProof="0" dirty="0">
                <a:ln>
                  <a:noFill/>
                </a:ln>
                <a:solidFill>
                  <a:prstClr val="black"/>
                </a:solidFill>
                <a:effectLst/>
                <a:uLnTx/>
                <a:uFillTx/>
                <a:ea typeface="+mn-ea"/>
                <a:cs typeface="+mn-cs"/>
              </a:rPr>
            </a:br>
            <a:r>
              <a:rPr kumimoji="0" lang="en-US" sz="1400" b="1" i="1" u="none" strike="noStrike" kern="1200" cap="none" spc="0" normalizeH="0" baseline="0" noProof="0" dirty="0">
                <a:ln>
                  <a:noFill/>
                </a:ln>
                <a:solidFill>
                  <a:prstClr val="black"/>
                </a:solidFill>
                <a:effectLst/>
                <a:uLnTx/>
                <a:uFillTx/>
                <a:ea typeface="+mn-ea"/>
                <a:cs typeface="+mn-cs"/>
              </a:rPr>
              <a:t>opportunity areas </a:t>
            </a:r>
            <a:r>
              <a:rPr kumimoji="0" lang="en-US" sz="1400" b="0" i="1" u="none" strike="noStrike" kern="1200" cap="none" spc="0" normalizeH="0" baseline="0" noProof="0" dirty="0">
                <a:ln>
                  <a:noFill/>
                </a:ln>
                <a:solidFill>
                  <a:prstClr val="black"/>
                </a:solidFill>
                <a:effectLst/>
                <a:uLnTx/>
                <a:uFillTx/>
                <a:ea typeface="+mn-ea"/>
                <a:cs typeface="+mn-cs"/>
              </a:rPr>
              <a:t>we have identified to help improve OEM Client performance and strategy </a:t>
            </a:r>
            <a:endParaRPr kumimoji="0" lang="en-US" sz="1400" b="1" i="1" u="none" strike="noStrike" kern="1200" cap="none" spc="0" normalizeH="0" baseline="0" noProof="0" dirty="0">
              <a:ln>
                <a:noFill/>
              </a:ln>
              <a:solidFill>
                <a:prstClr val="black"/>
              </a:solidFill>
              <a:effectLst/>
              <a:uLnTx/>
              <a:uFillTx/>
              <a:ea typeface="+mn-ea"/>
              <a:cs typeface="+mn-cs"/>
            </a:endParaRPr>
          </a:p>
        </p:txBody>
      </p:sp>
      <p:sp>
        <p:nvSpPr>
          <p:cNvPr id="8" name="Oval 7">
            <a:extLst>
              <a:ext uri="{FF2B5EF4-FFF2-40B4-BE49-F238E27FC236}">
                <a16:creationId xmlns:a16="http://schemas.microsoft.com/office/drawing/2014/main" id="{C0D14632-D86A-427B-BC1C-9FF8DF6F1E31}"/>
              </a:ext>
            </a:extLst>
          </p:cNvPr>
          <p:cNvSpPr/>
          <p:nvPr/>
        </p:nvSpPr>
        <p:spPr>
          <a:xfrm>
            <a:off x="662940" y="1877360"/>
            <a:ext cx="2013735" cy="2056288"/>
          </a:xfrm>
          <a:prstGeom prst="ellipse">
            <a:avLst/>
          </a:prstGeom>
          <a:solidFill>
            <a:srgbClr val="787878">
              <a:lumMod val="20000"/>
              <a:lumOff val="80000"/>
              <a:alpha val="50000"/>
            </a:srgbClr>
          </a:solidFill>
          <a:ln w="889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mn-cs"/>
            </a:endParaRPr>
          </a:p>
        </p:txBody>
      </p:sp>
      <p:sp>
        <p:nvSpPr>
          <p:cNvPr id="9" name="Oval 8">
            <a:extLst>
              <a:ext uri="{FF2B5EF4-FFF2-40B4-BE49-F238E27FC236}">
                <a16:creationId xmlns:a16="http://schemas.microsoft.com/office/drawing/2014/main" id="{876E64BE-4F06-48EB-9721-9B3F03A3BA98}"/>
              </a:ext>
            </a:extLst>
          </p:cNvPr>
          <p:cNvSpPr/>
          <p:nvPr/>
        </p:nvSpPr>
        <p:spPr>
          <a:xfrm>
            <a:off x="2177265" y="1881781"/>
            <a:ext cx="2013735" cy="2056288"/>
          </a:xfrm>
          <a:prstGeom prst="ellipse">
            <a:avLst/>
          </a:prstGeom>
          <a:solidFill>
            <a:srgbClr val="787878">
              <a:lumMod val="20000"/>
              <a:lumOff val="80000"/>
              <a:alpha val="50000"/>
            </a:srgbClr>
          </a:solidFill>
          <a:ln w="889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mn-cs"/>
            </a:endParaRPr>
          </a:p>
        </p:txBody>
      </p:sp>
      <p:sp>
        <p:nvSpPr>
          <p:cNvPr id="10" name="Oval 9">
            <a:extLst>
              <a:ext uri="{FF2B5EF4-FFF2-40B4-BE49-F238E27FC236}">
                <a16:creationId xmlns:a16="http://schemas.microsoft.com/office/drawing/2014/main" id="{12F47A76-4059-4B5D-AB28-456533E392B8}"/>
              </a:ext>
            </a:extLst>
          </p:cNvPr>
          <p:cNvSpPr/>
          <p:nvPr/>
        </p:nvSpPr>
        <p:spPr>
          <a:xfrm>
            <a:off x="1420103" y="2929347"/>
            <a:ext cx="2013735" cy="2056288"/>
          </a:xfrm>
          <a:prstGeom prst="ellipse">
            <a:avLst/>
          </a:prstGeom>
          <a:solidFill>
            <a:srgbClr val="787878">
              <a:lumMod val="20000"/>
              <a:lumOff val="80000"/>
              <a:alpha val="50000"/>
            </a:srgbClr>
          </a:solidFill>
          <a:ln w="889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mn-cs"/>
            </a:endParaRPr>
          </a:p>
        </p:txBody>
      </p:sp>
      <p:cxnSp>
        <p:nvCxnSpPr>
          <p:cNvPr id="11" name="Straight Connector 10">
            <a:extLst>
              <a:ext uri="{FF2B5EF4-FFF2-40B4-BE49-F238E27FC236}">
                <a16:creationId xmlns:a16="http://schemas.microsoft.com/office/drawing/2014/main" id="{FB8B1F3B-55F5-4042-B7BA-99522537488E}"/>
              </a:ext>
            </a:extLst>
          </p:cNvPr>
          <p:cNvCxnSpPr/>
          <p:nvPr/>
        </p:nvCxnSpPr>
        <p:spPr>
          <a:xfrm flipV="1">
            <a:off x="1269670" y="3227630"/>
            <a:ext cx="792910" cy="1"/>
          </a:xfrm>
          <a:prstGeom prst="line">
            <a:avLst/>
          </a:prstGeom>
          <a:noFill/>
          <a:ln w="60960" cap="flat" cmpd="sng" algn="ctr">
            <a:solidFill>
              <a:srgbClr val="86F200"/>
            </a:solidFill>
            <a:prstDash val="solid"/>
            <a:miter lim="800000"/>
          </a:ln>
          <a:effectLst/>
        </p:spPr>
      </p:cxnSp>
      <p:cxnSp>
        <p:nvCxnSpPr>
          <p:cNvPr id="12" name="Straight Connector 11">
            <a:extLst>
              <a:ext uri="{FF2B5EF4-FFF2-40B4-BE49-F238E27FC236}">
                <a16:creationId xmlns:a16="http://schemas.microsoft.com/office/drawing/2014/main" id="{56AABFAA-6EF7-4503-9577-D0B7375D3E86}"/>
              </a:ext>
            </a:extLst>
          </p:cNvPr>
          <p:cNvCxnSpPr/>
          <p:nvPr/>
        </p:nvCxnSpPr>
        <p:spPr>
          <a:xfrm>
            <a:off x="2787677" y="3232639"/>
            <a:ext cx="792910" cy="0"/>
          </a:xfrm>
          <a:prstGeom prst="line">
            <a:avLst/>
          </a:prstGeom>
          <a:noFill/>
          <a:ln w="60960" cap="flat" cmpd="sng" algn="ctr">
            <a:solidFill>
              <a:srgbClr val="3EFAC5"/>
            </a:solidFill>
            <a:prstDash val="solid"/>
            <a:miter lim="800000"/>
          </a:ln>
          <a:effectLst/>
        </p:spPr>
      </p:cxnSp>
      <p:cxnSp>
        <p:nvCxnSpPr>
          <p:cNvPr id="13" name="Straight Connector 12">
            <a:extLst>
              <a:ext uri="{FF2B5EF4-FFF2-40B4-BE49-F238E27FC236}">
                <a16:creationId xmlns:a16="http://schemas.microsoft.com/office/drawing/2014/main" id="{96846C2D-AC74-4931-9EF1-0ACC8CAA2E87}"/>
              </a:ext>
            </a:extLst>
          </p:cNvPr>
          <p:cNvCxnSpPr/>
          <p:nvPr/>
        </p:nvCxnSpPr>
        <p:spPr>
          <a:xfrm>
            <a:off x="2030515" y="4407005"/>
            <a:ext cx="792910" cy="0"/>
          </a:xfrm>
          <a:prstGeom prst="line">
            <a:avLst/>
          </a:prstGeom>
          <a:noFill/>
          <a:ln w="60960" cap="flat" cmpd="sng" algn="ctr">
            <a:solidFill>
              <a:srgbClr val="FDD300"/>
            </a:solidFill>
            <a:prstDash val="solid"/>
            <a:miter lim="800000"/>
          </a:ln>
          <a:effectLst/>
        </p:spPr>
      </p:cxnSp>
      <p:sp>
        <p:nvSpPr>
          <p:cNvPr id="14" name="Text Placeholder 5">
            <a:extLst>
              <a:ext uri="{FF2B5EF4-FFF2-40B4-BE49-F238E27FC236}">
                <a16:creationId xmlns:a16="http://schemas.microsoft.com/office/drawing/2014/main" id="{35AF213B-29AE-4DCC-8FEA-EA37325D0870}"/>
              </a:ext>
            </a:extLst>
          </p:cNvPr>
          <p:cNvSpPr txBox="1">
            <a:spLocks/>
          </p:cNvSpPr>
          <p:nvPr/>
        </p:nvSpPr>
        <p:spPr>
          <a:xfrm>
            <a:off x="1053797" y="3018218"/>
            <a:ext cx="1224656" cy="460311"/>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1600" b="1" i="0" u="none" strike="noStrike" kern="1200" cap="none" spc="-30" normalizeH="0" baseline="0" noProof="0" dirty="0">
                <a:ln>
                  <a:noFill/>
                </a:ln>
                <a:solidFill>
                  <a:srgbClr val="000000"/>
                </a:solidFill>
                <a:effectLst/>
                <a:uLnTx/>
                <a:uFillTx/>
                <a:latin typeface="+mn-lt"/>
                <a:ea typeface="Chronicle Display Black" charset="0"/>
                <a:cs typeface="Chronicle Display Black" charset="0"/>
              </a:rPr>
              <a:t>Internal</a:t>
            </a:r>
          </a:p>
        </p:txBody>
      </p:sp>
      <p:sp>
        <p:nvSpPr>
          <p:cNvPr id="15" name="Text Placeholder 5">
            <a:extLst>
              <a:ext uri="{FF2B5EF4-FFF2-40B4-BE49-F238E27FC236}">
                <a16:creationId xmlns:a16="http://schemas.microsoft.com/office/drawing/2014/main" id="{02A88524-3702-481A-8157-2BFAFC93B792}"/>
              </a:ext>
            </a:extLst>
          </p:cNvPr>
          <p:cNvSpPr txBox="1">
            <a:spLocks/>
          </p:cNvSpPr>
          <p:nvPr/>
        </p:nvSpPr>
        <p:spPr>
          <a:xfrm>
            <a:off x="2571804" y="3011309"/>
            <a:ext cx="1224656" cy="460311"/>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1600" b="1" i="0" u="none" strike="noStrike" kern="1200" cap="none" spc="-30" normalizeH="0" baseline="0" noProof="0" dirty="0">
                <a:ln>
                  <a:noFill/>
                </a:ln>
                <a:solidFill>
                  <a:srgbClr val="000000"/>
                </a:solidFill>
                <a:effectLst/>
                <a:uLnTx/>
                <a:uFillTx/>
                <a:latin typeface="+mn-lt"/>
                <a:ea typeface="Chronicle Display Black" charset="0"/>
                <a:cs typeface="Chronicle Display Black" charset="0"/>
              </a:rPr>
              <a:t>Market</a:t>
            </a:r>
          </a:p>
        </p:txBody>
      </p:sp>
      <p:sp>
        <p:nvSpPr>
          <p:cNvPr id="16" name="Text Placeholder 5">
            <a:extLst>
              <a:ext uri="{FF2B5EF4-FFF2-40B4-BE49-F238E27FC236}">
                <a16:creationId xmlns:a16="http://schemas.microsoft.com/office/drawing/2014/main" id="{FF7EF45C-1EC5-46FB-B734-6B2DD761C5EF}"/>
              </a:ext>
            </a:extLst>
          </p:cNvPr>
          <p:cNvSpPr txBox="1">
            <a:spLocks/>
          </p:cNvSpPr>
          <p:nvPr/>
        </p:nvSpPr>
        <p:spPr>
          <a:xfrm>
            <a:off x="1814643" y="4182267"/>
            <a:ext cx="1224656" cy="460311"/>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1600" b="1" i="0" u="none" strike="noStrike" kern="1200" cap="none" spc="-30" normalizeH="0" baseline="0" noProof="0" dirty="0">
                <a:ln>
                  <a:noFill/>
                </a:ln>
                <a:solidFill>
                  <a:srgbClr val="000000"/>
                </a:solidFill>
                <a:effectLst/>
                <a:uLnTx/>
                <a:uFillTx/>
                <a:latin typeface="+mn-lt"/>
                <a:ea typeface="Chronicle Display Black" charset="0"/>
                <a:cs typeface="Chronicle Display Black" charset="0"/>
              </a:rPr>
              <a:t>Customer</a:t>
            </a:r>
          </a:p>
        </p:txBody>
      </p:sp>
      <p:grpSp>
        <p:nvGrpSpPr>
          <p:cNvPr id="17" name="Group 16">
            <a:extLst>
              <a:ext uri="{FF2B5EF4-FFF2-40B4-BE49-F238E27FC236}">
                <a16:creationId xmlns:a16="http://schemas.microsoft.com/office/drawing/2014/main" id="{70BC082B-9090-4550-9013-E5F491BA082E}"/>
              </a:ext>
            </a:extLst>
          </p:cNvPr>
          <p:cNvGrpSpPr/>
          <p:nvPr/>
        </p:nvGrpSpPr>
        <p:grpSpPr>
          <a:xfrm>
            <a:off x="7061200" y="2073474"/>
            <a:ext cx="1943109" cy="944914"/>
            <a:chOff x="4724399" y="2065608"/>
            <a:chExt cx="1943109" cy="944914"/>
          </a:xfrm>
        </p:grpSpPr>
        <p:sp>
          <p:nvSpPr>
            <p:cNvPr id="18" name="Text Placeholder 5">
              <a:extLst>
                <a:ext uri="{FF2B5EF4-FFF2-40B4-BE49-F238E27FC236}">
                  <a16:creationId xmlns:a16="http://schemas.microsoft.com/office/drawing/2014/main" id="{65B42436-6143-4CC2-B564-D15314C1D6B3}"/>
                </a:ext>
              </a:extLst>
            </p:cNvPr>
            <p:cNvSpPr txBox="1">
              <a:spLocks/>
            </p:cNvSpPr>
            <p:nvPr/>
          </p:nvSpPr>
          <p:spPr>
            <a:xfrm>
              <a:off x="4724399" y="2362822"/>
              <a:ext cx="1943109" cy="647700"/>
            </a:xfrm>
            <a:prstGeom prst="rect">
              <a:avLst/>
            </a:prstGeom>
          </p:spPr>
          <p:txBody>
            <a:bodyPr vert="horz" lIns="0" tIns="0" rIns="0" bIns="0" rtlCol="0">
              <a:noAutofit/>
            </a:bodyPr>
            <a:lstStyle>
              <a:lvl1pPr marL="0" indent="0" algn="l" defTabSz="914400" rtl="0" eaLnBrk="1" latinLnBrk="0" hangingPunct="1">
                <a:lnSpc>
                  <a:spcPts val="1600"/>
                </a:lnSpc>
                <a:spcBef>
                  <a:spcPts val="5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500"/>
                </a:spcBef>
                <a:spcAft>
                  <a:spcPts val="0"/>
                </a:spcAft>
                <a:buClr>
                  <a:srgbClr val="787878"/>
                </a:buClr>
                <a:buSzPct val="75000"/>
                <a:buFont typeface="Arial" panose="020B0604020202020204" pitchFamily="34" charset="0"/>
                <a:buNone/>
                <a:tabLst/>
                <a:defRPr/>
              </a:pPr>
              <a:r>
                <a:rPr kumimoji="0" lang="en-US" sz="1800" b="1" i="0" u="none" strike="noStrike" kern="1200" cap="none" spc="-30" normalizeH="0" baseline="0" noProof="0" dirty="0">
                  <a:ln>
                    <a:noFill/>
                  </a:ln>
                  <a:solidFill>
                    <a:srgbClr val="000000"/>
                  </a:solidFill>
                  <a:effectLst/>
                  <a:uLnTx/>
                  <a:uFillTx/>
                  <a:latin typeface="+mn-lt"/>
                  <a:ea typeface="Chronicle Display Black" charset="0"/>
                  <a:cs typeface="Chronicle Display Black" charset="0"/>
                </a:rPr>
                <a:t>Internal (Client)</a:t>
              </a:r>
            </a:p>
            <a:p>
              <a:pPr marL="0" marR="0" lvl="0" indent="0" algn="l" defTabSz="914400" rtl="0" eaLnBrk="1" fontAlgn="auto" latinLnBrk="0" hangingPunct="1">
                <a:lnSpc>
                  <a:spcPct val="130000"/>
                </a:lnSpc>
                <a:spcBef>
                  <a:spcPts val="500"/>
                </a:spcBef>
                <a:spcAft>
                  <a:spcPts val="0"/>
                </a:spcAft>
                <a:buClr>
                  <a:srgbClr val="787878"/>
                </a:buClr>
                <a:buSzPct val="75000"/>
                <a:buFont typeface="Arial" panose="020B0604020202020204" pitchFamily="34" charset="0"/>
                <a:buNone/>
                <a:tabLst/>
                <a:defRPr/>
              </a:pPr>
              <a:r>
                <a:rPr kumimoji="0" lang="en-US" sz="1400" b="0" i="0" u="none" strike="noStrike" kern="1200" cap="none" spc="-30" normalizeH="0" baseline="0" noProof="0" dirty="0">
                  <a:ln>
                    <a:noFill/>
                  </a:ln>
                  <a:solidFill>
                    <a:srgbClr val="000000"/>
                  </a:solidFill>
                  <a:effectLst/>
                  <a:uLnTx/>
                  <a:uFillTx/>
                  <a:latin typeface="+mn-lt"/>
                  <a:ea typeface="Open Sans" charset="0"/>
                  <a:cs typeface="Open Sans" charset="0"/>
                </a:rPr>
                <a:t>We have collected, analyzed, and validated </a:t>
              </a:r>
              <a:r>
                <a:rPr kumimoji="0" lang="en-US" sz="1400" b="1" i="0" u="none" strike="noStrike" kern="1200" cap="none" spc="-30" normalizeH="0" baseline="0" noProof="0" dirty="0">
                  <a:ln>
                    <a:noFill/>
                  </a:ln>
                  <a:solidFill>
                    <a:srgbClr val="000000"/>
                  </a:solidFill>
                  <a:effectLst/>
                  <a:uLnTx/>
                  <a:uFillTx/>
                  <a:latin typeface="+mn-lt"/>
                  <a:ea typeface="Open Sans" charset="0"/>
                  <a:cs typeface="Open Sans" charset="0"/>
                </a:rPr>
                <a:t>key internal data including sales, finance, grounding, and dealer performance data</a:t>
              </a:r>
              <a:r>
                <a:rPr kumimoji="0" lang="en-US" sz="1400" b="0" i="0" u="none" strike="noStrike" kern="1200" cap="none" spc="-30" normalizeH="0" baseline="0" noProof="0" dirty="0">
                  <a:ln>
                    <a:noFill/>
                  </a:ln>
                  <a:solidFill>
                    <a:srgbClr val="000000"/>
                  </a:solidFill>
                  <a:effectLst/>
                  <a:uLnTx/>
                  <a:uFillTx/>
                  <a:latin typeface="+mn-lt"/>
                  <a:ea typeface="Open Sans" charset="0"/>
                  <a:cs typeface="Open Sans" charset="0"/>
                </a:rPr>
                <a:t> to baseline the current state and find opportunity areas</a:t>
              </a:r>
            </a:p>
          </p:txBody>
        </p:sp>
        <p:cxnSp>
          <p:nvCxnSpPr>
            <p:cNvPr id="19" name="Straight Connector 18">
              <a:extLst>
                <a:ext uri="{FF2B5EF4-FFF2-40B4-BE49-F238E27FC236}">
                  <a16:creationId xmlns:a16="http://schemas.microsoft.com/office/drawing/2014/main" id="{51CBD6FF-02D7-4D02-8B70-40A8A3531C83}"/>
                </a:ext>
              </a:extLst>
            </p:cNvPr>
            <p:cNvCxnSpPr/>
            <p:nvPr/>
          </p:nvCxnSpPr>
          <p:spPr>
            <a:xfrm>
              <a:off x="4724400" y="2065608"/>
              <a:ext cx="1877901" cy="0"/>
            </a:xfrm>
            <a:prstGeom prst="line">
              <a:avLst/>
            </a:prstGeom>
            <a:noFill/>
            <a:ln w="68580" cap="flat" cmpd="sng" algn="ctr">
              <a:solidFill>
                <a:srgbClr val="86F200"/>
              </a:solidFill>
              <a:prstDash val="solid"/>
              <a:miter lim="800000"/>
            </a:ln>
            <a:effectLst/>
          </p:spPr>
        </p:cxnSp>
      </p:grpSp>
      <p:grpSp>
        <p:nvGrpSpPr>
          <p:cNvPr id="20" name="Group 19">
            <a:extLst>
              <a:ext uri="{FF2B5EF4-FFF2-40B4-BE49-F238E27FC236}">
                <a16:creationId xmlns:a16="http://schemas.microsoft.com/office/drawing/2014/main" id="{6AAC4D7D-FB5A-4C0F-8877-966006F35A08}"/>
              </a:ext>
            </a:extLst>
          </p:cNvPr>
          <p:cNvGrpSpPr/>
          <p:nvPr/>
        </p:nvGrpSpPr>
        <p:grpSpPr>
          <a:xfrm>
            <a:off x="4724400" y="2073474"/>
            <a:ext cx="1877901" cy="944914"/>
            <a:chOff x="7062049" y="2065608"/>
            <a:chExt cx="1877901" cy="944914"/>
          </a:xfrm>
        </p:grpSpPr>
        <p:sp>
          <p:nvSpPr>
            <p:cNvPr id="21" name="Text Placeholder 5">
              <a:extLst>
                <a:ext uri="{FF2B5EF4-FFF2-40B4-BE49-F238E27FC236}">
                  <a16:creationId xmlns:a16="http://schemas.microsoft.com/office/drawing/2014/main" id="{7A7D7419-7056-4C81-B7DA-9065E5BF4B6E}"/>
                </a:ext>
              </a:extLst>
            </p:cNvPr>
            <p:cNvSpPr txBox="1">
              <a:spLocks/>
            </p:cNvSpPr>
            <p:nvPr/>
          </p:nvSpPr>
          <p:spPr>
            <a:xfrm>
              <a:off x="7062049" y="2362822"/>
              <a:ext cx="1854610" cy="647700"/>
            </a:xfrm>
            <a:prstGeom prst="rect">
              <a:avLst/>
            </a:prstGeom>
          </p:spPr>
          <p:txBody>
            <a:bodyPr vert="horz" lIns="0" tIns="0" rIns="0" bIns="0" rtlCol="0">
              <a:noAutofit/>
            </a:bodyPr>
            <a:lstStyle>
              <a:lvl1pPr marL="0" indent="0" algn="l" defTabSz="914400" rtl="0" eaLnBrk="1" latinLnBrk="0" hangingPunct="1">
                <a:lnSpc>
                  <a:spcPts val="1600"/>
                </a:lnSpc>
                <a:spcBef>
                  <a:spcPts val="5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500"/>
                </a:spcBef>
                <a:spcAft>
                  <a:spcPts val="0"/>
                </a:spcAft>
                <a:buClr>
                  <a:srgbClr val="787878"/>
                </a:buClr>
                <a:buSzPct val="75000"/>
                <a:buFont typeface="Arial" panose="020B0604020202020204" pitchFamily="34" charset="0"/>
                <a:buNone/>
                <a:tabLst/>
                <a:defRPr/>
              </a:pPr>
              <a:r>
                <a:rPr kumimoji="0" lang="en-US" sz="1800" b="1" i="0" u="none" strike="noStrike" kern="1200" cap="none" spc="-30" normalizeH="0" baseline="0" noProof="0" dirty="0">
                  <a:ln>
                    <a:noFill/>
                  </a:ln>
                  <a:solidFill>
                    <a:srgbClr val="000000"/>
                  </a:solidFill>
                  <a:effectLst/>
                  <a:uLnTx/>
                  <a:uFillTx/>
                  <a:latin typeface="+mn-lt"/>
                  <a:ea typeface="Chronicle Display Black" charset="0"/>
                  <a:cs typeface="Chronicle Display Black" charset="0"/>
                </a:rPr>
                <a:t>Market</a:t>
              </a:r>
            </a:p>
            <a:p>
              <a:pPr marL="0" marR="0" lvl="0" indent="0" algn="l" defTabSz="914400" rtl="0" eaLnBrk="1" fontAlgn="auto" latinLnBrk="0" hangingPunct="1">
                <a:lnSpc>
                  <a:spcPct val="130000"/>
                </a:lnSpc>
                <a:spcBef>
                  <a:spcPts val="500"/>
                </a:spcBef>
                <a:spcAft>
                  <a:spcPts val="0"/>
                </a:spcAft>
                <a:buClr>
                  <a:srgbClr val="787878"/>
                </a:buClr>
                <a:buSzPct val="75000"/>
                <a:buFont typeface="Arial" panose="020B0604020202020204" pitchFamily="34" charset="0"/>
                <a:buNone/>
                <a:tabLst/>
                <a:defRPr/>
              </a:pPr>
              <a:r>
                <a:rPr kumimoji="0" lang="en-US" sz="1400" b="0" i="0" u="none" strike="noStrike" kern="1200" cap="none" spc="-30" normalizeH="0" baseline="0" noProof="0" dirty="0">
                  <a:ln>
                    <a:noFill/>
                  </a:ln>
                  <a:solidFill>
                    <a:srgbClr val="000000"/>
                  </a:solidFill>
                  <a:effectLst/>
                  <a:uLnTx/>
                  <a:uFillTx/>
                  <a:latin typeface="+mn-lt"/>
                  <a:ea typeface="Open Sans" charset="0"/>
                  <a:cs typeface="Open Sans" charset="0"/>
                </a:rPr>
                <a:t>Through </a:t>
              </a:r>
              <a:r>
                <a:rPr kumimoji="0" lang="en-US" sz="1400" b="1" i="0" u="none" strike="noStrike" kern="1200" cap="none" spc="-30" normalizeH="0" baseline="0" noProof="0" dirty="0">
                  <a:ln>
                    <a:noFill/>
                  </a:ln>
                  <a:solidFill>
                    <a:srgbClr val="000000"/>
                  </a:solidFill>
                  <a:effectLst/>
                  <a:uLnTx/>
                  <a:uFillTx/>
                  <a:latin typeface="+mn-lt"/>
                  <a:ea typeface="Open Sans" charset="0"/>
                  <a:cs typeface="Open Sans" charset="0"/>
                </a:rPr>
                <a:t>3</a:t>
              </a:r>
              <a:r>
                <a:rPr kumimoji="0" lang="en-US" sz="1400" b="1" i="0" u="none" strike="noStrike" kern="1200" cap="none" spc="-30" normalizeH="0" baseline="30000" noProof="0" dirty="0">
                  <a:ln>
                    <a:noFill/>
                  </a:ln>
                  <a:solidFill>
                    <a:srgbClr val="000000"/>
                  </a:solidFill>
                  <a:effectLst/>
                  <a:uLnTx/>
                  <a:uFillTx/>
                  <a:latin typeface="+mn-lt"/>
                  <a:ea typeface="Open Sans" charset="0"/>
                  <a:cs typeface="Open Sans" charset="0"/>
                </a:rPr>
                <a:t>rd</a:t>
              </a:r>
              <a:r>
                <a:rPr kumimoji="0" lang="en-US" sz="1400" b="1" i="0" u="none" strike="noStrike" kern="1200" cap="none" spc="-30" normalizeH="0" baseline="0" noProof="0" dirty="0">
                  <a:ln>
                    <a:noFill/>
                  </a:ln>
                  <a:solidFill>
                    <a:srgbClr val="000000"/>
                  </a:solidFill>
                  <a:effectLst/>
                  <a:uLnTx/>
                  <a:uFillTx/>
                  <a:latin typeface="+mn-lt"/>
                  <a:ea typeface="Open Sans" charset="0"/>
                  <a:cs typeface="Open Sans" charset="0"/>
                </a:rPr>
                <a:t> party surveys and research, interviews with key Deloitte contacts and mystery shopping</a:t>
              </a:r>
              <a:r>
                <a:rPr kumimoji="0" lang="en-US" sz="1400" b="0" i="0" u="none" strike="noStrike" kern="1200" cap="none" spc="-30" normalizeH="0" baseline="0" noProof="0" dirty="0">
                  <a:ln>
                    <a:noFill/>
                  </a:ln>
                  <a:solidFill>
                    <a:srgbClr val="000000"/>
                  </a:solidFill>
                  <a:effectLst/>
                  <a:uLnTx/>
                  <a:uFillTx/>
                  <a:latin typeface="+mn-lt"/>
                  <a:ea typeface="Open Sans" charset="0"/>
                  <a:cs typeface="Open Sans" charset="0"/>
                </a:rPr>
                <a:t>, we have developed a perspective around the</a:t>
              </a:r>
            </a:p>
            <a:p>
              <a:pPr marL="0" marR="0" lvl="0" indent="0" algn="l" defTabSz="914400" rtl="0" eaLnBrk="1" fontAlgn="auto" latinLnBrk="0" hangingPunct="1">
                <a:lnSpc>
                  <a:spcPct val="130000"/>
                </a:lnSpc>
                <a:spcBef>
                  <a:spcPts val="500"/>
                </a:spcBef>
                <a:spcAft>
                  <a:spcPts val="0"/>
                </a:spcAft>
                <a:buClr>
                  <a:srgbClr val="787878"/>
                </a:buClr>
                <a:buSzPct val="75000"/>
                <a:buFont typeface="Arial" panose="020B0604020202020204" pitchFamily="34" charset="0"/>
                <a:buNone/>
                <a:tabLst/>
                <a:defRPr/>
              </a:pPr>
              <a:r>
                <a:rPr kumimoji="0" lang="en-US" sz="1400" b="0" i="0" u="none" strike="noStrike" kern="1200" cap="none" spc="-30" normalizeH="0" baseline="0" noProof="0" dirty="0">
                  <a:ln>
                    <a:noFill/>
                  </a:ln>
                  <a:solidFill>
                    <a:srgbClr val="000000"/>
                  </a:solidFill>
                  <a:effectLst/>
                  <a:uLnTx/>
                  <a:uFillTx/>
                  <a:latin typeface="+mn-lt"/>
                  <a:ea typeface="Open Sans" charset="0"/>
                  <a:cs typeface="Open Sans" charset="0"/>
                </a:rPr>
                <a:t>market and</a:t>
              </a:r>
              <a:r>
                <a:rPr kumimoji="0" lang="en-US" sz="1400" b="0" i="0" u="none" strike="noStrike" kern="1200" cap="none" spc="-30" normalizeH="0" noProof="0" dirty="0">
                  <a:ln>
                    <a:noFill/>
                  </a:ln>
                  <a:solidFill>
                    <a:srgbClr val="000000"/>
                  </a:solidFill>
                  <a:effectLst/>
                  <a:uLnTx/>
                  <a:uFillTx/>
                  <a:latin typeface="+mn-lt"/>
                  <a:ea typeface="Open Sans" charset="0"/>
                  <a:cs typeface="Open Sans" charset="0"/>
                </a:rPr>
                <a:t> </a:t>
              </a:r>
              <a:r>
                <a:rPr kumimoji="0" lang="en-US" sz="1400" b="0" i="0" u="none" strike="noStrike" kern="1200" cap="none" spc="-30" normalizeH="0" baseline="0" noProof="0" dirty="0">
                  <a:ln>
                    <a:noFill/>
                  </a:ln>
                  <a:solidFill>
                    <a:srgbClr val="000000"/>
                  </a:solidFill>
                  <a:effectLst/>
                  <a:uLnTx/>
                  <a:uFillTx/>
                  <a:latin typeface="+mn-lt"/>
                  <a:ea typeface="Open Sans" charset="0"/>
                  <a:cs typeface="Open Sans" charset="0"/>
                </a:rPr>
                <a:t>competitive landscape </a:t>
              </a:r>
            </a:p>
          </p:txBody>
        </p:sp>
        <p:cxnSp>
          <p:nvCxnSpPr>
            <p:cNvPr id="22" name="Straight Connector 21">
              <a:extLst>
                <a:ext uri="{FF2B5EF4-FFF2-40B4-BE49-F238E27FC236}">
                  <a16:creationId xmlns:a16="http://schemas.microsoft.com/office/drawing/2014/main" id="{BCF35A30-9B75-4EC5-9254-E5078C775C48}"/>
                </a:ext>
              </a:extLst>
            </p:cNvPr>
            <p:cNvCxnSpPr/>
            <p:nvPr/>
          </p:nvCxnSpPr>
          <p:spPr>
            <a:xfrm>
              <a:off x="7062049" y="2065608"/>
              <a:ext cx="1877901" cy="0"/>
            </a:xfrm>
            <a:prstGeom prst="line">
              <a:avLst/>
            </a:prstGeom>
            <a:noFill/>
            <a:ln w="68580" cap="flat" cmpd="sng" algn="ctr">
              <a:solidFill>
                <a:srgbClr val="3EFAC5"/>
              </a:solidFill>
              <a:prstDash val="solid"/>
              <a:miter lim="800000"/>
            </a:ln>
            <a:effectLst/>
          </p:spPr>
        </p:cxnSp>
      </p:grpSp>
      <p:grpSp>
        <p:nvGrpSpPr>
          <p:cNvPr id="23" name="Group 22">
            <a:extLst>
              <a:ext uri="{FF2B5EF4-FFF2-40B4-BE49-F238E27FC236}">
                <a16:creationId xmlns:a16="http://schemas.microsoft.com/office/drawing/2014/main" id="{C6260E86-7299-4954-AFD1-25E21871B122}"/>
              </a:ext>
            </a:extLst>
          </p:cNvPr>
          <p:cNvGrpSpPr/>
          <p:nvPr/>
        </p:nvGrpSpPr>
        <p:grpSpPr>
          <a:xfrm>
            <a:off x="9399699" y="2068982"/>
            <a:ext cx="1877901" cy="944914"/>
            <a:chOff x="9399699" y="2065608"/>
            <a:chExt cx="1877901" cy="944914"/>
          </a:xfrm>
        </p:grpSpPr>
        <p:sp>
          <p:nvSpPr>
            <p:cNvPr id="24" name="Text Placeholder 5">
              <a:extLst>
                <a:ext uri="{FF2B5EF4-FFF2-40B4-BE49-F238E27FC236}">
                  <a16:creationId xmlns:a16="http://schemas.microsoft.com/office/drawing/2014/main" id="{4D2A37D3-E5B6-4F1F-9BB0-B1EA6331E11E}"/>
                </a:ext>
              </a:extLst>
            </p:cNvPr>
            <p:cNvSpPr txBox="1">
              <a:spLocks/>
            </p:cNvSpPr>
            <p:nvPr/>
          </p:nvSpPr>
          <p:spPr>
            <a:xfrm>
              <a:off x="9399699" y="2362822"/>
              <a:ext cx="1854610" cy="647700"/>
            </a:xfrm>
            <a:prstGeom prst="rect">
              <a:avLst/>
            </a:prstGeom>
          </p:spPr>
          <p:txBody>
            <a:bodyPr vert="horz" lIns="0" tIns="0" rIns="0" bIns="0" rtlCol="0">
              <a:noAutofit/>
            </a:bodyPr>
            <a:lstStyle>
              <a:lvl1pPr marL="0" indent="0" algn="l" defTabSz="914400" rtl="0" eaLnBrk="1" latinLnBrk="0" hangingPunct="1">
                <a:lnSpc>
                  <a:spcPts val="1600"/>
                </a:lnSpc>
                <a:spcBef>
                  <a:spcPts val="5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500"/>
                </a:spcBef>
                <a:spcAft>
                  <a:spcPts val="0"/>
                </a:spcAft>
                <a:buClr>
                  <a:srgbClr val="787878"/>
                </a:buClr>
                <a:buSzPct val="75000"/>
                <a:buFont typeface="Arial" panose="020B0604020202020204" pitchFamily="34" charset="0"/>
                <a:buNone/>
                <a:tabLst/>
                <a:defRPr/>
              </a:pPr>
              <a:r>
                <a:rPr kumimoji="0" lang="en-US" sz="1800" b="1" i="0" u="none" strike="noStrike" kern="1200" cap="none" spc="-30" normalizeH="0" baseline="0" noProof="0" dirty="0">
                  <a:ln>
                    <a:noFill/>
                  </a:ln>
                  <a:solidFill>
                    <a:srgbClr val="000000"/>
                  </a:solidFill>
                  <a:effectLst/>
                  <a:uLnTx/>
                  <a:uFillTx/>
                  <a:latin typeface="+mn-lt"/>
                  <a:ea typeface="Chronicle Display Black" charset="0"/>
                  <a:cs typeface="Chronicle Display Black" charset="0"/>
                </a:rPr>
                <a:t>Customer</a:t>
              </a:r>
            </a:p>
            <a:p>
              <a:pPr marL="0" marR="0" lvl="0" indent="0" algn="l" defTabSz="914400" rtl="0" eaLnBrk="1" fontAlgn="auto" latinLnBrk="0" hangingPunct="1">
                <a:lnSpc>
                  <a:spcPct val="130000"/>
                </a:lnSpc>
                <a:spcBef>
                  <a:spcPts val="500"/>
                </a:spcBef>
                <a:spcAft>
                  <a:spcPts val="0"/>
                </a:spcAft>
                <a:buClr>
                  <a:srgbClr val="787878"/>
                </a:buClr>
                <a:buSzPct val="75000"/>
                <a:buFont typeface="Arial" panose="020B0604020202020204" pitchFamily="34" charset="0"/>
                <a:buNone/>
                <a:tabLst/>
                <a:defRPr/>
              </a:pPr>
              <a:r>
                <a:rPr kumimoji="0" lang="en-US" sz="1400" b="0" i="0" u="none" strike="noStrike" kern="1200" cap="none" spc="-30" normalizeH="0" baseline="0" noProof="0" dirty="0">
                  <a:ln>
                    <a:noFill/>
                  </a:ln>
                  <a:solidFill>
                    <a:srgbClr val="000000"/>
                  </a:solidFill>
                  <a:effectLst/>
                  <a:uLnTx/>
                  <a:uFillTx/>
                  <a:latin typeface="+mn-lt"/>
                  <a:ea typeface="Open Sans" charset="0"/>
                  <a:cs typeface="Open Sans" charset="0"/>
                </a:rPr>
                <a:t>Our </a:t>
              </a:r>
              <a:r>
                <a:rPr kumimoji="0" lang="en-US" sz="1400" b="1" i="0" u="none" strike="noStrike" kern="1200" cap="none" spc="-30" normalizeH="0" baseline="0" noProof="0" dirty="0">
                  <a:ln>
                    <a:noFill/>
                  </a:ln>
                  <a:solidFill>
                    <a:srgbClr val="000000"/>
                  </a:solidFill>
                  <a:effectLst/>
                  <a:uLnTx/>
                  <a:uFillTx/>
                  <a:latin typeface="+mn-lt"/>
                  <a:ea typeface="Open Sans" charset="0"/>
                  <a:cs typeface="Open Sans" charset="0"/>
                </a:rPr>
                <a:t>voice of customer survey was in the field for 2-3 weeks and generated ~500 responses</a:t>
              </a:r>
              <a:r>
                <a:rPr kumimoji="0" lang="en-US" sz="1400" b="0" i="0" u="none" strike="noStrike" kern="1200" cap="none" spc="-30" normalizeH="0" baseline="0" noProof="0" dirty="0">
                  <a:ln>
                    <a:noFill/>
                  </a:ln>
                  <a:solidFill>
                    <a:srgbClr val="000000"/>
                  </a:solidFill>
                  <a:effectLst/>
                  <a:uLnTx/>
                  <a:uFillTx/>
                  <a:latin typeface="+mn-lt"/>
                  <a:ea typeface="Open Sans" charset="0"/>
                  <a:cs typeface="Open Sans" charset="0"/>
                </a:rPr>
                <a:t> giving us first-hand insight into consumer sentiment around the purchase process</a:t>
              </a:r>
            </a:p>
          </p:txBody>
        </p:sp>
        <p:cxnSp>
          <p:nvCxnSpPr>
            <p:cNvPr id="25" name="Straight Connector 24">
              <a:extLst>
                <a:ext uri="{FF2B5EF4-FFF2-40B4-BE49-F238E27FC236}">
                  <a16:creationId xmlns:a16="http://schemas.microsoft.com/office/drawing/2014/main" id="{C2AB6BEC-8EB4-4AE6-A0BB-6A437CB0C0F1}"/>
                </a:ext>
              </a:extLst>
            </p:cNvPr>
            <p:cNvCxnSpPr/>
            <p:nvPr/>
          </p:nvCxnSpPr>
          <p:spPr>
            <a:xfrm>
              <a:off x="9399699" y="2065608"/>
              <a:ext cx="1877901" cy="0"/>
            </a:xfrm>
            <a:prstGeom prst="line">
              <a:avLst/>
            </a:prstGeom>
            <a:noFill/>
            <a:ln w="68580" cap="flat" cmpd="sng" algn="ctr">
              <a:solidFill>
                <a:srgbClr val="FDD300"/>
              </a:solidFill>
              <a:prstDash val="solid"/>
              <a:miter lim="800000"/>
            </a:ln>
            <a:effectLst/>
          </p:spPr>
        </p:cxnSp>
      </p:grpSp>
      <p:grpSp>
        <p:nvGrpSpPr>
          <p:cNvPr id="26" name="Group 25">
            <a:extLst>
              <a:ext uri="{FF2B5EF4-FFF2-40B4-BE49-F238E27FC236}">
                <a16:creationId xmlns:a16="http://schemas.microsoft.com/office/drawing/2014/main" id="{880A2B60-BBAA-4642-BF91-427C63B93F67}"/>
              </a:ext>
            </a:extLst>
          </p:cNvPr>
          <p:cNvGrpSpPr/>
          <p:nvPr/>
        </p:nvGrpSpPr>
        <p:grpSpPr>
          <a:xfrm>
            <a:off x="2903132" y="2341433"/>
            <a:ext cx="605443" cy="539246"/>
            <a:chOff x="2903132" y="2242294"/>
            <a:chExt cx="605443" cy="539246"/>
          </a:xfrm>
          <a:solidFill>
            <a:schemeClr val="tx1"/>
          </a:solidFill>
        </p:grpSpPr>
        <p:sp>
          <p:nvSpPr>
            <p:cNvPr id="27" name="Freeform 845">
              <a:extLst>
                <a:ext uri="{FF2B5EF4-FFF2-40B4-BE49-F238E27FC236}">
                  <a16:creationId xmlns:a16="http://schemas.microsoft.com/office/drawing/2014/main" id="{0031C93F-D3B6-400B-841E-488FF6C4BC70}"/>
                </a:ext>
              </a:extLst>
            </p:cNvPr>
            <p:cNvSpPr>
              <a:spLocks noEditPoints="1"/>
            </p:cNvSpPr>
            <p:nvPr/>
          </p:nvSpPr>
          <p:spPr bwMode="auto">
            <a:xfrm>
              <a:off x="2903132" y="2394808"/>
              <a:ext cx="173418" cy="38673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sp>
          <p:nvSpPr>
            <p:cNvPr id="28" name="Freeform 846">
              <a:extLst>
                <a:ext uri="{FF2B5EF4-FFF2-40B4-BE49-F238E27FC236}">
                  <a16:creationId xmlns:a16="http://schemas.microsoft.com/office/drawing/2014/main" id="{B2ACD6A7-6740-4C56-8C52-81059A1516D6}"/>
                </a:ext>
              </a:extLst>
            </p:cNvPr>
            <p:cNvSpPr>
              <a:spLocks noEditPoints="1"/>
            </p:cNvSpPr>
            <p:nvPr/>
          </p:nvSpPr>
          <p:spPr bwMode="auto">
            <a:xfrm>
              <a:off x="2927471" y="2242294"/>
              <a:ext cx="127782" cy="114386"/>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sp>
          <p:nvSpPr>
            <p:cNvPr id="29" name="Freeform 847">
              <a:extLst>
                <a:ext uri="{FF2B5EF4-FFF2-40B4-BE49-F238E27FC236}">
                  <a16:creationId xmlns:a16="http://schemas.microsoft.com/office/drawing/2014/main" id="{A297C3D7-232C-449E-8F54-5A1C75F3E9B0}"/>
                </a:ext>
              </a:extLst>
            </p:cNvPr>
            <p:cNvSpPr>
              <a:spLocks noEditPoints="1"/>
            </p:cNvSpPr>
            <p:nvPr/>
          </p:nvSpPr>
          <p:spPr bwMode="auto">
            <a:xfrm>
              <a:off x="3335157" y="2394808"/>
              <a:ext cx="173418" cy="38673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sp>
          <p:nvSpPr>
            <p:cNvPr id="30" name="Freeform 848">
              <a:extLst>
                <a:ext uri="{FF2B5EF4-FFF2-40B4-BE49-F238E27FC236}">
                  <a16:creationId xmlns:a16="http://schemas.microsoft.com/office/drawing/2014/main" id="{F83ABF08-736B-4F37-9F98-BD148E138EC1}"/>
                </a:ext>
              </a:extLst>
            </p:cNvPr>
            <p:cNvSpPr>
              <a:spLocks noEditPoints="1"/>
            </p:cNvSpPr>
            <p:nvPr/>
          </p:nvSpPr>
          <p:spPr bwMode="auto">
            <a:xfrm>
              <a:off x="3356454" y="2242294"/>
              <a:ext cx="130824" cy="114386"/>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sp>
          <p:nvSpPr>
            <p:cNvPr id="31" name="Freeform 849">
              <a:extLst>
                <a:ext uri="{FF2B5EF4-FFF2-40B4-BE49-F238E27FC236}">
                  <a16:creationId xmlns:a16="http://schemas.microsoft.com/office/drawing/2014/main" id="{AD8A7C01-2351-4EE7-94FD-421D1353D56D}"/>
                </a:ext>
              </a:extLst>
            </p:cNvPr>
            <p:cNvSpPr>
              <a:spLocks noEditPoints="1"/>
            </p:cNvSpPr>
            <p:nvPr/>
          </p:nvSpPr>
          <p:spPr bwMode="auto">
            <a:xfrm>
              <a:off x="3119144" y="2394808"/>
              <a:ext cx="173418" cy="38673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sp>
          <p:nvSpPr>
            <p:cNvPr id="32" name="Freeform 850">
              <a:extLst>
                <a:ext uri="{FF2B5EF4-FFF2-40B4-BE49-F238E27FC236}">
                  <a16:creationId xmlns:a16="http://schemas.microsoft.com/office/drawing/2014/main" id="{43F000CF-00FF-42B3-B97C-80C19209DBBD}"/>
                </a:ext>
              </a:extLst>
            </p:cNvPr>
            <p:cNvSpPr>
              <a:spLocks noEditPoints="1"/>
            </p:cNvSpPr>
            <p:nvPr/>
          </p:nvSpPr>
          <p:spPr bwMode="auto">
            <a:xfrm>
              <a:off x="3143483" y="2242294"/>
              <a:ext cx="127782" cy="114386"/>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grpSp>
      <p:grpSp>
        <p:nvGrpSpPr>
          <p:cNvPr id="33" name="Group 32">
            <a:extLst>
              <a:ext uri="{FF2B5EF4-FFF2-40B4-BE49-F238E27FC236}">
                <a16:creationId xmlns:a16="http://schemas.microsoft.com/office/drawing/2014/main" id="{30A9AF4A-78F0-4390-B634-EB7E740A63F9}"/>
              </a:ext>
            </a:extLst>
          </p:cNvPr>
          <p:cNvGrpSpPr/>
          <p:nvPr/>
        </p:nvGrpSpPr>
        <p:grpSpPr>
          <a:xfrm>
            <a:off x="2114382" y="3593346"/>
            <a:ext cx="612640" cy="604742"/>
            <a:chOff x="2114382" y="3494207"/>
            <a:chExt cx="612640" cy="604742"/>
          </a:xfrm>
          <a:solidFill>
            <a:schemeClr val="tx1"/>
          </a:solidFill>
        </p:grpSpPr>
        <p:sp>
          <p:nvSpPr>
            <p:cNvPr id="34" name="Freeform 237">
              <a:extLst>
                <a:ext uri="{FF2B5EF4-FFF2-40B4-BE49-F238E27FC236}">
                  <a16:creationId xmlns:a16="http://schemas.microsoft.com/office/drawing/2014/main" id="{D8701853-56CC-4DC1-BF75-193BE01B331E}"/>
                </a:ext>
              </a:extLst>
            </p:cNvPr>
            <p:cNvSpPr>
              <a:spLocks noEditPoints="1"/>
            </p:cNvSpPr>
            <p:nvPr/>
          </p:nvSpPr>
          <p:spPr bwMode="auto">
            <a:xfrm>
              <a:off x="2114382" y="3494207"/>
              <a:ext cx="367006" cy="371391"/>
            </a:xfrm>
            <a:custGeom>
              <a:avLst/>
              <a:gdLst>
                <a:gd name="T0" fmla="*/ 192 w 192"/>
                <a:gd name="T1" fmla="*/ 118 h 171"/>
                <a:gd name="T2" fmla="*/ 192 w 192"/>
                <a:gd name="T3" fmla="*/ 11 h 171"/>
                <a:gd name="T4" fmla="*/ 181 w 192"/>
                <a:gd name="T5" fmla="*/ 0 h 171"/>
                <a:gd name="T6" fmla="*/ 10 w 192"/>
                <a:gd name="T7" fmla="*/ 0 h 171"/>
                <a:gd name="T8" fmla="*/ 0 w 192"/>
                <a:gd name="T9" fmla="*/ 11 h 171"/>
                <a:gd name="T10" fmla="*/ 0 w 192"/>
                <a:gd name="T11" fmla="*/ 118 h 171"/>
                <a:gd name="T12" fmla="*/ 10 w 192"/>
                <a:gd name="T13" fmla="*/ 128 h 171"/>
                <a:gd name="T14" fmla="*/ 32 w 192"/>
                <a:gd name="T15" fmla="*/ 128 h 171"/>
                <a:gd name="T16" fmla="*/ 32 w 192"/>
                <a:gd name="T17" fmla="*/ 160 h 171"/>
                <a:gd name="T18" fmla="*/ 38 w 192"/>
                <a:gd name="T19" fmla="*/ 170 h 171"/>
                <a:gd name="T20" fmla="*/ 42 w 192"/>
                <a:gd name="T21" fmla="*/ 171 h 171"/>
                <a:gd name="T22" fmla="*/ 50 w 192"/>
                <a:gd name="T23" fmla="*/ 168 h 171"/>
                <a:gd name="T24" fmla="*/ 89 w 192"/>
                <a:gd name="T25" fmla="*/ 128 h 171"/>
                <a:gd name="T26" fmla="*/ 181 w 192"/>
                <a:gd name="T27" fmla="*/ 128 h 171"/>
                <a:gd name="T28" fmla="*/ 192 w 192"/>
                <a:gd name="T29" fmla="*/ 118 h 171"/>
                <a:gd name="T30" fmla="*/ 170 w 192"/>
                <a:gd name="T31" fmla="*/ 107 h 171"/>
                <a:gd name="T32" fmla="*/ 85 w 192"/>
                <a:gd name="T33" fmla="*/ 107 h 171"/>
                <a:gd name="T34" fmla="*/ 77 w 192"/>
                <a:gd name="T35" fmla="*/ 110 h 171"/>
                <a:gd name="T36" fmla="*/ 53 w 192"/>
                <a:gd name="T37" fmla="*/ 135 h 171"/>
                <a:gd name="T38" fmla="*/ 53 w 192"/>
                <a:gd name="T39" fmla="*/ 118 h 171"/>
                <a:gd name="T40" fmla="*/ 42 w 192"/>
                <a:gd name="T41" fmla="*/ 107 h 171"/>
                <a:gd name="T42" fmla="*/ 21 w 192"/>
                <a:gd name="T43" fmla="*/ 107 h 171"/>
                <a:gd name="T44" fmla="*/ 21 w 192"/>
                <a:gd name="T45" fmla="*/ 22 h 171"/>
                <a:gd name="T46" fmla="*/ 170 w 192"/>
                <a:gd name="T47" fmla="*/ 22 h 171"/>
                <a:gd name="T48" fmla="*/ 170 w 192"/>
                <a:gd name="T49" fmla="*/ 107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71">
                  <a:moveTo>
                    <a:pt x="192" y="118"/>
                  </a:moveTo>
                  <a:cubicBezTo>
                    <a:pt x="192" y="11"/>
                    <a:pt x="192" y="11"/>
                    <a:pt x="192" y="11"/>
                  </a:cubicBezTo>
                  <a:cubicBezTo>
                    <a:pt x="192" y="5"/>
                    <a:pt x="187" y="0"/>
                    <a:pt x="181" y="0"/>
                  </a:cubicBezTo>
                  <a:cubicBezTo>
                    <a:pt x="10" y="0"/>
                    <a:pt x="10" y="0"/>
                    <a:pt x="10" y="0"/>
                  </a:cubicBezTo>
                  <a:cubicBezTo>
                    <a:pt x="4" y="0"/>
                    <a:pt x="0" y="5"/>
                    <a:pt x="0" y="11"/>
                  </a:cubicBezTo>
                  <a:cubicBezTo>
                    <a:pt x="0" y="118"/>
                    <a:pt x="0" y="118"/>
                    <a:pt x="0" y="118"/>
                  </a:cubicBezTo>
                  <a:cubicBezTo>
                    <a:pt x="0" y="124"/>
                    <a:pt x="4" y="128"/>
                    <a:pt x="10" y="128"/>
                  </a:cubicBezTo>
                  <a:cubicBezTo>
                    <a:pt x="32" y="128"/>
                    <a:pt x="32" y="128"/>
                    <a:pt x="32" y="128"/>
                  </a:cubicBezTo>
                  <a:cubicBezTo>
                    <a:pt x="32" y="160"/>
                    <a:pt x="32" y="160"/>
                    <a:pt x="32" y="160"/>
                  </a:cubicBezTo>
                  <a:cubicBezTo>
                    <a:pt x="32" y="165"/>
                    <a:pt x="34" y="169"/>
                    <a:pt x="38" y="170"/>
                  </a:cubicBezTo>
                  <a:cubicBezTo>
                    <a:pt x="40" y="171"/>
                    <a:pt x="41" y="171"/>
                    <a:pt x="42" y="171"/>
                  </a:cubicBezTo>
                  <a:cubicBezTo>
                    <a:pt x="45" y="171"/>
                    <a:pt x="48" y="170"/>
                    <a:pt x="50" y="168"/>
                  </a:cubicBezTo>
                  <a:cubicBezTo>
                    <a:pt x="89" y="128"/>
                    <a:pt x="89" y="128"/>
                    <a:pt x="89" y="128"/>
                  </a:cubicBezTo>
                  <a:cubicBezTo>
                    <a:pt x="181" y="128"/>
                    <a:pt x="181" y="128"/>
                    <a:pt x="181" y="128"/>
                  </a:cubicBezTo>
                  <a:cubicBezTo>
                    <a:pt x="187" y="128"/>
                    <a:pt x="192" y="124"/>
                    <a:pt x="192" y="118"/>
                  </a:cubicBezTo>
                  <a:close/>
                  <a:moveTo>
                    <a:pt x="170" y="107"/>
                  </a:moveTo>
                  <a:cubicBezTo>
                    <a:pt x="85" y="107"/>
                    <a:pt x="85" y="107"/>
                    <a:pt x="85" y="107"/>
                  </a:cubicBezTo>
                  <a:cubicBezTo>
                    <a:pt x="82" y="107"/>
                    <a:pt x="79" y="108"/>
                    <a:pt x="77" y="110"/>
                  </a:cubicBezTo>
                  <a:cubicBezTo>
                    <a:pt x="53" y="135"/>
                    <a:pt x="53" y="135"/>
                    <a:pt x="53" y="135"/>
                  </a:cubicBezTo>
                  <a:cubicBezTo>
                    <a:pt x="53" y="118"/>
                    <a:pt x="53" y="118"/>
                    <a:pt x="53" y="118"/>
                  </a:cubicBezTo>
                  <a:cubicBezTo>
                    <a:pt x="53" y="112"/>
                    <a:pt x="48" y="107"/>
                    <a:pt x="42" y="107"/>
                  </a:cubicBezTo>
                  <a:cubicBezTo>
                    <a:pt x="21" y="107"/>
                    <a:pt x="21" y="107"/>
                    <a:pt x="21" y="107"/>
                  </a:cubicBezTo>
                  <a:cubicBezTo>
                    <a:pt x="21" y="22"/>
                    <a:pt x="21" y="22"/>
                    <a:pt x="21" y="22"/>
                  </a:cubicBezTo>
                  <a:cubicBezTo>
                    <a:pt x="170" y="22"/>
                    <a:pt x="170" y="22"/>
                    <a:pt x="170" y="22"/>
                  </a:cubicBezTo>
                  <a:lnTo>
                    <a:pt x="170"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sp>
          <p:nvSpPr>
            <p:cNvPr id="35" name="Freeform 238">
              <a:extLst>
                <a:ext uri="{FF2B5EF4-FFF2-40B4-BE49-F238E27FC236}">
                  <a16:creationId xmlns:a16="http://schemas.microsoft.com/office/drawing/2014/main" id="{221D620D-90CF-40BB-874D-FE91AD22338F}"/>
                </a:ext>
              </a:extLst>
            </p:cNvPr>
            <p:cNvSpPr>
              <a:spLocks/>
            </p:cNvSpPr>
            <p:nvPr/>
          </p:nvSpPr>
          <p:spPr bwMode="auto">
            <a:xfrm>
              <a:off x="2360016" y="3681545"/>
              <a:ext cx="367006" cy="417404"/>
            </a:xfrm>
            <a:custGeom>
              <a:avLst/>
              <a:gdLst>
                <a:gd name="T0" fmla="*/ 181 w 192"/>
                <a:gd name="T1" fmla="*/ 0 h 192"/>
                <a:gd name="T2" fmla="*/ 96 w 192"/>
                <a:gd name="T3" fmla="*/ 0 h 192"/>
                <a:gd name="T4" fmla="*/ 85 w 192"/>
                <a:gd name="T5" fmla="*/ 10 h 192"/>
                <a:gd name="T6" fmla="*/ 96 w 192"/>
                <a:gd name="T7" fmla="*/ 21 h 192"/>
                <a:gd name="T8" fmla="*/ 170 w 192"/>
                <a:gd name="T9" fmla="*/ 21 h 192"/>
                <a:gd name="T10" fmla="*/ 170 w 192"/>
                <a:gd name="T11" fmla="*/ 128 h 192"/>
                <a:gd name="T12" fmla="*/ 138 w 192"/>
                <a:gd name="T13" fmla="*/ 128 h 192"/>
                <a:gd name="T14" fmla="*/ 128 w 192"/>
                <a:gd name="T15" fmla="*/ 138 h 192"/>
                <a:gd name="T16" fmla="*/ 128 w 192"/>
                <a:gd name="T17" fmla="*/ 155 h 192"/>
                <a:gd name="T18" fmla="*/ 103 w 192"/>
                <a:gd name="T19" fmla="*/ 131 h 192"/>
                <a:gd name="T20" fmla="*/ 96 w 192"/>
                <a:gd name="T21" fmla="*/ 128 h 192"/>
                <a:gd name="T22" fmla="*/ 21 w 192"/>
                <a:gd name="T23" fmla="*/ 128 h 192"/>
                <a:gd name="T24" fmla="*/ 21 w 192"/>
                <a:gd name="T25" fmla="*/ 74 h 192"/>
                <a:gd name="T26" fmla="*/ 10 w 192"/>
                <a:gd name="T27" fmla="*/ 64 h 192"/>
                <a:gd name="T28" fmla="*/ 0 w 192"/>
                <a:gd name="T29" fmla="*/ 74 h 192"/>
                <a:gd name="T30" fmla="*/ 0 w 192"/>
                <a:gd name="T31" fmla="*/ 138 h 192"/>
                <a:gd name="T32" fmla="*/ 10 w 192"/>
                <a:gd name="T33" fmla="*/ 149 h 192"/>
                <a:gd name="T34" fmla="*/ 91 w 192"/>
                <a:gd name="T35" fmla="*/ 149 h 192"/>
                <a:gd name="T36" fmla="*/ 131 w 192"/>
                <a:gd name="T37" fmla="*/ 189 h 192"/>
                <a:gd name="T38" fmla="*/ 138 w 192"/>
                <a:gd name="T39" fmla="*/ 192 h 192"/>
                <a:gd name="T40" fmla="*/ 142 w 192"/>
                <a:gd name="T41" fmla="*/ 191 h 192"/>
                <a:gd name="T42" fmla="*/ 149 w 192"/>
                <a:gd name="T43" fmla="*/ 181 h 192"/>
                <a:gd name="T44" fmla="*/ 149 w 192"/>
                <a:gd name="T45" fmla="*/ 149 h 192"/>
                <a:gd name="T46" fmla="*/ 181 w 192"/>
                <a:gd name="T47" fmla="*/ 149 h 192"/>
                <a:gd name="T48" fmla="*/ 192 w 192"/>
                <a:gd name="T49" fmla="*/ 138 h 192"/>
                <a:gd name="T50" fmla="*/ 192 w 192"/>
                <a:gd name="T51" fmla="*/ 10 h 192"/>
                <a:gd name="T52" fmla="*/ 181 w 192"/>
                <a:gd name="T53"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2" h="192">
                  <a:moveTo>
                    <a:pt x="181" y="0"/>
                  </a:moveTo>
                  <a:cubicBezTo>
                    <a:pt x="96" y="0"/>
                    <a:pt x="96" y="0"/>
                    <a:pt x="96" y="0"/>
                  </a:cubicBezTo>
                  <a:cubicBezTo>
                    <a:pt x="90" y="0"/>
                    <a:pt x="85" y="4"/>
                    <a:pt x="85" y="10"/>
                  </a:cubicBezTo>
                  <a:cubicBezTo>
                    <a:pt x="85" y="16"/>
                    <a:pt x="90" y="21"/>
                    <a:pt x="96" y="21"/>
                  </a:cubicBezTo>
                  <a:cubicBezTo>
                    <a:pt x="170" y="21"/>
                    <a:pt x="170" y="21"/>
                    <a:pt x="170" y="21"/>
                  </a:cubicBezTo>
                  <a:cubicBezTo>
                    <a:pt x="170" y="128"/>
                    <a:pt x="170" y="128"/>
                    <a:pt x="170" y="128"/>
                  </a:cubicBezTo>
                  <a:cubicBezTo>
                    <a:pt x="138" y="128"/>
                    <a:pt x="138" y="128"/>
                    <a:pt x="138" y="128"/>
                  </a:cubicBezTo>
                  <a:cubicBezTo>
                    <a:pt x="132" y="128"/>
                    <a:pt x="128" y="132"/>
                    <a:pt x="128" y="138"/>
                  </a:cubicBezTo>
                  <a:cubicBezTo>
                    <a:pt x="128" y="155"/>
                    <a:pt x="128" y="155"/>
                    <a:pt x="128" y="155"/>
                  </a:cubicBezTo>
                  <a:cubicBezTo>
                    <a:pt x="103" y="131"/>
                    <a:pt x="103" y="131"/>
                    <a:pt x="103" y="131"/>
                  </a:cubicBezTo>
                  <a:cubicBezTo>
                    <a:pt x="101" y="129"/>
                    <a:pt x="98" y="128"/>
                    <a:pt x="96" y="128"/>
                  </a:cubicBezTo>
                  <a:cubicBezTo>
                    <a:pt x="21" y="128"/>
                    <a:pt x="21" y="128"/>
                    <a:pt x="21" y="128"/>
                  </a:cubicBezTo>
                  <a:cubicBezTo>
                    <a:pt x="21" y="74"/>
                    <a:pt x="21" y="74"/>
                    <a:pt x="21" y="74"/>
                  </a:cubicBezTo>
                  <a:cubicBezTo>
                    <a:pt x="21" y="68"/>
                    <a:pt x="16" y="64"/>
                    <a:pt x="10" y="64"/>
                  </a:cubicBezTo>
                  <a:cubicBezTo>
                    <a:pt x="4" y="64"/>
                    <a:pt x="0" y="68"/>
                    <a:pt x="0" y="74"/>
                  </a:cubicBezTo>
                  <a:cubicBezTo>
                    <a:pt x="0" y="138"/>
                    <a:pt x="0" y="138"/>
                    <a:pt x="0" y="138"/>
                  </a:cubicBezTo>
                  <a:cubicBezTo>
                    <a:pt x="0" y="144"/>
                    <a:pt x="4" y="149"/>
                    <a:pt x="10" y="149"/>
                  </a:cubicBezTo>
                  <a:cubicBezTo>
                    <a:pt x="91" y="149"/>
                    <a:pt x="91" y="149"/>
                    <a:pt x="91" y="149"/>
                  </a:cubicBezTo>
                  <a:cubicBezTo>
                    <a:pt x="131" y="189"/>
                    <a:pt x="131" y="189"/>
                    <a:pt x="131" y="189"/>
                  </a:cubicBezTo>
                  <a:cubicBezTo>
                    <a:pt x="133" y="191"/>
                    <a:pt x="136" y="192"/>
                    <a:pt x="138" y="192"/>
                  </a:cubicBezTo>
                  <a:cubicBezTo>
                    <a:pt x="140" y="192"/>
                    <a:pt x="141" y="191"/>
                    <a:pt x="142" y="191"/>
                  </a:cubicBezTo>
                  <a:cubicBezTo>
                    <a:pt x="146" y="189"/>
                    <a:pt x="149" y="185"/>
                    <a:pt x="149" y="181"/>
                  </a:cubicBezTo>
                  <a:cubicBezTo>
                    <a:pt x="149" y="149"/>
                    <a:pt x="149" y="149"/>
                    <a:pt x="149" y="149"/>
                  </a:cubicBezTo>
                  <a:cubicBezTo>
                    <a:pt x="181" y="149"/>
                    <a:pt x="181" y="149"/>
                    <a:pt x="181" y="149"/>
                  </a:cubicBezTo>
                  <a:cubicBezTo>
                    <a:pt x="187" y="149"/>
                    <a:pt x="192" y="144"/>
                    <a:pt x="192" y="138"/>
                  </a:cubicBezTo>
                  <a:cubicBezTo>
                    <a:pt x="192" y="10"/>
                    <a:pt x="192" y="10"/>
                    <a:pt x="192" y="10"/>
                  </a:cubicBezTo>
                  <a:cubicBezTo>
                    <a:pt x="192" y="4"/>
                    <a:pt x="187" y="0"/>
                    <a:pt x="18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grpSp>
      <p:grpSp>
        <p:nvGrpSpPr>
          <p:cNvPr id="36" name="Group 35">
            <a:extLst>
              <a:ext uri="{FF2B5EF4-FFF2-40B4-BE49-F238E27FC236}">
                <a16:creationId xmlns:a16="http://schemas.microsoft.com/office/drawing/2014/main" id="{CC12DEED-AC01-457B-A28B-FDCB20EF9915}"/>
              </a:ext>
            </a:extLst>
          </p:cNvPr>
          <p:cNvGrpSpPr/>
          <p:nvPr/>
        </p:nvGrpSpPr>
        <p:grpSpPr>
          <a:xfrm>
            <a:off x="1385928" y="2430936"/>
            <a:ext cx="560394" cy="430531"/>
            <a:chOff x="1366075" y="2237649"/>
            <a:chExt cx="560394" cy="430531"/>
          </a:xfrm>
          <a:solidFill>
            <a:schemeClr val="tx1"/>
          </a:solidFill>
        </p:grpSpPr>
        <p:sp>
          <p:nvSpPr>
            <p:cNvPr id="37" name="Freeform 657">
              <a:extLst>
                <a:ext uri="{FF2B5EF4-FFF2-40B4-BE49-F238E27FC236}">
                  <a16:creationId xmlns:a16="http://schemas.microsoft.com/office/drawing/2014/main" id="{2112C339-C658-410C-A1A7-55BA32B98D33}"/>
                </a:ext>
              </a:extLst>
            </p:cNvPr>
            <p:cNvSpPr>
              <a:spLocks noEditPoints="1"/>
            </p:cNvSpPr>
            <p:nvPr/>
          </p:nvSpPr>
          <p:spPr bwMode="auto">
            <a:xfrm>
              <a:off x="1366075" y="2237649"/>
              <a:ext cx="255051" cy="430531"/>
            </a:xfrm>
            <a:custGeom>
              <a:avLst/>
              <a:gdLst>
                <a:gd name="T0" fmla="*/ 96 w 107"/>
                <a:gd name="T1" fmla="*/ 0 h 192"/>
                <a:gd name="T2" fmla="*/ 11 w 107"/>
                <a:gd name="T3" fmla="*/ 0 h 192"/>
                <a:gd name="T4" fmla="*/ 0 w 107"/>
                <a:gd name="T5" fmla="*/ 10 h 192"/>
                <a:gd name="T6" fmla="*/ 0 w 107"/>
                <a:gd name="T7" fmla="*/ 96 h 192"/>
                <a:gd name="T8" fmla="*/ 11 w 107"/>
                <a:gd name="T9" fmla="*/ 106 h 192"/>
                <a:gd name="T10" fmla="*/ 85 w 107"/>
                <a:gd name="T11" fmla="*/ 106 h 192"/>
                <a:gd name="T12" fmla="*/ 11 w 107"/>
                <a:gd name="T13" fmla="*/ 170 h 192"/>
                <a:gd name="T14" fmla="*/ 0 w 107"/>
                <a:gd name="T15" fmla="*/ 181 h 192"/>
                <a:gd name="T16" fmla="*/ 11 w 107"/>
                <a:gd name="T17" fmla="*/ 192 h 192"/>
                <a:gd name="T18" fmla="*/ 107 w 107"/>
                <a:gd name="T19" fmla="*/ 96 h 192"/>
                <a:gd name="T20" fmla="*/ 107 w 107"/>
                <a:gd name="T21" fmla="*/ 10 h 192"/>
                <a:gd name="T22" fmla="*/ 96 w 107"/>
                <a:gd name="T23" fmla="*/ 0 h 192"/>
                <a:gd name="T24" fmla="*/ 22 w 107"/>
                <a:gd name="T25" fmla="*/ 21 h 192"/>
                <a:gd name="T26" fmla="*/ 86 w 107"/>
                <a:gd name="T27" fmla="*/ 21 h 192"/>
                <a:gd name="T28" fmla="*/ 86 w 107"/>
                <a:gd name="T29" fmla="*/ 85 h 192"/>
                <a:gd name="T30" fmla="*/ 22 w 107"/>
                <a:gd name="T31" fmla="*/ 85 h 192"/>
                <a:gd name="T32" fmla="*/ 22 w 107"/>
                <a:gd name="T33" fmla="*/ 2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92">
                  <a:moveTo>
                    <a:pt x="96" y="0"/>
                  </a:moveTo>
                  <a:cubicBezTo>
                    <a:pt x="11" y="0"/>
                    <a:pt x="11" y="0"/>
                    <a:pt x="11" y="0"/>
                  </a:cubicBezTo>
                  <a:cubicBezTo>
                    <a:pt x="5" y="0"/>
                    <a:pt x="0" y="4"/>
                    <a:pt x="0" y="10"/>
                  </a:cubicBezTo>
                  <a:cubicBezTo>
                    <a:pt x="0" y="96"/>
                    <a:pt x="0" y="96"/>
                    <a:pt x="0" y="96"/>
                  </a:cubicBezTo>
                  <a:cubicBezTo>
                    <a:pt x="0" y="102"/>
                    <a:pt x="5" y="106"/>
                    <a:pt x="11" y="106"/>
                  </a:cubicBezTo>
                  <a:cubicBezTo>
                    <a:pt x="85" y="106"/>
                    <a:pt x="85" y="106"/>
                    <a:pt x="85" y="106"/>
                  </a:cubicBezTo>
                  <a:cubicBezTo>
                    <a:pt x="80" y="143"/>
                    <a:pt x="50" y="170"/>
                    <a:pt x="11" y="170"/>
                  </a:cubicBezTo>
                  <a:cubicBezTo>
                    <a:pt x="5" y="170"/>
                    <a:pt x="0" y="175"/>
                    <a:pt x="0" y="181"/>
                  </a:cubicBezTo>
                  <a:cubicBezTo>
                    <a:pt x="0" y="187"/>
                    <a:pt x="5" y="192"/>
                    <a:pt x="11" y="192"/>
                  </a:cubicBezTo>
                  <a:cubicBezTo>
                    <a:pt x="66" y="192"/>
                    <a:pt x="107" y="150"/>
                    <a:pt x="107" y="96"/>
                  </a:cubicBezTo>
                  <a:cubicBezTo>
                    <a:pt x="107" y="10"/>
                    <a:pt x="107" y="10"/>
                    <a:pt x="107" y="10"/>
                  </a:cubicBezTo>
                  <a:cubicBezTo>
                    <a:pt x="107" y="4"/>
                    <a:pt x="102" y="0"/>
                    <a:pt x="96" y="0"/>
                  </a:cubicBezTo>
                  <a:close/>
                  <a:moveTo>
                    <a:pt x="22" y="21"/>
                  </a:moveTo>
                  <a:cubicBezTo>
                    <a:pt x="86" y="21"/>
                    <a:pt x="86" y="21"/>
                    <a:pt x="86" y="21"/>
                  </a:cubicBezTo>
                  <a:cubicBezTo>
                    <a:pt x="86" y="85"/>
                    <a:pt x="86" y="85"/>
                    <a:pt x="86" y="85"/>
                  </a:cubicBezTo>
                  <a:cubicBezTo>
                    <a:pt x="22" y="85"/>
                    <a:pt x="22" y="85"/>
                    <a:pt x="22" y="85"/>
                  </a:cubicBezTo>
                  <a:lnTo>
                    <a:pt x="22" y="21"/>
                  </a:lnTo>
                  <a:close/>
                </a:path>
              </a:pathLst>
            </a:custGeom>
            <a:grpFill/>
            <a:ln>
              <a:solidFill>
                <a:schemeClr val="tx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sp>
          <p:nvSpPr>
            <p:cNvPr id="38" name="Freeform 658">
              <a:extLst>
                <a:ext uri="{FF2B5EF4-FFF2-40B4-BE49-F238E27FC236}">
                  <a16:creationId xmlns:a16="http://schemas.microsoft.com/office/drawing/2014/main" id="{57167D5F-335C-4710-83A4-8740F0EA3D1D}"/>
                </a:ext>
              </a:extLst>
            </p:cNvPr>
            <p:cNvSpPr>
              <a:spLocks noEditPoints="1"/>
            </p:cNvSpPr>
            <p:nvPr/>
          </p:nvSpPr>
          <p:spPr bwMode="auto">
            <a:xfrm>
              <a:off x="1671418" y="2237649"/>
              <a:ext cx="255051" cy="430531"/>
            </a:xfrm>
            <a:custGeom>
              <a:avLst/>
              <a:gdLst>
                <a:gd name="T0" fmla="*/ 96 w 107"/>
                <a:gd name="T1" fmla="*/ 0 h 192"/>
                <a:gd name="T2" fmla="*/ 11 w 107"/>
                <a:gd name="T3" fmla="*/ 0 h 192"/>
                <a:gd name="T4" fmla="*/ 0 w 107"/>
                <a:gd name="T5" fmla="*/ 10 h 192"/>
                <a:gd name="T6" fmla="*/ 0 w 107"/>
                <a:gd name="T7" fmla="*/ 96 h 192"/>
                <a:gd name="T8" fmla="*/ 11 w 107"/>
                <a:gd name="T9" fmla="*/ 106 h 192"/>
                <a:gd name="T10" fmla="*/ 85 w 107"/>
                <a:gd name="T11" fmla="*/ 106 h 192"/>
                <a:gd name="T12" fmla="*/ 11 w 107"/>
                <a:gd name="T13" fmla="*/ 170 h 192"/>
                <a:gd name="T14" fmla="*/ 0 w 107"/>
                <a:gd name="T15" fmla="*/ 181 h 192"/>
                <a:gd name="T16" fmla="*/ 11 w 107"/>
                <a:gd name="T17" fmla="*/ 192 h 192"/>
                <a:gd name="T18" fmla="*/ 107 w 107"/>
                <a:gd name="T19" fmla="*/ 96 h 192"/>
                <a:gd name="T20" fmla="*/ 107 w 107"/>
                <a:gd name="T21" fmla="*/ 10 h 192"/>
                <a:gd name="T22" fmla="*/ 96 w 107"/>
                <a:gd name="T23" fmla="*/ 0 h 192"/>
                <a:gd name="T24" fmla="*/ 22 w 107"/>
                <a:gd name="T25" fmla="*/ 21 h 192"/>
                <a:gd name="T26" fmla="*/ 86 w 107"/>
                <a:gd name="T27" fmla="*/ 21 h 192"/>
                <a:gd name="T28" fmla="*/ 86 w 107"/>
                <a:gd name="T29" fmla="*/ 85 h 192"/>
                <a:gd name="T30" fmla="*/ 22 w 107"/>
                <a:gd name="T31" fmla="*/ 85 h 192"/>
                <a:gd name="T32" fmla="*/ 22 w 107"/>
                <a:gd name="T33" fmla="*/ 2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92">
                  <a:moveTo>
                    <a:pt x="96" y="0"/>
                  </a:moveTo>
                  <a:cubicBezTo>
                    <a:pt x="11" y="0"/>
                    <a:pt x="11" y="0"/>
                    <a:pt x="11" y="0"/>
                  </a:cubicBezTo>
                  <a:cubicBezTo>
                    <a:pt x="5" y="0"/>
                    <a:pt x="0" y="4"/>
                    <a:pt x="0" y="10"/>
                  </a:cubicBezTo>
                  <a:cubicBezTo>
                    <a:pt x="0" y="96"/>
                    <a:pt x="0" y="96"/>
                    <a:pt x="0" y="96"/>
                  </a:cubicBezTo>
                  <a:cubicBezTo>
                    <a:pt x="0" y="102"/>
                    <a:pt x="5" y="106"/>
                    <a:pt x="11" y="106"/>
                  </a:cubicBezTo>
                  <a:cubicBezTo>
                    <a:pt x="85" y="106"/>
                    <a:pt x="85" y="106"/>
                    <a:pt x="85" y="106"/>
                  </a:cubicBezTo>
                  <a:cubicBezTo>
                    <a:pt x="80" y="143"/>
                    <a:pt x="50" y="170"/>
                    <a:pt x="11" y="170"/>
                  </a:cubicBezTo>
                  <a:cubicBezTo>
                    <a:pt x="5" y="170"/>
                    <a:pt x="0" y="175"/>
                    <a:pt x="0" y="181"/>
                  </a:cubicBezTo>
                  <a:cubicBezTo>
                    <a:pt x="0" y="187"/>
                    <a:pt x="5" y="192"/>
                    <a:pt x="11" y="192"/>
                  </a:cubicBezTo>
                  <a:cubicBezTo>
                    <a:pt x="66" y="192"/>
                    <a:pt x="107" y="150"/>
                    <a:pt x="107" y="96"/>
                  </a:cubicBezTo>
                  <a:cubicBezTo>
                    <a:pt x="107" y="10"/>
                    <a:pt x="107" y="10"/>
                    <a:pt x="107" y="10"/>
                  </a:cubicBezTo>
                  <a:cubicBezTo>
                    <a:pt x="107" y="4"/>
                    <a:pt x="102" y="0"/>
                    <a:pt x="96" y="0"/>
                  </a:cubicBezTo>
                  <a:close/>
                  <a:moveTo>
                    <a:pt x="22" y="21"/>
                  </a:moveTo>
                  <a:cubicBezTo>
                    <a:pt x="86" y="21"/>
                    <a:pt x="86" y="21"/>
                    <a:pt x="86" y="21"/>
                  </a:cubicBezTo>
                  <a:cubicBezTo>
                    <a:pt x="86" y="85"/>
                    <a:pt x="86" y="85"/>
                    <a:pt x="86" y="85"/>
                  </a:cubicBezTo>
                  <a:cubicBezTo>
                    <a:pt x="22" y="85"/>
                    <a:pt x="22" y="85"/>
                    <a:pt x="22" y="85"/>
                  </a:cubicBezTo>
                  <a:lnTo>
                    <a:pt x="22" y="21"/>
                  </a:lnTo>
                  <a:close/>
                </a:path>
              </a:pathLst>
            </a:custGeom>
            <a:grpFill/>
            <a:ln>
              <a:solidFill>
                <a:schemeClr val="tx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grpSp>
    </p:spTree>
    <p:extLst>
      <p:ext uri="{BB962C8B-B14F-4D97-AF65-F5344CB8AC3E}">
        <p14:creationId xmlns:p14="http://schemas.microsoft.com/office/powerpoint/2010/main" val="30857955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a:extLst>
              <a:ext uri="{FF2B5EF4-FFF2-40B4-BE49-F238E27FC236}">
                <a16:creationId xmlns:a16="http://schemas.microsoft.com/office/drawing/2014/main" id="{695DAD4C-0CE2-4525-9F61-AD680245254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8" name="think-cell Slide" r:id="rId6" imgW="395" imgH="396" progId="TCLayout.ActiveDocument.1">
                  <p:embed/>
                </p:oleObj>
              </mc:Choice>
              <mc:Fallback>
                <p:oleObj name="think-cell Slide" r:id="rId6" imgW="395" imgH="396" progId="TCLayout.ActiveDocument.1">
                  <p:embed/>
                  <p:pic>
                    <p:nvPicPr>
                      <p:cNvPr id="75" name="Object 74" hidden="1">
                        <a:extLst>
                          <a:ext uri="{FF2B5EF4-FFF2-40B4-BE49-F238E27FC236}">
                            <a16:creationId xmlns:a16="http://schemas.microsoft.com/office/drawing/2014/main" id="{695DAD4C-0CE2-4525-9F61-AD680245254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9" name="Rectangle 78" hidden="1">
            <a:extLst>
              <a:ext uri="{FF2B5EF4-FFF2-40B4-BE49-F238E27FC236}">
                <a16:creationId xmlns:a16="http://schemas.microsoft.com/office/drawing/2014/main" id="{F564CD28-D350-473F-913B-9FB89DFAEB7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a:sym typeface="Chronicle Display Black"/>
            </a:endParaRPr>
          </a:p>
        </p:txBody>
      </p:sp>
      <p:sp>
        <p:nvSpPr>
          <p:cNvPr id="76" name="Title 75">
            <a:extLst>
              <a:ext uri="{FF2B5EF4-FFF2-40B4-BE49-F238E27FC236}">
                <a16:creationId xmlns:a16="http://schemas.microsoft.com/office/drawing/2014/main" id="{EB193515-D70A-431B-ADBD-C16F3AE18D23}"/>
              </a:ext>
            </a:extLst>
          </p:cNvPr>
          <p:cNvSpPr>
            <a:spLocks noGrp="1"/>
          </p:cNvSpPr>
          <p:nvPr>
            <p:ph type="title"/>
          </p:nvPr>
        </p:nvSpPr>
        <p:spPr/>
        <p:txBody>
          <a:bodyPr/>
          <a:lstStyle/>
          <a:p>
            <a:r>
              <a:rPr lang="en-US" dirty="0"/>
              <a:t>Workshop Agenda</a:t>
            </a:r>
          </a:p>
        </p:txBody>
      </p:sp>
      <p:sp>
        <p:nvSpPr>
          <p:cNvPr id="77" name="Text Placeholder 76">
            <a:extLst>
              <a:ext uri="{FF2B5EF4-FFF2-40B4-BE49-F238E27FC236}">
                <a16:creationId xmlns:a16="http://schemas.microsoft.com/office/drawing/2014/main" id="{F98039ED-FD1C-42D1-A99C-50731A7758D1}"/>
              </a:ext>
            </a:extLst>
          </p:cNvPr>
          <p:cNvSpPr>
            <a:spLocks noGrp="1"/>
          </p:cNvSpPr>
          <p:nvPr>
            <p:ph type="body" sz="quarter" idx="14"/>
          </p:nvPr>
        </p:nvSpPr>
        <p:spPr>
          <a:xfrm>
            <a:off x="914721" y="1353312"/>
            <a:ext cx="10362880" cy="475488"/>
          </a:xfrm>
        </p:spPr>
        <p:txBody>
          <a:bodyPr/>
          <a:lstStyle/>
          <a:p>
            <a:r>
              <a:rPr lang="en-US" dirty="0"/>
              <a:t>The majority of the workshop will focus on discussing the list of operating model concepts, evaluating their feasibility, and prioritizing those that client is most interested in exploring in depth</a:t>
            </a:r>
          </a:p>
          <a:p>
            <a:endParaRPr lang="en-US" dirty="0"/>
          </a:p>
        </p:txBody>
      </p:sp>
      <p:sp>
        <p:nvSpPr>
          <p:cNvPr id="6" name="Text Placeholder 7">
            <a:extLst>
              <a:ext uri="{FF2B5EF4-FFF2-40B4-BE49-F238E27FC236}">
                <a16:creationId xmlns:a16="http://schemas.microsoft.com/office/drawing/2014/main" id="{0043D124-7CD8-4230-A57F-B478AA3664DA}"/>
              </a:ext>
            </a:extLst>
          </p:cNvPr>
          <p:cNvSpPr txBox="1">
            <a:spLocks/>
          </p:cNvSpPr>
          <p:nvPr/>
        </p:nvSpPr>
        <p:spPr>
          <a:xfrm>
            <a:off x="-189053" y="192354"/>
            <a:ext cx="11252200" cy="757255"/>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600" dirty="0">
              <a:latin typeface="+mj-lt"/>
            </a:endParaRPr>
          </a:p>
        </p:txBody>
      </p:sp>
      <p:sp>
        <p:nvSpPr>
          <p:cNvPr id="7" name="Text Placeholder 4">
            <a:extLst>
              <a:ext uri="{FF2B5EF4-FFF2-40B4-BE49-F238E27FC236}">
                <a16:creationId xmlns:a16="http://schemas.microsoft.com/office/drawing/2014/main" id="{034AA50E-73C3-42BB-9A5D-C121A249D29B}"/>
              </a:ext>
            </a:extLst>
          </p:cNvPr>
          <p:cNvSpPr txBox="1">
            <a:spLocks/>
          </p:cNvSpPr>
          <p:nvPr/>
        </p:nvSpPr>
        <p:spPr bwMode="gray">
          <a:xfrm>
            <a:off x="649715" y="1902212"/>
            <a:ext cx="4114800" cy="205525"/>
          </a:xfrm>
          <a:prstGeom prst="rect">
            <a:avLst/>
          </a:prstGeom>
          <a:noFill/>
        </p:spPr>
        <p:txBody>
          <a:bodyPr vert="horz" lIns="0" tIns="0" rIns="0" bIns="0" rtlCol="0">
            <a:noAutofit/>
          </a:bodyPr>
          <a:lstStyle>
            <a:lvl1pPr marL="0" indent="0" algn="l" defTabSz="914400" rtl="0" eaLnBrk="1" latinLnBrk="0" hangingPunct="1">
              <a:spcBef>
                <a:spcPts val="1200"/>
              </a:spcBef>
              <a:buSzPct val="100000"/>
              <a:buFont typeface="Arial" panose="020B0604020202020204" pitchFamily="34" charset="0"/>
              <a:buNone/>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761147" rtl="0" eaLnBrk="1" fontAlgn="auto" latinLnBrk="0" hangingPunct="1">
              <a:lnSpc>
                <a:spcPct val="120000"/>
              </a:lnSpc>
              <a:spcBef>
                <a:spcPts val="0"/>
              </a:spcBef>
              <a:spcAft>
                <a:spcPts val="0"/>
              </a:spcAft>
              <a:buClrTx/>
              <a:buSzPct val="100000"/>
              <a:buFont typeface="Arial" panose="020B0604020202020204" pitchFamily="34" charset="0"/>
              <a:buNone/>
              <a:tabLst/>
              <a:defRPr/>
            </a:pPr>
            <a:r>
              <a:rPr kumimoji="0" lang="en-US" sz="1400" b="1" i="0" u="none" strike="noStrike" kern="900" cap="all" spc="133" normalizeH="0" baseline="0" noProof="0" dirty="0">
                <a:ln>
                  <a:noFill/>
                </a:ln>
                <a:solidFill>
                  <a:srgbClr val="86BC25"/>
                </a:solidFill>
                <a:effectLst/>
                <a:uLnTx/>
                <a:uFillTx/>
                <a:latin typeface="Open Sans"/>
                <a:ea typeface="+mn-ea"/>
                <a:cs typeface="+mn-cs"/>
              </a:rPr>
              <a:t>GETTING THE RIGHT IDEAS </a:t>
            </a:r>
          </a:p>
        </p:txBody>
      </p:sp>
      <p:cxnSp>
        <p:nvCxnSpPr>
          <p:cNvPr id="8" name="Straight Connector 7">
            <a:extLst>
              <a:ext uri="{FF2B5EF4-FFF2-40B4-BE49-F238E27FC236}">
                <a16:creationId xmlns:a16="http://schemas.microsoft.com/office/drawing/2014/main" id="{2DA42E31-94DC-46B4-88B0-B2DBEBAAA343}"/>
              </a:ext>
            </a:extLst>
          </p:cNvPr>
          <p:cNvCxnSpPr/>
          <p:nvPr/>
        </p:nvCxnSpPr>
        <p:spPr>
          <a:xfrm>
            <a:off x="659303" y="2175901"/>
            <a:ext cx="10916439" cy="0"/>
          </a:xfrm>
          <a:prstGeom prst="line">
            <a:avLst/>
          </a:prstGeom>
          <a:noFill/>
          <a:ln w="19050" cap="flat" cmpd="sng" algn="ctr">
            <a:solidFill>
              <a:schemeClr val="tx1"/>
            </a:solidFill>
            <a:prstDash val="solid"/>
          </a:ln>
          <a:effectLst/>
        </p:spPr>
      </p:cxnSp>
      <p:sp>
        <p:nvSpPr>
          <p:cNvPr id="9" name="Text Placeholder 4">
            <a:extLst>
              <a:ext uri="{FF2B5EF4-FFF2-40B4-BE49-F238E27FC236}">
                <a16:creationId xmlns:a16="http://schemas.microsoft.com/office/drawing/2014/main" id="{19BBCFBC-6882-4099-B9BF-3DAD9B7122B9}"/>
              </a:ext>
            </a:extLst>
          </p:cNvPr>
          <p:cNvSpPr txBox="1">
            <a:spLocks/>
          </p:cNvSpPr>
          <p:nvPr/>
        </p:nvSpPr>
        <p:spPr bwMode="gray">
          <a:xfrm>
            <a:off x="656494" y="3252338"/>
            <a:ext cx="1498414" cy="440437"/>
          </a:xfrm>
          <a:prstGeom prst="rect">
            <a:avLst/>
          </a:prstGeom>
          <a:noFill/>
        </p:spPr>
        <p:txBody>
          <a:bodyPr vert="horz" lIns="0" tIns="0" rIns="0" bIns="0" rtlCol="0" anchor="ctr">
            <a:noAutofit/>
          </a:bodyPr>
          <a:lstStyle>
            <a:lvl1pPr marL="0" indent="0" algn="l" defTabSz="914400" rtl="0" eaLnBrk="1" latinLnBrk="0" hangingPunct="1">
              <a:spcBef>
                <a:spcPts val="1200"/>
              </a:spcBef>
              <a:buSzPct val="100000"/>
              <a:buFont typeface="Arial" panose="020B0604020202020204" pitchFamily="34" charset="0"/>
              <a:buNone/>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570860" rtl="0" eaLnBrk="1" fontAlgn="auto" latinLnBrk="0" hangingPunct="1">
              <a:lnSpc>
                <a:spcPct val="120000"/>
              </a:lnSpc>
              <a:spcBef>
                <a:spcPts val="0"/>
              </a:spcBef>
              <a:spcAft>
                <a:spcPts val="0"/>
              </a:spcAft>
              <a:buClrTx/>
              <a:buSzPct val="100000"/>
              <a:buFont typeface="Arial" panose="020B0604020202020204" pitchFamily="34" charset="0"/>
              <a:buNone/>
              <a:tabLst/>
              <a:defRPr/>
            </a:pPr>
            <a:r>
              <a:rPr kumimoji="0" lang="en-US" sz="1200" b="1" i="0" u="none" strike="noStrike" kern="600" cap="none" spc="0" normalizeH="0" baseline="0" noProof="0" dirty="0">
                <a:ln>
                  <a:noFill/>
                </a:ln>
                <a:solidFill>
                  <a:srgbClr val="1E1E1E"/>
                </a:solidFill>
                <a:effectLst/>
                <a:uLnTx/>
                <a:uFillTx/>
                <a:latin typeface="Open Sans"/>
                <a:ea typeface="Verdana" panose="020B0604030504040204" pitchFamily="34" charset="0"/>
                <a:cs typeface="Verdana" panose="020B0604030504040204" pitchFamily="34" charset="0"/>
              </a:rPr>
              <a:t>Overview of Market Trends</a:t>
            </a:r>
          </a:p>
        </p:txBody>
      </p:sp>
      <p:cxnSp>
        <p:nvCxnSpPr>
          <p:cNvPr id="10" name="Straight Connector 9">
            <a:extLst>
              <a:ext uri="{FF2B5EF4-FFF2-40B4-BE49-F238E27FC236}">
                <a16:creationId xmlns:a16="http://schemas.microsoft.com/office/drawing/2014/main" id="{FECA6758-D683-424A-BFF0-72B15FAAE34A}"/>
              </a:ext>
            </a:extLst>
          </p:cNvPr>
          <p:cNvCxnSpPr/>
          <p:nvPr/>
        </p:nvCxnSpPr>
        <p:spPr>
          <a:xfrm>
            <a:off x="687096" y="3228756"/>
            <a:ext cx="1419985" cy="0"/>
          </a:xfrm>
          <a:prstGeom prst="line">
            <a:avLst/>
          </a:prstGeom>
          <a:noFill/>
          <a:ln w="19050" cap="flat" cmpd="sng" algn="ctr">
            <a:solidFill>
              <a:schemeClr val="tx1"/>
            </a:solidFill>
            <a:prstDash val="solid"/>
          </a:ln>
          <a:effectLst/>
        </p:spPr>
      </p:cxnSp>
      <p:cxnSp>
        <p:nvCxnSpPr>
          <p:cNvPr id="11" name="Straight Connector 10">
            <a:extLst>
              <a:ext uri="{FF2B5EF4-FFF2-40B4-BE49-F238E27FC236}">
                <a16:creationId xmlns:a16="http://schemas.microsoft.com/office/drawing/2014/main" id="{EEDA709C-0534-4618-920B-52A46E38BFC0}"/>
              </a:ext>
            </a:extLst>
          </p:cNvPr>
          <p:cNvCxnSpPr/>
          <p:nvPr/>
        </p:nvCxnSpPr>
        <p:spPr>
          <a:xfrm>
            <a:off x="678483" y="3724690"/>
            <a:ext cx="1419985" cy="0"/>
          </a:xfrm>
          <a:prstGeom prst="line">
            <a:avLst/>
          </a:prstGeom>
          <a:noFill/>
          <a:ln w="19050" cap="flat" cmpd="sng" algn="ctr">
            <a:solidFill>
              <a:schemeClr val="tx1"/>
            </a:solidFill>
            <a:prstDash val="solid"/>
          </a:ln>
          <a:effectLst/>
        </p:spPr>
      </p:cxnSp>
      <p:sp>
        <p:nvSpPr>
          <p:cNvPr id="12" name="Rectangle 11">
            <a:extLst>
              <a:ext uri="{FF2B5EF4-FFF2-40B4-BE49-F238E27FC236}">
                <a16:creationId xmlns:a16="http://schemas.microsoft.com/office/drawing/2014/main" id="{55522888-51D0-4C71-9433-B0616CA28DF3}"/>
              </a:ext>
            </a:extLst>
          </p:cNvPr>
          <p:cNvSpPr/>
          <p:nvPr/>
        </p:nvSpPr>
        <p:spPr>
          <a:xfrm>
            <a:off x="687096" y="2289172"/>
            <a:ext cx="1419985" cy="846942"/>
          </a:xfrm>
          <a:prstGeom prst="rect">
            <a:avLst/>
          </a:prstGeom>
          <a:solidFill>
            <a:srgbClr val="F2F2F2"/>
          </a:solidFill>
          <a:ln>
            <a:noFill/>
          </a:ln>
          <a:effectLst/>
        </p:spPr>
        <p:style>
          <a:lnRef idx="1">
            <a:schemeClr val="accent1"/>
          </a:lnRef>
          <a:fillRef idx="3">
            <a:schemeClr val="accent1"/>
          </a:fillRef>
          <a:effectRef idx="2">
            <a:schemeClr val="accent1"/>
          </a:effectRef>
          <a:fontRef idx="minor">
            <a:schemeClr val="lt1"/>
          </a:fontRef>
        </p:style>
        <p:txBody>
          <a:bodyPr lIns="57086" tIns="28543" rIns="57086" bIns="28543" spcCol="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44825C51-35C5-4B34-A0F9-0030BFB10144}"/>
              </a:ext>
            </a:extLst>
          </p:cNvPr>
          <p:cNvSpPr/>
          <p:nvPr/>
        </p:nvSpPr>
        <p:spPr>
          <a:xfrm>
            <a:off x="580887" y="4416833"/>
            <a:ext cx="1649631" cy="980973"/>
          </a:xfrm>
          <a:prstGeom prst="rect">
            <a:avLst/>
          </a:prstGeom>
        </p:spPr>
        <p:txBody>
          <a:bodyPr wrap="square" lIns="57086" tIns="28543" rIns="57086" bIns="28543">
            <a:spAutoFit/>
          </a:bodyPr>
          <a:lstStyle/>
          <a:p>
            <a:pPr marL="0" marR="0" lvl="0" indent="0" algn="ctr" defTabSz="57086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1E1E1E"/>
                </a:solidFill>
                <a:effectLst/>
                <a:uLnTx/>
                <a:uFillTx/>
                <a:latin typeface="Open Sans"/>
                <a:ea typeface="Verdana" panose="020B0604030504040204" pitchFamily="34" charset="0"/>
                <a:cs typeface="Verdana" panose="020B0604030504040204" pitchFamily="34" charset="0"/>
              </a:rPr>
              <a:t>Introduce workshop objectives and review key macro trends from competitor analysis and VOC survey</a:t>
            </a:r>
          </a:p>
        </p:txBody>
      </p:sp>
      <p:sp>
        <p:nvSpPr>
          <p:cNvPr id="14" name="Rectangle 13">
            <a:extLst>
              <a:ext uri="{FF2B5EF4-FFF2-40B4-BE49-F238E27FC236}">
                <a16:creationId xmlns:a16="http://schemas.microsoft.com/office/drawing/2014/main" id="{564DA5BC-BE8D-4708-A786-20F884CB972A}"/>
              </a:ext>
            </a:extLst>
          </p:cNvPr>
          <p:cNvSpPr/>
          <p:nvPr/>
        </p:nvSpPr>
        <p:spPr>
          <a:xfrm>
            <a:off x="768738" y="3847688"/>
            <a:ext cx="1273925" cy="500842"/>
          </a:xfrm>
          <a:prstGeom prst="rect">
            <a:avLst/>
          </a:prstGeom>
        </p:spPr>
        <p:txBody>
          <a:bodyPr wrap="square" lIns="57086" tIns="28543" rIns="57086" bIns="28543">
            <a:spAutoFit/>
          </a:bodyPr>
          <a:lstStyle/>
          <a:p>
            <a:pPr marL="0" marR="0" lvl="0" indent="0" algn="ctr" defTabSz="570860" rtl="0" eaLnBrk="1" fontAlgn="auto" latinLnBrk="0" hangingPunct="1">
              <a:lnSpc>
                <a:spcPct val="120000"/>
              </a:lnSpc>
              <a:spcBef>
                <a:spcPts val="0"/>
              </a:spcBef>
              <a:spcAft>
                <a:spcPts val="500"/>
              </a:spcAft>
              <a:buClrTx/>
              <a:buSzTx/>
              <a:buFontTx/>
              <a:buNone/>
              <a:tabLst/>
              <a:defRPr/>
            </a:pPr>
            <a:r>
              <a:rPr kumimoji="0" lang="en-US" sz="1200" b="0" i="0" u="none" strike="noStrike" kern="1200" cap="none" spc="0" normalizeH="0" baseline="0" noProof="0" dirty="0">
                <a:ln>
                  <a:noFill/>
                </a:ln>
                <a:solidFill>
                  <a:srgbClr val="1E1E1E"/>
                </a:solidFill>
                <a:effectLst/>
                <a:uLnTx/>
                <a:uFillTx/>
                <a:latin typeface="Open Sans"/>
                <a:ea typeface="Verdana" panose="020B0604030504040204" pitchFamily="34" charset="0"/>
                <a:cs typeface="Verdana" panose="020B0604030504040204" pitchFamily="34" charset="0"/>
              </a:rPr>
              <a:t>1:00 – 1:30</a:t>
            </a:r>
            <a:br>
              <a:rPr kumimoji="0" lang="en-US" sz="1200" b="0" i="0" u="none" strike="noStrike" kern="1200" cap="none" spc="0" normalizeH="0" baseline="0" noProof="0" dirty="0">
                <a:ln>
                  <a:noFill/>
                </a:ln>
                <a:solidFill>
                  <a:srgbClr val="1E1E1E"/>
                </a:solidFill>
                <a:effectLst/>
                <a:uLnTx/>
                <a:uFillTx/>
                <a:latin typeface="Open Sans"/>
                <a:ea typeface="Verdana" panose="020B0604030504040204" pitchFamily="34" charset="0"/>
                <a:cs typeface="Verdana" panose="020B0604030504040204" pitchFamily="34" charset="0"/>
              </a:rPr>
            </a:br>
            <a:r>
              <a:rPr kumimoji="0" lang="en-US" sz="1200" b="1" i="1" u="none" strike="noStrike" kern="1200" cap="none" spc="0" normalizeH="0" baseline="0" noProof="0" dirty="0">
                <a:ln>
                  <a:noFill/>
                </a:ln>
                <a:solidFill>
                  <a:srgbClr val="1E1E1E"/>
                </a:solidFill>
                <a:effectLst/>
                <a:uLnTx/>
                <a:uFillTx/>
                <a:latin typeface="Open Sans"/>
                <a:ea typeface="Verdana" panose="020B0604030504040204" pitchFamily="34" charset="0"/>
                <a:cs typeface="Verdana" panose="020B0604030504040204" pitchFamily="34" charset="0"/>
              </a:rPr>
              <a:t>30 minutes</a:t>
            </a:r>
          </a:p>
        </p:txBody>
      </p:sp>
      <p:cxnSp>
        <p:nvCxnSpPr>
          <p:cNvPr id="15" name="Straight Connector 14">
            <a:extLst>
              <a:ext uri="{FF2B5EF4-FFF2-40B4-BE49-F238E27FC236}">
                <a16:creationId xmlns:a16="http://schemas.microsoft.com/office/drawing/2014/main" id="{06FA944A-D551-4BF9-B101-566332531036}"/>
              </a:ext>
            </a:extLst>
          </p:cNvPr>
          <p:cNvCxnSpPr/>
          <p:nvPr/>
        </p:nvCxnSpPr>
        <p:spPr>
          <a:xfrm>
            <a:off x="2494650" y="3859612"/>
            <a:ext cx="0" cy="2103120"/>
          </a:xfrm>
          <a:prstGeom prst="line">
            <a:avLst/>
          </a:prstGeom>
          <a:ln w="9525" cmpd="sng">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6FE39833-18C2-4558-9DC8-20044D4FFCFD}"/>
              </a:ext>
            </a:extLst>
          </p:cNvPr>
          <p:cNvCxnSpPr/>
          <p:nvPr/>
        </p:nvCxnSpPr>
        <p:spPr>
          <a:xfrm>
            <a:off x="4811115" y="3859612"/>
            <a:ext cx="0" cy="2103120"/>
          </a:xfrm>
          <a:prstGeom prst="line">
            <a:avLst/>
          </a:prstGeom>
          <a:ln w="9525" cmpd="sng">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sp>
        <p:nvSpPr>
          <p:cNvPr id="17" name="Rectangle 16">
            <a:extLst>
              <a:ext uri="{FF2B5EF4-FFF2-40B4-BE49-F238E27FC236}">
                <a16:creationId xmlns:a16="http://schemas.microsoft.com/office/drawing/2014/main" id="{1DBD56E4-30B8-42E4-8A8F-4F21DF0EA6AA}"/>
              </a:ext>
            </a:extLst>
          </p:cNvPr>
          <p:cNvSpPr/>
          <p:nvPr/>
        </p:nvSpPr>
        <p:spPr>
          <a:xfrm>
            <a:off x="2949396" y="2289172"/>
            <a:ext cx="1419985" cy="846942"/>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57086" tIns="28543" rIns="57086" bIns="28543" spcCol="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Open Sans"/>
              <a:ea typeface="+mn-ea"/>
              <a:cs typeface="+mn-cs"/>
            </a:endParaRPr>
          </a:p>
        </p:txBody>
      </p:sp>
      <p:sp>
        <p:nvSpPr>
          <p:cNvPr id="18" name="Text Placeholder 4">
            <a:extLst>
              <a:ext uri="{FF2B5EF4-FFF2-40B4-BE49-F238E27FC236}">
                <a16:creationId xmlns:a16="http://schemas.microsoft.com/office/drawing/2014/main" id="{0786EE6D-CDC9-4B54-A0E6-AD64F710513F}"/>
              </a:ext>
            </a:extLst>
          </p:cNvPr>
          <p:cNvSpPr txBox="1">
            <a:spLocks/>
          </p:cNvSpPr>
          <p:nvPr/>
        </p:nvSpPr>
        <p:spPr bwMode="gray">
          <a:xfrm>
            <a:off x="2983558" y="3252338"/>
            <a:ext cx="1351663" cy="440437"/>
          </a:xfrm>
          <a:prstGeom prst="rect">
            <a:avLst/>
          </a:prstGeom>
          <a:noFill/>
        </p:spPr>
        <p:txBody>
          <a:bodyPr vert="horz" lIns="0" tIns="0" rIns="0" bIns="0" rtlCol="0" anchor="ctr">
            <a:noAutofit/>
          </a:bodyPr>
          <a:lstStyle>
            <a:lvl1pPr marL="0" indent="0" algn="l" defTabSz="914400" rtl="0" eaLnBrk="1" latinLnBrk="0" hangingPunct="1">
              <a:spcBef>
                <a:spcPts val="1200"/>
              </a:spcBef>
              <a:buSzPct val="100000"/>
              <a:buFont typeface="Arial" panose="020B0604020202020204" pitchFamily="34" charset="0"/>
              <a:buNone/>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570860" rtl="0" eaLnBrk="1" fontAlgn="auto" latinLnBrk="0" hangingPunct="1">
              <a:lnSpc>
                <a:spcPct val="120000"/>
              </a:lnSpc>
              <a:spcBef>
                <a:spcPts val="0"/>
              </a:spcBef>
              <a:spcAft>
                <a:spcPts val="0"/>
              </a:spcAft>
              <a:buClrTx/>
              <a:buSzPct val="100000"/>
              <a:buFont typeface="Arial" panose="020B0604020202020204" pitchFamily="34" charset="0"/>
              <a:buNone/>
              <a:tabLst/>
              <a:defRPr/>
            </a:pPr>
            <a:r>
              <a:rPr kumimoji="0" lang="en-US" sz="1200" b="1" i="0" u="none" strike="noStrike" kern="600" cap="none" spc="0" normalizeH="0" baseline="0" noProof="0" dirty="0">
                <a:ln>
                  <a:noFill/>
                </a:ln>
                <a:solidFill>
                  <a:srgbClr val="1E1E1E"/>
                </a:solidFill>
                <a:effectLst/>
                <a:uLnTx/>
                <a:uFillTx/>
                <a:latin typeface="Open Sans"/>
                <a:ea typeface="Verdana" panose="020B0604030504040204" pitchFamily="34" charset="0"/>
                <a:cs typeface="Verdana" panose="020B0604030504040204" pitchFamily="34" charset="0"/>
              </a:rPr>
              <a:t>Operating Model Concept Review</a:t>
            </a:r>
          </a:p>
        </p:txBody>
      </p:sp>
      <p:cxnSp>
        <p:nvCxnSpPr>
          <p:cNvPr id="19" name="Straight Connector 18">
            <a:extLst>
              <a:ext uri="{FF2B5EF4-FFF2-40B4-BE49-F238E27FC236}">
                <a16:creationId xmlns:a16="http://schemas.microsoft.com/office/drawing/2014/main" id="{EFA181C8-D465-4199-BA8B-8D4592ABA93B}"/>
              </a:ext>
            </a:extLst>
          </p:cNvPr>
          <p:cNvCxnSpPr/>
          <p:nvPr/>
        </p:nvCxnSpPr>
        <p:spPr>
          <a:xfrm>
            <a:off x="2921089" y="3228756"/>
            <a:ext cx="1419985" cy="0"/>
          </a:xfrm>
          <a:prstGeom prst="line">
            <a:avLst/>
          </a:prstGeom>
          <a:noFill/>
          <a:ln w="19050" cap="flat" cmpd="sng" algn="ctr">
            <a:solidFill>
              <a:schemeClr val="tx1"/>
            </a:solidFill>
            <a:prstDash val="solid"/>
          </a:ln>
          <a:effectLst/>
        </p:spPr>
      </p:cxnSp>
      <p:cxnSp>
        <p:nvCxnSpPr>
          <p:cNvPr id="20" name="Straight Connector 19">
            <a:extLst>
              <a:ext uri="{FF2B5EF4-FFF2-40B4-BE49-F238E27FC236}">
                <a16:creationId xmlns:a16="http://schemas.microsoft.com/office/drawing/2014/main" id="{93A68383-CB52-4E47-85B2-744BE9B26C59}"/>
              </a:ext>
            </a:extLst>
          </p:cNvPr>
          <p:cNvCxnSpPr/>
          <p:nvPr/>
        </p:nvCxnSpPr>
        <p:spPr>
          <a:xfrm>
            <a:off x="2921089" y="3724690"/>
            <a:ext cx="1419985" cy="0"/>
          </a:xfrm>
          <a:prstGeom prst="line">
            <a:avLst/>
          </a:prstGeom>
          <a:noFill/>
          <a:ln w="19050" cap="flat" cmpd="sng" algn="ctr">
            <a:solidFill>
              <a:schemeClr val="tx1"/>
            </a:solidFill>
            <a:prstDash val="solid"/>
          </a:ln>
          <a:effectLst/>
        </p:spPr>
      </p:cxnSp>
      <p:sp>
        <p:nvSpPr>
          <p:cNvPr id="21" name="Rectangle 20">
            <a:extLst>
              <a:ext uri="{FF2B5EF4-FFF2-40B4-BE49-F238E27FC236}">
                <a16:creationId xmlns:a16="http://schemas.microsoft.com/office/drawing/2014/main" id="{876750F6-3537-448D-824D-E71D25526124}"/>
              </a:ext>
            </a:extLst>
          </p:cNvPr>
          <p:cNvSpPr/>
          <p:nvPr/>
        </p:nvSpPr>
        <p:spPr>
          <a:xfrm>
            <a:off x="2796517" y="4416833"/>
            <a:ext cx="1725745" cy="1534971"/>
          </a:xfrm>
          <a:prstGeom prst="rect">
            <a:avLst/>
          </a:prstGeom>
        </p:spPr>
        <p:txBody>
          <a:bodyPr wrap="square" lIns="57086" tIns="28543" rIns="57086" bIns="28543">
            <a:spAutoFit/>
          </a:bodyPr>
          <a:lstStyle/>
          <a:p>
            <a:pPr marL="0" marR="0" lvl="0" indent="0" algn="ctr" defTabSz="57086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1E1E1E"/>
                </a:solidFill>
                <a:effectLst/>
                <a:uLnTx/>
                <a:uFillTx/>
                <a:latin typeface="Open Sans"/>
                <a:ea typeface="Verdana" panose="020B0604030504040204" pitchFamily="34" charset="0"/>
                <a:cs typeface="Verdana" panose="020B0604030504040204" pitchFamily="34" charset="0"/>
              </a:rPr>
              <a:t>Review and discuss the set of operating model concepts, their rationale, and how each might fit into client’s potential portfolio of growth initiatives</a:t>
            </a:r>
          </a:p>
        </p:txBody>
      </p:sp>
      <p:sp>
        <p:nvSpPr>
          <p:cNvPr id="22" name="Rectangle 21">
            <a:extLst>
              <a:ext uri="{FF2B5EF4-FFF2-40B4-BE49-F238E27FC236}">
                <a16:creationId xmlns:a16="http://schemas.microsoft.com/office/drawing/2014/main" id="{71C190CB-9B64-48BA-AA1E-F6231C70129C}"/>
              </a:ext>
            </a:extLst>
          </p:cNvPr>
          <p:cNvSpPr/>
          <p:nvPr/>
        </p:nvSpPr>
        <p:spPr>
          <a:xfrm>
            <a:off x="3022427" y="3847688"/>
            <a:ext cx="1273926" cy="500842"/>
          </a:xfrm>
          <a:prstGeom prst="rect">
            <a:avLst/>
          </a:prstGeom>
        </p:spPr>
        <p:txBody>
          <a:bodyPr wrap="square" lIns="57086" tIns="28543" rIns="57086" bIns="28543">
            <a:spAutoFit/>
          </a:bodyPr>
          <a:lstStyle/>
          <a:p>
            <a:pPr marL="0" marR="0" lvl="0" indent="0" algn="ctr" defTabSz="570860"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E1E1E"/>
                </a:solidFill>
                <a:effectLst/>
                <a:uLnTx/>
                <a:uFillTx/>
                <a:latin typeface="Open Sans"/>
                <a:ea typeface="Verdana" panose="020B0604030504040204" pitchFamily="34" charset="0"/>
                <a:cs typeface="Verdana" panose="020B0604030504040204" pitchFamily="34" charset="0"/>
              </a:rPr>
              <a:t>1:30 – 2:15</a:t>
            </a:r>
          </a:p>
          <a:p>
            <a:pPr marL="0" marR="0" lvl="0" indent="0" algn="ctr" defTabSz="570860" rtl="0" eaLnBrk="1" fontAlgn="auto" latinLnBrk="0" hangingPunct="1">
              <a:lnSpc>
                <a:spcPct val="12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1E1E1E"/>
                </a:solidFill>
                <a:effectLst/>
                <a:uLnTx/>
                <a:uFillTx/>
                <a:latin typeface="Open Sans"/>
                <a:ea typeface="Verdana" panose="020B0604030504040204" pitchFamily="34" charset="0"/>
                <a:cs typeface="Verdana" panose="020B0604030504040204" pitchFamily="34" charset="0"/>
              </a:rPr>
              <a:t>45 minutes</a:t>
            </a:r>
          </a:p>
        </p:txBody>
      </p:sp>
      <p:sp>
        <p:nvSpPr>
          <p:cNvPr id="23" name="Rectangle 22">
            <a:extLst>
              <a:ext uri="{FF2B5EF4-FFF2-40B4-BE49-F238E27FC236}">
                <a16:creationId xmlns:a16="http://schemas.microsoft.com/office/drawing/2014/main" id="{1132DF79-21BE-4FD8-9177-9FEE954084F5}"/>
              </a:ext>
            </a:extLst>
          </p:cNvPr>
          <p:cNvSpPr/>
          <p:nvPr/>
        </p:nvSpPr>
        <p:spPr>
          <a:xfrm>
            <a:off x="7711598" y="2289172"/>
            <a:ext cx="1419983" cy="846942"/>
          </a:xfrm>
          <a:prstGeom prst="rect">
            <a:avLst/>
          </a:prstGeom>
          <a:solidFill>
            <a:srgbClr val="F2F2F2"/>
          </a:solidFill>
          <a:ln>
            <a:noFill/>
          </a:ln>
          <a:effectLst/>
        </p:spPr>
        <p:style>
          <a:lnRef idx="1">
            <a:schemeClr val="accent1"/>
          </a:lnRef>
          <a:fillRef idx="3">
            <a:schemeClr val="accent1"/>
          </a:fillRef>
          <a:effectRef idx="2">
            <a:schemeClr val="accent1"/>
          </a:effectRef>
          <a:fontRef idx="minor">
            <a:schemeClr val="lt1"/>
          </a:fontRef>
        </p:style>
        <p:txBody>
          <a:bodyPr lIns="57086" tIns="28543" rIns="57086" bIns="28543" spcCol="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Open Sans"/>
              <a:ea typeface="+mn-ea"/>
              <a:cs typeface="+mn-cs"/>
            </a:endParaRPr>
          </a:p>
        </p:txBody>
      </p:sp>
      <p:sp>
        <p:nvSpPr>
          <p:cNvPr id="24" name="Text Placeholder 4">
            <a:extLst>
              <a:ext uri="{FF2B5EF4-FFF2-40B4-BE49-F238E27FC236}">
                <a16:creationId xmlns:a16="http://schemas.microsoft.com/office/drawing/2014/main" id="{E6A5966C-8DCE-4879-B401-246878F43BF8}"/>
              </a:ext>
            </a:extLst>
          </p:cNvPr>
          <p:cNvSpPr txBox="1">
            <a:spLocks/>
          </p:cNvSpPr>
          <p:nvPr/>
        </p:nvSpPr>
        <p:spPr bwMode="gray">
          <a:xfrm>
            <a:off x="7720278" y="3252338"/>
            <a:ext cx="1428487" cy="440437"/>
          </a:xfrm>
          <a:prstGeom prst="rect">
            <a:avLst/>
          </a:prstGeom>
          <a:noFill/>
        </p:spPr>
        <p:txBody>
          <a:bodyPr vert="horz" lIns="0" tIns="0" rIns="0" bIns="0" rtlCol="0" anchor="ctr">
            <a:noAutofit/>
          </a:bodyPr>
          <a:lstStyle>
            <a:lvl1pPr marL="0" indent="0" algn="l" defTabSz="914400" rtl="0" eaLnBrk="1" latinLnBrk="0" hangingPunct="1">
              <a:spcBef>
                <a:spcPts val="1200"/>
              </a:spcBef>
              <a:buSzPct val="100000"/>
              <a:buFont typeface="Arial" panose="020B0604020202020204" pitchFamily="34" charset="0"/>
              <a:buNone/>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570860" rtl="0" eaLnBrk="1" fontAlgn="auto" latinLnBrk="0" hangingPunct="1">
              <a:lnSpc>
                <a:spcPct val="120000"/>
              </a:lnSpc>
              <a:spcBef>
                <a:spcPts val="0"/>
              </a:spcBef>
              <a:spcAft>
                <a:spcPts val="0"/>
              </a:spcAft>
              <a:buClrTx/>
              <a:buSzPct val="100000"/>
              <a:buFont typeface="Arial" panose="020B0604020202020204" pitchFamily="34" charset="0"/>
              <a:buNone/>
              <a:tabLst/>
              <a:defRPr/>
            </a:pPr>
            <a:r>
              <a:rPr kumimoji="0" lang="en-US" sz="1200" b="1" i="0" u="none" strike="noStrike" kern="600" cap="none" spc="0" normalizeH="0" baseline="0" noProof="0" dirty="0">
                <a:ln>
                  <a:noFill/>
                </a:ln>
                <a:solidFill>
                  <a:prstClr val="black"/>
                </a:solidFill>
                <a:effectLst/>
                <a:uLnTx/>
                <a:uFillTx/>
                <a:latin typeface="Open Sans"/>
                <a:ea typeface="Verdana" panose="020B0604030504040204" pitchFamily="34" charset="0"/>
                <a:cs typeface="Verdana" panose="020B0604030504040204" pitchFamily="34" charset="0"/>
              </a:rPr>
              <a:t>Group Debrief</a:t>
            </a:r>
          </a:p>
        </p:txBody>
      </p:sp>
      <p:cxnSp>
        <p:nvCxnSpPr>
          <p:cNvPr id="25" name="Straight Connector 24">
            <a:extLst>
              <a:ext uri="{FF2B5EF4-FFF2-40B4-BE49-F238E27FC236}">
                <a16:creationId xmlns:a16="http://schemas.microsoft.com/office/drawing/2014/main" id="{7B4819A2-3836-470A-9210-98A5D4697EDA}"/>
              </a:ext>
            </a:extLst>
          </p:cNvPr>
          <p:cNvCxnSpPr/>
          <p:nvPr/>
        </p:nvCxnSpPr>
        <p:spPr>
          <a:xfrm>
            <a:off x="7711598" y="3228756"/>
            <a:ext cx="1419983" cy="0"/>
          </a:xfrm>
          <a:prstGeom prst="line">
            <a:avLst/>
          </a:prstGeom>
          <a:noFill/>
          <a:ln w="19050" cap="flat" cmpd="sng" algn="ctr">
            <a:solidFill>
              <a:schemeClr val="tx1"/>
            </a:solidFill>
            <a:prstDash val="solid"/>
          </a:ln>
          <a:effectLst/>
        </p:spPr>
      </p:cxnSp>
      <p:cxnSp>
        <p:nvCxnSpPr>
          <p:cNvPr id="26" name="Straight Connector 25">
            <a:extLst>
              <a:ext uri="{FF2B5EF4-FFF2-40B4-BE49-F238E27FC236}">
                <a16:creationId xmlns:a16="http://schemas.microsoft.com/office/drawing/2014/main" id="{9195DFBD-1691-47AA-A659-7ADC70B5C721}"/>
              </a:ext>
            </a:extLst>
          </p:cNvPr>
          <p:cNvCxnSpPr/>
          <p:nvPr/>
        </p:nvCxnSpPr>
        <p:spPr>
          <a:xfrm>
            <a:off x="7698666" y="3724690"/>
            <a:ext cx="1419983" cy="0"/>
          </a:xfrm>
          <a:prstGeom prst="line">
            <a:avLst/>
          </a:prstGeom>
          <a:noFill/>
          <a:ln w="19050" cap="flat" cmpd="sng" algn="ctr">
            <a:solidFill>
              <a:schemeClr val="tx1"/>
            </a:solidFill>
            <a:prstDash val="solid"/>
          </a:ln>
          <a:effectLst/>
        </p:spPr>
      </p:cxnSp>
      <p:sp>
        <p:nvSpPr>
          <p:cNvPr id="27" name="Rectangle 26">
            <a:extLst>
              <a:ext uri="{FF2B5EF4-FFF2-40B4-BE49-F238E27FC236}">
                <a16:creationId xmlns:a16="http://schemas.microsoft.com/office/drawing/2014/main" id="{65BEAD5C-DBAF-4782-B563-CC2284482475}"/>
              </a:ext>
            </a:extLst>
          </p:cNvPr>
          <p:cNvSpPr/>
          <p:nvPr/>
        </p:nvSpPr>
        <p:spPr>
          <a:xfrm>
            <a:off x="7797559" y="3847688"/>
            <a:ext cx="1273924" cy="500842"/>
          </a:xfrm>
          <a:prstGeom prst="rect">
            <a:avLst/>
          </a:prstGeom>
        </p:spPr>
        <p:txBody>
          <a:bodyPr wrap="square" lIns="57086" tIns="28543" rIns="57086" bIns="28543">
            <a:spAutoFit/>
          </a:bodyPr>
          <a:lstStyle/>
          <a:p>
            <a:pPr marL="0" marR="0" lvl="0" indent="0" algn="ctr" defTabSz="570860" rtl="0" eaLnBrk="1" fontAlgn="auto" latinLnBrk="0" hangingPunct="1">
              <a:lnSpc>
                <a:spcPct val="12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Open Sans"/>
                <a:ea typeface="Verdana" panose="020B0604030504040204" pitchFamily="34" charset="0"/>
                <a:cs typeface="Verdana" panose="020B0604030504040204" pitchFamily="34" charset="0"/>
              </a:rPr>
              <a:t>3:10 – 3:40</a:t>
            </a:r>
          </a:p>
          <a:p>
            <a:pPr marL="0" marR="0" lvl="0" indent="0" algn="ctr" defTabSz="570860" rtl="0" eaLnBrk="1" fontAlgn="auto" latinLnBrk="0" hangingPunct="1">
              <a:lnSpc>
                <a:spcPct val="12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Open Sans"/>
                <a:ea typeface="Verdana" panose="020B0604030504040204" pitchFamily="34" charset="0"/>
                <a:cs typeface="Verdana" panose="020B0604030504040204" pitchFamily="34" charset="0"/>
              </a:rPr>
              <a:t>30 minutes</a:t>
            </a:r>
          </a:p>
        </p:txBody>
      </p:sp>
      <p:sp>
        <p:nvSpPr>
          <p:cNvPr id="28" name="Rectangle 27">
            <a:extLst>
              <a:ext uri="{FF2B5EF4-FFF2-40B4-BE49-F238E27FC236}">
                <a16:creationId xmlns:a16="http://schemas.microsoft.com/office/drawing/2014/main" id="{4E448E29-3AC8-4C23-876C-54D4C263E244}"/>
              </a:ext>
            </a:extLst>
          </p:cNvPr>
          <p:cNvSpPr/>
          <p:nvPr/>
        </p:nvSpPr>
        <p:spPr>
          <a:xfrm>
            <a:off x="7577404" y="4416833"/>
            <a:ext cx="1714235" cy="1350305"/>
          </a:xfrm>
          <a:prstGeom prst="rect">
            <a:avLst/>
          </a:prstGeom>
        </p:spPr>
        <p:txBody>
          <a:bodyPr wrap="square" lIns="57086" tIns="28543" rIns="57086" bIns="28543">
            <a:spAutoFit/>
          </a:bodyPr>
          <a:lstStyle/>
          <a:p>
            <a:pPr marL="0" marR="0" lvl="0" indent="0" algn="ctr" defTabSz="57086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Open Sans"/>
                <a:ea typeface="Verdana" panose="020B0604030504040204" pitchFamily="34" charset="0"/>
                <a:cs typeface="Verdana" panose="020B0604030504040204" pitchFamily="34" charset="0"/>
              </a:rPr>
              <a:t>Reconvene the larger group to debrief on the prioritization exercise and determine which opportunities emerge as the top 3-5 for further exploration</a:t>
            </a:r>
          </a:p>
        </p:txBody>
      </p:sp>
      <p:sp>
        <p:nvSpPr>
          <p:cNvPr id="29" name="Rectangle 28">
            <a:extLst>
              <a:ext uri="{FF2B5EF4-FFF2-40B4-BE49-F238E27FC236}">
                <a16:creationId xmlns:a16="http://schemas.microsoft.com/office/drawing/2014/main" id="{23595FDD-867D-4FB0-A982-3551ED165BD6}"/>
              </a:ext>
            </a:extLst>
          </p:cNvPr>
          <p:cNvSpPr/>
          <p:nvPr/>
        </p:nvSpPr>
        <p:spPr>
          <a:xfrm>
            <a:off x="5288934" y="2289172"/>
            <a:ext cx="1419984" cy="846942"/>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57086" tIns="28543" rIns="57086" bIns="28543" spcCol="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Open Sans"/>
              <a:ea typeface="+mn-ea"/>
              <a:cs typeface="+mn-cs"/>
            </a:endParaRPr>
          </a:p>
        </p:txBody>
      </p:sp>
      <p:sp>
        <p:nvSpPr>
          <p:cNvPr id="30" name="Text Placeholder 4">
            <a:extLst>
              <a:ext uri="{FF2B5EF4-FFF2-40B4-BE49-F238E27FC236}">
                <a16:creationId xmlns:a16="http://schemas.microsoft.com/office/drawing/2014/main" id="{0ADD2017-7314-40AB-BBEE-14FF9612CD82}"/>
              </a:ext>
            </a:extLst>
          </p:cNvPr>
          <p:cNvSpPr txBox="1">
            <a:spLocks/>
          </p:cNvSpPr>
          <p:nvPr/>
        </p:nvSpPr>
        <p:spPr bwMode="gray">
          <a:xfrm>
            <a:off x="5163869" y="3252338"/>
            <a:ext cx="1693888" cy="440437"/>
          </a:xfrm>
          <a:prstGeom prst="rect">
            <a:avLst/>
          </a:prstGeom>
          <a:noFill/>
        </p:spPr>
        <p:txBody>
          <a:bodyPr vert="horz" lIns="0" tIns="0" rIns="0" bIns="0" rtlCol="0" anchor="ctr">
            <a:noAutofit/>
          </a:bodyPr>
          <a:lstStyle>
            <a:lvl1pPr marL="0" indent="0" algn="l" defTabSz="914400" rtl="0" eaLnBrk="1" latinLnBrk="0" hangingPunct="1">
              <a:spcBef>
                <a:spcPts val="1200"/>
              </a:spcBef>
              <a:buSzPct val="100000"/>
              <a:buFont typeface="Arial" panose="020B0604020202020204" pitchFamily="34" charset="0"/>
              <a:buNone/>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570860" rtl="0" eaLnBrk="1" fontAlgn="auto" latinLnBrk="0" hangingPunct="1">
              <a:lnSpc>
                <a:spcPct val="120000"/>
              </a:lnSpc>
              <a:spcBef>
                <a:spcPts val="0"/>
              </a:spcBef>
              <a:spcAft>
                <a:spcPts val="0"/>
              </a:spcAft>
              <a:buClrTx/>
              <a:buSzPct val="100000"/>
              <a:buFont typeface="Arial" panose="020B0604020202020204" pitchFamily="34" charset="0"/>
              <a:buNone/>
              <a:tabLst/>
              <a:defRPr/>
            </a:pPr>
            <a:r>
              <a:rPr kumimoji="0" lang="en-US" sz="1200" b="1" i="0" u="none" strike="noStrike" kern="600" cap="none" spc="0" normalizeH="0" baseline="0" noProof="0" dirty="0">
                <a:ln>
                  <a:noFill/>
                </a:ln>
                <a:solidFill>
                  <a:srgbClr val="1E1E1E"/>
                </a:solidFill>
                <a:effectLst/>
                <a:uLnTx/>
                <a:uFillTx/>
                <a:latin typeface="Open Sans"/>
                <a:ea typeface="Verdana" panose="020B0604030504040204" pitchFamily="34" charset="0"/>
                <a:cs typeface="Verdana" panose="020B0604030504040204" pitchFamily="34" charset="0"/>
              </a:rPr>
              <a:t>Scoring and Prioritization</a:t>
            </a:r>
          </a:p>
        </p:txBody>
      </p:sp>
      <p:cxnSp>
        <p:nvCxnSpPr>
          <p:cNvPr id="31" name="Straight Connector 30">
            <a:extLst>
              <a:ext uri="{FF2B5EF4-FFF2-40B4-BE49-F238E27FC236}">
                <a16:creationId xmlns:a16="http://schemas.microsoft.com/office/drawing/2014/main" id="{F405A2A9-6EB3-40B8-8B93-B93D9F1922E2}"/>
              </a:ext>
            </a:extLst>
          </p:cNvPr>
          <p:cNvCxnSpPr/>
          <p:nvPr/>
        </p:nvCxnSpPr>
        <p:spPr>
          <a:xfrm>
            <a:off x="5288934" y="3228756"/>
            <a:ext cx="1419984" cy="0"/>
          </a:xfrm>
          <a:prstGeom prst="line">
            <a:avLst/>
          </a:prstGeom>
          <a:noFill/>
          <a:ln w="19050" cap="flat" cmpd="sng" algn="ctr">
            <a:solidFill>
              <a:schemeClr val="tx1"/>
            </a:solidFill>
            <a:prstDash val="solid"/>
          </a:ln>
          <a:effectLst/>
        </p:spPr>
      </p:cxnSp>
      <p:cxnSp>
        <p:nvCxnSpPr>
          <p:cNvPr id="32" name="Straight Connector 31">
            <a:extLst>
              <a:ext uri="{FF2B5EF4-FFF2-40B4-BE49-F238E27FC236}">
                <a16:creationId xmlns:a16="http://schemas.microsoft.com/office/drawing/2014/main" id="{CA7A1A94-2D2D-4FF7-BAFE-63A0332807AF}"/>
              </a:ext>
            </a:extLst>
          </p:cNvPr>
          <p:cNvCxnSpPr/>
          <p:nvPr/>
        </p:nvCxnSpPr>
        <p:spPr>
          <a:xfrm>
            <a:off x="5277048" y="3724690"/>
            <a:ext cx="1419984" cy="0"/>
          </a:xfrm>
          <a:prstGeom prst="line">
            <a:avLst/>
          </a:prstGeom>
          <a:noFill/>
          <a:ln w="19050" cap="flat" cmpd="sng" algn="ctr">
            <a:solidFill>
              <a:schemeClr val="tx1"/>
            </a:solidFill>
            <a:prstDash val="solid"/>
          </a:ln>
          <a:effectLst/>
        </p:spPr>
      </p:cxnSp>
      <p:sp>
        <p:nvSpPr>
          <p:cNvPr id="33" name="Rectangle 32">
            <a:extLst>
              <a:ext uri="{FF2B5EF4-FFF2-40B4-BE49-F238E27FC236}">
                <a16:creationId xmlns:a16="http://schemas.microsoft.com/office/drawing/2014/main" id="{003B7D24-6AFC-4E78-9212-6D7E6D1CBB92}"/>
              </a:ext>
            </a:extLst>
          </p:cNvPr>
          <p:cNvSpPr/>
          <p:nvPr/>
        </p:nvSpPr>
        <p:spPr>
          <a:xfrm>
            <a:off x="5151385" y="4416833"/>
            <a:ext cx="1718852" cy="1350305"/>
          </a:xfrm>
          <a:prstGeom prst="rect">
            <a:avLst/>
          </a:prstGeom>
        </p:spPr>
        <p:txBody>
          <a:bodyPr wrap="square" lIns="57086" tIns="28543" rIns="57086" bIns="28543">
            <a:spAutoFit/>
          </a:bodyPr>
          <a:lstStyle/>
          <a:p>
            <a:pPr marL="0" marR="0" lvl="0" indent="0" algn="ctr" defTabSz="57086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1E1E1E"/>
                </a:solidFill>
                <a:effectLst/>
                <a:uLnTx/>
                <a:uFillTx/>
                <a:latin typeface="Open Sans"/>
                <a:ea typeface="Verdana" panose="020B0604030504040204" pitchFamily="34" charset="0"/>
                <a:cs typeface="Verdana" panose="020B0604030504040204" pitchFamily="34" charset="0"/>
              </a:rPr>
              <a:t>Break into small groups to score and prioritize each operating model concept based on their feasibility, impact, and perceived importance to the business</a:t>
            </a:r>
          </a:p>
        </p:txBody>
      </p:sp>
      <p:sp>
        <p:nvSpPr>
          <p:cNvPr id="34" name="Rectangle 33">
            <a:extLst>
              <a:ext uri="{FF2B5EF4-FFF2-40B4-BE49-F238E27FC236}">
                <a16:creationId xmlns:a16="http://schemas.microsoft.com/office/drawing/2014/main" id="{456CE85E-68B1-4ACA-8DC9-38C9FF0049FA}"/>
              </a:ext>
            </a:extLst>
          </p:cNvPr>
          <p:cNvSpPr/>
          <p:nvPr/>
        </p:nvSpPr>
        <p:spPr>
          <a:xfrm>
            <a:off x="5373851" y="3847688"/>
            <a:ext cx="1273925" cy="500842"/>
          </a:xfrm>
          <a:prstGeom prst="rect">
            <a:avLst/>
          </a:prstGeom>
        </p:spPr>
        <p:txBody>
          <a:bodyPr wrap="square" lIns="57086" tIns="28543" rIns="57086" bIns="28543">
            <a:spAutoFit/>
          </a:bodyPr>
          <a:lstStyle/>
          <a:p>
            <a:pPr marL="0" marR="0" lvl="0" indent="0" algn="ctr" defTabSz="570860"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E1E1E"/>
                </a:solidFill>
                <a:effectLst/>
                <a:uLnTx/>
                <a:uFillTx/>
                <a:latin typeface="Open Sans"/>
                <a:ea typeface="Verdana" panose="020B0604030504040204" pitchFamily="34" charset="0"/>
                <a:cs typeface="Verdana" panose="020B0604030504040204" pitchFamily="34" charset="0"/>
              </a:rPr>
              <a:t>2:15 – 3:00</a:t>
            </a:r>
          </a:p>
          <a:p>
            <a:pPr marL="0" marR="0" lvl="0" indent="0" algn="ctr" defTabSz="570860" rtl="0" eaLnBrk="1" fontAlgn="auto" latinLnBrk="0" hangingPunct="1">
              <a:lnSpc>
                <a:spcPct val="12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1E1E1E"/>
                </a:solidFill>
                <a:effectLst/>
                <a:uLnTx/>
                <a:uFillTx/>
                <a:latin typeface="Open Sans"/>
                <a:ea typeface="Verdana" panose="020B0604030504040204" pitchFamily="34" charset="0"/>
                <a:cs typeface="Verdana" panose="020B0604030504040204" pitchFamily="34" charset="0"/>
              </a:rPr>
              <a:t>45 minutes</a:t>
            </a:r>
          </a:p>
        </p:txBody>
      </p:sp>
      <p:sp>
        <p:nvSpPr>
          <p:cNvPr id="35" name="Text Placeholder 4">
            <a:extLst>
              <a:ext uri="{FF2B5EF4-FFF2-40B4-BE49-F238E27FC236}">
                <a16:creationId xmlns:a16="http://schemas.microsoft.com/office/drawing/2014/main" id="{43CD7721-4C51-496C-903A-116E582A3D5B}"/>
              </a:ext>
            </a:extLst>
          </p:cNvPr>
          <p:cNvSpPr txBox="1">
            <a:spLocks/>
          </p:cNvSpPr>
          <p:nvPr/>
        </p:nvSpPr>
        <p:spPr bwMode="gray">
          <a:xfrm>
            <a:off x="10124299" y="3250727"/>
            <a:ext cx="1359273" cy="440437"/>
          </a:xfrm>
          <a:prstGeom prst="rect">
            <a:avLst/>
          </a:prstGeom>
          <a:noFill/>
        </p:spPr>
        <p:txBody>
          <a:bodyPr vert="horz" lIns="0" tIns="0" rIns="0" bIns="0" rtlCol="0" anchor="ctr">
            <a:noAutofit/>
          </a:bodyPr>
          <a:lstStyle>
            <a:lvl1pPr marL="0" indent="0" algn="l" defTabSz="914400" rtl="0" eaLnBrk="1" latinLnBrk="0" hangingPunct="1">
              <a:spcBef>
                <a:spcPts val="1200"/>
              </a:spcBef>
              <a:buSzPct val="100000"/>
              <a:buFont typeface="Arial" panose="020B0604020202020204" pitchFamily="34" charset="0"/>
              <a:buNone/>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570860" rtl="0" eaLnBrk="1" fontAlgn="auto" latinLnBrk="0" hangingPunct="1">
              <a:lnSpc>
                <a:spcPct val="120000"/>
              </a:lnSpc>
              <a:spcBef>
                <a:spcPts val="0"/>
              </a:spcBef>
              <a:spcAft>
                <a:spcPts val="0"/>
              </a:spcAft>
              <a:buClrTx/>
              <a:buSzPct val="100000"/>
              <a:buFont typeface="Arial" panose="020B0604020202020204" pitchFamily="34" charset="0"/>
              <a:buNone/>
              <a:tabLst/>
              <a:defRPr/>
            </a:pPr>
            <a:r>
              <a:rPr kumimoji="0" lang="en-US" sz="1200" b="1" i="0" u="none" strike="noStrike" kern="600" cap="none" spc="0" normalizeH="0" baseline="0" noProof="0" dirty="0">
                <a:ln>
                  <a:noFill/>
                </a:ln>
                <a:solidFill>
                  <a:srgbClr val="1E1E1E"/>
                </a:solidFill>
                <a:effectLst/>
                <a:uLnTx/>
                <a:uFillTx/>
                <a:latin typeface="Open Sans"/>
                <a:ea typeface="Verdana" panose="020B0604030504040204" pitchFamily="34" charset="0"/>
                <a:cs typeface="Verdana" panose="020B0604030504040204" pitchFamily="34" charset="0"/>
              </a:rPr>
              <a:t>Next Steps</a:t>
            </a:r>
          </a:p>
        </p:txBody>
      </p:sp>
      <p:sp>
        <p:nvSpPr>
          <p:cNvPr id="36" name="Rectangle 35">
            <a:extLst>
              <a:ext uri="{FF2B5EF4-FFF2-40B4-BE49-F238E27FC236}">
                <a16:creationId xmlns:a16="http://schemas.microsoft.com/office/drawing/2014/main" id="{68CB0777-217E-4475-9FEC-0BFCE4EF3E1D}"/>
              </a:ext>
            </a:extLst>
          </p:cNvPr>
          <p:cNvSpPr/>
          <p:nvPr/>
        </p:nvSpPr>
        <p:spPr>
          <a:xfrm>
            <a:off x="10119712" y="3847688"/>
            <a:ext cx="1368446" cy="500842"/>
          </a:xfrm>
          <a:prstGeom prst="rect">
            <a:avLst/>
          </a:prstGeom>
        </p:spPr>
        <p:txBody>
          <a:bodyPr wrap="square" lIns="57086" tIns="28543" rIns="57086" bIns="28543">
            <a:spAutoFit/>
          </a:bodyPr>
          <a:lstStyle/>
          <a:p>
            <a:pPr marL="0" marR="0" lvl="0" indent="0" algn="ctr" defTabSz="570860" rtl="0" eaLnBrk="1" fontAlgn="auto" latinLnBrk="0" hangingPunct="1">
              <a:lnSpc>
                <a:spcPct val="12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1E1E1E"/>
                </a:solidFill>
                <a:effectLst/>
                <a:uLnTx/>
                <a:uFillTx/>
                <a:latin typeface="Open Sans"/>
                <a:ea typeface="Verdana" panose="020B0604030504040204" pitchFamily="34" charset="0"/>
                <a:cs typeface="Verdana" panose="020B0604030504040204" pitchFamily="34" charset="0"/>
              </a:rPr>
              <a:t>3:40– 4:00</a:t>
            </a:r>
          </a:p>
          <a:p>
            <a:pPr marL="0" marR="0" lvl="0" indent="0" algn="ctr" defTabSz="570860" rtl="0" eaLnBrk="1" fontAlgn="auto" latinLnBrk="0" hangingPunct="1">
              <a:lnSpc>
                <a:spcPct val="12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1E1E1E"/>
                </a:solidFill>
                <a:effectLst/>
                <a:uLnTx/>
                <a:uFillTx/>
                <a:latin typeface="Open Sans"/>
                <a:ea typeface="Verdana" panose="020B0604030504040204" pitchFamily="34" charset="0"/>
                <a:cs typeface="Verdana" panose="020B0604030504040204" pitchFamily="34" charset="0"/>
              </a:rPr>
              <a:t>20 minutes</a:t>
            </a:r>
          </a:p>
        </p:txBody>
      </p:sp>
      <p:cxnSp>
        <p:nvCxnSpPr>
          <p:cNvPr id="37" name="Straight Connector 36">
            <a:extLst>
              <a:ext uri="{FF2B5EF4-FFF2-40B4-BE49-F238E27FC236}">
                <a16:creationId xmlns:a16="http://schemas.microsoft.com/office/drawing/2014/main" id="{5E2A9A78-D89D-4DCC-8F5B-8DE875A4F235}"/>
              </a:ext>
            </a:extLst>
          </p:cNvPr>
          <p:cNvCxnSpPr/>
          <p:nvPr/>
        </p:nvCxnSpPr>
        <p:spPr>
          <a:xfrm>
            <a:off x="10080332" y="3228756"/>
            <a:ext cx="1387246" cy="0"/>
          </a:xfrm>
          <a:prstGeom prst="line">
            <a:avLst/>
          </a:prstGeom>
          <a:noFill/>
          <a:ln w="19050" cap="flat" cmpd="sng" algn="ctr">
            <a:solidFill>
              <a:schemeClr val="tx1"/>
            </a:solidFill>
            <a:prstDash val="solid"/>
          </a:ln>
          <a:effectLst/>
        </p:spPr>
      </p:cxnSp>
      <p:sp>
        <p:nvSpPr>
          <p:cNvPr id="38" name="Rectangle 37">
            <a:extLst>
              <a:ext uri="{FF2B5EF4-FFF2-40B4-BE49-F238E27FC236}">
                <a16:creationId xmlns:a16="http://schemas.microsoft.com/office/drawing/2014/main" id="{EE696C8F-2A87-44E0-8696-2DCEA5426EEB}"/>
              </a:ext>
            </a:extLst>
          </p:cNvPr>
          <p:cNvSpPr/>
          <p:nvPr/>
        </p:nvSpPr>
        <p:spPr>
          <a:xfrm>
            <a:off x="10080332" y="2289172"/>
            <a:ext cx="1387246" cy="846942"/>
          </a:xfrm>
          <a:prstGeom prst="rect">
            <a:avLst/>
          </a:prstGeom>
          <a:solidFill>
            <a:srgbClr val="F2F2F2"/>
          </a:solidFill>
          <a:ln>
            <a:noFill/>
          </a:ln>
          <a:effectLst/>
        </p:spPr>
        <p:style>
          <a:lnRef idx="1">
            <a:schemeClr val="accent1"/>
          </a:lnRef>
          <a:fillRef idx="3">
            <a:schemeClr val="accent1"/>
          </a:fillRef>
          <a:effectRef idx="2">
            <a:schemeClr val="accent1"/>
          </a:effectRef>
          <a:fontRef idx="minor">
            <a:schemeClr val="lt1"/>
          </a:fontRef>
        </p:style>
        <p:txBody>
          <a:bodyPr lIns="57086" tIns="28543" rIns="57086" bIns="28543" spcCol="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Open Sans"/>
              <a:ea typeface="+mn-ea"/>
              <a:cs typeface="+mn-cs"/>
            </a:endParaRPr>
          </a:p>
        </p:txBody>
      </p:sp>
      <p:cxnSp>
        <p:nvCxnSpPr>
          <p:cNvPr id="39" name="Straight Connector 38">
            <a:extLst>
              <a:ext uri="{FF2B5EF4-FFF2-40B4-BE49-F238E27FC236}">
                <a16:creationId xmlns:a16="http://schemas.microsoft.com/office/drawing/2014/main" id="{B7AAD957-C3F2-4910-902A-1A957965DEE0}"/>
              </a:ext>
            </a:extLst>
          </p:cNvPr>
          <p:cNvCxnSpPr/>
          <p:nvPr/>
        </p:nvCxnSpPr>
        <p:spPr>
          <a:xfrm>
            <a:off x="9635569" y="3859612"/>
            <a:ext cx="0" cy="2103120"/>
          </a:xfrm>
          <a:prstGeom prst="line">
            <a:avLst/>
          </a:prstGeom>
          <a:ln w="9525" cmpd="sng">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49503ECB-A38D-4F24-87D0-08A18FF8E94B}"/>
              </a:ext>
            </a:extLst>
          </p:cNvPr>
          <p:cNvCxnSpPr>
            <a:endCxn id="41" idx="0"/>
          </p:cNvCxnSpPr>
          <p:nvPr/>
        </p:nvCxnSpPr>
        <p:spPr>
          <a:xfrm flipH="1">
            <a:off x="7202120" y="3859612"/>
            <a:ext cx="8356" cy="2060842"/>
          </a:xfrm>
          <a:prstGeom prst="line">
            <a:avLst/>
          </a:prstGeom>
          <a:ln w="19050" cmpd="sng">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sp>
        <p:nvSpPr>
          <p:cNvPr id="41" name="TextBox 40">
            <a:extLst>
              <a:ext uri="{FF2B5EF4-FFF2-40B4-BE49-F238E27FC236}">
                <a16:creationId xmlns:a16="http://schemas.microsoft.com/office/drawing/2014/main" id="{89FB1178-C3EB-47F1-9E93-B8B306EE2C69}"/>
              </a:ext>
            </a:extLst>
          </p:cNvPr>
          <p:cNvSpPr txBox="1"/>
          <p:nvPr/>
        </p:nvSpPr>
        <p:spPr>
          <a:xfrm>
            <a:off x="6763525" y="5920454"/>
            <a:ext cx="877189" cy="369332"/>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Open Sans"/>
                <a:ea typeface="+mn-ea"/>
                <a:cs typeface="+mn-cs"/>
              </a:rPr>
              <a:t>10 min break</a:t>
            </a:r>
          </a:p>
        </p:txBody>
      </p:sp>
      <p:sp>
        <p:nvSpPr>
          <p:cNvPr id="42" name="Rectangle 41">
            <a:extLst>
              <a:ext uri="{FF2B5EF4-FFF2-40B4-BE49-F238E27FC236}">
                <a16:creationId xmlns:a16="http://schemas.microsoft.com/office/drawing/2014/main" id="{A4B51B33-4E93-4DA5-8ED2-0024DAE4D5B6}"/>
              </a:ext>
            </a:extLst>
          </p:cNvPr>
          <p:cNvSpPr/>
          <p:nvPr/>
        </p:nvSpPr>
        <p:spPr>
          <a:xfrm>
            <a:off x="9926768" y="4416833"/>
            <a:ext cx="1748691" cy="1350305"/>
          </a:xfrm>
          <a:prstGeom prst="rect">
            <a:avLst/>
          </a:prstGeom>
        </p:spPr>
        <p:txBody>
          <a:bodyPr wrap="square" lIns="57086" tIns="28543" rIns="57086" bIns="28543">
            <a:spAutoFit/>
          </a:bodyPr>
          <a:lstStyle/>
          <a:p>
            <a:pPr marL="0" marR="0" lvl="0" indent="0" algn="ctr" defTabSz="57086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Open Sans"/>
                <a:ea typeface="Verdana" panose="020B0604030504040204" pitchFamily="34" charset="0"/>
                <a:cs typeface="Verdana" panose="020B0604030504040204" pitchFamily="34" charset="0"/>
              </a:rPr>
              <a:t>Discuss the next steps for each prioritized </a:t>
            </a:r>
            <a:r>
              <a:rPr kumimoji="0" lang="en-US" sz="1200" b="0" i="1" u="none" strike="noStrike" kern="1200" cap="none" spc="0" normalizeH="0" baseline="0" noProof="0" dirty="0">
                <a:ln>
                  <a:noFill/>
                </a:ln>
                <a:solidFill>
                  <a:srgbClr val="1E1E1E"/>
                </a:solidFill>
                <a:effectLst/>
                <a:uLnTx/>
                <a:uFillTx/>
                <a:latin typeface="Open Sans"/>
                <a:ea typeface="Verdana" panose="020B0604030504040204" pitchFamily="34" charset="0"/>
                <a:cs typeface="Verdana" panose="020B0604030504040204" pitchFamily="34" charset="0"/>
              </a:rPr>
              <a:t>operating model concept </a:t>
            </a:r>
            <a:r>
              <a:rPr kumimoji="0" lang="en-US" sz="1200" b="0" i="1" u="none" strike="noStrike" kern="1200" cap="none" spc="0" normalizeH="0" baseline="0" noProof="0" dirty="0">
                <a:ln>
                  <a:noFill/>
                </a:ln>
                <a:solidFill>
                  <a:prstClr val="black"/>
                </a:solidFill>
                <a:effectLst/>
                <a:uLnTx/>
                <a:uFillTx/>
                <a:latin typeface="Open Sans"/>
                <a:ea typeface="Verdana" panose="020B0604030504040204" pitchFamily="34" charset="0"/>
                <a:cs typeface="Verdana" panose="020B0604030504040204" pitchFamily="34" charset="0"/>
              </a:rPr>
              <a:t>to ensure alignment ahead of the final recommendation read-out in January </a:t>
            </a:r>
          </a:p>
        </p:txBody>
      </p:sp>
      <p:grpSp>
        <p:nvGrpSpPr>
          <p:cNvPr id="43" name="Group 367">
            <a:extLst>
              <a:ext uri="{FF2B5EF4-FFF2-40B4-BE49-F238E27FC236}">
                <a16:creationId xmlns:a16="http://schemas.microsoft.com/office/drawing/2014/main" id="{A5A8E711-D47F-4D94-A1E9-6116B506E3A2}"/>
              </a:ext>
            </a:extLst>
          </p:cNvPr>
          <p:cNvGrpSpPr>
            <a:grpSpLocks noChangeAspect="1"/>
          </p:cNvGrpSpPr>
          <p:nvPr/>
        </p:nvGrpSpPr>
        <p:grpSpPr bwMode="auto">
          <a:xfrm>
            <a:off x="1106297" y="2424160"/>
            <a:ext cx="581583" cy="583289"/>
            <a:chOff x="4383" y="2091"/>
            <a:chExt cx="340" cy="341"/>
          </a:xfrm>
          <a:solidFill>
            <a:schemeClr val="tx1"/>
          </a:solidFill>
        </p:grpSpPr>
        <p:sp>
          <p:nvSpPr>
            <p:cNvPr id="44" name="Freeform 198">
              <a:extLst>
                <a:ext uri="{FF2B5EF4-FFF2-40B4-BE49-F238E27FC236}">
                  <a16:creationId xmlns:a16="http://schemas.microsoft.com/office/drawing/2014/main" id="{F2F65D87-FB2B-45E3-9A5F-131813E108CB}"/>
                </a:ext>
              </a:extLst>
            </p:cNvPr>
            <p:cNvSpPr>
              <a:spLocks noEditPoints="1"/>
            </p:cNvSpPr>
            <p:nvPr/>
          </p:nvSpPr>
          <p:spPr bwMode="auto">
            <a:xfrm>
              <a:off x="4445" y="2169"/>
              <a:ext cx="200" cy="170"/>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45" name="Freeform 199">
              <a:extLst>
                <a:ext uri="{FF2B5EF4-FFF2-40B4-BE49-F238E27FC236}">
                  <a16:creationId xmlns:a16="http://schemas.microsoft.com/office/drawing/2014/main" id="{2BC40FBD-5A7C-4DE9-B114-C59002FFBE64}"/>
                </a:ext>
              </a:extLst>
            </p:cNvPr>
            <p:cNvSpPr>
              <a:spLocks noEditPoints="1"/>
            </p:cNvSpPr>
            <p:nvPr/>
          </p:nvSpPr>
          <p:spPr bwMode="auto">
            <a:xfrm>
              <a:off x="4383" y="209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46" name="Group 892">
            <a:extLst>
              <a:ext uri="{FF2B5EF4-FFF2-40B4-BE49-F238E27FC236}">
                <a16:creationId xmlns:a16="http://schemas.microsoft.com/office/drawing/2014/main" id="{2186ABF5-A4DD-4D01-B6EE-76E74E462750}"/>
              </a:ext>
            </a:extLst>
          </p:cNvPr>
          <p:cNvGrpSpPr>
            <a:grpSpLocks noChangeAspect="1"/>
          </p:cNvGrpSpPr>
          <p:nvPr/>
        </p:nvGrpSpPr>
        <p:grpSpPr bwMode="auto">
          <a:xfrm>
            <a:off x="3367777" y="2396851"/>
            <a:ext cx="583223" cy="584933"/>
            <a:chOff x="4270" y="3457"/>
            <a:chExt cx="340" cy="341"/>
          </a:xfrm>
          <a:solidFill>
            <a:schemeClr val="tx1"/>
          </a:solidFill>
        </p:grpSpPr>
        <p:sp>
          <p:nvSpPr>
            <p:cNvPr id="47" name="Freeform 893">
              <a:extLst>
                <a:ext uri="{FF2B5EF4-FFF2-40B4-BE49-F238E27FC236}">
                  <a16:creationId xmlns:a16="http://schemas.microsoft.com/office/drawing/2014/main" id="{A83720C4-A519-4BF0-9CD1-4FC309DD0D5F}"/>
                </a:ext>
              </a:extLst>
            </p:cNvPr>
            <p:cNvSpPr>
              <a:spLocks noEditPoints="1"/>
            </p:cNvSpPr>
            <p:nvPr/>
          </p:nvSpPr>
          <p:spPr bwMode="auto">
            <a:xfrm>
              <a:off x="4334" y="3521"/>
              <a:ext cx="192" cy="192"/>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48" name="Freeform 894">
              <a:extLst>
                <a:ext uri="{FF2B5EF4-FFF2-40B4-BE49-F238E27FC236}">
                  <a16:creationId xmlns:a16="http://schemas.microsoft.com/office/drawing/2014/main" id="{DC0C6535-8443-4ED8-832E-17B50DF03711}"/>
                </a:ext>
              </a:extLst>
            </p:cNvPr>
            <p:cNvSpPr>
              <a:spLocks noEditPoints="1"/>
            </p:cNvSpPr>
            <p:nvPr/>
          </p:nvSpPr>
          <p:spPr bwMode="auto">
            <a:xfrm>
              <a:off x="4270" y="34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49" name="Group 614">
            <a:extLst>
              <a:ext uri="{FF2B5EF4-FFF2-40B4-BE49-F238E27FC236}">
                <a16:creationId xmlns:a16="http://schemas.microsoft.com/office/drawing/2014/main" id="{08142652-2FDD-4F7A-8063-44F49964FC7D}"/>
              </a:ext>
            </a:extLst>
          </p:cNvPr>
          <p:cNvGrpSpPr>
            <a:grpSpLocks noChangeAspect="1"/>
          </p:cNvGrpSpPr>
          <p:nvPr/>
        </p:nvGrpSpPr>
        <p:grpSpPr bwMode="auto">
          <a:xfrm>
            <a:off x="5708879" y="2397691"/>
            <a:ext cx="580094" cy="580094"/>
            <a:chOff x="3780" y="2658"/>
            <a:chExt cx="340" cy="340"/>
          </a:xfrm>
          <a:solidFill>
            <a:schemeClr val="tx1"/>
          </a:solidFill>
        </p:grpSpPr>
        <p:sp>
          <p:nvSpPr>
            <p:cNvPr id="50" name="Freeform 615">
              <a:extLst>
                <a:ext uri="{FF2B5EF4-FFF2-40B4-BE49-F238E27FC236}">
                  <a16:creationId xmlns:a16="http://schemas.microsoft.com/office/drawing/2014/main" id="{F0B3590D-820A-43D2-A5E7-A10644C536CB}"/>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51" name="Freeform 616">
              <a:extLst>
                <a:ext uri="{FF2B5EF4-FFF2-40B4-BE49-F238E27FC236}">
                  <a16:creationId xmlns:a16="http://schemas.microsoft.com/office/drawing/2014/main" id="{6BDD3C65-B4F6-457C-BC37-3646410222E7}"/>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52" name="Freeform 617">
              <a:extLst>
                <a:ext uri="{FF2B5EF4-FFF2-40B4-BE49-F238E27FC236}">
                  <a16:creationId xmlns:a16="http://schemas.microsoft.com/office/drawing/2014/main" id="{2A0C3CEC-4833-4D79-9664-8CABD34B452F}"/>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53" name="Freeform 618">
              <a:extLst>
                <a:ext uri="{FF2B5EF4-FFF2-40B4-BE49-F238E27FC236}">
                  <a16:creationId xmlns:a16="http://schemas.microsoft.com/office/drawing/2014/main" id="{FC6F3555-8EBD-4D52-9BE1-4A7BA13C4AE0}"/>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54" name="Freeform 619">
              <a:extLst>
                <a:ext uri="{FF2B5EF4-FFF2-40B4-BE49-F238E27FC236}">
                  <a16:creationId xmlns:a16="http://schemas.microsoft.com/office/drawing/2014/main" id="{293B4037-A17A-4C6A-B1C4-F39BA618E20D}"/>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55" name="Freeform 620">
              <a:extLst>
                <a:ext uri="{FF2B5EF4-FFF2-40B4-BE49-F238E27FC236}">
                  <a16:creationId xmlns:a16="http://schemas.microsoft.com/office/drawing/2014/main" id="{AAAB6B0C-9914-48AF-BC9B-0581AFDEABFD}"/>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56" name="Freeform 621">
              <a:extLst>
                <a:ext uri="{FF2B5EF4-FFF2-40B4-BE49-F238E27FC236}">
                  <a16:creationId xmlns:a16="http://schemas.microsoft.com/office/drawing/2014/main" id="{D4584150-9E08-4A1D-A632-35B3E0662382}"/>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57" name="Freeform 622">
              <a:extLst>
                <a:ext uri="{FF2B5EF4-FFF2-40B4-BE49-F238E27FC236}">
                  <a16:creationId xmlns:a16="http://schemas.microsoft.com/office/drawing/2014/main" id="{2D79AF96-43A8-4993-9CBD-C349AC365B2C}"/>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58" name="Freeform 623">
              <a:extLst>
                <a:ext uri="{FF2B5EF4-FFF2-40B4-BE49-F238E27FC236}">
                  <a16:creationId xmlns:a16="http://schemas.microsoft.com/office/drawing/2014/main" id="{2EECFFE1-C1B8-4FBD-844E-142AE08A9DBD}"/>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59" name="Group 844">
            <a:extLst>
              <a:ext uri="{FF2B5EF4-FFF2-40B4-BE49-F238E27FC236}">
                <a16:creationId xmlns:a16="http://schemas.microsoft.com/office/drawing/2014/main" id="{EFC4439B-B8D0-45BC-AB44-D08CFD348729}"/>
              </a:ext>
            </a:extLst>
          </p:cNvPr>
          <p:cNvGrpSpPr>
            <a:grpSpLocks noChangeAspect="1"/>
          </p:cNvGrpSpPr>
          <p:nvPr/>
        </p:nvGrpSpPr>
        <p:grpSpPr bwMode="auto">
          <a:xfrm>
            <a:off x="8129461" y="2410251"/>
            <a:ext cx="584257" cy="584257"/>
            <a:chOff x="4301" y="3046"/>
            <a:chExt cx="340" cy="340"/>
          </a:xfrm>
          <a:solidFill>
            <a:schemeClr val="tx1"/>
          </a:solidFill>
        </p:grpSpPr>
        <p:sp>
          <p:nvSpPr>
            <p:cNvPr id="60" name="Freeform 845">
              <a:extLst>
                <a:ext uri="{FF2B5EF4-FFF2-40B4-BE49-F238E27FC236}">
                  <a16:creationId xmlns:a16="http://schemas.microsoft.com/office/drawing/2014/main" id="{DF391B9A-FC99-4BFB-B97F-85A165E2A5A4}"/>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61" name="Freeform 846">
              <a:extLst>
                <a:ext uri="{FF2B5EF4-FFF2-40B4-BE49-F238E27FC236}">
                  <a16:creationId xmlns:a16="http://schemas.microsoft.com/office/drawing/2014/main" id="{167ABAA0-46FA-4EF7-BF79-3D91D154375B}"/>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62" name="Freeform 847">
              <a:extLst>
                <a:ext uri="{FF2B5EF4-FFF2-40B4-BE49-F238E27FC236}">
                  <a16:creationId xmlns:a16="http://schemas.microsoft.com/office/drawing/2014/main" id="{52C99D41-2593-419A-82B3-F0460ED3D711}"/>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63" name="Freeform 848">
              <a:extLst>
                <a:ext uri="{FF2B5EF4-FFF2-40B4-BE49-F238E27FC236}">
                  <a16:creationId xmlns:a16="http://schemas.microsoft.com/office/drawing/2014/main" id="{FA65C19E-52E5-4F3E-82FF-DA5A3B58A28B}"/>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64" name="Freeform 849">
              <a:extLst>
                <a:ext uri="{FF2B5EF4-FFF2-40B4-BE49-F238E27FC236}">
                  <a16:creationId xmlns:a16="http://schemas.microsoft.com/office/drawing/2014/main" id="{F1BB2F23-782C-4A87-9D37-E378B4D65CAB}"/>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65" name="Freeform 850">
              <a:extLst>
                <a:ext uri="{FF2B5EF4-FFF2-40B4-BE49-F238E27FC236}">
                  <a16:creationId xmlns:a16="http://schemas.microsoft.com/office/drawing/2014/main" id="{A42A7E45-D8BE-46C7-9ED8-A29D6B4FD3C5}"/>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66" name="Freeform 851">
              <a:extLst>
                <a:ext uri="{FF2B5EF4-FFF2-40B4-BE49-F238E27FC236}">
                  <a16:creationId xmlns:a16="http://schemas.microsoft.com/office/drawing/2014/main" id="{4C92B7F1-A5BE-4551-9D14-647212883CF6}"/>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67" name="Group 66">
            <a:extLst>
              <a:ext uri="{FF2B5EF4-FFF2-40B4-BE49-F238E27FC236}">
                <a16:creationId xmlns:a16="http://schemas.microsoft.com/office/drawing/2014/main" id="{11FD30B6-1D54-454A-8E1B-F9B840E1B395}"/>
              </a:ext>
            </a:extLst>
          </p:cNvPr>
          <p:cNvGrpSpPr>
            <a:grpSpLocks noChangeAspect="1"/>
          </p:cNvGrpSpPr>
          <p:nvPr/>
        </p:nvGrpSpPr>
        <p:grpSpPr bwMode="auto">
          <a:xfrm>
            <a:off x="10483032" y="2412218"/>
            <a:ext cx="581847" cy="581847"/>
            <a:chOff x="1153" y="614"/>
            <a:chExt cx="3635" cy="3635"/>
          </a:xfrm>
          <a:solidFill>
            <a:schemeClr val="tx1"/>
          </a:solidFill>
        </p:grpSpPr>
        <p:sp>
          <p:nvSpPr>
            <p:cNvPr id="68" name="Freeform 109">
              <a:extLst>
                <a:ext uri="{FF2B5EF4-FFF2-40B4-BE49-F238E27FC236}">
                  <a16:creationId xmlns:a16="http://schemas.microsoft.com/office/drawing/2014/main" id="{D8AF1C0B-A884-4080-AC5F-3D2736B1BE21}"/>
                </a:ext>
              </a:extLst>
            </p:cNvPr>
            <p:cNvSpPr>
              <a:spLocks noEditPoints="1"/>
            </p:cNvSpPr>
            <p:nvPr/>
          </p:nvSpPr>
          <p:spPr bwMode="auto">
            <a:xfrm>
              <a:off x="1153" y="614"/>
              <a:ext cx="3635" cy="363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 name="T20" fmla="*/ 306 w 512"/>
                <a:gd name="T21" fmla="*/ 263 h 512"/>
                <a:gd name="T22" fmla="*/ 157 w 512"/>
                <a:gd name="T23" fmla="*/ 413 h 512"/>
                <a:gd name="T24" fmla="*/ 149 w 512"/>
                <a:gd name="T25" fmla="*/ 416 h 512"/>
                <a:gd name="T26" fmla="*/ 141 w 512"/>
                <a:gd name="T27" fmla="*/ 413 h 512"/>
                <a:gd name="T28" fmla="*/ 141 w 512"/>
                <a:gd name="T29" fmla="*/ 397 h 512"/>
                <a:gd name="T30" fmla="*/ 283 w 512"/>
                <a:gd name="T31" fmla="*/ 256 h 512"/>
                <a:gd name="T32" fmla="*/ 141 w 512"/>
                <a:gd name="T33" fmla="*/ 114 h 512"/>
                <a:gd name="T34" fmla="*/ 141 w 512"/>
                <a:gd name="T35" fmla="*/ 99 h 512"/>
                <a:gd name="T36" fmla="*/ 157 w 512"/>
                <a:gd name="T37" fmla="*/ 99 h 512"/>
                <a:gd name="T38" fmla="*/ 306 w 512"/>
                <a:gd name="T39" fmla="*/ 248 h 512"/>
                <a:gd name="T40" fmla="*/ 306 w 512"/>
                <a:gd name="T41" fmla="*/ 263 h 512"/>
                <a:gd name="T42" fmla="*/ 413 w 512"/>
                <a:gd name="T43" fmla="*/ 263 h 512"/>
                <a:gd name="T44" fmla="*/ 263 w 512"/>
                <a:gd name="T45" fmla="*/ 413 h 512"/>
                <a:gd name="T46" fmla="*/ 256 w 512"/>
                <a:gd name="T47" fmla="*/ 416 h 512"/>
                <a:gd name="T48" fmla="*/ 248 w 512"/>
                <a:gd name="T49" fmla="*/ 413 h 512"/>
                <a:gd name="T50" fmla="*/ 248 w 512"/>
                <a:gd name="T51" fmla="*/ 397 h 512"/>
                <a:gd name="T52" fmla="*/ 390 w 512"/>
                <a:gd name="T53" fmla="*/ 256 h 512"/>
                <a:gd name="T54" fmla="*/ 248 w 512"/>
                <a:gd name="T55" fmla="*/ 114 h 512"/>
                <a:gd name="T56" fmla="*/ 248 w 512"/>
                <a:gd name="T57" fmla="*/ 99 h 512"/>
                <a:gd name="T58" fmla="*/ 263 w 512"/>
                <a:gd name="T59" fmla="*/ 99 h 512"/>
                <a:gd name="T60" fmla="*/ 413 w 512"/>
                <a:gd name="T61" fmla="*/ 248 h 512"/>
                <a:gd name="T62" fmla="*/ 413 w 512"/>
                <a:gd name="T6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moveTo>
                    <a:pt x="306" y="263"/>
                  </a:moveTo>
                  <a:cubicBezTo>
                    <a:pt x="157" y="413"/>
                    <a:pt x="157" y="413"/>
                    <a:pt x="157" y="413"/>
                  </a:cubicBezTo>
                  <a:cubicBezTo>
                    <a:pt x="154" y="415"/>
                    <a:pt x="152" y="416"/>
                    <a:pt x="149" y="416"/>
                  </a:cubicBez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sp>
          <p:nvSpPr>
            <p:cNvPr id="69" name="Freeform 110">
              <a:extLst>
                <a:ext uri="{FF2B5EF4-FFF2-40B4-BE49-F238E27FC236}">
                  <a16:creationId xmlns:a16="http://schemas.microsoft.com/office/drawing/2014/main" id="{DCCC3C96-0C3D-4A72-A7E1-94D50FCED0E9}"/>
                </a:ext>
              </a:extLst>
            </p:cNvPr>
            <p:cNvSpPr>
              <a:spLocks noEditPoints="1"/>
            </p:cNvSpPr>
            <p:nvPr/>
          </p:nvSpPr>
          <p:spPr bwMode="auto">
            <a:xfrm>
              <a:off x="1153" y="614"/>
              <a:ext cx="3635" cy="363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 name="T20" fmla="*/ 306 w 512"/>
                <a:gd name="T21" fmla="*/ 263 h 512"/>
                <a:gd name="T22" fmla="*/ 157 w 512"/>
                <a:gd name="T23" fmla="*/ 413 h 512"/>
                <a:gd name="T24" fmla="*/ 149 w 512"/>
                <a:gd name="T25" fmla="*/ 416 h 512"/>
                <a:gd name="T26" fmla="*/ 141 w 512"/>
                <a:gd name="T27" fmla="*/ 413 h 512"/>
                <a:gd name="T28" fmla="*/ 141 w 512"/>
                <a:gd name="T29" fmla="*/ 397 h 512"/>
                <a:gd name="T30" fmla="*/ 283 w 512"/>
                <a:gd name="T31" fmla="*/ 256 h 512"/>
                <a:gd name="T32" fmla="*/ 141 w 512"/>
                <a:gd name="T33" fmla="*/ 114 h 512"/>
                <a:gd name="T34" fmla="*/ 141 w 512"/>
                <a:gd name="T35" fmla="*/ 99 h 512"/>
                <a:gd name="T36" fmla="*/ 157 w 512"/>
                <a:gd name="T37" fmla="*/ 99 h 512"/>
                <a:gd name="T38" fmla="*/ 306 w 512"/>
                <a:gd name="T39" fmla="*/ 248 h 512"/>
                <a:gd name="T40" fmla="*/ 306 w 512"/>
                <a:gd name="T41" fmla="*/ 263 h 512"/>
                <a:gd name="T42" fmla="*/ 413 w 512"/>
                <a:gd name="T43" fmla="*/ 263 h 512"/>
                <a:gd name="T44" fmla="*/ 263 w 512"/>
                <a:gd name="T45" fmla="*/ 413 h 512"/>
                <a:gd name="T46" fmla="*/ 256 w 512"/>
                <a:gd name="T47" fmla="*/ 416 h 512"/>
                <a:gd name="T48" fmla="*/ 248 w 512"/>
                <a:gd name="T49" fmla="*/ 413 h 512"/>
                <a:gd name="T50" fmla="*/ 248 w 512"/>
                <a:gd name="T51" fmla="*/ 397 h 512"/>
                <a:gd name="T52" fmla="*/ 390 w 512"/>
                <a:gd name="T53" fmla="*/ 256 h 512"/>
                <a:gd name="T54" fmla="*/ 248 w 512"/>
                <a:gd name="T55" fmla="*/ 114 h 512"/>
                <a:gd name="T56" fmla="*/ 248 w 512"/>
                <a:gd name="T57" fmla="*/ 99 h 512"/>
                <a:gd name="T58" fmla="*/ 263 w 512"/>
                <a:gd name="T59" fmla="*/ 99 h 512"/>
                <a:gd name="T60" fmla="*/ 413 w 512"/>
                <a:gd name="T61" fmla="*/ 248 h 512"/>
                <a:gd name="T62" fmla="*/ 413 w 512"/>
                <a:gd name="T6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moveTo>
                    <a:pt x="306" y="263"/>
                  </a:moveTo>
                  <a:cubicBezTo>
                    <a:pt x="157" y="413"/>
                    <a:pt x="157" y="413"/>
                    <a:pt x="157" y="413"/>
                  </a:cubicBezTo>
                  <a:cubicBezTo>
                    <a:pt x="154" y="415"/>
                    <a:pt x="152" y="416"/>
                    <a:pt x="149" y="416"/>
                  </a:cubicBez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mn-ea"/>
                <a:cs typeface="+mn-cs"/>
              </a:endParaRPr>
            </a:p>
          </p:txBody>
        </p:sp>
      </p:grpSp>
      <p:cxnSp>
        <p:nvCxnSpPr>
          <p:cNvPr id="70" name="Straight Connector 69">
            <a:extLst>
              <a:ext uri="{FF2B5EF4-FFF2-40B4-BE49-F238E27FC236}">
                <a16:creationId xmlns:a16="http://schemas.microsoft.com/office/drawing/2014/main" id="{A60B6816-8064-4089-8FAA-2A6D2151167D}"/>
              </a:ext>
            </a:extLst>
          </p:cNvPr>
          <p:cNvCxnSpPr/>
          <p:nvPr/>
        </p:nvCxnSpPr>
        <p:spPr>
          <a:xfrm>
            <a:off x="10080332" y="3724690"/>
            <a:ext cx="1419983" cy="0"/>
          </a:xfrm>
          <a:prstGeom prst="line">
            <a:avLst/>
          </a:prstGeom>
          <a:noFill/>
          <a:ln w="19050" cap="flat" cmpd="sng" algn="ctr">
            <a:solidFill>
              <a:schemeClr val="tx1"/>
            </a:solidFill>
            <a:prstDash val="solid"/>
          </a:ln>
          <a:effectLst/>
        </p:spPr>
      </p:cxnSp>
      <p:sp>
        <p:nvSpPr>
          <p:cNvPr id="80" name="Text Placeholder 2">
            <a:extLst>
              <a:ext uri="{FF2B5EF4-FFF2-40B4-BE49-F238E27FC236}">
                <a16:creationId xmlns:a16="http://schemas.microsoft.com/office/drawing/2014/main" id="{D719F412-D6EA-45F3-80F4-3263C506AF32}"/>
              </a:ext>
            </a:extLst>
          </p:cNvPr>
          <p:cNvSpPr>
            <a:spLocks noGrp="1"/>
          </p:cNvSpPr>
          <p:nvPr>
            <p:ph type="body" sz="quarter" idx="15"/>
          </p:nvPr>
        </p:nvSpPr>
        <p:spPr>
          <a:xfrm>
            <a:off x="914971" y="425248"/>
            <a:ext cx="3355848" cy="203200"/>
          </a:xfrm>
        </p:spPr>
        <p:txBody>
          <a:bodyPr/>
          <a:lstStyle/>
          <a:p>
            <a:r>
              <a:rPr lang="en-US" dirty="0"/>
              <a:t>Agenda &amp; Table of Contents</a:t>
            </a:r>
          </a:p>
        </p:txBody>
      </p:sp>
    </p:spTree>
    <p:extLst>
      <p:ext uri="{BB962C8B-B14F-4D97-AF65-F5344CB8AC3E}">
        <p14:creationId xmlns:p14="http://schemas.microsoft.com/office/powerpoint/2010/main" val="1323468231"/>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Object 62" hidden="1">
            <a:extLst>
              <a:ext uri="{FF2B5EF4-FFF2-40B4-BE49-F238E27FC236}">
                <a16:creationId xmlns:a16="http://schemas.microsoft.com/office/drawing/2014/main" id="{1D9F6513-4C39-407F-9189-070F47DFEB1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372" name="think-cell Slide" r:id="rId6" imgW="395" imgH="396" progId="TCLayout.ActiveDocument.1">
                  <p:embed/>
                </p:oleObj>
              </mc:Choice>
              <mc:Fallback>
                <p:oleObj name="think-cell Slide" r:id="rId6" imgW="395" imgH="396" progId="TCLayout.ActiveDocument.1">
                  <p:embed/>
                  <p:pic>
                    <p:nvPicPr>
                      <p:cNvPr id="63" name="Object 62" hidden="1">
                        <a:extLst>
                          <a:ext uri="{FF2B5EF4-FFF2-40B4-BE49-F238E27FC236}">
                            <a16:creationId xmlns:a16="http://schemas.microsoft.com/office/drawing/2014/main" id="{1D9F6513-4C39-407F-9189-070F47DFEB1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4" name="Rectangle 63" hidden="1">
            <a:extLst>
              <a:ext uri="{FF2B5EF4-FFF2-40B4-BE49-F238E27FC236}">
                <a16:creationId xmlns:a16="http://schemas.microsoft.com/office/drawing/2014/main" id="{E9C1EAA7-67F0-4B3D-9EE5-27739CE817E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3DFF6BC1-18A8-43FD-AC82-8BB1F0D56A24}"/>
              </a:ext>
            </a:extLst>
          </p:cNvPr>
          <p:cNvSpPr>
            <a:spLocks noGrp="1"/>
          </p:cNvSpPr>
          <p:nvPr>
            <p:ph type="title"/>
          </p:nvPr>
        </p:nvSpPr>
        <p:spPr/>
        <p:txBody>
          <a:bodyPr/>
          <a:lstStyle/>
          <a:p>
            <a:r>
              <a:rPr lang="en-US" dirty="0"/>
              <a:t>Considerations for future state</a:t>
            </a:r>
          </a:p>
        </p:txBody>
      </p:sp>
      <p:sp>
        <p:nvSpPr>
          <p:cNvPr id="88" name="Text Placeholder 87">
            <a:extLst>
              <a:ext uri="{FF2B5EF4-FFF2-40B4-BE49-F238E27FC236}">
                <a16:creationId xmlns:a16="http://schemas.microsoft.com/office/drawing/2014/main" id="{67FD7824-F770-43BA-806F-3B6E1070C8D8}"/>
              </a:ext>
            </a:extLst>
          </p:cNvPr>
          <p:cNvSpPr>
            <a:spLocks noGrp="1"/>
          </p:cNvSpPr>
          <p:nvPr>
            <p:ph type="body" sz="quarter" idx="14"/>
          </p:nvPr>
        </p:nvSpPr>
        <p:spPr/>
        <p:txBody>
          <a:bodyPr/>
          <a:lstStyle/>
          <a:p>
            <a:r>
              <a:rPr lang="en-US" dirty="0"/>
              <a:t>Subtitle</a:t>
            </a:r>
          </a:p>
        </p:txBody>
      </p:sp>
      <p:sp>
        <p:nvSpPr>
          <p:cNvPr id="89" name="Text Placeholder 88">
            <a:extLst>
              <a:ext uri="{FF2B5EF4-FFF2-40B4-BE49-F238E27FC236}">
                <a16:creationId xmlns:a16="http://schemas.microsoft.com/office/drawing/2014/main" id="{2BCBABDD-6407-4BFF-9F5C-AE9545717834}"/>
              </a:ext>
            </a:extLst>
          </p:cNvPr>
          <p:cNvSpPr>
            <a:spLocks noGrp="1"/>
          </p:cNvSpPr>
          <p:nvPr>
            <p:ph type="body" sz="quarter" idx="15"/>
          </p:nvPr>
        </p:nvSpPr>
        <p:spPr>
          <a:xfrm>
            <a:off x="914971" y="466344"/>
            <a:ext cx="3664492" cy="151512"/>
          </a:xfrm>
        </p:spPr>
        <p:txBody>
          <a:bodyPr/>
          <a:lstStyle/>
          <a:p>
            <a:r>
              <a:rPr lang="en-US" dirty="0"/>
              <a:t>FRAMEWORKS &amp; CONCEPT ILLUSTRATION</a:t>
            </a:r>
          </a:p>
        </p:txBody>
      </p:sp>
      <p:grpSp>
        <p:nvGrpSpPr>
          <p:cNvPr id="29" name="Group 28">
            <a:extLst>
              <a:ext uri="{FF2B5EF4-FFF2-40B4-BE49-F238E27FC236}">
                <a16:creationId xmlns:a16="http://schemas.microsoft.com/office/drawing/2014/main" id="{B966656C-5971-4EDD-98BD-95667F896C98}"/>
              </a:ext>
            </a:extLst>
          </p:cNvPr>
          <p:cNvGrpSpPr/>
          <p:nvPr/>
        </p:nvGrpSpPr>
        <p:grpSpPr>
          <a:xfrm>
            <a:off x="1078541" y="5051625"/>
            <a:ext cx="10345824" cy="1385454"/>
            <a:chOff x="1078541" y="4444257"/>
            <a:chExt cx="10345824" cy="1385454"/>
          </a:xfrm>
        </p:grpSpPr>
        <p:grpSp>
          <p:nvGrpSpPr>
            <p:cNvPr id="30" name="Group 29">
              <a:extLst>
                <a:ext uri="{FF2B5EF4-FFF2-40B4-BE49-F238E27FC236}">
                  <a16:creationId xmlns:a16="http://schemas.microsoft.com/office/drawing/2014/main" id="{965F8598-12B2-4F3A-BAC0-B5319E4BF52A}"/>
                </a:ext>
              </a:extLst>
            </p:cNvPr>
            <p:cNvGrpSpPr/>
            <p:nvPr/>
          </p:nvGrpSpPr>
          <p:grpSpPr>
            <a:xfrm>
              <a:off x="1160296" y="4749056"/>
              <a:ext cx="10264069" cy="1080655"/>
              <a:chOff x="1158557" y="3192556"/>
              <a:chExt cx="10264069" cy="1080655"/>
            </a:xfrm>
          </p:grpSpPr>
          <p:sp>
            <p:nvSpPr>
              <p:cNvPr id="34" name="TextBox 33">
                <a:extLst>
                  <a:ext uri="{FF2B5EF4-FFF2-40B4-BE49-F238E27FC236}">
                    <a16:creationId xmlns:a16="http://schemas.microsoft.com/office/drawing/2014/main" id="{28D6AF95-0AC5-434D-A133-DA3DBEF2DC9C}"/>
                  </a:ext>
                </a:extLst>
              </p:cNvPr>
              <p:cNvSpPr txBox="1"/>
              <p:nvPr/>
            </p:nvSpPr>
            <p:spPr>
              <a:xfrm>
                <a:off x="7932173" y="3683397"/>
                <a:ext cx="3490453"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270" normalizeH="0" baseline="0" noProof="0" dirty="0">
                    <a:ln>
                      <a:noFill/>
                    </a:ln>
                    <a:solidFill>
                      <a:prstClr val="black"/>
                    </a:solidFill>
                    <a:effectLst/>
                    <a:uLnTx/>
                    <a:uFillTx/>
                    <a:ea typeface="Open Sans" panose="020B0606030504020204" pitchFamily="34" charset="0"/>
                    <a:cs typeface="Open Sans" panose="020B0606030504020204" pitchFamily="34" charset="0"/>
                  </a:rPr>
                  <a:t>DIFFERENTIAT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Capability enablement and adoption differentiate </a:t>
                </a:r>
                <a:b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br>
                <a: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field sales from competitors in industry</a:t>
                </a:r>
              </a:p>
            </p:txBody>
          </p:sp>
          <p:cxnSp>
            <p:nvCxnSpPr>
              <p:cNvPr id="35" name="Straight Connector 34">
                <a:extLst>
                  <a:ext uri="{FF2B5EF4-FFF2-40B4-BE49-F238E27FC236}">
                    <a16:creationId xmlns:a16="http://schemas.microsoft.com/office/drawing/2014/main" id="{5C868EC5-3C9E-469B-B974-0FF12D6DAFE6}"/>
                  </a:ext>
                </a:extLst>
              </p:cNvPr>
              <p:cNvCxnSpPr>
                <a:cxnSpLocks/>
              </p:cNvCxnSpPr>
              <p:nvPr/>
            </p:nvCxnSpPr>
            <p:spPr bwMode="auto">
              <a:xfrm>
                <a:off x="8004265" y="3586899"/>
                <a:ext cx="3354449" cy="0"/>
              </a:xfrm>
              <a:prstGeom prst="line">
                <a:avLst/>
              </a:prstGeom>
              <a:solidFill>
                <a:srgbClr val="C0C0C0"/>
              </a:solidFill>
              <a:ln w="76200" cap="flat" cmpd="sng" algn="ctr">
                <a:solidFill>
                  <a:schemeClr val="bg1">
                    <a:lumMod val="50000"/>
                  </a:schemeClr>
                </a:solidFill>
                <a:prstDash val="solid"/>
                <a:round/>
                <a:headEnd type="none" w="med" len="med"/>
                <a:tailEnd type="none" w="med" len="med"/>
              </a:ln>
              <a:effectLst/>
            </p:spPr>
          </p:cxnSp>
          <p:sp>
            <p:nvSpPr>
              <p:cNvPr id="36" name="TextBox 35">
                <a:extLst>
                  <a:ext uri="{FF2B5EF4-FFF2-40B4-BE49-F238E27FC236}">
                    <a16:creationId xmlns:a16="http://schemas.microsoft.com/office/drawing/2014/main" id="{C7E6FDD0-9DA0-4DFD-A1F6-EF27E257BAB6}"/>
                  </a:ext>
                </a:extLst>
              </p:cNvPr>
              <p:cNvSpPr txBox="1"/>
              <p:nvPr/>
            </p:nvSpPr>
            <p:spPr>
              <a:xfrm>
                <a:off x="4445614" y="3688436"/>
                <a:ext cx="3558652"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270" normalizeH="0" baseline="0" noProof="0" dirty="0">
                    <a:ln>
                      <a:noFill/>
                    </a:ln>
                    <a:solidFill>
                      <a:prstClr val="black"/>
                    </a:solidFill>
                    <a:effectLst/>
                    <a:uLnTx/>
                    <a:uFillTx/>
                    <a:ea typeface="Open Sans" panose="020B0606030504020204" pitchFamily="34" charset="0"/>
                    <a:cs typeface="Open Sans" panose="020B0606030504020204" pitchFamily="34" charset="0"/>
                  </a:rPr>
                  <a:t>COMPETITIV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Capability enablement and adoption </a:t>
                </a:r>
                <a:b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br>
                <a: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are competitive within the industry</a:t>
                </a:r>
              </a:p>
            </p:txBody>
          </p:sp>
          <p:sp>
            <p:nvSpPr>
              <p:cNvPr id="37" name="TextBox 36">
                <a:extLst>
                  <a:ext uri="{FF2B5EF4-FFF2-40B4-BE49-F238E27FC236}">
                    <a16:creationId xmlns:a16="http://schemas.microsoft.com/office/drawing/2014/main" id="{409B596C-24F4-4A06-BDB7-718835C833B1}"/>
                  </a:ext>
                </a:extLst>
              </p:cNvPr>
              <p:cNvSpPr txBox="1"/>
              <p:nvPr/>
            </p:nvSpPr>
            <p:spPr>
              <a:xfrm>
                <a:off x="1158557" y="3688436"/>
                <a:ext cx="3354449"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270" normalizeH="0" baseline="0" noProof="0" dirty="0">
                    <a:ln>
                      <a:noFill/>
                    </a:ln>
                    <a:solidFill>
                      <a:prstClr val="black"/>
                    </a:solidFill>
                    <a:effectLst/>
                    <a:uLnTx/>
                    <a:uFillTx/>
                    <a:ea typeface="Open Sans" panose="020B0606030504020204" pitchFamily="34" charset="0"/>
                    <a:cs typeface="Open Sans" panose="020B0606030504020204" pitchFamily="34" charset="0"/>
                  </a:rPr>
                  <a:t>FOUNDATION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Capability enablement and adoption </a:t>
                </a:r>
                <a:b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br>
                <a: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support basic field sales activities</a:t>
                </a:r>
              </a:p>
            </p:txBody>
          </p:sp>
          <p:cxnSp>
            <p:nvCxnSpPr>
              <p:cNvPr id="38" name="Straight Connector 37">
                <a:extLst>
                  <a:ext uri="{FF2B5EF4-FFF2-40B4-BE49-F238E27FC236}">
                    <a16:creationId xmlns:a16="http://schemas.microsoft.com/office/drawing/2014/main" id="{2053595B-66F7-45B5-B8BA-A4419912C1F9}"/>
                  </a:ext>
                </a:extLst>
              </p:cNvPr>
              <p:cNvCxnSpPr>
                <a:cxnSpLocks/>
              </p:cNvCxnSpPr>
              <p:nvPr/>
            </p:nvCxnSpPr>
            <p:spPr bwMode="auto">
              <a:xfrm>
                <a:off x="1158557" y="3586899"/>
                <a:ext cx="3354449" cy="0"/>
              </a:xfrm>
              <a:prstGeom prst="line">
                <a:avLst/>
              </a:prstGeom>
              <a:solidFill>
                <a:srgbClr val="C0C0C0"/>
              </a:solidFill>
              <a:ln w="76200" cap="flat" cmpd="sng" algn="ctr">
                <a:solidFill>
                  <a:schemeClr val="bg1">
                    <a:lumMod val="50000"/>
                  </a:schemeClr>
                </a:solidFill>
                <a:prstDash val="solid"/>
                <a:round/>
                <a:headEnd type="none" w="med" len="med"/>
                <a:tailEnd type="none" w="med" len="med"/>
              </a:ln>
              <a:effectLst/>
            </p:spPr>
          </p:cxnSp>
          <p:cxnSp>
            <p:nvCxnSpPr>
              <p:cNvPr id="39" name="Straight Connector 38">
                <a:extLst>
                  <a:ext uri="{FF2B5EF4-FFF2-40B4-BE49-F238E27FC236}">
                    <a16:creationId xmlns:a16="http://schemas.microsoft.com/office/drawing/2014/main" id="{773A9D43-5BA7-4749-9347-DE7106624EB1}"/>
                  </a:ext>
                </a:extLst>
              </p:cNvPr>
              <p:cNvCxnSpPr>
                <a:cxnSpLocks/>
              </p:cNvCxnSpPr>
              <p:nvPr/>
            </p:nvCxnSpPr>
            <p:spPr bwMode="auto">
              <a:xfrm>
                <a:off x="4577724" y="3586899"/>
                <a:ext cx="3354449" cy="0"/>
              </a:xfrm>
              <a:prstGeom prst="line">
                <a:avLst/>
              </a:prstGeom>
              <a:solidFill>
                <a:srgbClr val="C0C0C0"/>
              </a:solidFill>
              <a:ln w="76200" cap="flat" cmpd="sng" algn="ctr">
                <a:solidFill>
                  <a:schemeClr val="accent3">
                    <a:lumMod val="40000"/>
                    <a:lumOff val="60000"/>
                  </a:schemeClr>
                </a:solidFill>
                <a:prstDash val="solid"/>
                <a:round/>
                <a:headEnd type="none" w="med" len="med"/>
                <a:tailEnd type="none" w="med" len="med"/>
              </a:ln>
              <a:effectLst/>
            </p:spPr>
          </p:cxnSp>
          <p:sp>
            <p:nvSpPr>
              <p:cNvPr id="40" name="Right Brace 39">
                <a:extLst>
                  <a:ext uri="{FF2B5EF4-FFF2-40B4-BE49-F238E27FC236}">
                    <a16:creationId xmlns:a16="http://schemas.microsoft.com/office/drawing/2014/main" id="{F1B4DB40-E2D3-4E73-AABA-74792F3FAC38}"/>
                  </a:ext>
                </a:extLst>
              </p:cNvPr>
              <p:cNvSpPr/>
              <p:nvPr/>
            </p:nvSpPr>
            <p:spPr bwMode="auto">
              <a:xfrm rot="16200000">
                <a:off x="6152739" y="1637083"/>
                <a:ext cx="162634" cy="3396232"/>
              </a:xfrm>
              <a:prstGeom prst="rightBrace">
                <a:avLst/>
              </a:prstGeom>
              <a:no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ea typeface="ヒラギノ角ゴ ProN W3" pitchFamily="-110" charset="-128"/>
                  <a:cs typeface="ヒラギノ角ゴ ProN W3" pitchFamily="-110" charset="-128"/>
                  <a:sym typeface="Arial" pitchFamily="-110" charset="0"/>
                </a:endParaRPr>
              </a:p>
            </p:txBody>
          </p:sp>
          <p:sp>
            <p:nvSpPr>
              <p:cNvPr id="41" name="TextBox 40">
                <a:extLst>
                  <a:ext uri="{FF2B5EF4-FFF2-40B4-BE49-F238E27FC236}">
                    <a16:creationId xmlns:a16="http://schemas.microsoft.com/office/drawing/2014/main" id="{A2CFDC7C-B379-4197-A4B5-B3DB71417E96}"/>
                  </a:ext>
                </a:extLst>
              </p:cNvPr>
              <p:cNvSpPr txBox="1"/>
              <p:nvPr/>
            </p:nvSpPr>
            <p:spPr>
              <a:xfrm>
                <a:off x="5381509" y="3192556"/>
                <a:ext cx="1746875" cy="246221"/>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Consider for Future State</a:t>
                </a:r>
              </a:p>
            </p:txBody>
          </p:sp>
        </p:grpSp>
        <p:sp>
          <p:nvSpPr>
            <p:cNvPr id="31" name="TextBox 30">
              <a:extLst>
                <a:ext uri="{FF2B5EF4-FFF2-40B4-BE49-F238E27FC236}">
                  <a16:creationId xmlns:a16="http://schemas.microsoft.com/office/drawing/2014/main" id="{7D9DD654-17A6-4D64-B13B-76FC94A6A3F5}"/>
                </a:ext>
              </a:extLst>
            </p:cNvPr>
            <p:cNvSpPr txBox="1"/>
            <p:nvPr/>
          </p:nvSpPr>
          <p:spPr>
            <a:xfrm>
              <a:off x="1078541" y="4444257"/>
              <a:ext cx="283154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0" normalizeH="0" baseline="0" noProof="0" dirty="0">
                  <a:ln>
                    <a:noFill/>
                  </a:ln>
                  <a:solidFill>
                    <a:prstClr val="black"/>
                  </a:solidFill>
                  <a:effectLst/>
                  <a:uLnTx/>
                  <a:uFillTx/>
                  <a:ea typeface="Open Sans" panose="020B0606030504020204" pitchFamily="34" charset="0"/>
                  <a:cs typeface="Open Sans" panose="020B0606030504020204" pitchFamily="34" charset="0"/>
                </a:rPr>
                <a:t>CAPABILITY MANAGEMENT</a:t>
              </a:r>
              <a:endParaRPr kumimoji="0" lang="en-US" sz="14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endParaRPr>
            </a:p>
          </p:txBody>
        </p:sp>
        <p:sp>
          <p:nvSpPr>
            <p:cNvPr id="32" name="Oval 31">
              <a:extLst>
                <a:ext uri="{FF2B5EF4-FFF2-40B4-BE49-F238E27FC236}">
                  <a16:creationId xmlns:a16="http://schemas.microsoft.com/office/drawing/2014/main" id="{C1E5DBE9-561E-4285-838A-896554961B0B}"/>
                </a:ext>
              </a:extLst>
            </p:cNvPr>
            <p:cNvSpPr/>
            <p:nvPr/>
          </p:nvSpPr>
          <p:spPr bwMode="auto">
            <a:xfrm>
              <a:off x="2877551" y="5045777"/>
              <a:ext cx="182880" cy="182880"/>
            </a:xfrm>
            <a:prstGeom prst="ellipse">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dirty="0" err="1">
                <a:ln>
                  <a:noFill/>
                </a:ln>
                <a:solidFill>
                  <a:prstClr val="white"/>
                </a:solidFill>
                <a:effectLst/>
                <a:uLnTx/>
                <a:uFillTx/>
                <a:ea typeface="ヒラギノ角ゴ ProN W3" pitchFamily="-110" charset="-128"/>
                <a:cs typeface="ヒラギノ角ゴ ProN W3" pitchFamily="-110" charset="-128"/>
                <a:sym typeface="Arial" pitchFamily="-110" charset="0"/>
              </a:endParaRPr>
            </a:p>
          </p:txBody>
        </p:sp>
        <p:sp>
          <p:nvSpPr>
            <p:cNvPr id="33" name="TextBox 32">
              <a:extLst>
                <a:ext uri="{FF2B5EF4-FFF2-40B4-BE49-F238E27FC236}">
                  <a16:creationId xmlns:a16="http://schemas.microsoft.com/office/drawing/2014/main" id="{AECD170D-15D1-4C5A-81C0-A6FD218539A6}"/>
                </a:ext>
              </a:extLst>
            </p:cNvPr>
            <p:cNvSpPr txBox="1"/>
            <p:nvPr/>
          </p:nvSpPr>
          <p:spPr>
            <a:xfrm>
              <a:off x="2650311" y="4831247"/>
              <a:ext cx="63736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TODAY</a:t>
              </a:r>
            </a:p>
          </p:txBody>
        </p:sp>
      </p:grpSp>
      <p:grpSp>
        <p:nvGrpSpPr>
          <p:cNvPr id="42" name="Group 41">
            <a:extLst>
              <a:ext uri="{FF2B5EF4-FFF2-40B4-BE49-F238E27FC236}">
                <a16:creationId xmlns:a16="http://schemas.microsoft.com/office/drawing/2014/main" id="{01CB256A-FB23-49B2-865A-5FF701D59A50}"/>
              </a:ext>
            </a:extLst>
          </p:cNvPr>
          <p:cNvGrpSpPr/>
          <p:nvPr/>
        </p:nvGrpSpPr>
        <p:grpSpPr>
          <a:xfrm>
            <a:off x="464234" y="3295090"/>
            <a:ext cx="10960131" cy="1703333"/>
            <a:chOff x="464234" y="2687722"/>
            <a:chExt cx="10960131" cy="1703333"/>
          </a:xfrm>
        </p:grpSpPr>
        <p:grpSp>
          <p:nvGrpSpPr>
            <p:cNvPr id="43" name="Group 42">
              <a:extLst>
                <a:ext uri="{FF2B5EF4-FFF2-40B4-BE49-F238E27FC236}">
                  <a16:creationId xmlns:a16="http://schemas.microsoft.com/office/drawing/2014/main" id="{69D3417C-323E-4168-A777-B23591D11D41}"/>
                </a:ext>
              </a:extLst>
            </p:cNvPr>
            <p:cNvGrpSpPr/>
            <p:nvPr/>
          </p:nvGrpSpPr>
          <p:grpSpPr>
            <a:xfrm>
              <a:off x="464234" y="2687722"/>
              <a:ext cx="10960131" cy="1703333"/>
              <a:chOff x="464234" y="1029610"/>
              <a:chExt cx="10960131" cy="1703333"/>
            </a:xfrm>
          </p:grpSpPr>
          <p:grpSp>
            <p:nvGrpSpPr>
              <p:cNvPr id="47" name="Group 46">
                <a:extLst>
                  <a:ext uri="{FF2B5EF4-FFF2-40B4-BE49-F238E27FC236}">
                    <a16:creationId xmlns:a16="http://schemas.microsoft.com/office/drawing/2014/main" id="{1EB7A388-A2BA-4BC4-85E1-C33752DB7343}"/>
                  </a:ext>
                </a:extLst>
              </p:cNvPr>
              <p:cNvGrpSpPr/>
              <p:nvPr/>
            </p:nvGrpSpPr>
            <p:grpSpPr>
              <a:xfrm>
                <a:off x="1078541" y="1029610"/>
                <a:ext cx="10345824" cy="1703333"/>
                <a:chOff x="1076802" y="2740566"/>
                <a:chExt cx="10345824" cy="1703333"/>
              </a:xfrm>
            </p:grpSpPr>
            <p:sp>
              <p:nvSpPr>
                <p:cNvPr id="51" name="TextBox 50">
                  <a:extLst>
                    <a:ext uri="{FF2B5EF4-FFF2-40B4-BE49-F238E27FC236}">
                      <a16:creationId xmlns:a16="http://schemas.microsoft.com/office/drawing/2014/main" id="{366A1240-94A0-4EB0-BFBE-DFFC6514916B}"/>
                    </a:ext>
                  </a:extLst>
                </p:cNvPr>
                <p:cNvSpPr txBox="1"/>
                <p:nvPr/>
              </p:nvSpPr>
              <p:spPr>
                <a:xfrm>
                  <a:off x="1076802" y="2740566"/>
                  <a:ext cx="501919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270" normalizeH="0" baseline="0" noProof="0" dirty="0">
                      <a:ln>
                        <a:noFill/>
                      </a:ln>
                      <a:solidFill>
                        <a:prstClr val="black"/>
                      </a:solidFill>
                      <a:effectLst/>
                      <a:uLnTx/>
                      <a:uFillTx/>
                      <a:ea typeface="Open Sans" panose="020B0606030504020204" pitchFamily="34" charset="0"/>
                      <a:cs typeface="Open Sans" panose="020B0606030504020204" pitchFamily="34" charset="0"/>
                    </a:rPr>
                    <a:t>CAPABILITY MATURITY</a:t>
                  </a:r>
                  <a:endParaRPr kumimoji="0" lang="en-US" sz="1800" b="0" i="0" u="none" strike="noStrike" kern="1200" cap="none" spc="270" normalizeH="0" baseline="0" noProof="0" dirty="0">
                    <a:ln>
                      <a:noFill/>
                    </a:ln>
                    <a:solidFill>
                      <a:prstClr val="black"/>
                    </a:solidFill>
                    <a:effectLst/>
                    <a:uLnTx/>
                    <a:uFillTx/>
                    <a:ea typeface="Open Sans" panose="020B0606030504020204" pitchFamily="34" charset="0"/>
                    <a:cs typeface="Open Sans" panose="020B0606030504020204" pitchFamily="34" charset="0"/>
                  </a:endParaRPr>
                </a:p>
              </p:txBody>
            </p:sp>
            <p:sp>
              <p:nvSpPr>
                <p:cNvPr id="52" name="TextBox 51">
                  <a:extLst>
                    <a:ext uri="{FF2B5EF4-FFF2-40B4-BE49-F238E27FC236}">
                      <a16:creationId xmlns:a16="http://schemas.microsoft.com/office/drawing/2014/main" id="{E4F01761-2238-4ABC-8152-7F5317E7F3AE}"/>
                    </a:ext>
                  </a:extLst>
                </p:cNvPr>
                <p:cNvSpPr txBox="1"/>
                <p:nvPr/>
              </p:nvSpPr>
              <p:spPr>
                <a:xfrm>
                  <a:off x="7932173" y="3854085"/>
                  <a:ext cx="3490453"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270" normalizeH="0" baseline="0" noProof="0" dirty="0">
                      <a:ln>
                        <a:noFill/>
                      </a:ln>
                      <a:solidFill>
                        <a:prstClr val="black"/>
                      </a:solidFill>
                      <a:effectLst/>
                      <a:uLnTx/>
                      <a:uFillTx/>
                      <a:ea typeface="Open Sans" panose="020B0606030504020204" pitchFamily="34" charset="0"/>
                      <a:cs typeface="Open Sans" panose="020B0606030504020204" pitchFamily="34" charset="0"/>
                    </a:rPr>
                    <a:t>DIFFERENTIAT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Capability enablement and adoption differentiate</a:t>
                  </a:r>
                  <a:b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br>
                  <a: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 field sales from competitors in industry</a:t>
                  </a:r>
                </a:p>
              </p:txBody>
            </p:sp>
            <p:cxnSp>
              <p:nvCxnSpPr>
                <p:cNvPr id="53" name="Straight Connector 52">
                  <a:extLst>
                    <a:ext uri="{FF2B5EF4-FFF2-40B4-BE49-F238E27FC236}">
                      <a16:creationId xmlns:a16="http://schemas.microsoft.com/office/drawing/2014/main" id="{0D289DDA-F27A-497A-AD43-C3E663805F67}"/>
                    </a:ext>
                  </a:extLst>
                </p:cNvPr>
                <p:cNvCxnSpPr>
                  <a:cxnSpLocks/>
                </p:cNvCxnSpPr>
                <p:nvPr/>
              </p:nvCxnSpPr>
              <p:spPr bwMode="auto">
                <a:xfrm>
                  <a:off x="1158557" y="3065001"/>
                  <a:ext cx="4814540" cy="0"/>
                </a:xfrm>
                <a:prstGeom prst="line">
                  <a:avLst/>
                </a:prstGeom>
                <a:solidFill>
                  <a:srgbClr val="C0C0C0"/>
                </a:solidFill>
                <a:ln w="38100" cap="flat" cmpd="sng" algn="ctr">
                  <a:solidFill>
                    <a:schemeClr val="accent1"/>
                  </a:solidFill>
                  <a:prstDash val="solid"/>
                  <a:round/>
                  <a:headEnd type="none" w="med" len="med"/>
                  <a:tailEnd type="none" w="med" len="med"/>
                </a:ln>
                <a:effectLst/>
              </p:spPr>
            </p:cxnSp>
            <p:cxnSp>
              <p:nvCxnSpPr>
                <p:cNvPr id="54" name="Straight Connector 53">
                  <a:extLst>
                    <a:ext uri="{FF2B5EF4-FFF2-40B4-BE49-F238E27FC236}">
                      <a16:creationId xmlns:a16="http://schemas.microsoft.com/office/drawing/2014/main" id="{25736E72-EF16-43AD-A385-F74907F463B3}"/>
                    </a:ext>
                  </a:extLst>
                </p:cNvPr>
                <p:cNvCxnSpPr>
                  <a:cxnSpLocks/>
                </p:cNvCxnSpPr>
                <p:nvPr/>
              </p:nvCxnSpPr>
              <p:spPr bwMode="auto">
                <a:xfrm>
                  <a:off x="8004265" y="3757587"/>
                  <a:ext cx="3354449" cy="0"/>
                </a:xfrm>
                <a:prstGeom prst="line">
                  <a:avLst/>
                </a:prstGeom>
                <a:solidFill>
                  <a:srgbClr val="C0C0C0"/>
                </a:solidFill>
                <a:ln w="76200" cap="flat" cmpd="sng" algn="ctr">
                  <a:solidFill>
                    <a:schemeClr val="bg1">
                      <a:lumMod val="50000"/>
                    </a:schemeClr>
                  </a:solidFill>
                  <a:prstDash val="solid"/>
                  <a:round/>
                  <a:headEnd type="none" w="med" len="med"/>
                  <a:tailEnd type="none" w="med" len="med"/>
                </a:ln>
                <a:effectLst/>
              </p:spPr>
            </p:cxnSp>
            <p:sp>
              <p:nvSpPr>
                <p:cNvPr id="55" name="TextBox 54">
                  <a:extLst>
                    <a:ext uri="{FF2B5EF4-FFF2-40B4-BE49-F238E27FC236}">
                      <a16:creationId xmlns:a16="http://schemas.microsoft.com/office/drawing/2014/main" id="{E065FD84-2205-4952-9FA7-11D2E2DC6645}"/>
                    </a:ext>
                  </a:extLst>
                </p:cNvPr>
                <p:cNvSpPr txBox="1"/>
                <p:nvPr/>
              </p:nvSpPr>
              <p:spPr>
                <a:xfrm>
                  <a:off x="4445614" y="3859124"/>
                  <a:ext cx="3558652"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270" normalizeH="0" baseline="0" noProof="0" dirty="0">
                      <a:ln>
                        <a:noFill/>
                      </a:ln>
                      <a:solidFill>
                        <a:prstClr val="black"/>
                      </a:solidFill>
                      <a:effectLst/>
                      <a:uLnTx/>
                      <a:uFillTx/>
                      <a:ea typeface="Open Sans" panose="020B0606030504020204" pitchFamily="34" charset="0"/>
                      <a:cs typeface="Open Sans" panose="020B0606030504020204" pitchFamily="34" charset="0"/>
                    </a:rPr>
                    <a:t>COMPETITIV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Capability enablement and adoption </a:t>
                  </a:r>
                  <a:b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br>
                  <a: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are competitive within the industry</a:t>
                  </a:r>
                </a:p>
              </p:txBody>
            </p:sp>
            <p:sp>
              <p:nvSpPr>
                <p:cNvPr id="56" name="TextBox 55">
                  <a:extLst>
                    <a:ext uri="{FF2B5EF4-FFF2-40B4-BE49-F238E27FC236}">
                      <a16:creationId xmlns:a16="http://schemas.microsoft.com/office/drawing/2014/main" id="{0153591F-33B3-47FD-9840-C4CEDD8D15D1}"/>
                    </a:ext>
                  </a:extLst>
                </p:cNvPr>
                <p:cNvSpPr txBox="1"/>
                <p:nvPr/>
              </p:nvSpPr>
              <p:spPr>
                <a:xfrm>
                  <a:off x="1158557" y="3859124"/>
                  <a:ext cx="3354449"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270" normalizeH="0" baseline="0" noProof="0" dirty="0">
                      <a:ln>
                        <a:noFill/>
                      </a:ln>
                      <a:solidFill>
                        <a:prstClr val="black"/>
                      </a:solidFill>
                      <a:effectLst/>
                      <a:uLnTx/>
                      <a:uFillTx/>
                      <a:ea typeface="Open Sans" panose="020B0606030504020204" pitchFamily="34" charset="0"/>
                      <a:cs typeface="Open Sans" panose="020B0606030504020204" pitchFamily="34" charset="0"/>
                    </a:rPr>
                    <a:t>FOUNDATION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Capability enablement and adoption </a:t>
                  </a:r>
                  <a:b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br>
                  <a: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support basic field sales activities</a:t>
                  </a:r>
                </a:p>
              </p:txBody>
            </p:sp>
            <p:cxnSp>
              <p:nvCxnSpPr>
                <p:cNvPr id="57" name="Straight Connector 56">
                  <a:extLst>
                    <a:ext uri="{FF2B5EF4-FFF2-40B4-BE49-F238E27FC236}">
                      <a16:creationId xmlns:a16="http://schemas.microsoft.com/office/drawing/2014/main" id="{80843DE5-91D7-4B1F-B296-2916B816A9EA}"/>
                    </a:ext>
                  </a:extLst>
                </p:cNvPr>
                <p:cNvCxnSpPr>
                  <a:cxnSpLocks/>
                </p:cNvCxnSpPr>
                <p:nvPr/>
              </p:nvCxnSpPr>
              <p:spPr bwMode="auto">
                <a:xfrm>
                  <a:off x="1158557" y="3757587"/>
                  <a:ext cx="3354449" cy="0"/>
                </a:xfrm>
                <a:prstGeom prst="line">
                  <a:avLst/>
                </a:prstGeom>
                <a:solidFill>
                  <a:srgbClr val="C0C0C0"/>
                </a:solidFill>
                <a:ln w="76200" cap="flat" cmpd="sng" algn="ctr">
                  <a:solidFill>
                    <a:schemeClr val="bg1">
                      <a:lumMod val="50000"/>
                    </a:schemeClr>
                  </a:solidFill>
                  <a:prstDash val="solid"/>
                  <a:round/>
                  <a:headEnd type="none" w="med" len="med"/>
                  <a:tailEnd type="none" w="med" len="med"/>
                </a:ln>
                <a:effectLst/>
              </p:spPr>
            </p:cxnSp>
            <p:cxnSp>
              <p:nvCxnSpPr>
                <p:cNvPr id="58" name="Straight Connector 57">
                  <a:extLst>
                    <a:ext uri="{FF2B5EF4-FFF2-40B4-BE49-F238E27FC236}">
                      <a16:creationId xmlns:a16="http://schemas.microsoft.com/office/drawing/2014/main" id="{429F7A1B-D83B-4FF6-B8DD-0EF31BB0E92B}"/>
                    </a:ext>
                  </a:extLst>
                </p:cNvPr>
                <p:cNvCxnSpPr>
                  <a:cxnSpLocks/>
                </p:cNvCxnSpPr>
                <p:nvPr/>
              </p:nvCxnSpPr>
              <p:spPr bwMode="auto">
                <a:xfrm>
                  <a:off x="4577724" y="3757587"/>
                  <a:ext cx="3354449" cy="0"/>
                </a:xfrm>
                <a:prstGeom prst="line">
                  <a:avLst/>
                </a:prstGeom>
                <a:solidFill>
                  <a:srgbClr val="C0C0C0"/>
                </a:solidFill>
                <a:ln w="76200" cap="flat" cmpd="sng" algn="ctr">
                  <a:solidFill>
                    <a:schemeClr val="accent3">
                      <a:lumMod val="40000"/>
                      <a:lumOff val="60000"/>
                    </a:schemeClr>
                  </a:solidFill>
                  <a:prstDash val="solid"/>
                  <a:round/>
                  <a:headEnd type="none" w="med" len="med"/>
                  <a:tailEnd type="none" w="med" len="med"/>
                </a:ln>
                <a:effectLst/>
              </p:spPr>
            </p:cxnSp>
            <p:sp>
              <p:nvSpPr>
                <p:cNvPr id="59" name="Right Brace 58">
                  <a:extLst>
                    <a:ext uri="{FF2B5EF4-FFF2-40B4-BE49-F238E27FC236}">
                      <a16:creationId xmlns:a16="http://schemas.microsoft.com/office/drawing/2014/main" id="{B0A42A88-5593-4BA9-906B-334850ECB569}"/>
                    </a:ext>
                  </a:extLst>
                </p:cNvPr>
                <p:cNvSpPr/>
                <p:nvPr/>
              </p:nvSpPr>
              <p:spPr bwMode="auto">
                <a:xfrm rot="16200000">
                  <a:off x="6152739" y="1838316"/>
                  <a:ext cx="162634" cy="3396232"/>
                </a:xfrm>
                <a:prstGeom prst="rightBrace">
                  <a:avLst/>
                </a:prstGeom>
                <a:no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ea typeface="ヒラギノ角ゴ ProN W3" pitchFamily="-110" charset="-128"/>
                    <a:cs typeface="ヒラギノ角ゴ ProN W3" pitchFamily="-110" charset="-128"/>
                    <a:sym typeface="Arial" pitchFamily="-110" charset="0"/>
                  </a:endParaRPr>
                </a:p>
              </p:txBody>
            </p:sp>
            <p:sp>
              <p:nvSpPr>
                <p:cNvPr id="60" name="TextBox 59">
                  <a:extLst>
                    <a:ext uri="{FF2B5EF4-FFF2-40B4-BE49-F238E27FC236}">
                      <a16:creationId xmlns:a16="http://schemas.microsoft.com/office/drawing/2014/main" id="{55303F81-1151-445E-8C13-2DC065CDBF11}"/>
                    </a:ext>
                  </a:extLst>
                </p:cNvPr>
                <p:cNvSpPr txBox="1"/>
                <p:nvPr/>
              </p:nvSpPr>
              <p:spPr>
                <a:xfrm>
                  <a:off x="5381509" y="3387628"/>
                  <a:ext cx="1746875" cy="246221"/>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Consider for Future State</a:t>
                  </a:r>
                </a:p>
              </p:txBody>
            </p:sp>
          </p:grpSp>
          <p:grpSp>
            <p:nvGrpSpPr>
              <p:cNvPr id="48" name="Group 47">
                <a:extLst>
                  <a:ext uri="{FF2B5EF4-FFF2-40B4-BE49-F238E27FC236}">
                    <a16:creationId xmlns:a16="http://schemas.microsoft.com/office/drawing/2014/main" id="{41059A3F-5ACA-47BE-9086-3939DD34BCAE}"/>
                  </a:ext>
                </a:extLst>
              </p:cNvPr>
              <p:cNvGrpSpPr/>
              <p:nvPr/>
            </p:nvGrpSpPr>
            <p:grpSpPr>
              <a:xfrm>
                <a:off x="464234" y="1051477"/>
                <a:ext cx="521208" cy="521208"/>
                <a:chOff x="10488145" y="4832256"/>
                <a:chExt cx="519056" cy="519056"/>
              </a:xfrm>
            </p:grpSpPr>
            <p:sp>
              <p:nvSpPr>
                <p:cNvPr id="49" name="Oval 48">
                  <a:extLst>
                    <a:ext uri="{FF2B5EF4-FFF2-40B4-BE49-F238E27FC236}">
                      <a16:creationId xmlns:a16="http://schemas.microsoft.com/office/drawing/2014/main" id="{555ADE52-FB40-4476-B341-C03E0778E7EE}"/>
                    </a:ext>
                  </a:extLst>
                </p:cNvPr>
                <p:cNvSpPr/>
                <p:nvPr/>
              </p:nvSpPr>
              <p:spPr>
                <a:xfrm>
                  <a:off x="10488145" y="4832256"/>
                  <a:ext cx="519056" cy="519056"/>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endParaRPr>
                </a:p>
              </p:txBody>
            </p:sp>
            <p:sp>
              <p:nvSpPr>
                <p:cNvPr id="50" name="Freeform 216">
                  <a:extLst>
                    <a:ext uri="{FF2B5EF4-FFF2-40B4-BE49-F238E27FC236}">
                      <a16:creationId xmlns:a16="http://schemas.microsoft.com/office/drawing/2014/main" id="{26CF6952-7005-44AF-9C10-2E7E04CF130C}"/>
                    </a:ext>
                  </a:extLst>
                </p:cNvPr>
                <p:cNvSpPr>
                  <a:spLocks noEditPoints="1"/>
                </p:cNvSpPr>
                <p:nvPr/>
              </p:nvSpPr>
              <p:spPr bwMode="auto">
                <a:xfrm>
                  <a:off x="10606615" y="4950348"/>
                  <a:ext cx="296863" cy="298450"/>
                </a:xfrm>
                <a:custGeom>
                  <a:avLst/>
                  <a:gdLst>
                    <a:gd name="T0" fmla="*/ 321 w 374"/>
                    <a:gd name="T1" fmla="*/ 151 h 375"/>
                    <a:gd name="T2" fmla="*/ 336 w 374"/>
                    <a:gd name="T3" fmla="*/ 81 h 375"/>
                    <a:gd name="T4" fmla="*/ 336 w 374"/>
                    <a:gd name="T5" fmla="*/ 73 h 375"/>
                    <a:gd name="T6" fmla="*/ 298 w 374"/>
                    <a:gd name="T7" fmla="*/ 36 h 375"/>
                    <a:gd name="T8" fmla="*/ 255 w 374"/>
                    <a:gd name="T9" fmla="*/ 67 h 375"/>
                    <a:gd name="T10" fmla="*/ 216 w 374"/>
                    <a:gd name="T11" fmla="*/ 5 h 375"/>
                    <a:gd name="T12" fmla="*/ 211 w 374"/>
                    <a:gd name="T13" fmla="*/ 0 h 375"/>
                    <a:gd name="T14" fmla="*/ 159 w 374"/>
                    <a:gd name="T15" fmla="*/ 1 h 375"/>
                    <a:gd name="T16" fmla="*/ 151 w 374"/>
                    <a:gd name="T17" fmla="*/ 54 h 375"/>
                    <a:gd name="T18" fmla="*/ 79 w 374"/>
                    <a:gd name="T19" fmla="*/ 38 h 375"/>
                    <a:gd name="T20" fmla="*/ 71 w 374"/>
                    <a:gd name="T21" fmla="*/ 38 h 375"/>
                    <a:gd name="T22" fmla="*/ 35 w 374"/>
                    <a:gd name="T23" fmla="*/ 77 h 375"/>
                    <a:gd name="T24" fmla="*/ 66 w 374"/>
                    <a:gd name="T25" fmla="*/ 118 h 375"/>
                    <a:gd name="T26" fmla="*/ 5 w 374"/>
                    <a:gd name="T27" fmla="*/ 157 h 375"/>
                    <a:gd name="T28" fmla="*/ 0 w 374"/>
                    <a:gd name="T29" fmla="*/ 163 h 375"/>
                    <a:gd name="T30" fmla="*/ 1 w 374"/>
                    <a:gd name="T31" fmla="*/ 215 h 375"/>
                    <a:gd name="T32" fmla="*/ 52 w 374"/>
                    <a:gd name="T33" fmla="*/ 224 h 375"/>
                    <a:gd name="T34" fmla="*/ 36 w 374"/>
                    <a:gd name="T35" fmla="*/ 294 h 375"/>
                    <a:gd name="T36" fmla="*/ 38 w 374"/>
                    <a:gd name="T37" fmla="*/ 302 h 375"/>
                    <a:gd name="T38" fmla="*/ 74 w 374"/>
                    <a:gd name="T39" fmla="*/ 339 h 375"/>
                    <a:gd name="T40" fmla="*/ 79 w 374"/>
                    <a:gd name="T41" fmla="*/ 337 h 375"/>
                    <a:gd name="T42" fmla="*/ 133 w 374"/>
                    <a:gd name="T43" fmla="*/ 316 h 375"/>
                    <a:gd name="T44" fmla="*/ 156 w 374"/>
                    <a:gd name="T45" fmla="*/ 370 h 375"/>
                    <a:gd name="T46" fmla="*/ 211 w 374"/>
                    <a:gd name="T47" fmla="*/ 375 h 375"/>
                    <a:gd name="T48" fmla="*/ 216 w 374"/>
                    <a:gd name="T49" fmla="*/ 370 h 375"/>
                    <a:gd name="T50" fmla="*/ 239 w 374"/>
                    <a:gd name="T51" fmla="*/ 316 h 375"/>
                    <a:gd name="T52" fmla="*/ 294 w 374"/>
                    <a:gd name="T53" fmla="*/ 337 h 375"/>
                    <a:gd name="T54" fmla="*/ 300 w 374"/>
                    <a:gd name="T55" fmla="*/ 339 h 375"/>
                    <a:gd name="T56" fmla="*/ 336 w 374"/>
                    <a:gd name="T57" fmla="*/ 302 h 375"/>
                    <a:gd name="T58" fmla="*/ 308 w 374"/>
                    <a:gd name="T59" fmla="*/ 257 h 375"/>
                    <a:gd name="T60" fmla="*/ 321 w 374"/>
                    <a:gd name="T61" fmla="*/ 224 h 375"/>
                    <a:gd name="T62" fmla="*/ 372 w 374"/>
                    <a:gd name="T63" fmla="*/ 215 h 375"/>
                    <a:gd name="T64" fmla="*/ 374 w 374"/>
                    <a:gd name="T65" fmla="*/ 163 h 375"/>
                    <a:gd name="T66" fmla="*/ 368 w 374"/>
                    <a:gd name="T67" fmla="*/ 157 h 375"/>
                    <a:gd name="T68" fmla="*/ 179 w 374"/>
                    <a:gd name="T69" fmla="*/ 266 h 375"/>
                    <a:gd name="T70" fmla="*/ 142 w 374"/>
                    <a:gd name="T71" fmla="*/ 254 h 375"/>
                    <a:gd name="T72" fmla="*/ 113 w 374"/>
                    <a:gd name="T73" fmla="*/ 219 h 375"/>
                    <a:gd name="T74" fmla="*/ 108 w 374"/>
                    <a:gd name="T75" fmla="*/ 187 h 375"/>
                    <a:gd name="T76" fmla="*/ 109 w 374"/>
                    <a:gd name="T77" fmla="*/ 171 h 375"/>
                    <a:gd name="T78" fmla="*/ 130 w 374"/>
                    <a:gd name="T79" fmla="*/ 132 h 375"/>
                    <a:gd name="T80" fmla="*/ 171 w 374"/>
                    <a:gd name="T81" fmla="*/ 109 h 375"/>
                    <a:gd name="T82" fmla="*/ 187 w 374"/>
                    <a:gd name="T83" fmla="*/ 108 h 375"/>
                    <a:gd name="T84" fmla="*/ 218 w 374"/>
                    <a:gd name="T85" fmla="*/ 114 h 375"/>
                    <a:gd name="T86" fmla="*/ 253 w 374"/>
                    <a:gd name="T87" fmla="*/ 142 h 375"/>
                    <a:gd name="T88" fmla="*/ 266 w 374"/>
                    <a:gd name="T89" fmla="*/ 179 h 375"/>
                    <a:gd name="T90" fmla="*/ 266 w 374"/>
                    <a:gd name="T91" fmla="*/ 196 h 375"/>
                    <a:gd name="T92" fmla="*/ 253 w 374"/>
                    <a:gd name="T93" fmla="*/ 233 h 375"/>
                    <a:gd name="T94" fmla="*/ 218 w 374"/>
                    <a:gd name="T95" fmla="*/ 261 h 375"/>
                    <a:gd name="T96" fmla="*/ 187 w 374"/>
                    <a:gd name="T97" fmla="*/ 267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74" h="375">
                      <a:moveTo>
                        <a:pt x="368" y="157"/>
                      </a:moveTo>
                      <a:lnTo>
                        <a:pt x="321" y="151"/>
                      </a:lnTo>
                      <a:lnTo>
                        <a:pt x="321" y="151"/>
                      </a:lnTo>
                      <a:lnTo>
                        <a:pt x="314" y="134"/>
                      </a:lnTo>
                      <a:lnTo>
                        <a:pt x="308" y="118"/>
                      </a:lnTo>
                      <a:lnTo>
                        <a:pt x="336" y="81"/>
                      </a:lnTo>
                      <a:lnTo>
                        <a:pt x="336" y="81"/>
                      </a:lnTo>
                      <a:lnTo>
                        <a:pt x="337" y="77"/>
                      </a:lnTo>
                      <a:lnTo>
                        <a:pt x="336" y="73"/>
                      </a:lnTo>
                      <a:lnTo>
                        <a:pt x="302" y="38"/>
                      </a:lnTo>
                      <a:lnTo>
                        <a:pt x="302" y="38"/>
                      </a:lnTo>
                      <a:lnTo>
                        <a:pt x="298" y="36"/>
                      </a:lnTo>
                      <a:lnTo>
                        <a:pt x="294" y="38"/>
                      </a:lnTo>
                      <a:lnTo>
                        <a:pt x="255" y="67"/>
                      </a:lnTo>
                      <a:lnTo>
                        <a:pt x="255" y="67"/>
                      </a:lnTo>
                      <a:lnTo>
                        <a:pt x="239" y="59"/>
                      </a:lnTo>
                      <a:lnTo>
                        <a:pt x="223" y="54"/>
                      </a:lnTo>
                      <a:lnTo>
                        <a:pt x="216" y="5"/>
                      </a:lnTo>
                      <a:lnTo>
                        <a:pt x="216" y="5"/>
                      </a:lnTo>
                      <a:lnTo>
                        <a:pt x="215" y="1"/>
                      </a:lnTo>
                      <a:lnTo>
                        <a:pt x="211" y="0"/>
                      </a:lnTo>
                      <a:lnTo>
                        <a:pt x="163" y="0"/>
                      </a:lnTo>
                      <a:lnTo>
                        <a:pt x="163" y="0"/>
                      </a:lnTo>
                      <a:lnTo>
                        <a:pt x="159" y="1"/>
                      </a:lnTo>
                      <a:lnTo>
                        <a:pt x="156" y="5"/>
                      </a:lnTo>
                      <a:lnTo>
                        <a:pt x="151" y="54"/>
                      </a:lnTo>
                      <a:lnTo>
                        <a:pt x="151" y="54"/>
                      </a:lnTo>
                      <a:lnTo>
                        <a:pt x="133" y="59"/>
                      </a:lnTo>
                      <a:lnTo>
                        <a:pt x="118" y="67"/>
                      </a:lnTo>
                      <a:lnTo>
                        <a:pt x="79" y="38"/>
                      </a:lnTo>
                      <a:lnTo>
                        <a:pt x="79" y="38"/>
                      </a:lnTo>
                      <a:lnTo>
                        <a:pt x="75" y="36"/>
                      </a:lnTo>
                      <a:lnTo>
                        <a:pt x="71" y="38"/>
                      </a:lnTo>
                      <a:lnTo>
                        <a:pt x="38" y="73"/>
                      </a:lnTo>
                      <a:lnTo>
                        <a:pt x="38" y="73"/>
                      </a:lnTo>
                      <a:lnTo>
                        <a:pt x="35" y="77"/>
                      </a:lnTo>
                      <a:lnTo>
                        <a:pt x="36" y="81"/>
                      </a:lnTo>
                      <a:lnTo>
                        <a:pt x="66" y="118"/>
                      </a:lnTo>
                      <a:lnTo>
                        <a:pt x="66" y="118"/>
                      </a:lnTo>
                      <a:lnTo>
                        <a:pt x="58" y="134"/>
                      </a:lnTo>
                      <a:lnTo>
                        <a:pt x="52" y="151"/>
                      </a:lnTo>
                      <a:lnTo>
                        <a:pt x="5" y="157"/>
                      </a:lnTo>
                      <a:lnTo>
                        <a:pt x="5" y="157"/>
                      </a:lnTo>
                      <a:lnTo>
                        <a:pt x="1" y="160"/>
                      </a:lnTo>
                      <a:lnTo>
                        <a:pt x="0" y="163"/>
                      </a:lnTo>
                      <a:lnTo>
                        <a:pt x="0" y="211"/>
                      </a:lnTo>
                      <a:lnTo>
                        <a:pt x="0" y="211"/>
                      </a:lnTo>
                      <a:lnTo>
                        <a:pt x="1" y="215"/>
                      </a:lnTo>
                      <a:lnTo>
                        <a:pt x="5" y="218"/>
                      </a:lnTo>
                      <a:lnTo>
                        <a:pt x="52" y="224"/>
                      </a:lnTo>
                      <a:lnTo>
                        <a:pt x="52" y="224"/>
                      </a:lnTo>
                      <a:lnTo>
                        <a:pt x="58" y="241"/>
                      </a:lnTo>
                      <a:lnTo>
                        <a:pt x="66" y="257"/>
                      </a:lnTo>
                      <a:lnTo>
                        <a:pt x="36" y="294"/>
                      </a:lnTo>
                      <a:lnTo>
                        <a:pt x="36" y="294"/>
                      </a:lnTo>
                      <a:lnTo>
                        <a:pt x="35" y="298"/>
                      </a:lnTo>
                      <a:lnTo>
                        <a:pt x="38" y="302"/>
                      </a:lnTo>
                      <a:lnTo>
                        <a:pt x="71" y="337"/>
                      </a:lnTo>
                      <a:lnTo>
                        <a:pt x="71" y="337"/>
                      </a:lnTo>
                      <a:lnTo>
                        <a:pt x="74" y="339"/>
                      </a:lnTo>
                      <a:lnTo>
                        <a:pt x="75" y="339"/>
                      </a:lnTo>
                      <a:lnTo>
                        <a:pt x="75" y="339"/>
                      </a:lnTo>
                      <a:lnTo>
                        <a:pt x="79" y="337"/>
                      </a:lnTo>
                      <a:lnTo>
                        <a:pt x="118" y="308"/>
                      </a:lnTo>
                      <a:lnTo>
                        <a:pt x="118" y="308"/>
                      </a:lnTo>
                      <a:lnTo>
                        <a:pt x="133" y="316"/>
                      </a:lnTo>
                      <a:lnTo>
                        <a:pt x="151" y="321"/>
                      </a:lnTo>
                      <a:lnTo>
                        <a:pt x="156" y="370"/>
                      </a:lnTo>
                      <a:lnTo>
                        <a:pt x="156" y="370"/>
                      </a:lnTo>
                      <a:lnTo>
                        <a:pt x="159" y="374"/>
                      </a:lnTo>
                      <a:lnTo>
                        <a:pt x="163" y="375"/>
                      </a:lnTo>
                      <a:lnTo>
                        <a:pt x="211" y="375"/>
                      </a:lnTo>
                      <a:lnTo>
                        <a:pt x="211" y="375"/>
                      </a:lnTo>
                      <a:lnTo>
                        <a:pt x="215" y="374"/>
                      </a:lnTo>
                      <a:lnTo>
                        <a:pt x="216" y="370"/>
                      </a:lnTo>
                      <a:lnTo>
                        <a:pt x="223" y="321"/>
                      </a:lnTo>
                      <a:lnTo>
                        <a:pt x="223" y="321"/>
                      </a:lnTo>
                      <a:lnTo>
                        <a:pt x="239" y="316"/>
                      </a:lnTo>
                      <a:lnTo>
                        <a:pt x="255" y="308"/>
                      </a:lnTo>
                      <a:lnTo>
                        <a:pt x="294" y="337"/>
                      </a:lnTo>
                      <a:lnTo>
                        <a:pt x="294" y="337"/>
                      </a:lnTo>
                      <a:lnTo>
                        <a:pt x="297" y="339"/>
                      </a:lnTo>
                      <a:lnTo>
                        <a:pt x="297" y="339"/>
                      </a:lnTo>
                      <a:lnTo>
                        <a:pt x="300" y="339"/>
                      </a:lnTo>
                      <a:lnTo>
                        <a:pt x="302" y="337"/>
                      </a:lnTo>
                      <a:lnTo>
                        <a:pt x="336" y="302"/>
                      </a:lnTo>
                      <a:lnTo>
                        <a:pt x="336" y="302"/>
                      </a:lnTo>
                      <a:lnTo>
                        <a:pt x="337" y="298"/>
                      </a:lnTo>
                      <a:lnTo>
                        <a:pt x="336" y="294"/>
                      </a:lnTo>
                      <a:lnTo>
                        <a:pt x="308" y="257"/>
                      </a:lnTo>
                      <a:lnTo>
                        <a:pt x="308" y="257"/>
                      </a:lnTo>
                      <a:lnTo>
                        <a:pt x="314" y="241"/>
                      </a:lnTo>
                      <a:lnTo>
                        <a:pt x="321" y="224"/>
                      </a:lnTo>
                      <a:lnTo>
                        <a:pt x="368" y="218"/>
                      </a:lnTo>
                      <a:lnTo>
                        <a:pt x="368" y="218"/>
                      </a:lnTo>
                      <a:lnTo>
                        <a:pt x="372" y="215"/>
                      </a:lnTo>
                      <a:lnTo>
                        <a:pt x="374" y="211"/>
                      </a:lnTo>
                      <a:lnTo>
                        <a:pt x="374" y="163"/>
                      </a:lnTo>
                      <a:lnTo>
                        <a:pt x="374" y="163"/>
                      </a:lnTo>
                      <a:lnTo>
                        <a:pt x="372" y="160"/>
                      </a:lnTo>
                      <a:lnTo>
                        <a:pt x="368" y="157"/>
                      </a:lnTo>
                      <a:lnTo>
                        <a:pt x="368" y="157"/>
                      </a:lnTo>
                      <a:close/>
                      <a:moveTo>
                        <a:pt x="187" y="267"/>
                      </a:moveTo>
                      <a:lnTo>
                        <a:pt x="187" y="267"/>
                      </a:lnTo>
                      <a:lnTo>
                        <a:pt x="179" y="266"/>
                      </a:lnTo>
                      <a:lnTo>
                        <a:pt x="171" y="266"/>
                      </a:lnTo>
                      <a:lnTo>
                        <a:pt x="156" y="261"/>
                      </a:lnTo>
                      <a:lnTo>
                        <a:pt x="142" y="254"/>
                      </a:lnTo>
                      <a:lnTo>
                        <a:pt x="130" y="243"/>
                      </a:lnTo>
                      <a:lnTo>
                        <a:pt x="121" y="233"/>
                      </a:lnTo>
                      <a:lnTo>
                        <a:pt x="113" y="219"/>
                      </a:lnTo>
                      <a:lnTo>
                        <a:pt x="109" y="203"/>
                      </a:lnTo>
                      <a:lnTo>
                        <a:pt x="108" y="196"/>
                      </a:lnTo>
                      <a:lnTo>
                        <a:pt x="108" y="187"/>
                      </a:lnTo>
                      <a:lnTo>
                        <a:pt x="108" y="187"/>
                      </a:lnTo>
                      <a:lnTo>
                        <a:pt x="108" y="179"/>
                      </a:lnTo>
                      <a:lnTo>
                        <a:pt x="109" y="171"/>
                      </a:lnTo>
                      <a:lnTo>
                        <a:pt x="113" y="156"/>
                      </a:lnTo>
                      <a:lnTo>
                        <a:pt x="121" y="142"/>
                      </a:lnTo>
                      <a:lnTo>
                        <a:pt x="130" y="132"/>
                      </a:lnTo>
                      <a:lnTo>
                        <a:pt x="142" y="121"/>
                      </a:lnTo>
                      <a:lnTo>
                        <a:pt x="156" y="114"/>
                      </a:lnTo>
                      <a:lnTo>
                        <a:pt x="171" y="109"/>
                      </a:lnTo>
                      <a:lnTo>
                        <a:pt x="179" y="108"/>
                      </a:lnTo>
                      <a:lnTo>
                        <a:pt x="187" y="108"/>
                      </a:lnTo>
                      <a:lnTo>
                        <a:pt x="187" y="108"/>
                      </a:lnTo>
                      <a:lnTo>
                        <a:pt x="195" y="108"/>
                      </a:lnTo>
                      <a:lnTo>
                        <a:pt x="203" y="109"/>
                      </a:lnTo>
                      <a:lnTo>
                        <a:pt x="218" y="114"/>
                      </a:lnTo>
                      <a:lnTo>
                        <a:pt x="231" y="121"/>
                      </a:lnTo>
                      <a:lnTo>
                        <a:pt x="243" y="132"/>
                      </a:lnTo>
                      <a:lnTo>
                        <a:pt x="253" y="142"/>
                      </a:lnTo>
                      <a:lnTo>
                        <a:pt x="259" y="156"/>
                      </a:lnTo>
                      <a:lnTo>
                        <a:pt x="265" y="171"/>
                      </a:lnTo>
                      <a:lnTo>
                        <a:pt x="266" y="179"/>
                      </a:lnTo>
                      <a:lnTo>
                        <a:pt x="266" y="187"/>
                      </a:lnTo>
                      <a:lnTo>
                        <a:pt x="266" y="187"/>
                      </a:lnTo>
                      <a:lnTo>
                        <a:pt x="266" y="196"/>
                      </a:lnTo>
                      <a:lnTo>
                        <a:pt x="265" y="203"/>
                      </a:lnTo>
                      <a:lnTo>
                        <a:pt x="259" y="219"/>
                      </a:lnTo>
                      <a:lnTo>
                        <a:pt x="253" y="233"/>
                      </a:lnTo>
                      <a:lnTo>
                        <a:pt x="243" y="243"/>
                      </a:lnTo>
                      <a:lnTo>
                        <a:pt x="231" y="254"/>
                      </a:lnTo>
                      <a:lnTo>
                        <a:pt x="218" y="261"/>
                      </a:lnTo>
                      <a:lnTo>
                        <a:pt x="203" y="266"/>
                      </a:lnTo>
                      <a:lnTo>
                        <a:pt x="195" y="266"/>
                      </a:lnTo>
                      <a:lnTo>
                        <a:pt x="187" y="267"/>
                      </a:lnTo>
                      <a:lnTo>
                        <a:pt x="187" y="2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ヒラギノ角ゴ ProN W3"/>
                  </a:endParaRPr>
                </a:p>
              </p:txBody>
            </p:sp>
          </p:grpSp>
        </p:grpSp>
        <p:sp>
          <p:nvSpPr>
            <p:cNvPr id="44" name="TextBox 43">
              <a:extLst>
                <a:ext uri="{FF2B5EF4-FFF2-40B4-BE49-F238E27FC236}">
                  <a16:creationId xmlns:a16="http://schemas.microsoft.com/office/drawing/2014/main" id="{0BD8DC2B-0B87-4E9D-9FE8-6A4DE8313D48}"/>
                </a:ext>
              </a:extLst>
            </p:cNvPr>
            <p:cNvSpPr txBox="1"/>
            <p:nvPr/>
          </p:nvSpPr>
          <p:spPr>
            <a:xfrm>
              <a:off x="1074654" y="3035849"/>
              <a:ext cx="241059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0" normalizeH="0" baseline="0" noProof="0" dirty="0">
                  <a:ln>
                    <a:noFill/>
                  </a:ln>
                  <a:solidFill>
                    <a:prstClr val="black"/>
                  </a:solidFill>
                  <a:effectLst/>
                  <a:uLnTx/>
                  <a:uFillTx/>
                  <a:ea typeface="Open Sans" panose="020B0606030504020204" pitchFamily="34" charset="0"/>
                  <a:cs typeface="Open Sans" panose="020B0606030504020204" pitchFamily="34" charset="0"/>
                </a:rPr>
                <a:t>CAPABILITY MATURITY</a:t>
              </a:r>
              <a:endParaRPr kumimoji="0" lang="en-US" sz="14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endParaRPr>
            </a:p>
          </p:txBody>
        </p:sp>
        <p:sp>
          <p:nvSpPr>
            <p:cNvPr id="45" name="Oval 44">
              <a:extLst>
                <a:ext uri="{FF2B5EF4-FFF2-40B4-BE49-F238E27FC236}">
                  <a16:creationId xmlns:a16="http://schemas.microsoft.com/office/drawing/2014/main" id="{0EF4E717-C8DF-42D1-84A7-1457584E7407}"/>
                </a:ext>
              </a:extLst>
            </p:cNvPr>
            <p:cNvSpPr/>
            <p:nvPr/>
          </p:nvSpPr>
          <p:spPr bwMode="auto">
            <a:xfrm>
              <a:off x="3196529" y="3595990"/>
              <a:ext cx="182880" cy="182880"/>
            </a:xfrm>
            <a:prstGeom prst="ellipse">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dirty="0" err="1">
                <a:ln>
                  <a:noFill/>
                </a:ln>
                <a:solidFill>
                  <a:prstClr val="white"/>
                </a:solidFill>
                <a:effectLst/>
                <a:uLnTx/>
                <a:uFillTx/>
                <a:ea typeface="ヒラギノ角ゴ ProN W3" pitchFamily="-110" charset="-128"/>
                <a:cs typeface="ヒラギノ角ゴ ProN W3" pitchFamily="-110" charset="-128"/>
                <a:sym typeface="Arial" pitchFamily="-110" charset="0"/>
              </a:endParaRPr>
            </a:p>
          </p:txBody>
        </p:sp>
        <p:sp>
          <p:nvSpPr>
            <p:cNvPr id="46" name="TextBox 45">
              <a:extLst>
                <a:ext uri="{FF2B5EF4-FFF2-40B4-BE49-F238E27FC236}">
                  <a16:creationId xmlns:a16="http://schemas.microsoft.com/office/drawing/2014/main" id="{4A27F8A3-81AB-419B-A31E-4207C7660205}"/>
                </a:ext>
              </a:extLst>
            </p:cNvPr>
            <p:cNvSpPr txBox="1"/>
            <p:nvPr/>
          </p:nvSpPr>
          <p:spPr>
            <a:xfrm>
              <a:off x="2969289" y="3387556"/>
              <a:ext cx="63736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TODAY</a:t>
              </a:r>
            </a:p>
          </p:txBody>
        </p:sp>
      </p:grpSp>
      <p:grpSp>
        <p:nvGrpSpPr>
          <p:cNvPr id="65" name="Group 64">
            <a:extLst>
              <a:ext uri="{FF2B5EF4-FFF2-40B4-BE49-F238E27FC236}">
                <a16:creationId xmlns:a16="http://schemas.microsoft.com/office/drawing/2014/main" id="{3E57AC5E-FF0C-429C-86BF-585249F293EE}"/>
              </a:ext>
            </a:extLst>
          </p:cNvPr>
          <p:cNvGrpSpPr/>
          <p:nvPr/>
        </p:nvGrpSpPr>
        <p:grpSpPr>
          <a:xfrm>
            <a:off x="464234" y="1682155"/>
            <a:ext cx="10952726" cy="1509562"/>
            <a:chOff x="469900" y="3072405"/>
            <a:chExt cx="10952726" cy="1509562"/>
          </a:xfrm>
        </p:grpSpPr>
        <p:grpSp>
          <p:nvGrpSpPr>
            <p:cNvPr id="66" name="Group 65">
              <a:extLst>
                <a:ext uri="{FF2B5EF4-FFF2-40B4-BE49-F238E27FC236}">
                  <a16:creationId xmlns:a16="http://schemas.microsoft.com/office/drawing/2014/main" id="{8BADCCDB-58B3-45B1-970B-1467116C5252}"/>
                </a:ext>
              </a:extLst>
            </p:cNvPr>
            <p:cNvGrpSpPr/>
            <p:nvPr/>
          </p:nvGrpSpPr>
          <p:grpSpPr>
            <a:xfrm>
              <a:off x="469900" y="3128500"/>
              <a:ext cx="519056" cy="519056"/>
              <a:chOff x="3047570" y="4832256"/>
              <a:chExt cx="519056" cy="519056"/>
            </a:xfrm>
          </p:grpSpPr>
          <p:sp>
            <p:nvSpPr>
              <p:cNvPr id="80" name="Oval 79">
                <a:extLst>
                  <a:ext uri="{FF2B5EF4-FFF2-40B4-BE49-F238E27FC236}">
                    <a16:creationId xmlns:a16="http://schemas.microsoft.com/office/drawing/2014/main" id="{FC83DA3E-44B5-4736-877A-6D0E9C53907E}"/>
                  </a:ext>
                </a:extLst>
              </p:cNvPr>
              <p:cNvSpPr/>
              <p:nvPr/>
            </p:nvSpPr>
            <p:spPr>
              <a:xfrm>
                <a:off x="3047570" y="4832256"/>
                <a:ext cx="519056" cy="519056"/>
              </a:xfrm>
              <a:prstGeom prst="ellipse">
                <a:avLst/>
              </a:prstGeom>
              <a:solidFill>
                <a:schemeClr val="bg1"/>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grpSp>
            <p:nvGrpSpPr>
              <p:cNvPr id="81" name="Group 80">
                <a:extLst>
                  <a:ext uri="{FF2B5EF4-FFF2-40B4-BE49-F238E27FC236}">
                    <a16:creationId xmlns:a16="http://schemas.microsoft.com/office/drawing/2014/main" id="{B4866D5B-FF36-4CF3-A9A5-D58E5D9154EF}"/>
                  </a:ext>
                </a:extLst>
              </p:cNvPr>
              <p:cNvGrpSpPr>
                <a:grpSpLocks noChangeAspect="1"/>
              </p:cNvGrpSpPr>
              <p:nvPr/>
            </p:nvGrpSpPr>
            <p:grpSpPr>
              <a:xfrm>
                <a:off x="3158907" y="4958796"/>
                <a:ext cx="306387" cy="250826"/>
                <a:chOff x="9464676" y="1787525"/>
                <a:chExt cx="306387" cy="250826"/>
              </a:xfrm>
            </p:grpSpPr>
            <p:sp>
              <p:nvSpPr>
                <p:cNvPr id="82" name="Freeform 200">
                  <a:extLst>
                    <a:ext uri="{FF2B5EF4-FFF2-40B4-BE49-F238E27FC236}">
                      <a16:creationId xmlns:a16="http://schemas.microsoft.com/office/drawing/2014/main" id="{4CD193C8-38E5-48F1-A336-981533ABE2BE}"/>
                    </a:ext>
                  </a:extLst>
                </p:cNvPr>
                <p:cNvSpPr>
                  <a:spLocks/>
                </p:cNvSpPr>
                <p:nvPr/>
              </p:nvSpPr>
              <p:spPr bwMode="auto">
                <a:xfrm>
                  <a:off x="9545638" y="1787525"/>
                  <a:ext cx="225425" cy="225425"/>
                </a:xfrm>
                <a:custGeom>
                  <a:avLst/>
                  <a:gdLst>
                    <a:gd name="T0" fmla="*/ 284 w 285"/>
                    <a:gd name="T1" fmla="*/ 255 h 283"/>
                    <a:gd name="T2" fmla="*/ 135 w 285"/>
                    <a:gd name="T3" fmla="*/ 106 h 283"/>
                    <a:gd name="T4" fmla="*/ 157 w 285"/>
                    <a:gd name="T5" fmla="*/ 83 h 283"/>
                    <a:gd name="T6" fmla="*/ 164 w 285"/>
                    <a:gd name="T7" fmla="*/ 90 h 283"/>
                    <a:gd name="T8" fmla="*/ 164 w 285"/>
                    <a:gd name="T9" fmla="*/ 90 h 283"/>
                    <a:gd name="T10" fmla="*/ 168 w 285"/>
                    <a:gd name="T11" fmla="*/ 91 h 283"/>
                    <a:gd name="T12" fmla="*/ 168 w 285"/>
                    <a:gd name="T13" fmla="*/ 91 h 283"/>
                    <a:gd name="T14" fmla="*/ 172 w 285"/>
                    <a:gd name="T15" fmla="*/ 90 h 283"/>
                    <a:gd name="T16" fmla="*/ 182 w 285"/>
                    <a:gd name="T17" fmla="*/ 79 h 283"/>
                    <a:gd name="T18" fmla="*/ 182 w 285"/>
                    <a:gd name="T19" fmla="*/ 79 h 283"/>
                    <a:gd name="T20" fmla="*/ 183 w 285"/>
                    <a:gd name="T21" fmla="*/ 75 h 283"/>
                    <a:gd name="T22" fmla="*/ 182 w 285"/>
                    <a:gd name="T23" fmla="*/ 72 h 283"/>
                    <a:gd name="T24" fmla="*/ 110 w 285"/>
                    <a:gd name="T25" fmla="*/ 1 h 283"/>
                    <a:gd name="T26" fmla="*/ 110 w 285"/>
                    <a:gd name="T27" fmla="*/ 1 h 283"/>
                    <a:gd name="T28" fmla="*/ 108 w 285"/>
                    <a:gd name="T29" fmla="*/ 0 h 283"/>
                    <a:gd name="T30" fmla="*/ 104 w 285"/>
                    <a:gd name="T31" fmla="*/ 1 h 283"/>
                    <a:gd name="T32" fmla="*/ 93 w 285"/>
                    <a:gd name="T33" fmla="*/ 11 h 283"/>
                    <a:gd name="T34" fmla="*/ 93 w 285"/>
                    <a:gd name="T35" fmla="*/ 11 h 283"/>
                    <a:gd name="T36" fmla="*/ 92 w 285"/>
                    <a:gd name="T37" fmla="*/ 15 h 283"/>
                    <a:gd name="T38" fmla="*/ 93 w 285"/>
                    <a:gd name="T39" fmla="*/ 19 h 283"/>
                    <a:gd name="T40" fmla="*/ 100 w 285"/>
                    <a:gd name="T41" fmla="*/ 24 h 283"/>
                    <a:gd name="T42" fmla="*/ 26 w 285"/>
                    <a:gd name="T43" fmla="*/ 99 h 283"/>
                    <a:gd name="T44" fmla="*/ 19 w 285"/>
                    <a:gd name="T45" fmla="*/ 93 h 283"/>
                    <a:gd name="T46" fmla="*/ 19 w 285"/>
                    <a:gd name="T47" fmla="*/ 93 h 283"/>
                    <a:gd name="T48" fmla="*/ 15 w 285"/>
                    <a:gd name="T49" fmla="*/ 91 h 283"/>
                    <a:gd name="T50" fmla="*/ 12 w 285"/>
                    <a:gd name="T51" fmla="*/ 93 h 283"/>
                    <a:gd name="T52" fmla="*/ 2 w 285"/>
                    <a:gd name="T53" fmla="*/ 102 h 283"/>
                    <a:gd name="T54" fmla="*/ 2 w 285"/>
                    <a:gd name="T55" fmla="*/ 102 h 283"/>
                    <a:gd name="T56" fmla="*/ 0 w 285"/>
                    <a:gd name="T57" fmla="*/ 105 h 283"/>
                    <a:gd name="T58" fmla="*/ 0 w 285"/>
                    <a:gd name="T59" fmla="*/ 106 h 283"/>
                    <a:gd name="T60" fmla="*/ 0 w 285"/>
                    <a:gd name="T61" fmla="*/ 107 h 283"/>
                    <a:gd name="T62" fmla="*/ 2 w 285"/>
                    <a:gd name="T63" fmla="*/ 110 h 283"/>
                    <a:gd name="T64" fmla="*/ 73 w 285"/>
                    <a:gd name="T65" fmla="*/ 181 h 283"/>
                    <a:gd name="T66" fmla="*/ 73 w 285"/>
                    <a:gd name="T67" fmla="*/ 181 h 283"/>
                    <a:gd name="T68" fmla="*/ 77 w 285"/>
                    <a:gd name="T69" fmla="*/ 183 h 283"/>
                    <a:gd name="T70" fmla="*/ 77 w 285"/>
                    <a:gd name="T71" fmla="*/ 183 h 283"/>
                    <a:gd name="T72" fmla="*/ 80 w 285"/>
                    <a:gd name="T73" fmla="*/ 181 h 283"/>
                    <a:gd name="T74" fmla="*/ 90 w 285"/>
                    <a:gd name="T75" fmla="*/ 171 h 283"/>
                    <a:gd name="T76" fmla="*/ 90 w 285"/>
                    <a:gd name="T77" fmla="*/ 171 h 283"/>
                    <a:gd name="T78" fmla="*/ 92 w 285"/>
                    <a:gd name="T79" fmla="*/ 169 h 283"/>
                    <a:gd name="T80" fmla="*/ 92 w 285"/>
                    <a:gd name="T81" fmla="*/ 166 h 283"/>
                    <a:gd name="T82" fmla="*/ 92 w 285"/>
                    <a:gd name="T83" fmla="*/ 165 h 283"/>
                    <a:gd name="T84" fmla="*/ 90 w 285"/>
                    <a:gd name="T85" fmla="*/ 164 h 283"/>
                    <a:gd name="T86" fmla="*/ 84 w 285"/>
                    <a:gd name="T87" fmla="*/ 157 h 283"/>
                    <a:gd name="T88" fmla="*/ 108 w 285"/>
                    <a:gd name="T89" fmla="*/ 133 h 283"/>
                    <a:gd name="T90" fmla="*/ 255 w 285"/>
                    <a:gd name="T91" fmla="*/ 282 h 283"/>
                    <a:gd name="T92" fmla="*/ 255 w 285"/>
                    <a:gd name="T93" fmla="*/ 282 h 283"/>
                    <a:gd name="T94" fmla="*/ 260 w 285"/>
                    <a:gd name="T95" fmla="*/ 283 h 283"/>
                    <a:gd name="T96" fmla="*/ 260 w 285"/>
                    <a:gd name="T97" fmla="*/ 283 h 283"/>
                    <a:gd name="T98" fmla="*/ 262 w 285"/>
                    <a:gd name="T99" fmla="*/ 282 h 283"/>
                    <a:gd name="T100" fmla="*/ 284 w 285"/>
                    <a:gd name="T101" fmla="*/ 262 h 283"/>
                    <a:gd name="T102" fmla="*/ 284 w 285"/>
                    <a:gd name="T103" fmla="*/ 262 h 283"/>
                    <a:gd name="T104" fmla="*/ 285 w 285"/>
                    <a:gd name="T105" fmla="*/ 258 h 283"/>
                    <a:gd name="T106" fmla="*/ 284 w 285"/>
                    <a:gd name="T107" fmla="*/ 255 h 283"/>
                    <a:gd name="T108" fmla="*/ 284 w 285"/>
                    <a:gd name="T109" fmla="*/ 25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5" h="283">
                      <a:moveTo>
                        <a:pt x="284" y="255"/>
                      </a:moveTo>
                      <a:lnTo>
                        <a:pt x="135" y="106"/>
                      </a:lnTo>
                      <a:lnTo>
                        <a:pt x="157" y="83"/>
                      </a:lnTo>
                      <a:lnTo>
                        <a:pt x="164" y="90"/>
                      </a:lnTo>
                      <a:lnTo>
                        <a:pt x="164" y="90"/>
                      </a:lnTo>
                      <a:lnTo>
                        <a:pt x="168" y="91"/>
                      </a:lnTo>
                      <a:lnTo>
                        <a:pt x="168" y="91"/>
                      </a:lnTo>
                      <a:lnTo>
                        <a:pt x="172" y="90"/>
                      </a:lnTo>
                      <a:lnTo>
                        <a:pt x="182" y="79"/>
                      </a:lnTo>
                      <a:lnTo>
                        <a:pt x="182" y="79"/>
                      </a:lnTo>
                      <a:lnTo>
                        <a:pt x="183" y="75"/>
                      </a:lnTo>
                      <a:lnTo>
                        <a:pt x="182" y="72"/>
                      </a:lnTo>
                      <a:lnTo>
                        <a:pt x="110" y="1"/>
                      </a:lnTo>
                      <a:lnTo>
                        <a:pt x="110" y="1"/>
                      </a:lnTo>
                      <a:lnTo>
                        <a:pt x="108" y="0"/>
                      </a:lnTo>
                      <a:lnTo>
                        <a:pt x="104" y="1"/>
                      </a:lnTo>
                      <a:lnTo>
                        <a:pt x="93" y="11"/>
                      </a:lnTo>
                      <a:lnTo>
                        <a:pt x="93" y="11"/>
                      </a:lnTo>
                      <a:lnTo>
                        <a:pt x="92" y="15"/>
                      </a:lnTo>
                      <a:lnTo>
                        <a:pt x="93" y="19"/>
                      </a:lnTo>
                      <a:lnTo>
                        <a:pt x="100" y="24"/>
                      </a:lnTo>
                      <a:lnTo>
                        <a:pt x="26" y="99"/>
                      </a:lnTo>
                      <a:lnTo>
                        <a:pt x="19" y="93"/>
                      </a:lnTo>
                      <a:lnTo>
                        <a:pt x="19" y="93"/>
                      </a:lnTo>
                      <a:lnTo>
                        <a:pt x="15" y="91"/>
                      </a:lnTo>
                      <a:lnTo>
                        <a:pt x="12" y="93"/>
                      </a:lnTo>
                      <a:lnTo>
                        <a:pt x="2" y="102"/>
                      </a:lnTo>
                      <a:lnTo>
                        <a:pt x="2" y="102"/>
                      </a:lnTo>
                      <a:lnTo>
                        <a:pt x="0" y="105"/>
                      </a:lnTo>
                      <a:lnTo>
                        <a:pt x="0" y="106"/>
                      </a:lnTo>
                      <a:lnTo>
                        <a:pt x="0" y="107"/>
                      </a:lnTo>
                      <a:lnTo>
                        <a:pt x="2" y="110"/>
                      </a:lnTo>
                      <a:lnTo>
                        <a:pt x="73" y="181"/>
                      </a:lnTo>
                      <a:lnTo>
                        <a:pt x="73" y="181"/>
                      </a:lnTo>
                      <a:lnTo>
                        <a:pt x="77" y="183"/>
                      </a:lnTo>
                      <a:lnTo>
                        <a:pt x="77" y="183"/>
                      </a:lnTo>
                      <a:lnTo>
                        <a:pt x="80" y="181"/>
                      </a:lnTo>
                      <a:lnTo>
                        <a:pt x="90" y="171"/>
                      </a:lnTo>
                      <a:lnTo>
                        <a:pt x="90" y="171"/>
                      </a:lnTo>
                      <a:lnTo>
                        <a:pt x="92" y="169"/>
                      </a:lnTo>
                      <a:lnTo>
                        <a:pt x="92" y="166"/>
                      </a:lnTo>
                      <a:lnTo>
                        <a:pt x="92" y="165"/>
                      </a:lnTo>
                      <a:lnTo>
                        <a:pt x="90" y="164"/>
                      </a:lnTo>
                      <a:lnTo>
                        <a:pt x="84" y="157"/>
                      </a:lnTo>
                      <a:lnTo>
                        <a:pt x="108" y="133"/>
                      </a:lnTo>
                      <a:lnTo>
                        <a:pt x="255" y="282"/>
                      </a:lnTo>
                      <a:lnTo>
                        <a:pt x="255" y="282"/>
                      </a:lnTo>
                      <a:lnTo>
                        <a:pt x="260" y="283"/>
                      </a:lnTo>
                      <a:lnTo>
                        <a:pt x="260" y="283"/>
                      </a:lnTo>
                      <a:lnTo>
                        <a:pt x="262" y="282"/>
                      </a:lnTo>
                      <a:lnTo>
                        <a:pt x="284" y="262"/>
                      </a:lnTo>
                      <a:lnTo>
                        <a:pt x="284" y="262"/>
                      </a:lnTo>
                      <a:lnTo>
                        <a:pt x="285" y="258"/>
                      </a:lnTo>
                      <a:lnTo>
                        <a:pt x="284" y="255"/>
                      </a:lnTo>
                      <a:lnTo>
                        <a:pt x="284" y="2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ヒラギノ角ゴ ProN W3"/>
                  </a:endParaRPr>
                </a:p>
              </p:txBody>
            </p:sp>
            <p:sp>
              <p:nvSpPr>
                <p:cNvPr id="83" name="Freeform 201">
                  <a:extLst>
                    <a:ext uri="{FF2B5EF4-FFF2-40B4-BE49-F238E27FC236}">
                      <a16:creationId xmlns:a16="http://schemas.microsoft.com/office/drawing/2014/main" id="{66DCA764-0AD2-483B-A95E-D972952B59B2}"/>
                    </a:ext>
                  </a:extLst>
                </p:cNvPr>
                <p:cNvSpPr>
                  <a:spLocks/>
                </p:cNvSpPr>
                <p:nvPr/>
              </p:nvSpPr>
              <p:spPr bwMode="auto">
                <a:xfrm>
                  <a:off x="9464676" y="2017713"/>
                  <a:ext cx="152400" cy="20638"/>
                </a:xfrm>
                <a:custGeom>
                  <a:avLst/>
                  <a:gdLst>
                    <a:gd name="T0" fmla="*/ 186 w 192"/>
                    <a:gd name="T1" fmla="*/ 0 h 25"/>
                    <a:gd name="T2" fmla="*/ 4 w 192"/>
                    <a:gd name="T3" fmla="*/ 0 h 25"/>
                    <a:gd name="T4" fmla="*/ 4 w 192"/>
                    <a:gd name="T5" fmla="*/ 0 h 25"/>
                    <a:gd name="T6" fmla="*/ 1 w 192"/>
                    <a:gd name="T7" fmla="*/ 1 h 25"/>
                    <a:gd name="T8" fmla="*/ 0 w 192"/>
                    <a:gd name="T9" fmla="*/ 5 h 25"/>
                    <a:gd name="T10" fmla="*/ 0 w 192"/>
                    <a:gd name="T11" fmla="*/ 20 h 25"/>
                    <a:gd name="T12" fmla="*/ 0 w 192"/>
                    <a:gd name="T13" fmla="*/ 20 h 25"/>
                    <a:gd name="T14" fmla="*/ 1 w 192"/>
                    <a:gd name="T15" fmla="*/ 24 h 25"/>
                    <a:gd name="T16" fmla="*/ 4 w 192"/>
                    <a:gd name="T17" fmla="*/ 25 h 25"/>
                    <a:gd name="T18" fmla="*/ 186 w 192"/>
                    <a:gd name="T19" fmla="*/ 25 h 25"/>
                    <a:gd name="T20" fmla="*/ 186 w 192"/>
                    <a:gd name="T21" fmla="*/ 25 h 25"/>
                    <a:gd name="T22" fmla="*/ 190 w 192"/>
                    <a:gd name="T23" fmla="*/ 24 h 25"/>
                    <a:gd name="T24" fmla="*/ 192 w 192"/>
                    <a:gd name="T25" fmla="*/ 20 h 25"/>
                    <a:gd name="T26" fmla="*/ 192 w 192"/>
                    <a:gd name="T27" fmla="*/ 5 h 25"/>
                    <a:gd name="T28" fmla="*/ 192 w 192"/>
                    <a:gd name="T29" fmla="*/ 5 h 25"/>
                    <a:gd name="T30" fmla="*/ 190 w 192"/>
                    <a:gd name="T31" fmla="*/ 1 h 25"/>
                    <a:gd name="T32" fmla="*/ 186 w 192"/>
                    <a:gd name="T33" fmla="*/ 0 h 25"/>
                    <a:gd name="T34" fmla="*/ 186 w 192"/>
                    <a:gd name="T3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25">
                      <a:moveTo>
                        <a:pt x="186" y="0"/>
                      </a:moveTo>
                      <a:lnTo>
                        <a:pt x="4" y="0"/>
                      </a:lnTo>
                      <a:lnTo>
                        <a:pt x="4" y="0"/>
                      </a:lnTo>
                      <a:lnTo>
                        <a:pt x="1" y="1"/>
                      </a:lnTo>
                      <a:lnTo>
                        <a:pt x="0" y="5"/>
                      </a:lnTo>
                      <a:lnTo>
                        <a:pt x="0" y="20"/>
                      </a:lnTo>
                      <a:lnTo>
                        <a:pt x="0" y="20"/>
                      </a:lnTo>
                      <a:lnTo>
                        <a:pt x="1" y="24"/>
                      </a:lnTo>
                      <a:lnTo>
                        <a:pt x="4" y="25"/>
                      </a:lnTo>
                      <a:lnTo>
                        <a:pt x="186" y="25"/>
                      </a:lnTo>
                      <a:lnTo>
                        <a:pt x="186" y="25"/>
                      </a:lnTo>
                      <a:lnTo>
                        <a:pt x="190" y="24"/>
                      </a:lnTo>
                      <a:lnTo>
                        <a:pt x="192" y="20"/>
                      </a:lnTo>
                      <a:lnTo>
                        <a:pt x="192" y="5"/>
                      </a:lnTo>
                      <a:lnTo>
                        <a:pt x="192" y="5"/>
                      </a:lnTo>
                      <a:lnTo>
                        <a:pt x="190" y="1"/>
                      </a:lnTo>
                      <a:lnTo>
                        <a:pt x="186" y="0"/>
                      </a:lnTo>
                      <a:lnTo>
                        <a:pt x="18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ヒラギノ角ゴ ProN W3"/>
                  </a:endParaRPr>
                </a:p>
              </p:txBody>
            </p:sp>
            <p:sp>
              <p:nvSpPr>
                <p:cNvPr id="84" name="Freeform 202">
                  <a:extLst>
                    <a:ext uri="{FF2B5EF4-FFF2-40B4-BE49-F238E27FC236}">
                      <a16:creationId xmlns:a16="http://schemas.microsoft.com/office/drawing/2014/main" id="{C5E8A0FB-C9FD-4FE6-BA43-3E6F9ABF6A75}"/>
                    </a:ext>
                  </a:extLst>
                </p:cNvPr>
                <p:cNvSpPr>
                  <a:spLocks/>
                </p:cNvSpPr>
                <p:nvPr/>
              </p:nvSpPr>
              <p:spPr bwMode="auto">
                <a:xfrm>
                  <a:off x="9480551" y="1981200"/>
                  <a:ext cx="120650" cy="20638"/>
                </a:xfrm>
                <a:custGeom>
                  <a:avLst/>
                  <a:gdLst>
                    <a:gd name="T0" fmla="*/ 0 w 151"/>
                    <a:gd name="T1" fmla="*/ 5 h 26"/>
                    <a:gd name="T2" fmla="*/ 0 w 151"/>
                    <a:gd name="T3" fmla="*/ 20 h 26"/>
                    <a:gd name="T4" fmla="*/ 0 w 151"/>
                    <a:gd name="T5" fmla="*/ 20 h 26"/>
                    <a:gd name="T6" fmla="*/ 0 w 151"/>
                    <a:gd name="T7" fmla="*/ 23 h 26"/>
                    <a:gd name="T8" fmla="*/ 1 w 151"/>
                    <a:gd name="T9" fmla="*/ 24 h 26"/>
                    <a:gd name="T10" fmla="*/ 4 w 151"/>
                    <a:gd name="T11" fmla="*/ 26 h 26"/>
                    <a:gd name="T12" fmla="*/ 146 w 151"/>
                    <a:gd name="T13" fmla="*/ 26 h 26"/>
                    <a:gd name="T14" fmla="*/ 146 w 151"/>
                    <a:gd name="T15" fmla="*/ 26 h 26"/>
                    <a:gd name="T16" fmla="*/ 150 w 151"/>
                    <a:gd name="T17" fmla="*/ 24 h 26"/>
                    <a:gd name="T18" fmla="*/ 151 w 151"/>
                    <a:gd name="T19" fmla="*/ 20 h 26"/>
                    <a:gd name="T20" fmla="*/ 151 w 151"/>
                    <a:gd name="T21" fmla="*/ 5 h 26"/>
                    <a:gd name="T22" fmla="*/ 151 w 151"/>
                    <a:gd name="T23" fmla="*/ 5 h 26"/>
                    <a:gd name="T24" fmla="*/ 150 w 151"/>
                    <a:gd name="T25" fmla="*/ 1 h 26"/>
                    <a:gd name="T26" fmla="*/ 146 w 151"/>
                    <a:gd name="T27" fmla="*/ 0 h 26"/>
                    <a:gd name="T28" fmla="*/ 4 w 151"/>
                    <a:gd name="T29" fmla="*/ 0 h 26"/>
                    <a:gd name="T30" fmla="*/ 4 w 151"/>
                    <a:gd name="T31" fmla="*/ 0 h 26"/>
                    <a:gd name="T32" fmla="*/ 1 w 151"/>
                    <a:gd name="T33" fmla="*/ 1 h 26"/>
                    <a:gd name="T34" fmla="*/ 0 w 151"/>
                    <a:gd name="T35" fmla="*/ 3 h 26"/>
                    <a:gd name="T36" fmla="*/ 0 w 151"/>
                    <a:gd name="T37" fmla="*/ 5 h 26"/>
                    <a:gd name="T38" fmla="*/ 0 w 151"/>
                    <a:gd name="T39"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1" h="26">
                      <a:moveTo>
                        <a:pt x="0" y="5"/>
                      </a:moveTo>
                      <a:lnTo>
                        <a:pt x="0" y="20"/>
                      </a:lnTo>
                      <a:lnTo>
                        <a:pt x="0" y="20"/>
                      </a:lnTo>
                      <a:lnTo>
                        <a:pt x="0" y="23"/>
                      </a:lnTo>
                      <a:lnTo>
                        <a:pt x="1" y="24"/>
                      </a:lnTo>
                      <a:lnTo>
                        <a:pt x="4" y="26"/>
                      </a:lnTo>
                      <a:lnTo>
                        <a:pt x="146" y="26"/>
                      </a:lnTo>
                      <a:lnTo>
                        <a:pt x="146" y="26"/>
                      </a:lnTo>
                      <a:lnTo>
                        <a:pt x="150" y="24"/>
                      </a:lnTo>
                      <a:lnTo>
                        <a:pt x="151" y="20"/>
                      </a:lnTo>
                      <a:lnTo>
                        <a:pt x="151" y="5"/>
                      </a:lnTo>
                      <a:lnTo>
                        <a:pt x="151" y="5"/>
                      </a:lnTo>
                      <a:lnTo>
                        <a:pt x="150" y="1"/>
                      </a:lnTo>
                      <a:lnTo>
                        <a:pt x="146" y="0"/>
                      </a:lnTo>
                      <a:lnTo>
                        <a:pt x="4" y="0"/>
                      </a:lnTo>
                      <a:lnTo>
                        <a:pt x="4" y="0"/>
                      </a:lnTo>
                      <a:lnTo>
                        <a:pt x="1" y="1"/>
                      </a:lnTo>
                      <a:lnTo>
                        <a:pt x="0" y="3"/>
                      </a:lnTo>
                      <a:lnTo>
                        <a:pt x="0" y="5"/>
                      </a:lnTo>
                      <a:lnTo>
                        <a:pt x="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ヒラギノ角ゴ ProN W3"/>
                  </a:endParaRPr>
                </a:p>
              </p:txBody>
            </p:sp>
            <p:sp>
              <p:nvSpPr>
                <p:cNvPr id="85" name="Freeform 203">
                  <a:extLst>
                    <a:ext uri="{FF2B5EF4-FFF2-40B4-BE49-F238E27FC236}">
                      <a16:creationId xmlns:a16="http://schemas.microsoft.com/office/drawing/2014/main" id="{649FB170-99BD-4F61-8606-4AAA2F76F746}"/>
                    </a:ext>
                  </a:extLst>
                </p:cNvPr>
                <p:cNvSpPr>
                  <a:spLocks/>
                </p:cNvSpPr>
                <p:nvPr/>
              </p:nvSpPr>
              <p:spPr bwMode="auto">
                <a:xfrm>
                  <a:off x="9469438" y="1933575"/>
                  <a:ext cx="38100" cy="14288"/>
                </a:xfrm>
                <a:custGeom>
                  <a:avLst/>
                  <a:gdLst>
                    <a:gd name="T0" fmla="*/ 9 w 48"/>
                    <a:gd name="T1" fmla="*/ 17 h 17"/>
                    <a:gd name="T2" fmla="*/ 40 w 48"/>
                    <a:gd name="T3" fmla="*/ 17 h 17"/>
                    <a:gd name="T4" fmla="*/ 40 w 48"/>
                    <a:gd name="T5" fmla="*/ 17 h 17"/>
                    <a:gd name="T6" fmla="*/ 43 w 48"/>
                    <a:gd name="T7" fmla="*/ 16 h 17"/>
                    <a:gd name="T8" fmla="*/ 46 w 48"/>
                    <a:gd name="T9" fmla="*/ 15 h 17"/>
                    <a:gd name="T10" fmla="*/ 48 w 48"/>
                    <a:gd name="T11" fmla="*/ 12 h 17"/>
                    <a:gd name="T12" fmla="*/ 48 w 48"/>
                    <a:gd name="T13" fmla="*/ 8 h 17"/>
                    <a:gd name="T14" fmla="*/ 48 w 48"/>
                    <a:gd name="T15" fmla="*/ 8 h 17"/>
                    <a:gd name="T16" fmla="*/ 48 w 48"/>
                    <a:gd name="T17" fmla="*/ 5 h 17"/>
                    <a:gd name="T18" fmla="*/ 46 w 48"/>
                    <a:gd name="T19" fmla="*/ 3 h 17"/>
                    <a:gd name="T20" fmla="*/ 43 w 48"/>
                    <a:gd name="T21" fmla="*/ 0 h 17"/>
                    <a:gd name="T22" fmla="*/ 40 w 48"/>
                    <a:gd name="T23" fmla="*/ 0 h 17"/>
                    <a:gd name="T24" fmla="*/ 9 w 48"/>
                    <a:gd name="T25" fmla="*/ 0 h 17"/>
                    <a:gd name="T26" fmla="*/ 9 w 48"/>
                    <a:gd name="T27" fmla="*/ 0 h 17"/>
                    <a:gd name="T28" fmla="*/ 5 w 48"/>
                    <a:gd name="T29" fmla="*/ 0 h 17"/>
                    <a:gd name="T30" fmla="*/ 3 w 48"/>
                    <a:gd name="T31" fmla="*/ 3 h 17"/>
                    <a:gd name="T32" fmla="*/ 1 w 48"/>
                    <a:gd name="T33" fmla="*/ 5 h 17"/>
                    <a:gd name="T34" fmla="*/ 0 w 48"/>
                    <a:gd name="T35" fmla="*/ 8 h 17"/>
                    <a:gd name="T36" fmla="*/ 0 w 48"/>
                    <a:gd name="T37" fmla="*/ 8 h 17"/>
                    <a:gd name="T38" fmla="*/ 1 w 48"/>
                    <a:gd name="T39" fmla="*/ 12 h 17"/>
                    <a:gd name="T40" fmla="*/ 3 w 48"/>
                    <a:gd name="T41" fmla="*/ 15 h 17"/>
                    <a:gd name="T42" fmla="*/ 5 w 48"/>
                    <a:gd name="T43" fmla="*/ 16 h 17"/>
                    <a:gd name="T44" fmla="*/ 9 w 48"/>
                    <a:gd name="T45" fmla="*/ 17 h 17"/>
                    <a:gd name="T46" fmla="*/ 9 w 48"/>
                    <a:gd name="T4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8" h="17">
                      <a:moveTo>
                        <a:pt x="9" y="17"/>
                      </a:moveTo>
                      <a:lnTo>
                        <a:pt x="40" y="17"/>
                      </a:lnTo>
                      <a:lnTo>
                        <a:pt x="40" y="17"/>
                      </a:lnTo>
                      <a:lnTo>
                        <a:pt x="43" y="16"/>
                      </a:lnTo>
                      <a:lnTo>
                        <a:pt x="46" y="15"/>
                      </a:lnTo>
                      <a:lnTo>
                        <a:pt x="48" y="12"/>
                      </a:lnTo>
                      <a:lnTo>
                        <a:pt x="48" y="8"/>
                      </a:lnTo>
                      <a:lnTo>
                        <a:pt x="48" y="8"/>
                      </a:lnTo>
                      <a:lnTo>
                        <a:pt x="48" y="5"/>
                      </a:lnTo>
                      <a:lnTo>
                        <a:pt x="46" y="3"/>
                      </a:lnTo>
                      <a:lnTo>
                        <a:pt x="43" y="0"/>
                      </a:lnTo>
                      <a:lnTo>
                        <a:pt x="40" y="0"/>
                      </a:lnTo>
                      <a:lnTo>
                        <a:pt x="9" y="0"/>
                      </a:lnTo>
                      <a:lnTo>
                        <a:pt x="9" y="0"/>
                      </a:lnTo>
                      <a:lnTo>
                        <a:pt x="5" y="0"/>
                      </a:lnTo>
                      <a:lnTo>
                        <a:pt x="3" y="3"/>
                      </a:lnTo>
                      <a:lnTo>
                        <a:pt x="1" y="5"/>
                      </a:lnTo>
                      <a:lnTo>
                        <a:pt x="0" y="8"/>
                      </a:lnTo>
                      <a:lnTo>
                        <a:pt x="0" y="8"/>
                      </a:lnTo>
                      <a:lnTo>
                        <a:pt x="1" y="12"/>
                      </a:lnTo>
                      <a:lnTo>
                        <a:pt x="3" y="15"/>
                      </a:lnTo>
                      <a:lnTo>
                        <a:pt x="5" y="16"/>
                      </a:lnTo>
                      <a:lnTo>
                        <a:pt x="9" y="17"/>
                      </a:lnTo>
                      <a:lnTo>
                        <a:pt x="9"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ヒラギノ角ゴ ProN W3"/>
                  </a:endParaRPr>
                </a:p>
              </p:txBody>
            </p:sp>
            <p:sp>
              <p:nvSpPr>
                <p:cNvPr id="86" name="Freeform 204">
                  <a:extLst>
                    <a:ext uri="{FF2B5EF4-FFF2-40B4-BE49-F238E27FC236}">
                      <a16:creationId xmlns:a16="http://schemas.microsoft.com/office/drawing/2014/main" id="{E7E3A49F-7C63-4142-9DC4-6AFEB4C8AFD2}"/>
                    </a:ext>
                  </a:extLst>
                </p:cNvPr>
                <p:cNvSpPr>
                  <a:spLocks/>
                </p:cNvSpPr>
                <p:nvPr/>
              </p:nvSpPr>
              <p:spPr bwMode="auto">
                <a:xfrm>
                  <a:off x="9486901" y="1893888"/>
                  <a:ext cx="30163" cy="30163"/>
                </a:xfrm>
                <a:custGeom>
                  <a:avLst/>
                  <a:gdLst>
                    <a:gd name="T0" fmla="*/ 25 w 39"/>
                    <a:gd name="T1" fmla="*/ 38 h 39"/>
                    <a:gd name="T2" fmla="*/ 25 w 39"/>
                    <a:gd name="T3" fmla="*/ 38 h 39"/>
                    <a:gd name="T4" fmla="*/ 27 w 39"/>
                    <a:gd name="T5" fmla="*/ 39 h 39"/>
                    <a:gd name="T6" fmla="*/ 30 w 39"/>
                    <a:gd name="T7" fmla="*/ 39 h 39"/>
                    <a:gd name="T8" fmla="*/ 30 w 39"/>
                    <a:gd name="T9" fmla="*/ 39 h 39"/>
                    <a:gd name="T10" fmla="*/ 34 w 39"/>
                    <a:gd name="T11" fmla="*/ 39 h 39"/>
                    <a:gd name="T12" fmla="*/ 37 w 39"/>
                    <a:gd name="T13" fmla="*/ 38 h 39"/>
                    <a:gd name="T14" fmla="*/ 37 w 39"/>
                    <a:gd name="T15" fmla="*/ 38 h 39"/>
                    <a:gd name="T16" fmla="*/ 39 w 39"/>
                    <a:gd name="T17" fmla="*/ 33 h 39"/>
                    <a:gd name="T18" fmla="*/ 39 w 39"/>
                    <a:gd name="T19" fmla="*/ 31 h 39"/>
                    <a:gd name="T20" fmla="*/ 39 w 39"/>
                    <a:gd name="T21" fmla="*/ 27 h 39"/>
                    <a:gd name="T22" fmla="*/ 37 w 39"/>
                    <a:gd name="T23" fmla="*/ 24 h 39"/>
                    <a:gd name="T24" fmla="*/ 15 w 39"/>
                    <a:gd name="T25" fmla="*/ 3 h 39"/>
                    <a:gd name="T26" fmla="*/ 15 w 39"/>
                    <a:gd name="T27" fmla="*/ 3 h 39"/>
                    <a:gd name="T28" fmla="*/ 12 w 39"/>
                    <a:gd name="T29" fmla="*/ 1 h 39"/>
                    <a:gd name="T30" fmla="*/ 8 w 39"/>
                    <a:gd name="T31" fmla="*/ 0 h 39"/>
                    <a:gd name="T32" fmla="*/ 6 w 39"/>
                    <a:gd name="T33" fmla="*/ 1 h 39"/>
                    <a:gd name="T34" fmla="*/ 3 w 39"/>
                    <a:gd name="T35" fmla="*/ 3 h 39"/>
                    <a:gd name="T36" fmla="*/ 3 w 39"/>
                    <a:gd name="T37" fmla="*/ 3 h 39"/>
                    <a:gd name="T38" fmla="*/ 0 w 39"/>
                    <a:gd name="T39" fmla="*/ 5 h 39"/>
                    <a:gd name="T40" fmla="*/ 0 w 39"/>
                    <a:gd name="T41" fmla="*/ 9 h 39"/>
                    <a:gd name="T42" fmla="*/ 0 w 39"/>
                    <a:gd name="T43" fmla="*/ 12 h 39"/>
                    <a:gd name="T44" fmla="*/ 3 w 39"/>
                    <a:gd name="T45" fmla="*/ 16 h 39"/>
                    <a:gd name="T46" fmla="*/ 25 w 39"/>
                    <a:gd name="T47" fmla="*/ 3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39">
                      <a:moveTo>
                        <a:pt x="25" y="38"/>
                      </a:moveTo>
                      <a:lnTo>
                        <a:pt x="25" y="38"/>
                      </a:lnTo>
                      <a:lnTo>
                        <a:pt x="27" y="39"/>
                      </a:lnTo>
                      <a:lnTo>
                        <a:pt x="30" y="39"/>
                      </a:lnTo>
                      <a:lnTo>
                        <a:pt x="30" y="39"/>
                      </a:lnTo>
                      <a:lnTo>
                        <a:pt x="34" y="39"/>
                      </a:lnTo>
                      <a:lnTo>
                        <a:pt x="37" y="38"/>
                      </a:lnTo>
                      <a:lnTo>
                        <a:pt x="37" y="38"/>
                      </a:lnTo>
                      <a:lnTo>
                        <a:pt x="39" y="33"/>
                      </a:lnTo>
                      <a:lnTo>
                        <a:pt x="39" y="31"/>
                      </a:lnTo>
                      <a:lnTo>
                        <a:pt x="39" y="27"/>
                      </a:lnTo>
                      <a:lnTo>
                        <a:pt x="37" y="24"/>
                      </a:lnTo>
                      <a:lnTo>
                        <a:pt x="15" y="3"/>
                      </a:lnTo>
                      <a:lnTo>
                        <a:pt x="15" y="3"/>
                      </a:lnTo>
                      <a:lnTo>
                        <a:pt x="12" y="1"/>
                      </a:lnTo>
                      <a:lnTo>
                        <a:pt x="8" y="0"/>
                      </a:lnTo>
                      <a:lnTo>
                        <a:pt x="6" y="1"/>
                      </a:lnTo>
                      <a:lnTo>
                        <a:pt x="3" y="3"/>
                      </a:lnTo>
                      <a:lnTo>
                        <a:pt x="3" y="3"/>
                      </a:lnTo>
                      <a:lnTo>
                        <a:pt x="0" y="5"/>
                      </a:lnTo>
                      <a:lnTo>
                        <a:pt x="0" y="9"/>
                      </a:lnTo>
                      <a:lnTo>
                        <a:pt x="0" y="12"/>
                      </a:lnTo>
                      <a:lnTo>
                        <a:pt x="3" y="16"/>
                      </a:lnTo>
                      <a:lnTo>
                        <a:pt x="25"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ヒラギノ角ゴ ProN W3"/>
                  </a:endParaRPr>
                </a:p>
              </p:txBody>
            </p:sp>
          </p:grpSp>
        </p:grpSp>
        <p:grpSp>
          <p:nvGrpSpPr>
            <p:cNvPr id="67" name="Group 66">
              <a:extLst>
                <a:ext uri="{FF2B5EF4-FFF2-40B4-BE49-F238E27FC236}">
                  <a16:creationId xmlns:a16="http://schemas.microsoft.com/office/drawing/2014/main" id="{922CA189-C4A5-4FF9-8212-2DBDF0AA5DF6}"/>
                </a:ext>
              </a:extLst>
            </p:cNvPr>
            <p:cNvGrpSpPr/>
            <p:nvPr/>
          </p:nvGrpSpPr>
          <p:grpSpPr>
            <a:xfrm>
              <a:off x="1076802" y="3072405"/>
              <a:ext cx="10345824" cy="1509562"/>
              <a:chOff x="1076802" y="2740566"/>
              <a:chExt cx="10345824" cy="1509562"/>
            </a:xfrm>
          </p:grpSpPr>
          <p:sp>
            <p:nvSpPr>
              <p:cNvPr id="68" name="TextBox 67">
                <a:extLst>
                  <a:ext uri="{FF2B5EF4-FFF2-40B4-BE49-F238E27FC236}">
                    <a16:creationId xmlns:a16="http://schemas.microsoft.com/office/drawing/2014/main" id="{CC95AD17-61A7-459B-ABBF-18480EB2DA5A}"/>
                  </a:ext>
                </a:extLst>
              </p:cNvPr>
              <p:cNvSpPr txBox="1"/>
              <p:nvPr/>
            </p:nvSpPr>
            <p:spPr>
              <a:xfrm>
                <a:off x="1076802" y="2740566"/>
                <a:ext cx="458657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270" normalizeH="0" baseline="0" noProof="0">
                    <a:ln>
                      <a:noFill/>
                    </a:ln>
                    <a:solidFill>
                      <a:prstClr val="black"/>
                    </a:solidFill>
                    <a:effectLst/>
                    <a:uLnTx/>
                    <a:uFillTx/>
                    <a:ea typeface="Open Sans" panose="020B0606030504020204" pitchFamily="34" charset="0"/>
                    <a:cs typeface="Open Sans" panose="020B0606030504020204" pitchFamily="34" charset="0"/>
                  </a:rPr>
                  <a:t>IMPROVE DELIVERY MODEL</a:t>
                </a:r>
                <a:endParaRPr kumimoji="0" lang="en-US" sz="1800" b="0" i="0" u="none" strike="noStrike" kern="1200" cap="none" spc="27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sp>
            <p:nvSpPr>
              <p:cNvPr id="69" name="TextBox 68">
                <a:extLst>
                  <a:ext uri="{FF2B5EF4-FFF2-40B4-BE49-F238E27FC236}">
                    <a16:creationId xmlns:a16="http://schemas.microsoft.com/office/drawing/2014/main" id="{B658F8DC-60B0-4B92-AC4B-30BD813100DB}"/>
                  </a:ext>
                </a:extLst>
              </p:cNvPr>
              <p:cNvSpPr txBox="1"/>
              <p:nvPr/>
            </p:nvSpPr>
            <p:spPr>
              <a:xfrm>
                <a:off x="7932173" y="3683397"/>
                <a:ext cx="3490453" cy="56169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270" normalizeH="0" baseline="0" noProof="0" dirty="0">
                    <a:ln>
                      <a:noFill/>
                    </a:ln>
                    <a:solidFill>
                      <a:prstClr val="black"/>
                    </a:solidFill>
                    <a:effectLst/>
                    <a:uLnTx/>
                    <a:uFillTx/>
                    <a:ea typeface="Open Sans" panose="020B0606030504020204" pitchFamily="34" charset="0"/>
                    <a:cs typeface="Open Sans" panose="020B0606030504020204" pitchFamily="34" charset="0"/>
                  </a:rPr>
                  <a:t>GLOBAL COE AND DELIVE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Create a Global COE around </a:t>
                </a:r>
                <a:b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br>
                <a: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intake, operations and delivery</a:t>
                </a:r>
              </a:p>
            </p:txBody>
          </p:sp>
          <p:cxnSp>
            <p:nvCxnSpPr>
              <p:cNvPr id="70" name="Straight Connector 69">
                <a:extLst>
                  <a:ext uri="{FF2B5EF4-FFF2-40B4-BE49-F238E27FC236}">
                    <a16:creationId xmlns:a16="http://schemas.microsoft.com/office/drawing/2014/main" id="{8A1D1646-4558-43B6-8F23-A5FF49000959}"/>
                  </a:ext>
                </a:extLst>
              </p:cNvPr>
              <p:cNvCxnSpPr>
                <a:cxnSpLocks/>
              </p:cNvCxnSpPr>
              <p:nvPr/>
            </p:nvCxnSpPr>
            <p:spPr bwMode="auto">
              <a:xfrm>
                <a:off x="1158557" y="3065001"/>
                <a:ext cx="3937011" cy="0"/>
              </a:xfrm>
              <a:prstGeom prst="line">
                <a:avLst/>
              </a:prstGeom>
              <a:solidFill>
                <a:srgbClr val="C0C0C0"/>
              </a:solidFill>
              <a:ln w="38100" cap="flat" cmpd="sng" algn="ctr">
                <a:solidFill>
                  <a:schemeClr val="bg1">
                    <a:lumMod val="85000"/>
                  </a:schemeClr>
                </a:solidFill>
                <a:prstDash val="solid"/>
                <a:round/>
                <a:headEnd type="none" w="med" len="med"/>
                <a:tailEnd type="none" w="med" len="med"/>
              </a:ln>
              <a:effectLst/>
            </p:spPr>
          </p:cxnSp>
          <p:cxnSp>
            <p:nvCxnSpPr>
              <p:cNvPr id="71" name="Straight Connector 70">
                <a:extLst>
                  <a:ext uri="{FF2B5EF4-FFF2-40B4-BE49-F238E27FC236}">
                    <a16:creationId xmlns:a16="http://schemas.microsoft.com/office/drawing/2014/main" id="{00EA7759-3A7F-467D-93D5-5D072EDE0A2C}"/>
                  </a:ext>
                </a:extLst>
              </p:cNvPr>
              <p:cNvCxnSpPr>
                <a:cxnSpLocks/>
              </p:cNvCxnSpPr>
              <p:nvPr/>
            </p:nvCxnSpPr>
            <p:spPr bwMode="auto">
              <a:xfrm>
                <a:off x="8004265" y="3586899"/>
                <a:ext cx="3354449" cy="0"/>
              </a:xfrm>
              <a:prstGeom prst="line">
                <a:avLst/>
              </a:prstGeom>
              <a:solidFill>
                <a:srgbClr val="C0C0C0"/>
              </a:solidFill>
              <a:ln w="76200" cap="flat" cmpd="sng" algn="ctr">
                <a:solidFill>
                  <a:schemeClr val="accent3">
                    <a:lumMod val="40000"/>
                    <a:lumOff val="60000"/>
                  </a:schemeClr>
                </a:solidFill>
                <a:prstDash val="solid"/>
                <a:round/>
                <a:headEnd type="none" w="med" len="med"/>
                <a:tailEnd type="none" w="med" len="med"/>
              </a:ln>
              <a:effectLst/>
            </p:spPr>
          </p:cxnSp>
          <p:sp>
            <p:nvSpPr>
              <p:cNvPr id="72" name="TextBox 71">
                <a:extLst>
                  <a:ext uri="{FF2B5EF4-FFF2-40B4-BE49-F238E27FC236}">
                    <a16:creationId xmlns:a16="http://schemas.microsoft.com/office/drawing/2014/main" id="{1B2998F1-5767-42DA-88E4-E65C76C94467}"/>
                  </a:ext>
                </a:extLst>
              </p:cNvPr>
              <p:cNvSpPr txBox="1"/>
              <p:nvPr/>
            </p:nvSpPr>
            <p:spPr>
              <a:xfrm>
                <a:off x="4445614" y="3688436"/>
                <a:ext cx="3558652" cy="56169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270" normalizeH="0" baseline="0" noProof="0" dirty="0">
                    <a:ln>
                      <a:noFill/>
                    </a:ln>
                    <a:solidFill>
                      <a:prstClr val="black"/>
                    </a:solidFill>
                    <a:effectLst/>
                    <a:uLnTx/>
                    <a:uFillTx/>
                    <a:ea typeface="Open Sans" panose="020B0606030504020204" pitchFamily="34" charset="0"/>
                    <a:cs typeface="Open Sans" panose="020B0606030504020204" pitchFamily="34" charset="0"/>
                  </a:rPr>
                  <a:t>GLOBAL COE, REGIONAL DELIVE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Establish a global team to deliver new </a:t>
                </a:r>
                <a:b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br>
                <a: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capabilities and a global team to support</a:t>
                </a:r>
              </a:p>
            </p:txBody>
          </p:sp>
          <p:sp>
            <p:nvSpPr>
              <p:cNvPr id="73" name="TextBox 72">
                <a:extLst>
                  <a:ext uri="{FF2B5EF4-FFF2-40B4-BE49-F238E27FC236}">
                    <a16:creationId xmlns:a16="http://schemas.microsoft.com/office/drawing/2014/main" id="{846420DB-6A90-4B43-A3DE-4E1A6F0DC71B}"/>
                  </a:ext>
                </a:extLst>
              </p:cNvPr>
              <p:cNvSpPr txBox="1"/>
              <p:nvPr/>
            </p:nvSpPr>
            <p:spPr>
              <a:xfrm>
                <a:off x="1158557" y="3688436"/>
                <a:ext cx="3354449" cy="56169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270" normalizeH="0" baseline="0" noProof="0" dirty="0">
                    <a:ln>
                      <a:noFill/>
                    </a:ln>
                    <a:solidFill>
                      <a:prstClr val="black"/>
                    </a:solidFill>
                    <a:effectLst/>
                    <a:uLnTx/>
                    <a:uFillTx/>
                    <a:ea typeface="Open Sans" panose="020B0606030504020204" pitchFamily="34" charset="0"/>
                    <a:cs typeface="Open Sans" panose="020B0606030504020204" pitchFamily="34" charset="0"/>
                  </a:rPr>
                  <a:t>DECENTRALIZ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Each org has it’s own governance </a:t>
                </a:r>
                <a:b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br>
                <a: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model and delivery teams</a:t>
                </a:r>
              </a:p>
            </p:txBody>
          </p:sp>
          <p:cxnSp>
            <p:nvCxnSpPr>
              <p:cNvPr id="74" name="Straight Connector 73">
                <a:extLst>
                  <a:ext uri="{FF2B5EF4-FFF2-40B4-BE49-F238E27FC236}">
                    <a16:creationId xmlns:a16="http://schemas.microsoft.com/office/drawing/2014/main" id="{FBA7A1C0-BFFE-4C79-8F39-1D9F6C41A308}"/>
                  </a:ext>
                </a:extLst>
              </p:cNvPr>
              <p:cNvCxnSpPr>
                <a:cxnSpLocks/>
              </p:cNvCxnSpPr>
              <p:nvPr/>
            </p:nvCxnSpPr>
            <p:spPr bwMode="auto">
              <a:xfrm>
                <a:off x="1158557" y="3586899"/>
                <a:ext cx="3354449" cy="0"/>
              </a:xfrm>
              <a:prstGeom prst="line">
                <a:avLst/>
              </a:prstGeom>
              <a:solidFill>
                <a:srgbClr val="C0C0C0"/>
              </a:solidFill>
              <a:ln w="76200" cap="flat" cmpd="sng" algn="ctr">
                <a:solidFill>
                  <a:schemeClr val="bg1">
                    <a:lumMod val="50000"/>
                  </a:schemeClr>
                </a:solidFill>
                <a:prstDash val="solid"/>
                <a:round/>
                <a:headEnd type="none" w="med" len="med"/>
                <a:tailEnd type="none" w="med" len="med"/>
              </a:ln>
              <a:effectLst/>
            </p:spPr>
          </p:cxnSp>
          <p:cxnSp>
            <p:nvCxnSpPr>
              <p:cNvPr id="75" name="Straight Connector 74">
                <a:extLst>
                  <a:ext uri="{FF2B5EF4-FFF2-40B4-BE49-F238E27FC236}">
                    <a16:creationId xmlns:a16="http://schemas.microsoft.com/office/drawing/2014/main" id="{15EAB86A-ECD4-438D-8FD3-F7B7F63F2E2F}"/>
                  </a:ext>
                </a:extLst>
              </p:cNvPr>
              <p:cNvCxnSpPr>
                <a:cxnSpLocks/>
              </p:cNvCxnSpPr>
              <p:nvPr/>
            </p:nvCxnSpPr>
            <p:spPr bwMode="auto">
              <a:xfrm>
                <a:off x="4577724" y="3586899"/>
                <a:ext cx="3354449" cy="0"/>
              </a:xfrm>
              <a:prstGeom prst="line">
                <a:avLst/>
              </a:prstGeom>
              <a:solidFill>
                <a:srgbClr val="C0C0C0"/>
              </a:solidFill>
              <a:ln w="76200" cap="flat" cmpd="sng" algn="ctr">
                <a:solidFill>
                  <a:schemeClr val="accent3">
                    <a:lumMod val="40000"/>
                    <a:lumOff val="60000"/>
                  </a:schemeClr>
                </a:solidFill>
                <a:prstDash val="solid"/>
                <a:round/>
                <a:headEnd type="none" w="med" len="med"/>
                <a:tailEnd type="none" w="med" len="med"/>
              </a:ln>
              <a:effectLst/>
            </p:spPr>
          </p:cxnSp>
          <p:sp>
            <p:nvSpPr>
              <p:cNvPr id="76" name="Right Brace 75">
                <a:extLst>
                  <a:ext uri="{FF2B5EF4-FFF2-40B4-BE49-F238E27FC236}">
                    <a16:creationId xmlns:a16="http://schemas.microsoft.com/office/drawing/2014/main" id="{0AF3DD2E-8145-4B98-83C6-884A2B6AA99D}"/>
                  </a:ext>
                </a:extLst>
              </p:cNvPr>
              <p:cNvSpPr/>
              <p:nvPr/>
            </p:nvSpPr>
            <p:spPr bwMode="auto">
              <a:xfrm rot="16200000">
                <a:off x="7838429" y="-121759"/>
                <a:ext cx="168638" cy="6773616"/>
              </a:xfrm>
              <a:prstGeom prst="rightBrace">
                <a:avLst/>
              </a:prstGeom>
              <a:no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ea typeface="ヒラギノ角ゴ ProN W3" pitchFamily="-110" charset="-128"/>
                  <a:cs typeface="ヒラギノ角ゴ ProN W3" pitchFamily="-110" charset="-128"/>
                  <a:sym typeface="Arial" pitchFamily="-110" charset="0"/>
                </a:endParaRPr>
              </a:p>
            </p:txBody>
          </p:sp>
          <p:sp>
            <p:nvSpPr>
              <p:cNvPr id="77" name="TextBox 76">
                <a:extLst>
                  <a:ext uri="{FF2B5EF4-FFF2-40B4-BE49-F238E27FC236}">
                    <a16:creationId xmlns:a16="http://schemas.microsoft.com/office/drawing/2014/main" id="{47022E23-F1C2-438F-AAD1-9EF5E48DF08A}"/>
                  </a:ext>
                </a:extLst>
              </p:cNvPr>
              <p:cNvSpPr txBox="1"/>
              <p:nvPr/>
            </p:nvSpPr>
            <p:spPr>
              <a:xfrm>
                <a:off x="7049310" y="3132955"/>
                <a:ext cx="1746875" cy="246221"/>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rPr>
                  <a:t>Consider for Future State</a:t>
                </a:r>
              </a:p>
            </p:txBody>
          </p:sp>
          <p:sp>
            <p:nvSpPr>
              <p:cNvPr id="78" name="Oval 77">
                <a:extLst>
                  <a:ext uri="{FF2B5EF4-FFF2-40B4-BE49-F238E27FC236}">
                    <a16:creationId xmlns:a16="http://schemas.microsoft.com/office/drawing/2014/main" id="{74C47BFE-E581-4CBC-ACC1-4795462FF6D5}"/>
                  </a:ext>
                </a:extLst>
              </p:cNvPr>
              <p:cNvSpPr/>
              <p:nvPr/>
            </p:nvSpPr>
            <p:spPr bwMode="auto">
              <a:xfrm>
                <a:off x="4445613" y="3484360"/>
                <a:ext cx="182880" cy="182880"/>
              </a:xfrm>
              <a:prstGeom prst="ellipse">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prstClr val="white"/>
                  </a:solidFill>
                  <a:effectLst/>
                  <a:uLnTx/>
                  <a:uFillTx/>
                  <a:ea typeface="ヒラギノ角ゴ ProN W3" pitchFamily="-110" charset="-128"/>
                  <a:cs typeface="ヒラギノ角ゴ ProN W3" pitchFamily="-110" charset="-128"/>
                  <a:sym typeface="Arial" pitchFamily="-110" charset="0"/>
                </a:endParaRPr>
              </a:p>
            </p:txBody>
          </p:sp>
          <p:sp>
            <p:nvSpPr>
              <p:cNvPr id="79" name="TextBox 78">
                <a:extLst>
                  <a:ext uri="{FF2B5EF4-FFF2-40B4-BE49-F238E27FC236}">
                    <a16:creationId xmlns:a16="http://schemas.microsoft.com/office/drawing/2014/main" id="{E8292A82-2C3D-41F4-B921-E4A44B419998}"/>
                  </a:ext>
                </a:extLst>
              </p:cNvPr>
              <p:cNvSpPr txBox="1"/>
              <p:nvPr/>
            </p:nvSpPr>
            <p:spPr>
              <a:xfrm>
                <a:off x="4218373" y="3300310"/>
                <a:ext cx="63736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rPr>
                  <a:t>TODAY</a:t>
                </a:r>
              </a:p>
            </p:txBody>
          </p:sp>
        </p:grpSp>
      </p:grpSp>
    </p:spTree>
    <p:extLst>
      <p:ext uri="{BB962C8B-B14F-4D97-AF65-F5344CB8AC3E}">
        <p14:creationId xmlns:p14="http://schemas.microsoft.com/office/powerpoint/2010/main" val="2758289270"/>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B27989F8-55D3-4372-8E87-5339CB69197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7396" name="think-cell Slide" r:id="rId6" imgW="395" imgH="396" progId="TCLayout.ActiveDocument.1">
                  <p:embed/>
                </p:oleObj>
              </mc:Choice>
              <mc:Fallback>
                <p:oleObj name="think-cell Slide" r:id="rId6" imgW="395" imgH="396" progId="TCLayout.ActiveDocument.1">
                  <p:embed/>
                  <p:pic>
                    <p:nvPicPr>
                      <p:cNvPr id="52" name="Object 51" hidden="1">
                        <a:extLst>
                          <a:ext uri="{FF2B5EF4-FFF2-40B4-BE49-F238E27FC236}">
                            <a16:creationId xmlns:a16="http://schemas.microsoft.com/office/drawing/2014/main" id="{B27989F8-55D3-4372-8E87-5339CB69197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1" name="Rectangle 50" hidden="1">
            <a:extLst>
              <a:ext uri="{FF2B5EF4-FFF2-40B4-BE49-F238E27FC236}">
                <a16:creationId xmlns:a16="http://schemas.microsoft.com/office/drawing/2014/main" id="{5BB31BA5-E616-454E-86AA-DB7DC578308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3EB76E53-23A3-48E2-899A-C9F746423F63}"/>
              </a:ext>
            </a:extLst>
          </p:cNvPr>
          <p:cNvSpPr>
            <a:spLocks noGrp="1"/>
          </p:cNvSpPr>
          <p:nvPr>
            <p:ph type="title"/>
          </p:nvPr>
        </p:nvSpPr>
        <p:spPr/>
        <p:txBody>
          <a:bodyPr/>
          <a:lstStyle/>
          <a:p>
            <a:r>
              <a:rPr lang="en-US" dirty="0"/>
              <a:t>Data Analytics</a:t>
            </a:r>
          </a:p>
        </p:txBody>
      </p:sp>
      <p:sp>
        <p:nvSpPr>
          <p:cNvPr id="3" name="Text Placeholder 2">
            <a:extLst>
              <a:ext uri="{FF2B5EF4-FFF2-40B4-BE49-F238E27FC236}">
                <a16:creationId xmlns:a16="http://schemas.microsoft.com/office/drawing/2014/main" id="{4CE34906-EC4E-4974-97EB-6DB6F06CE839}"/>
              </a:ext>
            </a:extLst>
          </p:cNvPr>
          <p:cNvSpPr>
            <a:spLocks noGrp="1"/>
          </p:cNvSpPr>
          <p:nvPr>
            <p:ph type="body" sz="quarter" idx="14"/>
          </p:nvPr>
        </p:nvSpPr>
        <p:spPr>
          <a:xfrm>
            <a:off x="914721" y="1353312"/>
            <a:ext cx="10362880" cy="475488"/>
          </a:xfrm>
        </p:spPr>
        <p:txBody>
          <a:bodyPr/>
          <a:lstStyle/>
          <a:p>
            <a:r>
              <a:rPr lang="en-US" dirty="0"/>
              <a:t>Subtitle</a:t>
            </a:r>
          </a:p>
        </p:txBody>
      </p:sp>
      <p:sp>
        <p:nvSpPr>
          <p:cNvPr id="4" name="Text Placeholder 3">
            <a:extLst>
              <a:ext uri="{FF2B5EF4-FFF2-40B4-BE49-F238E27FC236}">
                <a16:creationId xmlns:a16="http://schemas.microsoft.com/office/drawing/2014/main" id="{C01CA4AD-AB9D-458C-97ED-964995678577}"/>
              </a:ext>
            </a:extLst>
          </p:cNvPr>
          <p:cNvSpPr>
            <a:spLocks noGrp="1"/>
          </p:cNvSpPr>
          <p:nvPr>
            <p:ph type="body" sz="quarter" idx="15"/>
          </p:nvPr>
        </p:nvSpPr>
        <p:spPr>
          <a:xfrm>
            <a:off x="914971" y="466344"/>
            <a:ext cx="3792218" cy="260320"/>
          </a:xfrm>
        </p:spPr>
        <p:txBody>
          <a:bodyPr/>
          <a:lstStyle/>
          <a:p>
            <a:r>
              <a:rPr lang="en-US" dirty="0"/>
              <a:t>FRAMEWORKS &amp; CONCEPT ILLUSTRATION</a:t>
            </a:r>
          </a:p>
          <a:p>
            <a:endParaRPr lang="en-US" dirty="0"/>
          </a:p>
        </p:txBody>
      </p:sp>
      <p:grpSp>
        <p:nvGrpSpPr>
          <p:cNvPr id="5" name="Group 4">
            <a:extLst>
              <a:ext uri="{FF2B5EF4-FFF2-40B4-BE49-F238E27FC236}">
                <a16:creationId xmlns:a16="http://schemas.microsoft.com/office/drawing/2014/main" id="{A531AD81-9D33-4EE2-9BEF-D809C6AE4FCD}"/>
              </a:ext>
            </a:extLst>
          </p:cNvPr>
          <p:cNvGrpSpPr>
            <a:grpSpLocks noChangeAspect="1"/>
          </p:cNvGrpSpPr>
          <p:nvPr/>
        </p:nvGrpSpPr>
        <p:grpSpPr>
          <a:xfrm>
            <a:off x="8050579" y="4904753"/>
            <a:ext cx="522288" cy="522288"/>
            <a:chOff x="3200401" y="5856288"/>
            <a:chExt cx="522288" cy="522288"/>
          </a:xfrm>
        </p:grpSpPr>
        <p:sp>
          <p:nvSpPr>
            <p:cNvPr id="6" name="Freeform 52">
              <a:extLst>
                <a:ext uri="{FF2B5EF4-FFF2-40B4-BE49-F238E27FC236}">
                  <a16:creationId xmlns:a16="http://schemas.microsoft.com/office/drawing/2014/main" id="{4A81D494-AF0C-42CB-B64E-5092108AD24B}"/>
                </a:ext>
              </a:extLst>
            </p:cNvPr>
            <p:cNvSpPr>
              <a:spLocks noEditPoints="1"/>
            </p:cNvSpPr>
            <p:nvPr/>
          </p:nvSpPr>
          <p:spPr bwMode="auto">
            <a:xfrm>
              <a:off x="3200401" y="5856288"/>
              <a:ext cx="522288" cy="522288"/>
            </a:xfrm>
            <a:custGeom>
              <a:avLst/>
              <a:gdLst>
                <a:gd name="T0" fmla="*/ 312 w 657"/>
                <a:gd name="T1" fmla="*/ 657 h 657"/>
                <a:gd name="T2" fmla="*/ 262 w 657"/>
                <a:gd name="T3" fmla="*/ 651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8 h 657"/>
                <a:gd name="T16" fmla="*/ 2 w 657"/>
                <a:gd name="T17" fmla="*/ 295 h 657"/>
                <a:gd name="T18" fmla="*/ 11 w 657"/>
                <a:gd name="T19" fmla="*/ 246 h 657"/>
                <a:gd name="T20" fmla="*/ 39 w 657"/>
                <a:gd name="T21" fmla="*/ 172 h 657"/>
                <a:gd name="T22" fmla="*/ 97 w 657"/>
                <a:gd name="T23" fmla="*/ 96 h 657"/>
                <a:gd name="T24" fmla="*/ 172 w 657"/>
                <a:gd name="T25" fmla="*/ 39 h 657"/>
                <a:gd name="T26" fmla="*/ 246 w 657"/>
                <a:gd name="T27" fmla="*/ 10 h 657"/>
                <a:gd name="T28" fmla="*/ 296 w 657"/>
                <a:gd name="T29" fmla="*/ 2 h 657"/>
                <a:gd name="T30" fmla="*/ 329 w 657"/>
                <a:gd name="T31" fmla="*/ 0 h 657"/>
                <a:gd name="T32" fmla="*/ 379 w 657"/>
                <a:gd name="T33" fmla="*/ 3 h 657"/>
                <a:gd name="T34" fmla="*/ 426 w 657"/>
                <a:gd name="T35" fmla="*/ 15 h 657"/>
                <a:gd name="T36" fmla="*/ 512 w 657"/>
                <a:gd name="T37" fmla="*/ 55 h 657"/>
                <a:gd name="T38" fmla="*/ 582 w 657"/>
                <a:gd name="T39" fmla="*/ 120 h 657"/>
                <a:gd name="T40" fmla="*/ 632 w 657"/>
                <a:gd name="T41" fmla="*/ 201 h 657"/>
                <a:gd name="T42" fmla="*/ 650 w 657"/>
                <a:gd name="T43" fmla="*/ 262 h 657"/>
                <a:gd name="T44" fmla="*/ 657 w 657"/>
                <a:gd name="T45" fmla="*/ 312 h 657"/>
                <a:gd name="T46" fmla="*/ 657 w 657"/>
                <a:gd name="T47" fmla="*/ 346 h 657"/>
                <a:gd name="T48" fmla="*/ 650 w 657"/>
                <a:gd name="T49" fmla="*/ 395 h 657"/>
                <a:gd name="T50" fmla="*/ 632 w 657"/>
                <a:gd name="T51" fmla="*/ 457 h 657"/>
                <a:gd name="T52" fmla="*/ 582 w 657"/>
                <a:gd name="T53" fmla="*/ 538 h 657"/>
                <a:gd name="T54" fmla="*/ 512 w 657"/>
                <a:gd name="T55" fmla="*/ 601 h 657"/>
                <a:gd name="T56" fmla="*/ 426 w 657"/>
                <a:gd name="T57" fmla="*/ 643 h 657"/>
                <a:gd name="T58" fmla="*/ 379 w 657"/>
                <a:gd name="T59" fmla="*/ 653 h 657"/>
                <a:gd name="T60" fmla="*/ 329 w 657"/>
                <a:gd name="T61" fmla="*/ 657 h 657"/>
                <a:gd name="T62" fmla="*/ 329 w 657"/>
                <a:gd name="T63" fmla="*/ 38 h 657"/>
                <a:gd name="T64" fmla="*/ 242 w 657"/>
                <a:gd name="T65" fmla="*/ 50 h 657"/>
                <a:gd name="T66" fmla="*/ 165 w 657"/>
                <a:gd name="T67" fmla="*/ 88 h 657"/>
                <a:gd name="T68" fmla="*/ 104 w 657"/>
                <a:gd name="T69" fmla="*/ 144 h 657"/>
                <a:gd name="T70" fmla="*/ 61 w 657"/>
                <a:gd name="T71" fmla="*/ 215 h 657"/>
                <a:gd name="T72" fmla="*/ 39 w 657"/>
                <a:gd name="T73" fmla="*/ 299 h 657"/>
                <a:gd name="T74" fmla="*/ 39 w 657"/>
                <a:gd name="T75" fmla="*/ 359 h 657"/>
                <a:gd name="T76" fmla="*/ 61 w 657"/>
                <a:gd name="T77" fmla="*/ 442 h 657"/>
                <a:gd name="T78" fmla="*/ 104 w 657"/>
                <a:gd name="T79" fmla="*/ 514 h 657"/>
                <a:gd name="T80" fmla="*/ 165 w 657"/>
                <a:gd name="T81" fmla="*/ 570 h 657"/>
                <a:gd name="T82" fmla="*/ 242 w 657"/>
                <a:gd name="T83" fmla="*/ 606 h 657"/>
                <a:gd name="T84" fmla="*/ 329 w 657"/>
                <a:gd name="T85" fmla="*/ 620 h 657"/>
                <a:gd name="T86" fmla="*/ 387 w 657"/>
                <a:gd name="T87" fmla="*/ 614 h 657"/>
                <a:gd name="T88" fmla="*/ 468 w 657"/>
                <a:gd name="T89" fmla="*/ 585 h 657"/>
                <a:gd name="T90" fmla="*/ 535 w 657"/>
                <a:gd name="T91" fmla="*/ 535 h 657"/>
                <a:gd name="T92" fmla="*/ 585 w 657"/>
                <a:gd name="T93" fmla="*/ 468 h 657"/>
                <a:gd name="T94" fmla="*/ 614 w 657"/>
                <a:gd name="T95" fmla="*/ 387 h 657"/>
                <a:gd name="T96" fmla="*/ 619 w 657"/>
                <a:gd name="T97" fmla="*/ 328 h 657"/>
                <a:gd name="T98" fmla="*/ 607 w 657"/>
                <a:gd name="T99" fmla="*/ 242 h 657"/>
                <a:gd name="T100" fmla="*/ 570 w 657"/>
                <a:gd name="T101" fmla="*/ 166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6"/>
                  </a:lnTo>
                  <a:lnTo>
                    <a:pt x="278" y="653"/>
                  </a:lnTo>
                  <a:lnTo>
                    <a:pt x="262" y="651"/>
                  </a:lnTo>
                  <a:lnTo>
                    <a:pt x="246" y="647"/>
                  </a:lnTo>
                  <a:lnTo>
                    <a:pt x="231" y="643"/>
                  </a:lnTo>
                  <a:lnTo>
                    <a:pt x="200" y="632"/>
                  </a:lnTo>
                  <a:lnTo>
                    <a:pt x="172" y="618"/>
                  </a:lnTo>
                  <a:lnTo>
                    <a:pt x="145" y="601"/>
                  </a:lnTo>
                  <a:lnTo>
                    <a:pt x="120" y="582"/>
                  </a:lnTo>
                  <a:lnTo>
                    <a:pt x="97" y="561"/>
                  </a:lnTo>
                  <a:lnTo>
                    <a:pt x="75" y="538"/>
                  </a:lnTo>
                  <a:lnTo>
                    <a:pt x="57" y="512"/>
                  </a:lnTo>
                  <a:lnTo>
                    <a:pt x="39" y="485"/>
                  </a:lnTo>
                  <a:lnTo>
                    <a:pt x="26" y="457"/>
                  </a:lnTo>
                  <a:lnTo>
                    <a:pt x="15" y="426"/>
                  </a:lnTo>
                  <a:lnTo>
                    <a:pt x="11" y="410"/>
                  </a:lnTo>
                  <a:lnTo>
                    <a:pt x="7" y="395"/>
                  </a:lnTo>
                  <a:lnTo>
                    <a:pt x="4" y="379"/>
                  </a:lnTo>
                  <a:lnTo>
                    <a:pt x="2" y="362"/>
                  </a:lnTo>
                  <a:lnTo>
                    <a:pt x="0" y="346"/>
                  </a:lnTo>
                  <a:lnTo>
                    <a:pt x="0" y="328"/>
                  </a:lnTo>
                  <a:lnTo>
                    <a:pt x="0" y="328"/>
                  </a:lnTo>
                  <a:lnTo>
                    <a:pt x="0" y="312"/>
                  </a:lnTo>
                  <a:lnTo>
                    <a:pt x="2" y="295"/>
                  </a:lnTo>
                  <a:lnTo>
                    <a:pt x="4" y="278"/>
                  </a:lnTo>
                  <a:lnTo>
                    <a:pt x="7" y="262"/>
                  </a:lnTo>
                  <a:lnTo>
                    <a:pt x="11" y="246"/>
                  </a:lnTo>
                  <a:lnTo>
                    <a:pt x="15" y="231"/>
                  </a:lnTo>
                  <a:lnTo>
                    <a:pt x="26" y="201"/>
                  </a:lnTo>
                  <a:lnTo>
                    <a:pt x="39" y="172"/>
                  </a:lnTo>
                  <a:lnTo>
                    <a:pt x="57" y="145"/>
                  </a:lnTo>
                  <a:lnTo>
                    <a:pt x="75" y="120"/>
                  </a:lnTo>
                  <a:lnTo>
                    <a:pt x="97" y="96"/>
                  </a:lnTo>
                  <a:lnTo>
                    <a:pt x="120" y="76"/>
                  </a:lnTo>
                  <a:lnTo>
                    <a:pt x="145" y="55"/>
                  </a:lnTo>
                  <a:lnTo>
                    <a:pt x="172" y="39"/>
                  </a:lnTo>
                  <a:lnTo>
                    <a:pt x="200" y="26"/>
                  </a:lnTo>
                  <a:lnTo>
                    <a:pt x="231" y="15"/>
                  </a:lnTo>
                  <a:lnTo>
                    <a:pt x="246" y="10"/>
                  </a:lnTo>
                  <a:lnTo>
                    <a:pt x="262" y="7"/>
                  </a:lnTo>
                  <a:lnTo>
                    <a:pt x="278" y="3"/>
                  </a:lnTo>
                  <a:lnTo>
                    <a:pt x="296" y="2"/>
                  </a:lnTo>
                  <a:lnTo>
                    <a:pt x="312" y="0"/>
                  </a:lnTo>
                  <a:lnTo>
                    <a:pt x="329" y="0"/>
                  </a:lnTo>
                  <a:lnTo>
                    <a:pt x="329" y="0"/>
                  </a:lnTo>
                  <a:lnTo>
                    <a:pt x="345" y="0"/>
                  </a:lnTo>
                  <a:lnTo>
                    <a:pt x="363" y="2"/>
                  </a:lnTo>
                  <a:lnTo>
                    <a:pt x="379" y="3"/>
                  </a:lnTo>
                  <a:lnTo>
                    <a:pt x="395" y="7"/>
                  </a:lnTo>
                  <a:lnTo>
                    <a:pt x="411" y="10"/>
                  </a:lnTo>
                  <a:lnTo>
                    <a:pt x="426" y="15"/>
                  </a:lnTo>
                  <a:lnTo>
                    <a:pt x="457" y="26"/>
                  </a:lnTo>
                  <a:lnTo>
                    <a:pt x="485" y="39"/>
                  </a:lnTo>
                  <a:lnTo>
                    <a:pt x="512" y="55"/>
                  </a:lnTo>
                  <a:lnTo>
                    <a:pt x="538" y="76"/>
                  </a:lnTo>
                  <a:lnTo>
                    <a:pt x="562" y="96"/>
                  </a:lnTo>
                  <a:lnTo>
                    <a:pt x="582" y="120"/>
                  </a:lnTo>
                  <a:lnTo>
                    <a:pt x="601" y="145"/>
                  </a:lnTo>
                  <a:lnTo>
                    <a:pt x="618" y="172"/>
                  </a:lnTo>
                  <a:lnTo>
                    <a:pt x="632" y="201"/>
                  </a:lnTo>
                  <a:lnTo>
                    <a:pt x="642" y="231"/>
                  </a:lnTo>
                  <a:lnTo>
                    <a:pt x="648" y="246"/>
                  </a:lnTo>
                  <a:lnTo>
                    <a:pt x="650" y="262"/>
                  </a:lnTo>
                  <a:lnTo>
                    <a:pt x="654" y="278"/>
                  </a:lnTo>
                  <a:lnTo>
                    <a:pt x="656" y="295"/>
                  </a:lnTo>
                  <a:lnTo>
                    <a:pt x="657" y="312"/>
                  </a:lnTo>
                  <a:lnTo>
                    <a:pt x="657" y="328"/>
                  </a:lnTo>
                  <a:lnTo>
                    <a:pt x="657" y="328"/>
                  </a:lnTo>
                  <a:lnTo>
                    <a:pt x="657" y="346"/>
                  </a:lnTo>
                  <a:lnTo>
                    <a:pt x="656" y="362"/>
                  </a:lnTo>
                  <a:lnTo>
                    <a:pt x="654" y="379"/>
                  </a:lnTo>
                  <a:lnTo>
                    <a:pt x="650" y="395"/>
                  </a:lnTo>
                  <a:lnTo>
                    <a:pt x="648" y="410"/>
                  </a:lnTo>
                  <a:lnTo>
                    <a:pt x="642" y="426"/>
                  </a:lnTo>
                  <a:lnTo>
                    <a:pt x="632" y="457"/>
                  </a:lnTo>
                  <a:lnTo>
                    <a:pt x="618" y="485"/>
                  </a:lnTo>
                  <a:lnTo>
                    <a:pt x="601" y="512"/>
                  </a:lnTo>
                  <a:lnTo>
                    <a:pt x="582" y="538"/>
                  </a:lnTo>
                  <a:lnTo>
                    <a:pt x="562" y="561"/>
                  </a:lnTo>
                  <a:lnTo>
                    <a:pt x="538" y="582"/>
                  </a:lnTo>
                  <a:lnTo>
                    <a:pt x="512" y="601"/>
                  </a:lnTo>
                  <a:lnTo>
                    <a:pt x="485" y="618"/>
                  </a:lnTo>
                  <a:lnTo>
                    <a:pt x="457" y="632"/>
                  </a:lnTo>
                  <a:lnTo>
                    <a:pt x="426" y="643"/>
                  </a:lnTo>
                  <a:lnTo>
                    <a:pt x="411" y="647"/>
                  </a:lnTo>
                  <a:lnTo>
                    <a:pt x="395" y="651"/>
                  </a:lnTo>
                  <a:lnTo>
                    <a:pt x="379" y="653"/>
                  </a:lnTo>
                  <a:lnTo>
                    <a:pt x="363" y="656"/>
                  </a:lnTo>
                  <a:lnTo>
                    <a:pt x="345" y="657"/>
                  </a:lnTo>
                  <a:lnTo>
                    <a:pt x="329" y="657"/>
                  </a:lnTo>
                  <a:lnTo>
                    <a:pt x="329" y="657"/>
                  </a:lnTo>
                  <a:close/>
                  <a:moveTo>
                    <a:pt x="329" y="38"/>
                  </a:moveTo>
                  <a:lnTo>
                    <a:pt x="329" y="38"/>
                  </a:lnTo>
                  <a:lnTo>
                    <a:pt x="298" y="39"/>
                  </a:lnTo>
                  <a:lnTo>
                    <a:pt x="270" y="43"/>
                  </a:lnTo>
                  <a:lnTo>
                    <a:pt x="242" y="50"/>
                  </a:lnTo>
                  <a:lnTo>
                    <a:pt x="215" y="61"/>
                  </a:lnTo>
                  <a:lnTo>
                    <a:pt x="190" y="73"/>
                  </a:lnTo>
                  <a:lnTo>
                    <a:pt x="165" y="88"/>
                  </a:lnTo>
                  <a:lnTo>
                    <a:pt x="144" y="104"/>
                  </a:lnTo>
                  <a:lnTo>
                    <a:pt x="122" y="123"/>
                  </a:lnTo>
                  <a:lnTo>
                    <a:pt x="104" y="144"/>
                  </a:lnTo>
                  <a:lnTo>
                    <a:pt x="87" y="166"/>
                  </a:lnTo>
                  <a:lnTo>
                    <a:pt x="73" y="190"/>
                  </a:lnTo>
                  <a:lnTo>
                    <a:pt x="61" y="215"/>
                  </a:lnTo>
                  <a:lnTo>
                    <a:pt x="51" y="242"/>
                  </a:lnTo>
                  <a:lnTo>
                    <a:pt x="43" y="270"/>
                  </a:lnTo>
                  <a:lnTo>
                    <a:pt x="39" y="299"/>
                  </a:lnTo>
                  <a:lnTo>
                    <a:pt x="38" y="328"/>
                  </a:lnTo>
                  <a:lnTo>
                    <a:pt x="38" y="328"/>
                  </a:lnTo>
                  <a:lnTo>
                    <a:pt x="39" y="359"/>
                  </a:lnTo>
                  <a:lnTo>
                    <a:pt x="43" y="387"/>
                  </a:lnTo>
                  <a:lnTo>
                    <a:pt x="51" y="415"/>
                  </a:lnTo>
                  <a:lnTo>
                    <a:pt x="61" y="442"/>
                  </a:lnTo>
                  <a:lnTo>
                    <a:pt x="73" y="468"/>
                  </a:lnTo>
                  <a:lnTo>
                    <a:pt x="87" y="491"/>
                  </a:lnTo>
                  <a:lnTo>
                    <a:pt x="104" y="514"/>
                  </a:lnTo>
                  <a:lnTo>
                    <a:pt x="122" y="535"/>
                  </a:lnTo>
                  <a:lnTo>
                    <a:pt x="144" y="554"/>
                  </a:lnTo>
                  <a:lnTo>
                    <a:pt x="165" y="570"/>
                  </a:lnTo>
                  <a:lnTo>
                    <a:pt x="190" y="585"/>
                  </a:lnTo>
                  <a:lnTo>
                    <a:pt x="215" y="597"/>
                  </a:lnTo>
                  <a:lnTo>
                    <a:pt x="242" y="606"/>
                  </a:lnTo>
                  <a:lnTo>
                    <a:pt x="270" y="614"/>
                  </a:lnTo>
                  <a:lnTo>
                    <a:pt x="298" y="618"/>
                  </a:lnTo>
                  <a:lnTo>
                    <a:pt x="329" y="620"/>
                  </a:lnTo>
                  <a:lnTo>
                    <a:pt x="329" y="620"/>
                  </a:lnTo>
                  <a:lnTo>
                    <a:pt x="359" y="618"/>
                  </a:lnTo>
                  <a:lnTo>
                    <a:pt x="387" y="614"/>
                  </a:lnTo>
                  <a:lnTo>
                    <a:pt x="415" y="606"/>
                  </a:lnTo>
                  <a:lnTo>
                    <a:pt x="442" y="597"/>
                  </a:lnTo>
                  <a:lnTo>
                    <a:pt x="468" y="585"/>
                  </a:lnTo>
                  <a:lnTo>
                    <a:pt x="492" y="570"/>
                  </a:lnTo>
                  <a:lnTo>
                    <a:pt x="513" y="554"/>
                  </a:lnTo>
                  <a:lnTo>
                    <a:pt x="535" y="535"/>
                  </a:lnTo>
                  <a:lnTo>
                    <a:pt x="554" y="514"/>
                  </a:lnTo>
                  <a:lnTo>
                    <a:pt x="570" y="491"/>
                  </a:lnTo>
                  <a:lnTo>
                    <a:pt x="585" y="468"/>
                  </a:lnTo>
                  <a:lnTo>
                    <a:pt x="597" y="442"/>
                  </a:lnTo>
                  <a:lnTo>
                    <a:pt x="607" y="415"/>
                  </a:lnTo>
                  <a:lnTo>
                    <a:pt x="614" y="387"/>
                  </a:lnTo>
                  <a:lnTo>
                    <a:pt x="618" y="359"/>
                  </a:lnTo>
                  <a:lnTo>
                    <a:pt x="619" y="328"/>
                  </a:lnTo>
                  <a:lnTo>
                    <a:pt x="619" y="328"/>
                  </a:lnTo>
                  <a:lnTo>
                    <a:pt x="618" y="299"/>
                  </a:lnTo>
                  <a:lnTo>
                    <a:pt x="614" y="270"/>
                  </a:lnTo>
                  <a:lnTo>
                    <a:pt x="607" y="242"/>
                  </a:lnTo>
                  <a:lnTo>
                    <a:pt x="597" y="215"/>
                  </a:lnTo>
                  <a:lnTo>
                    <a:pt x="585" y="190"/>
                  </a:lnTo>
                  <a:lnTo>
                    <a:pt x="570" y="166"/>
                  </a:lnTo>
                  <a:lnTo>
                    <a:pt x="554" y="144"/>
                  </a:lnTo>
                  <a:lnTo>
                    <a:pt x="535" y="123"/>
                  </a:lnTo>
                  <a:lnTo>
                    <a:pt x="513" y="104"/>
                  </a:lnTo>
                  <a:lnTo>
                    <a:pt x="492" y="88"/>
                  </a:lnTo>
                  <a:lnTo>
                    <a:pt x="468" y="73"/>
                  </a:lnTo>
                  <a:lnTo>
                    <a:pt x="442" y="61"/>
                  </a:lnTo>
                  <a:lnTo>
                    <a:pt x="415" y="50"/>
                  </a:lnTo>
                  <a:lnTo>
                    <a:pt x="387" y="43"/>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ndParaRPr>
            </a:p>
          </p:txBody>
        </p:sp>
        <p:sp>
          <p:nvSpPr>
            <p:cNvPr id="7" name="Freeform 207">
              <a:extLst>
                <a:ext uri="{FF2B5EF4-FFF2-40B4-BE49-F238E27FC236}">
                  <a16:creationId xmlns:a16="http://schemas.microsoft.com/office/drawing/2014/main" id="{18E8351A-06E1-434F-8883-553020FE8388}"/>
                </a:ext>
              </a:extLst>
            </p:cNvPr>
            <p:cNvSpPr>
              <a:spLocks/>
            </p:cNvSpPr>
            <p:nvPr/>
          </p:nvSpPr>
          <p:spPr bwMode="auto">
            <a:xfrm>
              <a:off x="3327401" y="6226175"/>
              <a:ext cx="280988" cy="12700"/>
            </a:xfrm>
            <a:custGeom>
              <a:avLst/>
              <a:gdLst>
                <a:gd name="T0" fmla="*/ 345 w 353"/>
                <a:gd name="T1" fmla="*/ 0 h 16"/>
                <a:gd name="T2" fmla="*/ 8 w 353"/>
                <a:gd name="T3" fmla="*/ 0 h 16"/>
                <a:gd name="T4" fmla="*/ 8 w 353"/>
                <a:gd name="T5" fmla="*/ 0 h 16"/>
                <a:gd name="T6" fmla="*/ 4 w 353"/>
                <a:gd name="T7" fmla="*/ 0 h 16"/>
                <a:gd name="T8" fmla="*/ 1 w 353"/>
                <a:gd name="T9" fmla="*/ 3 h 16"/>
                <a:gd name="T10" fmla="*/ 0 w 353"/>
                <a:gd name="T11" fmla="*/ 6 h 16"/>
                <a:gd name="T12" fmla="*/ 0 w 353"/>
                <a:gd name="T13" fmla="*/ 8 h 16"/>
                <a:gd name="T14" fmla="*/ 0 w 353"/>
                <a:gd name="T15" fmla="*/ 8 h 16"/>
                <a:gd name="T16" fmla="*/ 0 w 353"/>
                <a:gd name="T17" fmla="*/ 11 h 16"/>
                <a:gd name="T18" fmla="*/ 1 w 353"/>
                <a:gd name="T19" fmla="*/ 14 h 16"/>
                <a:gd name="T20" fmla="*/ 4 w 353"/>
                <a:gd name="T21" fmla="*/ 16 h 16"/>
                <a:gd name="T22" fmla="*/ 8 w 353"/>
                <a:gd name="T23" fmla="*/ 16 h 16"/>
                <a:gd name="T24" fmla="*/ 345 w 353"/>
                <a:gd name="T25" fmla="*/ 16 h 16"/>
                <a:gd name="T26" fmla="*/ 345 w 353"/>
                <a:gd name="T27" fmla="*/ 16 h 16"/>
                <a:gd name="T28" fmla="*/ 348 w 353"/>
                <a:gd name="T29" fmla="*/ 16 h 16"/>
                <a:gd name="T30" fmla="*/ 351 w 353"/>
                <a:gd name="T31" fmla="*/ 14 h 16"/>
                <a:gd name="T32" fmla="*/ 352 w 353"/>
                <a:gd name="T33" fmla="*/ 11 h 16"/>
                <a:gd name="T34" fmla="*/ 353 w 353"/>
                <a:gd name="T35" fmla="*/ 8 h 16"/>
                <a:gd name="T36" fmla="*/ 353 w 353"/>
                <a:gd name="T37" fmla="*/ 8 h 16"/>
                <a:gd name="T38" fmla="*/ 352 w 353"/>
                <a:gd name="T39" fmla="*/ 6 h 16"/>
                <a:gd name="T40" fmla="*/ 351 w 353"/>
                <a:gd name="T41" fmla="*/ 3 h 16"/>
                <a:gd name="T42" fmla="*/ 348 w 353"/>
                <a:gd name="T43" fmla="*/ 0 h 16"/>
                <a:gd name="T44" fmla="*/ 345 w 353"/>
                <a:gd name="T45" fmla="*/ 0 h 16"/>
                <a:gd name="T46" fmla="*/ 345 w 353"/>
                <a:gd name="T4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3" h="16">
                  <a:moveTo>
                    <a:pt x="345" y="0"/>
                  </a:moveTo>
                  <a:lnTo>
                    <a:pt x="8" y="0"/>
                  </a:lnTo>
                  <a:lnTo>
                    <a:pt x="8" y="0"/>
                  </a:lnTo>
                  <a:lnTo>
                    <a:pt x="4" y="0"/>
                  </a:lnTo>
                  <a:lnTo>
                    <a:pt x="1" y="3"/>
                  </a:lnTo>
                  <a:lnTo>
                    <a:pt x="0" y="6"/>
                  </a:lnTo>
                  <a:lnTo>
                    <a:pt x="0" y="8"/>
                  </a:lnTo>
                  <a:lnTo>
                    <a:pt x="0" y="8"/>
                  </a:lnTo>
                  <a:lnTo>
                    <a:pt x="0" y="11"/>
                  </a:lnTo>
                  <a:lnTo>
                    <a:pt x="1" y="14"/>
                  </a:lnTo>
                  <a:lnTo>
                    <a:pt x="4" y="16"/>
                  </a:lnTo>
                  <a:lnTo>
                    <a:pt x="8" y="16"/>
                  </a:lnTo>
                  <a:lnTo>
                    <a:pt x="345" y="16"/>
                  </a:lnTo>
                  <a:lnTo>
                    <a:pt x="345" y="16"/>
                  </a:lnTo>
                  <a:lnTo>
                    <a:pt x="348" y="16"/>
                  </a:lnTo>
                  <a:lnTo>
                    <a:pt x="351" y="14"/>
                  </a:lnTo>
                  <a:lnTo>
                    <a:pt x="352" y="11"/>
                  </a:lnTo>
                  <a:lnTo>
                    <a:pt x="353" y="8"/>
                  </a:lnTo>
                  <a:lnTo>
                    <a:pt x="353" y="8"/>
                  </a:lnTo>
                  <a:lnTo>
                    <a:pt x="352" y="6"/>
                  </a:lnTo>
                  <a:lnTo>
                    <a:pt x="351" y="3"/>
                  </a:lnTo>
                  <a:lnTo>
                    <a:pt x="348" y="0"/>
                  </a:lnTo>
                  <a:lnTo>
                    <a:pt x="345" y="0"/>
                  </a:lnTo>
                  <a:lnTo>
                    <a:pt x="34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ndParaRPr>
            </a:p>
          </p:txBody>
        </p:sp>
        <p:sp>
          <p:nvSpPr>
            <p:cNvPr id="8" name="Freeform 208">
              <a:extLst>
                <a:ext uri="{FF2B5EF4-FFF2-40B4-BE49-F238E27FC236}">
                  <a16:creationId xmlns:a16="http://schemas.microsoft.com/office/drawing/2014/main" id="{CD7319B7-F8B5-416C-9E1F-53A27400AEE0}"/>
                </a:ext>
              </a:extLst>
            </p:cNvPr>
            <p:cNvSpPr>
              <a:spLocks/>
            </p:cNvSpPr>
            <p:nvPr/>
          </p:nvSpPr>
          <p:spPr bwMode="auto">
            <a:xfrm>
              <a:off x="3338513" y="6067425"/>
              <a:ext cx="61913" cy="125413"/>
            </a:xfrm>
            <a:custGeom>
              <a:avLst/>
              <a:gdLst>
                <a:gd name="T0" fmla="*/ 6 w 80"/>
                <a:gd name="T1" fmla="*/ 158 h 158"/>
                <a:gd name="T2" fmla="*/ 73 w 80"/>
                <a:gd name="T3" fmla="*/ 158 h 158"/>
                <a:gd name="T4" fmla="*/ 73 w 80"/>
                <a:gd name="T5" fmla="*/ 158 h 158"/>
                <a:gd name="T6" fmla="*/ 76 w 80"/>
                <a:gd name="T7" fmla="*/ 156 h 158"/>
                <a:gd name="T8" fmla="*/ 77 w 80"/>
                <a:gd name="T9" fmla="*/ 155 h 158"/>
                <a:gd name="T10" fmla="*/ 78 w 80"/>
                <a:gd name="T11" fmla="*/ 154 h 158"/>
                <a:gd name="T12" fmla="*/ 80 w 80"/>
                <a:gd name="T13" fmla="*/ 152 h 158"/>
                <a:gd name="T14" fmla="*/ 80 w 80"/>
                <a:gd name="T15" fmla="*/ 6 h 158"/>
                <a:gd name="T16" fmla="*/ 80 w 80"/>
                <a:gd name="T17" fmla="*/ 6 h 158"/>
                <a:gd name="T18" fmla="*/ 78 w 80"/>
                <a:gd name="T19" fmla="*/ 3 h 158"/>
                <a:gd name="T20" fmla="*/ 77 w 80"/>
                <a:gd name="T21" fmla="*/ 2 h 158"/>
                <a:gd name="T22" fmla="*/ 76 w 80"/>
                <a:gd name="T23" fmla="*/ 0 h 158"/>
                <a:gd name="T24" fmla="*/ 73 w 80"/>
                <a:gd name="T25" fmla="*/ 0 h 158"/>
                <a:gd name="T26" fmla="*/ 6 w 80"/>
                <a:gd name="T27" fmla="*/ 0 h 158"/>
                <a:gd name="T28" fmla="*/ 6 w 80"/>
                <a:gd name="T29" fmla="*/ 0 h 158"/>
                <a:gd name="T30" fmla="*/ 4 w 80"/>
                <a:gd name="T31" fmla="*/ 0 h 158"/>
                <a:gd name="T32" fmla="*/ 2 w 80"/>
                <a:gd name="T33" fmla="*/ 2 h 158"/>
                <a:gd name="T34" fmla="*/ 0 w 80"/>
                <a:gd name="T35" fmla="*/ 3 h 158"/>
                <a:gd name="T36" fmla="*/ 0 w 80"/>
                <a:gd name="T37" fmla="*/ 6 h 158"/>
                <a:gd name="T38" fmla="*/ 0 w 80"/>
                <a:gd name="T39" fmla="*/ 152 h 158"/>
                <a:gd name="T40" fmla="*/ 0 w 80"/>
                <a:gd name="T41" fmla="*/ 152 h 158"/>
                <a:gd name="T42" fmla="*/ 0 w 80"/>
                <a:gd name="T43" fmla="*/ 154 h 158"/>
                <a:gd name="T44" fmla="*/ 2 w 80"/>
                <a:gd name="T45" fmla="*/ 155 h 158"/>
                <a:gd name="T46" fmla="*/ 4 w 80"/>
                <a:gd name="T47" fmla="*/ 156 h 158"/>
                <a:gd name="T48" fmla="*/ 6 w 80"/>
                <a:gd name="T49" fmla="*/ 158 h 158"/>
                <a:gd name="T50" fmla="*/ 6 w 80"/>
                <a:gd name="T51"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0" h="158">
                  <a:moveTo>
                    <a:pt x="6" y="158"/>
                  </a:moveTo>
                  <a:lnTo>
                    <a:pt x="73" y="158"/>
                  </a:lnTo>
                  <a:lnTo>
                    <a:pt x="73" y="158"/>
                  </a:lnTo>
                  <a:lnTo>
                    <a:pt x="76" y="156"/>
                  </a:lnTo>
                  <a:lnTo>
                    <a:pt x="77" y="155"/>
                  </a:lnTo>
                  <a:lnTo>
                    <a:pt x="78" y="154"/>
                  </a:lnTo>
                  <a:lnTo>
                    <a:pt x="80" y="152"/>
                  </a:lnTo>
                  <a:lnTo>
                    <a:pt x="80" y="6"/>
                  </a:lnTo>
                  <a:lnTo>
                    <a:pt x="80" y="6"/>
                  </a:lnTo>
                  <a:lnTo>
                    <a:pt x="78" y="3"/>
                  </a:lnTo>
                  <a:lnTo>
                    <a:pt x="77" y="2"/>
                  </a:lnTo>
                  <a:lnTo>
                    <a:pt x="76" y="0"/>
                  </a:lnTo>
                  <a:lnTo>
                    <a:pt x="73" y="0"/>
                  </a:lnTo>
                  <a:lnTo>
                    <a:pt x="6" y="0"/>
                  </a:lnTo>
                  <a:lnTo>
                    <a:pt x="6" y="0"/>
                  </a:lnTo>
                  <a:lnTo>
                    <a:pt x="4" y="0"/>
                  </a:lnTo>
                  <a:lnTo>
                    <a:pt x="2" y="2"/>
                  </a:lnTo>
                  <a:lnTo>
                    <a:pt x="0" y="3"/>
                  </a:lnTo>
                  <a:lnTo>
                    <a:pt x="0" y="6"/>
                  </a:lnTo>
                  <a:lnTo>
                    <a:pt x="0" y="152"/>
                  </a:lnTo>
                  <a:lnTo>
                    <a:pt x="0" y="152"/>
                  </a:lnTo>
                  <a:lnTo>
                    <a:pt x="0" y="154"/>
                  </a:lnTo>
                  <a:lnTo>
                    <a:pt x="2" y="155"/>
                  </a:lnTo>
                  <a:lnTo>
                    <a:pt x="4" y="156"/>
                  </a:lnTo>
                  <a:lnTo>
                    <a:pt x="6" y="158"/>
                  </a:lnTo>
                  <a:lnTo>
                    <a:pt x="6" y="1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ndParaRPr>
            </a:p>
          </p:txBody>
        </p:sp>
        <p:sp>
          <p:nvSpPr>
            <p:cNvPr id="9" name="Freeform 209">
              <a:extLst>
                <a:ext uri="{FF2B5EF4-FFF2-40B4-BE49-F238E27FC236}">
                  <a16:creationId xmlns:a16="http://schemas.microsoft.com/office/drawing/2014/main" id="{2CE82574-3A73-4149-974E-85A4B2505D7C}"/>
                </a:ext>
              </a:extLst>
            </p:cNvPr>
            <p:cNvSpPr>
              <a:spLocks/>
            </p:cNvSpPr>
            <p:nvPr/>
          </p:nvSpPr>
          <p:spPr bwMode="auto">
            <a:xfrm>
              <a:off x="3436938" y="5986463"/>
              <a:ext cx="61913" cy="206375"/>
            </a:xfrm>
            <a:custGeom>
              <a:avLst/>
              <a:gdLst>
                <a:gd name="T0" fmla="*/ 5 w 79"/>
                <a:gd name="T1" fmla="*/ 260 h 260"/>
                <a:gd name="T2" fmla="*/ 73 w 79"/>
                <a:gd name="T3" fmla="*/ 260 h 260"/>
                <a:gd name="T4" fmla="*/ 73 w 79"/>
                <a:gd name="T5" fmla="*/ 260 h 260"/>
                <a:gd name="T6" fmla="*/ 75 w 79"/>
                <a:gd name="T7" fmla="*/ 258 h 260"/>
                <a:gd name="T8" fmla="*/ 77 w 79"/>
                <a:gd name="T9" fmla="*/ 257 h 260"/>
                <a:gd name="T10" fmla="*/ 78 w 79"/>
                <a:gd name="T11" fmla="*/ 256 h 260"/>
                <a:gd name="T12" fmla="*/ 79 w 79"/>
                <a:gd name="T13" fmla="*/ 254 h 260"/>
                <a:gd name="T14" fmla="*/ 79 w 79"/>
                <a:gd name="T15" fmla="*/ 6 h 260"/>
                <a:gd name="T16" fmla="*/ 79 w 79"/>
                <a:gd name="T17" fmla="*/ 6 h 260"/>
                <a:gd name="T18" fmla="*/ 78 w 79"/>
                <a:gd name="T19" fmla="*/ 4 h 260"/>
                <a:gd name="T20" fmla="*/ 77 w 79"/>
                <a:gd name="T21" fmla="*/ 3 h 260"/>
                <a:gd name="T22" fmla="*/ 75 w 79"/>
                <a:gd name="T23" fmla="*/ 2 h 260"/>
                <a:gd name="T24" fmla="*/ 73 w 79"/>
                <a:gd name="T25" fmla="*/ 0 h 260"/>
                <a:gd name="T26" fmla="*/ 5 w 79"/>
                <a:gd name="T27" fmla="*/ 0 h 260"/>
                <a:gd name="T28" fmla="*/ 5 w 79"/>
                <a:gd name="T29" fmla="*/ 0 h 260"/>
                <a:gd name="T30" fmla="*/ 4 w 79"/>
                <a:gd name="T31" fmla="*/ 2 h 260"/>
                <a:gd name="T32" fmla="*/ 1 w 79"/>
                <a:gd name="T33" fmla="*/ 3 h 260"/>
                <a:gd name="T34" fmla="*/ 0 w 79"/>
                <a:gd name="T35" fmla="*/ 4 h 260"/>
                <a:gd name="T36" fmla="*/ 0 w 79"/>
                <a:gd name="T37" fmla="*/ 6 h 260"/>
                <a:gd name="T38" fmla="*/ 0 w 79"/>
                <a:gd name="T39" fmla="*/ 254 h 260"/>
                <a:gd name="T40" fmla="*/ 0 w 79"/>
                <a:gd name="T41" fmla="*/ 254 h 260"/>
                <a:gd name="T42" fmla="*/ 0 w 79"/>
                <a:gd name="T43" fmla="*/ 256 h 260"/>
                <a:gd name="T44" fmla="*/ 1 w 79"/>
                <a:gd name="T45" fmla="*/ 257 h 260"/>
                <a:gd name="T46" fmla="*/ 4 w 79"/>
                <a:gd name="T47" fmla="*/ 258 h 260"/>
                <a:gd name="T48" fmla="*/ 5 w 79"/>
                <a:gd name="T49" fmla="*/ 260 h 260"/>
                <a:gd name="T50" fmla="*/ 5 w 79"/>
                <a:gd name="T51" fmla="*/ 26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260">
                  <a:moveTo>
                    <a:pt x="5" y="260"/>
                  </a:moveTo>
                  <a:lnTo>
                    <a:pt x="73" y="260"/>
                  </a:lnTo>
                  <a:lnTo>
                    <a:pt x="73" y="260"/>
                  </a:lnTo>
                  <a:lnTo>
                    <a:pt x="75" y="258"/>
                  </a:lnTo>
                  <a:lnTo>
                    <a:pt x="77" y="257"/>
                  </a:lnTo>
                  <a:lnTo>
                    <a:pt x="78" y="256"/>
                  </a:lnTo>
                  <a:lnTo>
                    <a:pt x="79" y="254"/>
                  </a:lnTo>
                  <a:lnTo>
                    <a:pt x="79" y="6"/>
                  </a:lnTo>
                  <a:lnTo>
                    <a:pt x="79" y="6"/>
                  </a:lnTo>
                  <a:lnTo>
                    <a:pt x="78" y="4"/>
                  </a:lnTo>
                  <a:lnTo>
                    <a:pt x="77" y="3"/>
                  </a:lnTo>
                  <a:lnTo>
                    <a:pt x="75" y="2"/>
                  </a:lnTo>
                  <a:lnTo>
                    <a:pt x="73" y="0"/>
                  </a:lnTo>
                  <a:lnTo>
                    <a:pt x="5" y="0"/>
                  </a:lnTo>
                  <a:lnTo>
                    <a:pt x="5" y="0"/>
                  </a:lnTo>
                  <a:lnTo>
                    <a:pt x="4" y="2"/>
                  </a:lnTo>
                  <a:lnTo>
                    <a:pt x="1" y="3"/>
                  </a:lnTo>
                  <a:lnTo>
                    <a:pt x="0" y="4"/>
                  </a:lnTo>
                  <a:lnTo>
                    <a:pt x="0" y="6"/>
                  </a:lnTo>
                  <a:lnTo>
                    <a:pt x="0" y="254"/>
                  </a:lnTo>
                  <a:lnTo>
                    <a:pt x="0" y="254"/>
                  </a:lnTo>
                  <a:lnTo>
                    <a:pt x="0" y="256"/>
                  </a:lnTo>
                  <a:lnTo>
                    <a:pt x="1" y="257"/>
                  </a:lnTo>
                  <a:lnTo>
                    <a:pt x="4" y="258"/>
                  </a:lnTo>
                  <a:lnTo>
                    <a:pt x="5" y="260"/>
                  </a:lnTo>
                  <a:lnTo>
                    <a:pt x="5" y="26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ndParaRPr>
            </a:p>
          </p:txBody>
        </p:sp>
        <p:sp>
          <p:nvSpPr>
            <p:cNvPr id="10" name="Freeform 210">
              <a:extLst>
                <a:ext uri="{FF2B5EF4-FFF2-40B4-BE49-F238E27FC236}">
                  <a16:creationId xmlns:a16="http://schemas.microsoft.com/office/drawing/2014/main" id="{3DE93872-A664-470E-B092-FB3E80309B9D}"/>
                </a:ext>
              </a:extLst>
            </p:cNvPr>
            <p:cNvSpPr>
              <a:spLocks/>
            </p:cNvSpPr>
            <p:nvPr/>
          </p:nvSpPr>
          <p:spPr bwMode="auto">
            <a:xfrm>
              <a:off x="3533776" y="6111875"/>
              <a:ext cx="63500" cy="80963"/>
            </a:xfrm>
            <a:custGeom>
              <a:avLst/>
              <a:gdLst>
                <a:gd name="T0" fmla="*/ 5 w 79"/>
                <a:gd name="T1" fmla="*/ 103 h 103"/>
                <a:gd name="T2" fmla="*/ 72 w 79"/>
                <a:gd name="T3" fmla="*/ 103 h 103"/>
                <a:gd name="T4" fmla="*/ 72 w 79"/>
                <a:gd name="T5" fmla="*/ 103 h 103"/>
                <a:gd name="T6" fmla="*/ 75 w 79"/>
                <a:gd name="T7" fmla="*/ 101 h 103"/>
                <a:gd name="T8" fmla="*/ 76 w 79"/>
                <a:gd name="T9" fmla="*/ 100 h 103"/>
                <a:gd name="T10" fmla="*/ 78 w 79"/>
                <a:gd name="T11" fmla="*/ 99 h 103"/>
                <a:gd name="T12" fmla="*/ 79 w 79"/>
                <a:gd name="T13" fmla="*/ 97 h 103"/>
                <a:gd name="T14" fmla="*/ 79 w 79"/>
                <a:gd name="T15" fmla="*/ 7 h 103"/>
                <a:gd name="T16" fmla="*/ 79 w 79"/>
                <a:gd name="T17" fmla="*/ 7 h 103"/>
                <a:gd name="T18" fmla="*/ 78 w 79"/>
                <a:gd name="T19" fmla="*/ 4 h 103"/>
                <a:gd name="T20" fmla="*/ 76 w 79"/>
                <a:gd name="T21" fmla="*/ 3 h 103"/>
                <a:gd name="T22" fmla="*/ 75 w 79"/>
                <a:gd name="T23" fmla="*/ 2 h 103"/>
                <a:gd name="T24" fmla="*/ 72 w 79"/>
                <a:gd name="T25" fmla="*/ 0 h 103"/>
                <a:gd name="T26" fmla="*/ 5 w 79"/>
                <a:gd name="T27" fmla="*/ 0 h 103"/>
                <a:gd name="T28" fmla="*/ 5 w 79"/>
                <a:gd name="T29" fmla="*/ 0 h 103"/>
                <a:gd name="T30" fmla="*/ 4 w 79"/>
                <a:gd name="T31" fmla="*/ 2 h 103"/>
                <a:gd name="T32" fmla="*/ 1 w 79"/>
                <a:gd name="T33" fmla="*/ 3 h 103"/>
                <a:gd name="T34" fmla="*/ 0 w 79"/>
                <a:gd name="T35" fmla="*/ 4 h 103"/>
                <a:gd name="T36" fmla="*/ 0 w 79"/>
                <a:gd name="T37" fmla="*/ 7 h 103"/>
                <a:gd name="T38" fmla="*/ 0 w 79"/>
                <a:gd name="T39" fmla="*/ 97 h 103"/>
                <a:gd name="T40" fmla="*/ 0 w 79"/>
                <a:gd name="T41" fmla="*/ 97 h 103"/>
                <a:gd name="T42" fmla="*/ 0 w 79"/>
                <a:gd name="T43" fmla="*/ 99 h 103"/>
                <a:gd name="T44" fmla="*/ 1 w 79"/>
                <a:gd name="T45" fmla="*/ 100 h 103"/>
                <a:gd name="T46" fmla="*/ 4 w 79"/>
                <a:gd name="T47" fmla="*/ 101 h 103"/>
                <a:gd name="T48" fmla="*/ 5 w 79"/>
                <a:gd name="T49" fmla="*/ 103 h 103"/>
                <a:gd name="T50" fmla="*/ 5 w 79"/>
                <a:gd name="T51"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103">
                  <a:moveTo>
                    <a:pt x="5" y="103"/>
                  </a:moveTo>
                  <a:lnTo>
                    <a:pt x="72" y="103"/>
                  </a:lnTo>
                  <a:lnTo>
                    <a:pt x="72" y="103"/>
                  </a:lnTo>
                  <a:lnTo>
                    <a:pt x="75" y="101"/>
                  </a:lnTo>
                  <a:lnTo>
                    <a:pt x="76" y="100"/>
                  </a:lnTo>
                  <a:lnTo>
                    <a:pt x="78" y="99"/>
                  </a:lnTo>
                  <a:lnTo>
                    <a:pt x="79" y="97"/>
                  </a:lnTo>
                  <a:lnTo>
                    <a:pt x="79" y="7"/>
                  </a:lnTo>
                  <a:lnTo>
                    <a:pt x="79" y="7"/>
                  </a:lnTo>
                  <a:lnTo>
                    <a:pt x="78" y="4"/>
                  </a:lnTo>
                  <a:lnTo>
                    <a:pt x="76" y="3"/>
                  </a:lnTo>
                  <a:lnTo>
                    <a:pt x="75" y="2"/>
                  </a:lnTo>
                  <a:lnTo>
                    <a:pt x="72" y="0"/>
                  </a:lnTo>
                  <a:lnTo>
                    <a:pt x="5" y="0"/>
                  </a:lnTo>
                  <a:lnTo>
                    <a:pt x="5" y="0"/>
                  </a:lnTo>
                  <a:lnTo>
                    <a:pt x="4" y="2"/>
                  </a:lnTo>
                  <a:lnTo>
                    <a:pt x="1" y="3"/>
                  </a:lnTo>
                  <a:lnTo>
                    <a:pt x="0" y="4"/>
                  </a:lnTo>
                  <a:lnTo>
                    <a:pt x="0" y="7"/>
                  </a:lnTo>
                  <a:lnTo>
                    <a:pt x="0" y="97"/>
                  </a:lnTo>
                  <a:lnTo>
                    <a:pt x="0" y="97"/>
                  </a:lnTo>
                  <a:lnTo>
                    <a:pt x="0" y="99"/>
                  </a:lnTo>
                  <a:lnTo>
                    <a:pt x="1" y="100"/>
                  </a:lnTo>
                  <a:lnTo>
                    <a:pt x="4" y="101"/>
                  </a:lnTo>
                  <a:lnTo>
                    <a:pt x="5" y="103"/>
                  </a:lnTo>
                  <a:lnTo>
                    <a:pt x="5" y="10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ndParaRPr>
            </a:p>
          </p:txBody>
        </p:sp>
      </p:grpSp>
      <p:grpSp>
        <p:nvGrpSpPr>
          <p:cNvPr id="11" name="Group 10">
            <a:extLst>
              <a:ext uri="{FF2B5EF4-FFF2-40B4-BE49-F238E27FC236}">
                <a16:creationId xmlns:a16="http://schemas.microsoft.com/office/drawing/2014/main" id="{29621BED-F41F-40B8-B756-F7FC9A973638}"/>
              </a:ext>
            </a:extLst>
          </p:cNvPr>
          <p:cNvGrpSpPr>
            <a:grpSpLocks noChangeAspect="1"/>
          </p:cNvGrpSpPr>
          <p:nvPr/>
        </p:nvGrpSpPr>
        <p:grpSpPr>
          <a:xfrm>
            <a:off x="9415077" y="4904753"/>
            <a:ext cx="522288" cy="522288"/>
            <a:chOff x="561976" y="2514600"/>
            <a:chExt cx="522288" cy="522288"/>
          </a:xfrm>
        </p:grpSpPr>
        <p:sp>
          <p:nvSpPr>
            <p:cNvPr id="12" name="Freeform 10">
              <a:extLst>
                <a:ext uri="{FF2B5EF4-FFF2-40B4-BE49-F238E27FC236}">
                  <a16:creationId xmlns:a16="http://schemas.microsoft.com/office/drawing/2014/main" id="{52E62CA2-DEA1-4139-B6E8-B9131D6B1EC9}"/>
                </a:ext>
              </a:extLst>
            </p:cNvPr>
            <p:cNvSpPr>
              <a:spLocks noEditPoints="1"/>
            </p:cNvSpPr>
            <p:nvPr/>
          </p:nvSpPr>
          <p:spPr bwMode="auto">
            <a:xfrm>
              <a:off x="561976" y="2514600"/>
              <a:ext cx="522288" cy="522288"/>
            </a:xfrm>
            <a:custGeom>
              <a:avLst/>
              <a:gdLst>
                <a:gd name="T0" fmla="*/ 312 w 658"/>
                <a:gd name="T1" fmla="*/ 657 h 658"/>
                <a:gd name="T2" fmla="*/ 264 w 658"/>
                <a:gd name="T3" fmla="*/ 652 h 658"/>
                <a:gd name="T4" fmla="*/ 202 w 658"/>
                <a:gd name="T5" fmla="*/ 631 h 658"/>
                <a:gd name="T6" fmla="*/ 120 w 658"/>
                <a:gd name="T7" fmla="*/ 583 h 658"/>
                <a:gd name="T8" fmla="*/ 57 w 658"/>
                <a:gd name="T9" fmla="*/ 513 h 658"/>
                <a:gd name="T10" fmla="*/ 15 w 658"/>
                <a:gd name="T11" fmla="*/ 427 h 658"/>
                <a:gd name="T12" fmla="*/ 4 w 658"/>
                <a:gd name="T13" fmla="*/ 379 h 658"/>
                <a:gd name="T14" fmla="*/ 0 w 658"/>
                <a:gd name="T15" fmla="*/ 329 h 658"/>
                <a:gd name="T16" fmla="*/ 2 w 658"/>
                <a:gd name="T17" fmla="*/ 296 h 658"/>
                <a:gd name="T18" fmla="*/ 11 w 658"/>
                <a:gd name="T19" fmla="*/ 247 h 658"/>
                <a:gd name="T20" fmla="*/ 41 w 658"/>
                <a:gd name="T21" fmla="*/ 172 h 658"/>
                <a:gd name="T22" fmla="*/ 97 w 658"/>
                <a:gd name="T23" fmla="*/ 97 h 658"/>
                <a:gd name="T24" fmla="*/ 172 w 658"/>
                <a:gd name="T25" fmla="*/ 41 h 658"/>
                <a:gd name="T26" fmla="*/ 247 w 658"/>
                <a:gd name="T27" fmla="*/ 11 h 658"/>
                <a:gd name="T28" fmla="*/ 296 w 658"/>
                <a:gd name="T29" fmla="*/ 2 h 658"/>
                <a:gd name="T30" fmla="*/ 329 w 658"/>
                <a:gd name="T31" fmla="*/ 0 h 658"/>
                <a:gd name="T32" fmla="*/ 379 w 658"/>
                <a:gd name="T33" fmla="*/ 4 h 658"/>
                <a:gd name="T34" fmla="*/ 427 w 658"/>
                <a:gd name="T35" fmla="*/ 15 h 658"/>
                <a:gd name="T36" fmla="*/ 513 w 658"/>
                <a:gd name="T37" fmla="*/ 57 h 658"/>
                <a:gd name="T38" fmla="*/ 583 w 658"/>
                <a:gd name="T39" fmla="*/ 120 h 658"/>
                <a:gd name="T40" fmla="*/ 631 w 658"/>
                <a:gd name="T41" fmla="*/ 202 h 658"/>
                <a:gd name="T42" fmla="*/ 652 w 658"/>
                <a:gd name="T43" fmla="*/ 263 h 658"/>
                <a:gd name="T44" fmla="*/ 657 w 658"/>
                <a:gd name="T45" fmla="*/ 312 h 658"/>
                <a:gd name="T46" fmla="*/ 657 w 658"/>
                <a:gd name="T47" fmla="*/ 345 h 658"/>
                <a:gd name="T48" fmla="*/ 652 w 658"/>
                <a:gd name="T49" fmla="*/ 395 h 658"/>
                <a:gd name="T50" fmla="*/ 631 w 658"/>
                <a:gd name="T51" fmla="*/ 457 h 658"/>
                <a:gd name="T52" fmla="*/ 583 w 658"/>
                <a:gd name="T53" fmla="*/ 537 h 658"/>
                <a:gd name="T54" fmla="*/ 513 w 658"/>
                <a:gd name="T55" fmla="*/ 602 h 658"/>
                <a:gd name="T56" fmla="*/ 427 w 658"/>
                <a:gd name="T57" fmla="*/ 644 h 658"/>
                <a:gd name="T58" fmla="*/ 379 w 658"/>
                <a:gd name="T59" fmla="*/ 654 h 658"/>
                <a:gd name="T60" fmla="*/ 329 w 658"/>
                <a:gd name="T61" fmla="*/ 658 h 658"/>
                <a:gd name="T62" fmla="*/ 329 w 658"/>
                <a:gd name="T63" fmla="*/ 38 h 658"/>
                <a:gd name="T64" fmla="*/ 243 w 658"/>
                <a:gd name="T65" fmla="*/ 51 h 658"/>
                <a:gd name="T66" fmla="*/ 167 w 658"/>
                <a:gd name="T67" fmla="*/ 88 h 658"/>
                <a:gd name="T68" fmla="*/ 105 w 658"/>
                <a:gd name="T69" fmla="*/ 144 h 658"/>
                <a:gd name="T70" fmla="*/ 61 w 658"/>
                <a:gd name="T71" fmla="*/ 216 h 658"/>
                <a:gd name="T72" fmla="*/ 39 w 658"/>
                <a:gd name="T73" fmla="*/ 300 h 658"/>
                <a:gd name="T74" fmla="*/ 39 w 658"/>
                <a:gd name="T75" fmla="*/ 359 h 658"/>
                <a:gd name="T76" fmla="*/ 61 w 658"/>
                <a:gd name="T77" fmla="*/ 442 h 658"/>
                <a:gd name="T78" fmla="*/ 105 w 658"/>
                <a:gd name="T79" fmla="*/ 515 h 658"/>
                <a:gd name="T80" fmla="*/ 167 w 658"/>
                <a:gd name="T81" fmla="*/ 571 h 658"/>
                <a:gd name="T82" fmla="*/ 243 w 658"/>
                <a:gd name="T83" fmla="*/ 607 h 658"/>
                <a:gd name="T84" fmla="*/ 329 w 658"/>
                <a:gd name="T85" fmla="*/ 621 h 658"/>
                <a:gd name="T86" fmla="*/ 388 w 658"/>
                <a:gd name="T87" fmla="*/ 614 h 658"/>
                <a:gd name="T88" fmla="*/ 468 w 658"/>
                <a:gd name="T89" fmla="*/ 584 h 658"/>
                <a:gd name="T90" fmla="*/ 535 w 658"/>
                <a:gd name="T91" fmla="*/ 535 h 658"/>
                <a:gd name="T92" fmla="*/ 584 w 658"/>
                <a:gd name="T93" fmla="*/ 468 h 658"/>
                <a:gd name="T94" fmla="*/ 614 w 658"/>
                <a:gd name="T95" fmla="*/ 387 h 658"/>
                <a:gd name="T96" fmla="*/ 621 w 658"/>
                <a:gd name="T97" fmla="*/ 329 h 658"/>
                <a:gd name="T98" fmla="*/ 607 w 658"/>
                <a:gd name="T99" fmla="*/ 242 h 658"/>
                <a:gd name="T100" fmla="*/ 571 w 658"/>
                <a:gd name="T101" fmla="*/ 167 h 658"/>
                <a:gd name="T102" fmla="*/ 515 w 658"/>
                <a:gd name="T103" fmla="*/ 105 h 658"/>
                <a:gd name="T104" fmla="*/ 442 w 658"/>
                <a:gd name="T105" fmla="*/ 61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2" y="657"/>
                  </a:lnTo>
                  <a:lnTo>
                    <a:pt x="296" y="656"/>
                  </a:lnTo>
                  <a:lnTo>
                    <a:pt x="280" y="654"/>
                  </a:lnTo>
                  <a:lnTo>
                    <a:pt x="264" y="652"/>
                  </a:lnTo>
                  <a:lnTo>
                    <a:pt x="247" y="648"/>
                  </a:lnTo>
                  <a:lnTo>
                    <a:pt x="231" y="644"/>
                  </a:lnTo>
                  <a:lnTo>
                    <a:pt x="202" y="631"/>
                  </a:lnTo>
                  <a:lnTo>
                    <a:pt x="172" y="618"/>
                  </a:lnTo>
                  <a:lnTo>
                    <a:pt x="145" y="602"/>
                  </a:lnTo>
                  <a:lnTo>
                    <a:pt x="120" y="583"/>
                  </a:lnTo>
                  <a:lnTo>
                    <a:pt x="97" y="562"/>
                  </a:lnTo>
                  <a:lnTo>
                    <a:pt x="76" y="537"/>
                  </a:lnTo>
                  <a:lnTo>
                    <a:pt x="57" y="513"/>
                  </a:lnTo>
                  <a:lnTo>
                    <a:pt x="41" y="485"/>
                  </a:lnTo>
                  <a:lnTo>
                    <a:pt x="26" y="457"/>
                  </a:lnTo>
                  <a:lnTo>
                    <a:pt x="15" y="427"/>
                  </a:lnTo>
                  <a:lnTo>
                    <a:pt x="11" y="411"/>
                  </a:lnTo>
                  <a:lnTo>
                    <a:pt x="7" y="395"/>
                  </a:lnTo>
                  <a:lnTo>
                    <a:pt x="4" y="379"/>
                  </a:lnTo>
                  <a:lnTo>
                    <a:pt x="2" y="363"/>
                  </a:lnTo>
                  <a:lnTo>
                    <a:pt x="0" y="345"/>
                  </a:lnTo>
                  <a:lnTo>
                    <a:pt x="0" y="329"/>
                  </a:lnTo>
                  <a:lnTo>
                    <a:pt x="0" y="329"/>
                  </a:lnTo>
                  <a:lnTo>
                    <a:pt x="0" y="312"/>
                  </a:lnTo>
                  <a:lnTo>
                    <a:pt x="2" y="296"/>
                  </a:lnTo>
                  <a:lnTo>
                    <a:pt x="4" y="280"/>
                  </a:lnTo>
                  <a:lnTo>
                    <a:pt x="7" y="263"/>
                  </a:lnTo>
                  <a:lnTo>
                    <a:pt x="11" y="247"/>
                  </a:lnTo>
                  <a:lnTo>
                    <a:pt x="15" y="231"/>
                  </a:lnTo>
                  <a:lnTo>
                    <a:pt x="26" y="202"/>
                  </a:lnTo>
                  <a:lnTo>
                    <a:pt x="41" y="172"/>
                  </a:lnTo>
                  <a:lnTo>
                    <a:pt x="57" y="145"/>
                  </a:lnTo>
                  <a:lnTo>
                    <a:pt x="76" y="120"/>
                  </a:lnTo>
                  <a:lnTo>
                    <a:pt x="97" y="97"/>
                  </a:lnTo>
                  <a:lnTo>
                    <a:pt x="120" y="75"/>
                  </a:lnTo>
                  <a:lnTo>
                    <a:pt x="145" y="57"/>
                  </a:lnTo>
                  <a:lnTo>
                    <a:pt x="172" y="41"/>
                  </a:lnTo>
                  <a:lnTo>
                    <a:pt x="202" y="26"/>
                  </a:lnTo>
                  <a:lnTo>
                    <a:pt x="231" y="15"/>
                  </a:lnTo>
                  <a:lnTo>
                    <a:pt x="247" y="11"/>
                  </a:lnTo>
                  <a:lnTo>
                    <a:pt x="264" y="7"/>
                  </a:lnTo>
                  <a:lnTo>
                    <a:pt x="280" y="4"/>
                  </a:lnTo>
                  <a:lnTo>
                    <a:pt x="296" y="2"/>
                  </a:lnTo>
                  <a:lnTo>
                    <a:pt x="312" y="0"/>
                  </a:lnTo>
                  <a:lnTo>
                    <a:pt x="329" y="0"/>
                  </a:lnTo>
                  <a:lnTo>
                    <a:pt x="329" y="0"/>
                  </a:lnTo>
                  <a:lnTo>
                    <a:pt x="347" y="0"/>
                  </a:lnTo>
                  <a:lnTo>
                    <a:pt x="363" y="2"/>
                  </a:lnTo>
                  <a:lnTo>
                    <a:pt x="379" y="4"/>
                  </a:lnTo>
                  <a:lnTo>
                    <a:pt x="395" y="7"/>
                  </a:lnTo>
                  <a:lnTo>
                    <a:pt x="411" y="11"/>
                  </a:lnTo>
                  <a:lnTo>
                    <a:pt x="427" y="15"/>
                  </a:lnTo>
                  <a:lnTo>
                    <a:pt x="457" y="26"/>
                  </a:lnTo>
                  <a:lnTo>
                    <a:pt x="486" y="41"/>
                  </a:lnTo>
                  <a:lnTo>
                    <a:pt x="513" y="57"/>
                  </a:lnTo>
                  <a:lnTo>
                    <a:pt x="539" y="75"/>
                  </a:lnTo>
                  <a:lnTo>
                    <a:pt x="562" y="97"/>
                  </a:lnTo>
                  <a:lnTo>
                    <a:pt x="583" y="120"/>
                  </a:lnTo>
                  <a:lnTo>
                    <a:pt x="602" y="145"/>
                  </a:lnTo>
                  <a:lnTo>
                    <a:pt x="618" y="172"/>
                  </a:lnTo>
                  <a:lnTo>
                    <a:pt x="631" y="202"/>
                  </a:lnTo>
                  <a:lnTo>
                    <a:pt x="644" y="231"/>
                  </a:lnTo>
                  <a:lnTo>
                    <a:pt x="648" y="247"/>
                  </a:lnTo>
                  <a:lnTo>
                    <a:pt x="652" y="263"/>
                  </a:lnTo>
                  <a:lnTo>
                    <a:pt x="654" y="280"/>
                  </a:lnTo>
                  <a:lnTo>
                    <a:pt x="656" y="296"/>
                  </a:lnTo>
                  <a:lnTo>
                    <a:pt x="657" y="312"/>
                  </a:lnTo>
                  <a:lnTo>
                    <a:pt x="658" y="329"/>
                  </a:lnTo>
                  <a:lnTo>
                    <a:pt x="658" y="329"/>
                  </a:lnTo>
                  <a:lnTo>
                    <a:pt x="657" y="345"/>
                  </a:lnTo>
                  <a:lnTo>
                    <a:pt x="656" y="363"/>
                  </a:lnTo>
                  <a:lnTo>
                    <a:pt x="654" y="379"/>
                  </a:lnTo>
                  <a:lnTo>
                    <a:pt x="652" y="395"/>
                  </a:lnTo>
                  <a:lnTo>
                    <a:pt x="648" y="411"/>
                  </a:lnTo>
                  <a:lnTo>
                    <a:pt x="644" y="427"/>
                  </a:lnTo>
                  <a:lnTo>
                    <a:pt x="631" y="457"/>
                  </a:lnTo>
                  <a:lnTo>
                    <a:pt x="618" y="485"/>
                  </a:lnTo>
                  <a:lnTo>
                    <a:pt x="602" y="513"/>
                  </a:lnTo>
                  <a:lnTo>
                    <a:pt x="583" y="537"/>
                  </a:lnTo>
                  <a:lnTo>
                    <a:pt x="562" y="562"/>
                  </a:lnTo>
                  <a:lnTo>
                    <a:pt x="539" y="583"/>
                  </a:lnTo>
                  <a:lnTo>
                    <a:pt x="513" y="602"/>
                  </a:lnTo>
                  <a:lnTo>
                    <a:pt x="486" y="618"/>
                  </a:lnTo>
                  <a:lnTo>
                    <a:pt x="457" y="631"/>
                  </a:lnTo>
                  <a:lnTo>
                    <a:pt x="427" y="644"/>
                  </a:lnTo>
                  <a:lnTo>
                    <a:pt x="411" y="648"/>
                  </a:lnTo>
                  <a:lnTo>
                    <a:pt x="395" y="652"/>
                  </a:lnTo>
                  <a:lnTo>
                    <a:pt x="379" y="654"/>
                  </a:lnTo>
                  <a:lnTo>
                    <a:pt x="363" y="656"/>
                  </a:lnTo>
                  <a:lnTo>
                    <a:pt x="347" y="657"/>
                  </a:lnTo>
                  <a:lnTo>
                    <a:pt x="329" y="658"/>
                  </a:lnTo>
                  <a:lnTo>
                    <a:pt x="329" y="658"/>
                  </a:lnTo>
                  <a:close/>
                  <a:moveTo>
                    <a:pt x="329" y="38"/>
                  </a:moveTo>
                  <a:lnTo>
                    <a:pt x="329" y="38"/>
                  </a:lnTo>
                  <a:lnTo>
                    <a:pt x="300" y="39"/>
                  </a:lnTo>
                  <a:lnTo>
                    <a:pt x="270" y="45"/>
                  </a:lnTo>
                  <a:lnTo>
                    <a:pt x="243" y="51"/>
                  </a:lnTo>
                  <a:lnTo>
                    <a:pt x="217" y="61"/>
                  </a:lnTo>
                  <a:lnTo>
                    <a:pt x="191" y="73"/>
                  </a:lnTo>
                  <a:lnTo>
                    <a:pt x="167" y="88"/>
                  </a:lnTo>
                  <a:lnTo>
                    <a:pt x="144" y="105"/>
                  </a:lnTo>
                  <a:lnTo>
                    <a:pt x="124" y="124"/>
                  </a:lnTo>
                  <a:lnTo>
                    <a:pt x="105" y="144"/>
                  </a:lnTo>
                  <a:lnTo>
                    <a:pt x="88" y="167"/>
                  </a:lnTo>
                  <a:lnTo>
                    <a:pt x="73" y="191"/>
                  </a:lnTo>
                  <a:lnTo>
                    <a:pt x="61" y="216"/>
                  </a:lnTo>
                  <a:lnTo>
                    <a:pt x="51" y="242"/>
                  </a:lnTo>
                  <a:lnTo>
                    <a:pt x="45" y="270"/>
                  </a:lnTo>
                  <a:lnTo>
                    <a:pt x="39" y="300"/>
                  </a:lnTo>
                  <a:lnTo>
                    <a:pt x="38" y="329"/>
                  </a:lnTo>
                  <a:lnTo>
                    <a:pt x="38" y="329"/>
                  </a:lnTo>
                  <a:lnTo>
                    <a:pt x="39" y="359"/>
                  </a:lnTo>
                  <a:lnTo>
                    <a:pt x="45" y="387"/>
                  </a:lnTo>
                  <a:lnTo>
                    <a:pt x="51" y="415"/>
                  </a:lnTo>
                  <a:lnTo>
                    <a:pt x="61" y="442"/>
                  </a:lnTo>
                  <a:lnTo>
                    <a:pt x="73" y="468"/>
                  </a:lnTo>
                  <a:lnTo>
                    <a:pt x="88" y="492"/>
                  </a:lnTo>
                  <a:lnTo>
                    <a:pt x="105" y="515"/>
                  </a:lnTo>
                  <a:lnTo>
                    <a:pt x="124" y="535"/>
                  </a:lnTo>
                  <a:lnTo>
                    <a:pt x="144" y="554"/>
                  </a:lnTo>
                  <a:lnTo>
                    <a:pt x="167" y="571"/>
                  </a:lnTo>
                  <a:lnTo>
                    <a:pt x="191" y="584"/>
                  </a:lnTo>
                  <a:lnTo>
                    <a:pt x="217" y="598"/>
                  </a:lnTo>
                  <a:lnTo>
                    <a:pt x="243" y="607"/>
                  </a:lnTo>
                  <a:lnTo>
                    <a:pt x="270" y="614"/>
                  </a:lnTo>
                  <a:lnTo>
                    <a:pt x="300" y="619"/>
                  </a:lnTo>
                  <a:lnTo>
                    <a:pt x="329" y="621"/>
                  </a:lnTo>
                  <a:lnTo>
                    <a:pt x="329" y="621"/>
                  </a:lnTo>
                  <a:lnTo>
                    <a:pt x="359" y="619"/>
                  </a:lnTo>
                  <a:lnTo>
                    <a:pt x="388" y="614"/>
                  </a:lnTo>
                  <a:lnTo>
                    <a:pt x="415" y="607"/>
                  </a:lnTo>
                  <a:lnTo>
                    <a:pt x="442" y="598"/>
                  </a:lnTo>
                  <a:lnTo>
                    <a:pt x="468" y="584"/>
                  </a:lnTo>
                  <a:lnTo>
                    <a:pt x="492" y="571"/>
                  </a:lnTo>
                  <a:lnTo>
                    <a:pt x="515" y="554"/>
                  </a:lnTo>
                  <a:lnTo>
                    <a:pt x="535" y="535"/>
                  </a:lnTo>
                  <a:lnTo>
                    <a:pt x="554" y="515"/>
                  </a:lnTo>
                  <a:lnTo>
                    <a:pt x="571" y="492"/>
                  </a:lnTo>
                  <a:lnTo>
                    <a:pt x="584" y="468"/>
                  </a:lnTo>
                  <a:lnTo>
                    <a:pt x="598" y="442"/>
                  </a:lnTo>
                  <a:lnTo>
                    <a:pt x="607" y="415"/>
                  </a:lnTo>
                  <a:lnTo>
                    <a:pt x="614" y="387"/>
                  </a:lnTo>
                  <a:lnTo>
                    <a:pt x="619" y="359"/>
                  </a:lnTo>
                  <a:lnTo>
                    <a:pt x="621" y="329"/>
                  </a:lnTo>
                  <a:lnTo>
                    <a:pt x="621" y="329"/>
                  </a:lnTo>
                  <a:lnTo>
                    <a:pt x="619" y="300"/>
                  </a:lnTo>
                  <a:lnTo>
                    <a:pt x="614" y="270"/>
                  </a:lnTo>
                  <a:lnTo>
                    <a:pt x="607" y="242"/>
                  </a:lnTo>
                  <a:lnTo>
                    <a:pt x="598" y="216"/>
                  </a:lnTo>
                  <a:lnTo>
                    <a:pt x="584" y="191"/>
                  </a:lnTo>
                  <a:lnTo>
                    <a:pt x="571" y="167"/>
                  </a:lnTo>
                  <a:lnTo>
                    <a:pt x="554" y="144"/>
                  </a:lnTo>
                  <a:lnTo>
                    <a:pt x="535" y="124"/>
                  </a:lnTo>
                  <a:lnTo>
                    <a:pt x="515" y="105"/>
                  </a:lnTo>
                  <a:lnTo>
                    <a:pt x="492" y="88"/>
                  </a:lnTo>
                  <a:lnTo>
                    <a:pt x="468" y="73"/>
                  </a:lnTo>
                  <a:lnTo>
                    <a:pt x="442" y="61"/>
                  </a:lnTo>
                  <a:lnTo>
                    <a:pt x="415" y="51"/>
                  </a:lnTo>
                  <a:lnTo>
                    <a:pt x="388" y="45"/>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ndParaRPr>
            </a:p>
          </p:txBody>
        </p:sp>
        <p:sp>
          <p:nvSpPr>
            <p:cNvPr id="13" name="Freeform 270">
              <a:extLst>
                <a:ext uri="{FF2B5EF4-FFF2-40B4-BE49-F238E27FC236}">
                  <a16:creationId xmlns:a16="http://schemas.microsoft.com/office/drawing/2014/main" id="{643D8D7C-1957-453C-899B-8654662B83A2}"/>
                </a:ext>
              </a:extLst>
            </p:cNvPr>
            <p:cNvSpPr>
              <a:spLocks noEditPoints="1"/>
            </p:cNvSpPr>
            <p:nvPr/>
          </p:nvSpPr>
          <p:spPr bwMode="auto">
            <a:xfrm>
              <a:off x="714376" y="2649538"/>
              <a:ext cx="206375" cy="293688"/>
            </a:xfrm>
            <a:custGeom>
              <a:avLst/>
              <a:gdLst>
                <a:gd name="T0" fmla="*/ 6 w 259"/>
                <a:gd name="T1" fmla="*/ 0 h 369"/>
                <a:gd name="T2" fmla="*/ 2 w 259"/>
                <a:gd name="T3" fmla="*/ 1 h 369"/>
                <a:gd name="T4" fmla="*/ 0 w 259"/>
                <a:gd name="T5" fmla="*/ 7 h 369"/>
                <a:gd name="T6" fmla="*/ 0 w 259"/>
                <a:gd name="T7" fmla="*/ 227 h 369"/>
                <a:gd name="T8" fmla="*/ 0 w 259"/>
                <a:gd name="T9" fmla="*/ 228 h 369"/>
                <a:gd name="T10" fmla="*/ 1 w 259"/>
                <a:gd name="T11" fmla="*/ 229 h 369"/>
                <a:gd name="T12" fmla="*/ 1 w 259"/>
                <a:gd name="T13" fmla="*/ 231 h 369"/>
                <a:gd name="T14" fmla="*/ 1 w 259"/>
                <a:gd name="T15" fmla="*/ 231 h 369"/>
                <a:gd name="T16" fmla="*/ 1 w 259"/>
                <a:gd name="T17" fmla="*/ 231 h 369"/>
                <a:gd name="T18" fmla="*/ 125 w 259"/>
                <a:gd name="T19" fmla="*/ 366 h 369"/>
                <a:gd name="T20" fmla="*/ 127 w 259"/>
                <a:gd name="T21" fmla="*/ 368 h 369"/>
                <a:gd name="T22" fmla="*/ 129 w 259"/>
                <a:gd name="T23" fmla="*/ 369 h 369"/>
                <a:gd name="T24" fmla="*/ 134 w 259"/>
                <a:gd name="T25" fmla="*/ 366 h 369"/>
                <a:gd name="T26" fmla="*/ 256 w 259"/>
                <a:gd name="T27" fmla="*/ 232 h 369"/>
                <a:gd name="T28" fmla="*/ 256 w 259"/>
                <a:gd name="T29" fmla="*/ 231 h 369"/>
                <a:gd name="T30" fmla="*/ 258 w 259"/>
                <a:gd name="T31" fmla="*/ 231 h 369"/>
                <a:gd name="T32" fmla="*/ 258 w 259"/>
                <a:gd name="T33" fmla="*/ 231 h 369"/>
                <a:gd name="T34" fmla="*/ 258 w 259"/>
                <a:gd name="T35" fmla="*/ 229 h 369"/>
                <a:gd name="T36" fmla="*/ 258 w 259"/>
                <a:gd name="T37" fmla="*/ 228 h 369"/>
                <a:gd name="T38" fmla="*/ 259 w 259"/>
                <a:gd name="T39" fmla="*/ 7 h 369"/>
                <a:gd name="T40" fmla="*/ 258 w 259"/>
                <a:gd name="T41" fmla="*/ 4 h 369"/>
                <a:gd name="T42" fmla="*/ 255 w 259"/>
                <a:gd name="T43" fmla="*/ 0 h 369"/>
                <a:gd name="T44" fmla="*/ 197 w 259"/>
                <a:gd name="T45" fmla="*/ 0 h 369"/>
                <a:gd name="T46" fmla="*/ 197 w 259"/>
                <a:gd name="T47" fmla="*/ 154 h 369"/>
                <a:gd name="T48" fmla="*/ 194 w 259"/>
                <a:gd name="T49" fmla="*/ 158 h 369"/>
                <a:gd name="T50" fmla="*/ 190 w 259"/>
                <a:gd name="T51" fmla="*/ 160 h 369"/>
                <a:gd name="T52" fmla="*/ 188 w 259"/>
                <a:gd name="T53" fmla="*/ 160 h 369"/>
                <a:gd name="T54" fmla="*/ 185 w 259"/>
                <a:gd name="T55" fmla="*/ 156 h 369"/>
                <a:gd name="T56" fmla="*/ 185 w 259"/>
                <a:gd name="T57" fmla="*/ 0 h 369"/>
                <a:gd name="T58" fmla="*/ 74 w 259"/>
                <a:gd name="T59" fmla="*/ 154 h 369"/>
                <a:gd name="T60" fmla="*/ 74 w 259"/>
                <a:gd name="T61" fmla="*/ 156 h 369"/>
                <a:gd name="T62" fmla="*/ 70 w 259"/>
                <a:gd name="T63" fmla="*/ 160 h 369"/>
                <a:gd name="T64" fmla="*/ 68 w 259"/>
                <a:gd name="T65" fmla="*/ 160 h 369"/>
                <a:gd name="T66" fmla="*/ 63 w 259"/>
                <a:gd name="T67" fmla="*/ 158 h 369"/>
                <a:gd name="T68" fmla="*/ 62 w 259"/>
                <a:gd name="T69" fmla="*/ 154 h 369"/>
                <a:gd name="T70" fmla="*/ 6 w 259"/>
                <a:gd name="T71" fmla="*/ 0 h 369"/>
                <a:gd name="T72" fmla="*/ 126 w 259"/>
                <a:gd name="T73" fmla="*/ 232 h 369"/>
                <a:gd name="T74" fmla="*/ 129 w 259"/>
                <a:gd name="T75" fmla="*/ 233 h 369"/>
                <a:gd name="T76" fmla="*/ 190 w 259"/>
                <a:gd name="T77" fmla="*/ 186 h 369"/>
                <a:gd name="T78" fmla="*/ 172 w 259"/>
                <a:gd name="T79" fmla="*/ 307 h 369"/>
                <a:gd name="T80" fmla="*/ 16 w 259"/>
                <a:gd name="T81" fmla="*/ 228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9" h="369">
                  <a:moveTo>
                    <a:pt x="6" y="0"/>
                  </a:moveTo>
                  <a:lnTo>
                    <a:pt x="6" y="0"/>
                  </a:lnTo>
                  <a:lnTo>
                    <a:pt x="4" y="0"/>
                  </a:lnTo>
                  <a:lnTo>
                    <a:pt x="2" y="1"/>
                  </a:lnTo>
                  <a:lnTo>
                    <a:pt x="1" y="4"/>
                  </a:lnTo>
                  <a:lnTo>
                    <a:pt x="0" y="7"/>
                  </a:lnTo>
                  <a:lnTo>
                    <a:pt x="0" y="227"/>
                  </a:lnTo>
                  <a:lnTo>
                    <a:pt x="0" y="227"/>
                  </a:lnTo>
                  <a:lnTo>
                    <a:pt x="0" y="228"/>
                  </a:lnTo>
                  <a:lnTo>
                    <a:pt x="0" y="228"/>
                  </a:lnTo>
                  <a:lnTo>
                    <a:pt x="1" y="229"/>
                  </a:lnTo>
                  <a:lnTo>
                    <a:pt x="1" y="229"/>
                  </a:lnTo>
                  <a:lnTo>
                    <a:pt x="1" y="231"/>
                  </a:lnTo>
                  <a:lnTo>
                    <a:pt x="1" y="231"/>
                  </a:lnTo>
                  <a:lnTo>
                    <a:pt x="1" y="231"/>
                  </a:lnTo>
                  <a:lnTo>
                    <a:pt x="1" y="231"/>
                  </a:lnTo>
                  <a:lnTo>
                    <a:pt x="1" y="231"/>
                  </a:lnTo>
                  <a:lnTo>
                    <a:pt x="1" y="231"/>
                  </a:lnTo>
                  <a:lnTo>
                    <a:pt x="1" y="232"/>
                  </a:lnTo>
                  <a:lnTo>
                    <a:pt x="125" y="366"/>
                  </a:lnTo>
                  <a:lnTo>
                    <a:pt x="125" y="366"/>
                  </a:lnTo>
                  <a:lnTo>
                    <a:pt x="127" y="368"/>
                  </a:lnTo>
                  <a:lnTo>
                    <a:pt x="129" y="369"/>
                  </a:lnTo>
                  <a:lnTo>
                    <a:pt x="129" y="369"/>
                  </a:lnTo>
                  <a:lnTo>
                    <a:pt x="131" y="368"/>
                  </a:lnTo>
                  <a:lnTo>
                    <a:pt x="134" y="366"/>
                  </a:lnTo>
                  <a:lnTo>
                    <a:pt x="256" y="232"/>
                  </a:lnTo>
                  <a:lnTo>
                    <a:pt x="256" y="232"/>
                  </a:lnTo>
                  <a:lnTo>
                    <a:pt x="256" y="231"/>
                  </a:lnTo>
                  <a:lnTo>
                    <a:pt x="256" y="231"/>
                  </a:lnTo>
                  <a:lnTo>
                    <a:pt x="258" y="231"/>
                  </a:lnTo>
                  <a:lnTo>
                    <a:pt x="258" y="231"/>
                  </a:lnTo>
                  <a:lnTo>
                    <a:pt x="258" y="231"/>
                  </a:lnTo>
                  <a:lnTo>
                    <a:pt x="258" y="231"/>
                  </a:lnTo>
                  <a:lnTo>
                    <a:pt x="258" y="229"/>
                  </a:lnTo>
                  <a:lnTo>
                    <a:pt x="258" y="229"/>
                  </a:lnTo>
                  <a:lnTo>
                    <a:pt x="258" y="228"/>
                  </a:lnTo>
                  <a:lnTo>
                    <a:pt x="258" y="228"/>
                  </a:lnTo>
                  <a:lnTo>
                    <a:pt x="259" y="227"/>
                  </a:lnTo>
                  <a:lnTo>
                    <a:pt x="259" y="7"/>
                  </a:lnTo>
                  <a:lnTo>
                    <a:pt x="259" y="7"/>
                  </a:lnTo>
                  <a:lnTo>
                    <a:pt x="258" y="4"/>
                  </a:lnTo>
                  <a:lnTo>
                    <a:pt x="256" y="1"/>
                  </a:lnTo>
                  <a:lnTo>
                    <a:pt x="255" y="0"/>
                  </a:lnTo>
                  <a:lnTo>
                    <a:pt x="252" y="0"/>
                  </a:lnTo>
                  <a:lnTo>
                    <a:pt x="197" y="0"/>
                  </a:lnTo>
                  <a:lnTo>
                    <a:pt x="197" y="154"/>
                  </a:lnTo>
                  <a:lnTo>
                    <a:pt x="197" y="154"/>
                  </a:lnTo>
                  <a:lnTo>
                    <a:pt x="196" y="156"/>
                  </a:lnTo>
                  <a:lnTo>
                    <a:pt x="194" y="158"/>
                  </a:lnTo>
                  <a:lnTo>
                    <a:pt x="193" y="160"/>
                  </a:lnTo>
                  <a:lnTo>
                    <a:pt x="190" y="160"/>
                  </a:lnTo>
                  <a:lnTo>
                    <a:pt x="190" y="160"/>
                  </a:lnTo>
                  <a:lnTo>
                    <a:pt x="188" y="160"/>
                  </a:lnTo>
                  <a:lnTo>
                    <a:pt x="186" y="158"/>
                  </a:lnTo>
                  <a:lnTo>
                    <a:pt x="185" y="156"/>
                  </a:lnTo>
                  <a:lnTo>
                    <a:pt x="185" y="154"/>
                  </a:lnTo>
                  <a:lnTo>
                    <a:pt x="185" y="0"/>
                  </a:lnTo>
                  <a:lnTo>
                    <a:pt x="74" y="0"/>
                  </a:lnTo>
                  <a:lnTo>
                    <a:pt x="74" y="154"/>
                  </a:lnTo>
                  <a:lnTo>
                    <a:pt x="74" y="154"/>
                  </a:lnTo>
                  <a:lnTo>
                    <a:pt x="74" y="156"/>
                  </a:lnTo>
                  <a:lnTo>
                    <a:pt x="72" y="158"/>
                  </a:lnTo>
                  <a:lnTo>
                    <a:pt x="70" y="160"/>
                  </a:lnTo>
                  <a:lnTo>
                    <a:pt x="68" y="160"/>
                  </a:lnTo>
                  <a:lnTo>
                    <a:pt x="68" y="160"/>
                  </a:lnTo>
                  <a:lnTo>
                    <a:pt x="66" y="160"/>
                  </a:lnTo>
                  <a:lnTo>
                    <a:pt x="63" y="158"/>
                  </a:lnTo>
                  <a:lnTo>
                    <a:pt x="62" y="156"/>
                  </a:lnTo>
                  <a:lnTo>
                    <a:pt x="62" y="154"/>
                  </a:lnTo>
                  <a:lnTo>
                    <a:pt x="62" y="0"/>
                  </a:lnTo>
                  <a:lnTo>
                    <a:pt x="6" y="0"/>
                  </a:lnTo>
                  <a:close/>
                  <a:moveTo>
                    <a:pt x="68" y="186"/>
                  </a:moveTo>
                  <a:lnTo>
                    <a:pt x="126" y="232"/>
                  </a:lnTo>
                  <a:lnTo>
                    <a:pt x="126" y="232"/>
                  </a:lnTo>
                  <a:lnTo>
                    <a:pt x="129" y="233"/>
                  </a:lnTo>
                  <a:lnTo>
                    <a:pt x="133" y="232"/>
                  </a:lnTo>
                  <a:lnTo>
                    <a:pt x="190" y="186"/>
                  </a:lnTo>
                  <a:lnTo>
                    <a:pt x="243" y="228"/>
                  </a:lnTo>
                  <a:lnTo>
                    <a:pt x="172" y="307"/>
                  </a:lnTo>
                  <a:lnTo>
                    <a:pt x="87" y="307"/>
                  </a:lnTo>
                  <a:lnTo>
                    <a:pt x="16" y="228"/>
                  </a:lnTo>
                  <a:lnTo>
                    <a:pt x="68" y="1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ndParaRPr>
            </a:p>
          </p:txBody>
        </p:sp>
      </p:grpSp>
      <p:sp>
        <p:nvSpPr>
          <p:cNvPr id="14" name="Isosceles Triangle 13">
            <a:extLst>
              <a:ext uri="{FF2B5EF4-FFF2-40B4-BE49-F238E27FC236}">
                <a16:creationId xmlns:a16="http://schemas.microsoft.com/office/drawing/2014/main" id="{AFAB5288-C0F0-48C2-9C71-732C6BC790F6}"/>
              </a:ext>
            </a:extLst>
          </p:cNvPr>
          <p:cNvSpPr/>
          <p:nvPr/>
        </p:nvSpPr>
        <p:spPr bwMode="auto">
          <a:xfrm>
            <a:off x="601874" y="2293619"/>
            <a:ext cx="11184954" cy="563875"/>
          </a:xfrm>
          <a:prstGeom prst="triangle">
            <a:avLst>
              <a:gd name="adj" fmla="val 52687"/>
            </a:avLst>
          </a:prstGeom>
          <a:solidFill>
            <a:schemeClr val="bg1">
              <a:lumMod val="85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prstClr val="white"/>
              </a:solidFill>
              <a:effectLst/>
              <a:uLnTx/>
              <a:uFillTx/>
              <a:ea typeface="ヒラギノ角ゴ ProN W3" pitchFamily="-110" charset="-128"/>
              <a:cs typeface="ヒラギノ角ゴ ProN W3" pitchFamily="-110" charset="-128"/>
              <a:sym typeface="Arial" pitchFamily="-110" charset="0"/>
            </a:endParaRPr>
          </a:p>
        </p:txBody>
      </p:sp>
      <p:sp>
        <p:nvSpPr>
          <p:cNvPr id="15" name="Title 2">
            <a:extLst>
              <a:ext uri="{FF2B5EF4-FFF2-40B4-BE49-F238E27FC236}">
                <a16:creationId xmlns:a16="http://schemas.microsoft.com/office/drawing/2014/main" id="{67CED1A4-C4AD-4E24-A043-DF6AECA94621}"/>
              </a:ext>
            </a:extLst>
          </p:cNvPr>
          <p:cNvSpPr txBox="1">
            <a:spLocks/>
          </p:cNvSpPr>
          <p:nvPr/>
        </p:nvSpPr>
        <p:spPr>
          <a:xfrm>
            <a:off x="469899" y="402587"/>
            <a:ext cx="10713915" cy="41681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sp>
        <p:nvSpPr>
          <p:cNvPr id="17" name="Rectangle 16">
            <a:extLst>
              <a:ext uri="{FF2B5EF4-FFF2-40B4-BE49-F238E27FC236}">
                <a16:creationId xmlns:a16="http://schemas.microsoft.com/office/drawing/2014/main" id="{B99CC219-3235-4FA2-9407-4E659B99D352}"/>
              </a:ext>
            </a:extLst>
          </p:cNvPr>
          <p:cNvSpPr/>
          <p:nvPr/>
        </p:nvSpPr>
        <p:spPr bwMode="auto">
          <a:xfrm>
            <a:off x="601874" y="2857495"/>
            <a:ext cx="11184954" cy="3506872"/>
          </a:xfrm>
          <a:prstGeom prst="rect">
            <a:avLst/>
          </a:prstGeom>
          <a:noFill/>
          <a:ln w="12700"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prstClr val="white"/>
              </a:solidFill>
              <a:effectLst/>
              <a:uLnTx/>
              <a:uFillTx/>
              <a:ea typeface="ヒラギノ角ゴ ProN W3" pitchFamily="-110" charset="-128"/>
              <a:cs typeface="ヒラギノ角ゴ ProN W3" pitchFamily="-110" charset="-128"/>
              <a:sym typeface="Arial" pitchFamily="-110" charset="0"/>
            </a:endParaRPr>
          </a:p>
        </p:txBody>
      </p:sp>
      <p:sp>
        <p:nvSpPr>
          <p:cNvPr id="18" name="TextBox 17">
            <a:extLst>
              <a:ext uri="{FF2B5EF4-FFF2-40B4-BE49-F238E27FC236}">
                <a16:creationId xmlns:a16="http://schemas.microsoft.com/office/drawing/2014/main" id="{2A01864F-8D91-49A5-8BA1-9DF6B6D69C01}"/>
              </a:ext>
            </a:extLst>
          </p:cNvPr>
          <p:cNvSpPr txBox="1"/>
          <p:nvPr/>
        </p:nvSpPr>
        <p:spPr>
          <a:xfrm>
            <a:off x="599745" y="2879084"/>
            <a:ext cx="11197691" cy="338554"/>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100" normalizeH="0" baseline="0" noProof="0" dirty="0">
                <a:ln>
                  <a:noFill/>
                </a:ln>
                <a:solidFill>
                  <a:prstClr val="black"/>
                </a:solidFill>
                <a:effectLst/>
                <a:uLnTx/>
                <a:uFillTx/>
                <a:ea typeface="ヒラギノ角ゴ ProN W3"/>
              </a:rPr>
              <a:t>RECOMMENDATION: </a:t>
            </a:r>
            <a:r>
              <a:rPr kumimoji="0" lang="en-US" sz="1600" b="1" i="0" u="none" strike="noStrike" kern="1200" cap="none" spc="100" normalizeH="0" baseline="0" noProof="0" dirty="0">
                <a:ln>
                  <a:noFill/>
                </a:ln>
                <a:solidFill>
                  <a:prstClr val="black"/>
                </a:solidFill>
                <a:effectLst/>
                <a:uLnTx/>
                <a:uFillTx/>
              </a:rPr>
              <a:t>INTEGRATED REPORTING PLATFORM</a:t>
            </a:r>
          </a:p>
        </p:txBody>
      </p:sp>
      <p:cxnSp>
        <p:nvCxnSpPr>
          <p:cNvPr id="19" name="Straight Connector 18">
            <a:extLst>
              <a:ext uri="{FF2B5EF4-FFF2-40B4-BE49-F238E27FC236}">
                <a16:creationId xmlns:a16="http://schemas.microsoft.com/office/drawing/2014/main" id="{F80E557F-B61C-4803-AA86-847CE17703BB}"/>
              </a:ext>
            </a:extLst>
          </p:cNvPr>
          <p:cNvCxnSpPr>
            <a:cxnSpLocks/>
          </p:cNvCxnSpPr>
          <p:nvPr/>
        </p:nvCxnSpPr>
        <p:spPr bwMode="auto">
          <a:xfrm>
            <a:off x="658515" y="3170809"/>
            <a:ext cx="7473782" cy="0"/>
          </a:xfrm>
          <a:prstGeom prst="line">
            <a:avLst/>
          </a:prstGeom>
          <a:solidFill>
            <a:srgbClr val="C0C0C0"/>
          </a:solidFill>
          <a:ln w="38100" cap="flat" cmpd="sng" algn="ctr">
            <a:solidFill>
              <a:schemeClr val="accent3"/>
            </a:solidFill>
            <a:prstDash val="solid"/>
            <a:round/>
            <a:headEnd type="none" w="med" len="med"/>
            <a:tailEnd type="none" w="med" len="med"/>
          </a:ln>
          <a:effectLst/>
        </p:spPr>
      </p:cxnSp>
      <p:sp>
        <p:nvSpPr>
          <p:cNvPr id="20" name="TextBox 19">
            <a:extLst>
              <a:ext uri="{FF2B5EF4-FFF2-40B4-BE49-F238E27FC236}">
                <a16:creationId xmlns:a16="http://schemas.microsoft.com/office/drawing/2014/main" id="{CE043935-B9D4-4736-9FA2-C1A55B3967C5}"/>
              </a:ext>
            </a:extLst>
          </p:cNvPr>
          <p:cNvSpPr txBox="1"/>
          <p:nvPr/>
        </p:nvSpPr>
        <p:spPr>
          <a:xfrm>
            <a:off x="599746" y="3198731"/>
            <a:ext cx="11169465" cy="1301834"/>
          </a:xfrm>
          <a:prstGeom prst="rect">
            <a:avLst/>
          </a:prstGeom>
          <a:noFill/>
        </p:spPr>
        <p:txBody>
          <a:bodyPr wrap="square" rtlCol="0" anchor="ctr">
            <a:noAutofit/>
          </a:bodyPr>
          <a:lstStyle/>
          <a:p>
            <a:pPr marL="171450" marR="0" lvl="0" indent="-171450" algn="l" defTabSz="914400" rtl="0" eaLnBrk="1" fontAlgn="auto" latinLnBrk="0" hangingPunct="1">
              <a:lnSpc>
                <a:spcPct val="100000"/>
              </a:lnSpc>
              <a:spcBef>
                <a:spcPts val="0"/>
              </a:spcBef>
              <a:spcAft>
                <a:spcPts val="800"/>
              </a:spcAft>
              <a:buClrTx/>
              <a:buSzTx/>
              <a:buFont typeface="Wingdings" panose="05000000000000000000" pitchFamily="2" charset="2"/>
              <a:buChar char="ü"/>
              <a:tabLst/>
              <a:defRPr/>
            </a:pPr>
            <a:r>
              <a:rPr kumimoji="0" lang="en-US" sz="11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Deploy a comprehensive reporting solution that is tightly integrated with Salesforce and includes consolidated data from Sales, Service and Marketing channels </a:t>
            </a:r>
          </a:p>
          <a:p>
            <a:pPr marL="171450" marR="0" lvl="0" indent="-171450" algn="l" defTabSz="914400" rtl="0" eaLnBrk="1" fontAlgn="auto" latinLnBrk="0" hangingPunct="1">
              <a:lnSpc>
                <a:spcPct val="100000"/>
              </a:lnSpc>
              <a:spcBef>
                <a:spcPts val="0"/>
              </a:spcBef>
              <a:spcAft>
                <a:spcPts val="800"/>
              </a:spcAft>
              <a:buClrTx/>
              <a:buSzTx/>
              <a:buFont typeface="Wingdings" panose="05000000000000000000" pitchFamily="2" charset="2"/>
              <a:buChar char="ü"/>
              <a:tabLst/>
              <a:defRPr/>
            </a:pPr>
            <a:r>
              <a:rPr kumimoji="0" lang="en-US" sz="11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Enhance the analytics backbone that has been built in data lake to include information from digital channels, customer segmentation, marketing cloud, case information and sales rep call log information</a:t>
            </a:r>
          </a:p>
          <a:p>
            <a:pPr marL="171450" marR="0" lvl="0" indent="-171450" algn="l" defTabSz="914400" rtl="0" eaLnBrk="1" fontAlgn="auto" latinLnBrk="0" hangingPunct="1">
              <a:lnSpc>
                <a:spcPct val="100000"/>
              </a:lnSpc>
              <a:spcBef>
                <a:spcPts val="0"/>
              </a:spcBef>
              <a:spcAft>
                <a:spcPts val="800"/>
              </a:spcAft>
              <a:buClrTx/>
              <a:buSzTx/>
              <a:buFont typeface="Wingdings" panose="05000000000000000000" pitchFamily="2" charset="2"/>
              <a:buChar char="ü"/>
              <a:tabLst/>
              <a:defRPr/>
            </a:pPr>
            <a:r>
              <a:rPr kumimoji="0" lang="en-US" sz="11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Enable interactive user reporting and advanced analytics to facilitate data exploration by Sales Reps</a:t>
            </a:r>
          </a:p>
        </p:txBody>
      </p:sp>
      <p:cxnSp>
        <p:nvCxnSpPr>
          <p:cNvPr id="21" name="Straight Connector 20">
            <a:extLst>
              <a:ext uri="{FF2B5EF4-FFF2-40B4-BE49-F238E27FC236}">
                <a16:creationId xmlns:a16="http://schemas.microsoft.com/office/drawing/2014/main" id="{5FA2E564-74DE-4765-AE05-E384267416BE}"/>
              </a:ext>
            </a:extLst>
          </p:cNvPr>
          <p:cNvCxnSpPr>
            <a:cxnSpLocks/>
          </p:cNvCxnSpPr>
          <p:nvPr/>
        </p:nvCxnSpPr>
        <p:spPr bwMode="auto">
          <a:xfrm flipV="1">
            <a:off x="727550" y="4514698"/>
            <a:ext cx="10956579" cy="13897"/>
          </a:xfrm>
          <a:prstGeom prst="line">
            <a:avLst/>
          </a:prstGeom>
          <a:solidFill>
            <a:srgbClr val="C0C0C0"/>
          </a:solidFill>
          <a:ln w="12700" cap="flat" cmpd="sng" algn="ctr">
            <a:solidFill>
              <a:schemeClr val="bg1">
                <a:lumMod val="75000"/>
              </a:schemeClr>
            </a:solidFill>
            <a:prstDash val="solid"/>
            <a:round/>
            <a:headEnd type="none" w="med" len="med"/>
            <a:tailEnd type="none" w="med" len="med"/>
          </a:ln>
          <a:effectLst/>
        </p:spPr>
      </p:cxnSp>
      <p:cxnSp>
        <p:nvCxnSpPr>
          <p:cNvPr id="22" name="Straight Connector 21">
            <a:extLst>
              <a:ext uri="{FF2B5EF4-FFF2-40B4-BE49-F238E27FC236}">
                <a16:creationId xmlns:a16="http://schemas.microsoft.com/office/drawing/2014/main" id="{77661EDD-F0F8-4969-9427-6811DD212EBB}"/>
              </a:ext>
            </a:extLst>
          </p:cNvPr>
          <p:cNvCxnSpPr>
            <a:cxnSpLocks/>
          </p:cNvCxnSpPr>
          <p:nvPr/>
        </p:nvCxnSpPr>
        <p:spPr bwMode="auto">
          <a:xfrm>
            <a:off x="6184478" y="4608018"/>
            <a:ext cx="9873" cy="1588832"/>
          </a:xfrm>
          <a:prstGeom prst="line">
            <a:avLst/>
          </a:prstGeom>
          <a:solidFill>
            <a:srgbClr val="C0C0C0"/>
          </a:solidFill>
          <a:ln w="12700" cap="flat" cmpd="sng" algn="ctr">
            <a:solidFill>
              <a:schemeClr val="bg1">
                <a:lumMod val="75000"/>
              </a:schemeClr>
            </a:solidFill>
            <a:prstDash val="solid"/>
            <a:round/>
            <a:headEnd type="none" w="med" len="med"/>
            <a:tailEnd type="none" w="med" len="med"/>
          </a:ln>
          <a:effectLst/>
        </p:spPr>
      </p:cxnSp>
      <p:sp>
        <p:nvSpPr>
          <p:cNvPr id="23" name="TextBox 22">
            <a:extLst>
              <a:ext uri="{FF2B5EF4-FFF2-40B4-BE49-F238E27FC236}">
                <a16:creationId xmlns:a16="http://schemas.microsoft.com/office/drawing/2014/main" id="{9BCEC914-CDDB-452F-A369-FFDAC7BA6714}"/>
              </a:ext>
            </a:extLst>
          </p:cNvPr>
          <p:cNvSpPr txBox="1"/>
          <p:nvPr/>
        </p:nvSpPr>
        <p:spPr>
          <a:xfrm>
            <a:off x="599744" y="5947612"/>
            <a:ext cx="11197691" cy="430887"/>
          </a:xfrm>
          <a:prstGeom prst="rect">
            <a:avLst/>
          </a:prstGeom>
          <a:solidFill>
            <a:schemeClr val="accent1">
              <a:lumMod val="20000"/>
              <a:lumOff val="80000"/>
            </a:schemeClr>
          </a:solid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100" normalizeH="0" baseline="0" noProof="0" dirty="0">
                <a:ln>
                  <a:noFill/>
                </a:ln>
                <a:solidFill>
                  <a:prstClr val="black"/>
                </a:solidFill>
                <a:effectLst/>
                <a:uLnTx/>
                <a:uFillTx/>
                <a:ea typeface="Open Sans" panose="020B0606030504020204" pitchFamily="34" charset="0"/>
                <a:cs typeface="Open Sans" panose="020B0606030504020204" pitchFamily="34" charset="0"/>
              </a:rPr>
              <a:t>WHY THIS RECOMMEND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Deployment of such platform will improve Sales Reps productivity, provide them needed customer insights increase the adoption of Salesforce platform. </a:t>
            </a:r>
          </a:p>
        </p:txBody>
      </p:sp>
      <p:sp>
        <p:nvSpPr>
          <p:cNvPr id="24" name="Rectangle 23">
            <a:extLst>
              <a:ext uri="{FF2B5EF4-FFF2-40B4-BE49-F238E27FC236}">
                <a16:creationId xmlns:a16="http://schemas.microsoft.com/office/drawing/2014/main" id="{72E6CC9E-120D-4541-9AC7-EFA466D8CC2B}"/>
              </a:ext>
            </a:extLst>
          </p:cNvPr>
          <p:cNvSpPr/>
          <p:nvPr/>
        </p:nvSpPr>
        <p:spPr>
          <a:xfrm>
            <a:off x="7632097" y="5493514"/>
            <a:ext cx="1364746" cy="400110"/>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High Upfront Analysis</a:t>
            </a:r>
          </a:p>
        </p:txBody>
      </p:sp>
      <p:sp>
        <p:nvSpPr>
          <p:cNvPr id="25" name="Rectangle 24">
            <a:extLst>
              <a:ext uri="{FF2B5EF4-FFF2-40B4-BE49-F238E27FC236}">
                <a16:creationId xmlns:a16="http://schemas.microsoft.com/office/drawing/2014/main" id="{0D99C39B-8DCC-4D24-9A50-2E7DBBD41119}"/>
              </a:ext>
            </a:extLst>
          </p:cNvPr>
          <p:cNvSpPr/>
          <p:nvPr/>
        </p:nvSpPr>
        <p:spPr>
          <a:xfrm>
            <a:off x="9119654" y="5493514"/>
            <a:ext cx="1216152" cy="400110"/>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Increased Sales Rep Training</a:t>
            </a:r>
          </a:p>
        </p:txBody>
      </p:sp>
      <p:sp>
        <p:nvSpPr>
          <p:cNvPr id="33" name="TextBox 32">
            <a:extLst>
              <a:ext uri="{FF2B5EF4-FFF2-40B4-BE49-F238E27FC236}">
                <a16:creationId xmlns:a16="http://schemas.microsoft.com/office/drawing/2014/main" id="{F155182F-D41B-4394-A8F0-99C6CB206828}"/>
              </a:ext>
            </a:extLst>
          </p:cNvPr>
          <p:cNvSpPr txBox="1"/>
          <p:nvPr/>
        </p:nvSpPr>
        <p:spPr>
          <a:xfrm>
            <a:off x="8133731" y="1986022"/>
            <a:ext cx="3354449" cy="103105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270" normalizeH="0" baseline="0" noProof="0" dirty="0">
                <a:ln>
                  <a:noFill/>
                </a:ln>
                <a:solidFill>
                  <a:prstClr val="black"/>
                </a:solidFill>
                <a:effectLst/>
                <a:uLnTx/>
                <a:uFillTx/>
                <a:ea typeface="Open Sans" panose="020B0606030504020204" pitchFamily="34" charset="0"/>
                <a:cs typeface="Open Sans" panose="020B0606030504020204" pitchFamily="34" charset="0"/>
              </a:rPr>
              <a:t>GLOBAL INSIGH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Cross regional / market level data reviewed as a whole to provide intelligent insights and complete marketing segments to the regional team based on experiences across all market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270" normalizeH="0" baseline="0" noProof="0" dirty="0">
              <a:ln>
                <a:noFill/>
              </a:ln>
              <a:solidFill>
                <a:prstClr val="black"/>
              </a:solidFill>
              <a:effectLst/>
              <a:uLnTx/>
              <a:uFillTx/>
              <a:ea typeface="Open Sans" panose="020B0606030504020204" pitchFamily="34" charset="0"/>
              <a:cs typeface="Open Sans" panose="020B0606030504020204" pitchFamily="34" charset="0"/>
            </a:endParaRPr>
          </a:p>
        </p:txBody>
      </p:sp>
      <p:cxnSp>
        <p:nvCxnSpPr>
          <p:cNvPr id="35" name="Straight Connector 34">
            <a:extLst>
              <a:ext uri="{FF2B5EF4-FFF2-40B4-BE49-F238E27FC236}">
                <a16:creationId xmlns:a16="http://schemas.microsoft.com/office/drawing/2014/main" id="{8F12D393-B225-4CE1-8E6B-6E555685E4A9}"/>
              </a:ext>
            </a:extLst>
          </p:cNvPr>
          <p:cNvCxnSpPr>
            <a:cxnSpLocks/>
          </p:cNvCxnSpPr>
          <p:nvPr/>
        </p:nvCxnSpPr>
        <p:spPr bwMode="auto">
          <a:xfrm>
            <a:off x="8133731" y="1889524"/>
            <a:ext cx="3354449" cy="0"/>
          </a:xfrm>
          <a:prstGeom prst="line">
            <a:avLst/>
          </a:prstGeom>
          <a:solidFill>
            <a:srgbClr val="C0C0C0"/>
          </a:solidFill>
          <a:ln w="76200" cap="flat" cmpd="sng" algn="ctr">
            <a:solidFill>
              <a:srgbClr val="777777"/>
            </a:solidFill>
            <a:prstDash val="solid"/>
            <a:round/>
            <a:headEnd type="none" w="med" len="med"/>
            <a:tailEnd type="none" w="med" len="med"/>
          </a:ln>
          <a:effectLst/>
        </p:spPr>
      </p:cxnSp>
      <p:sp>
        <p:nvSpPr>
          <p:cNvPr id="36" name="TextBox 35">
            <a:extLst>
              <a:ext uri="{FF2B5EF4-FFF2-40B4-BE49-F238E27FC236}">
                <a16:creationId xmlns:a16="http://schemas.microsoft.com/office/drawing/2014/main" id="{B8FBE9D6-BEC4-4B89-8292-8DFB79FF133A}"/>
              </a:ext>
            </a:extLst>
          </p:cNvPr>
          <p:cNvSpPr txBox="1"/>
          <p:nvPr/>
        </p:nvSpPr>
        <p:spPr>
          <a:xfrm>
            <a:off x="4707190" y="1991061"/>
            <a:ext cx="3354449" cy="71558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270" normalizeH="0" baseline="0" noProof="0" dirty="0">
                <a:ln>
                  <a:noFill/>
                </a:ln>
                <a:solidFill>
                  <a:prstClr val="black"/>
                </a:solidFill>
                <a:effectLst/>
                <a:uLnTx/>
                <a:uFillTx/>
                <a:ea typeface="Open Sans" panose="020B0606030504020204" pitchFamily="34" charset="0"/>
                <a:cs typeface="Open Sans" panose="020B0606030504020204" pitchFamily="34" charset="0"/>
              </a:rPr>
              <a:t>CROSS-FUNCTIONAL</a:t>
            </a:r>
            <a:r>
              <a:rPr kumimoji="0" lang="en-US" sz="1050" b="1" i="0" u="none" strike="noStrike" kern="1200" cap="none" spc="270" normalizeH="0" noProof="0" dirty="0">
                <a:ln>
                  <a:noFill/>
                </a:ln>
                <a:solidFill>
                  <a:prstClr val="black"/>
                </a:solidFill>
                <a:effectLst/>
                <a:uLnTx/>
                <a:uFillTx/>
                <a:ea typeface="Open Sans" panose="020B0606030504020204" pitchFamily="34" charset="0"/>
                <a:cs typeface="Open Sans" panose="020B0606030504020204" pitchFamily="34" charset="0"/>
              </a:rPr>
              <a:t> </a:t>
            </a:r>
            <a:r>
              <a:rPr kumimoji="0" lang="en-US" sz="1050" b="1" i="0" u="none" strike="noStrike" kern="1200" cap="none" spc="270" normalizeH="0" baseline="0" noProof="0" dirty="0">
                <a:ln>
                  <a:noFill/>
                </a:ln>
                <a:solidFill>
                  <a:prstClr val="black"/>
                </a:solidFill>
                <a:effectLst/>
                <a:uLnTx/>
                <a:uFillTx/>
                <a:ea typeface="Open Sans" panose="020B0606030504020204" pitchFamily="34" charset="0"/>
                <a:cs typeface="Open Sans" panose="020B0606030504020204" pitchFamily="34" charset="0"/>
              </a:rPr>
              <a:t>INSIGH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Regional Data reused across functional capabilities that can be used to drive intelligent insights into the regional sales team and link CDP and CRM</a:t>
            </a:r>
          </a:p>
        </p:txBody>
      </p:sp>
      <p:sp>
        <p:nvSpPr>
          <p:cNvPr id="37" name="TextBox 36">
            <a:extLst>
              <a:ext uri="{FF2B5EF4-FFF2-40B4-BE49-F238E27FC236}">
                <a16:creationId xmlns:a16="http://schemas.microsoft.com/office/drawing/2014/main" id="{F043AE52-221F-4898-873D-D6E000561E8E}"/>
              </a:ext>
            </a:extLst>
          </p:cNvPr>
          <p:cNvSpPr txBox="1"/>
          <p:nvPr/>
        </p:nvSpPr>
        <p:spPr>
          <a:xfrm>
            <a:off x="1288023" y="1991061"/>
            <a:ext cx="3354449" cy="71558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270" normalizeH="0" baseline="0" noProof="0" dirty="0">
                <a:ln>
                  <a:noFill/>
                </a:ln>
                <a:solidFill>
                  <a:prstClr val="black"/>
                </a:solidFill>
                <a:effectLst/>
                <a:uLnTx/>
                <a:uFillTx/>
                <a:ea typeface="Open Sans" panose="020B0606030504020204" pitchFamily="34" charset="0"/>
                <a:cs typeface="Open Sans" panose="020B0606030504020204" pitchFamily="34" charset="0"/>
              </a:rPr>
              <a:t>FUNCTIONAL SILO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Market specific tools and siloed data currently being used for reporting is not presenting a complete picture of ECP </a:t>
            </a:r>
          </a:p>
        </p:txBody>
      </p:sp>
      <p:cxnSp>
        <p:nvCxnSpPr>
          <p:cNvPr id="38" name="Straight Connector 37">
            <a:extLst>
              <a:ext uri="{FF2B5EF4-FFF2-40B4-BE49-F238E27FC236}">
                <a16:creationId xmlns:a16="http://schemas.microsoft.com/office/drawing/2014/main" id="{8473C12C-A8BA-456F-91FF-703A67762495}"/>
              </a:ext>
            </a:extLst>
          </p:cNvPr>
          <p:cNvCxnSpPr>
            <a:cxnSpLocks/>
          </p:cNvCxnSpPr>
          <p:nvPr/>
        </p:nvCxnSpPr>
        <p:spPr bwMode="auto">
          <a:xfrm>
            <a:off x="1288023" y="1889524"/>
            <a:ext cx="3354449" cy="0"/>
          </a:xfrm>
          <a:prstGeom prst="line">
            <a:avLst/>
          </a:prstGeom>
          <a:solidFill>
            <a:srgbClr val="C0C0C0"/>
          </a:solidFill>
          <a:ln w="76200" cap="flat" cmpd="sng" algn="ctr">
            <a:solidFill>
              <a:schemeClr val="bg1">
                <a:lumMod val="50000"/>
              </a:schemeClr>
            </a:solidFill>
            <a:prstDash val="solid"/>
            <a:round/>
            <a:headEnd type="none" w="med" len="med"/>
            <a:tailEnd type="none" w="med" len="med"/>
          </a:ln>
          <a:effectLst/>
        </p:spPr>
      </p:cxnSp>
      <p:cxnSp>
        <p:nvCxnSpPr>
          <p:cNvPr id="39" name="Straight Connector 38">
            <a:extLst>
              <a:ext uri="{FF2B5EF4-FFF2-40B4-BE49-F238E27FC236}">
                <a16:creationId xmlns:a16="http://schemas.microsoft.com/office/drawing/2014/main" id="{8BB5444E-F781-4E34-817D-0E39FEF49A06}"/>
              </a:ext>
            </a:extLst>
          </p:cNvPr>
          <p:cNvCxnSpPr>
            <a:cxnSpLocks/>
          </p:cNvCxnSpPr>
          <p:nvPr/>
        </p:nvCxnSpPr>
        <p:spPr bwMode="auto">
          <a:xfrm>
            <a:off x="4707190" y="1889524"/>
            <a:ext cx="3354449" cy="0"/>
          </a:xfrm>
          <a:prstGeom prst="line">
            <a:avLst/>
          </a:prstGeom>
          <a:solidFill>
            <a:srgbClr val="C0C0C0"/>
          </a:solidFill>
          <a:ln w="76200" cap="flat" cmpd="sng" algn="ctr">
            <a:solidFill>
              <a:schemeClr val="accent3">
                <a:lumMod val="40000"/>
                <a:lumOff val="60000"/>
              </a:schemeClr>
            </a:solidFill>
            <a:prstDash val="solid"/>
            <a:round/>
            <a:headEnd type="none" w="med" len="med"/>
            <a:tailEnd type="none" w="med" len="med"/>
          </a:ln>
          <a:effectLst/>
        </p:spPr>
      </p:cxnSp>
      <p:sp>
        <p:nvSpPr>
          <p:cNvPr id="40" name="Right Brace 39">
            <a:extLst>
              <a:ext uri="{FF2B5EF4-FFF2-40B4-BE49-F238E27FC236}">
                <a16:creationId xmlns:a16="http://schemas.microsoft.com/office/drawing/2014/main" id="{C490E586-C65E-4A9F-AAAA-45D6AAB6DF77}"/>
              </a:ext>
            </a:extLst>
          </p:cNvPr>
          <p:cNvSpPr/>
          <p:nvPr/>
        </p:nvSpPr>
        <p:spPr bwMode="auto">
          <a:xfrm rot="16200000">
            <a:off x="6313362" y="-78574"/>
            <a:ext cx="142104" cy="3354449"/>
          </a:xfrm>
          <a:prstGeom prst="rightBrace">
            <a:avLst/>
          </a:prstGeom>
          <a:no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ea typeface="ヒラギノ角ゴ ProN W3" pitchFamily="-110" charset="-128"/>
              <a:cs typeface="ヒラギノ角ゴ ProN W3" pitchFamily="-110" charset="-128"/>
              <a:sym typeface="Arial" pitchFamily="-110" charset="0"/>
            </a:endParaRPr>
          </a:p>
        </p:txBody>
      </p:sp>
      <p:sp>
        <p:nvSpPr>
          <p:cNvPr id="41" name="TextBox 40">
            <a:extLst>
              <a:ext uri="{FF2B5EF4-FFF2-40B4-BE49-F238E27FC236}">
                <a16:creationId xmlns:a16="http://schemas.microsoft.com/office/drawing/2014/main" id="{B98C3AB0-6441-4A45-A67B-0942FD6AB809}"/>
              </a:ext>
            </a:extLst>
          </p:cNvPr>
          <p:cNvSpPr txBox="1"/>
          <p:nvPr/>
        </p:nvSpPr>
        <p:spPr>
          <a:xfrm>
            <a:off x="5480968" y="1455570"/>
            <a:ext cx="1746875" cy="246221"/>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rPr>
              <a:t>Consider for Future State</a:t>
            </a:r>
          </a:p>
        </p:txBody>
      </p:sp>
      <p:sp>
        <p:nvSpPr>
          <p:cNvPr id="42" name="TextBox 41">
            <a:extLst>
              <a:ext uri="{FF2B5EF4-FFF2-40B4-BE49-F238E27FC236}">
                <a16:creationId xmlns:a16="http://schemas.microsoft.com/office/drawing/2014/main" id="{3F64CD87-14C0-4886-B14E-81B253E8EA03}"/>
              </a:ext>
            </a:extLst>
          </p:cNvPr>
          <p:cNvSpPr txBox="1"/>
          <p:nvPr/>
        </p:nvSpPr>
        <p:spPr>
          <a:xfrm>
            <a:off x="599746" y="4520837"/>
            <a:ext cx="827764" cy="276999"/>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black"/>
                </a:solidFill>
                <a:effectLst/>
                <a:uLnTx/>
                <a:uFillTx/>
                <a:ea typeface="ヒラギノ角ゴ ProN W3"/>
              </a:rPr>
              <a:t>VALUE</a:t>
            </a:r>
            <a:endParaRPr kumimoji="0" lang="en-US" sz="1200" b="0" i="0" u="none" strike="noStrike" kern="1200" cap="none" spc="0" normalizeH="0" baseline="0" noProof="0" dirty="0">
              <a:ln>
                <a:noFill/>
              </a:ln>
              <a:solidFill>
                <a:prstClr val="black"/>
              </a:solidFill>
              <a:effectLst/>
              <a:uLnTx/>
              <a:uFillTx/>
              <a:ea typeface="ヒラギノ角ゴ ProN W3"/>
            </a:endParaRPr>
          </a:p>
        </p:txBody>
      </p:sp>
      <p:sp>
        <p:nvSpPr>
          <p:cNvPr id="43" name="TextBox 42">
            <a:extLst>
              <a:ext uri="{FF2B5EF4-FFF2-40B4-BE49-F238E27FC236}">
                <a16:creationId xmlns:a16="http://schemas.microsoft.com/office/drawing/2014/main" id="{8C8E2681-667D-46BA-8070-98EE38E7ABD1}"/>
              </a:ext>
            </a:extLst>
          </p:cNvPr>
          <p:cNvSpPr txBox="1"/>
          <p:nvPr/>
        </p:nvSpPr>
        <p:spPr>
          <a:xfrm>
            <a:off x="6212398" y="4525358"/>
            <a:ext cx="1847807" cy="276999"/>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black"/>
                </a:solidFill>
                <a:effectLst/>
                <a:uLnTx/>
                <a:uFillTx/>
                <a:ea typeface="ヒラギノ角ゴ ProN W3"/>
              </a:rPr>
              <a:t>CONSIDERATIONS</a:t>
            </a:r>
            <a:endParaRPr kumimoji="0" lang="en-US" sz="1200" b="0" i="0" u="none" strike="noStrike" kern="1200" cap="none" spc="0" normalizeH="0" baseline="0" noProof="0" dirty="0">
              <a:ln>
                <a:noFill/>
              </a:ln>
              <a:solidFill>
                <a:prstClr val="black"/>
              </a:solidFill>
              <a:effectLst/>
              <a:uLnTx/>
              <a:uFillTx/>
              <a:ea typeface="ヒラギノ角ゴ ProN W3"/>
            </a:endParaRPr>
          </a:p>
        </p:txBody>
      </p:sp>
      <p:sp>
        <p:nvSpPr>
          <p:cNvPr id="44" name="Rectangle 43">
            <a:extLst>
              <a:ext uri="{FF2B5EF4-FFF2-40B4-BE49-F238E27FC236}">
                <a16:creationId xmlns:a16="http://schemas.microsoft.com/office/drawing/2014/main" id="{9FAD0266-815E-46B0-B7ED-E3E2D1700105}"/>
              </a:ext>
            </a:extLst>
          </p:cNvPr>
          <p:cNvSpPr/>
          <p:nvPr/>
        </p:nvSpPr>
        <p:spPr bwMode="auto">
          <a:xfrm>
            <a:off x="1095122" y="4818108"/>
            <a:ext cx="2130375" cy="274320"/>
          </a:xfrm>
          <a:prstGeom prst="rect">
            <a:avLst/>
          </a:prstGeom>
          <a:solidFill>
            <a:schemeClr val="bg1"/>
          </a:solidFill>
          <a:ln w="2857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prstClr val="white">
                    <a:lumMod val="65000"/>
                  </a:prstClr>
                </a:solidFill>
                <a:effectLst/>
                <a:uLnTx/>
                <a:uFillTx/>
                <a:ea typeface="Open Sans" panose="020B0606030504020204" pitchFamily="34" charset="0"/>
                <a:cs typeface="Open Sans" panose="020B0606030504020204" pitchFamily="34" charset="0"/>
                <a:sym typeface="Arial" pitchFamily="-110" charset="0"/>
              </a:rPr>
              <a:t>Efficiency </a:t>
            </a:r>
          </a:p>
        </p:txBody>
      </p:sp>
      <p:sp>
        <p:nvSpPr>
          <p:cNvPr id="45" name="Rectangle 44">
            <a:extLst>
              <a:ext uri="{FF2B5EF4-FFF2-40B4-BE49-F238E27FC236}">
                <a16:creationId xmlns:a16="http://schemas.microsoft.com/office/drawing/2014/main" id="{63FE2010-1AEF-4515-BEDA-9F421B10FAC8}"/>
              </a:ext>
            </a:extLst>
          </p:cNvPr>
          <p:cNvSpPr/>
          <p:nvPr/>
        </p:nvSpPr>
        <p:spPr bwMode="auto">
          <a:xfrm>
            <a:off x="1092372" y="5196670"/>
            <a:ext cx="2130374" cy="274320"/>
          </a:xfrm>
          <a:prstGeom prst="rect">
            <a:avLst/>
          </a:prstGeom>
          <a:solidFill>
            <a:schemeClr val="bg1"/>
          </a:solidFill>
          <a:ln w="2857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sym typeface="Arial" pitchFamily="-110" charset="0"/>
              </a:rPr>
              <a:t>Speed to Market </a:t>
            </a:r>
          </a:p>
        </p:txBody>
      </p:sp>
      <p:sp>
        <p:nvSpPr>
          <p:cNvPr id="46" name="Rectangle 45">
            <a:extLst>
              <a:ext uri="{FF2B5EF4-FFF2-40B4-BE49-F238E27FC236}">
                <a16:creationId xmlns:a16="http://schemas.microsoft.com/office/drawing/2014/main" id="{DC17BB4C-A0D0-4A4B-88D2-AB601FEEFF9F}"/>
              </a:ext>
            </a:extLst>
          </p:cNvPr>
          <p:cNvSpPr/>
          <p:nvPr/>
        </p:nvSpPr>
        <p:spPr bwMode="auto">
          <a:xfrm>
            <a:off x="3531379" y="4814601"/>
            <a:ext cx="2130375" cy="274320"/>
          </a:xfrm>
          <a:prstGeom prst="rect">
            <a:avLst/>
          </a:prstGeom>
          <a:solidFill>
            <a:schemeClr val="bg1"/>
          </a:solidFill>
          <a:ln w="2857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prstClr val="white">
                    <a:lumMod val="65000"/>
                  </a:prstClr>
                </a:solidFill>
                <a:effectLst/>
                <a:uLnTx/>
                <a:uFillTx/>
                <a:ea typeface="Open Sans" panose="020B0606030504020204" pitchFamily="34" charset="0"/>
                <a:cs typeface="Open Sans" panose="020B0606030504020204" pitchFamily="34" charset="0"/>
                <a:sym typeface="Arial" pitchFamily="-110" charset="0"/>
              </a:rPr>
              <a:t>Flexibility</a:t>
            </a:r>
          </a:p>
        </p:txBody>
      </p:sp>
      <p:sp>
        <p:nvSpPr>
          <p:cNvPr id="47" name="Rectangle 46">
            <a:extLst>
              <a:ext uri="{FF2B5EF4-FFF2-40B4-BE49-F238E27FC236}">
                <a16:creationId xmlns:a16="http://schemas.microsoft.com/office/drawing/2014/main" id="{939D7BC0-0370-4F6E-A1D0-B06CFB161463}"/>
              </a:ext>
            </a:extLst>
          </p:cNvPr>
          <p:cNvSpPr/>
          <p:nvPr/>
        </p:nvSpPr>
        <p:spPr bwMode="auto">
          <a:xfrm>
            <a:off x="3531379" y="5188139"/>
            <a:ext cx="2132713" cy="274320"/>
          </a:xfrm>
          <a:prstGeom prst="rect">
            <a:avLst/>
          </a:prstGeom>
          <a:solidFill>
            <a:schemeClr val="bg1"/>
          </a:solidFill>
          <a:ln w="2857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sym typeface="Arial" pitchFamily="-110" charset="0"/>
              </a:rPr>
              <a:t>Business Growth</a:t>
            </a:r>
          </a:p>
        </p:txBody>
      </p:sp>
      <p:sp>
        <p:nvSpPr>
          <p:cNvPr id="48" name="Rectangle 47">
            <a:extLst>
              <a:ext uri="{FF2B5EF4-FFF2-40B4-BE49-F238E27FC236}">
                <a16:creationId xmlns:a16="http://schemas.microsoft.com/office/drawing/2014/main" id="{BAC4EE6A-E60A-401D-852E-95069A4ECF3B}"/>
              </a:ext>
            </a:extLst>
          </p:cNvPr>
          <p:cNvSpPr/>
          <p:nvPr/>
        </p:nvSpPr>
        <p:spPr bwMode="auto">
          <a:xfrm>
            <a:off x="1096980" y="5556408"/>
            <a:ext cx="4564773" cy="274320"/>
          </a:xfrm>
          <a:prstGeom prst="rect">
            <a:avLst/>
          </a:prstGeom>
          <a:solidFill>
            <a:schemeClr val="bg1"/>
          </a:solidFill>
          <a:ln w="2857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prstClr val="white">
                    <a:lumMod val="65000"/>
                  </a:prstClr>
                </a:solidFill>
                <a:effectLst/>
                <a:uLnTx/>
                <a:uFillTx/>
                <a:ea typeface="Open Sans" panose="020B0606030504020204" pitchFamily="34" charset="0"/>
                <a:cs typeface="Open Sans" panose="020B0606030504020204" pitchFamily="34" charset="0"/>
                <a:sym typeface="Arial" pitchFamily="-110" charset="0"/>
              </a:rPr>
              <a:t>Compliance</a:t>
            </a:r>
          </a:p>
        </p:txBody>
      </p:sp>
    </p:spTree>
    <p:extLst>
      <p:ext uri="{BB962C8B-B14F-4D97-AF65-F5344CB8AC3E}">
        <p14:creationId xmlns:p14="http://schemas.microsoft.com/office/powerpoint/2010/main" val="3616391138"/>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5" name="Object 94" hidden="1">
            <a:extLst>
              <a:ext uri="{FF2B5EF4-FFF2-40B4-BE49-F238E27FC236}">
                <a16:creationId xmlns:a16="http://schemas.microsoft.com/office/drawing/2014/main" id="{65A83502-262B-4AA7-A7F1-3284CE0A9AE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8420" name="think-cell Slide" r:id="rId5" imgW="395" imgH="396" progId="TCLayout.ActiveDocument.1">
                  <p:embed/>
                </p:oleObj>
              </mc:Choice>
              <mc:Fallback>
                <p:oleObj name="think-cell Slide" r:id="rId5" imgW="395" imgH="396" progId="TCLayout.ActiveDocument.1">
                  <p:embed/>
                  <p:pic>
                    <p:nvPicPr>
                      <p:cNvPr id="95" name="Object 94" hidden="1">
                        <a:extLst>
                          <a:ext uri="{FF2B5EF4-FFF2-40B4-BE49-F238E27FC236}">
                            <a16:creationId xmlns:a16="http://schemas.microsoft.com/office/drawing/2014/main" id="{65A83502-262B-4AA7-A7F1-3284CE0A9AE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0847247E-75AB-49F2-A498-F6DFDCFF82B9}"/>
              </a:ext>
            </a:extLst>
          </p:cNvPr>
          <p:cNvSpPr>
            <a:spLocks noGrp="1"/>
          </p:cNvSpPr>
          <p:nvPr>
            <p:ph type="body" sz="quarter" idx="14"/>
          </p:nvPr>
        </p:nvSpPr>
        <p:spPr>
          <a:xfrm>
            <a:off x="914721" y="1353312"/>
            <a:ext cx="10362880" cy="475488"/>
          </a:xfrm>
        </p:spPr>
        <p:txBody>
          <a:bodyPr/>
          <a:lstStyle/>
          <a:p>
            <a:r>
              <a:rPr lang="en-US" dirty="0"/>
              <a:t>Subtitle</a:t>
            </a:r>
          </a:p>
        </p:txBody>
      </p:sp>
      <p:sp>
        <p:nvSpPr>
          <p:cNvPr id="4" name="Text Placeholder 3">
            <a:extLst>
              <a:ext uri="{FF2B5EF4-FFF2-40B4-BE49-F238E27FC236}">
                <a16:creationId xmlns:a16="http://schemas.microsoft.com/office/drawing/2014/main" id="{4C483F4A-6891-4B87-8A42-D64660F277BE}"/>
              </a:ext>
            </a:extLst>
          </p:cNvPr>
          <p:cNvSpPr>
            <a:spLocks noGrp="1"/>
          </p:cNvSpPr>
          <p:nvPr>
            <p:ph type="body" sz="quarter" idx="15"/>
          </p:nvPr>
        </p:nvSpPr>
        <p:spPr>
          <a:xfrm>
            <a:off x="914970" y="466343"/>
            <a:ext cx="3657029" cy="215359"/>
          </a:xfrm>
        </p:spPr>
        <p:txBody>
          <a:bodyPr/>
          <a:lstStyle/>
          <a:p>
            <a:r>
              <a:rPr lang="en-US" dirty="0"/>
              <a:t>FRAMEWORKS &amp; CONCEPT ILLUSTRATION</a:t>
            </a:r>
          </a:p>
        </p:txBody>
      </p:sp>
      <p:sp>
        <p:nvSpPr>
          <p:cNvPr id="5" name="Rectangle 4">
            <a:extLst>
              <a:ext uri="{FF2B5EF4-FFF2-40B4-BE49-F238E27FC236}">
                <a16:creationId xmlns:a16="http://schemas.microsoft.com/office/drawing/2014/main" id="{97688DC5-04B3-4745-98E6-BA1031BB7BC0}"/>
              </a:ext>
            </a:extLst>
          </p:cNvPr>
          <p:cNvSpPr/>
          <p:nvPr/>
        </p:nvSpPr>
        <p:spPr>
          <a:xfrm>
            <a:off x="917720" y="3374411"/>
            <a:ext cx="5076705" cy="26289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37160" rtlCol="0" anchor="t"/>
          <a:lstStyle/>
          <a:p>
            <a:pPr marL="137160" marR="0" lvl="1" indent="-137160" algn="l"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ea typeface="+mn-ea"/>
                <a:cs typeface="+mn-cs"/>
              </a:rPr>
              <a:t>Conduct workshop session to pressure test and align on initiatives, prioritization and refine projected value, effort and risk for each initiative, as well as level of change management needed</a:t>
            </a:r>
          </a:p>
          <a:p>
            <a:pPr marL="137160" marR="0" lvl="1" indent="-137160" algn="l"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ea typeface="+mn-ea"/>
                <a:cs typeface="+mn-cs"/>
              </a:rPr>
              <a:t>Evaluate impact of targeted logical sets related to customer acquisition, retention and ultimately revenue, to align with business case input needs and value milestones</a:t>
            </a:r>
          </a:p>
          <a:p>
            <a:pPr marL="137160" marR="0" lvl="1" indent="-137160" algn="l"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ea typeface="+mn-ea"/>
                <a:cs typeface="+mn-cs"/>
              </a:rPr>
              <a:t>Post workshop, finalize the prioritization of initiatives into a high level roadmap based on adjusted prioritization from business case analysis and key dependences </a:t>
            </a:r>
          </a:p>
          <a:p>
            <a:pPr marL="137160" marR="0" lvl="1" indent="-137160" algn="l"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ea typeface="+mn-ea"/>
                <a:cs typeface="+mn-cs"/>
              </a:rPr>
              <a:t>Identify quick-win, short-term, and long-term milestones based on value</a:t>
            </a:r>
          </a:p>
          <a:p>
            <a:pPr marL="137160" marR="0" lvl="1" indent="-137160" algn="l"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ea typeface="+mn-ea"/>
                <a:cs typeface="+mn-cs"/>
              </a:rPr>
              <a:t>Complete high-level business case inputs to identify what value can be realized at each target and review with key stakeholders</a:t>
            </a:r>
          </a:p>
          <a:p>
            <a:pPr marL="137160" marR="0" lvl="1" indent="-137160" algn="l"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ea typeface="+mn-ea"/>
                <a:cs typeface="+mn-cs"/>
              </a:rPr>
              <a:t>Develop an executive walking presentation to outline the overall recommendation and transformation value</a:t>
            </a:r>
          </a:p>
          <a:p>
            <a:pPr marL="137160" marR="0" lvl="1" indent="-137160" algn="l"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ea typeface="+mn-ea"/>
                <a:cs typeface="+mn-cs"/>
              </a:rPr>
              <a:t>Facilitate final readout</a:t>
            </a:r>
          </a:p>
          <a:p>
            <a:pPr marL="137160" marR="0" lvl="1" indent="-137160" algn="l"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endParaRPr kumimoji="0" lang="en-US" sz="900" b="0" i="0" u="none" strike="noStrike" kern="1200" cap="none" spc="0" normalizeH="0" baseline="0" noProof="0" dirty="0">
              <a:ln>
                <a:noFill/>
              </a:ln>
              <a:solidFill>
                <a:srgbClr val="000000"/>
              </a:solidFill>
              <a:effectLst/>
              <a:uLnTx/>
              <a:uFillTx/>
              <a:ea typeface="+mn-ea"/>
              <a:cs typeface="+mn-cs"/>
            </a:endParaRPr>
          </a:p>
        </p:txBody>
      </p:sp>
      <p:pic>
        <p:nvPicPr>
          <p:cNvPr id="6" name="Picture 5">
            <a:extLst>
              <a:ext uri="{FF2B5EF4-FFF2-40B4-BE49-F238E27FC236}">
                <a16:creationId xmlns:a16="http://schemas.microsoft.com/office/drawing/2014/main" id="{0C9C28C0-6A39-4C77-86DD-F7906E94E5F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193030" y="3727767"/>
            <a:ext cx="1873300" cy="930924"/>
          </a:xfrm>
          <a:prstGeom prst="rect">
            <a:avLst/>
          </a:prstGeom>
          <a:ln>
            <a:solidFill>
              <a:schemeClr val="bg1">
                <a:lumMod val="85000"/>
              </a:schemeClr>
            </a:solidFill>
          </a:ln>
        </p:spPr>
      </p:pic>
      <p:sp>
        <p:nvSpPr>
          <p:cNvPr id="7" name="Title 4">
            <a:extLst>
              <a:ext uri="{FF2B5EF4-FFF2-40B4-BE49-F238E27FC236}">
                <a16:creationId xmlns:a16="http://schemas.microsoft.com/office/drawing/2014/main" id="{0E520F04-3711-4C19-9E0B-BB683F609955}"/>
              </a:ext>
            </a:extLst>
          </p:cNvPr>
          <p:cNvSpPr txBox="1">
            <a:spLocks/>
          </p:cNvSpPr>
          <p:nvPr/>
        </p:nvSpPr>
        <p:spPr>
          <a:xfrm>
            <a:off x="908943" y="694944"/>
            <a:ext cx="10363200"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r>
              <a:rPr lang="en-US" dirty="0"/>
              <a:t>Detailed look at roadmap &amp; business case</a:t>
            </a:r>
          </a:p>
        </p:txBody>
      </p:sp>
      <p:sp>
        <p:nvSpPr>
          <p:cNvPr id="8" name="TextBox 7">
            <a:extLst>
              <a:ext uri="{FF2B5EF4-FFF2-40B4-BE49-F238E27FC236}">
                <a16:creationId xmlns:a16="http://schemas.microsoft.com/office/drawing/2014/main" id="{BD13EAB3-ED38-4042-88E0-60867BF22793}"/>
              </a:ext>
            </a:extLst>
          </p:cNvPr>
          <p:cNvSpPr txBox="1"/>
          <p:nvPr/>
        </p:nvSpPr>
        <p:spPr>
          <a:xfrm>
            <a:off x="6658454" y="3482567"/>
            <a:ext cx="1988489"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PRIORITIZED INITIATIVES</a:t>
            </a:r>
          </a:p>
        </p:txBody>
      </p:sp>
      <p:sp>
        <p:nvSpPr>
          <p:cNvPr id="9" name="TextBox 8">
            <a:extLst>
              <a:ext uri="{FF2B5EF4-FFF2-40B4-BE49-F238E27FC236}">
                <a16:creationId xmlns:a16="http://schemas.microsoft.com/office/drawing/2014/main" id="{25D3FA12-8327-4D7B-9BF9-37BF8F1CE7FF}"/>
              </a:ext>
            </a:extLst>
          </p:cNvPr>
          <p:cNvSpPr txBox="1"/>
          <p:nvPr/>
        </p:nvSpPr>
        <p:spPr>
          <a:xfrm>
            <a:off x="6658454" y="4776509"/>
            <a:ext cx="2231038"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HIGH-LEVEL ROADMAP</a:t>
            </a:r>
          </a:p>
        </p:txBody>
      </p:sp>
      <p:sp>
        <p:nvSpPr>
          <p:cNvPr id="10" name="TextBox 9">
            <a:extLst>
              <a:ext uri="{FF2B5EF4-FFF2-40B4-BE49-F238E27FC236}">
                <a16:creationId xmlns:a16="http://schemas.microsoft.com/office/drawing/2014/main" id="{3F536044-0728-4C60-A32E-30352B16042E}"/>
              </a:ext>
            </a:extLst>
          </p:cNvPr>
          <p:cNvSpPr txBox="1"/>
          <p:nvPr/>
        </p:nvSpPr>
        <p:spPr>
          <a:xfrm>
            <a:off x="9092490" y="3482567"/>
            <a:ext cx="2438045" cy="246221"/>
          </a:xfrm>
          <a:prstGeom prst="rect">
            <a:avLst/>
          </a:prstGeom>
          <a:noFill/>
        </p:spPr>
        <p:txBody>
          <a:bodyPr wrap="square" rtlCol="0">
            <a:spAutoFit/>
          </a:bodyPr>
          <a:lstStyle/>
          <a:p>
            <a:pPr lvl="0">
              <a:spcAft>
                <a:spcPts val="600"/>
              </a:spcAft>
              <a:defRPr/>
            </a:pPr>
            <a:r>
              <a:rPr lang="en-US" sz="1000" dirty="0">
                <a:solidFill>
                  <a:srgbClr val="000000"/>
                </a:solidFill>
              </a:rPr>
              <a:t>CLIENT </a:t>
            </a:r>
            <a:r>
              <a:rPr kumimoji="0" lang="en-US" sz="1000" b="0" i="0" u="none" strike="noStrike" kern="1200" cap="none" spc="0" normalizeH="0" baseline="0" noProof="0" dirty="0">
                <a:ln>
                  <a:noFill/>
                </a:ln>
                <a:solidFill>
                  <a:srgbClr val="000000"/>
                </a:solidFill>
                <a:effectLst/>
                <a:uLnTx/>
                <a:uFillTx/>
                <a:ea typeface="+mn-ea"/>
                <a:cs typeface="+mn-cs"/>
              </a:rPr>
              <a:t>BUSINESS CASE INPUTS</a:t>
            </a:r>
          </a:p>
        </p:txBody>
      </p:sp>
      <p:sp>
        <p:nvSpPr>
          <p:cNvPr id="11" name="TextBox 10">
            <a:extLst>
              <a:ext uri="{FF2B5EF4-FFF2-40B4-BE49-F238E27FC236}">
                <a16:creationId xmlns:a16="http://schemas.microsoft.com/office/drawing/2014/main" id="{F6005607-C08B-4949-ACF6-660BBE22106F}"/>
              </a:ext>
            </a:extLst>
          </p:cNvPr>
          <p:cNvSpPr txBox="1"/>
          <p:nvPr/>
        </p:nvSpPr>
        <p:spPr>
          <a:xfrm>
            <a:off x="9092490" y="4776509"/>
            <a:ext cx="172921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EXECUTIVE SUMMARY</a:t>
            </a:r>
          </a:p>
        </p:txBody>
      </p:sp>
      <p:pic>
        <p:nvPicPr>
          <p:cNvPr id="12" name="Picture 11">
            <a:extLst>
              <a:ext uri="{FF2B5EF4-FFF2-40B4-BE49-F238E27FC236}">
                <a16:creationId xmlns:a16="http://schemas.microsoft.com/office/drawing/2014/main" id="{71E44811-586F-4DC0-8FB0-A3E8597A7D80}"/>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753260" y="3727767"/>
            <a:ext cx="1701351" cy="932952"/>
          </a:xfrm>
          <a:prstGeom prst="rect">
            <a:avLst/>
          </a:prstGeom>
          <a:ln>
            <a:solidFill>
              <a:schemeClr val="bg1">
                <a:lumMod val="85000"/>
              </a:schemeClr>
            </a:solidFill>
          </a:ln>
        </p:spPr>
      </p:pic>
      <p:pic>
        <p:nvPicPr>
          <p:cNvPr id="13" name="Picture 12">
            <a:extLst>
              <a:ext uri="{FF2B5EF4-FFF2-40B4-BE49-F238E27FC236}">
                <a16:creationId xmlns:a16="http://schemas.microsoft.com/office/drawing/2014/main" id="{ABFC22B0-B18B-49B5-A172-6713A2E242E3}"/>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759371" y="5001164"/>
            <a:ext cx="1797942" cy="941925"/>
          </a:xfrm>
          <a:prstGeom prst="rect">
            <a:avLst/>
          </a:prstGeom>
          <a:ln>
            <a:solidFill>
              <a:schemeClr val="bg1">
                <a:lumMod val="85000"/>
              </a:schemeClr>
            </a:solidFill>
          </a:ln>
        </p:spPr>
      </p:pic>
      <p:pic>
        <p:nvPicPr>
          <p:cNvPr id="14" name="Picture 13">
            <a:extLst>
              <a:ext uri="{FF2B5EF4-FFF2-40B4-BE49-F238E27FC236}">
                <a16:creationId xmlns:a16="http://schemas.microsoft.com/office/drawing/2014/main" id="{CF5D2EFE-07FE-4093-91A3-11C2C5111A05}"/>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195133" y="5001164"/>
            <a:ext cx="1829568" cy="935217"/>
          </a:xfrm>
          <a:prstGeom prst="rect">
            <a:avLst/>
          </a:prstGeom>
          <a:ln>
            <a:solidFill>
              <a:schemeClr val="bg1">
                <a:lumMod val="85000"/>
              </a:schemeClr>
            </a:solidFill>
          </a:ln>
        </p:spPr>
      </p:pic>
      <p:grpSp>
        <p:nvGrpSpPr>
          <p:cNvPr id="15" name="Group 14">
            <a:extLst>
              <a:ext uri="{FF2B5EF4-FFF2-40B4-BE49-F238E27FC236}">
                <a16:creationId xmlns:a16="http://schemas.microsoft.com/office/drawing/2014/main" id="{2DA45325-47C6-489E-9CFD-8684DCAB308C}"/>
              </a:ext>
            </a:extLst>
          </p:cNvPr>
          <p:cNvGrpSpPr/>
          <p:nvPr/>
        </p:nvGrpSpPr>
        <p:grpSpPr>
          <a:xfrm>
            <a:off x="1637449" y="2288436"/>
            <a:ext cx="4791933" cy="608340"/>
            <a:chOff x="1876722" y="2131565"/>
            <a:chExt cx="4791933" cy="608340"/>
          </a:xfrm>
          <a:noFill/>
        </p:grpSpPr>
        <p:grpSp>
          <p:nvGrpSpPr>
            <p:cNvPr id="16" name="Group 15">
              <a:extLst>
                <a:ext uri="{FF2B5EF4-FFF2-40B4-BE49-F238E27FC236}">
                  <a16:creationId xmlns:a16="http://schemas.microsoft.com/office/drawing/2014/main" id="{7497202B-A3CC-410D-9A26-01A1ACD5968F}"/>
                </a:ext>
              </a:extLst>
            </p:cNvPr>
            <p:cNvGrpSpPr/>
            <p:nvPr/>
          </p:nvGrpSpPr>
          <p:grpSpPr>
            <a:xfrm>
              <a:off x="1876722" y="2131565"/>
              <a:ext cx="2488382" cy="606158"/>
              <a:chOff x="1876722" y="2131565"/>
              <a:chExt cx="2488382" cy="606158"/>
            </a:xfrm>
            <a:grpFill/>
          </p:grpSpPr>
          <p:sp>
            <p:nvSpPr>
              <p:cNvPr id="21" name="Parallelogram 20">
                <a:extLst>
                  <a:ext uri="{FF2B5EF4-FFF2-40B4-BE49-F238E27FC236}">
                    <a16:creationId xmlns:a16="http://schemas.microsoft.com/office/drawing/2014/main" id="{DD1FC78F-B030-4B1C-9E7B-CC5E4C7CF262}"/>
                  </a:ext>
                </a:extLst>
              </p:cNvPr>
              <p:cNvSpPr/>
              <p:nvPr/>
            </p:nvSpPr>
            <p:spPr>
              <a:xfrm>
                <a:off x="1876722" y="2131565"/>
                <a:ext cx="1142841" cy="606158"/>
              </a:xfrm>
              <a:prstGeom prst="parallelogram">
                <a:avLst>
                  <a:gd name="adj" fmla="val 24348"/>
                </a:avLst>
              </a:prstGeom>
              <a:grp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22" name="Parallelogram 21">
                <a:extLst>
                  <a:ext uri="{FF2B5EF4-FFF2-40B4-BE49-F238E27FC236}">
                    <a16:creationId xmlns:a16="http://schemas.microsoft.com/office/drawing/2014/main" id="{5B20B830-5386-437E-BB2A-A9231C933787}"/>
                  </a:ext>
                </a:extLst>
              </p:cNvPr>
              <p:cNvSpPr/>
              <p:nvPr/>
            </p:nvSpPr>
            <p:spPr>
              <a:xfrm>
                <a:off x="2922012" y="2131565"/>
                <a:ext cx="1443092" cy="260224"/>
              </a:xfrm>
              <a:prstGeom prst="parallelogram">
                <a:avLst>
                  <a:gd name="adj" fmla="val 24348"/>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grpSp>
        <p:sp>
          <p:nvSpPr>
            <p:cNvPr id="17" name="Parallelogram 16">
              <a:extLst>
                <a:ext uri="{FF2B5EF4-FFF2-40B4-BE49-F238E27FC236}">
                  <a16:creationId xmlns:a16="http://schemas.microsoft.com/office/drawing/2014/main" id="{04EE364A-0E9C-4E3E-B1D5-D131372216D0}"/>
                </a:ext>
              </a:extLst>
            </p:cNvPr>
            <p:cNvSpPr/>
            <p:nvPr/>
          </p:nvSpPr>
          <p:spPr>
            <a:xfrm>
              <a:off x="2922012" y="2441331"/>
              <a:ext cx="1361025" cy="298573"/>
            </a:xfrm>
            <a:prstGeom prst="parallelogram">
              <a:avLst>
                <a:gd name="adj" fmla="val 24348"/>
              </a:avLst>
            </a:prstGeom>
            <a:grp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18" name="Parallelogram 17">
              <a:extLst>
                <a:ext uri="{FF2B5EF4-FFF2-40B4-BE49-F238E27FC236}">
                  <a16:creationId xmlns:a16="http://schemas.microsoft.com/office/drawing/2014/main" id="{5C8611E2-D354-443B-A1C3-C044F44BB5B4}"/>
                </a:ext>
              </a:extLst>
            </p:cNvPr>
            <p:cNvSpPr/>
            <p:nvPr/>
          </p:nvSpPr>
          <p:spPr>
            <a:xfrm>
              <a:off x="4252759" y="2438626"/>
              <a:ext cx="1103271" cy="301279"/>
            </a:xfrm>
            <a:prstGeom prst="parallelogram">
              <a:avLst>
                <a:gd name="adj" fmla="val 24348"/>
              </a:avLst>
            </a:prstGeom>
            <a:grp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19" name="Parallelogram 18">
              <a:extLst>
                <a:ext uri="{FF2B5EF4-FFF2-40B4-BE49-F238E27FC236}">
                  <a16:creationId xmlns:a16="http://schemas.microsoft.com/office/drawing/2014/main" id="{B2F868BD-0CA1-4B0C-938B-6627CB5492C6}"/>
                </a:ext>
              </a:extLst>
            </p:cNvPr>
            <p:cNvSpPr/>
            <p:nvPr/>
          </p:nvSpPr>
          <p:spPr>
            <a:xfrm>
              <a:off x="5319992" y="2438067"/>
              <a:ext cx="1279079" cy="301838"/>
            </a:xfrm>
            <a:prstGeom prst="parallelogram">
              <a:avLst>
                <a:gd name="adj" fmla="val 24348"/>
              </a:avLst>
            </a:prstGeom>
            <a:grp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20" name="Parallelogram 19">
              <a:extLst>
                <a:ext uri="{FF2B5EF4-FFF2-40B4-BE49-F238E27FC236}">
                  <a16:creationId xmlns:a16="http://schemas.microsoft.com/office/drawing/2014/main" id="{FE7858D9-9838-4746-A575-8287D67E0429}"/>
                </a:ext>
              </a:extLst>
            </p:cNvPr>
            <p:cNvSpPr/>
            <p:nvPr/>
          </p:nvSpPr>
          <p:spPr>
            <a:xfrm>
              <a:off x="4332259" y="2131565"/>
              <a:ext cx="2336396" cy="261749"/>
            </a:xfrm>
            <a:prstGeom prst="parallelogram">
              <a:avLst>
                <a:gd name="adj" fmla="val 24348"/>
              </a:avLst>
            </a:prstGeom>
            <a:grp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grpSp>
      <p:grpSp>
        <p:nvGrpSpPr>
          <p:cNvPr id="23" name="Group 22">
            <a:extLst>
              <a:ext uri="{FF2B5EF4-FFF2-40B4-BE49-F238E27FC236}">
                <a16:creationId xmlns:a16="http://schemas.microsoft.com/office/drawing/2014/main" id="{647D35E9-7ECC-45A5-A82C-A4F225237B8C}"/>
              </a:ext>
            </a:extLst>
          </p:cNvPr>
          <p:cNvGrpSpPr/>
          <p:nvPr/>
        </p:nvGrpSpPr>
        <p:grpSpPr>
          <a:xfrm>
            <a:off x="7696184" y="1629433"/>
            <a:ext cx="3581416" cy="1270973"/>
            <a:chOff x="7935457" y="1472562"/>
            <a:chExt cx="3581416" cy="1270973"/>
          </a:xfrm>
          <a:noFill/>
        </p:grpSpPr>
        <p:sp>
          <p:nvSpPr>
            <p:cNvPr id="24" name="Freeform 66">
              <a:extLst>
                <a:ext uri="{FF2B5EF4-FFF2-40B4-BE49-F238E27FC236}">
                  <a16:creationId xmlns:a16="http://schemas.microsoft.com/office/drawing/2014/main" id="{18133EE5-E9E9-4337-8C9F-C09FE62927ED}"/>
                </a:ext>
              </a:extLst>
            </p:cNvPr>
            <p:cNvSpPr/>
            <p:nvPr/>
          </p:nvSpPr>
          <p:spPr>
            <a:xfrm>
              <a:off x="10046224" y="1482751"/>
              <a:ext cx="777127" cy="1260784"/>
            </a:xfrm>
            <a:custGeom>
              <a:avLst/>
              <a:gdLst>
                <a:gd name="connsiteX0" fmla="*/ 0 w 991195"/>
                <a:gd name="connsiteY0" fmla="*/ 0 h 396478"/>
                <a:gd name="connsiteX1" fmla="*/ 792956 w 991195"/>
                <a:gd name="connsiteY1" fmla="*/ 0 h 396478"/>
                <a:gd name="connsiteX2" fmla="*/ 991195 w 991195"/>
                <a:gd name="connsiteY2" fmla="*/ 198239 h 396478"/>
                <a:gd name="connsiteX3" fmla="*/ 792956 w 991195"/>
                <a:gd name="connsiteY3" fmla="*/ 396478 h 396478"/>
                <a:gd name="connsiteX4" fmla="*/ 0 w 991195"/>
                <a:gd name="connsiteY4" fmla="*/ 396478 h 396478"/>
                <a:gd name="connsiteX5" fmla="*/ 198239 w 991195"/>
                <a:gd name="connsiteY5" fmla="*/ 198239 h 396478"/>
                <a:gd name="connsiteX6" fmla="*/ 0 w 991195"/>
                <a:gd name="connsiteY6" fmla="*/ 0 h 396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1195" h="396478">
                  <a:moveTo>
                    <a:pt x="0" y="0"/>
                  </a:moveTo>
                  <a:lnTo>
                    <a:pt x="792956" y="0"/>
                  </a:lnTo>
                  <a:lnTo>
                    <a:pt x="991195" y="198239"/>
                  </a:lnTo>
                  <a:lnTo>
                    <a:pt x="792956" y="396478"/>
                  </a:lnTo>
                  <a:lnTo>
                    <a:pt x="0" y="396478"/>
                  </a:lnTo>
                  <a:lnTo>
                    <a:pt x="198239" y="198239"/>
                  </a:lnTo>
                  <a:lnTo>
                    <a:pt x="0" y="0"/>
                  </a:lnTo>
                  <a:close/>
                </a:path>
              </a:pathLst>
            </a:cu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25" name="Freeform 105">
              <a:extLst>
                <a:ext uri="{FF2B5EF4-FFF2-40B4-BE49-F238E27FC236}">
                  <a16:creationId xmlns:a16="http://schemas.microsoft.com/office/drawing/2014/main" id="{02DD8113-9068-495E-BFF3-37CEF81915D5}"/>
                </a:ext>
              </a:extLst>
            </p:cNvPr>
            <p:cNvSpPr/>
            <p:nvPr/>
          </p:nvSpPr>
          <p:spPr>
            <a:xfrm>
              <a:off x="10739746" y="1472562"/>
              <a:ext cx="777127" cy="1260784"/>
            </a:xfrm>
            <a:custGeom>
              <a:avLst/>
              <a:gdLst>
                <a:gd name="connsiteX0" fmla="*/ 0 w 991195"/>
                <a:gd name="connsiteY0" fmla="*/ 0 h 396478"/>
                <a:gd name="connsiteX1" fmla="*/ 792956 w 991195"/>
                <a:gd name="connsiteY1" fmla="*/ 0 h 396478"/>
                <a:gd name="connsiteX2" fmla="*/ 991195 w 991195"/>
                <a:gd name="connsiteY2" fmla="*/ 198239 h 396478"/>
                <a:gd name="connsiteX3" fmla="*/ 792956 w 991195"/>
                <a:gd name="connsiteY3" fmla="*/ 396478 h 396478"/>
                <a:gd name="connsiteX4" fmla="*/ 0 w 991195"/>
                <a:gd name="connsiteY4" fmla="*/ 396478 h 396478"/>
                <a:gd name="connsiteX5" fmla="*/ 198239 w 991195"/>
                <a:gd name="connsiteY5" fmla="*/ 198239 h 396478"/>
                <a:gd name="connsiteX6" fmla="*/ 0 w 991195"/>
                <a:gd name="connsiteY6" fmla="*/ 0 h 396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1195" h="396478">
                  <a:moveTo>
                    <a:pt x="0" y="0"/>
                  </a:moveTo>
                  <a:lnTo>
                    <a:pt x="792956" y="0"/>
                  </a:lnTo>
                  <a:lnTo>
                    <a:pt x="991195" y="198239"/>
                  </a:lnTo>
                  <a:lnTo>
                    <a:pt x="792956" y="396478"/>
                  </a:lnTo>
                  <a:lnTo>
                    <a:pt x="0" y="396478"/>
                  </a:lnTo>
                  <a:lnTo>
                    <a:pt x="198239" y="198239"/>
                  </a:lnTo>
                  <a:lnTo>
                    <a:pt x="0" y="0"/>
                  </a:lnTo>
                  <a:close/>
                </a:path>
              </a:pathLst>
            </a:cu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26" name="Parallelogram 25">
              <a:extLst>
                <a:ext uri="{FF2B5EF4-FFF2-40B4-BE49-F238E27FC236}">
                  <a16:creationId xmlns:a16="http://schemas.microsoft.com/office/drawing/2014/main" id="{17CA8FFC-C959-4D57-B07B-3B9F454F83B3}"/>
                </a:ext>
              </a:extLst>
            </p:cNvPr>
            <p:cNvSpPr/>
            <p:nvPr/>
          </p:nvSpPr>
          <p:spPr>
            <a:xfrm>
              <a:off x="7935457" y="2128485"/>
              <a:ext cx="820928" cy="606158"/>
            </a:xfrm>
            <a:prstGeom prst="parallelogram">
              <a:avLst>
                <a:gd name="adj" fmla="val 26267"/>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27" name="Parallelogram 26">
              <a:extLst>
                <a:ext uri="{FF2B5EF4-FFF2-40B4-BE49-F238E27FC236}">
                  <a16:creationId xmlns:a16="http://schemas.microsoft.com/office/drawing/2014/main" id="{A0B1287F-59D9-4FE4-A2A5-30C4DC9380FC}"/>
                </a:ext>
              </a:extLst>
            </p:cNvPr>
            <p:cNvSpPr/>
            <p:nvPr/>
          </p:nvSpPr>
          <p:spPr>
            <a:xfrm>
              <a:off x="8642724" y="2125152"/>
              <a:ext cx="1497711" cy="606158"/>
            </a:xfrm>
            <a:prstGeom prst="parallelogram">
              <a:avLst>
                <a:gd name="adj" fmla="val 24348"/>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28" name="Parallelogram 27">
              <a:extLst>
                <a:ext uri="{FF2B5EF4-FFF2-40B4-BE49-F238E27FC236}">
                  <a16:creationId xmlns:a16="http://schemas.microsoft.com/office/drawing/2014/main" id="{6E6F1670-4072-4F9D-A799-848175BBD159}"/>
                </a:ext>
              </a:extLst>
            </p:cNvPr>
            <p:cNvSpPr/>
            <p:nvPr/>
          </p:nvSpPr>
          <p:spPr>
            <a:xfrm flipV="1">
              <a:off x="8545690" y="1817047"/>
              <a:ext cx="885449" cy="260358"/>
            </a:xfrm>
            <a:prstGeom prst="parallelogram">
              <a:avLst>
                <a:gd name="adj" fmla="val 24348"/>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29" name="Parallelogram 28">
              <a:extLst>
                <a:ext uri="{FF2B5EF4-FFF2-40B4-BE49-F238E27FC236}">
                  <a16:creationId xmlns:a16="http://schemas.microsoft.com/office/drawing/2014/main" id="{ACD6EE15-F14E-45B0-9B00-E24487B29317}"/>
                </a:ext>
              </a:extLst>
            </p:cNvPr>
            <p:cNvSpPr/>
            <p:nvPr/>
          </p:nvSpPr>
          <p:spPr>
            <a:xfrm flipV="1">
              <a:off x="9327539" y="1481372"/>
              <a:ext cx="812896" cy="595700"/>
            </a:xfrm>
            <a:prstGeom prst="parallelogram">
              <a:avLst>
                <a:gd name="adj" fmla="val 24348"/>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grpSp>
      <p:grpSp>
        <p:nvGrpSpPr>
          <p:cNvPr id="30" name="Group 29">
            <a:extLst>
              <a:ext uri="{FF2B5EF4-FFF2-40B4-BE49-F238E27FC236}">
                <a16:creationId xmlns:a16="http://schemas.microsoft.com/office/drawing/2014/main" id="{85FE6482-BC83-48E1-9B12-D28279438F23}"/>
              </a:ext>
            </a:extLst>
          </p:cNvPr>
          <p:cNvGrpSpPr/>
          <p:nvPr/>
        </p:nvGrpSpPr>
        <p:grpSpPr>
          <a:xfrm>
            <a:off x="5085199" y="1969595"/>
            <a:ext cx="3237159" cy="926730"/>
            <a:chOff x="5324472" y="1812724"/>
            <a:chExt cx="3237159" cy="926730"/>
          </a:xfrm>
          <a:noFill/>
        </p:grpSpPr>
        <p:sp>
          <p:nvSpPr>
            <p:cNvPr id="31" name="Parallelogram 30">
              <a:extLst>
                <a:ext uri="{FF2B5EF4-FFF2-40B4-BE49-F238E27FC236}">
                  <a16:creationId xmlns:a16="http://schemas.microsoft.com/office/drawing/2014/main" id="{DFB6958C-DF39-4643-A777-156FA1482D37}"/>
                </a:ext>
              </a:extLst>
            </p:cNvPr>
            <p:cNvSpPr/>
            <p:nvPr/>
          </p:nvSpPr>
          <p:spPr>
            <a:xfrm>
              <a:off x="6584090" y="2133296"/>
              <a:ext cx="1442591" cy="606158"/>
            </a:xfrm>
            <a:prstGeom prst="parallelogram">
              <a:avLst>
                <a:gd name="adj" fmla="val 24348"/>
              </a:avLst>
            </a:prstGeom>
            <a:grp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32" name="Parallelogram 31">
              <a:extLst>
                <a:ext uri="{FF2B5EF4-FFF2-40B4-BE49-F238E27FC236}">
                  <a16:creationId xmlns:a16="http://schemas.microsoft.com/office/drawing/2014/main" id="{A87AA43E-52F2-416C-8ED9-03CFFFBE2734}"/>
                </a:ext>
              </a:extLst>
            </p:cNvPr>
            <p:cNvSpPr/>
            <p:nvPr/>
          </p:nvSpPr>
          <p:spPr>
            <a:xfrm flipV="1">
              <a:off x="8013246" y="1817047"/>
              <a:ext cx="548385" cy="260358"/>
            </a:xfrm>
            <a:prstGeom prst="parallelogram">
              <a:avLst>
                <a:gd name="adj" fmla="val 24348"/>
              </a:avLst>
            </a:prstGeom>
            <a:grp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33" name="Parallelogram 32">
              <a:extLst>
                <a:ext uri="{FF2B5EF4-FFF2-40B4-BE49-F238E27FC236}">
                  <a16:creationId xmlns:a16="http://schemas.microsoft.com/office/drawing/2014/main" id="{3FEB224D-163E-4AD9-AF09-6A39AD5B5A12}"/>
                </a:ext>
              </a:extLst>
            </p:cNvPr>
            <p:cNvSpPr/>
            <p:nvPr/>
          </p:nvSpPr>
          <p:spPr>
            <a:xfrm flipV="1">
              <a:off x="5324472" y="1812728"/>
              <a:ext cx="857625" cy="273331"/>
            </a:xfrm>
            <a:prstGeom prst="parallelogram">
              <a:avLst>
                <a:gd name="adj" fmla="val 24348"/>
              </a:avLst>
            </a:prstGeom>
            <a:grp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34" name="Parallelogram 33">
              <a:extLst>
                <a:ext uri="{FF2B5EF4-FFF2-40B4-BE49-F238E27FC236}">
                  <a16:creationId xmlns:a16="http://schemas.microsoft.com/office/drawing/2014/main" id="{E241C505-EEE2-41C7-81CC-A78E567EFF5B}"/>
                </a:ext>
              </a:extLst>
            </p:cNvPr>
            <p:cNvSpPr/>
            <p:nvPr/>
          </p:nvSpPr>
          <p:spPr>
            <a:xfrm flipV="1">
              <a:off x="6174297" y="1812724"/>
              <a:ext cx="1854477" cy="273331"/>
            </a:xfrm>
            <a:prstGeom prst="parallelogram">
              <a:avLst>
                <a:gd name="adj" fmla="val 24348"/>
              </a:avLst>
            </a:prstGeom>
            <a:grp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grpSp>
      <p:grpSp>
        <p:nvGrpSpPr>
          <p:cNvPr id="35" name="Group 34">
            <a:extLst>
              <a:ext uri="{FF2B5EF4-FFF2-40B4-BE49-F238E27FC236}">
                <a16:creationId xmlns:a16="http://schemas.microsoft.com/office/drawing/2014/main" id="{EC35997A-D0C6-4EC7-8A98-4463EA6CF13A}"/>
              </a:ext>
            </a:extLst>
          </p:cNvPr>
          <p:cNvGrpSpPr/>
          <p:nvPr/>
        </p:nvGrpSpPr>
        <p:grpSpPr>
          <a:xfrm>
            <a:off x="926483" y="1629774"/>
            <a:ext cx="8186946" cy="1268657"/>
            <a:chOff x="1165756" y="1472903"/>
            <a:chExt cx="8186946" cy="1268657"/>
          </a:xfrm>
          <a:noFill/>
        </p:grpSpPr>
        <p:sp>
          <p:nvSpPr>
            <p:cNvPr id="36" name="Freeform 65">
              <a:extLst>
                <a:ext uri="{FF2B5EF4-FFF2-40B4-BE49-F238E27FC236}">
                  <a16:creationId xmlns:a16="http://schemas.microsoft.com/office/drawing/2014/main" id="{CB7791D0-A86F-4C5B-9F1D-5252CE2A5BD6}"/>
                </a:ext>
              </a:extLst>
            </p:cNvPr>
            <p:cNvSpPr/>
            <p:nvPr/>
          </p:nvSpPr>
          <p:spPr>
            <a:xfrm>
              <a:off x="1165756" y="1479450"/>
              <a:ext cx="453976" cy="1260784"/>
            </a:xfrm>
            <a:custGeom>
              <a:avLst/>
              <a:gdLst>
                <a:gd name="connsiteX0" fmla="*/ 0 w 991195"/>
                <a:gd name="connsiteY0" fmla="*/ 0 h 396478"/>
                <a:gd name="connsiteX1" fmla="*/ 792956 w 991195"/>
                <a:gd name="connsiteY1" fmla="*/ 0 h 396478"/>
                <a:gd name="connsiteX2" fmla="*/ 991195 w 991195"/>
                <a:gd name="connsiteY2" fmla="*/ 198239 h 396478"/>
                <a:gd name="connsiteX3" fmla="*/ 792956 w 991195"/>
                <a:gd name="connsiteY3" fmla="*/ 396478 h 396478"/>
                <a:gd name="connsiteX4" fmla="*/ 0 w 991195"/>
                <a:gd name="connsiteY4" fmla="*/ 396478 h 396478"/>
                <a:gd name="connsiteX5" fmla="*/ 198239 w 991195"/>
                <a:gd name="connsiteY5" fmla="*/ 198239 h 396478"/>
                <a:gd name="connsiteX6" fmla="*/ 0 w 991195"/>
                <a:gd name="connsiteY6" fmla="*/ 0 h 396478"/>
                <a:gd name="connsiteX0" fmla="*/ 0 w 1192964"/>
                <a:gd name="connsiteY0" fmla="*/ 0 h 396478"/>
                <a:gd name="connsiteX1" fmla="*/ 792956 w 1192964"/>
                <a:gd name="connsiteY1" fmla="*/ 0 h 396478"/>
                <a:gd name="connsiteX2" fmla="*/ 1192964 w 1192964"/>
                <a:gd name="connsiteY2" fmla="*/ 196044 h 396478"/>
                <a:gd name="connsiteX3" fmla="*/ 792956 w 1192964"/>
                <a:gd name="connsiteY3" fmla="*/ 396478 h 396478"/>
                <a:gd name="connsiteX4" fmla="*/ 0 w 1192964"/>
                <a:gd name="connsiteY4" fmla="*/ 396478 h 396478"/>
                <a:gd name="connsiteX5" fmla="*/ 198239 w 1192964"/>
                <a:gd name="connsiteY5" fmla="*/ 198239 h 396478"/>
                <a:gd name="connsiteX6" fmla="*/ 0 w 1192964"/>
                <a:gd name="connsiteY6" fmla="*/ 0 h 396478"/>
                <a:gd name="connsiteX0" fmla="*/ 0 w 1192964"/>
                <a:gd name="connsiteY0" fmla="*/ 0 h 396478"/>
                <a:gd name="connsiteX1" fmla="*/ 792956 w 1192964"/>
                <a:gd name="connsiteY1" fmla="*/ 0 h 396478"/>
                <a:gd name="connsiteX2" fmla="*/ 1192964 w 1192964"/>
                <a:gd name="connsiteY2" fmla="*/ 196044 h 396478"/>
                <a:gd name="connsiteX3" fmla="*/ 792956 w 1192964"/>
                <a:gd name="connsiteY3" fmla="*/ 396478 h 396478"/>
                <a:gd name="connsiteX4" fmla="*/ 0 w 1192964"/>
                <a:gd name="connsiteY4" fmla="*/ 396478 h 396478"/>
                <a:gd name="connsiteX5" fmla="*/ 344979 w 1192964"/>
                <a:gd name="connsiteY5" fmla="*/ 198239 h 396478"/>
                <a:gd name="connsiteX6" fmla="*/ 0 w 1192964"/>
                <a:gd name="connsiteY6" fmla="*/ 0 h 396478"/>
                <a:gd name="connsiteX0" fmla="*/ 0 w 1192964"/>
                <a:gd name="connsiteY0" fmla="*/ 0 h 396478"/>
                <a:gd name="connsiteX1" fmla="*/ 792956 w 1192964"/>
                <a:gd name="connsiteY1" fmla="*/ 0 h 396478"/>
                <a:gd name="connsiteX2" fmla="*/ 1192964 w 1192964"/>
                <a:gd name="connsiteY2" fmla="*/ 196044 h 396478"/>
                <a:gd name="connsiteX3" fmla="*/ 792956 w 1192964"/>
                <a:gd name="connsiteY3" fmla="*/ 396478 h 396478"/>
                <a:gd name="connsiteX4" fmla="*/ 0 w 1192964"/>
                <a:gd name="connsiteY4" fmla="*/ 396478 h 396478"/>
                <a:gd name="connsiteX5" fmla="*/ 381664 w 1192964"/>
                <a:gd name="connsiteY5" fmla="*/ 198239 h 396478"/>
                <a:gd name="connsiteX6" fmla="*/ 0 w 1192964"/>
                <a:gd name="connsiteY6" fmla="*/ 0 h 396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2964" h="396478">
                  <a:moveTo>
                    <a:pt x="0" y="0"/>
                  </a:moveTo>
                  <a:lnTo>
                    <a:pt x="792956" y="0"/>
                  </a:lnTo>
                  <a:lnTo>
                    <a:pt x="1192964" y="196044"/>
                  </a:lnTo>
                  <a:lnTo>
                    <a:pt x="792956" y="396478"/>
                  </a:lnTo>
                  <a:lnTo>
                    <a:pt x="0" y="396478"/>
                  </a:lnTo>
                  <a:lnTo>
                    <a:pt x="381664" y="198239"/>
                  </a:lnTo>
                  <a:lnTo>
                    <a:pt x="0" y="0"/>
                  </a:lnTo>
                  <a:close/>
                </a:path>
              </a:pathLst>
            </a:custGeom>
            <a:grp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37" name="Parallelogram 36">
              <a:extLst>
                <a:ext uri="{FF2B5EF4-FFF2-40B4-BE49-F238E27FC236}">
                  <a16:creationId xmlns:a16="http://schemas.microsoft.com/office/drawing/2014/main" id="{3F5E7064-CC42-4F3F-8C2A-D7EB2FAB5A2D}"/>
                </a:ext>
              </a:extLst>
            </p:cNvPr>
            <p:cNvSpPr/>
            <p:nvPr/>
          </p:nvSpPr>
          <p:spPr>
            <a:xfrm flipV="1">
              <a:off x="1966769" y="1812733"/>
              <a:ext cx="2413799" cy="271640"/>
            </a:xfrm>
            <a:prstGeom prst="parallelogram">
              <a:avLst>
                <a:gd name="adj" fmla="val 24348"/>
              </a:avLst>
            </a:prstGeom>
            <a:grp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38" name="Parallelogram 37">
              <a:extLst>
                <a:ext uri="{FF2B5EF4-FFF2-40B4-BE49-F238E27FC236}">
                  <a16:creationId xmlns:a16="http://schemas.microsoft.com/office/drawing/2014/main" id="{F188E418-9E18-40BF-85D1-B27D0987834B}"/>
                </a:ext>
              </a:extLst>
            </p:cNvPr>
            <p:cNvSpPr/>
            <p:nvPr/>
          </p:nvSpPr>
          <p:spPr>
            <a:xfrm flipV="1">
              <a:off x="4351903" y="1812730"/>
              <a:ext cx="993241" cy="273331"/>
            </a:xfrm>
            <a:prstGeom prst="parallelogram">
              <a:avLst>
                <a:gd name="adj" fmla="val 24348"/>
              </a:avLst>
            </a:prstGeom>
            <a:grp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39" name="Freeform 65">
              <a:extLst>
                <a:ext uri="{FF2B5EF4-FFF2-40B4-BE49-F238E27FC236}">
                  <a16:creationId xmlns:a16="http://schemas.microsoft.com/office/drawing/2014/main" id="{9AB0F005-8EBD-4257-82C9-E59B8356B237}"/>
                </a:ext>
              </a:extLst>
            </p:cNvPr>
            <p:cNvSpPr/>
            <p:nvPr/>
          </p:nvSpPr>
          <p:spPr>
            <a:xfrm>
              <a:off x="1523284" y="1480776"/>
              <a:ext cx="453976" cy="1260784"/>
            </a:xfrm>
            <a:custGeom>
              <a:avLst/>
              <a:gdLst>
                <a:gd name="connsiteX0" fmla="*/ 0 w 991195"/>
                <a:gd name="connsiteY0" fmla="*/ 0 h 396478"/>
                <a:gd name="connsiteX1" fmla="*/ 792956 w 991195"/>
                <a:gd name="connsiteY1" fmla="*/ 0 h 396478"/>
                <a:gd name="connsiteX2" fmla="*/ 991195 w 991195"/>
                <a:gd name="connsiteY2" fmla="*/ 198239 h 396478"/>
                <a:gd name="connsiteX3" fmla="*/ 792956 w 991195"/>
                <a:gd name="connsiteY3" fmla="*/ 396478 h 396478"/>
                <a:gd name="connsiteX4" fmla="*/ 0 w 991195"/>
                <a:gd name="connsiteY4" fmla="*/ 396478 h 396478"/>
                <a:gd name="connsiteX5" fmla="*/ 198239 w 991195"/>
                <a:gd name="connsiteY5" fmla="*/ 198239 h 396478"/>
                <a:gd name="connsiteX6" fmla="*/ 0 w 991195"/>
                <a:gd name="connsiteY6" fmla="*/ 0 h 396478"/>
                <a:gd name="connsiteX0" fmla="*/ 0 w 1192964"/>
                <a:gd name="connsiteY0" fmla="*/ 0 h 396478"/>
                <a:gd name="connsiteX1" fmla="*/ 792956 w 1192964"/>
                <a:gd name="connsiteY1" fmla="*/ 0 h 396478"/>
                <a:gd name="connsiteX2" fmla="*/ 1192964 w 1192964"/>
                <a:gd name="connsiteY2" fmla="*/ 196044 h 396478"/>
                <a:gd name="connsiteX3" fmla="*/ 792956 w 1192964"/>
                <a:gd name="connsiteY3" fmla="*/ 396478 h 396478"/>
                <a:gd name="connsiteX4" fmla="*/ 0 w 1192964"/>
                <a:gd name="connsiteY4" fmla="*/ 396478 h 396478"/>
                <a:gd name="connsiteX5" fmla="*/ 198239 w 1192964"/>
                <a:gd name="connsiteY5" fmla="*/ 198239 h 396478"/>
                <a:gd name="connsiteX6" fmla="*/ 0 w 1192964"/>
                <a:gd name="connsiteY6" fmla="*/ 0 h 396478"/>
                <a:gd name="connsiteX0" fmla="*/ 0 w 1192964"/>
                <a:gd name="connsiteY0" fmla="*/ 0 h 396478"/>
                <a:gd name="connsiteX1" fmla="*/ 792956 w 1192964"/>
                <a:gd name="connsiteY1" fmla="*/ 0 h 396478"/>
                <a:gd name="connsiteX2" fmla="*/ 1192964 w 1192964"/>
                <a:gd name="connsiteY2" fmla="*/ 196044 h 396478"/>
                <a:gd name="connsiteX3" fmla="*/ 792956 w 1192964"/>
                <a:gd name="connsiteY3" fmla="*/ 396478 h 396478"/>
                <a:gd name="connsiteX4" fmla="*/ 0 w 1192964"/>
                <a:gd name="connsiteY4" fmla="*/ 396478 h 396478"/>
                <a:gd name="connsiteX5" fmla="*/ 344979 w 1192964"/>
                <a:gd name="connsiteY5" fmla="*/ 198239 h 396478"/>
                <a:gd name="connsiteX6" fmla="*/ 0 w 1192964"/>
                <a:gd name="connsiteY6" fmla="*/ 0 h 396478"/>
                <a:gd name="connsiteX0" fmla="*/ 0 w 1192964"/>
                <a:gd name="connsiteY0" fmla="*/ 0 h 396478"/>
                <a:gd name="connsiteX1" fmla="*/ 792956 w 1192964"/>
                <a:gd name="connsiteY1" fmla="*/ 0 h 396478"/>
                <a:gd name="connsiteX2" fmla="*/ 1192964 w 1192964"/>
                <a:gd name="connsiteY2" fmla="*/ 196044 h 396478"/>
                <a:gd name="connsiteX3" fmla="*/ 792956 w 1192964"/>
                <a:gd name="connsiteY3" fmla="*/ 396478 h 396478"/>
                <a:gd name="connsiteX4" fmla="*/ 0 w 1192964"/>
                <a:gd name="connsiteY4" fmla="*/ 396478 h 396478"/>
                <a:gd name="connsiteX5" fmla="*/ 381664 w 1192964"/>
                <a:gd name="connsiteY5" fmla="*/ 198239 h 396478"/>
                <a:gd name="connsiteX6" fmla="*/ 0 w 1192964"/>
                <a:gd name="connsiteY6" fmla="*/ 0 h 396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2964" h="396478">
                  <a:moveTo>
                    <a:pt x="0" y="0"/>
                  </a:moveTo>
                  <a:lnTo>
                    <a:pt x="792956" y="0"/>
                  </a:lnTo>
                  <a:lnTo>
                    <a:pt x="1192964" y="196044"/>
                  </a:lnTo>
                  <a:lnTo>
                    <a:pt x="792956" y="396478"/>
                  </a:lnTo>
                  <a:lnTo>
                    <a:pt x="0" y="396478"/>
                  </a:lnTo>
                  <a:lnTo>
                    <a:pt x="381664" y="198239"/>
                  </a:lnTo>
                  <a:lnTo>
                    <a:pt x="0" y="0"/>
                  </a:lnTo>
                  <a:close/>
                </a:path>
              </a:pathLst>
            </a:custGeom>
            <a:grp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40" name="Parallelogram 39">
              <a:extLst>
                <a:ext uri="{FF2B5EF4-FFF2-40B4-BE49-F238E27FC236}">
                  <a16:creationId xmlns:a16="http://schemas.microsoft.com/office/drawing/2014/main" id="{7A7BA066-DB21-4972-9729-C6104D6AE0FF}"/>
                </a:ext>
              </a:extLst>
            </p:cNvPr>
            <p:cNvSpPr/>
            <p:nvPr/>
          </p:nvSpPr>
          <p:spPr>
            <a:xfrm flipV="1">
              <a:off x="6593394" y="1485133"/>
              <a:ext cx="2759308" cy="282168"/>
            </a:xfrm>
            <a:prstGeom prst="parallelogram">
              <a:avLst>
                <a:gd name="adj" fmla="val 24348"/>
              </a:avLst>
            </a:prstGeom>
            <a:grp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41" name="Parallelogram 40">
              <a:extLst>
                <a:ext uri="{FF2B5EF4-FFF2-40B4-BE49-F238E27FC236}">
                  <a16:creationId xmlns:a16="http://schemas.microsoft.com/office/drawing/2014/main" id="{CAF43247-F4BC-4E21-8A07-537553F3975E}"/>
                </a:ext>
              </a:extLst>
            </p:cNvPr>
            <p:cNvSpPr/>
            <p:nvPr/>
          </p:nvSpPr>
          <p:spPr>
            <a:xfrm flipV="1">
              <a:off x="1876722" y="1472903"/>
              <a:ext cx="4723064" cy="290459"/>
            </a:xfrm>
            <a:prstGeom prst="parallelogram">
              <a:avLst>
                <a:gd name="adj" fmla="val 24348"/>
              </a:avLst>
            </a:prstGeom>
            <a:grp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grpSp>
      <p:sp>
        <p:nvSpPr>
          <p:cNvPr id="42" name="Rectangle 41">
            <a:extLst>
              <a:ext uri="{FF2B5EF4-FFF2-40B4-BE49-F238E27FC236}">
                <a16:creationId xmlns:a16="http://schemas.microsoft.com/office/drawing/2014/main" id="{53A5C518-FACA-459E-B5E7-3E98048AB216}"/>
              </a:ext>
            </a:extLst>
          </p:cNvPr>
          <p:cNvSpPr/>
          <p:nvPr/>
        </p:nvSpPr>
        <p:spPr>
          <a:xfrm>
            <a:off x="9831938" y="1951420"/>
            <a:ext cx="775278" cy="674031"/>
          </a:xfrm>
          <a:prstGeom prst="rect">
            <a:avLst/>
          </a:prstGeom>
        </p:spPr>
        <p:txBody>
          <a:bodyPr wrap="square" anchor="ctr">
            <a:sp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700" b="1" i="0" u="none" strike="noStrike" kern="1200" cap="none" spc="0" normalizeH="0" baseline="0" noProof="0" dirty="0">
                <a:ln>
                  <a:noFill/>
                </a:ln>
                <a:solidFill>
                  <a:srgbClr val="000000"/>
                </a:solidFill>
                <a:effectLst/>
                <a:uLnTx/>
                <a:uFillTx/>
                <a:ea typeface="+mn-ea"/>
                <a:cs typeface="+mn-cs"/>
              </a:rPr>
              <a:t>Update initiative </a:t>
            </a:r>
            <a:br>
              <a:rPr kumimoji="0" lang="en-US" sz="700" b="1" i="0" u="none" strike="noStrike" kern="1200" cap="none" spc="0" normalizeH="0" baseline="0" noProof="0" dirty="0">
                <a:ln>
                  <a:noFill/>
                </a:ln>
                <a:solidFill>
                  <a:srgbClr val="000000"/>
                </a:solidFill>
                <a:effectLst/>
                <a:uLnTx/>
                <a:uFillTx/>
                <a:ea typeface="+mn-ea"/>
                <a:cs typeface="+mn-cs"/>
              </a:rPr>
            </a:br>
            <a:r>
              <a:rPr kumimoji="0" lang="en-US" sz="700" b="1" i="0" u="none" strike="noStrike" kern="1200" cap="none" spc="0" normalizeH="0" baseline="0" noProof="0" dirty="0">
                <a:ln>
                  <a:noFill/>
                </a:ln>
                <a:solidFill>
                  <a:srgbClr val="000000"/>
                </a:solidFill>
                <a:effectLst/>
                <a:uLnTx/>
                <a:uFillTx/>
                <a:ea typeface="+mn-ea"/>
                <a:cs typeface="+mn-cs"/>
              </a:rPr>
              <a:t>and </a:t>
            </a:r>
            <a:br>
              <a:rPr kumimoji="0" lang="en-US" sz="700" b="1" i="0" u="none" strike="noStrike" kern="1200" cap="none" spc="0" normalizeH="0" baseline="0" noProof="0" dirty="0">
                <a:ln>
                  <a:noFill/>
                </a:ln>
                <a:solidFill>
                  <a:srgbClr val="000000"/>
                </a:solidFill>
                <a:effectLst/>
                <a:uLnTx/>
                <a:uFillTx/>
                <a:ea typeface="+mn-ea"/>
                <a:cs typeface="+mn-cs"/>
              </a:rPr>
            </a:br>
            <a:r>
              <a:rPr kumimoji="0" lang="en-US" sz="700" b="1" i="0" u="none" strike="noStrike" kern="1200" cap="none" spc="0" normalizeH="0" baseline="0" noProof="0" dirty="0">
                <a:ln>
                  <a:noFill/>
                </a:ln>
                <a:solidFill>
                  <a:srgbClr val="000000"/>
                </a:solidFill>
                <a:effectLst/>
                <a:uLnTx/>
                <a:uFillTx/>
                <a:ea typeface="+mn-ea"/>
                <a:cs typeface="+mn-cs"/>
              </a:rPr>
              <a:t>high-level business case</a:t>
            </a:r>
          </a:p>
        </p:txBody>
      </p:sp>
      <p:sp>
        <p:nvSpPr>
          <p:cNvPr id="43" name="Rectangle 42">
            <a:extLst>
              <a:ext uri="{FF2B5EF4-FFF2-40B4-BE49-F238E27FC236}">
                <a16:creationId xmlns:a16="http://schemas.microsoft.com/office/drawing/2014/main" id="{D9E24478-19FB-4C50-A518-164D7E7C5FB1}"/>
              </a:ext>
            </a:extLst>
          </p:cNvPr>
          <p:cNvSpPr/>
          <p:nvPr/>
        </p:nvSpPr>
        <p:spPr>
          <a:xfrm>
            <a:off x="6662701" y="2446390"/>
            <a:ext cx="718052" cy="286232"/>
          </a:xfrm>
          <a:prstGeom prst="rect">
            <a:avLst/>
          </a:prstGeom>
        </p:spPr>
        <p:txBody>
          <a:bodyPr wrap="square">
            <a:sp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Define Initiatives</a:t>
            </a:r>
          </a:p>
        </p:txBody>
      </p:sp>
      <p:sp>
        <p:nvSpPr>
          <p:cNvPr id="44" name="Rectangle 43">
            <a:extLst>
              <a:ext uri="{FF2B5EF4-FFF2-40B4-BE49-F238E27FC236}">
                <a16:creationId xmlns:a16="http://schemas.microsoft.com/office/drawing/2014/main" id="{7E55FDBD-B6C2-42EE-81CC-AE36163873C4}"/>
              </a:ext>
            </a:extLst>
          </p:cNvPr>
          <p:cNvSpPr/>
          <p:nvPr/>
        </p:nvSpPr>
        <p:spPr>
          <a:xfrm>
            <a:off x="10523611" y="2039685"/>
            <a:ext cx="814457" cy="480131"/>
          </a:xfrm>
          <a:prstGeom prst="rect">
            <a:avLst/>
          </a:prstGeom>
        </p:spPr>
        <p:txBody>
          <a:bodyPr wrap="square" anchor="ctr">
            <a:sp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700" b="1" i="0" u="none" strike="noStrike" kern="1200" cap="none" spc="0" normalizeH="0" baseline="0" noProof="0" dirty="0">
                <a:ln>
                  <a:noFill/>
                </a:ln>
                <a:solidFill>
                  <a:srgbClr val="000000"/>
                </a:solidFill>
                <a:effectLst/>
                <a:uLnTx/>
                <a:uFillTx/>
                <a:ea typeface="+mn-ea"/>
                <a:cs typeface="+mn-cs"/>
              </a:rPr>
              <a:t>Develop an executive walking presentation</a:t>
            </a:r>
          </a:p>
        </p:txBody>
      </p:sp>
      <p:sp>
        <p:nvSpPr>
          <p:cNvPr id="45" name="Rectangle 44">
            <a:extLst>
              <a:ext uri="{FF2B5EF4-FFF2-40B4-BE49-F238E27FC236}">
                <a16:creationId xmlns:a16="http://schemas.microsoft.com/office/drawing/2014/main" id="{2D6A876F-8A6A-4B89-974D-9231C91149E6}"/>
              </a:ext>
            </a:extLst>
          </p:cNvPr>
          <p:cNvSpPr/>
          <p:nvPr/>
        </p:nvSpPr>
        <p:spPr>
          <a:xfrm rot="16200000">
            <a:off x="715748" y="2128574"/>
            <a:ext cx="959354" cy="286232"/>
          </a:xfrm>
          <a:prstGeom prst="rect">
            <a:avLst/>
          </a:prstGeom>
        </p:spPr>
        <p:txBody>
          <a:bodyPr wrap="square">
            <a:sp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Documentation review</a:t>
            </a:r>
          </a:p>
        </p:txBody>
      </p:sp>
      <p:sp>
        <p:nvSpPr>
          <p:cNvPr id="46" name="Rectangle 45">
            <a:extLst>
              <a:ext uri="{FF2B5EF4-FFF2-40B4-BE49-F238E27FC236}">
                <a16:creationId xmlns:a16="http://schemas.microsoft.com/office/drawing/2014/main" id="{3A7D7932-467F-4220-BF13-A0968F675EAA}"/>
              </a:ext>
            </a:extLst>
          </p:cNvPr>
          <p:cNvSpPr/>
          <p:nvPr/>
        </p:nvSpPr>
        <p:spPr>
          <a:xfrm>
            <a:off x="2762430" y="2602119"/>
            <a:ext cx="1104801" cy="286232"/>
          </a:xfrm>
          <a:prstGeom prst="rect">
            <a:avLst/>
          </a:prstGeom>
        </p:spPr>
        <p:txBody>
          <a:bodyPr wrap="square">
            <a:sp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Define potential partnerships</a:t>
            </a:r>
          </a:p>
        </p:txBody>
      </p:sp>
      <p:sp>
        <p:nvSpPr>
          <p:cNvPr id="47" name="Rectangle 46">
            <a:extLst>
              <a:ext uri="{FF2B5EF4-FFF2-40B4-BE49-F238E27FC236}">
                <a16:creationId xmlns:a16="http://schemas.microsoft.com/office/drawing/2014/main" id="{F66949C4-E86F-4026-B0CD-CF35F5092CE1}"/>
              </a:ext>
            </a:extLst>
          </p:cNvPr>
          <p:cNvSpPr/>
          <p:nvPr/>
        </p:nvSpPr>
        <p:spPr>
          <a:xfrm>
            <a:off x="4112630" y="2597401"/>
            <a:ext cx="914828" cy="286232"/>
          </a:xfrm>
          <a:prstGeom prst="rect">
            <a:avLst/>
          </a:prstGeom>
        </p:spPr>
        <p:txBody>
          <a:bodyPr wrap="square">
            <a:sp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Assess existing architecture</a:t>
            </a:r>
          </a:p>
        </p:txBody>
      </p:sp>
      <p:sp>
        <p:nvSpPr>
          <p:cNvPr id="48" name="Rectangle 47">
            <a:extLst>
              <a:ext uri="{FF2B5EF4-FFF2-40B4-BE49-F238E27FC236}">
                <a16:creationId xmlns:a16="http://schemas.microsoft.com/office/drawing/2014/main" id="{C84522A6-9B79-4B19-8D8C-80AFC7B8CFEA}"/>
              </a:ext>
            </a:extLst>
          </p:cNvPr>
          <p:cNvSpPr/>
          <p:nvPr/>
        </p:nvSpPr>
        <p:spPr>
          <a:xfrm>
            <a:off x="7793756" y="2452366"/>
            <a:ext cx="586587" cy="286232"/>
          </a:xfrm>
          <a:prstGeom prst="rect">
            <a:avLst/>
          </a:prstGeom>
        </p:spPr>
        <p:txBody>
          <a:bodyPr wrap="square">
            <a:sp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700" b="1" i="0" u="none" strike="noStrike" kern="1200" cap="none" spc="0" normalizeH="0" baseline="0" noProof="0" dirty="0">
                <a:ln>
                  <a:noFill/>
                </a:ln>
                <a:solidFill>
                  <a:srgbClr val="000000"/>
                </a:solidFill>
                <a:effectLst/>
                <a:uLnTx/>
                <a:uFillTx/>
                <a:ea typeface="+mn-ea"/>
                <a:cs typeface="+mn-cs"/>
              </a:rPr>
              <a:t>Evaluate impact</a:t>
            </a:r>
          </a:p>
        </p:txBody>
      </p:sp>
      <p:sp>
        <p:nvSpPr>
          <p:cNvPr id="49" name="Rectangle 48">
            <a:extLst>
              <a:ext uri="{FF2B5EF4-FFF2-40B4-BE49-F238E27FC236}">
                <a16:creationId xmlns:a16="http://schemas.microsoft.com/office/drawing/2014/main" id="{4D4FD8D9-8843-47F7-8507-7A2747B58E5F}"/>
              </a:ext>
            </a:extLst>
          </p:cNvPr>
          <p:cNvSpPr/>
          <p:nvPr/>
        </p:nvSpPr>
        <p:spPr>
          <a:xfrm>
            <a:off x="8574460" y="2426502"/>
            <a:ext cx="1211883" cy="383182"/>
          </a:xfrm>
          <a:prstGeom prst="rect">
            <a:avLst/>
          </a:prstGeom>
          <a:ln>
            <a:noFill/>
          </a:ln>
        </p:spPr>
        <p:txBody>
          <a:bodyPr wrap="square">
            <a:sp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700" b="1" i="0" u="none" strike="noStrike" kern="1200" cap="none" spc="0" normalizeH="0" baseline="0" noProof="0" dirty="0">
                <a:ln>
                  <a:noFill/>
                </a:ln>
                <a:solidFill>
                  <a:srgbClr val="000000"/>
                </a:solidFill>
                <a:effectLst/>
                <a:uLnTx/>
                <a:uFillTx/>
                <a:ea typeface="+mn-ea"/>
                <a:cs typeface="+mn-cs"/>
              </a:rPr>
              <a:t>Sequence initiatives into a high-level roadmap</a:t>
            </a:r>
          </a:p>
        </p:txBody>
      </p:sp>
      <p:sp>
        <p:nvSpPr>
          <p:cNvPr id="50" name="Rectangle 49">
            <a:extLst>
              <a:ext uri="{FF2B5EF4-FFF2-40B4-BE49-F238E27FC236}">
                <a16:creationId xmlns:a16="http://schemas.microsoft.com/office/drawing/2014/main" id="{274C7E7E-9205-42F3-ACC6-23B68A519145}"/>
              </a:ext>
            </a:extLst>
          </p:cNvPr>
          <p:cNvSpPr/>
          <p:nvPr/>
        </p:nvSpPr>
        <p:spPr>
          <a:xfrm>
            <a:off x="9165175" y="1705168"/>
            <a:ext cx="681559" cy="480131"/>
          </a:xfrm>
          <a:prstGeom prst="rect">
            <a:avLst/>
          </a:prstGeom>
        </p:spPr>
        <p:txBody>
          <a:bodyPr wrap="square" anchor="ctr">
            <a:sp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700" b="1" i="0" u="none" strike="noStrike" kern="1200" cap="none" spc="0" normalizeH="0" baseline="0" noProof="0" dirty="0">
                <a:ln>
                  <a:noFill/>
                </a:ln>
                <a:solidFill>
                  <a:srgbClr val="000000"/>
                </a:solidFill>
                <a:effectLst/>
                <a:uLnTx/>
                <a:uFillTx/>
                <a:ea typeface="+mn-ea"/>
                <a:cs typeface="+mn-cs"/>
              </a:rPr>
              <a:t>Identify short and long-term milestones</a:t>
            </a:r>
          </a:p>
        </p:txBody>
      </p:sp>
      <p:sp>
        <p:nvSpPr>
          <p:cNvPr id="51" name="Rectangle 50">
            <a:extLst>
              <a:ext uri="{FF2B5EF4-FFF2-40B4-BE49-F238E27FC236}">
                <a16:creationId xmlns:a16="http://schemas.microsoft.com/office/drawing/2014/main" id="{45A0EA2A-481D-4364-97F9-97FCDD0F1BBB}"/>
              </a:ext>
            </a:extLst>
          </p:cNvPr>
          <p:cNvSpPr/>
          <p:nvPr/>
        </p:nvSpPr>
        <p:spPr>
          <a:xfrm rot="16200000">
            <a:off x="1063406" y="2175433"/>
            <a:ext cx="959354" cy="189283"/>
          </a:xfrm>
          <a:prstGeom prst="rect">
            <a:avLst/>
          </a:prstGeom>
        </p:spPr>
        <p:txBody>
          <a:bodyPr wrap="square">
            <a:sp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Initiate Research</a:t>
            </a:r>
          </a:p>
        </p:txBody>
      </p:sp>
      <p:sp>
        <p:nvSpPr>
          <p:cNvPr id="52" name="Rectangle 51">
            <a:extLst>
              <a:ext uri="{FF2B5EF4-FFF2-40B4-BE49-F238E27FC236}">
                <a16:creationId xmlns:a16="http://schemas.microsoft.com/office/drawing/2014/main" id="{D5A0FB9C-FB14-419D-BD74-136BC84A5EAB}"/>
              </a:ext>
            </a:extLst>
          </p:cNvPr>
          <p:cNvSpPr/>
          <p:nvPr/>
        </p:nvSpPr>
        <p:spPr>
          <a:xfrm>
            <a:off x="6741942" y="1679955"/>
            <a:ext cx="2015783" cy="189283"/>
          </a:xfrm>
          <a:prstGeom prst="rect">
            <a:avLst/>
          </a:prstGeom>
        </p:spPr>
        <p:txBody>
          <a:bodyPr wrap="square">
            <a:sp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Define and refine future state strategy</a:t>
            </a:r>
          </a:p>
        </p:txBody>
      </p:sp>
      <p:sp>
        <p:nvSpPr>
          <p:cNvPr id="53" name="Rectangle 52">
            <a:extLst>
              <a:ext uri="{FF2B5EF4-FFF2-40B4-BE49-F238E27FC236}">
                <a16:creationId xmlns:a16="http://schemas.microsoft.com/office/drawing/2014/main" id="{D10575A1-C49A-4F24-9BA9-4EC370BDBE93}"/>
              </a:ext>
            </a:extLst>
          </p:cNvPr>
          <p:cNvSpPr/>
          <p:nvPr/>
        </p:nvSpPr>
        <p:spPr>
          <a:xfrm>
            <a:off x="1624984" y="1949733"/>
            <a:ext cx="2640645" cy="286232"/>
          </a:xfrm>
          <a:prstGeom prst="rect">
            <a:avLst/>
          </a:prstGeom>
        </p:spPr>
        <p:txBody>
          <a:bodyPr wrap="square">
            <a:sp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Current state analysis and needs for capabilities, technology, and data and insights</a:t>
            </a:r>
          </a:p>
        </p:txBody>
      </p:sp>
      <p:sp>
        <p:nvSpPr>
          <p:cNvPr id="54" name="Rectangle 53">
            <a:extLst>
              <a:ext uri="{FF2B5EF4-FFF2-40B4-BE49-F238E27FC236}">
                <a16:creationId xmlns:a16="http://schemas.microsoft.com/office/drawing/2014/main" id="{28EEEFDB-0486-4414-94A6-D1929F569291}"/>
              </a:ext>
            </a:extLst>
          </p:cNvPr>
          <p:cNvSpPr/>
          <p:nvPr/>
        </p:nvSpPr>
        <p:spPr>
          <a:xfrm>
            <a:off x="4138899" y="1948044"/>
            <a:ext cx="941820" cy="286232"/>
          </a:xfrm>
          <a:prstGeom prst="rect">
            <a:avLst/>
          </a:prstGeom>
        </p:spPr>
        <p:txBody>
          <a:bodyPr wrap="square">
            <a:sp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Conduct Strategy Session</a:t>
            </a:r>
          </a:p>
        </p:txBody>
      </p:sp>
      <p:sp>
        <p:nvSpPr>
          <p:cNvPr id="55" name="Rectangle 54">
            <a:extLst>
              <a:ext uri="{FF2B5EF4-FFF2-40B4-BE49-F238E27FC236}">
                <a16:creationId xmlns:a16="http://schemas.microsoft.com/office/drawing/2014/main" id="{38000305-157C-43DF-A024-35AE92CA727B}"/>
              </a:ext>
            </a:extLst>
          </p:cNvPr>
          <p:cNvSpPr/>
          <p:nvPr/>
        </p:nvSpPr>
        <p:spPr>
          <a:xfrm>
            <a:off x="1742035" y="1675675"/>
            <a:ext cx="4612086" cy="189283"/>
          </a:xfrm>
          <a:prstGeom prst="rect">
            <a:avLst/>
          </a:prstGeom>
        </p:spPr>
        <p:txBody>
          <a:bodyPr wrap="square">
            <a:sp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Review and develop customer journeys</a:t>
            </a:r>
          </a:p>
        </p:txBody>
      </p:sp>
      <p:sp>
        <p:nvSpPr>
          <p:cNvPr id="56" name="Rectangle 55">
            <a:extLst>
              <a:ext uri="{FF2B5EF4-FFF2-40B4-BE49-F238E27FC236}">
                <a16:creationId xmlns:a16="http://schemas.microsoft.com/office/drawing/2014/main" id="{2489C2FF-AEA4-4D04-BD3F-0B1CAC013965}"/>
              </a:ext>
            </a:extLst>
          </p:cNvPr>
          <p:cNvSpPr/>
          <p:nvPr/>
        </p:nvSpPr>
        <p:spPr>
          <a:xfrm>
            <a:off x="1832512" y="2320587"/>
            <a:ext cx="2193265" cy="189283"/>
          </a:xfrm>
          <a:prstGeom prst="rect">
            <a:avLst/>
          </a:prstGeom>
          <a:solidFill>
            <a:schemeClr val="bg1"/>
          </a:solidFill>
        </p:spPr>
        <p:txBody>
          <a:bodyPr wrap="square">
            <a:sp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Assess omnichannel capabilities needed</a:t>
            </a:r>
          </a:p>
        </p:txBody>
      </p:sp>
      <p:sp>
        <p:nvSpPr>
          <p:cNvPr id="57" name="Rectangle 56">
            <a:extLst>
              <a:ext uri="{FF2B5EF4-FFF2-40B4-BE49-F238E27FC236}">
                <a16:creationId xmlns:a16="http://schemas.microsoft.com/office/drawing/2014/main" id="{E2DAAEE8-5D18-4A25-935E-1F4BBBCB02A6}"/>
              </a:ext>
            </a:extLst>
          </p:cNvPr>
          <p:cNvSpPr/>
          <p:nvPr/>
        </p:nvSpPr>
        <p:spPr>
          <a:xfrm>
            <a:off x="7733775" y="1961108"/>
            <a:ext cx="604696" cy="286232"/>
          </a:xfrm>
          <a:prstGeom prst="rect">
            <a:avLst/>
          </a:prstGeom>
        </p:spPr>
        <p:txBody>
          <a:bodyPr wrap="square">
            <a:sp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Conduct Sessions</a:t>
            </a:r>
          </a:p>
        </p:txBody>
      </p:sp>
      <p:sp>
        <p:nvSpPr>
          <p:cNvPr id="58" name="Rectangle 57">
            <a:extLst>
              <a:ext uri="{FF2B5EF4-FFF2-40B4-BE49-F238E27FC236}">
                <a16:creationId xmlns:a16="http://schemas.microsoft.com/office/drawing/2014/main" id="{26D4124A-BA03-444A-AA54-A39940E788C3}"/>
              </a:ext>
            </a:extLst>
          </p:cNvPr>
          <p:cNvSpPr/>
          <p:nvPr/>
        </p:nvSpPr>
        <p:spPr>
          <a:xfrm>
            <a:off x="5095291" y="2611103"/>
            <a:ext cx="1219840" cy="286232"/>
          </a:xfrm>
          <a:prstGeom prst="rect">
            <a:avLst/>
          </a:prstGeom>
        </p:spPr>
        <p:txBody>
          <a:bodyPr wrap="square">
            <a:sp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Design platform and data architecture</a:t>
            </a:r>
          </a:p>
        </p:txBody>
      </p:sp>
      <p:sp>
        <p:nvSpPr>
          <p:cNvPr id="59" name="Rectangle 58">
            <a:extLst>
              <a:ext uri="{FF2B5EF4-FFF2-40B4-BE49-F238E27FC236}">
                <a16:creationId xmlns:a16="http://schemas.microsoft.com/office/drawing/2014/main" id="{AB66BD31-52DC-4731-BCDB-5A19CA4AC606}"/>
              </a:ext>
            </a:extLst>
          </p:cNvPr>
          <p:cNvSpPr/>
          <p:nvPr/>
        </p:nvSpPr>
        <p:spPr>
          <a:xfrm>
            <a:off x="5138622" y="1956892"/>
            <a:ext cx="786058" cy="286232"/>
          </a:xfrm>
          <a:prstGeom prst="rect">
            <a:avLst/>
          </a:prstGeom>
        </p:spPr>
        <p:txBody>
          <a:bodyPr wrap="square">
            <a:sp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Understand programs</a:t>
            </a:r>
          </a:p>
        </p:txBody>
      </p:sp>
      <p:sp>
        <p:nvSpPr>
          <p:cNvPr id="60" name="Rectangle 59">
            <a:extLst>
              <a:ext uri="{FF2B5EF4-FFF2-40B4-BE49-F238E27FC236}">
                <a16:creationId xmlns:a16="http://schemas.microsoft.com/office/drawing/2014/main" id="{40231044-CB79-4CB1-B416-A3CFA94EC942}"/>
              </a:ext>
            </a:extLst>
          </p:cNvPr>
          <p:cNvSpPr/>
          <p:nvPr/>
        </p:nvSpPr>
        <p:spPr>
          <a:xfrm>
            <a:off x="5994425" y="2008290"/>
            <a:ext cx="1594023" cy="189283"/>
          </a:xfrm>
          <a:prstGeom prst="rect">
            <a:avLst/>
          </a:prstGeom>
          <a:ln>
            <a:noFill/>
          </a:ln>
        </p:spPr>
        <p:txBody>
          <a:bodyPr wrap="square">
            <a:sp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Assess key gaps</a:t>
            </a:r>
          </a:p>
        </p:txBody>
      </p:sp>
      <p:sp>
        <p:nvSpPr>
          <p:cNvPr id="61" name="Rectangle 60">
            <a:extLst>
              <a:ext uri="{FF2B5EF4-FFF2-40B4-BE49-F238E27FC236}">
                <a16:creationId xmlns:a16="http://schemas.microsoft.com/office/drawing/2014/main" id="{51B2F4B6-F0F4-4AE6-A06C-165530B25834}"/>
              </a:ext>
            </a:extLst>
          </p:cNvPr>
          <p:cNvSpPr/>
          <p:nvPr/>
        </p:nvSpPr>
        <p:spPr>
          <a:xfrm>
            <a:off x="8480022" y="1969703"/>
            <a:ext cx="569229" cy="286232"/>
          </a:xfrm>
          <a:prstGeom prst="rect">
            <a:avLst/>
          </a:prstGeom>
        </p:spPr>
        <p:txBody>
          <a:bodyPr wrap="square">
            <a:sp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700" b="1" i="0" u="none" strike="noStrike" kern="1200" cap="none" spc="0" normalizeH="0" baseline="0" noProof="0" dirty="0">
                <a:ln>
                  <a:noFill/>
                </a:ln>
                <a:solidFill>
                  <a:srgbClr val="000000"/>
                </a:solidFill>
                <a:effectLst/>
                <a:uLnTx/>
                <a:uFillTx/>
                <a:ea typeface="+mn-ea"/>
                <a:cs typeface="+mn-cs"/>
              </a:rPr>
              <a:t>Conduct Sessions</a:t>
            </a:r>
          </a:p>
        </p:txBody>
      </p:sp>
      <p:sp>
        <p:nvSpPr>
          <p:cNvPr id="62" name="Rectangle 61">
            <a:extLst>
              <a:ext uri="{FF2B5EF4-FFF2-40B4-BE49-F238E27FC236}">
                <a16:creationId xmlns:a16="http://schemas.microsoft.com/office/drawing/2014/main" id="{C1219FBF-A162-463B-AA5A-BB4E7C6D6858}"/>
              </a:ext>
            </a:extLst>
          </p:cNvPr>
          <p:cNvSpPr/>
          <p:nvPr/>
        </p:nvSpPr>
        <p:spPr>
          <a:xfrm>
            <a:off x="4190459" y="2340571"/>
            <a:ext cx="2170054" cy="189283"/>
          </a:xfrm>
          <a:prstGeom prst="rect">
            <a:avLst/>
          </a:prstGeom>
        </p:spPr>
        <p:txBody>
          <a:bodyPr wrap="square">
            <a:sp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Assess metrics, data, technology needed</a:t>
            </a:r>
          </a:p>
        </p:txBody>
      </p:sp>
      <p:sp>
        <p:nvSpPr>
          <p:cNvPr id="63" name="Rectangle 62">
            <a:extLst>
              <a:ext uri="{FF2B5EF4-FFF2-40B4-BE49-F238E27FC236}">
                <a16:creationId xmlns:a16="http://schemas.microsoft.com/office/drawing/2014/main" id="{6F17F3F3-DA4F-4D20-8F18-1BC4BC81FE37}"/>
              </a:ext>
            </a:extLst>
          </p:cNvPr>
          <p:cNvSpPr/>
          <p:nvPr/>
        </p:nvSpPr>
        <p:spPr>
          <a:xfrm>
            <a:off x="2541069" y="2446391"/>
            <a:ext cx="289151" cy="850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ea typeface="+mn-ea"/>
              <a:cs typeface="+mn-cs"/>
            </a:endParaRPr>
          </a:p>
        </p:txBody>
      </p:sp>
      <p:sp>
        <p:nvSpPr>
          <p:cNvPr id="64" name="Rectangle 63">
            <a:extLst>
              <a:ext uri="{FF2B5EF4-FFF2-40B4-BE49-F238E27FC236}">
                <a16:creationId xmlns:a16="http://schemas.microsoft.com/office/drawing/2014/main" id="{FFFA2279-C5C4-4CA3-997E-810750980818}"/>
              </a:ext>
            </a:extLst>
          </p:cNvPr>
          <p:cNvSpPr/>
          <p:nvPr/>
        </p:nvSpPr>
        <p:spPr>
          <a:xfrm>
            <a:off x="2415941" y="2475267"/>
            <a:ext cx="289151" cy="850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ea typeface="+mn-ea"/>
              <a:cs typeface="+mn-cs"/>
            </a:endParaRPr>
          </a:p>
        </p:txBody>
      </p:sp>
      <p:sp>
        <p:nvSpPr>
          <p:cNvPr id="65" name="Rectangle 64">
            <a:extLst>
              <a:ext uri="{FF2B5EF4-FFF2-40B4-BE49-F238E27FC236}">
                <a16:creationId xmlns:a16="http://schemas.microsoft.com/office/drawing/2014/main" id="{4A6E4A57-4EF1-4212-BDF0-D4CCD5E662C7}"/>
              </a:ext>
            </a:extLst>
          </p:cNvPr>
          <p:cNvSpPr/>
          <p:nvPr/>
        </p:nvSpPr>
        <p:spPr>
          <a:xfrm>
            <a:off x="2589196" y="2297200"/>
            <a:ext cx="289151" cy="850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ea typeface="+mn-ea"/>
              <a:cs typeface="+mn-cs"/>
            </a:endParaRPr>
          </a:p>
        </p:txBody>
      </p:sp>
      <p:sp>
        <p:nvSpPr>
          <p:cNvPr id="66" name="Oval 65">
            <a:extLst>
              <a:ext uri="{FF2B5EF4-FFF2-40B4-BE49-F238E27FC236}">
                <a16:creationId xmlns:a16="http://schemas.microsoft.com/office/drawing/2014/main" id="{E316E4C8-FCC6-4CC2-8473-3E2E8F513AED}"/>
              </a:ext>
            </a:extLst>
          </p:cNvPr>
          <p:cNvSpPr/>
          <p:nvPr/>
        </p:nvSpPr>
        <p:spPr>
          <a:xfrm>
            <a:off x="1610503" y="2093383"/>
            <a:ext cx="327206" cy="32720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ea typeface="+mn-ea"/>
              <a:cs typeface="+mn-cs"/>
            </a:endParaRPr>
          </a:p>
        </p:txBody>
      </p:sp>
      <p:grpSp>
        <p:nvGrpSpPr>
          <p:cNvPr id="67" name="Group 66">
            <a:extLst>
              <a:ext uri="{FF2B5EF4-FFF2-40B4-BE49-F238E27FC236}">
                <a16:creationId xmlns:a16="http://schemas.microsoft.com/office/drawing/2014/main" id="{5DCB7C5F-2FE9-4A94-859C-1DB2EC4A6F9C}"/>
              </a:ext>
            </a:extLst>
          </p:cNvPr>
          <p:cNvGrpSpPr>
            <a:grpSpLocks noChangeAspect="1"/>
          </p:cNvGrpSpPr>
          <p:nvPr/>
        </p:nvGrpSpPr>
        <p:grpSpPr>
          <a:xfrm>
            <a:off x="1626250" y="2115850"/>
            <a:ext cx="295714" cy="294818"/>
            <a:chOff x="5834063" y="3342323"/>
            <a:chExt cx="523875" cy="522288"/>
          </a:xfrm>
          <a:solidFill>
            <a:schemeClr val="bg1">
              <a:lumMod val="75000"/>
            </a:schemeClr>
          </a:solidFill>
        </p:grpSpPr>
        <p:sp>
          <p:nvSpPr>
            <p:cNvPr id="68" name="Freeform 56">
              <a:extLst>
                <a:ext uri="{FF2B5EF4-FFF2-40B4-BE49-F238E27FC236}">
                  <a16:creationId xmlns:a16="http://schemas.microsoft.com/office/drawing/2014/main" id="{F04EFF67-378D-4366-9E01-0FCAED85E2F9}"/>
                </a:ext>
              </a:extLst>
            </p:cNvPr>
            <p:cNvSpPr>
              <a:spLocks noEditPoints="1"/>
            </p:cNvSpPr>
            <p:nvPr/>
          </p:nvSpPr>
          <p:spPr bwMode="auto">
            <a:xfrm>
              <a:off x="5834063" y="3342323"/>
              <a:ext cx="523875" cy="522288"/>
            </a:xfrm>
            <a:custGeom>
              <a:avLst/>
              <a:gdLst>
                <a:gd name="T0" fmla="*/ 312 w 658"/>
                <a:gd name="T1" fmla="*/ 658 h 659"/>
                <a:gd name="T2" fmla="*/ 262 w 658"/>
                <a:gd name="T3" fmla="*/ 652 h 659"/>
                <a:gd name="T4" fmla="*/ 201 w 658"/>
                <a:gd name="T5" fmla="*/ 632 h 659"/>
                <a:gd name="T6" fmla="*/ 119 w 658"/>
                <a:gd name="T7" fmla="*/ 584 h 659"/>
                <a:gd name="T8" fmla="*/ 56 w 658"/>
                <a:gd name="T9" fmla="*/ 514 h 659"/>
                <a:gd name="T10" fmla="*/ 15 w 658"/>
                <a:gd name="T11" fmla="*/ 428 h 659"/>
                <a:gd name="T12" fmla="*/ 4 w 658"/>
                <a:gd name="T13" fmla="*/ 379 h 659"/>
                <a:gd name="T14" fmla="*/ 0 w 658"/>
                <a:gd name="T15" fmla="*/ 330 h 659"/>
                <a:gd name="T16" fmla="*/ 1 w 658"/>
                <a:gd name="T17" fmla="*/ 296 h 659"/>
                <a:gd name="T18" fmla="*/ 10 w 658"/>
                <a:gd name="T19" fmla="*/ 248 h 659"/>
                <a:gd name="T20" fmla="*/ 40 w 658"/>
                <a:gd name="T21" fmla="*/ 172 h 659"/>
                <a:gd name="T22" fmla="*/ 96 w 658"/>
                <a:gd name="T23" fmla="*/ 97 h 659"/>
                <a:gd name="T24" fmla="*/ 172 w 658"/>
                <a:gd name="T25" fmla="*/ 41 h 659"/>
                <a:gd name="T26" fmla="*/ 247 w 658"/>
                <a:gd name="T27" fmla="*/ 11 h 659"/>
                <a:gd name="T28" fmla="*/ 295 w 658"/>
                <a:gd name="T29" fmla="*/ 2 h 659"/>
                <a:gd name="T30" fmla="*/ 329 w 658"/>
                <a:gd name="T31" fmla="*/ 0 h 659"/>
                <a:gd name="T32" fmla="*/ 379 w 658"/>
                <a:gd name="T33" fmla="*/ 4 h 659"/>
                <a:gd name="T34" fmla="*/ 426 w 658"/>
                <a:gd name="T35" fmla="*/ 15 h 659"/>
                <a:gd name="T36" fmla="*/ 513 w 658"/>
                <a:gd name="T37" fmla="*/ 57 h 659"/>
                <a:gd name="T38" fmla="*/ 583 w 658"/>
                <a:gd name="T39" fmla="*/ 120 h 659"/>
                <a:gd name="T40" fmla="*/ 631 w 658"/>
                <a:gd name="T41" fmla="*/ 202 h 659"/>
                <a:gd name="T42" fmla="*/ 652 w 658"/>
                <a:gd name="T43" fmla="*/ 264 h 659"/>
                <a:gd name="T44" fmla="*/ 657 w 658"/>
                <a:gd name="T45" fmla="*/ 312 h 659"/>
                <a:gd name="T46" fmla="*/ 657 w 658"/>
                <a:gd name="T47" fmla="*/ 347 h 659"/>
                <a:gd name="T48" fmla="*/ 652 w 658"/>
                <a:gd name="T49" fmla="*/ 396 h 659"/>
                <a:gd name="T50" fmla="*/ 631 w 658"/>
                <a:gd name="T51" fmla="*/ 457 h 659"/>
                <a:gd name="T52" fmla="*/ 583 w 658"/>
                <a:gd name="T53" fmla="*/ 539 h 659"/>
                <a:gd name="T54" fmla="*/ 513 w 658"/>
                <a:gd name="T55" fmla="*/ 603 h 659"/>
                <a:gd name="T56" fmla="*/ 426 w 658"/>
                <a:gd name="T57" fmla="*/ 644 h 659"/>
                <a:gd name="T58" fmla="*/ 379 w 658"/>
                <a:gd name="T59" fmla="*/ 655 h 659"/>
                <a:gd name="T60" fmla="*/ 329 w 658"/>
                <a:gd name="T61" fmla="*/ 659 h 659"/>
                <a:gd name="T62" fmla="*/ 329 w 658"/>
                <a:gd name="T63" fmla="*/ 38 h 659"/>
                <a:gd name="T64" fmla="*/ 242 w 658"/>
                <a:gd name="T65" fmla="*/ 51 h 659"/>
                <a:gd name="T66" fmla="*/ 166 w 658"/>
                <a:gd name="T67" fmla="*/ 88 h 659"/>
                <a:gd name="T68" fmla="*/ 105 w 658"/>
                <a:gd name="T69" fmla="*/ 144 h 659"/>
                <a:gd name="T70" fmla="*/ 60 w 658"/>
                <a:gd name="T71" fmla="*/ 217 h 659"/>
                <a:gd name="T72" fmla="*/ 39 w 658"/>
                <a:gd name="T73" fmla="*/ 300 h 659"/>
                <a:gd name="T74" fmla="*/ 39 w 658"/>
                <a:gd name="T75" fmla="*/ 359 h 659"/>
                <a:gd name="T76" fmla="*/ 60 w 658"/>
                <a:gd name="T77" fmla="*/ 443 h 659"/>
                <a:gd name="T78" fmla="*/ 105 w 658"/>
                <a:gd name="T79" fmla="*/ 515 h 659"/>
                <a:gd name="T80" fmla="*/ 166 w 658"/>
                <a:gd name="T81" fmla="*/ 572 h 659"/>
                <a:gd name="T82" fmla="*/ 242 w 658"/>
                <a:gd name="T83" fmla="*/ 608 h 659"/>
                <a:gd name="T84" fmla="*/ 329 w 658"/>
                <a:gd name="T85" fmla="*/ 621 h 659"/>
                <a:gd name="T86" fmla="*/ 387 w 658"/>
                <a:gd name="T87" fmla="*/ 615 h 659"/>
                <a:gd name="T88" fmla="*/ 467 w 658"/>
                <a:gd name="T89" fmla="*/ 586 h 659"/>
                <a:gd name="T90" fmla="*/ 535 w 658"/>
                <a:gd name="T91" fmla="*/ 535 h 659"/>
                <a:gd name="T92" fmla="*/ 584 w 658"/>
                <a:gd name="T93" fmla="*/ 468 h 659"/>
                <a:gd name="T94" fmla="*/ 614 w 658"/>
                <a:gd name="T95" fmla="*/ 389 h 659"/>
                <a:gd name="T96" fmla="*/ 621 w 658"/>
                <a:gd name="T97" fmla="*/ 330 h 659"/>
                <a:gd name="T98" fmla="*/ 607 w 658"/>
                <a:gd name="T99" fmla="*/ 244 h 659"/>
                <a:gd name="T100" fmla="*/ 570 w 658"/>
                <a:gd name="T101" fmla="*/ 167 h 659"/>
                <a:gd name="T102" fmla="*/ 514 w 658"/>
                <a:gd name="T103" fmla="*/ 105 h 659"/>
                <a:gd name="T104" fmla="*/ 442 w 658"/>
                <a:gd name="T105" fmla="*/ 61 h 659"/>
                <a:gd name="T106" fmla="*/ 359 w 658"/>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2" y="658"/>
                  </a:lnTo>
                  <a:lnTo>
                    <a:pt x="295" y="656"/>
                  </a:lnTo>
                  <a:lnTo>
                    <a:pt x="279" y="655"/>
                  </a:lnTo>
                  <a:lnTo>
                    <a:pt x="262" y="652"/>
                  </a:lnTo>
                  <a:lnTo>
                    <a:pt x="247" y="648"/>
                  </a:lnTo>
                  <a:lnTo>
                    <a:pt x="231" y="644"/>
                  </a:lnTo>
                  <a:lnTo>
                    <a:pt x="201" y="632"/>
                  </a:lnTo>
                  <a:lnTo>
                    <a:pt x="172" y="619"/>
                  </a:lnTo>
                  <a:lnTo>
                    <a:pt x="145" y="603"/>
                  </a:lnTo>
                  <a:lnTo>
                    <a:pt x="119" y="584"/>
                  </a:lnTo>
                  <a:lnTo>
                    <a:pt x="96" y="562"/>
                  </a:lnTo>
                  <a:lnTo>
                    <a:pt x="75" y="539"/>
                  </a:lnTo>
                  <a:lnTo>
                    <a:pt x="56" y="514"/>
                  </a:lnTo>
                  <a:lnTo>
                    <a:pt x="40" y="487"/>
                  </a:lnTo>
                  <a:lnTo>
                    <a:pt x="25" y="457"/>
                  </a:lnTo>
                  <a:lnTo>
                    <a:pt x="15" y="428"/>
                  </a:lnTo>
                  <a:lnTo>
                    <a:pt x="10" y="412"/>
                  </a:lnTo>
                  <a:lnTo>
                    <a:pt x="6" y="396"/>
                  </a:lnTo>
                  <a:lnTo>
                    <a:pt x="4" y="379"/>
                  </a:lnTo>
                  <a:lnTo>
                    <a:pt x="1" y="363"/>
                  </a:lnTo>
                  <a:lnTo>
                    <a:pt x="0" y="347"/>
                  </a:lnTo>
                  <a:lnTo>
                    <a:pt x="0" y="330"/>
                  </a:lnTo>
                  <a:lnTo>
                    <a:pt x="0" y="330"/>
                  </a:lnTo>
                  <a:lnTo>
                    <a:pt x="0" y="312"/>
                  </a:lnTo>
                  <a:lnTo>
                    <a:pt x="1" y="296"/>
                  </a:lnTo>
                  <a:lnTo>
                    <a:pt x="4" y="280"/>
                  </a:lnTo>
                  <a:lnTo>
                    <a:pt x="6" y="264"/>
                  </a:lnTo>
                  <a:lnTo>
                    <a:pt x="10" y="248"/>
                  </a:lnTo>
                  <a:lnTo>
                    <a:pt x="15" y="232"/>
                  </a:lnTo>
                  <a:lnTo>
                    <a:pt x="25" y="202"/>
                  </a:lnTo>
                  <a:lnTo>
                    <a:pt x="40" y="172"/>
                  </a:lnTo>
                  <a:lnTo>
                    <a:pt x="56" y="146"/>
                  </a:lnTo>
                  <a:lnTo>
                    <a:pt x="75" y="120"/>
                  </a:lnTo>
                  <a:lnTo>
                    <a:pt x="96" y="97"/>
                  </a:lnTo>
                  <a:lnTo>
                    <a:pt x="119" y="76"/>
                  </a:lnTo>
                  <a:lnTo>
                    <a:pt x="145" y="57"/>
                  </a:lnTo>
                  <a:lnTo>
                    <a:pt x="172" y="41"/>
                  </a:lnTo>
                  <a:lnTo>
                    <a:pt x="201" y="26"/>
                  </a:lnTo>
                  <a:lnTo>
                    <a:pt x="231" y="15"/>
                  </a:lnTo>
                  <a:lnTo>
                    <a:pt x="247" y="11"/>
                  </a:lnTo>
                  <a:lnTo>
                    <a:pt x="262" y="7"/>
                  </a:lnTo>
                  <a:lnTo>
                    <a:pt x="279" y="4"/>
                  </a:lnTo>
                  <a:lnTo>
                    <a:pt x="295" y="2"/>
                  </a:lnTo>
                  <a:lnTo>
                    <a:pt x="312" y="2"/>
                  </a:lnTo>
                  <a:lnTo>
                    <a:pt x="329" y="0"/>
                  </a:lnTo>
                  <a:lnTo>
                    <a:pt x="329" y="0"/>
                  </a:lnTo>
                  <a:lnTo>
                    <a:pt x="345" y="2"/>
                  </a:lnTo>
                  <a:lnTo>
                    <a:pt x="363" y="2"/>
                  </a:lnTo>
                  <a:lnTo>
                    <a:pt x="379" y="4"/>
                  </a:lnTo>
                  <a:lnTo>
                    <a:pt x="395" y="7"/>
                  </a:lnTo>
                  <a:lnTo>
                    <a:pt x="411" y="11"/>
                  </a:lnTo>
                  <a:lnTo>
                    <a:pt x="426" y="15"/>
                  </a:lnTo>
                  <a:lnTo>
                    <a:pt x="457" y="26"/>
                  </a:lnTo>
                  <a:lnTo>
                    <a:pt x="485" y="41"/>
                  </a:lnTo>
                  <a:lnTo>
                    <a:pt x="513" y="57"/>
                  </a:lnTo>
                  <a:lnTo>
                    <a:pt x="537" y="76"/>
                  </a:lnTo>
                  <a:lnTo>
                    <a:pt x="562" y="97"/>
                  </a:lnTo>
                  <a:lnTo>
                    <a:pt x="583" y="120"/>
                  </a:lnTo>
                  <a:lnTo>
                    <a:pt x="602" y="146"/>
                  </a:lnTo>
                  <a:lnTo>
                    <a:pt x="618" y="172"/>
                  </a:lnTo>
                  <a:lnTo>
                    <a:pt x="631" y="202"/>
                  </a:lnTo>
                  <a:lnTo>
                    <a:pt x="643" y="232"/>
                  </a:lnTo>
                  <a:lnTo>
                    <a:pt x="648" y="248"/>
                  </a:lnTo>
                  <a:lnTo>
                    <a:pt x="652" y="264"/>
                  </a:lnTo>
                  <a:lnTo>
                    <a:pt x="654" y="280"/>
                  </a:lnTo>
                  <a:lnTo>
                    <a:pt x="656" y="296"/>
                  </a:lnTo>
                  <a:lnTo>
                    <a:pt x="657" y="312"/>
                  </a:lnTo>
                  <a:lnTo>
                    <a:pt x="658" y="330"/>
                  </a:lnTo>
                  <a:lnTo>
                    <a:pt x="658" y="330"/>
                  </a:lnTo>
                  <a:lnTo>
                    <a:pt x="657" y="347"/>
                  </a:lnTo>
                  <a:lnTo>
                    <a:pt x="656" y="363"/>
                  </a:lnTo>
                  <a:lnTo>
                    <a:pt x="654" y="379"/>
                  </a:lnTo>
                  <a:lnTo>
                    <a:pt x="652" y="396"/>
                  </a:lnTo>
                  <a:lnTo>
                    <a:pt x="648" y="412"/>
                  </a:lnTo>
                  <a:lnTo>
                    <a:pt x="643" y="428"/>
                  </a:lnTo>
                  <a:lnTo>
                    <a:pt x="631" y="457"/>
                  </a:lnTo>
                  <a:lnTo>
                    <a:pt x="618" y="487"/>
                  </a:lnTo>
                  <a:lnTo>
                    <a:pt x="602" y="514"/>
                  </a:lnTo>
                  <a:lnTo>
                    <a:pt x="583" y="539"/>
                  </a:lnTo>
                  <a:lnTo>
                    <a:pt x="562" y="562"/>
                  </a:lnTo>
                  <a:lnTo>
                    <a:pt x="537" y="584"/>
                  </a:lnTo>
                  <a:lnTo>
                    <a:pt x="513" y="603"/>
                  </a:lnTo>
                  <a:lnTo>
                    <a:pt x="485" y="619"/>
                  </a:lnTo>
                  <a:lnTo>
                    <a:pt x="457" y="632"/>
                  </a:lnTo>
                  <a:lnTo>
                    <a:pt x="426" y="644"/>
                  </a:lnTo>
                  <a:lnTo>
                    <a:pt x="411" y="648"/>
                  </a:lnTo>
                  <a:lnTo>
                    <a:pt x="395" y="652"/>
                  </a:lnTo>
                  <a:lnTo>
                    <a:pt x="379" y="655"/>
                  </a:lnTo>
                  <a:lnTo>
                    <a:pt x="363" y="656"/>
                  </a:lnTo>
                  <a:lnTo>
                    <a:pt x="345" y="658"/>
                  </a:lnTo>
                  <a:lnTo>
                    <a:pt x="329" y="659"/>
                  </a:lnTo>
                  <a:lnTo>
                    <a:pt x="329" y="659"/>
                  </a:lnTo>
                  <a:close/>
                  <a:moveTo>
                    <a:pt x="329" y="38"/>
                  </a:moveTo>
                  <a:lnTo>
                    <a:pt x="329" y="38"/>
                  </a:lnTo>
                  <a:lnTo>
                    <a:pt x="299" y="39"/>
                  </a:lnTo>
                  <a:lnTo>
                    <a:pt x="270" y="45"/>
                  </a:lnTo>
                  <a:lnTo>
                    <a:pt x="242" y="51"/>
                  </a:lnTo>
                  <a:lnTo>
                    <a:pt x="215" y="61"/>
                  </a:lnTo>
                  <a:lnTo>
                    <a:pt x="191" y="73"/>
                  </a:lnTo>
                  <a:lnTo>
                    <a:pt x="166" y="88"/>
                  </a:lnTo>
                  <a:lnTo>
                    <a:pt x="144" y="105"/>
                  </a:lnTo>
                  <a:lnTo>
                    <a:pt x="123" y="124"/>
                  </a:lnTo>
                  <a:lnTo>
                    <a:pt x="105" y="144"/>
                  </a:lnTo>
                  <a:lnTo>
                    <a:pt x="87" y="167"/>
                  </a:lnTo>
                  <a:lnTo>
                    <a:pt x="72" y="191"/>
                  </a:lnTo>
                  <a:lnTo>
                    <a:pt x="60" y="217"/>
                  </a:lnTo>
                  <a:lnTo>
                    <a:pt x="51" y="244"/>
                  </a:lnTo>
                  <a:lnTo>
                    <a:pt x="43" y="271"/>
                  </a:lnTo>
                  <a:lnTo>
                    <a:pt x="39" y="300"/>
                  </a:lnTo>
                  <a:lnTo>
                    <a:pt x="37" y="330"/>
                  </a:lnTo>
                  <a:lnTo>
                    <a:pt x="37" y="330"/>
                  </a:lnTo>
                  <a:lnTo>
                    <a:pt x="39" y="359"/>
                  </a:lnTo>
                  <a:lnTo>
                    <a:pt x="43" y="389"/>
                  </a:lnTo>
                  <a:lnTo>
                    <a:pt x="51" y="416"/>
                  </a:lnTo>
                  <a:lnTo>
                    <a:pt x="60" y="443"/>
                  </a:lnTo>
                  <a:lnTo>
                    <a:pt x="72" y="468"/>
                  </a:lnTo>
                  <a:lnTo>
                    <a:pt x="87" y="492"/>
                  </a:lnTo>
                  <a:lnTo>
                    <a:pt x="105" y="515"/>
                  </a:lnTo>
                  <a:lnTo>
                    <a:pt x="123" y="535"/>
                  </a:lnTo>
                  <a:lnTo>
                    <a:pt x="144" y="554"/>
                  </a:lnTo>
                  <a:lnTo>
                    <a:pt x="166" y="572"/>
                  </a:lnTo>
                  <a:lnTo>
                    <a:pt x="191" y="586"/>
                  </a:lnTo>
                  <a:lnTo>
                    <a:pt x="215" y="598"/>
                  </a:lnTo>
                  <a:lnTo>
                    <a:pt x="242" y="608"/>
                  </a:lnTo>
                  <a:lnTo>
                    <a:pt x="270" y="615"/>
                  </a:lnTo>
                  <a:lnTo>
                    <a:pt x="299" y="620"/>
                  </a:lnTo>
                  <a:lnTo>
                    <a:pt x="329" y="621"/>
                  </a:lnTo>
                  <a:lnTo>
                    <a:pt x="329" y="621"/>
                  </a:lnTo>
                  <a:lnTo>
                    <a:pt x="359" y="620"/>
                  </a:lnTo>
                  <a:lnTo>
                    <a:pt x="387" y="615"/>
                  </a:lnTo>
                  <a:lnTo>
                    <a:pt x="415" y="608"/>
                  </a:lnTo>
                  <a:lnTo>
                    <a:pt x="442" y="598"/>
                  </a:lnTo>
                  <a:lnTo>
                    <a:pt x="467" y="586"/>
                  </a:lnTo>
                  <a:lnTo>
                    <a:pt x="492" y="572"/>
                  </a:lnTo>
                  <a:lnTo>
                    <a:pt x="514" y="554"/>
                  </a:lnTo>
                  <a:lnTo>
                    <a:pt x="535" y="535"/>
                  </a:lnTo>
                  <a:lnTo>
                    <a:pt x="553" y="515"/>
                  </a:lnTo>
                  <a:lnTo>
                    <a:pt x="570" y="492"/>
                  </a:lnTo>
                  <a:lnTo>
                    <a:pt x="584" y="468"/>
                  </a:lnTo>
                  <a:lnTo>
                    <a:pt x="596" y="443"/>
                  </a:lnTo>
                  <a:lnTo>
                    <a:pt x="607" y="416"/>
                  </a:lnTo>
                  <a:lnTo>
                    <a:pt x="614" y="389"/>
                  </a:lnTo>
                  <a:lnTo>
                    <a:pt x="618" y="359"/>
                  </a:lnTo>
                  <a:lnTo>
                    <a:pt x="621" y="330"/>
                  </a:lnTo>
                  <a:lnTo>
                    <a:pt x="621" y="330"/>
                  </a:lnTo>
                  <a:lnTo>
                    <a:pt x="618" y="300"/>
                  </a:lnTo>
                  <a:lnTo>
                    <a:pt x="614" y="271"/>
                  </a:lnTo>
                  <a:lnTo>
                    <a:pt x="607" y="244"/>
                  </a:lnTo>
                  <a:lnTo>
                    <a:pt x="596" y="217"/>
                  </a:lnTo>
                  <a:lnTo>
                    <a:pt x="584" y="191"/>
                  </a:lnTo>
                  <a:lnTo>
                    <a:pt x="570" y="167"/>
                  </a:lnTo>
                  <a:lnTo>
                    <a:pt x="553" y="144"/>
                  </a:lnTo>
                  <a:lnTo>
                    <a:pt x="535" y="124"/>
                  </a:lnTo>
                  <a:lnTo>
                    <a:pt x="514" y="105"/>
                  </a:lnTo>
                  <a:lnTo>
                    <a:pt x="492" y="88"/>
                  </a:lnTo>
                  <a:lnTo>
                    <a:pt x="467" y="73"/>
                  </a:lnTo>
                  <a:lnTo>
                    <a:pt x="442" y="61"/>
                  </a:lnTo>
                  <a:lnTo>
                    <a:pt x="415" y="51"/>
                  </a:lnTo>
                  <a:lnTo>
                    <a:pt x="387" y="45"/>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69" name="Freeform 217">
              <a:extLst>
                <a:ext uri="{FF2B5EF4-FFF2-40B4-BE49-F238E27FC236}">
                  <a16:creationId xmlns:a16="http://schemas.microsoft.com/office/drawing/2014/main" id="{F640F870-0DD3-4A1B-BAD7-8F0B8FB29FCC}"/>
                </a:ext>
              </a:extLst>
            </p:cNvPr>
            <p:cNvSpPr>
              <a:spLocks/>
            </p:cNvSpPr>
            <p:nvPr/>
          </p:nvSpPr>
          <p:spPr bwMode="auto">
            <a:xfrm>
              <a:off x="5964238" y="3467735"/>
              <a:ext cx="263525" cy="249238"/>
            </a:xfrm>
            <a:custGeom>
              <a:avLst/>
              <a:gdLst>
                <a:gd name="T0" fmla="*/ 330 w 330"/>
                <a:gd name="T1" fmla="*/ 120 h 314"/>
                <a:gd name="T2" fmla="*/ 330 w 330"/>
                <a:gd name="T3" fmla="*/ 120 h 314"/>
                <a:gd name="T4" fmla="*/ 328 w 330"/>
                <a:gd name="T5" fmla="*/ 117 h 314"/>
                <a:gd name="T6" fmla="*/ 325 w 330"/>
                <a:gd name="T7" fmla="*/ 116 h 314"/>
                <a:gd name="T8" fmla="*/ 217 w 330"/>
                <a:gd name="T9" fmla="*/ 101 h 314"/>
                <a:gd name="T10" fmla="*/ 170 w 330"/>
                <a:gd name="T11" fmla="*/ 4 h 314"/>
                <a:gd name="T12" fmla="*/ 170 w 330"/>
                <a:gd name="T13" fmla="*/ 4 h 314"/>
                <a:gd name="T14" fmla="*/ 168 w 330"/>
                <a:gd name="T15" fmla="*/ 1 h 314"/>
                <a:gd name="T16" fmla="*/ 165 w 330"/>
                <a:gd name="T17" fmla="*/ 0 h 314"/>
                <a:gd name="T18" fmla="*/ 162 w 330"/>
                <a:gd name="T19" fmla="*/ 1 h 314"/>
                <a:gd name="T20" fmla="*/ 160 w 330"/>
                <a:gd name="T21" fmla="*/ 4 h 314"/>
                <a:gd name="T22" fmla="*/ 111 w 330"/>
                <a:gd name="T23" fmla="*/ 101 h 314"/>
                <a:gd name="T24" fmla="*/ 5 w 330"/>
                <a:gd name="T25" fmla="*/ 116 h 314"/>
                <a:gd name="T26" fmla="*/ 5 w 330"/>
                <a:gd name="T27" fmla="*/ 116 h 314"/>
                <a:gd name="T28" fmla="*/ 2 w 330"/>
                <a:gd name="T29" fmla="*/ 117 h 314"/>
                <a:gd name="T30" fmla="*/ 0 w 330"/>
                <a:gd name="T31" fmla="*/ 120 h 314"/>
                <a:gd name="T32" fmla="*/ 0 w 330"/>
                <a:gd name="T33" fmla="*/ 120 h 314"/>
                <a:gd name="T34" fmla="*/ 0 w 330"/>
                <a:gd name="T35" fmla="*/ 124 h 314"/>
                <a:gd name="T36" fmla="*/ 1 w 330"/>
                <a:gd name="T37" fmla="*/ 126 h 314"/>
                <a:gd name="T38" fmla="*/ 79 w 330"/>
                <a:gd name="T39" fmla="*/ 202 h 314"/>
                <a:gd name="T40" fmla="*/ 60 w 330"/>
                <a:gd name="T41" fmla="*/ 308 h 314"/>
                <a:gd name="T42" fmla="*/ 60 w 330"/>
                <a:gd name="T43" fmla="*/ 308 h 314"/>
                <a:gd name="T44" fmla="*/ 62 w 330"/>
                <a:gd name="T45" fmla="*/ 312 h 314"/>
                <a:gd name="T46" fmla="*/ 63 w 330"/>
                <a:gd name="T47" fmla="*/ 314 h 314"/>
                <a:gd name="T48" fmla="*/ 63 w 330"/>
                <a:gd name="T49" fmla="*/ 314 h 314"/>
                <a:gd name="T50" fmla="*/ 66 w 330"/>
                <a:gd name="T51" fmla="*/ 314 h 314"/>
                <a:gd name="T52" fmla="*/ 70 w 330"/>
                <a:gd name="T53" fmla="*/ 314 h 314"/>
                <a:gd name="T54" fmla="*/ 165 w 330"/>
                <a:gd name="T55" fmla="*/ 263 h 314"/>
                <a:gd name="T56" fmla="*/ 260 w 330"/>
                <a:gd name="T57" fmla="*/ 314 h 314"/>
                <a:gd name="T58" fmla="*/ 260 w 330"/>
                <a:gd name="T59" fmla="*/ 314 h 314"/>
                <a:gd name="T60" fmla="*/ 263 w 330"/>
                <a:gd name="T61" fmla="*/ 314 h 314"/>
                <a:gd name="T62" fmla="*/ 263 w 330"/>
                <a:gd name="T63" fmla="*/ 314 h 314"/>
                <a:gd name="T64" fmla="*/ 267 w 330"/>
                <a:gd name="T65" fmla="*/ 314 h 314"/>
                <a:gd name="T66" fmla="*/ 267 w 330"/>
                <a:gd name="T67" fmla="*/ 314 h 314"/>
                <a:gd name="T68" fmla="*/ 268 w 330"/>
                <a:gd name="T69" fmla="*/ 312 h 314"/>
                <a:gd name="T70" fmla="*/ 268 w 330"/>
                <a:gd name="T71" fmla="*/ 308 h 314"/>
                <a:gd name="T72" fmla="*/ 251 w 330"/>
                <a:gd name="T73" fmla="*/ 202 h 314"/>
                <a:gd name="T74" fmla="*/ 329 w 330"/>
                <a:gd name="T75" fmla="*/ 126 h 314"/>
                <a:gd name="T76" fmla="*/ 329 w 330"/>
                <a:gd name="T77" fmla="*/ 126 h 314"/>
                <a:gd name="T78" fmla="*/ 330 w 330"/>
                <a:gd name="T79" fmla="*/ 124 h 314"/>
                <a:gd name="T80" fmla="*/ 330 w 330"/>
                <a:gd name="T81" fmla="*/ 120 h 314"/>
                <a:gd name="T82" fmla="*/ 330 w 330"/>
                <a:gd name="T83" fmla="*/ 12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0" h="314">
                  <a:moveTo>
                    <a:pt x="330" y="120"/>
                  </a:moveTo>
                  <a:lnTo>
                    <a:pt x="330" y="120"/>
                  </a:lnTo>
                  <a:lnTo>
                    <a:pt x="328" y="117"/>
                  </a:lnTo>
                  <a:lnTo>
                    <a:pt x="325" y="116"/>
                  </a:lnTo>
                  <a:lnTo>
                    <a:pt x="217" y="101"/>
                  </a:lnTo>
                  <a:lnTo>
                    <a:pt x="170" y="4"/>
                  </a:lnTo>
                  <a:lnTo>
                    <a:pt x="170" y="4"/>
                  </a:lnTo>
                  <a:lnTo>
                    <a:pt x="168" y="1"/>
                  </a:lnTo>
                  <a:lnTo>
                    <a:pt x="165" y="0"/>
                  </a:lnTo>
                  <a:lnTo>
                    <a:pt x="162" y="1"/>
                  </a:lnTo>
                  <a:lnTo>
                    <a:pt x="160" y="4"/>
                  </a:lnTo>
                  <a:lnTo>
                    <a:pt x="111" y="101"/>
                  </a:lnTo>
                  <a:lnTo>
                    <a:pt x="5" y="116"/>
                  </a:lnTo>
                  <a:lnTo>
                    <a:pt x="5" y="116"/>
                  </a:lnTo>
                  <a:lnTo>
                    <a:pt x="2" y="117"/>
                  </a:lnTo>
                  <a:lnTo>
                    <a:pt x="0" y="120"/>
                  </a:lnTo>
                  <a:lnTo>
                    <a:pt x="0" y="120"/>
                  </a:lnTo>
                  <a:lnTo>
                    <a:pt x="0" y="124"/>
                  </a:lnTo>
                  <a:lnTo>
                    <a:pt x="1" y="126"/>
                  </a:lnTo>
                  <a:lnTo>
                    <a:pt x="79" y="202"/>
                  </a:lnTo>
                  <a:lnTo>
                    <a:pt x="60" y="308"/>
                  </a:lnTo>
                  <a:lnTo>
                    <a:pt x="60" y="308"/>
                  </a:lnTo>
                  <a:lnTo>
                    <a:pt x="62" y="312"/>
                  </a:lnTo>
                  <a:lnTo>
                    <a:pt x="63" y="314"/>
                  </a:lnTo>
                  <a:lnTo>
                    <a:pt x="63" y="314"/>
                  </a:lnTo>
                  <a:lnTo>
                    <a:pt x="66" y="314"/>
                  </a:lnTo>
                  <a:lnTo>
                    <a:pt x="70" y="314"/>
                  </a:lnTo>
                  <a:lnTo>
                    <a:pt x="165" y="263"/>
                  </a:lnTo>
                  <a:lnTo>
                    <a:pt x="260" y="314"/>
                  </a:lnTo>
                  <a:lnTo>
                    <a:pt x="260" y="314"/>
                  </a:lnTo>
                  <a:lnTo>
                    <a:pt x="263" y="314"/>
                  </a:lnTo>
                  <a:lnTo>
                    <a:pt x="263" y="314"/>
                  </a:lnTo>
                  <a:lnTo>
                    <a:pt x="267" y="314"/>
                  </a:lnTo>
                  <a:lnTo>
                    <a:pt x="267" y="314"/>
                  </a:lnTo>
                  <a:lnTo>
                    <a:pt x="268" y="312"/>
                  </a:lnTo>
                  <a:lnTo>
                    <a:pt x="268" y="308"/>
                  </a:lnTo>
                  <a:lnTo>
                    <a:pt x="251" y="202"/>
                  </a:lnTo>
                  <a:lnTo>
                    <a:pt x="329" y="126"/>
                  </a:lnTo>
                  <a:lnTo>
                    <a:pt x="329" y="126"/>
                  </a:lnTo>
                  <a:lnTo>
                    <a:pt x="330" y="124"/>
                  </a:lnTo>
                  <a:lnTo>
                    <a:pt x="330" y="120"/>
                  </a:lnTo>
                  <a:lnTo>
                    <a:pt x="330"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grpSp>
      <p:sp>
        <p:nvSpPr>
          <p:cNvPr id="70" name="Oval 69">
            <a:extLst>
              <a:ext uri="{FF2B5EF4-FFF2-40B4-BE49-F238E27FC236}">
                <a16:creationId xmlns:a16="http://schemas.microsoft.com/office/drawing/2014/main" id="{2B9C4FDB-7D64-44A8-A952-93C74067A9F0}"/>
              </a:ext>
            </a:extLst>
          </p:cNvPr>
          <p:cNvSpPr/>
          <p:nvPr/>
        </p:nvSpPr>
        <p:spPr>
          <a:xfrm>
            <a:off x="3948067" y="2093383"/>
            <a:ext cx="327206" cy="32720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ea typeface="+mn-ea"/>
              <a:cs typeface="+mn-cs"/>
            </a:endParaRPr>
          </a:p>
        </p:txBody>
      </p:sp>
      <p:grpSp>
        <p:nvGrpSpPr>
          <p:cNvPr id="71" name="Group 70">
            <a:extLst>
              <a:ext uri="{FF2B5EF4-FFF2-40B4-BE49-F238E27FC236}">
                <a16:creationId xmlns:a16="http://schemas.microsoft.com/office/drawing/2014/main" id="{44207CC7-96E0-4F08-AE89-B3C085BD3247}"/>
              </a:ext>
            </a:extLst>
          </p:cNvPr>
          <p:cNvGrpSpPr>
            <a:grpSpLocks noChangeAspect="1"/>
          </p:cNvGrpSpPr>
          <p:nvPr/>
        </p:nvGrpSpPr>
        <p:grpSpPr>
          <a:xfrm>
            <a:off x="3963814" y="2115850"/>
            <a:ext cx="295714" cy="294818"/>
            <a:chOff x="5834063" y="3342323"/>
            <a:chExt cx="523875" cy="522288"/>
          </a:xfrm>
          <a:solidFill>
            <a:schemeClr val="bg1">
              <a:lumMod val="75000"/>
            </a:schemeClr>
          </a:solidFill>
        </p:grpSpPr>
        <p:sp>
          <p:nvSpPr>
            <p:cNvPr id="72" name="Freeform 56">
              <a:extLst>
                <a:ext uri="{FF2B5EF4-FFF2-40B4-BE49-F238E27FC236}">
                  <a16:creationId xmlns:a16="http://schemas.microsoft.com/office/drawing/2014/main" id="{5AD42217-1BED-46E0-8E8D-8B68085CD4A0}"/>
                </a:ext>
              </a:extLst>
            </p:cNvPr>
            <p:cNvSpPr>
              <a:spLocks noEditPoints="1"/>
            </p:cNvSpPr>
            <p:nvPr/>
          </p:nvSpPr>
          <p:spPr bwMode="auto">
            <a:xfrm>
              <a:off x="5834063" y="3342323"/>
              <a:ext cx="523875" cy="522288"/>
            </a:xfrm>
            <a:custGeom>
              <a:avLst/>
              <a:gdLst>
                <a:gd name="T0" fmla="*/ 312 w 658"/>
                <a:gd name="T1" fmla="*/ 658 h 659"/>
                <a:gd name="T2" fmla="*/ 262 w 658"/>
                <a:gd name="T3" fmla="*/ 652 h 659"/>
                <a:gd name="T4" fmla="*/ 201 w 658"/>
                <a:gd name="T5" fmla="*/ 632 h 659"/>
                <a:gd name="T6" fmla="*/ 119 w 658"/>
                <a:gd name="T7" fmla="*/ 584 h 659"/>
                <a:gd name="T8" fmla="*/ 56 w 658"/>
                <a:gd name="T9" fmla="*/ 514 h 659"/>
                <a:gd name="T10" fmla="*/ 15 w 658"/>
                <a:gd name="T11" fmla="*/ 428 h 659"/>
                <a:gd name="T12" fmla="*/ 4 w 658"/>
                <a:gd name="T13" fmla="*/ 379 h 659"/>
                <a:gd name="T14" fmla="*/ 0 w 658"/>
                <a:gd name="T15" fmla="*/ 330 h 659"/>
                <a:gd name="T16" fmla="*/ 1 w 658"/>
                <a:gd name="T17" fmla="*/ 296 h 659"/>
                <a:gd name="T18" fmla="*/ 10 w 658"/>
                <a:gd name="T19" fmla="*/ 248 h 659"/>
                <a:gd name="T20" fmla="*/ 40 w 658"/>
                <a:gd name="T21" fmla="*/ 172 h 659"/>
                <a:gd name="T22" fmla="*/ 96 w 658"/>
                <a:gd name="T23" fmla="*/ 97 h 659"/>
                <a:gd name="T24" fmla="*/ 172 w 658"/>
                <a:gd name="T25" fmla="*/ 41 h 659"/>
                <a:gd name="T26" fmla="*/ 247 w 658"/>
                <a:gd name="T27" fmla="*/ 11 h 659"/>
                <a:gd name="T28" fmla="*/ 295 w 658"/>
                <a:gd name="T29" fmla="*/ 2 h 659"/>
                <a:gd name="T30" fmla="*/ 329 w 658"/>
                <a:gd name="T31" fmla="*/ 0 h 659"/>
                <a:gd name="T32" fmla="*/ 379 w 658"/>
                <a:gd name="T33" fmla="*/ 4 h 659"/>
                <a:gd name="T34" fmla="*/ 426 w 658"/>
                <a:gd name="T35" fmla="*/ 15 h 659"/>
                <a:gd name="T36" fmla="*/ 513 w 658"/>
                <a:gd name="T37" fmla="*/ 57 h 659"/>
                <a:gd name="T38" fmla="*/ 583 w 658"/>
                <a:gd name="T39" fmla="*/ 120 h 659"/>
                <a:gd name="T40" fmla="*/ 631 w 658"/>
                <a:gd name="T41" fmla="*/ 202 h 659"/>
                <a:gd name="T42" fmla="*/ 652 w 658"/>
                <a:gd name="T43" fmla="*/ 264 h 659"/>
                <a:gd name="T44" fmla="*/ 657 w 658"/>
                <a:gd name="T45" fmla="*/ 312 h 659"/>
                <a:gd name="T46" fmla="*/ 657 w 658"/>
                <a:gd name="T47" fmla="*/ 347 h 659"/>
                <a:gd name="T48" fmla="*/ 652 w 658"/>
                <a:gd name="T49" fmla="*/ 396 h 659"/>
                <a:gd name="T50" fmla="*/ 631 w 658"/>
                <a:gd name="T51" fmla="*/ 457 h 659"/>
                <a:gd name="T52" fmla="*/ 583 w 658"/>
                <a:gd name="T53" fmla="*/ 539 h 659"/>
                <a:gd name="T54" fmla="*/ 513 w 658"/>
                <a:gd name="T55" fmla="*/ 603 h 659"/>
                <a:gd name="T56" fmla="*/ 426 w 658"/>
                <a:gd name="T57" fmla="*/ 644 h 659"/>
                <a:gd name="T58" fmla="*/ 379 w 658"/>
                <a:gd name="T59" fmla="*/ 655 h 659"/>
                <a:gd name="T60" fmla="*/ 329 w 658"/>
                <a:gd name="T61" fmla="*/ 659 h 659"/>
                <a:gd name="T62" fmla="*/ 329 w 658"/>
                <a:gd name="T63" fmla="*/ 38 h 659"/>
                <a:gd name="T64" fmla="*/ 242 w 658"/>
                <a:gd name="T65" fmla="*/ 51 h 659"/>
                <a:gd name="T66" fmla="*/ 166 w 658"/>
                <a:gd name="T67" fmla="*/ 88 h 659"/>
                <a:gd name="T68" fmla="*/ 105 w 658"/>
                <a:gd name="T69" fmla="*/ 144 h 659"/>
                <a:gd name="T70" fmla="*/ 60 w 658"/>
                <a:gd name="T71" fmla="*/ 217 h 659"/>
                <a:gd name="T72" fmla="*/ 39 w 658"/>
                <a:gd name="T73" fmla="*/ 300 h 659"/>
                <a:gd name="T74" fmla="*/ 39 w 658"/>
                <a:gd name="T75" fmla="*/ 359 h 659"/>
                <a:gd name="T76" fmla="*/ 60 w 658"/>
                <a:gd name="T77" fmla="*/ 443 h 659"/>
                <a:gd name="T78" fmla="*/ 105 w 658"/>
                <a:gd name="T79" fmla="*/ 515 h 659"/>
                <a:gd name="T80" fmla="*/ 166 w 658"/>
                <a:gd name="T81" fmla="*/ 572 h 659"/>
                <a:gd name="T82" fmla="*/ 242 w 658"/>
                <a:gd name="T83" fmla="*/ 608 h 659"/>
                <a:gd name="T84" fmla="*/ 329 w 658"/>
                <a:gd name="T85" fmla="*/ 621 h 659"/>
                <a:gd name="T86" fmla="*/ 387 w 658"/>
                <a:gd name="T87" fmla="*/ 615 h 659"/>
                <a:gd name="T88" fmla="*/ 467 w 658"/>
                <a:gd name="T89" fmla="*/ 586 h 659"/>
                <a:gd name="T90" fmla="*/ 535 w 658"/>
                <a:gd name="T91" fmla="*/ 535 h 659"/>
                <a:gd name="T92" fmla="*/ 584 w 658"/>
                <a:gd name="T93" fmla="*/ 468 h 659"/>
                <a:gd name="T94" fmla="*/ 614 w 658"/>
                <a:gd name="T95" fmla="*/ 389 h 659"/>
                <a:gd name="T96" fmla="*/ 621 w 658"/>
                <a:gd name="T97" fmla="*/ 330 h 659"/>
                <a:gd name="T98" fmla="*/ 607 w 658"/>
                <a:gd name="T99" fmla="*/ 244 h 659"/>
                <a:gd name="T100" fmla="*/ 570 w 658"/>
                <a:gd name="T101" fmla="*/ 167 h 659"/>
                <a:gd name="T102" fmla="*/ 514 w 658"/>
                <a:gd name="T103" fmla="*/ 105 h 659"/>
                <a:gd name="T104" fmla="*/ 442 w 658"/>
                <a:gd name="T105" fmla="*/ 61 h 659"/>
                <a:gd name="T106" fmla="*/ 359 w 658"/>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2" y="658"/>
                  </a:lnTo>
                  <a:lnTo>
                    <a:pt x="295" y="656"/>
                  </a:lnTo>
                  <a:lnTo>
                    <a:pt x="279" y="655"/>
                  </a:lnTo>
                  <a:lnTo>
                    <a:pt x="262" y="652"/>
                  </a:lnTo>
                  <a:lnTo>
                    <a:pt x="247" y="648"/>
                  </a:lnTo>
                  <a:lnTo>
                    <a:pt x="231" y="644"/>
                  </a:lnTo>
                  <a:lnTo>
                    <a:pt x="201" y="632"/>
                  </a:lnTo>
                  <a:lnTo>
                    <a:pt x="172" y="619"/>
                  </a:lnTo>
                  <a:lnTo>
                    <a:pt x="145" y="603"/>
                  </a:lnTo>
                  <a:lnTo>
                    <a:pt x="119" y="584"/>
                  </a:lnTo>
                  <a:lnTo>
                    <a:pt x="96" y="562"/>
                  </a:lnTo>
                  <a:lnTo>
                    <a:pt x="75" y="539"/>
                  </a:lnTo>
                  <a:lnTo>
                    <a:pt x="56" y="514"/>
                  </a:lnTo>
                  <a:lnTo>
                    <a:pt x="40" y="487"/>
                  </a:lnTo>
                  <a:lnTo>
                    <a:pt x="25" y="457"/>
                  </a:lnTo>
                  <a:lnTo>
                    <a:pt x="15" y="428"/>
                  </a:lnTo>
                  <a:lnTo>
                    <a:pt x="10" y="412"/>
                  </a:lnTo>
                  <a:lnTo>
                    <a:pt x="6" y="396"/>
                  </a:lnTo>
                  <a:lnTo>
                    <a:pt x="4" y="379"/>
                  </a:lnTo>
                  <a:lnTo>
                    <a:pt x="1" y="363"/>
                  </a:lnTo>
                  <a:lnTo>
                    <a:pt x="0" y="347"/>
                  </a:lnTo>
                  <a:lnTo>
                    <a:pt x="0" y="330"/>
                  </a:lnTo>
                  <a:lnTo>
                    <a:pt x="0" y="330"/>
                  </a:lnTo>
                  <a:lnTo>
                    <a:pt x="0" y="312"/>
                  </a:lnTo>
                  <a:lnTo>
                    <a:pt x="1" y="296"/>
                  </a:lnTo>
                  <a:lnTo>
                    <a:pt x="4" y="280"/>
                  </a:lnTo>
                  <a:lnTo>
                    <a:pt x="6" y="264"/>
                  </a:lnTo>
                  <a:lnTo>
                    <a:pt x="10" y="248"/>
                  </a:lnTo>
                  <a:lnTo>
                    <a:pt x="15" y="232"/>
                  </a:lnTo>
                  <a:lnTo>
                    <a:pt x="25" y="202"/>
                  </a:lnTo>
                  <a:lnTo>
                    <a:pt x="40" y="172"/>
                  </a:lnTo>
                  <a:lnTo>
                    <a:pt x="56" y="146"/>
                  </a:lnTo>
                  <a:lnTo>
                    <a:pt x="75" y="120"/>
                  </a:lnTo>
                  <a:lnTo>
                    <a:pt x="96" y="97"/>
                  </a:lnTo>
                  <a:lnTo>
                    <a:pt x="119" y="76"/>
                  </a:lnTo>
                  <a:lnTo>
                    <a:pt x="145" y="57"/>
                  </a:lnTo>
                  <a:lnTo>
                    <a:pt x="172" y="41"/>
                  </a:lnTo>
                  <a:lnTo>
                    <a:pt x="201" y="26"/>
                  </a:lnTo>
                  <a:lnTo>
                    <a:pt x="231" y="15"/>
                  </a:lnTo>
                  <a:lnTo>
                    <a:pt x="247" y="11"/>
                  </a:lnTo>
                  <a:lnTo>
                    <a:pt x="262" y="7"/>
                  </a:lnTo>
                  <a:lnTo>
                    <a:pt x="279" y="4"/>
                  </a:lnTo>
                  <a:lnTo>
                    <a:pt x="295" y="2"/>
                  </a:lnTo>
                  <a:lnTo>
                    <a:pt x="312" y="2"/>
                  </a:lnTo>
                  <a:lnTo>
                    <a:pt x="329" y="0"/>
                  </a:lnTo>
                  <a:lnTo>
                    <a:pt x="329" y="0"/>
                  </a:lnTo>
                  <a:lnTo>
                    <a:pt x="345" y="2"/>
                  </a:lnTo>
                  <a:lnTo>
                    <a:pt x="363" y="2"/>
                  </a:lnTo>
                  <a:lnTo>
                    <a:pt x="379" y="4"/>
                  </a:lnTo>
                  <a:lnTo>
                    <a:pt x="395" y="7"/>
                  </a:lnTo>
                  <a:lnTo>
                    <a:pt x="411" y="11"/>
                  </a:lnTo>
                  <a:lnTo>
                    <a:pt x="426" y="15"/>
                  </a:lnTo>
                  <a:lnTo>
                    <a:pt x="457" y="26"/>
                  </a:lnTo>
                  <a:lnTo>
                    <a:pt x="485" y="41"/>
                  </a:lnTo>
                  <a:lnTo>
                    <a:pt x="513" y="57"/>
                  </a:lnTo>
                  <a:lnTo>
                    <a:pt x="537" y="76"/>
                  </a:lnTo>
                  <a:lnTo>
                    <a:pt x="562" y="97"/>
                  </a:lnTo>
                  <a:lnTo>
                    <a:pt x="583" y="120"/>
                  </a:lnTo>
                  <a:lnTo>
                    <a:pt x="602" y="146"/>
                  </a:lnTo>
                  <a:lnTo>
                    <a:pt x="618" y="172"/>
                  </a:lnTo>
                  <a:lnTo>
                    <a:pt x="631" y="202"/>
                  </a:lnTo>
                  <a:lnTo>
                    <a:pt x="643" y="232"/>
                  </a:lnTo>
                  <a:lnTo>
                    <a:pt x="648" y="248"/>
                  </a:lnTo>
                  <a:lnTo>
                    <a:pt x="652" y="264"/>
                  </a:lnTo>
                  <a:lnTo>
                    <a:pt x="654" y="280"/>
                  </a:lnTo>
                  <a:lnTo>
                    <a:pt x="656" y="296"/>
                  </a:lnTo>
                  <a:lnTo>
                    <a:pt x="657" y="312"/>
                  </a:lnTo>
                  <a:lnTo>
                    <a:pt x="658" y="330"/>
                  </a:lnTo>
                  <a:lnTo>
                    <a:pt x="658" y="330"/>
                  </a:lnTo>
                  <a:lnTo>
                    <a:pt x="657" y="347"/>
                  </a:lnTo>
                  <a:lnTo>
                    <a:pt x="656" y="363"/>
                  </a:lnTo>
                  <a:lnTo>
                    <a:pt x="654" y="379"/>
                  </a:lnTo>
                  <a:lnTo>
                    <a:pt x="652" y="396"/>
                  </a:lnTo>
                  <a:lnTo>
                    <a:pt x="648" y="412"/>
                  </a:lnTo>
                  <a:lnTo>
                    <a:pt x="643" y="428"/>
                  </a:lnTo>
                  <a:lnTo>
                    <a:pt x="631" y="457"/>
                  </a:lnTo>
                  <a:lnTo>
                    <a:pt x="618" y="487"/>
                  </a:lnTo>
                  <a:lnTo>
                    <a:pt x="602" y="514"/>
                  </a:lnTo>
                  <a:lnTo>
                    <a:pt x="583" y="539"/>
                  </a:lnTo>
                  <a:lnTo>
                    <a:pt x="562" y="562"/>
                  </a:lnTo>
                  <a:lnTo>
                    <a:pt x="537" y="584"/>
                  </a:lnTo>
                  <a:lnTo>
                    <a:pt x="513" y="603"/>
                  </a:lnTo>
                  <a:lnTo>
                    <a:pt x="485" y="619"/>
                  </a:lnTo>
                  <a:lnTo>
                    <a:pt x="457" y="632"/>
                  </a:lnTo>
                  <a:lnTo>
                    <a:pt x="426" y="644"/>
                  </a:lnTo>
                  <a:lnTo>
                    <a:pt x="411" y="648"/>
                  </a:lnTo>
                  <a:lnTo>
                    <a:pt x="395" y="652"/>
                  </a:lnTo>
                  <a:lnTo>
                    <a:pt x="379" y="655"/>
                  </a:lnTo>
                  <a:lnTo>
                    <a:pt x="363" y="656"/>
                  </a:lnTo>
                  <a:lnTo>
                    <a:pt x="345" y="658"/>
                  </a:lnTo>
                  <a:lnTo>
                    <a:pt x="329" y="659"/>
                  </a:lnTo>
                  <a:lnTo>
                    <a:pt x="329" y="659"/>
                  </a:lnTo>
                  <a:close/>
                  <a:moveTo>
                    <a:pt x="329" y="38"/>
                  </a:moveTo>
                  <a:lnTo>
                    <a:pt x="329" y="38"/>
                  </a:lnTo>
                  <a:lnTo>
                    <a:pt x="299" y="39"/>
                  </a:lnTo>
                  <a:lnTo>
                    <a:pt x="270" y="45"/>
                  </a:lnTo>
                  <a:lnTo>
                    <a:pt x="242" y="51"/>
                  </a:lnTo>
                  <a:lnTo>
                    <a:pt x="215" y="61"/>
                  </a:lnTo>
                  <a:lnTo>
                    <a:pt x="191" y="73"/>
                  </a:lnTo>
                  <a:lnTo>
                    <a:pt x="166" y="88"/>
                  </a:lnTo>
                  <a:lnTo>
                    <a:pt x="144" y="105"/>
                  </a:lnTo>
                  <a:lnTo>
                    <a:pt x="123" y="124"/>
                  </a:lnTo>
                  <a:lnTo>
                    <a:pt x="105" y="144"/>
                  </a:lnTo>
                  <a:lnTo>
                    <a:pt x="87" y="167"/>
                  </a:lnTo>
                  <a:lnTo>
                    <a:pt x="72" y="191"/>
                  </a:lnTo>
                  <a:lnTo>
                    <a:pt x="60" y="217"/>
                  </a:lnTo>
                  <a:lnTo>
                    <a:pt x="51" y="244"/>
                  </a:lnTo>
                  <a:lnTo>
                    <a:pt x="43" y="271"/>
                  </a:lnTo>
                  <a:lnTo>
                    <a:pt x="39" y="300"/>
                  </a:lnTo>
                  <a:lnTo>
                    <a:pt x="37" y="330"/>
                  </a:lnTo>
                  <a:lnTo>
                    <a:pt x="37" y="330"/>
                  </a:lnTo>
                  <a:lnTo>
                    <a:pt x="39" y="359"/>
                  </a:lnTo>
                  <a:lnTo>
                    <a:pt x="43" y="389"/>
                  </a:lnTo>
                  <a:lnTo>
                    <a:pt x="51" y="416"/>
                  </a:lnTo>
                  <a:lnTo>
                    <a:pt x="60" y="443"/>
                  </a:lnTo>
                  <a:lnTo>
                    <a:pt x="72" y="468"/>
                  </a:lnTo>
                  <a:lnTo>
                    <a:pt x="87" y="492"/>
                  </a:lnTo>
                  <a:lnTo>
                    <a:pt x="105" y="515"/>
                  </a:lnTo>
                  <a:lnTo>
                    <a:pt x="123" y="535"/>
                  </a:lnTo>
                  <a:lnTo>
                    <a:pt x="144" y="554"/>
                  </a:lnTo>
                  <a:lnTo>
                    <a:pt x="166" y="572"/>
                  </a:lnTo>
                  <a:lnTo>
                    <a:pt x="191" y="586"/>
                  </a:lnTo>
                  <a:lnTo>
                    <a:pt x="215" y="598"/>
                  </a:lnTo>
                  <a:lnTo>
                    <a:pt x="242" y="608"/>
                  </a:lnTo>
                  <a:lnTo>
                    <a:pt x="270" y="615"/>
                  </a:lnTo>
                  <a:lnTo>
                    <a:pt x="299" y="620"/>
                  </a:lnTo>
                  <a:lnTo>
                    <a:pt x="329" y="621"/>
                  </a:lnTo>
                  <a:lnTo>
                    <a:pt x="329" y="621"/>
                  </a:lnTo>
                  <a:lnTo>
                    <a:pt x="359" y="620"/>
                  </a:lnTo>
                  <a:lnTo>
                    <a:pt x="387" y="615"/>
                  </a:lnTo>
                  <a:lnTo>
                    <a:pt x="415" y="608"/>
                  </a:lnTo>
                  <a:lnTo>
                    <a:pt x="442" y="598"/>
                  </a:lnTo>
                  <a:lnTo>
                    <a:pt x="467" y="586"/>
                  </a:lnTo>
                  <a:lnTo>
                    <a:pt x="492" y="572"/>
                  </a:lnTo>
                  <a:lnTo>
                    <a:pt x="514" y="554"/>
                  </a:lnTo>
                  <a:lnTo>
                    <a:pt x="535" y="535"/>
                  </a:lnTo>
                  <a:lnTo>
                    <a:pt x="553" y="515"/>
                  </a:lnTo>
                  <a:lnTo>
                    <a:pt x="570" y="492"/>
                  </a:lnTo>
                  <a:lnTo>
                    <a:pt x="584" y="468"/>
                  </a:lnTo>
                  <a:lnTo>
                    <a:pt x="596" y="443"/>
                  </a:lnTo>
                  <a:lnTo>
                    <a:pt x="607" y="416"/>
                  </a:lnTo>
                  <a:lnTo>
                    <a:pt x="614" y="389"/>
                  </a:lnTo>
                  <a:lnTo>
                    <a:pt x="618" y="359"/>
                  </a:lnTo>
                  <a:lnTo>
                    <a:pt x="621" y="330"/>
                  </a:lnTo>
                  <a:lnTo>
                    <a:pt x="621" y="330"/>
                  </a:lnTo>
                  <a:lnTo>
                    <a:pt x="618" y="300"/>
                  </a:lnTo>
                  <a:lnTo>
                    <a:pt x="614" y="271"/>
                  </a:lnTo>
                  <a:lnTo>
                    <a:pt x="607" y="244"/>
                  </a:lnTo>
                  <a:lnTo>
                    <a:pt x="596" y="217"/>
                  </a:lnTo>
                  <a:lnTo>
                    <a:pt x="584" y="191"/>
                  </a:lnTo>
                  <a:lnTo>
                    <a:pt x="570" y="167"/>
                  </a:lnTo>
                  <a:lnTo>
                    <a:pt x="553" y="144"/>
                  </a:lnTo>
                  <a:lnTo>
                    <a:pt x="535" y="124"/>
                  </a:lnTo>
                  <a:lnTo>
                    <a:pt x="514" y="105"/>
                  </a:lnTo>
                  <a:lnTo>
                    <a:pt x="492" y="88"/>
                  </a:lnTo>
                  <a:lnTo>
                    <a:pt x="467" y="73"/>
                  </a:lnTo>
                  <a:lnTo>
                    <a:pt x="442" y="61"/>
                  </a:lnTo>
                  <a:lnTo>
                    <a:pt x="415" y="51"/>
                  </a:lnTo>
                  <a:lnTo>
                    <a:pt x="387" y="45"/>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73" name="Freeform 217">
              <a:extLst>
                <a:ext uri="{FF2B5EF4-FFF2-40B4-BE49-F238E27FC236}">
                  <a16:creationId xmlns:a16="http://schemas.microsoft.com/office/drawing/2014/main" id="{14492520-C84D-4AD3-BA94-B4D0D31EBA00}"/>
                </a:ext>
              </a:extLst>
            </p:cNvPr>
            <p:cNvSpPr>
              <a:spLocks/>
            </p:cNvSpPr>
            <p:nvPr/>
          </p:nvSpPr>
          <p:spPr bwMode="auto">
            <a:xfrm>
              <a:off x="5964238" y="3467735"/>
              <a:ext cx="263525" cy="249238"/>
            </a:xfrm>
            <a:custGeom>
              <a:avLst/>
              <a:gdLst>
                <a:gd name="T0" fmla="*/ 330 w 330"/>
                <a:gd name="T1" fmla="*/ 120 h 314"/>
                <a:gd name="T2" fmla="*/ 330 w 330"/>
                <a:gd name="T3" fmla="*/ 120 h 314"/>
                <a:gd name="T4" fmla="*/ 328 w 330"/>
                <a:gd name="T5" fmla="*/ 117 h 314"/>
                <a:gd name="T6" fmla="*/ 325 w 330"/>
                <a:gd name="T7" fmla="*/ 116 h 314"/>
                <a:gd name="T8" fmla="*/ 217 w 330"/>
                <a:gd name="T9" fmla="*/ 101 h 314"/>
                <a:gd name="T10" fmla="*/ 170 w 330"/>
                <a:gd name="T11" fmla="*/ 4 h 314"/>
                <a:gd name="T12" fmla="*/ 170 w 330"/>
                <a:gd name="T13" fmla="*/ 4 h 314"/>
                <a:gd name="T14" fmla="*/ 168 w 330"/>
                <a:gd name="T15" fmla="*/ 1 h 314"/>
                <a:gd name="T16" fmla="*/ 165 w 330"/>
                <a:gd name="T17" fmla="*/ 0 h 314"/>
                <a:gd name="T18" fmla="*/ 162 w 330"/>
                <a:gd name="T19" fmla="*/ 1 h 314"/>
                <a:gd name="T20" fmla="*/ 160 w 330"/>
                <a:gd name="T21" fmla="*/ 4 h 314"/>
                <a:gd name="T22" fmla="*/ 111 w 330"/>
                <a:gd name="T23" fmla="*/ 101 h 314"/>
                <a:gd name="T24" fmla="*/ 5 w 330"/>
                <a:gd name="T25" fmla="*/ 116 h 314"/>
                <a:gd name="T26" fmla="*/ 5 w 330"/>
                <a:gd name="T27" fmla="*/ 116 h 314"/>
                <a:gd name="T28" fmla="*/ 2 w 330"/>
                <a:gd name="T29" fmla="*/ 117 h 314"/>
                <a:gd name="T30" fmla="*/ 0 w 330"/>
                <a:gd name="T31" fmla="*/ 120 h 314"/>
                <a:gd name="T32" fmla="*/ 0 w 330"/>
                <a:gd name="T33" fmla="*/ 120 h 314"/>
                <a:gd name="T34" fmla="*/ 0 w 330"/>
                <a:gd name="T35" fmla="*/ 124 h 314"/>
                <a:gd name="T36" fmla="*/ 1 w 330"/>
                <a:gd name="T37" fmla="*/ 126 h 314"/>
                <a:gd name="T38" fmla="*/ 79 w 330"/>
                <a:gd name="T39" fmla="*/ 202 h 314"/>
                <a:gd name="T40" fmla="*/ 60 w 330"/>
                <a:gd name="T41" fmla="*/ 308 h 314"/>
                <a:gd name="T42" fmla="*/ 60 w 330"/>
                <a:gd name="T43" fmla="*/ 308 h 314"/>
                <a:gd name="T44" fmla="*/ 62 w 330"/>
                <a:gd name="T45" fmla="*/ 312 h 314"/>
                <a:gd name="T46" fmla="*/ 63 w 330"/>
                <a:gd name="T47" fmla="*/ 314 h 314"/>
                <a:gd name="T48" fmla="*/ 63 w 330"/>
                <a:gd name="T49" fmla="*/ 314 h 314"/>
                <a:gd name="T50" fmla="*/ 66 w 330"/>
                <a:gd name="T51" fmla="*/ 314 h 314"/>
                <a:gd name="T52" fmla="*/ 70 w 330"/>
                <a:gd name="T53" fmla="*/ 314 h 314"/>
                <a:gd name="T54" fmla="*/ 165 w 330"/>
                <a:gd name="T55" fmla="*/ 263 h 314"/>
                <a:gd name="T56" fmla="*/ 260 w 330"/>
                <a:gd name="T57" fmla="*/ 314 h 314"/>
                <a:gd name="T58" fmla="*/ 260 w 330"/>
                <a:gd name="T59" fmla="*/ 314 h 314"/>
                <a:gd name="T60" fmla="*/ 263 w 330"/>
                <a:gd name="T61" fmla="*/ 314 h 314"/>
                <a:gd name="T62" fmla="*/ 263 w 330"/>
                <a:gd name="T63" fmla="*/ 314 h 314"/>
                <a:gd name="T64" fmla="*/ 267 w 330"/>
                <a:gd name="T65" fmla="*/ 314 h 314"/>
                <a:gd name="T66" fmla="*/ 267 w 330"/>
                <a:gd name="T67" fmla="*/ 314 h 314"/>
                <a:gd name="T68" fmla="*/ 268 w 330"/>
                <a:gd name="T69" fmla="*/ 312 h 314"/>
                <a:gd name="T70" fmla="*/ 268 w 330"/>
                <a:gd name="T71" fmla="*/ 308 h 314"/>
                <a:gd name="T72" fmla="*/ 251 w 330"/>
                <a:gd name="T73" fmla="*/ 202 h 314"/>
                <a:gd name="T74" fmla="*/ 329 w 330"/>
                <a:gd name="T75" fmla="*/ 126 h 314"/>
                <a:gd name="T76" fmla="*/ 329 w 330"/>
                <a:gd name="T77" fmla="*/ 126 h 314"/>
                <a:gd name="T78" fmla="*/ 330 w 330"/>
                <a:gd name="T79" fmla="*/ 124 h 314"/>
                <a:gd name="T80" fmla="*/ 330 w 330"/>
                <a:gd name="T81" fmla="*/ 120 h 314"/>
                <a:gd name="T82" fmla="*/ 330 w 330"/>
                <a:gd name="T83" fmla="*/ 12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0" h="314">
                  <a:moveTo>
                    <a:pt x="330" y="120"/>
                  </a:moveTo>
                  <a:lnTo>
                    <a:pt x="330" y="120"/>
                  </a:lnTo>
                  <a:lnTo>
                    <a:pt x="328" y="117"/>
                  </a:lnTo>
                  <a:lnTo>
                    <a:pt x="325" y="116"/>
                  </a:lnTo>
                  <a:lnTo>
                    <a:pt x="217" y="101"/>
                  </a:lnTo>
                  <a:lnTo>
                    <a:pt x="170" y="4"/>
                  </a:lnTo>
                  <a:lnTo>
                    <a:pt x="170" y="4"/>
                  </a:lnTo>
                  <a:lnTo>
                    <a:pt x="168" y="1"/>
                  </a:lnTo>
                  <a:lnTo>
                    <a:pt x="165" y="0"/>
                  </a:lnTo>
                  <a:lnTo>
                    <a:pt x="162" y="1"/>
                  </a:lnTo>
                  <a:lnTo>
                    <a:pt x="160" y="4"/>
                  </a:lnTo>
                  <a:lnTo>
                    <a:pt x="111" y="101"/>
                  </a:lnTo>
                  <a:lnTo>
                    <a:pt x="5" y="116"/>
                  </a:lnTo>
                  <a:lnTo>
                    <a:pt x="5" y="116"/>
                  </a:lnTo>
                  <a:lnTo>
                    <a:pt x="2" y="117"/>
                  </a:lnTo>
                  <a:lnTo>
                    <a:pt x="0" y="120"/>
                  </a:lnTo>
                  <a:lnTo>
                    <a:pt x="0" y="120"/>
                  </a:lnTo>
                  <a:lnTo>
                    <a:pt x="0" y="124"/>
                  </a:lnTo>
                  <a:lnTo>
                    <a:pt x="1" y="126"/>
                  </a:lnTo>
                  <a:lnTo>
                    <a:pt x="79" y="202"/>
                  </a:lnTo>
                  <a:lnTo>
                    <a:pt x="60" y="308"/>
                  </a:lnTo>
                  <a:lnTo>
                    <a:pt x="60" y="308"/>
                  </a:lnTo>
                  <a:lnTo>
                    <a:pt x="62" y="312"/>
                  </a:lnTo>
                  <a:lnTo>
                    <a:pt x="63" y="314"/>
                  </a:lnTo>
                  <a:lnTo>
                    <a:pt x="63" y="314"/>
                  </a:lnTo>
                  <a:lnTo>
                    <a:pt x="66" y="314"/>
                  </a:lnTo>
                  <a:lnTo>
                    <a:pt x="70" y="314"/>
                  </a:lnTo>
                  <a:lnTo>
                    <a:pt x="165" y="263"/>
                  </a:lnTo>
                  <a:lnTo>
                    <a:pt x="260" y="314"/>
                  </a:lnTo>
                  <a:lnTo>
                    <a:pt x="260" y="314"/>
                  </a:lnTo>
                  <a:lnTo>
                    <a:pt x="263" y="314"/>
                  </a:lnTo>
                  <a:lnTo>
                    <a:pt x="263" y="314"/>
                  </a:lnTo>
                  <a:lnTo>
                    <a:pt x="267" y="314"/>
                  </a:lnTo>
                  <a:lnTo>
                    <a:pt x="267" y="314"/>
                  </a:lnTo>
                  <a:lnTo>
                    <a:pt x="268" y="312"/>
                  </a:lnTo>
                  <a:lnTo>
                    <a:pt x="268" y="308"/>
                  </a:lnTo>
                  <a:lnTo>
                    <a:pt x="251" y="202"/>
                  </a:lnTo>
                  <a:lnTo>
                    <a:pt x="329" y="126"/>
                  </a:lnTo>
                  <a:lnTo>
                    <a:pt x="329" y="126"/>
                  </a:lnTo>
                  <a:lnTo>
                    <a:pt x="330" y="124"/>
                  </a:lnTo>
                  <a:lnTo>
                    <a:pt x="330" y="120"/>
                  </a:lnTo>
                  <a:lnTo>
                    <a:pt x="330"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grpSp>
      <p:sp>
        <p:nvSpPr>
          <p:cNvPr id="74" name="Oval 73">
            <a:extLst>
              <a:ext uri="{FF2B5EF4-FFF2-40B4-BE49-F238E27FC236}">
                <a16:creationId xmlns:a16="http://schemas.microsoft.com/office/drawing/2014/main" id="{B9E9D3B0-916D-4BE6-84A0-CD8E6C20E687}"/>
              </a:ext>
            </a:extLst>
          </p:cNvPr>
          <p:cNvSpPr/>
          <p:nvPr/>
        </p:nvSpPr>
        <p:spPr>
          <a:xfrm>
            <a:off x="11167014" y="2093383"/>
            <a:ext cx="327206" cy="32720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ea typeface="+mn-ea"/>
              <a:cs typeface="+mn-cs"/>
            </a:endParaRPr>
          </a:p>
        </p:txBody>
      </p:sp>
      <p:grpSp>
        <p:nvGrpSpPr>
          <p:cNvPr id="75" name="Group 74">
            <a:extLst>
              <a:ext uri="{FF2B5EF4-FFF2-40B4-BE49-F238E27FC236}">
                <a16:creationId xmlns:a16="http://schemas.microsoft.com/office/drawing/2014/main" id="{C8820839-9D45-4D0E-AB80-E16DEA59D86F}"/>
              </a:ext>
            </a:extLst>
          </p:cNvPr>
          <p:cNvGrpSpPr>
            <a:grpSpLocks noChangeAspect="1"/>
          </p:cNvGrpSpPr>
          <p:nvPr/>
        </p:nvGrpSpPr>
        <p:grpSpPr>
          <a:xfrm>
            <a:off x="11182761" y="2115850"/>
            <a:ext cx="295714" cy="294818"/>
            <a:chOff x="5834063" y="3342323"/>
            <a:chExt cx="523875" cy="522288"/>
          </a:xfrm>
          <a:solidFill>
            <a:schemeClr val="tx1"/>
          </a:solidFill>
        </p:grpSpPr>
        <p:sp>
          <p:nvSpPr>
            <p:cNvPr id="76" name="Freeform 56">
              <a:extLst>
                <a:ext uri="{FF2B5EF4-FFF2-40B4-BE49-F238E27FC236}">
                  <a16:creationId xmlns:a16="http://schemas.microsoft.com/office/drawing/2014/main" id="{D27A6231-9E13-46BD-B452-9B0C74F2BE0F}"/>
                </a:ext>
              </a:extLst>
            </p:cNvPr>
            <p:cNvSpPr>
              <a:spLocks noEditPoints="1"/>
            </p:cNvSpPr>
            <p:nvPr/>
          </p:nvSpPr>
          <p:spPr bwMode="auto">
            <a:xfrm>
              <a:off x="5834063" y="3342323"/>
              <a:ext cx="523875" cy="522288"/>
            </a:xfrm>
            <a:custGeom>
              <a:avLst/>
              <a:gdLst>
                <a:gd name="T0" fmla="*/ 312 w 658"/>
                <a:gd name="T1" fmla="*/ 658 h 659"/>
                <a:gd name="T2" fmla="*/ 262 w 658"/>
                <a:gd name="T3" fmla="*/ 652 h 659"/>
                <a:gd name="T4" fmla="*/ 201 w 658"/>
                <a:gd name="T5" fmla="*/ 632 h 659"/>
                <a:gd name="T6" fmla="*/ 119 w 658"/>
                <a:gd name="T7" fmla="*/ 584 h 659"/>
                <a:gd name="T8" fmla="*/ 56 w 658"/>
                <a:gd name="T9" fmla="*/ 514 h 659"/>
                <a:gd name="T10" fmla="*/ 15 w 658"/>
                <a:gd name="T11" fmla="*/ 428 h 659"/>
                <a:gd name="T12" fmla="*/ 4 w 658"/>
                <a:gd name="T13" fmla="*/ 379 h 659"/>
                <a:gd name="T14" fmla="*/ 0 w 658"/>
                <a:gd name="T15" fmla="*/ 330 h 659"/>
                <a:gd name="T16" fmla="*/ 1 w 658"/>
                <a:gd name="T17" fmla="*/ 296 h 659"/>
                <a:gd name="T18" fmla="*/ 10 w 658"/>
                <a:gd name="T19" fmla="*/ 248 h 659"/>
                <a:gd name="T20" fmla="*/ 40 w 658"/>
                <a:gd name="T21" fmla="*/ 172 h 659"/>
                <a:gd name="T22" fmla="*/ 96 w 658"/>
                <a:gd name="T23" fmla="*/ 97 h 659"/>
                <a:gd name="T24" fmla="*/ 172 w 658"/>
                <a:gd name="T25" fmla="*/ 41 h 659"/>
                <a:gd name="T26" fmla="*/ 247 w 658"/>
                <a:gd name="T27" fmla="*/ 11 h 659"/>
                <a:gd name="T28" fmla="*/ 295 w 658"/>
                <a:gd name="T29" fmla="*/ 2 h 659"/>
                <a:gd name="T30" fmla="*/ 329 w 658"/>
                <a:gd name="T31" fmla="*/ 0 h 659"/>
                <a:gd name="T32" fmla="*/ 379 w 658"/>
                <a:gd name="T33" fmla="*/ 4 h 659"/>
                <a:gd name="T34" fmla="*/ 426 w 658"/>
                <a:gd name="T35" fmla="*/ 15 h 659"/>
                <a:gd name="T36" fmla="*/ 513 w 658"/>
                <a:gd name="T37" fmla="*/ 57 h 659"/>
                <a:gd name="T38" fmla="*/ 583 w 658"/>
                <a:gd name="T39" fmla="*/ 120 h 659"/>
                <a:gd name="T40" fmla="*/ 631 w 658"/>
                <a:gd name="T41" fmla="*/ 202 h 659"/>
                <a:gd name="T42" fmla="*/ 652 w 658"/>
                <a:gd name="T43" fmla="*/ 264 h 659"/>
                <a:gd name="T44" fmla="*/ 657 w 658"/>
                <a:gd name="T45" fmla="*/ 312 h 659"/>
                <a:gd name="T46" fmla="*/ 657 w 658"/>
                <a:gd name="T47" fmla="*/ 347 h 659"/>
                <a:gd name="T48" fmla="*/ 652 w 658"/>
                <a:gd name="T49" fmla="*/ 396 h 659"/>
                <a:gd name="T50" fmla="*/ 631 w 658"/>
                <a:gd name="T51" fmla="*/ 457 h 659"/>
                <a:gd name="T52" fmla="*/ 583 w 658"/>
                <a:gd name="T53" fmla="*/ 539 h 659"/>
                <a:gd name="T54" fmla="*/ 513 w 658"/>
                <a:gd name="T55" fmla="*/ 603 h 659"/>
                <a:gd name="T56" fmla="*/ 426 w 658"/>
                <a:gd name="T57" fmla="*/ 644 h 659"/>
                <a:gd name="T58" fmla="*/ 379 w 658"/>
                <a:gd name="T59" fmla="*/ 655 h 659"/>
                <a:gd name="T60" fmla="*/ 329 w 658"/>
                <a:gd name="T61" fmla="*/ 659 h 659"/>
                <a:gd name="T62" fmla="*/ 329 w 658"/>
                <a:gd name="T63" fmla="*/ 38 h 659"/>
                <a:gd name="T64" fmla="*/ 242 w 658"/>
                <a:gd name="T65" fmla="*/ 51 h 659"/>
                <a:gd name="T66" fmla="*/ 166 w 658"/>
                <a:gd name="T67" fmla="*/ 88 h 659"/>
                <a:gd name="T68" fmla="*/ 105 w 658"/>
                <a:gd name="T69" fmla="*/ 144 h 659"/>
                <a:gd name="T70" fmla="*/ 60 w 658"/>
                <a:gd name="T71" fmla="*/ 217 h 659"/>
                <a:gd name="T72" fmla="*/ 39 w 658"/>
                <a:gd name="T73" fmla="*/ 300 h 659"/>
                <a:gd name="T74" fmla="*/ 39 w 658"/>
                <a:gd name="T75" fmla="*/ 359 h 659"/>
                <a:gd name="T76" fmla="*/ 60 w 658"/>
                <a:gd name="T77" fmla="*/ 443 h 659"/>
                <a:gd name="T78" fmla="*/ 105 w 658"/>
                <a:gd name="T79" fmla="*/ 515 h 659"/>
                <a:gd name="T80" fmla="*/ 166 w 658"/>
                <a:gd name="T81" fmla="*/ 572 h 659"/>
                <a:gd name="T82" fmla="*/ 242 w 658"/>
                <a:gd name="T83" fmla="*/ 608 h 659"/>
                <a:gd name="T84" fmla="*/ 329 w 658"/>
                <a:gd name="T85" fmla="*/ 621 h 659"/>
                <a:gd name="T86" fmla="*/ 387 w 658"/>
                <a:gd name="T87" fmla="*/ 615 h 659"/>
                <a:gd name="T88" fmla="*/ 467 w 658"/>
                <a:gd name="T89" fmla="*/ 586 h 659"/>
                <a:gd name="T90" fmla="*/ 535 w 658"/>
                <a:gd name="T91" fmla="*/ 535 h 659"/>
                <a:gd name="T92" fmla="*/ 584 w 658"/>
                <a:gd name="T93" fmla="*/ 468 h 659"/>
                <a:gd name="T94" fmla="*/ 614 w 658"/>
                <a:gd name="T95" fmla="*/ 389 h 659"/>
                <a:gd name="T96" fmla="*/ 621 w 658"/>
                <a:gd name="T97" fmla="*/ 330 h 659"/>
                <a:gd name="T98" fmla="*/ 607 w 658"/>
                <a:gd name="T99" fmla="*/ 244 h 659"/>
                <a:gd name="T100" fmla="*/ 570 w 658"/>
                <a:gd name="T101" fmla="*/ 167 h 659"/>
                <a:gd name="T102" fmla="*/ 514 w 658"/>
                <a:gd name="T103" fmla="*/ 105 h 659"/>
                <a:gd name="T104" fmla="*/ 442 w 658"/>
                <a:gd name="T105" fmla="*/ 61 h 659"/>
                <a:gd name="T106" fmla="*/ 359 w 658"/>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2" y="658"/>
                  </a:lnTo>
                  <a:lnTo>
                    <a:pt x="295" y="656"/>
                  </a:lnTo>
                  <a:lnTo>
                    <a:pt x="279" y="655"/>
                  </a:lnTo>
                  <a:lnTo>
                    <a:pt x="262" y="652"/>
                  </a:lnTo>
                  <a:lnTo>
                    <a:pt x="247" y="648"/>
                  </a:lnTo>
                  <a:lnTo>
                    <a:pt x="231" y="644"/>
                  </a:lnTo>
                  <a:lnTo>
                    <a:pt x="201" y="632"/>
                  </a:lnTo>
                  <a:lnTo>
                    <a:pt x="172" y="619"/>
                  </a:lnTo>
                  <a:lnTo>
                    <a:pt x="145" y="603"/>
                  </a:lnTo>
                  <a:lnTo>
                    <a:pt x="119" y="584"/>
                  </a:lnTo>
                  <a:lnTo>
                    <a:pt x="96" y="562"/>
                  </a:lnTo>
                  <a:lnTo>
                    <a:pt x="75" y="539"/>
                  </a:lnTo>
                  <a:lnTo>
                    <a:pt x="56" y="514"/>
                  </a:lnTo>
                  <a:lnTo>
                    <a:pt x="40" y="487"/>
                  </a:lnTo>
                  <a:lnTo>
                    <a:pt x="25" y="457"/>
                  </a:lnTo>
                  <a:lnTo>
                    <a:pt x="15" y="428"/>
                  </a:lnTo>
                  <a:lnTo>
                    <a:pt x="10" y="412"/>
                  </a:lnTo>
                  <a:lnTo>
                    <a:pt x="6" y="396"/>
                  </a:lnTo>
                  <a:lnTo>
                    <a:pt x="4" y="379"/>
                  </a:lnTo>
                  <a:lnTo>
                    <a:pt x="1" y="363"/>
                  </a:lnTo>
                  <a:lnTo>
                    <a:pt x="0" y="347"/>
                  </a:lnTo>
                  <a:lnTo>
                    <a:pt x="0" y="330"/>
                  </a:lnTo>
                  <a:lnTo>
                    <a:pt x="0" y="330"/>
                  </a:lnTo>
                  <a:lnTo>
                    <a:pt x="0" y="312"/>
                  </a:lnTo>
                  <a:lnTo>
                    <a:pt x="1" y="296"/>
                  </a:lnTo>
                  <a:lnTo>
                    <a:pt x="4" y="280"/>
                  </a:lnTo>
                  <a:lnTo>
                    <a:pt x="6" y="264"/>
                  </a:lnTo>
                  <a:lnTo>
                    <a:pt x="10" y="248"/>
                  </a:lnTo>
                  <a:lnTo>
                    <a:pt x="15" y="232"/>
                  </a:lnTo>
                  <a:lnTo>
                    <a:pt x="25" y="202"/>
                  </a:lnTo>
                  <a:lnTo>
                    <a:pt x="40" y="172"/>
                  </a:lnTo>
                  <a:lnTo>
                    <a:pt x="56" y="146"/>
                  </a:lnTo>
                  <a:lnTo>
                    <a:pt x="75" y="120"/>
                  </a:lnTo>
                  <a:lnTo>
                    <a:pt x="96" y="97"/>
                  </a:lnTo>
                  <a:lnTo>
                    <a:pt x="119" y="76"/>
                  </a:lnTo>
                  <a:lnTo>
                    <a:pt x="145" y="57"/>
                  </a:lnTo>
                  <a:lnTo>
                    <a:pt x="172" y="41"/>
                  </a:lnTo>
                  <a:lnTo>
                    <a:pt x="201" y="26"/>
                  </a:lnTo>
                  <a:lnTo>
                    <a:pt x="231" y="15"/>
                  </a:lnTo>
                  <a:lnTo>
                    <a:pt x="247" y="11"/>
                  </a:lnTo>
                  <a:lnTo>
                    <a:pt x="262" y="7"/>
                  </a:lnTo>
                  <a:lnTo>
                    <a:pt x="279" y="4"/>
                  </a:lnTo>
                  <a:lnTo>
                    <a:pt x="295" y="2"/>
                  </a:lnTo>
                  <a:lnTo>
                    <a:pt x="312" y="2"/>
                  </a:lnTo>
                  <a:lnTo>
                    <a:pt x="329" y="0"/>
                  </a:lnTo>
                  <a:lnTo>
                    <a:pt x="329" y="0"/>
                  </a:lnTo>
                  <a:lnTo>
                    <a:pt x="345" y="2"/>
                  </a:lnTo>
                  <a:lnTo>
                    <a:pt x="363" y="2"/>
                  </a:lnTo>
                  <a:lnTo>
                    <a:pt x="379" y="4"/>
                  </a:lnTo>
                  <a:lnTo>
                    <a:pt x="395" y="7"/>
                  </a:lnTo>
                  <a:lnTo>
                    <a:pt x="411" y="11"/>
                  </a:lnTo>
                  <a:lnTo>
                    <a:pt x="426" y="15"/>
                  </a:lnTo>
                  <a:lnTo>
                    <a:pt x="457" y="26"/>
                  </a:lnTo>
                  <a:lnTo>
                    <a:pt x="485" y="41"/>
                  </a:lnTo>
                  <a:lnTo>
                    <a:pt x="513" y="57"/>
                  </a:lnTo>
                  <a:lnTo>
                    <a:pt x="537" y="76"/>
                  </a:lnTo>
                  <a:lnTo>
                    <a:pt x="562" y="97"/>
                  </a:lnTo>
                  <a:lnTo>
                    <a:pt x="583" y="120"/>
                  </a:lnTo>
                  <a:lnTo>
                    <a:pt x="602" y="146"/>
                  </a:lnTo>
                  <a:lnTo>
                    <a:pt x="618" y="172"/>
                  </a:lnTo>
                  <a:lnTo>
                    <a:pt x="631" y="202"/>
                  </a:lnTo>
                  <a:lnTo>
                    <a:pt x="643" y="232"/>
                  </a:lnTo>
                  <a:lnTo>
                    <a:pt x="648" y="248"/>
                  </a:lnTo>
                  <a:lnTo>
                    <a:pt x="652" y="264"/>
                  </a:lnTo>
                  <a:lnTo>
                    <a:pt x="654" y="280"/>
                  </a:lnTo>
                  <a:lnTo>
                    <a:pt x="656" y="296"/>
                  </a:lnTo>
                  <a:lnTo>
                    <a:pt x="657" y="312"/>
                  </a:lnTo>
                  <a:lnTo>
                    <a:pt x="658" y="330"/>
                  </a:lnTo>
                  <a:lnTo>
                    <a:pt x="658" y="330"/>
                  </a:lnTo>
                  <a:lnTo>
                    <a:pt x="657" y="347"/>
                  </a:lnTo>
                  <a:lnTo>
                    <a:pt x="656" y="363"/>
                  </a:lnTo>
                  <a:lnTo>
                    <a:pt x="654" y="379"/>
                  </a:lnTo>
                  <a:lnTo>
                    <a:pt x="652" y="396"/>
                  </a:lnTo>
                  <a:lnTo>
                    <a:pt x="648" y="412"/>
                  </a:lnTo>
                  <a:lnTo>
                    <a:pt x="643" y="428"/>
                  </a:lnTo>
                  <a:lnTo>
                    <a:pt x="631" y="457"/>
                  </a:lnTo>
                  <a:lnTo>
                    <a:pt x="618" y="487"/>
                  </a:lnTo>
                  <a:lnTo>
                    <a:pt x="602" y="514"/>
                  </a:lnTo>
                  <a:lnTo>
                    <a:pt x="583" y="539"/>
                  </a:lnTo>
                  <a:lnTo>
                    <a:pt x="562" y="562"/>
                  </a:lnTo>
                  <a:lnTo>
                    <a:pt x="537" y="584"/>
                  </a:lnTo>
                  <a:lnTo>
                    <a:pt x="513" y="603"/>
                  </a:lnTo>
                  <a:lnTo>
                    <a:pt x="485" y="619"/>
                  </a:lnTo>
                  <a:lnTo>
                    <a:pt x="457" y="632"/>
                  </a:lnTo>
                  <a:lnTo>
                    <a:pt x="426" y="644"/>
                  </a:lnTo>
                  <a:lnTo>
                    <a:pt x="411" y="648"/>
                  </a:lnTo>
                  <a:lnTo>
                    <a:pt x="395" y="652"/>
                  </a:lnTo>
                  <a:lnTo>
                    <a:pt x="379" y="655"/>
                  </a:lnTo>
                  <a:lnTo>
                    <a:pt x="363" y="656"/>
                  </a:lnTo>
                  <a:lnTo>
                    <a:pt x="345" y="658"/>
                  </a:lnTo>
                  <a:lnTo>
                    <a:pt x="329" y="659"/>
                  </a:lnTo>
                  <a:lnTo>
                    <a:pt x="329" y="659"/>
                  </a:lnTo>
                  <a:close/>
                  <a:moveTo>
                    <a:pt x="329" y="38"/>
                  </a:moveTo>
                  <a:lnTo>
                    <a:pt x="329" y="38"/>
                  </a:lnTo>
                  <a:lnTo>
                    <a:pt x="299" y="39"/>
                  </a:lnTo>
                  <a:lnTo>
                    <a:pt x="270" y="45"/>
                  </a:lnTo>
                  <a:lnTo>
                    <a:pt x="242" y="51"/>
                  </a:lnTo>
                  <a:lnTo>
                    <a:pt x="215" y="61"/>
                  </a:lnTo>
                  <a:lnTo>
                    <a:pt x="191" y="73"/>
                  </a:lnTo>
                  <a:lnTo>
                    <a:pt x="166" y="88"/>
                  </a:lnTo>
                  <a:lnTo>
                    <a:pt x="144" y="105"/>
                  </a:lnTo>
                  <a:lnTo>
                    <a:pt x="123" y="124"/>
                  </a:lnTo>
                  <a:lnTo>
                    <a:pt x="105" y="144"/>
                  </a:lnTo>
                  <a:lnTo>
                    <a:pt x="87" y="167"/>
                  </a:lnTo>
                  <a:lnTo>
                    <a:pt x="72" y="191"/>
                  </a:lnTo>
                  <a:lnTo>
                    <a:pt x="60" y="217"/>
                  </a:lnTo>
                  <a:lnTo>
                    <a:pt x="51" y="244"/>
                  </a:lnTo>
                  <a:lnTo>
                    <a:pt x="43" y="271"/>
                  </a:lnTo>
                  <a:lnTo>
                    <a:pt x="39" y="300"/>
                  </a:lnTo>
                  <a:lnTo>
                    <a:pt x="37" y="330"/>
                  </a:lnTo>
                  <a:lnTo>
                    <a:pt x="37" y="330"/>
                  </a:lnTo>
                  <a:lnTo>
                    <a:pt x="39" y="359"/>
                  </a:lnTo>
                  <a:lnTo>
                    <a:pt x="43" y="389"/>
                  </a:lnTo>
                  <a:lnTo>
                    <a:pt x="51" y="416"/>
                  </a:lnTo>
                  <a:lnTo>
                    <a:pt x="60" y="443"/>
                  </a:lnTo>
                  <a:lnTo>
                    <a:pt x="72" y="468"/>
                  </a:lnTo>
                  <a:lnTo>
                    <a:pt x="87" y="492"/>
                  </a:lnTo>
                  <a:lnTo>
                    <a:pt x="105" y="515"/>
                  </a:lnTo>
                  <a:lnTo>
                    <a:pt x="123" y="535"/>
                  </a:lnTo>
                  <a:lnTo>
                    <a:pt x="144" y="554"/>
                  </a:lnTo>
                  <a:lnTo>
                    <a:pt x="166" y="572"/>
                  </a:lnTo>
                  <a:lnTo>
                    <a:pt x="191" y="586"/>
                  </a:lnTo>
                  <a:lnTo>
                    <a:pt x="215" y="598"/>
                  </a:lnTo>
                  <a:lnTo>
                    <a:pt x="242" y="608"/>
                  </a:lnTo>
                  <a:lnTo>
                    <a:pt x="270" y="615"/>
                  </a:lnTo>
                  <a:lnTo>
                    <a:pt x="299" y="620"/>
                  </a:lnTo>
                  <a:lnTo>
                    <a:pt x="329" y="621"/>
                  </a:lnTo>
                  <a:lnTo>
                    <a:pt x="329" y="621"/>
                  </a:lnTo>
                  <a:lnTo>
                    <a:pt x="359" y="620"/>
                  </a:lnTo>
                  <a:lnTo>
                    <a:pt x="387" y="615"/>
                  </a:lnTo>
                  <a:lnTo>
                    <a:pt x="415" y="608"/>
                  </a:lnTo>
                  <a:lnTo>
                    <a:pt x="442" y="598"/>
                  </a:lnTo>
                  <a:lnTo>
                    <a:pt x="467" y="586"/>
                  </a:lnTo>
                  <a:lnTo>
                    <a:pt x="492" y="572"/>
                  </a:lnTo>
                  <a:lnTo>
                    <a:pt x="514" y="554"/>
                  </a:lnTo>
                  <a:lnTo>
                    <a:pt x="535" y="535"/>
                  </a:lnTo>
                  <a:lnTo>
                    <a:pt x="553" y="515"/>
                  </a:lnTo>
                  <a:lnTo>
                    <a:pt x="570" y="492"/>
                  </a:lnTo>
                  <a:lnTo>
                    <a:pt x="584" y="468"/>
                  </a:lnTo>
                  <a:lnTo>
                    <a:pt x="596" y="443"/>
                  </a:lnTo>
                  <a:lnTo>
                    <a:pt x="607" y="416"/>
                  </a:lnTo>
                  <a:lnTo>
                    <a:pt x="614" y="389"/>
                  </a:lnTo>
                  <a:lnTo>
                    <a:pt x="618" y="359"/>
                  </a:lnTo>
                  <a:lnTo>
                    <a:pt x="621" y="330"/>
                  </a:lnTo>
                  <a:lnTo>
                    <a:pt x="621" y="330"/>
                  </a:lnTo>
                  <a:lnTo>
                    <a:pt x="618" y="300"/>
                  </a:lnTo>
                  <a:lnTo>
                    <a:pt x="614" y="271"/>
                  </a:lnTo>
                  <a:lnTo>
                    <a:pt x="607" y="244"/>
                  </a:lnTo>
                  <a:lnTo>
                    <a:pt x="596" y="217"/>
                  </a:lnTo>
                  <a:lnTo>
                    <a:pt x="584" y="191"/>
                  </a:lnTo>
                  <a:lnTo>
                    <a:pt x="570" y="167"/>
                  </a:lnTo>
                  <a:lnTo>
                    <a:pt x="553" y="144"/>
                  </a:lnTo>
                  <a:lnTo>
                    <a:pt x="535" y="124"/>
                  </a:lnTo>
                  <a:lnTo>
                    <a:pt x="514" y="105"/>
                  </a:lnTo>
                  <a:lnTo>
                    <a:pt x="492" y="88"/>
                  </a:lnTo>
                  <a:lnTo>
                    <a:pt x="467" y="73"/>
                  </a:lnTo>
                  <a:lnTo>
                    <a:pt x="442" y="61"/>
                  </a:lnTo>
                  <a:lnTo>
                    <a:pt x="415" y="51"/>
                  </a:lnTo>
                  <a:lnTo>
                    <a:pt x="387" y="45"/>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77" name="Freeform 217">
              <a:extLst>
                <a:ext uri="{FF2B5EF4-FFF2-40B4-BE49-F238E27FC236}">
                  <a16:creationId xmlns:a16="http://schemas.microsoft.com/office/drawing/2014/main" id="{C26052BD-933B-4DA8-95A5-9BB1A3019174}"/>
                </a:ext>
              </a:extLst>
            </p:cNvPr>
            <p:cNvSpPr>
              <a:spLocks/>
            </p:cNvSpPr>
            <p:nvPr/>
          </p:nvSpPr>
          <p:spPr bwMode="auto">
            <a:xfrm>
              <a:off x="5964238" y="3467735"/>
              <a:ext cx="263525" cy="249238"/>
            </a:xfrm>
            <a:custGeom>
              <a:avLst/>
              <a:gdLst>
                <a:gd name="T0" fmla="*/ 330 w 330"/>
                <a:gd name="T1" fmla="*/ 120 h 314"/>
                <a:gd name="T2" fmla="*/ 330 w 330"/>
                <a:gd name="T3" fmla="*/ 120 h 314"/>
                <a:gd name="T4" fmla="*/ 328 w 330"/>
                <a:gd name="T5" fmla="*/ 117 h 314"/>
                <a:gd name="T6" fmla="*/ 325 w 330"/>
                <a:gd name="T7" fmla="*/ 116 h 314"/>
                <a:gd name="T8" fmla="*/ 217 w 330"/>
                <a:gd name="T9" fmla="*/ 101 h 314"/>
                <a:gd name="T10" fmla="*/ 170 w 330"/>
                <a:gd name="T11" fmla="*/ 4 h 314"/>
                <a:gd name="T12" fmla="*/ 170 w 330"/>
                <a:gd name="T13" fmla="*/ 4 h 314"/>
                <a:gd name="T14" fmla="*/ 168 w 330"/>
                <a:gd name="T15" fmla="*/ 1 h 314"/>
                <a:gd name="T16" fmla="*/ 165 w 330"/>
                <a:gd name="T17" fmla="*/ 0 h 314"/>
                <a:gd name="T18" fmla="*/ 162 w 330"/>
                <a:gd name="T19" fmla="*/ 1 h 314"/>
                <a:gd name="T20" fmla="*/ 160 w 330"/>
                <a:gd name="T21" fmla="*/ 4 h 314"/>
                <a:gd name="T22" fmla="*/ 111 w 330"/>
                <a:gd name="T23" fmla="*/ 101 h 314"/>
                <a:gd name="T24" fmla="*/ 5 w 330"/>
                <a:gd name="T25" fmla="*/ 116 h 314"/>
                <a:gd name="T26" fmla="*/ 5 w 330"/>
                <a:gd name="T27" fmla="*/ 116 h 314"/>
                <a:gd name="T28" fmla="*/ 2 w 330"/>
                <a:gd name="T29" fmla="*/ 117 h 314"/>
                <a:gd name="T30" fmla="*/ 0 w 330"/>
                <a:gd name="T31" fmla="*/ 120 h 314"/>
                <a:gd name="T32" fmla="*/ 0 w 330"/>
                <a:gd name="T33" fmla="*/ 120 h 314"/>
                <a:gd name="T34" fmla="*/ 0 w 330"/>
                <a:gd name="T35" fmla="*/ 124 h 314"/>
                <a:gd name="T36" fmla="*/ 1 w 330"/>
                <a:gd name="T37" fmla="*/ 126 h 314"/>
                <a:gd name="T38" fmla="*/ 79 w 330"/>
                <a:gd name="T39" fmla="*/ 202 h 314"/>
                <a:gd name="T40" fmla="*/ 60 w 330"/>
                <a:gd name="T41" fmla="*/ 308 h 314"/>
                <a:gd name="T42" fmla="*/ 60 w 330"/>
                <a:gd name="T43" fmla="*/ 308 h 314"/>
                <a:gd name="T44" fmla="*/ 62 w 330"/>
                <a:gd name="T45" fmla="*/ 312 h 314"/>
                <a:gd name="T46" fmla="*/ 63 w 330"/>
                <a:gd name="T47" fmla="*/ 314 h 314"/>
                <a:gd name="T48" fmla="*/ 63 w 330"/>
                <a:gd name="T49" fmla="*/ 314 h 314"/>
                <a:gd name="T50" fmla="*/ 66 w 330"/>
                <a:gd name="T51" fmla="*/ 314 h 314"/>
                <a:gd name="T52" fmla="*/ 70 w 330"/>
                <a:gd name="T53" fmla="*/ 314 h 314"/>
                <a:gd name="T54" fmla="*/ 165 w 330"/>
                <a:gd name="T55" fmla="*/ 263 h 314"/>
                <a:gd name="T56" fmla="*/ 260 w 330"/>
                <a:gd name="T57" fmla="*/ 314 h 314"/>
                <a:gd name="T58" fmla="*/ 260 w 330"/>
                <a:gd name="T59" fmla="*/ 314 h 314"/>
                <a:gd name="T60" fmla="*/ 263 w 330"/>
                <a:gd name="T61" fmla="*/ 314 h 314"/>
                <a:gd name="T62" fmla="*/ 263 w 330"/>
                <a:gd name="T63" fmla="*/ 314 h 314"/>
                <a:gd name="T64" fmla="*/ 267 w 330"/>
                <a:gd name="T65" fmla="*/ 314 h 314"/>
                <a:gd name="T66" fmla="*/ 267 w 330"/>
                <a:gd name="T67" fmla="*/ 314 h 314"/>
                <a:gd name="T68" fmla="*/ 268 w 330"/>
                <a:gd name="T69" fmla="*/ 312 h 314"/>
                <a:gd name="T70" fmla="*/ 268 w 330"/>
                <a:gd name="T71" fmla="*/ 308 h 314"/>
                <a:gd name="T72" fmla="*/ 251 w 330"/>
                <a:gd name="T73" fmla="*/ 202 h 314"/>
                <a:gd name="T74" fmla="*/ 329 w 330"/>
                <a:gd name="T75" fmla="*/ 126 h 314"/>
                <a:gd name="T76" fmla="*/ 329 w 330"/>
                <a:gd name="T77" fmla="*/ 126 h 314"/>
                <a:gd name="T78" fmla="*/ 330 w 330"/>
                <a:gd name="T79" fmla="*/ 124 h 314"/>
                <a:gd name="T80" fmla="*/ 330 w 330"/>
                <a:gd name="T81" fmla="*/ 120 h 314"/>
                <a:gd name="T82" fmla="*/ 330 w 330"/>
                <a:gd name="T83" fmla="*/ 12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0" h="314">
                  <a:moveTo>
                    <a:pt x="330" y="120"/>
                  </a:moveTo>
                  <a:lnTo>
                    <a:pt x="330" y="120"/>
                  </a:lnTo>
                  <a:lnTo>
                    <a:pt x="328" y="117"/>
                  </a:lnTo>
                  <a:lnTo>
                    <a:pt x="325" y="116"/>
                  </a:lnTo>
                  <a:lnTo>
                    <a:pt x="217" y="101"/>
                  </a:lnTo>
                  <a:lnTo>
                    <a:pt x="170" y="4"/>
                  </a:lnTo>
                  <a:lnTo>
                    <a:pt x="170" y="4"/>
                  </a:lnTo>
                  <a:lnTo>
                    <a:pt x="168" y="1"/>
                  </a:lnTo>
                  <a:lnTo>
                    <a:pt x="165" y="0"/>
                  </a:lnTo>
                  <a:lnTo>
                    <a:pt x="162" y="1"/>
                  </a:lnTo>
                  <a:lnTo>
                    <a:pt x="160" y="4"/>
                  </a:lnTo>
                  <a:lnTo>
                    <a:pt x="111" y="101"/>
                  </a:lnTo>
                  <a:lnTo>
                    <a:pt x="5" y="116"/>
                  </a:lnTo>
                  <a:lnTo>
                    <a:pt x="5" y="116"/>
                  </a:lnTo>
                  <a:lnTo>
                    <a:pt x="2" y="117"/>
                  </a:lnTo>
                  <a:lnTo>
                    <a:pt x="0" y="120"/>
                  </a:lnTo>
                  <a:lnTo>
                    <a:pt x="0" y="120"/>
                  </a:lnTo>
                  <a:lnTo>
                    <a:pt x="0" y="124"/>
                  </a:lnTo>
                  <a:lnTo>
                    <a:pt x="1" y="126"/>
                  </a:lnTo>
                  <a:lnTo>
                    <a:pt x="79" y="202"/>
                  </a:lnTo>
                  <a:lnTo>
                    <a:pt x="60" y="308"/>
                  </a:lnTo>
                  <a:lnTo>
                    <a:pt x="60" y="308"/>
                  </a:lnTo>
                  <a:lnTo>
                    <a:pt x="62" y="312"/>
                  </a:lnTo>
                  <a:lnTo>
                    <a:pt x="63" y="314"/>
                  </a:lnTo>
                  <a:lnTo>
                    <a:pt x="63" y="314"/>
                  </a:lnTo>
                  <a:lnTo>
                    <a:pt x="66" y="314"/>
                  </a:lnTo>
                  <a:lnTo>
                    <a:pt x="70" y="314"/>
                  </a:lnTo>
                  <a:lnTo>
                    <a:pt x="165" y="263"/>
                  </a:lnTo>
                  <a:lnTo>
                    <a:pt x="260" y="314"/>
                  </a:lnTo>
                  <a:lnTo>
                    <a:pt x="260" y="314"/>
                  </a:lnTo>
                  <a:lnTo>
                    <a:pt x="263" y="314"/>
                  </a:lnTo>
                  <a:lnTo>
                    <a:pt x="263" y="314"/>
                  </a:lnTo>
                  <a:lnTo>
                    <a:pt x="267" y="314"/>
                  </a:lnTo>
                  <a:lnTo>
                    <a:pt x="267" y="314"/>
                  </a:lnTo>
                  <a:lnTo>
                    <a:pt x="268" y="312"/>
                  </a:lnTo>
                  <a:lnTo>
                    <a:pt x="268" y="308"/>
                  </a:lnTo>
                  <a:lnTo>
                    <a:pt x="251" y="202"/>
                  </a:lnTo>
                  <a:lnTo>
                    <a:pt x="329" y="126"/>
                  </a:lnTo>
                  <a:lnTo>
                    <a:pt x="329" y="126"/>
                  </a:lnTo>
                  <a:lnTo>
                    <a:pt x="330" y="124"/>
                  </a:lnTo>
                  <a:lnTo>
                    <a:pt x="330" y="120"/>
                  </a:lnTo>
                  <a:lnTo>
                    <a:pt x="330"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grpSp>
      <p:cxnSp>
        <p:nvCxnSpPr>
          <p:cNvPr id="78" name="Straight Connector 77">
            <a:extLst>
              <a:ext uri="{FF2B5EF4-FFF2-40B4-BE49-F238E27FC236}">
                <a16:creationId xmlns:a16="http://schemas.microsoft.com/office/drawing/2014/main" id="{6A997483-DC61-46AD-8795-32290856EB2A}"/>
              </a:ext>
            </a:extLst>
          </p:cNvPr>
          <p:cNvCxnSpPr>
            <a:cxnSpLocks/>
          </p:cNvCxnSpPr>
          <p:nvPr/>
        </p:nvCxnSpPr>
        <p:spPr>
          <a:xfrm>
            <a:off x="11318655" y="2401086"/>
            <a:ext cx="0" cy="70128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79" name="Oval 78">
            <a:extLst>
              <a:ext uri="{FF2B5EF4-FFF2-40B4-BE49-F238E27FC236}">
                <a16:creationId xmlns:a16="http://schemas.microsoft.com/office/drawing/2014/main" id="{74EAF338-B7A4-417C-9630-EBAB2B1A2AEC}"/>
              </a:ext>
            </a:extLst>
          </p:cNvPr>
          <p:cNvSpPr/>
          <p:nvPr/>
        </p:nvSpPr>
        <p:spPr>
          <a:xfrm>
            <a:off x="8196933" y="2093383"/>
            <a:ext cx="327206" cy="32720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ea typeface="+mn-ea"/>
              <a:cs typeface="+mn-cs"/>
            </a:endParaRPr>
          </a:p>
        </p:txBody>
      </p:sp>
      <p:grpSp>
        <p:nvGrpSpPr>
          <p:cNvPr id="80" name="Group 79">
            <a:extLst>
              <a:ext uri="{FF2B5EF4-FFF2-40B4-BE49-F238E27FC236}">
                <a16:creationId xmlns:a16="http://schemas.microsoft.com/office/drawing/2014/main" id="{F0244B87-717E-48A4-827C-230C7934AD06}"/>
              </a:ext>
            </a:extLst>
          </p:cNvPr>
          <p:cNvGrpSpPr>
            <a:grpSpLocks noChangeAspect="1"/>
          </p:cNvGrpSpPr>
          <p:nvPr/>
        </p:nvGrpSpPr>
        <p:grpSpPr>
          <a:xfrm>
            <a:off x="8212680" y="2115850"/>
            <a:ext cx="295714" cy="294818"/>
            <a:chOff x="5834063" y="3342323"/>
            <a:chExt cx="523875" cy="522288"/>
          </a:xfrm>
          <a:solidFill>
            <a:schemeClr val="tx1"/>
          </a:solidFill>
        </p:grpSpPr>
        <p:sp>
          <p:nvSpPr>
            <p:cNvPr id="81" name="Freeform 56">
              <a:extLst>
                <a:ext uri="{FF2B5EF4-FFF2-40B4-BE49-F238E27FC236}">
                  <a16:creationId xmlns:a16="http://schemas.microsoft.com/office/drawing/2014/main" id="{7529EDD4-18E8-4582-82E4-73D55F808969}"/>
                </a:ext>
              </a:extLst>
            </p:cNvPr>
            <p:cNvSpPr>
              <a:spLocks noEditPoints="1"/>
            </p:cNvSpPr>
            <p:nvPr/>
          </p:nvSpPr>
          <p:spPr bwMode="auto">
            <a:xfrm>
              <a:off x="5834063" y="3342323"/>
              <a:ext cx="523875" cy="522288"/>
            </a:xfrm>
            <a:custGeom>
              <a:avLst/>
              <a:gdLst>
                <a:gd name="T0" fmla="*/ 312 w 658"/>
                <a:gd name="T1" fmla="*/ 658 h 659"/>
                <a:gd name="T2" fmla="*/ 262 w 658"/>
                <a:gd name="T3" fmla="*/ 652 h 659"/>
                <a:gd name="T4" fmla="*/ 201 w 658"/>
                <a:gd name="T5" fmla="*/ 632 h 659"/>
                <a:gd name="T6" fmla="*/ 119 w 658"/>
                <a:gd name="T7" fmla="*/ 584 h 659"/>
                <a:gd name="T8" fmla="*/ 56 w 658"/>
                <a:gd name="T9" fmla="*/ 514 h 659"/>
                <a:gd name="T10" fmla="*/ 15 w 658"/>
                <a:gd name="T11" fmla="*/ 428 h 659"/>
                <a:gd name="T12" fmla="*/ 4 w 658"/>
                <a:gd name="T13" fmla="*/ 379 h 659"/>
                <a:gd name="T14" fmla="*/ 0 w 658"/>
                <a:gd name="T15" fmla="*/ 330 h 659"/>
                <a:gd name="T16" fmla="*/ 1 w 658"/>
                <a:gd name="T17" fmla="*/ 296 h 659"/>
                <a:gd name="T18" fmla="*/ 10 w 658"/>
                <a:gd name="T19" fmla="*/ 248 h 659"/>
                <a:gd name="T20" fmla="*/ 40 w 658"/>
                <a:gd name="T21" fmla="*/ 172 h 659"/>
                <a:gd name="T22" fmla="*/ 96 w 658"/>
                <a:gd name="T23" fmla="*/ 97 h 659"/>
                <a:gd name="T24" fmla="*/ 172 w 658"/>
                <a:gd name="T25" fmla="*/ 41 h 659"/>
                <a:gd name="T26" fmla="*/ 247 w 658"/>
                <a:gd name="T27" fmla="*/ 11 h 659"/>
                <a:gd name="T28" fmla="*/ 295 w 658"/>
                <a:gd name="T29" fmla="*/ 2 h 659"/>
                <a:gd name="T30" fmla="*/ 329 w 658"/>
                <a:gd name="T31" fmla="*/ 0 h 659"/>
                <a:gd name="T32" fmla="*/ 379 w 658"/>
                <a:gd name="T33" fmla="*/ 4 h 659"/>
                <a:gd name="T34" fmla="*/ 426 w 658"/>
                <a:gd name="T35" fmla="*/ 15 h 659"/>
                <a:gd name="T36" fmla="*/ 513 w 658"/>
                <a:gd name="T37" fmla="*/ 57 h 659"/>
                <a:gd name="T38" fmla="*/ 583 w 658"/>
                <a:gd name="T39" fmla="*/ 120 h 659"/>
                <a:gd name="T40" fmla="*/ 631 w 658"/>
                <a:gd name="T41" fmla="*/ 202 h 659"/>
                <a:gd name="T42" fmla="*/ 652 w 658"/>
                <a:gd name="T43" fmla="*/ 264 h 659"/>
                <a:gd name="T44" fmla="*/ 657 w 658"/>
                <a:gd name="T45" fmla="*/ 312 h 659"/>
                <a:gd name="T46" fmla="*/ 657 w 658"/>
                <a:gd name="T47" fmla="*/ 347 h 659"/>
                <a:gd name="T48" fmla="*/ 652 w 658"/>
                <a:gd name="T49" fmla="*/ 396 h 659"/>
                <a:gd name="T50" fmla="*/ 631 w 658"/>
                <a:gd name="T51" fmla="*/ 457 h 659"/>
                <a:gd name="T52" fmla="*/ 583 w 658"/>
                <a:gd name="T53" fmla="*/ 539 h 659"/>
                <a:gd name="T54" fmla="*/ 513 w 658"/>
                <a:gd name="T55" fmla="*/ 603 h 659"/>
                <a:gd name="T56" fmla="*/ 426 w 658"/>
                <a:gd name="T57" fmla="*/ 644 h 659"/>
                <a:gd name="T58" fmla="*/ 379 w 658"/>
                <a:gd name="T59" fmla="*/ 655 h 659"/>
                <a:gd name="T60" fmla="*/ 329 w 658"/>
                <a:gd name="T61" fmla="*/ 659 h 659"/>
                <a:gd name="T62" fmla="*/ 329 w 658"/>
                <a:gd name="T63" fmla="*/ 38 h 659"/>
                <a:gd name="T64" fmla="*/ 242 w 658"/>
                <a:gd name="T65" fmla="*/ 51 h 659"/>
                <a:gd name="T66" fmla="*/ 166 w 658"/>
                <a:gd name="T67" fmla="*/ 88 h 659"/>
                <a:gd name="T68" fmla="*/ 105 w 658"/>
                <a:gd name="T69" fmla="*/ 144 h 659"/>
                <a:gd name="T70" fmla="*/ 60 w 658"/>
                <a:gd name="T71" fmla="*/ 217 h 659"/>
                <a:gd name="T72" fmla="*/ 39 w 658"/>
                <a:gd name="T73" fmla="*/ 300 h 659"/>
                <a:gd name="T74" fmla="*/ 39 w 658"/>
                <a:gd name="T75" fmla="*/ 359 h 659"/>
                <a:gd name="T76" fmla="*/ 60 w 658"/>
                <a:gd name="T77" fmla="*/ 443 h 659"/>
                <a:gd name="T78" fmla="*/ 105 w 658"/>
                <a:gd name="T79" fmla="*/ 515 h 659"/>
                <a:gd name="T80" fmla="*/ 166 w 658"/>
                <a:gd name="T81" fmla="*/ 572 h 659"/>
                <a:gd name="T82" fmla="*/ 242 w 658"/>
                <a:gd name="T83" fmla="*/ 608 h 659"/>
                <a:gd name="T84" fmla="*/ 329 w 658"/>
                <a:gd name="T85" fmla="*/ 621 h 659"/>
                <a:gd name="T86" fmla="*/ 387 w 658"/>
                <a:gd name="T87" fmla="*/ 615 h 659"/>
                <a:gd name="T88" fmla="*/ 467 w 658"/>
                <a:gd name="T89" fmla="*/ 586 h 659"/>
                <a:gd name="T90" fmla="*/ 535 w 658"/>
                <a:gd name="T91" fmla="*/ 535 h 659"/>
                <a:gd name="T92" fmla="*/ 584 w 658"/>
                <a:gd name="T93" fmla="*/ 468 h 659"/>
                <a:gd name="T94" fmla="*/ 614 w 658"/>
                <a:gd name="T95" fmla="*/ 389 h 659"/>
                <a:gd name="T96" fmla="*/ 621 w 658"/>
                <a:gd name="T97" fmla="*/ 330 h 659"/>
                <a:gd name="T98" fmla="*/ 607 w 658"/>
                <a:gd name="T99" fmla="*/ 244 h 659"/>
                <a:gd name="T100" fmla="*/ 570 w 658"/>
                <a:gd name="T101" fmla="*/ 167 h 659"/>
                <a:gd name="T102" fmla="*/ 514 w 658"/>
                <a:gd name="T103" fmla="*/ 105 h 659"/>
                <a:gd name="T104" fmla="*/ 442 w 658"/>
                <a:gd name="T105" fmla="*/ 61 h 659"/>
                <a:gd name="T106" fmla="*/ 359 w 658"/>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2" y="658"/>
                  </a:lnTo>
                  <a:lnTo>
                    <a:pt x="295" y="656"/>
                  </a:lnTo>
                  <a:lnTo>
                    <a:pt x="279" y="655"/>
                  </a:lnTo>
                  <a:lnTo>
                    <a:pt x="262" y="652"/>
                  </a:lnTo>
                  <a:lnTo>
                    <a:pt x="247" y="648"/>
                  </a:lnTo>
                  <a:lnTo>
                    <a:pt x="231" y="644"/>
                  </a:lnTo>
                  <a:lnTo>
                    <a:pt x="201" y="632"/>
                  </a:lnTo>
                  <a:lnTo>
                    <a:pt x="172" y="619"/>
                  </a:lnTo>
                  <a:lnTo>
                    <a:pt x="145" y="603"/>
                  </a:lnTo>
                  <a:lnTo>
                    <a:pt x="119" y="584"/>
                  </a:lnTo>
                  <a:lnTo>
                    <a:pt x="96" y="562"/>
                  </a:lnTo>
                  <a:lnTo>
                    <a:pt x="75" y="539"/>
                  </a:lnTo>
                  <a:lnTo>
                    <a:pt x="56" y="514"/>
                  </a:lnTo>
                  <a:lnTo>
                    <a:pt x="40" y="487"/>
                  </a:lnTo>
                  <a:lnTo>
                    <a:pt x="25" y="457"/>
                  </a:lnTo>
                  <a:lnTo>
                    <a:pt x="15" y="428"/>
                  </a:lnTo>
                  <a:lnTo>
                    <a:pt x="10" y="412"/>
                  </a:lnTo>
                  <a:lnTo>
                    <a:pt x="6" y="396"/>
                  </a:lnTo>
                  <a:lnTo>
                    <a:pt x="4" y="379"/>
                  </a:lnTo>
                  <a:lnTo>
                    <a:pt x="1" y="363"/>
                  </a:lnTo>
                  <a:lnTo>
                    <a:pt x="0" y="347"/>
                  </a:lnTo>
                  <a:lnTo>
                    <a:pt x="0" y="330"/>
                  </a:lnTo>
                  <a:lnTo>
                    <a:pt x="0" y="330"/>
                  </a:lnTo>
                  <a:lnTo>
                    <a:pt x="0" y="312"/>
                  </a:lnTo>
                  <a:lnTo>
                    <a:pt x="1" y="296"/>
                  </a:lnTo>
                  <a:lnTo>
                    <a:pt x="4" y="280"/>
                  </a:lnTo>
                  <a:lnTo>
                    <a:pt x="6" y="264"/>
                  </a:lnTo>
                  <a:lnTo>
                    <a:pt x="10" y="248"/>
                  </a:lnTo>
                  <a:lnTo>
                    <a:pt x="15" y="232"/>
                  </a:lnTo>
                  <a:lnTo>
                    <a:pt x="25" y="202"/>
                  </a:lnTo>
                  <a:lnTo>
                    <a:pt x="40" y="172"/>
                  </a:lnTo>
                  <a:lnTo>
                    <a:pt x="56" y="146"/>
                  </a:lnTo>
                  <a:lnTo>
                    <a:pt x="75" y="120"/>
                  </a:lnTo>
                  <a:lnTo>
                    <a:pt x="96" y="97"/>
                  </a:lnTo>
                  <a:lnTo>
                    <a:pt x="119" y="76"/>
                  </a:lnTo>
                  <a:lnTo>
                    <a:pt x="145" y="57"/>
                  </a:lnTo>
                  <a:lnTo>
                    <a:pt x="172" y="41"/>
                  </a:lnTo>
                  <a:lnTo>
                    <a:pt x="201" y="26"/>
                  </a:lnTo>
                  <a:lnTo>
                    <a:pt x="231" y="15"/>
                  </a:lnTo>
                  <a:lnTo>
                    <a:pt x="247" y="11"/>
                  </a:lnTo>
                  <a:lnTo>
                    <a:pt x="262" y="7"/>
                  </a:lnTo>
                  <a:lnTo>
                    <a:pt x="279" y="4"/>
                  </a:lnTo>
                  <a:lnTo>
                    <a:pt x="295" y="2"/>
                  </a:lnTo>
                  <a:lnTo>
                    <a:pt x="312" y="2"/>
                  </a:lnTo>
                  <a:lnTo>
                    <a:pt x="329" y="0"/>
                  </a:lnTo>
                  <a:lnTo>
                    <a:pt x="329" y="0"/>
                  </a:lnTo>
                  <a:lnTo>
                    <a:pt x="345" y="2"/>
                  </a:lnTo>
                  <a:lnTo>
                    <a:pt x="363" y="2"/>
                  </a:lnTo>
                  <a:lnTo>
                    <a:pt x="379" y="4"/>
                  </a:lnTo>
                  <a:lnTo>
                    <a:pt x="395" y="7"/>
                  </a:lnTo>
                  <a:lnTo>
                    <a:pt x="411" y="11"/>
                  </a:lnTo>
                  <a:lnTo>
                    <a:pt x="426" y="15"/>
                  </a:lnTo>
                  <a:lnTo>
                    <a:pt x="457" y="26"/>
                  </a:lnTo>
                  <a:lnTo>
                    <a:pt x="485" y="41"/>
                  </a:lnTo>
                  <a:lnTo>
                    <a:pt x="513" y="57"/>
                  </a:lnTo>
                  <a:lnTo>
                    <a:pt x="537" y="76"/>
                  </a:lnTo>
                  <a:lnTo>
                    <a:pt x="562" y="97"/>
                  </a:lnTo>
                  <a:lnTo>
                    <a:pt x="583" y="120"/>
                  </a:lnTo>
                  <a:lnTo>
                    <a:pt x="602" y="146"/>
                  </a:lnTo>
                  <a:lnTo>
                    <a:pt x="618" y="172"/>
                  </a:lnTo>
                  <a:lnTo>
                    <a:pt x="631" y="202"/>
                  </a:lnTo>
                  <a:lnTo>
                    <a:pt x="643" y="232"/>
                  </a:lnTo>
                  <a:lnTo>
                    <a:pt x="648" y="248"/>
                  </a:lnTo>
                  <a:lnTo>
                    <a:pt x="652" y="264"/>
                  </a:lnTo>
                  <a:lnTo>
                    <a:pt x="654" y="280"/>
                  </a:lnTo>
                  <a:lnTo>
                    <a:pt x="656" y="296"/>
                  </a:lnTo>
                  <a:lnTo>
                    <a:pt x="657" y="312"/>
                  </a:lnTo>
                  <a:lnTo>
                    <a:pt x="658" y="330"/>
                  </a:lnTo>
                  <a:lnTo>
                    <a:pt x="658" y="330"/>
                  </a:lnTo>
                  <a:lnTo>
                    <a:pt x="657" y="347"/>
                  </a:lnTo>
                  <a:lnTo>
                    <a:pt x="656" y="363"/>
                  </a:lnTo>
                  <a:lnTo>
                    <a:pt x="654" y="379"/>
                  </a:lnTo>
                  <a:lnTo>
                    <a:pt x="652" y="396"/>
                  </a:lnTo>
                  <a:lnTo>
                    <a:pt x="648" y="412"/>
                  </a:lnTo>
                  <a:lnTo>
                    <a:pt x="643" y="428"/>
                  </a:lnTo>
                  <a:lnTo>
                    <a:pt x="631" y="457"/>
                  </a:lnTo>
                  <a:lnTo>
                    <a:pt x="618" y="487"/>
                  </a:lnTo>
                  <a:lnTo>
                    <a:pt x="602" y="514"/>
                  </a:lnTo>
                  <a:lnTo>
                    <a:pt x="583" y="539"/>
                  </a:lnTo>
                  <a:lnTo>
                    <a:pt x="562" y="562"/>
                  </a:lnTo>
                  <a:lnTo>
                    <a:pt x="537" y="584"/>
                  </a:lnTo>
                  <a:lnTo>
                    <a:pt x="513" y="603"/>
                  </a:lnTo>
                  <a:lnTo>
                    <a:pt x="485" y="619"/>
                  </a:lnTo>
                  <a:lnTo>
                    <a:pt x="457" y="632"/>
                  </a:lnTo>
                  <a:lnTo>
                    <a:pt x="426" y="644"/>
                  </a:lnTo>
                  <a:lnTo>
                    <a:pt x="411" y="648"/>
                  </a:lnTo>
                  <a:lnTo>
                    <a:pt x="395" y="652"/>
                  </a:lnTo>
                  <a:lnTo>
                    <a:pt x="379" y="655"/>
                  </a:lnTo>
                  <a:lnTo>
                    <a:pt x="363" y="656"/>
                  </a:lnTo>
                  <a:lnTo>
                    <a:pt x="345" y="658"/>
                  </a:lnTo>
                  <a:lnTo>
                    <a:pt x="329" y="659"/>
                  </a:lnTo>
                  <a:lnTo>
                    <a:pt x="329" y="659"/>
                  </a:lnTo>
                  <a:close/>
                  <a:moveTo>
                    <a:pt x="329" y="38"/>
                  </a:moveTo>
                  <a:lnTo>
                    <a:pt x="329" y="38"/>
                  </a:lnTo>
                  <a:lnTo>
                    <a:pt x="299" y="39"/>
                  </a:lnTo>
                  <a:lnTo>
                    <a:pt x="270" y="45"/>
                  </a:lnTo>
                  <a:lnTo>
                    <a:pt x="242" y="51"/>
                  </a:lnTo>
                  <a:lnTo>
                    <a:pt x="215" y="61"/>
                  </a:lnTo>
                  <a:lnTo>
                    <a:pt x="191" y="73"/>
                  </a:lnTo>
                  <a:lnTo>
                    <a:pt x="166" y="88"/>
                  </a:lnTo>
                  <a:lnTo>
                    <a:pt x="144" y="105"/>
                  </a:lnTo>
                  <a:lnTo>
                    <a:pt x="123" y="124"/>
                  </a:lnTo>
                  <a:lnTo>
                    <a:pt x="105" y="144"/>
                  </a:lnTo>
                  <a:lnTo>
                    <a:pt x="87" y="167"/>
                  </a:lnTo>
                  <a:lnTo>
                    <a:pt x="72" y="191"/>
                  </a:lnTo>
                  <a:lnTo>
                    <a:pt x="60" y="217"/>
                  </a:lnTo>
                  <a:lnTo>
                    <a:pt x="51" y="244"/>
                  </a:lnTo>
                  <a:lnTo>
                    <a:pt x="43" y="271"/>
                  </a:lnTo>
                  <a:lnTo>
                    <a:pt x="39" y="300"/>
                  </a:lnTo>
                  <a:lnTo>
                    <a:pt x="37" y="330"/>
                  </a:lnTo>
                  <a:lnTo>
                    <a:pt x="37" y="330"/>
                  </a:lnTo>
                  <a:lnTo>
                    <a:pt x="39" y="359"/>
                  </a:lnTo>
                  <a:lnTo>
                    <a:pt x="43" y="389"/>
                  </a:lnTo>
                  <a:lnTo>
                    <a:pt x="51" y="416"/>
                  </a:lnTo>
                  <a:lnTo>
                    <a:pt x="60" y="443"/>
                  </a:lnTo>
                  <a:lnTo>
                    <a:pt x="72" y="468"/>
                  </a:lnTo>
                  <a:lnTo>
                    <a:pt x="87" y="492"/>
                  </a:lnTo>
                  <a:lnTo>
                    <a:pt x="105" y="515"/>
                  </a:lnTo>
                  <a:lnTo>
                    <a:pt x="123" y="535"/>
                  </a:lnTo>
                  <a:lnTo>
                    <a:pt x="144" y="554"/>
                  </a:lnTo>
                  <a:lnTo>
                    <a:pt x="166" y="572"/>
                  </a:lnTo>
                  <a:lnTo>
                    <a:pt x="191" y="586"/>
                  </a:lnTo>
                  <a:lnTo>
                    <a:pt x="215" y="598"/>
                  </a:lnTo>
                  <a:lnTo>
                    <a:pt x="242" y="608"/>
                  </a:lnTo>
                  <a:lnTo>
                    <a:pt x="270" y="615"/>
                  </a:lnTo>
                  <a:lnTo>
                    <a:pt x="299" y="620"/>
                  </a:lnTo>
                  <a:lnTo>
                    <a:pt x="329" y="621"/>
                  </a:lnTo>
                  <a:lnTo>
                    <a:pt x="329" y="621"/>
                  </a:lnTo>
                  <a:lnTo>
                    <a:pt x="359" y="620"/>
                  </a:lnTo>
                  <a:lnTo>
                    <a:pt x="387" y="615"/>
                  </a:lnTo>
                  <a:lnTo>
                    <a:pt x="415" y="608"/>
                  </a:lnTo>
                  <a:lnTo>
                    <a:pt x="442" y="598"/>
                  </a:lnTo>
                  <a:lnTo>
                    <a:pt x="467" y="586"/>
                  </a:lnTo>
                  <a:lnTo>
                    <a:pt x="492" y="572"/>
                  </a:lnTo>
                  <a:lnTo>
                    <a:pt x="514" y="554"/>
                  </a:lnTo>
                  <a:lnTo>
                    <a:pt x="535" y="535"/>
                  </a:lnTo>
                  <a:lnTo>
                    <a:pt x="553" y="515"/>
                  </a:lnTo>
                  <a:lnTo>
                    <a:pt x="570" y="492"/>
                  </a:lnTo>
                  <a:lnTo>
                    <a:pt x="584" y="468"/>
                  </a:lnTo>
                  <a:lnTo>
                    <a:pt x="596" y="443"/>
                  </a:lnTo>
                  <a:lnTo>
                    <a:pt x="607" y="416"/>
                  </a:lnTo>
                  <a:lnTo>
                    <a:pt x="614" y="389"/>
                  </a:lnTo>
                  <a:lnTo>
                    <a:pt x="618" y="359"/>
                  </a:lnTo>
                  <a:lnTo>
                    <a:pt x="621" y="330"/>
                  </a:lnTo>
                  <a:lnTo>
                    <a:pt x="621" y="330"/>
                  </a:lnTo>
                  <a:lnTo>
                    <a:pt x="618" y="300"/>
                  </a:lnTo>
                  <a:lnTo>
                    <a:pt x="614" y="271"/>
                  </a:lnTo>
                  <a:lnTo>
                    <a:pt x="607" y="244"/>
                  </a:lnTo>
                  <a:lnTo>
                    <a:pt x="596" y="217"/>
                  </a:lnTo>
                  <a:lnTo>
                    <a:pt x="584" y="191"/>
                  </a:lnTo>
                  <a:lnTo>
                    <a:pt x="570" y="167"/>
                  </a:lnTo>
                  <a:lnTo>
                    <a:pt x="553" y="144"/>
                  </a:lnTo>
                  <a:lnTo>
                    <a:pt x="535" y="124"/>
                  </a:lnTo>
                  <a:lnTo>
                    <a:pt x="514" y="105"/>
                  </a:lnTo>
                  <a:lnTo>
                    <a:pt x="492" y="88"/>
                  </a:lnTo>
                  <a:lnTo>
                    <a:pt x="467" y="73"/>
                  </a:lnTo>
                  <a:lnTo>
                    <a:pt x="442" y="61"/>
                  </a:lnTo>
                  <a:lnTo>
                    <a:pt x="415" y="51"/>
                  </a:lnTo>
                  <a:lnTo>
                    <a:pt x="387" y="45"/>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82" name="Freeform 217">
              <a:extLst>
                <a:ext uri="{FF2B5EF4-FFF2-40B4-BE49-F238E27FC236}">
                  <a16:creationId xmlns:a16="http://schemas.microsoft.com/office/drawing/2014/main" id="{04A7FBC0-E45E-4CC7-8DF7-72C063ED95E7}"/>
                </a:ext>
              </a:extLst>
            </p:cNvPr>
            <p:cNvSpPr>
              <a:spLocks/>
            </p:cNvSpPr>
            <p:nvPr/>
          </p:nvSpPr>
          <p:spPr bwMode="auto">
            <a:xfrm>
              <a:off x="5964238" y="3467735"/>
              <a:ext cx="263525" cy="249238"/>
            </a:xfrm>
            <a:custGeom>
              <a:avLst/>
              <a:gdLst>
                <a:gd name="T0" fmla="*/ 330 w 330"/>
                <a:gd name="T1" fmla="*/ 120 h 314"/>
                <a:gd name="T2" fmla="*/ 330 w 330"/>
                <a:gd name="T3" fmla="*/ 120 h 314"/>
                <a:gd name="T4" fmla="*/ 328 w 330"/>
                <a:gd name="T5" fmla="*/ 117 h 314"/>
                <a:gd name="T6" fmla="*/ 325 w 330"/>
                <a:gd name="T7" fmla="*/ 116 h 314"/>
                <a:gd name="T8" fmla="*/ 217 w 330"/>
                <a:gd name="T9" fmla="*/ 101 h 314"/>
                <a:gd name="T10" fmla="*/ 170 w 330"/>
                <a:gd name="T11" fmla="*/ 4 h 314"/>
                <a:gd name="T12" fmla="*/ 170 w 330"/>
                <a:gd name="T13" fmla="*/ 4 h 314"/>
                <a:gd name="T14" fmla="*/ 168 w 330"/>
                <a:gd name="T15" fmla="*/ 1 h 314"/>
                <a:gd name="T16" fmla="*/ 165 w 330"/>
                <a:gd name="T17" fmla="*/ 0 h 314"/>
                <a:gd name="T18" fmla="*/ 162 w 330"/>
                <a:gd name="T19" fmla="*/ 1 h 314"/>
                <a:gd name="T20" fmla="*/ 160 w 330"/>
                <a:gd name="T21" fmla="*/ 4 h 314"/>
                <a:gd name="T22" fmla="*/ 111 w 330"/>
                <a:gd name="T23" fmla="*/ 101 h 314"/>
                <a:gd name="T24" fmla="*/ 5 w 330"/>
                <a:gd name="T25" fmla="*/ 116 h 314"/>
                <a:gd name="T26" fmla="*/ 5 w 330"/>
                <a:gd name="T27" fmla="*/ 116 h 314"/>
                <a:gd name="T28" fmla="*/ 2 w 330"/>
                <a:gd name="T29" fmla="*/ 117 h 314"/>
                <a:gd name="T30" fmla="*/ 0 w 330"/>
                <a:gd name="T31" fmla="*/ 120 h 314"/>
                <a:gd name="T32" fmla="*/ 0 w 330"/>
                <a:gd name="T33" fmla="*/ 120 h 314"/>
                <a:gd name="T34" fmla="*/ 0 w 330"/>
                <a:gd name="T35" fmla="*/ 124 h 314"/>
                <a:gd name="T36" fmla="*/ 1 w 330"/>
                <a:gd name="T37" fmla="*/ 126 h 314"/>
                <a:gd name="T38" fmla="*/ 79 w 330"/>
                <a:gd name="T39" fmla="*/ 202 h 314"/>
                <a:gd name="T40" fmla="*/ 60 w 330"/>
                <a:gd name="T41" fmla="*/ 308 h 314"/>
                <a:gd name="T42" fmla="*/ 60 w 330"/>
                <a:gd name="T43" fmla="*/ 308 h 314"/>
                <a:gd name="T44" fmla="*/ 62 w 330"/>
                <a:gd name="T45" fmla="*/ 312 h 314"/>
                <a:gd name="T46" fmla="*/ 63 w 330"/>
                <a:gd name="T47" fmla="*/ 314 h 314"/>
                <a:gd name="T48" fmla="*/ 63 w 330"/>
                <a:gd name="T49" fmla="*/ 314 h 314"/>
                <a:gd name="T50" fmla="*/ 66 w 330"/>
                <a:gd name="T51" fmla="*/ 314 h 314"/>
                <a:gd name="T52" fmla="*/ 70 w 330"/>
                <a:gd name="T53" fmla="*/ 314 h 314"/>
                <a:gd name="T54" fmla="*/ 165 w 330"/>
                <a:gd name="T55" fmla="*/ 263 h 314"/>
                <a:gd name="T56" fmla="*/ 260 w 330"/>
                <a:gd name="T57" fmla="*/ 314 h 314"/>
                <a:gd name="T58" fmla="*/ 260 w 330"/>
                <a:gd name="T59" fmla="*/ 314 h 314"/>
                <a:gd name="T60" fmla="*/ 263 w 330"/>
                <a:gd name="T61" fmla="*/ 314 h 314"/>
                <a:gd name="T62" fmla="*/ 263 w 330"/>
                <a:gd name="T63" fmla="*/ 314 h 314"/>
                <a:gd name="T64" fmla="*/ 267 w 330"/>
                <a:gd name="T65" fmla="*/ 314 h 314"/>
                <a:gd name="T66" fmla="*/ 267 w 330"/>
                <a:gd name="T67" fmla="*/ 314 h 314"/>
                <a:gd name="T68" fmla="*/ 268 w 330"/>
                <a:gd name="T69" fmla="*/ 312 h 314"/>
                <a:gd name="T70" fmla="*/ 268 w 330"/>
                <a:gd name="T71" fmla="*/ 308 h 314"/>
                <a:gd name="T72" fmla="*/ 251 w 330"/>
                <a:gd name="T73" fmla="*/ 202 h 314"/>
                <a:gd name="T74" fmla="*/ 329 w 330"/>
                <a:gd name="T75" fmla="*/ 126 h 314"/>
                <a:gd name="T76" fmla="*/ 329 w 330"/>
                <a:gd name="T77" fmla="*/ 126 h 314"/>
                <a:gd name="T78" fmla="*/ 330 w 330"/>
                <a:gd name="T79" fmla="*/ 124 h 314"/>
                <a:gd name="T80" fmla="*/ 330 w 330"/>
                <a:gd name="T81" fmla="*/ 120 h 314"/>
                <a:gd name="T82" fmla="*/ 330 w 330"/>
                <a:gd name="T83" fmla="*/ 12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0" h="314">
                  <a:moveTo>
                    <a:pt x="330" y="120"/>
                  </a:moveTo>
                  <a:lnTo>
                    <a:pt x="330" y="120"/>
                  </a:lnTo>
                  <a:lnTo>
                    <a:pt x="328" y="117"/>
                  </a:lnTo>
                  <a:lnTo>
                    <a:pt x="325" y="116"/>
                  </a:lnTo>
                  <a:lnTo>
                    <a:pt x="217" y="101"/>
                  </a:lnTo>
                  <a:lnTo>
                    <a:pt x="170" y="4"/>
                  </a:lnTo>
                  <a:lnTo>
                    <a:pt x="170" y="4"/>
                  </a:lnTo>
                  <a:lnTo>
                    <a:pt x="168" y="1"/>
                  </a:lnTo>
                  <a:lnTo>
                    <a:pt x="165" y="0"/>
                  </a:lnTo>
                  <a:lnTo>
                    <a:pt x="162" y="1"/>
                  </a:lnTo>
                  <a:lnTo>
                    <a:pt x="160" y="4"/>
                  </a:lnTo>
                  <a:lnTo>
                    <a:pt x="111" y="101"/>
                  </a:lnTo>
                  <a:lnTo>
                    <a:pt x="5" y="116"/>
                  </a:lnTo>
                  <a:lnTo>
                    <a:pt x="5" y="116"/>
                  </a:lnTo>
                  <a:lnTo>
                    <a:pt x="2" y="117"/>
                  </a:lnTo>
                  <a:lnTo>
                    <a:pt x="0" y="120"/>
                  </a:lnTo>
                  <a:lnTo>
                    <a:pt x="0" y="120"/>
                  </a:lnTo>
                  <a:lnTo>
                    <a:pt x="0" y="124"/>
                  </a:lnTo>
                  <a:lnTo>
                    <a:pt x="1" y="126"/>
                  </a:lnTo>
                  <a:lnTo>
                    <a:pt x="79" y="202"/>
                  </a:lnTo>
                  <a:lnTo>
                    <a:pt x="60" y="308"/>
                  </a:lnTo>
                  <a:lnTo>
                    <a:pt x="60" y="308"/>
                  </a:lnTo>
                  <a:lnTo>
                    <a:pt x="62" y="312"/>
                  </a:lnTo>
                  <a:lnTo>
                    <a:pt x="63" y="314"/>
                  </a:lnTo>
                  <a:lnTo>
                    <a:pt x="63" y="314"/>
                  </a:lnTo>
                  <a:lnTo>
                    <a:pt x="66" y="314"/>
                  </a:lnTo>
                  <a:lnTo>
                    <a:pt x="70" y="314"/>
                  </a:lnTo>
                  <a:lnTo>
                    <a:pt x="165" y="263"/>
                  </a:lnTo>
                  <a:lnTo>
                    <a:pt x="260" y="314"/>
                  </a:lnTo>
                  <a:lnTo>
                    <a:pt x="260" y="314"/>
                  </a:lnTo>
                  <a:lnTo>
                    <a:pt x="263" y="314"/>
                  </a:lnTo>
                  <a:lnTo>
                    <a:pt x="263" y="314"/>
                  </a:lnTo>
                  <a:lnTo>
                    <a:pt x="267" y="314"/>
                  </a:lnTo>
                  <a:lnTo>
                    <a:pt x="267" y="314"/>
                  </a:lnTo>
                  <a:lnTo>
                    <a:pt x="268" y="312"/>
                  </a:lnTo>
                  <a:lnTo>
                    <a:pt x="268" y="308"/>
                  </a:lnTo>
                  <a:lnTo>
                    <a:pt x="251" y="202"/>
                  </a:lnTo>
                  <a:lnTo>
                    <a:pt x="329" y="126"/>
                  </a:lnTo>
                  <a:lnTo>
                    <a:pt x="329" y="126"/>
                  </a:lnTo>
                  <a:lnTo>
                    <a:pt x="330" y="124"/>
                  </a:lnTo>
                  <a:lnTo>
                    <a:pt x="330" y="120"/>
                  </a:lnTo>
                  <a:lnTo>
                    <a:pt x="330"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grpSp>
      <p:sp>
        <p:nvSpPr>
          <p:cNvPr id="83" name="TextBox 82">
            <a:extLst>
              <a:ext uri="{FF2B5EF4-FFF2-40B4-BE49-F238E27FC236}">
                <a16:creationId xmlns:a16="http://schemas.microsoft.com/office/drawing/2014/main" id="{DED6BF6F-DE3E-44CF-A129-9E14072D43DC}"/>
              </a:ext>
            </a:extLst>
          </p:cNvPr>
          <p:cNvSpPr txBox="1"/>
          <p:nvPr/>
        </p:nvSpPr>
        <p:spPr>
          <a:xfrm>
            <a:off x="8338471" y="2924244"/>
            <a:ext cx="1730946"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ea typeface="+mn-ea"/>
                <a:cs typeface="+mn-cs"/>
              </a:rPr>
              <a:t>Roadmap Prioritization Workshop</a:t>
            </a:r>
          </a:p>
        </p:txBody>
      </p:sp>
      <p:cxnSp>
        <p:nvCxnSpPr>
          <p:cNvPr id="84" name="Straight Connector 83">
            <a:extLst>
              <a:ext uri="{FF2B5EF4-FFF2-40B4-BE49-F238E27FC236}">
                <a16:creationId xmlns:a16="http://schemas.microsoft.com/office/drawing/2014/main" id="{A1C42B74-D47A-456D-A973-361269577703}"/>
              </a:ext>
            </a:extLst>
          </p:cNvPr>
          <p:cNvCxnSpPr>
            <a:cxnSpLocks/>
          </p:cNvCxnSpPr>
          <p:nvPr/>
        </p:nvCxnSpPr>
        <p:spPr>
          <a:xfrm>
            <a:off x="8352936" y="2401086"/>
            <a:ext cx="0" cy="70128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3C30AF84-96BE-4360-85C9-5DDD0A222876}"/>
              </a:ext>
            </a:extLst>
          </p:cNvPr>
          <p:cNvSpPr txBox="1"/>
          <p:nvPr/>
        </p:nvSpPr>
        <p:spPr>
          <a:xfrm>
            <a:off x="10268595" y="2924244"/>
            <a:ext cx="1028381" cy="4001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ea typeface="+mn-ea"/>
                <a:cs typeface="+mn-cs"/>
              </a:rPr>
              <a:t>Project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ea typeface="+mn-ea"/>
                <a:cs typeface="+mn-cs"/>
              </a:rPr>
              <a:t>Readout</a:t>
            </a:r>
          </a:p>
        </p:txBody>
      </p:sp>
      <p:sp>
        <p:nvSpPr>
          <p:cNvPr id="86" name="Rectangle 85">
            <a:extLst>
              <a:ext uri="{FF2B5EF4-FFF2-40B4-BE49-F238E27FC236}">
                <a16:creationId xmlns:a16="http://schemas.microsoft.com/office/drawing/2014/main" id="{CFF8A4DC-FDAD-4B4D-BFAD-70358DEABDE7}"/>
              </a:ext>
            </a:extLst>
          </p:cNvPr>
          <p:cNvSpPr/>
          <p:nvPr/>
        </p:nvSpPr>
        <p:spPr>
          <a:xfrm>
            <a:off x="6663509" y="3207184"/>
            <a:ext cx="1631348" cy="1411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mn-ea"/>
                <a:cs typeface="+mn-cs"/>
              </a:rPr>
              <a:t>DELIVERABLES</a:t>
            </a:r>
          </a:p>
        </p:txBody>
      </p:sp>
      <p:sp>
        <p:nvSpPr>
          <p:cNvPr id="87" name="Rectangle 86">
            <a:extLst>
              <a:ext uri="{FF2B5EF4-FFF2-40B4-BE49-F238E27FC236}">
                <a16:creationId xmlns:a16="http://schemas.microsoft.com/office/drawing/2014/main" id="{A5E6C5A6-E648-495D-A850-CB03389DADEA}"/>
              </a:ext>
            </a:extLst>
          </p:cNvPr>
          <p:cNvSpPr/>
          <p:nvPr/>
        </p:nvSpPr>
        <p:spPr>
          <a:xfrm>
            <a:off x="878697" y="3207184"/>
            <a:ext cx="1710499" cy="1672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mn-ea"/>
                <a:cs typeface="+mn-cs"/>
              </a:rPr>
              <a:t>KEY ACTIVITIES</a:t>
            </a:r>
          </a:p>
        </p:txBody>
      </p:sp>
      <p:cxnSp>
        <p:nvCxnSpPr>
          <p:cNvPr id="88" name="Straight Connector 87">
            <a:extLst>
              <a:ext uri="{FF2B5EF4-FFF2-40B4-BE49-F238E27FC236}">
                <a16:creationId xmlns:a16="http://schemas.microsoft.com/office/drawing/2014/main" id="{1E173D05-D305-434A-A76E-97CF10FC1241}"/>
              </a:ext>
            </a:extLst>
          </p:cNvPr>
          <p:cNvCxnSpPr/>
          <p:nvPr/>
        </p:nvCxnSpPr>
        <p:spPr>
          <a:xfrm>
            <a:off x="6740345" y="3413872"/>
            <a:ext cx="4512817"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5D6D9127-2CF7-4F1F-AE37-0BB352A557B0}"/>
              </a:ext>
            </a:extLst>
          </p:cNvPr>
          <p:cNvCxnSpPr>
            <a:cxnSpLocks/>
          </p:cNvCxnSpPr>
          <p:nvPr/>
        </p:nvCxnSpPr>
        <p:spPr>
          <a:xfrm>
            <a:off x="968909" y="3413872"/>
            <a:ext cx="4837531"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0" name="Rectangle 89">
            <a:extLst>
              <a:ext uri="{FF2B5EF4-FFF2-40B4-BE49-F238E27FC236}">
                <a16:creationId xmlns:a16="http://schemas.microsoft.com/office/drawing/2014/main" id="{DB004E3E-FA03-4D3A-96F0-5B0766637619}"/>
              </a:ext>
            </a:extLst>
          </p:cNvPr>
          <p:cNvSpPr>
            <a:spLocks/>
          </p:cNvSpPr>
          <p:nvPr/>
        </p:nvSpPr>
        <p:spPr>
          <a:xfrm>
            <a:off x="927545" y="6044984"/>
            <a:ext cx="10349327" cy="346673"/>
          </a:xfrm>
          <a:prstGeom prst="rect">
            <a:avLst/>
          </a:prstGeom>
          <a:pattFill prst="openDmnd">
            <a:fgClr>
              <a:schemeClr val="accent5">
                <a:lumMod val="20000"/>
                <a:lumOff val="80000"/>
              </a:schemeClr>
            </a:fgClr>
            <a:bgClr>
              <a:schemeClr val="bg1"/>
            </a:bgClr>
          </a:pattFill>
          <a:ln w="19050" cap="flat" cmpd="sng" algn="ctr">
            <a:solidFill>
              <a:schemeClr val="accent2"/>
            </a:solidFill>
            <a:prstDash val="solid"/>
            <a:miter lim="800000"/>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AN UNDERSTANDING OF COST DYNAMICS AND SEQUENCING TO MAKE IT ALL A REALITY</a:t>
            </a:r>
          </a:p>
        </p:txBody>
      </p:sp>
    </p:spTree>
    <p:extLst>
      <p:ext uri="{BB962C8B-B14F-4D97-AF65-F5344CB8AC3E}">
        <p14:creationId xmlns:p14="http://schemas.microsoft.com/office/powerpoint/2010/main" val="2325773717"/>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 name="Object 52" hidden="1">
            <a:extLst>
              <a:ext uri="{FF2B5EF4-FFF2-40B4-BE49-F238E27FC236}">
                <a16:creationId xmlns:a16="http://schemas.microsoft.com/office/drawing/2014/main" id="{1F49B161-BB3C-4050-B344-9AE330CA25A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9444" name="think-cell Slide" r:id="rId6" imgW="395" imgH="396" progId="TCLayout.ActiveDocument.1">
                  <p:embed/>
                </p:oleObj>
              </mc:Choice>
              <mc:Fallback>
                <p:oleObj name="think-cell Slide" r:id="rId6" imgW="395" imgH="396" progId="TCLayout.ActiveDocument.1">
                  <p:embed/>
                  <p:pic>
                    <p:nvPicPr>
                      <p:cNvPr id="53" name="Object 52" hidden="1">
                        <a:extLst>
                          <a:ext uri="{FF2B5EF4-FFF2-40B4-BE49-F238E27FC236}">
                            <a16:creationId xmlns:a16="http://schemas.microsoft.com/office/drawing/2014/main" id="{1F49B161-BB3C-4050-B344-9AE330CA25A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2" name="Rectangle 51" hidden="1">
            <a:extLst>
              <a:ext uri="{FF2B5EF4-FFF2-40B4-BE49-F238E27FC236}">
                <a16:creationId xmlns:a16="http://schemas.microsoft.com/office/drawing/2014/main" id="{66EE44BF-4504-45B2-9A69-1A97B296BFF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ED4FF9B6-2B4D-460C-AC4E-40E966538FF2}"/>
              </a:ext>
            </a:extLst>
          </p:cNvPr>
          <p:cNvSpPr>
            <a:spLocks noGrp="1"/>
          </p:cNvSpPr>
          <p:nvPr>
            <p:ph type="title"/>
          </p:nvPr>
        </p:nvSpPr>
        <p:spPr/>
        <p:txBody>
          <a:bodyPr/>
          <a:lstStyle/>
          <a:p>
            <a:r>
              <a:rPr lang="en-US" dirty="0"/>
              <a:t>Creating the Right “Mix” for the Desired Outcomes</a:t>
            </a:r>
          </a:p>
        </p:txBody>
      </p:sp>
      <p:sp>
        <p:nvSpPr>
          <p:cNvPr id="3" name="Text Placeholder 2">
            <a:extLst>
              <a:ext uri="{FF2B5EF4-FFF2-40B4-BE49-F238E27FC236}">
                <a16:creationId xmlns:a16="http://schemas.microsoft.com/office/drawing/2014/main" id="{3E8D67BC-D3C1-4FBC-B407-451262D4C9E2}"/>
              </a:ext>
            </a:extLst>
          </p:cNvPr>
          <p:cNvSpPr>
            <a:spLocks noGrp="1"/>
          </p:cNvSpPr>
          <p:nvPr>
            <p:ph type="body" sz="quarter" idx="14"/>
          </p:nvPr>
        </p:nvSpPr>
        <p:spPr/>
        <p:txBody>
          <a:bodyPr/>
          <a:lstStyle/>
          <a:p>
            <a:r>
              <a:rPr lang="en-GB" dirty="0"/>
              <a:t>We’ve calibrated our approach to this project by specifically honing six key scope dimensions based on the desired outcomes, and work conducted to date</a:t>
            </a:r>
            <a:endParaRPr lang="en-GB" dirty="0">
              <a:solidFill>
                <a:srgbClr val="FF0000"/>
              </a:solidFill>
            </a:endParaRPr>
          </a:p>
        </p:txBody>
      </p:sp>
      <p:sp>
        <p:nvSpPr>
          <p:cNvPr id="4" name="Text Placeholder 3">
            <a:extLst>
              <a:ext uri="{FF2B5EF4-FFF2-40B4-BE49-F238E27FC236}">
                <a16:creationId xmlns:a16="http://schemas.microsoft.com/office/drawing/2014/main" id="{898482C1-A45B-48AD-A534-9D3ACC65122B}"/>
              </a:ext>
            </a:extLst>
          </p:cNvPr>
          <p:cNvSpPr>
            <a:spLocks noGrp="1"/>
          </p:cNvSpPr>
          <p:nvPr>
            <p:ph type="body" sz="quarter" idx="15"/>
          </p:nvPr>
        </p:nvSpPr>
        <p:spPr>
          <a:xfrm>
            <a:off x="914971" y="466344"/>
            <a:ext cx="3713590" cy="228600"/>
          </a:xfrm>
        </p:spPr>
        <p:txBody>
          <a:bodyPr/>
          <a:lstStyle/>
          <a:p>
            <a:r>
              <a:rPr lang="en-US" dirty="0"/>
              <a:t>FRAMEWORKS &amp; CONCEPT ILLUSTRATION</a:t>
            </a:r>
          </a:p>
          <a:p>
            <a:endParaRPr lang="en-US" dirty="0"/>
          </a:p>
        </p:txBody>
      </p:sp>
      <p:cxnSp>
        <p:nvCxnSpPr>
          <p:cNvPr id="5" name="Straight Connector 4">
            <a:extLst>
              <a:ext uri="{FF2B5EF4-FFF2-40B4-BE49-F238E27FC236}">
                <a16:creationId xmlns:a16="http://schemas.microsoft.com/office/drawing/2014/main" id="{24ACCFA4-26C7-478D-B8B5-C5D9BF71CE82}"/>
              </a:ext>
            </a:extLst>
          </p:cNvPr>
          <p:cNvCxnSpPr>
            <a:cxnSpLocks/>
          </p:cNvCxnSpPr>
          <p:nvPr/>
        </p:nvCxnSpPr>
        <p:spPr>
          <a:xfrm>
            <a:off x="1099785" y="4342361"/>
            <a:ext cx="10279530" cy="0"/>
          </a:xfrm>
          <a:prstGeom prst="line">
            <a:avLst/>
          </a:prstGeom>
          <a:ln w="317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496FFC73-4CF4-4EDD-9827-DA8C1E627EC6}"/>
              </a:ext>
            </a:extLst>
          </p:cNvPr>
          <p:cNvCxnSpPr>
            <a:cxnSpLocks/>
          </p:cNvCxnSpPr>
          <p:nvPr/>
        </p:nvCxnSpPr>
        <p:spPr>
          <a:xfrm>
            <a:off x="1099785" y="3372181"/>
            <a:ext cx="10279530" cy="0"/>
          </a:xfrm>
          <a:prstGeom prst="line">
            <a:avLst/>
          </a:prstGeom>
          <a:ln w="317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07357243-5591-4720-8035-33F720DED969}"/>
              </a:ext>
            </a:extLst>
          </p:cNvPr>
          <p:cNvSpPr/>
          <p:nvPr/>
        </p:nvSpPr>
        <p:spPr bwMode="gray">
          <a:xfrm>
            <a:off x="6286411" y="1892808"/>
            <a:ext cx="1608152" cy="457200"/>
          </a:xfrm>
          <a:prstGeom prst="rect">
            <a:avLst/>
          </a:prstGeom>
          <a:noFill/>
          <a:ln w="1270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srgbClr val="000000"/>
                </a:solidFill>
                <a:effectLst/>
                <a:uLnTx/>
                <a:uFillTx/>
                <a:ea typeface="+mn-ea"/>
                <a:cs typeface="+mn-cs"/>
              </a:rPr>
              <a:t>Pragmatic, Sustainable        Ways of Working</a:t>
            </a:r>
          </a:p>
        </p:txBody>
      </p:sp>
      <p:sp>
        <p:nvSpPr>
          <p:cNvPr id="8" name="Title 1">
            <a:extLst>
              <a:ext uri="{FF2B5EF4-FFF2-40B4-BE49-F238E27FC236}">
                <a16:creationId xmlns:a16="http://schemas.microsoft.com/office/drawing/2014/main" id="{93929368-B88E-43C5-BEF6-D87D8063B8E6}"/>
              </a:ext>
            </a:extLst>
          </p:cNvPr>
          <p:cNvSpPr txBox="1">
            <a:spLocks/>
          </p:cNvSpPr>
          <p:nvPr/>
        </p:nvSpPr>
        <p:spPr>
          <a:xfrm>
            <a:off x="914400" y="694944"/>
            <a:ext cx="10363200"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sp>
        <p:nvSpPr>
          <p:cNvPr id="9" name="Text Placeholder 2">
            <a:extLst>
              <a:ext uri="{FF2B5EF4-FFF2-40B4-BE49-F238E27FC236}">
                <a16:creationId xmlns:a16="http://schemas.microsoft.com/office/drawing/2014/main" id="{AF5B039D-4E44-4234-A34D-79ABAE3AE3D6}"/>
              </a:ext>
            </a:extLst>
          </p:cNvPr>
          <p:cNvSpPr txBox="1">
            <a:spLocks/>
          </p:cNvSpPr>
          <p:nvPr/>
        </p:nvSpPr>
        <p:spPr>
          <a:xfrm>
            <a:off x="914721" y="1353312"/>
            <a:ext cx="10362880" cy="475488"/>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12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sz="1600" dirty="0">
              <a:solidFill>
                <a:srgbClr val="FF0000"/>
              </a:solidFill>
            </a:endParaRPr>
          </a:p>
        </p:txBody>
      </p:sp>
      <p:sp>
        <p:nvSpPr>
          <p:cNvPr id="10" name="Rectangle 9">
            <a:extLst>
              <a:ext uri="{FF2B5EF4-FFF2-40B4-BE49-F238E27FC236}">
                <a16:creationId xmlns:a16="http://schemas.microsoft.com/office/drawing/2014/main" id="{50ED40B7-DA11-4D16-A200-37550E24E7D3}"/>
              </a:ext>
            </a:extLst>
          </p:cNvPr>
          <p:cNvSpPr/>
          <p:nvPr/>
        </p:nvSpPr>
        <p:spPr bwMode="gray">
          <a:xfrm>
            <a:off x="2784391" y="5255284"/>
            <a:ext cx="1608152" cy="457200"/>
          </a:xfrm>
          <a:prstGeom prst="rect">
            <a:avLst/>
          </a:prstGeom>
          <a:noFill/>
          <a:ln w="1270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srgbClr val="000000"/>
                </a:solidFill>
                <a:effectLst/>
                <a:uLnTx/>
                <a:uFillTx/>
                <a:ea typeface="+mn-ea"/>
                <a:cs typeface="+mn-cs"/>
              </a:rPr>
              <a:t>Global Top-Down Approach</a:t>
            </a:r>
          </a:p>
        </p:txBody>
      </p:sp>
      <p:sp>
        <p:nvSpPr>
          <p:cNvPr id="11" name="Rectangle 10">
            <a:extLst>
              <a:ext uri="{FF2B5EF4-FFF2-40B4-BE49-F238E27FC236}">
                <a16:creationId xmlns:a16="http://schemas.microsoft.com/office/drawing/2014/main" id="{B5A8DD6C-C16B-4438-9804-DCBB34A055E6}"/>
              </a:ext>
            </a:extLst>
          </p:cNvPr>
          <p:cNvSpPr/>
          <p:nvPr/>
        </p:nvSpPr>
        <p:spPr bwMode="gray">
          <a:xfrm>
            <a:off x="1033381" y="5255284"/>
            <a:ext cx="1608152" cy="457200"/>
          </a:xfrm>
          <a:prstGeom prst="rect">
            <a:avLst/>
          </a:prstGeom>
          <a:noFill/>
          <a:ln w="1270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srgbClr val="000000"/>
                </a:solidFill>
                <a:effectLst/>
                <a:uLnTx/>
                <a:uFillTx/>
                <a:ea typeface="+mn-ea"/>
                <a:cs typeface="+mn-cs"/>
              </a:rPr>
              <a:t>Focus on Volume Growth*</a:t>
            </a:r>
          </a:p>
        </p:txBody>
      </p:sp>
      <p:sp>
        <p:nvSpPr>
          <p:cNvPr id="12" name="Rectangle 11">
            <a:extLst>
              <a:ext uri="{FF2B5EF4-FFF2-40B4-BE49-F238E27FC236}">
                <a16:creationId xmlns:a16="http://schemas.microsoft.com/office/drawing/2014/main" id="{81B36545-FFEF-4693-BEF7-F3E433D65278}"/>
              </a:ext>
            </a:extLst>
          </p:cNvPr>
          <p:cNvSpPr/>
          <p:nvPr/>
        </p:nvSpPr>
        <p:spPr bwMode="gray">
          <a:xfrm>
            <a:off x="4366545" y="5276066"/>
            <a:ext cx="1945864" cy="415636"/>
          </a:xfrm>
          <a:prstGeom prst="rect">
            <a:avLst/>
          </a:prstGeom>
          <a:noFill/>
          <a:ln w="1270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srgbClr val="000000"/>
                </a:solidFill>
                <a:effectLst/>
                <a:uLnTx/>
                <a:uFillTx/>
                <a:ea typeface="+mn-ea"/>
                <a:cs typeface="+mn-cs"/>
              </a:rPr>
              <a:t>Emphasize Long-Term Capability Building</a:t>
            </a:r>
          </a:p>
        </p:txBody>
      </p:sp>
      <p:sp>
        <p:nvSpPr>
          <p:cNvPr id="13" name="TextBox 12">
            <a:extLst>
              <a:ext uri="{FF2B5EF4-FFF2-40B4-BE49-F238E27FC236}">
                <a16:creationId xmlns:a16="http://schemas.microsoft.com/office/drawing/2014/main" id="{EE26BD85-7381-4EC5-81F8-BB6195F4DDC4}"/>
              </a:ext>
            </a:extLst>
          </p:cNvPr>
          <p:cNvSpPr txBox="1"/>
          <p:nvPr/>
        </p:nvSpPr>
        <p:spPr>
          <a:xfrm>
            <a:off x="1186955" y="5839507"/>
            <a:ext cx="1938031" cy="12311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Current assumption informing approach</a:t>
            </a:r>
          </a:p>
        </p:txBody>
      </p:sp>
      <p:sp>
        <p:nvSpPr>
          <p:cNvPr id="14" name="Rectangle 13">
            <a:extLst>
              <a:ext uri="{FF2B5EF4-FFF2-40B4-BE49-F238E27FC236}">
                <a16:creationId xmlns:a16="http://schemas.microsoft.com/office/drawing/2014/main" id="{7E57DEB4-C417-4587-9275-ADC3A94078A7}"/>
              </a:ext>
            </a:extLst>
          </p:cNvPr>
          <p:cNvSpPr/>
          <p:nvPr/>
        </p:nvSpPr>
        <p:spPr bwMode="gray">
          <a:xfrm>
            <a:off x="8037421" y="5255284"/>
            <a:ext cx="1608152" cy="457200"/>
          </a:xfrm>
          <a:prstGeom prst="rect">
            <a:avLst/>
          </a:prstGeom>
          <a:noFill/>
          <a:ln w="1270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srgbClr val="000000"/>
                </a:solidFill>
                <a:effectLst/>
                <a:uLnTx/>
                <a:uFillTx/>
                <a:ea typeface="+mn-ea"/>
                <a:cs typeface="+mn-cs"/>
              </a:rPr>
              <a:t>Ivory Tower Consultant</a:t>
            </a:r>
          </a:p>
        </p:txBody>
      </p:sp>
      <p:sp>
        <p:nvSpPr>
          <p:cNvPr id="15" name="Rectangle 14">
            <a:extLst>
              <a:ext uri="{FF2B5EF4-FFF2-40B4-BE49-F238E27FC236}">
                <a16:creationId xmlns:a16="http://schemas.microsoft.com/office/drawing/2014/main" id="{4255D35E-1935-4740-9E8D-4B5DB3C41767}"/>
              </a:ext>
            </a:extLst>
          </p:cNvPr>
          <p:cNvSpPr/>
          <p:nvPr/>
        </p:nvSpPr>
        <p:spPr bwMode="gray">
          <a:xfrm>
            <a:off x="6286411" y="5255284"/>
            <a:ext cx="1608152" cy="457200"/>
          </a:xfrm>
          <a:prstGeom prst="rect">
            <a:avLst/>
          </a:prstGeom>
          <a:noFill/>
          <a:ln w="1270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srgbClr val="000000"/>
                </a:solidFill>
                <a:effectLst/>
                <a:uLnTx/>
                <a:uFillTx/>
                <a:ea typeface="+mn-ea"/>
                <a:cs typeface="+mn-cs"/>
              </a:rPr>
              <a:t>Dogmatic, Theory and Methods</a:t>
            </a:r>
          </a:p>
        </p:txBody>
      </p:sp>
      <p:sp>
        <p:nvSpPr>
          <p:cNvPr id="16" name="Rectangle 15">
            <a:extLst>
              <a:ext uri="{FF2B5EF4-FFF2-40B4-BE49-F238E27FC236}">
                <a16:creationId xmlns:a16="http://schemas.microsoft.com/office/drawing/2014/main" id="{C95B6E5F-9648-4F11-BA28-411A77D38C7F}"/>
              </a:ext>
            </a:extLst>
          </p:cNvPr>
          <p:cNvSpPr/>
          <p:nvPr/>
        </p:nvSpPr>
        <p:spPr bwMode="gray">
          <a:xfrm>
            <a:off x="9788429" y="5255284"/>
            <a:ext cx="1608152" cy="457200"/>
          </a:xfrm>
          <a:prstGeom prst="rect">
            <a:avLst/>
          </a:prstGeom>
          <a:noFill/>
          <a:ln w="1270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srgbClr val="000000"/>
                </a:solidFill>
                <a:effectLst/>
                <a:uLnTx/>
                <a:uFillTx/>
                <a:ea typeface="+mn-ea"/>
                <a:cs typeface="+mn-cs"/>
              </a:rPr>
              <a:t>Uniform Trade Budget Reductions</a:t>
            </a:r>
          </a:p>
        </p:txBody>
      </p:sp>
      <p:sp>
        <p:nvSpPr>
          <p:cNvPr id="17" name="Rectangle: Rounded Corners 65">
            <a:extLst>
              <a:ext uri="{FF2B5EF4-FFF2-40B4-BE49-F238E27FC236}">
                <a16:creationId xmlns:a16="http://schemas.microsoft.com/office/drawing/2014/main" id="{BFA5C9C3-58A7-444A-A1CF-FA40D8D27AE4}"/>
              </a:ext>
            </a:extLst>
          </p:cNvPr>
          <p:cNvSpPr/>
          <p:nvPr/>
        </p:nvSpPr>
        <p:spPr bwMode="gray">
          <a:xfrm rot="16200000">
            <a:off x="9259566" y="3738207"/>
            <a:ext cx="2665878" cy="182880"/>
          </a:xfrm>
          <a:prstGeom prst="roundRect">
            <a:avLst>
              <a:gd name="adj" fmla="val 50000"/>
            </a:avLst>
          </a:prstGeom>
          <a:solidFill>
            <a:schemeClr val="bg1">
              <a:lumMod val="8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srgbClr val="000000">
                  <a:lumMod val="65000"/>
                  <a:lumOff val="35000"/>
                </a:srgbClr>
              </a:solidFill>
              <a:effectLst/>
              <a:uLnTx/>
              <a:uFillTx/>
              <a:ea typeface="+mn-ea"/>
              <a:cs typeface="+mn-cs"/>
            </a:endParaRPr>
          </a:p>
        </p:txBody>
      </p:sp>
      <p:sp>
        <p:nvSpPr>
          <p:cNvPr id="18" name="Rectangle: Rounded Corners 92">
            <a:extLst>
              <a:ext uri="{FF2B5EF4-FFF2-40B4-BE49-F238E27FC236}">
                <a16:creationId xmlns:a16="http://schemas.microsoft.com/office/drawing/2014/main" id="{BA432B68-1800-4CBF-95A4-26D01907D2DF}"/>
              </a:ext>
            </a:extLst>
          </p:cNvPr>
          <p:cNvSpPr/>
          <p:nvPr/>
        </p:nvSpPr>
        <p:spPr bwMode="gray">
          <a:xfrm rot="16200000">
            <a:off x="7508558" y="3738207"/>
            <a:ext cx="2665878" cy="182880"/>
          </a:xfrm>
          <a:prstGeom prst="roundRect">
            <a:avLst>
              <a:gd name="adj" fmla="val 50000"/>
            </a:avLst>
          </a:prstGeom>
          <a:solidFill>
            <a:schemeClr val="bg1">
              <a:lumMod val="8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srgbClr val="000000">
                  <a:lumMod val="65000"/>
                  <a:lumOff val="35000"/>
                </a:srgbClr>
              </a:solidFill>
              <a:effectLst/>
              <a:uLnTx/>
              <a:uFillTx/>
              <a:ea typeface="+mn-ea"/>
              <a:cs typeface="+mn-cs"/>
            </a:endParaRPr>
          </a:p>
        </p:txBody>
      </p:sp>
      <p:sp>
        <p:nvSpPr>
          <p:cNvPr id="19" name="Rectangle: Rounded Corners 93">
            <a:extLst>
              <a:ext uri="{FF2B5EF4-FFF2-40B4-BE49-F238E27FC236}">
                <a16:creationId xmlns:a16="http://schemas.microsoft.com/office/drawing/2014/main" id="{1D9591D9-3FF5-47E1-8E74-B1E00C18180C}"/>
              </a:ext>
            </a:extLst>
          </p:cNvPr>
          <p:cNvSpPr/>
          <p:nvPr/>
        </p:nvSpPr>
        <p:spPr bwMode="gray">
          <a:xfrm rot="16200000">
            <a:off x="5757548" y="3738207"/>
            <a:ext cx="2665878" cy="182880"/>
          </a:xfrm>
          <a:prstGeom prst="roundRect">
            <a:avLst>
              <a:gd name="adj" fmla="val 50000"/>
            </a:avLst>
          </a:prstGeom>
          <a:solidFill>
            <a:schemeClr val="bg1">
              <a:lumMod val="8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srgbClr val="000000">
                  <a:lumMod val="65000"/>
                  <a:lumOff val="35000"/>
                </a:srgbClr>
              </a:solidFill>
              <a:effectLst/>
              <a:uLnTx/>
              <a:uFillTx/>
              <a:ea typeface="+mn-ea"/>
              <a:cs typeface="+mn-cs"/>
            </a:endParaRPr>
          </a:p>
        </p:txBody>
      </p:sp>
      <p:sp>
        <p:nvSpPr>
          <p:cNvPr id="20" name="Rectangle: Rounded Corners 94">
            <a:extLst>
              <a:ext uri="{FF2B5EF4-FFF2-40B4-BE49-F238E27FC236}">
                <a16:creationId xmlns:a16="http://schemas.microsoft.com/office/drawing/2014/main" id="{CA4F971E-39E6-4C89-B308-1898C90BFE3C}"/>
              </a:ext>
            </a:extLst>
          </p:cNvPr>
          <p:cNvSpPr/>
          <p:nvPr/>
        </p:nvSpPr>
        <p:spPr bwMode="gray">
          <a:xfrm rot="16200000">
            <a:off x="4006538" y="3738208"/>
            <a:ext cx="2665878" cy="182880"/>
          </a:xfrm>
          <a:prstGeom prst="roundRect">
            <a:avLst>
              <a:gd name="adj" fmla="val 50000"/>
            </a:avLst>
          </a:prstGeom>
          <a:solidFill>
            <a:schemeClr val="bg1">
              <a:lumMod val="8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srgbClr val="000000">
                  <a:lumMod val="65000"/>
                  <a:lumOff val="35000"/>
                </a:srgbClr>
              </a:solidFill>
              <a:effectLst/>
              <a:uLnTx/>
              <a:uFillTx/>
              <a:ea typeface="+mn-ea"/>
              <a:cs typeface="+mn-cs"/>
            </a:endParaRPr>
          </a:p>
        </p:txBody>
      </p:sp>
      <p:sp>
        <p:nvSpPr>
          <p:cNvPr id="21" name="Rectangle: Rounded Corners 95">
            <a:extLst>
              <a:ext uri="{FF2B5EF4-FFF2-40B4-BE49-F238E27FC236}">
                <a16:creationId xmlns:a16="http://schemas.microsoft.com/office/drawing/2014/main" id="{727B764A-8644-4540-8875-68299C976EEB}"/>
              </a:ext>
            </a:extLst>
          </p:cNvPr>
          <p:cNvSpPr/>
          <p:nvPr/>
        </p:nvSpPr>
        <p:spPr bwMode="gray">
          <a:xfrm rot="16200000">
            <a:off x="2255529" y="3738207"/>
            <a:ext cx="2665878" cy="182880"/>
          </a:xfrm>
          <a:prstGeom prst="roundRect">
            <a:avLst>
              <a:gd name="adj" fmla="val 50000"/>
            </a:avLst>
          </a:prstGeom>
          <a:solidFill>
            <a:schemeClr val="bg1">
              <a:lumMod val="8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srgbClr val="000000">
                  <a:lumMod val="65000"/>
                  <a:lumOff val="35000"/>
                </a:srgbClr>
              </a:solidFill>
              <a:effectLst/>
              <a:uLnTx/>
              <a:uFillTx/>
              <a:ea typeface="+mn-ea"/>
              <a:cs typeface="+mn-cs"/>
            </a:endParaRPr>
          </a:p>
        </p:txBody>
      </p:sp>
      <p:sp>
        <p:nvSpPr>
          <p:cNvPr id="22" name="Rectangle: Rounded Corners 96">
            <a:extLst>
              <a:ext uri="{FF2B5EF4-FFF2-40B4-BE49-F238E27FC236}">
                <a16:creationId xmlns:a16="http://schemas.microsoft.com/office/drawing/2014/main" id="{3EDBCFCF-4C97-49E2-BD72-567B04CFDA47}"/>
              </a:ext>
            </a:extLst>
          </p:cNvPr>
          <p:cNvSpPr/>
          <p:nvPr/>
        </p:nvSpPr>
        <p:spPr bwMode="gray">
          <a:xfrm rot="16200000">
            <a:off x="504518" y="3738207"/>
            <a:ext cx="2665878" cy="182880"/>
          </a:xfrm>
          <a:prstGeom prst="roundRect">
            <a:avLst>
              <a:gd name="adj" fmla="val 50000"/>
            </a:avLst>
          </a:prstGeom>
          <a:solidFill>
            <a:schemeClr val="bg1">
              <a:lumMod val="8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srgbClr val="000000">
                  <a:lumMod val="65000"/>
                  <a:lumOff val="35000"/>
                </a:srgbClr>
              </a:solidFill>
              <a:effectLst/>
              <a:uLnTx/>
              <a:uFillTx/>
              <a:ea typeface="+mn-ea"/>
              <a:cs typeface="+mn-cs"/>
            </a:endParaRPr>
          </a:p>
        </p:txBody>
      </p:sp>
      <p:sp>
        <p:nvSpPr>
          <p:cNvPr id="23" name="Rectangle 22">
            <a:extLst>
              <a:ext uri="{FF2B5EF4-FFF2-40B4-BE49-F238E27FC236}">
                <a16:creationId xmlns:a16="http://schemas.microsoft.com/office/drawing/2014/main" id="{97D9566D-C2D6-4065-8F79-83E8A3F8BE58}"/>
              </a:ext>
            </a:extLst>
          </p:cNvPr>
          <p:cNvSpPr/>
          <p:nvPr/>
        </p:nvSpPr>
        <p:spPr bwMode="gray">
          <a:xfrm>
            <a:off x="2784391" y="1892808"/>
            <a:ext cx="1608152" cy="457200"/>
          </a:xfrm>
          <a:prstGeom prst="rect">
            <a:avLst/>
          </a:prstGeom>
          <a:noFill/>
          <a:ln w="1270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srgbClr val="000000"/>
                </a:solidFill>
                <a:effectLst/>
                <a:uLnTx/>
                <a:uFillTx/>
                <a:ea typeface="+mn-ea"/>
                <a:cs typeface="+mn-cs"/>
              </a:rPr>
              <a:t>Execution Local-Market Driven </a:t>
            </a:r>
          </a:p>
        </p:txBody>
      </p:sp>
      <p:sp>
        <p:nvSpPr>
          <p:cNvPr id="24" name="Rectangle 23">
            <a:extLst>
              <a:ext uri="{FF2B5EF4-FFF2-40B4-BE49-F238E27FC236}">
                <a16:creationId xmlns:a16="http://schemas.microsoft.com/office/drawing/2014/main" id="{41DD8E82-5306-4B8A-AADA-049782148F22}"/>
              </a:ext>
            </a:extLst>
          </p:cNvPr>
          <p:cNvSpPr/>
          <p:nvPr/>
        </p:nvSpPr>
        <p:spPr bwMode="gray">
          <a:xfrm>
            <a:off x="1033381" y="1892808"/>
            <a:ext cx="1608152" cy="457200"/>
          </a:xfrm>
          <a:prstGeom prst="rect">
            <a:avLst/>
          </a:prstGeom>
          <a:noFill/>
          <a:ln w="1270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srgbClr val="000000"/>
                </a:solidFill>
                <a:effectLst/>
                <a:uLnTx/>
                <a:uFillTx/>
                <a:ea typeface="+mn-ea"/>
                <a:cs typeface="+mn-cs"/>
              </a:rPr>
              <a:t>Focus on Bottom-Line Cost Reduction</a:t>
            </a:r>
          </a:p>
        </p:txBody>
      </p:sp>
      <p:sp>
        <p:nvSpPr>
          <p:cNvPr id="25" name="Rectangle 24">
            <a:extLst>
              <a:ext uri="{FF2B5EF4-FFF2-40B4-BE49-F238E27FC236}">
                <a16:creationId xmlns:a16="http://schemas.microsoft.com/office/drawing/2014/main" id="{547B829D-6CF7-46A8-A4B6-81AB5C7B9596}"/>
              </a:ext>
            </a:extLst>
          </p:cNvPr>
          <p:cNvSpPr/>
          <p:nvPr/>
        </p:nvSpPr>
        <p:spPr bwMode="gray">
          <a:xfrm>
            <a:off x="4454994" y="1892808"/>
            <a:ext cx="1768967" cy="457200"/>
          </a:xfrm>
          <a:prstGeom prst="rect">
            <a:avLst/>
          </a:prstGeom>
          <a:noFill/>
          <a:ln w="1270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srgbClr val="000000"/>
                </a:solidFill>
                <a:effectLst/>
                <a:uLnTx/>
                <a:uFillTx/>
                <a:ea typeface="+mn-ea"/>
                <a:cs typeface="+mn-cs"/>
              </a:rPr>
              <a:t>Emphasize One-Time  In-Year Benefits</a:t>
            </a:r>
          </a:p>
        </p:txBody>
      </p:sp>
      <p:sp>
        <p:nvSpPr>
          <p:cNvPr id="26" name="Rectangle 25">
            <a:extLst>
              <a:ext uri="{FF2B5EF4-FFF2-40B4-BE49-F238E27FC236}">
                <a16:creationId xmlns:a16="http://schemas.microsoft.com/office/drawing/2014/main" id="{A3674A9C-6AD7-4CA8-A9B0-324FD082CC53}"/>
              </a:ext>
            </a:extLst>
          </p:cNvPr>
          <p:cNvSpPr/>
          <p:nvPr/>
        </p:nvSpPr>
        <p:spPr bwMode="gray">
          <a:xfrm>
            <a:off x="8091851" y="1892808"/>
            <a:ext cx="1496765" cy="457200"/>
          </a:xfrm>
          <a:prstGeom prst="rect">
            <a:avLst/>
          </a:prstGeom>
          <a:noFill/>
          <a:ln w="1270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srgbClr val="000000"/>
                </a:solidFill>
                <a:effectLst/>
                <a:uLnTx/>
                <a:uFillTx/>
                <a:ea typeface="+mn-ea"/>
                <a:cs typeface="+mn-cs"/>
              </a:rPr>
              <a:t>Hands-On Execution Partner</a:t>
            </a:r>
          </a:p>
        </p:txBody>
      </p:sp>
      <p:sp>
        <p:nvSpPr>
          <p:cNvPr id="27" name="Rectangle 26">
            <a:extLst>
              <a:ext uri="{FF2B5EF4-FFF2-40B4-BE49-F238E27FC236}">
                <a16:creationId xmlns:a16="http://schemas.microsoft.com/office/drawing/2014/main" id="{75689ECE-D0B4-4E45-9FEB-AB8263B77535}"/>
              </a:ext>
            </a:extLst>
          </p:cNvPr>
          <p:cNvSpPr/>
          <p:nvPr/>
        </p:nvSpPr>
        <p:spPr bwMode="gray">
          <a:xfrm>
            <a:off x="9788429" y="1892808"/>
            <a:ext cx="1608152" cy="457200"/>
          </a:xfrm>
          <a:prstGeom prst="rect">
            <a:avLst/>
          </a:prstGeom>
          <a:noFill/>
          <a:ln w="1270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srgbClr val="000000"/>
                </a:solidFill>
                <a:effectLst/>
                <a:uLnTx/>
                <a:uFillTx/>
                <a:ea typeface="+mn-ea"/>
                <a:cs typeface="+mn-cs"/>
              </a:rPr>
              <a:t>Customer Archetype-Driven</a:t>
            </a:r>
          </a:p>
        </p:txBody>
      </p:sp>
      <p:grpSp>
        <p:nvGrpSpPr>
          <p:cNvPr id="28" name="Group 27">
            <a:extLst>
              <a:ext uri="{FF2B5EF4-FFF2-40B4-BE49-F238E27FC236}">
                <a16:creationId xmlns:a16="http://schemas.microsoft.com/office/drawing/2014/main" id="{E746C6FD-3FC8-4B84-8406-445FF0522AFD}"/>
              </a:ext>
            </a:extLst>
          </p:cNvPr>
          <p:cNvGrpSpPr/>
          <p:nvPr/>
        </p:nvGrpSpPr>
        <p:grpSpPr>
          <a:xfrm>
            <a:off x="10426387" y="2769106"/>
            <a:ext cx="332237" cy="332237"/>
            <a:chOff x="-596907" y="3842944"/>
            <a:chExt cx="332237" cy="332237"/>
          </a:xfrm>
        </p:grpSpPr>
        <p:sp>
          <p:nvSpPr>
            <p:cNvPr id="29" name="Oval 28">
              <a:extLst>
                <a:ext uri="{FF2B5EF4-FFF2-40B4-BE49-F238E27FC236}">
                  <a16:creationId xmlns:a16="http://schemas.microsoft.com/office/drawing/2014/main" id="{14883BD5-15B8-45C4-A41C-A0DBF980CC93}"/>
                </a:ext>
              </a:extLst>
            </p:cNvPr>
            <p:cNvSpPr/>
            <p:nvPr/>
          </p:nvSpPr>
          <p:spPr bwMode="gray">
            <a:xfrm rot="16200000">
              <a:off x="-596907" y="3842944"/>
              <a:ext cx="332237" cy="332237"/>
            </a:xfrm>
            <a:prstGeom prst="ellipse">
              <a:avLst/>
            </a:prstGeom>
            <a:solidFill>
              <a:schemeClr val="bg1"/>
            </a:solidFill>
            <a:ln w="19050"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ea typeface="+mn-ea"/>
                <a:cs typeface="+mn-cs"/>
              </a:endParaRPr>
            </a:p>
          </p:txBody>
        </p:sp>
        <p:sp>
          <p:nvSpPr>
            <p:cNvPr id="30" name="Oval 29">
              <a:extLst>
                <a:ext uri="{FF2B5EF4-FFF2-40B4-BE49-F238E27FC236}">
                  <a16:creationId xmlns:a16="http://schemas.microsoft.com/office/drawing/2014/main" id="{00DF3826-2ADB-449E-899B-3B6CEC71FAFF}"/>
                </a:ext>
              </a:extLst>
            </p:cNvPr>
            <p:cNvSpPr/>
            <p:nvPr/>
          </p:nvSpPr>
          <p:spPr bwMode="gray">
            <a:xfrm rot="16200000">
              <a:off x="-530460" y="3909392"/>
              <a:ext cx="199342" cy="199342"/>
            </a:xfrm>
            <a:prstGeom prst="ellipse">
              <a:avLst/>
            </a:prstGeom>
            <a:solidFill>
              <a:schemeClr val="accent1"/>
            </a:solidFill>
            <a:ln w="19050"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500" b="1" i="0" u="none" strike="noStrike" kern="1200" cap="none" spc="0" normalizeH="0" baseline="0" noProof="0" dirty="0">
                <a:ln>
                  <a:noFill/>
                </a:ln>
                <a:solidFill>
                  <a:srgbClr val="FFFFFF"/>
                </a:solidFill>
                <a:effectLst/>
                <a:uLnTx/>
                <a:uFillTx/>
                <a:ea typeface="+mn-ea"/>
                <a:cs typeface="+mn-cs"/>
              </a:endParaRPr>
            </a:p>
          </p:txBody>
        </p:sp>
      </p:grpSp>
      <p:grpSp>
        <p:nvGrpSpPr>
          <p:cNvPr id="31" name="Group 30">
            <a:extLst>
              <a:ext uri="{FF2B5EF4-FFF2-40B4-BE49-F238E27FC236}">
                <a16:creationId xmlns:a16="http://schemas.microsoft.com/office/drawing/2014/main" id="{9EFC394F-36EF-4DDB-B3EC-840D30DBA4AB}"/>
              </a:ext>
            </a:extLst>
          </p:cNvPr>
          <p:cNvGrpSpPr/>
          <p:nvPr/>
        </p:nvGrpSpPr>
        <p:grpSpPr>
          <a:xfrm>
            <a:off x="8675379" y="2968383"/>
            <a:ext cx="332237" cy="332237"/>
            <a:chOff x="-444507" y="3995344"/>
            <a:chExt cx="332237" cy="332237"/>
          </a:xfrm>
        </p:grpSpPr>
        <p:sp>
          <p:nvSpPr>
            <p:cNvPr id="32" name="Oval 31">
              <a:extLst>
                <a:ext uri="{FF2B5EF4-FFF2-40B4-BE49-F238E27FC236}">
                  <a16:creationId xmlns:a16="http://schemas.microsoft.com/office/drawing/2014/main" id="{C9A0BD0D-C7D6-49F4-9857-0049455F34F0}"/>
                </a:ext>
              </a:extLst>
            </p:cNvPr>
            <p:cNvSpPr/>
            <p:nvPr/>
          </p:nvSpPr>
          <p:spPr bwMode="gray">
            <a:xfrm rot="16200000">
              <a:off x="-444507" y="3995344"/>
              <a:ext cx="332237" cy="332237"/>
            </a:xfrm>
            <a:prstGeom prst="ellipse">
              <a:avLst/>
            </a:prstGeom>
            <a:solidFill>
              <a:schemeClr val="bg1"/>
            </a:solidFill>
            <a:ln w="19050"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ea typeface="+mn-ea"/>
                <a:cs typeface="+mn-cs"/>
              </a:endParaRPr>
            </a:p>
          </p:txBody>
        </p:sp>
        <p:sp>
          <p:nvSpPr>
            <p:cNvPr id="33" name="Oval 32">
              <a:extLst>
                <a:ext uri="{FF2B5EF4-FFF2-40B4-BE49-F238E27FC236}">
                  <a16:creationId xmlns:a16="http://schemas.microsoft.com/office/drawing/2014/main" id="{1D764B12-49FC-493B-8F47-B6E14CD81F12}"/>
                </a:ext>
              </a:extLst>
            </p:cNvPr>
            <p:cNvSpPr/>
            <p:nvPr/>
          </p:nvSpPr>
          <p:spPr bwMode="gray">
            <a:xfrm rot="16200000">
              <a:off x="-378060" y="4061792"/>
              <a:ext cx="199342" cy="199342"/>
            </a:xfrm>
            <a:prstGeom prst="ellipse">
              <a:avLst/>
            </a:prstGeom>
            <a:solidFill>
              <a:schemeClr val="accent1"/>
            </a:solidFill>
            <a:ln w="19050"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500" b="1" i="0" u="none" strike="noStrike" kern="1200" cap="none" spc="0" normalizeH="0" baseline="0" noProof="0" dirty="0">
                <a:ln>
                  <a:noFill/>
                </a:ln>
                <a:solidFill>
                  <a:srgbClr val="FFFFFF"/>
                </a:solidFill>
                <a:effectLst/>
                <a:uLnTx/>
                <a:uFillTx/>
                <a:ea typeface="+mn-ea"/>
                <a:cs typeface="+mn-cs"/>
              </a:endParaRPr>
            </a:p>
          </p:txBody>
        </p:sp>
      </p:grpSp>
      <p:grpSp>
        <p:nvGrpSpPr>
          <p:cNvPr id="34" name="Group 33">
            <a:extLst>
              <a:ext uri="{FF2B5EF4-FFF2-40B4-BE49-F238E27FC236}">
                <a16:creationId xmlns:a16="http://schemas.microsoft.com/office/drawing/2014/main" id="{2B389D3B-EB00-46AF-96C2-7F2475DCB97E}"/>
              </a:ext>
            </a:extLst>
          </p:cNvPr>
          <p:cNvGrpSpPr/>
          <p:nvPr/>
        </p:nvGrpSpPr>
        <p:grpSpPr>
          <a:xfrm>
            <a:off x="6924369" y="2545183"/>
            <a:ext cx="332237" cy="332237"/>
            <a:chOff x="-444507" y="3995344"/>
            <a:chExt cx="332237" cy="332237"/>
          </a:xfrm>
        </p:grpSpPr>
        <p:sp>
          <p:nvSpPr>
            <p:cNvPr id="35" name="Oval 34">
              <a:extLst>
                <a:ext uri="{FF2B5EF4-FFF2-40B4-BE49-F238E27FC236}">
                  <a16:creationId xmlns:a16="http://schemas.microsoft.com/office/drawing/2014/main" id="{97DBF477-274B-4B7D-AA6F-D94A2C29EA03}"/>
                </a:ext>
              </a:extLst>
            </p:cNvPr>
            <p:cNvSpPr/>
            <p:nvPr/>
          </p:nvSpPr>
          <p:spPr bwMode="gray">
            <a:xfrm rot="16200000">
              <a:off x="-444507" y="3995344"/>
              <a:ext cx="332237" cy="332237"/>
            </a:xfrm>
            <a:prstGeom prst="ellipse">
              <a:avLst/>
            </a:prstGeom>
            <a:solidFill>
              <a:schemeClr val="bg1"/>
            </a:solidFill>
            <a:ln w="19050"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ea typeface="+mn-ea"/>
                <a:cs typeface="+mn-cs"/>
              </a:endParaRPr>
            </a:p>
          </p:txBody>
        </p:sp>
        <p:sp>
          <p:nvSpPr>
            <p:cNvPr id="36" name="Oval 35">
              <a:extLst>
                <a:ext uri="{FF2B5EF4-FFF2-40B4-BE49-F238E27FC236}">
                  <a16:creationId xmlns:a16="http://schemas.microsoft.com/office/drawing/2014/main" id="{AAC3D3E4-F554-4FCC-BEC7-271136F8596E}"/>
                </a:ext>
              </a:extLst>
            </p:cNvPr>
            <p:cNvSpPr/>
            <p:nvPr/>
          </p:nvSpPr>
          <p:spPr bwMode="gray">
            <a:xfrm rot="16200000">
              <a:off x="-378060" y="4061792"/>
              <a:ext cx="199342" cy="199342"/>
            </a:xfrm>
            <a:prstGeom prst="ellipse">
              <a:avLst/>
            </a:prstGeom>
            <a:solidFill>
              <a:schemeClr val="accent1"/>
            </a:solidFill>
            <a:ln w="19050"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500" b="1" i="0" u="none" strike="noStrike" kern="1200" cap="none" spc="0" normalizeH="0" baseline="0" noProof="0" dirty="0">
                <a:ln>
                  <a:noFill/>
                </a:ln>
                <a:solidFill>
                  <a:srgbClr val="FFFFFF"/>
                </a:solidFill>
                <a:effectLst/>
                <a:uLnTx/>
                <a:uFillTx/>
                <a:ea typeface="+mn-ea"/>
                <a:cs typeface="+mn-cs"/>
              </a:endParaRPr>
            </a:p>
          </p:txBody>
        </p:sp>
      </p:grpSp>
      <p:grpSp>
        <p:nvGrpSpPr>
          <p:cNvPr id="37" name="Group 36">
            <a:extLst>
              <a:ext uri="{FF2B5EF4-FFF2-40B4-BE49-F238E27FC236}">
                <a16:creationId xmlns:a16="http://schemas.microsoft.com/office/drawing/2014/main" id="{40C1A0C4-4B43-48EB-95DF-8867467EA7B3}"/>
              </a:ext>
            </a:extLst>
          </p:cNvPr>
          <p:cNvGrpSpPr/>
          <p:nvPr/>
        </p:nvGrpSpPr>
        <p:grpSpPr>
          <a:xfrm>
            <a:off x="5173359" y="3213040"/>
            <a:ext cx="332237" cy="332237"/>
            <a:chOff x="-444507" y="3995344"/>
            <a:chExt cx="332237" cy="332237"/>
          </a:xfrm>
        </p:grpSpPr>
        <p:sp>
          <p:nvSpPr>
            <p:cNvPr id="38" name="Oval 37">
              <a:extLst>
                <a:ext uri="{FF2B5EF4-FFF2-40B4-BE49-F238E27FC236}">
                  <a16:creationId xmlns:a16="http://schemas.microsoft.com/office/drawing/2014/main" id="{728A6B15-040B-4408-A6EA-D72721E699E3}"/>
                </a:ext>
              </a:extLst>
            </p:cNvPr>
            <p:cNvSpPr/>
            <p:nvPr/>
          </p:nvSpPr>
          <p:spPr bwMode="gray">
            <a:xfrm rot="16200000">
              <a:off x="-444507" y="3995344"/>
              <a:ext cx="332237" cy="332237"/>
            </a:xfrm>
            <a:prstGeom prst="ellipse">
              <a:avLst/>
            </a:prstGeom>
            <a:solidFill>
              <a:schemeClr val="bg1"/>
            </a:solidFill>
            <a:ln w="19050"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ea typeface="+mn-ea"/>
                <a:cs typeface="+mn-cs"/>
              </a:endParaRPr>
            </a:p>
          </p:txBody>
        </p:sp>
        <p:sp>
          <p:nvSpPr>
            <p:cNvPr id="39" name="Oval 38">
              <a:extLst>
                <a:ext uri="{FF2B5EF4-FFF2-40B4-BE49-F238E27FC236}">
                  <a16:creationId xmlns:a16="http://schemas.microsoft.com/office/drawing/2014/main" id="{21D4AF90-6838-450D-A841-861B755B4D00}"/>
                </a:ext>
              </a:extLst>
            </p:cNvPr>
            <p:cNvSpPr/>
            <p:nvPr/>
          </p:nvSpPr>
          <p:spPr bwMode="gray">
            <a:xfrm rot="16200000">
              <a:off x="-378060" y="4061792"/>
              <a:ext cx="199342" cy="199342"/>
            </a:xfrm>
            <a:prstGeom prst="ellipse">
              <a:avLst/>
            </a:prstGeom>
            <a:solidFill>
              <a:schemeClr val="accent1"/>
            </a:solidFill>
            <a:ln w="19050"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500" b="1" i="0" u="none" strike="noStrike" kern="1200" cap="none" spc="0" normalizeH="0" baseline="0" noProof="0" dirty="0">
                <a:ln>
                  <a:noFill/>
                </a:ln>
                <a:solidFill>
                  <a:srgbClr val="FFFFFF"/>
                </a:solidFill>
                <a:effectLst/>
                <a:uLnTx/>
                <a:uFillTx/>
                <a:ea typeface="+mn-ea"/>
                <a:cs typeface="+mn-cs"/>
              </a:endParaRPr>
            </a:p>
          </p:txBody>
        </p:sp>
      </p:grpSp>
      <p:grpSp>
        <p:nvGrpSpPr>
          <p:cNvPr id="40" name="Group 39">
            <a:extLst>
              <a:ext uri="{FF2B5EF4-FFF2-40B4-BE49-F238E27FC236}">
                <a16:creationId xmlns:a16="http://schemas.microsoft.com/office/drawing/2014/main" id="{56D644FA-11A0-4661-84BE-85BFD5364FFC}"/>
              </a:ext>
            </a:extLst>
          </p:cNvPr>
          <p:cNvGrpSpPr/>
          <p:nvPr/>
        </p:nvGrpSpPr>
        <p:grpSpPr>
          <a:xfrm>
            <a:off x="3422349" y="2810973"/>
            <a:ext cx="332237" cy="332237"/>
            <a:chOff x="-444507" y="3995344"/>
            <a:chExt cx="332237" cy="332237"/>
          </a:xfrm>
        </p:grpSpPr>
        <p:sp>
          <p:nvSpPr>
            <p:cNvPr id="41" name="Oval 40">
              <a:extLst>
                <a:ext uri="{FF2B5EF4-FFF2-40B4-BE49-F238E27FC236}">
                  <a16:creationId xmlns:a16="http://schemas.microsoft.com/office/drawing/2014/main" id="{CEE8C702-13E5-4C9C-8325-21E623C37288}"/>
                </a:ext>
              </a:extLst>
            </p:cNvPr>
            <p:cNvSpPr/>
            <p:nvPr/>
          </p:nvSpPr>
          <p:spPr bwMode="gray">
            <a:xfrm rot="16200000">
              <a:off x="-444507" y="3995344"/>
              <a:ext cx="332237" cy="332237"/>
            </a:xfrm>
            <a:prstGeom prst="ellipse">
              <a:avLst/>
            </a:prstGeom>
            <a:solidFill>
              <a:schemeClr val="bg1"/>
            </a:solidFill>
            <a:ln w="19050"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ea typeface="+mn-ea"/>
                <a:cs typeface="+mn-cs"/>
              </a:endParaRPr>
            </a:p>
          </p:txBody>
        </p:sp>
        <p:sp>
          <p:nvSpPr>
            <p:cNvPr id="42" name="Oval 41">
              <a:extLst>
                <a:ext uri="{FF2B5EF4-FFF2-40B4-BE49-F238E27FC236}">
                  <a16:creationId xmlns:a16="http://schemas.microsoft.com/office/drawing/2014/main" id="{CE2D62CF-7DB2-446A-8423-F2282CC0EF43}"/>
                </a:ext>
              </a:extLst>
            </p:cNvPr>
            <p:cNvSpPr/>
            <p:nvPr/>
          </p:nvSpPr>
          <p:spPr bwMode="gray">
            <a:xfrm rot="16200000">
              <a:off x="-378060" y="4061792"/>
              <a:ext cx="199342" cy="199342"/>
            </a:xfrm>
            <a:prstGeom prst="ellipse">
              <a:avLst/>
            </a:prstGeom>
            <a:solidFill>
              <a:schemeClr val="accent1"/>
            </a:solidFill>
            <a:ln w="19050"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500" b="1" i="0" u="none" strike="noStrike" kern="1200" cap="none" spc="0" normalizeH="0" baseline="0" noProof="0" dirty="0">
                <a:ln>
                  <a:noFill/>
                </a:ln>
                <a:solidFill>
                  <a:srgbClr val="FFFFFF"/>
                </a:solidFill>
                <a:effectLst/>
                <a:uLnTx/>
                <a:uFillTx/>
                <a:ea typeface="+mn-ea"/>
                <a:cs typeface="+mn-cs"/>
              </a:endParaRPr>
            </a:p>
          </p:txBody>
        </p:sp>
      </p:grpSp>
      <p:grpSp>
        <p:nvGrpSpPr>
          <p:cNvPr id="43" name="Group 42">
            <a:extLst>
              <a:ext uri="{FF2B5EF4-FFF2-40B4-BE49-F238E27FC236}">
                <a16:creationId xmlns:a16="http://schemas.microsoft.com/office/drawing/2014/main" id="{2CFBD97D-5B7D-49BE-BEFA-B0C03436269D}"/>
              </a:ext>
            </a:extLst>
          </p:cNvPr>
          <p:cNvGrpSpPr/>
          <p:nvPr/>
        </p:nvGrpSpPr>
        <p:grpSpPr>
          <a:xfrm>
            <a:off x="1669720" y="3333202"/>
            <a:ext cx="332237" cy="332237"/>
            <a:chOff x="-444507" y="3995344"/>
            <a:chExt cx="332237" cy="332237"/>
          </a:xfrm>
        </p:grpSpPr>
        <p:sp>
          <p:nvSpPr>
            <p:cNvPr id="44" name="Oval 43">
              <a:extLst>
                <a:ext uri="{FF2B5EF4-FFF2-40B4-BE49-F238E27FC236}">
                  <a16:creationId xmlns:a16="http://schemas.microsoft.com/office/drawing/2014/main" id="{E2FABC2C-045C-44CF-8906-0A9152513E38}"/>
                </a:ext>
              </a:extLst>
            </p:cNvPr>
            <p:cNvSpPr/>
            <p:nvPr/>
          </p:nvSpPr>
          <p:spPr bwMode="gray">
            <a:xfrm rot="16200000">
              <a:off x="-444507" y="3995344"/>
              <a:ext cx="332237" cy="332237"/>
            </a:xfrm>
            <a:prstGeom prst="ellipse">
              <a:avLst/>
            </a:prstGeom>
            <a:solidFill>
              <a:schemeClr val="bg1"/>
            </a:solidFill>
            <a:ln w="19050"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ea typeface="+mn-ea"/>
                <a:cs typeface="+mn-cs"/>
              </a:endParaRPr>
            </a:p>
          </p:txBody>
        </p:sp>
        <p:sp>
          <p:nvSpPr>
            <p:cNvPr id="45" name="Oval 44">
              <a:extLst>
                <a:ext uri="{FF2B5EF4-FFF2-40B4-BE49-F238E27FC236}">
                  <a16:creationId xmlns:a16="http://schemas.microsoft.com/office/drawing/2014/main" id="{BC21EE95-F03A-4B61-B36F-3B1ECBD42D25}"/>
                </a:ext>
              </a:extLst>
            </p:cNvPr>
            <p:cNvSpPr/>
            <p:nvPr/>
          </p:nvSpPr>
          <p:spPr bwMode="gray">
            <a:xfrm rot="16200000">
              <a:off x="-378060" y="4061792"/>
              <a:ext cx="199342" cy="199342"/>
            </a:xfrm>
            <a:prstGeom prst="ellipse">
              <a:avLst/>
            </a:prstGeom>
            <a:solidFill>
              <a:schemeClr val="accent1"/>
            </a:solidFill>
            <a:ln w="19050"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500" b="1" i="0" u="none" strike="noStrike" kern="1200" cap="none" spc="0" normalizeH="0" baseline="0" noProof="0" dirty="0">
                <a:ln>
                  <a:noFill/>
                </a:ln>
                <a:solidFill>
                  <a:srgbClr val="FFFFFF"/>
                </a:solidFill>
                <a:effectLst/>
                <a:uLnTx/>
                <a:uFillTx/>
                <a:ea typeface="+mn-ea"/>
                <a:cs typeface="+mn-cs"/>
              </a:endParaRPr>
            </a:p>
          </p:txBody>
        </p:sp>
      </p:grpSp>
      <p:grpSp>
        <p:nvGrpSpPr>
          <p:cNvPr id="46" name="Group 45">
            <a:extLst>
              <a:ext uri="{FF2B5EF4-FFF2-40B4-BE49-F238E27FC236}">
                <a16:creationId xmlns:a16="http://schemas.microsoft.com/office/drawing/2014/main" id="{F4F2EA1A-F768-4713-B9E5-00D25CDC9DC3}"/>
              </a:ext>
            </a:extLst>
          </p:cNvPr>
          <p:cNvGrpSpPr/>
          <p:nvPr/>
        </p:nvGrpSpPr>
        <p:grpSpPr>
          <a:xfrm>
            <a:off x="914399" y="5789167"/>
            <a:ext cx="231733" cy="223791"/>
            <a:chOff x="-444507" y="3995344"/>
            <a:chExt cx="332237" cy="332237"/>
          </a:xfrm>
        </p:grpSpPr>
        <p:sp>
          <p:nvSpPr>
            <p:cNvPr id="47" name="Oval 46">
              <a:extLst>
                <a:ext uri="{FF2B5EF4-FFF2-40B4-BE49-F238E27FC236}">
                  <a16:creationId xmlns:a16="http://schemas.microsoft.com/office/drawing/2014/main" id="{BBE0EDFE-BFB1-40C8-BC98-DBE265CB5E75}"/>
                </a:ext>
              </a:extLst>
            </p:cNvPr>
            <p:cNvSpPr/>
            <p:nvPr/>
          </p:nvSpPr>
          <p:spPr bwMode="gray">
            <a:xfrm rot="16200000">
              <a:off x="-444507" y="3995344"/>
              <a:ext cx="332237" cy="332237"/>
            </a:xfrm>
            <a:prstGeom prst="ellipse">
              <a:avLst/>
            </a:prstGeom>
            <a:solidFill>
              <a:schemeClr val="bg1"/>
            </a:solidFill>
            <a:ln w="19050"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ea typeface="+mn-ea"/>
                <a:cs typeface="+mn-cs"/>
              </a:endParaRPr>
            </a:p>
          </p:txBody>
        </p:sp>
        <p:sp>
          <p:nvSpPr>
            <p:cNvPr id="48" name="Oval 47">
              <a:extLst>
                <a:ext uri="{FF2B5EF4-FFF2-40B4-BE49-F238E27FC236}">
                  <a16:creationId xmlns:a16="http://schemas.microsoft.com/office/drawing/2014/main" id="{A038086A-6CEC-4E8D-9C81-743125FBB7BE}"/>
                </a:ext>
              </a:extLst>
            </p:cNvPr>
            <p:cNvSpPr/>
            <p:nvPr/>
          </p:nvSpPr>
          <p:spPr bwMode="gray">
            <a:xfrm rot="16200000">
              <a:off x="-378060" y="4061792"/>
              <a:ext cx="199342" cy="199342"/>
            </a:xfrm>
            <a:prstGeom prst="ellipse">
              <a:avLst/>
            </a:prstGeom>
            <a:solidFill>
              <a:schemeClr val="accent1"/>
            </a:solidFill>
            <a:ln w="19050"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500" b="1" i="0" u="none" strike="noStrike" kern="1200" cap="none" spc="0" normalizeH="0" baseline="0" noProof="0" dirty="0">
                <a:ln>
                  <a:noFill/>
                </a:ln>
                <a:solidFill>
                  <a:srgbClr val="FFFFFF"/>
                </a:solidFill>
                <a:effectLst/>
                <a:uLnTx/>
                <a:uFillTx/>
                <a:ea typeface="+mn-ea"/>
                <a:cs typeface="+mn-cs"/>
              </a:endParaRPr>
            </a:p>
          </p:txBody>
        </p:sp>
      </p:grpSp>
      <p:sp>
        <p:nvSpPr>
          <p:cNvPr id="49" name="Source">
            <a:extLst>
              <a:ext uri="{FF2B5EF4-FFF2-40B4-BE49-F238E27FC236}">
                <a16:creationId xmlns:a16="http://schemas.microsoft.com/office/drawing/2014/main" id="{E1E814F8-A464-40E5-849A-EAA1F51EB1DE}"/>
              </a:ext>
            </a:extLst>
          </p:cNvPr>
          <p:cNvSpPr txBox="1"/>
          <p:nvPr/>
        </p:nvSpPr>
        <p:spPr>
          <a:xfrm>
            <a:off x="914399" y="6136538"/>
            <a:ext cx="8343898" cy="18919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ea typeface="+mn-ea"/>
                <a:cs typeface="+mn-cs"/>
              </a:rPr>
              <a:t>* Profitable growth may be emphasized in certain markets and/or categories as a means to benefits capture</a:t>
            </a:r>
          </a:p>
        </p:txBody>
      </p:sp>
    </p:spTree>
    <p:extLst>
      <p:ext uri="{BB962C8B-B14F-4D97-AF65-F5344CB8AC3E}">
        <p14:creationId xmlns:p14="http://schemas.microsoft.com/office/powerpoint/2010/main" val="2872987556"/>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a:extLst>
              <a:ext uri="{FF2B5EF4-FFF2-40B4-BE49-F238E27FC236}">
                <a16:creationId xmlns:a16="http://schemas.microsoft.com/office/drawing/2014/main" id="{310F8036-8496-4B13-852B-84F378CA01B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0468" name="think-cell Slide" r:id="rId6" imgW="395" imgH="396" progId="TCLayout.ActiveDocument.1">
                  <p:embed/>
                </p:oleObj>
              </mc:Choice>
              <mc:Fallback>
                <p:oleObj name="think-cell Slide" r:id="rId6" imgW="395" imgH="396" progId="TCLayout.ActiveDocument.1">
                  <p:embed/>
                  <p:pic>
                    <p:nvPicPr>
                      <p:cNvPr id="31" name="Object 30" hidden="1">
                        <a:extLst>
                          <a:ext uri="{FF2B5EF4-FFF2-40B4-BE49-F238E27FC236}">
                            <a16:creationId xmlns:a16="http://schemas.microsoft.com/office/drawing/2014/main" id="{310F8036-8496-4B13-852B-84F378CA01B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0" name="Rectangle 29" hidden="1">
            <a:extLst>
              <a:ext uri="{FF2B5EF4-FFF2-40B4-BE49-F238E27FC236}">
                <a16:creationId xmlns:a16="http://schemas.microsoft.com/office/drawing/2014/main" id="{FE3E14E1-AAE8-4893-9B4A-1A7778FA050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8E1DDF3E-A49B-46F6-81BB-449D5B4DE3ED}"/>
              </a:ext>
            </a:extLst>
          </p:cNvPr>
          <p:cNvSpPr>
            <a:spLocks noGrp="1"/>
          </p:cNvSpPr>
          <p:nvPr>
            <p:ph type="title"/>
          </p:nvPr>
        </p:nvSpPr>
        <p:spPr/>
        <p:txBody>
          <a:bodyPr/>
          <a:lstStyle/>
          <a:p>
            <a:r>
              <a:rPr lang="en-US" dirty="0"/>
              <a:t>Competitive Landscape</a:t>
            </a:r>
          </a:p>
        </p:txBody>
      </p:sp>
      <p:sp>
        <p:nvSpPr>
          <p:cNvPr id="3" name="Text Placeholder 2">
            <a:extLst>
              <a:ext uri="{FF2B5EF4-FFF2-40B4-BE49-F238E27FC236}">
                <a16:creationId xmlns:a16="http://schemas.microsoft.com/office/drawing/2014/main" id="{6DDBF93B-1202-4B11-A93A-F3F485FA3832}"/>
              </a:ext>
            </a:extLst>
          </p:cNvPr>
          <p:cNvSpPr>
            <a:spLocks noGrp="1"/>
          </p:cNvSpPr>
          <p:nvPr>
            <p:ph type="body" sz="quarter" idx="14"/>
          </p:nvPr>
        </p:nvSpPr>
        <p:spPr/>
        <p:txBody>
          <a:bodyPr/>
          <a:lstStyle/>
          <a:p>
            <a:r>
              <a:rPr lang="en-US" dirty="0"/>
              <a:t>Digital technologies are starting to fundamentally change the way people access and buy cars, increasing the need for a seamless omnichannel experience</a:t>
            </a:r>
          </a:p>
          <a:p>
            <a:endParaRPr lang="en-US" dirty="0"/>
          </a:p>
        </p:txBody>
      </p:sp>
      <p:sp>
        <p:nvSpPr>
          <p:cNvPr id="4" name="Text Placeholder 3">
            <a:extLst>
              <a:ext uri="{FF2B5EF4-FFF2-40B4-BE49-F238E27FC236}">
                <a16:creationId xmlns:a16="http://schemas.microsoft.com/office/drawing/2014/main" id="{24A44D6A-E5A3-4C6D-B261-09F01E70B0D4}"/>
              </a:ext>
            </a:extLst>
          </p:cNvPr>
          <p:cNvSpPr>
            <a:spLocks noGrp="1"/>
          </p:cNvSpPr>
          <p:nvPr>
            <p:ph type="body" sz="quarter" idx="15"/>
          </p:nvPr>
        </p:nvSpPr>
        <p:spPr>
          <a:xfrm>
            <a:off x="914971" y="466344"/>
            <a:ext cx="3949260" cy="160338"/>
          </a:xfrm>
        </p:spPr>
        <p:txBody>
          <a:bodyPr/>
          <a:lstStyle/>
          <a:p>
            <a:r>
              <a:rPr lang="en-US" dirty="0"/>
              <a:t>FRAMEWORKS &amp; CONCEPT ILLUSTRATION</a:t>
            </a:r>
          </a:p>
          <a:p>
            <a:endParaRPr lang="en-US" dirty="0"/>
          </a:p>
        </p:txBody>
      </p:sp>
      <p:sp>
        <p:nvSpPr>
          <p:cNvPr id="5" name="Rectangle 4">
            <a:extLst>
              <a:ext uri="{FF2B5EF4-FFF2-40B4-BE49-F238E27FC236}">
                <a16:creationId xmlns:a16="http://schemas.microsoft.com/office/drawing/2014/main" id="{B0D00E8D-0811-48DE-8B7F-86DF282A0B02}"/>
              </a:ext>
            </a:extLst>
          </p:cNvPr>
          <p:cNvSpPr/>
          <p:nvPr/>
        </p:nvSpPr>
        <p:spPr bwMode="gray">
          <a:xfrm>
            <a:off x="0" y="5498883"/>
            <a:ext cx="12192000" cy="834836"/>
          </a:xfrm>
          <a:prstGeom prst="rect">
            <a:avLst/>
          </a:prstGeom>
          <a:solidFill>
            <a:schemeClr val="bg1">
              <a:lumMod val="85000"/>
            </a:schemeClr>
          </a:solidFill>
          <a:ln w="19050" algn="ctr">
            <a:noFill/>
            <a:miter lim="800000"/>
            <a:headEnd/>
            <a:tailEnd/>
          </a:ln>
        </p:spPr>
        <p:txBody>
          <a:bodyPr wrap="square" lIns="914400" tIns="88900" rIns="9144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prstClr val="black"/>
                </a:solidFill>
                <a:effectLst/>
                <a:uLnTx/>
                <a:uFillTx/>
                <a:latin typeface="Open Sans"/>
                <a:ea typeface="Calibri" panose="020F0502020204030204" pitchFamily="34" charset="0"/>
                <a:cs typeface="+mn-cs"/>
              </a:rPr>
              <a:t>Despite the recent proliferation of Digital DTC channels and their disruption of the traditional brick an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prstClr val="black"/>
                </a:solidFill>
                <a:effectLst/>
                <a:uLnTx/>
                <a:uFillTx/>
                <a:latin typeface="Open Sans"/>
                <a:ea typeface="Calibri" panose="020F0502020204030204" pitchFamily="34" charset="0"/>
                <a:cs typeface="+mn-cs"/>
              </a:rPr>
              <a:t>mortar model, a compelling </a:t>
            </a:r>
            <a:r>
              <a:rPr kumimoji="0" lang="en-US" sz="1400" b="1" i="1" u="none" strike="noStrike" kern="1200" cap="none" spc="0" normalizeH="0" baseline="0" noProof="0" dirty="0">
                <a:ln>
                  <a:noFill/>
                </a:ln>
                <a:solidFill>
                  <a:prstClr val="black"/>
                </a:solidFill>
                <a:effectLst/>
                <a:uLnTx/>
                <a:uFillTx/>
                <a:latin typeface="Open Sans"/>
                <a:ea typeface="Calibri" panose="020F0502020204030204" pitchFamily="34" charset="0"/>
                <a:cs typeface="+mn-cs"/>
              </a:rPr>
              <a:t>opportunity exists for OEM Client to bridge the online and physic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prstClr val="black"/>
                </a:solidFill>
                <a:effectLst/>
                <a:uLnTx/>
                <a:uFillTx/>
                <a:latin typeface="Open Sans"/>
                <a:ea typeface="Calibri" panose="020F0502020204030204" pitchFamily="34" charset="0"/>
                <a:cs typeface="+mn-cs"/>
              </a:rPr>
              <a:t>shopping experiences </a:t>
            </a:r>
            <a:r>
              <a:rPr kumimoji="0" lang="en-US" sz="1400" b="0" i="1" u="none" strike="noStrike" kern="1200" cap="none" spc="0" normalizeH="0" baseline="0" noProof="0" dirty="0">
                <a:ln>
                  <a:noFill/>
                </a:ln>
                <a:solidFill>
                  <a:prstClr val="black"/>
                </a:solidFill>
                <a:effectLst/>
                <a:uLnTx/>
                <a:uFillTx/>
                <a:latin typeface="Open Sans"/>
                <a:ea typeface="Calibri" panose="020F0502020204030204" pitchFamily="34" charset="0"/>
                <a:cs typeface="+mn-cs"/>
              </a:rPr>
              <a:t>to create a more engaging customer experience and automotive buying process</a:t>
            </a:r>
            <a:endParaRPr kumimoji="0" lang="en-US" sz="1400" b="0" i="1" u="none" strike="noStrike" kern="1200" cap="none" spc="0" normalizeH="0" baseline="0" noProof="0" dirty="0">
              <a:ln>
                <a:noFill/>
              </a:ln>
              <a:solidFill>
                <a:prstClr val="black"/>
              </a:solidFill>
              <a:effectLst/>
              <a:uLnTx/>
              <a:uFillTx/>
              <a:latin typeface="Open Sans"/>
              <a:ea typeface="+mn-ea"/>
              <a:cs typeface="+mn-cs"/>
            </a:endParaRPr>
          </a:p>
        </p:txBody>
      </p:sp>
      <p:sp>
        <p:nvSpPr>
          <p:cNvPr id="6" name="Title 2">
            <a:extLst>
              <a:ext uri="{FF2B5EF4-FFF2-40B4-BE49-F238E27FC236}">
                <a16:creationId xmlns:a16="http://schemas.microsoft.com/office/drawing/2014/main" id="{7B8B1E0D-EE2A-451C-95DA-4617A89520A7}"/>
              </a:ext>
            </a:extLst>
          </p:cNvPr>
          <p:cNvSpPr txBox="1">
            <a:spLocks/>
          </p:cNvSpPr>
          <p:nvPr/>
        </p:nvSpPr>
        <p:spPr>
          <a:xfrm>
            <a:off x="469900" y="738032"/>
            <a:ext cx="11252200"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sp>
        <p:nvSpPr>
          <p:cNvPr id="8" name="Text Placeholder 7">
            <a:extLst>
              <a:ext uri="{FF2B5EF4-FFF2-40B4-BE49-F238E27FC236}">
                <a16:creationId xmlns:a16="http://schemas.microsoft.com/office/drawing/2014/main" id="{97F3E0A0-0661-4B4D-899C-4FBB83508DFE}"/>
              </a:ext>
            </a:extLst>
          </p:cNvPr>
          <p:cNvSpPr txBox="1">
            <a:spLocks/>
          </p:cNvSpPr>
          <p:nvPr/>
        </p:nvSpPr>
        <p:spPr>
          <a:xfrm>
            <a:off x="469900" y="1072133"/>
            <a:ext cx="11252200" cy="757255"/>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600" dirty="0">
              <a:latin typeface="+mj-lt"/>
            </a:endParaRPr>
          </a:p>
        </p:txBody>
      </p:sp>
      <p:sp>
        <p:nvSpPr>
          <p:cNvPr id="9" name="Rectangle 8">
            <a:extLst>
              <a:ext uri="{FF2B5EF4-FFF2-40B4-BE49-F238E27FC236}">
                <a16:creationId xmlns:a16="http://schemas.microsoft.com/office/drawing/2014/main" id="{B1DC844F-57B0-41AC-8EF7-0FDCF0BE91F5}"/>
              </a:ext>
            </a:extLst>
          </p:cNvPr>
          <p:cNvSpPr/>
          <p:nvPr/>
        </p:nvSpPr>
        <p:spPr>
          <a:xfrm>
            <a:off x="469901" y="2980517"/>
            <a:ext cx="3604168" cy="491695"/>
          </a:xfrm>
          <a:prstGeom prst="rect">
            <a:avLst/>
          </a:prstGeom>
          <a:solidFill>
            <a:schemeClr val="bg1">
              <a:alpha val="80000"/>
            </a:schemeClr>
          </a:solidFill>
          <a:ln w="19050">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47" rtl="0" eaLnBrk="1" fontAlgn="auto" latinLnBrk="0" hangingPunct="1">
              <a:lnSpc>
                <a:spcPct val="100000"/>
              </a:lnSpc>
              <a:spcBef>
                <a:spcPts val="0"/>
              </a:spcBef>
              <a:spcAft>
                <a:spcPts val="0"/>
              </a:spcAft>
              <a:buClr>
                <a:srgbClr val="81BC00"/>
              </a:buClr>
              <a:buSzPct val="75000"/>
              <a:buFontTx/>
              <a:buNone/>
              <a:tabLst/>
              <a:defRPr/>
            </a:pPr>
            <a:r>
              <a:rPr kumimoji="0" lang="en-US" sz="1050" b="1" i="0" u="none" strike="noStrike" kern="0" cap="none" spc="200" normalizeH="0" baseline="0" noProof="0" dirty="0">
                <a:ln>
                  <a:noFill/>
                </a:ln>
                <a:solidFill>
                  <a:prstClr val="black"/>
                </a:solidFill>
                <a:effectLst/>
                <a:uLnTx/>
                <a:uFillTx/>
                <a:ea typeface="Open Sans" charset="0"/>
                <a:cs typeface="Open Sans" charset="0"/>
              </a:rPr>
              <a:t>OEMs</a:t>
            </a:r>
            <a:endParaRPr kumimoji="0" lang="en-US" sz="1050" b="1" i="0" u="none" strike="noStrike" kern="0" cap="none" spc="0" normalizeH="0" baseline="0" noProof="0" dirty="0">
              <a:ln>
                <a:noFill/>
              </a:ln>
              <a:solidFill>
                <a:prstClr val="black"/>
              </a:solidFill>
              <a:effectLst/>
              <a:uLnTx/>
              <a:uFillTx/>
              <a:ea typeface="Open Sans" charset="0"/>
              <a:cs typeface="Open Sans" charset="0"/>
            </a:endParaRPr>
          </a:p>
          <a:p>
            <a:pPr marL="0" marR="0" lvl="0" indent="0" algn="ctr" defTabSz="1088447" rtl="0" eaLnBrk="1" fontAlgn="auto" latinLnBrk="0" hangingPunct="1">
              <a:lnSpc>
                <a:spcPct val="100000"/>
              </a:lnSpc>
              <a:spcBef>
                <a:spcPts val="0"/>
              </a:spcBef>
              <a:spcAft>
                <a:spcPts val="0"/>
              </a:spcAft>
              <a:buClr>
                <a:srgbClr val="81BC00"/>
              </a:buClr>
              <a:buSzPct val="75000"/>
              <a:buFontTx/>
              <a:buNone/>
              <a:tabLst/>
              <a:defRPr/>
            </a:pPr>
            <a:r>
              <a:rPr kumimoji="0" lang="en-US" sz="1050" b="0" i="1" u="none" strike="noStrike" kern="0" cap="none" spc="0" normalizeH="0" baseline="0" noProof="0" dirty="0">
                <a:ln>
                  <a:noFill/>
                </a:ln>
                <a:solidFill>
                  <a:prstClr val="black"/>
                </a:solidFill>
                <a:effectLst/>
                <a:uLnTx/>
                <a:uFillTx/>
                <a:ea typeface="Open Sans" charset="0"/>
                <a:cs typeface="Open Sans" charset="0"/>
              </a:rPr>
              <a:t>(OEM Client Today)</a:t>
            </a:r>
          </a:p>
        </p:txBody>
      </p:sp>
      <p:grpSp>
        <p:nvGrpSpPr>
          <p:cNvPr id="10" name="Group 9">
            <a:extLst>
              <a:ext uri="{FF2B5EF4-FFF2-40B4-BE49-F238E27FC236}">
                <a16:creationId xmlns:a16="http://schemas.microsoft.com/office/drawing/2014/main" id="{C27A85C4-AEF3-40DD-A7CA-7DF60FA67257}"/>
              </a:ext>
            </a:extLst>
          </p:cNvPr>
          <p:cNvGrpSpPr/>
          <p:nvPr/>
        </p:nvGrpSpPr>
        <p:grpSpPr>
          <a:xfrm>
            <a:off x="483570" y="2515502"/>
            <a:ext cx="11135675" cy="364319"/>
            <a:chOff x="914400" y="1773353"/>
            <a:chExt cx="7939517" cy="364319"/>
          </a:xfrm>
        </p:grpSpPr>
        <p:sp>
          <p:nvSpPr>
            <p:cNvPr id="11" name="Parallelogram 10">
              <a:extLst>
                <a:ext uri="{FF2B5EF4-FFF2-40B4-BE49-F238E27FC236}">
                  <a16:creationId xmlns:a16="http://schemas.microsoft.com/office/drawing/2014/main" id="{934EB768-8302-441F-83E2-9D8B030C8554}"/>
                </a:ext>
              </a:extLst>
            </p:cNvPr>
            <p:cNvSpPr/>
            <p:nvPr/>
          </p:nvSpPr>
          <p:spPr>
            <a:xfrm>
              <a:off x="914400" y="1773353"/>
              <a:ext cx="2670048" cy="364319"/>
            </a:xfrm>
            <a:prstGeom prst="parallelogram">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noProof="0" dirty="0">
                  <a:ln>
                    <a:noFill/>
                  </a:ln>
                  <a:solidFill>
                    <a:prstClr val="white"/>
                  </a:solidFill>
                  <a:effectLst/>
                  <a:uLnTx/>
                  <a:uFillTx/>
                  <a:ea typeface="+mn-ea"/>
                  <a:cs typeface="+mn-cs"/>
                </a:rPr>
                <a:t>BRICK AND MORTAR</a:t>
              </a:r>
            </a:p>
          </p:txBody>
        </p:sp>
        <p:sp>
          <p:nvSpPr>
            <p:cNvPr id="12" name="Parallelogram 11">
              <a:extLst>
                <a:ext uri="{FF2B5EF4-FFF2-40B4-BE49-F238E27FC236}">
                  <a16:creationId xmlns:a16="http://schemas.microsoft.com/office/drawing/2014/main" id="{2917F750-1DD7-41B4-AB3B-3170CE09AA08}"/>
                </a:ext>
              </a:extLst>
            </p:cNvPr>
            <p:cNvSpPr/>
            <p:nvPr/>
          </p:nvSpPr>
          <p:spPr>
            <a:xfrm>
              <a:off x="3584439" y="1773353"/>
              <a:ext cx="2629783" cy="364319"/>
            </a:xfrm>
            <a:prstGeom prst="parallelogram">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noProof="0" dirty="0">
                  <a:ln>
                    <a:noFill/>
                  </a:ln>
                  <a:solidFill>
                    <a:prstClr val="white"/>
                  </a:solidFill>
                  <a:effectLst/>
                  <a:uLnTx/>
                  <a:uFillTx/>
                  <a:ea typeface="+mn-ea"/>
                  <a:cs typeface="+mn-cs"/>
                </a:rPr>
                <a:t>DIGITAL DTC</a:t>
              </a:r>
            </a:p>
          </p:txBody>
        </p:sp>
        <p:sp>
          <p:nvSpPr>
            <p:cNvPr id="13" name="Parallelogram 12">
              <a:extLst>
                <a:ext uri="{FF2B5EF4-FFF2-40B4-BE49-F238E27FC236}">
                  <a16:creationId xmlns:a16="http://schemas.microsoft.com/office/drawing/2014/main" id="{8CD9A524-66BF-48CB-A27B-FE03F2506416}"/>
                </a:ext>
              </a:extLst>
            </p:cNvPr>
            <p:cNvSpPr/>
            <p:nvPr/>
          </p:nvSpPr>
          <p:spPr>
            <a:xfrm>
              <a:off x="6224134" y="1773353"/>
              <a:ext cx="2629783" cy="364319"/>
            </a:xfrm>
            <a:prstGeom prst="parallelogram">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noProof="0" dirty="0">
                  <a:ln>
                    <a:noFill/>
                  </a:ln>
                  <a:solidFill>
                    <a:prstClr val="white"/>
                  </a:solidFill>
                  <a:effectLst/>
                  <a:uLnTx/>
                  <a:uFillTx/>
                  <a:ea typeface="+mn-ea"/>
                  <a:cs typeface="+mn-cs"/>
                </a:rPr>
                <a:t>DIGITAL SHARE</a:t>
              </a:r>
            </a:p>
          </p:txBody>
        </p:sp>
      </p:grpSp>
      <p:sp>
        <p:nvSpPr>
          <p:cNvPr id="14" name="Right Arrow 1">
            <a:extLst>
              <a:ext uri="{FF2B5EF4-FFF2-40B4-BE49-F238E27FC236}">
                <a16:creationId xmlns:a16="http://schemas.microsoft.com/office/drawing/2014/main" id="{7C7A9641-2F22-4C84-BD59-6F9F4E95260C}"/>
              </a:ext>
            </a:extLst>
          </p:cNvPr>
          <p:cNvSpPr/>
          <p:nvPr/>
        </p:nvSpPr>
        <p:spPr bwMode="gray">
          <a:xfrm>
            <a:off x="596556" y="2149102"/>
            <a:ext cx="11125544" cy="345964"/>
          </a:xfrm>
          <a:prstGeom prst="rightArrow">
            <a:avLst/>
          </a:prstGeom>
          <a:gradFill flip="none" rotWithShape="1">
            <a:gsLst>
              <a:gs pos="0">
                <a:schemeClr val="accent3">
                  <a:tint val="66000"/>
                  <a:satMod val="160000"/>
                </a:schemeClr>
              </a:gs>
              <a:gs pos="50000">
                <a:schemeClr val="accent3">
                  <a:tint val="44500"/>
                  <a:satMod val="160000"/>
                </a:schemeClr>
              </a:gs>
              <a:gs pos="100000">
                <a:schemeClr val="accent3">
                  <a:tint val="23500"/>
                  <a:satMod val="160000"/>
                </a:schemeClr>
              </a:gs>
            </a:gsLst>
            <a:path path="circle">
              <a:fillToRect t="100000" r="100000"/>
            </a:path>
            <a:tileRect l="-100000" b="-100000"/>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5" name="Rectangle 14">
            <a:extLst>
              <a:ext uri="{FF2B5EF4-FFF2-40B4-BE49-F238E27FC236}">
                <a16:creationId xmlns:a16="http://schemas.microsoft.com/office/drawing/2014/main" id="{F8EDA4A8-3DDA-4577-8ABB-474410FE33ED}"/>
              </a:ext>
            </a:extLst>
          </p:cNvPr>
          <p:cNvSpPr/>
          <p:nvPr/>
        </p:nvSpPr>
        <p:spPr>
          <a:xfrm>
            <a:off x="469900" y="4247565"/>
            <a:ext cx="5689428" cy="491695"/>
          </a:xfrm>
          <a:prstGeom prst="rect">
            <a:avLst/>
          </a:prstGeom>
          <a:solidFill>
            <a:schemeClr val="bg1">
              <a:alpha val="80000"/>
            </a:schemeClr>
          </a:solidFill>
          <a:ln w="19050">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47" rtl="0" eaLnBrk="1" fontAlgn="auto" latinLnBrk="0" hangingPunct="1">
              <a:lnSpc>
                <a:spcPct val="100000"/>
              </a:lnSpc>
              <a:spcBef>
                <a:spcPts val="1000"/>
              </a:spcBef>
              <a:spcAft>
                <a:spcPts val="409"/>
              </a:spcAft>
              <a:buClr>
                <a:srgbClr val="81BC00"/>
              </a:buClr>
              <a:buSzPct val="75000"/>
              <a:buFontTx/>
              <a:buNone/>
              <a:tabLst/>
              <a:defRPr/>
            </a:pPr>
            <a:r>
              <a:rPr kumimoji="0" lang="en-US" sz="1050" b="1" i="0" u="none" strike="noStrike" kern="0" cap="none" spc="200" normalizeH="0" baseline="0" noProof="0" dirty="0">
                <a:ln>
                  <a:noFill/>
                </a:ln>
                <a:solidFill>
                  <a:prstClr val="black"/>
                </a:solidFill>
                <a:effectLst/>
                <a:uLnTx/>
                <a:uFillTx/>
                <a:ea typeface="Open Sans" charset="0"/>
                <a:cs typeface="Open Sans" charset="0"/>
              </a:rPr>
              <a:t>CARMAX</a:t>
            </a:r>
          </a:p>
        </p:txBody>
      </p:sp>
      <p:sp>
        <p:nvSpPr>
          <p:cNvPr id="16" name="Rectangle 15">
            <a:extLst>
              <a:ext uri="{FF2B5EF4-FFF2-40B4-BE49-F238E27FC236}">
                <a16:creationId xmlns:a16="http://schemas.microsoft.com/office/drawing/2014/main" id="{FF48C808-5C4F-48F9-9E1D-BF5D1B990F53}"/>
              </a:ext>
            </a:extLst>
          </p:cNvPr>
          <p:cNvSpPr/>
          <p:nvPr/>
        </p:nvSpPr>
        <p:spPr>
          <a:xfrm>
            <a:off x="4228482" y="2980517"/>
            <a:ext cx="3604168" cy="491695"/>
          </a:xfrm>
          <a:prstGeom prst="rect">
            <a:avLst/>
          </a:prstGeom>
          <a:solidFill>
            <a:schemeClr val="bg1">
              <a:alpha val="80000"/>
            </a:schemeClr>
          </a:solidFill>
          <a:ln w="19050">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47" rtl="0" eaLnBrk="1" fontAlgn="auto" latinLnBrk="0" hangingPunct="1">
              <a:lnSpc>
                <a:spcPct val="100000"/>
              </a:lnSpc>
              <a:spcBef>
                <a:spcPts val="1000"/>
              </a:spcBef>
              <a:spcAft>
                <a:spcPts val="409"/>
              </a:spcAft>
              <a:buClr>
                <a:srgbClr val="81BC00"/>
              </a:buClr>
              <a:buSzPct val="75000"/>
              <a:buFontTx/>
              <a:buNone/>
              <a:tabLst/>
              <a:defRPr/>
            </a:pPr>
            <a:r>
              <a:rPr kumimoji="0" lang="en-US" sz="1050" b="1" i="0" u="none" strike="noStrike" kern="0" cap="none" spc="200" normalizeH="0" baseline="0" noProof="0" dirty="0">
                <a:ln>
                  <a:noFill/>
                </a:ln>
                <a:solidFill>
                  <a:prstClr val="black"/>
                </a:solidFill>
                <a:effectLst/>
                <a:uLnTx/>
                <a:uFillTx/>
                <a:ea typeface="Open Sans" charset="0"/>
                <a:cs typeface="Open Sans" charset="0"/>
              </a:rPr>
              <a:t>CARVANA</a:t>
            </a:r>
          </a:p>
        </p:txBody>
      </p:sp>
      <p:sp>
        <p:nvSpPr>
          <p:cNvPr id="17" name="Rectangle 16">
            <a:extLst>
              <a:ext uri="{FF2B5EF4-FFF2-40B4-BE49-F238E27FC236}">
                <a16:creationId xmlns:a16="http://schemas.microsoft.com/office/drawing/2014/main" id="{F2C684F4-6EA5-4FD0-AC77-A1ED41E332D5}"/>
              </a:ext>
            </a:extLst>
          </p:cNvPr>
          <p:cNvSpPr/>
          <p:nvPr/>
        </p:nvSpPr>
        <p:spPr>
          <a:xfrm>
            <a:off x="4228480" y="3606451"/>
            <a:ext cx="3604169" cy="491695"/>
          </a:xfrm>
          <a:prstGeom prst="rect">
            <a:avLst/>
          </a:prstGeom>
          <a:solidFill>
            <a:schemeClr val="bg1">
              <a:alpha val="80000"/>
            </a:schemeClr>
          </a:solidFill>
          <a:ln w="19050">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47" rtl="0" eaLnBrk="1" fontAlgn="auto" latinLnBrk="0" hangingPunct="1">
              <a:lnSpc>
                <a:spcPct val="100000"/>
              </a:lnSpc>
              <a:spcBef>
                <a:spcPts val="1000"/>
              </a:spcBef>
              <a:spcAft>
                <a:spcPts val="409"/>
              </a:spcAft>
              <a:buClr>
                <a:srgbClr val="81BC00"/>
              </a:buClr>
              <a:buSzPct val="75000"/>
              <a:buFontTx/>
              <a:buNone/>
              <a:tabLst/>
              <a:defRPr/>
            </a:pPr>
            <a:r>
              <a:rPr kumimoji="0" lang="en-US" sz="1050" b="1" i="0" u="none" strike="noStrike" kern="0" cap="none" spc="200" normalizeH="0" baseline="0" noProof="0" dirty="0">
                <a:ln>
                  <a:noFill/>
                </a:ln>
                <a:solidFill>
                  <a:prstClr val="black"/>
                </a:solidFill>
                <a:effectLst/>
                <a:uLnTx/>
                <a:uFillTx/>
                <a:ea typeface="Open Sans" charset="0"/>
                <a:cs typeface="Open Sans" charset="0"/>
              </a:rPr>
              <a:t>SHIFT</a:t>
            </a:r>
          </a:p>
        </p:txBody>
      </p:sp>
      <p:sp>
        <p:nvSpPr>
          <p:cNvPr id="18" name="Rectangle 17">
            <a:extLst>
              <a:ext uri="{FF2B5EF4-FFF2-40B4-BE49-F238E27FC236}">
                <a16:creationId xmlns:a16="http://schemas.microsoft.com/office/drawing/2014/main" id="{852D799E-2F1C-4717-A209-C71D06440249}"/>
              </a:ext>
            </a:extLst>
          </p:cNvPr>
          <p:cNvSpPr/>
          <p:nvPr/>
        </p:nvSpPr>
        <p:spPr>
          <a:xfrm>
            <a:off x="469901" y="3606451"/>
            <a:ext cx="3604168" cy="491695"/>
          </a:xfrm>
          <a:prstGeom prst="rect">
            <a:avLst/>
          </a:prstGeom>
          <a:solidFill>
            <a:schemeClr val="bg1">
              <a:alpha val="80000"/>
            </a:schemeClr>
          </a:solidFill>
          <a:ln w="19050">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47" rtl="0" eaLnBrk="1" fontAlgn="auto" latinLnBrk="0" hangingPunct="1">
              <a:lnSpc>
                <a:spcPct val="100000"/>
              </a:lnSpc>
              <a:spcBef>
                <a:spcPts val="1000"/>
              </a:spcBef>
              <a:spcAft>
                <a:spcPts val="409"/>
              </a:spcAft>
              <a:buClr>
                <a:srgbClr val="81BC00"/>
              </a:buClr>
              <a:buSzPct val="75000"/>
              <a:buFontTx/>
              <a:buNone/>
              <a:tabLst/>
              <a:defRPr/>
            </a:pPr>
            <a:r>
              <a:rPr kumimoji="0" lang="en-US" sz="1050" b="1" i="0" u="none" strike="noStrike" kern="0" cap="none" spc="200" normalizeH="0" baseline="0" noProof="0" dirty="0">
                <a:ln>
                  <a:noFill/>
                </a:ln>
                <a:solidFill>
                  <a:prstClr val="black"/>
                </a:solidFill>
                <a:effectLst/>
                <a:uLnTx/>
                <a:uFillTx/>
                <a:ea typeface="Open Sans" charset="0"/>
                <a:cs typeface="Open Sans" charset="0"/>
              </a:rPr>
              <a:t>BIG BOX, INDEPENDENTS</a:t>
            </a:r>
          </a:p>
        </p:txBody>
      </p:sp>
      <p:sp>
        <p:nvSpPr>
          <p:cNvPr id="19" name="Rectangle 18">
            <a:extLst>
              <a:ext uri="{FF2B5EF4-FFF2-40B4-BE49-F238E27FC236}">
                <a16:creationId xmlns:a16="http://schemas.microsoft.com/office/drawing/2014/main" id="{DE94C0B0-E980-4835-A86E-2310A6FBCAA1}"/>
              </a:ext>
            </a:extLst>
          </p:cNvPr>
          <p:cNvSpPr/>
          <p:nvPr/>
        </p:nvSpPr>
        <p:spPr>
          <a:xfrm>
            <a:off x="7972942" y="2980517"/>
            <a:ext cx="3604168" cy="491695"/>
          </a:xfrm>
          <a:prstGeom prst="rect">
            <a:avLst/>
          </a:prstGeom>
          <a:solidFill>
            <a:schemeClr val="bg1">
              <a:alpha val="80000"/>
            </a:schemeClr>
          </a:solidFill>
          <a:ln w="19050">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47" rtl="0" eaLnBrk="1" fontAlgn="auto" latinLnBrk="0" hangingPunct="1">
              <a:lnSpc>
                <a:spcPct val="100000"/>
              </a:lnSpc>
              <a:spcBef>
                <a:spcPts val="1000"/>
              </a:spcBef>
              <a:spcAft>
                <a:spcPts val="409"/>
              </a:spcAft>
              <a:buClr>
                <a:srgbClr val="81BC00"/>
              </a:buClr>
              <a:buSzPct val="75000"/>
              <a:buFontTx/>
              <a:buNone/>
              <a:tabLst/>
              <a:defRPr/>
            </a:pPr>
            <a:r>
              <a:rPr kumimoji="0" lang="en-US" sz="1050" b="1" i="0" u="none" strike="noStrike" kern="0" cap="none" spc="200" normalizeH="0" baseline="0" noProof="0" dirty="0">
                <a:ln>
                  <a:noFill/>
                </a:ln>
                <a:solidFill>
                  <a:prstClr val="black"/>
                </a:solidFill>
                <a:effectLst/>
                <a:uLnTx/>
                <a:uFillTx/>
                <a:ea typeface="Open Sans" charset="0"/>
                <a:cs typeface="Open Sans" charset="0"/>
              </a:rPr>
              <a:t>FAIR</a:t>
            </a:r>
          </a:p>
        </p:txBody>
      </p:sp>
      <p:sp>
        <p:nvSpPr>
          <p:cNvPr id="20" name="Rectangle 19">
            <a:extLst>
              <a:ext uri="{FF2B5EF4-FFF2-40B4-BE49-F238E27FC236}">
                <a16:creationId xmlns:a16="http://schemas.microsoft.com/office/drawing/2014/main" id="{9A3807E9-DE4C-4A56-A122-BAF3B0B97621}"/>
              </a:ext>
            </a:extLst>
          </p:cNvPr>
          <p:cNvSpPr/>
          <p:nvPr/>
        </p:nvSpPr>
        <p:spPr>
          <a:xfrm>
            <a:off x="7972942" y="4252479"/>
            <a:ext cx="3604168" cy="491695"/>
          </a:xfrm>
          <a:prstGeom prst="rect">
            <a:avLst/>
          </a:prstGeom>
          <a:solidFill>
            <a:schemeClr val="bg1">
              <a:alpha val="80000"/>
            </a:schemeClr>
          </a:solidFill>
          <a:ln w="19050">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47" rtl="0" eaLnBrk="1" fontAlgn="auto" latinLnBrk="0" hangingPunct="1">
              <a:lnSpc>
                <a:spcPct val="100000"/>
              </a:lnSpc>
              <a:spcBef>
                <a:spcPts val="1000"/>
              </a:spcBef>
              <a:spcAft>
                <a:spcPts val="409"/>
              </a:spcAft>
              <a:buClr>
                <a:srgbClr val="81BC00"/>
              </a:buClr>
              <a:buSzPct val="75000"/>
              <a:buFontTx/>
              <a:buNone/>
              <a:tabLst/>
              <a:defRPr/>
            </a:pPr>
            <a:r>
              <a:rPr kumimoji="0" lang="en-US" sz="1050" b="1" i="0" u="none" strike="noStrike" kern="0" cap="none" spc="200" normalizeH="0" baseline="0" noProof="0" dirty="0">
                <a:ln>
                  <a:noFill/>
                </a:ln>
                <a:solidFill>
                  <a:prstClr val="black"/>
                </a:solidFill>
                <a:effectLst/>
                <a:uLnTx/>
                <a:uFillTx/>
                <a:ea typeface="Open Sans" charset="0"/>
                <a:cs typeface="Open Sans" charset="0"/>
              </a:rPr>
              <a:t>MAVEN</a:t>
            </a:r>
          </a:p>
        </p:txBody>
      </p:sp>
      <p:sp>
        <p:nvSpPr>
          <p:cNvPr id="21" name="Rectangle 20">
            <a:extLst>
              <a:ext uri="{FF2B5EF4-FFF2-40B4-BE49-F238E27FC236}">
                <a16:creationId xmlns:a16="http://schemas.microsoft.com/office/drawing/2014/main" id="{27E30EAF-D0D2-4A99-B41C-F625462C3FF6}"/>
              </a:ext>
            </a:extLst>
          </p:cNvPr>
          <p:cNvSpPr/>
          <p:nvPr/>
        </p:nvSpPr>
        <p:spPr>
          <a:xfrm>
            <a:off x="1076739" y="5669736"/>
            <a:ext cx="10233991"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1" u="none" strike="noStrike" kern="1200" cap="none" spc="0" normalizeH="0" baseline="0" noProof="0" dirty="0">
              <a:ln>
                <a:noFill/>
              </a:ln>
              <a:solidFill>
                <a:srgbClr val="012169"/>
              </a:solidFill>
              <a:effectLst/>
              <a:uLnTx/>
              <a:uFillTx/>
              <a:ea typeface="+mn-ea"/>
              <a:cs typeface="+mn-cs"/>
            </a:endParaRPr>
          </a:p>
        </p:txBody>
      </p:sp>
      <p:sp>
        <p:nvSpPr>
          <p:cNvPr id="22" name="TextBox 21">
            <a:extLst>
              <a:ext uri="{FF2B5EF4-FFF2-40B4-BE49-F238E27FC236}">
                <a16:creationId xmlns:a16="http://schemas.microsoft.com/office/drawing/2014/main" id="{2783CFD3-6349-48CB-880F-32FA20C7796B}"/>
              </a:ext>
            </a:extLst>
          </p:cNvPr>
          <p:cNvSpPr txBox="1"/>
          <p:nvPr/>
        </p:nvSpPr>
        <p:spPr>
          <a:xfrm>
            <a:off x="617338" y="2056400"/>
            <a:ext cx="1576934" cy="169277"/>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100" b="0" i="1" u="none" strike="noStrike" kern="1200" cap="none" spc="0" normalizeH="0" baseline="0" noProof="0" dirty="0">
                <a:ln>
                  <a:noFill/>
                </a:ln>
                <a:solidFill>
                  <a:prstClr val="black"/>
                </a:solidFill>
                <a:effectLst/>
                <a:uLnTx/>
                <a:uFillTx/>
                <a:latin typeface="Open Sans"/>
                <a:ea typeface="+mn-ea"/>
                <a:cs typeface="+mn-cs"/>
              </a:rPr>
              <a:t>Industry disruption</a:t>
            </a:r>
          </a:p>
        </p:txBody>
      </p:sp>
      <p:cxnSp>
        <p:nvCxnSpPr>
          <p:cNvPr id="23" name="Straight Connector 22">
            <a:extLst>
              <a:ext uri="{FF2B5EF4-FFF2-40B4-BE49-F238E27FC236}">
                <a16:creationId xmlns:a16="http://schemas.microsoft.com/office/drawing/2014/main" id="{DAF8E59C-36AF-4370-850B-4044DAE1A6BE}"/>
              </a:ext>
            </a:extLst>
          </p:cNvPr>
          <p:cNvCxnSpPr/>
          <p:nvPr/>
        </p:nvCxnSpPr>
        <p:spPr>
          <a:xfrm flipV="1">
            <a:off x="469901" y="5110342"/>
            <a:ext cx="11107209" cy="20883"/>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B18E65C1-B671-4E4D-84E7-862BCFEC12DD}"/>
              </a:ext>
            </a:extLst>
          </p:cNvPr>
          <p:cNvSpPr/>
          <p:nvPr/>
        </p:nvSpPr>
        <p:spPr>
          <a:xfrm>
            <a:off x="1200150" y="4860278"/>
            <a:ext cx="5848350" cy="508210"/>
          </a:xfrm>
          <a:prstGeom prst="rect">
            <a:avLst/>
          </a:prstGeom>
          <a:pattFill prst="openDmnd">
            <a:fgClr>
              <a:schemeClr val="bg1">
                <a:lumMod val="85000"/>
              </a:schemeClr>
            </a:fgClr>
            <a:bgClr>
              <a:schemeClr val="bg1"/>
            </a:bgClr>
          </a:patt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47" rtl="0" eaLnBrk="1" fontAlgn="auto" latinLnBrk="0" hangingPunct="1">
              <a:lnSpc>
                <a:spcPct val="100000"/>
              </a:lnSpc>
              <a:spcBef>
                <a:spcPts val="0"/>
              </a:spcBef>
              <a:spcAft>
                <a:spcPts val="0"/>
              </a:spcAft>
              <a:buClr>
                <a:srgbClr val="81BC00"/>
              </a:buClr>
              <a:buSzPct val="75000"/>
              <a:buFontTx/>
              <a:buNone/>
              <a:tabLst/>
              <a:defRPr/>
            </a:pPr>
            <a:r>
              <a:rPr kumimoji="0" lang="en-US" sz="1400" b="0" i="0" u="none" strike="noStrike" kern="0" cap="none" spc="200" normalizeH="0" baseline="0" noProof="0" dirty="0">
                <a:ln>
                  <a:noFill/>
                </a:ln>
                <a:solidFill>
                  <a:prstClr val="black"/>
                </a:solidFill>
                <a:effectLst/>
                <a:uLnTx/>
                <a:uFillTx/>
                <a:ea typeface="Open Sans Extrabold" charset="0"/>
                <a:cs typeface="Open Sans Extrabold" charset="0"/>
              </a:rPr>
              <a:t>OMNICHANNEL OPPORTUNITY SPACE</a:t>
            </a:r>
          </a:p>
          <a:p>
            <a:pPr marL="0" marR="0" lvl="0" indent="0" algn="ctr" defTabSz="1088447" rtl="0" eaLnBrk="1" fontAlgn="auto" latinLnBrk="0" hangingPunct="1">
              <a:lnSpc>
                <a:spcPct val="100000"/>
              </a:lnSpc>
              <a:spcBef>
                <a:spcPts val="0"/>
              </a:spcBef>
              <a:spcAft>
                <a:spcPts val="0"/>
              </a:spcAft>
              <a:buClr>
                <a:srgbClr val="81BC00"/>
              </a:buClr>
              <a:buSzPct val="75000"/>
              <a:buFontTx/>
              <a:buNone/>
              <a:tabLst/>
              <a:defRPr/>
            </a:pPr>
            <a:r>
              <a:rPr kumimoji="0" lang="en-US" sz="1100" b="0" i="1" u="none" strike="noStrike" kern="0" cap="none" spc="0" normalizeH="0" baseline="0" noProof="0" dirty="0">
                <a:ln>
                  <a:noFill/>
                </a:ln>
                <a:solidFill>
                  <a:prstClr val="black"/>
                </a:solidFill>
                <a:effectLst/>
                <a:uLnTx/>
                <a:uFillTx/>
                <a:ea typeface="Open Sans" charset="0"/>
                <a:cs typeface="Open Sans" charset="0"/>
              </a:rPr>
              <a:t>(Potential </a:t>
            </a:r>
            <a:r>
              <a:rPr lang="en-US" sz="1100" i="1" kern="0" dirty="0">
                <a:solidFill>
                  <a:prstClr val="black"/>
                </a:solidFill>
                <a:ea typeface="Open Sans" charset="0"/>
                <a:cs typeface="Open Sans" charset="0"/>
              </a:rPr>
              <a:t>OEM </a:t>
            </a:r>
            <a:r>
              <a:rPr kumimoji="0" lang="en-US" sz="1100" b="0" i="1" u="none" strike="noStrike" kern="0" cap="none" spc="0" normalizeH="0" baseline="0" noProof="0" dirty="0">
                <a:ln>
                  <a:noFill/>
                </a:ln>
                <a:solidFill>
                  <a:prstClr val="black"/>
                </a:solidFill>
                <a:effectLst/>
                <a:uLnTx/>
                <a:uFillTx/>
                <a:ea typeface="Open Sans" charset="0"/>
                <a:cs typeface="Open Sans" charset="0"/>
              </a:rPr>
              <a:t>Client Future)</a:t>
            </a:r>
            <a:endParaRPr kumimoji="0" lang="en-US" sz="1400" b="1" i="0" u="none" strike="noStrike" kern="0" cap="none" spc="200" normalizeH="0" baseline="0" noProof="0" dirty="0">
              <a:ln>
                <a:noFill/>
              </a:ln>
              <a:solidFill>
                <a:prstClr val="black"/>
              </a:solidFill>
              <a:effectLst/>
              <a:uLnTx/>
              <a:uFillTx/>
              <a:ea typeface="Open Sans Extrabold" charset="0"/>
              <a:cs typeface="Open Sans Extrabold" charset="0"/>
            </a:endParaRPr>
          </a:p>
        </p:txBody>
      </p:sp>
      <p:sp>
        <p:nvSpPr>
          <p:cNvPr id="25" name="Rectangle 24">
            <a:extLst>
              <a:ext uri="{FF2B5EF4-FFF2-40B4-BE49-F238E27FC236}">
                <a16:creationId xmlns:a16="http://schemas.microsoft.com/office/drawing/2014/main" id="{D8FECFB8-7E0A-4B07-B2A4-80AAB43BDFB3}"/>
              </a:ext>
            </a:extLst>
          </p:cNvPr>
          <p:cNvSpPr/>
          <p:nvPr/>
        </p:nvSpPr>
        <p:spPr>
          <a:xfrm>
            <a:off x="7972942" y="3601532"/>
            <a:ext cx="3604168" cy="491695"/>
          </a:xfrm>
          <a:prstGeom prst="rect">
            <a:avLst/>
          </a:prstGeom>
          <a:solidFill>
            <a:schemeClr val="bg1">
              <a:alpha val="80000"/>
            </a:schemeClr>
          </a:solidFill>
          <a:ln w="19050">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47" rtl="0" eaLnBrk="1" fontAlgn="auto" latinLnBrk="0" hangingPunct="1">
              <a:lnSpc>
                <a:spcPct val="100000"/>
              </a:lnSpc>
              <a:spcBef>
                <a:spcPts val="1000"/>
              </a:spcBef>
              <a:spcAft>
                <a:spcPts val="409"/>
              </a:spcAft>
              <a:buClr>
                <a:srgbClr val="81BC00"/>
              </a:buClr>
              <a:buSzPct val="75000"/>
              <a:buFontTx/>
              <a:buNone/>
              <a:tabLst/>
              <a:defRPr/>
            </a:pPr>
            <a:r>
              <a:rPr kumimoji="0" lang="en-US" sz="1050" b="1" i="0" u="none" strike="noStrike" kern="0" cap="none" spc="200" normalizeH="0" baseline="0" noProof="0" dirty="0">
                <a:ln>
                  <a:noFill/>
                </a:ln>
                <a:solidFill>
                  <a:prstClr val="black"/>
                </a:solidFill>
                <a:effectLst/>
                <a:uLnTx/>
                <a:uFillTx/>
                <a:ea typeface="Open Sans" charset="0"/>
                <a:cs typeface="Open Sans" charset="0"/>
              </a:rPr>
              <a:t>TURO</a:t>
            </a:r>
          </a:p>
        </p:txBody>
      </p:sp>
    </p:spTree>
    <p:extLst>
      <p:ext uri="{BB962C8B-B14F-4D97-AF65-F5344CB8AC3E}">
        <p14:creationId xmlns:p14="http://schemas.microsoft.com/office/powerpoint/2010/main" val="3508688840"/>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3" name="Object 92" hidden="1">
            <a:extLst>
              <a:ext uri="{FF2B5EF4-FFF2-40B4-BE49-F238E27FC236}">
                <a16:creationId xmlns:a16="http://schemas.microsoft.com/office/drawing/2014/main" id="{20F44CC5-9EEE-4C48-B66F-D3CED059A5F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1492" name="think-cell Slide" r:id="rId6" imgW="395" imgH="396" progId="TCLayout.ActiveDocument.1">
                  <p:embed/>
                </p:oleObj>
              </mc:Choice>
              <mc:Fallback>
                <p:oleObj name="think-cell Slide" r:id="rId6" imgW="395" imgH="396" progId="TCLayout.ActiveDocument.1">
                  <p:embed/>
                  <p:pic>
                    <p:nvPicPr>
                      <p:cNvPr id="93" name="Object 92" hidden="1">
                        <a:extLst>
                          <a:ext uri="{FF2B5EF4-FFF2-40B4-BE49-F238E27FC236}">
                            <a16:creationId xmlns:a16="http://schemas.microsoft.com/office/drawing/2014/main" id="{20F44CC5-9EEE-4C48-B66F-D3CED059A5F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2" name="Rectangle 91" hidden="1">
            <a:extLst>
              <a:ext uri="{FF2B5EF4-FFF2-40B4-BE49-F238E27FC236}">
                <a16:creationId xmlns:a16="http://schemas.microsoft.com/office/drawing/2014/main" id="{06A868ED-5AB7-4688-BCF2-3384012C73A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F4AD8B1-28D3-4047-AC16-AA5377604357}"/>
              </a:ext>
            </a:extLst>
          </p:cNvPr>
          <p:cNvSpPr>
            <a:spLocks noGrp="1"/>
          </p:cNvSpPr>
          <p:nvPr>
            <p:ph type="title"/>
          </p:nvPr>
        </p:nvSpPr>
        <p:spPr/>
        <p:txBody>
          <a:bodyPr/>
          <a:lstStyle/>
          <a:p>
            <a:r>
              <a:rPr lang="en-US" dirty="0"/>
              <a:t>Enabling The Data-Driven Experience</a:t>
            </a:r>
          </a:p>
        </p:txBody>
      </p:sp>
      <p:sp>
        <p:nvSpPr>
          <p:cNvPr id="3" name="Text Placeholder 2">
            <a:extLst>
              <a:ext uri="{FF2B5EF4-FFF2-40B4-BE49-F238E27FC236}">
                <a16:creationId xmlns:a16="http://schemas.microsoft.com/office/drawing/2014/main" id="{4EA6C846-213C-4ECA-8FE8-E21739AFE4D8}"/>
              </a:ext>
            </a:extLst>
          </p:cNvPr>
          <p:cNvSpPr>
            <a:spLocks noGrp="1"/>
          </p:cNvSpPr>
          <p:nvPr>
            <p:ph type="body" sz="quarter" idx="14"/>
          </p:nvPr>
        </p:nvSpPr>
        <p:spPr>
          <a:xfrm>
            <a:off x="914721" y="1353312"/>
            <a:ext cx="10362880" cy="475488"/>
          </a:xfrm>
        </p:spPr>
        <p:txBody>
          <a:bodyPr/>
          <a:lstStyle/>
          <a:p>
            <a:r>
              <a:rPr lang="en-US" spc="-75" dirty="0">
                <a:solidFill>
                  <a:prstClr val="black"/>
                </a:solidFill>
                <a:cs typeface="Arial" panose="020B0604020202020204" pitchFamily="34" charset="0"/>
              </a:rPr>
              <a:t>The Core+ Capabilities and mobile platform, in tandem, can significantly improve the fan experience, but the Client can drive additional value for the organization, fans, and Corporate Partners by effectively capturing, storing, and analyzing behavioral data that yields fan insights</a:t>
            </a:r>
          </a:p>
        </p:txBody>
      </p:sp>
      <p:sp>
        <p:nvSpPr>
          <p:cNvPr id="4" name="Text Placeholder 3">
            <a:extLst>
              <a:ext uri="{FF2B5EF4-FFF2-40B4-BE49-F238E27FC236}">
                <a16:creationId xmlns:a16="http://schemas.microsoft.com/office/drawing/2014/main" id="{446AF461-5B40-41E2-BB82-1C137AFEE909}"/>
              </a:ext>
            </a:extLst>
          </p:cNvPr>
          <p:cNvSpPr>
            <a:spLocks noGrp="1"/>
          </p:cNvSpPr>
          <p:nvPr>
            <p:ph type="body" sz="quarter" idx="15"/>
          </p:nvPr>
        </p:nvSpPr>
        <p:spPr>
          <a:xfrm>
            <a:off x="914971" y="466344"/>
            <a:ext cx="3834612" cy="200881"/>
          </a:xfrm>
        </p:spPr>
        <p:txBody>
          <a:bodyPr/>
          <a:lstStyle/>
          <a:p>
            <a:r>
              <a:rPr lang="en-US" dirty="0"/>
              <a:t>FRAMEWORKS &amp; CONCEPT ILLUSTRATION</a:t>
            </a:r>
          </a:p>
          <a:p>
            <a:endParaRPr lang="en-US" dirty="0"/>
          </a:p>
        </p:txBody>
      </p:sp>
      <p:sp>
        <p:nvSpPr>
          <p:cNvPr id="5" name="Title 1">
            <a:extLst>
              <a:ext uri="{FF2B5EF4-FFF2-40B4-BE49-F238E27FC236}">
                <a16:creationId xmlns:a16="http://schemas.microsoft.com/office/drawing/2014/main" id="{06AD2D9D-BE5E-4442-9B7B-6E8BCB6A3C27}"/>
              </a:ext>
            </a:extLst>
          </p:cNvPr>
          <p:cNvSpPr txBox="1">
            <a:spLocks/>
          </p:cNvSpPr>
          <p:nvPr/>
        </p:nvSpPr>
        <p:spPr>
          <a:xfrm>
            <a:off x="914400" y="694944"/>
            <a:ext cx="10363200"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sp>
        <p:nvSpPr>
          <p:cNvPr id="7" name="Title 1">
            <a:extLst>
              <a:ext uri="{FF2B5EF4-FFF2-40B4-BE49-F238E27FC236}">
                <a16:creationId xmlns:a16="http://schemas.microsoft.com/office/drawing/2014/main" id="{8B03E574-4392-461E-BFF5-A36A67B08D8E}"/>
              </a:ext>
            </a:extLst>
          </p:cNvPr>
          <p:cNvSpPr txBox="1">
            <a:spLocks/>
          </p:cNvSpPr>
          <p:nvPr/>
        </p:nvSpPr>
        <p:spPr>
          <a:xfrm>
            <a:off x="914400" y="1296684"/>
            <a:ext cx="10363200" cy="493294"/>
          </a:xfrm>
          <a:prstGeom prst="rect">
            <a:avLst/>
          </a:prstGeom>
        </p:spPr>
        <p:txBody>
          <a:bodyPr vert="horz" lIns="0" tIns="45720" rIns="0" bIns="0" rtlCol="0" anchor="t" anchorCtr="0">
            <a:noAutofit/>
          </a:bodyPr>
          <a:lstStyle>
            <a:defPPr>
              <a:defRPr lang="en-US"/>
            </a:defPPr>
            <a:lvl1pPr>
              <a:lnSpc>
                <a:spcPct val="100000"/>
              </a:lnSpc>
              <a:spcBef>
                <a:spcPct val="0"/>
              </a:spcBef>
              <a:buNone/>
              <a:defRPr sz="1400" b="0" i="0" cap="none" spc="-75" baseline="0">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400" b="0" i="0" u="none" strike="noStrike" kern="1200" cap="none" spc="-75" normalizeH="0" baseline="0" noProof="0" dirty="0">
              <a:ln>
                <a:noFill/>
              </a:ln>
              <a:solidFill>
                <a:prstClr val="black"/>
              </a:solidFill>
              <a:effectLst/>
              <a:uLnTx/>
              <a:uFillTx/>
              <a:latin typeface="Open Sans"/>
              <a:ea typeface="+mn-ea"/>
              <a:cs typeface="Arial" panose="020B0604020202020204" pitchFamily="34" charset="0"/>
            </a:endParaRPr>
          </a:p>
        </p:txBody>
      </p:sp>
      <p:grpSp>
        <p:nvGrpSpPr>
          <p:cNvPr id="8" name="Group 7">
            <a:extLst>
              <a:ext uri="{FF2B5EF4-FFF2-40B4-BE49-F238E27FC236}">
                <a16:creationId xmlns:a16="http://schemas.microsoft.com/office/drawing/2014/main" id="{8B48B6A2-F8A6-4422-AC52-DFCC81378155}"/>
              </a:ext>
            </a:extLst>
          </p:cNvPr>
          <p:cNvGrpSpPr/>
          <p:nvPr/>
        </p:nvGrpSpPr>
        <p:grpSpPr>
          <a:xfrm>
            <a:off x="1016000" y="2041893"/>
            <a:ext cx="10064306" cy="480780"/>
            <a:chOff x="1016000" y="1977940"/>
            <a:chExt cx="10064306" cy="480780"/>
          </a:xfrm>
        </p:grpSpPr>
        <p:sp>
          <p:nvSpPr>
            <p:cNvPr id="9" name="Rectangle 8">
              <a:extLst>
                <a:ext uri="{FF2B5EF4-FFF2-40B4-BE49-F238E27FC236}">
                  <a16:creationId xmlns:a16="http://schemas.microsoft.com/office/drawing/2014/main" id="{419C6F58-04FA-4F62-90A0-23A9A5D5DD7E}"/>
                </a:ext>
              </a:extLst>
            </p:cNvPr>
            <p:cNvSpPr/>
            <p:nvPr/>
          </p:nvSpPr>
          <p:spPr>
            <a:xfrm>
              <a:off x="8343579" y="1977940"/>
              <a:ext cx="2702560" cy="48078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10" name="TextBox 33">
              <a:extLst>
                <a:ext uri="{FF2B5EF4-FFF2-40B4-BE49-F238E27FC236}">
                  <a16:creationId xmlns:a16="http://schemas.microsoft.com/office/drawing/2014/main" id="{2C4D8C75-3F6F-4F5E-B596-583D6B51ABCC}"/>
                </a:ext>
              </a:extLst>
            </p:cNvPr>
            <p:cNvSpPr txBox="1"/>
            <p:nvPr/>
          </p:nvSpPr>
          <p:spPr>
            <a:xfrm>
              <a:off x="8391427" y="2038900"/>
              <a:ext cx="2688879" cy="3231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ts val="1800"/>
                </a:lnSpc>
                <a:spcBef>
                  <a:spcPts val="0"/>
                </a:spcBef>
                <a:spcAft>
                  <a:spcPts val="300"/>
                </a:spcAft>
                <a:buClrTx/>
                <a:buSzTx/>
                <a:buFontTx/>
                <a:buNone/>
                <a:tabLst/>
                <a:defRPr/>
              </a:pPr>
              <a:r>
                <a:rPr kumimoji="0" lang="en-US" sz="1400" b="1" i="0" u="none" strike="noStrike" kern="1200" cap="none" spc="0" normalizeH="0" baseline="0" noProof="0" dirty="0">
                  <a:ln>
                    <a:noFill/>
                  </a:ln>
                  <a:solidFill>
                    <a:prstClr val="black"/>
                  </a:solidFill>
                  <a:effectLst/>
                  <a:uLnTx/>
                  <a:uFillTx/>
                  <a:ea typeface="Ubuntu Medium" charset="0"/>
                  <a:cs typeface="Ubuntu Medium" charset="0"/>
                </a:rPr>
                <a:t>Data Capture &amp; Analysis</a:t>
              </a:r>
            </a:p>
          </p:txBody>
        </p:sp>
        <p:grpSp>
          <p:nvGrpSpPr>
            <p:cNvPr id="11" name="Group 10">
              <a:extLst>
                <a:ext uri="{FF2B5EF4-FFF2-40B4-BE49-F238E27FC236}">
                  <a16:creationId xmlns:a16="http://schemas.microsoft.com/office/drawing/2014/main" id="{327970B9-6DE6-49C1-87F2-0B5EC341D01E}"/>
                </a:ext>
              </a:extLst>
            </p:cNvPr>
            <p:cNvGrpSpPr/>
            <p:nvPr/>
          </p:nvGrpSpPr>
          <p:grpSpPr>
            <a:xfrm>
              <a:off x="1016000" y="1977940"/>
              <a:ext cx="2702560" cy="480780"/>
              <a:chOff x="1016000" y="1977940"/>
              <a:chExt cx="2702560" cy="480780"/>
            </a:xfrm>
          </p:grpSpPr>
          <p:sp>
            <p:nvSpPr>
              <p:cNvPr id="18" name="Rectangle 17">
                <a:extLst>
                  <a:ext uri="{FF2B5EF4-FFF2-40B4-BE49-F238E27FC236}">
                    <a16:creationId xmlns:a16="http://schemas.microsoft.com/office/drawing/2014/main" id="{AC412740-DBC9-4CB7-B1A4-F72DB8D180E1}"/>
                  </a:ext>
                </a:extLst>
              </p:cNvPr>
              <p:cNvSpPr/>
              <p:nvPr/>
            </p:nvSpPr>
            <p:spPr>
              <a:xfrm>
                <a:off x="1016000" y="1977940"/>
                <a:ext cx="2702560" cy="48078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19" name="TextBox 34">
                <a:extLst>
                  <a:ext uri="{FF2B5EF4-FFF2-40B4-BE49-F238E27FC236}">
                    <a16:creationId xmlns:a16="http://schemas.microsoft.com/office/drawing/2014/main" id="{C6070B96-2AD0-4801-BAC8-B153F5968A08}"/>
                  </a:ext>
                </a:extLst>
              </p:cNvPr>
              <p:cNvSpPr txBox="1"/>
              <p:nvPr/>
            </p:nvSpPr>
            <p:spPr>
              <a:xfrm>
                <a:off x="1111695" y="2038900"/>
                <a:ext cx="2377440" cy="31181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ts val="1800"/>
                  </a:lnSpc>
                  <a:spcBef>
                    <a:spcPts val="0"/>
                  </a:spcBef>
                  <a:spcAft>
                    <a:spcPts val="300"/>
                  </a:spcAft>
                  <a:buClrTx/>
                  <a:buSzTx/>
                  <a:buFontTx/>
                  <a:buNone/>
                  <a:tabLst/>
                  <a:defRPr/>
                </a:pPr>
                <a:r>
                  <a:rPr kumimoji="0" lang="en-US" sz="1400" b="1" i="0" u="none" strike="noStrike" kern="1200" cap="none" spc="0" normalizeH="0" baseline="0" noProof="0" dirty="0">
                    <a:ln>
                      <a:noFill/>
                    </a:ln>
                    <a:solidFill>
                      <a:prstClr val="black"/>
                    </a:solidFill>
                    <a:effectLst/>
                    <a:uLnTx/>
                    <a:uFillTx/>
                    <a:ea typeface="Ubuntu Medium" charset="0"/>
                    <a:cs typeface="Ubuntu Medium" charset="0"/>
                  </a:rPr>
                  <a:t>Capabilities (Core+)</a:t>
                </a:r>
              </a:p>
            </p:txBody>
          </p:sp>
          <p:cxnSp>
            <p:nvCxnSpPr>
              <p:cNvPr id="20" name="Straight Connector 19">
                <a:extLst>
                  <a:ext uri="{FF2B5EF4-FFF2-40B4-BE49-F238E27FC236}">
                    <a16:creationId xmlns:a16="http://schemas.microsoft.com/office/drawing/2014/main" id="{32DF663B-9D3C-417F-842D-DD477AC9A26E}"/>
                  </a:ext>
                </a:extLst>
              </p:cNvPr>
              <p:cNvCxnSpPr/>
              <p:nvPr/>
            </p:nvCxnSpPr>
            <p:spPr>
              <a:xfrm>
                <a:off x="1190216" y="2326640"/>
                <a:ext cx="2428240" cy="0"/>
              </a:xfrm>
              <a:prstGeom prst="line">
                <a:avLst/>
              </a:prstGeom>
              <a:ln w="57150"/>
            </p:spPr>
            <p:style>
              <a:lnRef idx="1">
                <a:schemeClr val="accent1"/>
              </a:lnRef>
              <a:fillRef idx="0">
                <a:schemeClr val="accent1"/>
              </a:fillRef>
              <a:effectRef idx="0">
                <a:schemeClr val="accent1"/>
              </a:effectRef>
              <a:fontRef idx="minor">
                <a:schemeClr val="tx1"/>
              </a:fontRef>
            </p:style>
          </p:cxnSp>
        </p:grpSp>
        <p:sp>
          <p:nvSpPr>
            <p:cNvPr id="12" name="Rectangle 11">
              <a:extLst>
                <a:ext uri="{FF2B5EF4-FFF2-40B4-BE49-F238E27FC236}">
                  <a16:creationId xmlns:a16="http://schemas.microsoft.com/office/drawing/2014/main" id="{8BD3FA57-2C8E-4889-A441-8847EB5208AD}"/>
                </a:ext>
              </a:extLst>
            </p:cNvPr>
            <p:cNvSpPr/>
            <p:nvPr/>
          </p:nvSpPr>
          <p:spPr>
            <a:xfrm>
              <a:off x="4703713" y="1977940"/>
              <a:ext cx="2702560" cy="48078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13" name="TextBox 6">
              <a:extLst>
                <a:ext uri="{FF2B5EF4-FFF2-40B4-BE49-F238E27FC236}">
                  <a16:creationId xmlns:a16="http://schemas.microsoft.com/office/drawing/2014/main" id="{82BF4D2B-3F97-4746-9E0D-8A89857CD6CD}"/>
                </a:ext>
              </a:extLst>
            </p:cNvPr>
            <p:cNvSpPr txBox="1"/>
            <p:nvPr/>
          </p:nvSpPr>
          <p:spPr>
            <a:xfrm>
              <a:off x="4751561" y="2038900"/>
              <a:ext cx="2688879"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prstClr val="black"/>
                  </a:solidFill>
                  <a:effectLst/>
                  <a:uLnTx/>
                  <a:uFillTx/>
                  <a:ea typeface="Ubuntu Medium" charset="0"/>
                  <a:cs typeface="Ubuntu Medium" charset="0"/>
                </a:rPr>
                <a:t>Digital Mobile Interface</a:t>
              </a:r>
            </a:p>
          </p:txBody>
        </p:sp>
        <p:cxnSp>
          <p:nvCxnSpPr>
            <p:cNvPr id="14" name="Straight Connector 13">
              <a:extLst>
                <a:ext uri="{FF2B5EF4-FFF2-40B4-BE49-F238E27FC236}">
                  <a16:creationId xmlns:a16="http://schemas.microsoft.com/office/drawing/2014/main" id="{C9285500-DEB2-447E-B8F4-FB40E1F98036}"/>
                </a:ext>
              </a:extLst>
            </p:cNvPr>
            <p:cNvCxnSpPr/>
            <p:nvPr/>
          </p:nvCxnSpPr>
          <p:spPr>
            <a:xfrm>
              <a:off x="4840873" y="2326640"/>
              <a:ext cx="2428240" cy="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15" name="Plus 6">
              <a:extLst>
                <a:ext uri="{FF2B5EF4-FFF2-40B4-BE49-F238E27FC236}">
                  <a16:creationId xmlns:a16="http://schemas.microsoft.com/office/drawing/2014/main" id="{9F883149-9DE5-40BF-8602-A42527159470}"/>
                </a:ext>
              </a:extLst>
            </p:cNvPr>
            <p:cNvSpPr/>
            <p:nvPr/>
          </p:nvSpPr>
          <p:spPr>
            <a:xfrm>
              <a:off x="4051809" y="2057400"/>
              <a:ext cx="318654" cy="345902"/>
            </a:xfrm>
            <a:prstGeom prst="mathPlus">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cxnSp>
          <p:nvCxnSpPr>
            <p:cNvPr id="16" name="Straight Connector 15">
              <a:extLst>
                <a:ext uri="{FF2B5EF4-FFF2-40B4-BE49-F238E27FC236}">
                  <a16:creationId xmlns:a16="http://schemas.microsoft.com/office/drawing/2014/main" id="{2E7F845C-1FA0-4F1A-8CA6-A9C2FC98AE40}"/>
                </a:ext>
              </a:extLst>
            </p:cNvPr>
            <p:cNvCxnSpPr/>
            <p:nvPr/>
          </p:nvCxnSpPr>
          <p:spPr>
            <a:xfrm>
              <a:off x="8480739" y="2326640"/>
              <a:ext cx="2428240" cy="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17" name="Plus 43">
              <a:extLst>
                <a:ext uri="{FF2B5EF4-FFF2-40B4-BE49-F238E27FC236}">
                  <a16:creationId xmlns:a16="http://schemas.microsoft.com/office/drawing/2014/main" id="{2D4E24CE-6917-4A61-A64C-15863CA1C8EF}"/>
                </a:ext>
              </a:extLst>
            </p:cNvPr>
            <p:cNvSpPr/>
            <p:nvPr/>
          </p:nvSpPr>
          <p:spPr>
            <a:xfrm>
              <a:off x="7713543" y="2057400"/>
              <a:ext cx="318654" cy="345902"/>
            </a:xfrm>
            <a:prstGeom prst="mathPlus">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grpSp>
      <p:sp>
        <p:nvSpPr>
          <p:cNvPr id="21" name="Arc 20">
            <a:extLst>
              <a:ext uri="{FF2B5EF4-FFF2-40B4-BE49-F238E27FC236}">
                <a16:creationId xmlns:a16="http://schemas.microsoft.com/office/drawing/2014/main" id="{F1CB52B9-76C8-40AE-9538-C38DD0DD460F}"/>
              </a:ext>
            </a:extLst>
          </p:cNvPr>
          <p:cNvSpPr/>
          <p:nvPr/>
        </p:nvSpPr>
        <p:spPr>
          <a:xfrm flipV="1">
            <a:off x="2558928" y="4135118"/>
            <a:ext cx="6315105" cy="2168693"/>
          </a:xfrm>
          <a:prstGeom prst="arc">
            <a:avLst>
              <a:gd name="adj1" fmla="val 10856842"/>
              <a:gd name="adj2" fmla="val 0"/>
            </a:avLst>
          </a:prstGeom>
          <a:ln w="19050">
            <a:solidFill>
              <a:schemeClr val="tx1"/>
            </a:solidFill>
            <a:prstDash val="dash"/>
            <a:head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cxnSp>
        <p:nvCxnSpPr>
          <p:cNvPr id="22" name="Curved Connector 23">
            <a:extLst>
              <a:ext uri="{FF2B5EF4-FFF2-40B4-BE49-F238E27FC236}">
                <a16:creationId xmlns:a16="http://schemas.microsoft.com/office/drawing/2014/main" id="{D1C1ED6F-6E5C-42D3-94CA-A918DDE83E43}"/>
              </a:ext>
            </a:extLst>
          </p:cNvPr>
          <p:cNvCxnSpPr/>
          <p:nvPr/>
        </p:nvCxnSpPr>
        <p:spPr>
          <a:xfrm flipV="1">
            <a:off x="2920563" y="3928146"/>
            <a:ext cx="1461550" cy="854764"/>
          </a:xfrm>
          <a:prstGeom prst="curved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Curved Connector 24">
            <a:extLst>
              <a:ext uri="{FF2B5EF4-FFF2-40B4-BE49-F238E27FC236}">
                <a16:creationId xmlns:a16="http://schemas.microsoft.com/office/drawing/2014/main" id="{BD246F09-A16F-465F-B1BF-F3C199C677F3}"/>
              </a:ext>
            </a:extLst>
          </p:cNvPr>
          <p:cNvCxnSpPr/>
          <p:nvPr/>
        </p:nvCxnSpPr>
        <p:spPr>
          <a:xfrm>
            <a:off x="2920563" y="4748073"/>
            <a:ext cx="1461550" cy="779079"/>
          </a:xfrm>
          <a:prstGeom prst="curved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Curved Connector 25">
            <a:extLst>
              <a:ext uri="{FF2B5EF4-FFF2-40B4-BE49-F238E27FC236}">
                <a16:creationId xmlns:a16="http://schemas.microsoft.com/office/drawing/2014/main" id="{89C2DD42-2889-49E2-B4B7-A1DC6169AC65}"/>
              </a:ext>
            </a:extLst>
          </p:cNvPr>
          <p:cNvCxnSpPr/>
          <p:nvPr/>
        </p:nvCxnSpPr>
        <p:spPr>
          <a:xfrm flipV="1">
            <a:off x="2930476" y="4762456"/>
            <a:ext cx="1451637" cy="498"/>
          </a:xfrm>
          <a:prstGeom prst="curved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A4FDA33F-0C6A-463D-B5FF-64D9FE9713B1}"/>
              </a:ext>
            </a:extLst>
          </p:cNvPr>
          <p:cNvGrpSpPr/>
          <p:nvPr/>
        </p:nvGrpSpPr>
        <p:grpSpPr>
          <a:xfrm>
            <a:off x="2054793" y="4423670"/>
            <a:ext cx="999276" cy="858381"/>
            <a:chOff x="1927577" y="3652048"/>
            <a:chExt cx="999276" cy="858381"/>
          </a:xfrm>
        </p:grpSpPr>
        <p:sp>
          <p:nvSpPr>
            <p:cNvPr id="26" name="Rounded Rectangle 27">
              <a:extLst>
                <a:ext uri="{FF2B5EF4-FFF2-40B4-BE49-F238E27FC236}">
                  <a16:creationId xmlns:a16="http://schemas.microsoft.com/office/drawing/2014/main" id="{337F11F4-28E4-4897-92C8-DFBA244E8B24}"/>
                </a:ext>
              </a:extLst>
            </p:cNvPr>
            <p:cNvSpPr/>
            <p:nvPr/>
          </p:nvSpPr>
          <p:spPr>
            <a:xfrm>
              <a:off x="1927577" y="3652048"/>
              <a:ext cx="999276" cy="85838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grpSp>
          <p:nvGrpSpPr>
            <p:cNvPr id="27" name="Group 26">
              <a:extLst>
                <a:ext uri="{FF2B5EF4-FFF2-40B4-BE49-F238E27FC236}">
                  <a16:creationId xmlns:a16="http://schemas.microsoft.com/office/drawing/2014/main" id="{C1D95256-F18E-4FB7-BEEF-EF6D7739627E}"/>
                </a:ext>
              </a:extLst>
            </p:cNvPr>
            <p:cNvGrpSpPr/>
            <p:nvPr/>
          </p:nvGrpSpPr>
          <p:grpSpPr>
            <a:xfrm>
              <a:off x="2056723" y="3755731"/>
              <a:ext cx="805739" cy="581536"/>
              <a:chOff x="7635876" y="1039813"/>
              <a:chExt cx="547687" cy="395288"/>
            </a:xfrm>
            <a:solidFill>
              <a:schemeClr val="bg1">
                <a:lumMod val="50000"/>
              </a:schemeClr>
            </a:solidFill>
          </p:grpSpPr>
          <p:sp>
            <p:nvSpPr>
              <p:cNvPr id="28" name="Freeform 371">
                <a:extLst>
                  <a:ext uri="{FF2B5EF4-FFF2-40B4-BE49-F238E27FC236}">
                    <a16:creationId xmlns:a16="http://schemas.microsoft.com/office/drawing/2014/main" id="{BDD58FED-7641-4C50-BDD9-B947EC601EBC}"/>
                  </a:ext>
                </a:extLst>
              </p:cNvPr>
              <p:cNvSpPr>
                <a:spLocks noEditPoints="1"/>
              </p:cNvSpPr>
              <p:nvPr/>
            </p:nvSpPr>
            <p:spPr bwMode="auto">
              <a:xfrm>
                <a:off x="7635876" y="1039813"/>
                <a:ext cx="398463" cy="395288"/>
              </a:xfrm>
              <a:custGeom>
                <a:avLst/>
                <a:gdLst>
                  <a:gd name="T0" fmla="*/ 166 w 173"/>
                  <a:gd name="T1" fmla="*/ 131 h 172"/>
                  <a:gd name="T2" fmla="*/ 111 w 173"/>
                  <a:gd name="T3" fmla="*/ 104 h 172"/>
                  <a:gd name="T4" fmla="*/ 111 w 173"/>
                  <a:gd name="T5" fmla="*/ 99 h 172"/>
                  <a:gd name="T6" fmla="*/ 123 w 173"/>
                  <a:gd name="T7" fmla="*/ 77 h 172"/>
                  <a:gd name="T8" fmla="*/ 129 w 173"/>
                  <a:gd name="T9" fmla="*/ 63 h 172"/>
                  <a:gd name="T10" fmla="*/ 126 w 173"/>
                  <a:gd name="T11" fmla="*/ 53 h 172"/>
                  <a:gd name="T12" fmla="*/ 126 w 173"/>
                  <a:gd name="T13" fmla="*/ 37 h 172"/>
                  <a:gd name="T14" fmla="*/ 86 w 173"/>
                  <a:gd name="T15" fmla="*/ 0 h 172"/>
                  <a:gd name="T16" fmla="*/ 47 w 173"/>
                  <a:gd name="T17" fmla="*/ 37 h 172"/>
                  <a:gd name="T18" fmla="*/ 47 w 173"/>
                  <a:gd name="T19" fmla="*/ 53 h 172"/>
                  <a:gd name="T20" fmla="*/ 44 w 173"/>
                  <a:gd name="T21" fmla="*/ 63 h 172"/>
                  <a:gd name="T22" fmla="*/ 50 w 173"/>
                  <a:gd name="T23" fmla="*/ 77 h 172"/>
                  <a:gd name="T24" fmla="*/ 62 w 173"/>
                  <a:gd name="T25" fmla="*/ 99 h 172"/>
                  <a:gd name="T26" fmla="*/ 62 w 173"/>
                  <a:gd name="T27" fmla="*/ 104 h 172"/>
                  <a:gd name="T28" fmla="*/ 7 w 173"/>
                  <a:gd name="T29" fmla="*/ 131 h 172"/>
                  <a:gd name="T30" fmla="*/ 0 w 173"/>
                  <a:gd name="T31" fmla="*/ 141 h 172"/>
                  <a:gd name="T32" fmla="*/ 0 w 173"/>
                  <a:gd name="T33" fmla="*/ 162 h 172"/>
                  <a:gd name="T34" fmla="*/ 11 w 173"/>
                  <a:gd name="T35" fmla="*/ 172 h 172"/>
                  <a:gd name="T36" fmla="*/ 162 w 173"/>
                  <a:gd name="T37" fmla="*/ 172 h 172"/>
                  <a:gd name="T38" fmla="*/ 173 w 173"/>
                  <a:gd name="T39" fmla="*/ 162 h 172"/>
                  <a:gd name="T40" fmla="*/ 173 w 173"/>
                  <a:gd name="T41" fmla="*/ 141 h 172"/>
                  <a:gd name="T42" fmla="*/ 166 w 173"/>
                  <a:gd name="T43" fmla="*/ 131 h 172"/>
                  <a:gd name="T44" fmla="*/ 163 w 173"/>
                  <a:gd name="T45" fmla="*/ 162 h 172"/>
                  <a:gd name="T46" fmla="*/ 162 w 173"/>
                  <a:gd name="T47" fmla="*/ 163 h 172"/>
                  <a:gd name="T48" fmla="*/ 11 w 173"/>
                  <a:gd name="T49" fmla="*/ 163 h 172"/>
                  <a:gd name="T50" fmla="*/ 10 w 173"/>
                  <a:gd name="T51" fmla="*/ 162 h 172"/>
                  <a:gd name="T52" fmla="*/ 10 w 173"/>
                  <a:gd name="T53" fmla="*/ 141 h 172"/>
                  <a:gd name="T54" fmla="*/ 10 w 173"/>
                  <a:gd name="T55" fmla="*/ 140 h 172"/>
                  <a:gd name="T56" fmla="*/ 71 w 173"/>
                  <a:gd name="T57" fmla="*/ 106 h 172"/>
                  <a:gd name="T58" fmla="*/ 71 w 173"/>
                  <a:gd name="T59" fmla="*/ 105 h 172"/>
                  <a:gd name="T60" fmla="*/ 71 w 173"/>
                  <a:gd name="T61" fmla="*/ 97 h 172"/>
                  <a:gd name="T62" fmla="*/ 70 w 173"/>
                  <a:gd name="T63" fmla="*/ 93 h 172"/>
                  <a:gd name="T64" fmla="*/ 59 w 173"/>
                  <a:gd name="T65" fmla="*/ 73 h 172"/>
                  <a:gd name="T66" fmla="*/ 57 w 173"/>
                  <a:gd name="T67" fmla="*/ 70 h 172"/>
                  <a:gd name="T68" fmla="*/ 53 w 173"/>
                  <a:gd name="T69" fmla="*/ 63 h 172"/>
                  <a:gd name="T70" fmla="*/ 55 w 173"/>
                  <a:gd name="T71" fmla="*/ 58 h 172"/>
                  <a:gd name="T72" fmla="*/ 56 w 173"/>
                  <a:gd name="T73" fmla="*/ 55 h 172"/>
                  <a:gd name="T74" fmla="*/ 56 w 173"/>
                  <a:gd name="T75" fmla="*/ 37 h 172"/>
                  <a:gd name="T76" fmla="*/ 86 w 173"/>
                  <a:gd name="T77" fmla="*/ 9 h 172"/>
                  <a:gd name="T78" fmla="*/ 116 w 173"/>
                  <a:gd name="T79" fmla="*/ 37 h 172"/>
                  <a:gd name="T80" fmla="*/ 116 w 173"/>
                  <a:gd name="T81" fmla="*/ 55 h 172"/>
                  <a:gd name="T82" fmla="*/ 118 w 173"/>
                  <a:gd name="T83" fmla="*/ 58 h 172"/>
                  <a:gd name="T84" fmla="*/ 119 w 173"/>
                  <a:gd name="T85" fmla="*/ 63 h 172"/>
                  <a:gd name="T86" fmla="*/ 116 w 173"/>
                  <a:gd name="T87" fmla="*/ 70 h 172"/>
                  <a:gd name="T88" fmla="*/ 114 w 173"/>
                  <a:gd name="T89" fmla="*/ 73 h 172"/>
                  <a:gd name="T90" fmla="*/ 103 w 173"/>
                  <a:gd name="T91" fmla="*/ 93 h 172"/>
                  <a:gd name="T92" fmla="*/ 102 w 173"/>
                  <a:gd name="T93" fmla="*/ 97 h 172"/>
                  <a:gd name="T94" fmla="*/ 102 w 173"/>
                  <a:gd name="T95" fmla="*/ 105 h 172"/>
                  <a:gd name="T96" fmla="*/ 102 w 173"/>
                  <a:gd name="T97" fmla="*/ 106 h 172"/>
                  <a:gd name="T98" fmla="*/ 162 w 173"/>
                  <a:gd name="T99" fmla="*/ 140 h 172"/>
                  <a:gd name="T100" fmla="*/ 163 w 173"/>
                  <a:gd name="T101" fmla="*/ 141 h 172"/>
                  <a:gd name="T102" fmla="*/ 163 w 173"/>
                  <a:gd name="T103" fmla="*/ 16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3" h="172">
                    <a:moveTo>
                      <a:pt x="166" y="131"/>
                    </a:moveTo>
                    <a:cubicBezTo>
                      <a:pt x="121" y="114"/>
                      <a:pt x="113" y="106"/>
                      <a:pt x="111" y="104"/>
                    </a:cubicBezTo>
                    <a:cubicBezTo>
                      <a:pt x="111" y="99"/>
                      <a:pt x="111" y="99"/>
                      <a:pt x="111" y="99"/>
                    </a:cubicBezTo>
                    <a:cubicBezTo>
                      <a:pt x="116" y="93"/>
                      <a:pt x="120" y="86"/>
                      <a:pt x="123" y="77"/>
                    </a:cubicBezTo>
                    <a:cubicBezTo>
                      <a:pt x="127" y="74"/>
                      <a:pt x="129" y="69"/>
                      <a:pt x="129" y="63"/>
                    </a:cubicBezTo>
                    <a:cubicBezTo>
                      <a:pt x="129" y="60"/>
                      <a:pt x="128" y="56"/>
                      <a:pt x="126" y="53"/>
                    </a:cubicBezTo>
                    <a:cubicBezTo>
                      <a:pt x="126" y="37"/>
                      <a:pt x="126" y="37"/>
                      <a:pt x="126" y="37"/>
                    </a:cubicBezTo>
                    <a:cubicBezTo>
                      <a:pt x="126" y="13"/>
                      <a:pt x="112" y="0"/>
                      <a:pt x="86" y="0"/>
                    </a:cubicBezTo>
                    <a:cubicBezTo>
                      <a:pt x="62" y="0"/>
                      <a:pt x="47" y="14"/>
                      <a:pt x="47" y="37"/>
                    </a:cubicBezTo>
                    <a:cubicBezTo>
                      <a:pt x="47" y="53"/>
                      <a:pt x="47" y="53"/>
                      <a:pt x="47" y="53"/>
                    </a:cubicBezTo>
                    <a:cubicBezTo>
                      <a:pt x="45" y="56"/>
                      <a:pt x="44" y="60"/>
                      <a:pt x="44" y="63"/>
                    </a:cubicBezTo>
                    <a:cubicBezTo>
                      <a:pt x="44" y="69"/>
                      <a:pt x="46" y="74"/>
                      <a:pt x="50" y="77"/>
                    </a:cubicBezTo>
                    <a:cubicBezTo>
                      <a:pt x="53" y="86"/>
                      <a:pt x="57" y="93"/>
                      <a:pt x="62" y="99"/>
                    </a:cubicBezTo>
                    <a:cubicBezTo>
                      <a:pt x="62" y="104"/>
                      <a:pt x="62" y="104"/>
                      <a:pt x="62" y="104"/>
                    </a:cubicBezTo>
                    <a:cubicBezTo>
                      <a:pt x="60" y="106"/>
                      <a:pt x="52" y="114"/>
                      <a:pt x="7" y="131"/>
                    </a:cubicBezTo>
                    <a:cubicBezTo>
                      <a:pt x="3" y="133"/>
                      <a:pt x="0" y="137"/>
                      <a:pt x="0" y="141"/>
                    </a:cubicBezTo>
                    <a:cubicBezTo>
                      <a:pt x="0" y="162"/>
                      <a:pt x="0" y="162"/>
                      <a:pt x="0" y="162"/>
                    </a:cubicBezTo>
                    <a:cubicBezTo>
                      <a:pt x="0" y="168"/>
                      <a:pt x="5" y="172"/>
                      <a:pt x="11" y="172"/>
                    </a:cubicBezTo>
                    <a:cubicBezTo>
                      <a:pt x="162" y="172"/>
                      <a:pt x="162" y="172"/>
                      <a:pt x="162" y="172"/>
                    </a:cubicBezTo>
                    <a:cubicBezTo>
                      <a:pt x="168" y="172"/>
                      <a:pt x="173" y="168"/>
                      <a:pt x="173" y="162"/>
                    </a:cubicBezTo>
                    <a:cubicBezTo>
                      <a:pt x="173" y="141"/>
                      <a:pt x="173" y="141"/>
                      <a:pt x="173" y="141"/>
                    </a:cubicBezTo>
                    <a:cubicBezTo>
                      <a:pt x="173" y="137"/>
                      <a:pt x="170" y="133"/>
                      <a:pt x="166" y="131"/>
                    </a:cubicBezTo>
                    <a:close/>
                    <a:moveTo>
                      <a:pt x="163" y="162"/>
                    </a:moveTo>
                    <a:cubicBezTo>
                      <a:pt x="163" y="162"/>
                      <a:pt x="163" y="163"/>
                      <a:pt x="162" y="163"/>
                    </a:cubicBezTo>
                    <a:cubicBezTo>
                      <a:pt x="11" y="163"/>
                      <a:pt x="11" y="163"/>
                      <a:pt x="11" y="163"/>
                    </a:cubicBezTo>
                    <a:cubicBezTo>
                      <a:pt x="10" y="163"/>
                      <a:pt x="10" y="162"/>
                      <a:pt x="10" y="162"/>
                    </a:cubicBezTo>
                    <a:cubicBezTo>
                      <a:pt x="10" y="141"/>
                      <a:pt x="10" y="141"/>
                      <a:pt x="10" y="141"/>
                    </a:cubicBezTo>
                    <a:cubicBezTo>
                      <a:pt x="10" y="141"/>
                      <a:pt x="10" y="140"/>
                      <a:pt x="10" y="140"/>
                    </a:cubicBezTo>
                    <a:cubicBezTo>
                      <a:pt x="61" y="121"/>
                      <a:pt x="69" y="112"/>
                      <a:pt x="71" y="106"/>
                    </a:cubicBezTo>
                    <a:cubicBezTo>
                      <a:pt x="71" y="106"/>
                      <a:pt x="71" y="106"/>
                      <a:pt x="71" y="105"/>
                    </a:cubicBezTo>
                    <a:cubicBezTo>
                      <a:pt x="71" y="97"/>
                      <a:pt x="71" y="97"/>
                      <a:pt x="71" y="97"/>
                    </a:cubicBezTo>
                    <a:cubicBezTo>
                      <a:pt x="71" y="96"/>
                      <a:pt x="71" y="94"/>
                      <a:pt x="70" y="93"/>
                    </a:cubicBezTo>
                    <a:cubicBezTo>
                      <a:pt x="65" y="88"/>
                      <a:pt x="61" y="81"/>
                      <a:pt x="59" y="73"/>
                    </a:cubicBezTo>
                    <a:cubicBezTo>
                      <a:pt x="59" y="72"/>
                      <a:pt x="58" y="71"/>
                      <a:pt x="57" y="70"/>
                    </a:cubicBezTo>
                    <a:cubicBezTo>
                      <a:pt x="55" y="69"/>
                      <a:pt x="53" y="66"/>
                      <a:pt x="53" y="63"/>
                    </a:cubicBezTo>
                    <a:cubicBezTo>
                      <a:pt x="53" y="61"/>
                      <a:pt x="54" y="59"/>
                      <a:pt x="55" y="58"/>
                    </a:cubicBezTo>
                    <a:cubicBezTo>
                      <a:pt x="56" y="57"/>
                      <a:pt x="56" y="56"/>
                      <a:pt x="56" y="55"/>
                    </a:cubicBezTo>
                    <a:cubicBezTo>
                      <a:pt x="56" y="37"/>
                      <a:pt x="56" y="37"/>
                      <a:pt x="56" y="37"/>
                    </a:cubicBezTo>
                    <a:cubicBezTo>
                      <a:pt x="56" y="19"/>
                      <a:pt x="67" y="9"/>
                      <a:pt x="86" y="9"/>
                    </a:cubicBezTo>
                    <a:cubicBezTo>
                      <a:pt x="106" y="9"/>
                      <a:pt x="116" y="19"/>
                      <a:pt x="116" y="37"/>
                    </a:cubicBezTo>
                    <a:cubicBezTo>
                      <a:pt x="116" y="55"/>
                      <a:pt x="116" y="55"/>
                      <a:pt x="116" y="55"/>
                    </a:cubicBezTo>
                    <a:cubicBezTo>
                      <a:pt x="116" y="56"/>
                      <a:pt x="117" y="57"/>
                      <a:pt x="118" y="58"/>
                    </a:cubicBezTo>
                    <a:cubicBezTo>
                      <a:pt x="118" y="59"/>
                      <a:pt x="119" y="61"/>
                      <a:pt x="119" y="63"/>
                    </a:cubicBezTo>
                    <a:cubicBezTo>
                      <a:pt x="119" y="66"/>
                      <a:pt x="118" y="69"/>
                      <a:pt x="116" y="70"/>
                    </a:cubicBezTo>
                    <a:cubicBezTo>
                      <a:pt x="115" y="71"/>
                      <a:pt x="114" y="72"/>
                      <a:pt x="114" y="73"/>
                    </a:cubicBezTo>
                    <a:cubicBezTo>
                      <a:pt x="112" y="81"/>
                      <a:pt x="108" y="88"/>
                      <a:pt x="103" y="93"/>
                    </a:cubicBezTo>
                    <a:cubicBezTo>
                      <a:pt x="102" y="94"/>
                      <a:pt x="102" y="96"/>
                      <a:pt x="102" y="97"/>
                    </a:cubicBezTo>
                    <a:cubicBezTo>
                      <a:pt x="102" y="105"/>
                      <a:pt x="102" y="105"/>
                      <a:pt x="102" y="105"/>
                    </a:cubicBezTo>
                    <a:cubicBezTo>
                      <a:pt x="102" y="106"/>
                      <a:pt x="102" y="106"/>
                      <a:pt x="102" y="106"/>
                    </a:cubicBezTo>
                    <a:cubicBezTo>
                      <a:pt x="104" y="112"/>
                      <a:pt x="112" y="121"/>
                      <a:pt x="162" y="140"/>
                    </a:cubicBezTo>
                    <a:cubicBezTo>
                      <a:pt x="163" y="140"/>
                      <a:pt x="163" y="141"/>
                      <a:pt x="163" y="141"/>
                    </a:cubicBezTo>
                    <a:lnTo>
                      <a:pt x="163" y="1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29" name="Freeform 372">
                <a:extLst>
                  <a:ext uri="{FF2B5EF4-FFF2-40B4-BE49-F238E27FC236}">
                    <a16:creationId xmlns:a16="http://schemas.microsoft.com/office/drawing/2014/main" id="{94EBCE2A-C2D9-44A0-9B51-36D62EA00502}"/>
                  </a:ext>
                </a:extLst>
              </p:cNvPr>
              <p:cNvSpPr>
                <a:spLocks/>
              </p:cNvSpPr>
              <p:nvPr/>
            </p:nvSpPr>
            <p:spPr bwMode="auto">
              <a:xfrm>
                <a:off x="7932738" y="1062038"/>
                <a:ext cx="250825" cy="373063"/>
              </a:xfrm>
              <a:custGeom>
                <a:avLst/>
                <a:gdLst>
                  <a:gd name="T0" fmla="*/ 102 w 109"/>
                  <a:gd name="T1" fmla="*/ 123 h 162"/>
                  <a:gd name="T2" fmla="*/ 69 w 109"/>
                  <a:gd name="T3" fmla="*/ 115 h 162"/>
                  <a:gd name="T4" fmla="*/ 51 w 109"/>
                  <a:gd name="T5" fmla="*/ 110 h 162"/>
                  <a:gd name="T6" fmla="*/ 51 w 109"/>
                  <a:gd name="T7" fmla="*/ 105 h 162"/>
                  <a:gd name="T8" fmla="*/ 84 w 109"/>
                  <a:gd name="T9" fmla="*/ 96 h 162"/>
                  <a:gd name="T10" fmla="*/ 85 w 109"/>
                  <a:gd name="T11" fmla="*/ 92 h 162"/>
                  <a:gd name="T12" fmla="*/ 83 w 109"/>
                  <a:gd name="T13" fmla="*/ 89 h 162"/>
                  <a:gd name="T14" fmla="*/ 72 w 109"/>
                  <a:gd name="T15" fmla="*/ 47 h 162"/>
                  <a:gd name="T16" fmla="*/ 57 w 109"/>
                  <a:gd name="T17" fmla="*/ 12 h 162"/>
                  <a:gd name="T18" fmla="*/ 43 w 109"/>
                  <a:gd name="T19" fmla="*/ 3 h 162"/>
                  <a:gd name="T20" fmla="*/ 13 w 109"/>
                  <a:gd name="T21" fmla="*/ 4 h 162"/>
                  <a:gd name="T22" fmla="*/ 2 w 109"/>
                  <a:gd name="T23" fmla="*/ 9 h 162"/>
                  <a:gd name="T24" fmla="*/ 2 w 109"/>
                  <a:gd name="T25" fmla="*/ 16 h 162"/>
                  <a:gd name="T26" fmla="*/ 8 w 109"/>
                  <a:gd name="T27" fmla="*/ 17 h 162"/>
                  <a:gd name="T28" fmla="*/ 16 w 109"/>
                  <a:gd name="T29" fmla="*/ 13 h 162"/>
                  <a:gd name="T30" fmla="*/ 40 w 109"/>
                  <a:gd name="T31" fmla="*/ 12 h 162"/>
                  <a:gd name="T32" fmla="*/ 50 w 109"/>
                  <a:gd name="T33" fmla="*/ 19 h 162"/>
                  <a:gd name="T34" fmla="*/ 51 w 109"/>
                  <a:gd name="T35" fmla="*/ 19 h 162"/>
                  <a:gd name="T36" fmla="*/ 62 w 109"/>
                  <a:gd name="T37" fmla="*/ 47 h 162"/>
                  <a:gd name="T38" fmla="*/ 73 w 109"/>
                  <a:gd name="T39" fmla="*/ 91 h 162"/>
                  <a:gd name="T40" fmla="*/ 47 w 109"/>
                  <a:gd name="T41" fmla="*/ 96 h 162"/>
                  <a:gd name="T42" fmla="*/ 42 w 109"/>
                  <a:gd name="T43" fmla="*/ 101 h 162"/>
                  <a:gd name="T44" fmla="*/ 42 w 109"/>
                  <a:gd name="T45" fmla="*/ 112 h 162"/>
                  <a:gd name="T46" fmla="*/ 42 w 109"/>
                  <a:gd name="T47" fmla="*/ 113 h 162"/>
                  <a:gd name="T48" fmla="*/ 67 w 109"/>
                  <a:gd name="T49" fmla="*/ 124 h 162"/>
                  <a:gd name="T50" fmla="*/ 99 w 109"/>
                  <a:gd name="T51" fmla="*/ 132 h 162"/>
                  <a:gd name="T52" fmla="*/ 99 w 109"/>
                  <a:gd name="T53" fmla="*/ 133 h 162"/>
                  <a:gd name="T54" fmla="*/ 99 w 109"/>
                  <a:gd name="T55" fmla="*/ 152 h 162"/>
                  <a:gd name="T56" fmla="*/ 98 w 109"/>
                  <a:gd name="T57" fmla="*/ 153 h 162"/>
                  <a:gd name="T58" fmla="*/ 57 w 109"/>
                  <a:gd name="T59" fmla="*/ 153 h 162"/>
                  <a:gd name="T60" fmla="*/ 53 w 109"/>
                  <a:gd name="T61" fmla="*/ 158 h 162"/>
                  <a:gd name="T62" fmla="*/ 57 w 109"/>
                  <a:gd name="T63" fmla="*/ 162 h 162"/>
                  <a:gd name="T64" fmla="*/ 98 w 109"/>
                  <a:gd name="T65" fmla="*/ 162 h 162"/>
                  <a:gd name="T66" fmla="*/ 109 w 109"/>
                  <a:gd name="T67" fmla="*/ 152 h 162"/>
                  <a:gd name="T68" fmla="*/ 109 w 109"/>
                  <a:gd name="T69" fmla="*/ 133 h 162"/>
                  <a:gd name="T70" fmla="*/ 102 w 109"/>
                  <a:gd name="T71" fmla="*/ 12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9" h="162">
                    <a:moveTo>
                      <a:pt x="102" y="123"/>
                    </a:moveTo>
                    <a:cubicBezTo>
                      <a:pt x="91" y="119"/>
                      <a:pt x="79" y="117"/>
                      <a:pt x="69" y="115"/>
                    </a:cubicBezTo>
                    <a:cubicBezTo>
                      <a:pt x="62" y="114"/>
                      <a:pt x="53" y="112"/>
                      <a:pt x="51" y="110"/>
                    </a:cubicBezTo>
                    <a:cubicBezTo>
                      <a:pt x="51" y="105"/>
                      <a:pt x="51" y="105"/>
                      <a:pt x="51" y="105"/>
                    </a:cubicBezTo>
                    <a:cubicBezTo>
                      <a:pt x="74" y="104"/>
                      <a:pt x="83" y="97"/>
                      <a:pt x="84" y="96"/>
                    </a:cubicBezTo>
                    <a:cubicBezTo>
                      <a:pt x="85" y="95"/>
                      <a:pt x="86" y="94"/>
                      <a:pt x="85" y="92"/>
                    </a:cubicBezTo>
                    <a:cubicBezTo>
                      <a:pt x="85" y="91"/>
                      <a:pt x="84" y="89"/>
                      <a:pt x="83" y="89"/>
                    </a:cubicBezTo>
                    <a:cubicBezTo>
                      <a:pt x="78" y="86"/>
                      <a:pt x="73" y="65"/>
                      <a:pt x="72" y="47"/>
                    </a:cubicBezTo>
                    <a:cubicBezTo>
                      <a:pt x="72" y="34"/>
                      <a:pt x="67" y="21"/>
                      <a:pt x="57" y="12"/>
                    </a:cubicBezTo>
                    <a:cubicBezTo>
                      <a:pt x="54" y="8"/>
                      <a:pt x="49" y="5"/>
                      <a:pt x="43" y="3"/>
                    </a:cubicBezTo>
                    <a:cubicBezTo>
                      <a:pt x="33" y="0"/>
                      <a:pt x="22" y="0"/>
                      <a:pt x="13" y="4"/>
                    </a:cubicBezTo>
                    <a:cubicBezTo>
                      <a:pt x="9" y="5"/>
                      <a:pt x="5" y="7"/>
                      <a:pt x="2" y="9"/>
                    </a:cubicBezTo>
                    <a:cubicBezTo>
                      <a:pt x="0" y="11"/>
                      <a:pt x="0" y="14"/>
                      <a:pt x="2" y="16"/>
                    </a:cubicBezTo>
                    <a:cubicBezTo>
                      <a:pt x="3" y="18"/>
                      <a:pt x="6" y="18"/>
                      <a:pt x="8" y="17"/>
                    </a:cubicBezTo>
                    <a:cubicBezTo>
                      <a:pt x="10" y="15"/>
                      <a:pt x="13" y="14"/>
                      <a:pt x="16" y="13"/>
                    </a:cubicBezTo>
                    <a:cubicBezTo>
                      <a:pt x="24" y="10"/>
                      <a:pt x="31" y="9"/>
                      <a:pt x="40" y="12"/>
                    </a:cubicBezTo>
                    <a:cubicBezTo>
                      <a:pt x="44" y="14"/>
                      <a:pt x="48" y="16"/>
                      <a:pt x="50" y="19"/>
                    </a:cubicBezTo>
                    <a:cubicBezTo>
                      <a:pt x="50" y="19"/>
                      <a:pt x="50" y="19"/>
                      <a:pt x="51" y="19"/>
                    </a:cubicBezTo>
                    <a:cubicBezTo>
                      <a:pt x="58" y="26"/>
                      <a:pt x="62" y="36"/>
                      <a:pt x="62" y="47"/>
                    </a:cubicBezTo>
                    <a:cubicBezTo>
                      <a:pt x="63" y="55"/>
                      <a:pt x="66" y="80"/>
                      <a:pt x="73" y="91"/>
                    </a:cubicBezTo>
                    <a:cubicBezTo>
                      <a:pt x="68" y="93"/>
                      <a:pt x="60" y="96"/>
                      <a:pt x="47" y="96"/>
                    </a:cubicBezTo>
                    <a:cubicBezTo>
                      <a:pt x="44" y="96"/>
                      <a:pt x="42" y="98"/>
                      <a:pt x="42" y="101"/>
                    </a:cubicBezTo>
                    <a:cubicBezTo>
                      <a:pt x="42" y="112"/>
                      <a:pt x="42" y="112"/>
                      <a:pt x="42" y="112"/>
                    </a:cubicBezTo>
                    <a:cubicBezTo>
                      <a:pt x="42" y="112"/>
                      <a:pt x="42" y="113"/>
                      <a:pt x="42" y="113"/>
                    </a:cubicBezTo>
                    <a:cubicBezTo>
                      <a:pt x="44" y="120"/>
                      <a:pt x="53" y="122"/>
                      <a:pt x="67" y="124"/>
                    </a:cubicBezTo>
                    <a:cubicBezTo>
                      <a:pt x="76" y="126"/>
                      <a:pt x="88" y="128"/>
                      <a:pt x="99" y="132"/>
                    </a:cubicBezTo>
                    <a:cubicBezTo>
                      <a:pt x="99" y="132"/>
                      <a:pt x="99" y="133"/>
                      <a:pt x="99" y="133"/>
                    </a:cubicBezTo>
                    <a:cubicBezTo>
                      <a:pt x="99" y="152"/>
                      <a:pt x="99" y="152"/>
                      <a:pt x="99" y="152"/>
                    </a:cubicBezTo>
                    <a:cubicBezTo>
                      <a:pt x="99" y="152"/>
                      <a:pt x="99" y="153"/>
                      <a:pt x="98" y="153"/>
                    </a:cubicBezTo>
                    <a:cubicBezTo>
                      <a:pt x="57" y="153"/>
                      <a:pt x="57" y="153"/>
                      <a:pt x="57" y="153"/>
                    </a:cubicBezTo>
                    <a:cubicBezTo>
                      <a:pt x="55" y="153"/>
                      <a:pt x="53" y="155"/>
                      <a:pt x="53" y="158"/>
                    </a:cubicBezTo>
                    <a:cubicBezTo>
                      <a:pt x="53" y="160"/>
                      <a:pt x="55" y="162"/>
                      <a:pt x="57" y="162"/>
                    </a:cubicBezTo>
                    <a:cubicBezTo>
                      <a:pt x="98" y="162"/>
                      <a:pt x="98" y="162"/>
                      <a:pt x="98" y="162"/>
                    </a:cubicBezTo>
                    <a:cubicBezTo>
                      <a:pt x="104" y="162"/>
                      <a:pt x="109" y="158"/>
                      <a:pt x="109" y="152"/>
                    </a:cubicBezTo>
                    <a:cubicBezTo>
                      <a:pt x="109" y="133"/>
                      <a:pt x="109" y="133"/>
                      <a:pt x="109" y="133"/>
                    </a:cubicBezTo>
                    <a:cubicBezTo>
                      <a:pt x="109" y="129"/>
                      <a:pt x="106" y="125"/>
                      <a:pt x="102" y="12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grpSp>
      </p:grpSp>
      <p:sp>
        <p:nvSpPr>
          <p:cNvPr id="30" name="TextBox 29">
            <a:extLst>
              <a:ext uri="{FF2B5EF4-FFF2-40B4-BE49-F238E27FC236}">
                <a16:creationId xmlns:a16="http://schemas.microsoft.com/office/drawing/2014/main" id="{CC653D02-D8A7-4F2D-85FE-CA72A2D70751}"/>
              </a:ext>
            </a:extLst>
          </p:cNvPr>
          <p:cNvSpPr txBox="1"/>
          <p:nvPr/>
        </p:nvSpPr>
        <p:spPr>
          <a:xfrm>
            <a:off x="1892416" y="4177127"/>
            <a:ext cx="133003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Client Fans</a:t>
            </a:r>
          </a:p>
        </p:txBody>
      </p:sp>
      <p:grpSp>
        <p:nvGrpSpPr>
          <p:cNvPr id="31" name="Group 30">
            <a:extLst>
              <a:ext uri="{FF2B5EF4-FFF2-40B4-BE49-F238E27FC236}">
                <a16:creationId xmlns:a16="http://schemas.microsoft.com/office/drawing/2014/main" id="{507276A9-23BC-4033-8EE6-FD6C0DDB03F6}"/>
              </a:ext>
            </a:extLst>
          </p:cNvPr>
          <p:cNvGrpSpPr/>
          <p:nvPr/>
        </p:nvGrpSpPr>
        <p:grpSpPr>
          <a:xfrm>
            <a:off x="4620554" y="3730068"/>
            <a:ext cx="219025" cy="377331"/>
            <a:chOff x="12606338" y="3622675"/>
            <a:chExt cx="320675" cy="552450"/>
          </a:xfrm>
          <a:solidFill>
            <a:schemeClr val="bg1">
              <a:lumMod val="50000"/>
            </a:schemeClr>
          </a:solidFill>
        </p:grpSpPr>
        <p:sp>
          <p:nvSpPr>
            <p:cNvPr id="32" name="Freeform 580">
              <a:extLst>
                <a:ext uri="{FF2B5EF4-FFF2-40B4-BE49-F238E27FC236}">
                  <a16:creationId xmlns:a16="http://schemas.microsoft.com/office/drawing/2014/main" id="{532A67E3-12A0-4256-BBF2-406571F09077}"/>
                </a:ext>
              </a:extLst>
            </p:cNvPr>
            <p:cNvSpPr>
              <a:spLocks noEditPoints="1"/>
            </p:cNvSpPr>
            <p:nvPr/>
          </p:nvSpPr>
          <p:spPr bwMode="auto">
            <a:xfrm>
              <a:off x="12606338" y="3622675"/>
              <a:ext cx="320675" cy="552450"/>
            </a:xfrm>
            <a:custGeom>
              <a:avLst/>
              <a:gdLst>
                <a:gd name="T0" fmla="*/ 118 w 144"/>
                <a:gd name="T1" fmla="*/ 0 h 247"/>
                <a:gd name="T2" fmla="*/ 26 w 144"/>
                <a:gd name="T3" fmla="*/ 0 h 247"/>
                <a:gd name="T4" fmla="*/ 0 w 144"/>
                <a:gd name="T5" fmla="*/ 26 h 247"/>
                <a:gd name="T6" fmla="*/ 0 w 144"/>
                <a:gd name="T7" fmla="*/ 34 h 247"/>
                <a:gd name="T8" fmla="*/ 0 w 144"/>
                <a:gd name="T9" fmla="*/ 200 h 247"/>
                <a:gd name="T10" fmla="*/ 0 w 144"/>
                <a:gd name="T11" fmla="*/ 221 h 247"/>
                <a:gd name="T12" fmla="*/ 26 w 144"/>
                <a:gd name="T13" fmla="*/ 247 h 247"/>
                <a:gd name="T14" fmla="*/ 118 w 144"/>
                <a:gd name="T15" fmla="*/ 247 h 247"/>
                <a:gd name="T16" fmla="*/ 144 w 144"/>
                <a:gd name="T17" fmla="*/ 221 h 247"/>
                <a:gd name="T18" fmla="*/ 144 w 144"/>
                <a:gd name="T19" fmla="*/ 200 h 247"/>
                <a:gd name="T20" fmla="*/ 144 w 144"/>
                <a:gd name="T21" fmla="*/ 34 h 247"/>
                <a:gd name="T22" fmla="*/ 144 w 144"/>
                <a:gd name="T23" fmla="*/ 26 h 247"/>
                <a:gd name="T24" fmla="*/ 118 w 144"/>
                <a:gd name="T25" fmla="*/ 0 h 247"/>
                <a:gd name="T26" fmla="*/ 10 w 144"/>
                <a:gd name="T27" fmla="*/ 44 h 247"/>
                <a:gd name="T28" fmla="*/ 134 w 144"/>
                <a:gd name="T29" fmla="*/ 44 h 247"/>
                <a:gd name="T30" fmla="*/ 134 w 144"/>
                <a:gd name="T31" fmla="*/ 190 h 247"/>
                <a:gd name="T32" fmla="*/ 10 w 144"/>
                <a:gd name="T33" fmla="*/ 190 h 247"/>
                <a:gd name="T34" fmla="*/ 10 w 144"/>
                <a:gd name="T35" fmla="*/ 44 h 247"/>
                <a:gd name="T36" fmla="*/ 134 w 144"/>
                <a:gd name="T37" fmla="*/ 221 h 247"/>
                <a:gd name="T38" fmla="*/ 118 w 144"/>
                <a:gd name="T39" fmla="*/ 237 h 247"/>
                <a:gd name="T40" fmla="*/ 26 w 144"/>
                <a:gd name="T41" fmla="*/ 237 h 247"/>
                <a:gd name="T42" fmla="*/ 10 w 144"/>
                <a:gd name="T43" fmla="*/ 221 h 247"/>
                <a:gd name="T44" fmla="*/ 10 w 144"/>
                <a:gd name="T45" fmla="*/ 200 h 247"/>
                <a:gd name="T46" fmla="*/ 134 w 144"/>
                <a:gd name="T47" fmla="*/ 200 h 247"/>
                <a:gd name="T48" fmla="*/ 134 w 144"/>
                <a:gd name="T49" fmla="*/ 221 h 247"/>
                <a:gd name="T50" fmla="*/ 10 w 144"/>
                <a:gd name="T51" fmla="*/ 34 h 247"/>
                <a:gd name="T52" fmla="*/ 10 w 144"/>
                <a:gd name="T53" fmla="*/ 26 h 247"/>
                <a:gd name="T54" fmla="*/ 26 w 144"/>
                <a:gd name="T55" fmla="*/ 10 h 247"/>
                <a:gd name="T56" fmla="*/ 118 w 144"/>
                <a:gd name="T57" fmla="*/ 10 h 247"/>
                <a:gd name="T58" fmla="*/ 134 w 144"/>
                <a:gd name="T59" fmla="*/ 26 h 247"/>
                <a:gd name="T60" fmla="*/ 134 w 144"/>
                <a:gd name="T61" fmla="*/ 34 h 247"/>
                <a:gd name="T62" fmla="*/ 10 w 144"/>
                <a:gd name="T63" fmla="*/ 34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4" h="247">
                  <a:moveTo>
                    <a:pt x="118" y="0"/>
                  </a:moveTo>
                  <a:cubicBezTo>
                    <a:pt x="26" y="0"/>
                    <a:pt x="26" y="0"/>
                    <a:pt x="26" y="0"/>
                  </a:cubicBezTo>
                  <a:cubicBezTo>
                    <a:pt x="12" y="0"/>
                    <a:pt x="0" y="12"/>
                    <a:pt x="0" y="26"/>
                  </a:cubicBezTo>
                  <a:cubicBezTo>
                    <a:pt x="0" y="34"/>
                    <a:pt x="0" y="34"/>
                    <a:pt x="0" y="34"/>
                  </a:cubicBezTo>
                  <a:cubicBezTo>
                    <a:pt x="0" y="200"/>
                    <a:pt x="0" y="200"/>
                    <a:pt x="0" y="200"/>
                  </a:cubicBezTo>
                  <a:cubicBezTo>
                    <a:pt x="0" y="221"/>
                    <a:pt x="0" y="221"/>
                    <a:pt x="0" y="221"/>
                  </a:cubicBezTo>
                  <a:cubicBezTo>
                    <a:pt x="0" y="236"/>
                    <a:pt x="12" y="247"/>
                    <a:pt x="26" y="247"/>
                  </a:cubicBezTo>
                  <a:cubicBezTo>
                    <a:pt x="118" y="247"/>
                    <a:pt x="118" y="247"/>
                    <a:pt x="118" y="247"/>
                  </a:cubicBezTo>
                  <a:cubicBezTo>
                    <a:pt x="132" y="247"/>
                    <a:pt x="144" y="236"/>
                    <a:pt x="144" y="221"/>
                  </a:cubicBezTo>
                  <a:cubicBezTo>
                    <a:pt x="144" y="200"/>
                    <a:pt x="144" y="200"/>
                    <a:pt x="144" y="200"/>
                  </a:cubicBezTo>
                  <a:cubicBezTo>
                    <a:pt x="144" y="34"/>
                    <a:pt x="144" y="34"/>
                    <a:pt x="144" y="34"/>
                  </a:cubicBezTo>
                  <a:cubicBezTo>
                    <a:pt x="144" y="26"/>
                    <a:pt x="144" y="26"/>
                    <a:pt x="144" y="26"/>
                  </a:cubicBezTo>
                  <a:cubicBezTo>
                    <a:pt x="144" y="12"/>
                    <a:pt x="132" y="0"/>
                    <a:pt x="118" y="0"/>
                  </a:cubicBezTo>
                  <a:close/>
                  <a:moveTo>
                    <a:pt x="10" y="44"/>
                  </a:moveTo>
                  <a:cubicBezTo>
                    <a:pt x="134" y="44"/>
                    <a:pt x="134" y="44"/>
                    <a:pt x="134" y="44"/>
                  </a:cubicBezTo>
                  <a:cubicBezTo>
                    <a:pt x="134" y="190"/>
                    <a:pt x="134" y="190"/>
                    <a:pt x="134" y="190"/>
                  </a:cubicBezTo>
                  <a:cubicBezTo>
                    <a:pt x="10" y="190"/>
                    <a:pt x="10" y="190"/>
                    <a:pt x="10" y="190"/>
                  </a:cubicBezTo>
                  <a:lnTo>
                    <a:pt x="10" y="44"/>
                  </a:lnTo>
                  <a:close/>
                  <a:moveTo>
                    <a:pt x="134" y="221"/>
                  </a:moveTo>
                  <a:cubicBezTo>
                    <a:pt x="134" y="230"/>
                    <a:pt x="127" y="237"/>
                    <a:pt x="118" y="237"/>
                  </a:cubicBezTo>
                  <a:cubicBezTo>
                    <a:pt x="26" y="237"/>
                    <a:pt x="26" y="237"/>
                    <a:pt x="26" y="237"/>
                  </a:cubicBezTo>
                  <a:cubicBezTo>
                    <a:pt x="17" y="237"/>
                    <a:pt x="10" y="230"/>
                    <a:pt x="10" y="221"/>
                  </a:cubicBezTo>
                  <a:cubicBezTo>
                    <a:pt x="10" y="200"/>
                    <a:pt x="10" y="200"/>
                    <a:pt x="10" y="200"/>
                  </a:cubicBezTo>
                  <a:cubicBezTo>
                    <a:pt x="134" y="200"/>
                    <a:pt x="134" y="200"/>
                    <a:pt x="134" y="200"/>
                  </a:cubicBezTo>
                  <a:lnTo>
                    <a:pt x="134" y="221"/>
                  </a:lnTo>
                  <a:close/>
                  <a:moveTo>
                    <a:pt x="10" y="34"/>
                  </a:moveTo>
                  <a:cubicBezTo>
                    <a:pt x="10" y="26"/>
                    <a:pt x="10" y="26"/>
                    <a:pt x="10" y="26"/>
                  </a:cubicBezTo>
                  <a:cubicBezTo>
                    <a:pt x="10" y="17"/>
                    <a:pt x="17" y="10"/>
                    <a:pt x="26" y="10"/>
                  </a:cubicBezTo>
                  <a:cubicBezTo>
                    <a:pt x="118" y="10"/>
                    <a:pt x="118" y="10"/>
                    <a:pt x="118" y="10"/>
                  </a:cubicBezTo>
                  <a:cubicBezTo>
                    <a:pt x="127" y="10"/>
                    <a:pt x="134" y="17"/>
                    <a:pt x="134" y="26"/>
                  </a:cubicBezTo>
                  <a:cubicBezTo>
                    <a:pt x="134" y="34"/>
                    <a:pt x="134" y="34"/>
                    <a:pt x="134" y="34"/>
                  </a:cubicBezTo>
                  <a:lnTo>
                    <a:pt x="10" y="34"/>
                  </a:lnTo>
                  <a:close/>
                </a:path>
              </a:pathLst>
            </a:custGeom>
            <a:grpFill/>
            <a:ln>
              <a:solidFill>
                <a:schemeClr val="bg1">
                  <a:lumMod val="50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3" name="Freeform 581">
              <a:extLst>
                <a:ext uri="{FF2B5EF4-FFF2-40B4-BE49-F238E27FC236}">
                  <a16:creationId xmlns:a16="http://schemas.microsoft.com/office/drawing/2014/main" id="{17366C3B-DBBF-444C-AE69-F09B7F68B7AC}"/>
                </a:ext>
              </a:extLst>
            </p:cNvPr>
            <p:cNvSpPr>
              <a:spLocks noEditPoints="1"/>
            </p:cNvSpPr>
            <p:nvPr/>
          </p:nvSpPr>
          <p:spPr bwMode="auto">
            <a:xfrm>
              <a:off x="12738100" y="4081463"/>
              <a:ext cx="57150" cy="55562"/>
            </a:xfrm>
            <a:custGeom>
              <a:avLst/>
              <a:gdLst>
                <a:gd name="T0" fmla="*/ 13 w 26"/>
                <a:gd name="T1" fmla="*/ 25 h 25"/>
                <a:gd name="T2" fmla="*/ 26 w 26"/>
                <a:gd name="T3" fmla="*/ 13 h 25"/>
                <a:gd name="T4" fmla="*/ 13 w 26"/>
                <a:gd name="T5" fmla="*/ 0 h 25"/>
                <a:gd name="T6" fmla="*/ 0 w 26"/>
                <a:gd name="T7" fmla="*/ 13 h 25"/>
                <a:gd name="T8" fmla="*/ 13 w 26"/>
                <a:gd name="T9" fmla="*/ 25 h 25"/>
                <a:gd name="T10" fmla="*/ 13 w 26"/>
                <a:gd name="T11" fmla="*/ 10 h 25"/>
                <a:gd name="T12" fmla="*/ 16 w 26"/>
                <a:gd name="T13" fmla="*/ 13 h 25"/>
                <a:gd name="T14" fmla="*/ 13 w 26"/>
                <a:gd name="T15" fmla="*/ 16 h 25"/>
                <a:gd name="T16" fmla="*/ 10 w 26"/>
                <a:gd name="T17" fmla="*/ 13 h 25"/>
                <a:gd name="T18" fmla="*/ 13 w 26"/>
                <a:gd name="T19"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5">
                  <a:moveTo>
                    <a:pt x="13" y="25"/>
                  </a:moveTo>
                  <a:cubicBezTo>
                    <a:pt x="20" y="25"/>
                    <a:pt x="26" y="20"/>
                    <a:pt x="26" y="13"/>
                  </a:cubicBezTo>
                  <a:cubicBezTo>
                    <a:pt x="26" y="6"/>
                    <a:pt x="20" y="0"/>
                    <a:pt x="13" y="0"/>
                  </a:cubicBezTo>
                  <a:cubicBezTo>
                    <a:pt x="6" y="0"/>
                    <a:pt x="0" y="6"/>
                    <a:pt x="0" y="13"/>
                  </a:cubicBezTo>
                  <a:cubicBezTo>
                    <a:pt x="0" y="20"/>
                    <a:pt x="6" y="25"/>
                    <a:pt x="13" y="25"/>
                  </a:cubicBezTo>
                  <a:close/>
                  <a:moveTo>
                    <a:pt x="13" y="10"/>
                  </a:moveTo>
                  <a:cubicBezTo>
                    <a:pt x="14" y="10"/>
                    <a:pt x="16" y="11"/>
                    <a:pt x="16" y="13"/>
                  </a:cubicBezTo>
                  <a:cubicBezTo>
                    <a:pt x="16" y="14"/>
                    <a:pt x="14" y="16"/>
                    <a:pt x="13" y="16"/>
                  </a:cubicBezTo>
                  <a:cubicBezTo>
                    <a:pt x="12" y="16"/>
                    <a:pt x="10" y="14"/>
                    <a:pt x="10" y="13"/>
                  </a:cubicBezTo>
                  <a:cubicBezTo>
                    <a:pt x="10" y="11"/>
                    <a:pt x="12" y="10"/>
                    <a:pt x="13" y="10"/>
                  </a:cubicBezTo>
                  <a:close/>
                </a:path>
              </a:pathLst>
            </a:custGeom>
            <a:grpFill/>
            <a:ln>
              <a:solidFill>
                <a:schemeClr val="bg1">
                  <a:lumMod val="50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grpSp>
      <p:grpSp>
        <p:nvGrpSpPr>
          <p:cNvPr id="34" name="Group 33">
            <a:extLst>
              <a:ext uri="{FF2B5EF4-FFF2-40B4-BE49-F238E27FC236}">
                <a16:creationId xmlns:a16="http://schemas.microsoft.com/office/drawing/2014/main" id="{5554A6E7-19B5-4646-B4C2-6BCE5F9A98E9}"/>
              </a:ext>
            </a:extLst>
          </p:cNvPr>
          <p:cNvGrpSpPr/>
          <p:nvPr/>
        </p:nvGrpSpPr>
        <p:grpSpPr>
          <a:xfrm>
            <a:off x="4613506" y="4560639"/>
            <a:ext cx="233121" cy="401185"/>
            <a:chOff x="1811338" y="5376863"/>
            <a:chExt cx="341312" cy="587375"/>
          </a:xfrm>
          <a:solidFill>
            <a:schemeClr val="bg1">
              <a:lumMod val="50000"/>
            </a:schemeClr>
          </a:solidFill>
        </p:grpSpPr>
        <p:sp>
          <p:nvSpPr>
            <p:cNvPr id="35" name="Freeform 142">
              <a:extLst>
                <a:ext uri="{FF2B5EF4-FFF2-40B4-BE49-F238E27FC236}">
                  <a16:creationId xmlns:a16="http://schemas.microsoft.com/office/drawing/2014/main" id="{C7803D90-19E8-4E19-88AC-680E5B86EA8E}"/>
                </a:ext>
              </a:extLst>
            </p:cNvPr>
            <p:cNvSpPr>
              <a:spLocks noEditPoints="1"/>
            </p:cNvSpPr>
            <p:nvPr/>
          </p:nvSpPr>
          <p:spPr bwMode="auto">
            <a:xfrm>
              <a:off x="1922463" y="5514976"/>
              <a:ext cx="115887" cy="187325"/>
            </a:xfrm>
            <a:custGeom>
              <a:avLst/>
              <a:gdLst>
                <a:gd name="T0" fmla="*/ 2 w 48"/>
                <a:gd name="T1" fmla="*/ 61 h 78"/>
                <a:gd name="T2" fmla="*/ 21 w 48"/>
                <a:gd name="T3" fmla="*/ 68 h 78"/>
                <a:gd name="T4" fmla="*/ 21 w 48"/>
                <a:gd name="T5" fmla="*/ 74 h 78"/>
                <a:gd name="T6" fmla="*/ 25 w 48"/>
                <a:gd name="T7" fmla="*/ 78 h 78"/>
                <a:gd name="T8" fmla="*/ 29 w 48"/>
                <a:gd name="T9" fmla="*/ 74 h 78"/>
                <a:gd name="T10" fmla="*/ 29 w 48"/>
                <a:gd name="T11" fmla="*/ 69 h 78"/>
                <a:gd name="T12" fmla="*/ 48 w 48"/>
                <a:gd name="T13" fmla="*/ 51 h 78"/>
                <a:gd name="T14" fmla="*/ 28 w 48"/>
                <a:gd name="T15" fmla="*/ 32 h 78"/>
                <a:gd name="T16" fmla="*/ 28 w 48"/>
                <a:gd name="T17" fmla="*/ 15 h 78"/>
                <a:gd name="T18" fmla="*/ 38 w 48"/>
                <a:gd name="T19" fmla="*/ 19 h 78"/>
                <a:gd name="T20" fmla="*/ 40 w 48"/>
                <a:gd name="T21" fmla="*/ 20 h 78"/>
                <a:gd name="T22" fmla="*/ 45 w 48"/>
                <a:gd name="T23" fmla="*/ 15 h 78"/>
                <a:gd name="T24" fmla="*/ 43 w 48"/>
                <a:gd name="T25" fmla="*/ 11 h 78"/>
                <a:gd name="T26" fmla="*/ 29 w 48"/>
                <a:gd name="T27" fmla="*/ 6 h 78"/>
                <a:gd name="T28" fmla="*/ 29 w 48"/>
                <a:gd name="T29" fmla="*/ 4 h 78"/>
                <a:gd name="T30" fmla="*/ 25 w 48"/>
                <a:gd name="T31" fmla="*/ 0 h 78"/>
                <a:gd name="T32" fmla="*/ 21 w 48"/>
                <a:gd name="T33" fmla="*/ 4 h 78"/>
                <a:gd name="T34" fmla="*/ 21 w 48"/>
                <a:gd name="T35" fmla="*/ 6 h 78"/>
                <a:gd name="T36" fmla="*/ 2 w 48"/>
                <a:gd name="T37" fmla="*/ 23 h 78"/>
                <a:gd name="T38" fmla="*/ 21 w 48"/>
                <a:gd name="T39" fmla="*/ 41 h 78"/>
                <a:gd name="T40" fmla="*/ 21 w 48"/>
                <a:gd name="T41" fmla="*/ 59 h 78"/>
                <a:gd name="T42" fmla="*/ 8 w 48"/>
                <a:gd name="T43" fmla="*/ 53 h 78"/>
                <a:gd name="T44" fmla="*/ 5 w 48"/>
                <a:gd name="T45" fmla="*/ 52 h 78"/>
                <a:gd name="T46" fmla="*/ 0 w 48"/>
                <a:gd name="T47" fmla="*/ 57 h 78"/>
                <a:gd name="T48" fmla="*/ 2 w 48"/>
                <a:gd name="T49" fmla="*/ 61 h 78"/>
                <a:gd name="T50" fmla="*/ 28 w 48"/>
                <a:gd name="T51" fmla="*/ 43 h 78"/>
                <a:gd name="T52" fmla="*/ 37 w 48"/>
                <a:gd name="T53" fmla="*/ 52 h 78"/>
                <a:gd name="T54" fmla="*/ 28 w 48"/>
                <a:gd name="T55" fmla="*/ 59 h 78"/>
                <a:gd name="T56" fmla="*/ 28 w 48"/>
                <a:gd name="T57" fmla="*/ 43 h 78"/>
                <a:gd name="T58" fmla="*/ 13 w 48"/>
                <a:gd name="T59" fmla="*/ 22 h 78"/>
                <a:gd name="T60" fmla="*/ 21 w 48"/>
                <a:gd name="T61" fmla="*/ 15 h 78"/>
                <a:gd name="T62" fmla="*/ 21 w 48"/>
                <a:gd name="T63" fmla="*/ 31 h 78"/>
                <a:gd name="T64" fmla="*/ 13 w 48"/>
                <a:gd name="T65" fmla="*/ 2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 h="78">
                  <a:moveTo>
                    <a:pt x="2" y="61"/>
                  </a:moveTo>
                  <a:cubicBezTo>
                    <a:pt x="8" y="65"/>
                    <a:pt x="14" y="68"/>
                    <a:pt x="21" y="68"/>
                  </a:cubicBezTo>
                  <a:cubicBezTo>
                    <a:pt x="21" y="74"/>
                    <a:pt x="21" y="74"/>
                    <a:pt x="21" y="74"/>
                  </a:cubicBezTo>
                  <a:cubicBezTo>
                    <a:pt x="21" y="76"/>
                    <a:pt x="23" y="78"/>
                    <a:pt x="25" y="78"/>
                  </a:cubicBezTo>
                  <a:cubicBezTo>
                    <a:pt x="27" y="78"/>
                    <a:pt x="29" y="76"/>
                    <a:pt x="29" y="74"/>
                  </a:cubicBezTo>
                  <a:cubicBezTo>
                    <a:pt x="29" y="69"/>
                    <a:pt x="29" y="69"/>
                    <a:pt x="29" y="69"/>
                  </a:cubicBezTo>
                  <a:cubicBezTo>
                    <a:pt x="40" y="67"/>
                    <a:pt x="48" y="61"/>
                    <a:pt x="48" y="51"/>
                  </a:cubicBezTo>
                  <a:cubicBezTo>
                    <a:pt x="48" y="41"/>
                    <a:pt x="42" y="36"/>
                    <a:pt x="28" y="32"/>
                  </a:cubicBezTo>
                  <a:cubicBezTo>
                    <a:pt x="28" y="15"/>
                    <a:pt x="28" y="15"/>
                    <a:pt x="28" y="15"/>
                  </a:cubicBezTo>
                  <a:cubicBezTo>
                    <a:pt x="31" y="16"/>
                    <a:pt x="34" y="17"/>
                    <a:pt x="38" y="19"/>
                  </a:cubicBezTo>
                  <a:cubicBezTo>
                    <a:pt x="38" y="20"/>
                    <a:pt x="39" y="20"/>
                    <a:pt x="40" y="20"/>
                  </a:cubicBezTo>
                  <a:cubicBezTo>
                    <a:pt x="43" y="20"/>
                    <a:pt x="45" y="18"/>
                    <a:pt x="45" y="15"/>
                  </a:cubicBezTo>
                  <a:cubicBezTo>
                    <a:pt x="45" y="13"/>
                    <a:pt x="44" y="12"/>
                    <a:pt x="43" y="11"/>
                  </a:cubicBezTo>
                  <a:cubicBezTo>
                    <a:pt x="38" y="8"/>
                    <a:pt x="34" y="6"/>
                    <a:pt x="29" y="6"/>
                  </a:cubicBezTo>
                  <a:cubicBezTo>
                    <a:pt x="29" y="4"/>
                    <a:pt x="29" y="4"/>
                    <a:pt x="29" y="4"/>
                  </a:cubicBezTo>
                  <a:cubicBezTo>
                    <a:pt x="29" y="2"/>
                    <a:pt x="27" y="0"/>
                    <a:pt x="25" y="0"/>
                  </a:cubicBezTo>
                  <a:cubicBezTo>
                    <a:pt x="23" y="0"/>
                    <a:pt x="21" y="2"/>
                    <a:pt x="21" y="4"/>
                  </a:cubicBezTo>
                  <a:cubicBezTo>
                    <a:pt x="21" y="6"/>
                    <a:pt x="21" y="6"/>
                    <a:pt x="21" y="6"/>
                  </a:cubicBezTo>
                  <a:cubicBezTo>
                    <a:pt x="10" y="7"/>
                    <a:pt x="2" y="13"/>
                    <a:pt x="2" y="23"/>
                  </a:cubicBezTo>
                  <a:cubicBezTo>
                    <a:pt x="2" y="33"/>
                    <a:pt x="8" y="38"/>
                    <a:pt x="21" y="41"/>
                  </a:cubicBezTo>
                  <a:cubicBezTo>
                    <a:pt x="21" y="59"/>
                    <a:pt x="21" y="59"/>
                    <a:pt x="21" y="59"/>
                  </a:cubicBezTo>
                  <a:cubicBezTo>
                    <a:pt x="16" y="58"/>
                    <a:pt x="12" y="56"/>
                    <a:pt x="8" y="53"/>
                  </a:cubicBezTo>
                  <a:cubicBezTo>
                    <a:pt x="7" y="52"/>
                    <a:pt x="6" y="52"/>
                    <a:pt x="5" y="52"/>
                  </a:cubicBezTo>
                  <a:cubicBezTo>
                    <a:pt x="2" y="52"/>
                    <a:pt x="0" y="54"/>
                    <a:pt x="0" y="57"/>
                  </a:cubicBezTo>
                  <a:cubicBezTo>
                    <a:pt x="0" y="59"/>
                    <a:pt x="1" y="60"/>
                    <a:pt x="2" y="61"/>
                  </a:cubicBezTo>
                  <a:close/>
                  <a:moveTo>
                    <a:pt x="28" y="43"/>
                  </a:moveTo>
                  <a:cubicBezTo>
                    <a:pt x="35" y="45"/>
                    <a:pt x="37" y="48"/>
                    <a:pt x="37" y="52"/>
                  </a:cubicBezTo>
                  <a:cubicBezTo>
                    <a:pt x="37" y="56"/>
                    <a:pt x="34" y="59"/>
                    <a:pt x="28" y="59"/>
                  </a:cubicBezTo>
                  <a:lnTo>
                    <a:pt x="28" y="43"/>
                  </a:lnTo>
                  <a:close/>
                  <a:moveTo>
                    <a:pt x="13" y="22"/>
                  </a:moveTo>
                  <a:cubicBezTo>
                    <a:pt x="13" y="18"/>
                    <a:pt x="15" y="15"/>
                    <a:pt x="21" y="15"/>
                  </a:cubicBezTo>
                  <a:cubicBezTo>
                    <a:pt x="21" y="31"/>
                    <a:pt x="21" y="31"/>
                    <a:pt x="21" y="31"/>
                  </a:cubicBezTo>
                  <a:cubicBezTo>
                    <a:pt x="14" y="28"/>
                    <a:pt x="13" y="26"/>
                    <a:pt x="13" y="22"/>
                  </a:cubicBezTo>
                  <a:close/>
                </a:path>
              </a:pathLst>
            </a:custGeom>
            <a:grpFill/>
            <a:ln>
              <a:solidFill>
                <a:schemeClr val="bg1">
                  <a:lumMod val="50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6" name="Freeform 143">
              <a:extLst>
                <a:ext uri="{FF2B5EF4-FFF2-40B4-BE49-F238E27FC236}">
                  <a16:creationId xmlns:a16="http://schemas.microsoft.com/office/drawing/2014/main" id="{E212A779-557D-4B84-9AB5-588959012038}"/>
                </a:ext>
              </a:extLst>
            </p:cNvPr>
            <p:cNvSpPr>
              <a:spLocks noEditPoints="1"/>
            </p:cNvSpPr>
            <p:nvPr/>
          </p:nvSpPr>
          <p:spPr bwMode="auto">
            <a:xfrm>
              <a:off x="1811338" y="5376863"/>
              <a:ext cx="341312" cy="587375"/>
            </a:xfrm>
            <a:custGeom>
              <a:avLst/>
              <a:gdLst>
                <a:gd name="T0" fmla="*/ 139 w 141"/>
                <a:gd name="T1" fmla="*/ 21 h 243"/>
                <a:gd name="T2" fmla="*/ 117 w 141"/>
                <a:gd name="T3" fmla="*/ 2 h 243"/>
                <a:gd name="T4" fmla="*/ 111 w 141"/>
                <a:gd name="T5" fmla="*/ 2 h 243"/>
                <a:gd name="T6" fmla="*/ 92 w 141"/>
                <a:gd name="T7" fmla="*/ 18 h 243"/>
                <a:gd name="T8" fmla="*/ 74 w 141"/>
                <a:gd name="T9" fmla="*/ 2 h 243"/>
                <a:gd name="T10" fmla="*/ 67 w 141"/>
                <a:gd name="T11" fmla="*/ 2 h 243"/>
                <a:gd name="T12" fmla="*/ 49 w 141"/>
                <a:gd name="T13" fmla="*/ 18 h 243"/>
                <a:gd name="T14" fmla="*/ 30 w 141"/>
                <a:gd name="T15" fmla="*/ 2 h 243"/>
                <a:gd name="T16" fmla="*/ 24 w 141"/>
                <a:gd name="T17" fmla="*/ 2 h 243"/>
                <a:gd name="T18" fmla="*/ 3 w 141"/>
                <a:gd name="T19" fmla="*/ 20 h 243"/>
                <a:gd name="T20" fmla="*/ 0 w 141"/>
                <a:gd name="T21" fmla="*/ 25 h 243"/>
                <a:gd name="T22" fmla="*/ 0 w 141"/>
                <a:gd name="T23" fmla="*/ 238 h 243"/>
                <a:gd name="T24" fmla="*/ 5 w 141"/>
                <a:gd name="T25" fmla="*/ 243 h 243"/>
                <a:gd name="T26" fmla="*/ 136 w 141"/>
                <a:gd name="T27" fmla="*/ 243 h 243"/>
                <a:gd name="T28" fmla="*/ 141 w 141"/>
                <a:gd name="T29" fmla="*/ 238 h 243"/>
                <a:gd name="T30" fmla="*/ 141 w 141"/>
                <a:gd name="T31" fmla="*/ 25 h 243"/>
                <a:gd name="T32" fmla="*/ 139 w 141"/>
                <a:gd name="T33" fmla="*/ 21 h 243"/>
                <a:gd name="T34" fmla="*/ 131 w 141"/>
                <a:gd name="T35" fmla="*/ 233 h 243"/>
                <a:gd name="T36" fmla="*/ 10 w 141"/>
                <a:gd name="T37" fmla="*/ 233 h 243"/>
                <a:gd name="T38" fmla="*/ 10 w 141"/>
                <a:gd name="T39" fmla="*/ 27 h 243"/>
                <a:gd name="T40" fmla="*/ 27 w 141"/>
                <a:gd name="T41" fmla="*/ 12 h 243"/>
                <a:gd name="T42" fmla="*/ 46 w 141"/>
                <a:gd name="T43" fmla="*/ 28 h 243"/>
                <a:gd name="T44" fmla="*/ 52 w 141"/>
                <a:gd name="T45" fmla="*/ 28 h 243"/>
                <a:gd name="T46" fmla="*/ 71 w 141"/>
                <a:gd name="T47" fmla="*/ 12 h 243"/>
                <a:gd name="T48" fmla="*/ 89 w 141"/>
                <a:gd name="T49" fmla="*/ 28 h 243"/>
                <a:gd name="T50" fmla="*/ 96 w 141"/>
                <a:gd name="T51" fmla="*/ 28 h 243"/>
                <a:gd name="T52" fmla="*/ 114 w 141"/>
                <a:gd name="T53" fmla="*/ 12 h 243"/>
                <a:gd name="T54" fmla="*/ 131 w 141"/>
                <a:gd name="T55" fmla="*/ 27 h 243"/>
                <a:gd name="T56" fmla="*/ 131 w 141"/>
                <a:gd name="T57" fmla="*/ 23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1" h="243">
                  <a:moveTo>
                    <a:pt x="139" y="21"/>
                  </a:moveTo>
                  <a:cubicBezTo>
                    <a:pt x="117" y="2"/>
                    <a:pt x="117" y="2"/>
                    <a:pt x="117" y="2"/>
                  </a:cubicBezTo>
                  <a:cubicBezTo>
                    <a:pt x="115" y="0"/>
                    <a:pt x="113" y="0"/>
                    <a:pt x="111" y="2"/>
                  </a:cubicBezTo>
                  <a:cubicBezTo>
                    <a:pt x="92" y="18"/>
                    <a:pt x="92" y="18"/>
                    <a:pt x="92" y="18"/>
                  </a:cubicBezTo>
                  <a:cubicBezTo>
                    <a:pt x="74" y="2"/>
                    <a:pt x="74" y="2"/>
                    <a:pt x="74" y="2"/>
                  </a:cubicBezTo>
                  <a:cubicBezTo>
                    <a:pt x="72" y="0"/>
                    <a:pt x="69" y="0"/>
                    <a:pt x="67" y="2"/>
                  </a:cubicBezTo>
                  <a:cubicBezTo>
                    <a:pt x="49" y="18"/>
                    <a:pt x="49" y="18"/>
                    <a:pt x="49" y="18"/>
                  </a:cubicBezTo>
                  <a:cubicBezTo>
                    <a:pt x="30" y="2"/>
                    <a:pt x="30" y="2"/>
                    <a:pt x="30" y="2"/>
                  </a:cubicBezTo>
                  <a:cubicBezTo>
                    <a:pt x="29" y="0"/>
                    <a:pt x="26" y="0"/>
                    <a:pt x="24" y="2"/>
                  </a:cubicBezTo>
                  <a:cubicBezTo>
                    <a:pt x="3" y="20"/>
                    <a:pt x="3" y="20"/>
                    <a:pt x="3" y="20"/>
                  </a:cubicBezTo>
                  <a:cubicBezTo>
                    <a:pt x="1" y="21"/>
                    <a:pt x="0" y="23"/>
                    <a:pt x="0" y="25"/>
                  </a:cubicBezTo>
                  <a:cubicBezTo>
                    <a:pt x="0" y="238"/>
                    <a:pt x="0" y="238"/>
                    <a:pt x="0" y="238"/>
                  </a:cubicBezTo>
                  <a:cubicBezTo>
                    <a:pt x="0" y="241"/>
                    <a:pt x="3" y="243"/>
                    <a:pt x="5" y="243"/>
                  </a:cubicBezTo>
                  <a:cubicBezTo>
                    <a:pt x="136" y="243"/>
                    <a:pt x="136" y="243"/>
                    <a:pt x="136" y="243"/>
                  </a:cubicBezTo>
                  <a:cubicBezTo>
                    <a:pt x="139" y="243"/>
                    <a:pt x="141" y="241"/>
                    <a:pt x="141" y="238"/>
                  </a:cubicBezTo>
                  <a:cubicBezTo>
                    <a:pt x="141" y="25"/>
                    <a:pt x="141" y="25"/>
                    <a:pt x="141" y="25"/>
                  </a:cubicBezTo>
                  <a:cubicBezTo>
                    <a:pt x="141" y="23"/>
                    <a:pt x="140" y="22"/>
                    <a:pt x="139" y="21"/>
                  </a:cubicBezTo>
                  <a:close/>
                  <a:moveTo>
                    <a:pt x="131" y="233"/>
                  </a:moveTo>
                  <a:cubicBezTo>
                    <a:pt x="10" y="233"/>
                    <a:pt x="10" y="233"/>
                    <a:pt x="10" y="233"/>
                  </a:cubicBezTo>
                  <a:cubicBezTo>
                    <a:pt x="10" y="27"/>
                    <a:pt x="10" y="27"/>
                    <a:pt x="10" y="27"/>
                  </a:cubicBezTo>
                  <a:cubicBezTo>
                    <a:pt x="27" y="12"/>
                    <a:pt x="27" y="12"/>
                    <a:pt x="27" y="12"/>
                  </a:cubicBezTo>
                  <a:cubicBezTo>
                    <a:pt x="46" y="28"/>
                    <a:pt x="46" y="28"/>
                    <a:pt x="46" y="28"/>
                  </a:cubicBezTo>
                  <a:cubicBezTo>
                    <a:pt x="47" y="30"/>
                    <a:pt x="50" y="30"/>
                    <a:pt x="52" y="28"/>
                  </a:cubicBezTo>
                  <a:cubicBezTo>
                    <a:pt x="71" y="12"/>
                    <a:pt x="71" y="12"/>
                    <a:pt x="71" y="12"/>
                  </a:cubicBezTo>
                  <a:cubicBezTo>
                    <a:pt x="89" y="28"/>
                    <a:pt x="89" y="28"/>
                    <a:pt x="89" y="28"/>
                  </a:cubicBezTo>
                  <a:cubicBezTo>
                    <a:pt x="91" y="30"/>
                    <a:pt x="94" y="30"/>
                    <a:pt x="96" y="28"/>
                  </a:cubicBezTo>
                  <a:cubicBezTo>
                    <a:pt x="114" y="12"/>
                    <a:pt x="114" y="12"/>
                    <a:pt x="114" y="12"/>
                  </a:cubicBezTo>
                  <a:cubicBezTo>
                    <a:pt x="131" y="27"/>
                    <a:pt x="131" y="27"/>
                    <a:pt x="131" y="27"/>
                  </a:cubicBezTo>
                  <a:lnTo>
                    <a:pt x="131" y="233"/>
                  </a:lnTo>
                  <a:close/>
                </a:path>
              </a:pathLst>
            </a:custGeom>
            <a:grpFill/>
            <a:ln>
              <a:solidFill>
                <a:schemeClr val="bg1">
                  <a:lumMod val="50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7" name="Freeform 144">
              <a:extLst>
                <a:ext uri="{FF2B5EF4-FFF2-40B4-BE49-F238E27FC236}">
                  <a16:creationId xmlns:a16="http://schemas.microsoft.com/office/drawing/2014/main" id="{1A0A3483-FBCA-404D-B324-C782BB3164F8}"/>
                </a:ext>
              </a:extLst>
            </p:cNvPr>
            <p:cNvSpPr>
              <a:spLocks/>
            </p:cNvSpPr>
            <p:nvPr/>
          </p:nvSpPr>
          <p:spPr bwMode="auto">
            <a:xfrm>
              <a:off x="1898650" y="5753101"/>
              <a:ext cx="161925" cy="25400"/>
            </a:xfrm>
            <a:custGeom>
              <a:avLst/>
              <a:gdLst>
                <a:gd name="T0" fmla="*/ 62 w 67"/>
                <a:gd name="T1" fmla="*/ 0 h 10"/>
                <a:gd name="T2" fmla="*/ 5 w 67"/>
                <a:gd name="T3" fmla="*/ 0 h 10"/>
                <a:gd name="T4" fmla="*/ 0 w 67"/>
                <a:gd name="T5" fmla="*/ 5 h 10"/>
                <a:gd name="T6" fmla="*/ 5 w 67"/>
                <a:gd name="T7" fmla="*/ 10 h 10"/>
                <a:gd name="T8" fmla="*/ 62 w 67"/>
                <a:gd name="T9" fmla="*/ 10 h 10"/>
                <a:gd name="T10" fmla="*/ 67 w 67"/>
                <a:gd name="T11" fmla="*/ 5 h 10"/>
                <a:gd name="T12" fmla="*/ 62 w 67"/>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67" h="10">
                  <a:moveTo>
                    <a:pt x="62" y="0"/>
                  </a:moveTo>
                  <a:cubicBezTo>
                    <a:pt x="5" y="0"/>
                    <a:pt x="5" y="0"/>
                    <a:pt x="5" y="0"/>
                  </a:cubicBezTo>
                  <a:cubicBezTo>
                    <a:pt x="3" y="0"/>
                    <a:pt x="0" y="3"/>
                    <a:pt x="0" y="5"/>
                  </a:cubicBezTo>
                  <a:cubicBezTo>
                    <a:pt x="0" y="8"/>
                    <a:pt x="3" y="10"/>
                    <a:pt x="5" y="10"/>
                  </a:cubicBezTo>
                  <a:cubicBezTo>
                    <a:pt x="62" y="10"/>
                    <a:pt x="62" y="10"/>
                    <a:pt x="62" y="10"/>
                  </a:cubicBezTo>
                  <a:cubicBezTo>
                    <a:pt x="64" y="10"/>
                    <a:pt x="67" y="8"/>
                    <a:pt x="67" y="5"/>
                  </a:cubicBezTo>
                  <a:cubicBezTo>
                    <a:pt x="67" y="3"/>
                    <a:pt x="64" y="0"/>
                    <a:pt x="62" y="0"/>
                  </a:cubicBezTo>
                  <a:close/>
                </a:path>
              </a:pathLst>
            </a:custGeom>
            <a:grpFill/>
            <a:ln>
              <a:solidFill>
                <a:schemeClr val="bg1">
                  <a:lumMod val="50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38" name="Freeform 145">
              <a:extLst>
                <a:ext uri="{FF2B5EF4-FFF2-40B4-BE49-F238E27FC236}">
                  <a16:creationId xmlns:a16="http://schemas.microsoft.com/office/drawing/2014/main" id="{F8E775DA-0C8A-48CF-991F-81EA4A21255F}"/>
                </a:ext>
              </a:extLst>
            </p:cNvPr>
            <p:cNvSpPr>
              <a:spLocks/>
            </p:cNvSpPr>
            <p:nvPr/>
          </p:nvSpPr>
          <p:spPr bwMode="auto">
            <a:xfrm>
              <a:off x="1898650" y="5843588"/>
              <a:ext cx="161925" cy="23813"/>
            </a:xfrm>
            <a:custGeom>
              <a:avLst/>
              <a:gdLst>
                <a:gd name="T0" fmla="*/ 62 w 67"/>
                <a:gd name="T1" fmla="*/ 0 h 10"/>
                <a:gd name="T2" fmla="*/ 5 w 67"/>
                <a:gd name="T3" fmla="*/ 0 h 10"/>
                <a:gd name="T4" fmla="*/ 0 w 67"/>
                <a:gd name="T5" fmla="*/ 5 h 10"/>
                <a:gd name="T6" fmla="*/ 5 w 67"/>
                <a:gd name="T7" fmla="*/ 10 h 10"/>
                <a:gd name="T8" fmla="*/ 62 w 67"/>
                <a:gd name="T9" fmla="*/ 10 h 10"/>
                <a:gd name="T10" fmla="*/ 67 w 67"/>
                <a:gd name="T11" fmla="*/ 5 h 10"/>
                <a:gd name="T12" fmla="*/ 62 w 67"/>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67" h="10">
                  <a:moveTo>
                    <a:pt x="62" y="0"/>
                  </a:moveTo>
                  <a:cubicBezTo>
                    <a:pt x="5" y="0"/>
                    <a:pt x="5" y="0"/>
                    <a:pt x="5" y="0"/>
                  </a:cubicBezTo>
                  <a:cubicBezTo>
                    <a:pt x="3" y="0"/>
                    <a:pt x="0" y="2"/>
                    <a:pt x="0" y="5"/>
                  </a:cubicBezTo>
                  <a:cubicBezTo>
                    <a:pt x="0" y="8"/>
                    <a:pt x="3" y="10"/>
                    <a:pt x="5" y="10"/>
                  </a:cubicBezTo>
                  <a:cubicBezTo>
                    <a:pt x="62" y="10"/>
                    <a:pt x="62" y="10"/>
                    <a:pt x="62" y="10"/>
                  </a:cubicBezTo>
                  <a:cubicBezTo>
                    <a:pt x="64" y="10"/>
                    <a:pt x="67" y="8"/>
                    <a:pt x="67" y="5"/>
                  </a:cubicBezTo>
                  <a:cubicBezTo>
                    <a:pt x="67" y="2"/>
                    <a:pt x="64" y="0"/>
                    <a:pt x="62" y="0"/>
                  </a:cubicBezTo>
                  <a:close/>
                </a:path>
              </a:pathLst>
            </a:custGeom>
            <a:grpFill/>
            <a:ln>
              <a:solidFill>
                <a:schemeClr val="bg1">
                  <a:lumMod val="50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grpSp>
      <p:grpSp>
        <p:nvGrpSpPr>
          <p:cNvPr id="39" name="Group 38">
            <a:extLst>
              <a:ext uri="{FF2B5EF4-FFF2-40B4-BE49-F238E27FC236}">
                <a16:creationId xmlns:a16="http://schemas.microsoft.com/office/drawing/2014/main" id="{94AB66E7-6440-4DF9-8933-FFD3DB0D44E8}"/>
              </a:ext>
            </a:extLst>
          </p:cNvPr>
          <p:cNvGrpSpPr/>
          <p:nvPr/>
        </p:nvGrpSpPr>
        <p:grpSpPr>
          <a:xfrm>
            <a:off x="4572303" y="5390839"/>
            <a:ext cx="315526" cy="313358"/>
            <a:chOff x="8991601" y="7164388"/>
            <a:chExt cx="461963" cy="458787"/>
          </a:xfrm>
          <a:solidFill>
            <a:schemeClr val="bg1">
              <a:lumMod val="50000"/>
            </a:schemeClr>
          </a:solidFill>
        </p:grpSpPr>
        <p:sp>
          <p:nvSpPr>
            <p:cNvPr id="40" name="Freeform 406">
              <a:extLst>
                <a:ext uri="{FF2B5EF4-FFF2-40B4-BE49-F238E27FC236}">
                  <a16:creationId xmlns:a16="http://schemas.microsoft.com/office/drawing/2014/main" id="{142306AA-F450-441B-8CF8-E634EB46DA47}"/>
                </a:ext>
              </a:extLst>
            </p:cNvPr>
            <p:cNvSpPr>
              <a:spLocks/>
            </p:cNvSpPr>
            <p:nvPr/>
          </p:nvSpPr>
          <p:spPr bwMode="auto">
            <a:xfrm>
              <a:off x="9134476" y="7539038"/>
              <a:ext cx="174625" cy="84137"/>
            </a:xfrm>
            <a:custGeom>
              <a:avLst/>
              <a:gdLst>
                <a:gd name="T0" fmla="*/ 87 w 91"/>
                <a:gd name="T1" fmla="*/ 5 h 43"/>
                <a:gd name="T2" fmla="*/ 81 w 91"/>
                <a:gd name="T3" fmla="*/ 1 h 43"/>
                <a:gd name="T4" fmla="*/ 77 w 91"/>
                <a:gd name="T5" fmla="*/ 6 h 43"/>
                <a:gd name="T6" fmla="*/ 82 w 91"/>
                <a:gd name="T7" fmla="*/ 34 h 43"/>
                <a:gd name="T8" fmla="*/ 10 w 91"/>
                <a:gd name="T9" fmla="*/ 33 h 43"/>
                <a:gd name="T10" fmla="*/ 14 w 91"/>
                <a:gd name="T11" fmla="*/ 6 h 43"/>
                <a:gd name="T12" fmla="*/ 10 w 91"/>
                <a:gd name="T13" fmla="*/ 1 h 43"/>
                <a:gd name="T14" fmla="*/ 5 w 91"/>
                <a:gd name="T15" fmla="*/ 5 h 43"/>
                <a:gd name="T16" fmla="*/ 0 w 91"/>
                <a:gd name="T17" fmla="*/ 34 h 43"/>
                <a:gd name="T18" fmla="*/ 0 w 91"/>
                <a:gd name="T19" fmla="*/ 35 h 43"/>
                <a:gd name="T20" fmla="*/ 9 w 91"/>
                <a:gd name="T21" fmla="*/ 43 h 43"/>
                <a:gd name="T22" fmla="*/ 82 w 91"/>
                <a:gd name="T23" fmla="*/ 43 h 43"/>
                <a:gd name="T24" fmla="*/ 91 w 91"/>
                <a:gd name="T25" fmla="*/ 35 h 43"/>
                <a:gd name="T26" fmla="*/ 91 w 91"/>
                <a:gd name="T27" fmla="*/ 34 h 43"/>
                <a:gd name="T28" fmla="*/ 87 w 91"/>
                <a:gd name="T29" fmla="*/ 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 h="43">
                  <a:moveTo>
                    <a:pt x="87" y="5"/>
                  </a:moveTo>
                  <a:cubicBezTo>
                    <a:pt x="86" y="2"/>
                    <a:pt x="84" y="0"/>
                    <a:pt x="81" y="1"/>
                  </a:cubicBezTo>
                  <a:cubicBezTo>
                    <a:pt x="78" y="1"/>
                    <a:pt x="77" y="4"/>
                    <a:pt x="77" y="6"/>
                  </a:cubicBezTo>
                  <a:cubicBezTo>
                    <a:pt x="82" y="34"/>
                    <a:pt x="82" y="34"/>
                    <a:pt x="82" y="34"/>
                  </a:cubicBezTo>
                  <a:cubicBezTo>
                    <a:pt x="10" y="33"/>
                    <a:pt x="10" y="33"/>
                    <a:pt x="10" y="33"/>
                  </a:cubicBezTo>
                  <a:cubicBezTo>
                    <a:pt x="14" y="6"/>
                    <a:pt x="14" y="6"/>
                    <a:pt x="14" y="6"/>
                  </a:cubicBezTo>
                  <a:cubicBezTo>
                    <a:pt x="15" y="4"/>
                    <a:pt x="13" y="1"/>
                    <a:pt x="10" y="1"/>
                  </a:cubicBezTo>
                  <a:cubicBezTo>
                    <a:pt x="8" y="0"/>
                    <a:pt x="5" y="2"/>
                    <a:pt x="5" y="5"/>
                  </a:cubicBezTo>
                  <a:cubicBezTo>
                    <a:pt x="0" y="34"/>
                    <a:pt x="0" y="34"/>
                    <a:pt x="0" y="34"/>
                  </a:cubicBezTo>
                  <a:cubicBezTo>
                    <a:pt x="0" y="34"/>
                    <a:pt x="0" y="34"/>
                    <a:pt x="0" y="35"/>
                  </a:cubicBezTo>
                  <a:cubicBezTo>
                    <a:pt x="0" y="39"/>
                    <a:pt x="4" y="43"/>
                    <a:pt x="9" y="43"/>
                  </a:cubicBezTo>
                  <a:cubicBezTo>
                    <a:pt x="82" y="43"/>
                    <a:pt x="82" y="43"/>
                    <a:pt x="82" y="43"/>
                  </a:cubicBezTo>
                  <a:cubicBezTo>
                    <a:pt x="87" y="43"/>
                    <a:pt x="91" y="39"/>
                    <a:pt x="91" y="35"/>
                  </a:cubicBezTo>
                  <a:cubicBezTo>
                    <a:pt x="91" y="34"/>
                    <a:pt x="91" y="34"/>
                    <a:pt x="91" y="34"/>
                  </a:cubicBezTo>
                  <a:lnTo>
                    <a:pt x="87" y="5"/>
                  </a:lnTo>
                  <a:close/>
                </a:path>
              </a:pathLst>
            </a:custGeom>
            <a:grpFill/>
            <a:ln>
              <a:solidFill>
                <a:schemeClr val="bg1">
                  <a:lumMod val="50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1" name="Freeform 407">
              <a:extLst>
                <a:ext uri="{FF2B5EF4-FFF2-40B4-BE49-F238E27FC236}">
                  <a16:creationId xmlns:a16="http://schemas.microsoft.com/office/drawing/2014/main" id="{34BB4903-119C-452F-B739-FE874645468C}"/>
                </a:ext>
              </a:extLst>
            </p:cNvPr>
            <p:cNvSpPr>
              <a:spLocks noEditPoints="1"/>
            </p:cNvSpPr>
            <p:nvPr/>
          </p:nvSpPr>
          <p:spPr bwMode="auto">
            <a:xfrm>
              <a:off x="8991601" y="7164388"/>
              <a:ext cx="461963" cy="347662"/>
            </a:xfrm>
            <a:custGeom>
              <a:avLst/>
              <a:gdLst>
                <a:gd name="T0" fmla="*/ 218 w 240"/>
                <a:gd name="T1" fmla="*/ 0 h 180"/>
                <a:gd name="T2" fmla="*/ 21 w 240"/>
                <a:gd name="T3" fmla="*/ 0 h 180"/>
                <a:gd name="T4" fmla="*/ 0 w 240"/>
                <a:gd name="T5" fmla="*/ 22 h 180"/>
                <a:gd name="T6" fmla="*/ 0 w 240"/>
                <a:gd name="T7" fmla="*/ 159 h 180"/>
                <a:gd name="T8" fmla="*/ 21 w 240"/>
                <a:gd name="T9" fmla="*/ 180 h 180"/>
                <a:gd name="T10" fmla="*/ 218 w 240"/>
                <a:gd name="T11" fmla="*/ 180 h 180"/>
                <a:gd name="T12" fmla="*/ 240 w 240"/>
                <a:gd name="T13" fmla="*/ 159 h 180"/>
                <a:gd name="T14" fmla="*/ 240 w 240"/>
                <a:gd name="T15" fmla="*/ 22 h 180"/>
                <a:gd name="T16" fmla="*/ 218 w 240"/>
                <a:gd name="T17" fmla="*/ 0 h 180"/>
                <a:gd name="T18" fmla="*/ 21 w 240"/>
                <a:gd name="T19" fmla="*/ 10 h 180"/>
                <a:gd name="T20" fmla="*/ 218 w 240"/>
                <a:gd name="T21" fmla="*/ 10 h 180"/>
                <a:gd name="T22" fmla="*/ 230 w 240"/>
                <a:gd name="T23" fmla="*/ 22 h 180"/>
                <a:gd name="T24" fmla="*/ 230 w 240"/>
                <a:gd name="T25" fmla="*/ 141 h 180"/>
                <a:gd name="T26" fmla="*/ 9 w 240"/>
                <a:gd name="T27" fmla="*/ 141 h 180"/>
                <a:gd name="T28" fmla="*/ 9 w 240"/>
                <a:gd name="T29" fmla="*/ 22 h 180"/>
                <a:gd name="T30" fmla="*/ 21 w 240"/>
                <a:gd name="T31" fmla="*/ 10 h 180"/>
                <a:gd name="T32" fmla="*/ 218 w 240"/>
                <a:gd name="T33" fmla="*/ 170 h 180"/>
                <a:gd name="T34" fmla="*/ 21 w 240"/>
                <a:gd name="T35" fmla="*/ 170 h 180"/>
                <a:gd name="T36" fmla="*/ 9 w 240"/>
                <a:gd name="T37" fmla="*/ 159 h 180"/>
                <a:gd name="T38" fmla="*/ 9 w 240"/>
                <a:gd name="T39" fmla="*/ 151 h 180"/>
                <a:gd name="T40" fmla="*/ 230 w 240"/>
                <a:gd name="T41" fmla="*/ 151 h 180"/>
                <a:gd name="T42" fmla="*/ 230 w 240"/>
                <a:gd name="T43" fmla="*/ 159 h 180"/>
                <a:gd name="T44" fmla="*/ 218 w 240"/>
                <a:gd name="T45" fmla="*/ 17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0" h="180">
                  <a:moveTo>
                    <a:pt x="218" y="0"/>
                  </a:moveTo>
                  <a:cubicBezTo>
                    <a:pt x="21" y="0"/>
                    <a:pt x="21" y="0"/>
                    <a:pt x="21" y="0"/>
                  </a:cubicBezTo>
                  <a:cubicBezTo>
                    <a:pt x="9" y="0"/>
                    <a:pt x="0" y="10"/>
                    <a:pt x="0" y="22"/>
                  </a:cubicBezTo>
                  <a:cubicBezTo>
                    <a:pt x="0" y="159"/>
                    <a:pt x="0" y="159"/>
                    <a:pt x="0" y="159"/>
                  </a:cubicBezTo>
                  <a:cubicBezTo>
                    <a:pt x="0" y="171"/>
                    <a:pt x="9" y="180"/>
                    <a:pt x="21" y="180"/>
                  </a:cubicBezTo>
                  <a:cubicBezTo>
                    <a:pt x="218" y="180"/>
                    <a:pt x="218" y="180"/>
                    <a:pt x="218" y="180"/>
                  </a:cubicBezTo>
                  <a:cubicBezTo>
                    <a:pt x="230" y="180"/>
                    <a:pt x="240" y="171"/>
                    <a:pt x="240" y="159"/>
                  </a:cubicBezTo>
                  <a:cubicBezTo>
                    <a:pt x="240" y="22"/>
                    <a:pt x="240" y="22"/>
                    <a:pt x="240" y="22"/>
                  </a:cubicBezTo>
                  <a:cubicBezTo>
                    <a:pt x="240" y="10"/>
                    <a:pt x="230" y="0"/>
                    <a:pt x="218" y="0"/>
                  </a:cubicBezTo>
                  <a:close/>
                  <a:moveTo>
                    <a:pt x="21" y="10"/>
                  </a:moveTo>
                  <a:cubicBezTo>
                    <a:pt x="218" y="10"/>
                    <a:pt x="218" y="10"/>
                    <a:pt x="218" y="10"/>
                  </a:cubicBezTo>
                  <a:cubicBezTo>
                    <a:pt x="225" y="10"/>
                    <a:pt x="230" y="15"/>
                    <a:pt x="230" y="22"/>
                  </a:cubicBezTo>
                  <a:cubicBezTo>
                    <a:pt x="230" y="141"/>
                    <a:pt x="230" y="141"/>
                    <a:pt x="230" y="141"/>
                  </a:cubicBezTo>
                  <a:cubicBezTo>
                    <a:pt x="9" y="141"/>
                    <a:pt x="9" y="141"/>
                    <a:pt x="9" y="141"/>
                  </a:cubicBezTo>
                  <a:cubicBezTo>
                    <a:pt x="9" y="22"/>
                    <a:pt x="9" y="22"/>
                    <a:pt x="9" y="22"/>
                  </a:cubicBezTo>
                  <a:cubicBezTo>
                    <a:pt x="9" y="15"/>
                    <a:pt x="15" y="10"/>
                    <a:pt x="21" y="10"/>
                  </a:cubicBezTo>
                  <a:close/>
                  <a:moveTo>
                    <a:pt x="218" y="170"/>
                  </a:moveTo>
                  <a:cubicBezTo>
                    <a:pt x="21" y="170"/>
                    <a:pt x="21" y="170"/>
                    <a:pt x="21" y="170"/>
                  </a:cubicBezTo>
                  <a:cubicBezTo>
                    <a:pt x="15" y="170"/>
                    <a:pt x="9" y="165"/>
                    <a:pt x="9" y="159"/>
                  </a:cubicBezTo>
                  <a:cubicBezTo>
                    <a:pt x="9" y="151"/>
                    <a:pt x="9" y="151"/>
                    <a:pt x="9" y="151"/>
                  </a:cubicBezTo>
                  <a:cubicBezTo>
                    <a:pt x="230" y="151"/>
                    <a:pt x="230" y="151"/>
                    <a:pt x="230" y="151"/>
                  </a:cubicBezTo>
                  <a:cubicBezTo>
                    <a:pt x="230" y="159"/>
                    <a:pt x="230" y="159"/>
                    <a:pt x="230" y="159"/>
                  </a:cubicBezTo>
                  <a:cubicBezTo>
                    <a:pt x="230" y="165"/>
                    <a:pt x="225" y="170"/>
                    <a:pt x="218" y="170"/>
                  </a:cubicBezTo>
                  <a:close/>
                </a:path>
              </a:pathLst>
            </a:custGeom>
            <a:grpFill/>
            <a:ln>
              <a:solidFill>
                <a:schemeClr val="bg1">
                  <a:lumMod val="50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grpSp>
      <p:sp>
        <p:nvSpPr>
          <p:cNvPr id="43" name="TextBox 42">
            <a:extLst>
              <a:ext uri="{FF2B5EF4-FFF2-40B4-BE49-F238E27FC236}">
                <a16:creationId xmlns:a16="http://schemas.microsoft.com/office/drawing/2014/main" id="{2F4E9675-45B4-4683-8F81-6165EFBABCBB}"/>
              </a:ext>
            </a:extLst>
          </p:cNvPr>
          <p:cNvSpPr txBox="1"/>
          <p:nvPr/>
        </p:nvSpPr>
        <p:spPr>
          <a:xfrm>
            <a:off x="4065048" y="3404783"/>
            <a:ext cx="133003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Mobile Data</a:t>
            </a:r>
          </a:p>
        </p:txBody>
      </p:sp>
      <p:cxnSp>
        <p:nvCxnSpPr>
          <p:cNvPr id="44" name="Curved Connector 56">
            <a:extLst>
              <a:ext uri="{FF2B5EF4-FFF2-40B4-BE49-F238E27FC236}">
                <a16:creationId xmlns:a16="http://schemas.microsoft.com/office/drawing/2014/main" id="{CF178BE8-28BA-469D-A145-A44BE34FFD3D}"/>
              </a:ext>
            </a:extLst>
          </p:cNvPr>
          <p:cNvCxnSpPr/>
          <p:nvPr/>
        </p:nvCxnSpPr>
        <p:spPr>
          <a:xfrm rot="10800000">
            <a:off x="5059110" y="3928147"/>
            <a:ext cx="1370501" cy="864479"/>
          </a:xfrm>
          <a:prstGeom prst="curvedConnector3">
            <a:avLst/>
          </a:prstGeom>
          <a:ln w="19050">
            <a:solidFill>
              <a:schemeClr val="tx1"/>
            </a:solidFill>
            <a:headEnd type="triangle"/>
          </a:ln>
        </p:spPr>
        <p:style>
          <a:lnRef idx="1">
            <a:schemeClr val="accent1"/>
          </a:lnRef>
          <a:fillRef idx="0">
            <a:schemeClr val="accent1"/>
          </a:fillRef>
          <a:effectRef idx="0">
            <a:schemeClr val="accent1"/>
          </a:effectRef>
          <a:fontRef idx="minor">
            <a:schemeClr val="tx1"/>
          </a:fontRef>
        </p:style>
      </p:cxnSp>
      <p:cxnSp>
        <p:nvCxnSpPr>
          <p:cNvPr id="45" name="Curved Connector 57">
            <a:extLst>
              <a:ext uri="{FF2B5EF4-FFF2-40B4-BE49-F238E27FC236}">
                <a16:creationId xmlns:a16="http://schemas.microsoft.com/office/drawing/2014/main" id="{DF347E27-B0C4-4AF8-986D-4CC0677E655D}"/>
              </a:ext>
            </a:extLst>
          </p:cNvPr>
          <p:cNvCxnSpPr/>
          <p:nvPr/>
        </p:nvCxnSpPr>
        <p:spPr>
          <a:xfrm rot="10800000" flipV="1">
            <a:off x="5059110" y="4792620"/>
            <a:ext cx="1370499" cy="734531"/>
          </a:xfrm>
          <a:prstGeom prst="curvedConnector3">
            <a:avLst/>
          </a:prstGeom>
          <a:ln w="19050">
            <a:solidFill>
              <a:schemeClr val="tx1"/>
            </a:solidFill>
            <a:headEnd type="triangl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E5CECD3-DBB9-482E-A0FE-40D24A2C5B59}"/>
              </a:ext>
            </a:extLst>
          </p:cNvPr>
          <p:cNvCxnSpPr/>
          <p:nvPr/>
        </p:nvCxnSpPr>
        <p:spPr>
          <a:xfrm flipH="1">
            <a:off x="5059110" y="4792621"/>
            <a:ext cx="1370498" cy="0"/>
          </a:xfrm>
          <a:prstGeom prst="line">
            <a:avLst/>
          </a:prstGeom>
          <a:ln w="19050">
            <a:solidFill>
              <a:schemeClr val="tx1"/>
            </a:solidFill>
            <a:headEnd type="triangl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B02CAF4-2E98-44AF-B46F-6748688A32C7}"/>
              </a:ext>
            </a:extLst>
          </p:cNvPr>
          <p:cNvCxnSpPr/>
          <p:nvPr/>
        </p:nvCxnSpPr>
        <p:spPr>
          <a:xfrm flipH="1" flipV="1">
            <a:off x="7423610" y="4792620"/>
            <a:ext cx="458960" cy="1"/>
          </a:xfrm>
          <a:prstGeom prst="line">
            <a:avLst/>
          </a:prstGeom>
          <a:ln w="19050">
            <a:solidFill>
              <a:schemeClr val="tx1"/>
            </a:solidFill>
            <a:headEnd type="triangle"/>
          </a:ln>
        </p:spPr>
        <p:style>
          <a:lnRef idx="1">
            <a:schemeClr val="accent1"/>
          </a:lnRef>
          <a:fillRef idx="0">
            <a:schemeClr val="accent1"/>
          </a:fillRef>
          <a:effectRef idx="0">
            <a:schemeClr val="accent1"/>
          </a:effectRef>
          <a:fontRef idx="minor">
            <a:schemeClr val="tx1"/>
          </a:fontRef>
        </p:style>
      </p:cxnSp>
      <p:sp>
        <p:nvSpPr>
          <p:cNvPr id="48" name="Arc 47">
            <a:extLst>
              <a:ext uri="{FF2B5EF4-FFF2-40B4-BE49-F238E27FC236}">
                <a16:creationId xmlns:a16="http://schemas.microsoft.com/office/drawing/2014/main" id="{E30C50DA-B363-4B22-8870-584CB712286F}"/>
              </a:ext>
            </a:extLst>
          </p:cNvPr>
          <p:cNvSpPr/>
          <p:nvPr/>
        </p:nvSpPr>
        <p:spPr>
          <a:xfrm>
            <a:off x="2558928" y="3070951"/>
            <a:ext cx="4350875" cy="2190326"/>
          </a:xfrm>
          <a:prstGeom prst="arc">
            <a:avLst>
              <a:gd name="adj1" fmla="val 10856842"/>
              <a:gd name="adj2" fmla="val 21524579"/>
            </a:avLst>
          </a:prstGeom>
          <a:ln w="19050">
            <a:solidFill>
              <a:schemeClr val="tx1"/>
            </a:solidFill>
            <a:prstDash val="dash"/>
            <a:head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49" name="TextBox 48">
            <a:extLst>
              <a:ext uri="{FF2B5EF4-FFF2-40B4-BE49-F238E27FC236}">
                <a16:creationId xmlns:a16="http://schemas.microsoft.com/office/drawing/2014/main" id="{74421791-83C5-4C8B-A74C-BD0B12942FBD}"/>
              </a:ext>
            </a:extLst>
          </p:cNvPr>
          <p:cNvSpPr txBox="1"/>
          <p:nvPr/>
        </p:nvSpPr>
        <p:spPr>
          <a:xfrm>
            <a:off x="4065048" y="4236269"/>
            <a:ext cx="133003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Venue Data</a:t>
            </a:r>
          </a:p>
        </p:txBody>
      </p:sp>
      <p:sp>
        <p:nvSpPr>
          <p:cNvPr id="50" name="TextBox 49">
            <a:extLst>
              <a:ext uri="{FF2B5EF4-FFF2-40B4-BE49-F238E27FC236}">
                <a16:creationId xmlns:a16="http://schemas.microsoft.com/office/drawing/2014/main" id="{14F2B075-08BC-4558-AEAE-E5AC6228AD2D}"/>
              </a:ext>
            </a:extLst>
          </p:cNvPr>
          <p:cNvSpPr txBox="1"/>
          <p:nvPr/>
        </p:nvSpPr>
        <p:spPr>
          <a:xfrm>
            <a:off x="4065048" y="5109922"/>
            <a:ext cx="133003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Web Data</a:t>
            </a:r>
          </a:p>
        </p:txBody>
      </p:sp>
      <p:sp>
        <p:nvSpPr>
          <p:cNvPr id="51" name="TextBox 50">
            <a:extLst>
              <a:ext uri="{FF2B5EF4-FFF2-40B4-BE49-F238E27FC236}">
                <a16:creationId xmlns:a16="http://schemas.microsoft.com/office/drawing/2014/main" id="{38A6D17E-040B-4783-96AA-0A35C7A2C710}"/>
              </a:ext>
            </a:extLst>
          </p:cNvPr>
          <p:cNvSpPr txBox="1"/>
          <p:nvPr/>
        </p:nvSpPr>
        <p:spPr>
          <a:xfrm>
            <a:off x="1317918" y="3176195"/>
            <a:ext cx="1461563"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ea typeface="+mn-ea"/>
                <a:cs typeface="+mn-cs"/>
              </a:rPr>
              <a:t>Fan behaviors and transactions flow through digital and physical POS systems to build detailed customer profiles</a:t>
            </a:r>
          </a:p>
        </p:txBody>
      </p:sp>
      <p:sp>
        <p:nvSpPr>
          <p:cNvPr id="52" name="TextBox 51">
            <a:extLst>
              <a:ext uri="{FF2B5EF4-FFF2-40B4-BE49-F238E27FC236}">
                <a16:creationId xmlns:a16="http://schemas.microsoft.com/office/drawing/2014/main" id="{8897A41B-421D-4EB3-A3BB-7CA5334B9627}"/>
              </a:ext>
            </a:extLst>
          </p:cNvPr>
          <p:cNvSpPr txBox="1"/>
          <p:nvPr/>
        </p:nvSpPr>
        <p:spPr>
          <a:xfrm>
            <a:off x="5946737" y="5272083"/>
            <a:ext cx="1733011"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ea typeface="+mn-ea"/>
                <a:cs typeface="+mn-cs"/>
              </a:rPr>
              <a:t>Detailed customer data is stored in data warehouses and CRM system to define segments and inform team strategies and activities</a:t>
            </a:r>
          </a:p>
        </p:txBody>
      </p:sp>
      <p:sp>
        <p:nvSpPr>
          <p:cNvPr id="53" name="TextBox 52">
            <a:extLst>
              <a:ext uri="{FF2B5EF4-FFF2-40B4-BE49-F238E27FC236}">
                <a16:creationId xmlns:a16="http://schemas.microsoft.com/office/drawing/2014/main" id="{30BC1312-F11F-41ED-95E8-7A857DB525D5}"/>
              </a:ext>
            </a:extLst>
          </p:cNvPr>
          <p:cNvSpPr txBox="1"/>
          <p:nvPr/>
        </p:nvSpPr>
        <p:spPr>
          <a:xfrm>
            <a:off x="9919844" y="3928146"/>
            <a:ext cx="1323681"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ea typeface="+mn-ea"/>
                <a:cs typeface="+mn-cs"/>
              </a:rPr>
              <a:t>Fan data is incorporated into team sponsorship offerings to drive value for Corporate Partners</a:t>
            </a:r>
          </a:p>
        </p:txBody>
      </p:sp>
      <p:sp>
        <p:nvSpPr>
          <p:cNvPr id="54" name="TextBox 53">
            <a:extLst>
              <a:ext uri="{FF2B5EF4-FFF2-40B4-BE49-F238E27FC236}">
                <a16:creationId xmlns:a16="http://schemas.microsoft.com/office/drawing/2014/main" id="{C9D70154-5B4C-43A5-9A2C-839B725BB1B7}"/>
              </a:ext>
            </a:extLst>
          </p:cNvPr>
          <p:cNvSpPr txBox="1"/>
          <p:nvPr/>
        </p:nvSpPr>
        <p:spPr>
          <a:xfrm>
            <a:off x="8856317" y="5706478"/>
            <a:ext cx="2421283"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ea typeface="+mn-ea"/>
                <a:cs typeface="+mn-cs"/>
              </a:rPr>
              <a:t>Corporate Partners leverage fan data to tailor personalized offerings that drive sales, give fans what they want, and improve the overall experience</a:t>
            </a:r>
          </a:p>
        </p:txBody>
      </p:sp>
      <p:sp>
        <p:nvSpPr>
          <p:cNvPr id="55" name="TextBox 54">
            <a:extLst>
              <a:ext uri="{FF2B5EF4-FFF2-40B4-BE49-F238E27FC236}">
                <a16:creationId xmlns:a16="http://schemas.microsoft.com/office/drawing/2014/main" id="{DC9CCF26-2656-4D94-A0A3-C9DE05EFFDE1}"/>
              </a:ext>
            </a:extLst>
          </p:cNvPr>
          <p:cNvSpPr txBox="1"/>
          <p:nvPr/>
        </p:nvSpPr>
        <p:spPr>
          <a:xfrm>
            <a:off x="6794640" y="3133714"/>
            <a:ext cx="2556022"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ea typeface="+mn-ea"/>
                <a:cs typeface="+mn-cs"/>
              </a:rPr>
              <a:t>Team leverages fan data to strategically target leads and tailor product and service offerings unique to fan segments</a:t>
            </a:r>
          </a:p>
        </p:txBody>
      </p:sp>
      <p:sp>
        <p:nvSpPr>
          <p:cNvPr id="56" name="Oval 55">
            <a:extLst>
              <a:ext uri="{FF2B5EF4-FFF2-40B4-BE49-F238E27FC236}">
                <a16:creationId xmlns:a16="http://schemas.microsoft.com/office/drawing/2014/main" id="{0B136EAA-0DB7-4F2C-BAEC-094573C78BB4}"/>
              </a:ext>
            </a:extLst>
          </p:cNvPr>
          <p:cNvSpPr/>
          <p:nvPr/>
        </p:nvSpPr>
        <p:spPr>
          <a:xfrm>
            <a:off x="1039239" y="3238922"/>
            <a:ext cx="274320" cy="27209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ea typeface="+mn-ea"/>
                <a:cs typeface="+mn-cs"/>
              </a:rPr>
              <a:t>1</a:t>
            </a:r>
          </a:p>
        </p:txBody>
      </p:sp>
      <p:sp>
        <p:nvSpPr>
          <p:cNvPr id="57" name="Oval 56">
            <a:extLst>
              <a:ext uri="{FF2B5EF4-FFF2-40B4-BE49-F238E27FC236}">
                <a16:creationId xmlns:a16="http://schemas.microsoft.com/office/drawing/2014/main" id="{94394CA6-F013-4EB2-AEC4-4371907D4D80}"/>
              </a:ext>
            </a:extLst>
          </p:cNvPr>
          <p:cNvSpPr/>
          <p:nvPr/>
        </p:nvSpPr>
        <p:spPr>
          <a:xfrm>
            <a:off x="5675570" y="5331392"/>
            <a:ext cx="274320" cy="27209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ea typeface="+mn-ea"/>
                <a:cs typeface="+mn-cs"/>
              </a:rPr>
              <a:t>2</a:t>
            </a:r>
          </a:p>
        </p:txBody>
      </p:sp>
      <p:sp>
        <p:nvSpPr>
          <p:cNvPr id="58" name="Oval 57">
            <a:extLst>
              <a:ext uri="{FF2B5EF4-FFF2-40B4-BE49-F238E27FC236}">
                <a16:creationId xmlns:a16="http://schemas.microsoft.com/office/drawing/2014/main" id="{21C58DD7-CB65-452C-B957-0E11DA165A74}"/>
              </a:ext>
            </a:extLst>
          </p:cNvPr>
          <p:cNvSpPr/>
          <p:nvPr/>
        </p:nvSpPr>
        <p:spPr>
          <a:xfrm>
            <a:off x="6520596" y="3193987"/>
            <a:ext cx="274320" cy="27209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ea typeface="+mn-ea"/>
                <a:cs typeface="+mn-cs"/>
              </a:rPr>
              <a:t>3</a:t>
            </a:r>
          </a:p>
        </p:txBody>
      </p:sp>
      <p:sp>
        <p:nvSpPr>
          <p:cNvPr id="59" name="Oval 58">
            <a:extLst>
              <a:ext uri="{FF2B5EF4-FFF2-40B4-BE49-F238E27FC236}">
                <a16:creationId xmlns:a16="http://schemas.microsoft.com/office/drawing/2014/main" id="{17A4B8D1-A9B6-494B-AA6B-2238BF1BC9FA}"/>
              </a:ext>
            </a:extLst>
          </p:cNvPr>
          <p:cNvSpPr/>
          <p:nvPr/>
        </p:nvSpPr>
        <p:spPr>
          <a:xfrm>
            <a:off x="9647168" y="3977689"/>
            <a:ext cx="274320" cy="27209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ea typeface="+mn-ea"/>
                <a:cs typeface="+mn-cs"/>
              </a:rPr>
              <a:t>4</a:t>
            </a:r>
          </a:p>
        </p:txBody>
      </p:sp>
      <p:sp>
        <p:nvSpPr>
          <p:cNvPr id="60" name="Oval 59">
            <a:extLst>
              <a:ext uri="{FF2B5EF4-FFF2-40B4-BE49-F238E27FC236}">
                <a16:creationId xmlns:a16="http://schemas.microsoft.com/office/drawing/2014/main" id="{6D5CF774-5CFF-474F-AD59-D467770F6793}"/>
              </a:ext>
            </a:extLst>
          </p:cNvPr>
          <p:cNvSpPr/>
          <p:nvPr/>
        </p:nvSpPr>
        <p:spPr>
          <a:xfrm>
            <a:off x="8594966" y="5758990"/>
            <a:ext cx="274320" cy="27209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ea typeface="+mn-ea"/>
                <a:cs typeface="+mn-cs"/>
              </a:rPr>
              <a:t>5</a:t>
            </a:r>
          </a:p>
        </p:txBody>
      </p:sp>
      <p:grpSp>
        <p:nvGrpSpPr>
          <p:cNvPr id="61" name="Group 60">
            <a:extLst>
              <a:ext uri="{FF2B5EF4-FFF2-40B4-BE49-F238E27FC236}">
                <a16:creationId xmlns:a16="http://schemas.microsoft.com/office/drawing/2014/main" id="{FFE20CC8-9246-473D-B2B4-36CAFFEAD7A7}"/>
              </a:ext>
            </a:extLst>
          </p:cNvPr>
          <p:cNvGrpSpPr/>
          <p:nvPr/>
        </p:nvGrpSpPr>
        <p:grpSpPr>
          <a:xfrm>
            <a:off x="7925235" y="3967903"/>
            <a:ext cx="1768386" cy="1671124"/>
            <a:chOff x="8132847" y="2656314"/>
            <a:chExt cx="2848005" cy="2691363"/>
          </a:xfrm>
        </p:grpSpPr>
        <p:sp>
          <p:nvSpPr>
            <p:cNvPr id="62" name="Oval 61">
              <a:extLst>
                <a:ext uri="{FF2B5EF4-FFF2-40B4-BE49-F238E27FC236}">
                  <a16:creationId xmlns:a16="http://schemas.microsoft.com/office/drawing/2014/main" id="{066502E8-CC79-41B7-B8E0-72D512A6D63B}"/>
                </a:ext>
              </a:extLst>
            </p:cNvPr>
            <p:cNvSpPr/>
            <p:nvPr/>
          </p:nvSpPr>
          <p:spPr>
            <a:xfrm>
              <a:off x="8250642" y="2656314"/>
              <a:ext cx="2650529" cy="2651760"/>
            </a:xfrm>
            <a:prstGeom prst="ellipse">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grpSp>
          <p:nvGrpSpPr>
            <p:cNvPr id="63" name="Group 62">
              <a:extLst>
                <a:ext uri="{FF2B5EF4-FFF2-40B4-BE49-F238E27FC236}">
                  <a16:creationId xmlns:a16="http://schemas.microsoft.com/office/drawing/2014/main" id="{DEFD4AD6-AF0C-47B0-A49E-6648C419449E}"/>
                </a:ext>
              </a:extLst>
            </p:cNvPr>
            <p:cNvGrpSpPr/>
            <p:nvPr/>
          </p:nvGrpSpPr>
          <p:grpSpPr>
            <a:xfrm>
              <a:off x="8132847" y="2794921"/>
              <a:ext cx="2848005" cy="2552756"/>
              <a:chOff x="7925619" y="2712607"/>
              <a:chExt cx="3053445" cy="2736900"/>
            </a:xfrm>
          </p:grpSpPr>
          <p:pic>
            <p:nvPicPr>
              <p:cNvPr id="64" name="Picture 2" descr="Partnership Inquiries">
                <a:extLst>
                  <a:ext uri="{FF2B5EF4-FFF2-40B4-BE49-F238E27FC236}">
                    <a16:creationId xmlns:a16="http://schemas.microsoft.com/office/drawing/2014/main" id="{36900E87-8699-4AFA-8182-C1690F94CC5B}"/>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a:off x="8120473" y="3082110"/>
                <a:ext cx="1062446" cy="658110"/>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2" descr="Partnership Inquiries">
                <a:extLst>
                  <a:ext uri="{FF2B5EF4-FFF2-40B4-BE49-F238E27FC236}">
                    <a16:creationId xmlns:a16="http://schemas.microsoft.com/office/drawing/2014/main" id="{A30856C6-7185-47AB-8B27-B48F94861870}"/>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a:stretch/>
            </p:blipFill>
            <p:spPr bwMode="auto">
              <a:xfrm>
                <a:off x="8527600" y="3496381"/>
                <a:ext cx="1062446" cy="627017"/>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2" descr="Partnership Inquiries">
                <a:extLst>
                  <a:ext uri="{FF2B5EF4-FFF2-40B4-BE49-F238E27FC236}">
                    <a16:creationId xmlns:a16="http://schemas.microsoft.com/office/drawing/2014/main" id="{0E55AD1D-B2F7-49C9-94D7-464B73149BB2}"/>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a:stretch/>
            </p:blipFill>
            <p:spPr bwMode="auto">
              <a:xfrm>
                <a:off x="9485539" y="3093606"/>
                <a:ext cx="1062446" cy="635726"/>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2" descr="Partnership Inquiries">
                <a:extLst>
                  <a:ext uri="{FF2B5EF4-FFF2-40B4-BE49-F238E27FC236}">
                    <a16:creationId xmlns:a16="http://schemas.microsoft.com/office/drawing/2014/main" id="{D108BA70-0EB5-4E19-936A-A1A6D2BBAED2}"/>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a:stretch/>
            </p:blipFill>
            <p:spPr bwMode="auto">
              <a:xfrm>
                <a:off x="8120473" y="3809888"/>
                <a:ext cx="1062446" cy="661852"/>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2" descr="Partnership Inquiries">
                <a:extLst>
                  <a:ext uri="{FF2B5EF4-FFF2-40B4-BE49-F238E27FC236}">
                    <a16:creationId xmlns:a16="http://schemas.microsoft.com/office/drawing/2014/main" id="{86A60F84-E88F-44F3-90E3-06A6923B98F1}"/>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a:stretch/>
            </p:blipFill>
            <p:spPr bwMode="auto">
              <a:xfrm>
                <a:off x="9324434" y="3931809"/>
                <a:ext cx="1062446" cy="600892"/>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2" descr="Partnership Inquiries">
                <a:extLst>
                  <a:ext uri="{FF2B5EF4-FFF2-40B4-BE49-F238E27FC236}">
                    <a16:creationId xmlns:a16="http://schemas.microsoft.com/office/drawing/2014/main" id="{0AF3D9C0-8A33-46E5-9421-856CF21DE30E}"/>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a:stretch/>
            </p:blipFill>
            <p:spPr bwMode="auto">
              <a:xfrm>
                <a:off x="8148775" y="4297568"/>
                <a:ext cx="1062446" cy="487680"/>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2" descr="Partnership Inquiries">
                <a:extLst>
                  <a:ext uri="{FF2B5EF4-FFF2-40B4-BE49-F238E27FC236}">
                    <a16:creationId xmlns:a16="http://schemas.microsoft.com/office/drawing/2014/main" id="{E00F0733-00C0-4E63-AAC3-8F44245925DE}"/>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a:stretch/>
            </p:blipFill>
            <p:spPr bwMode="auto">
              <a:xfrm>
                <a:off x="9768570" y="4105976"/>
                <a:ext cx="1062446" cy="644404"/>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4" descr="Partnership Inquiries">
                <a:extLst>
                  <a:ext uri="{FF2B5EF4-FFF2-40B4-BE49-F238E27FC236}">
                    <a16:creationId xmlns:a16="http://schemas.microsoft.com/office/drawing/2014/main" id="{C4BE0855-42FE-444E-A647-4B9C59E1495E}"/>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a:stretch/>
            </p:blipFill>
            <p:spPr bwMode="auto">
              <a:xfrm>
                <a:off x="8769260" y="2873484"/>
                <a:ext cx="1123407" cy="640313"/>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4" descr="Partnership Inquiries">
                <a:extLst>
                  <a:ext uri="{FF2B5EF4-FFF2-40B4-BE49-F238E27FC236}">
                    <a16:creationId xmlns:a16="http://schemas.microsoft.com/office/drawing/2014/main" id="{946A8275-45F0-4BF8-83CD-5FE09C415544}"/>
                  </a:ext>
                </a:extLst>
              </p:cNvPr>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a:stretch/>
            </p:blipFill>
            <p:spPr bwMode="auto">
              <a:xfrm>
                <a:off x="8769260" y="3252539"/>
                <a:ext cx="1123407" cy="548640"/>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4" descr="Partnership Inquiries">
                <a:extLst>
                  <a:ext uri="{FF2B5EF4-FFF2-40B4-BE49-F238E27FC236}">
                    <a16:creationId xmlns:a16="http://schemas.microsoft.com/office/drawing/2014/main" id="{13907E8E-E8EF-41CC-BBC3-EA9965C1BE8C}"/>
                  </a:ext>
                </a:extLst>
              </p:cNvPr>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a:stretch/>
            </p:blipFill>
            <p:spPr bwMode="auto">
              <a:xfrm>
                <a:off x="9182918" y="3422358"/>
                <a:ext cx="1123407" cy="714104"/>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4" descr="Partnership Inquiries">
                <a:extLst>
                  <a:ext uri="{FF2B5EF4-FFF2-40B4-BE49-F238E27FC236}">
                    <a16:creationId xmlns:a16="http://schemas.microsoft.com/office/drawing/2014/main" id="{9FB2EFEF-CF9D-439E-AAC7-8EB95C839789}"/>
                  </a:ext>
                </a:extLst>
              </p:cNvPr>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a:stretch/>
            </p:blipFill>
            <p:spPr bwMode="auto">
              <a:xfrm>
                <a:off x="8535216" y="2712607"/>
                <a:ext cx="1123407" cy="539932"/>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4" descr="Partnership Inquiries">
                <a:extLst>
                  <a:ext uri="{FF2B5EF4-FFF2-40B4-BE49-F238E27FC236}">
                    <a16:creationId xmlns:a16="http://schemas.microsoft.com/office/drawing/2014/main" id="{F15D8654-32D5-401D-AD53-83634B5DB497}"/>
                  </a:ext>
                </a:extLst>
              </p:cNvPr>
              <p:cNvPicPr>
                <a:picLocks noChangeAspect="1" noChangeArrowheads="1"/>
              </p:cNvPicPr>
              <p:nvPr/>
            </p:nvPicPr>
            <p:blipFill rotWithShape="1">
              <a:blip r:embed="rId19" cstate="print">
                <a:extLst>
                  <a:ext uri="{28A0092B-C50C-407E-A947-70E740481C1C}">
                    <a14:useLocalDpi xmlns:a14="http://schemas.microsoft.com/office/drawing/2010/main" val="0"/>
                  </a:ext>
                </a:extLst>
              </a:blip>
              <a:srcRect/>
              <a:stretch/>
            </p:blipFill>
            <p:spPr bwMode="auto">
              <a:xfrm>
                <a:off x="8651696" y="3792468"/>
                <a:ext cx="1123407" cy="757646"/>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4" descr="Partnership Inquiries">
                <a:extLst>
                  <a:ext uri="{FF2B5EF4-FFF2-40B4-BE49-F238E27FC236}">
                    <a16:creationId xmlns:a16="http://schemas.microsoft.com/office/drawing/2014/main" id="{9A256818-F738-4FF2-B51E-3CAC839E533D}"/>
                  </a:ext>
                </a:extLst>
              </p:cNvPr>
              <p:cNvPicPr>
                <a:picLocks noChangeAspect="1" noChangeArrowheads="1"/>
              </p:cNvPicPr>
              <p:nvPr/>
            </p:nvPicPr>
            <p:blipFill rotWithShape="1">
              <a:blip r:embed="rId20" cstate="print">
                <a:extLst>
                  <a:ext uri="{28A0092B-C50C-407E-A947-70E740481C1C}">
                    <a14:useLocalDpi xmlns:a14="http://schemas.microsoft.com/office/drawing/2010/main" val="0"/>
                  </a:ext>
                </a:extLst>
              </a:blip>
              <a:srcRect/>
              <a:stretch/>
            </p:blipFill>
            <p:spPr bwMode="auto">
              <a:xfrm>
                <a:off x="9104701" y="4352105"/>
                <a:ext cx="1123407" cy="505099"/>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4" descr="Partnership Inquiries">
                <a:extLst>
                  <a:ext uri="{FF2B5EF4-FFF2-40B4-BE49-F238E27FC236}">
                    <a16:creationId xmlns:a16="http://schemas.microsoft.com/office/drawing/2014/main" id="{74CFF1C8-DA3D-4F3E-87DC-DE5BAE910E26}"/>
                  </a:ext>
                </a:extLst>
              </p:cNvPr>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a:stretch/>
            </p:blipFill>
            <p:spPr bwMode="auto">
              <a:xfrm>
                <a:off x="9855657" y="3483202"/>
                <a:ext cx="1123407" cy="718693"/>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7" descr="Partnership Inquiries">
                <a:extLst>
                  <a:ext uri="{FF2B5EF4-FFF2-40B4-BE49-F238E27FC236}">
                    <a16:creationId xmlns:a16="http://schemas.microsoft.com/office/drawing/2014/main" id="{2396A427-9CCB-4690-8511-01886225D068}"/>
                  </a:ext>
                </a:extLst>
              </p:cNvPr>
              <p:cNvPicPr>
                <a:picLocks noChangeAspect="1" noChangeArrowheads="1"/>
              </p:cNvPicPr>
              <p:nvPr/>
            </p:nvPicPr>
            <p:blipFill rotWithShape="1">
              <a:blip r:embed="rId22" cstate="print">
                <a:extLst>
                  <a:ext uri="{28A0092B-C50C-407E-A947-70E740481C1C}">
                    <a14:useLocalDpi xmlns:a14="http://schemas.microsoft.com/office/drawing/2010/main" val="0"/>
                  </a:ext>
                </a:extLst>
              </a:blip>
              <a:srcRect/>
              <a:stretch/>
            </p:blipFill>
            <p:spPr bwMode="auto">
              <a:xfrm>
                <a:off x="9502433" y="2789187"/>
                <a:ext cx="1105988" cy="627016"/>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7" descr="Partnership Inquiries">
                <a:extLst>
                  <a:ext uri="{FF2B5EF4-FFF2-40B4-BE49-F238E27FC236}">
                    <a16:creationId xmlns:a16="http://schemas.microsoft.com/office/drawing/2014/main" id="{3E227F92-AA7E-4A75-9F03-9F0429EAA0A8}"/>
                  </a:ext>
                </a:extLst>
              </p:cNvPr>
              <p:cNvPicPr>
                <a:picLocks noChangeAspect="1" noChangeArrowheads="1"/>
              </p:cNvPicPr>
              <p:nvPr/>
            </p:nvPicPr>
            <p:blipFill rotWithShape="1">
              <a:blip r:embed="rId23" cstate="print">
                <a:extLst>
                  <a:ext uri="{28A0092B-C50C-407E-A947-70E740481C1C}">
                    <a14:useLocalDpi xmlns:a14="http://schemas.microsoft.com/office/drawing/2010/main" val="0"/>
                  </a:ext>
                </a:extLst>
              </a:blip>
              <a:srcRect/>
              <a:stretch/>
            </p:blipFill>
            <p:spPr bwMode="auto">
              <a:xfrm>
                <a:off x="9562289" y="4535875"/>
                <a:ext cx="1105989" cy="531223"/>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7" descr="Partnership Inquiries">
                <a:extLst>
                  <a:ext uri="{FF2B5EF4-FFF2-40B4-BE49-F238E27FC236}">
                    <a16:creationId xmlns:a16="http://schemas.microsoft.com/office/drawing/2014/main" id="{A76BAF29-6685-4497-AD79-EC583FD5C47C}"/>
                  </a:ext>
                </a:extLst>
              </p:cNvPr>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a:stretch/>
            </p:blipFill>
            <p:spPr bwMode="auto">
              <a:xfrm>
                <a:off x="8520137" y="4614859"/>
                <a:ext cx="1105989" cy="513806"/>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7" descr="Partnership Inquiries">
                <a:extLst>
                  <a:ext uri="{FF2B5EF4-FFF2-40B4-BE49-F238E27FC236}">
                    <a16:creationId xmlns:a16="http://schemas.microsoft.com/office/drawing/2014/main" id="{EA256CD3-2565-4D4D-9576-717C89DB0360}"/>
                  </a:ext>
                </a:extLst>
              </p:cNvPr>
              <p:cNvPicPr>
                <a:picLocks noChangeAspect="1" noChangeArrowheads="1"/>
              </p:cNvPicPr>
              <p:nvPr/>
            </p:nvPicPr>
            <p:blipFill rotWithShape="1">
              <a:blip r:embed="rId25" cstate="print">
                <a:extLst>
                  <a:ext uri="{28A0092B-C50C-407E-A947-70E740481C1C}">
                    <a14:useLocalDpi xmlns:a14="http://schemas.microsoft.com/office/drawing/2010/main" val="0"/>
                  </a:ext>
                </a:extLst>
              </a:blip>
              <a:srcRect/>
              <a:stretch/>
            </p:blipFill>
            <p:spPr bwMode="auto">
              <a:xfrm>
                <a:off x="7925619" y="3361395"/>
                <a:ext cx="1105989" cy="609600"/>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7" descr="Partnership Inquiries">
                <a:extLst>
                  <a:ext uri="{FF2B5EF4-FFF2-40B4-BE49-F238E27FC236}">
                    <a16:creationId xmlns:a16="http://schemas.microsoft.com/office/drawing/2014/main" id="{6F059C0B-D3C2-4C0F-9624-AF120A375736}"/>
                  </a:ext>
                </a:extLst>
              </p:cNvPr>
              <p:cNvPicPr>
                <a:picLocks noChangeAspect="1" noChangeArrowheads="1"/>
              </p:cNvPicPr>
              <p:nvPr/>
            </p:nvPicPr>
            <p:blipFill rotWithShape="1">
              <a:blip r:embed="rId26" cstate="print">
                <a:extLst>
                  <a:ext uri="{28A0092B-C50C-407E-A947-70E740481C1C}">
                    <a14:useLocalDpi xmlns:a14="http://schemas.microsoft.com/office/drawing/2010/main" val="0"/>
                  </a:ext>
                </a:extLst>
              </a:blip>
              <a:srcRect/>
              <a:stretch/>
            </p:blipFill>
            <p:spPr bwMode="auto">
              <a:xfrm>
                <a:off x="9286527" y="4834606"/>
                <a:ext cx="1105989" cy="614901"/>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84" name="TextBox 83">
            <a:extLst>
              <a:ext uri="{FF2B5EF4-FFF2-40B4-BE49-F238E27FC236}">
                <a16:creationId xmlns:a16="http://schemas.microsoft.com/office/drawing/2014/main" id="{01723C4B-B8D5-4FAF-9B74-5B5B7756C021}"/>
              </a:ext>
            </a:extLst>
          </p:cNvPr>
          <p:cNvSpPr txBox="1"/>
          <p:nvPr/>
        </p:nvSpPr>
        <p:spPr>
          <a:xfrm>
            <a:off x="1375722" y="5297252"/>
            <a:ext cx="1486481"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ea typeface="+mn-ea"/>
                <a:cs typeface="+mn-cs"/>
              </a:rPr>
              <a:t>Improved fan experience yields increased engagement and continues the data cycle to further build customer profiles</a:t>
            </a:r>
          </a:p>
        </p:txBody>
      </p:sp>
      <p:sp>
        <p:nvSpPr>
          <p:cNvPr id="85" name="Oval 84">
            <a:extLst>
              <a:ext uri="{FF2B5EF4-FFF2-40B4-BE49-F238E27FC236}">
                <a16:creationId xmlns:a16="http://schemas.microsoft.com/office/drawing/2014/main" id="{53D2D080-74CD-47A1-8A5C-95BF8BEC7EDA}"/>
              </a:ext>
            </a:extLst>
          </p:cNvPr>
          <p:cNvSpPr/>
          <p:nvPr/>
        </p:nvSpPr>
        <p:spPr>
          <a:xfrm>
            <a:off x="1097043" y="5359979"/>
            <a:ext cx="274320" cy="27209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ea typeface="+mn-ea"/>
                <a:cs typeface="+mn-cs"/>
              </a:rPr>
              <a:t>6</a:t>
            </a:r>
          </a:p>
        </p:txBody>
      </p:sp>
      <p:sp>
        <p:nvSpPr>
          <p:cNvPr id="86" name="TextBox 85">
            <a:extLst>
              <a:ext uri="{FF2B5EF4-FFF2-40B4-BE49-F238E27FC236}">
                <a16:creationId xmlns:a16="http://schemas.microsoft.com/office/drawing/2014/main" id="{722AC68D-B248-4253-AFCB-7CA4DB6BC185}"/>
              </a:ext>
            </a:extLst>
          </p:cNvPr>
          <p:cNvSpPr txBox="1"/>
          <p:nvPr/>
        </p:nvSpPr>
        <p:spPr>
          <a:xfrm>
            <a:off x="7847607" y="3691422"/>
            <a:ext cx="1947306"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Corporate Partners</a:t>
            </a:r>
          </a:p>
        </p:txBody>
      </p:sp>
      <p:sp>
        <p:nvSpPr>
          <p:cNvPr id="87" name="TextBox 86">
            <a:extLst>
              <a:ext uri="{FF2B5EF4-FFF2-40B4-BE49-F238E27FC236}">
                <a16:creationId xmlns:a16="http://schemas.microsoft.com/office/drawing/2014/main" id="{AAFC16FF-50A9-44BA-8DB4-04E7753459DA}"/>
              </a:ext>
            </a:extLst>
          </p:cNvPr>
          <p:cNvSpPr txBox="1"/>
          <p:nvPr/>
        </p:nvSpPr>
        <p:spPr>
          <a:xfrm>
            <a:off x="6245953" y="4129421"/>
            <a:ext cx="133003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Sports Client</a:t>
            </a:r>
          </a:p>
        </p:txBody>
      </p:sp>
      <p:sp>
        <p:nvSpPr>
          <p:cNvPr id="88" name="Trapezoid 2">
            <a:extLst>
              <a:ext uri="{FF2B5EF4-FFF2-40B4-BE49-F238E27FC236}">
                <a16:creationId xmlns:a16="http://schemas.microsoft.com/office/drawing/2014/main" id="{991C2CA2-367C-4F58-A3C9-DEEAA872AE9E}"/>
              </a:ext>
            </a:extLst>
          </p:cNvPr>
          <p:cNvSpPr/>
          <p:nvPr/>
        </p:nvSpPr>
        <p:spPr>
          <a:xfrm>
            <a:off x="1016000" y="2573473"/>
            <a:ext cx="10030968" cy="226780"/>
          </a:xfrm>
          <a:custGeom>
            <a:avLst/>
            <a:gdLst>
              <a:gd name="connsiteX0" fmla="*/ 0 w 9956800"/>
              <a:gd name="connsiteY0" fmla="*/ 314960 h 314960"/>
              <a:gd name="connsiteX1" fmla="*/ 0 w 9956800"/>
              <a:gd name="connsiteY1" fmla="*/ 0 h 314960"/>
              <a:gd name="connsiteX2" fmla="*/ 9956800 w 9956800"/>
              <a:gd name="connsiteY2" fmla="*/ 0 h 314960"/>
              <a:gd name="connsiteX3" fmla="*/ 9956800 w 9956800"/>
              <a:gd name="connsiteY3" fmla="*/ 314960 h 314960"/>
              <a:gd name="connsiteX4" fmla="*/ 0 w 9956800"/>
              <a:gd name="connsiteY4" fmla="*/ 314960 h 314960"/>
              <a:gd name="connsiteX0" fmla="*/ 0 w 9956800"/>
              <a:gd name="connsiteY0" fmla="*/ 314960 h 314960"/>
              <a:gd name="connsiteX1" fmla="*/ 0 w 9956800"/>
              <a:gd name="connsiteY1" fmla="*/ 0 h 314960"/>
              <a:gd name="connsiteX2" fmla="*/ 2743200 w 9956800"/>
              <a:gd name="connsiteY2" fmla="*/ 0 h 314960"/>
              <a:gd name="connsiteX3" fmla="*/ 9956800 w 9956800"/>
              <a:gd name="connsiteY3" fmla="*/ 314960 h 314960"/>
              <a:gd name="connsiteX4" fmla="*/ 0 w 9956800"/>
              <a:gd name="connsiteY4" fmla="*/ 314960 h 314960"/>
              <a:gd name="connsiteX0" fmla="*/ 0 w 9956800"/>
              <a:gd name="connsiteY0" fmla="*/ 314960 h 314960"/>
              <a:gd name="connsiteX1" fmla="*/ 0 w 9956800"/>
              <a:gd name="connsiteY1" fmla="*/ 0 h 314960"/>
              <a:gd name="connsiteX2" fmla="*/ 6400800 w 9956800"/>
              <a:gd name="connsiteY2" fmla="*/ 13804 h 314960"/>
              <a:gd name="connsiteX3" fmla="*/ 9956800 w 9956800"/>
              <a:gd name="connsiteY3" fmla="*/ 314960 h 314960"/>
              <a:gd name="connsiteX4" fmla="*/ 0 w 9956800"/>
              <a:gd name="connsiteY4" fmla="*/ 314960 h 314960"/>
              <a:gd name="connsiteX0" fmla="*/ 0 w 9956800"/>
              <a:gd name="connsiteY0" fmla="*/ 314960 h 314960"/>
              <a:gd name="connsiteX1" fmla="*/ 0 w 9956800"/>
              <a:gd name="connsiteY1" fmla="*/ 0 h 314960"/>
              <a:gd name="connsiteX2" fmla="*/ 9909313 w 9956800"/>
              <a:gd name="connsiteY2" fmla="*/ 41411 h 314960"/>
              <a:gd name="connsiteX3" fmla="*/ 9956800 w 9956800"/>
              <a:gd name="connsiteY3" fmla="*/ 314960 h 314960"/>
              <a:gd name="connsiteX4" fmla="*/ 0 w 9956800"/>
              <a:gd name="connsiteY4" fmla="*/ 314960 h 314960"/>
              <a:gd name="connsiteX0" fmla="*/ 0 w 9956800"/>
              <a:gd name="connsiteY0" fmla="*/ 314960 h 314960"/>
              <a:gd name="connsiteX1" fmla="*/ 0 w 9956800"/>
              <a:gd name="connsiteY1" fmla="*/ 0 h 314960"/>
              <a:gd name="connsiteX2" fmla="*/ 9953828 w 9956800"/>
              <a:gd name="connsiteY2" fmla="*/ 41411 h 314960"/>
              <a:gd name="connsiteX3" fmla="*/ 9956800 w 9956800"/>
              <a:gd name="connsiteY3" fmla="*/ 314960 h 314960"/>
              <a:gd name="connsiteX4" fmla="*/ 0 w 9956800"/>
              <a:gd name="connsiteY4" fmla="*/ 314960 h 314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800" h="314960">
                <a:moveTo>
                  <a:pt x="0" y="314960"/>
                </a:moveTo>
                <a:lnTo>
                  <a:pt x="0" y="0"/>
                </a:lnTo>
                <a:lnTo>
                  <a:pt x="9953828" y="41411"/>
                </a:lnTo>
                <a:cubicBezTo>
                  <a:pt x="9954819" y="132594"/>
                  <a:pt x="9955809" y="223777"/>
                  <a:pt x="9956800" y="314960"/>
                </a:cubicBezTo>
                <a:lnTo>
                  <a:pt x="0" y="314960"/>
                </a:lnTo>
                <a:close/>
              </a:path>
            </a:pathLst>
          </a:cu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6" name="Oval 5">
            <a:extLst>
              <a:ext uri="{FF2B5EF4-FFF2-40B4-BE49-F238E27FC236}">
                <a16:creationId xmlns:a16="http://schemas.microsoft.com/office/drawing/2014/main" id="{0229F5FC-6136-4F28-8C6A-C9A3B52FA6F2}"/>
              </a:ext>
            </a:extLst>
          </p:cNvPr>
          <p:cNvSpPr/>
          <p:nvPr/>
        </p:nvSpPr>
        <p:spPr>
          <a:xfrm>
            <a:off x="6564828" y="4469760"/>
            <a:ext cx="757173" cy="68587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Logo</a:t>
            </a:r>
          </a:p>
        </p:txBody>
      </p:sp>
    </p:spTree>
    <p:extLst>
      <p:ext uri="{BB962C8B-B14F-4D97-AF65-F5344CB8AC3E}">
        <p14:creationId xmlns:p14="http://schemas.microsoft.com/office/powerpoint/2010/main" val="2422350339"/>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a:extLst>
              <a:ext uri="{FF2B5EF4-FFF2-40B4-BE49-F238E27FC236}">
                <a16:creationId xmlns:a16="http://schemas.microsoft.com/office/drawing/2014/main" id="{1D0D3D51-0938-46E0-9712-B2ACE7A94AF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2516" name="think-cell Slide" r:id="rId6" imgW="395" imgH="396" progId="TCLayout.ActiveDocument.1">
                  <p:embed/>
                </p:oleObj>
              </mc:Choice>
              <mc:Fallback>
                <p:oleObj name="think-cell Slide" r:id="rId6" imgW="395" imgH="396" progId="TCLayout.ActiveDocument.1">
                  <p:embed/>
                  <p:pic>
                    <p:nvPicPr>
                      <p:cNvPr id="31" name="Object 30" hidden="1">
                        <a:extLst>
                          <a:ext uri="{FF2B5EF4-FFF2-40B4-BE49-F238E27FC236}">
                            <a16:creationId xmlns:a16="http://schemas.microsoft.com/office/drawing/2014/main" id="{1D0D3D51-0938-46E0-9712-B2ACE7A94AF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0" name="Rectangle 29" hidden="1">
            <a:extLst>
              <a:ext uri="{FF2B5EF4-FFF2-40B4-BE49-F238E27FC236}">
                <a16:creationId xmlns:a16="http://schemas.microsoft.com/office/drawing/2014/main" id="{1201B0E9-846C-4BBD-9B11-8AA882EBBB2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A4F8DC28-DC6C-4269-B988-A4105EE31266}"/>
              </a:ext>
            </a:extLst>
          </p:cNvPr>
          <p:cNvSpPr>
            <a:spLocks noGrp="1"/>
          </p:cNvSpPr>
          <p:nvPr>
            <p:ph type="title"/>
          </p:nvPr>
        </p:nvSpPr>
        <p:spPr/>
        <p:txBody>
          <a:bodyPr/>
          <a:lstStyle/>
          <a:p>
            <a:r>
              <a:rPr lang="en-US" dirty="0"/>
              <a:t>Trade Investment Framework</a:t>
            </a:r>
          </a:p>
        </p:txBody>
      </p:sp>
      <p:sp>
        <p:nvSpPr>
          <p:cNvPr id="3" name="Text Placeholder 2">
            <a:extLst>
              <a:ext uri="{FF2B5EF4-FFF2-40B4-BE49-F238E27FC236}">
                <a16:creationId xmlns:a16="http://schemas.microsoft.com/office/drawing/2014/main" id="{FF423EF2-F2A6-4F62-8942-16891C8315C0}"/>
              </a:ext>
            </a:extLst>
          </p:cNvPr>
          <p:cNvSpPr>
            <a:spLocks noGrp="1"/>
          </p:cNvSpPr>
          <p:nvPr>
            <p:ph type="body" sz="quarter" idx="14"/>
          </p:nvPr>
        </p:nvSpPr>
        <p:spPr/>
        <p:txBody>
          <a:bodyPr/>
          <a:lstStyle/>
          <a:p>
            <a:r>
              <a:rPr lang="en-US" dirty="0"/>
              <a:t>In the future state, we recommend two distinct levers to drive monetary-based trade investments with customers</a:t>
            </a:r>
          </a:p>
        </p:txBody>
      </p:sp>
      <p:sp>
        <p:nvSpPr>
          <p:cNvPr id="4" name="Text Placeholder 3">
            <a:extLst>
              <a:ext uri="{FF2B5EF4-FFF2-40B4-BE49-F238E27FC236}">
                <a16:creationId xmlns:a16="http://schemas.microsoft.com/office/drawing/2014/main" id="{9AC807EF-FA44-44EC-AF85-4FF7187D3C66}"/>
              </a:ext>
            </a:extLst>
          </p:cNvPr>
          <p:cNvSpPr>
            <a:spLocks noGrp="1"/>
          </p:cNvSpPr>
          <p:nvPr>
            <p:ph type="body" sz="quarter" idx="15"/>
          </p:nvPr>
        </p:nvSpPr>
        <p:spPr>
          <a:xfrm>
            <a:off x="914970" y="466344"/>
            <a:ext cx="3657029" cy="219964"/>
          </a:xfrm>
        </p:spPr>
        <p:txBody>
          <a:bodyPr/>
          <a:lstStyle/>
          <a:p>
            <a:r>
              <a:rPr lang="en-US" dirty="0"/>
              <a:t>FRAMEWORKS &amp; CONCEPT ILLUSTRATION</a:t>
            </a:r>
          </a:p>
        </p:txBody>
      </p:sp>
      <p:sp>
        <p:nvSpPr>
          <p:cNvPr id="5" name="Title 3">
            <a:extLst>
              <a:ext uri="{FF2B5EF4-FFF2-40B4-BE49-F238E27FC236}">
                <a16:creationId xmlns:a16="http://schemas.microsoft.com/office/drawing/2014/main" id="{1E295AAD-9414-4F6A-B03B-2CCB4479B9E6}"/>
              </a:ext>
            </a:extLst>
          </p:cNvPr>
          <p:cNvSpPr txBox="1">
            <a:spLocks/>
          </p:cNvSpPr>
          <p:nvPr/>
        </p:nvSpPr>
        <p:spPr>
          <a:xfrm>
            <a:off x="469900" y="402587"/>
            <a:ext cx="11252200"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b="1" dirty="0"/>
          </a:p>
        </p:txBody>
      </p:sp>
      <p:sp>
        <p:nvSpPr>
          <p:cNvPr id="6" name="Rectangle 5">
            <a:extLst>
              <a:ext uri="{FF2B5EF4-FFF2-40B4-BE49-F238E27FC236}">
                <a16:creationId xmlns:a16="http://schemas.microsoft.com/office/drawing/2014/main" id="{CA8A6588-6F30-42DB-AC7C-6CF946F9F6B4}"/>
              </a:ext>
            </a:extLst>
          </p:cNvPr>
          <p:cNvSpPr/>
          <p:nvPr/>
        </p:nvSpPr>
        <p:spPr bwMode="gray">
          <a:xfrm>
            <a:off x="826684" y="2129574"/>
            <a:ext cx="2466038" cy="831273"/>
          </a:xfrm>
          <a:prstGeom prst="rect">
            <a:avLst/>
          </a:prstGeom>
          <a:pattFill prst="pct30">
            <a:fgClr>
              <a:schemeClr val="accent3"/>
            </a:fgClr>
            <a:bgClr>
              <a:schemeClr val="bg1"/>
            </a:bgClr>
          </a:patt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prstClr val="black"/>
                </a:solidFill>
                <a:effectLst/>
                <a:uLnTx/>
                <a:uFillTx/>
                <a:ea typeface="+mn-ea"/>
                <a:cs typeface="+mn-cs"/>
              </a:rPr>
              <a:t>Standard Discount</a:t>
            </a:r>
          </a:p>
        </p:txBody>
      </p:sp>
      <p:sp>
        <p:nvSpPr>
          <p:cNvPr id="7" name="Rectangle 6">
            <a:extLst>
              <a:ext uri="{FF2B5EF4-FFF2-40B4-BE49-F238E27FC236}">
                <a16:creationId xmlns:a16="http://schemas.microsoft.com/office/drawing/2014/main" id="{C7F28BD0-D361-4D1A-95A5-32F87CB36608}"/>
              </a:ext>
            </a:extLst>
          </p:cNvPr>
          <p:cNvSpPr/>
          <p:nvPr/>
        </p:nvSpPr>
        <p:spPr bwMode="gray">
          <a:xfrm>
            <a:off x="3903539" y="2129574"/>
            <a:ext cx="2286000" cy="831273"/>
          </a:xfrm>
          <a:prstGeom prst="rect">
            <a:avLst/>
          </a:prstGeom>
          <a:pattFill prst="pct30">
            <a:fgClr>
              <a:schemeClr val="accent3"/>
            </a:fgClr>
            <a:bgClr>
              <a:schemeClr val="bg1"/>
            </a:bgClr>
          </a:patt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prstClr val="black"/>
                </a:solidFill>
                <a:effectLst/>
                <a:uLnTx/>
                <a:uFillTx/>
                <a:ea typeface="+mn-ea"/>
                <a:cs typeface="+mn-cs"/>
              </a:rPr>
              <a:t>Performance-Led</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prstClr val="black"/>
                </a:solidFill>
                <a:effectLst/>
                <a:uLnTx/>
                <a:uFillTx/>
                <a:ea typeface="+mn-ea"/>
                <a:cs typeface="+mn-cs"/>
              </a:rPr>
              <a:t>Discount(s)</a:t>
            </a:r>
          </a:p>
        </p:txBody>
      </p:sp>
      <p:sp>
        <p:nvSpPr>
          <p:cNvPr id="8" name="Plus 20">
            <a:extLst>
              <a:ext uri="{FF2B5EF4-FFF2-40B4-BE49-F238E27FC236}">
                <a16:creationId xmlns:a16="http://schemas.microsoft.com/office/drawing/2014/main" id="{89A9B468-0F18-4685-B9F7-637FD06D9905}"/>
              </a:ext>
            </a:extLst>
          </p:cNvPr>
          <p:cNvSpPr/>
          <p:nvPr/>
        </p:nvSpPr>
        <p:spPr bwMode="gray">
          <a:xfrm>
            <a:off x="3307433" y="2264287"/>
            <a:ext cx="567333" cy="579601"/>
          </a:xfrm>
          <a:prstGeom prst="mathPlus">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9" name="Equal 2">
            <a:extLst>
              <a:ext uri="{FF2B5EF4-FFF2-40B4-BE49-F238E27FC236}">
                <a16:creationId xmlns:a16="http://schemas.microsoft.com/office/drawing/2014/main" id="{D1A58DE1-B0C3-47E2-A6F2-D4C83E5AF946}"/>
              </a:ext>
            </a:extLst>
          </p:cNvPr>
          <p:cNvSpPr/>
          <p:nvPr/>
        </p:nvSpPr>
        <p:spPr bwMode="gray">
          <a:xfrm>
            <a:off x="8712479" y="2328913"/>
            <a:ext cx="550268" cy="432594"/>
          </a:xfrm>
          <a:prstGeom prst="mathEqual">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0" name="Rectangle 9">
            <a:extLst>
              <a:ext uri="{FF2B5EF4-FFF2-40B4-BE49-F238E27FC236}">
                <a16:creationId xmlns:a16="http://schemas.microsoft.com/office/drawing/2014/main" id="{2C25BDC9-7F60-4241-A6B1-333CF5AC4604}"/>
              </a:ext>
            </a:extLst>
          </p:cNvPr>
          <p:cNvSpPr/>
          <p:nvPr/>
        </p:nvSpPr>
        <p:spPr bwMode="gray">
          <a:xfrm>
            <a:off x="9289294" y="2129574"/>
            <a:ext cx="2286000" cy="831273"/>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prstClr val="white"/>
                </a:solidFill>
                <a:effectLst/>
                <a:uLnTx/>
                <a:uFillTx/>
                <a:ea typeface="+mn-ea"/>
                <a:cs typeface="+mn-cs"/>
              </a:rPr>
              <a:t>Total Set of Trade &amp; Conditions for a Customer </a:t>
            </a:r>
          </a:p>
        </p:txBody>
      </p:sp>
      <p:sp>
        <p:nvSpPr>
          <p:cNvPr id="11" name="TextBox 10">
            <a:extLst>
              <a:ext uri="{FF2B5EF4-FFF2-40B4-BE49-F238E27FC236}">
                <a16:creationId xmlns:a16="http://schemas.microsoft.com/office/drawing/2014/main" id="{5196E5BD-9F0D-4A92-B48A-D57621B16F0C}"/>
              </a:ext>
            </a:extLst>
          </p:cNvPr>
          <p:cNvSpPr txBox="1"/>
          <p:nvPr/>
        </p:nvSpPr>
        <p:spPr>
          <a:xfrm>
            <a:off x="817892" y="3139858"/>
            <a:ext cx="2475522" cy="338554"/>
          </a:xfrm>
          <a:prstGeom prst="rect">
            <a:avLst/>
          </a:prstGeom>
          <a:noFill/>
        </p:spPr>
        <p:txBody>
          <a:bodyPr vert="horz" wrap="square" lIns="0" tIns="0" rIns="0" bIns="0" rtlCol="0">
            <a:spAutoFit/>
          </a:bodyPr>
          <a:lstStyle/>
          <a:p>
            <a:pPr marL="114300" marR="0" lvl="0" indent="-114300" algn="l" defTabSz="914400" rtl="0" eaLnBrk="1" fontAlgn="auto" latinLnBrk="0" hangingPunct="1">
              <a:lnSpc>
                <a:spcPct val="100000"/>
              </a:lnSpc>
              <a:spcBef>
                <a:spcPts val="300"/>
              </a:spcBef>
              <a:spcAft>
                <a:spcPts val="300"/>
              </a:spcAft>
              <a:buClrTx/>
              <a:buSzPct val="100000"/>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ea typeface="+mn-ea"/>
                <a:cs typeface="+mn-cs"/>
              </a:rPr>
              <a:t>Standard product-based discount available to all customers </a:t>
            </a:r>
          </a:p>
        </p:txBody>
      </p:sp>
      <p:sp>
        <p:nvSpPr>
          <p:cNvPr id="12" name="TextBox 11">
            <a:extLst>
              <a:ext uri="{FF2B5EF4-FFF2-40B4-BE49-F238E27FC236}">
                <a16:creationId xmlns:a16="http://schemas.microsoft.com/office/drawing/2014/main" id="{65C6DA7E-CB73-438D-B58B-6AF8F63DE9EC}"/>
              </a:ext>
            </a:extLst>
          </p:cNvPr>
          <p:cNvSpPr txBox="1"/>
          <p:nvPr/>
        </p:nvSpPr>
        <p:spPr>
          <a:xfrm>
            <a:off x="3903540" y="3139858"/>
            <a:ext cx="2307778" cy="677108"/>
          </a:xfrm>
          <a:prstGeom prst="rect">
            <a:avLst/>
          </a:prstGeom>
          <a:noFill/>
        </p:spPr>
        <p:txBody>
          <a:bodyPr vert="horz" wrap="square" lIns="0" tIns="0" rIns="0" bIns="0" rtlCol="0">
            <a:spAutoFit/>
          </a:bodyPr>
          <a:lstStyle/>
          <a:p>
            <a:pPr marL="114300" marR="0" lvl="0" indent="-114300" algn="l" defTabSz="914400" rtl="0" eaLnBrk="1" fontAlgn="auto" latinLnBrk="0" hangingPunct="1">
              <a:lnSpc>
                <a:spcPct val="100000"/>
              </a:lnSpc>
              <a:spcBef>
                <a:spcPts val="300"/>
              </a:spcBef>
              <a:spcAft>
                <a:spcPts val="300"/>
              </a:spcAft>
              <a:buClrTx/>
              <a:buSzPct val="100000"/>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ea typeface="+mn-ea"/>
                <a:cs typeface="+mn-cs"/>
              </a:rPr>
              <a:t>“Menu of terms” tied to a business objective which a sales rep can offer based on account priorities</a:t>
            </a:r>
          </a:p>
        </p:txBody>
      </p:sp>
      <p:sp>
        <p:nvSpPr>
          <p:cNvPr id="13" name="TextBox 12">
            <a:extLst>
              <a:ext uri="{FF2B5EF4-FFF2-40B4-BE49-F238E27FC236}">
                <a16:creationId xmlns:a16="http://schemas.microsoft.com/office/drawing/2014/main" id="{8656441B-7AA3-4634-967B-D3879CAF5D46}"/>
              </a:ext>
            </a:extLst>
          </p:cNvPr>
          <p:cNvSpPr txBox="1"/>
          <p:nvPr/>
        </p:nvSpPr>
        <p:spPr>
          <a:xfrm>
            <a:off x="9289294" y="3139858"/>
            <a:ext cx="2286000" cy="507831"/>
          </a:xfrm>
          <a:prstGeom prst="rect">
            <a:avLst/>
          </a:prstGeom>
          <a:noFill/>
        </p:spPr>
        <p:txBody>
          <a:bodyPr vert="horz" wrap="square" lIns="0" tIns="0" rIns="0" bIns="0" rtlCol="0">
            <a:spAutoFit/>
          </a:bodyPr>
          <a:lstStyle/>
          <a:p>
            <a:pPr marL="114300" marR="0" lvl="0" indent="-114300" algn="l" defTabSz="914400" rtl="0" eaLnBrk="1" fontAlgn="auto" latinLnBrk="0" hangingPunct="1">
              <a:lnSpc>
                <a:spcPct val="100000"/>
              </a:lnSpc>
              <a:spcBef>
                <a:spcPts val="200"/>
              </a:spcBef>
              <a:spcAft>
                <a:spcPts val="0"/>
              </a:spcAft>
              <a:buClrTx/>
              <a:buSzPct val="100000"/>
              <a:buFont typeface="Arial" panose="020B0604020202020204" pitchFamily="34" charset="0"/>
              <a:buChar char="•"/>
              <a:tabLst/>
              <a:defRPr/>
            </a:pPr>
            <a:r>
              <a:rPr kumimoji="0" lang="en-US" sz="1100" b="1" i="0" u="none" strike="noStrike" kern="1200" cap="none" spc="0" normalizeH="0" baseline="0" noProof="0" dirty="0">
                <a:ln>
                  <a:noFill/>
                </a:ln>
                <a:solidFill>
                  <a:prstClr val="black"/>
                </a:solidFill>
                <a:effectLst/>
                <a:uLnTx/>
                <a:uFillTx/>
                <a:ea typeface="+mn-ea"/>
                <a:cs typeface="+mn-cs"/>
              </a:rPr>
              <a:t>Standardized and documented</a:t>
            </a:r>
            <a:r>
              <a:rPr kumimoji="0" lang="en-US" sz="1100" b="0" i="0" u="none" strike="noStrike" kern="1200" cap="none" spc="0" normalizeH="0" baseline="0" noProof="0" dirty="0">
                <a:ln>
                  <a:noFill/>
                </a:ln>
                <a:solidFill>
                  <a:prstClr val="black"/>
                </a:solidFill>
                <a:effectLst/>
                <a:uLnTx/>
                <a:uFillTx/>
                <a:ea typeface="+mn-ea"/>
                <a:cs typeface="+mn-cs"/>
              </a:rPr>
              <a:t> approach to negotiating trade terms</a:t>
            </a:r>
          </a:p>
        </p:txBody>
      </p:sp>
      <p:sp>
        <p:nvSpPr>
          <p:cNvPr id="14" name="Text Placeholder 10">
            <a:extLst>
              <a:ext uri="{FF2B5EF4-FFF2-40B4-BE49-F238E27FC236}">
                <a16:creationId xmlns:a16="http://schemas.microsoft.com/office/drawing/2014/main" id="{E7828F3E-57C2-45F9-97BC-FEEAE6031C31}"/>
              </a:ext>
            </a:extLst>
          </p:cNvPr>
          <p:cNvSpPr txBox="1">
            <a:spLocks/>
          </p:cNvSpPr>
          <p:nvPr/>
        </p:nvSpPr>
        <p:spPr>
          <a:xfrm>
            <a:off x="469900" y="1901584"/>
            <a:ext cx="11252200" cy="455979"/>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15" name="Rectangle 14">
            <a:extLst>
              <a:ext uri="{FF2B5EF4-FFF2-40B4-BE49-F238E27FC236}">
                <a16:creationId xmlns:a16="http://schemas.microsoft.com/office/drawing/2014/main" id="{C6CCCA67-7681-45FD-A925-FA80A35C961F}"/>
              </a:ext>
            </a:extLst>
          </p:cNvPr>
          <p:cNvSpPr/>
          <p:nvPr/>
        </p:nvSpPr>
        <p:spPr bwMode="gray">
          <a:xfrm>
            <a:off x="6792753" y="2129574"/>
            <a:ext cx="1911416" cy="831273"/>
          </a:xfrm>
          <a:prstGeom prst="rect">
            <a:avLst/>
          </a:prstGeom>
          <a:solidFill>
            <a:schemeClr val="bg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srgbClr val="53565A"/>
                </a:solidFill>
                <a:effectLst/>
                <a:uLnTx/>
                <a:uFillTx/>
                <a:ea typeface="+mn-ea"/>
                <a:cs typeface="+mn-cs"/>
              </a:rPr>
              <a:t>Other Terms and Conditions</a:t>
            </a:r>
          </a:p>
        </p:txBody>
      </p:sp>
      <p:sp>
        <p:nvSpPr>
          <p:cNvPr id="16" name="TextBox 15">
            <a:extLst>
              <a:ext uri="{FF2B5EF4-FFF2-40B4-BE49-F238E27FC236}">
                <a16:creationId xmlns:a16="http://schemas.microsoft.com/office/drawing/2014/main" id="{EFCE0C99-56F7-4533-B5FF-04141434207B}"/>
              </a:ext>
            </a:extLst>
          </p:cNvPr>
          <p:cNvSpPr txBox="1"/>
          <p:nvPr/>
        </p:nvSpPr>
        <p:spPr>
          <a:xfrm>
            <a:off x="6792753" y="3139858"/>
            <a:ext cx="1896065" cy="507831"/>
          </a:xfrm>
          <a:prstGeom prst="rect">
            <a:avLst/>
          </a:prstGeom>
          <a:noFill/>
        </p:spPr>
        <p:txBody>
          <a:bodyPr vert="horz" wrap="square" lIns="0" tIns="0" rIns="0" bIns="0" rtlCol="0">
            <a:spAutoFit/>
          </a:bodyPr>
          <a:lstStyle/>
          <a:p>
            <a:pPr marL="114300" marR="0" lvl="0" indent="-114300" algn="l" defTabSz="914400" rtl="0" eaLnBrk="1" fontAlgn="auto" latinLnBrk="0" hangingPunct="1">
              <a:lnSpc>
                <a:spcPct val="100000"/>
              </a:lnSpc>
              <a:spcBef>
                <a:spcPts val="200"/>
              </a:spcBef>
              <a:spcAft>
                <a:spcPts val="0"/>
              </a:spcAft>
              <a:buClrTx/>
              <a:buSzPct val="100000"/>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ea typeface="+mn-ea"/>
                <a:cs typeface="+mn-cs"/>
              </a:rPr>
              <a:t>Non-monetary terms and conditions associated with a customer’s account</a:t>
            </a:r>
          </a:p>
        </p:txBody>
      </p:sp>
      <p:sp>
        <p:nvSpPr>
          <p:cNvPr id="17" name="Plus 15">
            <a:extLst>
              <a:ext uri="{FF2B5EF4-FFF2-40B4-BE49-F238E27FC236}">
                <a16:creationId xmlns:a16="http://schemas.microsoft.com/office/drawing/2014/main" id="{5E551F49-8958-467B-987B-1780BCE1468B}"/>
              </a:ext>
            </a:extLst>
          </p:cNvPr>
          <p:cNvSpPr/>
          <p:nvPr/>
        </p:nvSpPr>
        <p:spPr bwMode="gray">
          <a:xfrm>
            <a:off x="6207836" y="2264287"/>
            <a:ext cx="567333" cy="579601"/>
          </a:xfrm>
          <a:prstGeom prst="mathPlus">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nvGrpSpPr>
          <p:cNvPr id="18" name="Group 17">
            <a:extLst>
              <a:ext uri="{FF2B5EF4-FFF2-40B4-BE49-F238E27FC236}">
                <a16:creationId xmlns:a16="http://schemas.microsoft.com/office/drawing/2014/main" id="{09E75AC6-D4BE-44E6-895D-86130A41FD19}"/>
              </a:ext>
            </a:extLst>
          </p:cNvPr>
          <p:cNvGrpSpPr/>
          <p:nvPr/>
        </p:nvGrpSpPr>
        <p:grpSpPr>
          <a:xfrm>
            <a:off x="775911" y="1826325"/>
            <a:ext cx="5486400" cy="224474"/>
            <a:chOff x="259109" y="1427408"/>
            <a:chExt cx="6035040" cy="246922"/>
          </a:xfrm>
        </p:grpSpPr>
        <p:sp>
          <p:nvSpPr>
            <p:cNvPr id="19" name="Right Bracket 18">
              <a:extLst>
                <a:ext uri="{FF2B5EF4-FFF2-40B4-BE49-F238E27FC236}">
                  <a16:creationId xmlns:a16="http://schemas.microsoft.com/office/drawing/2014/main" id="{69F05A54-804B-4395-B2D2-6C97032FC9D3}"/>
                </a:ext>
              </a:extLst>
            </p:cNvPr>
            <p:cNvSpPr/>
            <p:nvPr/>
          </p:nvSpPr>
          <p:spPr>
            <a:xfrm rot="16200000">
              <a:off x="3193330" y="-1426488"/>
              <a:ext cx="166597" cy="6035040"/>
            </a:xfrm>
            <a:prstGeom prst="rightBracket">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0" name="TextBox 19">
              <a:extLst>
                <a:ext uri="{FF2B5EF4-FFF2-40B4-BE49-F238E27FC236}">
                  <a16:creationId xmlns:a16="http://schemas.microsoft.com/office/drawing/2014/main" id="{38DD80C1-911C-4AAB-819A-5E2D19386BEF}"/>
                </a:ext>
              </a:extLst>
            </p:cNvPr>
            <p:cNvSpPr txBox="1"/>
            <p:nvPr/>
          </p:nvSpPr>
          <p:spPr>
            <a:xfrm>
              <a:off x="2380517" y="1427408"/>
              <a:ext cx="1789235" cy="203133"/>
            </a:xfrm>
            <a:prstGeom prst="rect">
              <a:avLst/>
            </a:prstGeom>
            <a:solidFill>
              <a:schemeClr val="bg1"/>
            </a:solid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Trade Investment</a:t>
              </a:r>
            </a:p>
          </p:txBody>
        </p:sp>
      </p:grpSp>
      <p:sp>
        <p:nvSpPr>
          <p:cNvPr id="21" name="TextBox 20">
            <a:extLst>
              <a:ext uri="{FF2B5EF4-FFF2-40B4-BE49-F238E27FC236}">
                <a16:creationId xmlns:a16="http://schemas.microsoft.com/office/drawing/2014/main" id="{3DB84041-D7A8-43C0-B522-EC7D2411806C}"/>
              </a:ext>
            </a:extLst>
          </p:cNvPr>
          <p:cNvSpPr txBox="1"/>
          <p:nvPr/>
        </p:nvSpPr>
        <p:spPr>
          <a:xfrm rot="16200000">
            <a:off x="-295483" y="5202424"/>
            <a:ext cx="1725340" cy="184666"/>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Expected Outcomes</a:t>
            </a:r>
          </a:p>
        </p:txBody>
      </p:sp>
      <p:cxnSp>
        <p:nvCxnSpPr>
          <p:cNvPr id="22" name="Straight Connector 21">
            <a:extLst>
              <a:ext uri="{FF2B5EF4-FFF2-40B4-BE49-F238E27FC236}">
                <a16:creationId xmlns:a16="http://schemas.microsoft.com/office/drawing/2014/main" id="{E23CBAEF-62A5-4B5A-9143-202E97B2AC3B}"/>
              </a:ext>
            </a:extLst>
          </p:cNvPr>
          <p:cNvCxnSpPr/>
          <p:nvPr/>
        </p:nvCxnSpPr>
        <p:spPr>
          <a:xfrm>
            <a:off x="520934" y="4183640"/>
            <a:ext cx="11188672"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42115401-5A3E-4D35-9DEE-78BB8E8B3231}"/>
              </a:ext>
            </a:extLst>
          </p:cNvPr>
          <p:cNvSpPr txBox="1"/>
          <p:nvPr/>
        </p:nvSpPr>
        <p:spPr>
          <a:xfrm>
            <a:off x="817892" y="4393341"/>
            <a:ext cx="2475522" cy="1677382"/>
          </a:xfrm>
          <a:prstGeom prst="rect">
            <a:avLst/>
          </a:prstGeom>
          <a:noFill/>
        </p:spPr>
        <p:txBody>
          <a:bodyPr vert="horz" wrap="square" lIns="0" tIns="0" rIns="0" bIns="0" rtlCol="0">
            <a:spAutoFit/>
          </a:bodyPr>
          <a:lstStyle/>
          <a:p>
            <a:pPr marL="114300" marR="0" lvl="0" indent="-114300" algn="l" defTabSz="914400" rtl="0" eaLnBrk="1" fontAlgn="auto" latinLnBrk="0" hangingPunct="1">
              <a:lnSpc>
                <a:spcPct val="100000"/>
              </a:lnSpc>
              <a:spcBef>
                <a:spcPts val="300"/>
              </a:spcBef>
              <a:spcAft>
                <a:spcPts val="300"/>
              </a:spcAft>
              <a:buClrTx/>
              <a:buSzPct val="100000"/>
              <a:buFont typeface="Arial" panose="020B0604020202020204" pitchFamily="34" charset="0"/>
              <a:buChar char="•"/>
              <a:tabLst/>
              <a:defRPr/>
            </a:pPr>
            <a:r>
              <a:rPr kumimoji="0" lang="en-US" sz="1100" b="1" i="0" u="none" strike="noStrike" kern="1200" cap="none" spc="0" normalizeH="0" baseline="0" noProof="0" dirty="0">
                <a:ln>
                  <a:noFill/>
                </a:ln>
                <a:solidFill>
                  <a:prstClr val="black"/>
                </a:solidFill>
                <a:effectLst/>
                <a:uLnTx/>
                <a:uFillTx/>
                <a:ea typeface="+mn-ea"/>
                <a:cs typeface="+mn-cs"/>
              </a:rPr>
              <a:t>Simple: </a:t>
            </a:r>
            <a:r>
              <a:rPr kumimoji="0" lang="en-US" sz="1100" b="0" i="0" u="none" strike="noStrike" kern="1200" cap="none" spc="0" normalizeH="0" baseline="0" noProof="0" dirty="0">
                <a:ln>
                  <a:noFill/>
                </a:ln>
                <a:solidFill>
                  <a:prstClr val="black"/>
                </a:solidFill>
                <a:effectLst/>
                <a:uLnTx/>
                <a:uFillTx/>
                <a:ea typeface="+mn-ea"/>
                <a:cs typeface="+mn-cs"/>
              </a:rPr>
              <a:t>ensure this discount is easily governable</a:t>
            </a:r>
            <a:r>
              <a:rPr kumimoji="0" lang="en-US" sz="1100" b="1" i="0" u="none" strike="noStrike" kern="1200" cap="none" spc="0" normalizeH="0" baseline="0" noProof="0" dirty="0">
                <a:ln>
                  <a:noFill/>
                </a:ln>
                <a:solidFill>
                  <a:prstClr val="black"/>
                </a:solidFill>
                <a:effectLst/>
                <a:uLnTx/>
                <a:uFillTx/>
                <a:ea typeface="+mn-ea"/>
                <a:cs typeface="+mn-cs"/>
              </a:rPr>
              <a:t> </a:t>
            </a:r>
          </a:p>
          <a:p>
            <a:pPr marL="114300" marR="0" lvl="0" indent="-114300" algn="l" defTabSz="914400" rtl="0" eaLnBrk="1" fontAlgn="auto" latinLnBrk="0" hangingPunct="1">
              <a:lnSpc>
                <a:spcPct val="100000"/>
              </a:lnSpc>
              <a:spcBef>
                <a:spcPts val="300"/>
              </a:spcBef>
              <a:spcAft>
                <a:spcPts val="300"/>
              </a:spcAft>
              <a:buClrTx/>
              <a:buSzPct val="100000"/>
              <a:buFont typeface="Arial" panose="020B0604020202020204" pitchFamily="34" charset="0"/>
              <a:buChar char="•"/>
              <a:tabLst/>
              <a:defRPr/>
            </a:pPr>
            <a:r>
              <a:rPr kumimoji="0" lang="en-US" sz="1100" b="1" i="0" u="none" strike="noStrike" kern="1200" cap="none" spc="0" normalizeH="0" baseline="0" noProof="0" dirty="0">
                <a:ln>
                  <a:noFill/>
                </a:ln>
                <a:solidFill>
                  <a:prstClr val="black"/>
                </a:solidFill>
                <a:effectLst/>
                <a:uLnTx/>
                <a:uFillTx/>
                <a:ea typeface="+mn-ea"/>
                <a:cs typeface="+mn-cs"/>
              </a:rPr>
              <a:t>Low variability:</a:t>
            </a:r>
            <a:r>
              <a:rPr kumimoji="0" lang="en-US" sz="1100" b="0" i="0" u="none" strike="noStrike" kern="1200" cap="none" spc="0" normalizeH="0" baseline="0" noProof="0" dirty="0">
                <a:ln>
                  <a:noFill/>
                </a:ln>
                <a:solidFill>
                  <a:prstClr val="black"/>
                </a:solidFill>
                <a:effectLst/>
                <a:uLnTx/>
                <a:uFillTx/>
                <a:ea typeface="+mn-ea"/>
                <a:cs typeface="+mn-cs"/>
              </a:rPr>
              <a:t> highly standardize to minimize unexplainable discount variability</a:t>
            </a:r>
            <a:endParaRPr kumimoji="0" lang="en-US" sz="1100" b="1" i="0" u="none" strike="noStrike" kern="1200" cap="none" spc="0" normalizeH="0" baseline="0" noProof="0" dirty="0">
              <a:ln>
                <a:noFill/>
              </a:ln>
              <a:solidFill>
                <a:prstClr val="black"/>
              </a:solidFill>
              <a:effectLst/>
              <a:uLnTx/>
              <a:uFillTx/>
              <a:ea typeface="+mn-ea"/>
              <a:cs typeface="+mn-cs"/>
            </a:endParaRPr>
          </a:p>
          <a:p>
            <a:pPr marL="114300" marR="0" lvl="0" indent="-114300" algn="l" defTabSz="914400" rtl="0" eaLnBrk="1" fontAlgn="auto" latinLnBrk="0" hangingPunct="1">
              <a:lnSpc>
                <a:spcPct val="100000"/>
              </a:lnSpc>
              <a:spcBef>
                <a:spcPts val="300"/>
              </a:spcBef>
              <a:spcAft>
                <a:spcPts val="300"/>
              </a:spcAft>
              <a:buClrTx/>
              <a:buSzPct val="100000"/>
              <a:buFont typeface="Arial" panose="020B0604020202020204" pitchFamily="34" charset="0"/>
              <a:buChar char="•"/>
              <a:tabLst/>
              <a:defRPr/>
            </a:pPr>
            <a:r>
              <a:rPr kumimoji="0" lang="en-US" sz="1100" b="1" i="0" u="none" strike="noStrike" kern="1200" cap="none" spc="0" normalizeH="0" baseline="0" noProof="0" dirty="0">
                <a:ln>
                  <a:noFill/>
                </a:ln>
                <a:solidFill>
                  <a:prstClr val="black"/>
                </a:solidFill>
                <a:effectLst/>
                <a:uLnTx/>
                <a:uFillTx/>
                <a:ea typeface="+mn-ea"/>
                <a:cs typeface="+mn-cs"/>
              </a:rPr>
              <a:t>Speed to market:</a:t>
            </a:r>
            <a:r>
              <a:rPr kumimoji="0" lang="en-US" sz="1100" b="0" i="0" u="none" strike="noStrike" kern="1200" cap="none" spc="0" normalizeH="0" baseline="0" noProof="0" dirty="0">
                <a:ln>
                  <a:noFill/>
                </a:ln>
                <a:solidFill>
                  <a:prstClr val="black"/>
                </a:solidFill>
                <a:effectLst/>
                <a:uLnTx/>
                <a:uFillTx/>
                <a:ea typeface="+mn-ea"/>
                <a:cs typeface="+mn-cs"/>
              </a:rPr>
              <a:t> enable Sales to freely negotiate with customers “up to” the standard discount, no special approvals required</a:t>
            </a:r>
          </a:p>
        </p:txBody>
      </p:sp>
      <p:sp>
        <p:nvSpPr>
          <p:cNvPr id="24" name="TextBox 23">
            <a:extLst>
              <a:ext uri="{FF2B5EF4-FFF2-40B4-BE49-F238E27FC236}">
                <a16:creationId xmlns:a16="http://schemas.microsoft.com/office/drawing/2014/main" id="{F240EF40-71F4-45CC-8245-946F5CD5DD63}"/>
              </a:ext>
            </a:extLst>
          </p:cNvPr>
          <p:cNvSpPr txBox="1"/>
          <p:nvPr/>
        </p:nvSpPr>
        <p:spPr>
          <a:xfrm>
            <a:off x="3903540" y="4393341"/>
            <a:ext cx="2307778" cy="1769715"/>
          </a:xfrm>
          <a:prstGeom prst="rect">
            <a:avLst/>
          </a:prstGeom>
          <a:noFill/>
        </p:spPr>
        <p:txBody>
          <a:bodyPr vert="horz" wrap="square" lIns="0" tIns="0" rIns="0" bIns="0" rtlCol="0">
            <a:spAutoFit/>
          </a:bodyPr>
          <a:lstStyle/>
          <a:p>
            <a:pPr marL="114300" marR="0" lvl="0" indent="-114300" algn="l" defTabSz="914400" rtl="0" eaLnBrk="1" fontAlgn="auto" latinLnBrk="0" hangingPunct="1">
              <a:lnSpc>
                <a:spcPct val="100000"/>
              </a:lnSpc>
              <a:spcBef>
                <a:spcPts val="300"/>
              </a:spcBef>
              <a:spcAft>
                <a:spcPts val="300"/>
              </a:spcAft>
              <a:buClrTx/>
              <a:buSzPct val="100000"/>
              <a:buFont typeface="Arial" panose="020B0604020202020204" pitchFamily="34" charset="0"/>
              <a:buChar char="•"/>
              <a:tabLst/>
              <a:defRPr/>
            </a:pPr>
            <a:r>
              <a:rPr kumimoji="0" lang="en-US" sz="1100" b="1" i="0" u="none" strike="noStrike" kern="1200" cap="none" spc="0" normalizeH="0" baseline="0" noProof="0" dirty="0">
                <a:ln>
                  <a:noFill/>
                </a:ln>
                <a:solidFill>
                  <a:prstClr val="black"/>
                </a:solidFill>
                <a:effectLst/>
                <a:uLnTx/>
                <a:uFillTx/>
                <a:ea typeface="+mn-ea"/>
                <a:cs typeface="+mn-cs"/>
              </a:rPr>
              <a:t>Differentiated service levels</a:t>
            </a:r>
            <a:r>
              <a:rPr kumimoji="0" lang="en-US" sz="1100" b="0" i="0" u="none" strike="noStrike" kern="1200" cap="none" spc="0" normalizeH="0" baseline="0" noProof="0" dirty="0">
                <a:ln>
                  <a:noFill/>
                </a:ln>
                <a:solidFill>
                  <a:prstClr val="black"/>
                </a:solidFill>
                <a:effectLst/>
                <a:uLnTx/>
                <a:uFillTx/>
                <a:ea typeface="+mn-ea"/>
                <a:cs typeface="+mn-cs"/>
              </a:rPr>
              <a:t>: create a mechanism to drive intentional variability in discounts between customers (governed by clear guardrails) </a:t>
            </a:r>
          </a:p>
          <a:p>
            <a:pPr marL="114300" marR="0" lvl="0" indent="-114300" algn="l" defTabSz="914400" rtl="0" eaLnBrk="1" fontAlgn="auto" latinLnBrk="0" hangingPunct="1">
              <a:lnSpc>
                <a:spcPct val="100000"/>
              </a:lnSpc>
              <a:spcBef>
                <a:spcPts val="300"/>
              </a:spcBef>
              <a:spcAft>
                <a:spcPts val="300"/>
              </a:spcAft>
              <a:buClrTx/>
              <a:buSzPct val="100000"/>
              <a:buFont typeface="Arial" panose="020B0604020202020204" pitchFamily="34" charset="0"/>
              <a:buChar char="•"/>
              <a:tabLst/>
              <a:defRPr/>
            </a:pPr>
            <a:r>
              <a:rPr kumimoji="0" lang="en-US" sz="1100" b="1" i="0" u="none" strike="noStrike" kern="1200" cap="none" spc="0" normalizeH="0" baseline="0" noProof="0" dirty="0">
                <a:ln>
                  <a:noFill/>
                </a:ln>
                <a:solidFill>
                  <a:prstClr val="black"/>
                </a:solidFill>
                <a:effectLst/>
                <a:uLnTx/>
                <a:uFillTx/>
                <a:ea typeface="+mn-ea"/>
                <a:cs typeface="+mn-cs"/>
              </a:rPr>
              <a:t>Marketplace relevance: </a:t>
            </a:r>
            <a:r>
              <a:rPr kumimoji="0" lang="en-US" sz="1100" b="0" i="0" u="none" strike="noStrike" kern="1200" cap="none" spc="0" normalizeH="0" baseline="0" noProof="0" dirty="0">
                <a:ln>
                  <a:noFill/>
                </a:ln>
                <a:solidFill>
                  <a:prstClr val="black"/>
                </a:solidFill>
                <a:effectLst/>
                <a:uLnTx/>
                <a:uFillTx/>
                <a:ea typeface="+mn-ea"/>
                <a:cs typeface="+mn-cs"/>
              </a:rPr>
              <a:t>arm Sales with a guiding framework to implement account strategies and move quickly to market changes</a:t>
            </a:r>
          </a:p>
        </p:txBody>
      </p:sp>
      <p:sp>
        <p:nvSpPr>
          <p:cNvPr id="25" name="TextBox 24">
            <a:extLst>
              <a:ext uri="{FF2B5EF4-FFF2-40B4-BE49-F238E27FC236}">
                <a16:creationId xmlns:a16="http://schemas.microsoft.com/office/drawing/2014/main" id="{BBFDEA3B-DC2C-4FF3-9F74-9725D1B5D26A}"/>
              </a:ext>
            </a:extLst>
          </p:cNvPr>
          <p:cNvSpPr txBox="1"/>
          <p:nvPr/>
        </p:nvSpPr>
        <p:spPr>
          <a:xfrm>
            <a:off x="9289294" y="4393341"/>
            <a:ext cx="2286000" cy="1600438"/>
          </a:xfrm>
          <a:prstGeom prst="rect">
            <a:avLst/>
          </a:prstGeom>
          <a:noFill/>
        </p:spPr>
        <p:txBody>
          <a:bodyPr vert="horz" wrap="square" lIns="0" tIns="0" rIns="0" bIns="0" rtlCol="0">
            <a:spAutoFit/>
          </a:bodyPr>
          <a:lstStyle/>
          <a:p>
            <a:pPr marL="114300" marR="0" lvl="0" indent="-114300" algn="l" defTabSz="914400" rtl="0" eaLnBrk="1" fontAlgn="auto" latinLnBrk="0" hangingPunct="1">
              <a:lnSpc>
                <a:spcPct val="100000"/>
              </a:lnSpc>
              <a:spcBef>
                <a:spcPts val="300"/>
              </a:spcBef>
              <a:spcAft>
                <a:spcPts val="300"/>
              </a:spcAft>
              <a:buClrTx/>
              <a:buSzPct val="100000"/>
              <a:buFont typeface="Arial" panose="020B0604020202020204" pitchFamily="34" charset="0"/>
              <a:buChar char="•"/>
              <a:tabLst/>
              <a:defRPr/>
            </a:pPr>
            <a:r>
              <a:rPr kumimoji="0" lang="en-US" sz="1100" b="1" i="0" u="none" strike="noStrike" kern="1200" cap="none" spc="0" normalizeH="0" baseline="0" noProof="0" dirty="0">
                <a:ln>
                  <a:noFill/>
                </a:ln>
                <a:solidFill>
                  <a:prstClr val="black"/>
                </a:solidFill>
                <a:effectLst/>
                <a:uLnTx/>
                <a:uFillTx/>
                <a:ea typeface="+mn-ea"/>
                <a:cs typeface="+mn-cs"/>
              </a:rPr>
              <a:t>Flexible approach </a:t>
            </a:r>
            <a:r>
              <a:rPr kumimoji="0" lang="en-US" sz="1100" b="0" i="0" u="none" strike="noStrike" kern="1200" cap="none" spc="0" normalizeH="0" baseline="0" noProof="0" dirty="0">
                <a:ln>
                  <a:noFill/>
                </a:ln>
                <a:solidFill>
                  <a:prstClr val="black"/>
                </a:solidFill>
                <a:effectLst/>
                <a:uLnTx/>
                <a:uFillTx/>
                <a:ea typeface="+mn-ea"/>
                <a:cs typeface="+mn-cs"/>
              </a:rPr>
              <a:t>to design a customized trade structure specific to an account’s strategy and priorities</a:t>
            </a:r>
          </a:p>
          <a:p>
            <a:pPr marL="114300" marR="0" lvl="0" indent="-114300" algn="l" defTabSz="914400" rtl="0" eaLnBrk="1" fontAlgn="auto" latinLnBrk="0" hangingPunct="1">
              <a:lnSpc>
                <a:spcPct val="100000"/>
              </a:lnSpc>
              <a:spcBef>
                <a:spcPts val="300"/>
              </a:spcBef>
              <a:spcAft>
                <a:spcPts val="300"/>
              </a:spcAft>
              <a:buClrTx/>
              <a:buSzPct val="100000"/>
              <a:buFont typeface="Arial" panose="020B0604020202020204" pitchFamily="34" charset="0"/>
              <a:buChar char="•"/>
              <a:tabLst/>
              <a:defRPr/>
            </a:pPr>
            <a:r>
              <a:rPr kumimoji="0" lang="en-US" sz="1100" b="1" i="0" u="none" strike="noStrike" kern="1200" cap="none" spc="0" normalizeH="0" baseline="0" noProof="0" dirty="0">
                <a:ln>
                  <a:noFill/>
                </a:ln>
                <a:solidFill>
                  <a:prstClr val="black"/>
                </a:solidFill>
                <a:effectLst/>
                <a:uLnTx/>
                <a:uFillTx/>
                <a:ea typeface="+mn-ea"/>
                <a:cs typeface="+mn-cs"/>
              </a:rPr>
              <a:t>Migration towards purpose: </a:t>
            </a:r>
            <a:r>
              <a:rPr kumimoji="0" lang="en-US" sz="1100" b="0" i="0" u="none" strike="noStrike" kern="1200" cap="none" spc="0" normalizeH="0" baseline="0" noProof="0" dirty="0">
                <a:ln>
                  <a:noFill/>
                </a:ln>
                <a:solidFill>
                  <a:prstClr val="black"/>
                </a:solidFill>
                <a:effectLst/>
                <a:uLnTx/>
                <a:uFillTx/>
                <a:ea typeface="+mn-ea"/>
                <a:cs typeface="+mn-cs"/>
              </a:rPr>
              <a:t>shift the discount mix from Standard “everybody gets it” discounts to performance-based terms </a:t>
            </a:r>
            <a:r>
              <a:rPr kumimoji="0" lang="en-US" sz="1100" b="1" i="0" u="none" strike="noStrike" kern="1200" cap="none" spc="0" normalizeH="0" baseline="0" noProof="0" dirty="0">
                <a:ln>
                  <a:noFill/>
                </a:ln>
                <a:solidFill>
                  <a:prstClr val="black"/>
                </a:solidFill>
                <a:effectLst/>
                <a:uLnTx/>
                <a:uFillTx/>
                <a:ea typeface="+mn-ea"/>
                <a:cs typeface="+mn-cs"/>
              </a:rPr>
              <a:t>tied to business strategy</a:t>
            </a:r>
          </a:p>
        </p:txBody>
      </p:sp>
      <p:sp>
        <p:nvSpPr>
          <p:cNvPr id="26" name="TextBox 25">
            <a:extLst>
              <a:ext uri="{FF2B5EF4-FFF2-40B4-BE49-F238E27FC236}">
                <a16:creationId xmlns:a16="http://schemas.microsoft.com/office/drawing/2014/main" id="{7F6D0277-AB4C-47C0-B445-EAEB1FF1CB3D}"/>
              </a:ext>
            </a:extLst>
          </p:cNvPr>
          <p:cNvSpPr txBox="1"/>
          <p:nvPr/>
        </p:nvSpPr>
        <p:spPr>
          <a:xfrm rot="16200000">
            <a:off x="260411" y="2498487"/>
            <a:ext cx="613552" cy="184666"/>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Lever</a:t>
            </a:r>
          </a:p>
        </p:txBody>
      </p:sp>
    </p:spTree>
    <p:extLst>
      <p:ext uri="{BB962C8B-B14F-4D97-AF65-F5344CB8AC3E}">
        <p14:creationId xmlns:p14="http://schemas.microsoft.com/office/powerpoint/2010/main" val="2259387915"/>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a:extLst>
              <a:ext uri="{FF2B5EF4-FFF2-40B4-BE49-F238E27FC236}">
                <a16:creationId xmlns:a16="http://schemas.microsoft.com/office/drawing/2014/main" id="{77DE0FDD-B6CE-4747-A4F6-AD3213658BA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3540" name="think-cell Slide" r:id="rId6" imgW="395" imgH="396" progId="TCLayout.ActiveDocument.1">
                  <p:embed/>
                </p:oleObj>
              </mc:Choice>
              <mc:Fallback>
                <p:oleObj name="think-cell Slide" r:id="rId6" imgW="395" imgH="396" progId="TCLayout.ActiveDocument.1">
                  <p:embed/>
                  <p:pic>
                    <p:nvPicPr>
                      <p:cNvPr id="26" name="Object 25" hidden="1">
                        <a:extLst>
                          <a:ext uri="{FF2B5EF4-FFF2-40B4-BE49-F238E27FC236}">
                            <a16:creationId xmlns:a16="http://schemas.microsoft.com/office/drawing/2014/main" id="{77DE0FDD-B6CE-4747-A4F6-AD3213658BA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5" name="Rectangle 24" hidden="1">
            <a:extLst>
              <a:ext uri="{FF2B5EF4-FFF2-40B4-BE49-F238E27FC236}">
                <a16:creationId xmlns:a16="http://schemas.microsoft.com/office/drawing/2014/main" id="{BDCADD9C-0170-4F27-B992-85F8A635254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912D0EED-E8D9-4838-BEFF-F3B85EDEA30A}"/>
              </a:ext>
            </a:extLst>
          </p:cNvPr>
          <p:cNvSpPr>
            <a:spLocks noGrp="1"/>
          </p:cNvSpPr>
          <p:nvPr>
            <p:ph type="title"/>
          </p:nvPr>
        </p:nvSpPr>
        <p:spPr/>
        <p:txBody>
          <a:bodyPr/>
          <a:lstStyle/>
          <a:p>
            <a:r>
              <a:rPr lang="en-US" dirty="0"/>
              <a:t>The levers work together as our set of trade terms</a:t>
            </a:r>
          </a:p>
        </p:txBody>
      </p:sp>
      <p:sp>
        <p:nvSpPr>
          <p:cNvPr id="3" name="Text Placeholder 2">
            <a:extLst>
              <a:ext uri="{FF2B5EF4-FFF2-40B4-BE49-F238E27FC236}">
                <a16:creationId xmlns:a16="http://schemas.microsoft.com/office/drawing/2014/main" id="{92D4DE4F-B252-49BB-A083-4A1AAEF19387}"/>
              </a:ext>
            </a:extLst>
          </p:cNvPr>
          <p:cNvSpPr>
            <a:spLocks noGrp="1"/>
          </p:cNvSpPr>
          <p:nvPr>
            <p:ph type="body" sz="quarter" idx="14"/>
          </p:nvPr>
        </p:nvSpPr>
        <p:spPr/>
        <p:txBody>
          <a:bodyPr/>
          <a:lstStyle/>
          <a:p>
            <a:r>
              <a:rPr lang="en-US" dirty="0"/>
              <a:t>Each of the three trade investment levers can be broken down to help with traceability</a:t>
            </a:r>
          </a:p>
        </p:txBody>
      </p:sp>
      <p:sp>
        <p:nvSpPr>
          <p:cNvPr id="4" name="Text Placeholder 3">
            <a:extLst>
              <a:ext uri="{FF2B5EF4-FFF2-40B4-BE49-F238E27FC236}">
                <a16:creationId xmlns:a16="http://schemas.microsoft.com/office/drawing/2014/main" id="{D2927278-C1EA-47E8-9E32-48FDD1129505}"/>
              </a:ext>
            </a:extLst>
          </p:cNvPr>
          <p:cNvSpPr>
            <a:spLocks noGrp="1"/>
          </p:cNvSpPr>
          <p:nvPr>
            <p:ph type="body" sz="quarter" idx="15"/>
          </p:nvPr>
        </p:nvSpPr>
        <p:spPr>
          <a:xfrm>
            <a:off x="914971" y="466344"/>
            <a:ext cx="3977540" cy="231218"/>
          </a:xfrm>
        </p:spPr>
        <p:txBody>
          <a:bodyPr/>
          <a:lstStyle/>
          <a:p>
            <a:r>
              <a:rPr lang="en-US" dirty="0"/>
              <a:t>FRAMEWORKS &amp; CONCEPT ILLUSTRATION</a:t>
            </a:r>
          </a:p>
        </p:txBody>
      </p:sp>
      <p:sp>
        <p:nvSpPr>
          <p:cNvPr id="5" name="Text Placeholder 10">
            <a:extLst>
              <a:ext uri="{FF2B5EF4-FFF2-40B4-BE49-F238E27FC236}">
                <a16:creationId xmlns:a16="http://schemas.microsoft.com/office/drawing/2014/main" id="{144CB45B-2623-4234-902A-10B0540C10F5}"/>
              </a:ext>
            </a:extLst>
          </p:cNvPr>
          <p:cNvSpPr txBox="1">
            <a:spLocks/>
          </p:cNvSpPr>
          <p:nvPr/>
        </p:nvSpPr>
        <p:spPr>
          <a:xfrm>
            <a:off x="708209" y="1727295"/>
            <a:ext cx="11252200" cy="757255"/>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6" name="Title 2">
            <a:extLst>
              <a:ext uri="{FF2B5EF4-FFF2-40B4-BE49-F238E27FC236}">
                <a16:creationId xmlns:a16="http://schemas.microsoft.com/office/drawing/2014/main" id="{06D6050B-83AB-41FB-9303-972E41DDD8B4}"/>
              </a:ext>
            </a:extLst>
          </p:cNvPr>
          <p:cNvSpPr txBox="1">
            <a:spLocks/>
          </p:cNvSpPr>
          <p:nvPr/>
        </p:nvSpPr>
        <p:spPr>
          <a:xfrm>
            <a:off x="708209" y="1354694"/>
            <a:ext cx="11252200"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sp>
        <p:nvSpPr>
          <p:cNvPr id="7" name="Trapezoid 6">
            <a:extLst>
              <a:ext uri="{FF2B5EF4-FFF2-40B4-BE49-F238E27FC236}">
                <a16:creationId xmlns:a16="http://schemas.microsoft.com/office/drawing/2014/main" id="{463A459D-9EDF-4CA7-8F92-24EF6D530D7D}"/>
              </a:ext>
            </a:extLst>
          </p:cNvPr>
          <p:cNvSpPr/>
          <p:nvPr/>
        </p:nvSpPr>
        <p:spPr bwMode="gray">
          <a:xfrm>
            <a:off x="3763711" y="3215566"/>
            <a:ext cx="7688657" cy="431982"/>
          </a:xfrm>
          <a:custGeom>
            <a:avLst/>
            <a:gdLst>
              <a:gd name="connsiteX0" fmla="*/ 0 w 11149741"/>
              <a:gd name="connsiteY0" fmla="*/ 1630262 h 1630262"/>
              <a:gd name="connsiteX1" fmla="*/ 407566 w 11149741"/>
              <a:gd name="connsiteY1" fmla="*/ 0 h 1630262"/>
              <a:gd name="connsiteX2" fmla="*/ 10742176 w 11149741"/>
              <a:gd name="connsiteY2" fmla="*/ 0 h 1630262"/>
              <a:gd name="connsiteX3" fmla="*/ 11149741 w 11149741"/>
              <a:gd name="connsiteY3" fmla="*/ 1630262 h 1630262"/>
              <a:gd name="connsiteX4" fmla="*/ 0 w 11149741"/>
              <a:gd name="connsiteY4" fmla="*/ 1630262 h 1630262"/>
              <a:gd name="connsiteX0" fmla="*/ 0 w 11149741"/>
              <a:gd name="connsiteY0" fmla="*/ 1630262 h 1630262"/>
              <a:gd name="connsiteX1" fmla="*/ 16948 w 11149741"/>
              <a:gd name="connsiteY1" fmla="*/ 8877 h 1630262"/>
              <a:gd name="connsiteX2" fmla="*/ 10742176 w 11149741"/>
              <a:gd name="connsiteY2" fmla="*/ 0 h 1630262"/>
              <a:gd name="connsiteX3" fmla="*/ 11149741 w 11149741"/>
              <a:gd name="connsiteY3" fmla="*/ 1630262 h 1630262"/>
              <a:gd name="connsiteX4" fmla="*/ 0 w 11149741"/>
              <a:gd name="connsiteY4" fmla="*/ 1630262 h 1630262"/>
              <a:gd name="connsiteX0" fmla="*/ 0 w 11149741"/>
              <a:gd name="connsiteY0" fmla="*/ 1639139 h 1639139"/>
              <a:gd name="connsiteX1" fmla="*/ 16948 w 11149741"/>
              <a:gd name="connsiteY1" fmla="*/ 17754 h 1639139"/>
              <a:gd name="connsiteX2" fmla="*/ 4456785 w 11149741"/>
              <a:gd name="connsiteY2" fmla="*/ 0 h 1639139"/>
              <a:gd name="connsiteX3" fmla="*/ 11149741 w 11149741"/>
              <a:gd name="connsiteY3" fmla="*/ 1639139 h 1639139"/>
              <a:gd name="connsiteX4" fmla="*/ 0 w 11149741"/>
              <a:gd name="connsiteY4" fmla="*/ 1639139 h 16391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9741" h="1639139">
                <a:moveTo>
                  <a:pt x="0" y="1639139"/>
                </a:moveTo>
                <a:lnTo>
                  <a:pt x="16948" y="17754"/>
                </a:lnTo>
                <a:lnTo>
                  <a:pt x="4456785" y="0"/>
                </a:lnTo>
                <a:lnTo>
                  <a:pt x="11149741" y="1639139"/>
                </a:lnTo>
                <a:lnTo>
                  <a:pt x="0" y="1639139"/>
                </a:lnTo>
                <a:close/>
              </a:path>
            </a:pathLst>
          </a:cu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ea typeface="+mn-ea"/>
              <a:cs typeface="+mn-cs"/>
            </a:endParaRPr>
          </a:p>
        </p:txBody>
      </p:sp>
      <p:sp>
        <p:nvSpPr>
          <p:cNvPr id="8" name="Isosceles Triangle 7">
            <a:extLst>
              <a:ext uri="{FF2B5EF4-FFF2-40B4-BE49-F238E27FC236}">
                <a16:creationId xmlns:a16="http://schemas.microsoft.com/office/drawing/2014/main" id="{973D5DC5-D533-4D74-B8B9-2BA77320182B}"/>
              </a:ext>
            </a:extLst>
          </p:cNvPr>
          <p:cNvSpPr/>
          <p:nvPr/>
        </p:nvSpPr>
        <p:spPr>
          <a:xfrm>
            <a:off x="1209656" y="3156685"/>
            <a:ext cx="2403467" cy="489912"/>
          </a:xfrm>
          <a:prstGeom prst="triangle">
            <a:avLst>
              <a:gd name="adj" fmla="val 5118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ea typeface="+mn-ea"/>
              <a:cs typeface="+mn-cs"/>
            </a:endParaRPr>
          </a:p>
        </p:txBody>
      </p:sp>
      <p:sp>
        <p:nvSpPr>
          <p:cNvPr id="9" name="Rectangle 8">
            <a:extLst>
              <a:ext uri="{FF2B5EF4-FFF2-40B4-BE49-F238E27FC236}">
                <a16:creationId xmlns:a16="http://schemas.microsoft.com/office/drawing/2014/main" id="{7BB0CB23-39A7-4B31-B7B2-2CB070414B27}"/>
              </a:ext>
            </a:extLst>
          </p:cNvPr>
          <p:cNvSpPr/>
          <p:nvPr/>
        </p:nvSpPr>
        <p:spPr bwMode="gray">
          <a:xfrm>
            <a:off x="1301161" y="2391231"/>
            <a:ext cx="2029150" cy="831273"/>
          </a:xfrm>
          <a:prstGeom prst="rect">
            <a:avLst/>
          </a:prstGeom>
          <a:pattFill prst="pct30">
            <a:fgClr>
              <a:srgbClr val="34F0FF">
                <a:lumMod val="40000"/>
                <a:lumOff val="60000"/>
              </a:srgbClr>
            </a:fgClr>
            <a:bgClr>
              <a:srgbClr val="FFFFFF"/>
            </a:bgClr>
          </a:patt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0" cap="none" spc="0" normalizeH="0" baseline="0" noProof="0" dirty="0">
                <a:ln>
                  <a:noFill/>
                </a:ln>
                <a:solidFill>
                  <a:srgbClr val="000000"/>
                </a:solidFill>
                <a:effectLst/>
                <a:uLnTx/>
                <a:uFillTx/>
                <a:ea typeface="+mn-ea"/>
                <a:cs typeface="+mn-cs"/>
              </a:rPr>
              <a:t>Standard Discount</a:t>
            </a:r>
          </a:p>
        </p:txBody>
      </p:sp>
      <p:sp>
        <p:nvSpPr>
          <p:cNvPr id="10" name="Rectangle 9">
            <a:extLst>
              <a:ext uri="{FF2B5EF4-FFF2-40B4-BE49-F238E27FC236}">
                <a16:creationId xmlns:a16="http://schemas.microsoft.com/office/drawing/2014/main" id="{19440F39-1AF1-40B6-8232-17110EB2A913}"/>
              </a:ext>
            </a:extLst>
          </p:cNvPr>
          <p:cNvSpPr/>
          <p:nvPr/>
        </p:nvSpPr>
        <p:spPr bwMode="gray">
          <a:xfrm>
            <a:off x="3763711" y="2391231"/>
            <a:ext cx="2027136" cy="831273"/>
          </a:xfrm>
          <a:prstGeom prst="rect">
            <a:avLst/>
          </a:prstGeom>
          <a:pattFill prst="pct30">
            <a:fgClr>
              <a:srgbClr val="34F0FF">
                <a:lumMod val="40000"/>
                <a:lumOff val="60000"/>
              </a:srgbClr>
            </a:fgClr>
            <a:bgClr>
              <a:srgbClr val="FFFFFF"/>
            </a:bgClr>
          </a:patt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400" b="1" kern="0" dirty="0">
                <a:solidFill>
                  <a:srgbClr val="000000"/>
                </a:solidFill>
              </a:rPr>
              <a:t>Performance-Led</a:t>
            </a:r>
            <a:endParaRPr kumimoji="0" lang="en-US" sz="1400" b="1" i="0" u="none" strike="noStrike" kern="0" cap="none" spc="0" normalizeH="0" baseline="0" noProof="0" dirty="0">
              <a:ln>
                <a:noFill/>
              </a:ln>
              <a:solidFill>
                <a:srgbClr val="000000"/>
              </a:solidFill>
              <a:effectLst/>
              <a:uLnTx/>
              <a:uFillTx/>
              <a:ea typeface="+mn-ea"/>
              <a:cs typeface="+mn-cs"/>
            </a:endParaRP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0" cap="none" spc="0" normalizeH="0" baseline="0" noProof="0" dirty="0">
                <a:ln>
                  <a:noFill/>
                </a:ln>
                <a:solidFill>
                  <a:srgbClr val="000000"/>
                </a:solidFill>
                <a:effectLst/>
                <a:uLnTx/>
                <a:uFillTx/>
                <a:ea typeface="+mn-ea"/>
                <a:cs typeface="+mn-cs"/>
              </a:rPr>
              <a:t>Trade Terms</a:t>
            </a:r>
          </a:p>
        </p:txBody>
      </p:sp>
      <p:sp>
        <p:nvSpPr>
          <p:cNvPr id="11" name="Plus 8">
            <a:extLst>
              <a:ext uri="{FF2B5EF4-FFF2-40B4-BE49-F238E27FC236}">
                <a16:creationId xmlns:a16="http://schemas.microsoft.com/office/drawing/2014/main" id="{566322B2-2257-49D9-BB13-4E69FFA55184}"/>
              </a:ext>
            </a:extLst>
          </p:cNvPr>
          <p:cNvSpPr>
            <a:spLocks/>
          </p:cNvSpPr>
          <p:nvPr/>
        </p:nvSpPr>
        <p:spPr bwMode="gray">
          <a:xfrm>
            <a:off x="3380512" y="2641304"/>
            <a:ext cx="324116" cy="331125"/>
          </a:xfrm>
          <a:prstGeom prst="mathPlus">
            <a:avLst/>
          </a:prstGeom>
          <a:solidFill>
            <a:srgbClr val="34F0FF"/>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srgbClr val="FFFFFF"/>
              </a:solidFill>
              <a:effectLst/>
              <a:uLnTx/>
              <a:uFillTx/>
              <a:ea typeface="+mn-ea"/>
              <a:cs typeface="+mn-cs"/>
            </a:endParaRPr>
          </a:p>
        </p:txBody>
      </p:sp>
      <p:sp>
        <p:nvSpPr>
          <p:cNvPr id="12" name="Equal 9">
            <a:extLst>
              <a:ext uri="{FF2B5EF4-FFF2-40B4-BE49-F238E27FC236}">
                <a16:creationId xmlns:a16="http://schemas.microsoft.com/office/drawing/2014/main" id="{CA2782B1-403D-4F6D-ADD5-C350101BE4E1}"/>
              </a:ext>
            </a:extLst>
          </p:cNvPr>
          <p:cNvSpPr/>
          <p:nvPr/>
        </p:nvSpPr>
        <p:spPr bwMode="gray">
          <a:xfrm>
            <a:off x="7852089" y="2599447"/>
            <a:ext cx="550268" cy="432594"/>
          </a:xfrm>
          <a:prstGeom prst="mathEqual">
            <a:avLst/>
          </a:prstGeom>
          <a:solidFill>
            <a:srgbClr val="34F0FF"/>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srgbClr val="FFFFFF"/>
              </a:solidFill>
              <a:effectLst/>
              <a:uLnTx/>
              <a:uFillTx/>
              <a:ea typeface="+mn-ea"/>
              <a:cs typeface="+mn-cs"/>
            </a:endParaRPr>
          </a:p>
        </p:txBody>
      </p:sp>
      <p:sp>
        <p:nvSpPr>
          <p:cNvPr id="13" name="Rectangle 12">
            <a:extLst>
              <a:ext uri="{FF2B5EF4-FFF2-40B4-BE49-F238E27FC236}">
                <a16:creationId xmlns:a16="http://schemas.microsoft.com/office/drawing/2014/main" id="{995929DB-7C12-47D7-977C-96B8797E1DE0}"/>
              </a:ext>
            </a:extLst>
          </p:cNvPr>
          <p:cNvSpPr/>
          <p:nvPr/>
        </p:nvSpPr>
        <p:spPr bwMode="gray">
          <a:xfrm>
            <a:off x="8625381" y="2391231"/>
            <a:ext cx="1885523" cy="831273"/>
          </a:xfrm>
          <a:prstGeom prst="rect">
            <a:avLst/>
          </a:prstGeom>
          <a:solidFill>
            <a:srgbClr val="34F0FF"/>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0" cap="none" spc="0" normalizeH="0" baseline="0" noProof="0" dirty="0">
                <a:ln>
                  <a:noFill/>
                </a:ln>
                <a:solidFill>
                  <a:srgbClr val="000000"/>
                </a:solidFill>
                <a:effectLst/>
                <a:uLnTx/>
                <a:uFillTx/>
                <a:ea typeface="+mn-ea"/>
                <a:cs typeface="+mn-cs"/>
              </a:rPr>
              <a:t>Total Set of Trade &amp; Conditions for a Customer </a:t>
            </a:r>
          </a:p>
        </p:txBody>
      </p:sp>
      <p:sp>
        <p:nvSpPr>
          <p:cNvPr id="14" name="TextBox 13">
            <a:extLst>
              <a:ext uri="{FF2B5EF4-FFF2-40B4-BE49-F238E27FC236}">
                <a16:creationId xmlns:a16="http://schemas.microsoft.com/office/drawing/2014/main" id="{C672A97C-D60B-4CF8-85FC-533285115834}"/>
              </a:ext>
            </a:extLst>
          </p:cNvPr>
          <p:cNvSpPr txBox="1"/>
          <p:nvPr/>
        </p:nvSpPr>
        <p:spPr>
          <a:xfrm rot="16200000">
            <a:off x="688673" y="2742187"/>
            <a:ext cx="613552" cy="215444"/>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400" b="1" i="0" u="none" strike="noStrike" kern="1200" cap="none" spc="0" normalizeH="0" baseline="0" noProof="0" dirty="0">
                <a:ln>
                  <a:noFill/>
                </a:ln>
                <a:solidFill>
                  <a:srgbClr val="000000"/>
                </a:solidFill>
                <a:effectLst/>
                <a:uLnTx/>
                <a:uFillTx/>
                <a:ea typeface="+mn-ea"/>
                <a:cs typeface="+mn-cs"/>
              </a:rPr>
              <a:t>Lever</a:t>
            </a:r>
          </a:p>
        </p:txBody>
      </p:sp>
      <p:sp>
        <p:nvSpPr>
          <p:cNvPr id="15" name="Plus 12">
            <a:extLst>
              <a:ext uri="{FF2B5EF4-FFF2-40B4-BE49-F238E27FC236}">
                <a16:creationId xmlns:a16="http://schemas.microsoft.com/office/drawing/2014/main" id="{BAFBB908-B209-4493-BD6C-A9030CE86BEA}"/>
              </a:ext>
            </a:extLst>
          </p:cNvPr>
          <p:cNvSpPr/>
          <p:nvPr/>
        </p:nvSpPr>
        <p:spPr bwMode="gray">
          <a:xfrm>
            <a:off x="5882536" y="2641304"/>
            <a:ext cx="324116" cy="331125"/>
          </a:xfrm>
          <a:prstGeom prst="mathPlus">
            <a:avLst/>
          </a:prstGeom>
          <a:solidFill>
            <a:srgbClr val="34F0FF"/>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srgbClr val="FFFFFF"/>
              </a:solidFill>
              <a:effectLst/>
              <a:uLnTx/>
              <a:uFillTx/>
              <a:ea typeface="+mn-ea"/>
              <a:cs typeface="+mn-cs"/>
            </a:endParaRPr>
          </a:p>
        </p:txBody>
      </p:sp>
      <p:grpSp>
        <p:nvGrpSpPr>
          <p:cNvPr id="16" name="Group 15">
            <a:extLst>
              <a:ext uri="{FF2B5EF4-FFF2-40B4-BE49-F238E27FC236}">
                <a16:creationId xmlns:a16="http://schemas.microsoft.com/office/drawing/2014/main" id="{CAA5C3B6-2E86-4330-9E9C-29D2B62B4725}"/>
              </a:ext>
            </a:extLst>
          </p:cNvPr>
          <p:cNvGrpSpPr/>
          <p:nvPr/>
        </p:nvGrpSpPr>
        <p:grpSpPr>
          <a:xfrm>
            <a:off x="1250387" y="2066720"/>
            <a:ext cx="6475061" cy="245740"/>
            <a:chOff x="259109" y="1404016"/>
            <a:chExt cx="6035040" cy="270314"/>
          </a:xfrm>
        </p:grpSpPr>
        <p:sp>
          <p:nvSpPr>
            <p:cNvPr id="17" name="Right Bracket 16">
              <a:extLst>
                <a:ext uri="{FF2B5EF4-FFF2-40B4-BE49-F238E27FC236}">
                  <a16:creationId xmlns:a16="http://schemas.microsoft.com/office/drawing/2014/main" id="{5B214BE8-6DD2-4B44-952A-3B9FD19E53AD}"/>
                </a:ext>
              </a:extLst>
            </p:cNvPr>
            <p:cNvSpPr/>
            <p:nvPr/>
          </p:nvSpPr>
          <p:spPr>
            <a:xfrm rot="16200000">
              <a:off x="3193330" y="-1426488"/>
              <a:ext cx="166597" cy="6035040"/>
            </a:xfrm>
            <a:prstGeom prst="rightBracket">
              <a:avLst/>
            </a:prstGeom>
            <a:noFill/>
            <a:ln w="6350" cap="flat" cmpd="sng" algn="ctr">
              <a:solidFill>
                <a:srgbClr val="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a typeface="+mn-ea"/>
                <a:cs typeface="+mn-cs"/>
              </a:endParaRPr>
            </a:p>
          </p:txBody>
        </p:sp>
        <p:sp>
          <p:nvSpPr>
            <p:cNvPr id="18" name="TextBox 17">
              <a:extLst>
                <a:ext uri="{FF2B5EF4-FFF2-40B4-BE49-F238E27FC236}">
                  <a16:creationId xmlns:a16="http://schemas.microsoft.com/office/drawing/2014/main" id="{2EAE0A1B-F204-4E86-8DBA-037EDFAB6E00}"/>
                </a:ext>
              </a:extLst>
            </p:cNvPr>
            <p:cNvSpPr txBox="1"/>
            <p:nvPr/>
          </p:nvSpPr>
          <p:spPr>
            <a:xfrm>
              <a:off x="2380517" y="1404016"/>
              <a:ext cx="1789235" cy="236989"/>
            </a:xfrm>
            <a:prstGeom prst="rect">
              <a:avLst/>
            </a:prstGeom>
            <a:solidFill>
              <a:srgbClr val="FFFFFF"/>
            </a:solid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400" b="1" i="0" u="none" strike="noStrike" kern="0" cap="none" spc="0" normalizeH="0" baseline="0" noProof="0" dirty="0">
                  <a:ln>
                    <a:noFill/>
                  </a:ln>
                  <a:solidFill>
                    <a:srgbClr val="000000"/>
                  </a:solidFill>
                  <a:effectLst/>
                  <a:uLnTx/>
                  <a:uFillTx/>
                  <a:ea typeface="+mn-ea"/>
                  <a:cs typeface="+mn-cs"/>
                </a:rPr>
                <a:t>Trade Investment</a:t>
              </a:r>
            </a:p>
          </p:txBody>
        </p:sp>
      </p:grpSp>
      <p:sp>
        <p:nvSpPr>
          <p:cNvPr id="19" name="Rectangle 18">
            <a:extLst>
              <a:ext uri="{FF2B5EF4-FFF2-40B4-BE49-F238E27FC236}">
                <a16:creationId xmlns:a16="http://schemas.microsoft.com/office/drawing/2014/main" id="{C2E4B2F8-9878-4F05-986F-72981742E6E2}"/>
              </a:ext>
            </a:extLst>
          </p:cNvPr>
          <p:cNvSpPr>
            <a:spLocks/>
          </p:cNvSpPr>
          <p:nvPr/>
        </p:nvSpPr>
        <p:spPr bwMode="gray">
          <a:xfrm>
            <a:off x="6263510" y="2391231"/>
            <a:ext cx="1426464" cy="831273"/>
          </a:xfrm>
          <a:prstGeom prst="rect">
            <a:avLst/>
          </a:prstGeom>
          <a:pattFill prst="pct30">
            <a:fgClr>
              <a:srgbClr val="34F0FF">
                <a:lumMod val="40000"/>
                <a:lumOff val="60000"/>
              </a:srgbClr>
            </a:fgClr>
            <a:bgClr>
              <a:srgbClr val="FFFFFF"/>
            </a:bgClr>
          </a:patt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0" cap="none" spc="0" normalizeH="0" baseline="0" noProof="0" dirty="0">
                <a:ln>
                  <a:noFill/>
                </a:ln>
                <a:solidFill>
                  <a:srgbClr val="000000"/>
                </a:solidFill>
                <a:effectLst/>
                <a:uLnTx/>
                <a:uFillTx/>
                <a:ea typeface="+mn-ea"/>
                <a:cs typeface="+mn-cs"/>
              </a:rPr>
              <a:t>Marketplace Management</a:t>
            </a:r>
          </a:p>
        </p:txBody>
      </p:sp>
      <p:sp>
        <p:nvSpPr>
          <p:cNvPr id="20" name="Rectangle 19">
            <a:extLst>
              <a:ext uri="{FF2B5EF4-FFF2-40B4-BE49-F238E27FC236}">
                <a16:creationId xmlns:a16="http://schemas.microsoft.com/office/drawing/2014/main" id="{409AB4B1-59A2-4A6C-985A-E93DD9DF5D4B}"/>
              </a:ext>
            </a:extLst>
          </p:cNvPr>
          <p:cNvSpPr/>
          <p:nvPr/>
        </p:nvSpPr>
        <p:spPr bwMode="gray">
          <a:xfrm>
            <a:off x="3763710" y="3646597"/>
            <a:ext cx="7609527" cy="2094704"/>
          </a:xfrm>
          <a:prstGeom prst="rect">
            <a:avLst/>
          </a:prstGeom>
          <a:noFill/>
          <a:ln w="19050" algn="ctr">
            <a:solidFill>
              <a:schemeClr val="bg1">
                <a:lumMod val="85000"/>
              </a:schemeClr>
            </a:solidFill>
            <a:miter lim="800000"/>
            <a:headEnd/>
            <a:tailEnd/>
          </a:ln>
        </p:spPr>
        <p:txBody>
          <a:bodyPr wrap="square" lIns="88900" tIns="88900" rIns="88900" bIns="88900" rtlCol="0" anchor="t" anchorCtr="0"/>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1" u="sng" strike="noStrike" kern="1200" cap="none" spc="0" normalizeH="0" baseline="0" noProof="0" dirty="0">
                <a:ln>
                  <a:noFill/>
                </a:ln>
                <a:solidFill>
                  <a:srgbClr val="000000"/>
                </a:solidFill>
                <a:effectLst/>
                <a:uLnTx/>
                <a:uFillTx/>
                <a:ea typeface="+mn-ea"/>
                <a:cs typeface="+mn-cs"/>
              </a:rPr>
              <a:t>Performance-Based Trade Terms</a:t>
            </a:r>
            <a:endParaRPr kumimoji="0" lang="en-US" sz="1400" b="0" i="0" u="none" strike="noStrike" kern="1200" cap="none" spc="0" normalizeH="0" baseline="0" noProof="0" dirty="0">
              <a:ln>
                <a:noFill/>
              </a:ln>
              <a:solidFill>
                <a:srgbClr val="000000"/>
              </a:solidFill>
              <a:effectLst/>
              <a:uLnTx/>
              <a:uFillTx/>
              <a:ea typeface="+mn-ea"/>
              <a:cs typeface="+mn-cs"/>
            </a:endParaRP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ea typeface="+mn-ea"/>
                <a:cs typeface="+mn-cs"/>
              </a:rPr>
              <a:t>Directive Assortment</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ea typeface="+mn-ea"/>
                <a:cs typeface="+mn-cs"/>
              </a:rPr>
              <a:t>Joint Business Planning</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ea typeface="+mn-ea"/>
                <a:cs typeface="+mn-cs"/>
              </a:rPr>
              <a:t>Products</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ea typeface="+mn-ea"/>
                <a:cs typeface="+mn-cs"/>
              </a:rPr>
              <a:t>Marketing</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ea typeface="+mn-ea"/>
                <a:cs typeface="+mn-cs"/>
              </a:rPr>
              <a:t>Partner Perk</a:t>
            </a: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ea typeface="+mn-ea"/>
              <a:cs typeface="+mn-cs"/>
            </a:endParaRPr>
          </a:p>
        </p:txBody>
      </p:sp>
      <p:sp>
        <p:nvSpPr>
          <p:cNvPr id="21" name="TextBox 20">
            <a:extLst>
              <a:ext uri="{FF2B5EF4-FFF2-40B4-BE49-F238E27FC236}">
                <a16:creationId xmlns:a16="http://schemas.microsoft.com/office/drawing/2014/main" id="{12DA1D49-F78F-4BEF-A6B1-3FAE5AEB551C}"/>
              </a:ext>
            </a:extLst>
          </p:cNvPr>
          <p:cNvSpPr txBox="1"/>
          <p:nvPr/>
        </p:nvSpPr>
        <p:spPr>
          <a:xfrm rot="16200000">
            <a:off x="347311" y="4582263"/>
            <a:ext cx="1296274" cy="215444"/>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400" b="1" i="0" u="none" strike="noStrike" kern="1200" cap="none" spc="0" normalizeH="0" baseline="0" noProof="0" dirty="0">
                <a:ln>
                  <a:noFill/>
                </a:ln>
                <a:solidFill>
                  <a:srgbClr val="000000"/>
                </a:solidFill>
                <a:effectLst/>
                <a:uLnTx/>
                <a:uFillTx/>
                <a:ea typeface="+mn-ea"/>
                <a:cs typeface="+mn-cs"/>
              </a:rPr>
              <a:t>Components</a:t>
            </a:r>
          </a:p>
        </p:txBody>
      </p:sp>
      <p:sp>
        <p:nvSpPr>
          <p:cNvPr id="22" name="Rectangle 21">
            <a:extLst>
              <a:ext uri="{FF2B5EF4-FFF2-40B4-BE49-F238E27FC236}">
                <a16:creationId xmlns:a16="http://schemas.microsoft.com/office/drawing/2014/main" id="{A21671C6-2E9C-4BF6-B062-4B096D8D1E39}"/>
              </a:ext>
            </a:extLst>
          </p:cNvPr>
          <p:cNvSpPr/>
          <p:nvPr/>
        </p:nvSpPr>
        <p:spPr bwMode="gray">
          <a:xfrm>
            <a:off x="1209658" y="3645352"/>
            <a:ext cx="2403466" cy="2095815"/>
          </a:xfrm>
          <a:prstGeom prst="rect">
            <a:avLst/>
          </a:prstGeom>
          <a:noFill/>
          <a:ln w="19050" algn="ctr">
            <a:solidFill>
              <a:schemeClr val="bg1">
                <a:lumMod val="85000"/>
              </a:schemeClr>
            </a:solidFill>
            <a:miter lim="800000"/>
            <a:headEnd/>
            <a:tailEnd/>
          </a:ln>
        </p:spPr>
        <p:txBody>
          <a:bodyPr wrap="square" lIns="88900" tIns="88900" rIns="88900" bIns="88900" rtlCol="0" anchor="t" anchorCtr="0"/>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1" u="sng" strike="noStrike" kern="1200" cap="none" spc="0" normalizeH="0" baseline="0" noProof="0" dirty="0">
                <a:ln>
                  <a:noFill/>
                </a:ln>
                <a:solidFill>
                  <a:srgbClr val="000000"/>
                </a:solidFill>
                <a:effectLst/>
                <a:uLnTx/>
                <a:uFillTx/>
                <a:ea typeface="+mn-ea"/>
                <a:cs typeface="+mn-cs"/>
              </a:rPr>
              <a:t>On-Invoice Discount Types</a:t>
            </a:r>
            <a:endParaRPr kumimoji="0" lang="en-US" sz="1400" b="0" i="0" u="none" strike="noStrike" kern="1200" cap="none" spc="0" normalizeH="0" baseline="0" noProof="0" dirty="0">
              <a:ln>
                <a:noFill/>
              </a:ln>
              <a:solidFill>
                <a:srgbClr val="000000"/>
              </a:solidFill>
              <a:effectLst/>
              <a:uLnTx/>
              <a:uFillTx/>
              <a:ea typeface="+mn-ea"/>
              <a:cs typeface="+mn-cs"/>
            </a:endParaRP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ea typeface="+mn-ea"/>
                <a:cs typeface="+mn-cs"/>
              </a:rPr>
              <a:t>Product Type </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ea typeface="+mn-ea"/>
                <a:cs typeface="+mn-cs"/>
              </a:rPr>
              <a:t>Order Type</a:t>
            </a:r>
          </a:p>
        </p:txBody>
      </p:sp>
      <p:sp>
        <p:nvSpPr>
          <p:cNvPr id="23" name="Rectangle 22">
            <a:extLst>
              <a:ext uri="{FF2B5EF4-FFF2-40B4-BE49-F238E27FC236}">
                <a16:creationId xmlns:a16="http://schemas.microsoft.com/office/drawing/2014/main" id="{BF2DE180-1EE5-4892-900F-5DD525EC112B}"/>
              </a:ext>
            </a:extLst>
          </p:cNvPr>
          <p:cNvSpPr/>
          <p:nvPr/>
        </p:nvSpPr>
        <p:spPr bwMode="gray">
          <a:xfrm>
            <a:off x="7372737" y="3646598"/>
            <a:ext cx="4000500" cy="2086774"/>
          </a:xfrm>
          <a:prstGeom prst="rect">
            <a:avLst/>
          </a:prstGeom>
          <a:noFill/>
          <a:ln w="19050" algn="ctr">
            <a:solidFill>
              <a:schemeClr val="bg1">
                <a:lumMod val="85000"/>
              </a:schemeClr>
            </a:solidFill>
            <a:miter lim="800000"/>
            <a:headEnd/>
            <a:tailEnd/>
          </a:ln>
        </p:spPr>
        <p:txBody>
          <a:bodyPr wrap="square" lIns="88900" tIns="88900" rIns="88900" bIns="88900" rtlCol="0" anchor="t" anchorCtr="0"/>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1" u="sng" strike="noStrike" kern="1200" cap="none" spc="0" normalizeH="0" baseline="0" noProof="0" dirty="0">
                <a:ln>
                  <a:noFill/>
                </a:ln>
                <a:solidFill>
                  <a:srgbClr val="000000"/>
                </a:solidFill>
                <a:effectLst/>
                <a:uLnTx/>
                <a:uFillTx/>
                <a:ea typeface="+mn-ea"/>
                <a:cs typeface="+mn-cs"/>
              </a:rPr>
              <a:t>Marketplace Management Funds</a:t>
            </a:r>
            <a:endParaRPr kumimoji="0" lang="en-US" sz="1400" b="1" i="0" u="none" strike="noStrike" kern="1200" cap="none" spc="0" normalizeH="0" baseline="0" noProof="0" dirty="0">
              <a:ln>
                <a:noFill/>
              </a:ln>
              <a:solidFill>
                <a:srgbClr val="000000"/>
              </a:solidFill>
              <a:effectLst/>
              <a:uLnTx/>
              <a:uFillTx/>
              <a:ea typeface="+mn-ea"/>
              <a:cs typeface="+mn-cs"/>
            </a:endParaRP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ea typeface="+mn-ea"/>
                <a:cs typeface="+mn-cs"/>
              </a:rPr>
              <a:t>Cancellations</a:t>
            </a:r>
            <a:endParaRPr kumimoji="0" lang="en-US" sz="1400" b="0" i="0" u="none" strike="noStrike" kern="1200" cap="none" spc="0" normalizeH="0" baseline="0" noProof="0" dirty="0">
              <a:ln>
                <a:noFill/>
              </a:ln>
              <a:solidFill>
                <a:srgbClr val="000000">
                  <a:lumMod val="50000"/>
                  <a:lumOff val="50000"/>
                </a:srgbClr>
              </a:solidFill>
              <a:effectLst/>
              <a:uLnTx/>
              <a:uFillTx/>
              <a:ea typeface="+mn-ea"/>
              <a:cs typeface="+mn-cs"/>
            </a:endParaRP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lumMod val="50000"/>
                    <a:lumOff val="50000"/>
                  </a:srgbClr>
                </a:solidFill>
                <a:effectLst/>
                <a:uLnTx/>
                <a:uFillTx/>
                <a:ea typeface="+mn-ea"/>
                <a:cs typeface="+mn-cs"/>
              </a:rPr>
              <a:t>Returns</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lumMod val="50000"/>
                    <a:lumOff val="50000"/>
                  </a:srgbClr>
                </a:solidFill>
                <a:effectLst/>
                <a:uLnTx/>
                <a:uFillTx/>
                <a:ea typeface="+mn-ea"/>
                <a:cs typeface="+mn-cs"/>
              </a:rPr>
              <a:t>Margin</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ea typeface="+mn-ea"/>
              <a:cs typeface="+mn-cs"/>
            </a:endParaRPr>
          </a:p>
        </p:txBody>
      </p:sp>
    </p:spTree>
    <p:extLst>
      <p:ext uri="{BB962C8B-B14F-4D97-AF65-F5344CB8AC3E}">
        <p14:creationId xmlns:p14="http://schemas.microsoft.com/office/powerpoint/2010/main" val="2135293409"/>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Object 49" hidden="1">
            <a:extLst>
              <a:ext uri="{FF2B5EF4-FFF2-40B4-BE49-F238E27FC236}">
                <a16:creationId xmlns:a16="http://schemas.microsoft.com/office/drawing/2014/main" id="{9AE5EB4E-2ED3-44BD-B069-A4F0F373642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64" name="think-cell Slide" r:id="rId6" imgW="395" imgH="396" progId="TCLayout.ActiveDocument.1">
                  <p:embed/>
                </p:oleObj>
              </mc:Choice>
              <mc:Fallback>
                <p:oleObj name="think-cell Slide" r:id="rId6" imgW="395" imgH="396" progId="TCLayout.ActiveDocument.1">
                  <p:embed/>
                  <p:pic>
                    <p:nvPicPr>
                      <p:cNvPr id="50" name="Object 49" hidden="1">
                        <a:extLst>
                          <a:ext uri="{FF2B5EF4-FFF2-40B4-BE49-F238E27FC236}">
                            <a16:creationId xmlns:a16="http://schemas.microsoft.com/office/drawing/2014/main" id="{9AE5EB4E-2ED3-44BD-B069-A4F0F373642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9" name="Rectangle 48" hidden="1">
            <a:extLst>
              <a:ext uri="{FF2B5EF4-FFF2-40B4-BE49-F238E27FC236}">
                <a16:creationId xmlns:a16="http://schemas.microsoft.com/office/drawing/2014/main" id="{E46693A7-D3D1-4C30-A777-91D3E9D8F54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ea typeface="Open Sans Semibold" panose="020B0706030804020204" pitchFamily="34" charset="0"/>
              <a:cs typeface="Open Sans Semibold" panose="020B0706030804020204" pitchFamily="34" charset="0"/>
              <a:sym typeface="Chronicle Display Black" pitchFamily="50" charset="0"/>
            </a:endParaRPr>
          </a:p>
        </p:txBody>
      </p:sp>
      <p:sp>
        <p:nvSpPr>
          <p:cNvPr id="2" name="Title 1">
            <a:extLst>
              <a:ext uri="{FF2B5EF4-FFF2-40B4-BE49-F238E27FC236}">
                <a16:creationId xmlns:a16="http://schemas.microsoft.com/office/drawing/2014/main" id="{324D749A-FABC-4989-B2E5-B6B0CB667DCB}"/>
              </a:ext>
            </a:extLst>
          </p:cNvPr>
          <p:cNvSpPr>
            <a:spLocks noGrp="1"/>
          </p:cNvSpPr>
          <p:nvPr>
            <p:ph type="title"/>
          </p:nvPr>
        </p:nvSpPr>
        <p:spPr/>
        <p:txBody>
          <a:bodyPr/>
          <a:lstStyle/>
          <a:p>
            <a:r>
              <a:rPr lang="en-US" dirty="0">
                <a:ea typeface="Open Sans Semibold" panose="020B0606030504020204" pitchFamily="34" charset="0"/>
                <a:cs typeface="Open Sans Semibold" panose="020B0606030504020204" pitchFamily="34" charset="0"/>
              </a:rPr>
              <a:t>From proof of concepts to fully licensed products</a:t>
            </a:r>
            <a:endParaRPr lang="en-US" dirty="0"/>
          </a:p>
        </p:txBody>
      </p:sp>
      <p:sp>
        <p:nvSpPr>
          <p:cNvPr id="3" name="Text Placeholder 2">
            <a:extLst>
              <a:ext uri="{FF2B5EF4-FFF2-40B4-BE49-F238E27FC236}">
                <a16:creationId xmlns:a16="http://schemas.microsoft.com/office/drawing/2014/main" id="{17B0D977-7576-4376-9593-A1E3A5B0AD80}"/>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85CDAC94-AC68-4171-B707-D9E298B4C646}"/>
              </a:ext>
            </a:extLst>
          </p:cNvPr>
          <p:cNvSpPr>
            <a:spLocks noGrp="1"/>
          </p:cNvSpPr>
          <p:nvPr>
            <p:ph type="body" sz="quarter" idx="15"/>
          </p:nvPr>
        </p:nvSpPr>
        <p:spPr>
          <a:xfrm>
            <a:off x="914970" y="466344"/>
            <a:ext cx="3704583" cy="233856"/>
          </a:xfrm>
        </p:spPr>
        <p:txBody>
          <a:bodyPr/>
          <a:lstStyle/>
          <a:p>
            <a:r>
              <a:rPr lang="en-US" dirty="0"/>
              <a:t>FRAMEWORKS &amp; CONCEPT ILLUSTRATION</a:t>
            </a:r>
          </a:p>
        </p:txBody>
      </p:sp>
      <p:sp>
        <p:nvSpPr>
          <p:cNvPr id="5" name="Rectangle 4">
            <a:extLst>
              <a:ext uri="{FF2B5EF4-FFF2-40B4-BE49-F238E27FC236}">
                <a16:creationId xmlns:a16="http://schemas.microsoft.com/office/drawing/2014/main" id="{27FBE8CB-C1A4-489B-83A1-5FAB4A632369}"/>
              </a:ext>
            </a:extLst>
          </p:cNvPr>
          <p:cNvSpPr/>
          <p:nvPr/>
        </p:nvSpPr>
        <p:spPr>
          <a:xfrm>
            <a:off x="646706" y="5841639"/>
            <a:ext cx="4976037" cy="3472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nvGrpSpPr>
          <p:cNvPr id="7" name="Group 6">
            <a:extLst>
              <a:ext uri="{FF2B5EF4-FFF2-40B4-BE49-F238E27FC236}">
                <a16:creationId xmlns:a16="http://schemas.microsoft.com/office/drawing/2014/main" id="{5E22A2AA-4DA1-4B09-8E97-FD639A33B2AF}"/>
              </a:ext>
            </a:extLst>
          </p:cNvPr>
          <p:cNvGrpSpPr/>
          <p:nvPr/>
        </p:nvGrpSpPr>
        <p:grpSpPr>
          <a:xfrm>
            <a:off x="510813" y="1730882"/>
            <a:ext cx="11414041" cy="4315590"/>
            <a:chOff x="474307" y="1964821"/>
            <a:chExt cx="11414041" cy="4315590"/>
          </a:xfrm>
        </p:grpSpPr>
        <p:cxnSp>
          <p:nvCxnSpPr>
            <p:cNvPr id="8" name="Straight Arrow Connector 7">
              <a:extLst>
                <a:ext uri="{FF2B5EF4-FFF2-40B4-BE49-F238E27FC236}">
                  <a16:creationId xmlns:a16="http://schemas.microsoft.com/office/drawing/2014/main" id="{0410A905-C3DE-48A8-AACA-411AC01ED7C6}"/>
                </a:ext>
              </a:extLst>
            </p:cNvPr>
            <p:cNvCxnSpPr>
              <a:cxnSpLocks/>
            </p:cNvCxnSpPr>
            <p:nvPr/>
          </p:nvCxnSpPr>
          <p:spPr>
            <a:xfrm flipV="1">
              <a:off x="1773457" y="2473202"/>
              <a:ext cx="8417111" cy="16536"/>
            </a:xfrm>
            <a:prstGeom prst="straightConnector1">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9" name="Content Placeholder 2">
              <a:extLst>
                <a:ext uri="{FF2B5EF4-FFF2-40B4-BE49-F238E27FC236}">
                  <a16:creationId xmlns:a16="http://schemas.microsoft.com/office/drawing/2014/main" id="{75E06351-3D32-42B3-BE47-1DB50AD70635}"/>
                </a:ext>
              </a:extLst>
            </p:cNvPr>
            <p:cNvSpPr txBox="1">
              <a:spLocks/>
            </p:cNvSpPr>
            <p:nvPr/>
          </p:nvSpPr>
          <p:spPr>
            <a:xfrm>
              <a:off x="474307" y="1982887"/>
              <a:ext cx="3501532" cy="242171"/>
            </a:xfrm>
            <a:prstGeom prst="rect">
              <a:avLst/>
            </a:prstGeom>
          </p:spPr>
          <p:txBody>
            <a:bodyPr>
              <a:noAutofit/>
            </a:bodyPr>
            <a:lstStyle>
              <a:lvl1pPr marL="342900" indent="-342900" algn="l" rtl="0" eaLnBrk="0" fontAlgn="base" hangingPunct="0">
                <a:spcBef>
                  <a:spcPts val="2200"/>
                </a:spcBef>
                <a:spcAft>
                  <a:spcPct val="0"/>
                </a:spcAft>
                <a:buFont typeface="Arial" charset="0"/>
                <a:defRPr lang="en-US" kern="1200" dirty="0">
                  <a:solidFill>
                    <a:schemeClr val="tx2"/>
                  </a:solidFill>
                  <a:latin typeface="+mn-lt"/>
                  <a:ea typeface="+mn-ea"/>
                  <a:cs typeface="Arial" pitchFamily="34" charset="0"/>
                </a:defRPr>
              </a:lvl1pPr>
              <a:lvl2pPr marL="174625" indent="-174625" algn="l" rtl="0" eaLnBrk="0" fontAlgn="base" hangingPunct="0">
                <a:spcBef>
                  <a:spcPts val="400"/>
                </a:spcBef>
                <a:spcAft>
                  <a:spcPct val="0"/>
                </a:spcAft>
                <a:buFont typeface="Arial" charset="0"/>
                <a:buChar char="•"/>
                <a:defRPr lang="en-US" kern="1200" dirty="0">
                  <a:solidFill>
                    <a:schemeClr val="tx2"/>
                  </a:solidFill>
                  <a:latin typeface="+mn-lt"/>
                  <a:ea typeface="+mn-ea"/>
                  <a:cs typeface="Arial" pitchFamily="34" charset="0"/>
                </a:defRPr>
              </a:lvl2pPr>
              <a:lvl3pPr marL="341313" indent="-171450" algn="l" rtl="0" eaLnBrk="0" fontAlgn="base" hangingPunct="0">
                <a:spcBef>
                  <a:spcPts val="400"/>
                </a:spcBef>
                <a:spcAft>
                  <a:spcPct val="0"/>
                </a:spcAft>
                <a:buFont typeface="Arial" charset="0"/>
                <a:buChar char="–"/>
                <a:defRPr lang="en-US" sz="1600" kern="1200" dirty="0">
                  <a:solidFill>
                    <a:schemeClr val="tx2"/>
                  </a:solidFill>
                  <a:latin typeface="+mn-lt"/>
                  <a:ea typeface="+mn-ea"/>
                  <a:cs typeface="Arial" charset="0"/>
                </a:defRPr>
              </a:lvl3pPr>
              <a:lvl4pPr marL="515938" indent="-174625" algn="l" rtl="0" eaLnBrk="0" fontAlgn="base" hangingPunct="0">
                <a:spcBef>
                  <a:spcPts val="400"/>
                </a:spcBef>
                <a:spcAft>
                  <a:spcPct val="0"/>
                </a:spcAft>
                <a:buFont typeface="Arial" charset="0"/>
                <a:buChar char="•"/>
                <a:defRPr lang="en-US" sz="1600" kern="1200" dirty="0">
                  <a:solidFill>
                    <a:schemeClr val="tx2"/>
                  </a:solidFill>
                  <a:latin typeface="Arial" pitchFamily="34" charset="0"/>
                  <a:ea typeface="+mn-ea"/>
                  <a:cs typeface="Arial" pitchFamily="34" charset="0"/>
                </a:defRPr>
              </a:lvl4pPr>
              <a:lvl5pPr marL="688975" indent="-173038" algn="l" rtl="0" eaLnBrk="0" fontAlgn="base" hangingPunct="0">
                <a:spcBef>
                  <a:spcPts val="400"/>
                </a:spcBef>
                <a:spcAft>
                  <a:spcPct val="0"/>
                </a:spcAft>
                <a:buFont typeface="Arial" charset="0"/>
                <a:buChar char="–"/>
                <a:defRPr lang="en-US" sz="1600" kern="1200" dirty="0">
                  <a:solidFill>
                    <a:schemeClr val="tx2"/>
                  </a:solidFill>
                  <a:latin typeface="Arial" pitchFamily="34" charset="0"/>
                  <a:ea typeface="+mn-ea"/>
                  <a:cs typeface="Arial" pitchFamily="34" charset="0"/>
                </a:defRPr>
              </a:lvl5pPr>
              <a:lvl6pPr marL="666750" marR="0" indent="-166688" algn="l" defTabSz="914400" rtl="0" eaLnBrk="1" fontAlgn="base" latinLnBrk="0" hangingPunct="1">
                <a:lnSpc>
                  <a:spcPct val="100000"/>
                </a:lnSpc>
                <a:spcBef>
                  <a:spcPts val="400"/>
                </a:spcBef>
                <a:spcAft>
                  <a:spcPct val="0"/>
                </a:spcAft>
                <a:buFont typeface="Arial" pitchFamily="34" charset="0"/>
                <a:buChar char="–"/>
                <a:tabLst/>
                <a:defRPr kumimoji="0" lang="en-US" sz="1000" b="0" i="0" u="none" strike="noStrike" kern="1200" cap="none" normalizeH="0" baseline="0" dirty="0" smtClean="0">
                  <a:ln>
                    <a:noFill/>
                  </a:ln>
                  <a:solidFill>
                    <a:schemeClr val="tx2"/>
                  </a:solidFill>
                  <a:effectLst/>
                  <a:latin typeface="Arial" pitchFamily="34" charset="0"/>
                  <a:ea typeface="+mn-ea"/>
                  <a:cs typeface="Arial" pitchFamily="34" charset="0"/>
                </a:defRPr>
              </a:lvl6pPr>
              <a:lvl7pPr marL="1079500" indent="-184150"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7pPr>
              <a:lvl8pPr marL="1252538" indent="-173038"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8pPr>
              <a:lvl9pPr marL="1435100" indent="-182563"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9pPr>
            </a:lstStyle>
            <a:p>
              <a:pPr marL="0" marR="0" lvl="1" indent="0" algn="ctr" defTabSz="914400" rtl="0" eaLnBrk="0" fontAlgn="base" latinLnBrk="0" hangingPunct="0">
                <a:lnSpc>
                  <a:spcPct val="100000"/>
                </a:lnSpc>
                <a:spcBef>
                  <a:spcPts val="0"/>
                </a:spcBef>
                <a:spcAft>
                  <a:spcPct val="0"/>
                </a:spcAft>
                <a:buClrTx/>
                <a:buSzTx/>
                <a:buFont typeface="Arial" charset="0"/>
                <a:buNone/>
                <a:tabLst/>
                <a:defRPr/>
              </a:pPr>
              <a:r>
                <a:rPr kumimoji="0" lang="en-US" sz="1200" b="0" i="0" u="none" strike="noStrike" kern="1200" cap="none" spc="0" normalizeH="0" baseline="0" noProof="0" dirty="0">
                  <a:ln>
                    <a:noFill/>
                  </a:ln>
                  <a:solidFill>
                    <a:prstClr val="black"/>
                  </a:solidFill>
                  <a:effectLst/>
                  <a:uLnTx/>
                  <a:uFillTx/>
                  <a:latin typeface="Open Sans"/>
                  <a:ea typeface="Segoe UI" panose="020B0502040204020203" pitchFamily="34" charset="0"/>
                  <a:cs typeface="Segoe UI" panose="020B0502040204020203" pitchFamily="34" charset="0"/>
                </a:rPr>
                <a:t>Serving specific needs of a </a:t>
              </a:r>
              <a:r>
                <a:rPr kumimoji="0" lang="en-US" sz="1200" b="0" i="0" u="sng" strike="noStrike" kern="1200" cap="none" spc="0" normalizeH="0" baseline="0" noProof="0" dirty="0">
                  <a:ln>
                    <a:noFill/>
                  </a:ln>
                  <a:solidFill>
                    <a:prstClr val="black"/>
                  </a:solidFill>
                  <a:effectLst/>
                  <a:uLnTx/>
                  <a:uFillTx/>
                  <a:latin typeface="Open Sans"/>
                  <a:ea typeface="Segoe UI" panose="020B0502040204020203" pitchFamily="34" charset="0"/>
                  <a:cs typeface="Segoe UI" panose="020B0502040204020203" pitchFamily="34" charset="0"/>
                </a:rPr>
                <a:t>single</a:t>
              </a:r>
              <a:r>
                <a:rPr kumimoji="0" lang="en-US" sz="1200" b="0" i="0" u="none" strike="noStrike" kern="1200" cap="none" spc="0" normalizeH="0" baseline="0" noProof="0" dirty="0">
                  <a:ln>
                    <a:noFill/>
                  </a:ln>
                  <a:solidFill>
                    <a:prstClr val="black"/>
                  </a:solidFill>
                  <a:effectLst/>
                  <a:uLnTx/>
                  <a:uFillTx/>
                  <a:latin typeface="Open Sans"/>
                  <a:ea typeface="Segoe UI" panose="020B0502040204020203" pitchFamily="34" charset="0"/>
                  <a:cs typeface="Segoe UI" panose="020B0502040204020203" pitchFamily="34" charset="0"/>
                </a:rPr>
                <a:t> client</a:t>
              </a:r>
            </a:p>
          </p:txBody>
        </p:sp>
        <p:sp>
          <p:nvSpPr>
            <p:cNvPr id="10" name="Content Placeholder 2">
              <a:extLst>
                <a:ext uri="{FF2B5EF4-FFF2-40B4-BE49-F238E27FC236}">
                  <a16:creationId xmlns:a16="http://schemas.microsoft.com/office/drawing/2014/main" id="{D4362BF9-6DFE-453F-BC82-DBCD3AE4AA18}"/>
                </a:ext>
              </a:extLst>
            </p:cNvPr>
            <p:cNvSpPr txBox="1">
              <a:spLocks/>
            </p:cNvSpPr>
            <p:nvPr/>
          </p:nvSpPr>
          <p:spPr>
            <a:xfrm>
              <a:off x="521586" y="2240232"/>
              <a:ext cx="1440927" cy="1005840"/>
            </a:xfrm>
            <a:prstGeom prst="rect">
              <a:avLst/>
            </a:prstGeom>
          </p:spPr>
          <p:txBody>
            <a:bodyPr>
              <a:noAutofit/>
            </a:bodyPr>
            <a:lstStyle>
              <a:lvl1pPr marL="342900" indent="-342900" algn="l" rtl="0" eaLnBrk="0" fontAlgn="base" hangingPunct="0">
                <a:spcBef>
                  <a:spcPts val="2200"/>
                </a:spcBef>
                <a:spcAft>
                  <a:spcPct val="0"/>
                </a:spcAft>
                <a:buFont typeface="Arial" charset="0"/>
                <a:defRPr lang="en-US" kern="1200" dirty="0">
                  <a:solidFill>
                    <a:schemeClr val="tx2"/>
                  </a:solidFill>
                  <a:latin typeface="+mn-lt"/>
                  <a:ea typeface="+mn-ea"/>
                  <a:cs typeface="Arial" pitchFamily="34" charset="0"/>
                </a:defRPr>
              </a:lvl1pPr>
              <a:lvl2pPr marL="174625" indent="-174625" algn="l" rtl="0" eaLnBrk="0" fontAlgn="base" hangingPunct="0">
                <a:spcBef>
                  <a:spcPts val="400"/>
                </a:spcBef>
                <a:spcAft>
                  <a:spcPct val="0"/>
                </a:spcAft>
                <a:buFont typeface="Arial" charset="0"/>
                <a:buChar char="•"/>
                <a:defRPr lang="en-US" kern="1200" dirty="0">
                  <a:solidFill>
                    <a:schemeClr val="tx2"/>
                  </a:solidFill>
                  <a:latin typeface="+mn-lt"/>
                  <a:ea typeface="+mn-ea"/>
                  <a:cs typeface="Arial" pitchFamily="34" charset="0"/>
                </a:defRPr>
              </a:lvl2pPr>
              <a:lvl3pPr marL="341313" indent="-171450" algn="l" rtl="0" eaLnBrk="0" fontAlgn="base" hangingPunct="0">
                <a:spcBef>
                  <a:spcPts val="400"/>
                </a:spcBef>
                <a:spcAft>
                  <a:spcPct val="0"/>
                </a:spcAft>
                <a:buFont typeface="Arial" charset="0"/>
                <a:buChar char="–"/>
                <a:defRPr lang="en-US" sz="1600" kern="1200" dirty="0">
                  <a:solidFill>
                    <a:schemeClr val="tx2"/>
                  </a:solidFill>
                  <a:latin typeface="+mn-lt"/>
                  <a:ea typeface="+mn-ea"/>
                  <a:cs typeface="Arial" charset="0"/>
                </a:defRPr>
              </a:lvl3pPr>
              <a:lvl4pPr marL="515938" indent="-174625" algn="l" rtl="0" eaLnBrk="0" fontAlgn="base" hangingPunct="0">
                <a:spcBef>
                  <a:spcPts val="400"/>
                </a:spcBef>
                <a:spcAft>
                  <a:spcPct val="0"/>
                </a:spcAft>
                <a:buFont typeface="Arial" charset="0"/>
                <a:buChar char="•"/>
                <a:defRPr lang="en-US" sz="1600" kern="1200" dirty="0">
                  <a:solidFill>
                    <a:schemeClr val="tx2"/>
                  </a:solidFill>
                  <a:latin typeface="Arial" pitchFamily="34" charset="0"/>
                  <a:ea typeface="+mn-ea"/>
                  <a:cs typeface="Arial" pitchFamily="34" charset="0"/>
                </a:defRPr>
              </a:lvl4pPr>
              <a:lvl5pPr marL="688975" indent="-173038" algn="l" rtl="0" eaLnBrk="0" fontAlgn="base" hangingPunct="0">
                <a:spcBef>
                  <a:spcPts val="400"/>
                </a:spcBef>
                <a:spcAft>
                  <a:spcPct val="0"/>
                </a:spcAft>
                <a:buFont typeface="Arial" charset="0"/>
                <a:buChar char="–"/>
                <a:defRPr lang="en-US" sz="1600" kern="1200" dirty="0">
                  <a:solidFill>
                    <a:schemeClr val="tx2"/>
                  </a:solidFill>
                  <a:latin typeface="Arial" pitchFamily="34" charset="0"/>
                  <a:ea typeface="+mn-ea"/>
                  <a:cs typeface="Arial" pitchFamily="34" charset="0"/>
                </a:defRPr>
              </a:lvl5pPr>
              <a:lvl6pPr marL="666750" marR="0" indent="-166688" algn="l" defTabSz="914400" rtl="0" eaLnBrk="1" fontAlgn="base" latinLnBrk="0" hangingPunct="1">
                <a:lnSpc>
                  <a:spcPct val="100000"/>
                </a:lnSpc>
                <a:spcBef>
                  <a:spcPts val="400"/>
                </a:spcBef>
                <a:spcAft>
                  <a:spcPct val="0"/>
                </a:spcAft>
                <a:buFont typeface="Arial" pitchFamily="34" charset="0"/>
                <a:buChar char="–"/>
                <a:tabLst/>
                <a:defRPr kumimoji="0" lang="en-US" sz="1000" b="0" i="0" u="none" strike="noStrike" kern="1200" cap="none" normalizeH="0" baseline="0" dirty="0" smtClean="0">
                  <a:ln>
                    <a:noFill/>
                  </a:ln>
                  <a:solidFill>
                    <a:schemeClr val="tx2"/>
                  </a:solidFill>
                  <a:effectLst/>
                  <a:latin typeface="Arial" pitchFamily="34" charset="0"/>
                  <a:ea typeface="+mn-ea"/>
                  <a:cs typeface="Arial" pitchFamily="34" charset="0"/>
                </a:defRPr>
              </a:lvl6pPr>
              <a:lvl7pPr marL="1079500" indent="-184150"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7pPr>
              <a:lvl8pPr marL="1252538" indent="-173038"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8pPr>
              <a:lvl9pPr marL="1435100" indent="-182563"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9pPr>
            </a:lstStyle>
            <a:p>
              <a:pPr marL="0" marR="0" lvl="1" indent="0" algn="ctr" defTabSz="914400" rtl="0" eaLnBrk="0" fontAlgn="base" latinLnBrk="0" hangingPunct="0">
                <a:lnSpc>
                  <a:spcPct val="100000"/>
                </a:lnSpc>
                <a:spcBef>
                  <a:spcPts val="0"/>
                </a:spcBef>
                <a:spcAft>
                  <a:spcPct val="0"/>
                </a:spcAft>
                <a:buClrTx/>
                <a:buSzTx/>
                <a:buFont typeface="Arial" charset="0"/>
                <a:buNone/>
                <a:tabLst/>
                <a:defRPr/>
              </a:pPr>
              <a:r>
                <a:rPr kumimoji="0" lang="en-US" sz="1100" b="1" i="0" u="none" strike="noStrike" kern="1200" cap="none" spc="0" normalizeH="0" baseline="0" noProof="0" dirty="0">
                  <a:ln>
                    <a:noFill/>
                  </a:ln>
                  <a:solidFill>
                    <a:prstClr val="black"/>
                  </a:solidFill>
                  <a:effectLst/>
                  <a:uLnTx/>
                  <a:uFillTx/>
                  <a:latin typeface="Open Sans"/>
                  <a:ea typeface="Segoe UI" panose="020B0502040204020203" pitchFamily="34" charset="0"/>
                  <a:cs typeface="Segoe UI" panose="020B0502040204020203" pitchFamily="34" charset="0"/>
                </a:rPr>
                <a:t>“One-to-one” customized</a:t>
              </a:r>
            </a:p>
          </p:txBody>
        </p:sp>
        <p:sp>
          <p:nvSpPr>
            <p:cNvPr id="11" name="Content Placeholder 2">
              <a:extLst>
                <a:ext uri="{FF2B5EF4-FFF2-40B4-BE49-F238E27FC236}">
                  <a16:creationId xmlns:a16="http://schemas.microsoft.com/office/drawing/2014/main" id="{9A210CDD-251D-4B41-8D09-11F9C93F89C4}"/>
                </a:ext>
              </a:extLst>
            </p:cNvPr>
            <p:cNvSpPr txBox="1">
              <a:spLocks/>
            </p:cNvSpPr>
            <p:nvPr/>
          </p:nvSpPr>
          <p:spPr>
            <a:xfrm>
              <a:off x="7818466" y="1964821"/>
              <a:ext cx="3778936" cy="271098"/>
            </a:xfrm>
            <a:prstGeom prst="rect">
              <a:avLst/>
            </a:prstGeom>
          </p:spPr>
          <p:txBody>
            <a:bodyPr>
              <a:noAutofit/>
            </a:bodyPr>
            <a:lstStyle>
              <a:lvl1pPr marL="342900" indent="-342900" algn="l" rtl="0" eaLnBrk="0" fontAlgn="base" hangingPunct="0">
                <a:spcBef>
                  <a:spcPts val="2200"/>
                </a:spcBef>
                <a:spcAft>
                  <a:spcPct val="0"/>
                </a:spcAft>
                <a:buFont typeface="Arial" charset="0"/>
                <a:defRPr lang="en-US" kern="1200" dirty="0">
                  <a:solidFill>
                    <a:schemeClr val="tx2"/>
                  </a:solidFill>
                  <a:latin typeface="+mn-lt"/>
                  <a:ea typeface="+mn-ea"/>
                  <a:cs typeface="Arial" pitchFamily="34" charset="0"/>
                </a:defRPr>
              </a:lvl1pPr>
              <a:lvl2pPr marL="174625" indent="-174625" algn="l" rtl="0" eaLnBrk="0" fontAlgn="base" hangingPunct="0">
                <a:spcBef>
                  <a:spcPts val="400"/>
                </a:spcBef>
                <a:spcAft>
                  <a:spcPct val="0"/>
                </a:spcAft>
                <a:buFont typeface="Arial" charset="0"/>
                <a:buChar char="•"/>
                <a:defRPr lang="en-US" kern="1200" dirty="0">
                  <a:solidFill>
                    <a:schemeClr val="tx2"/>
                  </a:solidFill>
                  <a:latin typeface="+mn-lt"/>
                  <a:ea typeface="+mn-ea"/>
                  <a:cs typeface="Arial" pitchFamily="34" charset="0"/>
                </a:defRPr>
              </a:lvl2pPr>
              <a:lvl3pPr marL="341313" indent="-171450" algn="l" rtl="0" eaLnBrk="0" fontAlgn="base" hangingPunct="0">
                <a:spcBef>
                  <a:spcPts val="400"/>
                </a:spcBef>
                <a:spcAft>
                  <a:spcPct val="0"/>
                </a:spcAft>
                <a:buFont typeface="Arial" charset="0"/>
                <a:buChar char="–"/>
                <a:defRPr lang="en-US" sz="1600" kern="1200" dirty="0">
                  <a:solidFill>
                    <a:schemeClr val="tx2"/>
                  </a:solidFill>
                  <a:latin typeface="+mn-lt"/>
                  <a:ea typeface="+mn-ea"/>
                  <a:cs typeface="Arial" charset="0"/>
                </a:defRPr>
              </a:lvl3pPr>
              <a:lvl4pPr marL="515938" indent="-174625" algn="l" rtl="0" eaLnBrk="0" fontAlgn="base" hangingPunct="0">
                <a:spcBef>
                  <a:spcPts val="400"/>
                </a:spcBef>
                <a:spcAft>
                  <a:spcPct val="0"/>
                </a:spcAft>
                <a:buFont typeface="Arial" charset="0"/>
                <a:buChar char="•"/>
                <a:defRPr lang="en-US" sz="1600" kern="1200" dirty="0">
                  <a:solidFill>
                    <a:schemeClr val="tx2"/>
                  </a:solidFill>
                  <a:latin typeface="Arial" pitchFamily="34" charset="0"/>
                  <a:ea typeface="+mn-ea"/>
                  <a:cs typeface="Arial" pitchFamily="34" charset="0"/>
                </a:defRPr>
              </a:lvl4pPr>
              <a:lvl5pPr marL="688975" indent="-173038" algn="l" rtl="0" eaLnBrk="0" fontAlgn="base" hangingPunct="0">
                <a:spcBef>
                  <a:spcPts val="400"/>
                </a:spcBef>
                <a:spcAft>
                  <a:spcPct val="0"/>
                </a:spcAft>
                <a:buFont typeface="Arial" charset="0"/>
                <a:buChar char="–"/>
                <a:defRPr lang="en-US" sz="1600" kern="1200" dirty="0">
                  <a:solidFill>
                    <a:schemeClr val="tx2"/>
                  </a:solidFill>
                  <a:latin typeface="Arial" pitchFamily="34" charset="0"/>
                  <a:ea typeface="+mn-ea"/>
                  <a:cs typeface="Arial" pitchFamily="34" charset="0"/>
                </a:defRPr>
              </a:lvl5pPr>
              <a:lvl6pPr marL="666750" marR="0" indent="-166688" algn="l" defTabSz="914400" rtl="0" eaLnBrk="1" fontAlgn="base" latinLnBrk="0" hangingPunct="1">
                <a:lnSpc>
                  <a:spcPct val="100000"/>
                </a:lnSpc>
                <a:spcBef>
                  <a:spcPts val="400"/>
                </a:spcBef>
                <a:spcAft>
                  <a:spcPct val="0"/>
                </a:spcAft>
                <a:buFont typeface="Arial" pitchFamily="34" charset="0"/>
                <a:buChar char="–"/>
                <a:tabLst/>
                <a:defRPr kumimoji="0" lang="en-US" sz="1000" b="0" i="0" u="none" strike="noStrike" kern="1200" cap="none" normalizeH="0" baseline="0" dirty="0" smtClean="0">
                  <a:ln>
                    <a:noFill/>
                  </a:ln>
                  <a:solidFill>
                    <a:schemeClr val="tx2"/>
                  </a:solidFill>
                  <a:effectLst/>
                  <a:latin typeface="Arial" pitchFamily="34" charset="0"/>
                  <a:ea typeface="+mn-ea"/>
                  <a:cs typeface="Arial" pitchFamily="34" charset="0"/>
                </a:defRPr>
              </a:lvl6pPr>
              <a:lvl7pPr marL="1079500" indent="-184150"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7pPr>
              <a:lvl8pPr marL="1252538" indent="-173038"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8pPr>
              <a:lvl9pPr marL="1435100" indent="-182563"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9pPr>
            </a:lstStyle>
            <a:p>
              <a:pPr marL="0" marR="0" lvl="1" indent="0" algn="ctr" defTabSz="914400" rtl="0" eaLnBrk="0" fontAlgn="base" latinLnBrk="0" hangingPunct="0">
                <a:lnSpc>
                  <a:spcPct val="100000"/>
                </a:lnSpc>
                <a:spcBef>
                  <a:spcPts val="0"/>
                </a:spcBef>
                <a:spcAft>
                  <a:spcPct val="0"/>
                </a:spcAft>
                <a:buClrTx/>
                <a:buSzTx/>
                <a:buFont typeface="Arial" charset="0"/>
                <a:buNone/>
                <a:tabLst/>
                <a:defRPr/>
              </a:pPr>
              <a:r>
                <a:rPr kumimoji="0" lang="en-US" sz="1200" b="0" i="0" u="none" strike="noStrike" kern="1200" cap="none" spc="0" normalizeH="0" baseline="0" noProof="0" dirty="0">
                  <a:ln>
                    <a:noFill/>
                  </a:ln>
                  <a:solidFill>
                    <a:prstClr val="black"/>
                  </a:solidFill>
                  <a:effectLst/>
                  <a:uLnTx/>
                  <a:uFillTx/>
                  <a:latin typeface="Open Sans"/>
                  <a:ea typeface="Segoe UI" panose="020B0502040204020203" pitchFamily="34" charset="0"/>
                  <a:cs typeface="Segoe UI" panose="020B0502040204020203" pitchFamily="34" charset="0"/>
                </a:rPr>
                <a:t>Serving the needs of </a:t>
              </a:r>
              <a:r>
                <a:rPr kumimoji="0" lang="en-US" sz="1200" b="0" i="0" u="sng" strike="noStrike" kern="1200" cap="none" spc="0" normalizeH="0" baseline="0" noProof="0" dirty="0">
                  <a:ln>
                    <a:noFill/>
                  </a:ln>
                  <a:solidFill>
                    <a:prstClr val="black"/>
                  </a:solidFill>
                  <a:effectLst/>
                  <a:uLnTx/>
                  <a:uFillTx/>
                  <a:latin typeface="Open Sans"/>
                  <a:ea typeface="Segoe UI" panose="020B0502040204020203" pitchFamily="34" charset="0"/>
                  <a:cs typeface="Segoe UI" panose="020B0502040204020203" pitchFamily="34" charset="0"/>
                </a:rPr>
                <a:t>segments</a:t>
              </a:r>
              <a:r>
                <a:rPr kumimoji="0" lang="en-US" sz="1200" b="0" i="0" u="none" strike="noStrike" kern="1200" cap="none" spc="0" normalizeH="0" baseline="0" noProof="0" dirty="0">
                  <a:ln>
                    <a:noFill/>
                  </a:ln>
                  <a:solidFill>
                    <a:prstClr val="black"/>
                  </a:solidFill>
                  <a:effectLst/>
                  <a:uLnTx/>
                  <a:uFillTx/>
                  <a:latin typeface="Open Sans"/>
                  <a:ea typeface="Segoe UI" panose="020B0502040204020203" pitchFamily="34" charset="0"/>
                  <a:cs typeface="Segoe UI" panose="020B0502040204020203" pitchFamily="34" charset="0"/>
                </a:rPr>
                <a:t> of customers</a:t>
              </a:r>
            </a:p>
          </p:txBody>
        </p:sp>
        <p:sp>
          <p:nvSpPr>
            <p:cNvPr id="12" name="Content Placeholder 2">
              <a:extLst>
                <a:ext uri="{FF2B5EF4-FFF2-40B4-BE49-F238E27FC236}">
                  <a16:creationId xmlns:a16="http://schemas.microsoft.com/office/drawing/2014/main" id="{C908DF2B-2833-405B-BAF0-A8E94F81DC97}"/>
                </a:ext>
              </a:extLst>
            </p:cNvPr>
            <p:cNvSpPr txBox="1">
              <a:spLocks/>
            </p:cNvSpPr>
            <p:nvPr/>
          </p:nvSpPr>
          <p:spPr>
            <a:xfrm>
              <a:off x="9813323" y="2240232"/>
              <a:ext cx="2036441" cy="1005840"/>
            </a:xfrm>
            <a:prstGeom prst="rect">
              <a:avLst/>
            </a:prstGeom>
          </p:spPr>
          <p:txBody>
            <a:bodyPr>
              <a:noAutofit/>
            </a:bodyPr>
            <a:lstStyle>
              <a:lvl1pPr marL="342900" indent="-342900" algn="l" rtl="0" eaLnBrk="0" fontAlgn="base" hangingPunct="0">
                <a:spcBef>
                  <a:spcPts val="2200"/>
                </a:spcBef>
                <a:spcAft>
                  <a:spcPct val="0"/>
                </a:spcAft>
                <a:buFont typeface="Arial" charset="0"/>
                <a:defRPr lang="en-US" kern="1200" dirty="0">
                  <a:solidFill>
                    <a:schemeClr val="tx2"/>
                  </a:solidFill>
                  <a:latin typeface="+mn-lt"/>
                  <a:ea typeface="+mn-ea"/>
                  <a:cs typeface="Arial" pitchFamily="34" charset="0"/>
                </a:defRPr>
              </a:lvl1pPr>
              <a:lvl2pPr marL="174625" indent="-174625" algn="l" rtl="0" eaLnBrk="0" fontAlgn="base" hangingPunct="0">
                <a:spcBef>
                  <a:spcPts val="400"/>
                </a:spcBef>
                <a:spcAft>
                  <a:spcPct val="0"/>
                </a:spcAft>
                <a:buFont typeface="Arial" charset="0"/>
                <a:buChar char="•"/>
                <a:defRPr lang="en-US" kern="1200" dirty="0">
                  <a:solidFill>
                    <a:schemeClr val="tx2"/>
                  </a:solidFill>
                  <a:latin typeface="+mn-lt"/>
                  <a:ea typeface="+mn-ea"/>
                  <a:cs typeface="Arial" pitchFamily="34" charset="0"/>
                </a:defRPr>
              </a:lvl2pPr>
              <a:lvl3pPr marL="341313" indent="-171450" algn="l" rtl="0" eaLnBrk="0" fontAlgn="base" hangingPunct="0">
                <a:spcBef>
                  <a:spcPts val="400"/>
                </a:spcBef>
                <a:spcAft>
                  <a:spcPct val="0"/>
                </a:spcAft>
                <a:buFont typeface="Arial" charset="0"/>
                <a:buChar char="–"/>
                <a:defRPr lang="en-US" sz="1600" kern="1200" dirty="0">
                  <a:solidFill>
                    <a:schemeClr val="tx2"/>
                  </a:solidFill>
                  <a:latin typeface="+mn-lt"/>
                  <a:ea typeface="+mn-ea"/>
                  <a:cs typeface="Arial" charset="0"/>
                </a:defRPr>
              </a:lvl3pPr>
              <a:lvl4pPr marL="515938" indent="-174625" algn="l" rtl="0" eaLnBrk="0" fontAlgn="base" hangingPunct="0">
                <a:spcBef>
                  <a:spcPts val="400"/>
                </a:spcBef>
                <a:spcAft>
                  <a:spcPct val="0"/>
                </a:spcAft>
                <a:buFont typeface="Arial" charset="0"/>
                <a:buChar char="•"/>
                <a:defRPr lang="en-US" sz="1600" kern="1200" dirty="0">
                  <a:solidFill>
                    <a:schemeClr val="tx2"/>
                  </a:solidFill>
                  <a:latin typeface="Arial" pitchFamily="34" charset="0"/>
                  <a:ea typeface="+mn-ea"/>
                  <a:cs typeface="Arial" pitchFamily="34" charset="0"/>
                </a:defRPr>
              </a:lvl4pPr>
              <a:lvl5pPr marL="688975" indent="-173038" algn="l" rtl="0" eaLnBrk="0" fontAlgn="base" hangingPunct="0">
                <a:spcBef>
                  <a:spcPts val="400"/>
                </a:spcBef>
                <a:spcAft>
                  <a:spcPct val="0"/>
                </a:spcAft>
                <a:buFont typeface="Arial" charset="0"/>
                <a:buChar char="–"/>
                <a:defRPr lang="en-US" sz="1600" kern="1200" dirty="0">
                  <a:solidFill>
                    <a:schemeClr val="tx2"/>
                  </a:solidFill>
                  <a:latin typeface="Arial" pitchFamily="34" charset="0"/>
                  <a:ea typeface="+mn-ea"/>
                  <a:cs typeface="Arial" pitchFamily="34" charset="0"/>
                </a:defRPr>
              </a:lvl5pPr>
              <a:lvl6pPr marL="666750" marR="0" indent="-166688" algn="l" defTabSz="914400" rtl="0" eaLnBrk="1" fontAlgn="base" latinLnBrk="0" hangingPunct="1">
                <a:lnSpc>
                  <a:spcPct val="100000"/>
                </a:lnSpc>
                <a:spcBef>
                  <a:spcPts val="400"/>
                </a:spcBef>
                <a:spcAft>
                  <a:spcPct val="0"/>
                </a:spcAft>
                <a:buFont typeface="Arial" pitchFamily="34" charset="0"/>
                <a:buChar char="–"/>
                <a:tabLst/>
                <a:defRPr kumimoji="0" lang="en-US" sz="1000" b="0" i="0" u="none" strike="noStrike" kern="1200" cap="none" normalizeH="0" baseline="0" dirty="0" smtClean="0">
                  <a:ln>
                    <a:noFill/>
                  </a:ln>
                  <a:solidFill>
                    <a:schemeClr val="tx2"/>
                  </a:solidFill>
                  <a:effectLst/>
                  <a:latin typeface="Arial" pitchFamily="34" charset="0"/>
                  <a:ea typeface="+mn-ea"/>
                  <a:cs typeface="Arial" pitchFamily="34" charset="0"/>
                </a:defRPr>
              </a:lvl6pPr>
              <a:lvl7pPr marL="1079500" indent="-184150"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7pPr>
              <a:lvl8pPr marL="1252538" indent="-173038"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8pPr>
              <a:lvl9pPr marL="1435100" indent="-182563"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9pPr>
            </a:lstStyle>
            <a:p>
              <a:pPr marL="0" marR="0" lvl="1" indent="0" algn="ctr" defTabSz="914400" rtl="0" eaLnBrk="0" fontAlgn="base" latinLnBrk="0" hangingPunct="0">
                <a:lnSpc>
                  <a:spcPct val="100000"/>
                </a:lnSpc>
                <a:spcBef>
                  <a:spcPts val="0"/>
                </a:spcBef>
                <a:spcAft>
                  <a:spcPct val="0"/>
                </a:spcAft>
                <a:buClrTx/>
                <a:buSzTx/>
                <a:buFont typeface="Arial" charset="0"/>
                <a:buNone/>
                <a:tabLst/>
                <a:defRPr/>
              </a:pPr>
              <a:r>
                <a:rPr kumimoji="0" lang="en-US" sz="1100" b="1" i="0" u="none" strike="noStrike" kern="1200" cap="none" spc="0" normalizeH="0" baseline="0" noProof="0" dirty="0">
                  <a:ln>
                    <a:noFill/>
                  </a:ln>
                  <a:solidFill>
                    <a:prstClr val="black"/>
                  </a:solidFill>
                  <a:effectLst/>
                  <a:uLnTx/>
                  <a:uFillTx/>
                  <a:latin typeface="Open Sans"/>
                  <a:ea typeface="Segoe UI" panose="020B0502040204020203" pitchFamily="34" charset="0"/>
                  <a:cs typeface="Segoe UI" panose="020B0502040204020203" pitchFamily="34" charset="0"/>
                </a:rPr>
                <a:t>“One-to-many” configurable</a:t>
              </a:r>
            </a:p>
          </p:txBody>
        </p:sp>
        <p:sp>
          <p:nvSpPr>
            <p:cNvPr id="13" name="Rectangle 12">
              <a:extLst>
                <a:ext uri="{FF2B5EF4-FFF2-40B4-BE49-F238E27FC236}">
                  <a16:creationId xmlns:a16="http://schemas.microsoft.com/office/drawing/2014/main" id="{5A132CD9-2907-442E-8D56-C3271AEAB3DA}"/>
                </a:ext>
              </a:extLst>
            </p:cNvPr>
            <p:cNvSpPr/>
            <p:nvPr/>
          </p:nvSpPr>
          <p:spPr bwMode="gray">
            <a:xfrm>
              <a:off x="1472705" y="3370265"/>
              <a:ext cx="9160727" cy="540834"/>
            </a:xfrm>
            <a:prstGeom prst="rect">
              <a:avLst/>
            </a:prstGeom>
            <a:gradFill flip="none" rotWithShape="1">
              <a:gsLst>
                <a:gs pos="16000">
                  <a:schemeClr val="accent3"/>
                </a:gs>
                <a:gs pos="46000">
                  <a:schemeClr val="accent3">
                    <a:lumMod val="60000"/>
                    <a:lumOff val="40000"/>
                  </a:schemeClr>
                </a:gs>
                <a:gs pos="83000">
                  <a:schemeClr val="accent3">
                    <a:lumMod val="40000"/>
                    <a:lumOff val="60000"/>
                  </a:schemeClr>
                </a:gs>
                <a:gs pos="100000">
                  <a:schemeClr val="accent3">
                    <a:lumMod val="20000"/>
                    <a:lumOff val="80000"/>
                  </a:schemeClr>
                </a:gs>
              </a:gsLst>
              <a:path path="circle">
                <a:fillToRect l="100000" t="100000"/>
              </a:path>
              <a:tileRect r="-100000" b="-100000"/>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Open Sans"/>
                <a:ea typeface="+mn-ea"/>
                <a:cs typeface="+mn-cs"/>
              </a:endParaRPr>
            </a:p>
          </p:txBody>
        </p:sp>
        <p:sp>
          <p:nvSpPr>
            <p:cNvPr id="14" name="TextBox 21">
              <a:extLst>
                <a:ext uri="{FF2B5EF4-FFF2-40B4-BE49-F238E27FC236}">
                  <a16:creationId xmlns:a16="http://schemas.microsoft.com/office/drawing/2014/main" id="{3B4D6B24-F736-4DF7-90D8-240ECCEC2D54}"/>
                </a:ext>
              </a:extLst>
            </p:cNvPr>
            <p:cNvSpPr txBox="1"/>
            <p:nvPr/>
          </p:nvSpPr>
          <p:spPr>
            <a:xfrm>
              <a:off x="986868" y="4117234"/>
              <a:ext cx="1265881" cy="338554"/>
            </a:xfrm>
            <a:prstGeom prst="rect">
              <a:avLst/>
            </a:prstGeom>
            <a:noFill/>
          </p:spPr>
          <p:txBody>
            <a:bodyPr vert="horz"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200"/>
                </a:spcBef>
                <a:spcAft>
                  <a:spcPts val="0"/>
                </a:spcAft>
                <a:buClrTx/>
                <a:buSzPct val="100000"/>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Tech Enabled Accelerators</a:t>
              </a:r>
            </a:p>
          </p:txBody>
        </p:sp>
        <p:sp>
          <p:nvSpPr>
            <p:cNvPr id="15" name="TextBox 21">
              <a:extLst>
                <a:ext uri="{FF2B5EF4-FFF2-40B4-BE49-F238E27FC236}">
                  <a16:creationId xmlns:a16="http://schemas.microsoft.com/office/drawing/2014/main" id="{011A3E03-20E1-4359-B709-C772B13B915C}"/>
                </a:ext>
              </a:extLst>
            </p:cNvPr>
            <p:cNvSpPr txBox="1"/>
            <p:nvPr/>
          </p:nvSpPr>
          <p:spPr>
            <a:xfrm>
              <a:off x="3979278" y="4117234"/>
              <a:ext cx="1126661" cy="169277"/>
            </a:xfrm>
            <a:prstGeom prst="rect">
              <a:avLst/>
            </a:prstGeom>
            <a:noFill/>
          </p:spPr>
          <p:txBody>
            <a:bodyPr vert="horz"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200"/>
                </a:spcBef>
                <a:spcAft>
                  <a:spcPts val="0"/>
                </a:spcAft>
                <a:buClrTx/>
                <a:buSzPct val="100000"/>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Solutions</a:t>
              </a:r>
            </a:p>
          </p:txBody>
        </p:sp>
        <p:sp>
          <p:nvSpPr>
            <p:cNvPr id="16" name="TextBox 21">
              <a:extLst>
                <a:ext uri="{FF2B5EF4-FFF2-40B4-BE49-F238E27FC236}">
                  <a16:creationId xmlns:a16="http://schemas.microsoft.com/office/drawing/2014/main" id="{CCB78B17-7043-4CB7-A473-5358224B32DE}"/>
                </a:ext>
              </a:extLst>
            </p:cNvPr>
            <p:cNvSpPr txBox="1"/>
            <p:nvPr/>
          </p:nvSpPr>
          <p:spPr>
            <a:xfrm>
              <a:off x="6961444" y="4117234"/>
              <a:ext cx="1126661" cy="338554"/>
            </a:xfrm>
            <a:prstGeom prst="rect">
              <a:avLst/>
            </a:prstGeom>
            <a:noFill/>
          </p:spPr>
          <p:txBody>
            <a:bodyPr vert="horz"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200"/>
                </a:spcBef>
                <a:spcAft>
                  <a:spcPts val="0"/>
                </a:spcAft>
                <a:buClrTx/>
                <a:buSzPct val="100000"/>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Productized Solutions</a:t>
              </a:r>
            </a:p>
          </p:txBody>
        </p:sp>
        <p:sp>
          <p:nvSpPr>
            <p:cNvPr id="17" name="TextBox 21">
              <a:extLst>
                <a:ext uri="{FF2B5EF4-FFF2-40B4-BE49-F238E27FC236}">
                  <a16:creationId xmlns:a16="http://schemas.microsoft.com/office/drawing/2014/main" id="{39B139CA-708F-4E16-8A55-112CC52E7F2E}"/>
                </a:ext>
              </a:extLst>
            </p:cNvPr>
            <p:cNvSpPr txBox="1"/>
            <p:nvPr/>
          </p:nvSpPr>
          <p:spPr>
            <a:xfrm>
              <a:off x="9948731" y="4117234"/>
              <a:ext cx="1126661" cy="169277"/>
            </a:xfrm>
            <a:prstGeom prst="rect">
              <a:avLst/>
            </a:prstGeom>
            <a:noFill/>
          </p:spPr>
          <p:txBody>
            <a:bodyPr vert="horz" wrap="square" lIns="0" tIns="0" rIns="0" bIns="0"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200"/>
                </a:spcBef>
                <a:spcAft>
                  <a:spcPts val="0"/>
                </a:spcAft>
                <a:buClrTx/>
                <a:buSzPct val="100000"/>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Products</a:t>
              </a:r>
            </a:p>
          </p:txBody>
        </p:sp>
        <p:sp>
          <p:nvSpPr>
            <p:cNvPr id="18" name="Oval 17">
              <a:extLst>
                <a:ext uri="{FF2B5EF4-FFF2-40B4-BE49-F238E27FC236}">
                  <a16:creationId xmlns:a16="http://schemas.microsoft.com/office/drawing/2014/main" id="{0AFD61C7-D47F-4FD0-8188-853FA3B005A0}"/>
                </a:ext>
              </a:extLst>
            </p:cNvPr>
            <p:cNvSpPr/>
            <p:nvPr/>
          </p:nvSpPr>
          <p:spPr bwMode="gray">
            <a:xfrm>
              <a:off x="1176956" y="3267723"/>
              <a:ext cx="746486" cy="723446"/>
            </a:xfrm>
            <a:prstGeom prst="ellipse">
              <a:avLst/>
            </a:prstGeom>
            <a:solidFill>
              <a:schemeClr val="bg1"/>
            </a:solidFill>
            <a:ln w="9525" algn="ctr">
              <a:solidFill>
                <a:schemeClr val="accent6">
                  <a:lumMod val="50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19" name="Group 688">
              <a:extLst>
                <a:ext uri="{FF2B5EF4-FFF2-40B4-BE49-F238E27FC236}">
                  <a16:creationId xmlns:a16="http://schemas.microsoft.com/office/drawing/2014/main" id="{783075AD-E50F-4B23-83B9-3FB75CCE7640}"/>
                </a:ext>
              </a:extLst>
            </p:cNvPr>
            <p:cNvGrpSpPr>
              <a:grpSpLocks noChangeAspect="1"/>
            </p:cNvGrpSpPr>
            <p:nvPr/>
          </p:nvGrpSpPr>
          <p:grpSpPr bwMode="auto">
            <a:xfrm>
              <a:off x="1326942" y="3400612"/>
              <a:ext cx="446515" cy="446515"/>
              <a:chOff x="5828" y="2694"/>
              <a:chExt cx="340" cy="340"/>
            </a:xfrm>
            <a:solidFill>
              <a:schemeClr val="accent5"/>
            </a:solidFill>
          </p:grpSpPr>
          <p:sp>
            <p:nvSpPr>
              <p:cNvPr id="41" name="Freeform 689">
                <a:extLst>
                  <a:ext uri="{FF2B5EF4-FFF2-40B4-BE49-F238E27FC236}">
                    <a16:creationId xmlns:a16="http://schemas.microsoft.com/office/drawing/2014/main" id="{A9D98E21-25A2-4AFA-9C2D-F59B13D56789}"/>
                  </a:ext>
                </a:extLst>
              </p:cNvPr>
              <p:cNvSpPr>
                <a:spLocks noEditPoints="1"/>
              </p:cNvSpPr>
              <p:nvPr/>
            </p:nvSpPr>
            <p:spPr bwMode="auto">
              <a:xfrm>
                <a:off x="5828" y="26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2" name="Freeform 690">
                <a:extLst>
                  <a:ext uri="{FF2B5EF4-FFF2-40B4-BE49-F238E27FC236}">
                    <a16:creationId xmlns:a16="http://schemas.microsoft.com/office/drawing/2014/main" id="{4A3CD0E6-E534-4A3D-A69F-7C327E1171A6}"/>
                  </a:ext>
                </a:extLst>
              </p:cNvPr>
              <p:cNvSpPr>
                <a:spLocks noEditPoints="1"/>
              </p:cNvSpPr>
              <p:nvPr/>
            </p:nvSpPr>
            <p:spPr bwMode="auto">
              <a:xfrm>
                <a:off x="5892" y="2764"/>
                <a:ext cx="200" cy="207"/>
              </a:xfrm>
              <a:custGeom>
                <a:avLst/>
                <a:gdLst>
                  <a:gd name="T0" fmla="*/ 166 w 302"/>
                  <a:gd name="T1" fmla="*/ 311 h 311"/>
                  <a:gd name="T2" fmla="*/ 158 w 302"/>
                  <a:gd name="T3" fmla="*/ 308 h 311"/>
                  <a:gd name="T4" fmla="*/ 113 w 302"/>
                  <a:gd name="T5" fmla="*/ 263 h 311"/>
                  <a:gd name="T6" fmla="*/ 92 w 302"/>
                  <a:gd name="T7" fmla="*/ 268 h 311"/>
                  <a:gd name="T8" fmla="*/ 55 w 302"/>
                  <a:gd name="T9" fmla="*/ 257 h 311"/>
                  <a:gd name="T10" fmla="*/ 49 w 302"/>
                  <a:gd name="T11" fmla="*/ 198 h 311"/>
                  <a:gd name="T12" fmla="*/ 4 w 302"/>
                  <a:gd name="T13" fmla="*/ 153 h 311"/>
                  <a:gd name="T14" fmla="*/ 2 w 302"/>
                  <a:gd name="T15" fmla="*/ 140 h 311"/>
                  <a:gd name="T16" fmla="*/ 97 w 302"/>
                  <a:gd name="T17" fmla="*/ 95 h 311"/>
                  <a:gd name="T18" fmla="*/ 280 w 302"/>
                  <a:gd name="T19" fmla="*/ 25 h 311"/>
                  <a:gd name="T20" fmla="*/ 287 w 302"/>
                  <a:gd name="T21" fmla="*/ 33 h 311"/>
                  <a:gd name="T22" fmla="*/ 216 w 302"/>
                  <a:gd name="T23" fmla="*/ 216 h 311"/>
                  <a:gd name="T24" fmla="*/ 172 w 302"/>
                  <a:gd name="T25" fmla="*/ 309 h 311"/>
                  <a:gd name="T26" fmla="*/ 166 w 302"/>
                  <a:gd name="T27" fmla="*/ 311 h 311"/>
                  <a:gd name="T28" fmla="*/ 115 w 302"/>
                  <a:gd name="T29" fmla="*/ 239 h 311"/>
                  <a:gd name="T30" fmla="*/ 122 w 302"/>
                  <a:gd name="T31" fmla="*/ 242 h 311"/>
                  <a:gd name="T32" fmla="*/ 167 w 302"/>
                  <a:gd name="T33" fmla="*/ 286 h 311"/>
                  <a:gd name="T34" fmla="*/ 194 w 302"/>
                  <a:gd name="T35" fmla="*/ 216 h 311"/>
                  <a:gd name="T36" fmla="*/ 197 w 302"/>
                  <a:gd name="T37" fmla="*/ 205 h 311"/>
                  <a:gd name="T38" fmla="*/ 267 w 302"/>
                  <a:gd name="T39" fmla="*/ 44 h 311"/>
                  <a:gd name="T40" fmla="*/ 107 w 302"/>
                  <a:gd name="T41" fmla="*/ 114 h 311"/>
                  <a:gd name="T42" fmla="*/ 96 w 302"/>
                  <a:gd name="T43" fmla="*/ 116 h 311"/>
                  <a:gd name="T44" fmla="*/ 25 w 302"/>
                  <a:gd name="T45" fmla="*/ 144 h 311"/>
                  <a:gd name="T46" fmla="*/ 70 w 302"/>
                  <a:gd name="T47" fmla="*/ 189 h 311"/>
                  <a:gd name="T48" fmla="*/ 70 w 302"/>
                  <a:gd name="T49" fmla="*/ 204 h 311"/>
                  <a:gd name="T50" fmla="*/ 70 w 302"/>
                  <a:gd name="T51" fmla="*/ 242 h 311"/>
                  <a:gd name="T52" fmla="*/ 107 w 302"/>
                  <a:gd name="T53" fmla="*/ 242 h 311"/>
                  <a:gd name="T54" fmla="*/ 115 w 302"/>
                  <a:gd name="T55" fmla="*/ 239 h 311"/>
                  <a:gd name="T56" fmla="*/ 145 w 302"/>
                  <a:gd name="T57" fmla="*/ 209 h 311"/>
                  <a:gd name="T58" fmla="*/ 112 w 302"/>
                  <a:gd name="T59" fmla="*/ 196 h 311"/>
                  <a:gd name="T60" fmla="*/ 112 w 302"/>
                  <a:gd name="T61" fmla="*/ 131 h 311"/>
                  <a:gd name="T62" fmla="*/ 145 w 302"/>
                  <a:gd name="T63" fmla="*/ 117 h 311"/>
                  <a:gd name="T64" fmla="*/ 177 w 302"/>
                  <a:gd name="T65" fmla="*/ 131 h 311"/>
                  <a:gd name="T66" fmla="*/ 177 w 302"/>
                  <a:gd name="T67" fmla="*/ 196 h 311"/>
                  <a:gd name="T68" fmla="*/ 177 w 302"/>
                  <a:gd name="T69" fmla="*/ 196 h 311"/>
                  <a:gd name="T70" fmla="*/ 145 w 302"/>
                  <a:gd name="T71" fmla="*/ 209 h 311"/>
                  <a:gd name="T72" fmla="*/ 145 w 302"/>
                  <a:gd name="T73" fmla="*/ 139 h 311"/>
                  <a:gd name="T74" fmla="*/ 128 w 302"/>
                  <a:gd name="T75" fmla="*/ 146 h 311"/>
                  <a:gd name="T76" fmla="*/ 128 w 302"/>
                  <a:gd name="T77" fmla="*/ 181 h 311"/>
                  <a:gd name="T78" fmla="*/ 162 w 302"/>
                  <a:gd name="T79" fmla="*/ 181 h 311"/>
                  <a:gd name="T80" fmla="*/ 162 w 302"/>
                  <a:gd name="T81" fmla="*/ 181 h 311"/>
                  <a:gd name="T82" fmla="*/ 162 w 302"/>
                  <a:gd name="T83" fmla="*/ 146 h 311"/>
                  <a:gd name="T84" fmla="*/ 145 w 302"/>
                  <a:gd name="T85"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11">
                    <a:moveTo>
                      <a:pt x="166" y="311"/>
                    </a:moveTo>
                    <a:cubicBezTo>
                      <a:pt x="163" y="311"/>
                      <a:pt x="160" y="310"/>
                      <a:pt x="158" y="308"/>
                    </a:cubicBezTo>
                    <a:cubicBezTo>
                      <a:pt x="113" y="263"/>
                      <a:pt x="113" y="263"/>
                      <a:pt x="113" y="263"/>
                    </a:cubicBezTo>
                    <a:cubicBezTo>
                      <a:pt x="107" y="266"/>
                      <a:pt x="100" y="268"/>
                      <a:pt x="92" y="268"/>
                    </a:cubicBezTo>
                    <a:cubicBezTo>
                      <a:pt x="77" y="270"/>
                      <a:pt x="63" y="266"/>
                      <a:pt x="55" y="257"/>
                    </a:cubicBezTo>
                    <a:cubicBezTo>
                      <a:pt x="39" y="242"/>
                      <a:pt x="41" y="214"/>
                      <a:pt x="49" y="198"/>
                    </a:cubicBezTo>
                    <a:cubicBezTo>
                      <a:pt x="4" y="153"/>
                      <a:pt x="4" y="153"/>
                      <a:pt x="4" y="153"/>
                    </a:cubicBezTo>
                    <a:cubicBezTo>
                      <a:pt x="0" y="150"/>
                      <a:pt x="0" y="145"/>
                      <a:pt x="2" y="140"/>
                    </a:cubicBezTo>
                    <a:cubicBezTo>
                      <a:pt x="35" y="87"/>
                      <a:pt x="79" y="91"/>
                      <a:pt x="97" y="95"/>
                    </a:cubicBezTo>
                    <a:cubicBezTo>
                      <a:pt x="194" y="0"/>
                      <a:pt x="276" y="24"/>
                      <a:pt x="280" y="25"/>
                    </a:cubicBezTo>
                    <a:cubicBezTo>
                      <a:pt x="284" y="26"/>
                      <a:pt x="286" y="29"/>
                      <a:pt x="287" y="33"/>
                    </a:cubicBezTo>
                    <a:cubicBezTo>
                      <a:pt x="288" y="37"/>
                      <a:pt x="302" y="127"/>
                      <a:pt x="216" y="216"/>
                    </a:cubicBezTo>
                    <a:cubicBezTo>
                      <a:pt x="219" y="232"/>
                      <a:pt x="220" y="273"/>
                      <a:pt x="172" y="309"/>
                    </a:cubicBezTo>
                    <a:cubicBezTo>
                      <a:pt x="170" y="310"/>
                      <a:pt x="168" y="311"/>
                      <a:pt x="166" y="311"/>
                    </a:cubicBezTo>
                    <a:close/>
                    <a:moveTo>
                      <a:pt x="115" y="239"/>
                    </a:moveTo>
                    <a:cubicBezTo>
                      <a:pt x="118" y="239"/>
                      <a:pt x="120" y="240"/>
                      <a:pt x="122" y="242"/>
                    </a:cubicBezTo>
                    <a:cubicBezTo>
                      <a:pt x="167" y="286"/>
                      <a:pt x="167" y="286"/>
                      <a:pt x="167" y="286"/>
                    </a:cubicBezTo>
                    <a:cubicBezTo>
                      <a:pt x="206" y="252"/>
                      <a:pt x="195" y="216"/>
                      <a:pt x="194" y="216"/>
                    </a:cubicBezTo>
                    <a:cubicBezTo>
                      <a:pt x="193" y="212"/>
                      <a:pt x="194" y="208"/>
                      <a:pt x="197" y="205"/>
                    </a:cubicBezTo>
                    <a:cubicBezTo>
                      <a:pt x="266" y="136"/>
                      <a:pt x="268" y="66"/>
                      <a:pt x="267" y="44"/>
                    </a:cubicBezTo>
                    <a:cubicBezTo>
                      <a:pt x="246" y="41"/>
                      <a:pt x="183" y="39"/>
                      <a:pt x="107" y="114"/>
                    </a:cubicBezTo>
                    <a:cubicBezTo>
                      <a:pt x="104" y="117"/>
                      <a:pt x="100" y="118"/>
                      <a:pt x="96" y="116"/>
                    </a:cubicBezTo>
                    <a:cubicBezTo>
                      <a:pt x="94" y="116"/>
                      <a:pt x="55" y="102"/>
                      <a:pt x="25" y="144"/>
                    </a:cubicBezTo>
                    <a:cubicBezTo>
                      <a:pt x="70" y="189"/>
                      <a:pt x="70" y="189"/>
                      <a:pt x="70" y="189"/>
                    </a:cubicBezTo>
                    <a:cubicBezTo>
                      <a:pt x="74" y="193"/>
                      <a:pt x="74" y="200"/>
                      <a:pt x="70" y="204"/>
                    </a:cubicBezTo>
                    <a:cubicBezTo>
                      <a:pt x="66" y="209"/>
                      <a:pt x="60" y="232"/>
                      <a:pt x="70" y="242"/>
                    </a:cubicBezTo>
                    <a:cubicBezTo>
                      <a:pt x="79" y="252"/>
                      <a:pt x="103" y="246"/>
                      <a:pt x="107" y="242"/>
                    </a:cubicBezTo>
                    <a:cubicBezTo>
                      <a:pt x="109" y="240"/>
                      <a:pt x="112" y="239"/>
                      <a:pt x="115" y="239"/>
                    </a:cubicBezTo>
                    <a:close/>
                    <a:moveTo>
                      <a:pt x="145" y="209"/>
                    </a:moveTo>
                    <a:cubicBezTo>
                      <a:pt x="133" y="209"/>
                      <a:pt x="121" y="205"/>
                      <a:pt x="112" y="196"/>
                    </a:cubicBezTo>
                    <a:cubicBezTo>
                      <a:pt x="95" y="178"/>
                      <a:pt x="95" y="149"/>
                      <a:pt x="112" y="131"/>
                    </a:cubicBezTo>
                    <a:cubicBezTo>
                      <a:pt x="121" y="122"/>
                      <a:pt x="133" y="117"/>
                      <a:pt x="145" y="117"/>
                    </a:cubicBezTo>
                    <a:cubicBezTo>
                      <a:pt x="157" y="117"/>
                      <a:pt x="169" y="122"/>
                      <a:pt x="177" y="131"/>
                    </a:cubicBezTo>
                    <a:cubicBezTo>
                      <a:pt x="195" y="149"/>
                      <a:pt x="195" y="178"/>
                      <a:pt x="177" y="196"/>
                    </a:cubicBezTo>
                    <a:cubicBezTo>
                      <a:pt x="177" y="196"/>
                      <a:pt x="177" y="196"/>
                      <a:pt x="177" y="196"/>
                    </a:cubicBezTo>
                    <a:cubicBezTo>
                      <a:pt x="168" y="205"/>
                      <a:pt x="157" y="209"/>
                      <a:pt x="145" y="209"/>
                    </a:cubicBezTo>
                    <a:close/>
                    <a:moveTo>
                      <a:pt x="145" y="139"/>
                    </a:moveTo>
                    <a:cubicBezTo>
                      <a:pt x="138" y="139"/>
                      <a:pt x="132" y="141"/>
                      <a:pt x="128" y="146"/>
                    </a:cubicBezTo>
                    <a:cubicBezTo>
                      <a:pt x="118" y="156"/>
                      <a:pt x="118" y="171"/>
                      <a:pt x="128" y="181"/>
                    </a:cubicBezTo>
                    <a:cubicBezTo>
                      <a:pt x="137" y="190"/>
                      <a:pt x="153" y="190"/>
                      <a:pt x="162" y="181"/>
                    </a:cubicBezTo>
                    <a:cubicBezTo>
                      <a:pt x="162" y="181"/>
                      <a:pt x="162" y="181"/>
                      <a:pt x="162" y="181"/>
                    </a:cubicBezTo>
                    <a:cubicBezTo>
                      <a:pt x="172" y="171"/>
                      <a:pt x="172" y="156"/>
                      <a:pt x="162" y="146"/>
                    </a:cubicBezTo>
                    <a:cubicBezTo>
                      <a:pt x="158" y="141"/>
                      <a:pt x="151" y="139"/>
                      <a:pt x="145" y="13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20" name="Oval 19">
              <a:extLst>
                <a:ext uri="{FF2B5EF4-FFF2-40B4-BE49-F238E27FC236}">
                  <a16:creationId xmlns:a16="http://schemas.microsoft.com/office/drawing/2014/main" id="{3D5B9735-19BF-49EE-A666-006A15DA4113}"/>
                </a:ext>
              </a:extLst>
            </p:cNvPr>
            <p:cNvSpPr/>
            <p:nvPr/>
          </p:nvSpPr>
          <p:spPr bwMode="gray">
            <a:xfrm>
              <a:off x="4164244" y="3267723"/>
              <a:ext cx="746486" cy="723446"/>
            </a:xfrm>
            <a:prstGeom prst="ellipse">
              <a:avLst/>
            </a:prstGeom>
            <a:solidFill>
              <a:schemeClr val="bg1"/>
            </a:solidFill>
            <a:ln w="9525" algn="ctr">
              <a:solidFill>
                <a:schemeClr val="accent6">
                  <a:lumMod val="50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Open Sans"/>
                <a:ea typeface="+mn-ea"/>
                <a:cs typeface="+mn-cs"/>
              </a:endParaRPr>
            </a:p>
          </p:txBody>
        </p:sp>
        <p:sp>
          <p:nvSpPr>
            <p:cNvPr id="21" name="Freeform 542">
              <a:extLst>
                <a:ext uri="{FF2B5EF4-FFF2-40B4-BE49-F238E27FC236}">
                  <a16:creationId xmlns:a16="http://schemas.microsoft.com/office/drawing/2014/main" id="{20DB0CC0-8AAE-4DB3-892B-D815B99675C4}"/>
                </a:ext>
              </a:extLst>
            </p:cNvPr>
            <p:cNvSpPr>
              <a:spLocks noEditPoints="1"/>
            </p:cNvSpPr>
            <p:nvPr/>
          </p:nvSpPr>
          <p:spPr bwMode="auto">
            <a:xfrm>
              <a:off x="4451275" y="3509850"/>
              <a:ext cx="172423" cy="251747"/>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2" name="Freeform 543">
              <a:extLst>
                <a:ext uri="{FF2B5EF4-FFF2-40B4-BE49-F238E27FC236}">
                  <a16:creationId xmlns:a16="http://schemas.microsoft.com/office/drawing/2014/main" id="{07D063E1-2D78-42D1-8935-60C8A4958F50}"/>
                </a:ext>
              </a:extLst>
            </p:cNvPr>
            <p:cNvSpPr>
              <a:spLocks noEditPoints="1"/>
            </p:cNvSpPr>
            <p:nvPr/>
          </p:nvSpPr>
          <p:spPr bwMode="auto">
            <a:xfrm>
              <a:off x="4315427" y="3410096"/>
              <a:ext cx="444120" cy="44412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3" name="Oval 22">
              <a:extLst>
                <a:ext uri="{FF2B5EF4-FFF2-40B4-BE49-F238E27FC236}">
                  <a16:creationId xmlns:a16="http://schemas.microsoft.com/office/drawing/2014/main" id="{B3A762F5-B163-4619-BC84-0B40504213C4}"/>
                </a:ext>
              </a:extLst>
            </p:cNvPr>
            <p:cNvSpPr/>
            <p:nvPr/>
          </p:nvSpPr>
          <p:spPr bwMode="gray">
            <a:xfrm>
              <a:off x="7151532" y="3267723"/>
              <a:ext cx="746486" cy="723446"/>
            </a:xfrm>
            <a:prstGeom prst="ellipse">
              <a:avLst/>
            </a:prstGeom>
            <a:solidFill>
              <a:schemeClr val="bg1"/>
            </a:solidFill>
            <a:ln w="9525" algn="ctr">
              <a:solidFill>
                <a:schemeClr val="accent6">
                  <a:lumMod val="50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24" name="Group 23">
              <a:extLst>
                <a:ext uri="{FF2B5EF4-FFF2-40B4-BE49-F238E27FC236}">
                  <a16:creationId xmlns:a16="http://schemas.microsoft.com/office/drawing/2014/main" id="{63A55E11-BE8C-4673-A282-34749E966EC2}"/>
                </a:ext>
              </a:extLst>
            </p:cNvPr>
            <p:cNvGrpSpPr/>
            <p:nvPr/>
          </p:nvGrpSpPr>
          <p:grpSpPr>
            <a:xfrm>
              <a:off x="7300992" y="3407413"/>
              <a:ext cx="447564" cy="449485"/>
              <a:chOff x="7236493" y="4560941"/>
              <a:chExt cx="447564" cy="449485"/>
            </a:xfrm>
          </p:grpSpPr>
          <p:sp>
            <p:nvSpPr>
              <p:cNvPr id="38" name="Freeform 21">
                <a:extLst>
                  <a:ext uri="{FF2B5EF4-FFF2-40B4-BE49-F238E27FC236}">
                    <a16:creationId xmlns:a16="http://schemas.microsoft.com/office/drawing/2014/main" id="{66F2363C-B8D1-4AA8-B7FF-FDDB9D86282E}"/>
                  </a:ext>
                </a:extLst>
              </p:cNvPr>
              <p:cNvSpPr>
                <a:spLocks noEditPoints="1"/>
              </p:cNvSpPr>
              <p:nvPr/>
            </p:nvSpPr>
            <p:spPr bwMode="auto">
              <a:xfrm>
                <a:off x="7236493" y="4560941"/>
                <a:ext cx="447564" cy="449485"/>
              </a:xfrm>
              <a:custGeom>
                <a:avLst/>
                <a:gdLst>
                  <a:gd name="T0" fmla="*/ 192 w 384"/>
                  <a:gd name="T1" fmla="*/ 384 h 384"/>
                  <a:gd name="T2" fmla="*/ 0 w 384"/>
                  <a:gd name="T3" fmla="*/ 192 h 384"/>
                  <a:gd name="T4" fmla="*/ 192 w 384"/>
                  <a:gd name="T5" fmla="*/ 0 h 384"/>
                  <a:gd name="T6" fmla="*/ 384 w 384"/>
                  <a:gd name="T7" fmla="*/ 192 h 384"/>
                  <a:gd name="T8" fmla="*/ 192 w 384"/>
                  <a:gd name="T9" fmla="*/ 384 h 384"/>
                  <a:gd name="T10" fmla="*/ 192 w 384"/>
                  <a:gd name="T11" fmla="*/ 16 h 384"/>
                  <a:gd name="T12" fmla="*/ 16 w 384"/>
                  <a:gd name="T13" fmla="*/ 192 h 384"/>
                  <a:gd name="T14" fmla="*/ 192 w 384"/>
                  <a:gd name="T15" fmla="*/ 368 h 384"/>
                  <a:gd name="T16" fmla="*/ 368 w 384"/>
                  <a:gd name="T17" fmla="*/ 192 h 384"/>
                  <a:gd name="T18" fmla="*/ 192 w 384"/>
                  <a:gd name="T19" fmla="*/ 1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384"/>
                    </a:moveTo>
                    <a:cubicBezTo>
                      <a:pt x="86" y="384"/>
                      <a:pt x="0" y="298"/>
                      <a:pt x="0" y="192"/>
                    </a:cubicBezTo>
                    <a:cubicBezTo>
                      <a:pt x="0" y="86"/>
                      <a:pt x="86" y="0"/>
                      <a:pt x="192" y="0"/>
                    </a:cubicBezTo>
                    <a:cubicBezTo>
                      <a:pt x="298" y="0"/>
                      <a:pt x="384" y="86"/>
                      <a:pt x="384" y="192"/>
                    </a:cubicBezTo>
                    <a:cubicBezTo>
                      <a:pt x="384" y="298"/>
                      <a:pt x="298" y="384"/>
                      <a:pt x="192" y="384"/>
                    </a:cubicBezTo>
                    <a:close/>
                    <a:moveTo>
                      <a:pt x="192" y="16"/>
                    </a:moveTo>
                    <a:cubicBezTo>
                      <a:pt x="95" y="16"/>
                      <a:pt x="16" y="95"/>
                      <a:pt x="16" y="192"/>
                    </a:cubicBezTo>
                    <a:cubicBezTo>
                      <a:pt x="16" y="289"/>
                      <a:pt x="95" y="368"/>
                      <a:pt x="192" y="368"/>
                    </a:cubicBezTo>
                    <a:cubicBezTo>
                      <a:pt x="289" y="368"/>
                      <a:pt x="368" y="289"/>
                      <a:pt x="368" y="192"/>
                    </a:cubicBezTo>
                    <a:cubicBezTo>
                      <a:pt x="368" y="95"/>
                      <a:pt x="289" y="16"/>
                      <a:pt x="192" y="16"/>
                    </a:cubicBez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9" name="Freeform 22">
                <a:extLst>
                  <a:ext uri="{FF2B5EF4-FFF2-40B4-BE49-F238E27FC236}">
                    <a16:creationId xmlns:a16="http://schemas.microsoft.com/office/drawing/2014/main" id="{F535C30A-CA68-423D-AF64-2DBFE0660E5E}"/>
                  </a:ext>
                </a:extLst>
              </p:cNvPr>
              <p:cNvSpPr>
                <a:spLocks noEditPoints="1"/>
              </p:cNvSpPr>
              <p:nvPr/>
            </p:nvSpPr>
            <p:spPr bwMode="auto">
              <a:xfrm>
                <a:off x="7332799" y="4719203"/>
                <a:ext cx="254953" cy="256699"/>
              </a:xfrm>
              <a:custGeom>
                <a:avLst/>
                <a:gdLst>
                  <a:gd name="T0" fmla="*/ 239 w 241"/>
                  <a:gd name="T1" fmla="*/ 54 h 241"/>
                  <a:gd name="T2" fmla="*/ 236 w 241"/>
                  <a:gd name="T3" fmla="*/ 42 h 241"/>
                  <a:gd name="T4" fmla="*/ 146 w 241"/>
                  <a:gd name="T5" fmla="*/ 4 h 241"/>
                  <a:gd name="T6" fmla="*/ 95 w 241"/>
                  <a:gd name="T7" fmla="*/ 4 h 241"/>
                  <a:gd name="T8" fmla="*/ 5 w 241"/>
                  <a:gd name="T9" fmla="*/ 42 h 241"/>
                  <a:gd name="T10" fmla="*/ 2 w 241"/>
                  <a:gd name="T11" fmla="*/ 54 h 241"/>
                  <a:gd name="T12" fmla="*/ 2 w 241"/>
                  <a:gd name="T13" fmla="*/ 124 h 241"/>
                  <a:gd name="T14" fmla="*/ 5 w 241"/>
                  <a:gd name="T15" fmla="*/ 136 h 241"/>
                  <a:gd name="T16" fmla="*/ 33 w 241"/>
                  <a:gd name="T17" fmla="*/ 193 h 241"/>
                  <a:gd name="T18" fmla="*/ 117 w 241"/>
                  <a:gd name="T19" fmla="*/ 240 h 241"/>
                  <a:gd name="T20" fmla="*/ 121 w 241"/>
                  <a:gd name="T21" fmla="*/ 241 h 241"/>
                  <a:gd name="T22" fmla="*/ 124 w 241"/>
                  <a:gd name="T23" fmla="*/ 240 h 241"/>
                  <a:gd name="T24" fmla="*/ 209 w 241"/>
                  <a:gd name="T25" fmla="*/ 193 h 241"/>
                  <a:gd name="T26" fmla="*/ 236 w 241"/>
                  <a:gd name="T27" fmla="*/ 136 h 241"/>
                  <a:gd name="T28" fmla="*/ 239 w 241"/>
                  <a:gd name="T29" fmla="*/ 124 h 241"/>
                  <a:gd name="T30" fmla="*/ 155 w 241"/>
                  <a:gd name="T31" fmla="*/ 19 h 241"/>
                  <a:gd name="T32" fmla="*/ 198 w 241"/>
                  <a:gd name="T33" fmla="*/ 79 h 241"/>
                  <a:gd name="T34" fmla="*/ 155 w 241"/>
                  <a:gd name="T35" fmla="*/ 19 h 241"/>
                  <a:gd name="T36" fmla="*/ 59 w 241"/>
                  <a:gd name="T37" fmla="*/ 89 h 241"/>
                  <a:gd name="T38" fmla="*/ 183 w 241"/>
                  <a:gd name="T39" fmla="*/ 89 h 241"/>
                  <a:gd name="T40" fmla="*/ 21 w 241"/>
                  <a:gd name="T41" fmla="*/ 51 h 241"/>
                  <a:gd name="T42" fmla="*/ 108 w 241"/>
                  <a:gd name="T43" fmla="*/ 46 h 241"/>
                  <a:gd name="T44" fmla="*/ 21 w 241"/>
                  <a:gd name="T45" fmla="*/ 51 h 241"/>
                  <a:gd name="T46" fmla="*/ 108 w 241"/>
                  <a:gd name="T47" fmla="*/ 131 h 241"/>
                  <a:gd name="T48" fmla="*/ 44 w 241"/>
                  <a:gd name="T49" fmla="*/ 137 h 241"/>
                  <a:gd name="T50" fmla="*/ 21 w 241"/>
                  <a:gd name="T51" fmla="*/ 126 h 241"/>
                  <a:gd name="T52" fmla="*/ 49 w 241"/>
                  <a:gd name="T53" fmla="*/ 158 h 241"/>
                  <a:gd name="T54" fmla="*/ 95 w 241"/>
                  <a:gd name="T55" fmla="*/ 174 h 241"/>
                  <a:gd name="T56" fmla="*/ 113 w 241"/>
                  <a:gd name="T57" fmla="*/ 220 h 241"/>
                  <a:gd name="T58" fmla="*/ 49 w 241"/>
                  <a:gd name="T59" fmla="*/ 158 h 241"/>
                  <a:gd name="T60" fmla="*/ 129 w 241"/>
                  <a:gd name="T61" fmla="*/ 220 h 241"/>
                  <a:gd name="T62" fmla="*/ 146 w 241"/>
                  <a:gd name="T63" fmla="*/ 174 h 241"/>
                  <a:gd name="T64" fmla="*/ 150 w 241"/>
                  <a:gd name="T65" fmla="*/ 176 h 241"/>
                  <a:gd name="T66" fmla="*/ 153 w 241"/>
                  <a:gd name="T67" fmla="*/ 177 h 241"/>
                  <a:gd name="T68" fmla="*/ 156 w 241"/>
                  <a:gd name="T69" fmla="*/ 176 h 241"/>
                  <a:gd name="T70" fmla="*/ 193 w 241"/>
                  <a:gd name="T71" fmla="*/ 188 h 241"/>
                  <a:gd name="T72" fmla="*/ 197 w 241"/>
                  <a:gd name="T73" fmla="*/ 137 h 241"/>
                  <a:gd name="T74" fmla="*/ 133 w 241"/>
                  <a:gd name="T75" fmla="*/ 131 h 241"/>
                  <a:gd name="T76" fmla="*/ 220 w 241"/>
                  <a:gd name="T77" fmla="*/ 12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1" h="241">
                    <a:moveTo>
                      <a:pt x="211" y="89"/>
                    </a:moveTo>
                    <a:cubicBezTo>
                      <a:pt x="239" y="54"/>
                      <a:pt x="239" y="54"/>
                      <a:pt x="239" y="54"/>
                    </a:cubicBezTo>
                    <a:cubicBezTo>
                      <a:pt x="240" y="52"/>
                      <a:pt x="241" y="49"/>
                      <a:pt x="240" y="47"/>
                    </a:cubicBezTo>
                    <a:cubicBezTo>
                      <a:pt x="240" y="45"/>
                      <a:pt x="238" y="43"/>
                      <a:pt x="236" y="42"/>
                    </a:cubicBezTo>
                    <a:cubicBezTo>
                      <a:pt x="156" y="2"/>
                      <a:pt x="156" y="2"/>
                      <a:pt x="156" y="2"/>
                    </a:cubicBezTo>
                    <a:cubicBezTo>
                      <a:pt x="153" y="0"/>
                      <a:pt x="149" y="1"/>
                      <a:pt x="146" y="4"/>
                    </a:cubicBezTo>
                    <a:cubicBezTo>
                      <a:pt x="121" y="36"/>
                      <a:pt x="121" y="36"/>
                      <a:pt x="121" y="36"/>
                    </a:cubicBezTo>
                    <a:cubicBezTo>
                      <a:pt x="95" y="4"/>
                      <a:pt x="95" y="4"/>
                      <a:pt x="95" y="4"/>
                    </a:cubicBezTo>
                    <a:cubicBezTo>
                      <a:pt x="93" y="1"/>
                      <a:pt x="88" y="0"/>
                      <a:pt x="85" y="2"/>
                    </a:cubicBezTo>
                    <a:cubicBezTo>
                      <a:pt x="5" y="42"/>
                      <a:pt x="5" y="42"/>
                      <a:pt x="5" y="42"/>
                    </a:cubicBezTo>
                    <a:cubicBezTo>
                      <a:pt x="3" y="43"/>
                      <a:pt x="1" y="45"/>
                      <a:pt x="1" y="47"/>
                    </a:cubicBezTo>
                    <a:cubicBezTo>
                      <a:pt x="0" y="49"/>
                      <a:pt x="1" y="52"/>
                      <a:pt x="2" y="54"/>
                    </a:cubicBezTo>
                    <a:cubicBezTo>
                      <a:pt x="30" y="89"/>
                      <a:pt x="30" y="89"/>
                      <a:pt x="30" y="89"/>
                    </a:cubicBezTo>
                    <a:cubicBezTo>
                      <a:pt x="2" y="124"/>
                      <a:pt x="2" y="124"/>
                      <a:pt x="2" y="124"/>
                    </a:cubicBezTo>
                    <a:cubicBezTo>
                      <a:pt x="1" y="126"/>
                      <a:pt x="0" y="128"/>
                      <a:pt x="1" y="130"/>
                    </a:cubicBezTo>
                    <a:cubicBezTo>
                      <a:pt x="1" y="133"/>
                      <a:pt x="3" y="135"/>
                      <a:pt x="5" y="136"/>
                    </a:cubicBezTo>
                    <a:cubicBezTo>
                      <a:pt x="33" y="150"/>
                      <a:pt x="33" y="150"/>
                      <a:pt x="33" y="150"/>
                    </a:cubicBezTo>
                    <a:cubicBezTo>
                      <a:pt x="33" y="193"/>
                      <a:pt x="33" y="193"/>
                      <a:pt x="33" y="193"/>
                    </a:cubicBezTo>
                    <a:cubicBezTo>
                      <a:pt x="33" y="196"/>
                      <a:pt x="34" y="198"/>
                      <a:pt x="37" y="200"/>
                    </a:cubicBezTo>
                    <a:cubicBezTo>
                      <a:pt x="117" y="240"/>
                      <a:pt x="117" y="240"/>
                      <a:pt x="117" y="240"/>
                    </a:cubicBezTo>
                    <a:cubicBezTo>
                      <a:pt x="117" y="240"/>
                      <a:pt x="117" y="240"/>
                      <a:pt x="117" y="240"/>
                    </a:cubicBezTo>
                    <a:cubicBezTo>
                      <a:pt x="118" y="240"/>
                      <a:pt x="120" y="241"/>
                      <a:pt x="121" y="241"/>
                    </a:cubicBezTo>
                    <a:cubicBezTo>
                      <a:pt x="122" y="241"/>
                      <a:pt x="123" y="240"/>
                      <a:pt x="124" y="240"/>
                    </a:cubicBezTo>
                    <a:cubicBezTo>
                      <a:pt x="124" y="240"/>
                      <a:pt x="124" y="240"/>
                      <a:pt x="124" y="240"/>
                    </a:cubicBezTo>
                    <a:cubicBezTo>
                      <a:pt x="204" y="200"/>
                      <a:pt x="204" y="200"/>
                      <a:pt x="204" y="200"/>
                    </a:cubicBezTo>
                    <a:cubicBezTo>
                      <a:pt x="207" y="198"/>
                      <a:pt x="209" y="196"/>
                      <a:pt x="209" y="193"/>
                    </a:cubicBezTo>
                    <a:cubicBezTo>
                      <a:pt x="209" y="150"/>
                      <a:pt x="209" y="150"/>
                      <a:pt x="209" y="150"/>
                    </a:cubicBezTo>
                    <a:cubicBezTo>
                      <a:pt x="236" y="136"/>
                      <a:pt x="236" y="136"/>
                      <a:pt x="236" y="136"/>
                    </a:cubicBezTo>
                    <a:cubicBezTo>
                      <a:pt x="238" y="135"/>
                      <a:pt x="240" y="133"/>
                      <a:pt x="240" y="130"/>
                    </a:cubicBezTo>
                    <a:cubicBezTo>
                      <a:pt x="241" y="128"/>
                      <a:pt x="240" y="126"/>
                      <a:pt x="239" y="124"/>
                    </a:cubicBezTo>
                    <a:lnTo>
                      <a:pt x="211" y="89"/>
                    </a:lnTo>
                    <a:close/>
                    <a:moveTo>
                      <a:pt x="155" y="19"/>
                    </a:moveTo>
                    <a:cubicBezTo>
                      <a:pt x="220" y="51"/>
                      <a:pt x="220" y="51"/>
                      <a:pt x="220" y="51"/>
                    </a:cubicBezTo>
                    <a:cubicBezTo>
                      <a:pt x="198" y="79"/>
                      <a:pt x="198" y="79"/>
                      <a:pt x="198" y="79"/>
                    </a:cubicBezTo>
                    <a:cubicBezTo>
                      <a:pt x="133" y="46"/>
                      <a:pt x="133" y="46"/>
                      <a:pt x="133" y="46"/>
                    </a:cubicBezTo>
                    <a:lnTo>
                      <a:pt x="155" y="19"/>
                    </a:lnTo>
                    <a:close/>
                    <a:moveTo>
                      <a:pt x="121" y="120"/>
                    </a:moveTo>
                    <a:cubicBezTo>
                      <a:pt x="59" y="89"/>
                      <a:pt x="59" y="89"/>
                      <a:pt x="59" y="89"/>
                    </a:cubicBezTo>
                    <a:cubicBezTo>
                      <a:pt x="121" y="58"/>
                      <a:pt x="121" y="58"/>
                      <a:pt x="121" y="58"/>
                    </a:cubicBezTo>
                    <a:cubicBezTo>
                      <a:pt x="183" y="89"/>
                      <a:pt x="183" y="89"/>
                      <a:pt x="183" y="89"/>
                    </a:cubicBezTo>
                    <a:lnTo>
                      <a:pt x="121" y="120"/>
                    </a:lnTo>
                    <a:close/>
                    <a:moveTo>
                      <a:pt x="21" y="51"/>
                    </a:moveTo>
                    <a:cubicBezTo>
                      <a:pt x="86" y="19"/>
                      <a:pt x="86" y="19"/>
                      <a:pt x="86" y="19"/>
                    </a:cubicBezTo>
                    <a:cubicBezTo>
                      <a:pt x="108" y="46"/>
                      <a:pt x="108" y="46"/>
                      <a:pt x="108" y="46"/>
                    </a:cubicBezTo>
                    <a:cubicBezTo>
                      <a:pt x="43" y="79"/>
                      <a:pt x="43" y="79"/>
                      <a:pt x="43" y="79"/>
                    </a:cubicBezTo>
                    <a:lnTo>
                      <a:pt x="21" y="51"/>
                    </a:lnTo>
                    <a:close/>
                    <a:moveTo>
                      <a:pt x="43" y="99"/>
                    </a:moveTo>
                    <a:cubicBezTo>
                      <a:pt x="108" y="131"/>
                      <a:pt x="108" y="131"/>
                      <a:pt x="108" y="131"/>
                    </a:cubicBezTo>
                    <a:cubicBezTo>
                      <a:pt x="86" y="158"/>
                      <a:pt x="86" y="158"/>
                      <a:pt x="86" y="158"/>
                    </a:cubicBezTo>
                    <a:cubicBezTo>
                      <a:pt x="44" y="137"/>
                      <a:pt x="44" y="137"/>
                      <a:pt x="44" y="137"/>
                    </a:cubicBezTo>
                    <a:cubicBezTo>
                      <a:pt x="44" y="137"/>
                      <a:pt x="44" y="137"/>
                      <a:pt x="44" y="137"/>
                    </a:cubicBezTo>
                    <a:cubicBezTo>
                      <a:pt x="21" y="126"/>
                      <a:pt x="21" y="126"/>
                      <a:pt x="21" y="126"/>
                    </a:cubicBezTo>
                    <a:lnTo>
                      <a:pt x="43" y="99"/>
                    </a:lnTo>
                    <a:close/>
                    <a:moveTo>
                      <a:pt x="49" y="158"/>
                    </a:moveTo>
                    <a:cubicBezTo>
                      <a:pt x="85" y="176"/>
                      <a:pt x="85" y="176"/>
                      <a:pt x="85" y="176"/>
                    </a:cubicBezTo>
                    <a:cubicBezTo>
                      <a:pt x="88" y="178"/>
                      <a:pt x="93" y="177"/>
                      <a:pt x="95" y="174"/>
                    </a:cubicBezTo>
                    <a:cubicBezTo>
                      <a:pt x="113" y="151"/>
                      <a:pt x="113" y="151"/>
                      <a:pt x="113" y="151"/>
                    </a:cubicBezTo>
                    <a:cubicBezTo>
                      <a:pt x="113" y="220"/>
                      <a:pt x="113" y="220"/>
                      <a:pt x="113" y="220"/>
                    </a:cubicBezTo>
                    <a:cubicBezTo>
                      <a:pt x="49" y="188"/>
                      <a:pt x="49" y="188"/>
                      <a:pt x="49" y="188"/>
                    </a:cubicBezTo>
                    <a:lnTo>
                      <a:pt x="49" y="158"/>
                    </a:lnTo>
                    <a:close/>
                    <a:moveTo>
                      <a:pt x="193" y="188"/>
                    </a:moveTo>
                    <a:cubicBezTo>
                      <a:pt x="129" y="220"/>
                      <a:pt x="129" y="220"/>
                      <a:pt x="129" y="220"/>
                    </a:cubicBezTo>
                    <a:cubicBezTo>
                      <a:pt x="129" y="151"/>
                      <a:pt x="129" y="151"/>
                      <a:pt x="129" y="151"/>
                    </a:cubicBezTo>
                    <a:cubicBezTo>
                      <a:pt x="146" y="174"/>
                      <a:pt x="146" y="174"/>
                      <a:pt x="146" y="174"/>
                    </a:cubicBezTo>
                    <a:cubicBezTo>
                      <a:pt x="147" y="175"/>
                      <a:pt x="148" y="175"/>
                      <a:pt x="149" y="176"/>
                    </a:cubicBezTo>
                    <a:cubicBezTo>
                      <a:pt x="149" y="176"/>
                      <a:pt x="150" y="176"/>
                      <a:pt x="150" y="176"/>
                    </a:cubicBezTo>
                    <a:cubicBezTo>
                      <a:pt x="151" y="176"/>
                      <a:pt x="151" y="176"/>
                      <a:pt x="152" y="177"/>
                    </a:cubicBezTo>
                    <a:cubicBezTo>
                      <a:pt x="152" y="177"/>
                      <a:pt x="152" y="177"/>
                      <a:pt x="153" y="177"/>
                    </a:cubicBezTo>
                    <a:cubicBezTo>
                      <a:pt x="153" y="177"/>
                      <a:pt x="153" y="177"/>
                      <a:pt x="153" y="177"/>
                    </a:cubicBezTo>
                    <a:cubicBezTo>
                      <a:pt x="154" y="177"/>
                      <a:pt x="155" y="176"/>
                      <a:pt x="156" y="176"/>
                    </a:cubicBezTo>
                    <a:cubicBezTo>
                      <a:pt x="193" y="158"/>
                      <a:pt x="193" y="158"/>
                      <a:pt x="193" y="158"/>
                    </a:cubicBezTo>
                    <a:lnTo>
                      <a:pt x="193" y="188"/>
                    </a:lnTo>
                    <a:close/>
                    <a:moveTo>
                      <a:pt x="197" y="137"/>
                    </a:moveTo>
                    <a:cubicBezTo>
                      <a:pt x="197" y="137"/>
                      <a:pt x="197" y="137"/>
                      <a:pt x="197" y="137"/>
                    </a:cubicBezTo>
                    <a:cubicBezTo>
                      <a:pt x="155" y="158"/>
                      <a:pt x="155" y="158"/>
                      <a:pt x="155" y="158"/>
                    </a:cubicBezTo>
                    <a:cubicBezTo>
                      <a:pt x="133" y="131"/>
                      <a:pt x="133" y="131"/>
                      <a:pt x="133" y="131"/>
                    </a:cubicBezTo>
                    <a:cubicBezTo>
                      <a:pt x="198" y="99"/>
                      <a:pt x="198" y="99"/>
                      <a:pt x="198" y="99"/>
                    </a:cubicBezTo>
                    <a:cubicBezTo>
                      <a:pt x="220" y="125"/>
                      <a:pt x="220" y="125"/>
                      <a:pt x="220" y="125"/>
                    </a:cubicBezTo>
                    <a:lnTo>
                      <a:pt x="197" y="137"/>
                    </a:ln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0" name="Freeform 542">
                <a:extLst>
                  <a:ext uri="{FF2B5EF4-FFF2-40B4-BE49-F238E27FC236}">
                    <a16:creationId xmlns:a16="http://schemas.microsoft.com/office/drawing/2014/main" id="{CC985BE4-2034-493B-81DE-A912EC874B29}"/>
                  </a:ext>
                </a:extLst>
              </p:cNvPr>
              <p:cNvSpPr>
                <a:spLocks noEditPoints="1"/>
              </p:cNvSpPr>
              <p:nvPr/>
            </p:nvSpPr>
            <p:spPr bwMode="auto">
              <a:xfrm>
                <a:off x="7421519" y="4600845"/>
                <a:ext cx="80436" cy="129186"/>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25" name="TextBox 24">
              <a:extLst>
                <a:ext uri="{FF2B5EF4-FFF2-40B4-BE49-F238E27FC236}">
                  <a16:creationId xmlns:a16="http://schemas.microsoft.com/office/drawing/2014/main" id="{A5D89103-9BD3-42F5-B592-144B97A9D1C0}"/>
                </a:ext>
              </a:extLst>
            </p:cNvPr>
            <p:cNvSpPr txBox="1"/>
            <p:nvPr/>
          </p:nvSpPr>
          <p:spPr>
            <a:xfrm>
              <a:off x="484925" y="4564211"/>
              <a:ext cx="2660194" cy="1461939"/>
            </a:xfrm>
            <a:prstGeom prst="rect">
              <a:avLst/>
            </a:prstGeom>
            <a:noFill/>
          </p:spPr>
          <p:txBody>
            <a:bodyPr vert="horz" wrap="square" lIns="0" tIns="0" rIns="0" bIns="0" numCol="1" rtlCol="0">
              <a:spAutoFit/>
            </a:bodyPr>
            <a:lstStyle/>
            <a:p>
              <a:pPr marL="171450" marR="0" lvl="0" indent="-171450" algn="l" defTabSz="914400" rtl="0" eaLnBrk="1" fontAlgn="auto" latinLnBrk="0" hangingPunct="1">
                <a:lnSpc>
                  <a:spcPct val="150000"/>
                </a:lnSpc>
                <a:spcBef>
                  <a:spcPts val="20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Designed to support delivery</a:t>
              </a:r>
            </a:p>
            <a:p>
              <a:pPr marL="171450" marR="0" lvl="0" indent="-171450" algn="l" defTabSz="914400" rtl="0" eaLnBrk="1" fontAlgn="auto" latinLnBrk="0" hangingPunct="1">
                <a:lnSpc>
                  <a:spcPct val="150000"/>
                </a:lnSpc>
                <a:spcBef>
                  <a:spcPts val="200"/>
                </a:spcBef>
                <a:spcAft>
                  <a:spcPts val="0"/>
                </a:spcAft>
                <a:buClrTx/>
                <a:buSzPct val="100000"/>
                <a:buFont typeface="Arial" panose="020B0604020202020204" pitchFamily="34" charset="0"/>
                <a:buChar char="•"/>
                <a:tabLst/>
                <a:defRPr/>
              </a:pPr>
              <a:r>
                <a:rPr lang="en-US" sz="1200" dirty="0">
                  <a:solidFill>
                    <a:srgbClr val="000000"/>
                  </a:solidFill>
                  <a:latin typeface="Open Sans"/>
                </a:rPr>
                <a:t>Accelerates</a:t>
              </a:r>
              <a:r>
                <a:rPr kumimoji="0" lang="en-US" sz="1200" b="0" i="0" u="none" strike="noStrike" kern="1200" cap="none" spc="0" normalizeH="0" baseline="0" noProof="0" dirty="0">
                  <a:ln>
                    <a:noFill/>
                  </a:ln>
                  <a:solidFill>
                    <a:srgbClr val="000000"/>
                  </a:solidFill>
                  <a:effectLst/>
                  <a:uLnTx/>
                  <a:uFillTx/>
                  <a:latin typeface="Open Sans"/>
                  <a:ea typeface="+mn-ea"/>
                  <a:cs typeface="+mn-cs"/>
                </a:rPr>
                <a:t> timeline and qua</a:t>
              </a:r>
              <a:r>
                <a:rPr kumimoji="0" lang="en-US" sz="1200" b="0" i="0" u="none" strike="noStrike" kern="1200" cap="none" spc="0" normalizeH="0" baseline="0" noProof="0" dirty="0" err="1">
                  <a:ln>
                    <a:noFill/>
                  </a:ln>
                  <a:solidFill>
                    <a:srgbClr val="000000"/>
                  </a:solidFill>
                  <a:effectLst/>
                  <a:uLnTx/>
                  <a:uFillTx/>
                  <a:latin typeface="Open Sans"/>
                  <a:ea typeface="+mn-ea"/>
                  <a:cs typeface="+mn-cs"/>
                </a:rPr>
                <a:t>lity</a:t>
              </a: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a:p>
              <a:pPr marL="171450" marR="0" lvl="0" indent="-171450" algn="l" defTabSz="914400" rtl="0" eaLnBrk="1" fontAlgn="auto" latinLnBrk="0" hangingPunct="1">
                <a:lnSpc>
                  <a:spcPct val="150000"/>
                </a:lnSpc>
                <a:spcBef>
                  <a:spcPts val="20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Not monetized separately but drives margin improvement</a:t>
              </a:r>
            </a:p>
            <a:p>
              <a:pPr marL="171450" marR="0" lvl="0" indent="-171450" algn="l" defTabSz="914400" rtl="0" eaLnBrk="1" fontAlgn="auto" latinLnBrk="0" hangingPunct="1">
                <a:lnSpc>
                  <a:spcPct val="150000"/>
                </a:lnSpc>
                <a:spcBef>
                  <a:spcPts val="200"/>
                </a:spcBef>
                <a:spcAft>
                  <a:spcPts val="0"/>
                </a:spcAft>
                <a:buClrTx/>
                <a:buSzPct val="100000"/>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6" name="TextBox 25">
              <a:extLst>
                <a:ext uri="{FF2B5EF4-FFF2-40B4-BE49-F238E27FC236}">
                  <a16:creationId xmlns:a16="http://schemas.microsoft.com/office/drawing/2014/main" id="{7B0D6080-3903-4869-AD20-0EEC4D1C4962}"/>
                </a:ext>
              </a:extLst>
            </p:cNvPr>
            <p:cNvSpPr txBox="1"/>
            <p:nvPr/>
          </p:nvSpPr>
          <p:spPr>
            <a:xfrm>
              <a:off x="3293601" y="4564211"/>
              <a:ext cx="2660194" cy="1461939"/>
            </a:xfrm>
            <a:prstGeom prst="rect">
              <a:avLst/>
            </a:prstGeom>
            <a:noFill/>
          </p:spPr>
          <p:txBody>
            <a:bodyPr vert="horz" wrap="square" lIns="0" tIns="0" rIns="0" bIns="0" numCol="1" rtlCol="0">
              <a:spAutoFit/>
            </a:bodyPr>
            <a:lstStyle/>
            <a:p>
              <a:pPr marL="171450" marR="0" lvl="0" indent="-171450" algn="l" defTabSz="914400" rtl="0" eaLnBrk="1" fontAlgn="auto" latinLnBrk="0" hangingPunct="1">
                <a:lnSpc>
                  <a:spcPct val="150000"/>
                </a:lnSpc>
                <a:spcBef>
                  <a:spcPts val="20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Designed to solve client issue</a:t>
              </a:r>
            </a:p>
            <a:p>
              <a:pPr marL="171450" marR="0" lvl="0" indent="-171450" algn="l" defTabSz="914400" rtl="0" eaLnBrk="1" fontAlgn="auto" latinLnBrk="0" hangingPunct="1">
                <a:lnSpc>
                  <a:spcPct val="150000"/>
                </a:lnSpc>
                <a:spcBef>
                  <a:spcPts val="20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Cust</a:t>
              </a:r>
              <a:r>
                <a:rPr lang="en-US" sz="1200" dirty="0">
                  <a:solidFill>
                    <a:srgbClr val="000000"/>
                  </a:solidFill>
                  <a:latin typeface="Open Sans"/>
                </a:rPr>
                <a:t>o</a:t>
              </a:r>
              <a:r>
                <a:rPr kumimoji="0" lang="en-US" sz="1200" b="0" i="0" u="none" strike="noStrike" kern="1200" cap="none" spc="0" normalizeH="0" baseline="0" noProof="0" dirty="0">
                  <a:ln>
                    <a:noFill/>
                  </a:ln>
                  <a:solidFill>
                    <a:srgbClr val="000000"/>
                  </a:solidFill>
                  <a:effectLst/>
                  <a:uLnTx/>
                  <a:uFillTx/>
                  <a:latin typeface="Open Sans"/>
                  <a:ea typeface="+mn-ea"/>
                  <a:cs typeface="+mn-cs"/>
                </a:rPr>
                <a:t>mized for each client and used within the project scope</a:t>
              </a:r>
            </a:p>
            <a:p>
              <a:pPr marL="171450" marR="0" lvl="0" indent="-171450" algn="l" defTabSz="914400" rtl="0" eaLnBrk="1" fontAlgn="auto" latinLnBrk="0" hangingPunct="1">
                <a:lnSpc>
                  <a:spcPct val="150000"/>
                </a:lnSpc>
                <a:spcBef>
                  <a:spcPts val="20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Not monetized separately</a:t>
              </a:r>
            </a:p>
            <a:p>
              <a:pPr marL="171450" marR="0" lvl="0" indent="-171450" algn="l" defTabSz="914400" rtl="0" eaLnBrk="1" fontAlgn="auto" latinLnBrk="0" hangingPunct="1">
                <a:lnSpc>
                  <a:spcPct val="150000"/>
                </a:lnSpc>
                <a:spcBef>
                  <a:spcPts val="200"/>
                </a:spcBef>
                <a:spcAft>
                  <a:spcPts val="0"/>
                </a:spcAft>
                <a:buClrTx/>
                <a:buSzPct val="100000"/>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7" name="TextBox 26">
              <a:extLst>
                <a:ext uri="{FF2B5EF4-FFF2-40B4-BE49-F238E27FC236}">
                  <a16:creationId xmlns:a16="http://schemas.microsoft.com/office/drawing/2014/main" id="{ADB325E6-E2F8-4AB2-81C1-57C0BF802800}"/>
                </a:ext>
              </a:extLst>
            </p:cNvPr>
            <p:cNvSpPr txBox="1"/>
            <p:nvPr/>
          </p:nvSpPr>
          <p:spPr>
            <a:xfrm>
              <a:off x="6194677" y="4564211"/>
              <a:ext cx="2660194" cy="1554272"/>
            </a:xfrm>
            <a:prstGeom prst="rect">
              <a:avLst/>
            </a:prstGeom>
            <a:noFill/>
          </p:spPr>
          <p:txBody>
            <a:bodyPr vert="horz" wrap="square" lIns="0" tIns="0" rIns="0" bIns="0" numCol="1" rtlCol="0">
              <a:spAutoFit/>
            </a:bodyPr>
            <a:lstStyle/>
            <a:p>
              <a:pPr marL="171450" marR="0" lvl="0" indent="-171450" algn="l" defTabSz="914400" rtl="0" eaLnBrk="1" fontAlgn="auto" latinLnBrk="0" hangingPunct="1">
                <a:lnSpc>
                  <a:spcPct val="150000"/>
                </a:lnSpc>
                <a:spcBef>
                  <a:spcPts val="20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Formalized into brandable IP</a:t>
              </a:r>
            </a:p>
            <a:p>
              <a:pPr marL="171450" marR="0" lvl="0" indent="-171450" algn="l" defTabSz="914400" rtl="0" eaLnBrk="1" fontAlgn="auto" latinLnBrk="0" hangingPunct="1">
                <a:lnSpc>
                  <a:spcPct val="100000"/>
                </a:lnSpc>
                <a:spcBef>
                  <a:spcPts val="20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Provides discrete value that is visible to the client and often used </a:t>
              </a:r>
              <a:r>
                <a:rPr lang="en-US" sz="1200" dirty="0">
                  <a:solidFill>
                    <a:srgbClr val="000000"/>
                  </a:solidFill>
                  <a:latin typeface="Open Sans"/>
                </a:rPr>
                <a:t>beyond</a:t>
              </a:r>
              <a:r>
                <a:rPr kumimoji="0" lang="en-US" sz="1200" b="0" i="0" u="none" strike="noStrike" kern="1200" cap="none" spc="0" normalizeH="0" baseline="0" noProof="0" dirty="0">
                  <a:ln>
                    <a:noFill/>
                  </a:ln>
                  <a:solidFill>
                    <a:srgbClr val="000000"/>
                  </a:solidFill>
                  <a:effectLst/>
                  <a:uLnTx/>
                  <a:uFillTx/>
                  <a:latin typeface="Open Sans"/>
                  <a:ea typeface="+mn-ea"/>
                  <a:cs typeface="+mn-cs"/>
                </a:rPr>
                <a:t> the project scope</a:t>
              </a:r>
            </a:p>
            <a:p>
              <a:pPr marL="171450" marR="0" lvl="0" indent="-171450" algn="l" defTabSz="914400" rtl="0" eaLnBrk="1" fontAlgn="auto" latinLnBrk="0" hangingPunct="1">
                <a:lnSpc>
                  <a:spcPct val="100000"/>
                </a:lnSpc>
                <a:spcBef>
                  <a:spcPts val="20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G</a:t>
              </a:r>
              <a:r>
                <a:rPr kumimoji="0" lang="en-US" sz="1200" b="0" i="0" u="none" strike="noStrike" kern="1200" cap="none" spc="0" normalizeH="0" baseline="0" noProof="0" dirty="0" err="1">
                  <a:ln>
                    <a:noFill/>
                  </a:ln>
                  <a:solidFill>
                    <a:srgbClr val="000000"/>
                  </a:solidFill>
                  <a:effectLst/>
                  <a:uLnTx/>
                  <a:uFillTx/>
                  <a:latin typeface="Open Sans"/>
                  <a:ea typeface="+mn-ea"/>
                  <a:cs typeface="+mn-cs"/>
                </a:rPr>
                <a:t>enerates</a:t>
              </a:r>
              <a:r>
                <a:rPr kumimoji="0" lang="en-US" sz="1200" b="0" i="0" u="none" strike="noStrike" kern="1200" cap="none" spc="0" normalizeH="0" baseline="0" noProof="0" dirty="0">
                  <a:ln>
                    <a:noFill/>
                  </a:ln>
                  <a:solidFill>
                    <a:srgbClr val="000000"/>
                  </a:solidFill>
                  <a:effectLst/>
                  <a:uLnTx/>
                  <a:uFillTx/>
                  <a:latin typeface="Open Sans"/>
                  <a:ea typeface="+mn-ea"/>
                  <a:cs typeface="+mn-cs"/>
                </a:rPr>
                <a:t> recurring revenue as a separate line item</a:t>
              </a:r>
            </a:p>
            <a:p>
              <a:pPr marL="171450" marR="0" lvl="0" indent="-171450" algn="l" defTabSz="914400" rtl="0" eaLnBrk="1" fontAlgn="auto" latinLnBrk="0" hangingPunct="1">
                <a:lnSpc>
                  <a:spcPct val="150000"/>
                </a:lnSpc>
                <a:spcBef>
                  <a:spcPts val="200"/>
                </a:spcBef>
                <a:spcAft>
                  <a:spcPts val="0"/>
                </a:spcAft>
                <a:buClrTx/>
                <a:buSzPct val="100000"/>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8" name="TextBox 27">
              <a:extLst>
                <a:ext uri="{FF2B5EF4-FFF2-40B4-BE49-F238E27FC236}">
                  <a16:creationId xmlns:a16="http://schemas.microsoft.com/office/drawing/2014/main" id="{58373504-FFFE-426B-A298-00E40F617595}"/>
                </a:ext>
              </a:extLst>
            </p:cNvPr>
            <p:cNvSpPr txBox="1"/>
            <p:nvPr/>
          </p:nvSpPr>
          <p:spPr>
            <a:xfrm>
              <a:off x="9228154" y="4613639"/>
              <a:ext cx="2660194" cy="1432443"/>
            </a:xfrm>
            <a:prstGeom prst="rect">
              <a:avLst/>
            </a:prstGeom>
            <a:noFill/>
          </p:spPr>
          <p:txBody>
            <a:bodyPr vert="horz" wrap="square" lIns="0" tIns="0" rIns="0" bIns="0" numCol="1" rtlCol="0">
              <a:spAutoFit/>
            </a:bodyPr>
            <a:lstStyle/>
            <a:p>
              <a:pPr marL="171450" marR="0" lvl="0" indent="-171450" algn="l" defTabSz="914400" rtl="0" eaLnBrk="1" fontAlgn="auto" latinLnBrk="0" hangingPunct="1">
                <a:lnSpc>
                  <a:spcPct val="100000"/>
                </a:lnSpc>
                <a:spcBef>
                  <a:spcPts val="20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Branded commercial software &amp; technology</a:t>
              </a:r>
            </a:p>
            <a:p>
              <a:pPr marL="171450" marR="0" lvl="0" indent="-171450" algn="l" defTabSz="914400" rtl="0" eaLnBrk="1" fontAlgn="auto" latinLnBrk="0" hangingPunct="1">
                <a:lnSpc>
                  <a:spcPct val="100000"/>
                </a:lnSpc>
                <a:spcBef>
                  <a:spcPts val="20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Invoiced separately; minimum client customization</a:t>
              </a:r>
            </a:p>
            <a:p>
              <a:pPr marL="171450" marR="0" lvl="0" indent="-171450" algn="l" defTabSz="914400" rtl="0" eaLnBrk="1" fontAlgn="auto" latinLnBrk="0" hangingPunct="1">
                <a:lnSpc>
                  <a:spcPct val="100000"/>
                </a:lnSpc>
                <a:spcBef>
                  <a:spcPts val="20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Generates recurring revenue at scale</a:t>
              </a:r>
            </a:p>
            <a:p>
              <a:pPr marL="171450" marR="0" lvl="0" indent="-171450" algn="l" defTabSz="914400" rtl="0" eaLnBrk="1" fontAlgn="auto" latinLnBrk="0" hangingPunct="1">
                <a:lnSpc>
                  <a:spcPct val="150000"/>
                </a:lnSpc>
                <a:spcBef>
                  <a:spcPts val="200"/>
                </a:spcBef>
                <a:spcAft>
                  <a:spcPts val="0"/>
                </a:spcAft>
                <a:buClrTx/>
                <a:buSzPct val="100000"/>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9" name="Oval 28">
              <a:extLst>
                <a:ext uri="{FF2B5EF4-FFF2-40B4-BE49-F238E27FC236}">
                  <a16:creationId xmlns:a16="http://schemas.microsoft.com/office/drawing/2014/main" id="{CB305943-97A6-4FAA-B6D0-96580A763755}"/>
                </a:ext>
              </a:extLst>
            </p:cNvPr>
            <p:cNvSpPr/>
            <p:nvPr/>
          </p:nvSpPr>
          <p:spPr bwMode="gray">
            <a:xfrm>
              <a:off x="10138818" y="3261246"/>
              <a:ext cx="746486" cy="723446"/>
            </a:xfrm>
            <a:prstGeom prst="ellipse">
              <a:avLst/>
            </a:prstGeom>
            <a:solidFill>
              <a:schemeClr val="bg1"/>
            </a:solidFill>
            <a:ln w="9525" algn="ctr">
              <a:solidFill>
                <a:schemeClr val="accent6">
                  <a:lumMod val="50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30" name="Group 29">
              <a:extLst>
                <a:ext uri="{FF2B5EF4-FFF2-40B4-BE49-F238E27FC236}">
                  <a16:creationId xmlns:a16="http://schemas.microsoft.com/office/drawing/2014/main" id="{A1864C3F-C01D-4B07-9B1D-A437FB03026C}"/>
                </a:ext>
              </a:extLst>
            </p:cNvPr>
            <p:cNvGrpSpPr/>
            <p:nvPr/>
          </p:nvGrpSpPr>
          <p:grpSpPr>
            <a:xfrm>
              <a:off x="10289431" y="3414680"/>
              <a:ext cx="445259" cy="446567"/>
              <a:chOff x="6960053" y="5783082"/>
              <a:chExt cx="445259" cy="446567"/>
            </a:xfrm>
          </p:grpSpPr>
          <p:sp>
            <p:nvSpPr>
              <p:cNvPr id="34" name="Freeform 755">
                <a:extLst>
                  <a:ext uri="{FF2B5EF4-FFF2-40B4-BE49-F238E27FC236}">
                    <a16:creationId xmlns:a16="http://schemas.microsoft.com/office/drawing/2014/main" id="{0B57053B-7F2B-4190-BE16-FA170B652B9F}"/>
                  </a:ext>
                </a:extLst>
              </p:cNvPr>
              <p:cNvSpPr>
                <a:spLocks noEditPoints="1"/>
              </p:cNvSpPr>
              <p:nvPr/>
            </p:nvSpPr>
            <p:spPr bwMode="auto">
              <a:xfrm>
                <a:off x="6960053" y="5783082"/>
                <a:ext cx="445259" cy="446567"/>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5" name="Freeform 756">
                <a:extLst>
                  <a:ext uri="{FF2B5EF4-FFF2-40B4-BE49-F238E27FC236}">
                    <a16:creationId xmlns:a16="http://schemas.microsoft.com/office/drawing/2014/main" id="{80DA3E1E-036F-40EB-928B-1B936DE10BDF}"/>
                  </a:ext>
                </a:extLst>
              </p:cNvPr>
              <p:cNvSpPr>
                <a:spLocks noEditPoints="1"/>
              </p:cNvSpPr>
              <p:nvPr/>
            </p:nvSpPr>
            <p:spPr bwMode="auto">
              <a:xfrm>
                <a:off x="7052255" y="5822469"/>
                <a:ext cx="177997" cy="177997"/>
              </a:xfrm>
              <a:custGeom>
                <a:avLst/>
                <a:gdLst>
                  <a:gd name="T0" fmla="*/ 165 w 299"/>
                  <a:gd name="T1" fmla="*/ 29 h 299"/>
                  <a:gd name="T2" fmla="*/ 121 w 299"/>
                  <a:gd name="T3" fmla="*/ 24 h 299"/>
                  <a:gd name="T4" fmla="*/ 154 w 299"/>
                  <a:gd name="T5" fmla="*/ 1 h 299"/>
                  <a:gd name="T6" fmla="*/ 64 w 299"/>
                  <a:gd name="T7" fmla="*/ 61 h 299"/>
                  <a:gd name="T8" fmla="*/ 107 w 299"/>
                  <a:gd name="T9" fmla="*/ 31 h 299"/>
                  <a:gd name="T10" fmla="*/ 54 w 299"/>
                  <a:gd name="T11" fmla="*/ 55 h 299"/>
                  <a:gd name="T12" fmla="*/ 26 w 299"/>
                  <a:gd name="T13" fmla="*/ 56 h 299"/>
                  <a:gd name="T14" fmla="*/ 0 w 299"/>
                  <a:gd name="T15" fmla="*/ 96 h 299"/>
                  <a:gd name="T16" fmla="*/ 22 w 299"/>
                  <a:gd name="T17" fmla="*/ 91 h 299"/>
                  <a:gd name="T18" fmla="*/ 40 w 299"/>
                  <a:gd name="T19" fmla="*/ 88 h 299"/>
                  <a:gd name="T20" fmla="*/ 59 w 299"/>
                  <a:gd name="T21" fmla="*/ 109 h 299"/>
                  <a:gd name="T22" fmla="*/ 107 w 299"/>
                  <a:gd name="T23" fmla="*/ 119 h 299"/>
                  <a:gd name="T24" fmla="*/ 54 w 299"/>
                  <a:gd name="T25" fmla="*/ 95 h 299"/>
                  <a:gd name="T26" fmla="*/ 150 w 299"/>
                  <a:gd name="T27" fmla="*/ 127 h 299"/>
                  <a:gd name="T28" fmla="*/ 126 w 299"/>
                  <a:gd name="T29" fmla="*/ 139 h 299"/>
                  <a:gd name="T30" fmla="*/ 150 w 299"/>
                  <a:gd name="T31" fmla="*/ 171 h 299"/>
                  <a:gd name="T32" fmla="*/ 174 w 299"/>
                  <a:gd name="T33" fmla="*/ 139 h 299"/>
                  <a:gd name="T34" fmla="*/ 231 w 299"/>
                  <a:gd name="T35" fmla="*/ 89 h 299"/>
                  <a:gd name="T36" fmla="*/ 202 w 299"/>
                  <a:gd name="T37" fmla="*/ 125 h 299"/>
                  <a:gd name="T38" fmla="*/ 245 w 299"/>
                  <a:gd name="T39" fmla="*/ 95 h 299"/>
                  <a:gd name="T40" fmla="*/ 273 w 299"/>
                  <a:gd name="T41" fmla="*/ 56 h 299"/>
                  <a:gd name="T42" fmla="*/ 259 w 299"/>
                  <a:gd name="T43" fmla="*/ 88 h 299"/>
                  <a:gd name="T44" fmla="*/ 278 w 299"/>
                  <a:gd name="T45" fmla="*/ 91 h 299"/>
                  <a:gd name="T46" fmla="*/ 299 w 299"/>
                  <a:gd name="T47" fmla="*/ 96 h 299"/>
                  <a:gd name="T48" fmla="*/ 240 w 299"/>
                  <a:gd name="T49" fmla="*/ 41 h 299"/>
                  <a:gd name="T50" fmla="*/ 198 w 299"/>
                  <a:gd name="T51" fmla="*/ 45 h 299"/>
                  <a:gd name="T52" fmla="*/ 245 w 299"/>
                  <a:gd name="T53" fmla="*/ 55 h 299"/>
                  <a:gd name="T54" fmla="*/ 22 w 299"/>
                  <a:gd name="T55" fmla="*/ 160 h 299"/>
                  <a:gd name="T56" fmla="*/ 0 w 299"/>
                  <a:gd name="T57" fmla="*/ 128 h 299"/>
                  <a:gd name="T58" fmla="*/ 35 w 299"/>
                  <a:gd name="T59" fmla="*/ 214 h 299"/>
                  <a:gd name="T60" fmla="*/ 11 w 299"/>
                  <a:gd name="T61" fmla="*/ 181 h 299"/>
                  <a:gd name="T62" fmla="*/ 6 w 299"/>
                  <a:gd name="T63" fmla="*/ 223 h 299"/>
                  <a:gd name="T64" fmla="*/ 39 w 299"/>
                  <a:gd name="T65" fmla="*/ 229 h 299"/>
                  <a:gd name="T66" fmla="*/ 69 w 299"/>
                  <a:gd name="T67" fmla="*/ 232 h 299"/>
                  <a:gd name="T68" fmla="*/ 92 w 299"/>
                  <a:gd name="T69" fmla="*/ 269 h 299"/>
                  <a:gd name="T70" fmla="*/ 102 w 299"/>
                  <a:gd name="T71" fmla="*/ 250 h 299"/>
                  <a:gd name="T72" fmla="*/ 160 w 299"/>
                  <a:gd name="T73" fmla="*/ 203 h 299"/>
                  <a:gd name="T74" fmla="*/ 139 w 299"/>
                  <a:gd name="T75" fmla="*/ 235 h 299"/>
                  <a:gd name="T76" fmla="*/ 160 w 299"/>
                  <a:gd name="T77" fmla="*/ 271 h 299"/>
                  <a:gd name="T78" fmla="*/ 139 w 299"/>
                  <a:gd name="T79" fmla="*/ 267 h 299"/>
                  <a:gd name="T80" fmla="*/ 121 w 299"/>
                  <a:gd name="T81" fmla="*/ 273 h 299"/>
                  <a:gd name="T82" fmla="*/ 150 w 299"/>
                  <a:gd name="T83" fmla="*/ 299 h 299"/>
                  <a:gd name="T84" fmla="*/ 174 w 299"/>
                  <a:gd name="T85" fmla="*/ 289 h 299"/>
                  <a:gd name="T86" fmla="*/ 231 w 299"/>
                  <a:gd name="T87" fmla="*/ 239 h 299"/>
                  <a:gd name="T88" fmla="*/ 202 w 299"/>
                  <a:gd name="T89" fmla="*/ 274 h 299"/>
                  <a:gd name="T90" fmla="*/ 245 w 299"/>
                  <a:gd name="T91" fmla="*/ 244 h 299"/>
                  <a:gd name="T92" fmla="*/ 278 w 299"/>
                  <a:gd name="T93" fmla="*/ 203 h 299"/>
                  <a:gd name="T94" fmla="*/ 259 w 299"/>
                  <a:gd name="T95" fmla="*/ 237 h 299"/>
                  <a:gd name="T96" fmla="*/ 293 w 299"/>
                  <a:gd name="T97" fmla="*/ 234 h 299"/>
                  <a:gd name="T98" fmla="*/ 288 w 299"/>
                  <a:gd name="T99" fmla="*/ 192 h 299"/>
                  <a:gd name="T100" fmla="*/ 278 w 299"/>
                  <a:gd name="T101" fmla="*/ 171 h 299"/>
                  <a:gd name="T102" fmla="*/ 299 w 299"/>
                  <a:gd name="T103" fmla="*/ 13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9" h="299">
                    <a:moveTo>
                      <a:pt x="179" y="24"/>
                    </a:moveTo>
                    <a:cubicBezTo>
                      <a:pt x="177" y="28"/>
                      <a:pt x="173" y="30"/>
                      <a:pt x="169" y="30"/>
                    </a:cubicBezTo>
                    <a:cubicBezTo>
                      <a:pt x="168" y="30"/>
                      <a:pt x="166" y="30"/>
                      <a:pt x="165" y="29"/>
                    </a:cubicBezTo>
                    <a:cubicBezTo>
                      <a:pt x="150" y="22"/>
                      <a:pt x="150" y="22"/>
                      <a:pt x="150" y="22"/>
                    </a:cubicBezTo>
                    <a:cubicBezTo>
                      <a:pt x="135" y="29"/>
                      <a:pt x="135" y="29"/>
                      <a:pt x="135" y="29"/>
                    </a:cubicBezTo>
                    <a:cubicBezTo>
                      <a:pt x="129" y="32"/>
                      <a:pt x="123" y="29"/>
                      <a:pt x="121" y="24"/>
                    </a:cubicBezTo>
                    <a:cubicBezTo>
                      <a:pt x="118" y="19"/>
                      <a:pt x="120" y="12"/>
                      <a:pt x="126" y="10"/>
                    </a:cubicBezTo>
                    <a:cubicBezTo>
                      <a:pt x="145" y="1"/>
                      <a:pt x="145" y="1"/>
                      <a:pt x="145" y="1"/>
                    </a:cubicBezTo>
                    <a:cubicBezTo>
                      <a:pt x="148" y="0"/>
                      <a:pt x="151" y="0"/>
                      <a:pt x="154" y="1"/>
                    </a:cubicBezTo>
                    <a:cubicBezTo>
                      <a:pt x="174" y="10"/>
                      <a:pt x="174" y="10"/>
                      <a:pt x="174" y="10"/>
                    </a:cubicBezTo>
                    <a:cubicBezTo>
                      <a:pt x="179" y="12"/>
                      <a:pt x="181" y="19"/>
                      <a:pt x="179" y="24"/>
                    </a:cubicBezTo>
                    <a:close/>
                    <a:moveTo>
                      <a:pt x="64" y="61"/>
                    </a:moveTo>
                    <a:cubicBezTo>
                      <a:pt x="65" y="61"/>
                      <a:pt x="67" y="61"/>
                      <a:pt x="68" y="60"/>
                    </a:cubicBezTo>
                    <a:cubicBezTo>
                      <a:pt x="101" y="45"/>
                      <a:pt x="101" y="45"/>
                      <a:pt x="101" y="45"/>
                    </a:cubicBezTo>
                    <a:cubicBezTo>
                      <a:pt x="107" y="42"/>
                      <a:pt x="109" y="36"/>
                      <a:pt x="107" y="31"/>
                    </a:cubicBezTo>
                    <a:cubicBezTo>
                      <a:pt x="104" y="25"/>
                      <a:pt x="98" y="23"/>
                      <a:pt x="93" y="25"/>
                    </a:cubicBezTo>
                    <a:cubicBezTo>
                      <a:pt x="59" y="41"/>
                      <a:pt x="59" y="41"/>
                      <a:pt x="59" y="41"/>
                    </a:cubicBezTo>
                    <a:cubicBezTo>
                      <a:pt x="54" y="43"/>
                      <a:pt x="52" y="49"/>
                      <a:pt x="54" y="55"/>
                    </a:cubicBezTo>
                    <a:cubicBezTo>
                      <a:pt x="56" y="59"/>
                      <a:pt x="60" y="61"/>
                      <a:pt x="64" y="61"/>
                    </a:cubicBezTo>
                    <a:close/>
                    <a:moveTo>
                      <a:pt x="40" y="61"/>
                    </a:moveTo>
                    <a:cubicBezTo>
                      <a:pt x="38" y="56"/>
                      <a:pt x="31" y="54"/>
                      <a:pt x="26" y="56"/>
                    </a:cubicBezTo>
                    <a:cubicBezTo>
                      <a:pt x="7" y="65"/>
                      <a:pt x="7" y="65"/>
                      <a:pt x="7" y="65"/>
                    </a:cubicBezTo>
                    <a:cubicBezTo>
                      <a:pt x="3" y="67"/>
                      <a:pt x="0" y="71"/>
                      <a:pt x="0" y="75"/>
                    </a:cubicBezTo>
                    <a:cubicBezTo>
                      <a:pt x="0" y="96"/>
                      <a:pt x="0" y="96"/>
                      <a:pt x="0" y="96"/>
                    </a:cubicBezTo>
                    <a:cubicBezTo>
                      <a:pt x="0" y="102"/>
                      <a:pt x="5" y="107"/>
                      <a:pt x="11" y="107"/>
                    </a:cubicBezTo>
                    <a:cubicBezTo>
                      <a:pt x="17" y="107"/>
                      <a:pt x="22" y="102"/>
                      <a:pt x="22" y="96"/>
                    </a:cubicBezTo>
                    <a:cubicBezTo>
                      <a:pt x="22" y="91"/>
                      <a:pt x="22" y="91"/>
                      <a:pt x="22" y="91"/>
                    </a:cubicBezTo>
                    <a:cubicBezTo>
                      <a:pt x="26" y="93"/>
                      <a:pt x="26" y="93"/>
                      <a:pt x="26" y="93"/>
                    </a:cubicBezTo>
                    <a:cubicBezTo>
                      <a:pt x="27" y="94"/>
                      <a:pt x="29" y="94"/>
                      <a:pt x="30" y="94"/>
                    </a:cubicBezTo>
                    <a:cubicBezTo>
                      <a:pt x="34" y="94"/>
                      <a:pt x="38" y="92"/>
                      <a:pt x="40" y="88"/>
                    </a:cubicBezTo>
                    <a:cubicBezTo>
                      <a:pt x="42" y="83"/>
                      <a:pt x="41" y="78"/>
                      <a:pt x="36" y="75"/>
                    </a:cubicBezTo>
                    <a:cubicBezTo>
                      <a:pt x="41" y="72"/>
                      <a:pt x="42" y="66"/>
                      <a:pt x="40" y="61"/>
                    </a:cubicBezTo>
                    <a:close/>
                    <a:moveTo>
                      <a:pt x="59" y="109"/>
                    </a:moveTo>
                    <a:cubicBezTo>
                      <a:pt x="93" y="124"/>
                      <a:pt x="93" y="124"/>
                      <a:pt x="93" y="124"/>
                    </a:cubicBezTo>
                    <a:cubicBezTo>
                      <a:pt x="94" y="125"/>
                      <a:pt x="95" y="125"/>
                      <a:pt x="97" y="125"/>
                    </a:cubicBezTo>
                    <a:cubicBezTo>
                      <a:pt x="101" y="125"/>
                      <a:pt x="105" y="123"/>
                      <a:pt x="107" y="119"/>
                    </a:cubicBezTo>
                    <a:cubicBezTo>
                      <a:pt x="109" y="113"/>
                      <a:pt x="107" y="107"/>
                      <a:pt x="101" y="105"/>
                    </a:cubicBezTo>
                    <a:cubicBezTo>
                      <a:pt x="68" y="89"/>
                      <a:pt x="68" y="89"/>
                      <a:pt x="68" y="89"/>
                    </a:cubicBezTo>
                    <a:cubicBezTo>
                      <a:pt x="63" y="87"/>
                      <a:pt x="56" y="89"/>
                      <a:pt x="54" y="95"/>
                    </a:cubicBezTo>
                    <a:cubicBezTo>
                      <a:pt x="52" y="100"/>
                      <a:pt x="54" y="106"/>
                      <a:pt x="59" y="109"/>
                    </a:cubicBezTo>
                    <a:close/>
                    <a:moveTo>
                      <a:pt x="165" y="120"/>
                    </a:moveTo>
                    <a:cubicBezTo>
                      <a:pt x="150" y="127"/>
                      <a:pt x="150" y="127"/>
                      <a:pt x="150" y="127"/>
                    </a:cubicBezTo>
                    <a:cubicBezTo>
                      <a:pt x="135" y="120"/>
                      <a:pt x="135" y="120"/>
                      <a:pt x="135" y="120"/>
                    </a:cubicBezTo>
                    <a:cubicBezTo>
                      <a:pt x="129" y="118"/>
                      <a:pt x="123" y="120"/>
                      <a:pt x="121" y="125"/>
                    </a:cubicBezTo>
                    <a:cubicBezTo>
                      <a:pt x="118" y="131"/>
                      <a:pt x="120" y="137"/>
                      <a:pt x="126" y="139"/>
                    </a:cubicBezTo>
                    <a:cubicBezTo>
                      <a:pt x="139" y="145"/>
                      <a:pt x="139" y="145"/>
                      <a:pt x="139" y="145"/>
                    </a:cubicBezTo>
                    <a:cubicBezTo>
                      <a:pt x="139" y="160"/>
                      <a:pt x="139" y="160"/>
                      <a:pt x="139" y="160"/>
                    </a:cubicBezTo>
                    <a:cubicBezTo>
                      <a:pt x="139" y="166"/>
                      <a:pt x="144" y="171"/>
                      <a:pt x="150" y="171"/>
                    </a:cubicBezTo>
                    <a:cubicBezTo>
                      <a:pt x="156" y="171"/>
                      <a:pt x="160" y="166"/>
                      <a:pt x="160" y="160"/>
                    </a:cubicBezTo>
                    <a:cubicBezTo>
                      <a:pt x="160" y="145"/>
                      <a:pt x="160" y="145"/>
                      <a:pt x="160" y="145"/>
                    </a:cubicBezTo>
                    <a:cubicBezTo>
                      <a:pt x="174" y="139"/>
                      <a:pt x="174" y="139"/>
                      <a:pt x="174" y="139"/>
                    </a:cubicBezTo>
                    <a:cubicBezTo>
                      <a:pt x="179" y="137"/>
                      <a:pt x="181" y="131"/>
                      <a:pt x="179" y="125"/>
                    </a:cubicBezTo>
                    <a:cubicBezTo>
                      <a:pt x="176" y="120"/>
                      <a:pt x="170" y="118"/>
                      <a:pt x="165" y="120"/>
                    </a:cubicBezTo>
                    <a:close/>
                    <a:moveTo>
                      <a:pt x="231" y="89"/>
                    </a:moveTo>
                    <a:cubicBezTo>
                      <a:pt x="198" y="105"/>
                      <a:pt x="198" y="105"/>
                      <a:pt x="198" y="105"/>
                    </a:cubicBezTo>
                    <a:cubicBezTo>
                      <a:pt x="193" y="107"/>
                      <a:pt x="190" y="113"/>
                      <a:pt x="193" y="119"/>
                    </a:cubicBezTo>
                    <a:cubicBezTo>
                      <a:pt x="194" y="123"/>
                      <a:pt x="198" y="125"/>
                      <a:pt x="202" y="125"/>
                    </a:cubicBezTo>
                    <a:cubicBezTo>
                      <a:pt x="204" y="125"/>
                      <a:pt x="205" y="125"/>
                      <a:pt x="207" y="124"/>
                    </a:cubicBezTo>
                    <a:cubicBezTo>
                      <a:pt x="240" y="109"/>
                      <a:pt x="240" y="109"/>
                      <a:pt x="240" y="109"/>
                    </a:cubicBezTo>
                    <a:cubicBezTo>
                      <a:pt x="245" y="106"/>
                      <a:pt x="248" y="100"/>
                      <a:pt x="245" y="95"/>
                    </a:cubicBezTo>
                    <a:cubicBezTo>
                      <a:pt x="243" y="89"/>
                      <a:pt x="237" y="87"/>
                      <a:pt x="231" y="89"/>
                    </a:cubicBezTo>
                    <a:close/>
                    <a:moveTo>
                      <a:pt x="293" y="65"/>
                    </a:moveTo>
                    <a:cubicBezTo>
                      <a:pt x="273" y="56"/>
                      <a:pt x="273" y="56"/>
                      <a:pt x="273" y="56"/>
                    </a:cubicBezTo>
                    <a:cubicBezTo>
                      <a:pt x="268" y="54"/>
                      <a:pt x="262" y="56"/>
                      <a:pt x="259" y="61"/>
                    </a:cubicBezTo>
                    <a:cubicBezTo>
                      <a:pt x="257" y="66"/>
                      <a:pt x="259" y="72"/>
                      <a:pt x="263" y="75"/>
                    </a:cubicBezTo>
                    <a:cubicBezTo>
                      <a:pt x="259" y="78"/>
                      <a:pt x="257" y="83"/>
                      <a:pt x="259" y="88"/>
                    </a:cubicBezTo>
                    <a:cubicBezTo>
                      <a:pt x="261" y="92"/>
                      <a:pt x="265" y="94"/>
                      <a:pt x="269" y="94"/>
                    </a:cubicBezTo>
                    <a:cubicBezTo>
                      <a:pt x="270" y="94"/>
                      <a:pt x="272" y="94"/>
                      <a:pt x="273" y="93"/>
                    </a:cubicBezTo>
                    <a:cubicBezTo>
                      <a:pt x="278" y="91"/>
                      <a:pt x="278" y="91"/>
                      <a:pt x="278" y="91"/>
                    </a:cubicBezTo>
                    <a:cubicBezTo>
                      <a:pt x="278" y="96"/>
                      <a:pt x="278" y="96"/>
                      <a:pt x="278" y="96"/>
                    </a:cubicBezTo>
                    <a:cubicBezTo>
                      <a:pt x="278" y="102"/>
                      <a:pt x="282" y="107"/>
                      <a:pt x="288" y="107"/>
                    </a:cubicBezTo>
                    <a:cubicBezTo>
                      <a:pt x="294" y="107"/>
                      <a:pt x="299" y="102"/>
                      <a:pt x="299" y="96"/>
                    </a:cubicBezTo>
                    <a:cubicBezTo>
                      <a:pt x="299" y="75"/>
                      <a:pt x="299" y="75"/>
                      <a:pt x="299" y="75"/>
                    </a:cubicBezTo>
                    <a:cubicBezTo>
                      <a:pt x="299" y="71"/>
                      <a:pt x="297" y="67"/>
                      <a:pt x="293" y="65"/>
                    </a:cubicBezTo>
                    <a:close/>
                    <a:moveTo>
                      <a:pt x="240" y="41"/>
                    </a:moveTo>
                    <a:cubicBezTo>
                      <a:pt x="207" y="25"/>
                      <a:pt x="207" y="25"/>
                      <a:pt x="207" y="25"/>
                    </a:cubicBezTo>
                    <a:cubicBezTo>
                      <a:pt x="201" y="23"/>
                      <a:pt x="195" y="25"/>
                      <a:pt x="193" y="31"/>
                    </a:cubicBezTo>
                    <a:cubicBezTo>
                      <a:pt x="190" y="36"/>
                      <a:pt x="193" y="42"/>
                      <a:pt x="198" y="45"/>
                    </a:cubicBezTo>
                    <a:cubicBezTo>
                      <a:pt x="231" y="60"/>
                      <a:pt x="231" y="60"/>
                      <a:pt x="231" y="60"/>
                    </a:cubicBezTo>
                    <a:cubicBezTo>
                      <a:pt x="233" y="61"/>
                      <a:pt x="234" y="61"/>
                      <a:pt x="236" y="61"/>
                    </a:cubicBezTo>
                    <a:cubicBezTo>
                      <a:pt x="240" y="61"/>
                      <a:pt x="244" y="59"/>
                      <a:pt x="245" y="55"/>
                    </a:cubicBezTo>
                    <a:cubicBezTo>
                      <a:pt x="248" y="49"/>
                      <a:pt x="245" y="43"/>
                      <a:pt x="240" y="41"/>
                    </a:cubicBezTo>
                    <a:close/>
                    <a:moveTo>
                      <a:pt x="11" y="171"/>
                    </a:moveTo>
                    <a:cubicBezTo>
                      <a:pt x="17" y="171"/>
                      <a:pt x="22" y="166"/>
                      <a:pt x="22" y="160"/>
                    </a:cubicBezTo>
                    <a:cubicBezTo>
                      <a:pt x="22" y="128"/>
                      <a:pt x="22" y="128"/>
                      <a:pt x="22" y="128"/>
                    </a:cubicBezTo>
                    <a:cubicBezTo>
                      <a:pt x="22" y="122"/>
                      <a:pt x="17" y="117"/>
                      <a:pt x="11" y="117"/>
                    </a:cubicBezTo>
                    <a:cubicBezTo>
                      <a:pt x="5" y="117"/>
                      <a:pt x="0" y="122"/>
                      <a:pt x="0" y="128"/>
                    </a:cubicBezTo>
                    <a:cubicBezTo>
                      <a:pt x="0" y="160"/>
                      <a:pt x="0" y="160"/>
                      <a:pt x="0" y="160"/>
                    </a:cubicBezTo>
                    <a:cubicBezTo>
                      <a:pt x="0" y="166"/>
                      <a:pt x="5" y="171"/>
                      <a:pt x="11" y="171"/>
                    </a:cubicBezTo>
                    <a:close/>
                    <a:moveTo>
                      <a:pt x="35" y="214"/>
                    </a:moveTo>
                    <a:cubicBezTo>
                      <a:pt x="22" y="207"/>
                      <a:pt x="22" y="207"/>
                      <a:pt x="22" y="207"/>
                    </a:cubicBezTo>
                    <a:cubicBezTo>
                      <a:pt x="22" y="192"/>
                      <a:pt x="22" y="192"/>
                      <a:pt x="22" y="192"/>
                    </a:cubicBezTo>
                    <a:cubicBezTo>
                      <a:pt x="22" y="186"/>
                      <a:pt x="17" y="181"/>
                      <a:pt x="11" y="181"/>
                    </a:cubicBezTo>
                    <a:cubicBezTo>
                      <a:pt x="5" y="181"/>
                      <a:pt x="0" y="186"/>
                      <a:pt x="0" y="192"/>
                    </a:cubicBezTo>
                    <a:cubicBezTo>
                      <a:pt x="0" y="213"/>
                      <a:pt x="0" y="213"/>
                      <a:pt x="0" y="213"/>
                    </a:cubicBezTo>
                    <a:cubicBezTo>
                      <a:pt x="0" y="217"/>
                      <a:pt x="2" y="221"/>
                      <a:pt x="6" y="223"/>
                    </a:cubicBezTo>
                    <a:cubicBezTo>
                      <a:pt x="25" y="233"/>
                      <a:pt x="25" y="233"/>
                      <a:pt x="25" y="233"/>
                    </a:cubicBezTo>
                    <a:cubicBezTo>
                      <a:pt x="26" y="234"/>
                      <a:pt x="28" y="234"/>
                      <a:pt x="30" y="234"/>
                    </a:cubicBezTo>
                    <a:cubicBezTo>
                      <a:pt x="34" y="234"/>
                      <a:pt x="37" y="232"/>
                      <a:pt x="39" y="229"/>
                    </a:cubicBezTo>
                    <a:cubicBezTo>
                      <a:pt x="42" y="223"/>
                      <a:pt x="40" y="217"/>
                      <a:pt x="35" y="214"/>
                    </a:cubicBezTo>
                    <a:close/>
                    <a:moveTo>
                      <a:pt x="102" y="250"/>
                    </a:moveTo>
                    <a:cubicBezTo>
                      <a:pt x="69" y="232"/>
                      <a:pt x="69" y="232"/>
                      <a:pt x="69" y="232"/>
                    </a:cubicBezTo>
                    <a:cubicBezTo>
                      <a:pt x="63" y="229"/>
                      <a:pt x="57" y="231"/>
                      <a:pt x="54" y="237"/>
                    </a:cubicBezTo>
                    <a:cubicBezTo>
                      <a:pt x="51" y="242"/>
                      <a:pt x="53" y="248"/>
                      <a:pt x="58" y="251"/>
                    </a:cubicBezTo>
                    <a:cubicBezTo>
                      <a:pt x="92" y="269"/>
                      <a:pt x="92" y="269"/>
                      <a:pt x="92" y="269"/>
                    </a:cubicBezTo>
                    <a:cubicBezTo>
                      <a:pt x="94" y="270"/>
                      <a:pt x="95" y="270"/>
                      <a:pt x="97" y="270"/>
                    </a:cubicBezTo>
                    <a:cubicBezTo>
                      <a:pt x="101" y="270"/>
                      <a:pt x="105" y="268"/>
                      <a:pt x="107" y="265"/>
                    </a:cubicBezTo>
                    <a:cubicBezTo>
                      <a:pt x="109" y="260"/>
                      <a:pt x="107" y="253"/>
                      <a:pt x="102" y="250"/>
                    </a:cubicBezTo>
                    <a:close/>
                    <a:moveTo>
                      <a:pt x="150" y="245"/>
                    </a:moveTo>
                    <a:cubicBezTo>
                      <a:pt x="156" y="245"/>
                      <a:pt x="160" y="241"/>
                      <a:pt x="160" y="235"/>
                    </a:cubicBezTo>
                    <a:cubicBezTo>
                      <a:pt x="160" y="203"/>
                      <a:pt x="160" y="203"/>
                      <a:pt x="160" y="203"/>
                    </a:cubicBezTo>
                    <a:cubicBezTo>
                      <a:pt x="160" y="197"/>
                      <a:pt x="156" y="192"/>
                      <a:pt x="150" y="192"/>
                    </a:cubicBezTo>
                    <a:cubicBezTo>
                      <a:pt x="144" y="192"/>
                      <a:pt x="139" y="197"/>
                      <a:pt x="139" y="203"/>
                    </a:cubicBezTo>
                    <a:cubicBezTo>
                      <a:pt x="139" y="235"/>
                      <a:pt x="139" y="235"/>
                      <a:pt x="139" y="235"/>
                    </a:cubicBezTo>
                    <a:cubicBezTo>
                      <a:pt x="139" y="241"/>
                      <a:pt x="144" y="245"/>
                      <a:pt x="150" y="245"/>
                    </a:cubicBezTo>
                    <a:close/>
                    <a:moveTo>
                      <a:pt x="165" y="269"/>
                    </a:moveTo>
                    <a:cubicBezTo>
                      <a:pt x="160" y="271"/>
                      <a:pt x="160" y="271"/>
                      <a:pt x="160" y="271"/>
                    </a:cubicBezTo>
                    <a:cubicBezTo>
                      <a:pt x="160" y="267"/>
                      <a:pt x="160" y="267"/>
                      <a:pt x="160" y="267"/>
                    </a:cubicBezTo>
                    <a:cubicBezTo>
                      <a:pt x="160" y="261"/>
                      <a:pt x="156" y="256"/>
                      <a:pt x="150" y="256"/>
                    </a:cubicBezTo>
                    <a:cubicBezTo>
                      <a:pt x="144" y="256"/>
                      <a:pt x="139" y="261"/>
                      <a:pt x="139" y="267"/>
                    </a:cubicBezTo>
                    <a:cubicBezTo>
                      <a:pt x="139" y="270"/>
                      <a:pt x="139" y="270"/>
                      <a:pt x="139" y="270"/>
                    </a:cubicBezTo>
                    <a:cubicBezTo>
                      <a:pt x="136" y="268"/>
                      <a:pt x="136" y="268"/>
                      <a:pt x="136" y="268"/>
                    </a:cubicBezTo>
                    <a:cubicBezTo>
                      <a:pt x="131" y="266"/>
                      <a:pt x="124" y="268"/>
                      <a:pt x="121" y="273"/>
                    </a:cubicBezTo>
                    <a:cubicBezTo>
                      <a:pt x="119" y="278"/>
                      <a:pt x="121" y="284"/>
                      <a:pt x="126" y="287"/>
                    </a:cubicBezTo>
                    <a:cubicBezTo>
                      <a:pt x="145" y="297"/>
                      <a:pt x="145" y="297"/>
                      <a:pt x="145" y="297"/>
                    </a:cubicBezTo>
                    <a:cubicBezTo>
                      <a:pt x="146" y="298"/>
                      <a:pt x="148" y="299"/>
                      <a:pt x="150" y="299"/>
                    </a:cubicBezTo>
                    <a:cubicBezTo>
                      <a:pt x="151" y="299"/>
                      <a:pt x="153" y="298"/>
                      <a:pt x="154" y="298"/>
                    </a:cubicBezTo>
                    <a:cubicBezTo>
                      <a:pt x="154" y="298"/>
                      <a:pt x="154" y="298"/>
                      <a:pt x="154" y="298"/>
                    </a:cubicBezTo>
                    <a:cubicBezTo>
                      <a:pt x="174" y="289"/>
                      <a:pt x="174" y="289"/>
                      <a:pt x="174" y="289"/>
                    </a:cubicBezTo>
                    <a:cubicBezTo>
                      <a:pt x="179" y="286"/>
                      <a:pt x="181" y="280"/>
                      <a:pt x="179" y="275"/>
                    </a:cubicBezTo>
                    <a:cubicBezTo>
                      <a:pt x="176" y="269"/>
                      <a:pt x="170" y="267"/>
                      <a:pt x="165" y="269"/>
                    </a:cubicBezTo>
                    <a:close/>
                    <a:moveTo>
                      <a:pt x="231" y="239"/>
                    </a:moveTo>
                    <a:cubicBezTo>
                      <a:pt x="198" y="254"/>
                      <a:pt x="198" y="254"/>
                      <a:pt x="198" y="254"/>
                    </a:cubicBezTo>
                    <a:cubicBezTo>
                      <a:pt x="193" y="256"/>
                      <a:pt x="190" y="263"/>
                      <a:pt x="193" y="268"/>
                    </a:cubicBezTo>
                    <a:cubicBezTo>
                      <a:pt x="194" y="272"/>
                      <a:pt x="198" y="274"/>
                      <a:pt x="202" y="274"/>
                    </a:cubicBezTo>
                    <a:cubicBezTo>
                      <a:pt x="204" y="274"/>
                      <a:pt x="205" y="274"/>
                      <a:pt x="207" y="273"/>
                    </a:cubicBezTo>
                    <a:cubicBezTo>
                      <a:pt x="240" y="258"/>
                      <a:pt x="240" y="258"/>
                      <a:pt x="240" y="258"/>
                    </a:cubicBezTo>
                    <a:cubicBezTo>
                      <a:pt x="245" y="256"/>
                      <a:pt x="248" y="249"/>
                      <a:pt x="245" y="244"/>
                    </a:cubicBezTo>
                    <a:cubicBezTo>
                      <a:pt x="243" y="238"/>
                      <a:pt x="237" y="236"/>
                      <a:pt x="231" y="239"/>
                    </a:cubicBezTo>
                    <a:close/>
                    <a:moveTo>
                      <a:pt x="288" y="192"/>
                    </a:moveTo>
                    <a:cubicBezTo>
                      <a:pt x="282" y="192"/>
                      <a:pt x="278" y="197"/>
                      <a:pt x="278" y="203"/>
                    </a:cubicBezTo>
                    <a:cubicBezTo>
                      <a:pt x="278" y="217"/>
                      <a:pt x="278" y="217"/>
                      <a:pt x="278" y="217"/>
                    </a:cubicBezTo>
                    <a:cubicBezTo>
                      <a:pt x="264" y="223"/>
                      <a:pt x="264" y="223"/>
                      <a:pt x="264" y="223"/>
                    </a:cubicBezTo>
                    <a:cubicBezTo>
                      <a:pt x="259" y="226"/>
                      <a:pt x="257" y="232"/>
                      <a:pt x="259" y="237"/>
                    </a:cubicBezTo>
                    <a:cubicBezTo>
                      <a:pt x="261" y="241"/>
                      <a:pt x="265" y="244"/>
                      <a:pt x="269" y="244"/>
                    </a:cubicBezTo>
                    <a:cubicBezTo>
                      <a:pt x="270" y="244"/>
                      <a:pt x="272" y="243"/>
                      <a:pt x="273" y="243"/>
                    </a:cubicBezTo>
                    <a:cubicBezTo>
                      <a:pt x="293" y="234"/>
                      <a:pt x="293" y="234"/>
                      <a:pt x="293" y="234"/>
                    </a:cubicBezTo>
                    <a:cubicBezTo>
                      <a:pt x="297" y="232"/>
                      <a:pt x="299" y="228"/>
                      <a:pt x="299" y="224"/>
                    </a:cubicBezTo>
                    <a:cubicBezTo>
                      <a:pt x="299" y="203"/>
                      <a:pt x="299" y="203"/>
                      <a:pt x="299" y="203"/>
                    </a:cubicBezTo>
                    <a:cubicBezTo>
                      <a:pt x="299" y="197"/>
                      <a:pt x="294" y="192"/>
                      <a:pt x="288" y="192"/>
                    </a:cubicBezTo>
                    <a:close/>
                    <a:moveTo>
                      <a:pt x="288" y="128"/>
                    </a:moveTo>
                    <a:cubicBezTo>
                      <a:pt x="282" y="128"/>
                      <a:pt x="278" y="133"/>
                      <a:pt x="278" y="139"/>
                    </a:cubicBezTo>
                    <a:cubicBezTo>
                      <a:pt x="278" y="171"/>
                      <a:pt x="278" y="171"/>
                      <a:pt x="278" y="171"/>
                    </a:cubicBezTo>
                    <a:cubicBezTo>
                      <a:pt x="278" y="177"/>
                      <a:pt x="282" y="181"/>
                      <a:pt x="288" y="181"/>
                    </a:cubicBezTo>
                    <a:cubicBezTo>
                      <a:pt x="294" y="181"/>
                      <a:pt x="299" y="177"/>
                      <a:pt x="299" y="171"/>
                    </a:cubicBezTo>
                    <a:cubicBezTo>
                      <a:pt x="299" y="139"/>
                      <a:pt x="299" y="139"/>
                      <a:pt x="299" y="139"/>
                    </a:cubicBezTo>
                    <a:cubicBezTo>
                      <a:pt x="299" y="133"/>
                      <a:pt x="294" y="128"/>
                      <a:pt x="288" y="128"/>
                    </a:cubicBez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6" name="Freeform 756">
                <a:extLst>
                  <a:ext uri="{FF2B5EF4-FFF2-40B4-BE49-F238E27FC236}">
                    <a16:creationId xmlns:a16="http://schemas.microsoft.com/office/drawing/2014/main" id="{4BFD7E0C-003D-4ED9-9A41-2DD3B7C62169}"/>
                  </a:ext>
                </a:extLst>
              </p:cNvPr>
              <p:cNvSpPr>
                <a:spLocks noEditPoints="1"/>
              </p:cNvSpPr>
              <p:nvPr/>
            </p:nvSpPr>
            <p:spPr bwMode="auto">
              <a:xfrm>
                <a:off x="7175774" y="5935063"/>
                <a:ext cx="177997" cy="177997"/>
              </a:xfrm>
              <a:custGeom>
                <a:avLst/>
                <a:gdLst>
                  <a:gd name="T0" fmla="*/ 165 w 299"/>
                  <a:gd name="T1" fmla="*/ 29 h 299"/>
                  <a:gd name="T2" fmla="*/ 121 w 299"/>
                  <a:gd name="T3" fmla="*/ 24 h 299"/>
                  <a:gd name="T4" fmla="*/ 154 w 299"/>
                  <a:gd name="T5" fmla="*/ 1 h 299"/>
                  <a:gd name="T6" fmla="*/ 64 w 299"/>
                  <a:gd name="T7" fmla="*/ 61 h 299"/>
                  <a:gd name="T8" fmla="*/ 107 w 299"/>
                  <a:gd name="T9" fmla="*/ 31 h 299"/>
                  <a:gd name="T10" fmla="*/ 54 w 299"/>
                  <a:gd name="T11" fmla="*/ 55 h 299"/>
                  <a:gd name="T12" fmla="*/ 26 w 299"/>
                  <a:gd name="T13" fmla="*/ 56 h 299"/>
                  <a:gd name="T14" fmla="*/ 0 w 299"/>
                  <a:gd name="T15" fmla="*/ 96 h 299"/>
                  <a:gd name="T16" fmla="*/ 22 w 299"/>
                  <a:gd name="T17" fmla="*/ 91 h 299"/>
                  <a:gd name="T18" fmla="*/ 40 w 299"/>
                  <a:gd name="T19" fmla="*/ 88 h 299"/>
                  <a:gd name="T20" fmla="*/ 59 w 299"/>
                  <a:gd name="T21" fmla="*/ 109 h 299"/>
                  <a:gd name="T22" fmla="*/ 107 w 299"/>
                  <a:gd name="T23" fmla="*/ 119 h 299"/>
                  <a:gd name="T24" fmla="*/ 54 w 299"/>
                  <a:gd name="T25" fmla="*/ 95 h 299"/>
                  <a:gd name="T26" fmla="*/ 150 w 299"/>
                  <a:gd name="T27" fmla="*/ 127 h 299"/>
                  <a:gd name="T28" fmla="*/ 126 w 299"/>
                  <a:gd name="T29" fmla="*/ 139 h 299"/>
                  <a:gd name="T30" fmla="*/ 150 w 299"/>
                  <a:gd name="T31" fmla="*/ 171 h 299"/>
                  <a:gd name="T32" fmla="*/ 174 w 299"/>
                  <a:gd name="T33" fmla="*/ 139 h 299"/>
                  <a:gd name="T34" fmla="*/ 231 w 299"/>
                  <a:gd name="T35" fmla="*/ 89 h 299"/>
                  <a:gd name="T36" fmla="*/ 202 w 299"/>
                  <a:gd name="T37" fmla="*/ 125 h 299"/>
                  <a:gd name="T38" fmla="*/ 245 w 299"/>
                  <a:gd name="T39" fmla="*/ 95 h 299"/>
                  <a:gd name="T40" fmla="*/ 273 w 299"/>
                  <a:gd name="T41" fmla="*/ 56 h 299"/>
                  <a:gd name="T42" fmla="*/ 259 w 299"/>
                  <a:gd name="T43" fmla="*/ 88 h 299"/>
                  <a:gd name="T44" fmla="*/ 278 w 299"/>
                  <a:gd name="T45" fmla="*/ 91 h 299"/>
                  <a:gd name="T46" fmla="*/ 299 w 299"/>
                  <a:gd name="T47" fmla="*/ 96 h 299"/>
                  <a:gd name="T48" fmla="*/ 240 w 299"/>
                  <a:gd name="T49" fmla="*/ 41 h 299"/>
                  <a:gd name="T50" fmla="*/ 198 w 299"/>
                  <a:gd name="T51" fmla="*/ 45 h 299"/>
                  <a:gd name="T52" fmla="*/ 245 w 299"/>
                  <a:gd name="T53" fmla="*/ 55 h 299"/>
                  <a:gd name="T54" fmla="*/ 22 w 299"/>
                  <a:gd name="T55" fmla="*/ 160 h 299"/>
                  <a:gd name="T56" fmla="*/ 0 w 299"/>
                  <a:gd name="T57" fmla="*/ 128 h 299"/>
                  <a:gd name="T58" fmla="*/ 35 w 299"/>
                  <a:gd name="T59" fmla="*/ 214 h 299"/>
                  <a:gd name="T60" fmla="*/ 11 w 299"/>
                  <a:gd name="T61" fmla="*/ 181 h 299"/>
                  <a:gd name="T62" fmla="*/ 6 w 299"/>
                  <a:gd name="T63" fmla="*/ 223 h 299"/>
                  <a:gd name="T64" fmla="*/ 39 w 299"/>
                  <a:gd name="T65" fmla="*/ 229 h 299"/>
                  <a:gd name="T66" fmla="*/ 69 w 299"/>
                  <a:gd name="T67" fmla="*/ 232 h 299"/>
                  <a:gd name="T68" fmla="*/ 92 w 299"/>
                  <a:gd name="T69" fmla="*/ 269 h 299"/>
                  <a:gd name="T70" fmla="*/ 102 w 299"/>
                  <a:gd name="T71" fmla="*/ 250 h 299"/>
                  <a:gd name="T72" fmla="*/ 160 w 299"/>
                  <a:gd name="T73" fmla="*/ 203 h 299"/>
                  <a:gd name="T74" fmla="*/ 139 w 299"/>
                  <a:gd name="T75" fmla="*/ 235 h 299"/>
                  <a:gd name="T76" fmla="*/ 160 w 299"/>
                  <a:gd name="T77" fmla="*/ 271 h 299"/>
                  <a:gd name="T78" fmla="*/ 139 w 299"/>
                  <a:gd name="T79" fmla="*/ 267 h 299"/>
                  <a:gd name="T80" fmla="*/ 121 w 299"/>
                  <a:gd name="T81" fmla="*/ 273 h 299"/>
                  <a:gd name="T82" fmla="*/ 150 w 299"/>
                  <a:gd name="T83" fmla="*/ 299 h 299"/>
                  <a:gd name="T84" fmla="*/ 174 w 299"/>
                  <a:gd name="T85" fmla="*/ 289 h 299"/>
                  <a:gd name="T86" fmla="*/ 231 w 299"/>
                  <a:gd name="T87" fmla="*/ 239 h 299"/>
                  <a:gd name="T88" fmla="*/ 202 w 299"/>
                  <a:gd name="T89" fmla="*/ 274 h 299"/>
                  <a:gd name="T90" fmla="*/ 245 w 299"/>
                  <a:gd name="T91" fmla="*/ 244 h 299"/>
                  <a:gd name="T92" fmla="*/ 278 w 299"/>
                  <a:gd name="T93" fmla="*/ 203 h 299"/>
                  <a:gd name="T94" fmla="*/ 259 w 299"/>
                  <a:gd name="T95" fmla="*/ 237 h 299"/>
                  <a:gd name="T96" fmla="*/ 293 w 299"/>
                  <a:gd name="T97" fmla="*/ 234 h 299"/>
                  <a:gd name="T98" fmla="*/ 288 w 299"/>
                  <a:gd name="T99" fmla="*/ 192 h 299"/>
                  <a:gd name="T100" fmla="*/ 278 w 299"/>
                  <a:gd name="T101" fmla="*/ 171 h 299"/>
                  <a:gd name="T102" fmla="*/ 299 w 299"/>
                  <a:gd name="T103" fmla="*/ 13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9" h="299">
                    <a:moveTo>
                      <a:pt x="179" y="24"/>
                    </a:moveTo>
                    <a:cubicBezTo>
                      <a:pt x="177" y="28"/>
                      <a:pt x="173" y="30"/>
                      <a:pt x="169" y="30"/>
                    </a:cubicBezTo>
                    <a:cubicBezTo>
                      <a:pt x="168" y="30"/>
                      <a:pt x="166" y="30"/>
                      <a:pt x="165" y="29"/>
                    </a:cubicBezTo>
                    <a:cubicBezTo>
                      <a:pt x="150" y="22"/>
                      <a:pt x="150" y="22"/>
                      <a:pt x="150" y="22"/>
                    </a:cubicBezTo>
                    <a:cubicBezTo>
                      <a:pt x="135" y="29"/>
                      <a:pt x="135" y="29"/>
                      <a:pt x="135" y="29"/>
                    </a:cubicBezTo>
                    <a:cubicBezTo>
                      <a:pt x="129" y="32"/>
                      <a:pt x="123" y="29"/>
                      <a:pt x="121" y="24"/>
                    </a:cubicBezTo>
                    <a:cubicBezTo>
                      <a:pt x="118" y="19"/>
                      <a:pt x="120" y="12"/>
                      <a:pt x="126" y="10"/>
                    </a:cubicBezTo>
                    <a:cubicBezTo>
                      <a:pt x="145" y="1"/>
                      <a:pt x="145" y="1"/>
                      <a:pt x="145" y="1"/>
                    </a:cubicBezTo>
                    <a:cubicBezTo>
                      <a:pt x="148" y="0"/>
                      <a:pt x="151" y="0"/>
                      <a:pt x="154" y="1"/>
                    </a:cubicBezTo>
                    <a:cubicBezTo>
                      <a:pt x="174" y="10"/>
                      <a:pt x="174" y="10"/>
                      <a:pt x="174" y="10"/>
                    </a:cubicBezTo>
                    <a:cubicBezTo>
                      <a:pt x="179" y="12"/>
                      <a:pt x="181" y="19"/>
                      <a:pt x="179" y="24"/>
                    </a:cubicBezTo>
                    <a:close/>
                    <a:moveTo>
                      <a:pt x="64" y="61"/>
                    </a:moveTo>
                    <a:cubicBezTo>
                      <a:pt x="65" y="61"/>
                      <a:pt x="67" y="61"/>
                      <a:pt x="68" y="60"/>
                    </a:cubicBezTo>
                    <a:cubicBezTo>
                      <a:pt x="101" y="45"/>
                      <a:pt x="101" y="45"/>
                      <a:pt x="101" y="45"/>
                    </a:cubicBezTo>
                    <a:cubicBezTo>
                      <a:pt x="107" y="42"/>
                      <a:pt x="109" y="36"/>
                      <a:pt x="107" y="31"/>
                    </a:cubicBezTo>
                    <a:cubicBezTo>
                      <a:pt x="104" y="25"/>
                      <a:pt x="98" y="23"/>
                      <a:pt x="93" y="25"/>
                    </a:cubicBezTo>
                    <a:cubicBezTo>
                      <a:pt x="59" y="41"/>
                      <a:pt x="59" y="41"/>
                      <a:pt x="59" y="41"/>
                    </a:cubicBezTo>
                    <a:cubicBezTo>
                      <a:pt x="54" y="43"/>
                      <a:pt x="52" y="49"/>
                      <a:pt x="54" y="55"/>
                    </a:cubicBezTo>
                    <a:cubicBezTo>
                      <a:pt x="56" y="59"/>
                      <a:pt x="60" y="61"/>
                      <a:pt x="64" y="61"/>
                    </a:cubicBezTo>
                    <a:close/>
                    <a:moveTo>
                      <a:pt x="40" y="61"/>
                    </a:moveTo>
                    <a:cubicBezTo>
                      <a:pt x="38" y="56"/>
                      <a:pt x="31" y="54"/>
                      <a:pt x="26" y="56"/>
                    </a:cubicBezTo>
                    <a:cubicBezTo>
                      <a:pt x="7" y="65"/>
                      <a:pt x="7" y="65"/>
                      <a:pt x="7" y="65"/>
                    </a:cubicBezTo>
                    <a:cubicBezTo>
                      <a:pt x="3" y="67"/>
                      <a:pt x="0" y="71"/>
                      <a:pt x="0" y="75"/>
                    </a:cubicBezTo>
                    <a:cubicBezTo>
                      <a:pt x="0" y="96"/>
                      <a:pt x="0" y="96"/>
                      <a:pt x="0" y="96"/>
                    </a:cubicBezTo>
                    <a:cubicBezTo>
                      <a:pt x="0" y="102"/>
                      <a:pt x="5" y="107"/>
                      <a:pt x="11" y="107"/>
                    </a:cubicBezTo>
                    <a:cubicBezTo>
                      <a:pt x="17" y="107"/>
                      <a:pt x="22" y="102"/>
                      <a:pt x="22" y="96"/>
                    </a:cubicBezTo>
                    <a:cubicBezTo>
                      <a:pt x="22" y="91"/>
                      <a:pt x="22" y="91"/>
                      <a:pt x="22" y="91"/>
                    </a:cubicBezTo>
                    <a:cubicBezTo>
                      <a:pt x="26" y="93"/>
                      <a:pt x="26" y="93"/>
                      <a:pt x="26" y="93"/>
                    </a:cubicBezTo>
                    <a:cubicBezTo>
                      <a:pt x="27" y="94"/>
                      <a:pt x="29" y="94"/>
                      <a:pt x="30" y="94"/>
                    </a:cubicBezTo>
                    <a:cubicBezTo>
                      <a:pt x="34" y="94"/>
                      <a:pt x="38" y="92"/>
                      <a:pt x="40" y="88"/>
                    </a:cubicBezTo>
                    <a:cubicBezTo>
                      <a:pt x="42" y="83"/>
                      <a:pt x="41" y="78"/>
                      <a:pt x="36" y="75"/>
                    </a:cubicBezTo>
                    <a:cubicBezTo>
                      <a:pt x="41" y="72"/>
                      <a:pt x="42" y="66"/>
                      <a:pt x="40" y="61"/>
                    </a:cubicBezTo>
                    <a:close/>
                    <a:moveTo>
                      <a:pt x="59" y="109"/>
                    </a:moveTo>
                    <a:cubicBezTo>
                      <a:pt x="93" y="124"/>
                      <a:pt x="93" y="124"/>
                      <a:pt x="93" y="124"/>
                    </a:cubicBezTo>
                    <a:cubicBezTo>
                      <a:pt x="94" y="125"/>
                      <a:pt x="95" y="125"/>
                      <a:pt x="97" y="125"/>
                    </a:cubicBezTo>
                    <a:cubicBezTo>
                      <a:pt x="101" y="125"/>
                      <a:pt x="105" y="123"/>
                      <a:pt x="107" y="119"/>
                    </a:cubicBezTo>
                    <a:cubicBezTo>
                      <a:pt x="109" y="113"/>
                      <a:pt x="107" y="107"/>
                      <a:pt x="101" y="105"/>
                    </a:cubicBezTo>
                    <a:cubicBezTo>
                      <a:pt x="68" y="89"/>
                      <a:pt x="68" y="89"/>
                      <a:pt x="68" y="89"/>
                    </a:cubicBezTo>
                    <a:cubicBezTo>
                      <a:pt x="63" y="87"/>
                      <a:pt x="56" y="89"/>
                      <a:pt x="54" y="95"/>
                    </a:cubicBezTo>
                    <a:cubicBezTo>
                      <a:pt x="52" y="100"/>
                      <a:pt x="54" y="106"/>
                      <a:pt x="59" y="109"/>
                    </a:cubicBezTo>
                    <a:close/>
                    <a:moveTo>
                      <a:pt x="165" y="120"/>
                    </a:moveTo>
                    <a:cubicBezTo>
                      <a:pt x="150" y="127"/>
                      <a:pt x="150" y="127"/>
                      <a:pt x="150" y="127"/>
                    </a:cubicBezTo>
                    <a:cubicBezTo>
                      <a:pt x="135" y="120"/>
                      <a:pt x="135" y="120"/>
                      <a:pt x="135" y="120"/>
                    </a:cubicBezTo>
                    <a:cubicBezTo>
                      <a:pt x="129" y="118"/>
                      <a:pt x="123" y="120"/>
                      <a:pt x="121" y="125"/>
                    </a:cubicBezTo>
                    <a:cubicBezTo>
                      <a:pt x="118" y="131"/>
                      <a:pt x="120" y="137"/>
                      <a:pt x="126" y="139"/>
                    </a:cubicBezTo>
                    <a:cubicBezTo>
                      <a:pt x="139" y="145"/>
                      <a:pt x="139" y="145"/>
                      <a:pt x="139" y="145"/>
                    </a:cubicBezTo>
                    <a:cubicBezTo>
                      <a:pt x="139" y="160"/>
                      <a:pt x="139" y="160"/>
                      <a:pt x="139" y="160"/>
                    </a:cubicBezTo>
                    <a:cubicBezTo>
                      <a:pt x="139" y="166"/>
                      <a:pt x="144" y="171"/>
                      <a:pt x="150" y="171"/>
                    </a:cubicBezTo>
                    <a:cubicBezTo>
                      <a:pt x="156" y="171"/>
                      <a:pt x="160" y="166"/>
                      <a:pt x="160" y="160"/>
                    </a:cubicBezTo>
                    <a:cubicBezTo>
                      <a:pt x="160" y="145"/>
                      <a:pt x="160" y="145"/>
                      <a:pt x="160" y="145"/>
                    </a:cubicBezTo>
                    <a:cubicBezTo>
                      <a:pt x="174" y="139"/>
                      <a:pt x="174" y="139"/>
                      <a:pt x="174" y="139"/>
                    </a:cubicBezTo>
                    <a:cubicBezTo>
                      <a:pt x="179" y="137"/>
                      <a:pt x="181" y="131"/>
                      <a:pt x="179" y="125"/>
                    </a:cubicBezTo>
                    <a:cubicBezTo>
                      <a:pt x="176" y="120"/>
                      <a:pt x="170" y="118"/>
                      <a:pt x="165" y="120"/>
                    </a:cubicBezTo>
                    <a:close/>
                    <a:moveTo>
                      <a:pt x="231" y="89"/>
                    </a:moveTo>
                    <a:cubicBezTo>
                      <a:pt x="198" y="105"/>
                      <a:pt x="198" y="105"/>
                      <a:pt x="198" y="105"/>
                    </a:cubicBezTo>
                    <a:cubicBezTo>
                      <a:pt x="193" y="107"/>
                      <a:pt x="190" y="113"/>
                      <a:pt x="193" y="119"/>
                    </a:cubicBezTo>
                    <a:cubicBezTo>
                      <a:pt x="194" y="123"/>
                      <a:pt x="198" y="125"/>
                      <a:pt x="202" y="125"/>
                    </a:cubicBezTo>
                    <a:cubicBezTo>
                      <a:pt x="204" y="125"/>
                      <a:pt x="205" y="125"/>
                      <a:pt x="207" y="124"/>
                    </a:cubicBezTo>
                    <a:cubicBezTo>
                      <a:pt x="240" y="109"/>
                      <a:pt x="240" y="109"/>
                      <a:pt x="240" y="109"/>
                    </a:cubicBezTo>
                    <a:cubicBezTo>
                      <a:pt x="245" y="106"/>
                      <a:pt x="248" y="100"/>
                      <a:pt x="245" y="95"/>
                    </a:cubicBezTo>
                    <a:cubicBezTo>
                      <a:pt x="243" y="89"/>
                      <a:pt x="237" y="87"/>
                      <a:pt x="231" y="89"/>
                    </a:cubicBezTo>
                    <a:close/>
                    <a:moveTo>
                      <a:pt x="293" y="65"/>
                    </a:moveTo>
                    <a:cubicBezTo>
                      <a:pt x="273" y="56"/>
                      <a:pt x="273" y="56"/>
                      <a:pt x="273" y="56"/>
                    </a:cubicBezTo>
                    <a:cubicBezTo>
                      <a:pt x="268" y="54"/>
                      <a:pt x="262" y="56"/>
                      <a:pt x="259" y="61"/>
                    </a:cubicBezTo>
                    <a:cubicBezTo>
                      <a:pt x="257" y="66"/>
                      <a:pt x="259" y="72"/>
                      <a:pt x="263" y="75"/>
                    </a:cubicBezTo>
                    <a:cubicBezTo>
                      <a:pt x="259" y="78"/>
                      <a:pt x="257" y="83"/>
                      <a:pt x="259" y="88"/>
                    </a:cubicBezTo>
                    <a:cubicBezTo>
                      <a:pt x="261" y="92"/>
                      <a:pt x="265" y="94"/>
                      <a:pt x="269" y="94"/>
                    </a:cubicBezTo>
                    <a:cubicBezTo>
                      <a:pt x="270" y="94"/>
                      <a:pt x="272" y="94"/>
                      <a:pt x="273" y="93"/>
                    </a:cubicBezTo>
                    <a:cubicBezTo>
                      <a:pt x="278" y="91"/>
                      <a:pt x="278" y="91"/>
                      <a:pt x="278" y="91"/>
                    </a:cubicBezTo>
                    <a:cubicBezTo>
                      <a:pt x="278" y="96"/>
                      <a:pt x="278" y="96"/>
                      <a:pt x="278" y="96"/>
                    </a:cubicBezTo>
                    <a:cubicBezTo>
                      <a:pt x="278" y="102"/>
                      <a:pt x="282" y="107"/>
                      <a:pt x="288" y="107"/>
                    </a:cubicBezTo>
                    <a:cubicBezTo>
                      <a:pt x="294" y="107"/>
                      <a:pt x="299" y="102"/>
                      <a:pt x="299" y="96"/>
                    </a:cubicBezTo>
                    <a:cubicBezTo>
                      <a:pt x="299" y="75"/>
                      <a:pt x="299" y="75"/>
                      <a:pt x="299" y="75"/>
                    </a:cubicBezTo>
                    <a:cubicBezTo>
                      <a:pt x="299" y="71"/>
                      <a:pt x="297" y="67"/>
                      <a:pt x="293" y="65"/>
                    </a:cubicBezTo>
                    <a:close/>
                    <a:moveTo>
                      <a:pt x="240" y="41"/>
                    </a:moveTo>
                    <a:cubicBezTo>
                      <a:pt x="207" y="25"/>
                      <a:pt x="207" y="25"/>
                      <a:pt x="207" y="25"/>
                    </a:cubicBezTo>
                    <a:cubicBezTo>
                      <a:pt x="201" y="23"/>
                      <a:pt x="195" y="25"/>
                      <a:pt x="193" y="31"/>
                    </a:cubicBezTo>
                    <a:cubicBezTo>
                      <a:pt x="190" y="36"/>
                      <a:pt x="193" y="42"/>
                      <a:pt x="198" y="45"/>
                    </a:cubicBezTo>
                    <a:cubicBezTo>
                      <a:pt x="231" y="60"/>
                      <a:pt x="231" y="60"/>
                      <a:pt x="231" y="60"/>
                    </a:cubicBezTo>
                    <a:cubicBezTo>
                      <a:pt x="233" y="61"/>
                      <a:pt x="234" y="61"/>
                      <a:pt x="236" y="61"/>
                    </a:cubicBezTo>
                    <a:cubicBezTo>
                      <a:pt x="240" y="61"/>
                      <a:pt x="244" y="59"/>
                      <a:pt x="245" y="55"/>
                    </a:cubicBezTo>
                    <a:cubicBezTo>
                      <a:pt x="248" y="49"/>
                      <a:pt x="245" y="43"/>
                      <a:pt x="240" y="41"/>
                    </a:cubicBezTo>
                    <a:close/>
                    <a:moveTo>
                      <a:pt x="11" y="171"/>
                    </a:moveTo>
                    <a:cubicBezTo>
                      <a:pt x="17" y="171"/>
                      <a:pt x="22" y="166"/>
                      <a:pt x="22" y="160"/>
                    </a:cubicBezTo>
                    <a:cubicBezTo>
                      <a:pt x="22" y="128"/>
                      <a:pt x="22" y="128"/>
                      <a:pt x="22" y="128"/>
                    </a:cubicBezTo>
                    <a:cubicBezTo>
                      <a:pt x="22" y="122"/>
                      <a:pt x="17" y="117"/>
                      <a:pt x="11" y="117"/>
                    </a:cubicBezTo>
                    <a:cubicBezTo>
                      <a:pt x="5" y="117"/>
                      <a:pt x="0" y="122"/>
                      <a:pt x="0" y="128"/>
                    </a:cubicBezTo>
                    <a:cubicBezTo>
                      <a:pt x="0" y="160"/>
                      <a:pt x="0" y="160"/>
                      <a:pt x="0" y="160"/>
                    </a:cubicBezTo>
                    <a:cubicBezTo>
                      <a:pt x="0" y="166"/>
                      <a:pt x="5" y="171"/>
                      <a:pt x="11" y="171"/>
                    </a:cubicBezTo>
                    <a:close/>
                    <a:moveTo>
                      <a:pt x="35" y="214"/>
                    </a:moveTo>
                    <a:cubicBezTo>
                      <a:pt x="22" y="207"/>
                      <a:pt x="22" y="207"/>
                      <a:pt x="22" y="207"/>
                    </a:cubicBezTo>
                    <a:cubicBezTo>
                      <a:pt x="22" y="192"/>
                      <a:pt x="22" y="192"/>
                      <a:pt x="22" y="192"/>
                    </a:cubicBezTo>
                    <a:cubicBezTo>
                      <a:pt x="22" y="186"/>
                      <a:pt x="17" y="181"/>
                      <a:pt x="11" y="181"/>
                    </a:cubicBezTo>
                    <a:cubicBezTo>
                      <a:pt x="5" y="181"/>
                      <a:pt x="0" y="186"/>
                      <a:pt x="0" y="192"/>
                    </a:cubicBezTo>
                    <a:cubicBezTo>
                      <a:pt x="0" y="213"/>
                      <a:pt x="0" y="213"/>
                      <a:pt x="0" y="213"/>
                    </a:cubicBezTo>
                    <a:cubicBezTo>
                      <a:pt x="0" y="217"/>
                      <a:pt x="2" y="221"/>
                      <a:pt x="6" y="223"/>
                    </a:cubicBezTo>
                    <a:cubicBezTo>
                      <a:pt x="25" y="233"/>
                      <a:pt x="25" y="233"/>
                      <a:pt x="25" y="233"/>
                    </a:cubicBezTo>
                    <a:cubicBezTo>
                      <a:pt x="26" y="234"/>
                      <a:pt x="28" y="234"/>
                      <a:pt x="30" y="234"/>
                    </a:cubicBezTo>
                    <a:cubicBezTo>
                      <a:pt x="34" y="234"/>
                      <a:pt x="37" y="232"/>
                      <a:pt x="39" y="229"/>
                    </a:cubicBezTo>
                    <a:cubicBezTo>
                      <a:pt x="42" y="223"/>
                      <a:pt x="40" y="217"/>
                      <a:pt x="35" y="214"/>
                    </a:cubicBezTo>
                    <a:close/>
                    <a:moveTo>
                      <a:pt x="102" y="250"/>
                    </a:moveTo>
                    <a:cubicBezTo>
                      <a:pt x="69" y="232"/>
                      <a:pt x="69" y="232"/>
                      <a:pt x="69" y="232"/>
                    </a:cubicBezTo>
                    <a:cubicBezTo>
                      <a:pt x="63" y="229"/>
                      <a:pt x="57" y="231"/>
                      <a:pt x="54" y="237"/>
                    </a:cubicBezTo>
                    <a:cubicBezTo>
                      <a:pt x="51" y="242"/>
                      <a:pt x="53" y="248"/>
                      <a:pt x="58" y="251"/>
                    </a:cubicBezTo>
                    <a:cubicBezTo>
                      <a:pt x="92" y="269"/>
                      <a:pt x="92" y="269"/>
                      <a:pt x="92" y="269"/>
                    </a:cubicBezTo>
                    <a:cubicBezTo>
                      <a:pt x="94" y="270"/>
                      <a:pt x="95" y="270"/>
                      <a:pt x="97" y="270"/>
                    </a:cubicBezTo>
                    <a:cubicBezTo>
                      <a:pt x="101" y="270"/>
                      <a:pt x="105" y="268"/>
                      <a:pt x="107" y="265"/>
                    </a:cubicBezTo>
                    <a:cubicBezTo>
                      <a:pt x="109" y="260"/>
                      <a:pt x="107" y="253"/>
                      <a:pt x="102" y="250"/>
                    </a:cubicBezTo>
                    <a:close/>
                    <a:moveTo>
                      <a:pt x="150" y="245"/>
                    </a:moveTo>
                    <a:cubicBezTo>
                      <a:pt x="156" y="245"/>
                      <a:pt x="160" y="241"/>
                      <a:pt x="160" y="235"/>
                    </a:cubicBezTo>
                    <a:cubicBezTo>
                      <a:pt x="160" y="203"/>
                      <a:pt x="160" y="203"/>
                      <a:pt x="160" y="203"/>
                    </a:cubicBezTo>
                    <a:cubicBezTo>
                      <a:pt x="160" y="197"/>
                      <a:pt x="156" y="192"/>
                      <a:pt x="150" y="192"/>
                    </a:cubicBezTo>
                    <a:cubicBezTo>
                      <a:pt x="144" y="192"/>
                      <a:pt x="139" y="197"/>
                      <a:pt x="139" y="203"/>
                    </a:cubicBezTo>
                    <a:cubicBezTo>
                      <a:pt x="139" y="235"/>
                      <a:pt x="139" y="235"/>
                      <a:pt x="139" y="235"/>
                    </a:cubicBezTo>
                    <a:cubicBezTo>
                      <a:pt x="139" y="241"/>
                      <a:pt x="144" y="245"/>
                      <a:pt x="150" y="245"/>
                    </a:cubicBezTo>
                    <a:close/>
                    <a:moveTo>
                      <a:pt x="165" y="269"/>
                    </a:moveTo>
                    <a:cubicBezTo>
                      <a:pt x="160" y="271"/>
                      <a:pt x="160" y="271"/>
                      <a:pt x="160" y="271"/>
                    </a:cubicBezTo>
                    <a:cubicBezTo>
                      <a:pt x="160" y="267"/>
                      <a:pt x="160" y="267"/>
                      <a:pt x="160" y="267"/>
                    </a:cubicBezTo>
                    <a:cubicBezTo>
                      <a:pt x="160" y="261"/>
                      <a:pt x="156" y="256"/>
                      <a:pt x="150" y="256"/>
                    </a:cubicBezTo>
                    <a:cubicBezTo>
                      <a:pt x="144" y="256"/>
                      <a:pt x="139" y="261"/>
                      <a:pt x="139" y="267"/>
                    </a:cubicBezTo>
                    <a:cubicBezTo>
                      <a:pt x="139" y="270"/>
                      <a:pt x="139" y="270"/>
                      <a:pt x="139" y="270"/>
                    </a:cubicBezTo>
                    <a:cubicBezTo>
                      <a:pt x="136" y="268"/>
                      <a:pt x="136" y="268"/>
                      <a:pt x="136" y="268"/>
                    </a:cubicBezTo>
                    <a:cubicBezTo>
                      <a:pt x="131" y="266"/>
                      <a:pt x="124" y="268"/>
                      <a:pt x="121" y="273"/>
                    </a:cubicBezTo>
                    <a:cubicBezTo>
                      <a:pt x="119" y="278"/>
                      <a:pt x="121" y="284"/>
                      <a:pt x="126" y="287"/>
                    </a:cubicBezTo>
                    <a:cubicBezTo>
                      <a:pt x="145" y="297"/>
                      <a:pt x="145" y="297"/>
                      <a:pt x="145" y="297"/>
                    </a:cubicBezTo>
                    <a:cubicBezTo>
                      <a:pt x="146" y="298"/>
                      <a:pt x="148" y="299"/>
                      <a:pt x="150" y="299"/>
                    </a:cubicBezTo>
                    <a:cubicBezTo>
                      <a:pt x="151" y="299"/>
                      <a:pt x="153" y="298"/>
                      <a:pt x="154" y="298"/>
                    </a:cubicBezTo>
                    <a:cubicBezTo>
                      <a:pt x="154" y="298"/>
                      <a:pt x="154" y="298"/>
                      <a:pt x="154" y="298"/>
                    </a:cubicBezTo>
                    <a:cubicBezTo>
                      <a:pt x="174" y="289"/>
                      <a:pt x="174" y="289"/>
                      <a:pt x="174" y="289"/>
                    </a:cubicBezTo>
                    <a:cubicBezTo>
                      <a:pt x="179" y="286"/>
                      <a:pt x="181" y="280"/>
                      <a:pt x="179" y="275"/>
                    </a:cubicBezTo>
                    <a:cubicBezTo>
                      <a:pt x="176" y="269"/>
                      <a:pt x="170" y="267"/>
                      <a:pt x="165" y="269"/>
                    </a:cubicBezTo>
                    <a:close/>
                    <a:moveTo>
                      <a:pt x="231" y="239"/>
                    </a:moveTo>
                    <a:cubicBezTo>
                      <a:pt x="198" y="254"/>
                      <a:pt x="198" y="254"/>
                      <a:pt x="198" y="254"/>
                    </a:cubicBezTo>
                    <a:cubicBezTo>
                      <a:pt x="193" y="256"/>
                      <a:pt x="190" y="263"/>
                      <a:pt x="193" y="268"/>
                    </a:cubicBezTo>
                    <a:cubicBezTo>
                      <a:pt x="194" y="272"/>
                      <a:pt x="198" y="274"/>
                      <a:pt x="202" y="274"/>
                    </a:cubicBezTo>
                    <a:cubicBezTo>
                      <a:pt x="204" y="274"/>
                      <a:pt x="205" y="274"/>
                      <a:pt x="207" y="273"/>
                    </a:cubicBezTo>
                    <a:cubicBezTo>
                      <a:pt x="240" y="258"/>
                      <a:pt x="240" y="258"/>
                      <a:pt x="240" y="258"/>
                    </a:cubicBezTo>
                    <a:cubicBezTo>
                      <a:pt x="245" y="256"/>
                      <a:pt x="248" y="249"/>
                      <a:pt x="245" y="244"/>
                    </a:cubicBezTo>
                    <a:cubicBezTo>
                      <a:pt x="243" y="238"/>
                      <a:pt x="237" y="236"/>
                      <a:pt x="231" y="239"/>
                    </a:cubicBezTo>
                    <a:close/>
                    <a:moveTo>
                      <a:pt x="288" y="192"/>
                    </a:moveTo>
                    <a:cubicBezTo>
                      <a:pt x="282" y="192"/>
                      <a:pt x="278" y="197"/>
                      <a:pt x="278" y="203"/>
                    </a:cubicBezTo>
                    <a:cubicBezTo>
                      <a:pt x="278" y="217"/>
                      <a:pt x="278" y="217"/>
                      <a:pt x="278" y="217"/>
                    </a:cubicBezTo>
                    <a:cubicBezTo>
                      <a:pt x="264" y="223"/>
                      <a:pt x="264" y="223"/>
                      <a:pt x="264" y="223"/>
                    </a:cubicBezTo>
                    <a:cubicBezTo>
                      <a:pt x="259" y="226"/>
                      <a:pt x="257" y="232"/>
                      <a:pt x="259" y="237"/>
                    </a:cubicBezTo>
                    <a:cubicBezTo>
                      <a:pt x="261" y="241"/>
                      <a:pt x="265" y="244"/>
                      <a:pt x="269" y="244"/>
                    </a:cubicBezTo>
                    <a:cubicBezTo>
                      <a:pt x="270" y="244"/>
                      <a:pt x="272" y="243"/>
                      <a:pt x="273" y="243"/>
                    </a:cubicBezTo>
                    <a:cubicBezTo>
                      <a:pt x="293" y="234"/>
                      <a:pt x="293" y="234"/>
                      <a:pt x="293" y="234"/>
                    </a:cubicBezTo>
                    <a:cubicBezTo>
                      <a:pt x="297" y="232"/>
                      <a:pt x="299" y="228"/>
                      <a:pt x="299" y="224"/>
                    </a:cubicBezTo>
                    <a:cubicBezTo>
                      <a:pt x="299" y="203"/>
                      <a:pt x="299" y="203"/>
                      <a:pt x="299" y="203"/>
                    </a:cubicBezTo>
                    <a:cubicBezTo>
                      <a:pt x="299" y="197"/>
                      <a:pt x="294" y="192"/>
                      <a:pt x="288" y="192"/>
                    </a:cubicBezTo>
                    <a:close/>
                    <a:moveTo>
                      <a:pt x="288" y="128"/>
                    </a:moveTo>
                    <a:cubicBezTo>
                      <a:pt x="282" y="128"/>
                      <a:pt x="278" y="133"/>
                      <a:pt x="278" y="139"/>
                    </a:cubicBezTo>
                    <a:cubicBezTo>
                      <a:pt x="278" y="171"/>
                      <a:pt x="278" y="171"/>
                      <a:pt x="278" y="171"/>
                    </a:cubicBezTo>
                    <a:cubicBezTo>
                      <a:pt x="278" y="177"/>
                      <a:pt x="282" y="181"/>
                      <a:pt x="288" y="181"/>
                    </a:cubicBezTo>
                    <a:cubicBezTo>
                      <a:pt x="294" y="181"/>
                      <a:pt x="299" y="177"/>
                      <a:pt x="299" y="171"/>
                    </a:cubicBezTo>
                    <a:cubicBezTo>
                      <a:pt x="299" y="139"/>
                      <a:pt x="299" y="139"/>
                      <a:pt x="299" y="139"/>
                    </a:cubicBezTo>
                    <a:cubicBezTo>
                      <a:pt x="299" y="133"/>
                      <a:pt x="294" y="128"/>
                      <a:pt x="288" y="128"/>
                    </a:cubicBez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7" name="Freeform 756">
                <a:extLst>
                  <a:ext uri="{FF2B5EF4-FFF2-40B4-BE49-F238E27FC236}">
                    <a16:creationId xmlns:a16="http://schemas.microsoft.com/office/drawing/2014/main" id="{4D7494E2-50BB-45F0-BDD2-B5F6FE3E1F4B}"/>
                  </a:ext>
                </a:extLst>
              </p:cNvPr>
              <p:cNvSpPr>
                <a:spLocks noEditPoints="1"/>
              </p:cNvSpPr>
              <p:nvPr/>
            </p:nvSpPr>
            <p:spPr bwMode="auto">
              <a:xfrm>
                <a:off x="7009306" y="5974833"/>
                <a:ext cx="177997" cy="177997"/>
              </a:xfrm>
              <a:custGeom>
                <a:avLst/>
                <a:gdLst>
                  <a:gd name="T0" fmla="*/ 165 w 299"/>
                  <a:gd name="T1" fmla="*/ 29 h 299"/>
                  <a:gd name="T2" fmla="*/ 121 w 299"/>
                  <a:gd name="T3" fmla="*/ 24 h 299"/>
                  <a:gd name="T4" fmla="*/ 154 w 299"/>
                  <a:gd name="T5" fmla="*/ 1 h 299"/>
                  <a:gd name="T6" fmla="*/ 64 w 299"/>
                  <a:gd name="T7" fmla="*/ 61 h 299"/>
                  <a:gd name="T8" fmla="*/ 107 w 299"/>
                  <a:gd name="T9" fmla="*/ 31 h 299"/>
                  <a:gd name="T10" fmla="*/ 54 w 299"/>
                  <a:gd name="T11" fmla="*/ 55 h 299"/>
                  <a:gd name="T12" fmla="*/ 26 w 299"/>
                  <a:gd name="T13" fmla="*/ 56 h 299"/>
                  <a:gd name="T14" fmla="*/ 0 w 299"/>
                  <a:gd name="T15" fmla="*/ 96 h 299"/>
                  <a:gd name="T16" fmla="*/ 22 w 299"/>
                  <a:gd name="T17" fmla="*/ 91 h 299"/>
                  <a:gd name="T18" fmla="*/ 40 w 299"/>
                  <a:gd name="T19" fmla="*/ 88 h 299"/>
                  <a:gd name="T20" fmla="*/ 59 w 299"/>
                  <a:gd name="T21" fmla="*/ 109 h 299"/>
                  <a:gd name="T22" fmla="*/ 107 w 299"/>
                  <a:gd name="T23" fmla="*/ 119 h 299"/>
                  <a:gd name="T24" fmla="*/ 54 w 299"/>
                  <a:gd name="T25" fmla="*/ 95 h 299"/>
                  <a:gd name="T26" fmla="*/ 150 w 299"/>
                  <a:gd name="T27" fmla="*/ 127 h 299"/>
                  <a:gd name="T28" fmla="*/ 126 w 299"/>
                  <a:gd name="T29" fmla="*/ 139 h 299"/>
                  <a:gd name="T30" fmla="*/ 150 w 299"/>
                  <a:gd name="T31" fmla="*/ 171 h 299"/>
                  <a:gd name="T32" fmla="*/ 174 w 299"/>
                  <a:gd name="T33" fmla="*/ 139 h 299"/>
                  <a:gd name="T34" fmla="*/ 231 w 299"/>
                  <a:gd name="T35" fmla="*/ 89 h 299"/>
                  <a:gd name="T36" fmla="*/ 202 w 299"/>
                  <a:gd name="T37" fmla="*/ 125 h 299"/>
                  <a:gd name="T38" fmla="*/ 245 w 299"/>
                  <a:gd name="T39" fmla="*/ 95 h 299"/>
                  <a:gd name="T40" fmla="*/ 273 w 299"/>
                  <a:gd name="T41" fmla="*/ 56 h 299"/>
                  <a:gd name="T42" fmla="*/ 259 w 299"/>
                  <a:gd name="T43" fmla="*/ 88 h 299"/>
                  <a:gd name="T44" fmla="*/ 278 w 299"/>
                  <a:gd name="T45" fmla="*/ 91 h 299"/>
                  <a:gd name="T46" fmla="*/ 299 w 299"/>
                  <a:gd name="T47" fmla="*/ 96 h 299"/>
                  <a:gd name="T48" fmla="*/ 240 w 299"/>
                  <a:gd name="T49" fmla="*/ 41 h 299"/>
                  <a:gd name="T50" fmla="*/ 198 w 299"/>
                  <a:gd name="T51" fmla="*/ 45 h 299"/>
                  <a:gd name="T52" fmla="*/ 245 w 299"/>
                  <a:gd name="T53" fmla="*/ 55 h 299"/>
                  <a:gd name="T54" fmla="*/ 22 w 299"/>
                  <a:gd name="T55" fmla="*/ 160 h 299"/>
                  <a:gd name="T56" fmla="*/ 0 w 299"/>
                  <a:gd name="T57" fmla="*/ 128 h 299"/>
                  <a:gd name="T58" fmla="*/ 35 w 299"/>
                  <a:gd name="T59" fmla="*/ 214 h 299"/>
                  <a:gd name="T60" fmla="*/ 11 w 299"/>
                  <a:gd name="T61" fmla="*/ 181 h 299"/>
                  <a:gd name="T62" fmla="*/ 6 w 299"/>
                  <a:gd name="T63" fmla="*/ 223 h 299"/>
                  <a:gd name="T64" fmla="*/ 39 w 299"/>
                  <a:gd name="T65" fmla="*/ 229 h 299"/>
                  <a:gd name="T66" fmla="*/ 69 w 299"/>
                  <a:gd name="T67" fmla="*/ 232 h 299"/>
                  <a:gd name="T68" fmla="*/ 92 w 299"/>
                  <a:gd name="T69" fmla="*/ 269 h 299"/>
                  <a:gd name="T70" fmla="*/ 102 w 299"/>
                  <a:gd name="T71" fmla="*/ 250 h 299"/>
                  <a:gd name="T72" fmla="*/ 160 w 299"/>
                  <a:gd name="T73" fmla="*/ 203 h 299"/>
                  <a:gd name="T74" fmla="*/ 139 w 299"/>
                  <a:gd name="T75" fmla="*/ 235 h 299"/>
                  <a:gd name="T76" fmla="*/ 160 w 299"/>
                  <a:gd name="T77" fmla="*/ 271 h 299"/>
                  <a:gd name="T78" fmla="*/ 139 w 299"/>
                  <a:gd name="T79" fmla="*/ 267 h 299"/>
                  <a:gd name="T80" fmla="*/ 121 w 299"/>
                  <a:gd name="T81" fmla="*/ 273 h 299"/>
                  <a:gd name="T82" fmla="*/ 150 w 299"/>
                  <a:gd name="T83" fmla="*/ 299 h 299"/>
                  <a:gd name="T84" fmla="*/ 174 w 299"/>
                  <a:gd name="T85" fmla="*/ 289 h 299"/>
                  <a:gd name="T86" fmla="*/ 231 w 299"/>
                  <a:gd name="T87" fmla="*/ 239 h 299"/>
                  <a:gd name="T88" fmla="*/ 202 w 299"/>
                  <a:gd name="T89" fmla="*/ 274 h 299"/>
                  <a:gd name="T90" fmla="*/ 245 w 299"/>
                  <a:gd name="T91" fmla="*/ 244 h 299"/>
                  <a:gd name="T92" fmla="*/ 278 w 299"/>
                  <a:gd name="T93" fmla="*/ 203 h 299"/>
                  <a:gd name="T94" fmla="*/ 259 w 299"/>
                  <a:gd name="T95" fmla="*/ 237 h 299"/>
                  <a:gd name="T96" fmla="*/ 293 w 299"/>
                  <a:gd name="T97" fmla="*/ 234 h 299"/>
                  <a:gd name="T98" fmla="*/ 288 w 299"/>
                  <a:gd name="T99" fmla="*/ 192 h 299"/>
                  <a:gd name="T100" fmla="*/ 278 w 299"/>
                  <a:gd name="T101" fmla="*/ 171 h 299"/>
                  <a:gd name="T102" fmla="*/ 299 w 299"/>
                  <a:gd name="T103" fmla="*/ 13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9" h="299">
                    <a:moveTo>
                      <a:pt x="179" y="24"/>
                    </a:moveTo>
                    <a:cubicBezTo>
                      <a:pt x="177" y="28"/>
                      <a:pt x="173" y="30"/>
                      <a:pt x="169" y="30"/>
                    </a:cubicBezTo>
                    <a:cubicBezTo>
                      <a:pt x="168" y="30"/>
                      <a:pt x="166" y="30"/>
                      <a:pt x="165" y="29"/>
                    </a:cubicBezTo>
                    <a:cubicBezTo>
                      <a:pt x="150" y="22"/>
                      <a:pt x="150" y="22"/>
                      <a:pt x="150" y="22"/>
                    </a:cubicBezTo>
                    <a:cubicBezTo>
                      <a:pt x="135" y="29"/>
                      <a:pt x="135" y="29"/>
                      <a:pt x="135" y="29"/>
                    </a:cubicBezTo>
                    <a:cubicBezTo>
                      <a:pt x="129" y="32"/>
                      <a:pt x="123" y="29"/>
                      <a:pt x="121" y="24"/>
                    </a:cubicBezTo>
                    <a:cubicBezTo>
                      <a:pt x="118" y="19"/>
                      <a:pt x="120" y="12"/>
                      <a:pt x="126" y="10"/>
                    </a:cubicBezTo>
                    <a:cubicBezTo>
                      <a:pt x="145" y="1"/>
                      <a:pt x="145" y="1"/>
                      <a:pt x="145" y="1"/>
                    </a:cubicBezTo>
                    <a:cubicBezTo>
                      <a:pt x="148" y="0"/>
                      <a:pt x="151" y="0"/>
                      <a:pt x="154" y="1"/>
                    </a:cubicBezTo>
                    <a:cubicBezTo>
                      <a:pt x="174" y="10"/>
                      <a:pt x="174" y="10"/>
                      <a:pt x="174" y="10"/>
                    </a:cubicBezTo>
                    <a:cubicBezTo>
                      <a:pt x="179" y="12"/>
                      <a:pt x="181" y="19"/>
                      <a:pt x="179" y="24"/>
                    </a:cubicBezTo>
                    <a:close/>
                    <a:moveTo>
                      <a:pt x="64" y="61"/>
                    </a:moveTo>
                    <a:cubicBezTo>
                      <a:pt x="65" y="61"/>
                      <a:pt x="67" y="61"/>
                      <a:pt x="68" y="60"/>
                    </a:cubicBezTo>
                    <a:cubicBezTo>
                      <a:pt x="101" y="45"/>
                      <a:pt x="101" y="45"/>
                      <a:pt x="101" y="45"/>
                    </a:cubicBezTo>
                    <a:cubicBezTo>
                      <a:pt x="107" y="42"/>
                      <a:pt x="109" y="36"/>
                      <a:pt x="107" y="31"/>
                    </a:cubicBezTo>
                    <a:cubicBezTo>
                      <a:pt x="104" y="25"/>
                      <a:pt x="98" y="23"/>
                      <a:pt x="93" y="25"/>
                    </a:cubicBezTo>
                    <a:cubicBezTo>
                      <a:pt x="59" y="41"/>
                      <a:pt x="59" y="41"/>
                      <a:pt x="59" y="41"/>
                    </a:cubicBezTo>
                    <a:cubicBezTo>
                      <a:pt x="54" y="43"/>
                      <a:pt x="52" y="49"/>
                      <a:pt x="54" y="55"/>
                    </a:cubicBezTo>
                    <a:cubicBezTo>
                      <a:pt x="56" y="59"/>
                      <a:pt x="60" y="61"/>
                      <a:pt x="64" y="61"/>
                    </a:cubicBezTo>
                    <a:close/>
                    <a:moveTo>
                      <a:pt x="40" y="61"/>
                    </a:moveTo>
                    <a:cubicBezTo>
                      <a:pt x="38" y="56"/>
                      <a:pt x="31" y="54"/>
                      <a:pt x="26" y="56"/>
                    </a:cubicBezTo>
                    <a:cubicBezTo>
                      <a:pt x="7" y="65"/>
                      <a:pt x="7" y="65"/>
                      <a:pt x="7" y="65"/>
                    </a:cubicBezTo>
                    <a:cubicBezTo>
                      <a:pt x="3" y="67"/>
                      <a:pt x="0" y="71"/>
                      <a:pt x="0" y="75"/>
                    </a:cubicBezTo>
                    <a:cubicBezTo>
                      <a:pt x="0" y="96"/>
                      <a:pt x="0" y="96"/>
                      <a:pt x="0" y="96"/>
                    </a:cubicBezTo>
                    <a:cubicBezTo>
                      <a:pt x="0" y="102"/>
                      <a:pt x="5" y="107"/>
                      <a:pt x="11" y="107"/>
                    </a:cubicBezTo>
                    <a:cubicBezTo>
                      <a:pt x="17" y="107"/>
                      <a:pt x="22" y="102"/>
                      <a:pt x="22" y="96"/>
                    </a:cubicBezTo>
                    <a:cubicBezTo>
                      <a:pt x="22" y="91"/>
                      <a:pt x="22" y="91"/>
                      <a:pt x="22" y="91"/>
                    </a:cubicBezTo>
                    <a:cubicBezTo>
                      <a:pt x="26" y="93"/>
                      <a:pt x="26" y="93"/>
                      <a:pt x="26" y="93"/>
                    </a:cubicBezTo>
                    <a:cubicBezTo>
                      <a:pt x="27" y="94"/>
                      <a:pt x="29" y="94"/>
                      <a:pt x="30" y="94"/>
                    </a:cubicBezTo>
                    <a:cubicBezTo>
                      <a:pt x="34" y="94"/>
                      <a:pt x="38" y="92"/>
                      <a:pt x="40" y="88"/>
                    </a:cubicBezTo>
                    <a:cubicBezTo>
                      <a:pt x="42" y="83"/>
                      <a:pt x="41" y="78"/>
                      <a:pt x="36" y="75"/>
                    </a:cubicBezTo>
                    <a:cubicBezTo>
                      <a:pt x="41" y="72"/>
                      <a:pt x="42" y="66"/>
                      <a:pt x="40" y="61"/>
                    </a:cubicBezTo>
                    <a:close/>
                    <a:moveTo>
                      <a:pt x="59" y="109"/>
                    </a:moveTo>
                    <a:cubicBezTo>
                      <a:pt x="93" y="124"/>
                      <a:pt x="93" y="124"/>
                      <a:pt x="93" y="124"/>
                    </a:cubicBezTo>
                    <a:cubicBezTo>
                      <a:pt x="94" y="125"/>
                      <a:pt x="95" y="125"/>
                      <a:pt x="97" y="125"/>
                    </a:cubicBezTo>
                    <a:cubicBezTo>
                      <a:pt x="101" y="125"/>
                      <a:pt x="105" y="123"/>
                      <a:pt x="107" y="119"/>
                    </a:cubicBezTo>
                    <a:cubicBezTo>
                      <a:pt x="109" y="113"/>
                      <a:pt x="107" y="107"/>
                      <a:pt x="101" y="105"/>
                    </a:cubicBezTo>
                    <a:cubicBezTo>
                      <a:pt x="68" y="89"/>
                      <a:pt x="68" y="89"/>
                      <a:pt x="68" y="89"/>
                    </a:cubicBezTo>
                    <a:cubicBezTo>
                      <a:pt x="63" y="87"/>
                      <a:pt x="56" y="89"/>
                      <a:pt x="54" y="95"/>
                    </a:cubicBezTo>
                    <a:cubicBezTo>
                      <a:pt x="52" y="100"/>
                      <a:pt x="54" y="106"/>
                      <a:pt x="59" y="109"/>
                    </a:cubicBezTo>
                    <a:close/>
                    <a:moveTo>
                      <a:pt x="165" y="120"/>
                    </a:moveTo>
                    <a:cubicBezTo>
                      <a:pt x="150" y="127"/>
                      <a:pt x="150" y="127"/>
                      <a:pt x="150" y="127"/>
                    </a:cubicBezTo>
                    <a:cubicBezTo>
                      <a:pt x="135" y="120"/>
                      <a:pt x="135" y="120"/>
                      <a:pt x="135" y="120"/>
                    </a:cubicBezTo>
                    <a:cubicBezTo>
                      <a:pt x="129" y="118"/>
                      <a:pt x="123" y="120"/>
                      <a:pt x="121" y="125"/>
                    </a:cubicBezTo>
                    <a:cubicBezTo>
                      <a:pt x="118" y="131"/>
                      <a:pt x="120" y="137"/>
                      <a:pt x="126" y="139"/>
                    </a:cubicBezTo>
                    <a:cubicBezTo>
                      <a:pt x="139" y="145"/>
                      <a:pt x="139" y="145"/>
                      <a:pt x="139" y="145"/>
                    </a:cubicBezTo>
                    <a:cubicBezTo>
                      <a:pt x="139" y="160"/>
                      <a:pt x="139" y="160"/>
                      <a:pt x="139" y="160"/>
                    </a:cubicBezTo>
                    <a:cubicBezTo>
                      <a:pt x="139" y="166"/>
                      <a:pt x="144" y="171"/>
                      <a:pt x="150" y="171"/>
                    </a:cubicBezTo>
                    <a:cubicBezTo>
                      <a:pt x="156" y="171"/>
                      <a:pt x="160" y="166"/>
                      <a:pt x="160" y="160"/>
                    </a:cubicBezTo>
                    <a:cubicBezTo>
                      <a:pt x="160" y="145"/>
                      <a:pt x="160" y="145"/>
                      <a:pt x="160" y="145"/>
                    </a:cubicBezTo>
                    <a:cubicBezTo>
                      <a:pt x="174" y="139"/>
                      <a:pt x="174" y="139"/>
                      <a:pt x="174" y="139"/>
                    </a:cubicBezTo>
                    <a:cubicBezTo>
                      <a:pt x="179" y="137"/>
                      <a:pt x="181" y="131"/>
                      <a:pt x="179" y="125"/>
                    </a:cubicBezTo>
                    <a:cubicBezTo>
                      <a:pt x="176" y="120"/>
                      <a:pt x="170" y="118"/>
                      <a:pt x="165" y="120"/>
                    </a:cubicBezTo>
                    <a:close/>
                    <a:moveTo>
                      <a:pt x="231" y="89"/>
                    </a:moveTo>
                    <a:cubicBezTo>
                      <a:pt x="198" y="105"/>
                      <a:pt x="198" y="105"/>
                      <a:pt x="198" y="105"/>
                    </a:cubicBezTo>
                    <a:cubicBezTo>
                      <a:pt x="193" y="107"/>
                      <a:pt x="190" y="113"/>
                      <a:pt x="193" y="119"/>
                    </a:cubicBezTo>
                    <a:cubicBezTo>
                      <a:pt x="194" y="123"/>
                      <a:pt x="198" y="125"/>
                      <a:pt x="202" y="125"/>
                    </a:cubicBezTo>
                    <a:cubicBezTo>
                      <a:pt x="204" y="125"/>
                      <a:pt x="205" y="125"/>
                      <a:pt x="207" y="124"/>
                    </a:cubicBezTo>
                    <a:cubicBezTo>
                      <a:pt x="240" y="109"/>
                      <a:pt x="240" y="109"/>
                      <a:pt x="240" y="109"/>
                    </a:cubicBezTo>
                    <a:cubicBezTo>
                      <a:pt x="245" y="106"/>
                      <a:pt x="248" y="100"/>
                      <a:pt x="245" y="95"/>
                    </a:cubicBezTo>
                    <a:cubicBezTo>
                      <a:pt x="243" y="89"/>
                      <a:pt x="237" y="87"/>
                      <a:pt x="231" y="89"/>
                    </a:cubicBezTo>
                    <a:close/>
                    <a:moveTo>
                      <a:pt x="293" y="65"/>
                    </a:moveTo>
                    <a:cubicBezTo>
                      <a:pt x="273" y="56"/>
                      <a:pt x="273" y="56"/>
                      <a:pt x="273" y="56"/>
                    </a:cubicBezTo>
                    <a:cubicBezTo>
                      <a:pt x="268" y="54"/>
                      <a:pt x="262" y="56"/>
                      <a:pt x="259" y="61"/>
                    </a:cubicBezTo>
                    <a:cubicBezTo>
                      <a:pt x="257" y="66"/>
                      <a:pt x="259" y="72"/>
                      <a:pt x="263" y="75"/>
                    </a:cubicBezTo>
                    <a:cubicBezTo>
                      <a:pt x="259" y="78"/>
                      <a:pt x="257" y="83"/>
                      <a:pt x="259" y="88"/>
                    </a:cubicBezTo>
                    <a:cubicBezTo>
                      <a:pt x="261" y="92"/>
                      <a:pt x="265" y="94"/>
                      <a:pt x="269" y="94"/>
                    </a:cubicBezTo>
                    <a:cubicBezTo>
                      <a:pt x="270" y="94"/>
                      <a:pt x="272" y="94"/>
                      <a:pt x="273" y="93"/>
                    </a:cubicBezTo>
                    <a:cubicBezTo>
                      <a:pt x="278" y="91"/>
                      <a:pt x="278" y="91"/>
                      <a:pt x="278" y="91"/>
                    </a:cubicBezTo>
                    <a:cubicBezTo>
                      <a:pt x="278" y="96"/>
                      <a:pt x="278" y="96"/>
                      <a:pt x="278" y="96"/>
                    </a:cubicBezTo>
                    <a:cubicBezTo>
                      <a:pt x="278" y="102"/>
                      <a:pt x="282" y="107"/>
                      <a:pt x="288" y="107"/>
                    </a:cubicBezTo>
                    <a:cubicBezTo>
                      <a:pt x="294" y="107"/>
                      <a:pt x="299" y="102"/>
                      <a:pt x="299" y="96"/>
                    </a:cubicBezTo>
                    <a:cubicBezTo>
                      <a:pt x="299" y="75"/>
                      <a:pt x="299" y="75"/>
                      <a:pt x="299" y="75"/>
                    </a:cubicBezTo>
                    <a:cubicBezTo>
                      <a:pt x="299" y="71"/>
                      <a:pt x="297" y="67"/>
                      <a:pt x="293" y="65"/>
                    </a:cubicBezTo>
                    <a:close/>
                    <a:moveTo>
                      <a:pt x="240" y="41"/>
                    </a:moveTo>
                    <a:cubicBezTo>
                      <a:pt x="207" y="25"/>
                      <a:pt x="207" y="25"/>
                      <a:pt x="207" y="25"/>
                    </a:cubicBezTo>
                    <a:cubicBezTo>
                      <a:pt x="201" y="23"/>
                      <a:pt x="195" y="25"/>
                      <a:pt x="193" y="31"/>
                    </a:cubicBezTo>
                    <a:cubicBezTo>
                      <a:pt x="190" y="36"/>
                      <a:pt x="193" y="42"/>
                      <a:pt x="198" y="45"/>
                    </a:cubicBezTo>
                    <a:cubicBezTo>
                      <a:pt x="231" y="60"/>
                      <a:pt x="231" y="60"/>
                      <a:pt x="231" y="60"/>
                    </a:cubicBezTo>
                    <a:cubicBezTo>
                      <a:pt x="233" y="61"/>
                      <a:pt x="234" y="61"/>
                      <a:pt x="236" y="61"/>
                    </a:cubicBezTo>
                    <a:cubicBezTo>
                      <a:pt x="240" y="61"/>
                      <a:pt x="244" y="59"/>
                      <a:pt x="245" y="55"/>
                    </a:cubicBezTo>
                    <a:cubicBezTo>
                      <a:pt x="248" y="49"/>
                      <a:pt x="245" y="43"/>
                      <a:pt x="240" y="41"/>
                    </a:cubicBezTo>
                    <a:close/>
                    <a:moveTo>
                      <a:pt x="11" y="171"/>
                    </a:moveTo>
                    <a:cubicBezTo>
                      <a:pt x="17" y="171"/>
                      <a:pt x="22" y="166"/>
                      <a:pt x="22" y="160"/>
                    </a:cubicBezTo>
                    <a:cubicBezTo>
                      <a:pt x="22" y="128"/>
                      <a:pt x="22" y="128"/>
                      <a:pt x="22" y="128"/>
                    </a:cubicBezTo>
                    <a:cubicBezTo>
                      <a:pt x="22" y="122"/>
                      <a:pt x="17" y="117"/>
                      <a:pt x="11" y="117"/>
                    </a:cubicBezTo>
                    <a:cubicBezTo>
                      <a:pt x="5" y="117"/>
                      <a:pt x="0" y="122"/>
                      <a:pt x="0" y="128"/>
                    </a:cubicBezTo>
                    <a:cubicBezTo>
                      <a:pt x="0" y="160"/>
                      <a:pt x="0" y="160"/>
                      <a:pt x="0" y="160"/>
                    </a:cubicBezTo>
                    <a:cubicBezTo>
                      <a:pt x="0" y="166"/>
                      <a:pt x="5" y="171"/>
                      <a:pt x="11" y="171"/>
                    </a:cubicBezTo>
                    <a:close/>
                    <a:moveTo>
                      <a:pt x="35" y="214"/>
                    </a:moveTo>
                    <a:cubicBezTo>
                      <a:pt x="22" y="207"/>
                      <a:pt x="22" y="207"/>
                      <a:pt x="22" y="207"/>
                    </a:cubicBezTo>
                    <a:cubicBezTo>
                      <a:pt x="22" y="192"/>
                      <a:pt x="22" y="192"/>
                      <a:pt x="22" y="192"/>
                    </a:cubicBezTo>
                    <a:cubicBezTo>
                      <a:pt x="22" y="186"/>
                      <a:pt x="17" y="181"/>
                      <a:pt x="11" y="181"/>
                    </a:cubicBezTo>
                    <a:cubicBezTo>
                      <a:pt x="5" y="181"/>
                      <a:pt x="0" y="186"/>
                      <a:pt x="0" y="192"/>
                    </a:cubicBezTo>
                    <a:cubicBezTo>
                      <a:pt x="0" y="213"/>
                      <a:pt x="0" y="213"/>
                      <a:pt x="0" y="213"/>
                    </a:cubicBezTo>
                    <a:cubicBezTo>
                      <a:pt x="0" y="217"/>
                      <a:pt x="2" y="221"/>
                      <a:pt x="6" y="223"/>
                    </a:cubicBezTo>
                    <a:cubicBezTo>
                      <a:pt x="25" y="233"/>
                      <a:pt x="25" y="233"/>
                      <a:pt x="25" y="233"/>
                    </a:cubicBezTo>
                    <a:cubicBezTo>
                      <a:pt x="26" y="234"/>
                      <a:pt x="28" y="234"/>
                      <a:pt x="30" y="234"/>
                    </a:cubicBezTo>
                    <a:cubicBezTo>
                      <a:pt x="34" y="234"/>
                      <a:pt x="37" y="232"/>
                      <a:pt x="39" y="229"/>
                    </a:cubicBezTo>
                    <a:cubicBezTo>
                      <a:pt x="42" y="223"/>
                      <a:pt x="40" y="217"/>
                      <a:pt x="35" y="214"/>
                    </a:cubicBezTo>
                    <a:close/>
                    <a:moveTo>
                      <a:pt x="102" y="250"/>
                    </a:moveTo>
                    <a:cubicBezTo>
                      <a:pt x="69" y="232"/>
                      <a:pt x="69" y="232"/>
                      <a:pt x="69" y="232"/>
                    </a:cubicBezTo>
                    <a:cubicBezTo>
                      <a:pt x="63" y="229"/>
                      <a:pt x="57" y="231"/>
                      <a:pt x="54" y="237"/>
                    </a:cubicBezTo>
                    <a:cubicBezTo>
                      <a:pt x="51" y="242"/>
                      <a:pt x="53" y="248"/>
                      <a:pt x="58" y="251"/>
                    </a:cubicBezTo>
                    <a:cubicBezTo>
                      <a:pt x="92" y="269"/>
                      <a:pt x="92" y="269"/>
                      <a:pt x="92" y="269"/>
                    </a:cubicBezTo>
                    <a:cubicBezTo>
                      <a:pt x="94" y="270"/>
                      <a:pt x="95" y="270"/>
                      <a:pt x="97" y="270"/>
                    </a:cubicBezTo>
                    <a:cubicBezTo>
                      <a:pt x="101" y="270"/>
                      <a:pt x="105" y="268"/>
                      <a:pt x="107" y="265"/>
                    </a:cubicBezTo>
                    <a:cubicBezTo>
                      <a:pt x="109" y="260"/>
                      <a:pt x="107" y="253"/>
                      <a:pt x="102" y="250"/>
                    </a:cubicBezTo>
                    <a:close/>
                    <a:moveTo>
                      <a:pt x="150" y="245"/>
                    </a:moveTo>
                    <a:cubicBezTo>
                      <a:pt x="156" y="245"/>
                      <a:pt x="160" y="241"/>
                      <a:pt x="160" y="235"/>
                    </a:cubicBezTo>
                    <a:cubicBezTo>
                      <a:pt x="160" y="203"/>
                      <a:pt x="160" y="203"/>
                      <a:pt x="160" y="203"/>
                    </a:cubicBezTo>
                    <a:cubicBezTo>
                      <a:pt x="160" y="197"/>
                      <a:pt x="156" y="192"/>
                      <a:pt x="150" y="192"/>
                    </a:cubicBezTo>
                    <a:cubicBezTo>
                      <a:pt x="144" y="192"/>
                      <a:pt x="139" y="197"/>
                      <a:pt x="139" y="203"/>
                    </a:cubicBezTo>
                    <a:cubicBezTo>
                      <a:pt x="139" y="235"/>
                      <a:pt x="139" y="235"/>
                      <a:pt x="139" y="235"/>
                    </a:cubicBezTo>
                    <a:cubicBezTo>
                      <a:pt x="139" y="241"/>
                      <a:pt x="144" y="245"/>
                      <a:pt x="150" y="245"/>
                    </a:cubicBezTo>
                    <a:close/>
                    <a:moveTo>
                      <a:pt x="165" y="269"/>
                    </a:moveTo>
                    <a:cubicBezTo>
                      <a:pt x="160" y="271"/>
                      <a:pt x="160" y="271"/>
                      <a:pt x="160" y="271"/>
                    </a:cubicBezTo>
                    <a:cubicBezTo>
                      <a:pt x="160" y="267"/>
                      <a:pt x="160" y="267"/>
                      <a:pt x="160" y="267"/>
                    </a:cubicBezTo>
                    <a:cubicBezTo>
                      <a:pt x="160" y="261"/>
                      <a:pt x="156" y="256"/>
                      <a:pt x="150" y="256"/>
                    </a:cubicBezTo>
                    <a:cubicBezTo>
                      <a:pt x="144" y="256"/>
                      <a:pt x="139" y="261"/>
                      <a:pt x="139" y="267"/>
                    </a:cubicBezTo>
                    <a:cubicBezTo>
                      <a:pt x="139" y="270"/>
                      <a:pt x="139" y="270"/>
                      <a:pt x="139" y="270"/>
                    </a:cubicBezTo>
                    <a:cubicBezTo>
                      <a:pt x="136" y="268"/>
                      <a:pt x="136" y="268"/>
                      <a:pt x="136" y="268"/>
                    </a:cubicBezTo>
                    <a:cubicBezTo>
                      <a:pt x="131" y="266"/>
                      <a:pt x="124" y="268"/>
                      <a:pt x="121" y="273"/>
                    </a:cubicBezTo>
                    <a:cubicBezTo>
                      <a:pt x="119" y="278"/>
                      <a:pt x="121" y="284"/>
                      <a:pt x="126" y="287"/>
                    </a:cubicBezTo>
                    <a:cubicBezTo>
                      <a:pt x="145" y="297"/>
                      <a:pt x="145" y="297"/>
                      <a:pt x="145" y="297"/>
                    </a:cubicBezTo>
                    <a:cubicBezTo>
                      <a:pt x="146" y="298"/>
                      <a:pt x="148" y="299"/>
                      <a:pt x="150" y="299"/>
                    </a:cubicBezTo>
                    <a:cubicBezTo>
                      <a:pt x="151" y="299"/>
                      <a:pt x="153" y="298"/>
                      <a:pt x="154" y="298"/>
                    </a:cubicBezTo>
                    <a:cubicBezTo>
                      <a:pt x="154" y="298"/>
                      <a:pt x="154" y="298"/>
                      <a:pt x="154" y="298"/>
                    </a:cubicBezTo>
                    <a:cubicBezTo>
                      <a:pt x="174" y="289"/>
                      <a:pt x="174" y="289"/>
                      <a:pt x="174" y="289"/>
                    </a:cubicBezTo>
                    <a:cubicBezTo>
                      <a:pt x="179" y="286"/>
                      <a:pt x="181" y="280"/>
                      <a:pt x="179" y="275"/>
                    </a:cubicBezTo>
                    <a:cubicBezTo>
                      <a:pt x="176" y="269"/>
                      <a:pt x="170" y="267"/>
                      <a:pt x="165" y="269"/>
                    </a:cubicBezTo>
                    <a:close/>
                    <a:moveTo>
                      <a:pt x="231" y="239"/>
                    </a:moveTo>
                    <a:cubicBezTo>
                      <a:pt x="198" y="254"/>
                      <a:pt x="198" y="254"/>
                      <a:pt x="198" y="254"/>
                    </a:cubicBezTo>
                    <a:cubicBezTo>
                      <a:pt x="193" y="256"/>
                      <a:pt x="190" y="263"/>
                      <a:pt x="193" y="268"/>
                    </a:cubicBezTo>
                    <a:cubicBezTo>
                      <a:pt x="194" y="272"/>
                      <a:pt x="198" y="274"/>
                      <a:pt x="202" y="274"/>
                    </a:cubicBezTo>
                    <a:cubicBezTo>
                      <a:pt x="204" y="274"/>
                      <a:pt x="205" y="274"/>
                      <a:pt x="207" y="273"/>
                    </a:cubicBezTo>
                    <a:cubicBezTo>
                      <a:pt x="240" y="258"/>
                      <a:pt x="240" y="258"/>
                      <a:pt x="240" y="258"/>
                    </a:cubicBezTo>
                    <a:cubicBezTo>
                      <a:pt x="245" y="256"/>
                      <a:pt x="248" y="249"/>
                      <a:pt x="245" y="244"/>
                    </a:cubicBezTo>
                    <a:cubicBezTo>
                      <a:pt x="243" y="238"/>
                      <a:pt x="237" y="236"/>
                      <a:pt x="231" y="239"/>
                    </a:cubicBezTo>
                    <a:close/>
                    <a:moveTo>
                      <a:pt x="288" y="192"/>
                    </a:moveTo>
                    <a:cubicBezTo>
                      <a:pt x="282" y="192"/>
                      <a:pt x="278" y="197"/>
                      <a:pt x="278" y="203"/>
                    </a:cubicBezTo>
                    <a:cubicBezTo>
                      <a:pt x="278" y="217"/>
                      <a:pt x="278" y="217"/>
                      <a:pt x="278" y="217"/>
                    </a:cubicBezTo>
                    <a:cubicBezTo>
                      <a:pt x="264" y="223"/>
                      <a:pt x="264" y="223"/>
                      <a:pt x="264" y="223"/>
                    </a:cubicBezTo>
                    <a:cubicBezTo>
                      <a:pt x="259" y="226"/>
                      <a:pt x="257" y="232"/>
                      <a:pt x="259" y="237"/>
                    </a:cubicBezTo>
                    <a:cubicBezTo>
                      <a:pt x="261" y="241"/>
                      <a:pt x="265" y="244"/>
                      <a:pt x="269" y="244"/>
                    </a:cubicBezTo>
                    <a:cubicBezTo>
                      <a:pt x="270" y="244"/>
                      <a:pt x="272" y="243"/>
                      <a:pt x="273" y="243"/>
                    </a:cubicBezTo>
                    <a:cubicBezTo>
                      <a:pt x="293" y="234"/>
                      <a:pt x="293" y="234"/>
                      <a:pt x="293" y="234"/>
                    </a:cubicBezTo>
                    <a:cubicBezTo>
                      <a:pt x="297" y="232"/>
                      <a:pt x="299" y="228"/>
                      <a:pt x="299" y="224"/>
                    </a:cubicBezTo>
                    <a:cubicBezTo>
                      <a:pt x="299" y="203"/>
                      <a:pt x="299" y="203"/>
                      <a:pt x="299" y="203"/>
                    </a:cubicBezTo>
                    <a:cubicBezTo>
                      <a:pt x="299" y="197"/>
                      <a:pt x="294" y="192"/>
                      <a:pt x="288" y="192"/>
                    </a:cubicBezTo>
                    <a:close/>
                    <a:moveTo>
                      <a:pt x="288" y="128"/>
                    </a:moveTo>
                    <a:cubicBezTo>
                      <a:pt x="282" y="128"/>
                      <a:pt x="278" y="133"/>
                      <a:pt x="278" y="139"/>
                    </a:cubicBezTo>
                    <a:cubicBezTo>
                      <a:pt x="278" y="171"/>
                      <a:pt x="278" y="171"/>
                      <a:pt x="278" y="171"/>
                    </a:cubicBezTo>
                    <a:cubicBezTo>
                      <a:pt x="278" y="177"/>
                      <a:pt x="282" y="181"/>
                      <a:pt x="288" y="181"/>
                    </a:cubicBezTo>
                    <a:cubicBezTo>
                      <a:pt x="294" y="181"/>
                      <a:pt x="299" y="177"/>
                      <a:pt x="299" y="171"/>
                    </a:cubicBezTo>
                    <a:cubicBezTo>
                      <a:pt x="299" y="139"/>
                      <a:pt x="299" y="139"/>
                      <a:pt x="299" y="139"/>
                    </a:cubicBezTo>
                    <a:cubicBezTo>
                      <a:pt x="299" y="133"/>
                      <a:pt x="294" y="128"/>
                      <a:pt x="288" y="128"/>
                    </a:cubicBez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cxnSp>
          <p:nvCxnSpPr>
            <p:cNvPr id="31" name="Straight Arrow Connector 30">
              <a:extLst>
                <a:ext uri="{FF2B5EF4-FFF2-40B4-BE49-F238E27FC236}">
                  <a16:creationId xmlns:a16="http://schemas.microsoft.com/office/drawing/2014/main" id="{AEC33AA2-2E74-4203-B920-F041C54A40B2}"/>
                </a:ext>
              </a:extLst>
            </p:cNvPr>
            <p:cNvCxnSpPr/>
            <p:nvPr/>
          </p:nvCxnSpPr>
          <p:spPr>
            <a:xfrm flipV="1">
              <a:off x="2895758" y="2665605"/>
              <a:ext cx="5734050" cy="2540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27090061-DA7E-4B22-B573-D17922495DE3}"/>
                </a:ext>
              </a:extLst>
            </p:cNvPr>
            <p:cNvSpPr txBox="1">
              <a:spLocks/>
            </p:cNvSpPr>
            <p:nvPr/>
          </p:nvSpPr>
          <p:spPr>
            <a:xfrm>
              <a:off x="2719776" y="2695873"/>
              <a:ext cx="6086014" cy="271098"/>
            </a:xfrm>
            <a:prstGeom prst="rect">
              <a:avLst/>
            </a:prstGeom>
          </p:spPr>
          <p:txBody>
            <a:bodyPr>
              <a:noAutofit/>
            </a:bodyPr>
            <a:lstStyle>
              <a:lvl1pPr marL="342900" indent="-342900" algn="l" rtl="0" eaLnBrk="0" fontAlgn="base" hangingPunct="0">
                <a:spcBef>
                  <a:spcPts val="2200"/>
                </a:spcBef>
                <a:spcAft>
                  <a:spcPct val="0"/>
                </a:spcAft>
                <a:buFont typeface="Arial" charset="0"/>
                <a:defRPr lang="en-US" kern="1200" dirty="0">
                  <a:solidFill>
                    <a:schemeClr val="tx2"/>
                  </a:solidFill>
                  <a:latin typeface="+mn-lt"/>
                  <a:ea typeface="+mn-ea"/>
                  <a:cs typeface="Arial" pitchFamily="34" charset="0"/>
                </a:defRPr>
              </a:lvl1pPr>
              <a:lvl2pPr marL="174625" indent="-174625" algn="l" rtl="0" eaLnBrk="0" fontAlgn="base" hangingPunct="0">
                <a:spcBef>
                  <a:spcPts val="400"/>
                </a:spcBef>
                <a:spcAft>
                  <a:spcPct val="0"/>
                </a:spcAft>
                <a:buFont typeface="Arial" charset="0"/>
                <a:buChar char="•"/>
                <a:defRPr lang="en-US" kern="1200" dirty="0">
                  <a:solidFill>
                    <a:schemeClr val="tx2"/>
                  </a:solidFill>
                  <a:latin typeface="+mn-lt"/>
                  <a:ea typeface="+mn-ea"/>
                  <a:cs typeface="Arial" pitchFamily="34" charset="0"/>
                </a:defRPr>
              </a:lvl2pPr>
              <a:lvl3pPr marL="341313" indent="-171450" algn="l" rtl="0" eaLnBrk="0" fontAlgn="base" hangingPunct="0">
                <a:spcBef>
                  <a:spcPts val="400"/>
                </a:spcBef>
                <a:spcAft>
                  <a:spcPct val="0"/>
                </a:spcAft>
                <a:buFont typeface="Arial" charset="0"/>
                <a:buChar char="–"/>
                <a:defRPr lang="en-US" sz="1600" kern="1200" dirty="0">
                  <a:solidFill>
                    <a:schemeClr val="tx2"/>
                  </a:solidFill>
                  <a:latin typeface="+mn-lt"/>
                  <a:ea typeface="+mn-ea"/>
                  <a:cs typeface="Arial" charset="0"/>
                </a:defRPr>
              </a:lvl3pPr>
              <a:lvl4pPr marL="515938" indent="-174625" algn="l" rtl="0" eaLnBrk="0" fontAlgn="base" hangingPunct="0">
                <a:spcBef>
                  <a:spcPts val="400"/>
                </a:spcBef>
                <a:spcAft>
                  <a:spcPct val="0"/>
                </a:spcAft>
                <a:buFont typeface="Arial" charset="0"/>
                <a:buChar char="•"/>
                <a:defRPr lang="en-US" sz="1600" kern="1200" dirty="0">
                  <a:solidFill>
                    <a:schemeClr val="tx2"/>
                  </a:solidFill>
                  <a:latin typeface="Arial" pitchFamily="34" charset="0"/>
                  <a:ea typeface="+mn-ea"/>
                  <a:cs typeface="Arial" pitchFamily="34" charset="0"/>
                </a:defRPr>
              </a:lvl4pPr>
              <a:lvl5pPr marL="688975" indent="-173038" algn="l" rtl="0" eaLnBrk="0" fontAlgn="base" hangingPunct="0">
                <a:spcBef>
                  <a:spcPts val="400"/>
                </a:spcBef>
                <a:spcAft>
                  <a:spcPct val="0"/>
                </a:spcAft>
                <a:buFont typeface="Arial" charset="0"/>
                <a:buChar char="–"/>
                <a:defRPr lang="en-US" sz="1600" kern="1200" dirty="0">
                  <a:solidFill>
                    <a:schemeClr val="tx2"/>
                  </a:solidFill>
                  <a:latin typeface="Arial" pitchFamily="34" charset="0"/>
                  <a:ea typeface="+mn-ea"/>
                  <a:cs typeface="Arial" pitchFamily="34" charset="0"/>
                </a:defRPr>
              </a:lvl5pPr>
              <a:lvl6pPr marL="666750" marR="0" indent="-166688" algn="l" defTabSz="914400" rtl="0" eaLnBrk="1" fontAlgn="base" latinLnBrk="0" hangingPunct="1">
                <a:lnSpc>
                  <a:spcPct val="100000"/>
                </a:lnSpc>
                <a:spcBef>
                  <a:spcPts val="400"/>
                </a:spcBef>
                <a:spcAft>
                  <a:spcPct val="0"/>
                </a:spcAft>
                <a:buFont typeface="Arial" pitchFamily="34" charset="0"/>
                <a:buChar char="–"/>
                <a:tabLst/>
                <a:defRPr kumimoji="0" lang="en-US" sz="1000" b="0" i="0" u="none" strike="noStrike" kern="1200" cap="none" normalizeH="0" baseline="0" dirty="0" smtClean="0">
                  <a:ln>
                    <a:noFill/>
                  </a:ln>
                  <a:solidFill>
                    <a:schemeClr val="tx2"/>
                  </a:solidFill>
                  <a:effectLst/>
                  <a:latin typeface="Arial" pitchFamily="34" charset="0"/>
                  <a:ea typeface="+mn-ea"/>
                  <a:cs typeface="Arial" pitchFamily="34" charset="0"/>
                </a:defRPr>
              </a:lvl6pPr>
              <a:lvl7pPr marL="1079500" indent="-184150"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7pPr>
              <a:lvl8pPr marL="1252538" indent="-173038"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8pPr>
              <a:lvl9pPr marL="1435100" indent="-182563"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9pPr>
            </a:lstStyle>
            <a:p>
              <a:pPr marL="0" marR="0" lvl="1" indent="0" algn="ctr" defTabSz="914400" rtl="0" eaLnBrk="0" fontAlgn="base" latinLnBrk="0" hangingPunct="0">
                <a:lnSpc>
                  <a:spcPct val="100000"/>
                </a:lnSpc>
                <a:spcBef>
                  <a:spcPts val="0"/>
                </a:spcBef>
                <a:spcAft>
                  <a:spcPct val="0"/>
                </a:spcAft>
                <a:buClrTx/>
                <a:buSzTx/>
                <a:buFont typeface="Arial" charset="0"/>
                <a:buNone/>
                <a:tabLst/>
                <a:defRPr/>
              </a:pPr>
              <a:r>
                <a:rPr kumimoji="0" lang="en-US" sz="1200" b="0" i="1" u="none" strike="noStrike" kern="1200" cap="none" spc="0" normalizeH="0" baseline="0" noProof="0" dirty="0">
                  <a:ln>
                    <a:noFill/>
                  </a:ln>
                  <a:solidFill>
                    <a:srgbClr val="5A5A5A">
                      <a:lumMod val="75000"/>
                    </a:srgbClr>
                  </a:solidFill>
                  <a:effectLst/>
                  <a:uLnTx/>
                  <a:uFillTx/>
                  <a:latin typeface="Open Sans"/>
                  <a:ea typeface="Segoe UI" panose="020B0502040204020203" pitchFamily="34" charset="0"/>
                  <a:cs typeface="Segoe UI" panose="020B0502040204020203" pitchFamily="34" charset="0"/>
                </a:rPr>
                <a:t>Increasing opportunity for annuity revenue &amp; increasing annuity obligations</a:t>
              </a:r>
            </a:p>
          </p:txBody>
        </p:sp>
        <p:sp>
          <p:nvSpPr>
            <p:cNvPr id="33" name="Content Placeholder 2">
              <a:extLst>
                <a:ext uri="{FF2B5EF4-FFF2-40B4-BE49-F238E27FC236}">
                  <a16:creationId xmlns:a16="http://schemas.microsoft.com/office/drawing/2014/main" id="{622E684D-7B44-4635-A660-99EC52B5319D}"/>
                </a:ext>
              </a:extLst>
            </p:cNvPr>
            <p:cNvSpPr txBox="1">
              <a:spLocks/>
            </p:cNvSpPr>
            <p:nvPr/>
          </p:nvSpPr>
          <p:spPr>
            <a:xfrm>
              <a:off x="4055007" y="6009313"/>
              <a:ext cx="3556138" cy="271098"/>
            </a:xfrm>
            <a:prstGeom prst="rect">
              <a:avLst/>
            </a:prstGeom>
          </p:spPr>
          <p:txBody>
            <a:bodyPr>
              <a:noAutofit/>
            </a:bodyPr>
            <a:lstStyle>
              <a:lvl1pPr marL="342900" indent="-342900" algn="l" rtl="0" eaLnBrk="0" fontAlgn="base" hangingPunct="0">
                <a:spcBef>
                  <a:spcPts val="2200"/>
                </a:spcBef>
                <a:spcAft>
                  <a:spcPct val="0"/>
                </a:spcAft>
                <a:buFont typeface="Arial" charset="0"/>
                <a:defRPr lang="en-US" kern="1200" dirty="0">
                  <a:solidFill>
                    <a:schemeClr val="tx2"/>
                  </a:solidFill>
                  <a:latin typeface="+mn-lt"/>
                  <a:ea typeface="+mn-ea"/>
                  <a:cs typeface="Arial" pitchFamily="34" charset="0"/>
                </a:defRPr>
              </a:lvl1pPr>
              <a:lvl2pPr marL="174625" indent="-174625" algn="l" rtl="0" eaLnBrk="0" fontAlgn="base" hangingPunct="0">
                <a:spcBef>
                  <a:spcPts val="400"/>
                </a:spcBef>
                <a:spcAft>
                  <a:spcPct val="0"/>
                </a:spcAft>
                <a:buFont typeface="Arial" charset="0"/>
                <a:buChar char="•"/>
                <a:defRPr lang="en-US" kern="1200" dirty="0">
                  <a:solidFill>
                    <a:schemeClr val="tx2"/>
                  </a:solidFill>
                  <a:latin typeface="+mn-lt"/>
                  <a:ea typeface="+mn-ea"/>
                  <a:cs typeface="Arial" pitchFamily="34" charset="0"/>
                </a:defRPr>
              </a:lvl2pPr>
              <a:lvl3pPr marL="341313" indent="-171450" algn="l" rtl="0" eaLnBrk="0" fontAlgn="base" hangingPunct="0">
                <a:spcBef>
                  <a:spcPts val="400"/>
                </a:spcBef>
                <a:spcAft>
                  <a:spcPct val="0"/>
                </a:spcAft>
                <a:buFont typeface="Arial" charset="0"/>
                <a:buChar char="–"/>
                <a:defRPr lang="en-US" sz="1600" kern="1200" dirty="0">
                  <a:solidFill>
                    <a:schemeClr val="tx2"/>
                  </a:solidFill>
                  <a:latin typeface="+mn-lt"/>
                  <a:ea typeface="+mn-ea"/>
                  <a:cs typeface="Arial" charset="0"/>
                </a:defRPr>
              </a:lvl3pPr>
              <a:lvl4pPr marL="515938" indent="-174625" algn="l" rtl="0" eaLnBrk="0" fontAlgn="base" hangingPunct="0">
                <a:spcBef>
                  <a:spcPts val="400"/>
                </a:spcBef>
                <a:spcAft>
                  <a:spcPct val="0"/>
                </a:spcAft>
                <a:buFont typeface="Arial" charset="0"/>
                <a:buChar char="•"/>
                <a:defRPr lang="en-US" sz="1600" kern="1200" dirty="0">
                  <a:solidFill>
                    <a:schemeClr val="tx2"/>
                  </a:solidFill>
                  <a:latin typeface="Arial" pitchFamily="34" charset="0"/>
                  <a:ea typeface="+mn-ea"/>
                  <a:cs typeface="Arial" pitchFamily="34" charset="0"/>
                </a:defRPr>
              </a:lvl4pPr>
              <a:lvl5pPr marL="688975" indent="-173038" algn="l" rtl="0" eaLnBrk="0" fontAlgn="base" hangingPunct="0">
                <a:spcBef>
                  <a:spcPts val="400"/>
                </a:spcBef>
                <a:spcAft>
                  <a:spcPct val="0"/>
                </a:spcAft>
                <a:buFont typeface="Arial" charset="0"/>
                <a:buChar char="–"/>
                <a:defRPr lang="en-US" sz="1600" kern="1200" dirty="0">
                  <a:solidFill>
                    <a:schemeClr val="tx2"/>
                  </a:solidFill>
                  <a:latin typeface="Arial" pitchFamily="34" charset="0"/>
                  <a:ea typeface="+mn-ea"/>
                  <a:cs typeface="Arial" pitchFamily="34" charset="0"/>
                </a:defRPr>
              </a:lvl5pPr>
              <a:lvl6pPr marL="666750" marR="0" indent="-166688" algn="l" defTabSz="914400" rtl="0" eaLnBrk="1" fontAlgn="base" latinLnBrk="0" hangingPunct="1">
                <a:lnSpc>
                  <a:spcPct val="100000"/>
                </a:lnSpc>
                <a:spcBef>
                  <a:spcPts val="400"/>
                </a:spcBef>
                <a:spcAft>
                  <a:spcPct val="0"/>
                </a:spcAft>
                <a:buFont typeface="Arial" pitchFamily="34" charset="0"/>
                <a:buChar char="–"/>
                <a:tabLst/>
                <a:defRPr kumimoji="0" lang="en-US" sz="1000" b="0" i="0" u="none" strike="noStrike" kern="1200" cap="none" normalizeH="0" baseline="0" dirty="0" smtClean="0">
                  <a:ln>
                    <a:noFill/>
                  </a:ln>
                  <a:solidFill>
                    <a:schemeClr val="tx2"/>
                  </a:solidFill>
                  <a:effectLst/>
                  <a:latin typeface="Arial" pitchFamily="34" charset="0"/>
                  <a:ea typeface="+mn-ea"/>
                  <a:cs typeface="Arial" pitchFamily="34" charset="0"/>
                </a:defRPr>
              </a:lvl6pPr>
              <a:lvl7pPr marL="1079500" indent="-184150"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7pPr>
              <a:lvl8pPr marL="1252538" indent="-173038"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8pPr>
              <a:lvl9pPr marL="1435100" indent="-182563"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9pPr>
            </a:lstStyle>
            <a:p>
              <a:pPr marL="0" marR="0" lvl="1" indent="0" algn="ctr" defTabSz="914400" rtl="0" eaLnBrk="0" fontAlgn="base" latinLnBrk="0" hangingPunct="0">
                <a:lnSpc>
                  <a:spcPct val="100000"/>
                </a:lnSpc>
                <a:spcBef>
                  <a:spcPts val="0"/>
                </a:spcBef>
                <a:spcAft>
                  <a:spcPct val="0"/>
                </a:spcAft>
                <a:buClrTx/>
                <a:buSzTx/>
                <a:buFont typeface="Arial" charset="0"/>
                <a:buNone/>
                <a:tabLst/>
                <a:defRPr/>
              </a:pPr>
              <a:r>
                <a:rPr kumimoji="0" lang="en-US" sz="1200" b="0" i="1" u="none" strike="noStrike" kern="1200" cap="none" spc="0" normalizeH="0" baseline="0" noProof="0" dirty="0">
                  <a:ln>
                    <a:noFill/>
                  </a:ln>
                  <a:solidFill>
                    <a:srgbClr val="000000"/>
                  </a:solidFill>
                  <a:effectLst/>
                  <a:uLnTx/>
                  <a:uFillTx/>
                  <a:latin typeface="Open Sans"/>
                  <a:ea typeface="Segoe UI" panose="020B0502040204020203" pitchFamily="34" charset="0"/>
                  <a:cs typeface="Segoe UI" panose="020B0502040204020203" pitchFamily="34" charset="0"/>
                </a:rPr>
                <a:t>Requires specific business and legal considerations to transition into “productization”</a:t>
              </a:r>
            </a:p>
          </p:txBody>
        </p:sp>
      </p:grpSp>
      <p:cxnSp>
        <p:nvCxnSpPr>
          <p:cNvPr id="43" name="Straight Connector 42">
            <a:extLst>
              <a:ext uri="{FF2B5EF4-FFF2-40B4-BE49-F238E27FC236}">
                <a16:creationId xmlns:a16="http://schemas.microsoft.com/office/drawing/2014/main" id="{2E302520-3051-478C-B6D7-8597CA2F6FB9}"/>
              </a:ext>
            </a:extLst>
          </p:cNvPr>
          <p:cNvCxnSpPr>
            <a:cxnSpLocks/>
          </p:cNvCxnSpPr>
          <p:nvPr/>
        </p:nvCxnSpPr>
        <p:spPr>
          <a:xfrm>
            <a:off x="5869582" y="3136326"/>
            <a:ext cx="0" cy="2563552"/>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4" name="Title 3">
            <a:extLst>
              <a:ext uri="{FF2B5EF4-FFF2-40B4-BE49-F238E27FC236}">
                <a16:creationId xmlns:a16="http://schemas.microsoft.com/office/drawing/2014/main" id="{E6E10E36-72B3-4A5A-9FCC-E01E70BBB6FD}"/>
              </a:ext>
            </a:extLst>
          </p:cNvPr>
          <p:cNvSpPr txBox="1">
            <a:spLocks/>
          </p:cNvSpPr>
          <p:nvPr/>
        </p:nvSpPr>
        <p:spPr>
          <a:xfrm>
            <a:off x="914400" y="750340"/>
            <a:ext cx="11126060" cy="1099432"/>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a:lnSpc>
                <a:spcPct val="100000"/>
              </a:lnSpc>
            </a:pPr>
            <a:endParaRPr lang="en-US" sz="2000" dirty="0">
              <a:latin typeface="+mn-lt"/>
              <a:ea typeface="Open Sans Semibold" panose="020B0606030504020204" pitchFamily="34" charset="0"/>
              <a:cs typeface="Open Sans Semibold" panose="020B0606030504020204" pitchFamily="34" charset="0"/>
            </a:endParaRPr>
          </a:p>
        </p:txBody>
      </p:sp>
      <p:sp>
        <p:nvSpPr>
          <p:cNvPr id="45" name="Isosceles Triangle 44">
            <a:extLst>
              <a:ext uri="{FF2B5EF4-FFF2-40B4-BE49-F238E27FC236}">
                <a16:creationId xmlns:a16="http://schemas.microsoft.com/office/drawing/2014/main" id="{6E6D2A9A-6B9B-4563-8F7B-9E14B3724317}"/>
              </a:ext>
            </a:extLst>
          </p:cNvPr>
          <p:cNvSpPr/>
          <p:nvPr/>
        </p:nvSpPr>
        <p:spPr>
          <a:xfrm>
            <a:off x="5745742" y="3118100"/>
            <a:ext cx="245617" cy="162836"/>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Tree>
    <p:extLst>
      <p:ext uri="{BB962C8B-B14F-4D97-AF65-F5344CB8AC3E}">
        <p14:creationId xmlns:p14="http://schemas.microsoft.com/office/powerpoint/2010/main" val="2368510960"/>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a:extLst>
              <a:ext uri="{FF2B5EF4-FFF2-40B4-BE49-F238E27FC236}">
                <a16:creationId xmlns:a16="http://schemas.microsoft.com/office/drawing/2014/main" id="{75F6BBC1-8827-43CE-9A75-39E7F8D6C8D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588" name="think-cell Slide" r:id="rId6" imgW="395" imgH="396" progId="TCLayout.ActiveDocument.1">
                  <p:embed/>
                </p:oleObj>
              </mc:Choice>
              <mc:Fallback>
                <p:oleObj name="think-cell Slide" r:id="rId6" imgW="395" imgH="396" progId="TCLayout.ActiveDocument.1">
                  <p:embed/>
                  <p:pic>
                    <p:nvPicPr>
                      <p:cNvPr id="37" name="Object 36" hidden="1">
                        <a:extLst>
                          <a:ext uri="{FF2B5EF4-FFF2-40B4-BE49-F238E27FC236}">
                            <a16:creationId xmlns:a16="http://schemas.microsoft.com/office/drawing/2014/main" id="{75F6BBC1-8827-43CE-9A75-39E7F8D6C8D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Rectangle 35" hidden="1">
            <a:extLst>
              <a:ext uri="{FF2B5EF4-FFF2-40B4-BE49-F238E27FC236}">
                <a16:creationId xmlns:a16="http://schemas.microsoft.com/office/drawing/2014/main" id="{6568C4C8-A8A6-448E-8425-73217980697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D343E593-EB97-4F7F-8D85-91658C11AC3E}"/>
              </a:ext>
            </a:extLst>
          </p:cNvPr>
          <p:cNvSpPr>
            <a:spLocks noGrp="1"/>
          </p:cNvSpPr>
          <p:nvPr>
            <p:ph type="title"/>
          </p:nvPr>
        </p:nvSpPr>
        <p:spPr/>
        <p:txBody>
          <a:bodyPr/>
          <a:lstStyle/>
          <a:p>
            <a:r>
              <a:rPr lang="en-US" dirty="0"/>
              <a:t>Activate consumer insights through the journey</a:t>
            </a:r>
          </a:p>
        </p:txBody>
      </p:sp>
      <p:sp>
        <p:nvSpPr>
          <p:cNvPr id="3" name="Text Placeholder 2">
            <a:extLst>
              <a:ext uri="{FF2B5EF4-FFF2-40B4-BE49-F238E27FC236}">
                <a16:creationId xmlns:a16="http://schemas.microsoft.com/office/drawing/2014/main" id="{A43B4497-32B9-444D-AD5D-B8A93861B756}"/>
              </a:ext>
            </a:extLst>
          </p:cNvPr>
          <p:cNvSpPr>
            <a:spLocks noGrp="1"/>
          </p:cNvSpPr>
          <p:nvPr>
            <p:ph type="body" sz="quarter" idx="14"/>
          </p:nvPr>
        </p:nvSpPr>
        <p:spPr>
          <a:xfrm>
            <a:off x="914721" y="1353312"/>
            <a:ext cx="10362880" cy="475488"/>
          </a:xfrm>
        </p:spPr>
        <p:txBody>
          <a:bodyPr/>
          <a:lstStyle/>
          <a:p>
            <a:r>
              <a:rPr lang="en-US" dirty="0"/>
              <a:t>Subtitle</a:t>
            </a:r>
          </a:p>
        </p:txBody>
      </p:sp>
      <p:sp>
        <p:nvSpPr>
          <p:cNvPr id="4" name="Text Placeholder 3">
            <a:extLst>
              <a:ext uri="{FF2B5EF4-FFF2-40B4-BE49-F238E27FC236}">
                <a16:creationId xmlns:a16="http://schemas.microsoft.com/office/drawing/2014/main" id="{6E2A91EC-22AA-43FE-AB82-CF0D99E080F6}"/>
              </a:ext>
            </a:extLst>
          </p:cNvPr>
          <p:cNvSpPr>
            <a:spLocks noGrp="1"/>
          </p:cNvSpPr>
          <p:nvPr>
            <p:ph type="body" sz="quarter" idx="15"/>
          </p:nvPr>
        </p:nvSpPr>
        <p:spPr>
          <a:xfrm>
            <a:off x="914970" y="466343"/>
            <a:ext cx="3648151" cy="296461"/>
          </a:xfrm>
        </p:spPr>
        <p:txBody>
          <a:bodyPr/>
          <a:lstStyle/>
          <a:p>
            <a:r>
              <a:rPr lang="en-US" dirty="0"/>
              <a:t>FRAMEWORKS &amp; CONCEPT ILLUSTRATION</a:t>
            </a:r>
          </a:p>
        </p:txBody>
      </p:sp>
      <p:grpSp>
        <p:nvGrpSpPr>
          <p:cNvPr id="12" name="Group 11">
            <a:extLst>
              <a:ext uri="{FF2B5EF4-FFF2-40B4-BE49-F238E27FC236}">
                <a16:creationId xmlns:a16="http://schemas.microsoft.com/office/drawing/2014/main" id="{68BACF90-D138-43FE-AE22-62AFBC1BB044}"/>
              </a:ext>
            </a:extLst>
          </p:cNvPr>
          <p:cNvGrpSpPr/>
          <p:nvPr/>
        </p:nvGrpSpPr>
        <p:grpSpPr>
          <a:xfrm>
            <a:off x="914399" y="1741907"/>
            <a:ext cx="4440001" cy="4611638"/>
            <a:chOff x="567554" y="1718528"/>
            <a:chExt cx="4440001" cy="4611638"/>
          </a:xfrm>
        </p:grpSpPr>
        <p:grpSp>
          <p:nvGrpSpPr>
            <p:cNvPr id="13" name="Group 12">
              <a:extLst>
                <a:ext uri="{FF2B5EF4-FFF2-40B4-BE49-F238E27FC236}">
                  <a16:creationId xmlns:a16="http://schemas.microsoft.com/office/drawing/2014/main" id="{D18859EC-2EE7-4820-9BCE-2642E864033B}"/>
                </a:ext>
              </a:extLst>
            </p:cNvPr>
            <p:cNvGrpSpPr/>
            <p:nvPr/>
          </p:nvGrpSpPr>
          <p:grpSpPr>
            <a:xfrm>
              <a:off x="567554" y="1718528"/>
              <a:ext cx="4440001" cy="4611638"/>
              <a:chOff x="567554" y="1869449"/>
              <a:chExt cx="4440001" cy="4611638"/>
            </a:xfrm>
          </p:grpSpPr>
          <p:sp>
            <p:nvSpPr>
              <p:cNvPr id="18" name="Freeform 12">
                <a:extLst>
                  <a:ext uri="{FF2B5EF4-FFF2-40B4-BE49-F238E27FC236}">
                    <a16:creationId xmlns:a16="http://schemas.microsoft.com/office/drawing/2014/main" id="{F3172EDC-BC4B-4952-95EF-93408A83382D}"/>
                  </a:ext>
                </a:extLst>
              </p:cNvPr>
              <p:cNvSpPr>
                <a:spLocks/>
              </p:cNvSpPr>
              <p:nvPr/>
            </p:nvSpPr>
            <p:spPr bwMode="gray">
              <a:xfrm flipH="1">
                <a:off x="591158" y="2294418"/>
                <a:ext cx="4392793" cy="1190299"/>
              </a:xfrm>
              <a:custGeom>
                <a:avLst/>
                <a:gdLst/>
                <a:ahLst/>
                <a:cxnLst>
                  <a:cxn ang="0">
                    <a:pos x="0" y="0"/>
                  </a:cxn>
                  <a:cxn ang="0">
                    <a:pos x="209" y="417"/>
                  </a:cxn>
                  <a:cxn ang="0">
                    <a:pos x="890" y="531"/>
                  </a:cxn>
                  <a:cxn ang="0">
                    <a:pos x="1561" y="417"/>
                  </a:cxn>
                  <a:cxn ang="0">
                    <a:pos x="1768" y="1"/>
                  </a:cxn>
                  <a:cxn ang="0">
                    <a:pos x="887" y="130"/>
                  </a:cxn>
                  <a:cxn ang="0">
                    <a:pos x="0" y="0"/>
                  </a:cxn>
                </a:cxnLst>
                <a:rect l="0" t="0" r="r" b="b"/>
                <a:pathLst>
                  <a:path w="1768" h="531">
                    <a:moveTo>
                      <a:pt x="0" y="0"/>
                    </a:moveTo>
                    <a:cubicBezTo>
                      <a:pt x="53" y="54"/>
                      <a:pt x="177" y="342"/>
                      <a:pt x="209" y="417"/>
                    </a:cubicBezTo>
                    <a:cubicBezTo>
                      <a:pt x="358" y="504"/>
                      <a:pt x="665" y="531"/>
                      <a:pt x="890" y="531"/>
                    </a:cubicBezTo>
                    <a:cubicBezTo>
                      <a:pt x="1115" y="531"/>
                      <a:pt x="1415" y="505"/>
                      <a:pt x="1561" y="417"/>
                    </a:cubicBezTo>
                    <a:cubicBezTo>
                      <a:pt x="1583" y="351"/>
                      <a:pt x="1719" y="59"/>
                      <a:pt x="1768" y="1"/>
                    </a:cubicBezTo>
                    <a:cubicBezTo>
                      <a:pt x="1606" y="111"/>
                      <a:pt x="1182" y="130"/>
                      <a:pt x="887" y="130"/>
                    </a:cubicBezTo>
                    <a:cubicBezTo>
                      <a:pt x="592" y="130"/>
                      <a:pt x="145" y="103"/>
                      <a:pt x="0" y="0"/>
                    </a:cubicBezTo>
                    <a:close/>
                  </a:path>
                </a:pathLst>
              </a:custGeom>
              <a:solidFill>
                <a:schemeClr val="accent1"/>
              </a:solidFill>
              <a:ln w="9525" cap="flat" cmpd="sng">
                <a:noFill/>
                <a:prstDash val="solid"/>
                <a:round/>
                <a:headEnd type="none" w="med" len="med"/>
                <a:tailEnd type="none" w="med" len="med"/>
              </a:ln>
              <a:effectLst/>
            </p:spPr>
            <p:txBody>
              <a:bodyPr wrap="none" lIns="0" tIns="0" rIns="0" bIns="0" anchor="ct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ea typeface="+mn-ea"/>
                  <a:cs typeface="+mn-cs"/>
                </a:endParaRPr>
              </a:p>
            </p:txBody>
          </p:sp>
          <p:sp>
            <p:nvSpPr>
              <p:cNvPr id="19" name="Oval 13">
                <a:extLst>
                  <a:ext uri="{FF2B5EF4-FFF2-40B4-BE49-F238E27FC236}">
                    <a16:creationId xmlns:a16="http://schemas.microsoft.com/office/drawing/2014/main" id="{681F96F9-F8A8-42CB-9A13-93D99FFE4E81}"/>
                  </a:ext>
                </a:extLst>
              </p:cNvPr>
              <p:cNvSpPr>
                <a:spLocks noChangeArrowheads="1"/>
              </p:cNvSpPr>
              <p:nvPr/>
            </p:nvSpPr>
            <p:spPr bwMode="gray">
              <a:xfrm>
                <a:off x="567554" y="1869449"/>
                <a:ext cx="4440001" cy="620432"/>
              </a:xfrm>
              <a:prstGeom prst="ellipse">
                <a:avLst/>
              </a:prstGeom>
              <a:solidFill>
                <a:schemeClr val="bg1">
                  <a:lumMod val="85000"/>
                </a:schemeClr>
              </a:solidFill>
              <a:ln w="9525">
                <a:noFill/>
                <a:round/>
                <a:headEnd/>
                <a:tailEnd/>
              </a:ln>
              <a:effectLst/>
            </p:spPr>
            <p:txBody>
              <a:bodyPr wrap="none" lIns="0" tIns="0" rIns="0" bIns="0" anchor="ct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ea typeface="+mn-ea"/>
                  <a:cs typeface="+mn-cs"/>
                </a:endParaRPr>
              </a:p>
            </p:txBody>
          </p:sp>
          <p:sp>
            <p:nvSpPr>
              <p:cNvPr id="20" name="Freeform 14">
                <a:extLst>
                  <a:ext uri="{FF2B5EF4-FFF2-40B4-BE49-F238E27FC236}">
                    <a16:creationId xmlns:a16="http://schemas.microsoft.com/office/drawing/2014/main" id="{B66293D6-FC3F-4838-98EB-2D2CCC89FE6B}"/>
                  </a:ext>
                </a:extLst>
              </p:cNvPr>
              <p:cNvSpPr>
                <a:spLocks/>
              </p:cNvSpPr>
              <p:nvPr/>
            </p:nvSpPr>
            <p:spPr bwMode="gray">
              <a:xfrm>
                <a:off x="1084941" y="3289254"/>
                <a:ext cx="3405226" cy="1202163"/>
              </a:xfrm>
              <a:custGeom>
                <a:avLst/>
                <a:gdLst/>
                <a:ahLst/>
                <a:cxnLst>
                  <a:cxn ang="0">
                    <a:pos x="1366" y="0"/>
                  </a:cxn>
                  <a:cxn ang="0">
                    <a:pos x="1205" y="417"/>
                  </a:cxn>
                  <a:cxn ang="0">
                    <a:pos x="678" y="531"/>
                  </a:cxn>
                  <a:cxn ang="0">
                    <a:pos x="160" y="417"/>
                  </a:cxn>
                  <a:cxn ang="0">
                    <a:pos x="0" y="1"/>
                  </a:cxn>
                  <a:cxn ang="0">
                    <a:pos x="681" y="130"/>
                  </a:cxn>
                  <a:cxn ang="0">
                    <a:pos x="1366" y="0"/>
                  </a:cxn>
                </a:cxnLst>
                <a:rect l="0" t="0" r="r" b="b"/>
                <a:pathLst>
                  <a:path w="1366" h="531">
                    <a:moveTo>
                      <a:pt x="1366" y="0"/>
                    </a:moveTo>
                    <a:cubicBezTo>
                      <a:pt x="1325" y="54"/>
                      <a:pt x="1229" y="342"/>
                      <a:pt x="1205" y="417"/>
                    </a:cubicBezTo>
                    <a:cubicBezTo>
                      <a:pt x="1088" y="507"/>
                      <a:pt x="852" y="531"/>
                      <a:pt x="678" y="531"/>
                    </a:cubicBezTo>
                    <a:cubicBezTo>
                      <a:pt x="505" y="531"/>
                      <a:pt x="272" y="511"/>
                      <a:pt x="160" y="417"/>
                    </a:cubicBezTo>
                    <a:cubicBezTo>
                      <a:pt x="143" y="351"/>
                      <a:pt x="38" y="59"/>
                      <a:pt x="0" y="1"/>
                    </a:cubicBezTo>
                    <a:cubicBezTo>
                      <a:pt x="130" y="103"/>
                      <a:pt x="453" y="130"/>
                      <a:pt x="681" y="130"/>
                    </a:cubicBezTo>
                    <a:cubicBezTo>
                      <a:pt x="909" y="130"/>
                      <a:pt x="1250" y="93"/>
                      <a:pt x="1366" y="0"/>
                    </a:cubicBezTo>
                    <a:close/>
                  </a:path>
                </a:pathLst>
              </a:custGeom>
              <a:solidFill>
                <a:schemeClr val="accent2"/>
              </a:solidFill>
              <a:ln w="9525" cap="flat" cmpd="sng">
                <a:noFill/>
                <a:prstDash val="solid"/>
                <a:round/>
                <a:headEnd type="none" w="med" len="med"/>
                <a:tailEnd type="none" w="med" len="med"/>
              </a:ln>
              <a:effectLst/>
            </p:spPr>
            <p:txBody>
              <a:bodyPr wrap="none" lIns="0" tIns="0" rIns="0" bIns="0" anchor="ct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ea typeface="+mn-ea"/>
                  <a:cs typeface="+mn-cs"/>
                </a:endParaRPr>
              </a:p>
            </p:txBody>
          </p:sp>
          <p:sp>
            <p:nvSpPr>
              <p:cNvPr id="21" name="Freeform 15">
                <a:extLst>
                  <a:ext uri="{FF2B5EF4-FFF2-40B4-BE49-F238E27FC236}">
                    <a16:creationId xmlns:a16="http://schemas.microsoft.com/office/drawing/2014/main" id="{D66E14A6-54ED-44EE-9731-DC6F0E4777C0}"/>
                  </a:ext>
                </a:extLst>
              </p:cNvPr>
              <p:cNvSpPr>
                <a:spLocks/>
              </p:cNvSpPr>
              <p:nvPr/>
            </p:nvSpPr>
            <p:spPr bwMode="gray">
              <a:xfrm>
                <a:off x="1470710" y="4295954"/>
                <a:ext cx="2633689" cy="1190299"/>
              </a:xfrm>
              <a:custGeom>
                <a:avLst/>
                <a:gdLst/>
                <a:ahLst/>
                <a:cxnLst>
                  <a:cxn ang="0">
                    <a:pos x="1060" y="0"/>
                  </a:cxn>
                  <a:cxn ang="0">
                    <a:pos x="935" y="417"/>
                  </a:cxn>
                  <a:cxn ang="0">
                    <a:pos x="526" y="531"/>
                  </a:cxn>
                  <a:cxn ang="0">
                    <a:pos x="123" y="415"/>
                  </a:cxn>
                  <a:cxn ang="0">
                    <a:pos x="0" y="1"/>
                  </a:cxn>
                  <a:cxn ang="0">
                    <a:pos x="528" y="130"/>
                  </a:cxn>
                  <a:cxn ang="0">
                    <a:pos x="1060" y="0"/>
                  </a:cxn>
                </a:cxnLst>
                <a:rect l="0" t="0" r="r" b="b"/>
                <a:pathLst>
                  <a:path w="1060" h="531">
                    <a:moveTo>
                      <a:pt x="1060" y="0"/>
                    </a:moveTo>
                    <a:cubicBezTo>
                      <a:pt x="1028" y="54"/>
                      <a:pt x="954" y="342"/>
                      <a:pt x="935" y="417"/>
                    </a:cubicBezTo>
                    <a:cubicBezTo>
                      <a:pt x="843" y="505"/>
                      <a:pt x="661" y="531"/>
                      <a:pt x="526" y="531"/>
                    </a:cubicBezTo>
                    <a:cubicBezTo>
                      <a:pt x="391" y="531"/>
                      <a:pt x="221" y="515"/>
                      <a:pt x="123" y="415"/>
                    </a:cubicBezTo>
                    <a:cubicBezTo>
                      <a:pt x="110" y="349"/>
                      <a:pt x="29" y="59"/>
                      <a:pt x="0" y="1"/>
                    </a:cubicBezTo>
                    <a:cubicBezTo>
                      <a:pt x="97" y="111"/>
                      <a:pt x="351" y="130"/>
                      <a:pt x="528" y="130"/>
                    </a:cubicBezTo>
                    <a:cubicBezTo>
                      <a:pt x="705" y="130"/>
                      <a:pt x="959" y="101"/>
                      <a:pt x="1060" y="0"/>
                    </a:cubicBezTo>
                    <a:close/>
                  </a:path>
                </a:pathLst>
              </a:custGeom>
              <a:solidFill>
                <a:schemeClr val="accent4"/>
              </a:solidFill>
              <a:ln w="9525" cap="flat" cmpd="sng">
                <a:noFill/>
                <a:prstDash val="solid"/>
                <a:round/>
                <a:headEnd type="none" w="med" len="med"/>
                <a:tailEnd type="none" w="med" len="med"/>
              </a:ln>
              <a:effectLst/>
            </p:spPr>
            <p:txBody>
              <a:bodyPr wrap="none" lIns="0" tIns="0" rIns="0" bIns="0" anchor="ct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ea typeface="+mn-ea"/>
                  <a:cs typeface="+mn-cs"/>
                </a:endParaRPr>
              </a:p>
            </p:txBody>
          </p:sp>
          <p:sp>
            <p:nvSpPr>
              <p:cNvPr id="22" name="Freeform 16">
                <a:extLst>
                  <a:ext uri="{FF2B5EF4-FFF2-40B4-BE49-F238E27FC236}">
                    <a16:creationId xmlns:a16="http://schemas.microsoft.com/office/drawing/2014/main" id="{2D29294C-2163-4E5A-87E0-84AE05652A8D}"/>
                  </a:ext>
                </a:extLst>
              </p:cNvPr>
              <p:cNvSpPr>
                <a:spLocks/>
              </p:cNvSpPr>
              <p:nvPr/>
            </p:nvSpPr>
            <p:spPr bwMode="gray">
              <a:xfrm flipH="1">
                <a:off x="1768864" y="5290788"/>
                <a:ext cx="2037381" cy="1190299"/>
              </a:xfrm>
              <a:custGeom>
                <a:avLst/>
                <a:gdLst/>
                <a:ahLst/>
                <a:cxnLst>
                  <a:cxn ang="0">
                    <a:pos x="0" y="0"/>
                  </a:cxn>
                  <a:cxn ang="0">
                    <a:pos x="209" y="417"/>
                  </a:cxn>
                  <a:cxn ang="0">
                    <a:pos x="890" y="531"/>
                  </a:cxn>
                  <a:cxn ang="0">
                    <a:pos x="1561" y="417"/>
                  </a:cxn>
                  <a:cxn ang="0">
                    <a:pos x="1768" y="1"/>
                  </a:cxn>
                  <a:cxn ang="0">
                    <a:pos x="887" y="130"/>
                  </a:cxn>
                  <a:cxn ang="0">
                    <a:pos x="0" y="0"/>
                  </a:cxn>
                </a:cxnLst>
                <a:rect l="0" t="0" r="r" b="b"/>
                <a:pathLst>
                  <a:path w="1768" h="531">
                    <a:moveTo>
                      <a:pt x="0" y="0"/>
                    </a:moveTo>
                    <a:cubicBezTo>
                      <a:pt x="53" y="54"/>
                      <a:pt x="177" y="342"/>
                      <a:pt x="209" y="417"/>
                    </a:cubicBezTo>
                    <a:cubicBezTo>
                      <a:pt x="358" y="504"/>
                      <a:pt x="665" y="531"/>
                      <a:pt x="890" y="531"/>
                    </a:cubicBezTo>
                    <a:cubicBezTo>
                      <a:pt x="1115" y="531"/>
                      <a:pt x="1415" y="505"/>
                      <a:pt x="1561" y="417"/>
                    </a:cubicBezTo>
                    <a:cubicBezTo>
                      <a:pt x="1583" y="351"/>
                      <a:pt x="1719" y="59"/>
                      <a:pt x="1768" y="1"/>
                    </a:cubicBezTo>
                    <a:cubicBezTo>
                      <a:pt x="1606" y="111"/>
                      <a:pt x="1182" y="130"/>
                      <a:pt x="887" y="130"/>
                    </a:cubicBezTo>
                    <a:cubicBezTo>
                      <a:pt x="592" y="130"/>
                      <a:pt x="145" y="103"/>
                      <a:pt x="0" y="0"/>
                    </a:cubicBezTo>
                    <a:close/>
                  </a:path>
                </a:pathLst>
              </a:custGeom>
              <a:solidFill>
                <a:schemeClr val="accent5"/>
              </a:solidFill>
              <a:ln w="9525" cap="flat" cmpd="sng">
                <a:noFill/>
                <a:prstDash val="solid"/>
                <a:round/>
                <a:headEnd type="none" w="med" len="med"/>
                <a:tailEnd type="none" w="med" len="med"/>
              </a:ln>
              <a:effectLst/>
            </p:spPr>
            <p:txBody>
              <a:bodyPr wrap="none" lIns="0" tIns="0" rIns="0" bIns="0" anchor="ct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ea typeface="+mn-ea"/>
                  <a:cs typeface="+mn-cs"/>
                </a:endParaRPr>
              </a:p>
            </p:txBody>
          </p:sp>
        </p:grpSp>
        <p:sp>
          <p:nvSpPr>
            <p:cNvPr id="14" name="Text Box 17">
              <a:extLst>
                <a:ext uri="{FF2B5EF4-FFF2-40B4-BE49-F238E27FC236}">
                  <a16:creationId xmlns:a16="http://schemas.microsoft.com/office/drawing/2014/main" id="{FDF72A60-5F3B-468C-9F0A-E5844B34E84E}"/>
                </a:ext>
              </a:extLst>
            </p:cNvPr>
            <p:cNvSpPr txBox="1">
              <a:spLocks noChangeArrowheads="1"/>
            </p:cNvSpPr>
            <p:nvPr/>
          </p:nvSpPr>
          <p:spPr bwMode="gray">
            <a:xfrm>
              <a:off x="1378778" y="2663046"/>
              <a:ext cx="2817549" cy="323165"/>
            </a:xfrm>
            <a:prstGeom prst="rect">
              <a:avLst/>
            </a:prstGeom>
            <a:noFill/>
            <a:ln w="9525">
              <a:noFill/>
              <a:miter lim="800000"/>
              <a:headEnd/>
              <a:tailEnd/>
            </a:ln>
          </p:spPr>
          <p:txBody>
            <a:bodyPr wrap="square" lIns="0" tIns="0" rIns="0" bIns="0" anchor="ctr">
              <a:spAutoFit/>
            </a:body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ea typeface="+mn-ea"/>
                  <a:cs typeface="+mn-cs"/>
                </a:rPr>
                <a:t>DEVELOP CONSUMER SEGMENTATION TO SERVE AS A COMMON TAXONOMY</a:t>
              </a:r>
            </a:p>
          </p:txBody>
        </p:sp>
        <p:sp>
          <p:nvSpPr>
            <p:cNvPr id="15" name="Text Box 20">
              <a:extLst>
                <a:ext uri="{FF2B5EF4-FFF2-40B4-BE49-F238E27FC236}">
                  <a16:creationId xmlns:a16="http://schemas.microsoft.com/office/drawing/2014/main" id="{2A58A946-ED02-434A-A527-FDFCA76CA337}"/>
                </a:ext>
              </a:extLst>
            </p:cNvPr>
            <p:cNvSpPr txBox="1">
              <a:spLocks noChangeArrowheads="1"/>
            </p:cNvSpPr>
            <p:nvPr/>
          </p:nvSpPr>
          <p:spPr bwMode="gray">
            <a:xfrm>
              <a:off x="1378779" y="5644457"/>
              <a:ext cx="2817549" cy="323165"/>
            </a:xfrm>
            <a:prstGeom prst="rect">
              <a:avLst/>
            </a:prstGeom>
            <a:noFill/>
            <a:ln w="9525">
              <a:noFill/>
              <a:miter lim="800000"/>
              <a:headEnd/>
              <a:tailEnd/>
            </a:ln>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ea typeface="+mn-ea"/>
                  <a:cs typeface="+mn-cs"/>
                </a:rPr>
                <a:t>ACTIVATE AT 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ea typeface="+mn-ea"/>
                  <a:cs typeface="+mn-cs"/>
                </a:rPr>
                <a:t>PERSONALIZED LEVEL</a:t>
              </a:r>
            </a:p>
          </p:txBody>
        </p:sp>
        <p:sp>
          <p:nvSpPr>
            <p:cNvPr id="16" name="Text Box 17">
              <a:extLst>
                <a:ext uri="{FF2B5EF4-FFF2-40B4-BE49-F238E27FC236}">
                  <a16:creationId xmlns:a16="http://schemas.microsoft.com/office/drawing/2014/main" id="{F20CCD7A-C169-4151-98FC-96AE5DC929E4}"/>
                </a:ext>
              </a:extLst>
            </p:cNvPr>
            <p:cNvSpPr txBox="1">
              <a:spLocks noChangeArrowheads="1"/>
            </p:cNvSpPr>
            <p:nvPr/>
          </p:nvSpPr>
          <p:spPr bwMode="gray">
            <a:xfrm>
              <a:off x="1378778" y="3664838"/>
              <a:ext cx="2817549" cy="323165"/>
            </a:xfrm>
            <a:prstGeom prst="rect">
              <a:avLst/>
            </a:prstGeom>
            <a:noFill/>
            <a:ln w="9525">
              <a:noFill/>
              <a:miter lim="800000"/>
              <a:headEnd/>
              <a:tailEnd/>
            </a:ln>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ea typeface="+mn-ea"/>
                  <a:cs typeface="+mn-cs"/>
                </a:rPr>
                <a:t>DEFINE CONSUMER PORTAITS FOR PRIORITY SEGMENTS</a:t>
              </a:r>
            </a:p>
          </p:txBody>
        </p:sp>
        <p:sp>
          <p:nvSpPr>
            <p:cNvPr id="17" name="Text Box 17">
              <a:extLst>
                <a:ext uri="{FF2B5EF4-FFF2-40B4-BE49-F238E27FC236}">
                  <a16:creationId xmlns:a16="http://schemas.microsoft.com/office/drawing/2014/main" id="{57623551-3E73-412A-A978-878F7F51CDDA}"/>
                </a:ext>
              </a:extLst>
            </p:cNvPr>
            <p:cNvSpPr txBox="1">
              <a:spLocks noChangeArrowheads="1"/>
            </p:cNvSpPr>
            <p:nvPr/>
          </p:nvSpPr>
          <p:spPr bwMode="gray">
            <a:xfrm>
              <a:off x="1378778" y="4670181"/>
              <a:ext cx="2817549" cy="323165"/>
            </a:xfrm>
            <a:prstGeom prst="rect">
              <a:avLst/>
            </a:prstGeom>
            <a:noFill/>
            <a:ln w="9525">
              <a:noFill/>
              <a:miter lim="800000"/>
              <a:headEnd/>
              <a:tailEnd/>
            </a:ln>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ea typeface="+mn-ea"/>
                  <a:cs typeface="+mn-cs"/>
                </a:rPr>
                <a:t>DETERMINE HOW TO WIN WITH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ea typeface="+mn-ea"/>
                  <a:cs typeface="+mn-cs"/>
                </a:rPr>
                <a:t>PRIOTITY SEGMENTS </a:t>
              </a:r>
            </a:p>
          </p:txBody>
        </p:sp>
      </p:grpSp>
      <p:sp>
        <p:nvSpPr>
          <p:cNvPr id="23" name="Oval 22">
            <a:extLst>
              <a:ext uri="{FF2B5EF4-FFF2-40B4-BE49-F238E27FC236}">
                <a16:creationId xmlns:a16="http://schemas.microsoft.com/office/drawing/2014/main" id="{681117E7-42AC-4E67-B05F-0202AA6B5CBB}"/>
              </a:ext>
            </a:extLst>
          </p:cNvPr>
          <p:cNvSpPr>
            <a:spLocks noChangeAspect="1"/>
          </p:cNvSpPr>
          <p:nvPr/>
        </p:nvSpPr>
        <p:spPr>
          <a:xfrm>
            <a:off x="1451303" y="2540183"/>
            <a:ext cx="274320" cy="272995"/>
          </a:xfrm>
          <a:prstGeom prst="ellipse">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50000"/>
                    <a:lumOff val="50000"/>
                  </a:srgbClr>
                </a:solidFill>
                <a:effectLst/>
                <a:uLnTx/>
                <a:uFillTx/>
                <a:ea typeface="Open Sans" panose="020B0606030504020204" pitchFamily="34" charset="0"/>
                <a:cs typeface="Open Sans" panose="020B0606030504020204" pitchFamily="34" charset="0"/>
              </a:rPr>
              <a:t>1</a:t>
            </a:r>
          </a:p>
        </p:txBody>
      </p:sp>
      <p:sp>
        <p:nvSpPr>
          <p:cNvPr id="24" name="Oval 23">
            <a:extLst>
              <a:ext uri="{FF2B5EF4-FFF2-40B4-BE49-F238E27FC236}">
                <a16:creationId xmlns:a16="http://schemas.microsoft.com/office/drawing/2014/main" id="{17238BD4-F911-423A-BB74-CA53A2CBB830}"/>
              </a:ext>
            </a:extLst>
          </p:cNvPr>
          <p:cNvSpPr>
            <a:spLocks noChangeAspect="1"/>
          </p:cNvSpPr>
          <p:nvPr/>
        </p:nvSpPr>
        <p:spPr>
          <a:xfrm>
            <a:off x="1753244" y="3511682"/>
            <a:ext cx="274320" cy="272995"/>
          </a:xfrm>
          <a:prstGeom prst="ellipse">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50000"/>
                    <a:lumOff val="50000"/>
                  </a:srgbClr>
                </a:solidFill>
                <a:effectLst/>
                <a:uLnTx/>
                <a:uFillTx/>
                <a:ea typeface="Open Sans" panose="020B0606030504020204" pitchFamily="34" charset="0"/>
                <a:cs typeface="Open Sans" panose="020B0606030504020204" pitchFamily="34" charset="0"/>
              </a:rPr>
              <a:t>2</a:t>
            </a:r>
          </a:p>
        </p:txBody>
      </p:sp>
      <p:sp>
        <p:nvSpPr>
          <p:cNvPr id="25" name="Oval 24">
            <a:extLst>
              <a:ext uri="{FF2B5EF4-FFF2-40B4-BE49-F238E27FC236}">
                <a16:creationId xmlns:a16="http://schemas.microsoft.com/office/drawing/2014/main" id="{D8CC7BFB-4E63-4328-8B97-2E14E42BE8ED}"/>
              </a:ext>
            </a:extLst>
          </p:cNvPr>
          <p:cNvSpPr>
            <a:spLocks noChangeAspect="1"/>
          </p:cNvSpPr>
          <p:nvPr/>
        </p:nvSpPr>
        <p:spPr>
          <a:xfrm>
            <a:off x="2027564" y="4410541"/>
            <a:ext cx="274320" cy="272995"/>
          </a:xfrm>
          <a:prstGeom prst="ellipse">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50000"/>
                    <a:lumOff val="50000"/>
                  </a:srgbClr>
                </a:solidFill>
                <a:effectLst/>
                <a:uLnTx/>
                <a:uFillTx/>
                <a:ea typeface="Open Sans" panose="020B0606030504020204" pitchFamily="34" charset="0"/>
                <a:cs typeface="Open Sans" panose="020B0606030504020204" pitchFamily="34" charset="0"/>
              </a:rPr>
              <a:t>3</a:t>
            </a:r>
          </a:p>
        </p:txBody>
      </p:sp>
      <p:sp>
        <p:nvSpPr>
          <p:cNvPr id="26" name="Oval 25">
            <a:extLst>
              <a:ext uri="{FF2B5EF4-FFF2-40B4-BE49-F238E27FC236}">
                <a16:creationId xmlns:a16="http://schemas.microsoft.com/office/drawing/2014/main" id="{959251BC-7F7C-4DAB-8389-B63626EB7D7B}"/>
              </a:ext>
            </a:extLst>
          </p:cNvPr>
          <p:cNvSpPr>
            <a:spLocks noChangeAspect="1"/>
          </p:cNvSpPr>
          <p:nvPr/>
        </p:nvSpPr>
        <p:spPr>
          <a:xfrm>
            <a:off x="2360831" y="5521941"/>
            <a:ext cx="274320" cy="272995"/>
          </a:xfrm>
          <a:prstGeom prst="ellipse">
            <a:avLst/>
          </a:prstGeom>
          <a:solidFill>
            <a:schemeClr val="accent5">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50000"/>
                    <a:lumOff val="50000"/>
                  </a:srgbClr>
                </a:solidFill>
                <a:effectLst/>
                <a:uLnTx/>
                <a:uFillTx/>
                <a:ea typeface="Open Sans" panose="020B0606030504020204" pitchFamily="34" charset="0"/>
                <a:cs typeface="Open Sans" panose="020B0606030504020204" pitchFamily="34" charset="0"/>
              </a:rPr>
              <a:t>4</a:t>
            </a:r>
          </a:p>
        </p:txBody>
      </p:sp>
      <p:sp>
        <p:nvSpPr>
          <p:cNvPr id="27" name="Rectangle 26">
            <a:extLst>
              <a:ext uri="{FF2B5EF4-FFF2-40B4-BE49-F238E27FC236}">
                <a16:creationId xmlns:a16="http://schemas.microsoft.com/office/drawing/2014/main" id="{E390E5A2-D3B9-450B-B077-927500DA2088}"/>
              </a:ext>
            </a:extLst>
          </p:cNvPr>
          <p:cNvSpPr/>
          <p:nvPr/>
        </p:nvSpPr>
        <p:spPr>
          <a:xfrm>
            <a:off x="5354398" y="5250563"/>
            <a:ext cx="6323379" cy="759182"/>
          </a:xfrm>
          <a:prstGeom prst="rect">
            <a:avLst/>
          </a:prstGeom>
        </p:spPr>
        <p:txBody>
          <a:bodyPr wrap="square">
            <a:spAutoFit/>
          </a:bodyPr>
          <a:lstStyle/>
          <a:p>
            <a:pPr marL="111125" marR="0" lvl="1" indent="-111125" algn="l" defTabSz="914400" rtl="0" eaLnBrk="1" fontAlgn="auto" latinLnBrk="0" hangingPunct="1">
              <a:lnSpc>
                <a:spcPct val="100000"/>
              </a:lnSpc>
              <a:spcBef>
                <a:spcPts val="400"/>
              </a:spcBef>
              <a:spcAft>
                <a:spcPts val="0"/>
              </a:spcAft>
              <a:buClrTx/>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How are </a:t>
            </a:r>
            <a:r>
              <a:rPr kumimoji="0" lang="en-US" sz="1000" b="1" i="0" u="none" strike="noStrike" kern="1200" cap="none" spc="0" normalizeH="0" baseline="0" noProof="0" dirty="0">
                <a:ln>
                  <a:noFill/>
                </a:ln>
                <a:solidFill>
                  <a:srgbClr val="000000"/>
                </a:solidFill>
                <a:effectLst/>
                <a:uLnTx/>
                <a:uFillTx/>
                <a:ea typeface="+mn-ea"/>
                <a:cs typeface="+mn-cs"/>
              </a:rPr>
              <a:t>individuals within these segments targeted at a personal-level </a:t>
            </a:r>
            <a:r>
              <a:rPr kumimoji="0" lang="en-US" sz="1000" b="0" i="0" u="none" strike="noStrike" kern="1200" cap="none" spc="0" normalizeH="0" baseline="0" noProof="0" dirty="0">
                <a:ln>
                  <a:noFill/>
                </a:ln>
                <a:solidFill>
                  <a:srgbClr val="000000"/>
                </a:solidFill>
                <a:effectLst/>
                <a:uLnTx/>
                <a:uFillTx/>
                <a:ea typeface="+mn-ea"/>
                <a:cs typeface="+mn-cs"/>
              </a:rPr>
              <a:t>using big data and artificial intelligence?</a:t>
            </a:r>
          </a:p>
          <a:p>
            <a:pPr marL="111125" marR="0" lvl="1" indent="-111125" algn="l" defTabSz="914400" rtl="0" eaLnBrk="1" fontAlgn="auto" latinLnBrk="0" hangingPunct="1">
              <a:lnSpc>
                <a:spcPct val="100000"/>
              </a:lnSpc>
              <a:spcBef>
                <a:spcPts val="400"/>
              </a:spcBef>
              <a:spcAft>
                <a:spcPts val="0"/>
              </a:spcAft>
              <a:buClrTx/>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Open Sans" panose="020B0606030504020204" pitchFamily="34" charset="0"/>
                <a:cs typeface="Open Sans" panose="020B0606030504020204" pitchFamily="34" charset="0"/>
              </a:rPr>
              <a:t>How can Client leverage analytics and technology to </a:t>
            </a:r>
            <a:r>
              <a:rPr kumimoji="0" lang="en-US" sz="1000" b="1" i="0" u="none" strike="noStrike" kern="1200" cap="none" spc="0" normalizeH="0" baseline="0" noProof="0" dirty="0">
                <a:ln>
                  <a:noFill/>
                </a:ln>
                <a:solidFill>
                  <a:srgbClr val="000000"/>
                </a:solidFill>
                <a:effectLst/>
                <a:uLnTx/>
                <a:uFillTx/>
                <a:ea typeface="Open Sans" panose="020B0606030504020204" pitchFamily="34" charset="0"/>
                <a:cs typeface="Open Sans" panose="020B0606030504020204" pitchFamily="34" charset="0"/>
              </a:rPr>
              <a:t>provide a seamless consumer experience across brands with the right message in the right place at the right time</a:t>
            </a:r>
            <a:r>
              <a:rPr kumimoji="0" lang="en-US" sz="1000" b="0" i="0" u="none" strike="noStrike" kern="1200" cap="none" spc="0" normalizeH="0" baseline="0" noProof="0" dirty="0">
                <a:ln>
                  <a:noFill/>
                </a:ln>
                <a:solidFill>
                  <a:srgbClr val="000000"/>
                </a:solidFill>
                <a:effectLst/>
                <a:uLnTx/>
                <a:uFillTx/>
                <a:ea typeface="Open Sans" panose="020B0606030504020204" pitchFamily="34" charset="0"/>
                <a:cs typeface="Open Sans" panose="020B0606030504020204" pitchFamily="34" charset="0"/>
              </a:rPr>
              <a:t>?</a:t>
            </a:r>
          </a:p>
        </p:txBody>
      </p:sp>
      <p:sp>
        <p:nvSpPr>
          <p:cNvPr id="28" name="TextBox 27">
            <a:extLst>
              <a:ext uri="{FF2B5EF4-FFF2-40B4-BE49-F238E27FC236}">
                <a16:creationId xmlns:a16="http://schemas.microsoft.com/office/drawing/2014/main" id="{F7BA2AE0-3B53-4BDE-9047-7D8B302B8065}"/>
              </a:ext>
            </a:extLst>
          </p:cNvPr>
          <p:cNvSpPr txBox="1"/>
          <p:nvPr/>
        </p:nvSpPr>
        <p:spPr>
          <a:xfrm>
            <a:off x="5558038" y="1892808"/>
            <a:ext cx="6054570" cy="215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400" b="1" i="0" u="none" strike="noStrike" kern="1200" cap="none" spc="0" normalizeH="0" baseline="0" noProof="0" dirty="0">
                <a:ln>
                  <a:noFill/>
                </a:ln>
                <a:solidFill>
                  <a:srgbClr val="313131"/>
                </a:solidFill>
                <a:effectLst/>
                <a:uLnTx/>
                <a:uFillTx/>
                <a:ea typeface="Open Sans" panose="020B0606030504020204" pitchFamily="34" charset="0"/>
                <a:cs typeface="Open Sans" panose="020B0606030504020204" pitchFamily="34" charset="0"/>
              </a:rPr>
              <a:t>Key Questions to Define and Activate Consumer Journeys</a:t>
            </a:r>
          </a:p>
        </p:txBody>
      </p:sp>
      <p:sp>
        <p:nvSpPr>
          <p:cNvPr id="29" name="Rectangle 28">
            <a:extLst>
              <a:ext uri="{FF2B5EF4-FFF2-40B4-BE49-F238E27FC236}">
                <a16:creationId xmlns:a16="http://schemas.microsoft.com/office/drawing/2014/main" id="{41C3F0CC-4748-483C-B07D-9CD7ABE703FF}"/>
              </a:ext>
            </a:extLst>
          </p:cNvPr>
          <p:cNvSpPr/>
          <p:nvPr/>
        </p:nvSpPr>
        <p:spPr>
          <a:xfrm>
            <a:off x="5330792" y="2346770"/>
            <a:ext cx="6361715" cy="656590"/>
          </a:xfrm>
          <a:prstGeom prst="rect">
            <a:avLst/>
          </a:prstGeom>
        </p:spPr>
        <p:txBody>
          <a:bodyPr wrap="square">
            <a:spAutoFit/>
          </a:bodyPr>
          <a:lstStyle/>
          <a:p>
            <a:pPr marL="111125" marR="0" lvl="1" indent="-111125" algn="l" defTabSz="914400" rtl="0" eaLnBrk="1" fontAlgn="auto" latinLnBrk="0" hangingPunct="1">
              <a:lnSpc>
                <a:spcPct val="100000"/>
              </a:lnSpc>
              <a:spcBef>
                <a:spcPts val="400"/>
              </a:spcBef>
              <a:spcAft>
                <a:spcPts val="0"/>
              </a:spcAft>
              <a:buClrTx/>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What </a:t>
            </a:r>
            <a:r>
              <a:rPr kumimoji="0" lang="en-US" sz="1000" b="1" i="0" u="none" strike="noStrike" kern="1200" cap="none" spc="0" normalizeH="0" baseline="0" noProof="0" dirty="0">
                <a:ln>
                  <a:noFill/>
                </a:ln>
                <a:solidFill>
                  <a:srgbClr val="000000"/>
                </a:solidFill>
                <a:effectLst/>
                <a:uLnTx/>
                <a:uFillTx/>
                <a:ea typeface="+mn-ea"/>
                <a:cs typeface="+mn-cs"/>
              </a:rPr>
              <a:t>observable segments </a:t>
            </a:r>
            <a:r>
              <a:rPr kumimoji="0" lang="en-US" sz="1000" b="0" i="0" u="none" strike="noStrike" kern="1200" cap="none" spc="0" normalizeH="0" baseline="0" noProof="0" dirty="0">
                <a:ln>
                  <a:noFill/>
                </a:ln>
                <a:solidFill>
                  <a:srgbClr val="000000"/>
                </a:solidFill>
                <a:effectLst/>
                <a:uLnTx/>
                <a:uFillTx/>
                <a:ea typeface="+mn-ea"/>
                <a:cs typeface="+mn-cs"/>
              </a:rPr>
              <a:t>exist within and across categories?</a:t>
            </a:r>
          </a:p>
          <a:p>
            <a:pPr marL="111125" marR="0" lvl="1" indent="-111125" algn="l" defTabSz="914400" rtl="0" eaLnBrk="1" fontAlgn="auto" latinLnBrk="0" hangingPunct="1">
              <a:lnSpc>
                <a:spcPct val="100000"/>
              </a:lnSpc>
              <a:spcBef>
                <a:spcPts val="400"/>
              </a:spcBef>
              <a:spcAft>
                <a:spcPts val="0"/>
              </a:spcAft>
              <a:buClrTx/>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Where do </a:t>
            </a:r>
            <a:r>
              <a:rPr kumimoji="0" lang="en-US" sz="1000" b="1" i="0" u="none" strike="noStrike" kern="1200" cap="none" spc="0" normalizeH="0" baseline="0" noProof="0" dirty="0">
                <a:ln>
                  <a:noFill/>
                </a:ln>
                <a:solidFill>
                  <a:srgbClr val="000000"/>
                </a:solidFill>
                <a:effectLst/>
                <a:uLnTx/>
                <a:uFillTx/>
                <a:ea typeface="+mn-ea"/>
                <a:cs typeface="+mn-cs"/>
              </a:rPr>
              <a:t>commonalities of purchasing behavior </a:t>
            </a:r>
            <a:r>
              <a:rPr kumimoji="0" lang="en-US" sz="1000" b="0" i="0" u="none" strike="noStrike" kern="1200" cap="none" spc="0" normalizeH="0" baseline="0" noProof="0" dirty="0">
                <a:ln>
                  <a:noFill/>
                </a:ln>
                <a:solidFill>
                  <a:srgbClr val="000000"/>
                </a:solidFill>
                <a:effectLst/>
                <a:uLnTx/>
                <a:uFillTx/>
                <a:ea typeface="+mn-ea"/>
                <a:cs typeface="+mn-cs"/>
              </a:rPr>
              <a:t>exist?</a:t>
            </a:r>
          </a:p>
          <a:p>
            <a:pPr marL="111125" marR="0" lvl="1" indent="-111125" algn="l" defTabSz="914400" rtl="0" eaLnBrk="1" fontAlgn="auto" latinLnBrk="0" hangingPunct="1">
              <a:lnSpc>
                <a:spcPct val="100000"/>
              </a:lnSpc>
              <a:spcBef>
                <a:spcPts val="400"/>
              </a:spcBef>
              <a:spcAft>
                <a:spcPts val="0"/>
              </a:spcAft>
              <a:buClrTx/>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Which segments represent the </a:t>
            </a:r>
            <a:r>
              <a:rPr kumimoji="0" lang="en-US" sz="1000" b="1" i="0" u="none" strike="noStrike" kern="1200" cap="none" spc="0" normalizeH="0" baseline="0" noProof="0" dirty="0">
                <a:ln>
                  <a:noFill/>
                </a:ln>
                <a:solidFill>
                  <a:srgbClr val="000000"/>
                </a:solidFill>
                <a:effectLst/>
                <a:uLnTx/>
                <a:uFillTx/>
                <a:ea typeface="+mn-ea"/>
                <a:cs typeface="+mn-cs"/>
              </a:rPr>
              <a:t>highest value to Client </a:t>
            </a:r>
            <a:r>
              <a:rPr kumimoji="0" lang="en-US" sz="1000" b="0" i="0" u="none" strike="noStrike" kern="1200" cap="none" spc="0" normalizeH="0" baseline="0" noProof="0" dirty="0">
                <a:ln>
                  <a:noFill/>
                </a:ln>
                <a:solidFill>
                  <a:srgbClr val="000000"/>
                </a:solidFill>
                <a:effectLst/>
                <a:uLnTx/>
                <a:uFillTx/>
                <a:ea typeface="+mn-ea"/>
                <a:cs typeface="+mn-cs"/>
              </a:rPr>
              <a:t>and should be prioritized?</a:t>
            </a:r>
          </a:p>
        </p:txBody>
      </p:sp>
      <p:sp>
        <p:nvSpPr>
          <p:cNvPr id="30" name="Rectangle 29">
            <a:extLst>
              <a:ext uri="{FF2B5EF4-FFF2-40B4-BE49-F238E27FC236}">
                <a16:creationId xmlns:a16="http://schemas.microsoft.com/office/drawing/2014/main" id="{B3DD5AED-E706-4DBD-AE73-E0D78FC4242D}"/>
              </a:ext>
            </a:extLst>
          </p:cNvPr>
          <p:cNvSpPr/>
          <p:nvPr/>
        </p:nvSpPr>
        <p:spPr>
          <a:xfrm>
            <a:off x="5369131" y="3325070"/>
            <a:ext cx="6323376" cy="656590"/>
          </a:xfrm>
          <a:prstGeom prst="rect">
            <a:avLst/>
          </a:prstGeom>
        </p:spPr>
        <p:txBody>
          <a:bodyPr wrap="square">
            <a:spAutoFit/>
          </a:bodyPr>
          <a:lstStyle/>
          <a:p>
            <a:pPr marL="111125" marR="0" lvl="1" indent="-111125" algn="l" defTabSz="914400" rtl="0" eaLnBrk="1" fontAlgn="auto" latinLnBrk="0" hangingPunct="1">
              <a:lnSpc>
                <a:spcPct val="100000"/>
              </a:lnSpc>
              <a:spcBef>
                <a:spcPts val="400"/>
              </a:spcBef>
              <a:spcAft>
                <a:spcPts val="0"/>
              </a:spcAft>
              <a:buClrTx/>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What </a:t>
            </a:r>
            <a:r>
              <a:rPr kumimoji="0" lang="en-US" sz="1000" b="1" i="0" u="none" strike="noStrike" kern="1200" cap="none" spc="0" normalizeH="0" baseline="0" noProof="0" dirty="0">
                <a:ln>
                  <a:noFill/>
                </a:ln>
                <a:solidFill>
                  <a:srgbClr val="000000"/>
                </a:solidFill>
                <a:effectLst/>
                <a:uLnTx/>
                <a:uFillTx/>
                <a:ea typeface="+mn-ea"/>
                <a:cs typeface="+mn-cs"/>
              </a:rPr>
              <a:t>influences</a:t>
            </a:r>
            <a:r>
              <a:rPr kumimoji="0" lang="en-US" sz="1000" b="0" i="0" u="none" strike="noStrike" kern="1200" cap="none" spc="0" normalizeH="0" baseline="0" noProof="0" dirty="0">
                <a:ln>
                  <a:noFill/>
                </a:ln>
                <a:solidFill>
                  <a:srgbClr val="000000"/>
                </a:solidFill>
                <a:effectLst/>
                <a:uLnTx/>
                <a:uFillTx/>
                <a:ea typeface="+mn-ea"/>
                <a:cs typeface="+mn-cs"/>
              </a:rPr>
              <a:t> each priority consumer segment? Why?</a:t>
            </a:r>
          </a:p>
          <a:p>
            <a:pPr marL="111125" marR="0" lvl="1" indent="-111125" algn="l" defTabSz="914400" rtl="0" eaLnBrk="1" fontAlgn="auto" latinLnBrk="0" hangingPunct="1">
              <a:lnSpc>
                <a:spcPct val="100000"/>
              </a:lnSpc>
              <a:spcBef>
                <a:spcPts val="400"/>
              </a:spcBef>
              <a:spcAft>
                <a:spcPts val="0"/>
              </a:spcAft>
              <a:buClrTx/>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What are the </a:t>
            </a:r>
            <a:r>
              <a:rPr kumimoji="0" lang="en-US" sz="1000" b="1" i="0" u="none" strike="noStrike" kern="1200" cap="none" spc="0" normalizeH="0" baseline="0" noProof="0" dirty="0">
                <a:ln>
                  <a:noFill/>
                </a:ln>
                <a:solidFill>
                  <a:srgbClr val="000000"/>
                </a:solidFill>
                <a:effectLst/>
                <a:uLnTx/>
                <a:uFillTx/>
                <a:ea typeface="+mn-ea"/>
                <a:cs typeface="+mn-cs"/>
              </a:rPr>
              <a:t>drivers and barriers to behavioral change </a:t>
            </a:r>
            <a:r>
              <a:rPr kumimoji="0" lang="en-US" sz="1000" b="0" i="0" u="none" strike="noStrike" kern="1200" cap="none" spc="0" normalizeH="0" baseline="0" noProof="0" dirty="0">
                <a:ln>
                  <a:noFill/>
                </a:ln>
                <a:solidFill>
                  <a:srgbClr val="000000"/>
                </a:solidFill>
                <a:effectLst/>
                <a:uLnTx/>
                <a:uFillTx/>
                <a:ea typeface="+mn-ea"/>
                <a:cs typeface="+mn-cs"/>
              </a:rPr>
              <a:t>for each segment?</a:t>
            </a:r>
          </a:p>
          <a:p>
            <a:pPr marL="111125" marR="0" lvl="1" indent="-111125" algn="l" defTabSz="914400" rtl="0" eaLnBrk="1" fontAlgn="auto" latinLnBrk="0" hangingPunct="1">
              <a:lnSpc>
                <a:spcPct val="100000"/>
              </a:lnSpc>
              <a:spcBef>
                <a:spcPts val="400"/>
              </a:spcBef>
              <a:spcAft>
                <a:spcPts val="0"/>
              </a:spcAft>
              <a:buClrTx/>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Open Sans" panose="020B0606030504020204" pitchFamily="34" charset="0"/>
                <a:cs typeface="Open Sans" panose="020B0606030504020204" pitchFamily="34" charset="0"/>
              </a:rPr>
              <a:t>What are </a:t>
            </a:r>
            <a:r>
              <a:rPr kumimoji="0" lang="en-US" sz="1000" b="1" i="0" u="none" strike="noStrike" kern="1200" cap="none" spc="0" normalizeH="0" baseline="0" noProof="0" dirty="0">
                <a:ln>
                  <a:noFill/>
                </a:ln>
                <a:solidFill>
                  <a:srgbClr val="000000"/>
                </a:solidFill>
                <a:effectLst/>
                <a:uLnTx/>
                <a:uFillTx/>
                <a:ea typeface="Open Sans" panose="020B0606030504020204" pitchFamily="34" charset="0"/>
                <a:cs typeface="Open Sans" panose="020B0606030504020204" pitchFamily="34" charset="0"/>
              </a:rPr>
              <a:t>other brands </a:t>
            </a:r>
            <a:r>
              <a:rPr kumimoji="0" lang="en-US" sz="1000" b="0" i="0" u="none" strike="noStrike" kern="1200" cap="none" spc="0" normalizeH="0" baseline="0" noProof="0" dirty="0">
                <a:ln>
                  <a:noFill/>
                </a:ln>
                <a:solidFill>
                  <a:srgbClr val="000000"/>
                </a:solidFill>
                <a:effectLst/>
                <a:uLnTx/>
                <a:uFillTx/>
                <a:ea typeface="Open Sans" panose="020B0606030504020204" pitchFamily="34" charset="0"/>
                <a:cs typeface="Open Sans" panose="020B0606030504020204" pitchFamily="34" charset="0"/>
              </a:rPr>
              <a:t>doing differently (if anything) for these segments that are driving growth?</a:t>
            </a:r>
          </a:p>
        </p:txBody>
      </p:sp>
      <p:sp>
        <p:nvSpPr>
          <p:cNvPr id="31" name="Rectangle 30">
            <a:extLst>
              <a:ext uri="{FF2B5EF4-FFF2-40B4-BE49-F238E27FC236}">
                <a16:creationId xmlns:a16="http://schemas.microsoft.com/office/drawing/2014/main" id="{825F9616-7633-41AE-A223-682E744D37F9}"/>
              </a:ext>
            </a:extLst>
          </p:cNvPr>
          <p:cNvSpPr/>
          <p:nvPr/>
        </p:nvSpPr>
        <p:spPr>
          <a:xfrm>
            <a:off x="5354398" y="4285308"/>
            <a:ext cx="6323377" cy="810478"/>
          </a:xfrm>
          <a:prstGeom prst="rect">
            <a:avLst/>
          </a:prstGeom>
        </p:spPr>
        <p:txBody>
          <a:bodyPr wrap="square">
            <a:spAutoFit/>
          </a:bodyPr>
          <a:lstStyle/>
          <a:p>
            <a:pPr marL="111125" marR="0" lvl="1" indent="-111125" algn="l" defTabSz="914400" rtl="0" eaLnBrk="1" fontAlgn="auto" latinLnBrk="0" hangingPunct="1">
              <a:lnSpc>
                <a:spcPct val="100000"/>
              </a:lnSpc>
              <a:spcBef>
                <a:spcPts val="400"/>
              </a:spcBef>
              <a:spcAft>
                <a:spcPts val="0"/>
              </a:spcAft>
              <a:buClrTx/>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Which </a:t>
            </a:r>
            <a:r>
              <a:rPr kumimoji="0" lang="en-US" sz="1000" b="1" i="0" u="none" strike="noStrike" kern="1200" cap="none" spc="0" normalizeH="0" baseline="0" noProof="0" dirty="0">
                <a:ln>
                  <a:noFill/>
                </a:ln>
                <a:solidFill>
                  <a:srgbClr val="000000"/>
                </a:solidFill>
                <a:effectLst/>
                <a:uLnTx/>
                <a:uFillTx/>
                <a:ea typeface="+mn-ea"/>
                <a:cs typeface="+mn-cs"/>
              </a:rPr>
              <a:t>moments of influence or pain points </a:t>
            </a:r>
            <a:r>
              <a:rPr kumimoji="0" lang="en-US" sz="1000" b="0" i="0" u="none" strike="noStrike" kern="1200" cap="none" spc="0" normalizeH="0" baseline="0" noProof="0" dirty="0">
                <a:ln>
                  <a:noFill/>
                </a:ln>
                <a:solidFill>
                  <a:srgbClr val="000000"/>
                </a:solidFill>
                <a:effectLst/>
                <a:uLnTx/>
                <a:uFillTx/>
                <a:ea typeface="+mn-ea"/>
                <a:cs typeface="+mn-cs"/>
              </a:rPr>
              <a:t>will we focus on across priority segments? </a:t>
            </a:r>
          </a:p>
          <a:p>
            <a:pPr marL="111125" marR="0" lvl="1" indent="-111125" algn="l" defTabSz="914400" rtl="0" eaLnBrk="1" fontAlgn="auto" latinLnBrk="0" hangingPunct="1">
              <a:lnSpc>
                <a:spcPct val="100000"/>
              </a:lnSpc>
              <a:spcBef>
                <a:spcPts val="400"/>
              </a:spcBef>
              <a:spcAft>
                <a:spcPts val="0"/>
              </a:spcAft>
              <a:buClrTx/>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Where and </a:t>
            </a:r>
            <a:r>
              <a:rPr kumimoji="0" lang="en-US" sz="1000" b="1" i="0" u="none" strike="noStrike" kern="1200" cap="none" spc="0" normalizeH="0" baseline="0" noProof="0" dirty="0">
                <a:ln>
                  <a:noFill/>
                </a:ln>
                <a:solidFill>
                  <a:srgbClr val="000000"/>
                </a:solidFill>
                <a:effectLst/>
                <a:uLnTx/>
                <a:uFillTx/>
                <a:ea typeface="+mn-ea"/>
                <a:cs typeface="+mn-cs"/>
              </a:rPr>
              <a:t>how will we intervene </a:t>
            </a:r>
            <a:r>
              <a:rPr kumimoji="0" lang="en-US" sz="1000" b="0" i="0" u="none" strike="noStrike" kern="1200" cap="none" spc="0" normalizeH="0" baseline="0" noProof="0" dirty="0">
                <a:ln>
                  <a:noFill/>
                </a:ln>
                <a:solidFill>
                  <a:srgbClr val="000000"/>
                </a:solidFill>
                <a:effectLst/>
                <a:uLnTx/>
                <a:uFillTx/>
                <a:ea typeface="+mn-ea"/>
                <a:cs typeface="+mn-cs"/>
              </a:rPr>
              <a:t>to change behavior (e.g., occasion, price, offer, experience, advertising)?</a:t>
            </a:r>
          </a:p>
          <a:p>
            <a:pPr marL="111125" marR="0" lvl="1" indent="-111125" algn="l" defTabSz="914400" rtl="0" eaLnBrk="1" fontAlgn="auto" latinLnBrk="0" hangingPunct="1">
              <a:lnSpc>
                <a:spcPct val="100000"/>
              </a:lnSpc>
              <a:spcBef>
                <a:spcPts val="400"/>
              </a:spcBef>
              <a:spcAft>
                <a:spcPts val="0"/>
              </a:spcAft>
              <a:buClrTx/>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What benefits will </a:t>
            </a:r>
            <a:r>
              <a:rPr kumimoji="0" lang="en-US" sz="1000" b="1" i="0" u="none" strike="noStrike" kern="1200" cap="none" spc="0" normalizeH="0" baseline="0" noProof="0" dirty="0">
                <a:ln>
                  <a:noFill/>
                </a:ln>
                <a:solidFill>
                  <a:srgbClr val="000000"/>
                </a:solidFill>
                <a:effectLst/>
                <a:uLnTx/>
                <a:uFillTx/>
                <a:ea typeface="+mn-ea"/>
                <a:cs typeface="+mn-cs"/>
              </a:rPr>
              <a:t>differentiate Client brands from the competition</a:t>
            </a:r>
            <a:r>
              <a:rPr kumimoji="0" lang="en-US" sz="1000" b="0" i="0" u="none" strike="noStrike" kern="1200" cap="none" spc="0" normalizeH="0" baseline="0" noProof="0" dirty="0">
                <a:ln>
                  <a:noFill/>
                </a:ln>
                <a:solidFill>
                  <a:srgbClr val="000000"/>
                </a:solidFill>
                <a:effectLst/>
                <a:uLnTx/>
                <a:uFillTx/>
                <a:ea typeface="+mn-ea"/>
                <a:cs typeface="+mn-cs"/>
              </a:rPr>
              <a:t>?</a:t>
            </a:r>
          </a:p>
        </p:txBody>
      </p:sp>
      <p:cxnSp>
        <p:nvCxnSpPr>
          <p:cNvPr id="32" name="Straight Connector 31">
            <a:extLst>
              <a:ext uri="{FF2B5EF4-FFF2-40B4-BE49-F238E27FC236}">
                <a16:creationId xmlns:a16="http://schemas.microsoft.com/office/drawing/2014/main" id="{F57BCE1A-669A-4603-8C7E-E111EC96BBEC}"/>
              </a:ext>
            </a:extLst>
          </p:cNvPr>
          <p:cNvCxnSpPr>
            <a:cxnSpLocks/>
          </p:cNvCxnSpPr>
          <p:nvPr/>
        </p:nvCxnSpPr>
        <p:spPr>
          <a:xfrm>
            <a:off x="4909967" y="3161712"/>
            <a:ext cx="6767808"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07BC6B4-A97C-43DD-8D34-6CFF6229E130}"/>
              </a:ext>
            </a:extLst>
          </p:cNvPr>
          <p:cNvCxnSpPr>
            <a:cxnSpLocks/>
          </p:cNvCxnSpPr>
          <p:nvPr/>
        </p:nvCxnSpPr>
        <p:spPr>
          <a:xfrm>
            <a:off x="4543172" y="4168412"/>
            <a:ext cx="7134603"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CE6A6D08-706D-4476-880F-9DE35A48FCA3}"/>
              </a:ext>
            </a:extLst>
          </p:cNvPr>
          <p:cNvCxnSpPr>
            <a:cxnSpLocks/>
          </p:cNvCxnSpPr>
          <p:nvPr/>
        </p:nvCxnSpPr>
        <p:spPr>
          <a:xfrm>
            <a:off x="4244142" y="5171958"/>
            <a:ext cx="7433633"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96553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FEF450-C040-4C8D-8820-088F457B5105}"/>
              </a:ext>
            </a:extLst>
          </p:cNvPr>
          <p:cNvSpPr>
            <a:spLocks noGrp="1"/>
          </p:cNvSpPr>
          <p:nvPr>
            <p:ph type="body" sz="quarter" idx="10"/>
          </p:nvPr>
        </p:nvSpPr>
        <p:spPr>
          <a:xfrm>
            <a:off x="952499" y="1206500"/>
            <a:ext cx="7333661" cy="2257425"/>
          </a:xfrm>
        </p:spPr>
        <p:txBody>
          <a:bodyPr/>
          <a:lstStyle/>
          <a:p>
            <a:r>
              <a:rPr lang="en-US" dirty="0">
                <a:solidFill>
                  <a:srgbClr val="000000"/>
                </a:solidFill>
              </a:rPr>
              <a:t>Statement</a:t>
            </a:r>
            <a:endParaRPr lang="en-US" sz="1200" spc="300" dirty="0">
              <a:solidFill>
                <a:srgbClr val="000000"/>
              </a:solidFill>
              <a:latin typeface="Open Sans"/>
            </a:endParaRPr>
          </a:p>
          <a:p>
            <a:endParaRPr lang="en-US" dirty="0"/>
          </a:p>
        </p:txBody>
      </p:sp>
      <p:grpSp>
        <p:nvGrpSpPr>
          <p:cNvPr id="3" name="Group 2">
            <a:extLst>
              <a:ext uri="{FF2B5EF4-FFF2-40B4-BE49-F238E27FC236}">
                <a16:creationId xmlns:a16="http://schemas.microsoft.com/office/drawing/2014/main" id="{B4055B49-9484-4A89-9694-7C94BA5B367F}"/>
              </a:ext>
            </a:extLst>
          </p:cNvPr>
          <p:cNvGrpSpPr/>
          <p:nvPr/>
        </p:nvGrpSpPr>
        <p:grpSpPr>
          <a:xfrm>
            <a:off x="2277508" y="6274108"/>
            <a:ext cx="7636984" cy="501266"/>
            <a:chOff x="2277508" y="6274107"/>
            <a:chExt cx="7636984" cy="583893"/>
          </a:xfrm>
        </p:grpSpPr>
        <p:sp>
          <p:nvSpPr>
            <p:cNvPr id="4" name="Text Placeholder 1">
              <a:extLst>
                <a:ext uri="{FF2B5EF4-FFF2-40B4-BE49-F238E27FC236}">
                  <a16:creationId xmlns:a16="http://schemas.microsoft.com/office/drawing/2014/main" id="{15656476-516D-4F3A-93C2-9BBBE8D611A4}"/>
                </a:ext>
              </a:extLst>
            </p:cNvPr>
            <p:cNvSpPr txBox="1">
              <a:spLocks/>
            </p:cNvSpPr>
            <p:nvPr/>
          </p:nvSpPr>
          <p:spPr>
            <a:xfrm>
              <a:off x="2277508" y="6274107"/>
              <a:ext cx="7636984" cy="583893"/>
            </a:xfrm>
            <a:prstGeom prst="rect">
              <a:avLst/>
            </a:prstGeom>
          </p:spPr>
          <p:txBody>
            <a:bodyPr vert="horz"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800" dirty="0">
                  <a:solidFill>
                    <a:srgbClr val="000000"/>
                  </a:solidFill>
                  <a:latin typeface="+mn-lt"/>
                </a:rPr>
                <a:t>Click Here to Return to the Table of Contents</a:t>
              </a:r>
              <a:endParaRPr lang="en-US" sz="2800" dirty="0">
                <a:latin typeface="+mn-lt"/>
              </a:endParaRPr>
            </a:p>
          </p:txBody>
        </p:sp>
        <p:sp>
          <p:nvSpPr>
            <p:cNvPr id="5" name="Rectangle 4">
              <a:hlinkClick r:id="rId2" action="ppaction://hlinksldjump"/>
              <a:extLst>
                <a:ext uri="{FF2B5EF4-FFF2-40B4-BE49-F238E27FC236}">
                  <a16:creationId xmlns:a16="http://schemas.microsoft.com/office/drawing/2014/main" id="{B2CC4B2D-79F3-4FB5-8DDF-FE3E5A7FA088}"/>
                </a:ext>
              </a:extLst>
            </p:cNvPr>
            <p:cNvSpPr/>
            <p:nvPr/>
          </p:nvSpPr>
          <p:spPr>
            <a:xfrm>
              <a:off x="2401677" y="6274107"/>
              <a:ext cx="7425369" cy="4792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spTree>
    <p:extLst>
      <p:ext uri="{BB962C8B-B14F-4D97-AF65-F5344CB8AC3E}">
        <p14:creationId xmlns:p14="http://schemas.microsoft.com/office/powerpoint/2010/main" val="2550666300"/>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9" name="Object 128" hidden="1">
            <a:extLst>
              <a:ext uri="{FF2B5EF4-FFF2-40B4-BE49-F238E27FC236}">
                <a16:creationId xmlns:a16="http://schemas.microsoft.com/office/drawing/2014/main" id="{5F33DD49-0AB2-45AA-9375-FE963EE8D95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612" name="think-cell Slide" r:id="rId6" imgW="395" imgH="396" progId="TCLayout.ActiveDocument.1">
                  <p:embed/>
                </p:oleObj>
              </mc:Choice>
              <mc:Fallback>
                <p:oleObj name="think-cell Slide" r:id="rId6" imgW="395" imgH="396" progId="TCLayout.ActiveDocument.1">
                  <p:embed/>
                  <p:pic>
                    <p:nvPicPr>
                      <p:cNvPr id="129" name="Object 128" hidden="1">
                        <a:extLst>
                          <a:ext uri="{FF2B5EF4-FFF2-40B4-BE49-F238E27FC236}">
                            <a16:creationId xmlns:a16="http://schemas.microsoft.com/office/drawing/2014/main" id="{5F33DD49-0AB2-45AA-9375-FE963EE8D95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8" name="Rectangle 127" hidden="1">
            <a:extLst>
              <a:ext uri="{FF2B5EF4-FFF2-40B4-BE49-F238E27FC236}">
                <a16:creationId xmlns:a16="http://schemas.microsoft.com/office/drawing/2014/main" id="{66444307-59E6-44C4-85CE-FC14E6D09A3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D030A2B0-758D-4C3A-A1A4-31BB90703DAC}"/>
              </a:ext>
            </a:extLst>
          </p:cNvPr>
          <p:cNvSpPr>
            <a:spLocks noGrp="1"/>
          </p:cNvSpPr>
          <p:nvPr>
            <p:ph type="title"/>
          </p:nvPr>
        </p:nvSpPr>
        <p:spPr/>
        <p:txBody>
          <a:bodyPr/>
          <a:lstStyle/>
          <a:p>
            <a:r>
              <a:rPr lang="en-US" dirty="0"/>
              <a:t>Winning requires mastering the following</a:t>
            </a:r>
          </a:p>
        </p:txBody>
      </p:sp>
      <p:sp>
        <p:nvSpPr>
          <p:cNvPr id="3" name="Text Placeholder 2">
            <a:extLst>
              <a:ext uri="{FF2B5EF4-FFF2-40B4-BE49-F238E27FC236}">
                <a16:creationId xmlns:a16="http://schemas.microsoft.com/office/drawing/2014/main" id="{A635E37D-D974-4EFF-9C9C-C5496A161467}"/>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4A547F13-40BA-487F-B3B4-6880B4EC2695}"/>
              </a:ext>
            </a:extLst>
          </p:cNvPr>
          <p:cNvSpPr>
            <a:spLocks noGrp="1"/>
          </p:cNvSpPr>
          <p:nvPr>
            <p:ph type="body" sz="quarter" idx="15"/>
          </p:nvPr>
        </p:nvSpPr>
        <p:spPr>
          <a:xfrm>
            <a:off x="914970" y="466343"/>
            <a:ext cx="3841537" cy="203581"/>
          </a:xfrm>
        </p:spPr>
        <p:txBody>
          <a:bodyPr/>
          <a:lstStyle/>
          <a:p>
            <a:r>
              <a:rPr lang="en-US" dirty="0"/>
              <a:t>FRAMEWORKS &amp; CONCEPT ILLUSTRATION</a:t>
            </a:r>
          </a:p>
        </p:txBody>
      </p:sp>
      <p:cxnSp>
        <p:nvCxnSpPr>
          <p:cNvPr id="5" name="Straight Connector 4">
            <a:extLst>
              <a:ext uri="{FF2B5EF4-FFF2-40B4-BE49-F238E27FC236}">
                <a16:creationId xmlns:a16="http://schemas.microsoft.com/office/drawing/2014/main" id="{43BE9469-4814-4ACF-851F-E9F79719FF0D}"/>
              </a:ext>
            </a:extLst>
          </p:cNvPr>
          <p:cNvCxnSpPr>
            <a:cxnSpLocks/>
          </p:cNvCxnSpPr>
          <p:nvPr/>
        </p:nvCxnSpPr>
        <p:spPr>
          <a:xfrm>
            <a:off x="2668127" y="5317018"/>
            <a:ext cx="2477319" cy="1180"/>
          </a:xfrm>
          <a:prstGeom prst="line">
            <a:avLst/>
          </a:prstGeom>
          <a:ln w="92075" cmpd="sng">
            <a:solidFill>
              <a:schemeClr val="accent1"/>
            </a:solidFill>
          </a:ln>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C89DE4C2-4556-4E99-AAA1-EE31AFC5C88A}"/>
              </a:ext>
            </a:extLst>
          </p:cNvPr>
          <p:cNvCxnSpPr>
            <a:cxnSpLocks/>
          </p:cNvCxnSpPr>
          <p:nvPr/>
        </p:nvCxnSpPr>
        <p:spPr>
          <a:xfrm flipV="1">
            <a:off x="7376696" y="5306214"/>
            <a:ext cx="3204218" cy="10804"/>
          </a:xfrm>
          <a:prstGeom prst="line">
            <a:avLst/>
          </a:prstGeom>
          <a:ln w="92075" cmpd="sng">
            <a:solidFill>
              <a:schemeClr val="accent3"/>
            </a:solidFill>
          </a:ln>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598E0300-36E5-45E7-BAB8-E103397A8D17}"/>
              </a:ext>
            </a:extLst>
          </p:cNvPr>
          <p:cNvCxnSpPr>
            <a:cxnSpLocks/>
          </p:cNvCxnSpPr>
          <p:nvPr/>
        </p:nvCxnSpPr>
        <p:spPr>
          <a:xfrm>
            <a:off x="2080158" y="2208673"/>
            <a:ext cx="2954164" cy="0"/>
          </a:xfrm>
          <a:prstGeom prst="line">
            <a:avLst/>
          </a:prstGeom>
          <a:solidFill>
            <a:schemeClr val="bg1">
              <a:lumMod val="85000"/>
            </a:schemeClr>
          </a:solidFill>
          <a:ln w="92075" cmpd="sng">
            <a:solidFill>
              <a:schemeClr val="accent4"/>
            </a:solidFill>
          </a:ln>
        </p:spPr>
        <p:style>
          <a:lnRef idx="2">
            <a:schemeClr val="accent1"/>
          </a:lnRef>
          <a:fillRef idx="0">
            <a:schemeClr val="accent1"/>
          </a:fillRef>
          <a:effectRef idx="1">
            <a:schemeClr val="accent1"/>
          </a:effectRef>
          <a:fontRef idx="minor">
            <a:schemeClr val="tx1"/>
          </a:fontRef>
        </p:style>
      </p:cxnSp>
      <p:sp>
        <p:nvSpPr>
          <p:cNvPr id="8" name="Title 1">
            <a:extLst>
              <a:ext uri="{FF2B5EF4-FFF2-40B4-BE49-F238E27FC236}">
                <a16:creationId xmlns:a16="http://schemas.microsoft.com/office/drawing/2014/main" id="{02E681A1-AFE8-44BC-873B-7B393252D535}"/>
              </a:ext>
            </a:extLst>
          </p:cNvPr>
          <p:cNvSpPr txBox="1">
            <a:spLocks/>
          </p:cNvSpPr>
          <p:nvPr/>
        </p:nvSpPr>
        <p:spPr>
          <a:xfrm>
            <a:off x="914400" y="694944"/>
            <a:ext cx="10363200"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sz="3000" dirty="0"/>
          </a:p>
        </p:txBody>
      </p:sp>
      <p:cxnSp>
        <p:nvCxnSpPr>
          <p:cNvPr id="9" name="Straight Connector 8">
            <a:extLst>
              <a:ext uri="{FF2B5EF4-FFF2-40B4-BE49-F238E27FC236}">
                <a16:creationId xmlns:a16="http://schemas.microsoft.com/office/drawing/2014/main" id="{17A1273A-7263-4AF6-8F8F-6790FB533ED0}"/>
              </a:ext>
            </a:extLst>
          </p:cNvPr>
          <p:cNvCxnSpPr>
            <a:cxnSpLocks/>
          </p:cNvCxnSpPr>
          <p:nvPr/>
        </p:nvCxnSpPr>
        <p:spPr>
          <a:xfrm>
            <a:off x="6781646" y="2216991"/>
            <a:ext cx="3424800" cy="0"/>
          </a:xfrm>
          <a:prstGeom prst="line">
            <a:avLst/>
          </a:prstGeom>
          <a:ln w="92075" cmpd="sng">
            <a:solidFill>
              <a:schemeClr val="accent2"/>
            </a:solidFill>
          </a:ln>
        </p:spPr>
        <p:style>
          <a:lnRef idx="2">
            <a:schemeClr val="accent1"/>
          </a:lnRef>
          <a:fillRef idx="0">
            <a:schemeClr val="accent1"/>
          </a:fillRef>
          <a:effectRef idx="1">
            <a:schemeClr val="accent1"/>
          </a:effectRef>
          <a:fontRef idx="minor">
            <a:schemeClr val="tx1"/>
          </a:fontRef>
        </p:style>
      </p:cxnSp>
      <p:sp>
        <p:nvSpPr>
          <p:cNvPr id="10" name="Rectangle 3">
            <a:extLst>
              <a:ext uri="{FF2B5EF4-FFF2-40B4-BE49-F238E27FC236}">
                <a16:creationId xmlns:a16="http://schemas.microsoft.com/office/drawing/2014/main" id="{33042690-284E-4EC1-9848-9C352B54F0DB}"/>
              </a:ext>
            </a:extLst>
          </p:cNvPr>
          <p:cNvSpPr>
            <a:spLocks/>
          </p:cNvSpPr>
          <p:nvPr/>
        </p:nvSpPr>
        <p:spPr bwMode="auto">
          <a:xfrm>
            <a:off x="6819900" y="1911662"/>
            <a:ext cx="3457213" cy="1055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hronicle Display Black"/>
                <a:ea typeface="+mn-ea"/>
                <a:cs typeface="Frutiger Next Pro Medium"/>
                <a:sym typeface="Frutiger Next Pro Medium" charset="0"/>
              </a:rPr>
              <a:t>Master</a:t>
            </a:r>
            <a:r>
              <a:rPr kumimoji="0" lang="en-US" sz="2400" b="0" i="0" u="none" strike="noStrike" kern="1200" cap="none" spc="0" normalizeH="0" baseline="0" noProof="0" dirty="0">
                <a:ln>
                  <a:noFill/>
                </a:ln>
                <a:solidFill>
                  <a:srgbClr val="000000"/>
                </a:solidFill>
                <a:effectLst/>
                <a:uLnTx/>
                <a:uFillTx/>
                <a:latin typeface="Chronicle Display Black"/>
                <a:ea typeface="+mn-ea"/>
                <a:cs typeface="Frutiger Next Pro Medium"/>
                <a:sym typeface="Frutiger Next Pro Medium" charset="0"/>
              </a:rPr>
              <a:t> the Decisioning</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Frutiger Next Pro Medium" charset="0"/>
                <a:cs typeface="Frutiger Next Pro Medium" charset="0"/>
              </a:rPr>
              <a:t>Business intelligence and insight for real-time personalization and content decisions that optimize return</a:t>
            </a:r>
          </a:p>
        </p:txBody>
      </p:sp>
      <p:sp>
        <p:nvSpPr>
          <p:cNvPr id="11" name="Rectangle 3">
            <a:extLst>
              <a:ext uri="{FF2B5EF4-FFF2-40B4-BE49-F238E27FC236}">
                <a16:creationId xmlns:a16="http://schemas.microsoft.com/office/drawing/2014/main" id="{58A2CED2-8C61-4D17-B96C-C6DCB7917F3A}"/>
              </a:ext>
            </a:extLst>
          </p:cNvPr>
          <p:cNvSpPr>
            <a:spLocks/>
          </p:cNvSpPr>
          <p:nvPr/>
        </p:nvSpPr>
        <p:spPr bwMode="auto">
          <a:xfrm>
            <a:off x="7404100" y="5035862"/>
            <a:ext cx="4391908" cy="9483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hronicle Display Black"/>
                <a:ea typeface="+mn-ea"/>
                <a:cs typeface="Frutiger Next Pro Medium"/>
                <a:sym typeface="Frutiger Next Pro Medium" charset="0"/>
              </a:rPr>
              <a:t>Master</a:t>
            </a:r>
            <a:r>
              <a:rPr kumimoji="0" lang="en-US" sz="2400" b="0" i="0" u="none" strike="noStrike" kern="1200" cap="none" spc="0" normalizeH="0" baseline="0" noProof="0" dirty="0">
                <a:ln>
                  <a:noFill/>
                </a:ln>
                <a:solidFill>
                  <a:srgbClr val="000000"/>
                </a:solidFill>
                <a:effectLst/>
                <a:uLnTx/>
                <a:uFillTx/>
                <a:latin typeface="Chronicle Display Black"/>
                <a:ea typeface="+mn-ea"/>
                <a:cs typeface="Frutiger Next Pro Medium"/>
                <a:sym typeface="Frutiger Next Pro Medium" charset="0"/>
              </a:rPr>
              <a:t> the Operations</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Frutiger Next Pro Medium" charset="0"/>
                <a:cs typeface="Frutiger Next Pro Medium" charset="0"/>
              </a:rPr>
              <a:t>Stand-up a service delivery model capable of launching near-in use cases while building the enabling requirements of data, talent, tools, tech, &amp; content for a sustainable capability</a:t>
            </a:r>
          </a:p>
        </p:txBody>
      </p:sp>
      <p:sp>
        <p:nvSpPr>
          <p:cNvPr id="12" name="Title 1">
            <a:extLst>
              <a:ext uri="{FF2B5EF4-FFF2-40B4-BE49-F238E27FC236}">
                <a16:creationId xmlns:a16="http://schemas.microsoft.com/office/drawing/2014/main" id="{45727C43-ADD9-4BCE-ABB1-EE95A6485993}"/>
              </a:ext>
            </a:extLst>
          </p:cNvPr>
          <p:cNvSpPr txBox="1">
            <a:spLocks/>
          </p:cNvSpPr>
          <p:nvPr/>
        </p:nvSpPr>
        <p:spPr>
          <a:xfrm>
            <a:off x="8839060" y="2290417"/>
            <a:ext cx="2850045" cy="2284688"/>
          </a:xfrm>
          <a:prstGeom prst="rect">
            <a:avLst/>
          </a:prstGeom>
        </p:spPr>
        <p:txBody>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marL="0" marR="0" lvl="0" indent="0" algn="l" defTabSz="914400" rtl="0" eaLnBrk="1" fontAlgn="auto" latinLnBrk="0" hangingPunct="1">
              <a:lnSpc>
                <a:spcPts val="20000"/>
              </a:lnSpc>
              <a:spcBef>
                <a:spcPct val="0"/>
              </a:spcBef>
              <a:spcAft>
                <a:spcPts val="0"/>
              </a:spcAft>
              <a:buClrTx/>
              <a:buSzTx/>
              <a:buFontTx/>
              <a:buNone/>
              <a:tabLst/>
              <a:defRPr/>
            </a:pPr>
            <a:r>
              <a:rPr kumimoji="0" lang="en-US" sz="8600" b="0" i="0" u="none" strike="noStrike" kern="1200" cap="none" spc="-100" normalizeH="0" baseline="0" noProof="0" dirty="0">
                <a:ln>
                  <a:noFill/>
                </a:ln>
                <a:solidFill>
                  <a:srgbClr val="000000"/>
                </a:solidFill>
                <a:effectLst/>
                <a:uLnTx/>
                <a:uFillTx/>
                <a:latin typeface="Chronicle Display Black"/>
              </a:rPr>
              <a:t>Win!</a:t>
            </a:r>
          </a:p>
        </p:txBody>
      </p:sp>
      <p:sp>
        <p:nvSpPr>
          <p:cNvPr id="13" name="Oval 12">
            <a:extLst>
              <a:ext uri="{FF2B5EF4-FFF2-40B4-BE49-F238E27FC236}">
                <a16:creationId xmlns:a16="http://schemas.microsoft.com/office/drawing/2014/main" id="{333E9351-635F-4FD2-BE34-59A4F856C076}"/>
              </a:ext>
            </a:extLst>
          </p:cNvPr>
          <p:cNvSpPr/>
          <p:nvPr/>
        </p:nvSpPr>
        <p:spPr>
          <a:xfrm>
            <a:off x="6692900" y="4921562"/>
            <a:ext cx="603697" cy="603697"/>
          </a:xfrm>
          <a:prstGeom prst="ellipse">
            <a:avLst/>
          </a:prstGeom>
          <a:noFill/>
          <a:ln w="412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14" name="Group 13">
            <a:extLst>
              <a:ext uri="{FF2B5EF4-FFF2-40B4-BE49-F238E27FC236}">
                <a16:creationId xmlns:a16="http://schemas.microsoft.com/office/drawing/2014/main" id="{034704F4-A426-468B-9136-6D87CDE2EAB1}"/>
              </a:ext>
            </a:extLst>
          </p:cNvPr>
          <p:cNvGrpSpPr/>
          <p:nvPr/>
        </p:nvGrpSpPr>
        <p:grpSpPr>
          <a:xfrm>
            <a:off x="2120900" y="5064526"/>
            <a:ext cx="293901" cy="295100"/>
            <a:chOff x="2310468" y="1980460"/>
            <a:chExt cx="435405" cy="437181"/>
          </a:xfrm>
          <a:solidFill>
            <a:schemeClr val="tx1"/>
          </a:solidFill>
        </p:grpSpPr>
        <p:grpSp>
          <p:nvGrpSpPr>
            <p:cNvPr id="15" name="Group 14">
              <a:extLst>
                <a:ext uri="{FF2B5EF4-FFF2-40B4-BE49-F238E27FC236}">
                  <a16:creationId xmlns:a16="http://schemas.microsoft.com/office/drawing/2014/main" id="{AE8E6BA6-E82F-4F97-9CA7-27628AFC68E7}"/>
                </a:ext>
              </a:extLst>
            </p:cNvPr>
            <p:cNvGrpSpPr/>
            <p:nvPr/>
          </p:nvGrpSpPr>
          <p:grpSpPr>
            <a:xfrm>
              <a:off x="2310468" y="1980460"/>
              <a:ext cx="435405" cy="437181"/>
              <a:chOff x="2310468" y="1980460"/>
              <a:chExt cx="435405" cy="437181"/>
            </a:xfrm>
            <a:grpFill/>
          </p:grpSpPr>
          <p:grpSp>
            <p:nvGrpSpPr>
              <p:cNvPr id="17" name="Group 16">
                <a:extLst>
                  <a:ext uri="{FF2B5EF4-FFF2-40B4-BE49-F238E27FC236}">
                    <a16:creationId xmlns:a16="http://schemas.microsoft.com/office/drawing/2014/main" id="{3B0D0A30-C70A-4E31-AA38-97B29D9DF5F4}"/>
                  </a:ext>
                </a:extLst>
              </p:cNvPr>
              <p:cNvGrpSpPr/>
              <p:nvPr/>
            </p:nvGrpSpPr>
            <p:grpSpPr>
              <a:xfrm>
                <a:off x="2425304" y="2086928"/>
                <a:ext cx="320569" cy="330713"/>
                <a:chOff x="2425304" y="2086928"/>
                <a:chExt cx="320569" cy="330713"/>
              </a:xfrm>
              <a:grpFill/>
            </p:grpSpPr>
            <p:sp>
              <p:nvSpPr>
                <p:cNvPr id="22" name="Freeform 144">
                  <a:extLst>
                    <a:ext uri="{FF2B5EF4-FFF2-40B4-BE49-F238E27FC236}">
                      <a16:creationId xmlns:a16="http://schemas.microsoft.com/office/drawing/2014/main" id="{63C198BE-4299-4E47-B7D2-C7027020DCE8}"/>
                    </a:ext>
                  </a:extLst>
                </p:cNvPr>
                <p:cNvSpPr>
                  <a:spLocks/>
                </p:cNvSpPr>
                <p:nvPr/>
              </p:nvSpPr>
              <p:spPr bwMode="auto">
                <a:xfrm>
                  <a:off x="2630224" y="2086928"/>
                  <a:ext cx="115649" cy="113619"/>
                </a:xfrm>
                <a:custGeom>
                  <a:avLst/>
                  <a:gdLst>
                    <a:gd name="T0" fmla="*/ 69 w 113"/>
                    <a:gd name="T1" fmla="*/ 0 h 113"/>
                    <a:gd name="T2" fmla="*/ 69 w 113"/>
                    <a:gd name="T3" fmla="*/ 0 h 113"/>
                    <a:gd name="T4" fmla="*/ 61 w 113"/>
                    <a:gd name="T5" fmla="*/ 0 h 113"/>
                    <a:gd name="T6" fmla="*/ 53 w 113"/>
                    <a:gd name="T7" fmla="*/ 3 h 113"/>
                    <a:gd name="T8" fmla="*/ 45 w 113"/>
                    <a:gd name="T9" fmla="*/ 7 h 113"/>
                    <a:gd name="T10" fmla="*/ 38 w 113"/>
                    <a:gd name="T11" fmla="*/ 12 h 113"/>
                    <a:gd name="T12" fmla="*/ 33 w 113"/>
                    <a:gd name="T13" fmla="*/ 19 h 113"/>
                    <a:gd name="T14" fmla="*/ 29 w 113"/>
                    <a:gd name="T15" fmla="*/ 27 h 113"/>
                    <a:gd name="T16" fmla="*/ 26 w 113"/>
                    <a:gd name="T17" fmla="*/ 35 h 113"/>
                    <a:gd name="T18" fmla="*/ 25 w 113"/>
                    <a:gd name="T19" fmla="*/ 43 h 113"/>
                    <a:gd name="T20" fmla="*/ 25 w 113"/>
                    <a:gd name="T21" fmla="*/ 43 h 113"/>
                    <a:gd name="T22" fmla="*/ 26 w 113"/>
                    <a:gd name="T23" fmla="*/ 51 h 113"/>
                    <a:gd name="T24" fmla="*/ 27 w 113"/>
                    <a:gd name="T25" fmla="*/ 58 h 113"/>
                    <a:gd name="T26" fmla="*/ 30 w 113"/>
                    <a:gd name="T27" fmla="*/ 64 h 113"/>
                    <a:gd name="T28" fmla="*/ 34 w 113"/>
                    <a:gd name="T29" fmla="*/ 70 h 113"/>
                    <a:gd name="T30" fmla="*/ 2 w 113"/>
                    <a:gd name="T31" fmla="*/ 102 h 113"/>
                    <a:gd name="T32" fmla="*/ 2 w 113"/>
                    <a:gd name="T33" fmla="*/ 102 h 113"/>
                    <a:gd name="T34" fmla="*/ 0 w 113"/>
                    <a:gd name="T35" fmla="*/ 103 h 113"/>
                    <a:gd name="T36" fmla="*/ 0 w 113"/>
                    <a:gd name="T37" fmla="*/ 106 h 113"/>
                    <a:gd name="T38" fmla="*/ 0 w 113"/>
                    <a:gd name="T39" fmla="*/ 109 h 113"/>
                    <a:gd name="T40" fmla="*/ 2 w 113"/>
                    <a:gd name="T41" fmla="*/ 111 h 113"/>
                    <a:gd name="T42" fmla="*/ 2 w 113"/>
                    <a:gd name="T43" fmla="*/ 111 h 113"/>
                    <a:gd name="T44" fmla="*/ 4 w 113"/>
                    <a:gd name="T45" fmla="*/ 113 h 113"/>
                    <a:gd name="T46" fmla="*/ 6 w 113"/>
                    <a:gd name="T47" fmla="*/ 113 h 113"/>
                    <a:gd name="T48" fmla="*/ 6 w 113"/>
                    <a:gd name="T49" fmla="*/ 113 h 113"/>
                    <a:gd name="T50" fmla="*/ 8 w 113"/>
                    <a:gd name="T51" fmla="*/ 113 h 113"/>
                    <a:gd name="T52" fmla="*/ 11 w 113"/>
                    <a:gd name="T53" fmla="*/ 111 h 113"/>
                    <a:gd name="T54" fmla="*/ 43 w 113"/>
                    <a:gd name="T55" fmla="*/ 79 h 113"/>
                    <a:gd name="T56" fmla="*/ 43 w 113"/>
                    <a:gd name="T57" fmla="*/ 79 h 113"/>
                    <a:gd name="T58" fmla="*/ 49 w 113"/>
                    <a:gd name="T59" fmla="*/ 82 h 113"/>
                    <a:gd name="T60" fmla="*/ 56 w 113"/>
                    <a:gd name="T61" fmla="*/ 85 h 113"/>
                    <a:gd name="T62" fmla="*/ 62 w 113"/>
                    <a:gd name="T63" fmla="*/ 87 h 113"/>
                    <a:gd name="T64" fmla="*/ 69 w 113"/>
                    <a:gd name="T65" fmla="*/ 87 h 113"/>
                    <a:gd name="T66" fmla="*/ 69 w 113"/>
                    <a:gd name="T67" fmla="*/ 87 h 113"/>
                    <a:gd name="T68" fmla="*/ 78 w 113"/>
                    <a:gd name="T69" fmla="*/ 86 h 113"/>
                    <a:gd name="T70" fmla="*/ 86 w 113"/>
                    <a:gd name="T71" fmla="*/ 85 h 113"/>
                    <a:gd name="T72" fmla="*/ 94 w 113"/>
                    <a:gd name="T73" fmla="*/ 80 h 113"/>
                    <a:gd name="T74" fmla="*/ 100 w 113"/>
                    <a:gd name="T75" fmla="*/ 75 h 113"/>
                    <a:gd name="T76" fmla="*/ 107 w 113"/>
                    <a:gd name="T77" fmla="*/ 68 h 113"/>
                    <a:gd name="T78" fmla="*/ 111 w 113"/>
                    <a:gd name="T79" fmla="*/ 60 h 113"/>
                    <a:gd name="T80" fmla="*/ 112 w 113"/>
                    <a:gd name="T81" fmla="*/ 52 h 113"/>
                    <a:gd name="T82" fmla="*/ 113 w 113"/>
                    <a:gd name="T83" fmla="*/ 43 h 113"/>
                    <a:gd name="T84" fmla="*/ 113 w 113"/>
                    <a:gd name="T85" fmla="*/ 43 h 113"/>
                    <a:gd name="T86" fmla="*/ 112 w 113"/>
                    <a:gd name="T87" fmla="*/ 35 h 113"/>
                    <a:gd name="T88" fmla="*/ 111 w 113"/>
                    <a:gd name="T89" fmla="*/ 27 h 113"/>
                    <a:gd name="T90" fmla="*/ 107 w 113"/>
                    <a:gd name="T91" fmla="*/ 19 h 113"/>
                    <a:gd name="T92" fmla="*/ 100 w 113"/>
                    <a:gd name="T93" fmla="*/ 12 h 113"/>
                    <a:gd name="T94" fmla="*/ 94 w 113"/>
                    <a:gd name="T95" fmla="*/ 7 h 113"/>
                    <a:gd name="T96" fmla="*/ 86 w 113"/>
                    <a:gd name="T97" fmla="*/ 3 h 113"/>
                    <a:gd name="T98" fmla="*/ 78 w 113"/>
                    <a:gd name="T99" fmla="*/ 0 h 113"/>
                    <a:gd name="T100" fmla="*/ 69 w 113"/>
                    <a:gd name="T101" fmla="*/ 0 h 113"/>
                    <a:gd name="T102" fmla="*/ 69 w 113"/>
                    <a:gd name="T103"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3" h="113">
                      <a:moveTo>
                        <a:pt x="69" y="0"/>
                      </a:moveTo>
                      <a:lnTo>
                        <a:pt x="69" y="0"/>
                      </a:lnTo>
                      <a:lnTo>
                        <a:pt x="61" y="0"/>
                      </a:lnTo>
                      <a:lnTo>
                        <a:pt x="53" y="3"/>
                      </a:lnTo>
                      <a:lnTo>
                        <a:pt x="45" y="7"/>
                      </a:lnTo>
                      <a:lnTo>
                        <a:pt x="38" y="12"/>
                      </a:lnTo>
                      <a:lnTo>
                        <a:pt x="33" y="19"/>
                      </a:lnTo>
                      <a:lnTo>
                        <a:pt x="29" y="27"/>
                      </a:lnTo>
                      <a:lnTo>
                        <a:pt x="26" y="35"/>
                      </a:lnTo>
                      <a:lnTo>
                        <a:pt x="25" y="43"/>
                      </a:lnTo>
                      <a:lnTo>
                        <a:pt x="25" y="43"/>
                      </a:lnTo>
                      <a:lnTo>
                        <a:pt x="26" y="51"/>
                      </a:lnTo>
                      <a:lnTo>
                        <a:pt x="27" y="58"/>
                      </a:lnTo>
                      <a:lnTo>
                        <a:pt x="30" y="64"/>
                      </a:lnTo>
                      <a:lnTo>
                        <a:pt x="34" y="70"/>
                      </a:lnTo>
                      <a:lnTo>
                        <a:pt x="2" y="102"/>
                      </a:lnTo>
                      <a:lnTo>
                        <a:pt x="2" y="102"/>
                      </a:lnTo>
                      <a:lnTo>
                        <a:pt x="0" y="103"/>
                      </a:lnTo>
                      <a:lnTo>
                        <a:pt x="0" y="106"/>
                      </a:lnTo>
                      <a:lnTo>
                        <a:pt x="0" y="109"/>
                      </a:lnTo>
                      <a:lnTo>
                        <a:pt x="2" y="111"/>
                      </a:lnTo>
                      <a:lnTo>
                        <a:pt x="2" y="111"/>
                      </a:lnTo>
                      <a:lnTo>
                        <a:pt x="4" y="113"/>
                      </a:lnTo>
                      <a:lnTo>
                        <a:pt x="6" y="113"/>
                      </a:lnTo>
                      <a:lnTo>
                        <a:pt x="6" y="113"/>
                      </a:lnTo>
                      <a:lnTo>
                        <a:pt x="8" y="113"/>
                      </a:lnTo>
                      <a:lnTo>
                        <a:pt x="11" y="111"/>
                      </a:lnTo>
                      <a:lnTo>
                        <a:pt x="43" y="79"/>
                      </a:lnTo>
                      <a:lnTo>
                        <a:pt x="43" y="79"/>
                      </a:lnTo>
                      <a:lnTo>
                        <a:pt x="49" y="82"/>
                      </a:lnTo>
                      <a:lnTo>
                        <a:pt x="56" y="85"/>
                      </a:lnTo>
                      <a:lnTo>
                        <a:pt x="62" y="87"/>
                      </a:lnTo>
                      <a:lnTo>
                        <a:pt x="69" y="87"/>
                      </a:lnTo>
                      <a:lnTo>
                        <a:pt x="69" y="87"/>
                      </a:lnTo>
                      <a:lnTo>
                        <a:pt x="78" y="86"/>
                      </a:lnTo>
                      <a:lnTo>
                        <a:pt x="86" y="85"/>
                      </a:lnTo>
                      <a:lnTo>
                        <a:pt x="94" y="80"/>
                      </a:lnTo>
                      <a:lnTo>
                        <a:pt x="100" y="75"/>
                      </a:lnTo>
                      <a:lnTo>
                        <a:pt x="107" y="68"/>
                      </a:lnTo>
                      <a:lnTo>
                        <a:pt x="111" y="60"/>
                      </a:lnTo>
                      <a:lnTo>
                        <a:pt x="112" y="52"/>
                      </a:lnTo>
                      <a:lnTo>
                        <a:pt x="113" y="43"/>
                      </a:lnTo>
                      <a:lnTo>
                        <a:pt x="113" y="43"/>
                      </a:lnTo>
                      <a:lnTo>
                        <a:pt x="112" y="35"/>
                      </a:lnTo>
                      <a:lnTo>
                        <a:pt x="111" y="27"/>
                      </a:lnTo>
                      <a:lnTo>
                        <a:pt x="107" y="19"/>
                      </a:lnTo>
                      <a:lnTo>
                        <a:pt x="100" y="12"/>
                      </a:lnTo>
                      <a:lnTo>
                        <a:pt x="94" y="7"/>
                      </a:lnTo>
                      <a:lnTo>
                        <a:pt x="86" y="3"/>
                      </a:lnTo>
                      <a:lnTo>
                        <a:pt x="78" y="0"/>
                      </a:lnTo>
                      <a:lnTo>
                        <a:pt x="69" y="0"/>
                      </a:lnTo>
                      <a:lnTo>
                        <a:pt x="69" y="0"/>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23" name="Freeform 145">
                  <a:extLst>
                    <a:ext uri="{FF2B5EF4-FFF2-40B4-BE49-F238E27FC236}">
                      <a16:creationId xmlns:a16="http://schemas.microsoft.com/office/drawing/2014/main" id="{2AB4913D-793A-4248-BC63-CE41005E277E}"/>
                    </a:ext>
                  </a:extLst>
                </p:cNvPr>
                <p:cNvSpPr>
                  <a:spLocks/>
                </p:cNvSpPr>
                <p:nvPr/>
              </p:nvSpPr>
              <p:spPr bwMode="auto">
                <a:xfrm>
                  <a:off x="2476027" y="2200547"/>
                  <a:ext cx="139995" cy="154197"/>
                </a:xfrm>
                <a:custGeom>
                  <a:avLst/>
                  <a:gdLst>
                    <a:gd name="T0" fmla="*/ 69 w 138"/>
                    <a:gd name="T1" fmla="*/ 0 h 150"/>
                    <a:gd name="T2" fmla="*/ 69 w 138"/>
                    <a:gd name="T3" fmla="*/ 0 h 150"/>
                    <a:gd name="T4" fmla="*/ 55 w 138"/>
                    <a:gd name="T5" fmla="*/ 1 h 150"/>
                    <a:gd name="T6" fmla="*/ 43 w 138"/>
                    <a:gd name="T7" fmla="*/ 5 h 150"/>
                    <a:gd name="T8" fmla="*/ 30 w 138"/>
                    <a:gd name="T9" fmla="*/ 12 h 150"/>
                    <a:gd name="T10" fmla="*/ 20 w 138"/>
                    <a:gd name="T11" fmla="*/ 20 h 150"/>
                    <a:gd name="T12" fmla="*/ 12 w 138"/>
                    <a:gd name="T13" fmla="*/ 31 h 150"/>
                    <a:gd name="T14" fmla="*/ 5 w 138"/>
                    <a:gd name="T15" fmla="*/ 41 h 150"/>
                    <a:gd name="T16" fmla="*/ 1 w 138"/>
                    <a:gd name="T17" fmla="*/ 55 h 150"/>
                    <a:gd name="T18" fmla="*/ 0 w 138"/>
                    <a:gd name="T19" fmla="*/ 68 h 150"/>
                    <a:gd name="T20" fmla="*/ 0 w 138"/>
                    <a:gd name="T21" fmla="*/ 82 h 150"/>
                    <a:gd name="T22" fmla="*/ 0 w 138"/>
                    <a:gd name="T23" fmla="*/ 82 h 150"/>
                    <a:gd name="T24" fmla="*/ 1 w 138"/>
                    <a:gd name="T25" fmla="*/ 95 h 150"/>
                    <a:gd name="T26" fmla="*/ 5 w 138"/>
                    <a:gd name="T27" fmla="*/ 109 h 150"/>
                    <a:gd name="T28" fmla="*/ 12 w 138"/>
                    <a:gd name="T29" fmla="*/ 121 h 150"/>
                    <a:gd name="T30" fmla="*/ 20 w 138"/>
                    <a:gd name="T31" fmla="*/ 130 h 150"/>
                    <a:gd name="T32" fmla="*/ 30 w 138"/>
                    <a:gd name="T33" fmla="*/ 140 h 150"/>
                    <a:gd name="T34" fmla="*/ 43 w 138"/>
                    <a:gd name="T35" fmla="*/ 145 h 150"/>
                    <a:gd name="T36" fmla="*/ 55 w 138"/>
                    <a:gd name="T37" fmla="*/ 149 h 150"/>
                    <a:gd name="T38" fmla="*/ 69 w 138"/>
                    <a:gd name="T39" fmla="*/ 150 h 150"/>
                    <a:gd name="T40" fmla="*/ 69 w 138"/>
                    <a:gd name="T41" fmla="*/ 150 h 150"/>
                    <a:gd name="T42" fmla="*/ 83 w 138"/>
                    <a:gd name="T43" fmla="*/ 149 h 150"/>
                    <a:gd name="T44" fmla="*/ 96 w 138"/>
                    <a:gd name="T45" fmla="*/ 145 h 150"/>
                    <a:gd name="T46" fmla="*/ 108 w 138"/>
                    <a:gd name="T47" fmla="*/ 140 h 150"/>
                    <a:gd name="T48" fmla="*/ 118 w 138"/>
                    <a:gd name="T49" fmla="*/ 130 h 150"/>
                    <a:gd name="T50" fmla="*/ 127 w 138"/>
                    <a:gd name="T51" fmla="*/ 121 h 150"/>
                    <a:gd name="T52" fmla="*/ 133 w 138"/>
                    <a:gd name="T53" fmla="*/ 109 h 150"/>
                    <a:gd name="T54" fmla="*/ 137 w 138"/>
                    <a:gd name="T55" fmla="*/ 95 h 150"/>
                    <a:gd name="T56" fmla="*/ 138 w 138"/>
                    <a:gd name="T57" fmla="*/ 82 h 150"/>
                    <a:gd name="T58" fmla="*/ 138 w 138"/>
                    <a:gd name="T59" fmla="*/ 68 h 150"/>
                    <a:gd name="T60" fmla="*/ 138 w 138"/>
                    <a:gd name="T61" fmla="*/ 68 h 150"/>
                    <a:gd name="T62" fmla="*/ 137 w 138"/>
                    <a:gd name="T63" fmla="*/ 55 h 150"/>
                    <a:gd name="T64" fmla="*/ 133 w 138"/>
                    <a:gd name="T65" fmla="*/ 41 h 150"/>
                    <a:gd name="T66" fmla="*/ 127 w 138"/>
                    <a:gd name="T67" fmla="*/ 31 h 150"/>
                    <a:gd name="T68" fmla="*/ 118 w 138"/>
                    <a:gd name="T69" fmla="*/ 20 h 150"/>
                    <a:gd name="T70" fmla="*/ 108 w 138"/>
                    <a:gd name="T71" fmla="*/ 12 h 150"/>
                    <a:gd name="T72" fmla="*/ 96 w 138"/>
                    <a:gd name="T73" fmla="*/ 5 h 150"/>
                    <a:gd name="T74" fmla="*/ 83 w 138"/>
                    <a:gd name="T75" fmla="*/ 1 h 150"/>
                    <a:gd name="T76" fmla="*/ 69 w 138"/>
                    <a:gd name="T77" fmla="*/ 0 h 150"/>
                    <a:gd name="T78" fmla="*/ 69 w 138"/>
                    <a:gd name="T7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8" h="150">
                      <a:moveTo>
                        <a:pt x="69" y="0"/>
                      </a:moveTo>
                      <a:lnTo>
                        <a:pt x="69" y="0"/>
                      </a:lnTo>
                      <a:lnTo>
                        <a:pt x="55" y="1"/>
                      </a:lnTo>
                      <a:lnTo>
                        <a:pt x="43" y="5"/>
                      </a:lnTo>
                      <a:lnTo>
                        <a:pt x="30" y="12"/>
                      </a:lnTo>
                      <a:lnTo>
                        <a:pt x="20" y="20"/>
                      </a:lnTo>
                      <a:lnTo>
                        <a:pt x="12" y="31"/>
                      </a:lnTo>
                      <a:lnTo>
                        <a:pt x="5" y="41"/>
                      </a:lnTo>
                      <a:lnTo>
                        <a:pt x="1" y="55"/>
                      </a:lnTo>
                      <a:lnTo>
                        <a:pt x="0" y="68"/>
                      </a:lnTo>
                      <a:lnTo>
                        <a:pt x="0" y="82"/>
                      </a:lnTo>
                      <a:lnTo>
                        <a:pt x="0" y="82"/>
                      </a:lnTo>
                      <a:lnTo>
                        <a:pt x="1" y="95"/>
                      </a:lnTo>
                      <a:lnTo>
                        <a:pt x="5" y="109"/>
                      </a:lnTo>
                      <a:lnTo>
                        <a:pt x="12" y="121"/>
                      </a:lnTo>
                      <a:lnTo>
                        <a:pt x="20" y="130"/>
                      </a:lnTo>
                      <a:lnTo>
                        <a:pt x="30" y="140"/>
                      </a:lnTo>
                      <a:lnTo>
                        <a:pt x="43" y="145"/>
                      </a:lnTo>
                      <a:lnTo>
                        <a:pt x="55" y="149"/>
                      </a:lnTo>
                      <a:lnTo>
                        <a:pt x="69" y="150"/>
                      </a:lnTo>
                      <a:lnTo>
                        <a:pt x="69" y="150"/>
                      </a:lnTo>
                      <a:lnTo>
                        <a:pt x="83" y="149"/>
                      </a:lnTo>
                      <a:lnTo>
                        <a:pt x="96" y="145"/>
                      </a:lnTo>
                      <a:lnTo>
                        <a:pt x="108" y="140"/>
                      </a:lnTo>
                      <a:lnTo>
                        <a:pt x="118" y="130"/>
                      </a:lnTo>
                      <a:lnTo>
                        <a:pt x="127" y="121"/>
                      </a:lnTo>
                      <a:lnTo>
                        <a:pt x="133" y="109"/>
                      </a:lnTo>
                      <a:lnTo>
                        <a:pt x="137" y="95"/>
                      </a:lnTo>
                      <a:lnTo>
                        <a:pt x="138" y="82"/>
                      </a:lnTo>
                      <a:lnTo>
                        <a:pt x="138" y="68"/>
                      </a:lnTo>
                      <a:lnTo>
                        <a:pt x="138" y="68"/>
                      </a:lnTo>
                      <a:lnTo>
                        <a:pt x="137" y="55"/>
                      </a:lnTo>
                      <a:lnTo>
                        <a:pt x="133" y="41"/>
                      </a:lnTo>
                      <a:lnTo>
                        <a:pt x="127" y="31"/>
                      </a:lnTo>
                      <a:lnTo>
                        <a:pt x="118" y="20"/>
                      </a:lnTo>
                      <a:lnTo>
                        <a:pt x="108" y="12"/>
                      </a:lnTo>
                      <a:lnTo>
                        <a:pt x="96" y="5"/>
                      </a:lnTo>
                      <a:lnTo>
                        <a:pt x="83" y="1"/>
                      </a:lnTo>
                      <a:lnTo>
                        <a:pt x="69" y="0"/>
                      </a:lnTo>
                      <a:lnTo>
                        <a:pt x="69" y="0"/>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24" name="Freeform 146">
                  <a:extLst>
                    <a:ext uri="{FF2B5EF4-FFF2-40B4-BE49-F238E27FC236}">
                      <a16:creationId xmlns:a16="http://schemas.microsoft.com/office/drawing/2014/main" id="{1EC3F8A1-1AE2-43CD-BB73-C4AEFEC5ED8F}"/>
                    </a:ext>
                  </a:extLst>
                </p:cNvPr>
                <p:cNvSpPr>
                  <a:spLocks/>
                </p:cNvSpPr>
                <p:nvPr/>
              </p:nvSpPr>
              <p:spPr bwMode="auto">
                <a:xfrm>
                  <a:off x="2425304" y="2338513"/>
                  <a:ext cx="243469" cy="79128"/>
                </a:xfrm>
                <a:custGeom>
                  <a:avLst/>
                  <a:gdLst>
                    <a:gd name="T0" fmla="*/ 119 w 239"/>
                    <a:gd name="T1" fmla="*/ 28 h 77"/>
                    <a:gd name="T2" fmla="*/ 119 w 239"/>
                    <a:gd name="T3" fmla="*/ 28 h 77"/>
                    <a:gd name="T4" fmla="*/ 110 w 239"/>
                    <a:gd name="T5" fmla="*/ 26 h 77"/>
                    <a:gd name="T6" fmla="*/ 101 w 239"/>
                    <a:gd name="T7" fmla="*/ 25 h 77"/>
                    <a:gd name="T8" fmla="*/ 93 w 239"/>
                    <a:gd name="T9" fmla="*/ 24 h 77"/>
                    <a:gd name="T10" fmla="*/ 84 w 239"/>
                    <a:gd name="T11" fmla="*/ 20 h 77"/>
                    <a:gd name="T12" fmla="*/ 76 w 239"/>
                    <a:gd name="T13" fmla="*/ 16 h 77"/>
                    <a:gd name="T14" fmla="*/ 70 w 239"/>
                    <a:gd name="T15" fmla="*/ 10 h 77"/>
                    <a:gd name="T16" fmla="*/ 63 w 239"/>
                    <a:gd name="T17" fmla="*/ 5 h 77"/>
                    <a:gd name="T18" fmla="*/ 58 w 239"/>
                    <a:gd name="T19" fmla="*/ 0 h 77"/>
                    <a:gd name="T20" fmla="*/ 2 w 239"/>
                    <a:gd name="T21" fmla="*/ 28 h 77"/>
                    <a:gd name="T22" fmla="*/ 2 w 239"/>
                    <a:gd name="T23" fmla="*/ 28 h 77"/>
                    <a:gd name="T24" fmla="*/ 0 w 239"/>
                    <a:gd name="T25" fmla="*/ 30 h 77"/>
                    <a:gd name="T26" fmla="*/ 0 w 239"/>
                    <a:gd name="T27" fmla="*/ 34 h 77"/>
                    <a:gd name="T28" fmla="*/ 0 w 239"/>
                    <a:gd name="T29" fmla="*/ 72 h 77"/>
                    <a:gd name="T30" fmla="*/ 0 w 239"/>
                    <a:gd name="T31" fmla="*/ 72 h 77"/>
                    <a:gd name="T32" fmla="*/ 0 w 239"/>
                    <a:gd name="T33" fmla="*/ 73 h 77"/>
                    <a:gd name="T34" fmla="*/ 1 w 239"/>
                    <a:gd name="T35" fmla="*/ 76 h 77"/>
                    <a:gd name="T36" fmla="*/ 4 w 239"/>
                    <a:gd name="T37" fmla="*/ 77 h 77"/>
                    <a:gd name="T38" fmla="*/ 5 w 239"/>
                    <a:gd name="T39" fmla="*/ 77 h 77"/>
                    <a:gd name="T40" fmla="*/ 232 w 239"/>
                    <a:gd name="T41" fmla="*/ 77 h 77"/>
                    <a:gd name="T42" fmla="*/ 232 w 239"/>
                    <a:gd name="T43" fmla="*/ 77 h 77"/>
                    <a:gd name="T44" fmla="*/ 235 w 239"/>
                    <a:gd name="T45" fmla="*/ 77 h 77"/>
                    <a:gd name="T46" fmla="*/ 236 w 239"/>
                    <a:gd name="T47" fmla="*/ 76 h 77"/>
                    <a:gd name="T48" fmla="*/ 238 w 239"/>
                    <a:gd name="T49" fmla="*/ 73 h 77"/>
                    <a:gd name="T50" fmla="*/ 239 w 239"/>
                    <a:gd name="T51" fmla="*/ 72 h 77"/>
                    <a:gd name="T52" fmla="*/ 239 w 239"/>
                    <a:gd name="T53" fmla="*/ 34 h 77"/>
                    <a:gd name="T54" fmla="*/ 239 w 239"/>
                    <a:gd name="T55" fmla="*/ 34 h 77"/>
                    <a:gd name="T56" fmla="*/ 238 w 239"/>
                    <a:gd name="T57" fmla="*/ 30 h 77"/>
                    <a:gd name="T58" fmla="*/ 235 w 239"/>
                    <a:gd name="T59" fmla="*/ 28 h 77"/>
                    <a:gd name="T60" fmla="*/ 181 w 239"/>
                    <a:gd name="T61" fmla="*/ 0 h 77"/>
                    <a:gd name="T62" fmla="*/ 181 w 239"/>
                    <a:gd name="T63" fmla="*/ 0 h 77"/>
                    <a:gd name="T64" fmla="*/ 175 w 239"/>
                    <a:gd name="T65" fmla="*/ 5 h 77"/>
                    <a:gd name="T66" fmla="*/ 168 w 239"/>
                    <a:gd name="T67" fmla="*/ 10 h 77"/>
                    <a:gd name="T68" fmla="*/ 161 w 239"/>
                    <a:gd name="T69" fmla="*/ 16 h 77"/>
                    <a:gd name="T70" fmla="*/ 153 w 239"/>
                    <a:gd name="T71" fmla="*/ 20 h 77"/>
                    <a:gd name="T72" fmla="*/ 145 w 239"/>
                    <a:gd name="T73" fmla="*/ 24 h 77"/>
                    <a:gd name="T74" fmla="*/ 137 w 239"/>
                    <a:gd name="T75" fmla="*/ 25 h 77"/>
                    <a:gd name="T76" fmla="*/ 129 w 239"/>
                    <a:gd name="T77" fmla="*/ 26 h 77"/>
                    <a:gd name="T78" fmla="*/ 119 w 239"/>
                    <a:gd name="T79" fmla="*/ 28 h 77"/>
                    <a:gd name="T80" fmla="*/ 119 w 239"/>
                    <a:gd name="T81" fmla="*/ 2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9" h="77">
                      <a:moveTo>
                        <a:pt x="119" y="28"/>
                      </a:moveTo>
                      <a:lnTo>
                        <a:pt x="119" y="28"/>
                      </a:lnTo>
                      <a:lnTo>
                        <a:pt x="110" y="26"/>
                      </a:lnTo>
                      <a:lnTo>
                        <a:pt x="101" y="25"/>
                      </a:lnTo>
                      <a:lnTo>
                        <a:pt x="93" y="24"/>
                      </a:lnTo>
                      <a:lnTo>
                        <a:pt x="84" y="20"/>
                      </a:lnTo>
                      <a:lnTo>
                        <a:pt x="76" y="16"/>
                      </a:lnTo>
                      <a:lnTo>
                        <a:pt x="70" y="10"/>
                      </a:lnTo>
                      <a:lnTo>
                        <a:pt x="63" y="5"/>
                      </a:lnTo>
                      <a:lnTo>
                        <a:pt x="58" y="0"/>
                      </a:lnTo>
                      <a:lnTo>
                        <a:pt x="2" y="28"/>
                      </a:lnTo>
                      <a:lnTo>
                        <a:pt x="2" y="28"/>
                      </a:lnTo>
                      <a:lnTo>
                        <a:pt x="0" y="30"/>
                      </a:lnTo>
                      <a:lnTo>
                        <a:pt x="0" y="34"/>
                      </a:lnTo>
                      <a:lnTo>
                        <a:pt x="0" y="72"/>
                      </a:lnTo>
                      <a:lnTo>
                        <a:pt x="0" y="72"/>
                      </a:lnTo>
                      <a:lnTo>
                        <a:pt x="0" y="73"/>
                      </a:lnTo>
                      <a:lnTo>
                        <a:pt x="1" y="76"/>
                      </a:lnTo>
                      <a:lnTo>
                        <a:pt x="4" y="77"/>
                      </a:lnTo>
                      <a:lnTo>
                        <a:pt x="5" y="77"/>
                      </a:lnTo>
                      <a:lnTo>
                        <a:pt x="232" y="77"/>
                      </a:lnTo>
                      <a:lnTo>
                        <a:pt x="232" y="77"/>
                      </a:lnTo>
                      <a:lnTo>
                        <a:pt x="235" y="77"/>
                      </a:lnTo>
                      <a:lnTo>
                        <a:pt x="236" y="76"/>
                      </a:lnTo>
                      <a:lnTo>
                        <a:pt x="238" y="73"/>
                      </a:lnTo>
                      <a:lnTo>
                        <a:pt x="239" y="72"/>
                      </a:lnTo>
                      <a:lnTo>
                        <a:pt x="239" y="34"/>
                      </a:lnTo>
                      <a:lnTo>
                        <a:pt x="239" y="34"/>
                      </a:lnTo>
                      <a:lnTo>
                        <a:pt x="238" y="30"/>
                      </a:lnTo>
                      <a:lnTo>
                        <a:pt x="235" y="28"/>
                      </a:lnTo>
                      <a:lnTo>
                        <a:pt x="181" y="0"/>
                      </a:lnTo>
                      <a:lnTo>
                        <a:pt x="181" y="0"/>
                      </a:lnTo>
                      <a:lnTo>
                        <a:pt x="175" y="5"/>
                      </a:lnTo>
                      <a:lnTo>
                        <a:pt x="168" y="10"/>
                      </a:lnTo>
                      <a:lnTo>
                        <a:pt x="161" y="16"/>
                      </a:lnTo>
                      <a:lnTo>
                        <a:pt x="153" y="20"/>
                      </a:lnTo>
                      <a:lnTo>
                        <a:pt x="145" y="24"/>
                      </a:lnTo>
                      <a:lnTo>
                        <a:pt x="137" y="25"/>
                      </a:lnTo>
                      <a:lnTo>
                        <a:pt x="129" y="26"/>
                      </a:lnTo>
                      <a:lnTo>
                        <a:pt x="119" y="28"/>
                      </a:lnTo>
                      <a:lnTo>
                        <a:pt x="119" y="28"/>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grpSp>
            <p:nvGrpSpPr>
              <p:cNvPr id="18" name="Group 17">
                <a:extLst>
                  <a:ext uri="{FF2B5EF4-FFF2-40B4-BE49-F238E27FC236}">
                    <a16:creationId xmlns:a16="http://schemas.microsoft.com/office/drawing/2014/main" id="{833CD221-7B84-4EE0-932A-0CC7589B2C50}"/>
                  </a:ext>
                </a:extLst>
              </p:cNvPr>
              <p:cNvGrpSpPr/>
              <p:nvPr/>
            </p:nvGrpSpPr>
            <p:grpSpPr>
              <a:xfrm>
                <a:off x="2310468" y="2060630"/>
                <a:ext cx="149488" cy="151017"/>
                <a:chOff x="1306708" y="1806559"/>
                <a:chExt cx="131567" cy="128174"/>
              </a:xfrm>
              <a:grpFill/>
            </p:grpSpPr>
            <p:sp>
              <p:nvSpPr>
                <p:cNvPr id="20" name="Star: 5 Points 17">
                  <a:extLst>
                    <a:ext uri="{FF2B5EF4-FFF2-40B4-BE49-F238E27FC236}">
                      <a16:creationId xmlns:a16="http://schemas.microsoft.com/office/drawing/2014/main" id="{885B30CD-531C-435E-8369-3F8AF4DE474A}"/>
                    </a:ext>
                  </a:extLst>
                </p:cNvPr>
                <p:cNvSpPr>
                  <a:spLocks noChangeAspect="1"/>
                </p:cNvSpPr>
                <p:nvPr/>
              </p:nvSpPr>
              <p:spPr>
                <a:xfrm rot="1680952">
                  <a:off x="1306708" y="1806559"/>
                  <a:ext cx="120716" cy="116414"/>
                </a:xfrm>
                <a:prstGeom prst="star5">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cxnSp>
              <p:nvCxnSpPr>
                <p:cNvPr id="21" name="Straight Connector 20">
                  <a:extLst>
                    <a:ext uri="{FF2B5EF4-FFF2-40B4-BE49-F238E27FC236}">
                      <a16:creationId xmlns:a16="http://schemas.microsoft.com/office/drawing/2014/main" id="{1D898FC4-37AA-4D2D-BA0D-B85E9F252C8E}"/>
                    </a:ext>
                  </a:extLst>
                </p:cNvPr>
                <p:cNvCxnSpPr>
                  <a:cxnSpLocks/>
                </p:cNvCxnSpPr>
                <p:nvPr/>
              </p:nvCxnSpPr>
              <p:spPr>
                <a:xfrm>
                  <a:off x="1382376" y="1889096"/>
                  <a:ext cx="55899" cy="45637"/>
                </a:xfrm>
                <a:prstGeom prst="line">
                  <a:avLst/>
                </a:prstGeom>
                <a:grpFill/>
                <a:ln w="952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9" name="Isosceles Triangle 18">
                <a:extLst>
                  <a:ext uri="{FF2B5EF4-FFF2-40B4-BE49-F238E27FC236}">
                    <a16:creationId xmlns:a16="http://schemas.microsoft.com/office/drawing/2014/main" id="{B95C03CE-0734-4F9C-9288-3FDD78E97B6C}"/>
                  </a:ext>
                </a:extLst>
              </p:cNvPr>
              <p:cNvSpPr/>
              <p:nvPr/>
            </p:nvSpPr>
            <p:spPr>
              <a:xfrm>
                <a:off x="2500519" y="1980460"/>
                <a:ext cx="102394" cy="97294"/>
              </a:xfrm>
              <a:prstGeom prst="triangle">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cxnSp>
          <p:nvCxnSpPr>
            <p:cNvPr id="16" name="Straight Connector 15">
              <a:extLst>
                <a:ext uri="{FF2B5EF4-FFF2-40B4-BE49-F238E27FC236}">
                  <a16:creationId xmlns:a16="http://schemas.microsoft.com/office/drawing/2014/main" id="{37CE85E2-EA5A-4BC7-B23D-74E90FD59D5A}"/>
                </a:ext>
              </a:extLst>
            </p:cNvPr>
            <p:cNvCxnSpPr>
              <a:cxnSpLocks/>
              <a:stCxn id="19" idx="3"/>
            </p:cNvCxnSpPr>
            <p:nvPr/>
          </p:nvCxnSpPr>
          <p:spPr>
            <a:xfrm>
              <a:off x="2551716" y="2077754"/>
              <a:ext cx="1007" cy="62891"/>
            </a:xfrm>
            <a:prstGeom prst="line">
              <a:avLst/>
            </a:prstGeom>
            <a:grpFill/>
            <a:ln w="952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Rectangle 3">
            <a:extLst>
              <a:ext uri="{FF2B5EF4-FFF2-40B4-BE49-F238E27FC236}">
                <a16:creationId xmlns:a16="http://schemas.microsoft.com/office/drawing/2014/main" id="{DAE78965-1C6E-407A-82ED-915A379942FD}"/>
              </a:ext>
            </a:extLst>
          </p:cNvPr>
          <p:cNvSpPr>
            <a:spLocks/>
          </p:cNvSpPr>
          <p:nvPr/>
        </p:nvSpPr>
        <p:spPr bwMode="auto">
          <a:xfrm>
            <a:off x="2717800" y="5035862"/>
            <a:ext cx="3665340" cy="1022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hronicle Display Black"/>
                <a:ea typeface="+mn-ea"/>
                <a:cs typeface="Frutiger Next Pro Medium"/>
                <a:sym typeface="Frutiger Next Pro Medium" charset="0"/>
              </a:rPr>
              <a:t>Master</a:t>
            </a:r>
            <a:r>
              <a:rPr kumimoji="0" lang="en-US" sz="2400" b="0" i="0" u="none" strike="noStrike" kern="1200" cap="none" spc="0" normalizeH="0" baseline="0" noProof="0" dirty="0">
                <a:ln>
                  <a:noFill/>
                </a:ln>
                <a:solidFill>
                  <a:srgbClr val="000000"/>
                </a:solidFill>
                <a:effectLst/>
                <a:uLnTx/>
                <a:uFillTx/>
                <a:latin typeface="Chronicle Display Black"/>
                <a:ea typeface="+mn-ea"/>
                <a:cs typeface="Frutiger Next Pro Medium"/>
                <a:sym typeface="Frutiger Next Pro Medium" charset="0"/>
              </a:rPr>
              <a:t> the D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Frutiger Next Pro Medium" charset="0"/>
                <a:cs typeface="Frutiger Next Pro Medium" charset="0"/>
              </a:rPr>
              <a:t>Access your consumer’s data (online and offline) by creating it, sharing it, or buying it (1</a:t>
            </a:r>
            <a:r>
              <a:rPr kumimoji="0" lang="en-US" sz="1200" b="0" i="0" u="none" strike="noStrike" kern="1200" cap="none" spc="0" normalizeH="0" baseline="30000" noProof="0" dirty="0">
                <a:ln>
                  <a:noFill/>
                </a:ln>
                <a:solidFill>
                  <a:srgbClr val="000000"/>
                </a:solidFill>
                <a:effectLst/>
                <a:uLnTx/>
                <a:uFillTx/>
                <a:latin typeface="Open Sans"/>
                <a:ea typeface="Frutiger Next Pro Medium" charset="0"/>
                <a:cs typeface="Frutiger Next Pro Medium" charset="0"/>
              </a:rPr>
              <a:t>st</a:t>
            </a:r>
            <a:r>
              <a:rPr kumimoji="0" lang="en-US" sz="1200" b="0" i="0" u="none" strike="noStrike" kern="1200" cap="none" spc="0" normalizeH="0" baseline="0" noProof="0" dirty="0">
                <a:ln>
                  <a:noFill/>
                </a:ln>
                <a:solidFill>
                  <a:srgbClr val="000000"/>
                </a:solidFill>
                <a:effectLst/>
                <a:uLnTx/>
                <a:uFillTx/>
                <a:latin typeface="Open Sans"/>
                <a:ea typeface="Frutiger Next Pro Medium" charset="0"/>
                <a:cs typeface="Frutiger Next Pro Medium" charset="0"/>
              </a:rPr>
              <a:t>, 2</a:t>
            </a:r>
            <a:r>
              <a:rPr kumimoji="0" lang="en-US" sz="1200" b="0" i="0" u="none" strike="noStrike" kern="1200" cap="none" spc="0" normalizeH="0" baseline="30000" noProof="0" dirty="0">
                <a:ln>
                  <a:noFill/>
                </a:ln>
                <a:solidFill>
                  <a:srgbClr val="000000"/>
                </a:solidFill>
                <a:effectLst/>
                <a:uLnTx/>
                <a:uFillTx/>
                <a:latin typeface="Open Sans"/>
                <a:ea typeface="Frutiger Next Pro Medium" charset="0"/>
                <a:cs typeface="Frutiger Next Pro Medium" charset="0"/>
              </a:rPr>
              <a:t>nd</a:t>
            </a:r>
            <a:r>
              <a:rPr kumimoji="0" lang="en-US" sz="1200" b="0" i="0" u="none" strike="noStrike" kern="1200" cap="none" spc="0" normalizeH="0" baseline="0" noProof="0" dirty="0">
                <a:ln>
                  <a:noFill/>
                </a:ln>
                <a:solidFill>
                  <a:srgbClr val="000000"/>
                </a:solidFill>
                <a:effectLst/>
                <a:uLnTx/>
                <a:uFillTx/>
                <a:latin typeface="Open Sans"/>
                <a:ea typeface="Frutiger Next Pro Medium" charset="0"/>
                <a:cs typeface="Frutiger Next Pro Medium" charset="0"/>
              </a:rPr>
              <a:t>, 3</a:t>
            </a:r>
            <a:r>
              <a:rPr kumimoji="0" lang="en-US" sz="1200" b="0" i="0" u="none" strike="noStrike" kern="1200" cap="none" spc="0" normalizeH="0" baseline="30000" noProof="0" dirty="0">
                <a:ln>
                  <a:noFill/>
                </a:ln>
                <a:solidFill>
                  <a:srgbClr val="000000"/>
                </a:solidFill>
                <a:effectLst/>
                <a:uLnTx/>
                <a:uFillTx/>
                <a:latin typeface="Open Sans"/>
                <a:ea typeface="Frutiger Next Pro Medium" charset="0"/>
                <a:cs typeface="Frutiger Next Pro Medium" charset="0"/>
              </a:rPr>
              <a:t>rd</a:t>
            </a:r>
            <a:r>
              <a:rPr kumimoji="0" lang="en-US" sz="1200" b="0" i="0" u="none" strike="noStrike" kern="1200" cap="none" spc="0" normalizeH="0" baseline="0" noProof="0" dirty="0">
                <a:ln>
                  <a:noFill/>
                </a:ln>
                <a:solidFill>
                  <a:srgbClr val="000000"/>
                </a:solidFill>
                <a:effectLst/>
                <a:uLnTx/>
                <a:uFillTx/>
                <a:latin typeface="Open Sans"/>
                <a:ea typeface="Frutiger Next Pro Medium" charset="0"/>
                <a:cs typeface="Frutiger Next Pro Medium" charset="0"/>
              </a:rPr>
              <a:t> par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200" normalizeH="0" baseline="0" noProof="0" dirty="0">
              <a:ln>
                <a:noFill/>
              </a:ln>
              <a:solidFill>
                <a:srgbClr val="000000"/>
              </a:solidFill>
              <a:effectLst/>
              <a:uLnTx/>
              <a:uFillTx/>
              <a:latin typeface="Open Sans Extrabold" charset="0"/>
              <a:ea typeface="Open Sans Extrabold" charset="0"/>
              <a:cs typeface="Open Sans Extrabold" charset="0"/>
              <a:sym typeface="Frutiger Next Pro Light" charset="0"/>
            </a:endParaRPr>
          </a:p>
        </p:txBody>
      </p:sp>
      <p:sp>
        <p:nvSpPr>
          <p:cNvPr id="26" name="AutoShape 3">
            <a:extLst>
              <a:ext uri="{FF2B5EF4-FFF2-40B4-BE49-F238E27FC236}">
                <a16:creationId xmlns:a16="http://schemas.microsoft.com/office/drawing/2014/main" id="{5ADB7E1E-B19B-4FD3-AA8F-0C5309C46D83}"/>
              </a:ext>
            </a:extLst>
          </p:cNvPr>
          <p:cNvSpPr>
            <a:spLocks noChangeAspect="1" noChangeArrowheads="1" noTextEdit="1"/>
          </p:cNvSpPr>
          <p:nvPr/>
        </p:nvSpPr>
        <p:spPr bwMode="auto">
          <a:xfrm rot="16200000" flipV="1">
            <a:off x="4562834" y="355642"/>
            <a:ext cx="14224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7" name="Line 14">
            <a:extLst>
              <a:ext uri="{FF2B5EF4-FFF2-40B4-BE49-F238E27FC236}">
                <a16:creationId xmlns:a16="http://schemas.microsoft.com/office/drawing/2014/main" id="{B499585D-8A88-4F6A-B348-88C0172922AE}"/>
              </a:ext>
            </a:extLst>
          </p:cNvPr>
          <p:cNvSpPr>
            <a:spLocks noChangeShapeType="1"/>
          </p:cNvSpPr>
          <p:nvPr/>
        </p:nvSpPr>
        <p:spPr bwMode="auto">
          <a:xfrm rot="16200000" flipV="1">
            <a:off x="7992628" y="3783848"/>
            <a:ext cx="1201738" cy="0"/>
          </a:xfrm>
          <a:prstGeom prst="line">
            <a:avLst/>
          </a:prstGeom>
          <a:noFill/>
          <a:ln w="42863">
            <a:solidFill>
              <a:schemeClr val="bg1">
                <a:lumMod val="8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8" name="Line 15">
            <a:extLst>
              <a:ext uri="{FF2B5EF4-FFF2-40B4-BE49-F238E27FC236}">
                <a16:creationId xmlns:a16="http://schemas.microsoft.com/office/drawing/2014/main" id="{4902661D-445E-43BC-97FB-D84584830BD8}"/>
              </a:ext>
            </a:extLst>
          </p:cNvPr>
          <p:cNvSpPr>
            <a:spLocks noChangeShapeType="1"/>
          </p:cNvSpPr>
          <p:nvPr/>
        </p:nvSpPr>
        <p:spPr bwMode="auto">
          <a:xfrm rot="16200000" flipV="1">
            <a:off x="7671953" y="3783848"/>
            <a:ext cx="1201738" cy="0"/>
          </a:xfrm>
          <a:prstGeom prst="line">
            <a:avLst/>
          </a:prstGeom>
          <a:noFill/>
          <a:ln w="42863">
            <a:solidFill>
              <a:schemeClr val="bg1">
                <a:lumMod val="8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9" name="Line 16">
            <a:extLst>
              <a:ext uri="{FF2B5EF4-FFF2-40B4-BE49-F238E27FC236}">
                <a16:creationId xmlns:a16="http://schemas.microsoft.com/office/drawing/2014/main" id="{D4E33281-5B67-4577-A1A9-DB1EE2BEC178}"/>
              </a:ext>
            </a:extLst>
          </p:cNvPr>
          <p:cNvSpPr>
            <a:spLocks noChangeShapeType="1"/>
          </p:cNvSpPr>
          <p:nvPr/>
        </p:nvSpPr>
        <p:spPr bwMode="auto">
          <a:xfrm rot="16200000" flipV="1">
            <a:off x="7474309" y="3784642"/>
            <a:ext cx="1006475" cy="0"/>
          </a:xfrm>
          <a:prstGeom prst="line">
            <a:avLst/>
          </a:prstGeom>
          <a:noFill/>
          <a:ln w="42863">
            <a:solidFill>
              <a:schemeClr val="bg1">
                <a:lumMod val="8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0" name="Line 17">
            <a:extLst>
              <a:ext uri="{FF2B5EF4-FFF2-40B4-BE49-F238E27FC236}">
                <a16:creationId xmlns:a16="http://schemas.microsoft.com/office/drawing/2014/main" id="{4AAF1EEA-7D49-4A1B-9C30-BFA0D29DA93A}"/>
              </a:ext>
            </a:extLst>
          </p:cNvPr>
          <p:cNvSpPr>
            <a:spLocks noChangeShapeType="1"/>
          </p:cNvSpPr>
          <p:nvPr/>
        </p:nvSpPr>
        <p:spPr bwMode="auto">
          <a:xfrm rot="16200000" flipV="1">
            <a:off x="7375090" y="3775910"/>
            <a:ext cx="649288" cy="0"/>
          </a:xfrm>
          <a:prstGeom prst="line">
            <a:avLst/>
          </a:prstGeom>
          <a:noFill/>
          <a:ln w="42863">
            <a:solidFill>
              <a:schemeClr val="bg1">
                <a:lumMod val="8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1" name="Line 26">
            <a:extLst>
              <a:ext uri="{FF2B5EF4-FFF2-40B4-BE49-F238E27FC236}">
                <a16:creationId xmlns:a16="http://schemas.microsoft.com/office/drawing/2014/main" id="{527598BC-157D-4B49-86C1-87DF6D9C2467}"/>
              </a:ext>
            </a:extLst>
          </p:cNvPr>
          <p:cNvSpPr>
            <a:spLocks noChangeShapeType="1"/>
          </p:cNvSpPr>
          <p:nvPr/>
        </p:nvSpPr>
        <p:spPr bwMode="auto">
          <a:xfrm rot="16200000" flipH="1" flipV="1">
            <a:off x="5450489" y="3467385"/>
            <a:ext cx="1834668" cy="0"/>
          </a:xfrm>
          <a:prstGeom prst="line">
            <a:avLst/>
          </a:prstGeom>
          <a:noFill/>
          <a:ln w="42863">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2" name="Line 27">
            <a:extLst>
              <a:ext uri="{FF2B5EF4-FFF2-40B4-BE49-F238E27FC236}">
                <a16:creationId xmlns:a16="http://schemas.microsoft.com/office/drawing/2014/main" id="{D455053F-1971-4FF1-8BBD-18ADC9938AD3}"/>
              </a:ext>
            </a:extLst>
          </p:cNvPr>
          <p:cNvSpPr>
            <a:spLocks noChangeShapeType="1"/>
          </p:cNvSpPr>
          <p:nvPr/>
        </p:nvSpPr>
        <p:spPr bwMode="auto">
          <a:xfrm rot="16200000" flipH="1" flipV="1">
            <a:off x="6086040" y="3783848"/>
            <a:ext cx="1201738" cy="0"/>
          </a:xfrm>
          <a:prstGeom prst="line">
            <a:avLst/>
          </a:prstGeom>
          <a:noFill/>
          <a:ln w="42863">
            <a:solidFill>
              <a:schemeClr val="bg1">
                <a:lumMod val="8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3" name="Line 28">
            <a:extLst>
              <a:ext uri="{FF2B5EF4-FFF2-40B4-BE49-F238E27FC236}">
                <a16:creationId xmlns:a16="http://schemas.microsoft.com/office/drawing/2014/main" id="{5D299768-74C8-486E-BC0F-14E180C2041E}"/>
              </a:ext>
            </a:extLst>
          </p:cNvPr>
          <p:cNvSpPr>
            <a:spLocks noChangeShapeType="1"/>
          </p:cNvSpPr>
          <p:nvPr/>
        </p:nvSpPr>
        <p:spPr bwMode="auto">
          <a:xfrm rot="16200000" flipH="1" flipV="1">
            <a:off x="6166769" y="4098408"/>
            <a:ext cx="1634005" cy="0"/>
          </a:xfrm>
          <a:prstGeom prst="line">
            <a:avLst/>
          </a:prstGeom>
          <a:noFill/>
          <a:ln w="42863">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4" name="Line 29">
            <a:extLst>
              <a:ext uri="{FF2B5EF4-FFF2-40B4-BE49-F238E27FC236}">
                <a16:creationId xmlns:a16="http://schemas.microsoft.com/office/drawing/2014/main" id="{96CDF08A-7A76-4445-A41B-DD39F8CFBD13}"/>
              </a:ext>
            </a:extLst>
          </p:cNvPr>
          <p:cNvSpPr>
            <a:spLocks noChangeShapeType="1"/>
          </p:cNvSpPr>
          <p:nvPr/>
        </p:nvSpPr>
        <p:spPr bwMode="auto">
          <a:xfrm rot="16200000" flipH="1" flipV="1">
            <a:off x="6936940" y="3790198"/>
            <a:ext cx="649288" cy="0"/>
          </a:xfrm>
          <a:prstGeom prst="line">
            <a:avLst/>
          </a:prstGeom>
          <a:noFill/>
          <a:ln w="42863">
            <a:solidFill>
              <a:schemeClr val="bg1">
                <a:lumMod val="8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5" name="Line 37">
            <a:extLst>
              <a:ext uri="{FF2B5EF4-FFF2-40B4-BE49-F238E27FC236}">
                <a16:creationId xmlns:a16="http://schemas.microsoft.com/office/drawing/2014/main" id="{E94718C5-7DBD-497A-81D0-B160E24E2260}"/>
              </a:ext>
            </a:extLst>
          </p:cNvPr>
          <p:cNvSpPr>
            <a:spLocks noChangeShapeType="1"/>
          </p:cNvSpPr>
          <p:nvPr/>
        </p:nvSpPr>
        <p:spPr bwMode="auto">
          <a:xfrm rot="16200000" flipV="1">
            <a:off x="3302110" y="3825667"/>
            <a:ext cx="1118098" cy="0"/>
          </a:xfrm>
          <a:prstGeom prst="line">
            <a:avLst/>
          </a:prstGeom>
          <a:noFill/>
          <a:ln w="42863">
            <a:solidFill>
              <a:schemeClr val="bg1">
                <a:lumMod val="8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6" name="Line 38">
            <a:extLst>
              <a:ext uri="{FF2B5EF4-FFF2-40B4-BE49-F238E27FC236}">
                <a16:creationId xmlns:a16="http://schemas.microsoft.com/office/drawing/2014/main" id="{9098D4D4-14D8-4C4C-8AC2-3B992A1BBB44}"/>
              </a:ext>
            </a:extLst>
          </p:cNvPr>
          <p:cNvSpPr>
            <a:spLocks noChangeShapeType="1"/>
          </p:cNvSpPr>
          <p:nvPr/>
        </p:nvSpPr>
        <p:spPr bwMode="auto">
          <a:xfrm rot="16200000" flipV="1">
            <a:off x="3061059" y="3784642"/>
            <a:ext cx="1006475" cy="0"/>
          </a:xfrm>
          <a:prstGeom prst="line">
            <a:avLst/>
          </a:prstGeom>
          <a:noFill/>
          <a:ln w="42863">
            <a:solidFill>
              <a:schemeClr val="bg1">
                <a:lumMod val="8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7" name="Line 48">
            <a:extLst>
              <a:ext uri="{FF2B5EF4-FFF2-40B4-BE49-F238E27FC236}">
                <a16:creationId xmlns:a16="http://schemas.microsoft.com/office/drawing/2014/main" id="{D24821C0-7132-4F2F-B05B-084B84DDB114}"/>
              </a:ext>
            </a:extLst>
          </p:cNvPr>
          <p:cNvSpPr>
            <a:spLocks noChangeShapeType="1"/>
          </p:cNvSpPr>
          <p:nvPr/>
        </p:nvSpPr>
        <p:spPr bwMode="auto">
          <a:xfrm rot="16200000" flipH="1" flipV="1">
            <a:off x="1402122" y="4056104"/>
            <a:ext cx="1746250" cy="0"/>
          </a:xfrm>
          <a:prstGeom prst="line">
            <a:avLst/>
          </a:prstGeom>
          <a:noFill/>
          <a:ln w="42863">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8" name="Line 49">
            <a:extLst>
              <a:ext uri="{FF2B5EF4-FFF2-40B4-BE49-F238E27FC236}">
                <a16:creationId xmlns:a16="http://schemas.microsoft.com/office/drawing/2014/main" id="{3EC42659-78A4-4CF1-8361-BFAB3BBFB5A3}"/>
              </a:ext>
            </a:extLst>
          </p:cNvPr>
          <p:cNvSpPr>
            <a:spLocks noChangeShapeType="1"/>
          </p:cNvSpPr>
          <p:nvPr/>
        </p:nvSpPr>
        <p:spPr bwMode="auto">
          <a:xfrm rot="16200000" flipH="1" flipV="1">
            <a:off x="2067284" y="3784642"/>
            <a:ext cx="1006475" cy="0"/>
          </a:xfrm>
          <a:prstGeom prst="line">
            <a:avLst/>
          </a:prstGeom>
          <a:noFill/>
          <a:ln w="42863">
            <a:solidFill>
              <a:schemeClr val="bg1">
                <a:lumMod val="8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9" name="Line 50">
            <a:extLst>
              <a:ext uri="{FF2B5EF4-FFF2-40B4-BE49-F238E27FC236}">
                <a16:creationId xmlns:a16="http://schemas.microsoft.com/office/drawing/2014/main" id="{9CBB8DAE-E6DC-4744-A860-E34610D0FEE3}"/>
              </a:ext>
            </a:extLst>
          </p:cNvPr>
          <p:cNvSpPr>
            <a:spLocks noChangeShapeType="1"/>
          </p:cNvSpPr>
          <p:nvPr/>
        </p:nvSpPr>
        <p:spPr bwMode="auto">
          <a:xfrm rot="16200000" flipH="1" flipV="1">
            <a:off x="2523690" y="3790198"/>
            <a:ext cx="649288" cy="0"/>
          </a:xfrm>
          <a:prstGeom prst="line">
            <a:avLst/>
          </a:prstGeom>
          <a:noFill/>
          <a:ln w="42863">
            <a:solidFill>
              <a:schemeClr val="bg1">
                <a:lumMod val="8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0" name="Line 58">
            <a:extLst>
              <a:ext uri="{FF2B5EF4-FFF2-40B4-BE49-F238E27FC236}">
                <a16:creationId xmlns:a16="http://schemas.microsoft.com/office/drawing/2014/main" id="{A1ADD06D-DBCA-430C-9D27-512074DA7F93}"/>
              </a:ext>
            </a:extLst>
          </p:cNvPr>
          <p:cNvSpPr>
            <a:spLocks noChangeShapeType="1"/>
          </p:cNvSpPr>
          <p:nvPr/>
        </p:nvSpPr>
        <p:spPr bwMode="auto">
          <a:xfrm rot="16200000" flipV="1">
            <a:off x="5446278" y="3783848"/>
            <a:ext cx="1201738" cy="0"/>
          </a:xfrm>
          <a:prstGeom prst="line">
            <a:avLst/>
          </a:prstGeom>
          <a:noFill/>
          <a:ln w="42863">
            <a:solidFill>
              <a:schemeClr val="bg1">
                <a:lumMod val="8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1" name="Line 59">
            <a:extLst>
              <a:ext uri="{FF2B5EF4-FFF2-40B4-BE49-F238E27FC236}">
                <a16:creationId xmlns:a16="http://schemas.microsoft.com/office/drawing/2014/main" id="{9F4B6B0F-88D9-4BB0-B956-A83DE7AA4C30}"/>
              </a:ext>
            </a:extLst>
          </p:cNvPr>
          <p:cNvSpPr>
            <a:spLocks noChangeShapeType="1"/>
          </p:cNvSpPr>
          <p:nvPr/>
        </p:nvSpPr>
        <p:spPr bwMode="auto">
          <a:xfrm rot="16200000" flipV="1">
            <a:off x="5250221" y="3784642"/>
            <a:ext cx="1006475" cy="0"/>
          </a:xfrm>
          <a:prstGeom prst="line">
            <a:avLst/>
          </a:prstGeom>
          <a:noFill/>
          <a:ln w="42863">
            <a:solidFill>
              <a:schemeClr val="bg1">
                <a:lumMod val="8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2" name="Line 60">
            <a:extLst>
              <a:ext uri="{FF2B5EF4-FFF2-40B4-BE49-F238E27FC236}">
                <a16:creationId xmlns:a16="http://schemas.microsoft.com/office/drawing/2014/main" id="{4F40D525-B939-462B-AD94-1D3A95260266}"/>
              </a:ext>
            </a:extLst>
          </p:cNvPr>
          <p:cNvSpPr>
            <a:spLocks noChangeShapeType="1"/>
          </p:cNvSpPr>
          <p:nvPr/>
        </p:nvSpPr>
        <p:spPr bwMode="auto">
          <a:xfrm rot="16200000" flipV="1">
            <a:off x="5149415" y="3775910"/>
            <a:ext cx="649288" cy="0"/>
          </a:xfrm>
          <a:prstGeom prst="line">
            <a:avLst/>
          </a:prstGeom>
          <a:noFill/>
          <a:ln w="42863">
            <a:solidFill>
              <a:schemeClr val="bg1">
                <a:lumMod val="8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3" name="Line 69">
            <a:extLst>
              <a:ext uri="{FF2B5EF4-FFF2-40B4-BE49-F238E27FC236}">
                <a16:creationId xmlns:a16="http://schemas.microsoft.com/office/drawing/2014/main" id="{FEE1256C-29E5-4AF0-A312-61060C97728B}"/>
              </a:ext>
            </a:extLst>
          </p:cNvPr>
          <p:cNvSpPr>
            <a:spLocks noChangeShapeType="1"/>
          </p:cNvSpPr>
          <p:nvPr/>
        </p:nvSpPr>
        <p:spPr bwMode="auto">
          <a:xfrm rot="16200000" flipH="1" flipV="1">
            <a:off x="3565090" y="3783848"/>
            <a:ext cx="1201738" cy="0"/>
          </a:xfrm>
          <a:prstGeom prst="line">
            <a:avLst/>
          </a:prstGeom>
          <a:noFill/>
          <a:ln w="42863">
            <a:solidFill>
              <a:schemeClr val="bg1">
                <a:lumMod val="8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4" name="Line 71">
            <a:extLst>
              <a:ext uri="{FF2B5EF4-FFF2-40B4-BE49-F238E27FC236}">
                <a16:creationId xmlns:a16="http://schemas.microsoft.com/office/drawing/2014/main" id="{4C733634-07C8-46CB-BEF7-1C5F9691EAEF}"/>
              </a:ext>
            </a:extLst>
          </p:cNvPr>
          <p:cNvSpPr>
            <a:spLocks noChangeShapeType="1"/>
          </p:cNvSpPr>
          <p:nvPr/>
        </p:nvSpPr>
        <p:spPr bwMode="auto">
          <a:xfrm rot="16200000" flipH="1" flipV="1">
            <a:off x="3860365" y="3783848"/>
            <a:ext cx="1201738" cy="0"/>
          </a:xfrm>
          <a:prstGeom prst="line">
            <a:avLst/>
          </a:prstGeom>
          <a:noFill/>
          <a:ln w="42863">
            <a:solidFill>
              <a:schemeClr val="bg1">
                <a:lumMod val="8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5" name="Line 72">
            <a:extLst>
              <a:ext uri="{FF2B5EF4-FFF2-40B4-BE49-F238E27FC236}">
                <a16:creationId xmlns:a16="http://schemas.microsoft.com/office/drawing/2014/main" id="{FDC68402-BBC3-4D6F-8FCE-17DBB3F420AD}"/>
              </a:ext>
            </a:extLst>
          </p:cNvPr>
          <p:cNvSpPr>
            <a:spLocks noChangeShapeType="1"/>
          </p:cNvSpPr>
          <p:nvPr/>
        </p:nvSpPr>
        <p:spPr bwMode="auto">
          <a:xfrm rot="16200000" flipH="1" flipV="1">
            <a:off x="4253271" y="3784642"/>
            <a:ext cx="1006475" cy="0"/>
          </a:xfrm>
          <a:prstGeom prst="line">
            <a:avLst/>
          </a:prstGeom>
          <a:noFill/>
          <a:ln w="42863">
            <a:solidFill>
              <a:schemeClr val="bg1">
                <a:lumMod val="8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6" name="Line 73">
            <a:extLst>
              <a:ext uri="{FF2B5EF4-FFF2-40B4-BE49-F238E27FC236}">
                <a16:creationId xmlns:a16="http://schemas.microsoft.com/office/drawing/2014/main" id="{735AE7A6-3394-49C4-B7C4-966578FC8040}"/>
              </a:ext>
            </a:extLst>
          </p:cNvPr>
          <p:cNvSpPr>
            <a:spLocks noChangeShapeType="1"/>
          </p:cNvSpPr>
          <p:nvPr/>
        </p:nvSpPr>
        <p:spPr bwMode="auto">
          <a:xfrm rot="16200000" flipH="1" flipV="1">
            <a:off x="4709678" y="3790198"/>
            <a:ext cx="649288" cy="0"/>
          </a:xfrm>
          <a:prstGeom prst="line">
            <a:avLst/>
          </a:prstGeom>
          <a:noFill/>
          <a:ln w="42863">
            <a:solidFill>
              <a:schemeClr val="bg1">
                <a:lumMod val="8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7" name="Line 14">
            <a:extLst>
              <a:ext uri="{FF2B5EF4-FFF2-40B4-BE49-F238E27FC236}">
                <a16:creationId xmlns:a16="http://schemas.microsoft.com/office/drawing/2014/main" id="{F1928406-3DB8-4323-9492-4DBD7A9EF438}"/>
              </a:ext>
            </a:extLst>
          </p:cNvPr>
          <p:cNvSpPr>
            <a:spLocks noChangeShapeType="1"/>
          </p:cNvSpPr>
          <p:nvPr/>
        </p:nvSpPr>
        <p:spPr bwMode="auto">
          <a:xfrm rot="16200000" flipV="1">
            <a:off x="1380190" y="3737810"/>
            <a:ext cx="1201738" cy="0"/>
          </a:xfrm>
          <a:prstGeom prst="line">
            <a:avLst/>
          </a:prstGeom>
          <a:noFill/>
          <a:ln w="42863">
            <a:solidFill>
              <a:schemeClr val="bg1">
                <a:lumMod val="8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8" name="Line 15">
            <a:extLst>
              <a:ext uri="{FF2B5EF4-FFF2-40B4-BE49-F238E27FC236}">
                <a16:creationId xmlns:a16="http://schemas.microsoft.com/office/drawing/2014/main" id="{9DDED5AB-F00A-4C01-AE9B-160D42158CCF}"/>
              </a:ext>
            </a:extLst>
          </p:cNvPr>
          <p:cNvSpPr>
            <a:spLocks noChangeShapeType="1"/>
          </p:cNvSpPr>
          <p:nvPr/>
        </p:nvSpPr>
        <p:spPr bwMode="auto">
          <a:xfrm rot="16200000" flipV="1">
            <a:off x="766071" y="3444366"/>
            <a:ext cx="1788626" cy="0"/>
          </a:xfrm>
          <a:prstGeom prst="line">
            <a:avLst/>
          </a:prstGeom>
          <a:noFill/>
          <a:ln w="42863">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9" name="Line 16">
            <a:extLst>
              <a:ext uri="{FF2B5EF4-FFF2-40B4-BE49-F238E27FC236}">
                <a16:creationId xmlns:a16="http://schemas.microsoft.com/office/drawing/2014/main" id="{5C4A7B23-02A8-46F4-BF06-F4F074BBF38F}"/>
              </a:ext>
            </a:extLst>
          </p:cNvPr>
          <p:cNvSpPr>
            <a:spLocks noChangeShapeType="1"/>
          </p:cNvSpPr>
          <p:nvPr/>
        </p:nvSpPr>
        <p:spPr bwMode="auto">
          <a:xfrm rot="16200000" flipV="1">
            <a:off x="861871" y="3738604"/>
            <a:ext cx="1006475" cy="0"/>
          </a:xfrm>
          <a:prstGeom prst="line">
            <a:avLst/>
          </a:prstGeom>
          <a:noFill/>
          <a:ln w="42863">
            <a:solidFill>
              <a:schemeClr val="bg1">
                <a:lumMod val="8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0" name="Line 17">
            <a:extLst>
              <a:ext uri="{FF2B5EF4-FFF2-40B4-BE49-F238E27FC236}">
                <a16:creationId xmlns:a16="http://schemas.microsoft.com/office/drawing/2014/main" id="{8F5CD60E-8DF8-4F17-8AB9-5D5FF0417AF6}"/>
              </a:ext>
            </a:extLst>
          </p:cNvPr>
          <p:cNvSpPr>
            <a:spLocks noChangeShapeType="1"/>
          </p:cNvSpPr>
          <p:nvPr/>
        </p:nvSpPr>
        <p:spPr bwMode="auto">
          <a:xfrm rot="16200000" flipV="1">
            <a:off x="762652" y="3729872"/>
            <a:ext cx="649288" cy="0"/>
          </a:xfrm>
          <a:prstGeom prst="line">
            <a:avLst/>
          </a:prstGeom>
          <a:noFill/>
          <a:ln w="42863">
            <a:solidFill>
              <a:schemeClr val="bg1">
                <a:lumMod val="8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1" name="Line 17">
            <a:extLst>
              <a:ext uri="{FF2B5EF4-FFF2-40B4-BE49-F238E27FC236}">
                <a16:creationId xmlns:a16="http://schemas.microsoft.com/office/drawing/2014/main" id="{5505A34C-4B37-470A-AECC-9D1EEFE7633F}"/>
              </a:ext>
            </a:extLst>
          </p:cNvPr>
          <p:cNvSpPr>
            <a:spLocks noChangeShapeType="1"/>
          </p:cNvSpPr>
          <p:nvPr/>
        </p:nvSpPr>
        <p:spPr bwMode="auto">
          <a:xfrm rot="16200000" flipV="1">
            <a:off x="2968984" y="3775403"/>
            <a:ext cx="649288" cy="0"/>
          </a:xfrm>
          <a:prstGeom prst="line">
            <a:avLst/>
          </a:prstGeom>
          <a:noFill/>
          <a:ln w="42863">
            <a:solidFill>
              <a:schemeClr val="bg1">
                <a:lumMod val="8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52" name="Group 51">
            <a:extLst>
              <a:ext uri="{FF2B5EF4-FFF2-40B4-BE49-F238E27FC236}">
                <a16:creationId xmlns:a16="http://schemas.microsoft.com/office/drawing/2014/main" id="{9C324403-8B6F-4E4F-BE5D-E0A3B30FCF34}"/>
              </a:ext>
            </a:extLst>
          </p:cNvPr>
          <p:cNvGrpSpPr/>
          <p:nvPr/>
        </p:nvGrpSpPr>
        <p:grpSpPr>
          <a:xfrm>
            <a:off x="760271" y="3027404"/>
            <a:ext cx="7942763" cy="1468438"/>
            <a:chOff x="760271" y="2944542"/>
            <a:chExt cx="7942763" cy="1468438"/>
          </a:xfrm>
        </p:grpSpPr>
        <p:sp>
          <p:nvSpPr>
            <p:cNvPr id="53" name="Freeform 5">
              <a:extLst>
                <a:ext uri="{FF2B5EF4-FFF2-40B4-BE49-F238E27FC236}">
                  <a16:creationId xmlns:a16="http://schemas.microsoft.com/office/drawing/2014/main" id="{B4F45E64-3FBB-4C82-8EBE-8FA9B160DE1E}"/>
                </a:ext>
              </a:extLst>
            </p:cNvPr>
            <p:cNvSpPr>
              <a:spLocks/>
            </p:cNvSpPr>
            <p:nvPr/>
          </p:nvSpPr>
          <p:spPr bwMode="auto">
            <a:xfrm rot="16200000" flipV="1">
              <a:off x="8481578" y="4191523"/>
              <a:ext cx="222250" cy="220663"/>
            </a:xfrm>
            <a:custGeom>
              <a:avLst/>
              <a:gdLst>
                <a:gd name="T0" fmla="*/ 140 w 140"/>
                <a:gd name="T1" fmla="*/ 69 h 139"/>
                <a:gd name="T2" fmla="*/ 140 w 140"/>
                <a:gd name="T3" fmla="*/ 69 h 139"/>
                <a:gd name="T4" fmla="*/ 139 w 140"/>
                <a:gd name="T5" fmla="*/ 84 h 139"/>
                <a:gd name="T6" fmla="*/ 134 w 140"/>
                <a:gd name="T7" fmla="*/ 96 h 139"/>
                <a:gd name="T8" fmla="*/ 128 w 140"/>
                <a:gd name="T9" fmla="*/ 108 h 139"/>
                <a:gd name="T10" fmla="*/ 119 w 140"/>
                <a:gd name="T11" fmla="*/ 119 h 139"/>
                <a:gd name="T12" fmla="*/ 108 w 140"/>
                <a:gd name="T13" fmla="*/ 126 h 139"/>
                <a:gd name="T14" fmla="*/ 98 w 140"/>
                <a:gd name="T15" fmla="*/ 133 h 139"/>
                <a:gd name="T16" fmla="*/ 84 w 140"/>
                <a:gd name="T17" fmla="*/ 137 h 139"/>
                <a:gd name="T18" fmla="*/ 70 w 140"/>
                <a:gd name="T19" fmla="*/ 139 h 139"/>
                <a:gd name="T20" fmla="*/ 70 w 140"/>
                <a:gd name="T21" fmla="*/ 139 h 139"/>
                <a:gd name="T22" fmla="*/ 56 w 140"/>
                <a:gd name="T23" fmla="*/ 137 h 139"/>
                <a:gd name="T24" fmla="*/ 43 w 140"/>
                <a:gd name="T25" fmla="*/ 133 h 139"/>
                <a:gd name="T26" fmla="*/ 32 w 140"/>
                <a:gd name="T27" fmla="*/ 126 h 139"/>
                <a:gd name="T28" fmla="*/ 21 w 140"/>
                <a:gd name="T29" fmla="*/ 119 h 139"/>
                <a:gd name="T30" fmla="*/ 12 w 140"/>
                <a:gd name="T31" fmla="*/ 108 h 139"/>
                <a:gd name="T32" fmla="*/ 6 w 140"/>
                <a:gd name="T33" fmla="*/ 96 h 139"/>
                <a:gd name="T34" fmla="*/ 2 w 140"/>
                <a:gd name="T35" fmla="*/ 84 h 139"/>
                <a:gd name="T36" fmla="*/ 0 w 140"/>
                <a:gd name="T37" fmla="*/ 69 h 139"/>
                <a:gd name="T38" fmla="*/ 0 w 140"/>
                <a:gd name="T39" fmla="*/ 69 h 139"/>
                <a:gd name="T40" fmla="*/ 2 w 140"/>
                <a:gd name="T41" fmla="*/ 55 h 139"/>
                <a:gd name="T42" fmla="*/ 6 w 140"/>
                <a:gd name="T43" fmla="*/ 43 h 139"/>
                <a:gd name="T44" fmla="*/ 12 w 140"/>
                <a:gd name="T45" fmla="*/ 30 h 139"/>
                <a:gd name="T46" fmla="*/ 21 w 140"/>
                <a:gd name="T47" fmla="*/ 20 h 139"/>
                <a:gd name="T48" fmla="*/ 32 w 140"/>
                <a:gd name="T49" fmla="*/ 12 h 139"/>
                <a:gd name="T50" fmla="*/ 43 w 140"/>
                <a:gd name="T51" fmla="*/ 5 h 139"/>
                <a:gd name="T52" fmla="*/ 56 w 140"/>
                <a:gd name="T53" fmla="*/ 2 h 139"/>
                <a:gd name="T54" fmla="*/ 70 w 140"/>
                <a:gd name="T55" fmla="*/ 0 h 139"/>
                <a:gd name="T56" fmla="*/ 70 w 140"/>
                <a:gd name="T57" fmla="*/ 0 h 139"/>
                <a:gd name="T58" fmla="*/ 84 w 140"/>
                <a:gd name="T59" fmla="*/ 2 h 139"/>
                <a:gd name="T60" fmla="*/ 98 w 140"/>
                <a:gd name="T61" fmla="*/ 5 h 139"/>
                <a:gd name="T62" fmla="*/ 108 w 140"/>
                <a:gd name="T63" fmla="*/ 12 h 139"/>
                <a:gd name="T64" fmla="*/ 119 w 140"/>
                <a:gd name="T65" fmla="*/ 20 h 139"/>
                <a:gd name="T66" fmla="*/ 128 w 140"/>
                <a:gd name="T67" fmla="*/ 30 h 139"/>
                <a:gd name="T68" fmla="*/ 134 w 140"/>
                <a:gd name="T69" fmla="*/ 43 h 139"/>
                <a:gd name="T70" fmla="*/ 139 w 140"/>
                <a:gd name="T71" fmla="*/ 55 h 139"/>
                <a:gd name="T72" fmla="*/ 140 w 140"/>
                <a:gd name="T73" fmla="*/ 69 h 139"/>
                <a:gd name="T74" fmla="*/ 140 w 140"/>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39">
                  <a:moveTo>
                    <a:pt x="140" y="69"/>
                  </a:moveTo>
                  <a:lnTo>
                    <a:pt x="140" y="69"/>
                  </a:lnTo>
                  <a:lnTo>
                    <a:pt x="139" y="84"/>
                  </a:lnTo>
                  <a:lnTo>
                    <a:pt x="134" y="96"/>
                  </a:lnTo>
                  <a:lnTo>
                    <a:pt x="128" y="108"/>
                  </a:lnTo>
                  <a:lnTo>
                    <a:pt x="119" y="119"/>
                  </a:lnTo>
                  <a:lnTo>
                    <a:pt x="108" y="126"/>
                  </a:lnTo>
                  <a:lnTo>
                    <a:pt x="98" y="133"/>
                  </a:lnTo>
                  <a:lnTo>
                    <a:pt x="84" y="137"/>
                  </a:lnTo>
                  <a:lnTo>
                    <a:pt x="70" y="139"/>
                  </a:lnTo>
                  <a:lnTo>
                    <a:pt x="70" y="139"/>
                  </a:lnTo>
                  <a:lnTo>
                    <a:pt x="56" y="137"/>
                  </a:lnTo>
                  <a:lnTo>
                    <a:pt x="43" y="133"/>
                  </a:lnTo>
                  <a:lnTo>
                    <a:pt x="32" y="126"/>
                  </a:lnTo>
                  <a:lnTo>
                    <a:pt x="21" y="119"/>
                  </a:lnTo>
                  <a:lnTo>
                    <a:pt x="12" y="108"/>
                  </a:lnTo>
                  <a:lnTo>
                    <a:pt x="6" y="96"/>
                  </a:lnTo>
                  <a:lnTo>
                    <a:pt x="2" y="84"/>
                  </a:lnTo>
                  <a:lnTo>
                    <a:pt x="0" y="69"/>
                  </a:lnTo>
                  <a:lnTo>
                    <a:pt x="0" y="69"/>
                  </a:lnTo>
                  <a:lnTo>
                    <a:pt x="2" y="55"/>
                  </a:lnTo>
                  <a:lnTo>
                    <a:pt x="6" y="43"/>
                  </a:lnTo>
                  <a:lnTo>
                    <a:pt x="12" y="30"/>
                  </a:lnTo>
                  <a:lnTo>
                    <a:pt x="21" y="20"/>
                  </a:lnTo>
                  <a:lnTo>
                    <a:pt x="32" y="12"/>
                  </a:lnTo>
                  <a:lnTo>
                    <a:pt x="43" y="5"/>
                  </a:lnTo>
                  <a:lnTo>
                    <a:pt x="56" y="2"/>
                  </a:lnTo>
                  <a:lnTo>
                    <a:pt x="70" y="0"/>
                  </a:lnTo>
                  <a:lnTo>
                    <a:pt x="70" y="0"/>
                  </a:lnTo>
                  <a:lnTo>
                    <a:pt x="84" y="2"/>
                  </a:lnTo>
                  <a:lnTo>
                    <a:pt x="98" y="5"/>
                  </a:lnTo>
                  <a:lnTo>
                    <a:pt x="108" y="12"/>
                  </a:lnTo>
                  <a:lnTo>
                    <a:pt x="119" y="20"/>
                  </a:lnTo>
                  <a:lnTo>
                    <a:pt x="128" y="30"/>
                  </a:lnTo>
                  <a:lnTo>
                    <a:pt x="134" y="43"/>
                  </a:lnTo>
                  <a:lnTo>
                    <a:pt x="139" y="55"/>
                  </a:lnTo>
                  <a:lnTo>
                    <a:pt x="140" y="69"/>
                  </a:lnTo>
                  <a:lnTo>
                    <a:pt x="140" y="69"/>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4" name="Freeform 6">
              <a:extLst>
                <a:ext uri="{FF2B5EF4-FFF2-40B4-BE49-F238E27FC236}">
                  <a16:creationId xmlns:a16="http://schemas.microsoft.com/office/drawing/2014/main" id="{7F3F9A8C-A86F-46EA-BA27-EEE68451FDD6}"/>
                </a:ext>
              </a:extLst>
            </p:cNvPr>
            <p:cNvSpPr>
              <a:spLocks/>
            </p:cNvSpPr>
            <p:nvPr/>
          </p:nvSpPr>
          <p:spPr bwMode="auto">
            <a:xfrm rot="16200000" flipV="1">
              <a:off x="8482371" y="2990580"/>
              <a:ext cx="220663" cy="220663"/>
            </a:xfrm>
            <a:custGeom>
              <a:avLst/>
              <a:gdLst>
                <a:gd name="T0" fmla="*/ 139 w 139"/>
                <a:gd name="T1" fmla="*/ 69 h 139"/>
                <a:gd name="T2" fmla="*/ 139 w 139"/>
                <a:gd name="T3" fmla="*/ 69 h 139"/>
                <a:gd name="T4" fmla="*/ 137 w 139"/>
                <a:gd name="T5" fmla="*/ 84 h 139"/>
                <a:gd name="T6" fmla="*/ 134 w 139"/>
                <a:gd name="T7" fmla="*/ 96 h 139"/>
                <a:gd name="T8" fmla="*/ 127 w 139"/>
                <a:gd name="T9" fmla="*/ 108 h 139"/>
                <a:gd name="T10" fmla="*/ 119 w 139"/>
                <a:gd name="T11" fmla="*/ 119 h 139"/>
                <a:gd name="T12" fmla="*/ 108 w 139"/>
                <a:gd name="T13" fmla="*/ 126 h 139"/>
                <a:gd name="T14" fmla="*/ 96 w 139"/>
                <a:gd name="T15" fmla="*/ 133 h 139"/>
                <a:gd name="T16" fmla="*/ 84 w 139"/>
                <a:gd name="T17" fmla="*/ 137 h 139"/>
                <a:gd name="T18" fmla="*/ 70 w 139"/>
                <a:gd name="T19" fmla="*/ 139 h 139"/>
                <a:gd name="T20" fmla="*/ 70 w 139"/>
                <a:gd name="T21" fmla="*/ 139 h 139"/>
                <a:gd name="T22" fmla="*/ 55 w 139"/>
                <a:gd name="T23" fmla="*/ 137 h 139"/>
                <a:gd name="T24" fmla="*/ 43 w 139"/>
                <a:gd name="T25" fmla="*/ 133 h 139"/>
                <a:gd name="T26" fmla="*/ 31 w 139"/>
                <a:gd name="T27" fmla="*/ 126 h 139"/>
                <a:gd name="T28" fmla="*/ 20 w 139"/>
                <a:gd name="T29" fmla="*/ 119 h 139"/>
                <a:gd name="T30" fmla="*/ 12 w 139"/>
                <a:gd name="T31" fmla="*/ 108 h 139"/>
                <a:gd name="T32" fmla="*/ 6 w 139"/>
                <a:gd name="T33" fmla="*/ 96 h 139"/>
                <a:gd name="T34" fmla="*/ 2 w 139"/>
                <a:gd name="T35" fmla="*/ 84 h 139"/>
                <a:gd name="T36" fmla="*/ 0 w 139"/>
                <a:gd name="T37" fmla="*/ 69 h 139"/>
                <a:gd name="T38" fmla="*/ 0 w 139"/>
                <a:gd name="T39" fmla="*/ 69 h 139"/>
                <a:gd name="T40" fmla="*/ 2 w 139"/>
                <a:gd name="T41" fmla="*/ 55 h 139"/>
                <a:gd name="T42" fmla="*/ 6 w 139"/>
                <a:gd name="T43" fmla="*/ 43 h 139"/>
                <a:gd name="T44" fmla="*/ 12 w 139"/>
                <a:gd name="T45" fmla="*/ 30 h 139"/>
                <a:gd name="T46" fmla="*/ 20 w 139"/>
                <a:gd name="T47" fmla="*/ 20 h 139"/>
                <a:gd name="T48" fmla="*/ 31 w 139"/>
                <a:gd name="T49" fmla="*/ 12 h 139"/>
                <a:gd name="T50" fmla="*/ 43 w 139"/>
                <a:gd name="T51" fmla="*/ 5 h 139"/>
                <a:gd name="T52" fmla="*/ 55 w 139"/>
                <a:gd name="T53" fmla="*/ 2 h 139"/>
                <a:gd name="T54" fmla="*/ 70 w 139"/>
                <a:gd name="T55" fmla="*/ 0 h 139"/>
                <a:gd name="T56" fmla="*/ 70 w 139"/>
                <a:gd name="T57" fmla="*/ 0 h 139"/>
                <a:gd name="T58" fmla="*/ 84 w 139"/>
                <a:gd name="T59" fmla="*/ 2 h 139"/>
                <a:gd name="T60" fmla="*/ 96 w 139"/>
                <a:gd name="T61" fmla="*/ 5 h 139"/>
                <a:gd name="T62" fmla="*/ 108 w 139"/>
                <a:gd name="T63" fmla="*/ 12 h 139"/>
                <a:gd name="T64" fmla="*/ 119 w 139"/>
                <a:gd name="T65" fmla="*/ 20 h 139"/>
                <a:gd name="T66" fmla="*/ 127 w 139"/>
                <a:gd name="T67" fmla="*/ 30 h 139"/>
                <a:gd name="T68" fmla="*/ 134 w 139"/>
                <a:gd name="T69" fmla="*/ 43 h 139"/>
                <a:gd name="T70" fmla="*/ 137 w 139"/>
                <a:gd name="T71" fmla="*/ 55 h 139"/>
                <a:gd name="T72" fmla="*/ 139 w 139"/>
                <a:gd name="T73" fmla="*/ 69 h 139"/>
                <a:gd name="T74" fmla="*/ 139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69"/>
                  </a:moveTo>
                  <a:lnTo>
                    <a:pt x="139" y="69"/>
                  </a:lnTo>
                  <a:lnTo>
                    <a:pt x="137" y="84"/>
                  </a:lnTo>
                  <a:lnTo>
                    <a:pt x="134" y="96"/>
                  </a:lnTo>
                  <a:lnTo>
                    <a:pt x="127" y="108"/>
                  </a:lnTo>
                  <a:lnTo>
                    <a:pt x="119" y="119"/>
                  </a:lnTo>
                  <a:lnTo>
                    <a:pt x="108" y="126"/>
                  </a:lnTo>
                  <a:lnTo>
                    <a:pt x="96" y="133"/>
                  </a:lnTo>
                  <a:lnTo>
                    <a:pt x="84" y="137"/>
                  </a:lnTo>
                  <a:lnTo>
                    <a:pt x="70" y="139"/>
                  </a:lnTo>
                  <a:lnTo>
                    <a:pt x="70" y="139"/>
                  </a:lnTo>
                  <a:lnTo>
                    <a:pt x="55" y="137"/>
                  </a:lnTo>
                  <a:lnTo>
                    <a:pt x="43" y="133"/>
                  </a:lnTo>
                  <a:lnTo>
                    <a:pt x="31" y="126"/>
                  </a:lnTo>
                  <a:lnTo>
                    <a:pt x="20" y="119"/>
                  </a:lnTo>
                  <a:lnTo>
                    <a:pt x="12" y="108"/>
                  </a:lnTo>
                  <a:lnTo>
                    <a:pt x="6" y="96"/>
                  </a:lnTo>
                  <a:lnTo>
                    <a:pt x="2" y="84"/>
                  </a:lnTo>
                  <a:lnTo>
                    <a:pt x="0" y="69"/>
                  </a:lnTo>
                  <a:lnTo>
                    <a:pt x="0" y="69"/>
                  </a:lnTo>
                  <a:lnTo>
                    <a:pt x="2" y="55"/>
                  </a:lnTo>
                  <a:lnTo>
                    <a:pt x="6" y="43"/>
                  </a:lnTo>
                  <a:lnTo>
                    <a:pt x="12" y="30"/>
                  </a:lnTo>
                  <a:lnTo>
                    <a:pt x="20" y="20"/>
                  </a:lnTo>
                  <a:lnTo>
                    <a:pt x="31" y="12"/>
                  </a:lnTo>
                  <a:lnTo>
                    <a:pt x="43" y="5"/>
                  </a:lnTo>
                  <a:lnTo>
                    <a:pt x="55" y="2"/>
                  </a:lnTo>
                  <a:lnTo>
                    <a:pt x="70" y="0"/>
                  </a:lnTo>
                  <a:lnTo>
                    <a:pt x="70" y="0"/>
                  </a:lnTo>
                  <a:lnTo>
                    <a:pt x="84" y="2"/>
                  </a:lnTo>
                  <a:lnTo>
                    <a:pt x="96" y="5"/>
                  </a:lnTo>
                  <a:lnTo>
                    <a:pt x="108" y="12"/>
                  </a:lnTo>
                  <a:lnTo>
                    <a:pt x="119" y="20"/>
                  </a:lnTo>
                  <a:lnTo>
                    <a:pt x="127" y="30"/>
                  </a:lnTo>
                  <a:lnTo>
                    <a:pt x="134" y="43"/>
                  </a:lnTo>
                  <a:lnTo>
                    <a:pt x="137" y="55"/>
                  </a:lnTo>
                  <a:lnTo>
                    <a:pt x="139" y="69"/>
                  </a:lnTo>
                  <a:lnTo>
                    <a:pt x="139" y="69"/>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5" name="Freeform 7">
              <a:extLst>
                <a:ext uri="{FF2B5EF4-FFF2-40B4-BE49-F238E27FC236}">
                  <a16:creationId xmlns:a16="http://schemas.microsoft.com/office/drawing/2014/main" id="{A3F118DE-3C61-41CA-B308-25C6E62C8A9F}"/>
                </a:ext>
              </a:extLst>
            </p:cNvPr>
            <p:cNvSpPr>
              <a:spLocks/>
            </p:cNvSpPr>
            <p:nvPr/>
          </p:nvSpPr>
          <p:spPr bwMode="auto">
            <a:xfrm rot="16200000" flipV="1">
              <a:off x="8163284" y="4187555"/>
              <a:ext cx="220663" cy="220663"/>
            </a:xfrm>
            <a:custGeom>
              <a:avLst/>
              <a:gdLst>
                <a:gd name="T0" fmla="*/ 139 w 139"/>
                <a:gd name="T1" fmla="*/ 70 h 139"/>
                <a:gd name="T2" fmla="*/ 139 w 139"/>
                <a:gd name="T3" fmla="*/ 70 h 139"/>
                <a:gd name="T4" fmla="*/ 139 w 139"/>
                <a:gd name="T5" fmla="*/ 84 h 139"/>
                <a:gd name="T6" fmla="*/ 134 w 139"/>
                <a:gd name="T7" fmla="*/ 96 h 139"/>
                <a:gd name="T8" fmla="*/ 128 w 139"/>
                <a:gd name="T9" fmla="*/ 108 h 139"/>
                <a:gd name="T10" fmla="*/ 119 w 139"/>
                <a:gd name="T11" fmla="*/ 119 h 139"/>
                <a:gd name="T12" fmla="*/ 108 w 139"/>
                <a:gd name="T13" fmla="*/ 127 h 139"/>
                <a:gd name="T14" fmla="*/ 98 w 139"/>
                <a:gd name="T15" fmla="*/ 133 h 139"/>
                <a:gd name="T16" fmla="*/ 84 w 139"/>
                <a:gd name="T17" fmla="*/ 137 h 139"/>
                <a:gd name="T18" fmla="*/ 70 w 139"/>
                <a:gd name="T19" fmla="*/ 139 h 139"/>
                <a:gd name="T20" fmla="*/ 70 w 139"/>
                <a:gd name="T21" fmla="*/ 139 h 139"/>
                <a:gd name="T22" fmla="*/ 57 w 139"/>
                <a:gd name="T23" fmla="*/ 137 h 139"/>
                <a:gd name="T24" fmla="*/ 43 w 139"/>
                <a:gd name="T25" fmla="*/ 133 h 139"/>
                <a:gd name="T26" fmla="*/ 31 w 139"/>
                <a:gd name="T27" fmla="*/ 127 h 139"/>
                <a:gd name="T28" fmla="*/ 21 w 139"/>
                <a:gd name="T29" fmla="*/ 119 h 139"/>
                <a:gd name="T30" fmla="*/ 12 w 139"/>
                <a:gd name="T31" fmla="*/ 108 h 139"/>
                <a:gd name="T32" fmla="*/ 6 w 139"/>
                <a:gd name="T33" fmla="*/ 96 h 139"/>
                <a:gd name="T34" fmla="*/ 2 w 139"/>
                <a:gd name="T35" fmla="*/ 84 h 139"/>
                <a:gd name="T36" fmla="*/ 0 w 139"/>
                <a:gd name="T37" fmla="*/ 70 h 139"/>
                <a:gd name="T38" fmla="*/ 0 w 139"/>
                <a:gd name="T39" fmla="*/ 70 h 139"/>
                <a:gd name="T40" fmla="*/ 2 w 139"/>
                <a:gd name="T41" fmla="*/ 55 h 139"/>
                <a:gd name="T42" fmla="*/ 6 w 139"/>
                <a:gd name="T43" fmla="*/ 43 h 139"/>
                <a:gd name="T44" fmla="*/ 12 w 139"/>
                <a:gd name="T45" fmla="*/ 31 h 139"/>
                <a:gd name="T46" fmla="*/ 21 w 139"/>
                <a:gd name="T47" fmla="*/ 20 h 139"/>
                <a:gd name="T48" fmla="*/ 31 w 139"/>
                <a:gd name="T49" fmla="*/ 12 h 139"/>
                <a:gd name="T50" fmla="*/ 43 w 139"/>
                <a:gd name="T51" fmla="*/ 6 h 139"/>
                <a:gd name="T52" fmla="*/ 57 w 139"/>
                <a:gd name="T53" fmla="*/ 2 h 139"/>
                <a:gd name="T54" fmla="*/ 70 w 139"/>
                <a:gd name="T55" fmla="*/ 0 h 139"/>
                <a:gd name="T56" fmla="*/ 70 w 139"/>
                <a:gd name="T57" fmla="*/ 0 h 139"/>
                <a:gd name="T58" fmla="*/ 84 w 139"/>
                <a:gd name="T59" fmla="*/ 2 h 139"/>
                <a:gd name="T60" fmla="*/ 98 w 139"/>
                <a:gd name="T61" fmla="*/ 6 h 139"/>
                <a:gd name="T62" fmla="*/ 108 w 139"/>
                <a:gd name="T63" fmla="*/ 12 h 139"/>
                <a:gd name="T64" fmla="*/ 119 w 139"/>
                <a:gd name="T65" fmla="*/ 20 h 139"/>
                <a:gd name="T66" fmla="*/ 128 w 139"/>
                <a:gd name="T67" fmla="*/ 31 h 139"/>
                <a:gd name="T68" fmla="*/ 134 w 139"/>
                <a:gd name="T69" fmla="*/ 43 h 139"/>
                <a:gd name="T70" fmla="*/ 139 w 139"/>
                <a:gd name="T71" fmla="*/ 55 h 139"/>
                <a:gd name="T72" fmla="*/ 139 w 139"/>
                <a:gd name="T73" fmla="*/ 70 h 139"/>
                <a:gd name="T74" fmla="*/ 139 w 139"/>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70"/>
                  </a:moveTo>
                  <a:lnTo>
                    <a:pt x="139" y="70"/>
                  </a:lnTo>
                  <a:lnTo>
                    <a:pt x="139" y="84"/>
                  </a:lnTo>
                  <a:lnTo>
                    <a:pt x="134" y="96"/>
                  </a:lnTo>
                  <a:lnTo>
                    <a:pt x="128" y="108"/>
                  </a:lnTo>
                  <a:lnTo>
                    <a:pt x="119" y="119"/>
                  </a:lnTo>
                  <a:lnTo>
                    <a:pt x="108" y="127"/>
                  </a:lnTo>
                  <a:lnTo>
                    <a:pt x="98" y="133"/>
                  </a:lnTo>
                  <a:lnTo>
                    <a:pt x="84" y="137"/>
                  </a:lnTo>
                  <a:lnTo>
                    <a:pt x="70" y="139"/>
                  </a:lnTo>
                  <a:lnTo>
                    <a:pt x="70" y="139"/>
                  </a:lnTo>
                  <a:lnTo>
                    <a:pt x="57" y="137"/>
                  </a:lnTo>
                  <a:lnTo>
                    <a:pt x="43" y="133"/>
                  </a:lnTo>
                  <a:lnTo>
                    <a:pt x="31" y="127"/>
                  </a:lnTo>
                  <a:lnTo>
                    <a:pt x="21" y="119"/>
                  </a:lnTo>
                  <a:lnTo>
                    <a:pt x="12" y="108"/>
                  </a:lnTo>
                  <a:lnTo>
                    <a:pt x="6" y="96"/>
                  </a:lnTo>
                  <a:lnTo>
                    <a:pt x="2" y="84"/>
                  </a:lnTo>
                  <a:lnTo>
                    <a:pt x="0" y="70"/>
                  </a:lnTo>
                  <a:lnTo>
                    <a:pt x="0" y="70"/>
                  </a:lnTo>
                  <a:lnTo>
                    <a:pt x="2" y="55"/>
                  </a:lnTo>
                  <a:lnTo>
                    <a:pt x="6" y="43"/>
                  </a:lnTo>
                  <a:lnTo>
                    <a:pt x="12" y="31"/>
                  </a:lnTo>
                  <a:lnTo>
                    <a:pt x="21" y="20"/>
                  </a:lnTo>
                  <a:lnTo>
                    <a:pt x="31" y="12"/>
                  </a:lnTo>
                  <a:lnTo>
                    <a:pt x="43" y="6"/>
                  </a:lnTo>
                  <a:lnTo>
                    <a:pt x="57" y="2"/>
                  </a:lnTo>
                  <a:lnTo>
                    <a:pt x="70" y="0"/>
                  </a:lnTo>
                  <a:lnTo>
                    <a:pt x="70" y="0"/>
                  </a:lnTo>
                  <a:lnTo>
                    <a:pt x="84" y="2"/>
                  </a:lnTo>
                  <a:lnTo>
                    <a:pt x="98" y="6"/>
                  </a:lnTo>
                  <a:lnTo>
                    <a:pt x="108" y="12"/>
                  </a:lnTo>
                  <a:lnTo>
                    <a:pt x="119" y="20"/>
                  </a:lnTo>
                  <a:lnTo>
                    <a:pt x="128" y="31"/>
                  </a:lnTo>
                  <a:lnTo>
                    <a:pt x="134" y="43"/>
                  </a:lnTo>
                  <a:lnTo>
                    <a:pt x="139" y="55"/>
                  </a:lnTo>
                  <a:lnTo>
                    <a:pt x="139" y="70"/>
                  </a:lnTo>
                  <a:lnTo>
                    <a:pt x="139"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6" name="Freeform 8">
              <a:extLst>
                <a:ext uri="{FF2B5EF4-FFF2-40B4-BE49-F238E27FC236}">
                  <a16:creationId xmlns:a16="http://schemas.microsoft.com/office/drawing/2014/main" id="{FA29E9DB-83AF-4145-9BE6-C75BB74295E9}"/>
                </a:ext>
              </a:extLst>
            </p:cNvPr>
            <p:cNvSpPr>
              <a:spLocks/>
            </p:cNvSpPr>
            <p:nvPr/>
          </p:nvSpPr>
          <p:spPr bwMode="auto">
            <a:xfrm rot="16200000" flipV="1">
              <a:off x="8163284" y="2990580"/>
              <a:ext cx="220663" cy="220663"/>
            </a:xfrm>
            <a:custGeom>
              <a:avLst/>
              <a:gdLst>
                <a:gd name="T0" fmla="*/ 139 w 139"/>
                <a:gd name="T1" fmla="*/ 70 h 139"/>
                <a:gd name="T2" fmla="*/ 139 w 139"/>
                <a:gd name="T3" fmla="*/ 70 h 139"/>
                <a:gd name="T4" fmla="*/ 137 w 139"/>
                <a:gd name="T5" fmla="*/ 84 h 139"/>
                <a:gd name="T6" fmla="*/ 134 w 139"/>
                <a:gd name="T7" fmla="*/ 96 h 139"/>
                <a:gd name="T8" fmla="*/ 127 w 139"/>
                <a:gd name="T9" fmla="*/ 108 h 139"/>
                <a:gd name="T10" fmla="*/ 119 w 139"/>
                <a:gd name="T11" fmla="*/ 119 h 139"/>
                <a:gd name="T12" fmla="*/ 108 w 139"/>
                <a:gd name="T13" fmla="*/ 127 h 139"/>
                <a:gd name="T14" fmla="*/ 96 w 139"/>
                <a:gd name="T15" fmla="*/ 133 h 139"/>
                <a:gd name="T16" fmla="*/ 84 w 139"/>
                <a:gd name="T17" fmla="*/ 137 h 139"/>
                <a:gd name="T18" fmla="*/ 70 w 139"/>
                <a:gd name="T19" fmla="*/ 139 h 139"/>
                <a:gd name="T20" fmla="*/ 70 w 139"/>
                <a:gd name="T21" fmla="*/ 139 h 139"/>
                <a:gd name="T22" fmla="*/ 55 w 139"/>
                <a:gd name="T23" fmla="*/ 137 h 139"/>
                <a:gd name="T24" fmla="*/ 43 w 139"/>
                <a:gd name="T25" fmla="*/ 133 h 139"/>
                <a:gd name="T26" fmla="*/ 31 w 139"/>
                <a:gd name="T27" fmla="*/ 127 h 139"/>
                <a:gd name="T28" fmla="*/ 20 w 139"/>
                <a:gd name="T29" fmla="*/ 119 h 139"/>
                <a:gd name="T30" fmla="*/ 12 w 139"/>
                <a:gd name="T31" fmla="*/ 108 h 139"/>
                <a:gd name="T32" fmla="*/ 6 w 139"/>
                <a:gd name="T33" fmla="*/ 96 h 139"/>
                <a:gd name="T34" fmla="*/ 2 w 139"/>
                <a:gd name="T35" fmla="*/ 84 h 139"/>
                <a:gd name="T36" fmla="*/ 0 w 139"/>
                <a:gd name="T37" fmla="*/ 70 h 139"/>
                <a:gd name="T38" fmla="*/ 0 w 139"/>
                <a:gd name="T39" fmla="*/ 70 h 139"/>
                <a:gd name="T40" fmla="*/ 2 w 139"/>
                <a:gd name="T41" fmla="*/ 55 h 139"/>
                <a:gd name="T42" fmla="*/ 6 w 139"/>
                <a:gd name="T43" fmla="*/ 43 h 139"/>
                <a:gd name="T44" fmla="*/ 12 w 139"/>
                <a:gd name="T45" fmla="*/ 31 h 139"/>
                <a:gd name="T46" fmla="*/ 20 w 139"/>
                <a:gd name="T47" fmla="*/ 20 h 139"/>
                <a:gd name="T48" fmla="*/ 31 w 139"/>
                <a:gd name="T49" fmla="*/ 12 h 139"/>
                <a:gd name="T50" fmla="*/ 43 w 139"/>
                <a:gd name="T51" fmla="*/ 6 h 139"/>
                <a:gd name="T52" fmla="*/ 55 w 139"/>
                <a:gd name="T53" fmla="*/ 2 h 139"/>
                <a:gd name="T54" fmla="*/ 70 w 139"/>
                <a:gd name="T55" fmla="*/ 0 h 139"/>
                <a:gd name="T56" fmla="*/ 70 w 139"/>
                <a:gd name="T57" fmla="*/ 0 h 139"/>
                <a:gd name="T58" fmla="*/ 84 w 139"/>
                <a:gd name="T59" fmla="*/ 2 h 139"/>
                <a:gd name="T60" fmla="*/ 96 w 139"/>
                <a:gd name="T61" fmla="*/ 6 h 139"/>
                <a:gd name="T62" fmla="*/ 108 w 139"/>
                <a:gd name="T63" fmla="*/ 12 h 139"/>
                <a:gd name="T64" fmla="*/ 119 w 139"/>
                <a:gd name="T65" fmla="*/ 20 h 139"/>
                <a:gd name="T66" fmla="*/ 127 w 139"/>
                <a:gd name="T67" fmla="*/ 31 h 139"/>
                <a:gd name="T68" fmla="*/ 134 w 139"/>
                <a:gd name="T69" fmla="*/ 43 h 139"/>
                <a:gd name="T70" fmla="*/ 137 w 139"/>
                <a:gd name="T71" fmla="*/ 55 h 139"/>
                <a:gd name="T72" fmla="*/ 139 w 139"/>
                <a:gd name="T73" fmla="*/ 70 h 139"/>
                <a:gd name="T74" fmla="*/ 139 w 139"/>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70"/>
                  </a:moveTo>
                  <a:lnTo>
                    <a:pt x="139" y="70"/>
                  </a:lnTo>
                  <a:lnTo>
                    <a:pt x="137" y="84"/>
                  </a:lnTo>
                  <a:lnTo>
                    <a:pt x="134" y="96"/>
                  </a:lnTo>
                  <a:lnTo>
                    <a:pt x="127" y="108"/>
                  </a:lnTo>
                  <a:lnTo>
                    <a:pt x="119" y="119"/>
                  </a:lnTo>
                  <a:lnTo>
                    <a:pt x="108" y="127"/>
                  </a:lnTo>
                  <a:lnTo>
                    <a:pt x="96" y="133"/>
                  </a:lnTo>
                  <a:lnTo>
                    <a:pt x="84" y="137"/>
                  </a:lnTo>
                  <a:lnTo>
                    <a:pt x="70" y="139"/>
                  </a:lnTo>
                  <a:lnTo>
                    <a:pt x="70" y="139"/>
                  </a:lnTo>
                  <a:lnTo>
                    <a:pt x="55" y="137"/>
                  </a:lnTo>
                  <a:lnTo>
                    <a:pt x="43" y="133"/>
                  </a:lnTo>
                  <a:lnTo>
                    <a:pt x="31" y="127"/>
                  </a:lnTo>
                  <a:lnTo>
                    <a:pt x="20" y="119"/>
                  </a:lnTo>
                  <a:lnTo>
                    <a:pt x="12" y="108"/>
                  </a:lnTo>
                  <a:lnTo>
                    <a:pt x="6" y="96"/>
                  </a:lnTo>
                  <a:lnTo>
                    <a:pt x="2" y="84"/>
                  </a:lnTo>
                  <a:lnTo>
                    <a:pt x="0" y="70"/>
                  </a:lnTo>
                  <a:lnTo>
                    <a:pt x="0" y="70"/>
                  </a:lnTo>
                  <a:lnTo>
                    <a:pt x="2" y="55"/>
                  </a:lnTo>
                  <a:lnTo>
                    <a:pt x="6" y="43"/>
                  </a:lnTo>
                  <a:lnTo>
                    <a:pt x="12" y="31"/>
                  </a:lnTo>
                  <a:lnTo>
                    <a:pt x="20" y="20"/>
                  </a:lnTo>
                  <a:lnTo>
                    <a:pt x="31" y="12"/>
                  </a:lnTo>
                  <a:lnTo>
                    <a:pt x="43" y="6"/>
                  </a:lnTo>
                  <a:lnTo>
                    <a:pt x="55" y="2"/>
                  </a:lnTo>
                  <a:lnTo>
                    <a:pt x="70" y="0"/>
                  </a:lnTo>
                  <a:lnTo>
                    <a:pt x="70" y="0"/>
                  </a:lnTo>
                  <a:lnTo>
                    <a:pt x="84" y="2"/>
                  </a:lnTo>
                  <a:lnTo>
                    <a:pt x="96" y="6"/>
                  </a:lnTo>
                  <a:lnTo>
                    <a:pt x="108" y="12"/>
                  </a:lnTo>
                  <a:lnTo>
                    <a:pt x="119" y="20"/>
                  </a:lnTo>
                  <a:lnTo>
                    <a:pt x="127" y="31"/>
                  </a:lnTo>
                  <a:lnTo>
                    <a:pt x="134" y="43"/>
                  </a:lnTo>
                  <a:lnTo>
                    <a:pt x="137" y="55"/>
                  </a:lnTo>
                  <a:lnTo>
                    <a:pt x="139" y="70"/>
                  </a:lnTo>
                  <a:lnTo>
                    <a:pt x="139"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7" name="Freeform 9">
              <a:extLst>
                <a:ext uri="{FF2B5EF4-FFF2-40B4-BE49-F238E27FC236}">
                  <a16:creationId xmlns:a16="http://schemas.microsoft.com/office/drawing/2014/main" id="{73E95A7A-2C80-4F33-8DD9-EEDB02510F33}"/>
                </a:ext>
              </a:extLst>
            </p:cNvPr>
            <p:cNvSpPr>
              <a:spLocks/>
            </p:cNvSpPr>
            <p:nvPr/>
          </p:nvSpPr>
          <p:spPr bwMode="auto">
            <a:xfrm rot="16200000" flipV="1">
              <a:off x="7868009" y="4092305"/>
              <a:ext cx="219075" cy="222250"/>
            </a:xfrm>
            <a:custGeom>
              <a:avLst/>
              <a:gdLst>
                <a:gd name="T0" fmla="*/ 138 w 138"/>
                <a:gd name="T1" fmla="*/ 70 h 140"/>
                <a:gd name="T2" fmla="*/ 138 w 138"/>
                <a:gd name="T3" fmla="*/ 70 h 140"/>
                <a:gd name="T4" fmla="*/ 137 w 138"/>
                <a:gd name="T5" fmla="*/ 84 h 140"/>
                <a:gd name="T6" fmla="*/ 132 w 138"/>
                <a:gd name="T7" fmla="*/ 97 h 140"/>
                <a:gd name="T8" fmla="*/ 126 w 138"/>
                <a:gd name="T9" fmla="*/ 108 h 140"/>
                <a:gd name="T10" fmla="*/ 117 w 138"/>
                <a:gd name="T11" fmla="*/ 119 h 140"/>
                <a:gd name="T12" fmla="*/ 108 w 138"/>
                <a:gd name="T13" fmla="*/ 128 h 140"/>
                <a:gd name="T14" fmla="*/ 96 w 138"/>
                <a:gd name="T15" fmla="*/ 134 h 140"/>
                <a:gd name="T16" fmla="*/ 82 w 138"/>
                <a:gd name="T17" fmla="*/ 139 h 140"/>
                <a:gd name="T18" fmla="*/ 68 w 138"/>
                <a:gd name="T19" fmla="*/ 140 h 140"/>
                <a:gd name="T20" fmla="*/ 68 w 138"/>
                <a:gd name="T21" fmla="*/ 140 h 140"/>
                <a:gd name="T22" fmla="*/ 55 w 138"/>
                <a:gd name="T23" fmla="*/ 139 h 140"/>
                <a:gd name="T24" fmla="*/ 42 w 138"/>
                <a:gd name="T25" fmla="*/ 134 h 140"/>
                <a:gd name="T26" fmla="*/ 30 w 138"/>
                <a:gd name="T27" fmla="*/ 128 h 140"/>
                <a:gd name="T28" fmla="*/ 19 w 138"/>
                <a:gd name="T29" fmla="*/ 119 h 140"/>
                <a:gd name="T30" fmla="*/ 10 w 138"/>
                <a:gd name="T31" fmla="*/ 108 h 140"/>
                <a:gd name="T32" fmla="*/ 4 w 138"/>
                <a:gd name="T33" fmla="*/ 97 h 140"/>
                <a:gd name="T34" fmla="*/ 1 w 138"/>
                <a:gd name="T35" fmla="*/ 84 h 140"/>
                <a:gd name="T36" fmla="*/ 0 w 138"/>
                <a:gd name="T37" fmla="*/ 70 h 140"/>
                <a:gd name="T38" fmla="*/ 0 w 138"/>
                <a:gd name="T39" fmla="*/ 70 h 140"/>
                <a:gd name="T40" fmla="*/ 1 w 138"/>
                <a:gd name="T41" fmla="*/ 56 h 140"/>
                <a:gd name="T42" fmla="*/ 4 w 138"/>
                <a:gd name="T43" fmla="*/ 43 h 140"/>
                <a:gd name="T44" fmla="*/ 10 w 138"/>
                <a:gd name="T45" fmla="*/ 32 h 140"/>
                <a:gd name="T46" fmla="*/ 19 w 138"/>
                <a:gd name="T47" fmla="*/ 21 h 140"/>
                <a:gd name="T48" fmla="*/ 30 w 138"/>
                <a:gd name="T49" fmla="*/ 12 h 140"/>
                <a:gd name="T50" fmla="*/ 42 w 138"/>
                <a:gd name="T51" fmla="*/ 6 h 140"/>
                <a:gd name="T52" fmla="*/ 55 w 138"/>
                <a:gd name="T53" fmla="*/ 1 h 140"/>
                <a:gd name="T54" fmla="*/ 68 w 138"/>
                <a:gd name="T55" fmla="*/ 0 h 140"/>
                <a:gd name="T56" fmla="*/ 68 w 138"/>
                <a:gd name="T57" fmla="*/ 0 h 140"/>
                <a:gd name="T58" fmla="*/ 82 w 138"/>
                <a:gd name="T59" fmla="*/ 1 h 140"/>
                <a:gd name="T60" fmla="*/ 96 w 138"/>
                <a:gd name="T61" fmla="*/ 6 h 140"/>
                <a:gd name="T62" fmla="*/ 108 w 138"/>
                <a:gd name="T63" fmla="*/ 12 h 140"/>
                <a:gd name="T64" fmla="*/ 117 w 138"/>
                <a:gd name="T65" fmla="*/ 21 h 140"/>
                <a:gd name="T66" fmla="*/ 126 w 138"/>
                <a:gd name="T67" fmla="*/ 32 h 140"/>
                <a:gd name="T68" fmla="*/ 132 w 138"/>
                <a:gd name="T69" fmla="*/ 43 h 140"/>
                <a:gd name="T70" fmla="*/ 137 w 138"/>
                <a:gd name="T71" fmla="*/ 56 h 140"/>
                <a:gd name="T72" fmla="*/ 138 w 138"/>
                <a:gd name="T73" fmla="*/ 70 h 140"/>
                <a:gd name="T74" fmla="*/ 138 w 138"/>
                <a:gd name="T75" fmla="*/ 7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40">
                  <a:moveTo>
                    <a:pt x="138" y="70"/>
                  </a:moveTo>
                  <a:lnTo>
                    <a:pt x="138" y="70"/>
                  </a:lnTo>
                  <a:lnTo>
                    <a:pt x="137" y="84"/>
                  </a:lnTo>
                  <a:lnTo>
                    <a:pt x="132" y="97"/>
                  </a:lnTo>
                  <a:lnTo>
                    <a:pt x="126" y="108"/>
                  </a:lnTo>
                  <a:lnTo>
                    <a:pt x="117" y="119"/>
                  </a:lnTo>
                  <a:lnTo>
                    <a:pt x="108" y="128"/>
                  </a:lnTo>
                  <a:lnTo>
                    <a:pt x="96" y="134"/>
                  </a:lnTo>
                  <a:lnTo>
                    <a:pt x="82" y="139"/>
                  </a:lnTo>
                  <a:lnTo>
                    <a:pt x="68" y="140"/>
                  </a:lnTo>
                  <a:lnTo>
                    <a:pt x="68" y="140"/>
                  </a:lnTo>
                  <a:lnTo>
                    <a:pt x="55" y="139"/>
                  </a:lnTo>
                  <a:lnTo>
                    <a:pt x="42" y="134"/>
                  </a:lnTo>
                  <a:lnTo>
                    <a:pt x="30" y="128"/>
                  </a:lnTo>
                  <a:lnTo>
                    <a:pt x="19" y="119"/>
                  </a:lnTo>
                  <a:lnTo>
                    <a:pt x="10" y="108"/>
                  </a:lnTo>
                  <a:lnTo>
                    <a:pt x="4" y="97"/>
                  </a:lnTo>
                  <a:lnTo>
                    <a:pt x="1" y="84"/>
                  </a:lnTo>
                  <a:lnTo>
                    <a:pt x="0" y="70"/>
                  </a:lnTo>
                  <a:lnTo>
                    <a:pt x="0" y="70"/>
                  </a:lnTo>
                  <a:lnTo>
                    <a:pt x="1" y="56"/>
                  </a:lnTo>
                  <a:lnTo>
                    <a:pt x="4" y="43"/>
                  </a:lnTo>
                  <a:lnTo>
                    <a:pt x="10" y="32"/>
                  </a:lnTo>
                  <a:lnTo>
                    <a:pt x="19" y="21"/>
                  </a:lnTo>
                  <a:lnTo>
                    <a:pt x="30" y="12"/>
                  </a:lnTo>
                  <a:lnTo>
                    <a:pt x="42" y="6"/>
                  </a:lnTo>
                  <a:lnTo>
                    <a:pt x="55" y="1"/>
                  </a:lnTo>
                  <a:lnTo>
                    <a:pt x="68" y="0"/>
                  </a:lnTo>
                  <a:lnTo>
                    <a:pt x="68" y="0"/>
                  </a:lnTo>
                  <a:lnTo>
                    <a:pt x="82" y="1"/>
                  </a:lnTo>
                  <a:lnTo>
                    <a:pt x="96" y="6"/>
                  </a:lnTo>
                  <a:lnTo>
                    <a:pt x="108" y="12"/>
                  </a:lnTo>
                  <a:lnTo>
                    <a:pt x="117" y="21"/>
                  </a:lnTo>
                  <a:lnTo>
                    <a:pt x="126" y="32"/>
                  </a:lnTo>
                  <a:lnTo>
                    <a:pt x="132" y="43"/>
                  </a:lnTo>
                  <a:lnTo>
                    <a:pt x="137" y="56"/>
                  </a:lnTo>
                  <a:lnTo>
                    <a:pt x="138" y="70"/>
                  </a:lnTo>
                  <a:lnTo>
                    <a:pt x="138"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8" name="Freeform 10">
              <a:extLst>
                <a:ext uri="{FF2B5EF4-FFF2-40B4-BE49-F238E27FC236}">
                  <a16:creationId xmlns:a16="http://schemas.microsoft.com/office/drawing/2014/main" id="{91EBBE1E-E9AB-480E-8388-156AD64BAD79}"/>
                </a:ext>
              </a:extLst>
            </p:cNvPr>
            <p:cNvSpPr>
              <a:spLocks/>
            </p:cNvSpPr>
            <p:nvPr/>
          </p:nvSpPr>
          <p:spPr bwMode="auto">
            <a:xfrm rot="16200000" flipV="1">
              <a:off x="7867215" y="3086623"/>
              <a:ext cx="220663" cy="222250"/>
            </a:xfrm>
            <a:custGeom>
              <a:avLst/>
              <a:gdLst>
                <a:gd name="T0" fmla="*/ 139 w 139"/>
                <a:gd name="T1" fmla="*/ 70 h 140"/>
                <a:gd name="T2" fmla="*/ 139 w 139"/>
                <a:gd name="T3" fmla="*/ 70 h 140"/>
                <a:gd name="T4" fmla="*/ 137 w 139"/>
                <a:gd name="T5" fmla="*/ 84 h 140"/>
                <a:gd name="T6" fmla="*/ 133 w 139"/>
                <a:gd name="T7" fmla="*/ 97 h 140"/>
                <a:gd name="T8" fmla="*/ 127 w 139"/>
                <a:gd name="T9" fmla="*/ 108 h 140"/>
                <a:gd name="T10" fmla="*/ 119 w 139"/>
                <a:gd name="T11" fmla="*/ 119 h 140"/>
                <a:gd name="T12" fmla="*/ 108 w 139"/>
                <a:gd name="T13" fmla="*/ 128 h 140"/>
                <a:gd name="T14" fmla="*/ 96 w 139"/>
                <a:gd name="T15" fmla="*/ 134 h 140"/>
                <a:gd name="T16" fmla="*/ 84 w 139"/>
                <a:gd name="T17" fmla="*/ 139 h 140"/>
                <a:gd name="T18" fmla="*/ 69 w 139"/>
                <a:gd name="T19" fmla="*/ 140 h 140"/>
                <a:gd name="T20" fmla="*/ 69 w 139"/>
                <a:gd name="T21" fmla="*/ 140 h 140"/>
                <a:gd name="T22" fmla="*/ 55 w 139"/>
                <a:gd name="T23" fmla="*/ 139 h 140"/>
                <a:gd name="T24" fmla="*/ 43 w 139"/>
                <a:gd name="T25" fmla="*/ 134 h 140"/>
                <a:gd name="T26" fmla="*/ 31 w 139"/>
                <a:gd name="T27" fmla="*/ 128 h 140"/>
                <a:gd name="T28" fmla="*/ 20 w 139"/>
                <a:gd name="T29" fmla="*/ 119 h 140"/>
                <a:gd name="T30" fmla="*/ 12 w 139"/>
                <a:gd name="T31" fmla="*/ 108 h 140"/>
                <a:gd name="T32" fmla="*/ 5 w 139"/>
                <a:gd name="T33" fmla="*/ 97 h 140"/>
                <a:gd name="T34" fmla="*/ 2 w 139"/>
                <a:gd name="T35" fmla="*/ 84 h 140"/>
                <a:gd name="T36" fmla="*/ 0 w 139"/>
                <a:gd name="T37" fmla="*/ 70 h 140"/>
                <a:gd name="T38" fmla="*/ 0 w 139"/>
                <a:gd name="T39" fmla="*/ 70 h 140"/>
                <a:gd name="T40" fmla="*/ 2 w 139"/>
                <a:gd name="T41" fmla="*/ 56 h 140"/>
                <a:gd name="T42" fmla="*/ 5 w 139"/>
                <a:gd name="T43" fmla="*/ 43 h 140"/>
                <a:gd name="T44" fmla="*/ 12 w 139"/>
                <a:gd name="T45" fmla="*/ 32 h 140"/>
                <a:gd name="T46" fmla="*/ 20 w 139"/>
                <a:gd name="T47" fmla="*/ 21 h 140"/>
                <a:gd name="T48" fmla="*/ 31 w 139"/>
                <a:gd name="T49" fmla="*/ 12 h 140"/>
                <a:gd name="T50" fmla="*/ 43 w 139"/>
                <a:gd name="T51" fmla="*/ 6 h 140"/>
                <a:gd name="T52" fmla="*/ 55 w 139"/>
                <a:gd name="T53" fmla="*/ 1 h 140"/>
                <a:gd name="T54" fmla="*/ 69 w 139"/>
                <a:gd name="T55" fmla="*/ 0 h 140"/>
                <a:gd name="T56" fmla="*/ 69 w 139"/>
                <a:gd name="T57" fmla="*/ 0 h 140"/>
                <a:gd name="T58" fmla="*/ 84 w 139"/>
                <a:gd name="T59" fmla="*/ 1 h 140"/>
                <a:gd name="T60" fmla="*/ 96 w 139"/>
                <a:gd name="T61" fmla="*/ 6 h 140"/>
                <a:gd name="T62" fmla="*/ 108 w 139"/>
                <a:gd name="T63" fmla="*/ 12 h 140"/>
                <a:gd name="T64" fmla="*/ 119 w 139"/>
                <a:gd name="T65" fmla="*/ 21 h 140"/>
                <a:gd name="T66" fmla="*/ 127 w 139"/>
                <a:gd name="T67" fmla="*/ 32 h 140"/>
                <a:gd name="T68" fmla="*/ 133 w 139"/>
                <a:gd name="T69" fmla="*/ 43 h 140"/>
                <a:gd name="T70" fmla="*/ 137 w 139"/>
                <a:gd name="T71" fmla="*/ 56 h 140"/>
                <a:gd name="T72" fmla="*/ 139 w 139"/>
                <a:gd name="T73" fmla="*/ 70 h 140"/>
                <a:gd name="T74" fmla="*/ 139 w 139"/>
                <a:gd name="T75" fmla="*/ 7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40">
                  <a:moveTo>
                    <a:pt x="139" y="70"/>
                  </a:moveTo>
                  <a:lnTo>
                    <a:pt x="139" y="70"/>
                  </a:lnTo>
                  <a:lnTo>
                    <a:pt x="137" y="84"/>
                  </a:lnTo>
                  <a:lnTo>
                    <a:pt x="133" y="97"/>
                  </a:lnTo>
                  <a:lnTo>
                    <a:pt x="127" y="108"/>
                  </a:lnTo>
                  <a:lnTo>
                    <a:pt x="119" y="119"/>
                  </a:lnTo>
                  <a:lnTo>
                    <a:pt x="108" y="128"/>
                  </a:lnTo>
                  <a:lnTo>
                    <a:pt x="96" y="134"/>
                  </a:lnTo>
                  <a:lnTo>
                    <a:pt x="84" y="139"/>
                  </a:lnTo>
                  <a:lnTo>
                    <a:pt x="69" y="140"/>
                  </a:lnTo>
                  <a:lnTo>
                    <a:pt x="69" y="140"/>
                  </a:lnTo>
                  <a:lnTo>
                    <a:pt x="55" y="139"/>
                  </a:lnTo>
                  <a:lnTo>
                    <a:pt x="43" y="134"/>
                  </a:lnTo>
                  <a:lnTo>
                    <a:pt x="31" y="128"/>
                  </a:lnTo>
                  <a:lnTo>
                    <a:pt x="20" y="119"/>
                  </a:lnTo>
                  <a:lnTo>
                    <a:pt x="12" y="108"/>
                  </a:lnTo>
                  <a:lnTo>
                    <a:pt x="5" y="97"/>
                  </a:lnTo>
                  <a:lnTo>
                    <a:pt x="2" y="84"/>
                  </a:lnTo>
                  <a:lnTo>
                    <a:pt x="0" y="70"/>
                  </a:lnTo>
                  <a:lnTo>
                    <a:pt x="0" y="70"/>
                  </a:lnTo>
                  <a:lnTo>
                    <a:pt x="2" y="56"/>
                  </a:lnTo>
                  <a:lnTo>
                    <a:pt x="5" y="43"/>
                  </a:lnTo>
                  <a:lnTo>
                    <a:pt x="12" y="32"/>
                  </a:lnTo>
                  <a:lnTo>
                    <a:pt x="20" y="21"/>
                  </a:lnTo>
                  <a:lnTo>
                    <a:pt x="31" y="12"/>
                  </a:lnTo>
                  <a:lnTo>
                    <a:pt x="43" y="6"/>
                  </a:lnTo>
                  <a:lnTo>
                    <a:pt x="55" y="1"/>
                  </a:lnTo>
                  <a:lnTo>
                    <a:pt x="69" y="0"/>
                  </a:lnTo>
                  <a:lnTo>
                    <a:pt x="69" y="0"/>
                  </a:lnTo>
                  <a:lnTo>
                    <a:pt x="84" y="1"/>
                  </a:lnTo>
                  <a:lnTo>
                    <a:pt x="96" y="6"/>
                  </a:lnTo>
                  <a:lnTo>
                    <a:pt x="108" y="12"/>
                  </a:lnTo>
                  <a:lnTo>
                    <a:pt x="119" y="21"/>
                  </a:lnTo>
                  <a:lnTo>
                    <a:pt x="127" y="32"/>
                  </a:lnTo>
                  <a:lnTo>
                    <a:pt x="133" y="43"/>
                  </a:lnTo>
                  <a:lnTo>
                    <a:pt x="137" y="56"/>
                  </a:lnTo>
                  <a:lnTo>
                    <a:pt x="139" y="70"/>
                  </a:lnTo>
                  <a:lnTo>
                    <a:pt x="139"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9" name="Freeform 11">
              <a:extLst>
                <a:ext uri="{FF2B5EF4-FFF2-40B4-BE49-F238E27FC236}">
                  <a16:creationId xmlns:a16="http://schemas.microsoft.com/office/drawing/2014/main" id="{907411CD-1EAB-4D9E-91C6-5A64735952F6}"/>
                </a:ext>
              </a:extLst>
            </p:cNvPr>
            <p:cNvSpPr>
              <a:spLocks/>
            </p:cNvSpPr>
            <p:nvPr/>
          </p:nvSpPr>
          <p:spPr bwMode="auto">
            <a:xfrm rot="16200000" flipV="1">
              <a:off x="7590990" y="3908948"/>
              <a:ext cx="219075" cy="220663"/>
            </a:xfrm>
            <a:custGeom>
              <a:avLst/>
              <a:gdLst>
                <a:gd name="T0" fmla="*/ 138 w 138"/>
                <a:gd name="T1" fmla="*/ 70 h 139"/>
                <a:gd name="T2" fmla="*/ 138 w 138"/>
                <a:gd name="T3" fmla="*/ 70 h 139"/>
                <a:gd name="T4" fmla="*/ 137 w 138"/>
                <a:gd name="T5" fmla="*/ 84 h 139"/>
                <a:gd name="T6" fmla="*/ 134 w 138"/>
                <a:gd name="T7" fmla="*/ 98 h 139"/>
                <a:gd name="T8" fmla="*/ 128 w 138"/>
                <a:gd name="T9" fmla="*/ 108 h 139"/>
                <a:gd name="T10" fmla="*/ 119 w 138"/>
                <a:gd name="T11" fmla="*/ 119 h 139"/>
                <a:gd name="T12" fmla="*/ 108 w 138"/>
                <a:gd name="T13" fmla="*/ 128 h 139"/>
                <a:gd name="T14" fmla="*/ 97 w 138"/>
                <a:gd name="T15" fmla="*/ 134 h 139"/>
                <a:gd name="T16" fmla="*/ 84 w 138"/>
                <a:gd name="T17" fmla="*/ 137 h 139"/>
                <a:gd name="T18" fmla="*/ 70 w 138"/>
                <a:gd name="T19" fmla="*/ 139 h 139"/>
                <a:gd name="T20" fmla="*/ 70 w 138"/>
                <a:gd name="T21" fmla="*/ 139 h 139"/>
                <a:gd name="T22" fmla="*/ 56 w 138"/>
                <a:gd name="T23" fmla="*/ 137 h 139"/>
                <a:gd name="T24" fmla="*/ 42 w 138"/>
                <a:gd name="T25" fmla="*/ 134 h 139"/>
                <a:gd name="T26" fmla="*/ 30 w 138"/>
                <a:gd name="T27" fmla="*/ 128 h 139"/>
                <a:gd name="T28" fmla="*/ 21 w 138"/>
                <a:gd name="T29" fmla="*/ 119 h 139"/>
                <a:gd name="T30" fmla="*/ 12 w 138"/>
                <a:gd name="T31" fmla="*/ 108 h 139"/>
                <a:gd name="T32" fmla="*/ 6 w 138"/>
                <a:gd name="T33" fmla="*/ 98 h 139"/>
                <a:gd name="T34" fmla="*/ 1 w 138"/>
                <a:gd name="T35" fmla="*/ 84 h 139"/>
                <a:gd name="T36" fmla="*/ 0 w 138"/>
                <a:gd name="T37" fmla="*/ 70 h 139"/>
                <a:gd name="T38" fmla="*/ 0 w 138"/>
                <a:gd name="T39" fmla="*/ 70 h 139"/>
                <a:gd name="T40" fmla="*/ 1 w 138"/>
                <a:gd name="T41" fmla="*/ 56 h 139"/>
                <a:gd name="T42" fmla="*/ 6 w 138"/>
                <a:gd name="T43" fmla="*/ 43 h 139"/>
                <a:gd name="T44" fmla="*/ 12 w 138"/>
                <a:gd name="T45" fmla="*/ 31 h 139"/>
                <a:gd name="T46" fmla="*/ 21 w 138"/>
                <a:gd name="T47" fmla="*/ 21 h 139"/>
                <a:gd name="T48" fmla="*/ 30 w 138"/>
                <a:gd name="T49" fmla="*/ 12 h 139"/>
                <a:gd name="T50" fmla="*/ 42 w 138"/>
                <a:gd name="T51" fmla="*/ 6 h 139"/>
                <a:gd name="T52" fmla="*/ 56 w 138"/>
                <a:gd name="T53" fmla="*/ 2 h 139"/>
                <a:gd name="T54" fmla="*/ 70 w 138"/>
                <a:gd name="T55" fmla="*/ 0 h 139"/>
                <a:gd name="T56" fmla="*/ 70 w 138"/>
                <a:gd name="T57" fmla="*/ 0 h 139"/>
                <a:gd name="T58" fmla="*/ 84 w 138"/>
                <a:gd name="T59" fmla="*/ 2 h 139"/>
                <a:gd name="T60" fmla="*/ 97 w 138"/>
                <a:gd name="T61" fmla="*/ 6 h 139"/>
                <a:gd name="T62" fmla="*/ 108 w 138"/>
                <a:gd name="T63" fmla="*/ 12 h 139"/>
                <a:gd name="T64" fmla="*/ 119 w 138"/>
                <a:gd name="T65" fmla="*/ 21 h 139"/>
                <a:gd name="T66" fmla="*/ 128 w 138"/>
                <a:gd name="T67" fmla="*/ 31 h 139"/>
                <a:gd name="T68" fmla="*/ 134 w 138"/>
                <a:gd name="T69" fmla="*/ 43 h 139"/>
                <a:gd name="T70" fmla="*/ 137 w 138"/>
                <a:gd name="T71" fmla="*/ 56 h 139"/>
                <a:gd name="T72" fmla="*/ 138 w 138"/>
                <a:gd name="T73" fmla="*/ 70 h 139"/>
                <a:gd name="T74" fmla="*/ 138 w 138"/>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39">
                  <a:moveTo>
                    <a:pt x="138" y="70"/>
                  </a:moveTo>
                  <a:lnTo>
                    <a:pt x="138" y="70"/>
                  </a:lnTo>
                  <a:lnTo>
                    <a:pt x="137" y="84"/>
                  </a:lnTo>
                  <a:lnTo>
                    <a:pt x="134" y="98"/>
                  </a:lnTo>
                  <a:lnTo>
                    <a:pt x="128" y="108"/>
                  </a:lnTo>
                  <a:lnTo>
                    <a:pt x="119" y="119"/>
                  </a:lnTo>
                  <a:lnTo>
                    <a:pt x="108" y="128"/>
                  </a:lnTo>
                  <a:lnTo>
                    <a:pt x="97" y="134"/>
                  </a:lnTo>
                  <a:lnTo>
                    <a:pt x="84" y="137"/>
                  </a:lnTo>
                  <a:lnTo>
                    <a:pt x="70" y="139"/>
                  </a:lnTo>
                  <a:lnTo>
                    <a:pt x="70" y="139"/>
                  </a:lnTo>
                  <a:lnTo>
                    <a:pt x="56" y="137"/>
                  </a:lnTo>
                  <a:lnTo>
                    <a:pt x="42" y="134"/>
                  </a:lnTo>
                  <a:lnTo>
                    <a:pt x="30" y="128"/>
                  </a:lnTo>
                  <a:lnTo>
                    <a:pt x="21" y="119"/>
                  </a:lnTo>
                  <a:lnTo>
                    <a:pt x="12" y="108"/>
                  </a:lnTo>
                  <a:lnTo>
                    <a:pt x="6" y="98"/>
                  </a:lnTo>
                  <a:lnTo>
                    <a:pt x="1" y="84"/>
                  </a:lnTo>
                  <a:lnTo>
                    <a:pt x="0" y="70"/>
                  </a:lnTo>
                  <a:lnTo>
                    <a:pt x="0" y="70"/>
                  </a:lnTo>
                  <a:lnTo>
                    <a:pt x="1" y="56"/>
                  </a:lnTo>
                  <a:lnTo>
                    <a:pt x="6" y="43"/>
                  </a:lnTo>
                  <a:lnTo>
                    <a:pt x="12" y="31"/>
                  </a:lnTo>
                  <a:lnTo>
                    <a:pt x="21" y="21"/>
                  </a:lnTo>
                  <a:lnTo>
                    <a:pt x="30" y="12"/>
                  </a:lnTo>
                  <a:lnTo>
                    <a:pt x="42" y="6"/>
                  </a:lnTo>
                  <a:lnTo>
                    <a:pt x="56" y="2"/>
                  </a:lnTo>
                  <a:lnTo>
                    <a:pt x="70" y="0"/>
                  </a:lnTo>
                  <a:lnTo>
                    <a:pt x="70" y="0"/>
                  </a:lnTo>
                  <a:lnTo>
                    <a:pt x="84" y="2"/>
                  </a:lnTo>
                  <a:lnTo>
                    <a:pt x="97" y="6"/>
                  </a:lnTo>
                  <a:lnTo>
                    <a:pt x="108" y="12"/>
                  </a:lnTo>
                  <a:lnTo>
                    <a:pt x="119" y="21"/>
                  </a:lnTo>
                  <a:lnTo>
                    <a:pt x="128" y="31"/>
                  </a:lnTo>
                  <a:lnTo>
                    <a:pt x="134" y="43"/>
                  </a:lnTo>
                  <a:lnTo>
                    <a:pt x="137" y="56"/>
                  </a:lnTo>
                  <a:lnTo>
                    <a:pt x="138" y="70"/>
                  </a:lnTo>
                  <a:lnTo>
                    <a:pt x="138"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0" name="Freeform 12">
              <a:extLst>
                <a:ext uri="{FF2B5EF4-FFF2-40B4-BE49-F238E27FC236}">
                  <a16:creationId xmlns:a16="http://schemas.microsoft.com/office/drawing/2014/main" id="{CE1C71CC-EA93-40B9-81DD-4A095C2AC1ED}"/>
                </a:ext>
              </a:extLst>
            </p:cNvPr>
            <p:cNvSpPr>
              <a:spLocks/>
            </p:cNvSpPr>
            <p:nvPr/>
          </p:nvSpPr>
          <p:spPr bwMode="auto">
            <a:xfrm rot="16200000" flipV="1">
              <a:off x="7590196" y="3258867"/>
              <a:ext cx="220663" cy="220663"/>
            </a:xfrm>
            <a:custGeom>
              <a:avLst/>
              <a:gdLst>
                <a:gd name="T0" fmla="*/ 139 w 139"/>
                <a:gd name="T1" fmla="*/ 70 h 139"/>
                <a:gd name="T2" fmla="*/ 139 w 139"/>
                <a:gd name="T3" fmla="*/ 70 h 139"/>
                <a:gd name="T4" fmla="*/ 137 w 139"/>
                <a:gd name="T5" fmla="*/ 84 h 139"/>
                <a:gd name="T6" fmla="*/ 134 w 139"/>
                <a:gd name="T7" fmla="*/ 98 h 139"/>
                <a:gd name="T8" fmla="*/ 126 w 139"/>
                <a:gd name="T9" fmla="*/ 108 h 139"/>
                <a:gd name="T10" fmla="*/ 119 w 139"/>
                <a:gd name="T11" fmla="*/ 119 h 139"/>
                <a:gd name="T12" fmla="*/ 108 w 139"/>
                <a:gd name="T13" fmla="*/ 128 h 139"/>
                <a:gd name="T14" fmla="*/ 96 w 139"/>
                <a:gd name="T15" fmla="*/ 134 h 139"/>
                <a:gd name="T16" fmla="*/ 84 w 139"/>
                <a:gd name="T17" fmla="*/ 137 h 139"/>
                <a:gd name="T18" fmla="*/ 70 w 139"/>
                <a:gd name="T19" fmla="*/ 139 h 139"/>
                <a:gd name="T20" fmla="*/ 70 w 139"/>
                <a:gd name="T21" fmla="*/ 139 h 139"/>
                <a:gd name="T22" fmla="*/ 55 w 139"/>
                <a:gd name="T23" fmla="*/ 137 h 139"/>
                <a:gd name="T24" fmla="*/ 42 w 139"/>
                <a:gd name="T25" fmla="*/ 134 h 139"/>
                <a:gd name="T26" fmla="*/ 30 w 139"/>
                <a:gd name="T27" fmla="*/ 128 h 139"/>
                <a:gd name="T28" fmla="*/ 20 w 139"/>
                <a:gd name="T29" fmla="*/ 119 h 139"/>
                <a:gd name="T30" fmla="*/ 12 w 139"/>
                <a:gd name="T31" fmla="*/ 108 h 139"/>
                <a:gd name="T32" fmla="*/ 6 w 139"/>
                <a:gd name="T33" fmla="*/ 98 h 139"/>
                <a:gd name="T34" fmla="*/ 1 w 139"/>
                <a:gd name="T35" fmla="*/ 84 h 139"/>
                <a:gd name="T36" fmla="*/ 0 w 139"/>
                <a:gd name="T37" fmla="*/ 70 h 139"/>
                <a:gd name="T38" fmla="*/ 0 w 139"/>
                <a:gd name="T39" fmla="*/ 70 h 139"/>
                <a:gd name="T40" fmla="*/ 1 w 139"/>
                <a:gd name="T41" fmla="*/ 56 h 139"/>
                <a:gd name="T42" fmla="*/ 6 w 139"/>
                <a:gd name="T43" fmla="*/ 43 h 139"/>
                <a:gd name="T44" fmla="*/ 12 w 139"/>
                <a:gd name="T45" fmla="*/ 31 h 139"/>
                <a:gd name="T46" fmla="*/ 20 w 139"/>
                <a:gd name="T47" fmla="*/ 21 h 139"/>
                <a:gd name="T48" fmla="*/ 30 w 139"/>
                <a:gd name="T49" fmla="*/ 12 h 139"/>
                <a:gd name="T50" fmla="*/ 42 w 139"/>
                <a:gd name="T51" fmla="*/ 6 h 139"/>
                <a:gd name="T52" fmla="*/ 55 w 139"/>
                <a:gd name="T53" fmla="*/ 2 h 139"/>
                <a:gd name="T54" fmla="*/ 70 w 139"/>
                <a:gd name="T55" fmla="*/ 0 h 139"/>
                <a:gd name="T56" fmla="*/ 70 w 139"/>
                <a:gd name="T57" fmla="*/ 0 h 139"/>
                <a:gd name="T58" fmla="*/ 84 w 139"/>
                <a:gd name="T59" fmla="*/ 2 h 139"/>
                <a:gd name="T60" fmla="*/ 96 w 139"/>
                <a:gd name="T61" fmla="*/ 6 h 139"/>
                <a:gd name="T62" fmla="*/ 108 w 139"/>
                <a:gd name="T63" fmla="*/ 12 h 139"/>
                <a:gd name="T64" fmla="*/ 119 w 139"/>
                <a:gd name="T65" fmla="*/ 21 h 139"/>
                <a:gd name="T66" fmla="*/ 126 w 139"/>
                <a:gd name="T67" fmla="*/ 31 h 139"/>
                <a:gd name="T68" fmla="*/ 134 w 139"/>
                <a:gd name="T69" fmla="*/ 43 h 139"/>
                <a:gd name="T70" fmla="*/ 137 w 139"/>
                <a:gd name="T71" fmla="*/ 56 h 139"/>
                <a:gd name="T72" fmla="*/ 139 w 139"/>
                <a:gd name="T73" fmla="*/ 70 h 139"/>
                <a:gd name="T74" fmla="*/ 139 w 139"/>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70"/>
                  </a:moveTo>
                  <a:lnTo>
                    <a:pt x="139" y="70"/>
                  </a:lnTo>
                  <a:lnTo>
                    <a:pt x="137" y="84"/>
                  </a:lnTo>
                  <a:lnTo>
                    <a:pt x="134" y="98"/>
                  </a:lnTo>
                  <a:lnTo>
                    <a:pt x="126" y="108"/>
                  </a:lnTo>
                  <a:lnTo>
                    <a:pt x="119" y="119"/>
                  </a:lnTo>
                  <a:lnTo>
                    <a:pt x="108" y="128"/>
                  </a:lnTo>
                  <a:lnTo>
                    <a:pt x="96" y="134"/>
                  </a:lnTo>
                  <a:lnTo>
                    <a:pt x="84" y="137"/>
                  </a:lnTo>
                  <a:lnTo>
                    <a:pt x="70" y="139"/>
                  </a:lnTo>
                  <a:lnTo>
                    <a:pt x="70" y="139"/>
                  </a:lnTo>
                  <a:lnTo>
                    <a:pt x="55" y="137"/>
                  </a:lnTo>
                  <a:lnTo>
                    <a:pt x="42" y="134"/>
                  </a:lnTo>
                  <a:lnTo>
                    <a:pt x="30" y="128"/>
                  </a:lnTo>
                  <a:lnTo>
                    <a:pt x="20" y="119"/>
                  </a:lnTo>
                  <a:lnTo>
                    <a:pt x="12" y="108"/>
                  </a:lnTo>
                  <a:lnTo>
                    <a:pt x="6" y="98"/>
                  </a:lnTo>
                  <a:lnTo>
                    <a:pt x="1" y="84"/>
                  </a:lnTo>
                  <a:lnTo>
                    <a:pt x="0" y="70"/>
                  </a:lnTo>
                  <a:lnTo>
                    <a:pt x="0" y="70"/>
                  </a:lnTo>
                  <a:lnTo>
                    <a:pt x="1" y="56"/>
                  </a:lnTo>
                  <a:lnTo>
                    <a:pt x="6" y="43"/>
                  </a:lnTo>
                  <a:lnTo>
                    <a:pt x="12" y="31"/>
                  </a:lnTo>
                  <a:lnTo>
                    <a:pt x="20" y="21"/>
                  </a:lnTo>
                  <a:lnTo>
                    <a:pt x="30" y="12"/>
                  </a:lnTo>
                  <a:lnTo>
                    <a:pt x="42" y="6"/>
                  </a:lnTo>
                  <a:lnTo>
                    <a:pt x="55" y="2"/>
                  </a:lnTo>
                  <a:lnTo>
                    <a:pt x="70" y="0"/>
                  </a:lnTo>
                  <a:lnTo>
                    <a:pt x="70" y="0"/>
                  </a:lnTo>
                  <a:lnTo>
                    <a:pt x="84" y="2"/>
                  </a:lnTo>
                  <a:lnTo>
                    <a:pt x="96" y="6"/>
                  </a:lnTo>
                  <a:lnTo>
                    <a:pt x="108" y="12"/>
                  </a:lnTo>
                  <a:lnTo>
                    <a:pt x="119" y="21"/>
                  </a:lnTo>
                  <a:lnTo>
                    <a:pt x="126" y="31"/>
                  </a:lnTo>
                  <a:lnTo>
                    <a:pt x="134" y="43"/>
                  </a:lnTo>
                  <a:lnTo>
                    <a:pt x="137" y="56"/>
                  </a:lnTo>
                  <a:lnTo>
                    <a:pt x="139" y="70"/>
                  </a:lnTo>
                  <a:lnTo>
                    <a:pt x="139"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1" name="Freeform 13">
              <a:extLst>
                <a:ext uri="{FF2B5EF4-FFF2-40B4-BE49-F238E27FC236}">
                  <a16:creationId xmlns:a16="http://schemas.microsoft.com/office/drawing/2014/main" id="{9C45A0C6-9B7B-476A-9C83-8CD502C5CDF9}"/>
                </a:ext>
              </a:extLst>
            </p:cNvPr>
            <p:cNvSpPr>
              <a:spLocks/>
            </p:cNvSpPr>
            <p:nvPr/>
          </p:nvSpPr>
          <p:spPr bwMode="auto">
            <a:xfrm rot="16200000" flipV="1">
              <a:off x="7372709" y="3584305"/>
              <a:ext cx="220663" cy="220663"/>
            </a:xfrm>
            <a:custGeom>
              <a:avLst/>
              <a:gdLst>
                <a:gd name="T0" fmla="*/ 139 w 139"/>
                <a:gd name="T1" fmla="*/ 70 h 139"/>
                <a:gd name="T2" fmla="*/ 139 w 139"/>
                <a:gd name="T3" fmla="*/ 70 h 139"/>
                <a:gd name="T4" fmla="*/ 138 w 139"/>
                <a:gd name="T5" fmla="*/ 84 h 139"/>
                <a:gd name="T6" fmla="*/ 134 w 139"/>
                <a:gd name="T7" fmla="*/ 96 h 139"/>
                <a:gd name="T8" fmla="*/ 127 w 139"/>
                <a:gd name="T9" fmla="*/ 108 h 139"/>
                <a:gd name="T10" fmla="*/ 119 w 139"/>
                <a:gd name="T11" fmla="*/ 119 h 139"/>
                <a:gd name="T12" fmla="*/ 109 w 139"/>
                <a:gd name="T13" fmla="*/ 128 h 139"/>
                <a:gd name="T14" fmla="*/ 96 w 139"/>
                <a:gd name="T15" fmla="*/ 134 h 139"/>
                <a:gd name="T16" fmla="*/ 84 w 139"/>
                <a:gd name="T17" fmla="*/ 137 h 139"/>
                <a:gd name="T18" fmla="*/ 70 w 139"/>
                <a:gd name="T19" fmla="*/ 139 h 139"/>
                <a:gd name="T20" fmla="*/ 70 w 139"/>
                <a:gd name="T21" fmla="*/ 139 h 139"/>
                <a:gd name="T22" fmla="*/ 57 w 139"/>
                <a:gd name="T23" fmla="*/ 137 h 139"/>
                <a:gd name="T24" fmla="*/ 43 w 139"/>
                <a:gd name="T25" fmla="*/ 134 h 139"/>
                <a:gd name="T26" fmla="*/ 31 w 139"/>
                <a:gd name="T27" fmla="*/ 128 h 139"/>
                <a:gd name="T28" fmla="*/ 21 w 139"/>
                <a:gd name="T29" fmla="*/ 119 h 139"/>
                <a:gd name="T30" fmla="*/ 12 w 139"/>
                <a:gd name="T31" fmla="*/ 108 h 139"/>
                <a:gd name="T32" fmla="*/ 6 w 139"/>
                <a:gd name="T33" fmla="*/ 96 h 139"/>
                <a:gd name="T34" fmla="*/ 2 w 139"/>
                <a:gd name="T35" fmla="*/ 84 h 139"/>
                <a:gd name="T36" fmla="*/ 0 w 139"/>
                <a:gd name="T37" fmla="*/ 70 h 139"/>
                <a:gd name="T38" fmla="*/ 0 w 139"/>
                <a:gd name="T39" fmla="*/ 70 h 139"/>
                <a:gd name="T40" fmla="*/ 2 w 139"/>
                <a:gd name="T41" fmla="*/ 57 h 139"/>
                <a:gd name="T42" fmla="*/ 6 w 139"/>
                <a:gd name="T43" fmla="*/ 43 h 139"/>
                <a:gd name="T44" fmla="*/ 12 w 139"/>
                <a:gd name="T45" fmla="*/ 31 h 139"/>
                <a:gd name="T46" fmla="*/ 21 w 139"/>
                <a:gd name="T47" fmla="*/ 22 h 139"/>
                <a:gd name="T48" fmla="*/ 31 w 139"/>
                <a:gd name="T49" fmla="*/ 12 h 139"/>
                <a:gd name="T50" fmla="*/ 43 w 139"/>
                <a:gd name="T51" fmla="*/ 6 h 139"/>
                <a:gd name="T52" fmla="*/ 57 w 139"/>
                <a:gd name="T53" fmla="*/ 2 h 139"/>
                <a:gd name="T54" fmla="*/ 70 w 139"/>
                <a:gd name="T55" fmla="*/ 0 h 139"/>
                <a:gd name="T56" fmla="*/ 70 w 139"/>
                <a:gd name="T57" fmla="*/ 0 h 139"/>
                <a:gd name="T58" fmla="*/ 84 w 139"/>
                <a:gd name="T59" fmla="*/ 2 h 139"/>
                <a:gd name="T60" fmla="*/ 96 w 139"/>
                <a:gd name="T61" fmla="*/ 6 h 139"/>
                <a:gd name="T62" fmla="*/ 109 w 139"/>
                <a:gd name="T63" fmla="*/ 12 h 139"/>
                <a:gd name="T64" fmla="*/ 119 w 139"/>
                <a:gd name="T65" fmla="*/ 22 h 139"/>
                <a:gd name="T66" fmla="*/ 127 w 139"/>
                <a:gd name="T67" fmla="*/ 31 h 139"/>
                <a:gd name="T68" fmla="*/ 134 w 139"/>
                <a:gd name="T69" fmla="*/ 43 h 139"/>
                <a:gd name="T70" fmla="*/ 138 w 139"/>
                <a:gd name="T71" fmla="*/ 57 h 139"/>
                <a:gd name="T72" fmla="*/ 139 w 139"/>
                <a:gd name="T73" fmla="*/ 70 h 139"/>
                <a:gd name="T74" fmla="*/ 139 w 139"/>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70"/>
                  </a:moveTo>
                  <a:lnTo>
                    <a:pt x="139" y="70"/>
                  </a:lnTo>
                  <a:lnTo>
                    <a:pt x="138" y="84"/>
                  </a:lnTo>
                  <a:lnTo>
                    <a:pt x="134" y="96"/>
                  </a:lnTo>
                  <a:lnTo>
                    <a:pt x="127" y="108"/>
                  </a:lnTo>
                  <a:lnTo>
                    <a:pt x="119" y="119"/>
                  </a:lnTo>
                  <a:lnTo>
                    <a:pt x="109" y="128"/>
                  </a:lnTo>
                  <a:lnTo>
                    <a:pt x="96" y="134"/>
                  </a:lnTo>
                  <a:lnTo>
                    <a:pt x="84" y="137"/>
                  </a:lnTo>
                  <a:lnTo>
                    <a:pt x="70" y="139"/>
                  </a:lnTo>
                  <a:lnTo>
                    <a:pt x="70" y="139"/>
                  </a:lnTo>
                  <a:lnTo>
                    <a:pt x="57" y="137"/>
                  </a:lnTo>
                  <a:lnTo>
                    <a:pt x="43" y="134"/>
                  </a:lnTo>
                  <a:lnTo>
                    <a:pt x="31" y="128"/>
                  </a:lnTo>
                  <a:lnTo>
                    <a:pt x="21" y="119"/>
                  </a:lnTo>
                  <a:lnTo>
                    <a:pt x="12" y="108"/>
                  </a:lnTo>
                  <a:lnTo>
                    <a:pt x="6" y="96"/>
                  </a:lnTo>
                  <a:lnTo>
                    <a:pt x="2" y="84"/>
                  </a:lnTo>
                  <a:lnTo>
                    <a:pt x="0" y="70"/>
                  </a:lnTo>
                  <a:lnTo>
                    <a:pt x="0" y="70"/>
                  </a:lnTo>
                  <a:lnTo>
                    <a:pt x="2" y="57"/>
                  </a:lnTo>
                  <a:lnTo>
                    <a:pt x="6" y="43"/>
                  </a:lnTo>
                  <a:lnTo>
                    <a:pt x="12" y="31"/>
                  </a:lnTo>
                  <a:lnTo>
                    <a:pt x="21" y="22"/>
                  </a:lnTo>
                  <a:lnTo>
                    <a:pt x="31" y="12"/>
                  </a:lnTo>
                  <a:lnTo>
                    <a:pt x="43" y="6"/>
                  </a:lnTo>
                  <a:lnTo>
                    <a:pt x="57" y="2"/>
                  </a:lnTo>
                  <a:lnTo>
                    <a:pt x="70" y="0"/>
                  </a:lnTo>
                  <a:lnTo>
                    <a:pt x="70" y="0"/>
                  </a:lnTo>
                  <a:lnTo>
                    <a:pt x="84" y="2"/>
                  </a:lnTo>
                  <a:lnTo>
                    <a:pt x="96" y="6"/>
                  </a:lnTo>
                  <a:lnTo>
                    <a:pt x="109" y="12"/>
                  </a:lnTo>
                  <a:lnTo>
                    <a:pt x="119" y="22"/>
                  </a:lnTo>
                  <a:lnTo>
                    <a:pt x="127" y="31"/>
                  </a:lnTo>
                  <a:lnTo>
                    <a:pt x="134" y="43"/>
                  </a:lnTo>
                  <a:lnTo>
                    <a:pt x="138" y="57"/>
                  </a:lnTo>
                  <a:lnTo>
                    <a:pt x="139" y="70"/>
                  </a:lnTo>
                  <a:lnTo>
                    <a:pt x="139"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2" name="Freeform 19">
              <a:extLst>
                <a:ext uri="{FF2B5EF4-FFF2-40B4-BE49-F238E27FC236}">
                  <a16:creationId xmlns:a16="http://schemas.microsoft.com/office/drawing/2014/main" id="{D296AD4E-FC15-477A-BA8D-6B20B33ACA8B}"/>
                </a:ext>
              </a:extLst>
            </p:cNvPr>
            <p:cNvSpPr>
              <a:spLocks/>
            </p:cNvSpPr>
            <p:nvPr/>
          </p:nvSpPr>
          <p:spPr bwMode="auto">
            <a:xfrm rot="16200000" flipV="1">
              <a:off x="6257490" y="4191523"/>
              <a:ext cx="222250" cy="220663"/>
            </a:xfrm>
            <a:custGeom>
              <a:avLst/>
              <a:gdLst>
                <a:gd name="T0" fmla="*/ 0 w 140"/>
                <a:gd name="T1" fmla="*/ 70 h 139"/>
                <a:gd name="T2" fmla="*/ 0 w 140"/>
                <a:gd name="T3" fmla="*/ 70 h 139"/>
                <a:gd name="T4" fmla="*/ 2 w 140"/>
                <a:gd name="T5" fmla="*/ 57 h 139"/>
                <a:gd name="T6" fmla="*/ 6 w 140"/>
                <a:gd name="T7" fmla="*/ 43 h 139"/>
                <a:gd name="T8" fmla="*/ 12 w 140"/>
                <a:gd name="T9" fmla="*/ 31 h 139"/>
                <a:gd name="T10" fmla="*/ 21 w 140"/>
                <a:gd name="T11" fmla="*/ 22 h 139"/>
                <a:gd name="T12" fmla="*/ 32 w 140"/>
                <a:gd name="T13" fmla="*/ 13 h 139"/>
                <a:gd name="T14" fmla="*/ 43 w 140"/>
                <a:gd name="T15" fmla="*/ 7 h 139"/>
                <a:gd name="T16" fmla="*/ 56 w 140"/>
                <a:gd name="T17" fmla="*/ 2 h 139"/>
                <a:gd name="T18" fmla="*/ 70 w 140"/>
                <a:gd name="T19" fmla="*/ 0 h 139"/>
                <a:gd name="T20" fmla="*/ 70 w 140"/>
                <a:gd name="T21" fmla="*/ 0 h 139"/>
                <a:gd name="T22" fmla="*/ 84 w 140"/>
                <a:gd name="T23" fmla="*/ 2 h 139"/>
                <a:gd name="T24" fmla="*/ 98 w 140"/>
                <a:gd name="T25" fmla="*/ 7 h 139"/>
                <a:gd name="T26" fmla="*/ 108 w 140"/>
                <a:gd name="T27" fmla="*/ 13 h 139"/>
                <a:gd name="T28" fmla="*/ 119 w 140"/>
                <a:gd name="T29" fmla="*/ 22 h 139"/>
                <a:gd name="T30" fmla="*/ 128 w 140"/>
                <a:gd name="T31" fmla="*/ 31 h 139"/>
                <a:gd name="T32" fmla="*/ 134 w 140"/>
                <a:gd name="T33" fmla="*/ 43 h 139"/>
                <a:gd name="T34" fmla="*/ 139 w 140"/>
                <a:gd name="T35" fmla="*/ 57 h 139"/>
                <a:gd name="T36" fmla="*/ 140 w 140"/>
                <a:gd name="T37" fmla="*/ 70 h 139"/>
                <a:gd name="T38" fmla="*/ 140 w 140"/>
                <a:gd name="T39" fmla="*/ 70 h 139"/>
                <a:gd name="T40" fmla="*/ 139 w 140"/>
                <a:gd name="T41" fmla="*/ 84 h 139"/>
                <a:gd name="T42" fmla="*/ 134 w 140"/>
                <a:gd name="T43" fmla="*/ 98 h 139"/>
                <a:gd name="T44" fmla="*/ 128 w 140"/>
                <a:gd name="T45" fmla="*/ 109 h 139"/>
                <a:gd name="T46" fmla="*/ 119 w 140"/>
                <a:gd name="T47" fmla="*/ 119 h 139"/>
                <a:gd name="T48" fmla="*/ 108 w 140"/>
                <a:gd name="T49" fmla="*/ 128 h 139"/>
                <a:gd name="T50" fmla="*/ 98 w 140"/>
                <a:gd name="T51" fmla="*/ 134 h 139"/>
                <a:gd name="T52" fmla="*/ 84 w 140"/>
                <a:gd name="T53" fmla="*/ 138 h 139"/>
                <a:gd name="T54" fmla="*/ 70 w 140"/>
                <a:gd name="T55" fmla="*/ 139 h 139"/>
                <a:gd name="T56" fmla="*/ 70 w 140"/>
                <a:gd name="T57" fmla="*/ 139 h 139"/>
                <a:gd name="T58" fmla="*/ 56 w 140"/>
                <a:gd name="T59" fmla="*/ 138 h 139"/>
                <a:gd name="T60" fmla="*/ 43 w 140"/>
                <a:gd name="T61" fmla="*/ 134 h 139"/>
                <a:gd name="T62" fmla="*/ 32 w 140"/>
                <a:gd name="T63" fmla="*/ 128 h 139"/>
                <a:gd name="T64" fmla="*/ 21 w 140"/>
                <a:gd name="T65" fmla="*/ 119 h 139"/>
                <a:gd name="T66" fmla="*/ 12 w 140"/>
                <a:gd name="T67" fmla="*/ 109 h 139"/>
                <a:gd name="T68" fmla="*/ 6 w 140"/>
                <a:gd name="T69" fmla="*/ 98 h 139"/>
                <a:gd name="T70" fmla="*/ 2 w 140"/>
                <a:gd name="T71" fmla="*/ 84 h 139"/>
                <a:gd name="T72" fmla="*/ 0 w 140"/>
                <a:gd name="T73" fmla="*/ 70 h 139"/>
                <a:gd name="T74" fmla="*/ 0 w 140"/>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39">
                  <a:moveTo>
                    <a:pt x="0" y="70"/>
                  </a:moveTo>
                  <a:lnTo>
                    <a:pt x="0" y="70"/>
                  </a:lnTo>
                  <a:lnTo>
                    <a:pt x="2" y="57"/>
                  </a:lnTo>
                  <a:lnTo>
                    <a:pt x="6" y="43"/>
                  </a:lnTo>
                  <a:lnTo>
                    <a:pt x="12" y="31"/>
                  </a:lnTo>
                  <a:lnTo>
                    <a:pt x="21" y="22"/>
                  </a:lnTo>
                  <a:lnTo>
                    <a:pt x="32" y="13"/>
                  </a:lnTo>
                  <a:lnTo>
                    <a:pt x="43" y="7"/>
                  </a:lnTo>
                  <a:lnTo>
                    <a:pt x="56" y="2"/>
                  </a:lnTo>
                  <a:lnTo>
                    <a:pt x="70" y="0"/>
                  </a:lnTo>
                  <a:lnTo>
                    <a:pt x="70" y="0"/>
                  </a:lnTo>
                  <a:lnTo>
                    <a:pt x="84" y="2"/>
                  </a:lnTo>
                  <a:lnTo>
                    <a:pt x="98" y="7"/>
                  </a:lnTo>
                  <a:lnTo>
                    <a:pt x="108" y="13"/>
                  </a:lnTo>
                  <a:lnTo>
                    <a:pt x="119" y="22"/>
                  </a:lnTo>
                  <a:lnTo>
                    <a:pt x="128" y="31"/>
                  </a:lnTo>
                  <a:lnTo>
                    <a:pt x="134" y="43"/>
                  </a:lnTo>
                  <a:lnTo>
                    <a:pt x="139" y="57"/>
                  </a:lnTo>
                  <a:lnTo>
                    <a:pt x="140" y="70"/>
                  </a:lnTo>
                  <a:lnTo>
                    <a:pt x="140" y="70"/>
                  </a:lnTo>
                  <a:lnTo>
                    <a:pt x="139" y="84"/>
                  </a:lnTo>
                  <a:lnTo>
                    <a:pt x="134" y="98"/>
                  </a:lnTo>
                  <a:lnTo>
                    <a:pt x="128" y="109"/>
                  </a:lnTo>
                  <a:lnTo>
                    <a:pt x="119" y="119"/>
                  </a:lnTo>
                  <a:lnTo>
                    <a:pt x="108" y="128"/>
                  </a:lnTo>
                  <a:lnTo>
                    <a:pt x="98" y="134"/>
                  </a:lnTo>
                  <a:lnTo>
                    <a:pt x="84" y="138"/>
                  </a:lnTo>
                  <a:lnTo>
                    <a:pt x="70" y="139"/>
                  </a:lnTo>
                  <a:lnTo>
                    <a:pt x="70" y="139"/>
                  </a:lnTo>
                  <a:lnTo>
                    <a:pt x="56" y="138"/>
                  </a:lnTo>
                  <a:lnTo>
                    <a:pt x="43" y="134"/>
                  </a:lnTo>
                  <a:lnTo>
                    <a:pt x="32" y="128"/>
                  </a:lnTo>
                  <a:lnTo>
                    <a:pt x="21" y="119"/>
                  </a:lnTo>
                  <a:lnTo>
                    <a:pt x="12" y="109"/>
                  </a:lnTo>
                  <a:lnTo>
                    <a:pt x="6" y="98"/>
                  </a:lnTo>
                  <a:lnTo>
                    <a:pt x="2" y="84"/>
                  </a:lnTo>
                  <a:lnTo>
                    <a:pt x="0" y="70"/>
                  </a:lnTo>
                  <a:lnTo>
                    <a:pt x="0" y="7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3" name="Freeform 20">
              <a:extLst>
                <a:ext uri="{FF2B5EF4-FFF2-40B4-BE49-F238E27FC236}">
                  <a16:creationId xmlns:a16="http://schemas.microsoft.com/office/drawing/2014/main" id="{F058D92D-3025-4E67-8E6B-75A1AA14FFE7}"/>
                </a:ext>
              </a:extLst>
            </p:cNvPr>
            <p:cNvSpPr>
              <a:spLocks/>
            </p:cNvSpPr>
            <p:nvPr/>
          </p:nvSpPr>
          <p:spPr bwMode="auto">
            <a:xfrm rot="16200000" flipV="1">
              <a:off x="6577371" y="2995342"/>
              <a:ext cx="220663" cy="220663"/>
            </a:xfrm>
            <a:custGeom>
              <a:avLst/>
              <a:gdLst>
                <a:gd name="T0" fmla="*/ 0 w 139"/>
                <a:gd name="T1" fmla="*/ 70 h 139"/>
                <a:gd name="T2" fmla="*/ 0 w 139"/>
                <a:gd name="T3" fmla="*/ 70 h 139"/>
                <a:gd name="T4" fmla="*/ 2 w 139"/>
                <a:gd name="T5" fmla="*/ 57 h 139"/>
                <a:gd name="T6" fmla="*/ 6 w 139"/>
                <a:gd name="T7" fmla="*/ 43 h 139"/>
                <a:gd name="T8" fmla="*/ 12 w 139"/>
                <a:gd name="T9" fmla="*/ 31 h 139"/>
                <a:gd name="T10" fmla="*/ 21 w 139"/>
                <a:gd name="T11" fmla="*/ 22 h 139"/>
                <a:gd name="T12" fmla="*/ 31 w 139"/>
                <a:gd name="T13" fmla="*/ 13 h 139"/>
                <a:gd name="T14" fmla="*/ 43 w 139"/>
                <a:gd name="T15" fmla="*/ 6 h 139"/>
                <a:gd name="T16" fmla="*/ 57 w 139"/>
                <a:gd name="T17" fmla="*/ 2 h 139"/>
                <a:gd name="T18" fmla="*/ 70 w 139"/>
                <a:gd name="T19" fmla="*/ 0 h 139"/>
                <a:gd name="T20" fmla="*/ 70 w 139"/>
                <a:gd name="T21" fmla="*/ 0 h 139"/>
                <a:gd name="T22" fmla="*/ 84 w 139"/>
                <a:gd name="T23" fmla="*/ 2 h 139"/>
                <a:gd name="T24" fmla="*/ 96 w 139"/>
                <a:gd name="T25" fmla="*/ 6 h 139"/>
                <a:gd name="T26" fmla="*/ 108 w 139"/>
                <a:gd name="T27" fmla="*/ 13 h 139"/>
                <a:gd name="T28" fmla="*/ 119 w 139"/>
                <a:gd name="T29" fmla="*/ 22 h 139"/>
                <a:gd name="T30" fmla="*/ 128 w 139"/>
                <a:gd name="T31" fmla="*/ 31 h 139"/>
                <a:gd name="T32" fmla="*/ 134 w 139"/>
                <a:gd name="T33" fmla="*/ 43 h 139"/>
                <a:gd name="T34" fmla="*/ 137 w 139"/>
                <a:gd name="T35" fmla="*/ 57 h 139"/>
                <a:gd name="T36" fmla="*/ 139 w 139"/>
                <a:gd name="T37" fmla="*/ 70 h 139"/>
                <a:gd name="T38" fmla="*/ 139 w 139"/>
                <a:gd name="T39" fmla="*/ 70 h 139"/>
                <a:gd name="T40" fmla="*/ 137 w 139"/>
                <a:gd name="T41" fmla="*/ 84 h 139"/>
                <a:gd name="T42" fmla="*/ 134 w 139"/>
                <a:gd name="T43" fmla="*/ 98 h 139"/>
                <a:gd name="T44" fmla="*/ 128 w 139"/>
                <a:gd name="T45" fmla="*/ 108 h 139"/>
                <a:gd name="T46" fmla="*/ 119 w 139"/>
                <a:gd name="T47" fmla="*/ 119 h 139"/>
                <a:gd name="T48" fmla="*/ 108 w 139"/>
                <a:gd name="T49" fmla="*/ 128 h 139"/>
                <a:gd name="T50" fmla="*/ 96 w 139"/>
                <a:gd name="T51" fmla="*/ 134 h 139"/>
                <a:gd name="T52" fmla="*/ 84 w 139"/>
                <a:gd name="T53" fmla="*/ 137 h 139"/>
                <a:gd name="T54" fmla="*/ 70 w 139"/>
                <a:gd name="T55" fmla="*/ 139 h 139"/>
                <a:gd name="T56" fmla="*/ 70 w 139"/>
                <a:gd name="T57" fmla="*/ 139 h 139"/>
                <a:gd name="T58" fmla="*/ 57 w 139"/>
                <a:gd name="T59" fmla="*/ 137 h 139"/>
                <a:gd name="T60" fmla="*/ 43 w 139"/>
                <a:gd name="T61" fmla="*/ 134 h 139"/>
                <a:gd name="T62" fmla="*/ 31 w 139"/>
                <a:gd name="T63" fmla="*/ 128 h 139"/>
                <a:gd name="T64" fmla="*/ 21 w 139"/>
                <a:gd name="T65" fmla="*/ 119 h 139"/>
                <a:gd name="T66" fmla="*/ 12 w 139"/>
                <a:gd name="T67" fmla="*/ 108 h 139"/>
                <a:gd name="T68" fmla="*/ 6 w 139"/>
                <a:gd name="T69" fmla="*/ 98 h 139"/>
                <a:gd name="T70" fmla="*/ 2 w 139"/>
                <a:gd name="T71" fmla="*/ 84 h 139"/>
                <a:gd name="T72" fmla="*/ 0 w 139"/>
                <a:gd name="T73" fmla="*/ 70 h 139"/>
                <a:gd name="T74" fmla="*/ 0 w 139"/>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70"/>
                  </a:moveTo>
                  <a:lnTo>
                    <a:pt x="0" y="70"/>
                  </a:lnTo>
                  <a:lnTo>
                    <a:pt x="2" y="57"/>
                  </a:lnTo>
                  <a:lnTo>
                    <a:pt x="6" y="43"/>
                  </a:lnTo>
                  <a:lnTo>
                    <a:pt x="12" y="31"/>
                  </a:lnTo>
                  <a:lnTo>
                    <a:pt x="21" y="22"/>
                  </a:lnTo>
                  <a:lnTo>
                    <a:pt x="31" y="13"/>
                  </a:lnTo>
                  <a:lnTo>
                    <a:pt x="43" y="6"/>
                  </a:lnTo>
                  <a:lnTo>
                    <a:pt x="57" y="2"/>
                  </a:lnTo>
                  <a:lnTo>
                    <a:pt x="70" y="0"/>
                  </a:lnTo>
                  <a:lnTo>
                    <a:pt x="70" y="0"/>
                  </a:lnTo>
                  <a:lnTo>
                    <a:pt x="84" y="2"/>
                  </a:lnTo>
                  <a:lnTo>
                    <a:pt x="96" y="6"/>
                  </a:lnTo>
                  <a:lnTo>
                    <a:pt x="108" y="13"/>
                  </a:lnTo>
                  <a:lnTo>
                    <a:pt x="119" y="22"/>
                  </a:lnTo>
                  <a:lnTo>
                    <a:pt x="128" y="31"/>
                  </a:lnTo>
                  <a:lnTo>
                    <a:pt x="134" y="43"/>
                  </a:lnTo>
                  <a:lnTo>
                    <a:pt x="137" y="57"/>
                  </a:lnTo>
                  <a:lnTo>
                    <a:pt x="139" y="70"/>
                  </a:lnTo>
                  <a:lnTo>
                    <a:pt x="139" y="70"/>
                  </a:lnTo>
                  <a:lnTo>
                    <a:pt x="137" y="84"/>
                  </a:lnTo>
                  <a:lnTo>
                    <a:pt x="134" y="98"/>
                  </a:lnTo>
                  <a:lnTo>
                    <a:pt x="128" y="108"/>
                  </a:lnTo>
                  <a:lnTo>
                    <a:pt x="119" y="119"/>
                  </a:lnTo>
                  <a:lnTo>
                    <a:pt x="108" y="128"/>
                  </a:lnTo>
                  <a:lnTo>
                    <a:pt x="96" y="134"/>
                  </a:lnTo>
                  <a:lnTo>
                    <a:pt x="84" y="137"/>
                  </a:lnTo>
                  <a:lnTo>
                    <a:pt x="70" y="139"/>
                  </a:lnTo>
                  <a:lnTo>
                    <a:pt x="70" y="139"/>
                  </a:lnTo>
                  <a:lnTo>
                    <a:pt x="57" y="137"/>
                  </a:lnTo>
                  <a:lnTo>
                    <a:pt x="43" y="134"/>
                  </a:lnTo>
                  <a:lnTo>
                    <a:pt x="31" y="128"/>
                  </a:lnTo>
                  <a:lnTo>
                    <a:pt x="21" y="119"/>
                  </a:lnTo>
                  <a:lnTo>
                    <a:pt x="12" y="108"/>
                  </a:lnTo>
                  <a:lnTo>
                    <a:pt x="6" y="98"/>
                  </a:lnTo>
                  <a:lnTo>
                    <a:pt x="2" y="84"/>
                  </a:lnTo>
                  <a:lnTo>
                    <a:pt x="0" y="70"/>
                  </a:lnTo>
                  <a:lnTo>
                    <a:pt x="0"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4" name="Freeform 21">
              <a:extLst>
                <a:ext uri="{FF2B5EF4-FFF2-40B4-BE49-F238E27FC236}">
                  <a16:creationId xmlns:a16="http://schemas.microsoft.com/office/drawing/2014/main" id="{188747F1-7ACF-46CA-BD96-3953DBCC3F6C}"/>
                </a:ext>
              </a:extLst>
            </p:cNvPr>
            <p:cNvSpPr>
              <a:spLocks/>
            </p:cNvSpPr>
            <p:nvPr/>
          </p:nvSpPr>
          <p:spPr bwMode="auto">
            <a:xfrm rot="16200000" flipV="1">
              <a:off x="6576578" y="4191523"/>
              <a:ext cx="222250" cy="220663"/>
            </a:xfrm>
            <a:custGeom>
              <a:avLst/>
              <a:gdLst>
                <a:gd name="T0" fmla="*/ 0 w 140"/>
                <a:gd name="T1" fmla="*/ 70 h 139"/>
                <a:gd name="T2" fmla="*/ 0 w 140"/>
                <a:gd name="T3" fmla="*/ 70 h 139"/>
                <a:gd name="T4" fmla="*/ 2 w 140"/>
                <a:gd name="T5" fmla="*/ 57 h 139"/>
                <a:gd name="T6" fmla="*/ 6 w 140"/>
                <a:gd name="T7" fmla="*/ 43 h 139"/>
                <a:gd name="T8" fmla="*/ 12 w 140"/>
                <a:gd name="T9" fmla="*/ 31 h 139"/>
                <a:gd name="T10" fmla="*/ 21 w 140"/>
                <a:gd name="T11" fmla="*/ 22 h 139"/>
                <a:gd name="T12" fmla="*/ 32 w 140"/>
                <a:gd name="T13" fmla="*/ 13 h 139"/>
                <a:gd name="T14" fmla="*/ 43 w 140"/>
                <a:gd name="T15" fmla="*/ 6 h 139"/>
                <a:gd name="T16" fmla="*/ 56 w 140"/>
                <a:gd name="T17" fmla="*/ 2 h 139"/>
                <a:gd name="T18" fmla="*/ 70 w 140"/>
                <a:gd name="T19" fmla="*/ 0 h 139"/>
                <a:gd name="T20" fmla="*/ 70 w 140"/>
                <a:gd name="T21" fmla="*/ 0 h 139"/>
                <a:gd name="T22" fmla="*/ 84 w 140"/>
                <a:gd name="T23" fmla="*/ 2 h 139"/>
                <a:gd name="T24" fmla="*/ 98 w 140"/>
                <a:gd name="T25" fmla="*/ 6 h 139"/>
                <a:gd name="T26" fmla="*/ 108 w 140"/>
                <a:gd name="T27" fmla="*/ 13 h 139"/>
                <a:gd name="T28" fmla="*/ 119 w 140"/>
                <a:gd name="T29" fmla="*/ 22 h 139"/>
                <a:gd name="T30" fmla="*/ 128 w 140"/>
                <a:gd name="T31" fmla="*/ 31 h 139"/>
                <a:gd name="T32" fmla="*/ 134 w 140"/>
                <a:gd name="T33" fmla="*/ 43 h 139"/>
                <a:gd name="T34" fmla="*/ 139 w 140"/>
                <a:gd name="T35" fmla="*/ 57 h 139"/>
                <a:gd name="T36" fmla="*/ 140 w 140"/>
                <a:gd name="T37" fmla="*/ 70 h 139"/>
                <a:gd name="T38" fmla="*/ 140 w 140"/>
                <a:gd name="T39" fmla="*/ 70 h 139"/>
                <a:gd name="T40" fmla="*/ 139 w 140"/>
                <a:gd name="T41" fmla="*/ 84 h 139"/>
                <a:gd name="T42" fmla="*/ 134 w 140"/>
                <a:gd name="T43" fmla="*/ 98 h 139"/>
                <a:gd name="T44" fmla="*/ 128 w 140"/>
                <a:gd name="T45" fmla="*/ 108 h 139"/>
                <a:gd name="T46" fmla="*/ 119 w 140"/>
                <a:gd name="T47" fmla="*/ 119 h 139"/>
                <a:gd name="T48" fmla="*/ 108 w 140"/>
                <a:gd name="T49" fmla="*/ 128 h 139"/>
                <a:gd name="T50" fmla="*/ 98 w 140"/>
                <a:gd name="T51" fmla="*/ 134 h 139"/>
                <a:gd name="T52" fmla="*/ 84 w 140"/>
                <a:gd name="T53" fmla="*/ 137 h 139"/>
                <a:gd name="T54" fmla="*/ 70 w 140"/>
                <a:gd name="T55" fmla="*/ 139 h 139"/>
                <a:gd name="T56" fmla="*/ 70 w 140"/>
                <a:gd name="T57" fmla="*/ 139 h 139"/>
                <a:gd name="T58" fmla="*/ 56 w 140"/>
                <a:gd name="T59" fmla="*/ 137 h 139"/>
                <a:gd name="T60" fmla="*/ 43 w 140"/>
                <a:gd name="T61" fmla="*/ 134 h 139"/>
                <a:gd name="T62" fmla="*/ 32 w 140"/>
                <a:gd name="T63" fmla="*/ 128 h 139"/>
                <a:gd name="T64" fmla="*/ 21 w 140"/>
                <a:gd name="T65" fmla="*/ 119 h 139"/>
                <a:gd name="T66" fmla="*/ 12 w 140"/>
                <a:gd name="T67" fmla="*/ 108 h 139"/>
                <a:gd name="T68" fmla="*/ 6 w 140"/>
                <a:gd name="T69" fmla="*/ 98 h 139"/>
                <a:gd name="T70" fmla="*/ 2 w 140"/>
                <a:gd name="T71" fmla="*/ 84 h 139"/>
                <a:gd name="T72" fmla="*/ 0 w 140"/>
                <a:gd name="T73" fmla="*/ 70 h 139"/>
                <a:gd name="T74" fmla="*/ 0 w 140"/>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39">
                  <a:moveTo>
                    <a:pt x="0" y="70"/>
                  </a:moveTo>
                  <a:lnTo>
                    <a:pt x="0" y="70"/>
                  </a:lnTo>
                  <a:lnTo>
                    <a:pt x="2" y="57"/>
                  </a:lnTo>
                  <a:lnTo>
                    <a:pt x="6" y="43"/>
                  </a:lnTo>
                  <a:lnTo>
                    <a:pt x="12" y="31"/>
                  </a:lnTo>
                  <a:lnTo>
                    <a:pt x="21" y="22"/>
                  </a:lnTo>
                  <a:lnTo>
                    <a:pt x="32" y="13"/>
                  </a:lnTo>
                  <a:lnTo>
                    <a:pt x="43" y="6"/>
                  </a:lnTo>
                  <a:lnTo>
                    <a:pt x="56" y="2"/>
                  </a:lnTo>
                  <a:lnTo>
                    <a:pt x="70" y="0"/>
                  </a:lnTo>
                  <a:lnTo>
                    <a:pt x="70" y="0"/>
                  </a:lnTo>
                  <a:lnTo>
                    <a:pt x="84" y="2"/>
                  </a:lnTo>
                  <a:lnTo>
                    <a:pt x="98" y="6"/>
                  </a:lnTo>
                  <a:lnTo>
                    <a:pt x="108" y="13"/>
                  </a:lnTo>
                  <a:lnTo>
                    <a:pt x="119" y="22"/>
                  </a:lnTo>
                  <a:lnTo>
                    <a:pt x="128" y="31"/>
                  </a:lnTo>
                  <a:lnTo>
                    <a:pt x="134" y="43"/>
                  </a:lnTo>
                  <a:lnTo>
                    <a:pt x="139" y="57"/>
                  </a:lnTo>
                  <a:lnTo>
                    <a:pt x="140" y="70"/>
                  </a:lnTo>
                  <a:lnTo>
                    <a:pt x="140" y="70"/>
                  </a:lnTo>
                  <a:lnTo>
                    <a:pt x="139" y="84"/>
                  </a:lnTo>
                  <a:lnTo>
                    <a:pt x="134" y="98"/>
                  </a:lnTo>
                  <a:lnTo>
                    <a:pt x="128" y="108"/>
                  </a:lnTo>
                  <a:lnTo>
                    <a:pt x="119" y="119"/>
                  </a:lnTo>
                  <a:lnTo>
                    <a:pt x="108" y="128"/>
                  </a:lnTo>
                  <a:lnTo>
                    <a:pt x="98" y="134"/>
                  </a:lnTo>
                  <a:lnTo>
                    <a:pt x="84" y="137"/>
                  </a:lnTo>
                  <a:lnTo>
                    <a:pt x="70" y="139"/>
                  </a:lnTo>
                  <a:lnTo>
                    <a:pt x="70" y="139"/>
                  </a:lnTo>
                  <a:lnTo>
                    <a:pt x="56" y="137"/>
                  </a:lnTo>
                  <a:lnTo>
                    <a:pt x="43" y="134"/>
                  </a:lnTo>
                  <a:lnTo>
                    <a:pt x="32" y="128"/>
                  </a:lnTo>
                  <a:lnTo>
                    <a:pt x="21" y="119"/>
                  </a:lnTo>
                  <a:lnTo>
                    <a:pt x="12" y="108"/>
                  </a:lnTo>
                  <a:lnTo>
                    <a:pt x="6" y="98"/>
                  </a:lnTo>
                  <a:lnTo>
                    <a:pt x="2" y="84"/>
                  </a:lnTo>
                  <a:lnTo>
                    <a:pt x="0" y="70"/>
                  </a:lnTo>
                  <a:lnTo>
                    <a:pt x="0"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5" name="Freeform 22">
              <a:extLst>
                <a:ext uri="{FF2B5EF4-FFF2-40B4-BE49-F238E27FC236}">
                  <a16:creationId xmlns:a16="http://schemas.microsoft.com/office/drawing/2014/main" id="{3A5722A7-FFB7-4A66-8B92-557923E8D42D}"/>
                </a:ext>
              </a:extLst>
            </p:cNvPr>
            <p:cNvSpPr>
              <a:spLocks/>
            </p:cNvSpPr>
            <p:nvPr/>
          </p:nvSpPr>
          <p:spPr bwMode="auto">
            <a:xfrm rot="16200000" flipV="1">
              <a:off x="6872646" y="3087417"/>
              <a:ext cx="220663" cy="220663"/>
            </a:xfrm>
            <a:custGeom>
              <a:avLst/>
              <a:gdLst>
                <a:gd name="T0" fmla="*/ 0 w 139"/>
                <a:gd name="T1" fmla="*/ 69 h 139"/>
                <a:gd name="T2" fmla="*/ 0 w 139"/>
                <a:gd name="T3" fmla="*/ 69 h 139"/>
                <a:gd name="T4" fmla="*/ 2 w 139"/>
                <a:gd name="T5" fmla="*/ 55 h 139"/>
                <a:gd name="T6" fmla="*/ 5 w 139"/>
                <a:gd name="T7" fmla="*/ 43 h 139"/>
                <a:gd name="T8" fmla="*/ 12 w 139"/>
                <a:gd name="T9" fmla="*/ 31 h 139"/>
                <a:gd name="T10" fmla="*/ 20 w 139"/>
                <a:gd name="T11" fmla="*/ 20 h 139"/>
                <a:gd name="T12" fmla="*/ 31 w 139"/>
                <a:gd name="T13" fmla="*/ 13 h 139"/>
                <a:gd name="T14" fmla="*/ 43 w 139"/>
                <a:gd name="T15" fmla="*/ 5 h 139"/>
                <a:gd name="T16" fmla="*/ 55 w 139"/>
                <a:gd name="T17" fmla="*/ 2 h 139"/>
                <a:gd name="T18" fmla="*/ 69 w 139"/>
                <a:gd name="T19" fmla="*/ 0 h 139"/>
                <a:gd name="T20" fmla="*/ 69 w 139"/>
                <a:gd name="T21" fmla="*/ 0 h 139"/>
                <a:gd name="T22" fmla="*/ 84 w 139"/>
                <a:gd name="T23" fmla="*/ 2 h 139"/>
                <a:gd name="T24" fmla="*/ 96 w 139"/>
                <a:gd name="T25" fmla="*/ 5 h 139"/>
                <a:gd name="T26" fmla="*/ 108 w 139"/>
                <a:gd name="T27" fmla="*/ 13 h 139"/>
                <a:gd name="T28" fmla="*/ 119 w 139"/>
                <a:gd name="T29" fmla="*/ 20 h 139"/>
                <a:gd name="T30" fmla="*/ 127 w 139"/>
                <a:gd name="T31" fmla="*/ 31 h 139"/>
                <a:gd name="T32" fmla="*/ 133 w 139"/>
                <a:gd name="T33" fmla="*/ 43 h 139"/>
                <a:gd name="T34" fmla="*/ 137 w 139"/>
                <a:gd name="T35" fmla="*/ 55 h 139"/>
                <a:gd name="T36" fmla="*/ 139 w 139"/>
                <a:gd name="T37" fmla="*/ 69 h 139"/>
                <a:gd name="T38" fmla="*/ 139 w 139"/>
                <a:gd name="T39" fmla="*/ 69 h 139"/>
                <a:gd name="T40" fmla="*/ 137 w 139"/>
                <a:gd name="T41" fmla="*/ 83 h 139"/>
                <a:gd name="T42" fmla="*/ 133 w 139"/>
                <a:gd name="T43" fmla="*/ 96 h 139"/>
                <a:gd name="T44" fmla="*/ 127 w 139"/>
                <a:gd name="T45" fmla="*/ 109 h 139"/>
                <a:gd name="T46" fmla="*/ 119 w 139"/>
                <a:gd name="T47" fmla="*/ 119 h 139"/>
                <a:gd name="T48" fmla="*/ 108 w 139"/>
                <a:gd name="T49" fmla="*/ 127 h 139"/>
                <a:gd name="T50" fmla="*/ 96 w 139"/>
                <a:gd name="T51" fmla="*/ 133 h 139"/>
                <a:gd name="T52" fmla="*/ 84 w 139"/>
                <a:gd name="T53" fmla="*/ 138 h 139"/>
                <a:gd name="T54" fmla="*/ 69 w 139"/>
                <a:gd name="T55" fmla="*/ 139 h 139"/>
                <a:gd name="T56" fmla="*/ 69 w 139"/>
                <a:gd name="T57" fmla="*/ 139 h 139"/>
                <a:gd name="T58" fmla="*/ 55 w 139"/>
                <a:gd name="T59" fmla="*/ 138 h 139"/>
                <a:gd name="T60" fmla="*/ 43 w 139"/>
                <a:gd name="T61" fmla="*/ 133 h 139"/>
                <a:gd name="T62" fmla="*/ 31 w 139"/>
                <a:gd name="T63" fmla="*/ 127 h 139"/>
                <a:gd name="T64" fmla="*/ 20 w 139"/>
                <a:gd name="T65" fmla="*/ 119 h 139"/>
                <a:gd name="T66" fmla="*/ 12 w 139"/>
                <a:gd name="T67" fmla="*/ 109 h 139"/>
                <a:gd name="T68" fmla="*/ 5 w 139"/>
                <a:gd name="T69" fmla="*/ 96 h 139"/>
                <a:gd name="T70" fmla="*/ 2 w 139"/>
                <a:gd name="T71" fmla="*/ 83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5" y="43"/>
                  </a:lnTo>
                  <a:lnTo>
                    <a:pt x="12" y="31"/>
                  </a:lnTo>
                  <a:lnTo>
                    <a:pt x="20" y="20"/>
                  </a:lnTo>
                  <a:lnTo>
                    <a:pt x="31" y="13"/>
                  </a:lnTo>
                  <a:lnTo>
                    <a:pt x="43" y="5"/>
                  </a:lnTo>
                  <a:lnTo>
                    <a:pt x="55" y="2"/>
                  </a:lnTo>
                  <a:lnTo>
                    <a:pt x="69" y="0"/>
                  </a:lnTo>
                  <a:lnTo>
                    <a:pt x="69" y="0"/>
                  </a:lnTo>
                  <a:lnTo>
                    <a:pt x="84" y="2"/>
                  </a:lnTo>
                  <a:lnTo>
                    <a:pt x="96" y="5"/>
                  </a:lnTo>
                  <a:lnTo>
                    <a:pt x="108" y="13"/>
                  </a:lnTo>
                  <a:lnTo>
                    <a:pt x="119" y="20"/>
                  </a:lnTo>
                  <a:lnTo>
                    <a:pt x="127" y="31"/>
                  </a:lnTo>
                  <a:lnTo>
                    <a:pt x="133" y="43"/>
                  </a:lnTo>
                  <a:lnTo>
                    <a:pt x="137" y="55"/>
                  </a:lnTo>
                  <a:lnTo>
                    <a:pt x="139" y="69"/>
                  </a:lnTo>
                  <a:lnTo>
                    <a:pt x="139" y="69"/>
                  </a:lnTo>
                  <a:lnTo>
                    <a:pt x="137" y="83"/>
                  </a:lnTo>
                  <a:lnTo>
                    <a:pt x="133" y="96"/>
                  </a:lnTo>
                  <a:lnTo>
                    <a:pt x="127" y="109"/>
                  </a:lnTo>
                  <a:lnTo>
                    <a:pt x="119" y="119"/>
                  </a:lnTo>
                  <a:lnTo>
                    <a:pt x="108" y="127"/>
                  </a:lnTo>
                  <a:lnTo>
                    <a:pt x="96" y="133"/>
                  </a:lnTo>
                  <a:lnTo>
                    <a:pt x="84" y="138"/>
                  </a:lnTo>
                  <a:lnTo>
                    <a:pt x="69" y="139"/>
                  </a:lnTo>
                  <a:lnTo>
                    <a:pt x="69" y="139"/>
                  </a:lnTo>
                  <a:lnTo>
                    <a:pt x="55" y="138"/>
                  </a:lnTo>
                  <a:lnTo>
                    <a:pt x="43" y="133"/>
                  </a:lnTo>
                  <a:lnTo>
                    <a:pt x="31" y="127"/>
                  </a:lnTo>
                  <a:lnTo>
                    <a:pt x="20" y="119"/>
                  </a:lnTo>
                  <a:lnTo>
                    <a:pt x="12" y="109"/>
                  </a:lnTo>
                  <a:lnTo>
                    <a:pt x="5" y="96"/>
                  </a:lnTo>
                  <a:lnTo>
                    <a:pt x="2" y="83"/>
                  </a:lnTo>
                  <a:lnTo>
                    <a:pt x="0" y="69"/>
                  </a:lnTo>
                  <a:lnTo>
                    <a:pt x="0" y="69"/>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6" name="Freeform 24">
              <a:extLst>
                <a:ext uri="{FF2B5EF4-FFF2-40B4-BE49-F238E27FC236}">
                  <a16:creationId xmlns:a16="http://schemas.microsoft.com/office/drawing/2014/main" id="{2B0AEDDC-AEDC-45AB-A2FF-31C569708826}"/>
                </a:ext>
              </a:extLst>
            </p:cNvPr>
            <p:cNvSpPr>
              <a:spLocks/>
            </p:cNvSpPr>
            <p:nvPr/>
          </p:nvSpPr>
          <p:spPr bwMode="auto">
            <a:xfrm rot="16200000" flipV="1">
              <a:off x="7151253" y="3273948"/>
              <a:ext cx="219075" cy="220663"/>
            </a:xfrm>
            <a:custGeom>
              <a:avLst/>
              <a:gdLst>
                <a:gd name="T0" fmla="*/ 0 w 138"/>
                <a:gd name="T1" fmla="*/ 69 h 139"/>
                <a:gd name="T2" fmla="*/ 0 w 138"/>
                <a:gd name="T3" fmla="*/ 69 h 139"/>
                <a:gd name="T4" fmla="*/ 1 w 138"/>
                <a:gd name="T5" fmla="*/ 55 h 139"/>
                <a:gd name="T6" fmla="*/ 6 w 138"/>
                <a:gd name="T7" fmla="*/ 43 h 139"/>
                <a:gd name="T8" fmla="*/ 12 w 138"/>
                <a:gd name="T9" fmla="*/ 31 h 139"/>
                <a:gd name="T10" fmla="*/ 21 w 138"/>
                <a:gd name="T11" fmla="*/ 20 h 139"/>
                <a:gd name="T12" fmla="*/ 30 w 138"/>
                <a:gd name="T13" fmla="*/ 13 h 139"/>
                <a:gd name="T14" fmla="*/ 42 w 138"/>
                <a:gd name="T15" fmla="*/ 6 h 139"/>
                <a:gd name="T16" fmla="*/ 56 w 138"/>
                <a:gd name="T17" fmla="*/ 2 h 139"/>
                <a:gd name="T18" fmla="*/ 70 w 138"/>
                <a:gd name="T19" fmla="*/ 0 h 139"/>
                <a:gd name="T20" fmla="*/ 70 w 138"/>
                <a:gd name="T21" fmla="*/ 0 h 139"/>
                <a:gd name="T22" fmla="*/ 83 w 138"/>
                <a:gd name="T23" fmla="*/ 2 h 139"/>
                <a:gd name="T24" fmla="*/ 97 w 138"/>
                <a:gd name="T25" fmla="*/ 6 h 139"/>
                <a:gd name="T26" fmla="*/ 108 w 138"/>
                <a:gd name="T27" fmla="*/ 13 h 139"/>
                <a:gd name="T28" fmla="*/ 119 w 138"/>
                <a:gd name="T29" fmla="*/ 20 h 139"/>
                <a:gd name="T30" fmla="*/ 128 w 138"/>
                <a:gd name="T31" fmla="*/ 31 h 139"/>
                <a:gd name="T32" fmla="*/ 134 w 138"/>
                <a:gd name="T33" fmla="*/ 43 h 139"/>
                <a:gd name="T34" fmla="*/ 137 w 138"/>
                <a:gd name="T35" fmla="*/ 55 h 139"/>
                <a:gd name="T36" fmla="*/ 138 w 138"/>
                <a:gd name="T37" fmla="*/ 69 h 139"/>
                <a:gd name="T38" fmla="*/ 138 w 138"/>
                <a:gd name="T39" fmla="*/ 69 h 139"/>
                <a:gd name="T40" fmla="*/ 137 w 138"/>
                <a:gd name="T41" fmla="*/ 84 h 139"/>
                <a:gd name="T42" fmla="*/ 134 w 138"/>
                <a:gd name="T43" fmla="*/ 96 h 139"/>
                <a:gd name="T44" fmla="*/ 128 w 138"/>
                <a:gd name="T45" fmla="*/ 108 h 139"/>
                <a:gd name="T46" fmla="*/ 119 w 138"/>
                <a:gd name="T47" fmla="*/ 119 h 139"/>
                <a:gd name="T48" fmla="*/ 108 w 138"/>
                <a:gd name="T49" fmla="*/ 127 h 139"/>
                <a:gd name="T50" fmla="*/ 97 w 138"/>
                <a:gd name="T51" fmla="*/ 133 h 139"/>
                <a:gd name="T52" fmla="*/ 83 w 138"/>
                <a:gd name="T53" fmla="*/ 137 h 139"/>
                <a:gd name="T54" fmla="*/ 70 w 138"/>
                <a:gd name="T55" fmla="*/ 139 h 139"/>
                <a:gd name="T56" fmla="*/ 70 w 138"/>
                <a:gd name="T57" fmla="*/ 139 h 139"/>
                <a:gd name="T58" fmla="*/ 56 w 138"/>
                <a:gd name="T59" fmla="*/ 137 h 139"/>
                <a:gd name="T60" fmla="*/ 42 w 138"/>
                <a:gd name="T61" fmla="*/ 133 h 139"/>
                <a:gd name="T62" fmla="*/ 30 w 138"/>
                <a:gd name="T63" fmla="*/ 127 h 139"/>
                <a:gd name="T64" fmla="*/ 21 w 138"/>
                <a:gd name="T65" fmla="*/ 119 h 139"/>
                <a:gd name="T66" fmla="*/ 12 w 138"/>
                <a:gd name="T67" fmla="*/ 108 h 139"/>
                <a:gd name="T68" fmla="*/ 6 w 138"/>
                <a:gd name="T69" fmla="*/ 96 h 139"/>
                <a:gd name="T70" fmla="*/ 1 w 138"/>
                <a:gd name="T71" fmla="*/ 84 h 139"/>
                <a:gd name="T72" fmla="*/ 0 w 138"/>
                <a:gd name="T73" fmla="*/ 69 h 139"/>
                <a:gd name="T74" fmla="*/ 0 w 138"/>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39">
                  <a:moveTo>
                    <a:pt x="0" y="69"/>
                  </a:moveTo>
                  <a:lnTo>
                    <a:pt x="0" y="69"/>
                  </a:lnTo>
                  <a:lnTo>
                    <a:pt x="1" y="55"/>
                  </a:lnTo>
                  <a:lnTo>
                    <a:pt x="6" y="43"/>
                  </a:lnTo>
                  <a:lnTo>
                    <a:pt x="12" y="31"/>
                  </a:lnTo>
                  <a:lnTo>
                    <a:pt x="21" y="20"/>
                  </a:lnTo>
                  <a:lnTo>
                    <a:pt x="30" y="13"/>
                  </a:lnTo>
                  <a:lnTo>
                    <a:pt x="42" y="6"/>
                  </a:lnTo>
                  <a:lnTo>
                    <a:pt x="56" y="2"/>
                  </a:lnTo>
                  <a:lnTo>
                    <a:pt x="70" y="0"/>
                  </a:lnTo>
                  <a:lnTo>
                    <a:pt x="70" y="0"/>
                  </a:lnTo>
                  <a:lnTo>
                    <a:pt x="83" y="2"/>
                  </a:lnTo>
                  <a:lnTo>
                    <a:pt x="97" y="6"/>
                  </a:lnTo>
                  <a:lnTo>
                    <a:pt x="108" y="13"/>
                  </a:lnTo>
                  <a:lnTo>
                    <a:pt x="119" y="20"/>
                  </a:lnTo>
                  <a:lnTo>
                    <a:pt x="128" y="31"/>
                  </a:lnTo>
                  <a:lnTo>
                    <a:pt x="134" y="43"/>
                  </a:lnTo>
                  <a:lnTo>
                    <a:pt x="137" y="55"/>
                  </a:lnTo>
                  <a:lnTo>
                    <a:pt x="138" y="69"/>
                  </a:lnTo>
                  <a:lnTo>
                    <a:pt x="138" y="69"/>
                  </a:lnTo>
                  <a:lnTo>
                    <a:pt x="137" y="84"/>
                  </a:lnTo>
                  <a:lnTo>
                    <a:pt x="134" y="96"/>
                  </a:lnTo>
                  <a:lnTo>
                    <a:pt x="128" y="108"/>
                  </a:lnTo>
                  <a:lnTo>
                    <a:pt x="119" y="119"/>
                  </a:lnTo>
                  <a:lnTo>
                    <a:pt x="108" y="127"/>
                  </a:lnTo>
                  <a:lnTo>
                    <a:pt x="97" y="133"/>
                  </a:lnTo>
                  <a:lnTo>
                    <a:pt x="83" y="137"/>
                  </a:lnTo>
                  <a:lnTo>
                    <a:pt x="70" y="139"/>
                  </a:lnTo>
                  <a:lnTo>
                    <a:pt x="70" y="139"/>
                  </a:lnTo>
                  <a:lnTo>
                    <a:pt x="56" y="137"/>
                  </a:lnTo>
                  <a:lnTo>
                    <a:pt x="42" y="133"/>
                  </a:lnTo>
                  <a:lnTo>
                    <a:pt x="30" y="127"/>
                  </a:lnTo>
                  <a:lnTo>
                    <a:pt x="21" y="119"/>
                  </a:lnTo>
                  <a:lnTo>
                    <a:pt x="12" y="108"/>
                  </a:lnTo>
                  <a:lnTo>
                    <a:pt x="6" y="96"/>
                  </a:lnTo>
                  <a:lnTo>
                    <a:pt x="1" y="84"/>
                  </a:lnTo>
                  <a:lnTo>
                    <a:pt x="0" y="69"/>
                  </a:lnTo>
                  <a:lnTo>
                    <a:pt x="0" y="69"/>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7" name="Freeform 25">
              <a:extLst>
                <a:ext uri="{FF2B5EF4-FFF2-40B4-BE49-F238E27FC236}">
                  <a16:creationId xmlns:a16="http://schemas.microsoft.com/office/drawing/2014/main" id="{CC298588-C6D9-46F5-8FB7-25E52F0E57A9}"/>
                </a:ext>
              </a:extLst>
            </p:cNvPr>
            <p:cNvSpPr>
              <a:spLocks/>
            </p:cNvSpPr>
            <p:nvPr/>
          </p:nvSpPr>
          <p:spPr bwMode="auto">
            <a:xfrm rot="16200000" flipV="1">
              <a:off x="7150459" y="3920855"/>
              <a:ext cx="220663" cy="220663"/>
            </a:xfrm>
            <a:custGeom>
              <a:avLst/>
              <a:gdLst>
                <a:gd name="T0" fmla="*/ 0 w 139"/>
                <a:gd name="T1" fmla="*/ 69 h 139"/>
                <a:gd name="T2" fmla="*/ 0 w 139"/>
                <a:gd name="T3" fmla="*/ 69 h 139"/>
                <a:gd name="T4" fmla="*/ 0 w 139"/>
                <a:gd name="T5" fmla="*/ 55 h 139"/>
                <a:gd name="T6" fmla="*/ 5 w 139"/>
                <a:gd name="T7" fmla="*/ 43 h 139"/>
                <a:gd name="T8" fmla="*/ 11 w 139"/>
                <a:gd name="T9" fmla="*/ 31 h 139"/>
                <a:gd name="T10" fmla="*/ 20 w 139"/>
                <a:gd name="T11" fmla="*/ 20 h 139"/>
                <a:gd name="T12" fmla="*/ 30 w 139"/>
                <a:gd name="T13" fmla="*/ 13 h 139"/>
                <a:gd name="T14" fmla="*/ 41 w 139"/>
                <a:gd name="T15" fmla="*/ 6 h 139"/>
                <a:gd name="T16" fmla="*/ 55 w 139"/>
                <a:gd name="T17" fmla="*/ 2 h 139"/>
                <a:gd name="T18" fmla="*/ 69 w 139"/>
                <a:gd name="T19" fmla="*/ 0 h 139"/>
                <a:gd name="T20" fmla="*/ 69 w 139"/>
                <a:gd name="T21" fmla="*/ 0 h 139"/>
                <a:gd name="T22" fmla="*/ 82 w 139"/>
                <a:gd name="T23" fmla="*/ 2 h 139"/>
                <a:gd name="T24" fmla="*/ 96 w 139"/>
                <a:gd name="T25" fmla="*/ 6 h 139"/>
                <a:gd name="T26" fmla="*/ 108 w 139"/>
                <a:gd name="T27" fmla="*/ 13 h 139"/>
                <a:gd name="T28" fmla="*/ 117 w 139"/>
                <a:gd name="T29" fmla="*/ 20 h 139"/>
                <a:gd name="T30" fmla="*/ 127 w 139"/>
                <a:gd name="T31" fmla="*/ 31 h 139"/>
                <a:gd name="T32" fmla="*/ 133 w 139"/>
                <a:gd name="T33" fmla="*/ 43 h 139"/>
                <a:gd name="T34" fmla="*/ 137 w 139"/>
                <a:gd name="T35" fmla="*/ 55 h 139"/>
                <a:gd name="T36" fmla="*/ 139 w 139"/>
                <a:gd name="T37" fmla="*/ 69 h 139"/>
                <a:gd name="T38" fmla="*/ 139 w 139"/>
                <a:gd name="T39" fmla="*/ 69 h 139"/>
                <a:gd name="T40" fmla="*/ 137 w 139"/>
                <a:gd name="T41" fmla="*/ 84 h 139"/>
                <a:gd name="T42" fmla="*/ 133 w 139"/>
                <a:gd name="T43" fmla="*/ 96 h 139"/>
                <a:gd name="T44" fmla="*/ 127 w 139"/>
                <a:gd name="T45" fmla="*/ 108 h 139"/>
                <a:gd name="T46" fmla="*/ 117 w 139"/>
                <a:gd name="T47" fmla="*/ 119 h 139"/>
                <a:gd name="T48" fmla="*/ 108 w 139"/>
                <a:gd name="T49" fmla="*/ 127 h 139"/>
                <a:gd name="T50" fmla="*/ 96 w 139"/>
                <a:gd name="T51" fmla="*/ 133 h 139"/>
                <a:gd name="T52" fmla="*/ 82 w 139"/>
                <a:gd name="T53" fmla="*/ 137 h 139"/>
                <a:gd name="T54" fmla="*/ 69 w 139"/>
                <a:gd name="T55" fmla="*/ 139 h 139"/>
                <a:gd name="T56" fmla="*/ 69 w 139"/>
                <a:gd name="T57" fmla="*/ 139 h 139"/>
                <a:gd name="T58" fmla="*/ 55 w 139"/>
                <a:gd name="T59" fmla="*/ 137 h 139"/>
                <a:gd name="T60" fmla="*/ 41 w 139"/>
                <a:gd name="T61" fmla="*/ 133 h 139"/>
                <a:gd name="T62" fmla="*/ 30 w 139"/>
                <a:gd name="T63" fmla="*/ 127 h 139"/>
                <a:gd name="T64" fmla="*/ 20 w 139"/>
                <a:gd name="T65" fmla="*/ 119 h 139"/>
                <a:gd name="T66" fmla="*/ 11 w 139"/>
                <a:gd name="T67" fmla="*/ 108 h 139"/>
                <a:gd name="T68" fmla="*/ 5 w 139"/>
                <a:gd name="T69" fmla="*/ 96 h 139"/>
                <a:gd name="T70" fmla="*/ 0 w 139"/>
                <a:gd name="T71" fmla="*/ 84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0" y="55"/>
                  </a:lnTo>
                  <a:lnTo>
                    <a:pt x="5" y="43"/>
                  </a:lnTo>
                  <a:lnTo>
                    <a:pt x="11" y="31"/>
                  </a:lnTo>
                  <a:lnTo>
                    <a:pt x="20" y="20"/>
                  </a:lnTo>
                  <a:lnTo>
                    <a:pt x="30" y="13"/>
                  </a:lnTo>
                  <a:lnTo>
                    <a:pt x="41" y="6"/>
                  </a:lnTo>
                  <a:lnTo>
                    <a:pt x="55" y="2"/>
                  </a:lnTo>
                  <a:lnTo>
                    <a:pt x="69" y="0"/>
                  </a:lnTo>
                  <a:lnTo>
                    <a:pt x="69" y="0"/>
                  </a:lnTo>
                  <a:lnTo>
                    <a:pt x="82" y="2"/>
                  </a:lnTo>
                  <a:lnTo>
                    <a:pt x="96" y="6"/>
                  </a:lnTo>
                  <a:lnTo>
                    <a:pt x="108" y="13"/>
                  </a:lnTo>
                  <a:lnTo>
                    <a:pt x="117" y="20"/>
                  </a:lnTo>
                  <a:lnTo>
                    <a:pt x="127" y="31"/>
                  </a:lnTo>
                  <a:lnTo>
                    <a:pt x="133" y="43"/>
                  </a:lnTo>
                  <a:lnTo>
                    <a:pt x="137" y="55"/>
                  </a:lnTo>
                  <a:lnTo>
                    <a:pt x="139" y="69"/>
                  </a:lnTo>
                  <a:lnTo>
                    <a:pt x="139" y="69"/>
                  </a:lnTo>
                  <a:lnTo>
                    <a:pt x="137" y="84"/>
                  </a:lnTo>
                  <a:lnTo>
                    <a:pt x="133" y="96"/>
                  </a:lnTo>
                  <a:lnTo>
                    <a:pt x="127" y="108"/>
                  </a:lnTo>
                  <a:lnTo>
                    <a:pt x="117" y="119"/>
                  </a:lnTo>
                  <a:lnTo>
                    <a:pt x="108" y="127"/>
                  </a:lnTo>
                  <a:lnTo>
                    <a:pt x="96" y="133"/>
                  </a:lnTo>
                  <a:lnTo>
                    <a:pt x="82" y="137"/>
                  </a:lnTo>
                  <a:lnTo>
                    <a:pt x="69" y="139"/>
                  </a:lnTo>
                  <a:lnTo>
                    <a:pt x="69" y="139"/>
                  </a:lnTo>
                  <a:lnTo>
                    <a:pt x="55" y="137"/>
                  </a:lnTo>
                  <a:lnTo>
                    <a:pt x="41" y="133"/>
                  </a:lnTo>
                  <a:lnTo>
                    <a:pt x="30" y="127"/>
                  </a:lnTo>
                  <a:lnTo>
                    <a:pt x="20" y="119"/>
                  </a:lnTo>
                  <a:lnTo>
                    <a:pt x="11" y="108"/>
                  </a:lnTo>
                  <a:lnTo>
                    <a:pt x="5" y="96"/>
                  </a:lnTo>
                  <a:lnTo>
                    <a:pt x="0" y="84"/>
                  </a:lnTo>
                  <a:lnTo>
                    <a:pt x="0" y="69"/>
                  </a:lnTo>
                  <a:lnTo>
                    <a:pt x="0" y="69"/>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8" name="Freeform 30">
              <a:extLst>
                <a:ext uri="{FF2B5EF4-FFF2-40B4-BE49-F238E27FC236}">
                  <a16:creationId xmlns:a16="http://schemas.microsoft.com/office/drawing/2014/main" id="{7F9CCA59-E749-45D5-8667-6EE7420A14E9}"/>
                </a:ext>
              </a:extLst>
            </p:cNvPr>
            <p:cNvSpPr>
              <a:spLocks/>
            </p:cNvSpPr>
            <p:nvPr/>
          </p:nvSpPr>
          <p:spPr bwMode="auto">
            <a:xfrm rot="16200000" flipV="1">
              <a:off x="3750034" y="4187555"/>
              <a:ext cx="220663" cy="220663"/>
            </a:xfrm>
            <a:custGeom>
              <a:avLst/>
              <a:gdLst>
                <a:gd name="T0" fmla="*/ 139 w 139"/>
                <a:gd name="T1" fmla="*/ 69 h 139"/>
                <a:gd name="T2" fmla="*/ 139 w 139"/>
                <a:gd name="T3" fmla="*/ 69 h 139"/>
                <a:gd name="T4" fmla="*/ 139 w 139"/>
                <a:gd name="T5" fmla="*/ 82 h 139"/>
                <a:gd name="T6" fmla="*/ 134 w 139"/>
                <a:gd name="T7" fmla="*/ 96 h 139"/>
                <a:gd name="T8" fmla="*/ 128 w 139"/>
                <a:gd name="T9" fmla="*/ 108 h 139"/>
                <a:gd name="T10" fmla="*/ 119 w 139"/>
                <a:gd name="T11" fmla="*/ 117 h 139"/>
                <a:gd name="T12" fmla="*/ 108 w 139"/>
                <a:gd name="T13" fmla="*/ 126 h 139"/>
                <a:gd name="T14" fmla="*/ 98 w 139"/>
                <a:gd name="T15" fmla="*/ 133 h 139"/>
                <a:gd name="T16" fmla="*/ 84 w 139"/>
                <a:gd name="T17" fmla="*/ 137 h 139"/>
                <a:gd name="T18" fmla="*/ 70 w 139"/>
                <a:gd name="T19" fmla="*/ 139 h 139"/>
                <a:gd name="T20" fmla="*/ 70 w 139"/>
                <a:gd name="T21" fmla="*/ 139 h 139"/>
                <a:gd name="T22" fmla="*/ 57 w 139"/>
                <a:gd name="T23" fmla="*/ 137 h 139"/>
                <a:gd name="T24" fmla="*/ 43 w 139"/>
                <a:gd name="T25" fmla="*/ 133 h 139"/>
                <a:gd name="T26" fmla="*/ 31 w 139"/>
                <a:gd name="T27" fmla="*/ 126 h 139"/>
                <a:gd name="T28" fmla="*/ 21 w 139"/>
                <a:gd name="T29" fmla="*/ 117 h 139"/>
                <a:gd name="T30" fmla="*/ 12 w 139"/>
                <a:gd name="T31" fmla="*/ 108 h 139"/>
                <a:gd name="T32" fmla="*/ 6 w 139"/>
                <a:gd name="T33" fmla="*/ 96 h 139"/>
                <a:gd name="T34" fmla="*/ 2 w 139"/>
                <a:gd name="T35" fmla="*/ 82 h 139"/>
                <a:gd name="T36" fmla="*/ 0 w 139"/>
                <a:gd name="T37" fmla="*/ 69 h 139"/>
                <a:gd name="T38" fmla="*/ 0 w 139"/>
                <a:gd name="T39" fmla="*/ 69 h 139"/>
                <a:gd name="T40" fmla="*/ 2 w 139"/>
                <a:gd name="T41" fmla="*/ 55 h 139"/>
                <a:gd name="T42" fmla="*/ 6 w 139"/>
                <a:gd name="T43" fmla="*/ 41 h 139"/>
                <a:gd name="T44" fmla="*/ 12 w 139"/>
                <a:gd name="T45" fmla="*/ 31 h 139"/>
                <a:gd name="T46" fmla="*/ 21 w 139"/>
                <a:gd name="T47" fmla="*/ 20 h 139"/>
                <a:gd name="T48" fmla="*/ 31 w 139"/>
                <a:gd name="T49" fmla="*/ 11 h 139"/>
                <a:gd name="T50" fmla="*/ 43 w 139"/>
                <a:gd name="T51" fmla="*/ 5 h 139"/>
                <a:gd name="T52" fmla="*/ 57 w 139"/>
                <a:gd name="T53" fmla="*/ 2 h 139"/>
                <a:gd name="T54" fmla="*/ 70 w 139"/>
                <a:gd name="T55" fmla="*/ 0 h 139"/>
                <a:gd name="T56" fmla="*/ 70 w 139"/>
                <a:gd name="T57" fmla="*/ 0 h 139"/>
                <a:gd name="T58" fmla="*/ 84 w 139"/>
                <a:gd name="T59" fmla="*/ 2 h 139"/>
                <a:gd name="T60" fmla="*/ 98 w 139"/>
                <a:gd name="T61" fmla="*/ 5 h 139"/>
                <a:gd name="T62" fmla="*/ 108 w 139"/>
                <a:gd name="T63" fmla="*/ 11 h 139"/>
                <a:gd name="T64" fmla="*/ 119 w 139"/>
                <a:gd name="T65" fmla="*/ 20 h 139"/>
                <a:gd name="T66" fmla="*/ 128 w 139"/>
                <a:gd name="T67" fmla="*/ 31 h 139"/>
                <a:gd name="T68" fmla="*/ 134 w 139"/>
                <a:gd name="T69" fmla="*/ 41 h 139"/>
                <a:gd name="T70" fmla="*/ 139 w 139"/>
                <a:gd name="T71" fmla="*/ 55 h 139"/>
                <a:gd name="T72" fmla="*/ 139 w 139"/>
                <a:gd name="T73" fmla="*/ 69 h 139"/>
                <a:gd name="T74" fmla="*/ 139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69"/>
                  </a:moveTo>
                  <a:lnTo>
                    <a:pt x="139" y="69"/>
                  </a:lnTo>
                  <a:lnTo>
                    <a:pt x="139" y="82"/>
                  </a:lnTo>
                  <a:lnTo>
                    <a:pt x="134" y="96"/>
                  </a:lnTo>
                  <a:lnTo>
                    <a:pt x="128" y="108"/>
                  </a:lnTo>
                  <a:lnTo>
                    <a:pt x="119" y="117"/>
                  </a:lnTo>
                  <a:lnTo>
                    <a:pt x="108" y="126"/>
                  </a:lnTo>
                  <a:lnTo>
                    <a:pt x="98" y="133"/>
                  </a:lnTo>
                  <a:lnTo>
                    <a:pt x="84" y="137"/>
                  </a:lnTo>
                  <a:lnTo>
                    <a:pt x="70" y="139"/>
                  </a:lnTo>
                  <a:lnTo>
                    <a:pt x="70" y="139"/>
                  </a:lnTo>
                  <a:lnTo>
                    <a:pt x="57" y="137"/>
                  </a:lnTo>
                  <a:lnTo>
                    <a:pt x="43" y="133"/>
                  </a:lnTo>
                  <a:lnTo>
                    <a:pt x="31" y="126"/>
                  </a:lnTo>
                  <a:lnTo>
                    <a:pt x="21" y="117"/>
                  </a:lnTo>
                  <a:lnTo>
                    <a:pt x="12" y="108"/>
                  </a:lnTo>
                  <a:lnTo>
                    <a:pt x="6" y="96"/>
                  </a:lnTo>
                  <a:lnTo>
                    <a:pt x="2" y="82"/>
                  </a:lnTo>
                  <a:lnTo>
                    <a:pt x="0" y="69"/>
                  </a:lnTo>
                  <a:lnTo>
                    <a:pt x="0" y="69"/>
                  </a:lnTo>
                  <a:lnTo>
                    <a:pt x="2" y="55"/>
                  </a:lnTo>
                  <a:lnTo>
                    <a:pt x="6" y="41"/>
                  </a:lnTo>
                  <a:lnTo>
                    <a:pt x="12" y="31"/>
                  </a:lnTo>
                  <a:lnTo>
                    <a:pt x="21" y="20"/>
                  </a:lnTo>
                  <a:lnTo>
                    <a:pt x="31" y="11"/>
                  </a:lnTo>
                  <a:lnTo>
                    <a:pt x="43" y="5"/>
                  </a:lnTo>
                  <a:lnTo>
                    <a:pt x="57" y="2"/>
                  </a:lnTo>
                  <a:lnTo>
                    <a:pt x="70" y="0"/>
                  </a:lnTo>
                  <a:lnTo>
                    <a:pt x="70" y="0"/>
                  </a:lnTo>
                  <a:lnTo>
                    <a:pt x="84" y="2"/>
                  </a:lnTo>
                  <a:lnTo>
                    <a:pt x="98" y="5"/>
                  </a:lnTo>
                  <a:lnTo>
                    <a:pt x="108" y="11"/>
                  </a:lnTo>
                  <a:lnTo>
                    <a:pt x="119" y="20"/>
                  </a:lnTo>
                  <a:lnTo>
                    <a:pt x="128" y="31"/>
                  </a:lnTo>
                  <a:lnTo>
                    <a:pt x="134" y="41"/>
                  </a:lnTo>
                  <a:lnTo>
                    <a:pt x="139" y="55"/>
                  </a:lnTo>
                  <a:lnTo>
                    <a:pt x="139" y="69"/>
                  </a:lnTo>
                  <a:lnTo>
                    <a:pt x="139" y="69"/>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9" name="Freeform 31">
              <a:extLst>
                <a:ext uri="{FF2B5EF4-FFF2-40B4-BE49-F238E27FC236}">
                  <a16:creationId xmlns:a16="http://schemas.microsoft.com/office/drawing/2014/main" id="{F72BBDF8-19AB-4679-BB98-42A8395B8D01}"/>
                </a:ext>
              </a:extLst>
            </p:cNvPr>
            <p:cNvSpPr>
              <a:spLocks/>
            </p:cNvSpPr>
            <p:nvPr/>
          </p:nvSpPr>
          <p:spPr bwMode="auto">
            <a:xfrm rot="16200000" flipV="1">
              <a:off x="3751621" y="2979301"/>
              <a:ext cx="220663" cy="220663"/>
            </a:xfrm>
            <a:custGeom>
              <a:avLst/>
              <a:gdLst>
                <a:gd name="T0" fmla="*/ 139 w 139"/>
                <a:gd name="T1" fmla="*/ 69 h 139"/>
                <a:gd name="T2" fmla="*/ 139 w 139"/>
                <a:gd name="T3" fmla="*/ 69 h 139"/>
                <a:gd name="T4" fmla="*/ 137 w 139"/>
                <a:gd name="T5" fmla="*/ 82 h 139"/>
                <a:gd name="T6" fmla="*/ 134 w 139"/>
                <a:gd name="T7" fmla="*/ 96 h 139"/>
                <a:gd name="T8" fmla="*/ 127 w 139"/>
                <a:gd name="T9" fmla="*/ 108 h 139"/>
                <a:gd name="T10" fmla="*/ 119 w 139"/>
                <a:gd name="T11" fmla="*/ 117 h 139"/>
                <a:gd name="T12" fmla="*/ 108 w 139"/>
                <a:gd name="T13" fmla="*/ 126 h 139"/>
                <a:gd name="T14" fmla="*/ 96 w 139"/>
                <a:gd name="T15" fmla="*/ 133 h 139"/>
                <a:gd name="T16" fmla="*/ 84 w 139"/>
                <a:gd name="T17" fmla="*/ 137 h 139"/>
                <a:gd name="T18" fmla="*/ 70 w 139"/>
                <a:gd name="T19" fmla="*/ 139 h 139"/>
                <a:gd name="T20" fmla="*/ 70 w 139"/>
                <a:gd name="T21" fmla="*/ 139 h 139"/>
                <a:gd name="T22" fmla="*/ 55 w 139"/>
                <a:gd name="T23" fmla="*/ 137 h 139"/>
                <a:gd name="T24" fmla="*/ 43 w 139"/>
                <a:gd name="T25" fmla="*/ 133 h 139"/>
                <a:gd name="T26" fmla="*/ 31 w 139"/>
                <a:gd name="T27" fmla="*/ 126 h 139"/>
                <a:gd name="T28" fmla="*/ 20 w 139"/>
                <a:gd name="T29" fmla="*/ 117 h 139"/>
                <a:gd name="T30" fmla="*/ 12 w 139"/>
                <a:gd name="T31" fmla="*/ 108 h 139"/>
                <a:gd name="T32" fmla="*/ 6 w 139"/>
                <a:gd name="T33" fmla="*/ 96 h 139"/>
                <a:gd name="T34" fmla="*/ 2 w 139"/>
                <a:gd name="T35" fmla="*/ 82 h 139"/>
                <a:gd name="T36" fmla="*/ 0 w 139"/>
                <a:gd name="T37" fmla="*/ 69 h 139"/>
                <a:gd name="T38" fmla="*/ 0 w 139"/>
                <a:gd name="T39" fmla="*/ 69 h 139"/>
                <a:gd name="T40" fmla="*/ 2 w 139"/>
                <a:gd name="T41" fmla="*/ 55 h 139"/>
                <a:gd name="T42" fmla="*/ 6 w 139"/>
                <a:gd name="T43" fmla="*/ 41 h 139"/>
                <a:gd name="T44" fmla="*/ 12 w 139"/>
                <a:gd name="T45" fmla="*/ 31 h 139"/>
                <a:gd name="T46" fmla="*/ 20 w 139"/>
                <a:gd name="T47" fmla="*/ 20 h 139"/>
                <a:gd name="T48" fmla="*/ 31 w 139"/>
                <a:gd name="T49" fmla="*/ 11 h 139"/>
                <a:gd name="T50" fmla="*/ 43 w 139"/>
                <a:gd name="T51" fmla="*/ 5 h 139"/>
                <a:gd name="T52" fmla="*/ 55 w 139"/>
                <a:gd name="T53" fmla="*/ 2 h 139"/>
                <a:gd name="T54" fmla="*/ 70 w 139"/>
                <a:gd name="T55" fmla="*/ 0 h 139"/>
                <a:gd name="T56" fmla="*/ 70 w 139"/>
                <a:gd name="T57" fmla="*/ 0 h 139"/>
                <a:gd name="T58" fmla="*/ 84 w 139"/>
                <a:gd name="T59" fmla="*/ 2 h 139"/>
                <a:gd name="T60" fmla="*/ 96 w 139"/>
                <a:gd name="T61" fmla="*/ 5 h 139"/>
                <a:gd name="T62" fmla="*/ 108 w 139"/>
                <a:gd name="T63" fmla="*/ 11 h 139"/>
                <a:gd name="T64" fmla="*/ 119 w 139"/>
                <a:gd name="T65" fmla="*/ 20 h 139"/>
                <a:gd name="T66" fmla="*/ 127 w 139"/>
                <a:gd name="T67" fmla="*/ 31 h 139"/>
                <a:gd name="T68" fmla="*/ 134 w 139"/>
                <a:gd name="T69" fmla="*/ 41 h 139"/>
                <a:gd name="T70" fmla="*/ 137 w 139"/>
                <a:gd name="T71" fmla="*/ 55 h 139"/>
                <a:gd name="T72" fmla="*/ 139 w 139"/>
                <a:gd name="T73" fmla="*/ 69 h 139"/>
                <a:gd name="T74" fmla="*/ 139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69"/>
                  </a:moveTo>
                  <a:lnTo>
                    <a:pt x="139" y="69"/>
                  </a:lnTo>
                  <a:lnTo>
                    <a:pt x="137" y="82"/>
                  </a:lnTo>
                  <a:lnTo>
                    <a:pt x="134" y="96"/>
                  </a:lnTo>
                  <a:lnTo>
                    <a:pt x="127" y="108"/>
                  </a:lnTo>
                  <a:lnTo>
                    <a:pt x="119" y="117"/>
                  </a:lnTo>
                  <a:lnTo>
                    <a:pt x="108" y="126"/>
                  </a:lnTo>
                  <a:lnTo>
                    <a:pt x="96" y="133"/>
                  </a:lnTo>
                  <a:lnTo>
                    <a:pt x="84" y="137"/>
                  </a:lnTo>
                  <a:lnTo>
                    <a:pt x="70" y="139"/>
                  </a:lnTo>
                  <a:lnTo>
                    <a:pt x="70" y="139"/>
                  </a:lnTo>
                  <a:lnTo>
                    <a:pt x="55" y="137"/>
                  </a:lnTo>
                  <a:lnTo>
                    <a:pt x="43" y="133"/>
                  </a:lnTo>
                  <a:lnTo>
                    <a:pt x="31" y="126"/>
                  </a:lnTo>
                  <a:lnTo>
                    <a:pt x="20" y="117"/>
                  </a:lnTo>
                  <a:lnTo>
                    <a:pt x="12" y="108"/>
                  </a:lnTo>
                  <a:lnTo>
                    <a:pt x="6" y="96"/>
                  </a:lnTo>
                  <a:lnTo>
                    <a:pt x="2" y="82"/>
                  </a:lnTo>
                  <a:lnTo>
                    <a:pt x="0" y="69"/>
                  </a:lnTo>
                  <a:lnTo>
                    <a:pt x="0" y="69"/>
                  </a:lnTo>
                  <a:lnTo>
                    <a:pt x="2" y="55"/>
                  </a:lnTo>
                  <a:lnTo>
                    <a:pt x="6" y="41"/>
                  </a:lnTo>
                  <a:lnTo>
                    <a:pt x="12" y="31"/>
                  </a:lnTo>
                  <a:lnTo>
                    <a:pt x="20" y="20"/>
                  </a:lnTo>
                  <a:lnTo>
                    <a:pt x="31" y="11"/>
                  </a:lnTo>
                  <a:lnTo>
                    <a:pt x="43" y="5"/>
                  </a:lnTo>
                  <a:lnTo>
                    <a:pt x="55" y="2"/>
                  </a:lnTo>
                  <a:lnTo>
                    <a:pt x="70" y="0"/>
                  </a:lnTo>
                  <a:lnTo>
                    <a:pt x="70" y="0"/>
                  </a:lnTo>
                  <a:lnTo>
                    <a:pt x="84" y="2"/>
                  </a:lnTo>
                  <a:lnTo>
                    <a:pt x="96" y="5"/>
                  </a:lnTo>
                  <a:lnTo>
                    <a:pt x="108" y="11"/>
                  </a:lnTo>
                  <a:lnTo>
                    <a:pt x="119" y="20"/>
                  </a:lnTo>
                  <a:lnTo>
                    <a:pt x="127" y="31"/>
                  </a:lnTo>
                  <a:lnTo>
                    <a:pt x="134" y="41"/>
                  </a:lnTo>
                  <a:lnTo>
                    <a:pt x="137" y="55"/>
                  </a:lnTo>
                  <a:lnTo>
                    <a:pt x="139" y="69"/>
                  </a:lnTo>
                  <a:lnTo>
                    <a:pt x="139" y="69"/>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0" name="Freeform 32">
              <a:extLst>
                <a:ext uri="{FF2B5EF4-FFF2-40B4-BE49-F238E27FC236}">
                  <a16:creationId xmlns:a16="http://schemas.microsoft.com/office/drawing/2014/main" id="{6BCAB284-0D4C-42F7-97C0-D3EF3EDA9A84}"/>
                </a:ext>
              </a:extLst>
            </p:cNvPr>
            <p:cNvSpPr>
              <a:spLocks/>
            </p:cNvSpPr>
            <p:nvPr/>
          </p:nvSpPr>
          <p:spPr bwMode="auto">
            <a:xfrm rot="16200000" flipV="1">
              <a:off x="3455553" y="4093098"/>
              <a:ext cx="219075" cy="220663"/>
            </a:xfrm>
            <a:custGeom>
              <a:avLst/>
              <a:gdLst>
                <a:gd name="T0" fmla="*/ 138 w 138"/>
                <a:gd name="T1" fmla="*/ 70 h 139"/>
                <a:gd name="T2" fmla="*/ 138 w 138"/>
                <a:gd name="T3" fmla="*/ 70 h 139"/>
                <a:gd name="T4" fmla="*/ 137 w 138"/>
                <a:gd name="T5" fmla="*/ 84 h 139"/>
                <a:gd name="T6" fmla="*/ 132 w 138"/>
                <a:gd name="T7" fmla="*/ 96 h 139"/>
                <a:gd name="T8" fmla="*/ 126 w 138"/>
                <a:gd name="T9" fmla="*/ 108 h 139"/>
                <a:gd name="T10" fmla="*/ 117 w 138"/>
                <a:gd name="T11" fmla="*/ 119 h 139"/>
                <a:gd name="T12" fmla="*/ 108 w 138"/>
                <a:gd name="T13" fmla="*/ 126 h 139"/>
                <a:gd name="T14" fmla="*/ 96 w 138"/>
                <a:gd name="T15" fmla="*/ 134 h 139"/>
                <a:gd name="T16" fmla="*/ 82 w 138"/>
                <a:gd name="T17" fmla="*/ 137 h 139"/>
                <a:gd name="T18" fmla="*/ 68 w 138"/>
                <a:gd name="T19" fmla="*/ 139 h 139"/>
                <a:gd name="T20" fmla="*/ 68 w 138"/>
                <a:gd name="T21" fmla="*/ 139 h 139"/>
                <a:gd name="T22" fmla="*/ 55 w 138"/>
                <a:gd name="T23" fmla="*/ 137 h 139"/>
                <a:gd name="T24" fmla="*/ 42 w 138"/>
                <a:gd name="T25" fmla="*/ 134 h 139"/>
                <a:gd name="T26" fmla="*/ 30 w 138"/>
                <a:gd name="T27" fmla="*/ 126 h 139"/>
                <a:gd name="T28" fmla="*/ 19 w 138"/>
                <a:gd name="T29" fmla="*/ 119 h 139"/>
                <a:gd name="T30" fmla="*/ 10 w 138"/>
                <a:gd name="T31" fmla="*/ 108 h 139"/>
                <a:gd name="T32" fmla="*/ 4 w 138"/>
                <a:gd name="T33" fmla="*/ 96 h 139"/>
                <a:gd name="T34" fmla="*/ 1 w 138"/>
                <a:gd name="T35" fmla="*/ 84 h 139"/>
                <a:gd name="T36" fmla="*/ 0 w 138"/>
                <a:gd name="T37" fmla="*/ 70 h 139"/>
                <a:gd name="T38" fmla="*/ 0 w 138"/>
                <a:gd name="T39" fmla="*/ 70 h 139"/>
                <a:gd name="T40" fmla="*/ 1 w 138"/>
                <a:gd name="T41" fmla="*/ 56 h 139"/>
                <a:gd name="T42" fmla="*/ 4 w 138"/>
                <a:gd name="T43" fmla="*/ 43 h 139"/>
                <a:gd name="T44" fmla="*/ 10 w 138"/>
                <a:gd name="T45" fmla="*/ 30 h 139"/>
                <a:gd name="T46" fmla="*/ 19 w 138"/>
                <a:gd name="T47" fmla="*/ 20 h 139"/>
                <a:gd name="T48" fmla="*/ 30 w 138"/>
                <a:gd name="T49" fmla="*/ 12 h 139"/>
                <a:gd name="T50" fmla="*/ 42 w 138"/>
                <a:gd name="T51" fmla="*/ 6 h 139"/>
                <a:gd name="T52" fmla="*/ 55 w 138"/>
                <a:gd name="T53" fmla="*/ 1 h 139"/>
                <a:gd name="T54" fmla="*/ 68 w 138"/>
                <a:gd name="T55" fmla="*/ 0 h 139"/>
                <a:gd name="T56" fmla="*/ 68 w 138"/>
                <a:gd name="T57" fmla="*/ 0 h 139"/>
                <a:gd name="T58" fmla="*/ 82 w 138"/>
                <a:gd name="T59" fmla="*/ 1 h 139"/>
                <a:gd name="T60" fmla="*/ 96 w 138"/>
                <a:gd name="T61" fmla="*/ 6 h 139"/>
                <a:gd name="T62" fmla="*/ 108 w 138"/>
                <a:gd name="T63" fmla="*/ 12 h 139"/>
                <a:gd name="T64" fmla="*/ 117 w 138"/>
                <a:gd name="T65" fmla="*/ 20 h 139"/>
                <a:gd name="T66" fmla="*/ 126 w 138"/>
                <a:gd name="T67" fmla="*/ 30 h 139"/>
                <a:gd name="T68" fmla="*/ 132 w 138"/>
                <a:gd name="T69" fmla="*/ 43 h 139"/>
                <a:gd name="T70" fmla="*/ 137 w 138"/>
                <a:gd name="T71" fmla="*/ 56 h 139"/>
                <a:gd name="T72" fmla="*/ 138 w 138"/>
                <a:gd name="T73" fmla="*/ 70 h 139"/>
                <a:gd name="T74" fmla="*/ 138 w 138"/>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39">
                  <a:moveTo>
                    <a:pt x="138" y="70"/>
                  </a:moveTo>
                  <a:lnTo>
                    <a:pt x="138" y="70"/>
                  </a:lnTo>
                  <a:lnTo>
                    <a:pt x="137" y="84"/>
                  </a:lnTo>
                  <a:lnTo>
                    <a:pt x="132" y="96"/>
                  </a:lnTo>
                  <a:lnTo>
                    <a:pt x="126" y="108"/>
                  </a:lnTo>
                  <a:lnTo>
                    <a:pt x="117" y="119"/>
                  </a:lnTo>
                  <a:lnTo>
                    <a:pt x="108" y="126"/>
                  </a:lnTo>
                  <a:lnTo>
                    <a:pt x="96" y="134"/>
                  </a:lnTo>
                  <a:lnTo>
                    <a:pt x="82" y="137"/>
                  </a:lnTo>
                  <a:lnTo>
                    <a:pt x="68" y="139"/>
                  </a:lnTo>
                  <a:lnTo>
                    <a:pt x="68" y="139"/>
                  </a:lnTo>
                  <a:lnTo>
                    <a:pt x="55" y="137"/>
                  </a:lnTo>
                  <a:lnTo>
                    <a:pt x="42" y="134"/>
                  </a:lnTo>
                  <a:lnTo>
                    <a:pt x="30" y="126"/>
                  </a:lnTo>
                  <a:lnTo>
                    <a:pt x="19" y="119"/>
                  </a:lnTo>
                  <a:lnTo>
                    <a:pt x="10" y="108"/>
                  </a:lnTo>
                  <a:lnTo>
                    <a:pt x="4" y="96"/>
                  </a:lnTo>
                  <a:lnTo>
                    <a:pt x="1" y="84"/>
                  </a:lnTo>
                  <a:lnTo>
                    <a:pt x="0" y="70"/>
                  </a:lnTo>
                  <a:lnTo>
                    <a:pt x="0" y="70"/>
                  </a:lnTo>
                  <a:lnTo>
                    <a:pt x="1" y="56"/>
                  </a:lnTo>
                  <a:lnTo>
                    <a:pt x="4" y="43"/>
                  </a:lnTo>
                  <a:lnTo>
                    <a:pt x="10" y="30"/>
                  </a:lnTo>
                  <a:lnTo>
                    <a:pt x="19" y="20"/>
                  </a:lnTo>
                  <a:lnTo>
                    <a:pt x="30" y="12"/>
                  </a:lnTo>
                  <a:lnTo>
                    <a:pt x="42" y="6"/>
                  </a:lnTo>
                  <a:lnTo>
                    <a:pt x="55" y="1"/>
                  </a:lnTo>
                  <a:lnTo>
                    <a:pt x="68" y="0"/>
                  </a:lnTo>
                  <a:lnTo>
                    <a:pt x="68" y="0"/>
                  </a:lnTo>
                  <a:lnTo>
                    <a:pt x="82" y="1"/>
                  </a:lnTo>
                  <a:lnTo>
                    <a:pt x="96" y="6"/>
                  </a:lnTo>
                  <a:lnTo>
                    <a:pt x="108" y="12"/>
                  </a:lnTo>
                  <a:lnTo>
                    <a:pt x="117" y="20"/>
                  </a:lnTo>
                  <a:lnTo>
                    <a:pt x="126" y="30"/>
                  </a:lnTo>
                  <a:lnTo>
                    <a:pt x="132" y="43"/>
                  </a:lnTo>
                  <a:lnTo>
                    <a:pt x="137" y="56"/>
                  </a:lnTo>
                  <a:lnTo>
                    <a:pt x="138" y="70"/>
                  </a:lnTo>
                  <a:lnTo>
                    <a:pt x="138"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1" name="Freeform 33">
              <a:extLst>
                <a:ext uri="{FF2B5EF4-FFF2-40B4-BE49-F238E27FC236}">
                  <a16:creationId xmlns:a16="http://schemas.microsoft.com/office/drawing/2014/main" id="{1530FD20-9FBB-4F98-BF1C-7EB582543A89}"/>
                </a:ext>
              </a:extLst>
            </p:cNvPr>
            <p:cNvSpPr>
              <a:spLocks/>
            </p:cNvSpPr>
            <p:nvPr/>
          </p:nvSpPr>
          <p:spPr bwMode="auto">
            <a:xfrm rot="16200000" flipV="1">
              <a:off x="3454759" y="3087417"/>
              <a:ext cx="220663" cy="220663"/>
            </a:xfrm>
            <a:custGeom>
              <a:avLst/>
              <a:gdLst>
                <a:gd name="T0" fmla="*/ 139 w 139"/>
                <a:gd name="T1" fmla="*/ 70 h 139"/>
                <a:gd name="T2" fmla="*/ 139 w 139"/>
                <a:gd name="T3" fmla="*/ 70 h 139"/>
                <a:gd name="T4" fmla="*/ 137 w 139"/>
                <a:gd name="T5" fmla="*/ 84 h 139"/>
                <a:gd name="T6" fmla="*/ 133 w 139"/>
                <a:gd name="T7" fmla="*/ 96 h 139"/>
                <a:gd name="T8" fmla="*/ 127 w 139"/>
                <a:gd name="T9" fmla="*/ 108 h 139"/>
                <a:gd name="T10" fmla="*/ 119 w 139"/>
                <a:gd name="T11" fmla="*/ 119 h 139"/>
                <a:gd name="T12" fmla="*/ 108 w 139"/>
                <a:gd name="T13" fmla="*/ 126 h 139"/>
                <a:gd name="T14" fmla="*/ 96 w 139"/>
                <a:gd name="T15" fmla="*/ 134 h 139"/>
                <a:gd name="T16" fmla="*/ 84 w 139"/>
                <a:gd name="T17" fmla="*/ 137 h 139"/>
                <a:gd name="T18" fmla="*/ 69 w 139"/>
                <a:gd name="T19" fmla="*/ 139 h 139"/>
                <a:gd name="T20" fmla="*/ 69 w 139"/>
                <a:gd name="T21" fmla="*/ 139 h 139"/>
                <a:gd name="T22" fmla="*/ 55 w 139"/>
                <a:gd name="T23" fmla="*/ 137 h 139"/>
                <a:gd name="T24" fmla="*/ 43 w 139"/>
                <a:gd name="T25" fmla="*/ 134 h 139"/>
                <a:gd name="T26" fmla="*/ 31 w 139"/>
                <a:gd name="T27" fmla="*/ 126 h 139"/>
                <a:gd name="T28" fmla="*/ 20 w 139"/>
                <a:gd name="T29" fmla="*/ 119 h 139"/>
                <a:gd name="T30" fmla="*/ 12 w 139"/>
                <a:gd name="T31" fmla="*/ 108 h 139"/>
                <a:gd name="T32" fmla="*/ 5 w 139"/>
                <a:gd name="T33" fmla="*/ 96 h 139"/>
                <a:gd name="T34" fmla="*/ 2 w 139"/>
                <a:gd name="T35" fmla="*/ 84 h 139"/>
                <a:gd name="T36" fmla="*/ 0 w 139"/>
                <a:gd name="T37" fmla="*/ 70 h 139"/>
                <a:gd name="T38" fmla="*/ 0 w 139"/>
                <a:gd name="T39" fmla="*/ 70 h 139"/>
                <a:gd name="T40" fmla="*/ 2 w 139"/>
                <a:gd name="T41" fmla="*/ 56 h 139"/>
                <a:gd name="T42" fmla="*/ 5 w 139"/>
                <a:gd name="T43" fmla="*/ 43 h 139"/>
                <a:gd name="T44" fmla="*/ 12 w 139"/>
                <a:gd name="T45" fmla="*/ 30 h 139"/>
                <a:gd name="T46" fmla="*/ 20 w 139"/>
                <a:gd name="T47" fmla="*/ 20 h 139"/>
                <a:gd name="T48" fmla="*/ 31 w 139"/>
                <a:gd name="T49" fmla="*/ 12 h 139"/>
                <a:gd name="T50" fmla="*/ 43 w 139"/>
                <a:gd name="T51" fmla="*/ 6 h 139"/>
                <a:gd name="T52" fmla="*/ 55 w 139"/>
                <a:gd name="T53" fmla="*/ 1 h 139"/>
                <a:gd name="T54" fmla="*/ 69 w 139"/>
                <a:gd name="T55" fmla="*/ 0 h 139"/>
                <a:gd name="T56" fmla="*/ 69 w 139"/>
                <a:gd name="T57" fmla="*/ 0 h 139"/>
                <a:gd name="T58" fmla="*/ 84 w 139"/>
                <a:gd name="T59" fmla="*/ 1 h 139"/>
                <a:gd name="T60" fmla="*/ 96 w 139"/>
                <a:gd name="T61" fmla="*/ 6 h 139"/>
                <a:gd name="T62" fmla="*/ 108 w 139"/>
                <a:gd name="T63" fmla="*/ 12 h 139"/>
                <a:gd name="T64" fmla="*/ 119 w 139"/>
                <a:gd name="T65" fmla="*/ 20 h 139"/>
                <a:gd name="T66" fmla="*/ 127 w 139"/>
                <a:gd name="T67" fmla="*/ 30 h 139"/>
                <a:gd name="T68" fmla="*/ 133 w 139"/>
                <a:gd name="T69" fmla="*/ 43 h 139"/>
                <a:gd name="T70" fmla="*/ 137 w 139"/>
                <a:gd name="T71" fmla="*/ 56 h 139"/>
                <a:gd name="T72" fmla="*/ 139 w 139"/>
                <a:gd name="T73" fmla="*/ 70 h 139"/>
                <a:gd name="T74" fmla="*/ 139 w 139"/>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70"/>
                  </a:moveTo>
                  <a:lnTo>
                    <a:pt x="139" y="70"/>
                  </a:lnTo>
                  <a:lnTo>
                    <a:pt x="137" y="84"/>
                  </a:lnTo>
                  <a:lnTo>
                    <a:pt x="133" y="96"/>
                  </a:lnTo>
                  <a:lnTo>
                    <a:pt x="127" y="108"/>
                  </a:lnTo>
                  <a:lnTo>
                    <a:pt x="119" y="119"/>
                  </a:lnTo>
                  <a:lnTo>
                    <a:pt x="108" y="126"/>
                  </a:lnTo>
                  <a:lnTo>
                    <a:pt x="96" y="134"/>
                  </a:lnTo>
                  <a:lnTo>
                    <a:pt x="84" y="137"/>
                  </a:lnTo>
                  <a:lnTo>
                    <a:pt x="69" y="139"/>
                  </a:lnTo>
                  <a:lnTo>
                    <a:pt x="69" y="139"/>
                  </a:lnTo>
                  <a:lnTo>
                    <a:pt x="55" y="137"/>
                  </a:lnTo>
                  <a:lnTo>
                    <a:pt x="43" y="134"/>
                  </a:lnTo>
                  <a:lnTo>
                    <a:pt x="31" y="126"/>
                  </a:lnTo>
                  <a:lnTo>
                    <a:pt x="20" y="119"/>
                  </a:lnTo>
                  <a:lnTo>
                    <a:pt x="12" y="108"/>
                  </a:lnTo>
                  <a:lnTo>
                    <a:pt x="5" y="96"/>
                  </a:lnTo>
                  <a:lnTo>
                    <a:pt x="2" y="84"/>
                  </a:lnTo>
                  <a:lnTo>
                    <a:pt x="0" y="70"/>
                  </a:lnTo>
                  <a:lnTo>
                    <a:pt x="0" y="70"/>
                  </a:lnTo>
                  <a:lnTo>
                    <a:pt x="2" y="56"/>
                  </a:lnTo>
                  <a:lnTo>
                    <a:pt x="5" y="43"/>
                  </a:lnTo>
                  <a:lnTo>
                    <a:pt x="12" y="30"/>
                  </a:lnTo>
                  <a:lnTo>
                    <a:pt x="20" y="20"/>
                  </a:lnTo>
                  <a:lnTo>
                    <a:pt x="31" y="12"/>
                  </a:lnTo>
                  <a:lnTo>
                    <a:pt x="43" y="6"/>
                  </a:lnTo>
                  <a:lnTo>
                    <a:pt x="55" y="1"/>
                  </a:lnTo>
                  <a:lnTo>
                    <a:pt x="69" y="0"/>
                  </a:lnTo>
                  <a:lnTo>
                    <a:pt x="69" y="0"/>
                  </a:lnTo>
                  <a:lnTo>
                    <a:pt x="84" y="1"/>
                  </a:lnTo>
                  <a:lnTo>
                    <a:pt x="96" y="6"/>
                  </a:lnTo>
                  <a:lnTo>
                    <a:pt x="108" y="12"/>
                  </a:lnTo>
                  <a:lnTo>
                    <a:pt x="119" y="20"/>
                  </a:lnTo>
                  <a:lnTo>
                    <a:pt x="127" y="30"/>
                  </a:lnTo>
                  <a:lnTo>
                    <a:pt x="133" y="43"/>
                  </a:lnTo>
                  <a:lnTo>
                    <a:pt x="137" y="56"/>
                  </a:lnTo>
                  <a:lnTo>
                    <a:pt x="139" y="70"/>
                  </a:lnTo>
                  <a:lnTo>
                    <a:pt x="139"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2" name="Freeform 36">
              <a:extLst>
                <a:ext uri="{FF2B5EF4-FFF2-40B4-BE49-F238E27FC236}">
                  <a16:creationId xmlns:a16="http://schemas.microsoft.com/office/drawing/2014/main" id="{F7F7345A-8FA5-45C3-B17B-7C42AFBF1D6A}"/>
                </a:ext>
              </a:extLst>
            </p:cNvPr>
            <p:cNvSpPr>
              <a:spLocks/>
            </p:cNvSpPr>
            <p:nvPr/>
          </p:nvSpPr>
          <p:spPr bwMode="auto">
            <a:xfrm rot="16200000" flipV="1">
              <a:off x="2959459" y="3584305"/>
              <a:ext cx="220663" cy="220663"/>
            </a:xfrm>
            <a:custGeom>
              <a:avLst/>
              <a:gdLst>
                <a:gd name="T0" fmla="*/ 139 w 139"/>
                <a:gd name="T1" fmla="*/ 69 h 139"/>
                <a:gd name="T2" fmla="*/ 139 w 139"/>
                <a:gd name="T3" fmla="*/ 69 h 139"/>
                <a:gd name="T4" fmla="*/ 138 w 139"/>
                <a:gd name="T5" fmla="*/ 84 h 139"/>
                <a:gd name="T6" fmla="*/ 134 w 139"/>
                <a:gd name="T7" fmla="*/ 96 h 139"/>
                <a:gd name="T8" fmla="*/ 127 w 139"/>
                <a:gd name="T9" fmla="*/ 108 h 139"/>
                <a:gd name="T10" fmla="*/ 119 w 139"/>
                <a:gd name="T11" fmla="*/ 119 h 139"/>
                <a:gd name="T12" fmla="*/ 109 w 139"/>
                <a:gd name="T13" fmla="*/ 127 h 139"/>
                <a:gd name="T14" fmla="*/ 96 w 139"/>
                <a:gd name="T15" fmla="*/ 133 h 139"/>
                <a:gd name="T16" fmla="*/ 84 w 139"/>
                <a:gd name="T17" fmla="*/ 137 h 139"/>
                <a:gd name="T18" fmla="*/ 70 w 139"/>
                <a:gd name="T19" fmla="*/ 139 h 139"/>
                <a:gd name="T20" fmla="*/ 70 w 139"/>
                <a:gd name="T21" fmla="*/ 139 h 139"/>
                <a:gd name="T22" fmla="*/ 57 w 139"/>
                <a:gd name="T23" fmla="*/ 137 h 139"/>
                <a:gd name="T24" fmla="*/ 43 w 139"/>
                <a:gd name="T25" fmla="*/ 133 h 139"/>
                <a:gd name="T26" fmla="*/ 31 w 139"/>
                <a:gd name="T27" fmla="*/ 127 h 139"/>
                <a:gd name="T28" fmla="*/ 21 w 139"/>
                <a:gd name="T29" fmla="*/ 119 h 139"/>
                <a:gd name="T30" fmla="*/ 12 w 139"/>
                <a:gd name="T31" fmla="*/ 108 h 139"/>
                <a:gd name="T32" fmla="*/ 6 w 139"/>
                <a:gd name="T33" fmla="*/ 96 h 139"/>
                <a:gd name="T34" fmla="*/ 2 w 139"/>
                <a:gd name="T35" fmla="*/ 84 h 139"/>
                <a:gd name="T36" fmla="*/ 0 w 139"/>
                <a:gd name="T37" fmla="*/ 69 h 139"/>
                <a:gd name="T38" fmla="*/ 0 w 139"/>
                <a:gd name="T39" fmla="*/ 69 h 139"/>
                <a:gd name="T40" fmla="*/ 2 w 139"/>
                <a:gd name="T41" fmla="*/ 55 h 139"/>
                <a:gd name="T42" fmla="*/ 6 w 139"/>
                <a:gd name="T43" fmla="*/ 43 h 139"/>
                <a:gd name="T44" fmla="*/ 12 w 139"/>
                <a:gd name="T45" fmla="*/ 31 h 139"/>
                <a:gd name="T46" fmla="*/ 21 w 139"/>
                <a:gd name="T47" fmla="*/ 20 h 139"/>
                <a:gd name="T48" fmla="*/ 31 w 139"/>
                <a:gd name="T49" fmla="*/ 12 h 139"/>
                <a:gd name="T50" fmla="*/ 43 w 139"/>
                <a:gd name="T51" fmla="*/ 5 h 139"/>
                <a:gd name="T52" fmla="*/ 57 w 139"/>
                <a:gd name="T53" fmla="*/ 2 h 139"/>
                <a:gd name="T54" fmla="*/ 70 w 139"/>
                <a:gd name="T55" fmla="*/ 0 h 139"/>
                <a:gd name="T56" fmla="*/ 70 w 139"/>
                <a:gd name="T57" fmla="*/ 0 h 139"/>
                <a:gd name="T58" fmla="*/ 84 w 139"/>
                <a:gd name="T59" fmla="*/ 2 h 139"/>
                <a:gd name="T60" fmla="*/ 96 w 139"/>
                <a:gd name="T61" fmla="*/ 5 h 139"/>
                <a:gd name="T62" fmla="*/ 109 w 139"/>
                <a:gd name="T63" fmla="*/ 12 h 139"/>
                <a:gd name="T64" fmla="*/ 119 w 139"/>
                <a:gd name="T65" fmla="*/ 20 h 139"/>
                <a:gd name="T66" fmla="*/ 127 w 139"/>
                <a:gd name="T67" fmla="*/ 31 h 139"/>
                <a:gd name="T68" fmla="*/ 134 w 139"/>
                <a:gd name="T69" fmla="*/ 43 h 139"/>
                <a:gd name="T70" fmla="*/ 138 w 139"/>
                <a:gd name="T71" fmla="*/ 55 h 139"/>
                <a:gd name="T72" fmla="*/ 139 w 139"/>
                <a:gd name="T73" fmla="*/ 69 h 139"/>
                <a:gd name="T74" fmla="*/ 139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69"/>
                  </a:moveTo>
                  <a:lnTo>
                    <a:pt x="139" y="69"/>
                  </a:lnTo>
                  <a:lnTo>
                    <a:pt x="138" y="84"/>
                  </a:lnTo>
                  <a:lnTo>
                    <a:pt x="134" y="96"/>
                  </a:lnTo>
                  <a:lnTo>
                    <a:pt x="127" y="108"/>
                  </a:lnTo>
                  <a:lnTo>
                    <a:pt x="119" y="119"/>
                  </a:lnTo>
                  <a:lnTo>
                    <a:pt x="109" y="127"/>
                  </a:lnTo>
                  <a:lnTo>
                    <a:pt x="96" y="133"/>
                  </a:lnTo>
                  <a:lnTo>
                    <a:pt x="84" y="137"/>
                  </a:lnTo>
                  <a:lnTo>
                    <a:pt x="70" y="139"/>
                  </a:lnTo>
                  <a:lnTo>
                    <a:pt x="70" y="139"/>
                  </a:lnTo>
                  <a:lnTo>
                    <a:pt x="57" y="137"/>
                  </a:lnTo>
                  <a:lnTo>
                    <a:pt x="43" y="133"/>
                  </a:lnTo>
                  <a:lnTo>
                    <a:pt x="31" y="127"/>
                  </a:lnTo>
                  <a:lnTo>
                    <a:pt x="21" y="119"/>
                  </a:lnTo>
                  <a:lnTo>
                    <a:pt x="12" y="108"/>
                  </a:lnTo>
                  <a:lnTo>
                    <a:pt x="6" y="96"/>
                  </a:lnTo>
                  <a:lnTo>
                    <a:pt x="2" y="84"/>
                  </a:lnTo>
                  <a:lnTo>
                    <a:pt x="0" y="69"/>
                  </a:lnTo>
                  <a:lnTo>
                    <a:pt x="0" y="69"/>
                  </a:lnTo>
                  <a:lnTo>
                    <a:pt x="2" y="55"/>
                  </a:lnTo>
                  <a:lnTo>
                    <a:pt x="6" y="43"/>
                  </a:lnTo>
                  <a:lnTo>
                    <a:pt x="12" y="31"/>
                  </a:lnTo>
                  <a:lnTo>
                    <a:pt x="21" y="20"/>
                  </a:lnTo>
                  <a:lnTo>
                    <a:pt x="31" y="12"/>
                  </a:lnTo>
                  <a:lnTo>
                    <a:pt x="43" y="5"/>
                  </a:lnTo>
                  <a:lnTo>
                    <a:pt x="57" y="2"/>
                  </a:lnTo>
                  <a:lnTo>
                    <a:pt x="70" y="0"/>
                  </a:lnTo>
                  <a:lnTo>
                    <a:pt x="70" y="0"/>
                  </a:lnTo>
                  <a:lnTo>
                    <a:pt x="84" y="2"/>
                  </a:lnTo>
                  <a:lnTo>
                    <a:pt x="96" y="5"/>
                  </a:lnTo>
                  <a:lnTo>
                    <a:pt x="109" y="12"/>
                  </a:lnTo>
                  <a:lnTo>
                    <a:pt x="119" y="20"/>
                  </a:lnTo>
                  <a:lnTo>
                    <a:pt x="127" y="31"/>
                  </a:lnTo>
                  <a:lnTo>
                    <a:pt x="134" y="43"/>
                  </a:lnTo>
                  <a:lnTo>
                    <a:pt x="138" y="55"/>
                  </a:lnTo>
                  <a:lnTo>
                    <a:pt x="139" y="69"/>
                  </a:lnTo>
                  <a:lnTo>
                    <a:pt x="139" y="69"/>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3" name="Freeform 42">
              <a:extLst>
                <a:ext uri="{FF2B5EF4-FFF2-40B4-BE49-F238E27FC236}">
                  <a16:creationId xmlns:a16="http://schemas.microsoft.com/office/drawing/2014/main" id="{9C3324F1-6747-479E-B56C-FF403F44F9AB}"/>
                </a:ext>
              </a:extLst>
            </p:cNvPr>
            <p:cNvSpPr>
              <a:spLocks/>
            </p:cNvSpPr>
            <p:nvPr/>
          </p:nvSpPr>
          <p:spPr bwMode="auto">
            <a:xfrm rot="16200000" flipV="1">
              <a:off x="2164121" y="2995342"/>
              <a:ext cx="220663" cy="220663"/>
            </a:xfrm>
            <a:custGeom>
              <a:avLst/>
              <a:gdLst>
                <a:gd name="T0" fmla="*/ 0 w 139"/>
                <a:gd name="T1" fmla="*/ 69 h 139"/>
                <a:gd name="T2" fmla="*/ 0 w 139"/>
                <a:gd name="T3" fmla="*/ 69 h 139"/>
                <a:gd name="T4" fmla="*/ 2 w 139"/>
                <a:gd name="T5" fmla="*/ 55 h 139"/>
                <a:gd name="T6" fmla="*/ 6 w 139"/>
                <a:gd name="T7" fmla="*/ 43 h 139"/>
                <a:gd name="T8" fmla="*/ 12 w 139"/>
                <a:gd name="T9" fmla="*/ 31 h 139"/>
                <a:gd name="T10" fmla="*/ 21 w 139"/>
                <a:gd name="T11" fmla="*/ 20 h 139"/>
                <a:gd name="T12" fmla="*/ 31 w 139"/>
                <a:gd name="T13" fmla="*/ 12 h 139"/>
                <a:gd name="T14" fmla="*/ 43 w 139"/>
                <a:gd name="T15" fmla="*/ 6 h 139"/>
                <a:gd name="T16" fmla="*/ 57 w 139"/>
                <a:gd name="T17" fmla="*/ 2 h 139"/>
                <a:gd name="T18" fmla="*/ 70 w 139"/>
                <a:gd name="T19" fmla="*/ 0 h 139"/>
                <a:gd name="T20" fmla="*/ 70 w 139"/>
                <a:gd name="T21" fmla="*/ 0 h 139"/>
                <a:gd name="T22" fmla="*/ 84 w 139"/>
                <a:gd name="T23" fmla="*/ 2 h 139"/>
                <a:gd name="T24" fmla="*/ 96 w 139"/>
                <a:gd name="T25" fmla="*/ 6 h 139"/>
                <a:gd name="T26" fmla="*/ 108 w 139"/>
                <a:gd name="T27" fmla="*/ 12 h 139"/>
                <a:gd name="T28" fmla="*/ 119 w 139"/>
                <a:gd name="T29" fmla="*/ 20 h 139"/>
                <a:gd name="T30" fmla="*/ 128 w 139"/>
                <a:gd name="T31" fmla="*/ 31 h 139"/>
                <a:gd name="T32" fmla="*/ 134 w 139"/>
                <a:gd name="T33" fmla="*/ 43 h 139"/>
                <a:gd name="T34" fmla="*/ 137 w 139"/>
                <a:gd name="T35" fmla="*/ 55 h 139"/>
                <a:gd name="T36" fmla="*/ 139 w 139"/>
                <a:gd name="T37" fmla="*/ 69 h 139"/>
                <a:gd name="T38" fmla="*/ 139 w 139"/>
                <a:gd name="T39" fmla="*/ 69 h 139"/>
                <a:gd name="T40" fmla="*/ 137 w 139"/>
                <a:gd name="T41" fmla="*/ 84 h 139"/>
                <a:gd name="T42" fmla="*/ 134 w 139"/>
                <a:gd name="T43" fmla="*/ 96 h 139"/>
                <a:gd name="T44" fmla="*/ 128 w 139"/>
                <a:gd name="T45" fmla="*/ 108 h 139"/>
                <a:gd name="T46" fmla="*/ 119 w 139"/>
                <a:gd name="T47" fmla="*/ 119 h 139"/>
                <a:gd name="T48" fmla="*/ 108 w 139"/>
                <a:gd name="T49" fmla="*/ 127 h 139"/>
                <a:gd name="T50" fmla="*/ 96 w 139"/>
                <a:gd name="T51" fmla="*/ 133 h 139"/>
                <a:gd name="T52" fmla="*/ 84 w 139"/>
                <a:gd name="T53" fmla="*/ 137 h 139"/>
                <a:gd name="T54" fmla="*/ 70 w 139"/>
                <a:gd name="T55" fmla="*/ 139 h 139"/>
                <a:gd name="T56" fmla="*/ 70 w 139"/>
                <a:gd name="T57" fmla="*/ 139 h 139"/>
                <a:gd name="T58" fmla="*/ 57 w 139"/>
                <a:gd name="T59" fmla="*/ 137 h 139"/>
                <a:gd name="T60" fmla="*/ 43 w 139"/>
                <a:gd name="T61" fmla="*/ 133 h 139"/>
                <a:gd name="T62" fmla="*/ 31 w 139"/>
                <a:gd name="T63" fmla="*/ 127 h 139"/>
                <a:gd name="T64" fmla="*/ 21 w 139"/>
                <a:gd name="T65" fmla="*/ 119 h 139"/>
                <a:gd name="T66" fmla="*/ 12 w 139"/>
                <a:gd name="T67" fmla="*/ 108 h 139"/>
                <a:gd name="T68" fmla="*/ 6 w 139"/>
                <a:gd name="T69" fmla="*/ 96 h 139"/>
                <a:gd name="T70" fmla="*/ 2 w 139"/>
                <a:gd name="T71" fmla="*/ 84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6" y="43"/>
                  </a:lnTo>
                  <a:lnTo>
                    <a:pt x="12" y="31"/>
                  </a:lnTo>
                  <a:lnTo>
                    <a:pt x="21" y="20"/>
                  </a:lnTo>
                  <a:lnTo>
                    <a:pt x="31" y="12"/>
                  </a:lnTo>
                  <a:lnTo>
                    <a:pt x="43" y="6"/>
                  </a:lnTo>
                  <a:lnTo>
                    <a:pt x="57" y="2"/>
                  </a:lnTo>
                  <a:lnTo>
                    <a:pt x="70" y="0"/>
                  </a:lnTo>
                  <a:lnTo>
                    <a:pt x="70" y="0"/>
                  </a:lnTo>
                  <a:lnTo>
                    <a:pt x="84" y="2"/>
                  </a:lnTo>
                  <a:lnTo>
                    <a:pt x="96" y="6"/>
                  </a:lnTo>
                  <a:lnTo>
                    <a:pt x="108" y="12"/>
                  </a:lnTo>
                  <a:lnTo>
                    <a:pt x="119" y="20"/>
                  </a:lnTo>
                  <a:lnTo>
                    <a:pt x="128" y="31"/>
                  </a:lnTo>
                  <a:lnTo>
                    <a:pt x="134" y="43"/>
                  </a:lnTo>
                  <a:lnTo>
                    <a:pt x="137" y="55"/>
                  </a:lnTo>
                  <a:lnTo>
                    <a:pt x="139" y="69"/>
                  </a:lnTo>
                  <a:lnTo>
                    <a:pt x="139" y="69"/>
                  </a:lnTo>
                  <a:lnTo>
                    <a:pt x="137" y="84"/>
                  </a:lnTo>
                  <a:lnTo>
                    <a:pt x="134" y="96"/>
                  </a:lnTo>
                  <a:lnTo>
                    <a:pt x="128" y="108"/>
                  </a:lnTo>
                  <a:lnTo>
                    <a:pt x="119" y="119"/>
                  </a:lnTo>
                  <a:lnTo>
                    <a:pt x="108" y="127"/>
                  </a:lnTo>
                  <a:lnTo>
                    <a:pt x="96" y="133"/>
                  </a:lnTo>
                  <a:lnTo>
                    <a:pt x="84" y="137"/>
                  </a:lnTo>
                  <a:lnTo>
                    <a:pt x="70" y="139"/>
                  </a:lnTo>
                  <a:lnTo>
                    <a:pt x="70" y="139"/>
                  </a:lnTo>
                  <a:lnTo>
                    <a:pt x="57" y="137"/>
                  </a:lnTo>
                  <a:lnTo>
                    <a:pt x="43" y="133"/>
                  </a:lnTo>
                  <a:lnTo>
                    <a:pt x="31" y="127"/>
                  </a:lnTo>
                  <a:lnTo>
                    <a:pt x="21" y="119"/>
                  </a:lnTo>
                  <a:lnTo>
                    <a:pt x="12" y="108"/>
                  </a:lnTo>
                  <a:lnTo>
                    <a:pt x="6" y="96"/>
                  </a:lnTo>
                  <a:lnTo>
                    <a:pt x="2" y="84"/>
                  </a:lnTo>
                  <a:lnTo>
                    <a:pt x="0" y="69"/>
                  </a:lnTo>
                  <a:lnTo>
                    <a:pt x="0" y="6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4" name="Freeform 44">
              <a:extLst>
                <a:ext uri="{FF2B5EF4-FFF2-40B4-BE49-F238E27FC236}">
                  <a16:creationId xmlns:a16="http://schemas.microsoft.com/office/drawing/2014/main" id="{16D80CAE-2A97-4DEB-A24B-6B59DB5C740C}"/>
                </a:ext>
              </a:extLst>
            </p:cNvPr>
            <p:cNvSpPr>
              <a:spLocks/>
            </p:cNvSpPr>
            <p:nvPr/>
          </p:nvSpPr>
          <p:spPr bwMode="auto">
            <a:xfrm rot="16200000" flipV="1">
              <a:off x="2460190" y="3086623"/>
              <a:ext cx="220663" cy="222250"/>
            </a:xfrm>
            <a:custGeom>
              <a:avLst/>
              <a:gdLst>
                <a:gd name="T0" fmla="*/ 0 w 139"/>
                <a:gd name="T1" fmla="*/ 70 h 140"/>
                <a:gd name="T2" fmla="*/ 0 w 139"/>
                <a:gd name="T3" fmla="*/ 70 h 140"/>
                <a:gd name="T4" fmla="*/ 2 w 139"/>
                <a:gd name="T5" fmla="*/ 56 h 140"/>
                <a:gd name="T6" fmla="*/ 5 w 139"/>
                <a:gd name="T7" fmla="*/ 43 h 140"/>
                <a:gd name="T8" fmla="*/ 12 w 139"/>
                <a:gd name="T9" fmla="*/ 32 h 140"/>
                <a:gd name="T10" fmla="*/ 20 w 139"/>
                <a:gd name="T11" fmla="*/ 21 h 140"/>
                <a:gd name="T12" fmla="*/ 31 w 139"/>
                <a:gd name="T13" fmla="*/ 12 h 140"/>
                <a:gd name="T14" fmla="*/ 43 w 139"/>
                <a:gd name="T15" fmla="*/ 6 h 140"/>
                <a:gd name="T16" fmla="*/ 55 w 139"/>
                <a:gd name="T17" fmla="*/ 1 h 140"/>
                <a:gd name="T18" fmla="*/ 69 w 139"/>
                <a:gd name="T19" fmla="*/ 0 h 140"/>
                <a:gd name="T20" fmla="*/ 69 w 139"/>
                <a:gd name="T21" fmla="*/ 0 h 140"/>
                <a:gd name="T22" fmla="*/ 84 w 139"/>
                <a:gd name="T23" fmla="*/ 1 h 140"/>
                <a:gd name="T24" fmla="*/ 96 w 139"/>
                <a:gd name="T25" fmla="*/ 6 h 140"/>
                <a:gd name="T26" fmla="*/ 108 w 139"/>
                <a:gd name="T27" fmla="*/ 12 h 140"/>
                <a:gd name="T28" fmla="*/ 119 w 139"/>
                <a:gd name="T29" fmla="*/ 21 h 140"/>
                <a:gd name="T30" fmla="*/ 127 w 139"/>
                <a:gd name="T31" fmla="*/ 32 h 140"/>
                <a:gd name="T32" fmla="*/ 133 w 139"/>
                <a:gd name="T33" fmla="*/ 43 h 140"/>
                <a:gd name="T34" fmla="*/ 137 w 139"/>
                <a:gd name="T35" fmla="*/ 56 h 140"/>
                <a:gd name="T36" fmla="*/ 139 w 139"/>
                <a:gd name="T37" fmla="*/ 70 h 140"/>
                <a:gd name="T38" fmla="*/ 139 w 139"/>
                <a:gd name="T39" fmla="*/ 70 h 140"/>
                <a:gd name="T40" fmla="*/ 137 w 139"/>
                <a:gd name="T41" fmla="*/ 84 h 140"/>
                <a:gd name="T42" fmla="*/ 133 w 139"/>
                <a:gd name="T43" fmla="*/ 97 h 140"/>
                <a:gd name="T44" fmla="*/ 127 w 139"/>
                <a:gd name="T45" fmla="*/ 108 h 140"/>
                <a:gd name="T46" fmla="*/ 119 w 139"/>
                <a:gd name="T47" fmla="*/ 119 h 140"/>
                <a:gd name="T48" fmla="*/ 108 w 139"/>
                <a:gd name="T49" fmla="*/ 128 h 140"/>
                <a:gd name="T50" fmla="*/ 96 w 139"/>
                <a:gd name="T51" fmla="*/ 134 h 140"/>
                <a:gd name="T52" fmla="*/ 84 w 139"/>
                <a:gd name="T53" fmla="*/ 139 h 140"/>
                <a:gd name="T54" fmla="*/ 69 w 139"/>
                <a:gd name="T55" fmla="*/ 140 h 140"/>
                <a:gd name="T56" fmla="*/ 69 w 139"/>
                <a:gd name="T57" fmla="*/ 140 h 140"/>
                <a:gd name="T58" fmla="*/ 55 w 139"/>
                <a:gd name="T59" fmla="*/ 139 h 140"/>
                <a:gd name="T60" fmla="*/ 43 w 139"/>
                <a:gd name="T61" fmla="*/ 134 h 140"/>
                <a:gd name="T62" fmla="*/ 31 w 139"/>
                <a:gd name="T63" fmla="*/ 128 h 140"/>
                <a:gd name="T64" fmla="*/ 20 w 139"/>
                <a:gd name="T65" fmla="*/ 119 h 140"/>
                <a:gd name="T66" fmla="*/ 12 w 139"/>
                <a:gd name="T67" fmla="*/ 108 h 140"/>
                <a:gd name="T68" fmla="*/ 5 w 139"/>
                <a:gd name="T69" fmla="*/ 97 h 140"/>
                <a:gd name="T70" fmla="*/ 2 w 139"/>
                <a:gd name="T71" fmla="*/ 84 h 140"/>
                <a:gd name="T72" fmla="*/ 0 w 139"/>
                <a:gd name="T73" fmla="*/ 70 h 140"/>
                <a:gd name="T74" fmla="*/ 0 w 139"/>
                <a:gd name="T75" fmla="*/ 7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40">
                  <a:moveTo>
                    <a:pt x="0" y="70"/>
                  </a:moveTo>
                  <a:lnTo>
                    <a:pt x="0" y="70"/>
                  </a:lnTo>
                  <a:lnTo>
                    <a:pt x="2" y="56"/>
                  </a:lnTo>
                  <a:lnTo>
                    <a:pt x="5" y="43"/>
                  </a:lnTo>
                  <a:lnTo>
                    <a:pt x="12" y="32"/>
                  </a:lnTo>
                  <a:lnTo>
                    <a:pt x="20" y="21"/>
                  </a:lnTo>
                  <a:lnTo>
                    <a:pt x="31" y="12"/>
                  </a:lnTo>
                  <a:lnTo>
                    <a:pt x="43" y="6"/>
                  </a:lnTo>
                  <a:lnTo>
                    <a:pt x="55" y="1"/>
                  </a:lnTo>
                  <a:lnTo>
                    <a:pt x="69" y="0"/>
                  </a:lnTo>
                  <a:lnTo>
                    <a:pt x="69" y="0"/>
                  </a:lnTo>
                  <a:lnTo>
                    <a:pt x="84" y="1"/>
                  </a:lnTo>
                  <a:lnTo>
                    <a:pt x="96" y="6"/>
                  </a:lnTo>
                  <a:lnTo>
                    <a:pt x="108" y="12"/>
                  </a:lnTo>
                  <a:lnTo>
                    <a:pt x="119" y="21"/>
                  </a:lnTo>
                  <a:lnTo>
                    <a:pt x="127" y="32"/>
                  </a:lnTo>
                  <a:lnTo>
                    <a:pt x="133" y="43"/>
                  </a:lnTo>
                  <a:lnTo>
                    <a:pt x="137" y="56"/>
                  </a:lnTo>
                  <a:lnTo>
                    <a:pt x="139" y="70"/>
                  </a:lnTo>
                  <a:lnTo>
                    <a:pt x="139" y="70"/>
                  </a:lnTo>
                  <a:lnTo>
                    <a:pt x="137" y="84"/>
                  </a:lnTo>
                  <a:lnTo>
                    <a:pt x="133" y="97"/>
                  </a:lnTo>
                  <a:lnTo>
                    <a:pt x="127" y="108"/>
                  </a:lnTo>
                  <a:lnTo>
                    <a:pt x="119" y="119"/>
                  </a:lnTo>
                  <a:lnTo>
                    <a:pt x="108" y="128"/>
                  </a:lnTo>
                  <a:lnTo>
                    <a:pt x="96" y="134"/>
                  </a:lnTo>
                  <a:lnTo>
                    <a:pt x="84" y="139"/>
                  </a:lnTo>
                  <a:lnTo>
                    <a:pt x="69" y="140"/>
                  </a:lnTo>
                  <a:lnTo>
                    <a:pt x="69" y="140"/>
                  </a:lnTo>
                  <a:lnTo>
                    <a:pt x="55" y="139"/>
                  </a:lnTo>
                  <a:lnTo>
                    <a:pt x="43" y="134"/>
                  </a:lnTo>
                  <a:lnTo>
                    <a:pt x="31" y="128"/>
                  </a:lnTo>
                  <a:lnTo>
                    <a:pt x="20" y="119"/>
                  </a:lnTo>
                  <a:lnTo>
                    <a:pt x="12" y="108"/>
                  </a:lnTo>
                  <a:lnTo>
                    <a:pt x="5" y="97"/>
                  </a:lnTo>
                  <a:lnTo>
                    <a:pt x="2" y="84"/>
                  </a:lnTo>
                  <a:lnTo>
                    <a:pt x="0" y="70"/>
                  </a:lnTo>
                  <a:lnTo>
                    <a:pt x="0"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5" name="Freeform 45">
              <a:extLst>
                <a:ext uri="{FF2B5EF4-FFF2-40B4-BE49-F238E27FC236}">
                  <a16:creationId xmlns:a16="http://schemas.microsoft.com/office/drawing/2014/main" id="{CDD25315-9FB8-40E4-8588-F3ABA53232BC}"/>
                </a:ext>
              </a:extLst>
            </p:cNvPr>
            <p:cNvSpPr>
              <a:spLocks/>
            </p:cNvSpPr>
            <p:nvPr/>
          </p:nvSpPr>
          <p:spPr bwMode="auto">
            <a:xfrm rot="16200000" flipV="1">
              <a:off x="2460984" y="4092305"/>
              <a:ext cx="219075" cy="222250"/>
            </a:xfrm>
            <a:custGeom>
              <a:avLst/>
              <a:gdLst>
                <a:gd name="T0" fmla="*/ 0 w 138"/>
                <a:gd name="T1" fmla="*/ 70 h 140"/>
                <a:gd name="T2" fmla="*/ 0 w 138"/>
                <a:gd name="T3" fmla="*/ 70 h 140"/>
                <a:gd name="T4" fmla="*/ 1 w 138"/>
                <a:gd name="T5" fmla="*/ 56 h 140"/>
                <a:gd name="T6" fmla="*/ 4 w 138"/>
                <a:gd name="T7" fmla="*/ 43 h 140"/>
                <a:gd name="T8" fmla="*/ 10 w 138"/>
                <a:gd name="T9" fmla="*/ 32 h 140"/>
                <a:gd name="T10" fmla="*/ 19 w 138"/>
                <a:gd name="T11" fmla="*/ 21 h 140"/>
                <a:gd name="T12" fmla="*/ 30 w 138"/>
                <a:gd name="T13" fmla="*/ 12 h 140"/>
                <a:gd name="T14" fmla="*/ 42 w 138"/>
                <a:gd name="T15" fmla="*/ 6 h 140"/>
                <a:gd name="T16" fmla="*/ 55 w 138"/>
                <a:gd name="T17" fmla="*/ 1 h 140"/>
                <a:gd name="T18" fmla="*/ 68 w 138"/>
                <a:gd name="T19" fmla="*/ 0 h 140"/>
                <a:gd name="T20" fmla="*/ 68 w 138"/>
                <a:gd name="T21" fmla="*/ 0 h 140"/>
                <a:gd name="T22" fmla="*/ 82 w 138"/>
                <a:gd name="T23" fmla="*/ 1 h 140"/>
                <a:gd name="T24" fmla="*/ 96 w 138"/>
                <a:gd name="T25" fmla="*/ 6 h 140"/>
                <a:gd name="T26" fmla="*/ 108 w 138"/>
                <a:gd name="T27" fmla="*/ 12 h 140"/>
                <a:gd name="T28" fmla="*/ 117 w 138"/>
                <a:gd name="T29" fmla="*/ 21 h 140"/>
                <a:gd name="T30" fmla="*/ 126 w 138"/>
                <a:gd name="T31" fmla="*/ 32 h 140"/>
                <a:gd name="T32" fmla="*/ 132 w 138"/>
                <a:gd name="T33" fmla="*/ 43 h 140"/>
                <a:gd name="T34" fmla="*/ 137 w 138"/>
                <a:gd name="T35" fmla="*/ 56 h 140"/>
                <a:gd name="T36" fmla="*/ 138 w 138"/>
                <a:gd name="T37" fmla="*/ 70 h 140"/>
                <a:gd name="T38" fmla="*/ 138 w 138"/>
                <a:gd name="T39" fmla="*/ 70 h 140"/>
                <a:gd name="T40" fmla="*/ 137 w 138"/>
                <a:gd name="T41" fmla="*/ 84 h 140"/>
                <a:gd name="T42" fmla="*/ 132 w 138"/>
                <a:gd name="T43" fmla="*/ 97 h 140"/>
                <a:gd name="T44" fmla="*/ 126 w 138"/>
                <a:gd name="T45" fmla="*/ 108 h 140"/>
                <a:gd name="T46" fmla="*/ 117 w 138"/>
                <a:gd name="T47" fmla="*/ 119 h 140"/>
                <a:gd name="T48" fmla="*/ 108 w 138"/>
                <a:gd name="T49" fmla="*/ 128 h 140"/>
                <a:gd name="T50" fmla="*/ 96 w 138"/>
                <a:gd name="T51" fmla="*/ 134 h 140"/>
                <a:gd name="T52" fmla="*/ 82 w 138"/>
                <a:gd name="T53" fmla="*/ 139 h 140"/>
                <a:gd name="T54" fmla="*/ 68 w 138"/>
                <a:gd name="T55" fmla="*/ 140 h 140"/>
                <a:gd name="T56" fmla="*/ 68 w 138"/>
                <a:gd name="T57" fmla="*/ 140 h 140"/>
                <a:gd name="T58" fmla="*/ 55 w 138"/>
                <a:gd name="T59" fmla="*/ 139 h 140"/>
                <a:gd name="T60" fmla="*/ 42 w 138"/>
                <a:gd name="T61" fmla="*/ 134 h 140"/>
                <a:gd name="T62" fmla="*/ 30 w 138"/>
                <a:gd name="T63" fmla="*/ 128 h 140"/>
                <a:gd name="T64" fmla="*/ 19 w 138"/>
                <a:gd name="T65" fmla="*/ 119 h 140"/>
                <a:gd name="T66" fmla="*/ 10 w 138"/>
                <a:gd name="T67" fmla="*/ 108 h 140"/>
                <a:gd name="T68" fmla="*/ 4 w 138"/>
                <a:gd name="T69" fmla="*/ 97 h 140"/>
                <a:gd name="T70" fmla="*/ 1 w 138"/>
                <a:gd name="T71" fmla="*/ 84 h 140"/>
                <a:gd name="T72" fmla="*/ 0 w 138"/>
                <a:gd name="T73" fmla="*/ 70 h 140"/>
                <a:gd name="T74" fmla="*/ 0 w 138"/>
                <a:gd name="T75" fmla="*/ 7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40">
                  <a:moveTo>
                    <a:pt x="0" y="70"/>
                  </a:moveTo>
                  <a:lnTo>
                    <a:pt x="0" y="70"/>
                  </a:lnTo>
                  <a:lnTo>
                    <a:pt x="1" y="56"/>
                  </a:lnTo>
                  <a:lnTo>
                    <a:pt x="4" y="43"/>
                  </a:lnTo>
                  <a:lnTo>
                    <a:pt x="10" y="32"/>
                  </a:lnTo>
                  <a:lnTo>
                    <a:pt x="19" y="21"/>
                  </a:lnTo>
                  <a:lnTo>
                    <a:pt x="30" y="12"/>
                  </a:lnTo>
                  <a:lnTo>
                    <a:pt x="42" y="6"/>
                  </a:lnTo>
                  <a:lnTo>
                    <a:pt x="55" y="1"/>
                  </a:lnTo>
                  <a:lnTo>
                    <a:pt x="68" y="0"/>
                  </a:lnTo>
                  <a:lnTo>
                    <a:pt x="68" y="0"/>
                  </a:lnTo>
                  <a:lnTo>
                    <a:pt x="82" y="1"/>
                  </a:lnTo>
                  <a:lnTo>
                    <a:pt x="96" y="6"/>
                  </a:lnTo>
                  <a:lnTo>
                    <a:pt x="108" y="12"/>
                  </a:lnTo>
                  <a:lnTo>
                    <a:pt x="117" y="21"/>
                  </a:lnTo>
                  <a:lnTo>
                    <a:pt x="126" y="32"/>
                  </a:lnTo>
                  <a:lnTo>
                    <a:pt x="132" y="43"/>
                  </a:lnTo>
                  <a:lnTo>
                    <a:pt x="137" y="56"/>
                  </a:lnTo>
                  <a:lnTo>
                    <a:pt x="138" y="70"/>
                  </a:lnTo>
                  <a:lnTo>
                    <a:pt x="138" y="70"/>
                  </a:lnTo>
                  <a:lnTo>
                    <a:pt x="137" y="84"/>
                  </a:lnTo>
                  <a:lnTo>
                    <a:pt x="132" y="97"/>
                  </a:lnTo>
                  <a:lnTo>
                    <a:pt x="126" y="108"/>
                  </a:lnTo>
                  <a:lnTo>
                    <a:pt x="117" y="119"/>
                  </a:lnTo>
                  <a:lnTo>
                    <a:pt x="108" y="128"/>
                  </a:lnTo>
                  <a:lnTo>
                    <a:pt x="96" y="134"/>
                  </a:lnTo>
                  <a:lnTo>
                    <a:pt x="82" y="139"/>
                  </a:lnTo>
                  <a:lnTo>
                    <a:pt x="68" y="140"/>
                  </a:lnTo>
                  <a:lnTo>
                    <a:pt x="68" y="140"/>
                  </a:lnTo>
                  <a:lnTo>
                    <a:pt x="55" y="139"/>
                  </a:lnTo>
                  <a:lnTo>
                    <a:pt x="42" y="134"/>
                  </a:lnTo>
                  <a:lnTo>
                    <a:pt x="30" y="128"/>
                  </a:lnTo>
                  <a:lnTo>
                    <a:pt x="19" y="119"/>
                  </a:lnTo>
                  <a:lnTo>
                    <a:pt x="10" y="108"/>
                  </a:lnTo>
                  <a:lnTo>
                    <a:pt x="4" y="97"/>
                  </a:lnTo>
                  <a:lnTo>
                    <a:pt x="1" y="84"/>
                  </a:lnTo>
                  <a:lnTo>
                    <a:pt x="0" y="70"/>
                  </a:lnTo>
                  <a:lnTo>
                    <a:pt x="0"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6" name="Freeform 46">
              <a:extLst>
                <a:ext uri="{FF2B5EF4-FFF2-40B4-BE49-F238E27FC236}">
                  <a16:creationId xmlns:a16="http://schemas.microsoft.com/office/drawing/2014/main" id="{306B0901-56F6-4541-A3C8-579810378574}"/>
                </a:ext>
              </a:extLst>
            </p:cNvPr>
            <p:cNvSpPr>
              <a:spLocks/>
            </p:cNvSpPr>
            <p:nvPr/>
          </p:nvSpPr>
          <p:spPr bwMode="auto">
            <a:xfrm rot="16200000" flipV="1">
              <a:off x="2738003" y="3273948"/>
              <a:ext cx="219075" cy="220663"/>
            </a:xfrm>
            <a:custGeom>
              <a:avLst/>
              <a:gdLst>
                <a:gd name="T0" fmla="*/ 0 w 138"/>
                <a:gd name="T1" fmla="*/ 69 h 139"/>
                <a:gd name="T2" fmla="*/ 0 w 138"/>
                <a:gd name="T3" fmla="*/ 69 h 139"/>
                <a:gd name="T4" fmla="*/ 1 w 138"/>
                <a:gd name="T5" fmla="*/ 55 h 139"/>
                <a:gd name="T6" fmla="*/ 6 w 138"/>
                <a:gd name="T7" fmla="*/ 41 h 139"/>
                <a:gd name="T8" fmla="*/ 12 w 138"/>
                <a:gd name="T9" fmla="*/ 31 h 139"/>
                <a:gd name="T10" fmla="*/ 21 w 138"/>
                <a:gd name="T11" fmla="*/ 20 h 139"/>
                <a:gd name="T12" fmla="*/ 30 w 138"/>
                <a:gd name="T13" fmla="*/ 11 h 139"/>
                <a:gd name="T14" fmla="*/ 42 w 138"/>
                <a:gd name="T15" fmla="*/ 5 h 139"/>
                <a:gd name="T16" fmla="*/ 56 w 138"/>
                <a:gd name="T17" fmla="*/ 2 h 139"/>
                <a:gd name="T18" fmla="*/ 70 w 138"/>
                <a:gd name="T19" fmla="*/ 0 h 139"/>
                <a:gd name="T20" fmla="*/ 70 w 138"/>
                <a:gd name="T21" fmla="*/ 0 h 139"/>
                <a:gd name="T22" fmla="*/ 83 w 138"/>
                <a:gd name="T23" fmla="*/ 2 h 139"/>
                <a:gd name="T24" fmla="*/ 97 w 138"/>
                <a:gd name="T25" fmla="*/ 5 h 139"/>
                <a:gd name="T26" fmla="*/ 108 w 138"/>
                <a:gd name="T27" fmla="*/ 11 h 139"/>
                <a:gd name="T28" fmla="*/ 119 w 138"/>
                <a:gd name="T29" fmla="*/ 20 h 139"/>
                <a:gd name="T30" fmla="*/ 128 w 138"/>
                <a:gd name="T31" fmla="*/ 31 h 139"/>
                <a:gd name="T32" fmla="*/ 134 w 138"/>
                <a:gd name="T33" fmla="*/ 41 h 139"/>
                <a:gd name="T34" fmla="*/ 137 w 138"/>
                <a:gd name="T35" fmla="*/ 55 h 139"/>
                <a:gd name="T36" fmla="*/ 138 w 138"/>
                <a:gd name="T37" fmla="*/ 69 h 139"/>
                <a:gd name="T38" fmla="*/ 138 w 138"/>
                <a:gd name="T39" fmla="*/ 69 h 139"/>
                <a:gd name="T40" fmla="*/ 137 w 138"/>
                <a:gd name="T41" fmla="*/ 83 h 139"/>
                <a:gd name="T42" fmla="*/ 134 w 138"/>
                <a:gd name="T43" fmla="*/ 96 h 139"/>
                <a:gd name="T44" fmla="*/ 128 w 138"/>
                <a:gd name="T45" fmla="*/ 108 h 139"/>
                <a:gd name="T46" fmla="*/ 119 w 138"/>
                <a:gd name="T47" fmla="*/ 118 h 139"/>
                <a:gd name="T48" fmla="*/ 108 w 138"/>
                <a:gd name="T49" fmla="*/ 127 h 139"/>
                <a:gd name="T50" fmla="*/ 97 w 138"/>
                <a:gd name="T51" fmla="*/ 133 h 139"/>
                <a:gd name="T52" fmla="*/ 83 w 138"/>
                <a:gd name="T53" fmla="*/ 137 h 139"/>
                <a:gd name="T54" fmla="*/ 70 w 138"/>
                <a:gd name="T55" fmla="*/ 139 h 139"/>
                <a:gd name="T56" fmla="*/ 70 w 138"/>
                <a:gd name="T57" fmla="*/ 139 h 139"/>
                <a:gd name="T58" fmla="*/ 56 w 138"/>
                <a:gd name="T59" fmla="*/ 137 h 139"/>
                <a:gd name="T60" fmla="*/ 42 w 138"/>
                <a:gd name="T61" fmla="*/ 133 h 139"/>
                <a:gd name="T62" fmla="*/ 30 w 138"/>
                <a:gd name="T63" fmla="*/ 127 h 139"/>
                <a:gd name="T64" fmla="*/ 21 w 138"/>
                <a:gd name="T65" fmla="*/ 118 h 139"/>
                <a:gd name="T66" fmla="*/ 12 w 138"/>
                <a:gd name="T67" fmla="*/ 108 h 139"/>
                <a:gd name="T68" fmla="*/ 6 w 138"/>
                <a:gd name="T69" fmla="*/ 96 h 139"/>
                <a:gd name="T70" fmla="*/ 1 w 138"/>
                <a:gd name="T71" fmla="*/ 83 h 139"/>
                <a:gd name="T72" fmla="*/ 0 w 138"/>
                <a:gd name="T73" fmla="*/ 69 h 139"/>
                <a:gd name="T74" fmla="*/ 0 w 138"/>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39">
                  <a:moveTo>
                    <a:pt x="0" y="69"/>
                  </a:moveTo>
                  <a:lnTo>
                    <a:pt x="0" y="69"/>
                  </a:lnTo>
                  <a:lnTo>
                    <a:pt x="1" y="55"/>
                  </a:lnTo>
                  <a:lnTo>
                    <a:pt x="6" y="41"/>
                  </a:lnTo>
                  <a:lnTo>
                    <a:pt x="12" y="31"/>
                  </a:lnTo>
                  <a:lnTo>
                    <a:pt x="21" y="20"/>
                  </a:lnTo>
                  <a:lnTo>
                    <a:pt x="30" y="11"/>
                  </a:lnTo>
                  <a:lnTo>
                    <a:pt x="42" y="5"/>
                  </a:lnTo>
                  <a:lnTo>
                    <a:pt x="56" y="2"/>
                  </a:lnTo>
                  <a:lnTo>
                    <a:pt x="70" y="0"/>
                  </a:lnTo>
                  <a:lnTo>
                    <a:pt x="70" y="0"/>
                  </a:lnTo>
                  <a:lnTo>
                    <a:pt x="83" y="2"/>
                  </a:lnTo>
                  <a:lnTo>
                    <a:pt x="97" y="5"/>
                  </a:lnTo>
                  <a:lnTo>
                    <a:pt x="108" y="11"/>
                  </a:lnTo>
                  <a:lnTo>
                    <a:pt x="119" y="20"/>
                  </a:lnTo>
                  <a:lnTo>
                    <a:pt x="128" y="31"/>
                  </a:lnTo>
                  <a:lnTo>
                    <a:pt x="134" y="41"/>
                  </a:lnTo>
                  <a:lnTo>
                    <a:pt x="137" y="55"/>
                  </a:lnTo>
                  <a:lnTo>
                    <a:pt x="138" y="69"/>
                  </a:lnTo>
                  <a:lnTo>
                    <a:pt x="138" y="69"/>
                  </a:lnTo>
                  <a:lnTo>
                    <a:pt x="137" y="83"/>
                  </a:lnTo>
                  <a:lnTo>
                    <a:pt x="134" y="96"/>
                  </a:lnTo>
                  <a:lnTo>
                    <a:pt x="128" y="108"/>
                  </a:lnTo>
                  <a:lnTo>
                    <a:pt x="119" y="118"/>
                  </a:lnTo>
                  <a:lnTo>
                    <a:pt x="108" y="127"/>
                  </a:lnTo>
                  <a:lnTo>
                    <a:pt x="97" y="133"/>
                  </a:lnTo>
                  <a:lnTo>
                    <a:pt x="83" y="137"/>
                  </a:lnTo>
                  <a:lnTo>
                    <a:pt x="70" y="139"/>
                  </a:lnTo>
                  <a:lnTo>
                    <a:pt x="70" y="139"/>
                  </a:lnTo>
                  <a:lnTo>
                    <a:pt x="56" y="137"/>
                  </a:lnTo>
                  <a:lnTo>
                    <a:pt x="42" y="133"/>
                  </a:lnTo>
                  <a:lnTo>
                    <a:pt x="30" y="127"/>
                  </a:lnTo>
                  <a:lnTo>
                    <a:pt x="21" y="118"/>
                  </a:lnTo>
                  <a:lnTo>
                    <a:pt x="12" y="108"/>
                  </a:lnTo>
                  <a:lnTo>
                    <a:pt x="6" y="96"/>
                  </a:lnTo>
                  <a:lnTo>
                    <a:pt x="1" y="83"/>
                  </a:lnTo>
                  <a:lnTo>
                    <a:pt x="0" y="69"/>
                  </a:lnTo>
                  <a:lnTo>
                    <a:pt x="0" y="69"/>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7" name="Freeform 47">
              <a:extLst>
                <a:ext uri="{FF2B5EF4-FFF2-40B4-BE49-F238E27FC236}">
                  <a16:creationId xmlns:a16="http://schemas.microsoft.com/office/drawing/2014/main" id="{A5F2130C-A32C-4E3D-8A2B-B9EF38B76B20}"/>
                </a:ext>
              </a:extLst>
            </p:cNvPr>
            <p:cNvSpPr>
              <a:spLocks/>
            </p:cNvSpPr>
            <p:nvPr/>
          </p:nvSpPr>
          <p:spPr bwMode="auto">
            <a:xfrm rot="16200000" flipV="1">
              <a:off x="2737209" y="3920855"/>
              <a:ext cx="220663" cy="220663"/>
            </a:xfrm>
            <a:custGeom>
              <a:avLst/>
              <a:gdLst>
                <a:gd name="T0" fmla="*/ 0 w 139"/>
                <a:gd name="T1" fmla="*/ 69 h 139"/>
                <a:gd name="T2" fmla="*/ 0 w 139"/>
                <a:gd name="T3" fmla="*/ 69 h 139"/>
                <a:gd name="T4" fmla="*/ 0 w 139"/>
                <a:gd name="T5" fmla="*/ 55 h 139"/>
                <a:gd name="T6" fmla="*/ 5 w 139"/>
                <a:gd name="T7" fmla="*/ 41 h 139"/>
                <a:gd name="T8" fmla="*/ 11 w 139"/>
                <a:gd name="T9" fmla="*/ 31 h 139"/>
                <a:gd name="T10" fmla="*/ 20 w 139"/>
                <a:gd name="T11" fmla="*/ 20 h 139"/>
                <a:gd name="T12" fmla="*/ 30 w 139"/>
                <a:gd name="T13" fmla="*/ 11 h 139"/>
                <a:gd name="T14" fmla="*/ 41 w 139"/>
                <a:gd name="T15" fmla="*/ 5 h 139"/>
                <a:gd name="T16" fmla="*/ 55 w 139"/>
                <a:gd name="T17" fmla="*/ 2 h 139"/>
                <a:gd name="T18" fmla="*/ 69 w 139"/>
                <a:gd name="T19" fmla="*/ 0 h 139"/>
                <a:gd name="T20" fmla="*/ 69 w 139"/>
                <a:gd name="T21" fmla="*/ 0 h 139"/>
                <a:gd name="T22" fmla="*/ 82 w 139"/>
                <a:gd name="T23" fmla="*/ 2 h 139"/>
                <a:gd name="T24" fmla="*/ 96 w 139"/>
                <a:gd name="T25" fmla="*/ 5 h 139"/>
                <a:gd name="T26" fmla="*/ 108 w 139"/>
                <a:gd name="T27" fmla="*/ 11 h 139"/>
                <a:gd name="T28" fmla="*/ 117 w 139"/>
                <a:gd name="T29" fmla="*/ 20 h 139"/>
                <a:gd name="T30" fmla="*/ 127 w 139"/>
                <a:gd name="T31" fmla="*/ 31 h 139"/>
                <a:gd name="T32" fmla="*/ 133 w 139"/>
                <a:gd name="T33" fmla="*/ 41 h 139"/>
                <a:gd name="T34" fmla="*/ 137 w 139"/>
                <a:gd name="T35" fmla="*/ 55 h 139"/>
                <a:gd name="T36" fmla="*/ 139 w 139"/>
                <a:gd name="T37" fmla="*/ 69 h 139"/>
                <a:gd name="T38" fmla="*/ 139 w 139"/>
                <a:gd name="T39" fmla="*/ 69 h 139"/>
                <a:gd name="T40" fmla="*/ 137 w 139"/>
                <a:gd name="T41" fmla="*/ 83 h 139"/>
                <a:gd name="T42" fmla="*/ 133 w 139"/>
                <a:gd name="T43" fmla="*/ 96 h 139"/>
                <a:gd name="T44" fmla="*/ 127 w 139"/>
                <a:gd name="T45" fmla="*/ 108 h 139"/>
                <a:gd name="T46" fmla="*/ 117 w 139"/>
                <a:gd name="T47" fmla="*/ 118 h 139"/>
                <a:gd name="T48" fmla="*/ 108 w 139"/>
                <a:gd name="T49" fmla="*/ 127 h 139"/>
                <a:gd name="T50" fmla="*/ 96 w 139"/>
                <a:gd name="T51" fmla="*/ 133 h 139"/>
                <a:gd name="T52" fmla="*/ 82 w 139"/>
                <a:gd name="T53" fmla="*/ 137 h 139"/>
                <a:gd name="T54" fmla="*/ 69 w 139"/>
                <a:gd name="T55" fmla="*/ 139 h 139"/>
                <a:gd name="T56" fmla="*/ 69 w 139"/>
                <a:gd name="T57" fmla="*/ 139 h 139"/>
                <a:gd name="T58" fmla="*/ 55 w 139"/>
                <a:gd name="T59" fmla="*/ 137 h 139"/>
                <a:gd name="T60" fmla="*/ 41 w 139"/>
                <a:gd name="T61" fmla="*/ 133 h 139"/>
                <a:gd name="T62" fmla="*/ 30 w 139"/>
                <a:gd name="T63" fmla="*/ 127 h 139"/>
                <a:gd name="T64" fmla="*/ 20 w 139"/>
                <a:gd name="T65" fmla="*/ 118 h 139"/>
                <a:gd name="T66" fmla="*/ 11 w 139"/>
                <a:gd name="T67" fmla="*/ 108 h 139"/>
                <a:gd name="T68" fmla="*/ 5 w 139"/>
                <a:gd name="T69" fmla="*/ 96 h 139"/>
                <a:gd name="T70" fmla="*/ 0 w 139"/>
                <a:gd name="T71" fmla="*/ 83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0" y="55"/>
                  </a:lnTo>
                  <a:lnTo>
                    <a:pt x="5" y="41"/>
                  </a:lnTo>
                  <a:lnTo>
                    <a:pt x="11" y="31"/>
                  </a:lnTo>
                  <a:lnTo>
                    <a:pt x="20" y="20"/>
                  </a:lnTo>
                  <a:lnTo>
                    <a:pt x="30" y="11"/>
                  </a:lnTo>
                  <a:lnTo>
                    <a:pt x="41" y="5"/>
                  </a:lnTo>
                  <a:lnTo>
                    <a:pt x="55" y="2"/>
                  </a:lnTo>
                  <a:lnTo>
                    <a:pt x="69" y="0"/>
                  </a:lnTo>
                  <a:lnTo>
                    <a:pt x="69" y="0"/>
                  </a:lnTo>
                  <a:lnTo>
                    <a:pt x="82" y="2"/>
                  </a:lnTo>
                  <a:lnTo>
                    <a:pt x="96" y="5"/>
                  </a:lnTo>
                  <a:lnTo>
                    <a:pt x="108" y="11"/>
                  </a:lnTo>
                  <a:lnTo>
                    <a:pt x="117" y="20"/>
                  </a:lnTo>
                  <a:lnTo>
                    <a:pt x="127" y="31"/>
                  </a:lnTo>
                  <a:lnTo>
                    <a:pt x="133" y="41"/>
                  </a:lnTo>
                  <a:lnTo>
                    <a:pt x="137" y="55"/>
                  </a:lnTo>
                  <a:lnTo>
                    <a:pt x="139" y="69"/>
                  </a:lnTo>
                  <a:lnTo>
                    <a:pt x="139" y="69"/>
                  </a:lnTo>
                  <a:lnTo>
                    <a:pt x="137" y="83"/>
                  </a:lnTo>
                  <a:lnTo>
                    <a:pt x="133" y="96"/>
                  </a:lnTo>
                  <a:lnTo>
                    <a:pt x="127" y="108"/>
                  </a:lnTo>
                  <a:lnTo>
                    <a:pt x="117" y="118"/>
                  </a:lnTo>
                  <a:lnTo>
                    <a:pt x="108" y="127"/>
                  </a:lnTo>
                  <a:lnTo>
                    <a:pt x="96" y="133"/>
                  </a:lnTo>
                  <a:lnTo>
                    <a:pt x="82" y="137"/>
                  </a:lnTo>
                  <a:lnTo>
                    <a:pt x="69" y="139"/>
                  </a:lnTo>
                  <a:lnTo>
                    <a:pt x="69" y="139"/>
                  </a:lnTo>
                  <a:lnTo>
                    <a:pt x="55" y="137"/>
                  </a:lnTo>
                  <a:lnTo>
                    <a:pt x="41" y="133"/>
                  </a:lnTo>
                  <a:lnTo>
                    <a:pt x="30" y="127"/>
                  </a:lnTo>
                  <a:lnTo>
                    <a:pt x="20" y="118"/>
                  </a:lnTo>
                  <a:lnTo>
                    <a:pt x="11" y="108"/>
                  </a:lnTo>
                  <a:lnTo>
                    <a:pt x="5" y="96"/>
                  </a:lnTo>
                  <a:lnTo>
                    <a:pt x="0" y="83"/>
                  </a:lnTo>
                  <a:lnTo>
                    <a:pt x="0" y="69"/>
                  </a:lnTo>
                  <a:lnTo>
                    <a:pt x="0" y="69"/>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8" name="Freeform 51">
              <a:extLst>
                <a:ext uri="{FF2B5EF4-FFF2-40B4-BE49-F238E27FC236}">
                  <a16:creationId xmlns:a16="http://schemas.microsoft.com/office/drawing/2014/main" id="{5DC09F2E-E6FD-4FC3-A9FF-4AA87B67501F}"/>
                </a:ext>
              </a:extLst>
            </p:cNvPr>
            <p:cNvSpPr>
              <a:spLocks/>
            </p:cNvSpPr>
            <p:nvPr/>
          </p:nvSpPr>
          <p:spPr bwMode="auto">
            <a:xfrm rot="16200000" flipV="1">
              <a:off x="5939196" y="4187555"/>
              <a:ext cx="220663" cy="220663"/>
            </a:xfrm>
            <a:custGeom>
              <a:avLst/>
              <a:gdLst>
                <a:gd name="T0" fmla="*/ 139 w 139"/>
                <a:gd name="T1" fmla="*/ 71 h 139"/>
                <a:gd name="T2" fmla="*/ 139 w 139"/>
                <a:gd name="T3" fmla="*/ 71 h 139"/>
                <a:gd name="T4" fmla="*/ 139 w 139"/>
                <a:gd name="T5" fmla="*/ 84 h 139"/>
                <a:gd name="T6" fmla="*/ 134 w 139"/>
                <a:gd name="T7" fmla="*/ 98 h 139"/>
                <a:gd name="T8" fmla="*/ 128 w 139"/>
                <a:gd name="T9" fmla="*/ 109 h 139"/>
                <a:gd name="T10" fmla="*/ 119 w 139"/>
                <a:gd name="T11" fmla="*/ 119 h 139"/>
                <a:gd name="T12" fmla="*/ 108 w 139"/>
                <a:gd name="T13" fmla="*/ 128 h 139"/>
                <a:gd name="T14" fmla="*/ 98 w 139"/>
                <a:gd name="T15" fmla="*/ 135 h 139"/>
                <a:gd name="T16" fmla="*/ 84 w 139"/>
                <a:gd name="T17" fmla="*/ 139 h 139"/>
                <a:gd name="T18" fmla="*/ 70 w 139"/>
                <a:gd name="T19" fmla="*/ 139 h 139"/>
                <a:gd name="T20" fmla="*/ 70 w 139"/>
                <a:gd name="T21" fmla="*/ 139 h 139"/>
                <a:gd name="T22" fmla="*/ 57 w 139"/>
                <a:gd name="T23" fmla="*/ 139 h 139"/>
                <a:gd name="T24" fmla="*/ 43 w 139"/>
                <a:gd name="T25" fmla="*/ 135 h 139"/>
                <a:gd name="T26" fmla="*/ 31 w 139"/>
                <a:gd name="T27" fmla="*/ 128 h 139"/>
                <a:gd name="T28" fmla="*/ 21 w 139"/>
                <a:gd name="T29" fmla="*/ 119 h 139"/>
                <a:gd name="T30" fmla="*/ 12 w 139"/>
                <a:gd name="T31" fmla="*/ 109 h 139"/>
                <a:gd name="T32" fmla="*/ 6 w 139"/>
                <a:gd name="T33" fmla="*/ 98 h 139"/>
                <a:gd name="T34" fmla="*/ 2 w 139"/>
                <a:gd name="T35" fmla="*/ 84 h 139"/>
                <a:gd name="T36" fmla="*/ 0 w 139"/>
                <a:gd name="T37" fmla="*/ 71 h 139"/>
                <a:gd name="T38" fmla="*/ 0 w 139"/>
                <a:gd name="T39" fmla="*/ 71 h 139"/>
                <a:gd name="T40" fmla="*/ 2 w 139"/>
                <a:gd name="T41" fmla="*/ 57 h 139"/>
                <a:gd name="T42" fmla="*/ 6 w 139"/>
                <a:gd name="T43" fmla="*/ 43 h 139"/>
                <a:gd name="T44" fmla="*/ 12 w 139"/>
                <a:gd name="T45" fmla="*/ 31 h 139"/>
                <a:gd name="T46" fmla="*/ 21 w 139"/>
                <a:gd name="T47" fmla="*/ 22 h 139"/>
                <a:gd name="T48" fmla="*/ 31 w 139"/>
                <a:gd name="T49" fmla="*/ 13 h 139"/>
                <a:gd name="T50" fmla="*/ 43 w 139"/>
                <a:gd name="T51" fmla="*/ 7 h 139"/>
                <a:gd name="T52" fmla="*/ 57 w 139"/>
                <a:gd name="T53" fmla="*/ 2 h 139"/>
                <a:gd name="T54" fmla="*/ 70 w 139"/>
                <a:gd name="T55" fmla="*/ 0 h 139"/>
                <a:gd name="T56" fmla="*/ 70 w 139"/>
                <a:gd name="T57" fmla="*/ 0 h 139"/>
                <a:gd name="T58" fmla="*/ 84 w 139"/>
                <a:gd name="T59" fmla="*/ 2 h 139"/>
                <a:gd name="T60" fmla="*/ 98 w 139"/>
                <a:gd name="T61" fmla="*/ 7 h 139"/>
                <a:gd name="T62" fmla="*/ 108 w 139"/>
                <a:gd name="T63" fmla="*/ 13 h 139"/>
                <a:gd name="T64" fmla="*/ 119 w 139"/>
                <a:gd name="T65" fmla="*/ 22 h 139"/>
                <a:gd name="T66" fmla="*/ 128 w 139"/>
                <a:gd name="T67" fmla="*/ 31 h 139"/>
                <a:gd name="T68" fmla="*/ 134 w 139"/>
                <a:gd name="T69" fmla="*/ 43 h 139"/>
                <a:gd name="T70" fmla="*/ 139 w 139"/>
                <a:gd name="T71" fmla="*/ 57 h 139"/>
                <a:gd name="T72" fmla="*/ 139 w 139"/>
                <a:gd name="T73" fmla="*/ 71 h 139"/>
                <a:gd name="T74" fmla="*/ 139 w 139"/>
                <a:gd name="T75" fmla="*/ 7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71"/>
                  </a:moveTo>
                  <a:lnTo>
                    <a:pt x="139" y="71"/>
                  </a:lnTo>
                  <a:lnTo>
                    <a:pt x="139" y="84"/>
                  </a:lnTo>
                  <a:lnTo>
                    <a:pt x="134" y="98"/>
                  </a:lnTo>
                  <a:lnTo>
                    <a:pt x="128" y="109"/>
                  </a:lnTo>
                  <a:lnTo>
                    <a:pt x="119" y="119"/>
                  </a:lnTo>
                  <a:lnTo>
                    <a:pt x="108" y="128"/>
                  </a:lnTo>
                  <a:lnTo>
                    <a:pt x="98" y="135"/>
                  </a:lnTo>
                  <a:lnTo>
                    <a:pt x="84" y="139"/>
                  </a:lnTo>
                  <a:lnTo>
                    <a:pt x="70" y="139"/>
                  </a:lnTo>
                  <a:lnTo>
                    <a:pt x="70" y="139"/>
                  </a:lnTo>
                  <a:lnTo>
                    <a:pt x="57" y="139"/>
                  </a:lnTo>
                  <a:lnTo>
                    <a:pt x="43" y="135"/>
                  </a:lnTo>
                  <a:lnTo>
                    <a:pt x="31" y="128"/>
                  </a:lnTo>
                  <a:lnTo>
                    <a:pt x="21" y="119"/>
                  </a:lnTo>
                  <a:lnTo>
                    <a:pt x="12" y="109"/>
                  </a:lnTo>
                  <a:lnTo>
                    <a:pt x="6" y="98"/>
                  </a:lnTo>
                  <a:lnTo>
                    <a:pt x="2" y="84"/>
                  </a:lnTo>
                  <a:lnTo>
                    <a:pt x="0" y="71"/>
                  </a:lnTo>
                  <a:lnTo>
                    <a:pt x="0" y="71"/>
                  </a:lnTo>
                  <a:lnTo>
                    <a:pt x="2" y="57"/>
                  </a:lnTo>
                  <a:lnTo>
                    <a:pt x="6" y="43"/>
                  </a:lnTo>
                  <a:lnTo>
                    <a:pt x="12" y="31"/>
                  </a:lnTo>
                  <a:lnTo>
                    <a:pt x="21" y="22"/>
                  </a:lnTo>
                  <a:lnTo>
                    <a:pt x="31" y="13"/>
                  </a:lnTo>
                  <a:lnTo>
                    <a:pt x="43" y="7"/>
                  </a:lnTo>
                  <a:lnTo>
                    <a:pt x="57" y="2"/>
                  </a:lnTo>
                  <a:lnTo>
                    <a:pt x="70" y="0"/>
                  </a:lnTo>
                  <a:lnTo>
                    <a:pt x="70" y="0"/>
                  </a:lnTo>
                  <a:lnTo>
                    <a:pt x="84" y="2"/>
                  </a:lnTo>
                  <a:lnTo>
                    <a:pt x="98" y="7"/>
                  </a:lnTo>
                  <a:lnTo>
                    <a:pt x="108" y="13"/>
                  </a:lnTo>
                  <a:lnTo>
                    <a:pt x="119" y="22"/>
                  </a:lnTo>
                  <a:lnTo>
                    <a:pt x="128" y="31"/>
                  </a:lnTo>
                  <a:lnTo>
                    <a:pt x="134" y="43"/>
                  </a:lnTo>
                  <a:lnTo>
                    <a:pt x="139" y="57"/>
                  </a:lnTo>
                  <a:lnTo>
                    <a:pt x="139" y="71"/>
                  </a:lnTo>
                  <a:lnTo>
                    <a:pt x="139" y="71"/>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9" name="Freeform 52">
              <a:extLst>
                <a:ext uri="{FF2B5EF4-FFF2-40B4-BE49-F238E27FC236}">
                  <a16:creationId xmlns:a16="http://schemas.microsoft.com/office/drawing/2014/main" id="{0DABB493-99FE-4C8E-A977-C2B5979E1CC6}"/>
                </a:ext>
              </a:extLst>
            </p:cNvPr>
            <p:cNvSpPr>
              <a:spLocks/>
            </p:cNvSpPr>
            <p:nvPr/>
          </p:nvSpPr>
          <p:spPr bwMode="auto">
            <a:xfrm rot="16200000" flipV="1">
              <a:off x="5939196" y="2990580"/>
              <a:ext cx="220663" cy="220663"/>
            </a:xfrm>
            <a:custGeom>
              <a:avLst/>
              <a:gdLst>
                <a:gd name="T0" fmla="*/ 139 w 139"/>
                <a:gd name="T1" fmla="*/ 71 h 139"/>
                <a:gd name="T2" fmla="*/ 139 w 139"/>
                <a:gd name="T3" fmla="*/ 71 h 139"/>
                <a:gd name="T4" fmla="*/ 137 w 139"/>
                <a:gd name="T5" fmla="*/ 84 h 139"/>
                <a:gd name="T6" fmla="*/ 134 w 139"/>
                <a:gd name="T7" fmla="*/ 98 h 139"/>
                <a:gd name="T8" fmla="*/ 127 w 139"/>
                <a:gd name="T9" fmla="*/ 109 h 139"/>
                <a:gd name="T10" fmla="*/ 119 w 139"/>
                <a:gd name="T11" fmla="*/ 119 h 139"/>
                <a:gd name="T12" fmla="*/ 108 w 139"/>
                <a:gd name="T13" fmla="*/ 128 h 139"/>
                <a:gd name="T14" fmla="*/ 96 w 139"/>
                <a:gd name="T15" fmla="*/ 135 h 139"/>
                <a:gd name="T16" fmla="*/ 84 w 139"/>
                <a:gd name="T17" fmla="*/ 139 h 139"/>
                <a:gd name="T18" fmla="*/ 70 w 139"/>
                <a:gd name="T19" fmla="*/ 139 h 139"/>
                <a:gd name="T20" fmla="*/ 70 w 139"/>
                <a:gd name="T21" fmla="*/ 139 h 139"/>
                <a:gd name="T22" fmla="*/ 55 w 139"/>
                <a:gd name="T23" fmla="*/ 139 h 139"/>
                <a:gd name="T24" fmla="*/ 43 w 139"/>
                <a:gd name="T25" fmla="*/ 135 h 139"/>
                <a:gd name="T26" fmla="*/ 31 w 139"/>
                <a:gd name="T27" fmla="*/ 128 h 139"/>
                <a:gd name="T28" fmla="*/ 20 w 139"/>
                <a:gd name="T29" fmla="*/ 119 h 139"/>
                <a:gd name="T30" fmla="*/ 12 w 139"/>
                <a:gd name="T31" fmla="*/ 109 h 139"/>
                <a:gd name="T32" fmla="*/ 6 w 139"/>
                <a:gd name="T33" fmla="*/ 98 h 139"/>
                <a:gd name="T34" fmla="*/ 2 w 139"/>
                <a:gd name="T35" fmla="*/ 84 h 139"/>
                <a:gd name="T36" fmla="*/ 0 w 139"/>
                <a:gd name="T37" fmla="*/ 71 h 139"/>
                <a:gd name="T38" fmla="*/ 0 w 139"/>
                <a:gd name="T39" fmla="*/ 71 h 139"/>
                <a:gd name="T40" fmla="*/ 2 w 139"/>
                <a:gd name="T41" fmla="*/ 57 h 139"/>
                <a:gd name="T42" fmla="*/ 6 w 139"/>
                <a:gd name="T43" fmla="*/ 43 h 139"/>
                <a:gd name="T44" fmla="*/ 12 w 139"/>
                <a:gd name="T45" fmla="*/ 31 h 139"/>
                <a:gd name="T46" fmla="*/ 20 w 139"/>
                <a:gd name="T47" fmla="*/ 22 h 139"/>
                <a:gd name="T48" fmla="*/ 31 w 139"/>
                <a:gd name="T49" fmla="*/ 13 h 139"/>
                <a:gd name="T50" fmla="*/ 43 w 139"/>
                <a:gd name="T51" fmla="*/ 7 h 139"/>
                <a:gd name="T52" fmla="*/ 55 w 139"/>
                <a:gd name="T53" fmla="*/ 2 h 139"/>
                <a:gd name="T54" fmla="*/ 70 w 139"/>
                <a:gd name="T55" fmla="*/ 0 h 139"/>
                <a:gd name="T56" fmla="*/ 70 w 139"/>
                <a:gd name="T57" fmla="*/ 0 h 139"/>
                <a:gd name="T58" fmla="*/ 84 w 139"/>
                <a:gd name="T59" fmla="*/ 2 h 139"/>
                <a:gd name="T60" fmla="*/ 96 w 139"/>
                <a:gd name="T61" fmla="*/ 7 h 139"/>
                <a:gd name="T62" fmla="*/ 108 w 139"/>
                <a:gd name="T63" fmla="*/ 13 h 139"/>
                <a:gd name="T64" fmla="*/ 119 w 139"/>
                <a:gd name="T65" fmla="*/ 22 h 139"/>
                <a:gd name="T66" fmla="*/ 127 w 139"/>
                <a:gd name="T67" fmla="*/ 31 h 139"/>
                <a:gd name="T68" fmla="*/ 134 w 139"/>
                <a:gd name="T69" fmla="*/ 43 h 139"/>
                <a:gd name="T70" fmla="*/ 137 w 139"/>
                <a:gd name="T71" fmla="*/ 57 h 139"/>
                <a:gd name="T72" fmla="*/ 139 w 139"/>
                <a:gd name="T73" fmla="*/ 71 h 139"/>
                <a:gd name="T74" fmla="*/ 139 w 139"/>
                <a:gd name="T75" fmla="*/ 7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71"/>
                  </a:moveTo>
                  <a:lnTo>
                    <a:pt x="139" y="71"/>
                  </a:lnTo>
                  <a:lnTo>
                    <a:pt x="137" y="84"/>
                  </a:lnTo>
                  <a:lnTo>
                    <a:pt x="134" y="98"/>
                  </a:lnTo>
                  <a:lnTo>
                    <a:pt x="127" y="109"/>
                  </a:lnTo>
                  <a:lnTo>
                    <a:pt x="119" y="119"/>
                  </a:lnTo>
                  <a:lnTo>
                    <a:pt x="108" y="128"/>
                  </a:lnTo>
                  <a:lnTo>
                    <a:pt x="96" y="135"/>
                  </a:lnTo>
                  <a:lnTo>
                    <a:pt x="84" y="139"/>
                  </a:lnTo>
                  <a:lnTo>
                    <a:pt x="70" y="139"/>
                  </a:lnTo>
                  <a:lnTo>
                    <a:pt x="70" y="139"/>
                  </a:lnTo>
                  <a:lnTo>
                    <a:pt x="55" y="139"/>
                  </a:lnTo>
                  <a:lnTo>
                    <a:pt x="43" y="135"/>
                  </a:lnTo>
                  <a:lnTo>
                    <a:pt x="31" y="128"/>
                  </a:lnTo>
                  <a:lnTo>
                    <a:pt x="20" y="119"/>
                  </a:lnTo>
                  <a:lnTo>
                    <a:pt x="12" y="109"/>
                  </a:lnTo>
                  <a:lnTo>
                    <a:pt x="6" y="98"/>
                  </a:lnTo>
                  <a:lnTo>
                    <a:pt x="2" y="84"/>
                  </a:lnTo>
                  <a:lnTo>
                    <a:pt x="0" y="71"/>
                  </a:lnTo>
                  <a:lnTo>
                    <a:pt x="0" y="71"/>
                  </a:lnTo>
                  <a:lnTo>
                    <a:pt x="2" y="57"/>
                  </a:lnTo>
                  <a:lnTo>
                    <a:pt x="6" y="43"/>
                  </a:lnTo>
                  <a:lnTo>
                    <a:pt x="12" y="31"/>
                  </a:lnTo>
                  <a:lnTo>
                    <a:pt x="20" y="22"/>
                  </a:lnTo>
                  <a:lnTo>
                    <a:pt x="31" y="13"/>
                  </a:lnTo>
                  <a:lnTo>
                    <a:pt x="43" y="7"/>
                  </a:lnTo>
                  <a:lnTo>
                    <a:pt x="55" y="2"/>
                  </a:lnTo>
                  <a:lnTo>
                    <a:pt x="70" y="0"/>
                  </a:lnTo>
                  <a:lnTo>
                    <a:pt x="70" y="0"/>
                  </a:lnTo>
                  <a:lnTo>
                    <a:pt x="84" y="2"/>
                  </a:lnTo>
                  <a:lnTo>
                    <a:pt x="96" y="7"/>
                  </a:lnTo>
                  <a:lnTo>
                    <a:pt x="108" y="13"/>
                  </a:lnTo>
                  <a:lnTo>
                    <a:pt x="119" y="22"/>
                  </a:lnTo>
                  <a:lnTo>
                    <a:pt x="127" y="31"/>
                  </a:lnTo>
                  <a:lnTo>
                    <a:pt x="134" y="43"/>
                  </a:lnTo>
                  <a:lnTo>
                    <a:pt x="137" y="57"/>
                  </a:lnTo>
                  <a:lnTo>
                    <a:pt x="139" y="71"/>
                  </a:lnTo>
                  <a:lnTo>
                    <a:pt x="139" y="71"/>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0" name="Freeform 53">
              <a:extLst>
                <a:ext uri="{FF2B5EF4-FFF2-40B4-BE49-F238E27FC236}">
                  <a16:creationId xmlns:a16="http://schemas.microsoft.com/office/drawing/2014/main" id="{0FA46E19-8CED-4AB6-B41D-3D179BABF9B3}"/>
                </a:ext>
              </a:extLst>
            </p:cNvPr>
            <p:cNvSpPr>
              <a:spLocks/>
            </p:cNvSpPr>
            <p:nvPr/>
          </p:nvSpPr>
          <p:spPr bwMode="auto">
            <a:xfrm rot="16200000" flipV="1">
              <a:off x="5642334" y="4093892"/>
              <a:ext cx="219075" cy="219075"/>
            </a:xfrm>
            <a:custGeom>
              <a:avLst/>
              <a:gdLst>
                <a:gd name="T0" fmla="*/ 138 w 138"/>
                <a:gd name="T1" fmla="*/ 68 h 138"/>
                <a:gd name="T2" fmla="*/ 138 w 138"/>
                <a:gd name="T3" fmla="*/ 68 h 138"/>
                <a:gd name="T4" fmla="*/ 137 w 138"/>
                <a:gd name="T5" fmla="*/ 84 h 138"/>
                <a:gd name="T6" fmla="*/ 132 w 138"/>
                <a:gd name="T7" fmla="*/ 96 h 138"/>
                <a:gd name="T8" fmla="*/ 126 w 138"/>
                <a:gd name="T9" fmla="*/ 108 h 138"/>
                <a:gd name="T10" fmla="*/ 117 w 138"/>
                <a:gd name="T11" fmla="*/ 119 h 138"/>
                <a:gd name="T12" fmla="*/ 108 w 138"/>
                <a:gd name="T13" fmla="*/ 126 h 138"/>
                <a:gd name="T14" fmla="*/ 96 w 138"/>
                <a:gd name="T15" fmla="*/ 132 h 138"/>
                <a:gd name="T16" fmla="*/ 82 w 138"/>
                <a:gd name="T17" fmla="*/ 137 h 138"/>
                <a:gd name="T18" fmla="*/ 68 w 138"/>
                <a:gd name="T19" fmla="*/ 138 h 138"/>
                <a:gd name="T20" fmla="*/ 68 w 138"/>
                <a:gd name="T21" fmla="*/ 138 h 138"/>
                <a:gd name="T22" fmla="*/ 55 w 138"/>
                <a:gd name="T23" fmla="*/ 137 h 138"/>
                <a:gd name="T24" fmla="*/ 42 w 138"/>
                <a:gd name="T25" fmla="*/ 132 h 138"/>
                <a:gd name="T26" fmla="*/ 30 w 138"/>
                <a:gd name="T27" fmla="*/ 126 h 138"/>
                <a:gd name="T28" fmla="*/ 19 w 138"/>
                <a:gd name="T29" fmla="*/ 119 h 138"/>
                <a:gd name="T30" fmla="*/ 10 w 138"/>
                <a:gd name="T31" fmla="*/ 108 h 138"/>
                <a:gd name="T32" fmla="*/ 4 w 138"/>
                <a:gd name="T33" fmla="*/ 96 h 138"/>
                <a:gd name="T34" fmla="*/ 1 w 138"/>
                <a:gd name="T35" fmla="*/ 84 h 138"/>
                <a:gd name="T36" fmla="*/ 0 w 138"/>
                <a:gd name="T37" fmla="*/ 68 h 138"/>
                <a:gd name="T38" fmla="*/ 0 w 138"/>
                <a:gd name="T39" fmla="*/ 68 h 138"/>
                <a:gd name="T40" fmla="*/ 1 w 138"/>
                <a:gd name="T41" fmla="*/ 55 h 138"/>
                <a:gd name="T42" fmla="*/ 4 w 138"/>
                <a:gd name="T43" fmla="*/ 42 h 138"/>
                <a:gd name="T44" fmla="*/ 10 w 138"/>
                <a:gd name="T45" fmla="*/ 30 h 138"/>
                <a:gd name="T46" fmla="*/ 19 w 138"/>
                <a:gd name="T47" fmla="*/ 20 h 138"/>
                <a:gd name="T48" fmla="*/ 30 w 138"/>
                <a:gd name="T49" fmla="*/ 12 h 138"/>
                <a:gd name="T50" fmla="*/ 42 w 138"/>
                <a:gd name="T51" fmla="*/ 4 h 138"/>
                <a:gd name="T52" fmla="*/ 55 w 138"/>
                <a:gd name="T53" fmla="*/ 1 h 138"/>
                <a:gd name="T54" fmla="*/ 68 w 138"/>
                <a:gd name="T55" fmla="*/ 0 h 138"/>
                <a:gd name="T56" fmla="*/ 68 w 138"/>
                <a:gd name="T57" fmla="*/ 0 h 138"/>
                <a:gd name="T58" fmla="*/ 82 w 138"/>
                <a:gd name="T59" fmla="*/ 1 h 138"/>
                <a:gd name="T60" fmla="*/ 96 w 138"/>
                <a:gd name="T61" fmla="*/ 4 h 138"/>
                <a:gd name="T62" fmla="*/ 108 w 138"/>
                <a:gd name="T63" fmla="*/ 12 h 138"/>
                <a:gd name="T64" fmla="*/ 117 w 138"/>
                <a:gd name="T65" fmla="*/ 20 h 138"/>
                <a:gd name="T66" fmla="*/ 126 w 138"/>
                <a:gd name="T67" fmla="*/ 30 h 138"/>
                <a:gd name="T68" fmla="*/ 132 w 138"/>
                <a:gd name="T69" fmla="*/ 42 h 138"/>
                <a:gd name="T70" fmla="*/ 137 w 138"/>
                <a:gd name="T71" fmla="*/ 55 h 138"/>
                <a:gd name="T72" fmla="*/ 138 w 138"/>
                <a:gd name="T73" fmla="*/ 68 h 138"/>
                <a:gd name="T74" fmla="*/ 138 w 138"/>
                <a:gd name="T75"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38">
                  <a:moveTo>
                    <a:pt x="138" y="68"/>
                  </a:moveTo>
                  <a:lnTo>
                    <a:pt x="138" y="68"/>
                  </a:lnTo>
                  <a:lnTo>
                    <a:pt x="137" y="84"/>
                  </a:lnTo>
                  <a:lnTo>
                    <a:pt x="132" y="96"/>
                  </a:lnTo>
                  <a:lnTo>
                    <a:pt x="126" y="108"/>
                  </a:lnTo>
                  <a:lnTo>
                    <a:pt x="117" y="119"/>
                  </a:lnTo>
                  <a:lnTo>
                    <a:pt x="108" y="126"/>
                  </a:lnTo>
                  <a:lnTo>
                    <a:pt x="96" y="132"/>
                  </a:lnTo>
                  <a:lnTo>
                    <a:pt x="82" y="137"/>
                  </a:lnTo>
                  <a:lnTo>
                    <a:pt x="68" y="138"/>
                  </a:lnTo>
                  <a:lnTo>
                    <a:pt x="68" y="138"/>
                  </a:lnTo>
                  <a:lnTo>
                    <a:pt x="55" y="137"/>
                  </a:lnTo>
                  <a:lnTo>
                    <a:pt x="42" y="132"/>
                  </a:lnTo>
                  <a:lnTo>
                    <a:pt x="30" y="126"/>
                  </a:lnTo>
                  <a:lnTo>
                    <a:pt x="19" y="119"/>
                  </a:lnTo>
                  <a:lnTo>
                    <a:pt x="10" y="108"/>
                  </a:lnTo>
                  <a:lnTo>
                    <a:pt x="4" y="96"/>
                  </a:lnTo>
                  <a:lnTo>
                    <a:pt x="1" y="84"/>
                  </a:lnTo>
                  <a:lnTo>
                    <a:pt x="0" y="68"/>
                  </a:lnTo>
                  <a:lnTo>
                    <a:pt x="0" y="68"/>
                  </a:lnTo>
                  <a:lnTo>
                    <a:pt x="1" y="55"/>
                  </a:lnTo>
                  <a:lnTo>
                    <a:pt x="4" y="42"/>
                  </a:lnTo>
                  <a:lnTo>
                    <a:pt x="10" y="30"/>
                  </a:lnTo>
                  <a:lnTo>
                    <a:pt x="19" y="20"/>
                  </a:lnTo>
                  <a:lnTo>
                    <a:pt x="30" y="12"/>
                  </a:lnTo>
                  <a:lnTo>
                    <a:pt x="42" y="4"/>
                  </a:lnTo>
                  <a:lnTo>
                    <a:pt x="55" y="1"/>
                  </a:lnTo>
                  <a:lnTo>
                    <a:pt x="68" y="0"/>
                  </a:lnTo>
                  <a:lnTo>
                    <a:pt x="68" y="0"/>
                  </a:lnTo>
                  <a:lnTo>
                    <a:pt x="82" y="1"/>
                  </a:lnTo>
                  <a:lnTo>
                    <a:pt x="96" y="4"/>
                  </a:lnTo>
                  <a:lnTo>
                    <a:pt x="108" y="12"/>
                  </a:lnTo>
                  <a:lnTo>
                    <a:pt x="117" y="20"/>
                  </a:lnTo>
                  <a:lnTo>
                    <a:pt x="126" y="30"/>
                  </a:lnTo>
                  <a:lnTo>
                    <a:pt x="132" y="42"/>
                  </a:lnTo>
                  <a:lnTo>
                    <a:pt x="137" y="55"/>
                  </a:lnTo>
                  <a:lnTo>
                    <a:pt x="138" y="68"/>
                  </a:lnTo>
                  <a:lnTo>
                    <a:pt x="138" y="68"/>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1" name="Freeform 54">
              <a:extLst>
                <a:ext uri="{FF2B5EF4-FFF2-40B4-BE49-F238E27FC236}">
                  <a16:creationId xmlns:a16="http://schemas.microsoft.com/office/drawing/2014/main" id="{A80CF4F4-1E51-4267-A24E-40759FA768F7}"/>
                </a:ext>
              </a:extLst>
            </p:cNvPr>
            <p:cNvSpPr>
              <a:spLocks/>
            </p:cNvSpPr>
            <p:nvPr/>
          </p:nvSpPr>
          <p:spPr bwMode="auto">
            <a:xfrm rot="16200000" flipV="1">
              <a:off x="5641540" y="3088211"/>
              <a:ext cx="220663" cy="219075"/>
            </a:xfrm>
            <a:custGeom>
              <a:avLst/>
              <a:gdLst>
                <a:gd name="T0" fmla="*/ 139 w 139"/>
                <a:gd name="T1" fmla="*/ 68 h 138"/>
                <a:gd name="T2" fmla="*/ 139 w 139"/>
                <a:gd name="T3" fmla="*/ 68 h 138"/>
                <a:gd name="T4" fmla="*/ 137 w 139"/>
                <a:gd name="T5" fmla="*/ 84 h 138"/>
                <a:gd name="T6" fmla="*/ 133 w 139"/>
                <a:gd name="T7" fmla="*/ 96 h 138"/>
                <a:gd name="T8" fmla="*/ 127 w 139"/>
                <a:gd name="T9" fmla="*/ 108 h 138"/>
                <a:gd name="T10" fmla="*/ 119 w 139"/>
                <a:gd name="T11" fmla="*/ 119 h 138"/>
                <a:gd name="T12" fmla="*/ 108 w 139"/>
                <a:gd name="T13" fmla="*/ 126 h 138"/>
                <a:gd name="T14" fmla="*/ 96 w 139"/>
                <a:gd name="T15" fmla="*/ 132 h 138"/>
                <a:gd name="T16" fmla="*/ 84 w 139"/>
                <a:gd name="T17" fmla="*/ 137 h 138"/>
                <a:gd name="T18" fmla="*/ 69 w 139"/>
                <a:gd name="T19" fmla="*/ 138 h 138"/>
                <a:gd name="T20" fmla="*/ 69 w 139"/>
                <a:gd name="T21" fmla="*/ 138 h 138"/>
                <a:gd name="T22" fmla="*/ 55 w 139"/>
                <a:gd name="T23" fmla="*/ 137 h 138"/>
                <a:gd name="T24" fmla="*/ 43 w 139"/>
                <a:gd name="T25" fmla="*/ 132 h 138"/>
                <a:gd name="T26" fmla="*/ 31 w 139"/>
                <a:gd name="T27" fmla="*/ 126 h 138"/>
                <a:gd name="T28" fmla="*/ 20 w 139"/>
                <a:gd name="T29" fmla="*/ 119 h 138"/>
                <a:gd name="T30" fmla="*/ 12 w 139"/>
                <a:gd name="T31" fmla="*/ 108 h 138"/>
                <a:gd name="T32" fmla="*/ 5 w 139"/>
                <a:gd name="T33" fmla="*/ 96 h 138"/>
                <a:gd name="T34" fmla="*/ 2 w 139"/>
                <a:gd name="T35" fmla="*/ 84 h 138"/>
                <a:gd name="T36" fmla="*/ 0 w 139"/>
                <a:gd name="T37" fmla="*/ 68 h 138"/>
                <a:gd name="T38" fmla="*/ 0 w 139"/>
                <a:gd name="T39" fmla="*/ 68 h 138"/>
                <a:gd name="T40" fmla="*/ 2 w 139"/>
                <a:gd name="T41" fmla="*/ 55 h 138"/>
                <a:gd name="T42" fmla="*/ 5 w 139"/>
                <a:gd name="T43" fmla="*/ 42 h 138"/>
                <a:gd name="T44" fmla="*/ 12 w 139"/>
                <a:gd name="T45" fmla="*/ 30 h 138"/>
                <a:gd name="T46" fmla="*/ 20 w 139"/>
                <a:gd name="T47" fmla="*/ 20 h 138"/>
                <a:gd name="T48" fmla="*/ 31 w 139"/>
                <a:gd name="T49" fmla="*/ 12 h 138"/>
                <a:gd name="T50" fmla="*/ 43 w 139"/>
                <a:gd name="T51" fmla="*/ 4 h 138"/>
                <a:gd name="T52" fmla="*/ 55 w 139"/>
                <a:gd name="T53" fmla="*/ 1 h 138"/>
                <a:gd name="T54" fmla="*/ 69 w 139"/>
                <a:gd name="T55" fmla="*/ 0 h 138"/>
                <a:gd name="T56" fmla="*/ 69 w 139"/>
                <a:gd name="T57" fmla="*/ 0 h 138"/>
                <a:gd name="T58" fmla="*/ 84 w 139"/>
                <a:gd name="T59" fmla="*/ 1 h 138"/>
                <a:gd name="T60" fmla="*/ 96 w 139"/>
                <a:gd name="T61" fmla="*/ 4 h 138"/>
                <a:gd name="T62" fmla="*/ 108 w 139"/>
                <a:gd name="T63" fmla="*/ 12 h 138"/>
                <a:gd name="T64" fmla="*/ 119 w 139"/>
                <a:gd name="T65" fmla="*/ 20 h 138"/>
                <a:gd name="T66" fmla="*/ 127 w 139"/>
                <a:gd name="T67" fmla="*/ 30 h 138"/>
                <a:gd name="T68" fmla="*/ 133 w 139"/>
                <a:gd name="T69" fmla="*/ 42 h 138"/>
                <a:gd name="T70" fmla="*/ 137 w 139"/>
                <a:gd name="T71" fmla="*/ 55 h 138"/>
                <a:gd name="T72" fmla="*/ 139 w 139"/>
                <a:gd name="T73" fmla="*/ 68 h 138"/>
                <a:gd name="T74" fmla="*/ 139 w 139"/>
                <a:gd name="T75"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8">
                  <a:moveTo>
                    <a:pt x="139" y="68"/>
                  </a:moveTo>
                  <a:lnTo>
                    <a:pt x="139" y="68"/>
                  </a:lnTo>
                  <a:lnTo>
                    <a:pt x="137" y="84"/>
                  </a:lnTo>
                  <a:lnTo>
                    <a:pt x="133" y="96"/>
                  </a:lnTo>
                  <a:lnTo>
                    <a:pt x="127" y="108"/>
                  </a:lnTo>
                  <a:lnTo>
                    <a:pt x="119" y="119"/>
                  </a:lnTo>
                  <a:lnTo>
                    <a:pt x="108" y="126"/>
                  </a:lnTo>
                  <a:lnTo>
                    <a:pt x="96" y="132"/>
                  </a:lnTo>
                  <a:lnTo>
                    <a:pt x="84" y="137"/>
                  </a:lnTo>
                  <a:lnTo>
                    <a:pt x="69" y="138"/>
                  </a:lnTo>
                  <a:lnTo>
                    <a:pt x="69" y="138"/>
                  </a:lnTo>
                  <a:lnTo>
                    <a:pt x="55" y="137"/>
                  </a:lnTo>
                  <a:lnTo>
                    <a:pt x="43" y="132"/>
                  </a:lnTo>
                  <a:lnTo>
                    <a:pt x="31" y="126"/>
                  </a:lnTo>
                  <a:lnTo>
                    <a:pt x="20" y="119"/>
                  </a:lnTo>
                  <a:lnTo>
                    <a:pt x="12" y="108"/>
                  </a:lnTo>
                  <a:lnTo>
                    <a:pt x="5" y="96"/>
                  </a:lnTo>
                  <a:lnTo>
                    <a:pt x="2" y="84"/>
                  </a:lnTo>
                  <a:lnTo>
                    <a:pt x="0" y="68"/>
                  </a:lnTo>
                  <a:lnTo>
                    <a:pt x="0" y="68"/>
                  </a:lnTo>
                  <a:lnTo>
                    <a:pt x="2" y="55"/>
                  </a:lnTo>
                  <a:lnTo>
                    <a:pt x="5" y="42"/>
                  </a:lnTo>
                  <a:lnTo>
                    <a:pt x="12" y="30"/>
                  </a:lnTo>
                  <a:lnTo>
                    <a:pt x="20" y="20"/>
                  </a:lnTo>
                  <a:lnTo>
                    <a:pt x="31" y="12"/>
                  </a:lnTo>
                  <a:lnTo>
                    <a:pt x="43" y="4"/>
                  </a:lnTo>
                  <a:lnTo>
                    <a:pt x="55" y="1"/>
                  </a:lnTo>
                  <a:lnTo>
                    <a:pt x="69" y="0"/>
                  </a:lnTo>
                  <a:lnTo>
                    <a:pt x="69" y="0"/>
                  </a:lnTo>
                  <a:lnTo>
                    <a:pt x="84" y="1"/>
                  </a:lnTo>
                  <a:lnTo>
                    <a:pt x="96" y="4"/>
                  </a:lnTo>
                  <a:lnTo>
                    <a:pt x="108" y="12"/>
                  </a:lnTo>
                  <a:lnTo>
                    <a:pt x="119" y="20"/>
                  </a:lnTo>
                  <a:lnTo>
                    <a:pt x="127" y="30"/>
                  </a:lnTo>
                  <a:lnTo>
                    <a:pt x="133" y="42"/>
                  </a:lnTo>
                  <a:lnTo>
                    <a:pt x="137" y="55"/>
                  </a:lnTo>
                  <a:lnTo>
                    <a:pt x="139" y="68"/>
                  </a:lnTo>
                  <a:lnTo>
                    <a:pt x="139" y="68"/>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2" name="Freeform 55">
              <a:extLst>
                <a:ext uri="{FF2B5EF4-FFF2-40B4-BE49-F238E27FC236}">
                  <a16:creationId xmlns:a16="http://schemas.microsoft.com/office/drawing/2014/main" id="{1BF6F5A9-0A35-41A0-9DC1-4CDBFD8DB133}"/>
                </a:ext>
              </a:extLst>
            </p:cNvPr>
            <p:cNvSpPr>
              <a:spLocks/>
            </p:cNvSpPr>
            <p:nvPr/>
          </p:nvSpPr>
          <p:spPr bwMode="auto">
            <a:xfrm rot="16200000" flipV="1">
              <a:off x="5363728" y="3908948"/>
              <a:ext cx="219075" cy="220663"/>
            </a:xfrm>
            <a:custGeom>
              <a:avLst/>
              <a:gdLst>
                <a:gd name="T0" fmla="*/ 138 w 138"/>
                <a:gd name="T1" fmla="*/ 69 h 139"/>
                <a:gd name="T2" fmla="*/ 138 w 138"/>
                <a:gd name="T3" fmla="*/ 69 h 139"/>
                <a:gd name="T4" fmla="*/ 137 w 138"/>
                <a:gd name="T5" fmla="*/ 82 h 139"/>
                <a:gd name="T6" fmla="*/ 134 w 138"/>
                <a:gd name="T7" fmla="*/ 96 h 139"/>
                <a:gd name="T8" fmla="*/ 128 w 138"/>
                <a:gd name="T9" fmla="*/ 108 h 139"/>
                <a:gd name="T10" fmla="*/ 119 w 138"/>
                <a:gd name="T11" fmla="*/ 117 h 139"/>
                <a:gd name="T12" fmla="*/ 108 w 138"/>
                <a:gd name="T13" fmla="*/ 126 h 139"/>
                <a:gd name="T14" fmla="*/ 97 w 138"/>
                <a:gd name="T15" fmla="*/ 133 h 139"/>
                <a:gd name="T16" fmla="*/ 84 w 138"/>
                <a:gd name="T17" fmla="*/ 137 h 139"/>
                <a:gd name="T18" fmla="*/ 70 w 138"/>
                <a:gd name="T19" fmla="*/ 139 h 139"/>
                <a:gd name="T20" fmla="*/ 70 w 138"/>
                <a:gd name="T21" fmla="*/ 139 h 139"/>
                <a:gd name="T22" fmla="*/ 56 w 138"/>
                <a:gd name="T23" fmla="*/ 137 h 139"/>
                <a:gd name="T24" fmla="*/ 42 w 138"/>
                <a:gd name="T25" fmla="*/ 133 h 139"/>
                <a:gd name="T26" fmla="*/ 30 w 138"/>
                <a:gd name="T27" fmla="*/ 126 h 139"/>
                <a:gd name="T28" fmla="*/ 21 w 138"/>
                <a:gd name="T29" fmla="*/ 117 h 139"/>
                <a:gd name="T30" fmla="*/ 12 w 138"/>
                <a:gd name="T31" fmla="*/ 108 h 139"/>
                <a:gd name="T32" fmla="*/ 6 w 138"/>
                <a:gd name="T33" fmla="*/ 96 h 139"/>
                <a:gd name="T34" fmla="*/ 1 w 138"/>
                <a:gd name="T35" fmla="*/ 82 h 139"/>
                <a:gd name="T36" fmla="*/ 0 w 138"/>
                <a:gd name="T37" fmla="*/ 69 h 139"/>
                <a:gd name="T38" fmla="*/ 0 w 138"/>
                <a:gd name="T39" fmla="*/ 69 h 139"/>
                <a:gd name="T40" fmla="*/ 1 w 138"/>
                <a:gd name="T41" fmla="*/ 55 h 139"/>
                <a:gd name="T42" fmla="*/ 6 w 138"/>
                <a:gd name="T43" fmla="*/ 41 h 139"/>
                <a:gd name="T44" fmla="*/ 12 w 138"/>
                <a:gd name="T45" fmla="*/ 30 h 139"/>
                <a:gd name="T46" fmla="*/ 21 w 138"/>
                <a:gd name="T47" fmla="*/ 20 h 139"/>
                <a:gd name="T48" fmla="*/ 30 w 138"/>
                <a:gd name="T49" fmla="*/ 11 h 139"/>
                <a:gd name="T50" fmla="*/ 42 w 138"/>
                <a:gd name="T51" fmla="*/ 5 h 139"/>
                <a:gd name="T52" fmla="*/ 56 w 138"/>
                <a:gd name="T53" fmla="*/ 2 h 139"/>
                <a:gd name="T54" fmla="*/ 70 w 138"/>
                <a:gd name="T55" fmla="*/ 0 h 139"/>
                <a:gd name="T56" fmla="*/ 70 w 138"/>
                <a:gd name="T57" fmla="*/ 0 h 139"/>
                <a:gd name="T58" fmla="*/ 84 w 138"/>
                <a:gd name="T59" fmla="*/ 2 h 139"/>
                <a:gd name="T60" fmla="*/ 97 w 138"/>
                <a:gd name="T61" fmla="*/ 5 h 139"/>
                <a:gd name="T62" fmla="*/ 108 w 138"/>
                <a:gd name="T63" fmla="*/ 11 h 139"/>
                <a:gd name="T64" fmla="*/ 119 w 138"/>
                <a:gd name="T65" fmla="*/ 20 h 139"/>
                <a:gd name="T66" fmla="*/ 128 w 138"/>
                <a:gd name="T67" fmla="*/ 30 h 139"/>
                <a:gd name="T68" fmla="*/ 134 w 138"/>
                <a:gd name="T69" fmla="*/ 41 h 139"/>
                <a:gd name="T70" fmla="*/ 137 w 138"/>
                <a:gd name="T71" fmla="*/ 55 h 139"/>
                <a:gd name="T72" fmla="*/ 138 w 138"/>
                <a:gd name="T73" fmla="*/ 69 h 139"/>
                <a:gd name="T74" fmla="*/ 138 w 138"/>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39">
                  <a:moveTo>
                    <a:pt x="138" y="69"/>
                  </a:moveTo>
                  <a:lnTo>
                    <a:pt x="138" y="69"/>
                  </a:lnTo>
                  <a:lnTo>
                    <a:pt x="137" y="82"/>
                  </a:lnTo>
                  <a:lnTo>
                    <a:pt x="134" y="96"/>
                  </a:lnTo>
                  <a:lnTo>
                    <a:pt x="128" y="108"/>
                  </a:lnTo>
                  <a:lnTo>
                    <a:pt x="119" y="117"/>
                  </a:lnTo>
                  <a:lnTo>
                    <a:pt x="108" y="126"/>
                  </a:lnTo>
                  <a:lnTo>
                    <a:pt x="97" y="133"/>
                  </a:lnTo>
                  <a:lnTo>
                    <a:pt x="84" y="137"/>
                  </a:lnTo>
                  <a:lnTo>
                    <a:pt x="70" y="139"/>
                  </a:lnTo>
                  <a:lnTo>
                    <a:pt x="70" y="139"/>
                  </a:lnTo>
                  <a:lnTo>
                    <a:pt x="56" y="137"/>
                  </a:lnTo>
                  <a:lnTo>
                    <a:pt x="42" y="133"/>
                  </a:lnTo>
                  <a:lnTo>
                    <a:pt x="30" y="126"/>
                  </a:lnTo>
                  <a:lnTo>
                    <a:pt x="21" y="117"/>
                  </a:lnTo>
                  <a:lnTo>
                    <a:pt x="12" y="108"/>
                  </a:lnTo>
                  <a:lnTo>
                    <a:pt x="6" y="96"/>
                  </a:lnTo>
                  <a:lnTo>
                    <a:pt x="1" y="82"/>
                  </a:lnTo>
                  <a:lnTo>
                    <a:pt x="0" y="69"/>
                  </a:lnTo>
                  <a:lnTo>
                    <a:pt x="0" y="69"/>
                  </a:lnTo>
                  <a:lnTo>
                    <a:pt x="1" y="55"/>
                  </a:lnTo>
                  <a:lnTo>
                    <a:pt x="6" y="41"/>
                  </a:lnTo>
                  <a:lnTo>
                    <a:pt x="12" y="30"/>
                  </a:lnTo>
                  <a:lnTo>
                    <a:pt x="21" y="20"/>
                  </a:lnTo>
                  <a:lnTo>
                    <a:pt x="30" y="11"/>
                  </a:lnTo>
                  <a:lnTo>
                    <a:pt x="42" y="5"/>
                  </a:lnTo>
                  <a:lnTo>
                    <a:pt x="56" y="2"/>
                  </a:lnTo>
                  <a:lnTo>
                    <a:pt x="70" y="0"/>
                  </a:lnTo>
                  <a:lnTo>
                    <a:pt x="70" y="0"/>
                  </a:lnTo>
                  <a:lnTo>
                    <a:pt x="84" y="2"/>
                  </a:lnTo>
                  <a:lnTo>
                    <a:pt x="97" y="5"/>
                  </a:lnTo>
                  <a:lnTo>
                    <a:pt x="108" y="11"/>
                  </a:lnTo>
                  <a:lnTo>
                    <a:pt x="119" y="20"/>
                  </a:lnTo>
                  <a:lnTo>
                    <a:pt x="128" y="30"/>
                  </a:lnTo>
                  <a:lnTo>
                    <a:pt x="134" y="41"/>
                  </a:lnTo>
                  <a:lnTo>
                    <a:pt x="137" y="55"/>
                  </a:lnTo>
                  <a:lnTo>
                    <a:pt x="138" y="69"/>
                  </a:lnTo>
                  <a:lnTo>
                    <a:pt x="138" y="69"/>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3" name="Freeform 56">
              <a:extLst>
                <a:ext uri="{FF2B5EF4-FFF2-40B4-BE49-F238E27FC236}">
                  <a16:creationId xmlns:a16="http://schemas.microsoft.com/office/drawing/2014/main" id="{DC59C5AC-A756-4A44-A792-9E8543196154}"/>
                </a:ext>
              </a:extLst>
            </p:cNvPr>
            <p:cNvSpPr>
              <a:spLocks/>
            </p:cNvSpPr>
            <p:nvPr/>
          </p:nvSpPr>
          <p:spPr bwMode="auto">
            <a:xfrm rot="16200000" flipV="1">
              <a:off x="5362934" y="3258867"/>
              <a:ext cx="220663" cy="220663"/>
            </a:xfrm>
            <a:custGeom>
              <a:avLst/>
              <a:gdLst>
                <a:gd name="T0" fmla="*/ 139 w 139"/>
                <a:gd name="T1" fmla="*/ 69 h 139"/>
                <a:gd name="T2" fmla="*/ 139 w 139"/>
                <a:gd name="T3" fmla="*/ 69 h 139"/>
                <a:gd name="T4" fmla="*/ 137 w 139"/>
                <a:gd name="T5" fmla="*/ 82 h 139"/>
                <a:gd name="T6" fmla="*/ 134 w 139"/>
                <a:gd name="T7" fmla="*/ 96 h 139"/>
                <a:gd name="T8" fmla="*/ 126 w 139"/>
                <a:gd name="T9" fmla="*/ 108 h 139"/>
                <a:gd name="T10" fmla="*/ 119 w 139"/>
                <a:gd name="T11" fmla="*/ 117 h 139"/>
                <a:gd name="T12" fmla="*/ 108 w 139"/>
                <a:gd name="T13" fmla="*/ 126 h 139"/>
                <a:gd name="T14" fmla="*/ 96 w 139"/>
                <a:gd name="T15" fmla="*/ 133 h 139"/>
                <a:gd name="T16" fmla="*/ 84 w 139"/>
                <a:gd name="T17" fmla="*/ 137 h 139"/>
                <a:gd name="T18" fmla="*/ 70 w 139"/>
                <a:gd name="T19" fmla="*/ 139 h 139"/>
                <a:gd name="T20" fmla="*/ 70 w 139"/>
                <a:gd name="T21" fmla="*/ 139 h 139"/>
                <a:gd name="T22" fmla="*/ 55 w 139"/>
                <a:gd name="T23" fmla="*/ 137 h 139"/>
                <a:gd name="T24" fmla="*/ 42 w 139"/>
                <a:gd name="T25" fmla="*/ 133 h 139"/>
                <a:gd name="T26" fmla="*/ 30 w 139"/>
                <a:gd name="T27" fmla="*/ 126 h 139"/>
                <a:gd name="T28" fmla="*/ 20 w 139"/>
                <a:gd name="T29" fmla="*/ 117 h 139"/>
                <a:gd name="T30" fmla="*/ 12 w 139"/>
                <a:gd name="T31" fmla="*/ 108 h 139"/>
                <a:gd name="T32" fmla="*/ 6 w 139"/>
                <a:gd name="T33" fmla="*/ 96 h 139"/>
                <a:gd name="T34" fmla="*/ 1 w 139"/>
                <a:gd name="T35" fmla="*/ 82 h 139"/>
                <a:gd name="T36" fmla="*/ 0 w 139"/>
                <a:gd name="T37" fmla="*/ 69 h 139"/>
                <a:gd name="T38" fmla="*/ 0 w 139"/>
                <a:gd name="T39" fmla="*/ 69 h 139"/>
                <a:gd name="T40" fmla="*/ 1 w 139"/>
                <a:gd name="T41" fmla="*/ 55 h 139"/>
                <a:gd name="T42" fmla="*/ 6 w 139"/>
                <a:gd name="T43" fmla="*/ 41 h 139"/>
                <a:gd name="T44" fmla="*/ 12 w 139"/>
                <a:gd name="T45" fmla="*/ 30 h 139"/>
                <a:gd name="T46" fmla="*/ 20 w 139"/>
                <a:gd name="T47" fmla="*/ 20 h 139"/>
                <a:gd name="T48" fmla="*/ 30 w 139"/>
                <a:gd name="T49" fmla="*/ 11 h 139"/>
                <a:gd name="T50" fmla="*/ 42 w 139"/>
                <a:gd name="T51" fmla="*/ 5 h 139"/>
                <a:gd name="T52" fmla="*/ 55 w 139"/>
                <a:gd name="T53" fmla="*/ 2 h 139"/>
                <a:gd name="T54" fmla="*/ 70 w 139"/>
                <a:gd name="T55" fmla="*/ 0 h 139"/>
                <a:gd name="T56" fmla="*/ 70 w 139"/>
                <a:gd name="T57" fmla="*/ 0 h 139"/>
                <a:gd name="T58" fmla="*/ 84 w 139"/>
                <a:gd name="T59" fmla="*/ 2 h 139"/>
                <a:gd name="T60" fmla="*/ 96 w 139"/>
                <a:gd name="T61" fmla="*/ 5 h 139"/>
                <a:gd name="T62" fmla="*/ 108 w 139"/>
                <a:gd name="T63" fmla="*/ 11 h 139"/>
                <a:gd name="T64" fmla="*/ 119 w 139"/>
                <a:gd name="T65" fmla="*/ 20 h 139"/>
                <a:gd name="T66" fmla="*/ 126 w 139"/>
                <a:gd name="T67" fmla="*/ 30 h 139"/>
                <a:gd name="T68" fmla="*/ 134 w 139"/>
                <a:gd name="T69" fmla="*/ 41 h 139"/>
                <a:gd name="T70" fmla="*/ 137 w 139"/>
                <a:gd name="T71" fmla="*/ 55 h 139"/>
                <a:gd name="T72" fmla="*/ 139 w 139"/>
                <a:gd name="T73" fmla="*/ 69 h 139"/>
                <a:gd name="T74" fmla="*/ 139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69"/>
                  </a:moveTo>
                  <a:lnTo>
                    <a:pt x="139" y="69"/>
                  </a:lnTo>
                  <a:lnTo>
                    <a:pt x="137" y="82"/>
                  </a:lnTo>
                  <a:lnTo>
                    <a:pt x="134" y="96"/>
                  </a:lnTo>
                  <a:lnTo>
                    <a:pt x="126" y="108"/>
                  </a:lnTo>
                  <a:lnTo>
                    <a:pt x="119" y="117"/>
                  </a:lnTo>
                  <a:lnTo>
                    <a:pt x="108" y="126"/>
                  </a:lnTo>
                  <a:lnTo>
                    <a:pt x="96" y="133"/>
                  </a:lnTo>
                  <a:lnTo>
                    <a:pt x="84" y="137"/>
                  </a:lnTo>
                  <a:lnTo>
                    <a:pt x="70" y="139"/>
                  </a:lnTo>
                  <a:lnTo>
                    <a:pt x="70" y="139"/>
                  </a:lnTo>
                  <a:lnTo>
                    <a:pt x="55" y="137"/>
                  </a:lnTo>
                  <a:lnTo>
                    <a:pt x="42" y="133"/>
                  </a:lnTo>
                  <a:lnTo>
                    <a:pt x="30" y="126"/>
                  </a:lnTo>
                  <a:lnTo>
                    <a:pt x="20" y="117"/>
                  </a:lnTo>
                  <a:lnTo>
                    <a:pt x="12" y="108"/>
                  </a:lnTo>
                  <a:lnTo>
                    <a:pt x="6" y="96"/>
                  </a:lnTo>
                  <a:lnTo>
                    <a:pt x="1" y="82"/>
                  </a:lnTo>
                  <a:lnTo>
                    <a:pt x="0" y="69"/>
                  </a:lnTo>
                  <a:lnTo>
                    <a:pt x="0" y="69"/>
                  </a:lnTo>
                  <a:lnTo>
                    <a:pt x="1" y="55"/>
                  </a:lnTo>
                  <a:lnTo>
                    <a:pt x="6" y="41"/>
                  </a:lnTo>
                  <a:lnTo>
                    <a:pt x="12" y="30"/>
                  </a:lnTo>
                  <a:lnTo>
                    <a:pt x="20" y="20"/>
                  </a:lnTo>
                  <a:lnTo>
                    <a:pt x="30" y="11"/>
                  </a:lnTo>
                  <a:lnTo>
                    <a:pt x="42" y="5"/>
                  </a:lnTo>
                  <a:lnTo>
                    <a:pt x="55" y="2"/>
                  </a:lnTo>
                  <a:lnTo>
                    <a:pt x="70" y="0"/>
                  </a:lnTo>
                  <a:lnTo>
                    <a:pt x="70" y="0"/>
                  </a:lnTo>
                  <a:lnTo>
                    <a:pt x="84" y="2"/>
                  </a:lnTo>
                  <a:lnTo>
                    <a:pt x="96" y="5"/>
                  </a:lnTo>
                  <a:lnTo>
                    <a:pt x="108" y="11"/>
                  </a:lnTo>
                  <a:lnTo>
                    <a:pt x="119" y="20"/>
                  </a:lnTo>
                  <a:lnTo>
                    <a:pt x="126" y="30"/>
                  </a:lnTo>
                  <a:lnTo>
                    <a:pt x="134" y="41"/>
                  </a:lnTo>
                  <a:lnTo>
                    <a:pt x="137" y="55"/>
                  </a:lnTo>
                  <a:lnTo>
                    <a:pt x="139" y="69"/>
                  </a:lnTo>
                  <a:lnTo>
                    <a:pt x="139" y="69"/>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4" name="Freeform 57">
              <a:extLst>
                <a:ext uri="{FF2B5EF4-FFF2-40B4-BE49-F238E27FC236}">
                  <a16:creationId xmlns:a16="http://schemas.microsoft.com/office/drawing/2014/main" id="{5006A1BE-2722-49B4-9906-D464212923F7}"/>
                </a:ext>
              </a:extLst>
            </p:cNvPr>
            <p:cNvSpPr>
              <a:spLocks/>
            </p:cNvSpPr>
            <p:nvPr/>
          </p:nvSpPr>
          <p:spPr bwMode="auto">
            <a:xfrm rot="16200000" flipV="1">
              <a:off x="5145446" y="3584305"/>
              <a:ext cx="220663" cy="220663"/>
            </a:xfrm>
            <a:custGeom>
              <a:avLst/>
              <a:gdLst>
                <a:gd name="T0" fmla="*/ 139 w 139"/>
                <a:gd name="T1" fmla="*/ 69 h 139"/>
                <a:gd name="T2" fmla="*/ 139 w 139"/>
                <a:gd name="T3" fmla="*/ 69 h 139"/>
                <a:gd name="T4" fmla="*/ 138 w 139"/>
                <a:gd name="T5" fmla="*/ 82 h 139"/>
                <a:gd name="T6" fmla="*/ 134 w 139"/>
                <a:gd name="T7" fmla="*/ 96 h 139"/>
                <a:gd name="T8" fmla="*/ 127 w 139"/>
                <a:gd name="T9" fmla="*/ 108 h 139"/>
                <a:gd name="T10" fmla="*/ 119 w 139"/>
                <a:gd name="T11" fmla="*/ 117 h 139"/>
                <a:gd name="T12" fmla="*/ 109 w 139"/>
                <a:gd name="T13" fmla="*/ 127 h 139"/>
                <a:gd name="T14" fmla="*/ 96 w 139"/>
                <a:gd name="T15" fmla="*/ 133 h 139"/>
                <a:gd name="T16" fmla="*/ 84 w 139"/>
                <a:gd name="T17" fmla="*/ 137 h 139"/>
                <a:gd name="T18" fmla="*/ 70 w 139"/>
                <a:gd name="T19" fmla="*/ 139 h 139"/>
                <a:gd name="T20" fmla="*/ 70 w 139"/>
                <a:gd name="T21" fmla="*/ 139 h 139"/>
                <a:gd name="T22" fmla="*/ 57 w 139"/>
                <a:gd name="T23" fmla="*/ 137 h 139"/>
                <a:gd name="T24" fmla="*/ 43 w 139"/>
                <a:gd name="T25" fmla="*/ 133 h 139"/>
                <a:gd name="T26" fmla="*/ 31 w 139"/>
                <a:gd name="T27" fmla="*/ 127 h 139"/>
                <a:gd name="T28" fmla="*/ 21 w 139"/>
                <a:gd name="T29" fmla="*/ 117 h 139"/>
                <a:gd name="T30" fmla="*/ 12 w 139"/>
                <a:gd name="T31" fmla="*/ 108 h 139"/>
                <a:gd name="T32" fmla="*/ 6 w 139"/>
                <a:gd name="T33" fmla="*/ 96 h 139"/>
                <a:gd name="T34" fmla="*/ 2 w 139"/>
                <a:gd name="T35" fmla="*/ 82 h 139"/>
                <a:gd name="T36" fmla="*/ 0 w 139"/>
                <a:gd name="T37" fmla="*/ 69 h 139"/>
                <a:gd name="T38" fmla="*/ 0 w 139"/>
                <a:gd name="T39" fmla="*/ 69 h 139"/>
                <a:gd name="T40" fmla="*/ 2 w 139"/>
                <a:gd name="T41" fmla="*/ 55 h 139"/>
                <a:gd name="T42" fmla="*/ 6 w 139"/>
                <a:gd name="T43" fmla="*/ 41 h 139"/>
                <a:gd name="T44" fmla="*/ 12 w 139"/>
                <a:gd name="T45" fmla="*/ 31 h 139"/>
                <a:gd name="T46" fmla="*/ 21 w 139"/>
                <a:gd name="T47" fmla="*/ 20 h 139"/>
                <a:gd name="T48" fmla="*/ 31 w 139"/>
                <a:gd name="T49" fmla="*/ 11 h 139"/>
                <a:gd name="T50" fmla="*/ 43 w 139"/>
                <a:gd name="T51" fmla="*/ 5 h 139"/>
                <a:gd name="T52" fmla="*/ 57 w 139"/>
                <a:gd name="T53" fmla="*/ 0 h 139"/>
                <a:gd name="T54" fmla="*/ 70 w 139"/>
                <a:gd name="T55" fmla="*/ 0 h 139"/>
                <a:gd name="T56" fmla="*/ 70 w 139"/>
                <a:gd name="T57" fmla="*/ 0 h 139"/>
                <a:gd name="T58" fmla="*/ 84 w 139"/>
                <a:gd name="T59" fmla="*/ 0 h 139"/>
                <a:gd name="T60" fmla="*/ 96 w 139"/>
                <a:gd name="T61" fmla="*/ 5 h 139"/>
                <a:gd name="T62" fmla="*/ 109 w 139"/>
                <a:gd name="T63" fmla="*/ 11 h 139"/>
                <a:gd name="T64" fmla="*/ 119 w 139"/>
                <a:gd name="T65" fmla="*/ 20 h 139"/>
                <a:gd name="T66" fmla="*/ 127 w 139"/>
                <a:gd name="T67" fmla="*/ 31 h 139"/>
                <a:gd name="T68" fmla="*/ 134 w 139"/>
                <a:gd name="T69" fmla="*/ 41 h 139"/>
                <a:gd name="T70" fmla="*/ 138 w 139"/>
                <a:gd name="T71" fmla="*/ 55 h 139"/>
                <a:gd name="T72" fmla="*/ 139 w 139"/>
                <a:gd name="T73" fmla="*/ 69 h 139"/>
                <a:gd name="T74" fmla="*/ 139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69"/>
                  </a:moveTo>
                  <a:lnTo>
                    <a:pt x="139" y="69"/>
                  </a:lnTo>
                  <a:lnTo>
                    <a:pt x="138" y="82"/>
                  </a:lnTo>
                  <a:lnTo>
                    <a:pt x="134" y="96"/>
                  </a:lnTo>
                  <a:lnTo>
                    <a:pt x="127" y="108"/>
                  </a:lnTo>
                  <a:lnTo>
                    <a:pt x="119" y="117"/>
                  </a:lnTo>
                  <a:lnTo>
                    <a:pt x="109" y="127"/>
                  </a:lnTo>
                  <a:lnTo>
                    <a:pt x="96" y="133"/>
                  </a:lnTo>
                  <a:lnTo>
                    <a:pt x="84" y="137"/>
                  </a:lnTo>
                  <a:lnTo>
                    <a:pt x="70" y="139"/>
                  </a:lnTo>
                  <a:lnTo>
                    <a:pt x="70" y="139"/>
                  </a:lnTo>
                  <a:lnTo>
                    <a:pt x="57" y="137"/>
                  </a:lnTo>
                  <a:lnTo>
                    <a:pt x="43" y="133"/>
                  </a:lnTo>
                  <a:lnTo>
                    <a:pt x="31" y="127"/>
                  </a:lnTo>
                  <a:lnTo>
                    <a:pt x="21" y="117"/>
                  </a:lnTo>
                  <a:lnTo>
                    <a:pt x="12" y="108"/>
                  </a:lnTo>
                  <a:lnTo>
                    <a:pt x="6" y="96"/>
                  </a:lnTo>
                  <a:lnTo>
                    <a:pt x="2" y="82"/>
                  </a:lnTo>
                  <a:lnTo>
                    <a:pt x="0" y="69"/>
                  </a:lnTo>
                  <a:lnTo>
                    <a:pt x="0" y="69"/>
                  </a:lnTo>
                  <a:lnTo>
                    <a:pt x="2" y="55"/>
                  </a:lnTo>
                  <a:lnTo>
                    <a:pt x="6" y="41"/>
                  </a:lnTo>
                  <a:lnTo>
                    <a:pt x="12" y="31"/>
                  </a:lnTo>
                  <a:lnTo>
                    <a:pt x="21" y="20"/>
                  </a:lnTo>
                  <a:lnTo>
                    <a:pt x="31" y="11"/>
                  </a:lnTo>
                  <a:lnTo>
                    <a:pt x="43" y="5"/>
                  </a:lnTo>
                  <a:lnTo>
                    <a:pt x="57" y="0"/>
                  </a:lnTo>
                  <a:lnTo>
                    <a:pt x="70" y="0"/>
                  </a:lnTo>
                  <a:lnTo>
                    <a:pt x="70" y="0"/>
                  </a:lnTo>
                  <a:lnTo>
                    <a:pt x="84" y="0"/>
                  </a:lnTo>
                  <a:lnTo>
                    <a:pt x="96" y="5"/>
                  </a:lnTo>
                  <a:lnTo>
                    <a:pt x="109" y="11"/>
                  </a:lnTo>
                  <a:lnTo>
                    <a:pt x="119" y="20"/>
                  </a:lnTo>
                  <a:lnTo>
                    <a:pt x="127" y="31"/>
                  </a:lnTo>
                  <a:lnTo>
                    <a:pt x="134" y="41"/>
                  </a:lnTo>
                  <a:lnTo>
                    <a:pt x="138" y="55"/>
                  </a:lnTo>
                  <a:lnTo>
                    <a:pt x="139" y="69"/>
                  </a:lnTo>
                  <a:lnTo>
                    <a:pt x="139" y="69"/>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5" name="Freeform 61">
              <a:extLst>
                <a:ext uri="{FF2B5EF4-FFF2-40B4-BE49-F238E27FC236}">
                  <a16:creationId xmlns:a16="http://schemas.microsoft.com/office/drawing/2014/main" id="{8618BBCA-81A2-4C90-8A1F-C8F2691564B9}"/>
                </a:ext>
              </a:extLst>
            </p:cNvPr>
            <p:cNvSpPr>
              <a:spLocks/>
            </p:cNvSpPr>
            <p:nvPr/>
          </p:nvSpPr>
          <p:spPr bwMode="auto">
            <a:xfrm rot="16200000" flipV="1">
              <a:off x="4073884" y="2990580"/>
              <a:ext cx="220663" cy="220663"/>
            </a:xfrm>
            <a:custGeom>
              <a:avLst/>
              <a:gdLst>
                <a:gd name="T0" fmla="*/ 0 w 139"/>
                <a:gd name="T1" fmla="*/ 70 h 139"/>
                <a:gd name="T2" fmla="*/ 0 w 139"/>
                <a:gd name="T3" fmla="*/ 70 h 139"/>
                <a:gd name="T4" fmla="*/ 2 w 139"/>
                <a:gd name="T5" fmla="*/ 56 h 139"/>
                <a:gd name="T6" fmla="*/ 6 w 139"/>
                <a:gd name="T7" fmla="*/ 43 h 139"/>
                <a:gd name="T8" fmla="*/ 12 w 139"/>
                <a:gd name="T9" fmla="*/ 30 h 139"/>
                <a:gd name="T10" fmla="*/ 20 w 139"/>
                <a:gd name="T11" fmla="*/ 21 h 139"/>
                <a:gd name="T12" fmla="*/ 31 w 139"/>
                <a:gd name="T13" fmla="*/ 12 h 139"/>
                <a:gd name="T14" fmla="*/ 43 w 139"/>
                <a:gd name="T15" fmla="*/ 6 h 139"/>
                <a:gd name="T16" fmla="*/ 55 w 139"/>
                <a:gd name="T17" fmla="*/ 1 h 139"/>
                <a:gd name="T18" fmla="*/ 70 w 139"/>
                <a:gd name="T19" fmla="*/ 0 h 139"/>
                <a:gd name="T20" fmla="*/ 70 w 139"/>
                <a:gd name="T21" fmla="*/ 0 h 139"/>
                <a:gd name="T22" fmla="*/ 84 w 139"/>
                <a:gd name="T23" fmla="*/ 1 h 139"/>
                <a:gd name="T24" fmla="*/ 96 w 139"/>
                <a:gd name="T25" fmla="*/ 6 h 139"/>
                <a:gd name="T26" fmla="*/ 108 w 139"/>
                <a:gd name="T27" fmla="*/ 12 h 139"/>
                <a:gd name="T28" fmla="*/ 119 w 139"/>
                <a:gd name="T29" fmla="*/ 21 h 139"/>
                <a:gd name="T30" fmla="*/ 127 w 139"/>
                <a:gd name="T31" fmla="*/ 30 h 139"/>
                <a:gd name="T32" fmla="*/ 134 w 139"/>
                <a:gd name="T33" fmla="*/ 43 h 139"/>
                <a:gd name="T34" fmla="*/ 137 w 139"/>
                <a:gd name="T35" fmla="*/ 56 h 139"/>
                <a:gd name="T36" fmla="*/ 139 w 139"/>
                <a:gd name="T37" fmla="*/ 70 h 139"/>
                <a:gd name="T38" fmla="*/ 139 w 139"/>
                <a:gd name="T39" fmla="*/ 70 h 139"/>
                <a:gd name="T40" fmla="*/ 137 w 139"/>
                <a:gd name="T41" fmla="*/ 84 h 139"/>
                <a:gd name="T42" fmla="*/ 134 w 139"/>
                <a:gd name="T43" fmla="*/ 97 h 139"/>
                <a:gd name="T44" fmla="*/ 127 w 139"/>
                <a:gd name="T45" fmla="*/ 108 h 139"/>
                <a:gd name="T46" fmla="*/ 119 w 139"/>
                <a:gd name="T47" fmla="*/ 119 h 139"/>
                <a:gd name="T48" fmla="*/ 108 w 139"/>
                <a:gd name="T49" fmla="*/ 128 h 139"/>
                <a:gd name="T50" fmla="*/ 96 w 139"/>
                <a:gd name="T51" fmla="*/ 134 h 139"/>
                <a:gd name="T52" fmla="*/ 84 w 139"/>
                <a:gd name="T53" fmla="*/ 137 h 139"/>
                <a:gd name="T54" fmla="*/ 70 w 139"/>
                <a:gd name="T55" fmla="*/ 139 h 139"/>
                <a:gd name="T56" fmla="*/ 70 w 139"/>
                <a:gd name="T57" fmla="*/ 139 h 139"/>
                <a:gd name="T58" fmla="*/ 55 w 139"/>
                <a:gd name="T59" fmla="*/ 137 h 139"/>
                <a:gd name="T60" fmla="*/ 43 w 139"/>
                <a:gd name="T61" fmla="*/ 134 h 139"/>
                <a:gd name="T62" fmla="*/ 31 w 139"/>
                <a:gd name="T63" fmla="*/ 128 h 139"/>
                <a:gd name="T64" fmla="*/ 20 w 139"/>
                <a:gd name="T65" fmla="*/ 119 h 139"/>
                <a:gd name="T66" fmla="*/ 12 w 139"/>
                <a:gd name="T67" fmla="*/ 108 h 139"/>
                <a:gd name="T68" fmla="*/ 6 w 139"/>
                <a:gd name="T69" fmla="*/ 97 h 139"/>
                <a:gd name="T70" fmla="*/ 2 w 139"/>
                <a:gd name="T71" fmla="*/ 84 h 139"/>
                <a:gd name="T72" fmla="*/ 0 w 139"/>
                <a:gd name="T73" fmla="*/ 70 h 139"/>
                <a:gd name="T74" fmla="*/ 0 w 139"/>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70"/>
                  </a:moveTo>
                  <a:lnTo>
                    <a:pt x="0" y="70"/>
                  </a:lnTo>
                  <a:lnTo>
                    <a:pt x="2" y="56"/>
                  </a:lnTo>
                  <a:lnTo>
                    <a:pt x="6" y="43"/>
                  </a:lnTo>
                  <a:lnTo>
                    <a:pt x="12" y="30"/>
                  </a:lnTo>
                  <a:lnTo>
                    <a:pt x="20" y="21"/>
                  </a:lnTo>
                  <a:lnTo>
                    <a:pt x="31" y="12"/>
                  </a:lnTo>
                  <a:lnTo>
                    <a:pt x="43" y="6"/>
                  </a:lnTo>
                  <a:lnTo>
                    <a:pt x="55" y="1"/>
                  </a:lnTo>
                  <a:lnTo>
                    <a:pt x="70" y="0"/>
                  </a:lnTo>
                  <a:lnTo>
                    <a:pt x="70" y="0"/>
                  </a:lnTo>
                  <a:lnTo>
                    <a:pt x="84" y="1"/>
                  </a:lnTo>
                  <a:lnTo>
                    <a:pt x="96" y="6"/>
                  </a:lnTo>
                  <a:lnTo>
                    <a:pt x="108" y="12"/>
                  </a:lnTo>
                  <a:lnTo>
                    <a:pt x="119" y="21"/>
                  </a:lnTo>
                  <a:lnTo>
                    <a:pt x="127" y="30"/>
                  </a:lnTo>
                  <a:lnTo>
                    <a:pt x="134" y="43"/>
                  </a:lnTo>
                  <a:lnTo>
                    <a:pt x="137" y="56"/>
                  </a:lnTo>
                  <a:lnTo>
                    <a:pt x="139" y="70"/>
                  </a:lnTo>
                  <a:lnTo>
                    <a:pt x="139" y="70"/>
                  </a:lnTo>
                  <a:lnTo>
                    <a:pt x="137" y="84"/>
                  </a:lnTo>
                  <a:lnTo>
                    <a:pt x="134" y="97"/>
                  </a:lnTo>
                  <a:lnTo>
                    <a:pt x="127" y="108"/>
                  </a:lnTo>
                  <a:lnTo>
                    <a:pt x="119" y="119"/>
                  </a:lnTo>
                  <a:lnTo>
                    <a:pt x="108" y="128"/>
                  </a:lnTo>
                  <a:lnTo>
                    <a:pt x="96" y="134"/>
                  </a:lnTo>
                  <a:lnTo>
                    <a:pt x="84" y="137"/>
                  </a:lnTo>
                  <a:lnTo>
                    <a:pt x="70" y="139"/>
                  </a:lnTo>
                  <a:lnTo>
                    <a:pt x="70" y="139"/>
                  </a:lnTo>
                  <a:lnTo>
                    <a:pt x="55" y="137"/>
                  </a:lnTo>
                  <a:lnTo>
                    <a:pt x="43" y="134"/>
                  </a:lnTo>
                  <a:lnTo>
                    <a:pt x="31" y="128"/>
                  </a:lnTo>
                  <a:lnTo>
                    <a:pt x="20" y="119"/>
                  </a:lnTo>
                  <a:lnTo>
                    <a:pt x="12" y="108"/>
                  </a:lnTo>
                  <a:lnTo>
                    <a:pt x="6" y="97"/>
                  </a:lnTo>
                  <a:lnTo>
                    <a:pt x="2" y="84"/>
                  </a:lnTo>
                  <a:lnTo>
                    <a:pt x="0" y="70"/>
                  </a:lnTo>
                  <a:lnTo>
                    <a:pt x="0"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6" name="Freeform 62">
              <a:extLst>
                <a:ext uri="{FF2B5EF4-FFF2-40B4-BE49-F238E27FC236}">
                  <a16:creationId xmlns:a16="http://schemas.microsoft.com/office/drawing/2014/main" id="{F2FB51C7-1E27-4A20-B42D-441C2D36743D}"/>
                </a:ext>
              </a:extLst>
            </p:cNvPr>
            <p:cNvSpPr>
              <a:spLocks/>
            </p:cNvSpPr>
            <p:nvPr/>
          </p:nvSpPr>
          <p:spPr bwMode="auto">
            <a:xfrm rot="16200000" flipV="1">
              <a:off x="4073090" y="4191523"/>
              <a:ext cx="222250" cy="220663"/>
            </a:xfrm>
            <a:custGeom>
              <a:avLst/>
              <a:gdLst>
                <a:gd name="T0" fmla="*/ 0 w 140"/>
                <a:gd name="T1" fmla="*/ 70 h 139"/>
                <a:gd name="T2" fmla="*/ 0 w 140"/>
                <a:gd name="T3" fmla="*/ 70 h 139"/>
                <a:gd name="T4" fmla="*/ 2 w 140"/>
                <a:gd name="T5" fmla="*/ 56 h 139"/>
                <a:gd name="T6" fmla="*/ 6 w 140"/>
                <a:gd name="T7" fmla="*/ 43 h 139"/>
                <a:gd name="T8" fmla="*/ 12 w 140"/>
                <a:gd name="T9" fmla="*/ 30 h 139"/>
                <a:gd name="T10" fmla="*/ 21 w 140"/>
                <a:gd name="T11" fmla="*/ 21 h 139"/>
                <a:gd name="T12" fmla="*/ 32 w 140"/>
                <a:gd name="T13" fmla="*/ 12 h 139"/>
                <a:gd name="T14" fmla="*/ 43 w 140"/>
                <a:gd name="T15" fmla="*/ 6 h 139"/>
                <a:gd name="T16" fmla="*/ 56 w 140"/>
                <a:gd name="T17" fmla="*/ 1 h 139"/>
                <a:gd name="T18" fmla="*/ 70 w 140"/>
                <a:gd name="T19" fmla="*/ 0 h 139"/>
                <a:gd name="T20" fmla="*/ 70 w 140"/>
                <a:gd name="T21" fmla="*/ 0 h 139"/>
                <a:gd name="T22" fmla="*/ 84 w 140"/>
                <a:gd name="T23" fmla="*/ 1 h 139"/>
                <a:gd name="T24" fmla="*/ 98 w 140"/>
                <a:gd name="T25" fmla="*/ 6 h 139"/>
                <a:gd name="T26" fmla="*/ 108 w 140"/>
                <a:gd name="T27" fmla="*/ 12 h 139"/>
                <a:gd name="T28" fmla="*/ 119 w 140"/>
                <a:gd name="T29" fmla="*/ 21 h 139"/>
                <a:gd name="T30" fmla="*/ 128 w 140"/>
                <a:gd name="T31" fmla="*/ 30 h 139"/>
                <a:gd name="T32" fmla="*/ 134 w 140"/>
                <a:gd name="T33" fmla="*/ 43 h 139"/>
                <a:gd name="T34" fmla="*/ 139 w 140"/>
                <a:gd name="T35" fmla="*/ 56 h 139"/>
                <a:gd name="T36" fmla="*/ 140 w 140"/>
                <a:gd name="T37" fmla="*/ 70 h 139"/>
                <a:gd name="T38" fmla="*/ 140 w 140"/>
                <a:gd name="T39" fmla="*/ 70 h 139"/>
                <a:gd name="T40" fmla="*/ 139 w 140"/>
                <a:gd name="T41" fmla="*/ 84 h 139"/>
                <a:gd name="T42" fmla="*/ 134 w 140"/>
                <a:gd name="T43" fmla="*/ 97 h 139"/>
                <a:gd name="T44" fmla="*/ 128 w 140"/>
                <a:gd name="T45" fmla="*/ 108 h 139"/>
                <a:gd name="T46" fmla="*/ 119 w 140"/>
                <a:gd name="T47" fmla="*/ 119 h 139"/>
                <a:gd name="T48" fmla="*/ 108 w 140"/>
                <a:gd name="T49" fmla="*/ 128 h 139"/>
                <a:gd name="T50" fmla="*/ 98 w 140"/>
                <a:gd name="T51" fmla="*/ 134 h 139"/>
                <a:gd name="T52" fmla="*/ 84 w 140"/>
                <a:gd name="T53" fmla="*/ 137 h 139"/>
                <a:gd name="T54" fmla="*/ 70 w 140"/>
                <a:gd name="T55" fmla="*/ 139 h 139"/>
                <a:gd name="T56" fmla="*/ 70 w 140"/>
                <a:gd name="T57" fmla="*/ 139 h 139"/>
                <a:gd name="T58" fmla="*/ 56 w 140"/>
                <a:gd name="T59" fmla="*/ 137 h 139"/>
                <a:gd name="T60" fmla="*/ 43 w 140"/>
                <a:gd name="T61" fmla="*/ 134 h 139"/>
                <a:gd name="T62" fmla="*/ 32 w 140"/>
                <a:gd name="T63" fmla="*/ 128 h 139"/>
                <a:gd name="T64" fmla="*/ 21 w 140"/>
                <a:gd name="T65" fmla="*/ 119 h 139"/>
                <a:gd name="T66" fmla="*/ 12 w 140"/>
                <a:gd name="T67" fmla="*/ 108 h 139"/>
                <a:gd name="T68" fmla="*/ 6 w 140"/>
                <a:gd name="T69" fmla="*/ 97 h 139"/>
                <a:gd name="T70" fmla="*/ 2 w 140"/>
                <a:gd name="T71" fmla="*/ 84 h 139"/>
                <a:gd name="T72" fmla="*/ 0 w 140"/>
                <a:gd name="T73" fmla="*/ 70 h 139"/>
                <a:gd name="T74" fmla="*/ 0 w 140"/>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39">
                  <a:moveTo>
                    <a:pt x="0" y="70"/>
                  </a:moveTo>
                  <a:lnTo>
                    <a:pt x="0" y="70"/>
                  </a:lnTo>
                  <a:lnTo>
                    <a:pt x="2" y="56"/>
                  </a:lnTo>
                  <a:lnTo>
                    <a:pt x="6" y="43"/>
                  </a:lnTo>
                  <a:lnTo>
                    <a:pt x="12" y="30"/>
                  </a:lnTo>
                  <a:lnTo>
                    <a:pt x="21" y="21"/>
                  </a:lnTo>
                  <a:lnTo>
                    <a:pt x="32" y="12"/>
                  </a:lnTo>
                  <a:lnTo>
                    <a:pt x="43" y="6"/>
                  </a:lnTo>
                  <a:lnTo>
                    <a:pt x="56" y="1"/>
                  </a:lnTo>
                  <a:lnTo>
                    <a:pt x="70" y="0"/>
                  </a:lnTo>
                  <a:lnTo>
                    <a:pt x="70" y="0"/>
                  </a:lnTo>
                  <a:lnTo>
                    <a:pt x="84" y="1"/>
                  </a:lnTo>
                  <a:lnTo>
                    <a:pt x="98" y="6"/>
                  </a:lnTo>
                  <a:lnTo>
                    <a:pt x="108" y="12"/>
                  </a:lnTo>
                  <a:lnTo>
                    <a:pt x="119" y="21"/>
                  </a:lnTo>
                  <a:lnTo>
                    <a:pt x="128" y="30"/>
                  </a:lnTo>
                  <a:lnTo>
                    <a:pt x="134" y="43"/>
                  </a:lnTo>
                  <a:lnTo>
                    <a:pt x="139" y="56"/>
                  </a:lnTo>
                  <a:lnTo>
                    <a:pt x="140" y="70"/>
                  </a:lnTo>
                  <a:lnTo>
                    <a:pt x="140" y="70"/>
                  </a:lnTo>
                  <a:lnTo>
                    <a:pt x="139" y="84"/>
                  </a:lnTo>
                  <a:lnTo>
                    <a:pt x="134" y="97"/>
                  </a:lnTo>
                  <a:lnTo>
                    <a:pt x="128" y="108"/>
                  </a:lnTo>
                  <a:lnTo>
                    <a:pt x="119" y="119"/>
                  </a:lnTo>
                  <a:lnTo>
                    <a:pt x="108" y="128"/>
                  </a:lnTo>
                  <a:lnTo>
                    <a:pt x="98" y="134"/>
                  </a:lnTo>
                  <a:lnTo>
                    <a:pt x="84" y="137"/>
                  </a:lnTo>
                  <a:lnTo>
                    <a:pt x="70" y="139"/>
                  </a:lnTo>
                  <a:lnTo>
                    <a:pt x="70" y="139"/>
                  </a:lnTo>
                  <a:lnTo>
                    <a:pt x="56" y="137"/>
                  </a:lnTo>
                  <a:lnTo>
                    <a:pt x="43" y="134"/>
                  </a:lnTo>
                  <a:lnTo>
                    <a:pt x="32" y="128"/>
                  </a:lnTo>
                  <a:lnTo>
                    <a:pt x="21" y="119"/>
                  </a:lnTo>
                  <a:lnTo>
                    <a:pt x="12" y="108"/>
                  </a:lnTo>
                  <a:lnTo>
                    <a:pt x="6" y="97"/>
                  </a:lnTo>
                  <a:lnTo>
                    <a:pt x="2" y="84"/>
                  </a:lnTo>
                  <a:lnTo>
                    <a:pt x="0" y="70"/>
                  </a:lnTo>
                  <a:lnTo>
                    <a:pt x="0"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7" name="Freeform 63">
              <a:extLst>
                <a:ext uri="{FF2B5EF4-FFF2-40B4-BE49-F238E27FC236}">
                  <a16:creationId xmlns:a16="http://schemas.microsoft.com/office/drawing/2014/main" id="{0292D34F-5AEA-41BA-8C04-96219C9B5ECF}"/>
                </a:ext>
              </a:extLst>
            </p:cNvPr>
            <p:cNvSpPr>
              <a:spLocks/>
            </p:cNvSpPr>
            <p:nvPr/>
          </p:nvSpPr>
          <p:spPr bwMode="auto">
            <a:xfrm rot="16200000" flipV="1">
              <a:off x="4350109" y="2995342"/>
              <a:ext cx="220663" cy="220663"/>
            </a:xfrm>
            <a:custGeom>
              <a:avLst/>
              <a:gdLst>
                <a:gd name="T0" fmla="*/ 0 w 139"/>
                <a:gd name="T1" fmla="*/ 69 h 139"/>
                <a:gd name="T2" fmla="*/ 0 w 139"/>
                <a:gd name="T3" fmla="*/ 69 h 139"/>
                <a:gd name="T4" fmla="*/ 2 w 139"/>
                <a:gd name="T5" fmla="*/ 55 h 139"/>
                <a:gd name="T6" fmla="*/ 6 w 139"/>
                <a:gd name="T7" fmla="*/ 41 h 139"/>
                <a:gd name="T8" fmla="*/ 12 w 139"/>
                <a:gd name="T9" fmla="*/ 31 h 139"/>
                <a:gd name="T10" fmla="*/ 21 w 139"/>
                <a:gd name="T11" fmla="*/ 20 h 139"/>
                <a:gd name="T12" fmla="*/ 31 w 139"/>
                <a:gd name="T13" fmla="*/ 11 h 139"/>
                <a:gd name="T14" fmla="*/ 43 w 139"/>
                <a:gd name="T15" fmla="*/ 5 h 139"/>
                <a:gd name="T16" fmla="*/ 57 w 139"/>
                <a:gd name="T17" fmla="*/ 2 h 139"/>
                <a:gd name="T18" fmla="*/ 70 w 139"/>
                <a:gd name="T19" fmla="*/ 0 h 139"/>
                <a:gd name="T20" fmla="*/ 70 w 139"/>
                <a:gd name="T21" fmla="*/ 0 h 139"/>
                <a:gd name="T22" fmla="*/ 84 w 139"/>
                <a:gd name="T23" fmla="*/ 2 h 139"/>
                <a:gd name="T24" fmla="*/ 96 w 139"/>
                <a:gd name="T25" fmla="*/ 5 h 139"/>
                <a:gd name="T26" fmla="*/ 108 w 139"/>
                <a:gd name="T27" fmla="*/ 11 h 139"/>
                <a:gd name="T28" fmla="*/ 119 w 139"/>
                <a:gd name="T29" fmla="*/ 20 h 139"/>
                <a:gd name="T30" fmla="*/ 128 w 139"/>
                <a:gd name="T31" fmla="*/ 31 h 139"/>
                <a:gd name="T32" fmla="*/ 134 w 139"/>
                <a:gd name="T33" fmla="*/ 41 h 139"/>
                <a:gd name="T34" fmla="*/ 137 w 139"/>
                <a:gd name="T35" fmla="*/ 55 h 139"/>
                <a:gd name="T36" fmla="*/ 139 w 139"/>
                <a:gd name="T37" fmla="*/ 69 h 139"/>
                <a:gd name="T38" fmla="*/ 139 w 139"/>
                <a:gd name="T39" fmla="*/ 69 h 139"/>
                <a:gd name="T40" fmla="*/ 137 w 139"/>
                <a:gd name="T41" fmla="*/ 83 h 139"/>
                <a:gd name="T42" fmla="*/ 134 w 139"/>
                <a:gd name="T43" fmla="*/ 96 h 139"/>
                <a:gd name="T44" fmla="*/ 128 w 139"/>
                <a:gd name="T45" fmla="*/ 108 h 139"/>
                <a:gd name="T46" fmla="*/ 119 w 139"/>
                <a:gd name="T47" fmla="*/ 118 h 139"/>
                <a:gd name="T48" fmla="*/ 108 w 139"/>
                <a:gd name="T49" fmla="*/ 127 h 139"/>
                <a:gd name="T50" fmla="*/ 96 w 139"/>
                <a:gd name="T51" fmla="*/ 133 h 139"/>
                <a:gd name="T52" fmla="*/ 84 w 139"/>
                <a:gd name="T53" fmla="*/ 137 h 139"/>
                <a:gd name="T54" fmla="*/ 70 w 139"/>
                <a:gd name="T55" fmla="*/ 139 h 139"/>
                <a:gd name="T56" fmla="*/ 70 w 139"/>
                <a:gd name="T57" fmla="*/ 139 h 139"/>
                <a:gd name="T58" fmla="*/ 57 w 139"/>
                <a:gd name="T59" fmla="*/ 137 h 139"/>
                <a:gd name="T60" fmla="*/ 43 w 139"/>
                <a:gd name="T61" fmla="*/ 133 h 139"/>
                <a:gd name="T62" fmla="*/ 31 w 139"/>
                <a:gd name="T63" fmla="*/ 127 h 139"/>
                <a:gd name="T64" fmla="*/ 21 w 139"/>
                <a:gd name="T65" fmla="*/ 118 h 139"/>
                <a:gd name="T66" fmla="*/ 12 w 139"/>
                <a:gd name="T67" fmla="*/ 108 h 139"/>
                <a:gd name="T68" fmla="*/ 6 w 139"/>
                <a:gd name="T69" fmla="*/ 96 h 139"/>
                <a:gd name="T70" fmla="*/ 2 w 139"/>
                <a:gd name="T71" fmla="*/ 83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6" y="41"/>
                  </a:lnTo>
                  <a:lnTo>
                    <a:pt x="12" y="31"/>
                  </a:lnTo>
                  <a:lnTo>
                    <a:pt x="21" y="20"/>
                  </a:lnTo>
                  <a:lnTo>
                    <a:pt x="31" y="11"/>
                  </a:lnTo>
                  <a:lnTo>
                    <a:pt x="43" y="5"/>
                  </a:lnTo>
                  <a:lnTo>
                    <a:pt x="57" y="2"/>
                  </a:lnTo>
                  <a:lnTo>
                    <a:pt x="70" y="0"/>
                  </a:lnTo>
                  <a:lnTo>
                    <a:pt x="70" y="0"/>
                  </a:lnTo>
                  <a:lnTo>
                    <a:pt x="84" y="2"/>
                  </a:lnTo>
                  <a:lnTo>
                    <a:pt x="96" y="5"/>
                  </a:lnTo>
                  <a:lnTo>
                    <a:pt x="108" y="11"/>
                  </a:lnTo>
                  <a:lnTo>
                    <a:pt x="119" y="20"/>
                  </a:lnTo>
                  <a:lnTo>
                    <a:pt x="128" y="31"/>
                  </a:lnTo>
                  <a:lnTo>
                    <a:pt x="134" y="41"/>
                  </a:lnTo>
                  <a:lnTo>
                    <a:pt x="137" y="55"/>
                  </a:lnTo>
                  <a:lnTo>
                    <a:pt x="139" y="69"/>
                  </a:lnTo>
                  <a:lnTo>
                    <a:pt x="139" y="69"/>
                  </a:lnTo>
                  <a:lnTo>
                    <a:pt x="137" y="83"/>
                  </a:lnTo>
                  <a:lnTo>
                    <a:pt x="134" y="96"/>
                  </a:lnTo>
                  <a:lnTo>
                    <a:pt x="128" y="108"/>
                  </a:lnTo>
                  <a:lnTo>
                    <a:pt x="119" y="118"/>
                  </a:lnTo>
                  <a:lnTo>
                    <a:pt x="108" y="127"/>
                  </a:lnTo>
                  <a:lnTo>
                    <a:pt x="96" y="133"/>
                  </a:lnTo>
                  <a:lnTo>
                    <a:pt x="84" y="137"/>
                  </a:lnTo>
                  <a:lnTo>
                    <a:pt x="70" y="139"/>
                  </a:lnTo>
                  <a:lnTo>
                    <a:pt x="70" y="139"/>
                  </a:lnTo>
                  <a:lnTo>
                    <a:pt x="57" y="137"/>
                  </a:lnTo>
                  <a:lnTo>
                    <a:pt x="43" y="133"/>
                  </a:lnTo>
                  <a:lnTo>
                    <a:pt x="31" y="127"/>
                  </a:lnTo>
                  <a:lnTo>
                    <a:pt x="21" y="118"/>
                  </a:lnTo>
                  <a:lnTo>
                    <a:pt x="12" y="108"/>
                  </a:lnTo>
                  <a:lnTo>
                    <a:pt x="6" y="96"/>
                  </a:lnTo>
                  <a:lnTo>
                    <a:pt x="2" y="83"/>
                  </a:lnTo>
                  <a:lnTo>
                    <a:pt x="0" y="69"/>
                  </a:lnTo>
                  <a:lnTo>
                    <a:pt x="0" y="69"/>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8" name="Freeform 64">
              <a:extLst>
                <a:ext uri="{FF2B5EF4-FFF2-40B4-BE49-F238E27FC236}">
                  <a16:creationId xmlns:a16="http://schemas.microsoft.com/office/drawing/2014/main" id="{D77617CE-206B-48F7-BD55-701C6A78CFEB}"/>
                </a:ext>
              </a:extLst>
            </p:cNvPr>
            <p:cNvSpPr>
              <a:spLocks/>
            </p:cNvSpPr>
            <p:nvPr/>
          </p:nvSpPr>
          <p:spPr bwMode="auto">
            <a:xfrm rot="16200000" flipV="1">
              <a:off x="4349315" y="4191523"/>
              <a:ext cx="222250" cy="220663"/>
            </a:xfrm>
            <a:custGeom>
              <a:avLst/>
              <a:gdLst>
                <a:gd name="T0" fmla="*/ 0 w 140"/>
                <a:gd name="T1" fmla="*/ 69 h 139"/>
                <a:gd name="T2" fmla="*/ 0 w 140"/>
                <a:gd name="T3" fmla="*/ 69 h 139"/>
                <a:gd name="T4" fmla="*/ 2 w 140"/>
                <a:gd name="T5" fmla="*/ 55 h 139"/>
                <a:gd name="T6" fmla="*/ 6 w 140"/>
                <a:gd name="T7" fmla="*/ 41 h 139"/>
                <a:gd name="T8" fmla="*/ 12 w 140"/>
                <a:gd name="T9" fmla="*/ 31 h 139"/>
                <a:gd name="T10" fmla="*/ 21 w 140"/>
                <a:gd name="T11" fmla="*/ 20 h 139"/>
                <a:gd name="T12" fmla="*/ 32 w 140"/>
                <a:gd name="T13" fmla="*/ 11 h 139"/>
                <a:gd name="T14" fmla="*/ 43 w 140"/>
                <a:gd name="T15" fmla="*/ 5 h 139"/>
                <a:gd name="T16" fmla="*/ 56 w 140"/>
                <a:gd name="T17" fmla="*/ 2 h 139"/>
                <a:gd name="T18" fmla="*/ 70 w 140"/>
                <a:gd name="T19" fmla="*/ 0 h 139"/>
                <a:gd name="T20" fmla="*/ 70 w 140"/>
                <a:gd name="T21" fmla="*/ 0 h 139"/>
                <a:gd name="T22" fmla="*/ 84 w 140"/>
                <a:gd name="T23" fmla="*/ 2 h 139"/>
                <a:gd name="T24" fmla="*/ 98 w 140"/>
                <a:gd name="T25" fmla="*/ 5 h 139"/>
                <a:gd name="T26" fmla="*/ 108 w 140"/>
                <a:gd name="T27" fmla="*/ 11 h 139"/>
                <a:gd name="T28" fmla="*/ 119 w 140"/>
                <a:gd name="T29" fmla="*/ 20 h 139"/>
                <a:gd name="T30" fmla="*/ 128 w 140"/>
                <a:gd name="T31" fmla="*/ 31 h 139"/>
                <a:gd name="T32" fmla="*/ 134 w 140"/>
                <a:gd name="T33" fmla="*/ 41 h 139"/>
                <a:gd name="T34" fmla="*/ 139 w 140"/>
                <a:gd name="T35" fmla="*/ 55 h 139"/>
                <a:gd name="T36" fmla="*/ 140 w 140"/>
                <a:gd name="T37" fmla="*/ 69 h 139"/>
                <a:gd name="T38" fmla="*/ 140 w 140"/>
                <a:gd name="T39" fmla="*/ 69 h 139"/>
                <a:gd name="T40" fmla="*/ 139 w 140"/>
                <a:gd name="T41" fmla="*/ 83 h 139"/>
                <a:gd name="T42" fmla="*/ 134 w 140"/>
                <a:gd name="T43" fmla="*/ 96 h 139"/>
                <a:gd name="T44" fmla="*/ 128 w 140"/>
                <a:gd name="T45" fmla="*/ 108 h 139"/>
                <a:gd name="T46" fmla="*/ 119 w 140"/>
                <a:gd name="T47" fmla="*/ 118 h 139"/>
                <a:gd name="T48" fmla="*/ 108 w 140"/>
                <a:gd name="T49" fmla="*/ 127 h 139"/>
                <a:gd name="T50" fmla="*/ 98 w 140"/>
                <a:gd name="T51" fmla="*/ 133 h 139"/>
                <a:gd name="T52" fmla="*/ 84 w 140"/>
                <a:gd name="T53" fmla="*/ 137 h 139"/>
                <a:gd name="T54" fmla="*/ 70 w 140"/>
                <a:gd name="T55" fmla="*/ 139 h 139"/>
                <a:gd name="T56" fmla="*/ 70 w 140"/>
                <a:gd name="T57" fmla="*/ 139 h 139"/>
                <a:gd name="T58" fmla="*/ 56 w 140"/>
                <a:gd name="T59" fmla="*/ 137 h 139"/>
                <a:gd name="T60" fmla="*/ 43 w 140"/>
                <a:gd name="T61" fmla="*/ 133 h 139"/>
                <a:gd name="T62" fmla="*/ 32 w 140"/>
                <a:gd name="T63" fmla="*/ 127 h 139"/>
                <a:gd name="T64" fmla="*/ 21 w 140"/>
                <a:gd name="T65" fmla="*/ 118 h 139"/>
                <a:gd name="T66" fmla="*/ 12 w 140"/>
                <a:gd name="T67" fmla="*/ 108 h 139"/>
                <a:gd name="T68" fmla="*/ 6 w 140"/>
                <a:gd name="T69" fmla="*/ 96 h 139"/>
                <a:gd name="T70" fmla="*/ 2 w 140"/>
                <a:gd name="T71" fmla="*/ 83 h 139"/>
                <a:gd name="T72" fmla="*/ 0 w 140"/>
                <a:gd name="T73" fmla="*/ 69 h 139"/>
                <a:gd name="T74" fmla="*/ 0 w 140"/>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39">
                  <a:moveTo>
                    <a:pt x="0" y="69"/>
                  </a:moveTo>
                  <a:lnTo>
                    <a:pt x="0" y="69"/>
                  </a:lnTo>
                  <a:lnTo>
                    <a:pt x="2" y="55"/>
                  </a:lnTo>
                  <a:lnTo>
                    <a:pt x="6" y="41"/>
                  </a:lnTo>
                  <a:lnTo>
                    <a:pt x="12" y="31"/>
                  </a:lnTo>
                  <a:lnTo>
                    <a:pt x="21" y="20"/>
                  </a:lnTo>
                  <a:lnTo>
                    <a:pt x="32" y="11"/>
                  </a:lnTo>
                  <a:lnTo>
                    <a:pt x="43" y="5"/>
                  </a:lnTo>
                  <a:lnTo>
                    <a:pt x="56" y="2"/>
                  </a:lnTo>
                  <a:lnTo>
                    <a:pt x="70" y="0"/>
                  </a:lnTo>
                  <a:lnTo>
                    <a:pt x="70" y="0"/>
                  </a:lnTo>
                  <a:lnTo>
                    <a:pt x="84" y="2"/>
                  </a:lnTo>
                  <a:lnTo>
                    <a:pt x="98" y="5"/>
                  </a:lnTo>
                  <a:lnTo>
                    <a:pt x="108" y="11"/>
                  </a:lnTo>
                  <a:lnTo>
                    <a:pt x="119" y="20"/>
                  </a:lnTo>
                  <a:lnTo>
                    <a:pt x="128" y="31"/>
                  </a:lnTo>
                  <a:lnTo>
                    <a:pt x="134" y="41"/>
                  </a:lnTo>
                  <a:lnTo>
                    <a:pt x="139" y="55"/>
                  </a:lnTo>
                  <a:lnTo>
                    <a:pt x="140" y="69"/>
                  </a:lnTo>
                  <a:lnTo>
                    <a:pt x="140" y="69"/>
                  </a:lnTo>
                  <a:lnTo>
                    <a:pt x="139" y="83"/>
                  </a:lnTo>
                  <a:lnTo>
                    <a:pt x="134" y="96"/>
                  </a:lnTo>
                  <a:lnTo>
                    <a:pt x="128" y="108"/>
                  </a:lnTo>
                  <a:lnTo>
                    <a:pt x="119" y="118"/>
                  </a:lnTo>
                  <a:lnTo>
                    <a:pt x="108" y="127"/>
                  </a:lnTo>
                  <a:lnTo>
                    <a:pt x="98" y="133"/>
                  </a:lnTo>
                  <a:lnTo>
                    <a:pt x="84" y="137"/>
                  </a:lnTo>
                  <a:lnTo>
                    <a:pt x="70" y="139"/>
                  </a:lnTo>
                  <a:lnTo>
                    <a:pt x="70" y="139"/>
                  </a:lnTo>
                  <a:lnTo>
                    <a:pt x="56" y="137"/>
                  </a:lnTo>
                  <a:lnTo>
                    <a:pt x="43" y="133"/>
                  </a:lnTo>
                  <a:lnTo>
                    <a:pt x="32" y="127"/>
                  </a:lnTo>
                  <a:lnTo>
                    <a:pt x="21" y="118"/>
                  </a:lnTo>
                  <a:lnTo>
                    <a:pt x="12" y="108"/>
                  </a:lnTo>
                  <a:lnTo>
                    <a:pt x="6" y="96"/>
                  </a:lnTo>
                  <a:lnTo>
                    <a:pt x="2" y="83"/>
                  </a:lnTo>
                  <a:lnTo>
                    <a:pt x="0" y="69"/>
                  </a:lnTo>
                  <a:lnTo>
                    <a:pt x="0" y="69"/>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9" name="Freeform 65">
              <a:extLst>
                <a:ext uri="{FF2B5EF4-FFF2-40B4-BE49-F238E27FC236}">
                  <a16:creationId xmlns:a16="http://schemas.microsoft.com/office/drawing/2014/main" id="{011525DF-5F96-4DD2-B6AA-B8EE9023C4A7}"/>
                </a:ext>
              </a:extLst>
            </p:cNvPr>
            <p:cNvSpPr>
              <a:spLocks/>
            </p:cNvSpPr>
            <p:nvPr/>
          </p:nvSpPr>
          <p:spPr bwMode="auto">
            <a:xfrm rot="16200000" flipV="1">
              <a:off x="4646971" y="3087417"/>
              <a:ext cx="220663" cy="220663"/>
            </a:xfrm>
            <a:custGeom>
              <a:avLst/>
              <a:gdLst>
                <a:gd name="T0" fmla="*/ 0 w 139"/>
                <a:gd name="T1" fmla="*/ 70 h 139"/>
                <a:gd name="T2" fmla="*/ 0 w 139"/>
                <a:gd name="T3" fmla="*/ 70 h 139"/>
                <a:gd name="T4" fmla="*/ 2 w 139"/>
                <a:gd name="T5" fmla="*/ 55 h 139"/>
                <a:gd name="T6" fmla="*/ 5 w 139"/>
                <a:gd name="T7" fmla="*/ 43 h 139"/>
                <a:gd name="T8" fmla="*/ 12 w 139"/>
                <a:gd name="T9" fmla="*/ 30 h 139"/>
                <a:gd name="T10" fmla="*/ 20 w 139"/>
                <a:gd name="T11" fmla="*/ 20 h 139"/>
                <a:gd name="T12" fmla="*/ 31 w 139"/>
                <a:gd name="T13" fmla="*/ 12 h 139"/>
                <a:gd name="T14" fmla="*/ 43 w 139"/>
                <a:gd name="T15" fmla="*/ 6 h 139"/>
                <a:gd name="T16" fmla="*/ 55 w 139"/>
                <a:gd name="T17" fmla="*/ 1 h 139"/>
                <a:gd name="T18" fmla="*/ 69 w 139"/>
                <a:gd name="T19" fmla="*/ 0 h 139"/>
                <a:gd name="T20" fmla="*/ 69 w 139"/>
                <a:gd name="T21" fmla="*/ 0 h 139"/>
                <a:gd name="T22" fmla="*/ 84 w 139"/>
                <a:gd name="T23" fmla="*/ 1 h 139"/>
                <a:gd name="T24" fmla="*/ 96 w 139"/>
                <a:gd name="T25" fmla="*/ 6 h 139"/>
                <a:gd name="T26" fmla="*/ 108 w 139"/>
                <a:gd name="T27" fmla="*/ 12 h 139"/>
                <a:gd name="T28" fmla="*/ 119 w 139"/>
                <a:gd name="T29" fmla="*/ 20 h 139"/>
                <a:gd name="T30" fmla="*/ 127 w 139"/>
                <a:gd name="T31" fmla="*/ 30 h 139"/>
                <a:gd name="T32" fmla="*/ 133 w 139"/>
                <a:gd name="T33" fmla="*/ 43 h 139"/>
                <a:gd name="T34" fmla="*/ 137 w 139"/>
                <a:gd name="T35" fmla="*/ 55 h 139"/>
                <a:gd name="T36" fmla="*/ 139 w 139"/>
                <a:gd name="T37" fmla="*/ 70 h 139"/>
                <a:gd name="T38" fmla="*/ 139 w 139"/>
                <a:gd name="T39" fmla="*/ 70 h 139"/>
                <a:gd name="T40" fmla="*/ 137 w 139"/>
                <a:gd name="T41" fmla="*/ 84 h 139"/>
                <a:gd name="T42" fmla="*/ 133 w 139"/>
                <a:gd name="T43" fmla="*/ 96 h 139"/>
                <a:gd name="T44" fmla="*/ 127 w 139"/>
                <a:gd name="T45" fmla="*/ 108 h 139"/>
                <a:gd name="T46" fmla="*/ 119 w 139"/>
                <a:gd name="T47" fmla="*/ 119 h 139"/>
                <a:gd name="T48" fmla="*/ 108 w 139"/>
                <a:gd name="T49" fmla="*/ 126 h 139"/>
                <a:gd name="T50" fmla="*/ 96 w 139"/>
                <a:gd name="T51" fmla="*/ 134 h 139"/>
                <a:gd name="T52" fmla="*/ 84 w 139"/>
                <a:gd name="T53" fmla="*/ 137 h 139"/>
                <a:gd name="T54" fmla="*/ 69 w 139"/>
                <a:gd name="T55" fmla="*/ 139 h 139"/>
                <a:gd name="T56" fmla="*/ 69 w 139"/>
                <a:gd name="T57" fmla="*/ 139 h 139"/>
                <a:gd name="T58" fmla="*/ 55 w 139"/>
                <a:gd name="T59" fmla="*/ 137 h 139"/>
                <a:gd name="T60" fmla="*/ 43 w 139"/>
                <a:gd name="T61" fmla="*/ 134 h 139"/>
                <a:gd name="T62" fmla="*/ 31 w 139"/>
                <a:gd name="T63" fmla="*/ 126 h 139"/>
                <a:gd name="T64" fmla="*/ 20 w 139"/>
                <a:gd name="T65" fmla="*/ 119 h 139"/>
                <a:gd name="T66" fmla="*/ 12 w 139"/>
                <a:gd name="T67" fmla="*/ 108 h 139"/>
                <a:gd name="T68" fmla="*/ 5 w 139"/>
                <a:gd name="T69" fmla="*/ 96 h 139"/>
                <a:gd name="T70" fmla="*/ 2 w 139"/>
                <a:gd name="T71" fmla="*/ 84 h 139"/>
                <a:gd name="T72" fmla="*/ 0 w 139"/>
                <a:gd name="T73" fmla="*/ 70 h 139"/>
                <a:gd name="T74" fmla="*/ 0 w 139"/>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70"/>
                  </a:moveTo>
                  <a:lnTo>
                    <a:pt x="0" y="70"/>
                  </a:lnTo>
                  <a:lnTo>
                    <a:pt x="2" y="55"/>
                  </a:lnTo>
                  <a:lnTo>
                    <a:pt x="5" y="43"/>
                  </a:lnTo>
                  <a:lnTo>
                    <a:pt x="12" y="30"/>
                  </a:lnTo>
                  <a:lnTo>
                    <a:pt x="20" y="20"/>
                  </a:lnTo>
                  <a:lnTo>
                    <a:pt x="31" y="12"/>
                  </a:lnTo>
                  <a:lnTo>
                    <a:pt x="43" y="6"/>
                  </a:lnTo>
                  <a:lnTo>
                    <a:pt x="55" y="1"/>
                  </a:lnTo>
                  <a:lnTo>
                    <a:pt x="69" y="0"/>
                  </a:lnTo>
                  <a:lnTo>
                    <a:pt x="69" y="0"/>
                  </a:lnTo>
                  <a:lnTo>
                    <a:pt x="84" y="1"/>
                  </a:lnTo>
                  <a:lnTo>
                    <a:pt x="96" y="6"/>
                  </a:lnTo>
                  <a:lnTo>
                    <a:pt x="108" y="12"/>
                  </a:lnTo>
                  <a:lnTo>
                    <a:pt x="119" y="20"/>
                  </a:lnTo>
                  <a:lnTo>
                    <a:pt x="127" y="30"/>
                  </a:lnTo>
                  <a:lnTo>
                    <a:pt x="133" y="43"/>
                  </a:lnTo>
                  <a:lnTo>
                    <a:pt x="137" y="55"/>
                  </a:lnTo>
                  <a:lnTo>
                    <a:pt x="139" y="70"/>
                  </a:lnTo>
                  <a:lnTo>
                    <a:pt x="139" y="70"/>
                  </a:lnTo>
                  <a:lnTo>
                    <a:pt x="137" y="84"/>
                  </a:lnTo>
                  <a:lnTo>
                    <a:pt x="133" y="96"/>
                  </a:lnTo>
                  <a:lnTo>
                    <a:pt x="127" y="108"/>
                  </a:lnTo>
                  <a:lnTo>
                    <a:pt x="119" y="119"/>
                  </a:lnTo>
                  <a:lnTo>
                    <a:pt x="108" y="126"/>
                  </a:lnTo>
                  <a:lnTo>
                    <a:pt x="96" y="134"/>
                  </a:lnTo>
                  <a:lnTo>
                    <a:pt x="84" y="137"/>
                  </a:lnTo>
                  <a:lnTo>
                    <a:pt x="69" y="139"/>
                  </a:lnTo>
                  <a:lnTo>
                    <a:pt x="69" y="139"/>
                  </a:lnTo>
                  <a:lnTo>
                    <a:pt x="55" y="137"/>
                  </a:lnTo>
                  <a:lnTo>
                    <a:pt x="43" y="134"/>
                  </a:lnTo>
                  <a:lnTo>
                    <a:pt x="31" y="126"/>
                  </a:lnTo>
                  <a:lnTo>
                    <a:pt x="20" y="119"/>
                  </a:lnTo>
                  <a:lnTo>
                    <a:pt x="12" y="108"/>
                  </a:lnTo>
                  <a:lnTo>
                    <a:pt x="5" y="96"/>
                  </a:lnTo>
                  <a:lnTo>
                    <a:pt x="2" y="84"/>
                  </a:lnTo>
                  <a:lnTo>
                    <a:pt x="0" y="70"/>
                  </a:lnTo>
                  <a:lnTo>
                    <a:pt x="0"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0" name="Freeform 66">
              <a:extLst>
                <a:ext uri="{FF2B5EF4-FFF2-40B4-BE49-F238E27FC236}">
                  <a16:creationId xmlns:a16="http://schemas.microsoft.com/office/drawing/2014/main" id="{6092DDD0-84C6-4234-BA06-26B1037195E0}"/>
                </a:ext>
              </a:extLst>
            </p:cNvPr>
            <p:cNvSpPr>
              <a:spLocks/>
            </p:cNvSpPr>
            <p:nvPr/>
          </p:nvSpPr>
          <p:spPr bwMode="auto">
            <a:xfrm rot="16200000" flipV="1">
              <a:off x="4647765" y="4093098"/>
              <a:ext cx="219075" cy="220663"/>
            </a:xfrm>
            <a:custGeom>
              <a:avLst/>
              <a:gdLst>
                <a:gd name="T0" fmla="*/ 0 w 138"/>
                <a:gd name="T1" fmla="*/ 70 h 139"/>
                <a:gd name="T2" fmla="*/ 0 w 138"/>
                <a:gd name="T3" fmla="*/ 70 h 139"/>
                <a:gd name="T4" fmla="*/ 1 w 138"/>
                <a:gd name="T5" fmla="*/ 55 h 139"/>
                <a:gd name="T6" fmla="*/ 4 w 138"/>
                <a:gd name="T7" fmla="*/ 43 h 139"/>
                <a:gd name="T8" fmla="*/ 10 w 138"/>
                <a:gd name="T9" fmla="*/ 30 h 139"/>
                <a:gd name="T10" fmla="*/ 19 w 138"/>
                <a:gd name="T11" fmla="*/ 20 h 139"/>
                <a:gd name="T12" fmla="*/ 30 w 138"/>
                <a:gd name="T13" fmla="*/ 12 h 139"/>
                <a:gd name="T14" fmla="*/ 42 w 138"/>
                <a:gd name="T15" fmla="*/ 6 h 139"/>
                <a:gd name="T16" fmla="*/ 55 w 138"/>
                <a:gd name="T17" fmla="*/ 1 h 139"/>
                <a:gd name="T18" fmla="*/ 68 w 138"/>
                <a:gd name="T19" fmla="*/ 0 h 139"/>
                <a:gd name="T20" fmla="*/ 68 w 138"/>
                <a:gd name="T21" fmla="*/ 0 h 139"/>
                <a:gd name="T22" fmla="*/ 82 w 138"/>
                <a:gd name="T23" fmla="*/ 1 h 139"/>
                <a:gd name="T24" fmla="*/ 96 w 138"/>
                <a:gd name="T25" fmla="*/ 6 h 139"/>
                <a:gd name="T26" fmla="*/ 108 w 138"/>
                <a:gd name="T27" fmla="*/ 12 h 139"/>
                <a:gd name="T28" fmla="*/ 117 w 138"/>
                <a:gd name="T29" fmla="*/ 20 h 139"/>
                <a:gd name="T30" fmla="*/ 126 w 138"/>
                <a:gd name="T31" fmla="*/ 30 h 139"/>
                <a:gd name="T32" fmla="*/ 132 w 138"/>
                <a:gd name="T33" fmla="*/ 43 h 139"/>
                <a:gd name="T34" fmla="*/ 137 w 138"/>
                <a:gd name="T35" fmla="*/ 55 h 139"/>
                <a:gd name="T36" fmla="*/ 138 w 138"/>
                <a:gd name="T37" fmla="*/ 70 h 139"/>
                <a:gd name="T38" fmla="*/ 138 w 138"/>
                <a:gd name="T39" fmla="*/ 70 h 139"/>
                <a:gd name="T40" fmla="*/ 137 w 138"/>
                <a:gd name="T41" fmla="*/ 84 h 139"/>
                <a:gd name="T42" fmla="*/ 132 w 138"/>
                <a:gd name="T43" fmla="*/ 96 h 139"/>
                <a:gd name="T44" fmla="*/ 126 w 138"/>
                <a:gd name="T45" fmla="*/ 108 h 139"/>
                <a:gd name="T46" fmla="*/ 117 w 138"/>
                <a:gd name="T47" fmla="*/ 119 h 139"/>
                <a:gd name="T48" fmla="*/ 108 w 138"/>
                <a:gd name="T49" fmla="*/ 126 h 139"/>
                <a:gd name="T50" fmla="*/ 96 w 138"/>
                <a:gd name="T51" fmla="*/ 134 h 139"/>
                <a:gd name="T52" fmla="*/ 82 w 138"/>
                <a:gd name="T53" fmla="*/ 137 h 139"/>
                <a:gd name="T54" fmla="*/ 68 w 138"/>
                <a:gd name="T55" fmla="*/ 139 h 139"/>
                <a:gd name="T56" fmla="*/ 68 w 138"/>
                <a:gd name="T57" fmla="*/ 139 h 139"/>
                <a:gd name="T58" fmla="*/ 55 w 138"/>
                <a:gd name="T59" fmla="*/ 137 h 139"/>
                <a:gd name="T60" fmla="*/ 42 w 138"/>
                <a:gd name="T61" fmla="*/ 134 h 139"/>
                <a:gd name="T62" fmla="*/ 30 w 138"/>
                <a:gd name="T63" fmla="*/ 126 h 139"/>
                <a:gd name="T64" fmla="*/ 19 w 138"/>
                <a:gd name="T65" fmla="*/ 119 h 139"/>
                <a:gd name="T66" fmla="*/ 10 w 138"/>
                <a:gd name="T67" fmla="*/ 108 h 139"/>
                <a:gd name="T68" fmla="*/ 4 w 138"/>
                <a:gd name="T69" fmla="*/ 96 h 139"/>
                <a:gd name="T70" fmla="*/ 1 w 138"/>
                <a:gd name="T71" fmla="*/ 84 h 139"/>
                <a:gd name="T72" fmla="*/ 0 w 138"/>
                <a:gd name="T73" fmla="*/ 70 h 139"/>
                <a:gd name="T74" fmla="*/ 0 w 138"/>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39">
                  <a:moveTo>
                    <a:pt x="0" y="70"/>
                  </a:moveTo>
                  <a:lnTo>
                    <a:pt x="0" y="70"/>
                  </a:lnTo>
                  <a:lnTo>
                    <a:pt x="1" y="55"/>
                  </a:lnTo>
                  <a:lnTo>
                    <a:pt x="4" y="43"/>
                  </a:lnTo>
                  <a:lnTo>
                    <a:pt x="10" y="30"/>
                  </a:lnTo>
                  <a:lnTo>
                    <a:pt x="19" y="20"/>
                  </a:lnTo>
                  <a:lnTo>
                    <a:pt x="30" y="12"/>
                  </a:lnTo>
                  <a:lnTo>
                    <a:pt x="42" y="6"/>
                  </a:lnTo>
                  <a:lnTo>
                    <a:pt x="55" y="1"/>
                  </a:lnTo>
                  <a:lnTo>
                    <a:pt x="68" y="0"/>
                  </a:lnTo>
                  <a:lnTo>
                    <a:pt x="68" y="0"/>
                  </a:lnTo>
                  <a:lnTo>
                    <a:pt x="82" y="1"/>
                  </a:lnTo>
                  <a:lnTo>
                    <a:pt x="96" y="6"/>
                  </a:lnTo>
                  <a:lnTo>
                    <a:pt x="108" y="12"/>
                  </a:lnTo>
                  <a:lnTo>
                    <a:pt x="117" y="20"/>
                  </a:lnTo>
                  <a:lnTo>
                    <a:pt x="126" y="30"/>
                  </a:lnTo>
                  <a:lnTo>
                    <a:pt x="132" y="43"/>
                  </a:lnTo>
                  <a:lnTo>
                    <a:pt x="137" y="55"/>
                  </a:lnTo>
                  <a:lnTo>
                    <a:pt x="138" y="70"/>
                  </a:lnTo>
                  <a:lnTo>
                    <a:pt x="138" y="70"/>
                  </a:lnTo>
                  <a:lnTo>
                    <a:pt x="137" y="84"/>
                  </a:lnTo>
                  <a:lnTo>
                    <a:pt x="132" y="96"/>
                  </a:lnTo>
                  <a:lnTo>
                    <a:pt x="126" y="108"/>
                  </a:lnTo>
                  <a:lnTo>
                    <a:pt x="117" y="119"/>
                  </a:lnTo>
                  <a:lnTo>
                    <a:pt x="108" y="126"/>
                  </a:lnTo>
                  <a:lnTo>
                    <a:pt x="96" y="134"/>
                  </a:lnTo>
                  <a:lnTo>
                    <a:pt x="82" y="137"/>
                  </a:lnTo>
                  <a:lnTo>
                    <a:pt x="68" y="139"/>
                  </a:lnTo>
                  <a:lnTo>
                    <a:pt x="68" y="139"/>
                  </a:lnTo>
                  <a:lnTo>
                    <a:pt x="55" y="137"/>
                  </a:lnTo>
                  <a:lnTo>
                    <a:pt x="42" y="134"/>
                  </a:lnTo>
                  <a:lnTo>
                    <a:pt x="30" y="126"/>
                  </a:lnTo>
                  <a:lnTo>
                    <a:pt x="19" y="119"/>
                  </a:lnTo>
                  <a:lnTo>
                    <a:pt x="10" y="108"/>
                  </a:lnTo>
                  <a:lnTo>
                    <a:pt x="4" y="96"/>
                  </a:lnTo>
                  <a:lnTo>
                    <a:pt x="1" y="84"/>
                  </a:lnTo>
                  <a:lnTo>
                    <a:pt x="0" y="70"/>
                  </a:lnTo>
                  <a:lnTo>
                    <a:pt x="0"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1" name="Freeform 67">
              <a:extLst>
                <a:ext uri="{FF2B5EF4-FFF2-40B4-BE49-F238E27FC236}">
                  <a16:creationId xmlns:a16="http://schemas.microsoft.com/office/drawing/2014/main" id="{0833E6C4-0CDA-4B51-9AC7-BD4276ED63B2}"/>
                </a:ext>
              </a:extLst>
            </p:cNvPr>
            <p:cNvSpPr>
              <a:spLocks/>
            </p:cNvSpPr>
            <p:nvPr/>
          </p:nvSpPr>
          <p:spPr bwMode="auto">
            <a:xfrm rot="16200000" flipV="1">
              <a:off x="4926371" y="3274742"/>
              <a:ext cx="219075" cy="219075"/>
            </a:xfrm>
            <a:custGeom>
              <a:avLst/>
              <a:gdLst>
                <a:gd name="T0" fmla="*/ 0 w 138"/>
                <a:gd name="T1" fmla="*/ 70 h 138"/>
                <a:gd name="T2" fmla="*/ 0 w 138"/>
                <a:gd name="T3" fmla="*/ 70 h 138"/>
                <a:gd name="T4" fmla="*/ 1 w 138"/>
                <a:gd name="T5" fmla="*/ 56 h 138"/>
                <a:gd name="T6" fmla="*/ 6 w 138"/>
                <a:gd name="T7" fmla="*/ 42 h 138"/>
                <a:gd name="T8" fmla="*/ 12 w 138"/>
                <a:gd name="T9" fmla="*/ 30 h 138"/>
                <a:gd name="T10" fmla="*/ 21 w 138"/>
                <a:gd name="T11" fmla="*/ 21 h 138"/>
                <a:gd name="T12" fmla="*/ 30 w 138"/>
                <a:gd name="T13" fmla="*/ 12 h 138"/>
                <a:gd name="T14" fmla="*/ 42 w 138"/>
                <a:gd name="T15" fmla="*/ 6 h 138"/>
                <a:gd name="T16" fmla="*/ 56 w 138"/>
                <a:gd name="T17" fmla="*/ 1 h 138"/>
                <a:gd name="T18" fmla="*/ 70 w 138"/>
                <a:gd name="T19" fmla="*/ 0 h 138"/>
                <a:gd name="T20" fmla="*/ 70 w 138"/>
                <a:gd name="T21" fmla="*/ 0 h 138"/>
                <a:gd name="T22" fmla="*/ 83 w 138"/>
                <a:gd name="T23" fmla="*/ 1 h 138"/>
                <a:gd name="T24" fmla="*/ 97 w 138"/>
                <a:gd name="T25" fmla="*/ 6 h 138"/>
                <a:gd name="T26" fmla="*/ 108 w 138"/>
                <a:gd name="T27" fmla="*/ 12 h 138"/>
                <a:gd name="T28" fmla="*/ 119 w 138"/>
                <a:gd name="T29" fmla="*/ 21 h 138"/>
                <a:gd name="T30" fmla="*/ 128 w 138"/>
                <a:gd name="T31" fmla="*/ 30 h 138"/>
                <a:gd name="T32" fmla="*/ 134 w 138"/>
                <a:gd name="T33" fmla="*/ 42 h 138"/>
                <a:gd name="T34" fmla="*/ 137 w 138"/>
                <a:gd name="T35" fmla="*/ 56 h 138"/>
                <a:gd name="T36" fmla="*/ 138 w 138"/>
                <a:gd name="T37" fmla="*/ 70 h 138"/>
                <a:gd name="T38" fmla="*/ 138 w 138"/>
                <a:gd name="T39" fmla="*/ 70 h 138"/>
                <a:gd name="T40" fmla="*/ 137 w 138"/>
                <a:gd name="T41" fmla="*/ 84 h 138"/>
                <a:gd name="T42" fmla="*/ 134 w 138"/>
                <a:gd name="T43" fmla="*/ 97 h 138"/>
                <a:gd name="T44" fmla="*/ 128 w 138"/>
                <a:gd name="T45" fmla="*/ 108 h 138"/>
                <a:gd name="T46" fmla="*/ 119 w 138"/>
                <a:gd name="T47" fmla="*/ 119 h 138"/>
                <a:gd name="T48" fmla="*/ 108 w 138"/>
                <a:gd name="T49" fmla="*/ 128 h 138"/>
                <a:gd name="T50" fmla="*/ 97 w 138"/>
                <a:gd name="T51" fmla="*/ 134 h 138"/>
                <a:gd name="T52" fmla="*/ 83 w 138"/>
                <a:gd name="T53" fmla="*/ 137 h 138"/>
                <a:gd name="T54" fmla="*/ 70 w 138"/>
                <a:gd name="T55" fmla="*/ 138 h 138"/>
                <a:gd name="T56" fmla="*/ 70 w 138"/>
                <a:gd name="T57" fmla="*/ 138 h 138"/>
                <a:gd name="T58" fmla="*/ 56 w 138"/>
                <a:gd name="T59" fmla="*/ 137 h 138"/>
                <a:gd name="T60" fmla="*/ 42 w 138"/>
                <a:gd name="T61" fmla="*/ 134 h 138"/>
                <a:gd name="T62" fmla="*/ 30 w 138"/>
                <a:gd name="T63" fmla="*/ 128 h 138"/>
                <a:gd name="T64" fmla="*/ 21 w 138"/>
                <a:gd name="T65" fmla="*/ 119 h 138"/>
                <a:gd name="T66" fmla="*/ 12 w 138"/>
                <a:gd name="T67" fmla="*/ 108 h 138"/>
                <a:gd name="T68" fmla="*/ 6 w 138"/>
                <a:gd name="T69" fmla="*/ 97 h 138"/>
                <a:gd name="T70" fmla="*/ 1 w 138"/>
                <a:gd name="T71" fmla="*/ 84 h 138"/>
                <a:gd name="T72" fmla="*/ 0 w 138"/>
                <a:gd name="T73" fmla="*/ 70 h 138"/>
                <a:gd name="T74" fmla="*/ 0 w 138"/>
                <a:gd name="T75" fmla="*/ 7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38">
                  <a:moveTo>
                    <a:pt x="0" y="70"/>
                  </a:moveTo>
                  <a:lnTo>
                    <a:pt x="0" y="70"/>
                  </a:lnTo>
                  <a:lnTo>
                    <a:pt x="1" y="56"/>
                  </a:lnTo>
                  <a:lnTo>
                    <a:pt x="6" y="42"/>
                  </a:lnTo>
                  <a:lnTo>
                    <a:pt x="12" y="30"/>
                  </a:lnTo>
                  <a:lnTo>
                    <a:pt x="21" y="21"/>
                  </a:lnTo>
                  <a:lnTo>
                    <a:pt x="30" y="12"/>
                  </a:lnTo>
                  <a:lnTo>
                    <a:pt x="42" y="6"/>
                  </a:lnTo>
                  <a:lnTo>
                    <a:pt x="56" y="1"/>
                  </a:lnTo>
                  <a:lnTo>
                    <a:pt x="70" y="0"/>
                  </a:lnTo>
                  <a:lnTo>
                    <a:pt x="70" y="0"/>
                  </a:lnTo>
                  <a:lnTo>
                    <a:pt x="83" y="1"/>
                  </a:lnTo>
                  <a:lnTo>
                    <a:pt x="97" y="6"/>
                  </a:lnTo>
                  <a:lnTo>
                    <a:pt x="108" y="12"/>
                  </a:lnTo>
                  <a:lnTo>
                    <a:pt x="119" y="21"/>
                  </a:lnTo>
                  <a:lnTo>
                    <a:pt x="128" y="30"/>
                  </a:lnTo>
                  <a:lnTo>
                    <a:pt x="134" y="42"/>
                  </a:lnTo>
                  <a:lnTo>
                    <a:pt x="137" y="56"/>
                  </a:lnTo>
                  <a:lnTo>
                    <a:pt x="138" y="70"/>
                  </a:lnTo>
                  <a:lnTo>
                    <a:pt x="138" y="70"/>
                  </a:lnTo>
                  <a:lnTo>
                    <a:pt x="137" y="84"/>
                  </a:lnTo>
                  <a:lnTo>
                    <a:pt x="134" y="97"/>
                  </a:lnTo>
                  <a:lnTo>
                    <a:pt x="128" y="108"/>
                  </a:lnTo>
                  <a:lnTo>
                    <a:pt x="119" y="119"/>
                  </a:lnTo>
                  <a:lnTo>
                    <a:pt x="108" y="128"/>
                  </a:lnTo>
                  <a:lnTo>
                    <a:pt x="97" y="134"/>
                  </a:lnTo>
                  <a:lnTo>
                    <a:pt x="83" y="137"/>
                  </a:lnTo>
                  <a:lnTo>
                    <a:pt x="70" y="138"/>
                  </a:lnTo>
                  <a:lnTo>
                    <a:pt x="70" y="138"/>
                  </a:lnTo>
                  <a:lnTo>
                    <a:pt x="56" y="137"/>
                  </a:lnTo>
                  <a:lnTo>
                    <a:pt x="42" y="134"/>
                  </a:lnTo>
                  <a:lnTo>
                    <a:pt x="30" y="128"/>
                  </a:lnTo>
                  <a:lnTo>
                    <a:pt x="21" y="119"/>
                  </a:lnTo>
                  <a:lnTo>
                    <a:pt x="12" y="108"/>
                  </a:lnTo>
                  <a:lnTo>
                    <a:pt x="6" y="97"/>
                  </a:lnTo>
                  <a:lnTo>
                    <a:pt x="1" y="84"/>
                  </a:lnTo>
                  <a:lnTo>
                    <a:pt x="0" y="70"/>
                  </a:lnTo>
                  <a:lnTo>
                    <a:pt x="0"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2" name="Freeform 68">
              <a:extLst>
                <a:ext uri="{FF2B5EF4-FFF2-40B4-BE49-F238E27FC236}">
                  <a16:creationId xmlns:a16="http://schemas.microsoft.com/office/drawing/2014/main" id="{A85F5D60-3C30-4BA8-BB6C-A008A99BF2AD}"/>
                </a:ext>
              </a:extLst>
            </p:cNvPr>
            <p:cNvSpPr>
              <a:spLocks/>
            </p:cNvSpPr>
            <p:nvPr/>
          </p:nvSpPr>
          <p:spPr bwMode="auto">
            <a:xfrm rot="16200000" flipV="1">
              <a:off x="4925578" y="3921648"/>
              <a:ext cx="220663" cy="219075"/>
            </a:xfrm>
            <a:custGeom>
              <a:avLst/>
              <a:gdLst>
                <a:gd name="T0" fmla="*/ 0 w 139"/>
                <a:gd name="T1" fmla="*/ 70 h 138"/>
                <a:gd name="T2" fmla="*/ 0 w 139"/>
                <a:gd name="T3" fmla="*/ 70 h 138"/>
                <a:gd name="T4" fmla="*/ 0 w 139"/>
                <a:gd name="T5" fmla="*/ 56 h 138"/>
                <a:gd name="T6" fmla="*/ 5 w 139"/>
                <a:gd name="T7" fmla="*/ 42 h 138"/>
                <a:gd name="T8" fmla="*/ 11 w 139"/>
                <a:gd name="T9" fmla="*/ 30 h 138"/>
                <a:gd name="T10" fmla="*/ 20 w 139"/>
                <a:gd name="T11" fmla="*/ 21 h 138"/>
                <a:gd name="T12" fmla="*/ 30 w 139"/>
                <a:gd name="T13" fmla="*/ 12 h 138"/>
                <a:gd name="T14" fmla="*/ 41 w 139"/>
                <a:gd name="T15" fmla="*/ 6 h 138"/>
                <a:gd name="T16" fmla="*/ 55 w 139"/>
                <a:gd name="T17" fmla="*/ 1 h 138"/>
                <a:gd name="T18" fmla="*/ 69 w 139"/>
                <a:gd name="T19" fmla="*/ 0 h 138"/>
                <a:gd name="T20" fmla="*/ 69 w 139"/>
                <a:gd name="T21" fmla="*/ 0 h 138"/>
                <a:gd name="T22" fmla="*/ 82 w 139"/>
                <a:gd name="T23" fmla="*/ 1 h 138"/>
                <a:gd name="T24" fmla="*/ 96 w 139"/>
                <a:gd name="T25" fmla="*/ 6 h 138"/>
                <a:gd name="T26" fmla="*/ 108 w 139"/>
                <a:gd name="T27" fmla="*/ 12 h 138"/>
                <a:gd name="T28" fmla="*/ 117 w 139"/>
                <a:gd name="T29" fmla="*/ 21 h 138"/>
                <a:gd name="T30" fmla="*/ 127 w 139"/>
                <a:gd name="T31" fmla="*/ 30 h 138"/>
                <a:gd name="T32" fmla="*/ 133 w 139"/>
                <a:gd name="T33" fmla="*/ 42 h 138"/>
                <a:gd name="T34" fmla="*/ 137 w 139"/>
                <a:gd name="T35" fmla="*/ 56 h 138"/>
                <a:gd name="T36" fmla="*/ 139 w 139"/>
                <a:gd name="T37" fmla="*/ 70 h 138"/>
                <a:gd name="T38" fmla="*/ 139 w 139"/>
                <a:gd name="T39" fmla="*/ 70 h 138"/>
                <a:gd name="T40" fmla="*/ 137 w 139"/>
                <a:gd name="T41" fmla="*/ 84 h 138"/>
                <a:gd name="T42" fmla="*/ 133 w 139"/>
                <a:gd name="T43" fmla="*/ 97 h 138"/>
                <a:gd name="T44" fmla="*/ 127 w 139"/>
                <a:gd name="T45" fmla="*/ 108 h 138"/>
                <a:gd name="T46" fmla="*/ 117 w 139"/>
                <a:gd name="T47" fmla="*/ 119 h 138"/>
                <a:gd name="T48" fmla="*/ 108 w 139"/>
                <a:gd name="T49" fmla="*/ 128 h 138"/>
                <a:gd name="T50" fmla="*/ 96 w 139"/>
                <a:gd name="T51" fmla="*/ 134 h 138"/>
                <a:gd name="T52" fmla="*/ 82 w 139"/>
                <a:gd name="T53" fmla="*/ 137 h 138"/>
                <a:gd name="T54" fmla="*/ 69 w 139"/>
                <a:gd name="T55" fmla="*/ 138 h 138"/>
                <a:gd name="T56" fmla="*/ 69 w 139"/>
                <a:gd name="T57" fmla="*/ 138 h 138"/>
                <a:gd name="T58" fmla="*/ 55 w 139"/>
                <a:gd name="T59" fmla="*/ 137 h 138"/>
                <a:gd name="T60" fmla="*/ 41 w 139"/>
                <a:gd name="T61" fmla="*/ 134 h 138"/>
                <a:gd name="T62" fmla="*/ 30 w 139"/>
                <a:gd name="T63" fmla="*/ 128 h 138"/>
                <a:gd name="T64" fmla="*/ 20 w 139"/>
                <a:gd name="T65" fmla="*/ 119 h 138"/>
                <a:gd name="T66" fmla="*/ 11 w 139"/>
                <a:gd name="T67" fmla="*/ 108 h 138"/>
                <a:gd name="T68" fmla="*/ 5 w 139"/>
                <a:gd name="T69" fmla="*/ 97 h 138"/>
                <a:gd name="T70" fmla="*/ 0 w 139"/>
                <a:gd name="T71" fmla="*/ 84 h 138"/>
                <a:gd name="T72" fmla="*/ 0 w 139"/>
                <a:gd name="T73" fmla="*/ 70 h 138"/>
                <a:gd name="T74" fmla="*/ 0 w 139"/>
                <a:gd name="T75" fmla="*/ 7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8">
                  <a:moveTo>
                    <a:pt x="0" y="70"/>
                  </a:moveTo>
                  <a:lnTo>
                    <a:pt x="0" y="70"/>
                  </a:lnTo>
                  <a:lnTo>
                    <a:pt x="0" y="56"/>
                  </a:lnTo>
                  <a:lnTo>
                    <a:pt x="5" y="42"/>
                  </a:lnTo>
                  <a:lnTo>
                    <a:pt x="11" y="30"/>
                  </a:lnTo>
                  <a:lnTo>
                    <a:pt x="20" y="21"/>
                  </a:lnTo>
                  <a:lnTo>
                    <a:pt x="30" y="12"/>
                  </a:lnTo>
                  <a:lnTo>
                    <a:pt x="41" y="6"/>
                  </a:lnTo>
                  <a:lnTo>
                    <a:pt x="55" y="1"/>
                  </a:lnTo>
                  <a:lnTo>
                    <a:pt x="69" y="0"/>
                  </a:lnTo>
                  <a:lnTo>
                    <a:pt x="69" y="0"/>
                  </a:lnTo>
                  <a:lnTo>
                    <a:pt x="82" y="1"/>
                  </a:lnTo>
                  <a:lnTo>
                    <a:pt x="96" y="6"/>
                  </a:lnTo>
                  <a:lnTo>
                    <a:pt x="108" y="12"/>
                  </a:lnTo>
                  <a:lnTo>
                    <a:pt x="117" y="21"/>
                  </a:lnTo>
                  <a:lnTo>
                    <a:pt x="127" y="30"/>
                  </a:lnTo>
                  <a:lnTo>
                    <a:pt x="133" y="42"/>
                  </a:lnTo>
                  <a:lnTo>
                    <a:pt x="137" y="56"/>
                  </a:lnTo>
                  <a:lnTo>
                    <a:pt x="139" y="70"/>
                  </a:lnTo>
                  <a:lnTo>
                    <a:pt x="139" y="70"/>
                  </a:lnTo>
                  <a:lnTo>
                    <a:pt x="137" y="84"/>
                  </a:lnTo>
                  <a:lnTo>
                    <a:pt x="133" y="97"/>
                  </a:lnTo>
                  <a:lnTo>
                    <a:pt x="127" y="108"/>
                  </a:lnTo>
                  <a:lnTo>
                    <a:pt x="117" y="119"/>
                  </a:lnTo>
                  <a:lnTo>
                    <a:pt x="108" y="128"/>
                  </a:lnTo>
                  <a:lnTo>
                    <a:pt x="96" y="134"/>
                  </a:lnTo>
                  <a:lnTo>
                    <a:pt x="82" y="137"/>
                  </a:lnTo>
                  <a:lnTo>
                    <a:pt x="69" y="138"/>
                  </a:lnTo>
                  <a:lnTo>
                    <a:pt x="69" y="138"/>
                  </a:lnTo>
                  <a:lnTo>
                    <a:pt x="55" y="137"/>
                  </a:lnTo>
                  <a:lnTo>
                    <a:pt x="41" y="134"/>
                  </a:lnTo>
                  <a:lnTo>
                    <a:pt x="30" y="128"/>
                  </a:lnTo>
                  <a:lnTo>
                    <a:pt x="20" y="119"/>
                  </a:lnTo>
                  <a:lnTo>
                    <a:pt x="11" y="108"/>
                  </a:lnTo>
                  <a:lnTo>
                    <a:pt x="5" y="97"/>
                  </a:lnTo>
                  <a:lnTo>
                    <a:pt x="0" y="84"/>
                  </a:lnTo>
                  <a:lnTo>
                    <a:pt x="0" y="70"/>
                  </a:lnTo>
                  <a:lnTo>
                    <a:pt x="0"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3" name="Freeform 5">
              <a:extLst>
                <a:ext uri="{FF2B5EF4-FFF2-40B4-BE49-F238E27FC236}">
                  <a16:creationId xmlns:a16="http://schemas.microsoft.com/office/drawing/2014/main" id="{5F482C6F-1B74-40E5-B96C-5F5CBFE7F26E}"/>
                </a:ext>
              </a:extLst>
            </p:cNvPr>
            <p:cNvSpPr>
              <a:spLocks/>
            </p:cNvSpPr>
            <p:nvPr/>
          </p:nvSpPr>
          <p:spPr bwMode="auto">
            <a:xfrm rot="16200000" flipV="1">
              <a:off x="1869140" y="4145485"/>
              <a:ext cx="222250" cy="220663"/>
            </a:xfrm>
            <a:custGeom>
              <a:avLst/>
              <a:gdLst>
                <a:gd name="T0" fmla="*/ 140 w 140"/>
                <a:gd name="T1" fmla="*/ 69 h 139"/>
                <a:gd name="T2" fmla="*/ 140 w 140"/>
                <a:gd name="T3" fmla="*/ 69 h 139"/>
                <a:gd name="T4" fmla="*/ 139 w 140"/>
                <a:gd name="T5" fmla="*/ 84 h 139"/>
                <a:gd name="T6" fmla="*/ 134 w 140"/>
                <a:gd name="T7" fmla="*/ 96 h 139"/>
                <a:gd name="T8" fmla="*/ 128 w 140"/>
                <a:gd name="T9" fmla="*/ 108 h 139"/>
                <a:gd name="T10" fmla="*/ 119 w 140"/>
                <a:gd name="T11" fmla="*/ 119 h 139"/>
                <a:gd name="T12" fmla="*/ 108 w 140"/>
                <a:gd name="T13" fmla="*/ 126 h 139"/>
                <a:gd name="T14" fmla="*/ 98 w 140"/>
                <a:gd name="T15" fmla="*/ 133 h 139"/>
                <a:gd name="T16" fmla="*/ 84 w 140"/>
                <a:gd name="T17" fmla="*/ 137 h 139"/>
                <a:gd name="T18" fmla="*/ 70 w 140"/>
                <a:gd name="T19" fmla="*/ 139 h 139"/>
                <a:gd name="T20" fmla="*/ 70 w 140"/>
                <a:gd name="T21" fmla="*/ 139 h 139"/>
                <a:gd name="T22" fmla="*/ 56 w 140"/>
                <a:gd name="T23" fmla="*/ 137 h 139"/>
                <a:gd name="T24" fmla="*/ 43 w 140"/>
                <a:gd name="T25" fmla="*/ 133 h 139"/>
                <a:gd name="T26" fmla="*/ 32 w 140"/>
                <a:gd name="T27" fmla="*/ 126 h 139"/>
                <a:gd name="T28" fmla="*/ 21 w 140"/>
                <a:gd name="T29" fmla="*/ 119 h 139"/>
                <a:gd name="T30" fmla="*/ 12 w 140"/>
                <a:gd name="T31" fmla="*/ 108 h 139"/>
                <a:gd name="T32" fmla="*/ 6 w 140"/>
                <a:gd name="T33" fmla="*/ 96 h 139"/>
                <a:gd name="T34" fmla="*/ 2 w 140"/>
                <a:gd name="T35" fmla="*/ 84 h 139"/>
                <a:gd name="T36" fmla="*/ 0 w 140"/>
                <a:gd name="T37" fmla="*/ 69 h 139"/>
                <a:gd name="T38" fmla="*/ 0 w 140"/>
                <a:gd name="T39" fmla="*/ 69 h 139"/>
                <a:gd name="T40" fmla="*/ 2 w 140"/>
                <a:gd name="T41" fmla="*/ 55 h 139"/>
                <a:gd name="T42" fmla="*/ 6 w 140"/>
                <a:gd name="T43" fmla="*/ 43 h 139"/>
                <a:gd name="T44" fmla="*/ 12 w 140"/>
                <a:gd name="T45" fmla="*/ 30 h 139"/>
                <a:gd name="T46" fmla="*/ 21 w 140"/>
                <a:gd name="T47" fmla="*/ 20 h 139"/>
                <a:gd name="T48" fmla="*/ 32 w 140"/>
                <a:gd name="T49" fmla="*/ 12 h 139"/>
                <a:gd name="T50" fmla="*/ 43 w 140"/>
                <a:gd name="T51" fmla="*/ 5 h 139"/>
                <a:gd name="T52" fmla="*/ 56 w 140"/>
                <a:gd name="T53" fmla="*/ 2 h 139"/>
                <a:gd name="T54" fmla="*/ 70 w 140"/>
                <a:gd name="T55" fmla="*/ 0 h 139"/>
                <a:gd name="T56" fmla="*/ 70 w 140"/>
                <a:gd name="T57" fmla="*/ 0 h 139"/>
                <a:gd name="T58" fmla="*/ 84 w 140"/>
                <a:gd name="T59" fmla="*/ 2 h 139"/>
                <a:gd name="T60" fmla="*/ 98 w 140"/>
                <a:gd name="T61" fmla="*/ 5 h 139"/>
                <a:gd name="T62" fmla="*/ 108 w 140"/>
                <a:gd name="T63" fmla="*/ 12 h 139"/>
                <a:gd name="T64" fmla="*/ 119 w 140"/>
                <a:gd name="T65" fmla="*/ 20 h 139"/>
                <a:gd name="T66" fmla="*/ 128 w 140"/>
                <a:gd name="T67" fmla="*/ 30 h 139"/>
                <a:gd name="T68" fmla="*/ 134 w 140"/>
                <a:gd name="T69" fmla="*/ 43 h 139"/>
                <a:gd name="T70" fmla="*/ 139 w 140"/>
                <a:gd name="T71" fmla="*/ 55 h 139"/>
                <a:gd name="T72" fmla="*/ 140 w 140"/>
                <a:gd name="T73" fmla="*/ 69 h 139"/>
                <a:gd name="T74" fmla="*/ 140 w 140"/>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39">
                  <a:moveTo>
                    <a:pt x="140" y="69"/>
                  </a:moveTo>
                  <a:lnTo>
                    <a:pt x="140" y="69"/>
                  </a:lnTo>
                  <a:lnTo>
                    <a:pt x="139" y="84"/>
                  </a:lnTo>
                  <a:lnTo>
                    <a:pt x="134" y="96"/>
                  </a:lnTo>
                  <a:lnTo>
                    <a:pt x="128" y="108"/>
                  </a:lnTo>
                  <a:lnTo>
                    <a:pt x="119" y="119"/>
                  </a:lnTo>
                  <a:lnTo>
                    <a:pt x="108" y="126"/>
                  </a:lnTo>
                  <a:lnTo>
                    <a:pt x="98" y="133"/>
                  </a:lnTo>
                  <a:lnTo>
                    <a:pt x="84" y="137"/>
                  </a:lnTo>
                  <a:lnTo>
                    <a:pt x="70" y="139"/>
                  </a:lnTo>
                  <a:lnTo>
                    <a:pt x="70" y="139"/>
                  </a:lnTo>
                  <a:lnTo>
                    <a:pt x="56" y="137"/>
                  </a:lnTo>
                  <a:lnTo>
                    <a:pt x="43" y="133"/>
                  </a:lnTo>
                  <a:lnTo>
                    <a:pt x="32" y="126"/>
                  </a:lnTo>
                  <a:lnTo>
                    <a:pt x="21" y="119"/>
                  </a:lnTo>
                  <a:lnTo>
                    <a:pt x="12" y="108"/>
                  </a:lnTo>
                  <a:lnTo>
                    <a:pt x="6" y="96"/>
                  </a:lnTo>
                  <a:lnTo>
                    <a:pt x="2" y="84"/>
                  </a:lnTo>
                  <a:lnTo>
                    <a:pt x="0" y="69"/>
                  </a:lnTo>
                  <a:lnTo>
                    <a:pt x="0" y="69"/>
                  </a:lnTo>
                  <a:lnTo>
                    <a:pt x="2" y="55"/>
                  </a:lnTo>
                  <a:lnTo>
                    <a:pt x="6" y="43"/>
                  </a:lnTo>
                  <a:lnTo>
                    <a:pt x="12" y="30"/>
                  </a:lnTo>
                  <a:lnTo>
                    <a:pt x="21" y="20"/>
                  </a:lnTo>
                  <a:lnTo>
                    <a:pt x="32" y="12"/>
                  </a:lnTo>
                  <a:lnTo>
                    <a:pt x="43" y="5"/>
                  </a:lnTo>
                  <a:lnTo>
                    <a:pt x="56" y="2"/>
                  </a:lnTo>
                  <a:lnTo>
                    <a:pt x="70" y="0"/>
                  </a:lnTo>
                  <a:lnTo>
                    <a:pt x="70" y="0"/>
                  </a:lnTo>
                  <a:lnTo>
                    <a:pt x="84" y="2"/>
                  </a:lnTo>
                  <a:lnTo>
                    <a:pt x="98" y="5"/>
                  </a:lnTo>
                  <a:lnTo>
                    <a:pt x="108" y="12"/>
                  </a:lnTo>
                  <a:lnTo>
                    <a:pt x="119" y="20"/>
                  </a:lnTo>
                  <a:lnTo>
                    <a:pt x="128" y="30"/>
                  </a:lnTo>
                  <a:lnTo>
                    <a:pt x="134" y="43"/>
                  </a:lnTo>
                  <a:lnTo>
                    <a:pt x="139" y="55"/>
                  </a:lnTo>
                  <a:lnTo>
                    <a:pt x="140" y="69"/>
                  </a:lnTo>
                  <a:lnTo>
                    <a:pt x="140" y="69"/>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4" name="Freeform 6">
              <a:extLst>
                <a:ext uri="{FF2B5EF4-FFF2-40B4-BE49-F238E27FC236}">
                  <a16:creationId xmlns:a16="http://schemas.microsoft.com/office/drawing/2014/main" id="{E84C5EC8-B01C-4945-A937-8650AFEF661A}"/>
                </a:ext>
              </a:extLst>
            </p:cNvPr>
            <p:cNvSpPr>
              <a:spLocks/>
            </p:cNvSpPr>
            <p:nvPr/>
          </p:nvSpPr>
          <p:spPr bwMode="auto">
            <a:xfrm rot="16200000" flipV="1">
              <a:off x="1869933" y="2944542"/>
              <a:ext cx="220663" cy="220663"/>
            </a:xfrm>
            <a:custGeom>
              <a:avLst/>
              <a:gdLst>
                <a:gd name="T0" fmla="*/ 139 w 139"/>
                <a:gd name="T1" fmla="*/ 69 h 139"/>
                <a:gd name="T2" fmla="*/ 139 w 139"/>
                <a:gd name="T3" fmla="*/ 69 h 139"/>
                <a:gd name="T4" fmla="*/ 137 w 139"/>
                <a:gd name="T5" fmla="*/ 84 h 139"/>
                <a:gd name="T6" fmla="*/ 134 w 139"/>
                <a:gd name="T7" fmla="*/ 96 h 139"/>
                <a:gd name="T8" fmla="*/ 127 w 139"/>
                <a:gd name="T9" fmla="*/ 108 h 139"/>
                <a:gd name="T10" fmla="*/ 119 w 139"/>
                <a:gd name="T11" fmla="*/ 119 h 139"/>
                <a:gd name="T12" fmla="*/ 108 w 139"/>
                <a:gd name="T13" fmla="*/ 126 h 139"/>
                <a:gd name="T14" fmla="*/ 96 w 139"/>
                <a:gd name="T15" fmla="*/ 133 h 139"/>
                <a:gd name="T16" fmla="*/ 84 w 139"/>
                <a:gd name="T17" fmla="*/ 137 h 139"/>
                <a:gd name="T18" fmla="*/ 70 w 139"/>
                <a:gd name="T19" fmla="*/ 139 h 139"/>
                <a:gd name="T20" fmla="*/ 70 w 139"/>
                <a:gd name="T21" fmla="*/ 139 h 139"/>
                <a:gd name="T22" fmla="*/ 55 w 139"/>
                <a:gd name="T23" fmla="*/ 137 h 139"/>
                <a:gd name="T24" fmla="*/ 43 w 139"/>
                <a:gd name="T25" fmla="*/ 133 h 139"/>
                <a:gd name="T26" fmla="*/ 31 w 139"/>
                <a:gd name="T27" fmla="*/ 126 h 139"/>
                <a:gd name="T28" fmla="*/ 20 w 139"/>
                <a:gd name="T29" fmla="*/ 119 h 139"/>
                <a:gd name="T30" fmla="*/ 12 w 139"/>
                <a:gd name="T31" fmla="*/ 108 h 139"/>
                <a:gd name="T32" fmla="*/ 6 w 139"/>
                <a:gd name="T33" fmla="*/ 96 h 139"/>
                <a:gd name="T34" fmla="*/ 2 w 139"/>
                <a:gd name="T35" fmla="*/ 84 h 139"/>
                <a:gd name="T36" fmla="*/ 0 w 139"/>
                <a:gd name="T37" fmla="*/ 69 h 139"/>
                <a:gd name="T38" fmla="*/ 0 w 139"/>
                <a:gd name="T39" fmla="*/ 69 h 139"/>
                <a:gd name="T40" fmla="*/ 2 w 139"/>
                <a:gd name="T41" fmla="*/ 55 h 139"/>
                <a:gd name="T42" fmla="*/ 6 w 139"/>
                <a:gd name="T43" fmla="*/ 43 h 139"/>
                <a:gd name="T44" fmla="*/ 12 w 139"/>
                <a:gd name="T45" fmla="*/ 30 h 139"/>
                <a:gd name="T46" fmla="*/ 20 w 139"/>
                <a:gd name="T47" fmla="*/ 20 h 139"/>
                <a:gd name="T48" fmla="*/ 31 w 139"/>
                <a:gd name="T49" fmla="*/ 12 h 139"/>
                <a:gd name="T50" fmla="*/ 43 w 139"/>
                <a:gd name="T51" fmla="*/ 5 h 139"/>
                <a:gd name="T52" fmla="*/ 55 w 139"/>
                <a:gd name="T53" fmla="*/ 2 h 139"/>
                <a:gd name="T54" fmla="*/ 70 w 139"/>
                <a:gd name="T55" fmla="*/ 0 h 139"/>
                <a:gd name="T56" fmla="*/ 70 w 139"/>
                <a:gd name="T57" fmla="*/ 0 h 139"/>
                <a:gd name="T58" fmla="*/ 84 w 139"/>
                <a:gd name="T59" fmla="*/ 2 h 139"/>
                <a:gd name="T60" fmla="*/ 96 w 139"/>
                <a:gd name="T61" fmla="*/ 5 h 139"/>
                <a:gd name="T62" fmla="*/ 108 w 139"/>
                <a:gd name="T63" fmla="*/ 12 h 139"/>
                <a:gd name="T64" fmla="*/ 119 w 139"/>
                <a:gd name="T65" fmla="*/ 20 h 139"/>
                <a:gd name="T66" fmla="*/ 127 w 139"/>
                <a:gd name="T67" fmla="*/ 30 h 139"/>
                <a:gd name="T68" fmla="*/ 134 w 139"/>
                <a:gd name="T69" fmla="*/ 43 h 139"/>
                <a:gd name="T70" fmla="*/ 137 w 139"/>
                <a:gd name="T71" fmla="*/ 55 h 139"/>
                <a:gd name="T72" fmla="*/ 139 w 139"/>
                <a:gd name="T73" fmla="*/ 69 h 139"/>
                <a:gd name="T74" fmla="*/ 139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69"/>
                  </a:moveTo>
                  <a:lnTo>
                    <a:pt x="139" y="69"/>
                  </a:lnTo>
                  <a:lnTo>
                    <a:pt x="137" y="84"/>
                  </a:lnTo>
                  <a:lnTo>
                    <a:pt x="134" y="96"/>
                  </a:lnTo>
                  <a:lnTo>
                    <a:pt x="127" y="108"/>
                  </a:lnTo>
                  <a:lnTo>
                    <a:pt x="119" y="119"/>
                  </a:lnTo>
                  <a:lnTo>
                    <a:pt x="108" y="126"/>
                  </a:lnTo>
                  <a:lnTo>
                    <a:pt x="96" y="133"/>
                  </a:lnTo>
                  <a:lnTo>
                    <a:pt x="84" y="137"/>
                  </a:lnTo>
                  <a:lnTo>
                    <a:pt x="70" y="139"/>
                  </a:lnTo>
                  <a:lnTo>
                    <a:pt x="70" y="139"/>
                  </a:lnTo>
                  <a:lnTo>
                    <a:pt x="55" y="137"/>
                  </a:lnTo>
                  <a:lnTo>
                    <a:pt x="43" y="133"/>
                  </a:lnTo>
                  <a:lnTo>
                    <a:pt x="31" y="126"/>
                  </a:lnTo>
                  <a:lnTo>
                    <a:pt x="20" y="119"/>
                  </a:lnTo>
                  <a:lnTo>
                    <a:pt x="12" y="108"/>
                  </a:lnTo>
                  <a:lnTo>
                    <a:pt x="6" y="96"/>
                  </a:lnTo>
                  <a:lnTo>
                    <a:pt x="2" y="84"/>
                  </a:lnTo>
                  <a:lnTo>
                    <a:pt x="0" y="69"/>
                  </a:lnTo>
                  <a:lnTo>
                    <a:pt x="0" y="69"/>
                  </a:lnTo>
                  <a:lnTo>
                    <a:pt x="2" y="55"/>
                  </a:lnTo>
                  <a:lnTo>
                    <a:pt x="6" y="43"/>
                  </a:lnTo>
                  <a:lnTo>
                    <a:pt x="12" y="30"/>
                  </a:lnTo>
                  <a:lnTo>
                    <a:pt x="20" y="20"/>
                  </a:lnTo>
                  <a:lnTo>
                    <a:pt x="31" y="12"/>
                  </a:lnTo>
                  <a:lnTo>
                    <a:pt x="43" y="5"/>
                  </a:lnTo>
                  <a:lnTo>
                    <a:pt x="55" y="2"/>
                  </a:lnTo>
                  <a:lnTo>
                    <a:pt x="70" y="0"/>
                  </a:lnTo>
                  <a:lnTo>
                    <a:pt x="70" y="0"/>
                  </a:lnTo>
                  <a:lnTo>
                    <a:pt x="84" y="2"/>
                  </a:lnTo>
                  <a:lnTo>
                    <a:pt x="96" y="5"/>
                  </a:lnTo>
                  <a:lnTo>
                    <a:pt x="108" y="12"/>
                  </a:lnTo>
                  <a:lnTo>
                    <a:pt x="119" y="20"/>
                  </a:lnTo>
                  <a:lnTo>
                    <a:pt x="127" y="30"/>
                  </a:lnTo>
                  <a:lnTo>
                    <a:pt x="134" y="43"/>
                  </a:lnTo>
                  <a:lnTo>
                    <a:pt x="137" y="55"/>
                  </a:lnTo>
                  <a:lnTo>
                    <a:pt x="139" y="69"/>
                  </a:lnTo>
                  <a:lnTo>
                    <a:pt x="139" y="69"/>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5" name="Freeform 7">
              <a:extLst>
                <a:ext uri="{FF2B5EF4-FFF2-40B4-BE49-F238E27FC236}">
                  <a16:creationId xmlns:a16="http://schemas.microsoft.com/office/drawing/2014/main" id="{54F5E3BD-28BC-4E9A-B578-0E7C70A5162F}"/>
                </a:ext>
              </a:extLst>
            </p:cNvPr>
            <p:cNvSpPr>
              <a:spLocks/>
            </p:cNvSpPr>
            <p:nvPr/>
          </p:nvSpPr>
          <p:spPr bwMode="auto">
            <a:xfrm rot="16200000" flipV="1">
              <a:off x="1550846" y="4141517"/>
              <a:ext cx="220663" cy="220663"/>
            </a:xfrm>
            <a:custGeom>
              <a:avLst/>
              <a:gdLst>
                <a:gd name="T0" fmla="*/ 139 w 139"/>
                <a:gd name="T1" fmla="*/ 70 h 139"/>
                <a:gd name="T2" fmla="*/ 139 w 139"/>
                <a:gd name="T3" fmla="*/ 70 h 139"/>
                <a:gd name="T4" fmla="*/ 139 w 139"/>
                <a:gd name="T5" fmla="*/ 84 h 139"/>
                <a:gd name="T6" fmla="*/ 134 w 139"/>
                <a:gd name="T7" fmla="*/ 96 h 139"/>
                <a:gd name="T8" fmla="*/ 128 w 139"/>
                <a:gd name="T9" fmla="*/ 108 h 139"/>
                <a:gd name="T10" fmla="*/ 119 w 139"/>
                <a:gd name="T11" fmla="*/ 119 h 139"/>
                <a:gd name="T12" fmla="*/ 108 w 139"/>
                <a:gd name="T13" fmla="*/ 127 h 139"/>
                <a:gd name="T14" fmla="*/ 98 w 139"/>
                <a:gd name="T15" fmla="*/ 133 h 139"/>
                <a:gd name="T16" fmla="*/ 84 w 139"/>
                <a:gd name="T17" fmla="*/ 137 h 139"/>
                <a:gd name="T18" fmla="*/ 70 w 139"/>
                <a:gd name="T19" fmla="*/ 139 h 139"/>
                <a:gd name="T20" fmla="*/ 70 w 139"/>
                <a:gd name="T21" fmla="*/ 139 h 139"/>
                <a:gd name="T22" fmla="*/ 57 w 139"/>
                <a:gd name="T23" fmla="*/ 137 h 139"/>
                <a:gd name="T24" fmla="*/ 43 w 139"/>
                <a:gd name="T25" fmla="*/ 133 h 139"/>
                <a:gd name="T26" fmla="*/ 31 w 139"/>
                <a:gd name="T27" fmla="*/ 127 h 139"/>
                <a:gd name="T28" fmla="*/ 21 w 139"/>
                <a:gd name="T29" fmla="*/ 119 h 139"/>
                <a:gd name="T30" fmla="*/ 12 w 139"/>
                <a:gd name="T31" fmla="*/ 108 h 139"/>
                <a:gd name="T32" fmla="*/ 6 w 139"/>
                <a:gd name="T33" fmla="*/ 96 h 139"/>
                <a:gd name="T34" fmla="*/ 2 w 139"/>
                <a:gd name="T35" fmla="*/ 84 h 139"/>
                <a:gd name="T36" fmla="*/ 0 w 139"/>
                <a:gd name="T37" fmla="*/ 70 h 139"/>
                <a:gd name="T38" fmla="*/ 0 w 139"/>
                <a:gd name="T39" fmla="*/ 70 h 139"/>
                <a:gd name="T40" fmla="*/ 2 w 139"/>
                <a:gd name="T41" fmla="*/ 55 h 139"/>
                <a:gd name="T42" fmla="*/ 6 w 139"/>
                <a:gd name="T43" fmla="*/ 43 h 139"/>
                <a:gd name="T44" fmla="*/ 12 w 139"/>
                <a:gd name="T45" fmla="*/ 31 h 139"/>
                <a:gd name="T46" fmla="*/ 21 w 139"/>
                <a:gd name="T47" fmla="*/ 20 h 139"/>
                <a:gd name="T48" fmla="*/ 31 w 139"/>
                <a:gd name="T49" fmla="*/ 12 h 139"/>
                <a:gd name="T50" fmla="*/ 43 w 139"/>
                <a:gd name="T51" fmla="*/ 6 h 139"/>
                <a:gd name="T52" fmla="*/ 57 w 139"/>
                <a:gd name="T53" fmla="*/ 2 h 139"/>
                <a:gd name="T54" fmla="*/ 70 w 139"/>
                <a:gd name="T55" fmla="*/ 0 h 139"/>
                <a:gd name="T56" fmla="*/ 70 w 139"/>
                <a:gd name="T57" fmla="*/ 0 h 139"/>
                <a:gd name="T58" fmla="*/ 84 w 139"/>
                <a:gd name="T59" fmla="*/ 2 h 139"/>
                <a:gd name="T60" fmla="*/ 98 w 139"/>
                <a:gd name="T61" fmla="*/ 6 h 139"/>
                <a:gd name="T62" fmla="*/ 108 w 139"/>
                <a:gd name="T63" fmla="*/ 12 h 139"/>
                <a:gd name="T64" fmla="*/ 119 w 139"/>
                <a:gd name="T65" fmla="*/ 20 h 139"/>
                <a:gd name="T66" fmla="*/ 128 w 139"/>
                <a:gd name="T67" fmla="*/ 31 h 139"/>
                <a:gd name="T68" fmla="*/ 134 w 139"/>
                <a:gd name="T69" fmla="*/ 43 h 139"/>
                <a:gd name="T70" fmla="*/ 139 w 139"/>
                <a:gd name="T71" fmla="*/ 55 h 139"/>
                <a:gd name="T72" fmla="*/ 139 w 139"/>
                <a:gd name="T73" fmla="*/ 70 h 139"/>
                <a:gd name="T74" fmla="*/ 139 w 139"/>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70"/>
                  </a:moveTo>
                  <a:lnTo>
                    <a:pt x="139" y="70"/>
                  </a:lnTo>
                  <a:lnTo>
                    <a:pt x="139" y="84"/>
                  </a:lnTo>
                  <a:lnTo>
                    <a:pt x="134" y="96"/>
                  </a:lnTo>
                  <a:lnTo>
                    <a:pt x="128" y="108"/>
                  </a:lnTo>
                  <a:lnTo>
                    <a:pt x="119" y="119"/>
                  </a:lnTo>
                  <a:lnTo>
                    <a:pt x="108" y="127"/>
                  </a:lnTo>
                  <a:lnTo>
                    <a:pt x="98" y="133"/>
                  </a:lnTo>
                  <a:lnTo>
                    <a:pt x="84" y="137"/>
                  </a:lnTo>
                  <a:lnTo>
                    <a:pt x="70" y="139"/>
                  </a:lnTo>
                  <a:lnTo>
                    <a:pt x="70" y="139"/>
                  </a:lnTo>
                  <a:lnTo>
                    <a:pt x="57" y="137"/>
                  </a:lnTo>
                  <a:lnTo>
                    <a:pt x="43" y="133"/>
                  </a:lnTo>
                  <a:lnTo>
                    <a:pt x="31" y="127"/>
                  </a:lnTo>
                  <a:lnTo>
                    <a:pt x="21" y="119"/>
                  </a:lnTo>
                  <a:lnTo>
                    <a:pt x="12" y="108"/>
                  </a:lnTo>
                  <a:lnTo>
                    <a:pt x="6" y="96"/>
                  </a:lnTo>
                  <a:lnTo>
                    <a:pt x="2" y="84"/>
                  </a:lnTo>
                  <a:lnTo>
                    <a:pt x="0" y="70"/>
                  </a:lnTo>
                  <a:lnTo>
                    <a:pt x="0" y="70"/>
                  </a:lnTo>
                  <a:lnTo>
                    <a:pt x="2" y="55"/>
                  </a:lnTo>
                  <a:lnTo>
                    <a:pt x="6" y="43"/>
                  </a:lnTo>
                  <a:lnTo>
                    <a:pt x="12" y="31"/>
                  </a:lnTo>
                  <a:lnTo>
                    <a:pt x="21" y="20"/>
                  </a:lnTo>
                  <a:lnTo>
                    <a:pt x="31" y="12"/>
                  </a:lnTo>
                  <a:lnTo>
                    <a:pt x="43" y="6"/>
                  </a:lnTo>
                  <a:lnTo>
                    <a:pt x="57" y="2"/>
                  </a:lnTo>
                  <a:lnTo>
                    <a:pt x="70" y="0"/>
                  </a:lnTo>
                  <a:lnTo>
                    <a:pt x="70" y="0"/>
                  </a:lnTo>
                  <a:lnTo>
                    <a:pt x="84" y="2"/>
                  </a:lnTo>
                  <a:lnTo>
                    <a:pt x="98" y="6"/>
                  </a:lnTo>
                  <a:lnTo>
                    <a:pt x="108" y="12"/>
                  </a:lnTo>
                  <a:lnTo>
                    <a:pt x="119" y="20"/>
                  </a:lnTo>
                  <a:lnTo>
                    <a:pt x="128" y="31"/>
                  </a:lnTo>
                  <a:lnTo>
                    <a:pt x="134" y="43"/>
                  </a:lnTo>
                  <a:lnTo>
                    <a:pt x="139" y="55"/>
                  </a:lnTo>
                  <a:lnTo>
                    <a:pt x="139" y="70"/>
                  </a:lnTo>
                  <a:lnTo>
                    <a:pt x="139" y="7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6" name="Freeform 9">
              <a:extLst>
                <a:ext uri="{FF2B5EF4-FFF2-40B4-BE49-F238E27FC236}">
                  <a16:creationId xmlns:a16="http://schemas.microsoft.com/office/drawing/2014/main" id="{687D3AB7-3B0C-4B96-9B62-155A341903E1}"/>
                </a:ext>
              </a:extLst>
            </p:cNvPr>
            <p:cNvSpPr>
              <a:spLocks/>
            </p:cNvSpPr>
            <p:nvPr/>
          </p:nvSpPr>
          <p:spPr bwMode="auto">
            <a:xfrm rot="16200000" flipV="1">
              <a:off x="1255571" y="4046267"/>
              <a:ext cx="219075" cy="222250"/>
            </a:xfrm>
            <a:custGeom>
              <a:avLst/>
              <a:gdLst>
                <a:gd name="T0" fmla="*/ 138 w 138"/>
                <a:gd name="T1" fmla="*/ 70 h 140"/>
                <a:gd name="T2" fmla="*/ 138 w 138"/>
                <a:gd name="T3" fmla="*/ 70 h 140"/>
                <a:gd name="T4" fmla="*/ 137 w 138"/>
                <a:gd name="T5" fmla="*/ 84 h 140"/>
                <a:gd name="T6" fmla="*/ 132 w 138"/>
                <a:gd name="T7" fmla="*/ 97 h 140"/>
                <a:gd name="T8" fmla="*/ 126 w 138"/>
                <a:gd name="T9" fmla="*/ 108 h 140"/>
                <a:gd name="T10" fmla="*/ 117 w 138"/>
                <a:gd name="T11" fmla="*/ 119 h 140"/>
                <a:gd name="T12" fmla="*/ 108 w 138"/>
                <a:gd name="T13" fmla="*/ 128 h 140"/>
                <a:gd name="T14" fmla="*/ 96 w 138"/>
                <a:gd name="T15" fmla="*/ 134 h 140"/>
                <a:gd name="T16" fmla="*/ 82 w 138"/>
                <a:gd name="T17" fmla="*/ 139 h 140"/>
                <a:gd name="T18" fmla="*/ 68 w 138"/>
                <a:gd name="T19" fmla="*/ 140 h 140"/>
                <a:gd name="T20" fmla="*/ 68 w 138"/>
                <a:gd name="T21" fmla="*/ 140 h 140"/>
                <a:gd name="T22" fmla="*/ 55 w 138"/>
                <a:gd name="T23" fmla="*/ 139 h 140"/>
                <a:gd name="T24" fmla="*/ 42 w 138"/>
                <a:gd name="T25" fmla="*/ 134 h 140"/>
                <a:gd name="T26" fmla="*/ 30 w 138"/>
                <a:gd name="T27" fmla="*/ 128 h 140"/>
                <a:gd name="T28" fmla="*/ 19 w 138"/>
                <a:gd name="T29" fmla="*/ 119 h 140"/>
                <a:gd name="T30" fmla="*/ 10 w 138"/>
                <a:gd name="T31" fmla="*/ 108 h 140"/>
                <a:gd name="T32" fmla="*/ 4 w 138"/>
                <a:gd name="T33" fmla="*/ 97 h 140"/>
                <a:gd name="T34" fmla="*/ 1 w 138"/>
                <a:gd name="T35" fmla="*/ 84 h 140"/>
                <a:gd name="T36" fmla="*/ 0 w 138"/>
                <a:gd name="T37" fmla="*/ 70 h 140"/>
                <a:gd name="T38" fmla="*/ 0 w 138"/>
                <a:gd name="T39" fmla="*/ 70 h 140"/>
                <a:gd name="T40" fmla="*/ 1 w 138"/>
                <a:gd name="T41" fmla="*/ 56 h 140"/>
                <a:gd name="T42" fmla="*/ 4 w 138"/>
                <a:gd name="T43" fmla="*/ 43 h 140"/>
                <a:gd name="T44" fmla="*/ 10 w 138"/>
                <a:gd name="T45" fmla="*/ 32 h 140"/>
                <a:gd name="T46" fmla="*/ 19 w 138"/>
                <a:gd name="T47" fmla="*/ 21 h 140"/>
                <a:gd name="T48" fmla="*/ 30 w 138"/>
                <a:gd name="T49" fmla="*/ 12 h 140"/>
                <a:gd name="T50" fmla="*/ 42 w 138"/>
                <a:gd name="T51" fmla="*/ 6 h 140"/>
                <a:gd name="T52" fmla="*/ 55 w 138"/>
                <a:gd name="T53" fmla="*/ 1 h 140"/>
                <a:gd name="T54" fmla="*/ 68 w 138"/>
                <a:gd name="T55" fmla="*/ 0 h 140"/>
                <a:gd name="T56" fmla="*/ 68 w 138"/>
                <a:gd name="T57" fmla="*/ 0 h 140"/>
                <a:gd name="T58" fmla="*/ 82 w 138"/>
                <a:gd name="T59" fmla="*/ 1 h 140"/>
                <a:gd name="T60" fmla="*/ 96 w 138"/>
                <a:gd name="T61" fmla="*/ 6 h 140"/>
                <a:gd name="T62" fmla="*/ 108 w 138"/>
                <a:gd name="T63" fmla="*/ 12 h 140"/>
                <a:gd name="T64" fmla="*/ 117 w 138"/>
                <a:gd name="T65" fmla="*/ 21 h 140"/>
                <a:gd name="T66" fmla="*/ 126 w 138"/>
                <a:gd name="T67" fmla="*/ 32 h 140"/>
                <a:gd name="T68" fmla="*/ 132 w 138"/>
                <a:gd name="T69" fmla="*/ 43 h 140"/>
                <a:gd name="T70" fmla="*/ 137 w 138"/>
                <a:gd name="T71" fmla="*/ 56 h 140"/>
                <a:gd name="T72" fmla="*/ 138 w 138"/>
                <a:gd name="T73" fmla="*/ 70 h 140"/>
                <a:gd name="T74" fmla="*/ 138 w 138"/>
                <a:gd name="T75" fmla="*/ 7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40">
                  <a:moveTo>
                    <a:pt x="138" y="70"/>
                  </a:moveTo>
                  <a:lnTo>
                    <a:pt x="138" y="70"/>
                  </a:lnTo>
                  <a:lnTo>
                    <a:pt x="137" y="84"/>
                  </a:lnTo>
                  <a:lnTo>
                    <a:pt x="132" y="97"/>
                  </a:lnTo>
                  <a:lnTo>
                    <a:pt x="126" y="108"/>
                  </a:lnTo>
                  <a:lnTo>
                    <a:pt x="117" y="119"/>
                  </a:lnTo>
                  <a:lnTo>
                    <a:pt x="108" y="128"/>
                  </a:lnTo>
                  <a:lnTo>
                    <a:pt x="96" y="134"/>
                  </a:lnTo>
                  <a:lnTo>
                    <a:pt x="82" y="139"/>
                  </a:lnTo>
                  <a:lnTo>
                    <a:pt x="68" y="140"/>
                  </a:lnTo>
                  <a:lnTo>
                    <a:pt x="68" y="140"/>
                  </a:lnTo>
                  <a:lnTo>
                    <a:pt x="55" y="139"/>
                  </a:lnTo>
                  <a:lnTo>
                    <a:pt x="42" y="134"/>
                  </a:lnTo>
                  <a:lnTo>
                    <a:pt x="30" y="128"/>
                  </a:lnTo>
                  <a:lnTo>
                    <a:pt x="19" y="119"/>
                  </a:lnTo>
                  <a:lnTo>
                    <a:pt x="10" y="108"/>
                  </a:lnTo>
                  <a:lnTo>
                    <a:pt x="4" y="97"/>
                  </a:lnTo>
                  <a:lnTo>
                    <a:pt x="1" y="84"/>
                  </a:lnTo>
                  <a:lnTo>
                    <a:pt x="0" y="70"/>
                  </a:lnTo>
                  <a:lnTo>
                    <a:pt x="0" y="70"/>
                  </a:lnTo>
                  <a:lnTo>
                    <a:pt x="1" y="56"/>
                  </a:lnTo>
                  <a:lnTo>
                    <a:pt x="4" y="43"/>
                  </a:lnTo>
                  <a:lnTo>
                    <a:pt x="10" y="32"/>
                  </a:lnTo>
                  <a:lnTo>
                    <a:pt x="19" y="21"/>
                  </a:lnTo>
                  <a:lnTo>
                    <a:pt x="30" y="12"/>
                  </a:lnTo>
                  <a:lnTo>
                    <a:pt x="42" y="6"/>
                  </a:lnTo>
                  <a:lnTo>
                    <a:pt x="55" y="1"/>
                  </a:lnTo>
                  <a:lnTo>
                    <a:pt x="68" y="0"/>
                  </a:lnTo>
                  <a:lnTo>
                    <a:pt x="68" y="0"/>
                  </a:lnTo>
                  <a:lnTo>
                    <a:pt x="82" y="1"/>
                  </a:lnTo>
                  <a:lnTo>
                    <a:pt x="96" y="6"/>
                  </a:lnTo>
                  <a:lnTo>
                    <a:pt x="108" y="12"/>
                  </a:lnTo>
                  <a:lnTo>
                    <a:pt x="117" y="21"/>
                  </a:lnTo>
                  <a:lnTo>
                    <a:pt x="126" y="32"/>
                  </a:lnTo>
                  <a:lnTo>
                    <a:pt x="132" y="43"/>
                  </a:lnTo>
                  <a:lnTo>
                    <a:pt x="137" y="56"/>
                  </a:lnTo>
                  <a:lnTo>
                    <a:pt x="138" y="70"/>
                  </a:lnTo>
                  <a:lnTo>
                    <a:pt x="138"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7" name="Freeform 10">
              <a:extLst>
                <a:ext uri="{FF2B5EF4-FFF2-40B4-BE49-F238E27FC236}">
                  <a16:creationId xmlns:a16="http://schemas.microsoft.com/office/drawing/2014/main" id="{74F8037A-C608-4341-A533-EB533026A9BF}"/>
                </a:ext>
              </a:extLst>
            </p:cNvPr>
            <p:cNvSpPr>
              <a:spLocks/>
            </p:cNvSpPr>
            <p:nvPr/>
          </p:nvSpPr>
          <p:spPr bwMode="auto">
            <a:xfrm rot="16200000" flipV="1">
              <a:off x="1254777" y="3040585"/>
              <a:ext cx="220663" cy="222250"/>
            </a:xfrm>
            <a:custGeom>
              <a:avLst/>
              <a:gdLst>
                <a:gd name="T0" fmla="*/ 139 w 139"/>
                <a:gd name="T1" fmla="*/ 70 h 140"/>
                <a:gd name="T2" fmla="*/ 139 w 139"/>
                <a:gd name="T3" fmla="*/ 70 h 140"/>
                <a:gd name="T4" fmla="*/ 137 w 139"/>
                <a:gd name="T5" fmla="*/ 84 h 140"/>
                <a:gd name="T6" fmla="*/ 133 w 139"/>
                <a:gd name="T7" fmla="*/ 97 h 140"/>
                <a:gd name="T8" fmla="*/ 127 w 139"/>
                <a:gd name="T9" fmla="*/ 108 h 140"/>
                <a:gd name="T10" fmla="*/ 119 w 139"/>
                <a:gd name="T11" fmla="*/ 119 h 140"/>
                <a:gd name="T12" fmla="*/ 108 w 139"/>
                <a:gd name="T13" fmla="*/ 128 h 140"/>
                <a:gd name="T14" fmla="*/ 96 w 139"/>
                <a:gd name="T15" fmla="*/ 134 h 140"/>
                <a:gd name="T16" fmla="*/ 84 w 139"/>
                <a:gd name="T17" fmla="*/ 139 h 140"/>
                <a:gd name="T18" fmla="*/ 69 w 139"/>
                <a:gd name="T19" fmla="*/ 140 h 140"/>
                <a:gd name="T20" fmla="*/ 69 w 139"/>
                <a:gd name="T21" fmla="*/ 140 h 140"/>
                <a:gd name="T22" fmla="*/ 55 w 139"/>
                <a:gd name="T23" fmla="*/ 139 h 140"/>
                <a:gd name="T24" fmla="*/ 43 w 139"/>
                <a:gd name="T25" fmla="*/ 134 h 140"/>
                <a:gd name="T26" fmla="*/ 31 w 139"/>
                <a:gd name="T27" fmla="*/ 128 h 140"/>
                <a:gd name="T28" fmla="*/ 20 w 139"/>
                <a:gd name="T29" fmla="*/ 119 h 140"/>
                <a:gd name="T30" fmla="*/ 12 w 139"/>
                <a:gd name="T31" fmla="*/ 108 h 140"/>
                <a:gd name="T32" fmla="*/ 5 w 139"/>
                <a:gd name="T33" fmla="*/ 97 h 140"/>
                <a:gd name="T34" fmla="*/ 2 w 139"/>
                <a:gd name="T35" fmla="*/ 84 h 140"/>
                <a:gd name="T36" fmla="*/ 0 w 139"/>
                <a:gd name="T37" fmla="*/ 70 h 140"/>
                <a:gd name="T38" fmla="*/ 0 w 139"/>
                <a:gd name="T39" fmla="*/ 70 h 140"/>
                <a:gd name="T40" fmla="*/ 2 w 139"/>
                <a:gd name="T41" fmla="*/ 56 h 140"/>
                <a:gd name="T42" fmla="*/ 5 w 139"/>
                <a:gd name="T43" fmla="*/ 43 h 140"/>
                <a:gd name="T44" fmla="*/ 12 w 139"/>
                <a:gd name="T45" fmla="*/ 32 h 140"/>
                <a:gd name="T46" fmla="*/ 20 w 139"/>
                <a:gd name="T47" fmla="*/ 21 h 140"/>
                <a:gd name="T48" fmla="*/ 31 w 139"/>
                <a:gd name="T49" fmla="*/ 12 h 140"/>
                <a:gd name="T50" fmla="*/ 43 w 139"/>
                <a:gd name="T51" fmla="*/ 6 h 140"/>
                <a:gd name="T52" fmla="*/ 55 w 139"/>
                <a:gd name="T53" fmla="*/ 1 h 140"/>
                <a:gd name="T54" fmla="*/ 69 w 139"/>
                <a:gd name="T55" fmla="*/ 0 h 140"/>
                <a:gd name="T56" fmla="*/ 69 w 139"/>
                <a:gd name="T57" fmla="*/ 0 h 140"/>
                <a:gd name="T58" fmla="*/ 84 w 139"/>
                <a:gd name="T59" fmla="*/ 1 h 140"/>
                <a:gd name="T60" fmla="*/ 96 w 139"/>
                <a:gd name="T61" fmla="*/ 6 h 140"/>
                <a:gd name="T62" fmla="*/ 108 w 139"/>
                <a:gd name="T63" fmla="*/ 12 h 140"/>
                <a:gd name="T64" fmla="*/ 119 w 139"/>
                <a:gd name="T65" fmla="*/ 21 h 140"/>
                <a:gd name="T66" fmla="*/ 127 w 139"/>
                <a:gd name="T67" fmla="*/ 32 h 140"/>
                <a:gd name="T68" fmla="*/ 133 w 139"/>
                <a:gd name="T69" fmla="*/ 43 h 140"/>
                <a:gd name="T70" fmla="*/ 137 w 139"/>
                <a:gd name="T71" fmla="*/ 56 h 140"/>
                <a:gd name="T72" fmla="*/ 139 w 139"/>
                <a:gd name="T73" fmla="*/ 70 h 140"/>
                <a:gd name="T74" fmla="*/ 139 w 139"/>
                <a:gd name="T75" fmla="*/ 7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40">
                  <a:moveTo>
                    <a:pt x="139" y="70"/>
                  </a:moveTo>
                  <a:lnTo>
                    <a:pt x="139" y="70"/>
                  </a:lnTo>
                  <a:lnTo>
                    <a:pt x="137" y="84"/>
                  </a:lnTo>
                  <a:lnTo>
                    <a:pt x="133" y="97"/>
                  </a:lnTo>
                  <a:lnTo>
                    <a:pt x="127" y="108"/>
                  </a:lnTo>
                  <a:lnTo>
                    <a:pt x="119" y="119"/>
                  </a:lnTo>
                  <a:lnTo>
                    <a:pt x="108" y="128"/>
                  </a:lnTo>
                  <a:lnTo>
                    <a:pt x="96" y="134"/>
                  </a:lnTo>
                  <a:lnTo>
                    <a:pt x="84" y="139"/>
                  </a:lnTo>
                  <a:lnTo>
                    <a:pt x="69" y="140"/>
                  </a:lnTo>
                  <a:lnTo>
                    <a:pt x="69" y="140"/>
                  </a:lnTo>
                  <a:lnTo>
                    <a:pt x="55" y="139"/>
                  </a:lnTo>
                  <a:lnTo>
                    <a:pt x="43" y="134"/>
                  </a:lnTo>
                  <a:lnTo>
                    <a:pt x="31" y="128"/>
                  </a:lnTo>
                  <a:lnTo>
                    <a:pt x="20" y="119"/>
                  </a:lnTo>
                  <a:lnTo>
                    <a:pt x="12" y="108"/>
                  </a:lnTo>
                  <a:lnTo>
                    <a:pt x="5" y="97"/>
                  </a:lnTo>
                  <a:lnTo>
                    <a:pt x="2" y="84"/>
                  </a:lnTo>
                  <a:lnTo>
                    <a:pt x="0" y="70"/>
                  </a:lnTo>
                  <a:lnTo>
                    <a:pt x="0" y="70"/>
                  </a:lnTo>
                  <a:lnTo>
                    <a:pt x="2" y="56"/>
                  </a:lnTo>
                  <a:lnTo>
                    <a:pt x="5" y="43"/>
                  </a:lnTo>
                  <a:lnTo>
                    <a:pt x="12" y="32"/>
                  </a:lnTo>
                  <a:lnTo>
                    <a:pt x="20" y="21"/>
                  </a:lnTo>
                  <a:lnTo>
                    <a:pt x="31" y="12"/>
                  </a:lnTo>
                  <a:lnTo>
                    <a:pt x="43" y="6"/>
                  </a:lnTo>
                  <a:lnTo>
                    <a:pt x="55" y="1"/>
                  </a:lnTo>
                  <a:lnTo>
                    <a:pt x="69" y="0"/>
                  </a:lnTo>
                  <a:lnTo>
                    <a:pt x="69" y="0"/>
                  </a:lnTo>
                  <a:lnTo>
                    <a:pt x="84" y="1"/>
                  </a:lnTo>
                  <a:lnTo>
                    <a:pt x="96" y="6"/>
                  </a:lnTo>
                  <a:lnTo>
                    <a:pt x="108" y="12"/>
                  </a:lnTo>
                  <a:lnTo>
                    <a:pt x="119" y="21"/>
                  </a:lnTo>
                  <a:lnTo>
                    <a:pt x="127" y="32"/>
                  </a:lnTo>
                  <a:lnTo>
                    <a:pt x="133" y="43"/>
                  </a:lnTo>
                  <a:lnTo>
                    <a:pt x="137" y="56"/>
                  </a:lnTo>
                  <a:lnTo>
                    <a:pt x="139" y="70"/>
                  </a:lnTo>
                  <a:lnTo>
                    <a:pt x="139"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8" name="Freeform 11">
              <a:extLst>
                <a:ext uri="{FF2B5EF4-FFF2-40B4-BE49-F238E27FC236}">
                  <a16:creationId xmlns:a16="http://schemas.microsoft.com/office/drawing/2014/main" id="{603A33CA-FEE7-43A5-A967-7A431B65AB6D}"/>
                </a:ext>
              </a:extLst>
            </p:cNvPr>
            <p:cNvSpPr>
              <a:spLocks/>
            </p:cNvSpPr>
            <p:nvPr/>
          </p:nvSpPr>
          <p:spPr bwMode="auto">
            <a:xfrm rot="16200000" flipV="1">
              <a:off x="978552" y="3862910"/>
              <a:ext cx="219075" cy="220663"/>
            </a:xfrm>
            <a:custGeom>
              <a:avLst/>
              <a:gdLst>
                <a:gd name="T0" fmla="*/ 138 w 138"/>
                <a:gd name="T1" fmla="*/ 70 h 139"/>
                <a:gd name="T2" fmla="*/ 138 w 138"/>
                <a:gd name="T3" fmla="*/ 70 h 139"/>
                <a:gd name="T4" fmla="*/ 137 w 138"/>
                <a:gd name="T5" fmla="*/ 84 h 139"/>
                <a:gd name="T6" fmla="*/ 134 w 138"/>
                <a:gd name="T7" fmla="*/ 98 h 139"/>
                <a:gd name="T8" fmla="*/ 128 w 138"/>
                <a:gd name="T9" fmla="*/ 108 h 139"/>
                <a:gd name="T10" fmla="*/ 119 w 138"/>
                <a:gd name="T11" fmla="*/ 119 h 139"/>
                <a:gd name="T12" fmla="*/ 108 w 138"/>
                <a:gd name="T13" fmla="*/ 128 h 139"/>
                <a:gd name="T14" fmla="*/ 97 w 138"/>
                <a:gd name="T15" fmla="*/ 134 h 139"/>
                <a:gd name="T16" fmla="*/ 84 w 138"/>
                <a:gd name="T17" fmla="*/ 137 h 139"/>
                <a:gd name="T18" fmla="*/ 70 w 138"/>
                <a:gd name="T19" fmla="*/ 139 h 139"/>
                <a:gd name="T20" fmla="*/ 70 w 138"/>
                <a:gd name="T21" fmla="*/ 139 h 139"/>
                <a:gd name="T22" fmla="*/ 56 w 138"/>
                <a:gd name="T23" fmla="*/ 137 h 139"/>
                <a:gd name="T24" fmla="*/ 42 w 138"/>
                <a:gd name="T25" fmla="*/ 134 h 139"/>
                <a:gd name="T26" fmla="*/ 30 w 138"/>
                <a:gd name="T27" fmla="*/ 128 h 139"/>
                <a:gd name="T28" fmla="*/ 21 w 138"/>
                <a:gd name="T29" fmla="*/ 119 h 139"/>
                <a:gd name="T30" fmla="*/ 12 w 138"/>
                <a:gd name="T31" fmla="*/ 108 h 139"/>
                <a:gd name="T32" fmla="*/ 6 w 138"/>
                <a:gd name="T33" fmla="*/ 98 h 139"/>
                <a:gd name="T34" fmla="*/ 1 w 138"/>
                <a:gd name="T35" fmla="*/ 84 h 139"/>
                <a:gd name="T36" fmla="*/ 0 w 138"/>
                <a:gd name="T37" fmla="*/ 70 h 139"/>
                <a:gd name="T38" fmla="*/ 0 w 138"/>
                <a:gd name="T39" fmla="*/ 70 h 139"/>
                <a:gd name="T40" fmla="*/ 1 w 138"/>
                <a:gd name="T41" fmla="*/ 56 h 139"/>
                <a:gd name="T42" fmla="*/ 6 w 138"/>
                <a:gd name="T43" fmla="*/ 43 h 139"/>
                <a:gd name="T44" fmla="*/ 12 w 138"/>
                <a:gd name="T45" fmla="*/ 31 h 139"/>
                <a:gd name="T46" fmla="*/ 21 w 138"/>
                <a:gd name="T47" fmla="*/ 21 h 139"/>
                <a:gd name="T48" fmla="*/ 30 w 138"/>
                <a:gd name="T49" fmla="*/ 12 h 139"/>
                <a:gd name="T50" fmla="*/ 42 w 138"/>
                <a:gd name="T51" fmla="*/ 6 h 139"/>
                <a:gd name="T52" fmla="*/ 56 w 138"/>
                <a:gd name="T53" fmla="*/ 2 h 139"/>
                <a:gd name="T54" fmla="*/ 70 w 138"/>
                <a:gd name="T55" fmla="*/ 0 h 139"/>
                <a:gd name="T56" fmla="*/ 70 w 138"/>
                <a:gd name="T57" fmla="*/ 0 h 139"/>
                <a:gd name="T58" fmla="*/ 84 w 138"/>
                <a:gd name="T59" fmla="*/ 2 h 139"/>
                <a:gd name="T60" fmla="*/ 97 w 138"/>
                <a:gd name="T61" fmla="*/ 6 h 139"/>
                <a:gd name="T62" fmla="*/ 108 w 138"/>
                <a:gd name="T63" fmla="*/ 12 h 139"/>
                <a:gd name="T64" fmla="*/ 119 w 138"/>
                <a:gd name="T65" fmla="*/ 21 h 139"/>
                <a:gd name="T66" fmla="*/ 128 w 138"/>
                <a:gd name="T67" fmla="*/ 31 h 139"/>
                <a:gd name="T68" fmla="*/ 134 w 138"/>
                <a:gd name="T69" fmla="*/ 43 h 139"/>
                <a:gd name="T70" fmla="*/ 137 w 138"/>
                <a:gd name="T71" fmla="*/ 56 h 139"/>
                <a:gd name="T72" fmla="*/ 138 w 138"/>
                <a:gd name="T73" fmla="*/ 70 h 139"/>
                <a:gd name="T74" fmla="*/ 138 w 138"/>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39">
                  <a:moveTo>
                    <a:pt x="138" y="70"/>
                  </a:moveTo>
                  <a:lnTo>
                    <a:pt x="138" y="70"/>
                  </a:lnTo>
                  <a:lnTo>
                    <a:pt x="137" y="84"/>
                  </a:lnTo>
                  <a:lnTo>
                    <a:pt x="134" y="98"/>
                  </a:lnTo>
                  <a:lnTo>
                    <a:pt x="128" y="108"/>
                  </a:lnTo>
                  <a:lnTo>
                    <a:pt x="119" y="119"/>
                  </a:lnTo>
                  <a:lnTo>
                    <a:pt x="108" y="128"/>
                  </a:lnTo>
                  <a:lnTo>
                    <a:pt x="97" y="134"/>
                  </a:lnTo>
                  <a:lnTo>
                    <a:pt x="84" y="137"/>
                  </a:lnTo>
                  <a:lnTo>
                    <a:pt x="70" y="139"/>
                  </a:lnTo>
                  <a:lnTo>
                    <a:pt x="70" y="139"/>
                  </a:lnTo>
                  <a:lnTo>
                    <a:pt x="56" y="137"/>
                  </a:lnTo>
                  <a:lnTo>
                    <a:pt x="42" y="134"/>
                  </a:lnTo>
                  <a:lnTo>
                    <a:pt x="30" y="128"/>
                  </a:lnTo>
                  <a:lnTo>
                    <a:pt x="21" y="119"/>
                  </a:lnTo>
                  <a:lnTo>
                    <a:pt x="12" y="108"/>
                  </a:lnTo>
                  <a:lnTo>
                    <a:pt x="6" y="98"/>
                  </a:lnTo>
                  <a:lnTo>
                    <a:pt x="1" y="84"/>
                  </a:lnTo>
                  <a:lnTo>
                    <a:pt x="0" y="70"/>
                  </a:lnTo>
                  <a:lnTo>
                    <a:pt x="0" y="70"/>
                  </a:lnTo>
                  <a:lnTo>
                    <a:pt x="1" y="56"/>
                  </a:lnTo>
                  <a:lnTo>
                    <a:pt x="6" y="43"/>
                  </a:lnTo>
                  <a:lnTo>
                    <a:pt x="12" y="31"/>
                  </a:lnTo>
                  <a:lnTo>
                    <a:pt x="21" y="21"/>
                  </a:lnTo>
                  <a:lnTo>
                    <a:pt x="30" y="12"/>
                  </a:lnTo>
                  <a:lnTo>
                    <a:pt x="42" y="6"/>
                  </a:lnTo>
                  <a:lnTo>
                    <a:pt x="56" y="2"/>
                  </a:lnTo>
                  <a:lnTo>
                    <a:pt x="70" y="0"/>
                  </a:lnTo>
                  <a:lnTo>
                    <a:pt x="70" y="0"/>
                  </a:lnTo>
                  <a:lnTo>
                    <a:pt x="84" y="2"/>
                  </a:lnTo>
                  <a:lnTo>
                    <a:pt x="97" y="6"/>
                  </a:lnTo>
                  <a:lnTo>
                    <a:pt x="108" y="12"/>
                  </a:lnTo>
                  <a:lnTo>
                    <a:pt x="119" y="21"/>
                  </a:lnTo>
                  <a:lnTo>
                    <a:pt x="128" y="31"/>
                  </a:lnTo>
                  <a:lnTo>
                    <a:pt x="134" y="43"/>
                  </a:lnTo>
                  <a:lnTo>
                    <a:pt x="137" y="56"/>
                  </a:lnTo>
                  <a:lnTo>
                    <a:pt x="138" y="70"/>
                  </a:lnTo>
                  <a:lnTo>
                    <a:pt x="138"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9" name="Freeform 12">
              <a:extLst>
                <a:ext uri="{FF2B5EF4-FFF2-40B4-BE49-F238E27FC236}">
                  <a16:creationId xmlns:a16="http://schemas.microsoft.com/office/drawing/2014/main" id="{433D551E-EEC4-49E7-BA5C-77A031A3F1BD}"/>
                </a:ext>
              </a:extLst>
            </p:cNvPr>
            <p:cNvSpPr>
              <a:spLocks/>
            </p:cNvSpPr>
            <p:nvPr/>
          </p:nvSpPr>
          <p:spPr bwMode="auto">
            <a:xfrm rot="16200000" flipV="1">
              <a:off x="977758" y="3212829"/>
              <a:ext cx="220663" cy="220663"/>
            </a:xfrm>
            <a:custGeom>
              <a:avLst/>
              <a:gdLst>
                <a:gd name="T0" fmla="*/ 139 w 139"/>
                <a:gd name="T1" fmla="*/ 70 h 139"/>
                <a:gd name="T2" fmla="*/ 139 w 139"/>
                <a:gd name="T3" fmla="*/ 70 h 139"/>
                <a:gd name="T4" fmla="*/ 137 w 139"/>
                <a:gd name="T5" fmla="*/ 84 h 139"/>
                <a:gd name="T6" fmla="*/ 134 w 139"/>
                <a:gd name="T7" fmla="*/ 98 h 139"/>
                <a:gd name="T8" fmla="*/ 126 w 139"/>
                <a:gd name="T9" fmla="*/ 108 h 139"/>
                <a:gd name="T10" fmla="*/ 119 w 139"/>
                <a:gd name="T11" fmla="*/ 119 h 139"/>
                <a:gd name="T12" fmla="*/ 108 w 139"/>
                <a:gd name="T13" fmla="*/ 128 h 139"/>
                <a:gd name="T14" fmla="*/ 96 w 139"/>
                <a:gd name="T15" fmla="*/ 134 h 139"/>
                <a:gd name="T16" fmla="*/ 84 w 139"/>
                <a:gd name="T17" fmla="*/ 137 h 139"/>
                <a:gd name="T18" fmla="*/ 70 w 139"/>
                <a:gd name="T19" fmla="*/ 139 h 139"/>
                <a:gd name="T20" fmla="*/ 70 w 139"/>
                <a:gd name="T21" fmla="*/ 139 h 139"/>
                <a:gd name="T22" fmla="*/ 55 w 139"/>
                <a:gd name="T23" fmla="*/ 137 h 139"/>
                <a:gd name="T24" fmla="*/ 42 w 139"/>
                <a:gd name="T25" fmla="*/ 134 h 139"/>
                <a:gd name="T26" fmla="*/ 30 w 139"/>
                <a:gd name="T27" fmla="*/ 128 h 139"/>
                <a:gd name="T28" fmla="*/ 20 w 139"/>
                <a:gd name="T29" fmla="*/ 119 h 139"/>
                <a:gd name="T30" fmla="*/ 12 w 139"/>
                <a:gd name="T31" fmla="*/ 108 h 139"/>
                <a:gd name="T32" fmla="*/ 6 w 139"/>
                <a:gd name="T33" fmla="*/ 98 h 139"/>
                <a:gd name="T34" fmla="*/ 1 w 139"/>
                <a:gd name="T35" fmla="*/ 84 h 139"/>
                <a:gd name="T36" fmla="*/ 0 w 139"/>
                <a:gd name="T37" fmla="*/ 70 h 139"/>
                <a:gd name="T38" fmla="*/ 0 w 139"/>
                <a:gd name="T39" fmla="*/ 70 h 139"/>
                <a:gd name="T40" fmla="*/ 1 w 139"/>
                <a:gd name="T41" fmla="*/ 56 h 139"/>
                <a:gd name="T42" fmla="*/ 6 w 139"/>
                <a:gd name="T43" fmla="*/ 43 h 139"/>
                <a:gd name="T44" fmla="*/ 12 w 139"/>
                <a:gd name="T45" fmla="*/ 31 h 139"/>
                <a:gd name="T46" fmla="*/ 20 w 139"/>
                <a:gd name="T47" fmla="*/ 21 h 139"/>
                <a:gd name="T48" fmla="*/ 30 w 139"/>
                <a:gd name="T49" fmla="*/ 12 h 139"/>
                <a:gd name="T50" fmla="*/ 42 w 139"/>
                <a:gd name="T51" fmla="*/ 6 h 139"/>
                <a:gd name="T52" fmla="*/ 55 w 139"/>
                <a:gd name="T53" fmla="*/ 2 h 139"/>
                <a:gd name="T54" fmla="*/ 70 w 139"/>
                <a:gd name="T55" fmla="*/ 0 h 139"/>
                <a:gd name="T56" fmla="*/ 70 w 139"/>
                <a:gd name="T57" fmla="*/ 0 h 139"/>
                <a:gd name="T58" fmla="*/ 84 w 139"/>
                <a:gd name="T59" fmla="*/ 2 h 139"/>
                <a:gd name="T60" fmla="*/ 96 w 139"/>
                <a:gd name="T61" fmla="*/ 6 h 139"/>
                <a:gd name="T62" fmla="*/ 108 w 139"/>
                <a:gd name="T63" fmla="*/ 12 h 139"/>
                <a:gd name="T64" fmla="*/ 119 w 139"/>
                <a:gd name="T65" fmla="*/ 21 h 139"/>
                <a:gd name="T66" fmla="*/ 126 w 139"/>
                <a:gd name="T67" fmla="*/ 31 h 139"/>
                <a:gd name="T68" fmla="*/ 134 w 139"/>
                <a:gd name="T69" fmla="*/ 43 h 139"/>
                <a:gd name="T70" fmla="*/ 137 w 139"/>
                <a:gd name="T71" fmla="*/ 56 h 139"/>
                <a:gd name="T72" fmla="*/ 139 w 139"/>
                <a:gd name="T73" fmla="*/ 70 h 139"/>
                <a:gd name="T74" fmla="*/ 139 w 139"/>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70"/>
                  </a:moveTo>
                  <a:lnTo>
                    <a:pt x="139" y="70"/>
                  </a:lnTo>
                  <a:lnTo>
                    <a:pt x="137" y="84"/>
                  </a:lnTo>
                  <a:lnTo>
                    <a:pt x="134" y="98"/>
                  </a:lnTo>
                  <a:lnTo>
                    <a:pt x="126" y="108"/>
                  </a:lnTo>
                  <a:lnTo>
                    <a:pt x="119" y="119"/>
                  </a:lnTo>
                  <a:lnTo>
                    <a:pt x="108" y="128"/>
                  </a:lnTo>
                  <a:lnTo>
                    <a:pt x="96" y="134"/>
                  </a:lnTo>
                  <a:lnTo>
                    <a:pt x="84" y="137"/>
                  </a:lnTo>
                  <a:lnTo>
                    <a:pt x="70" y="139"/>
                  </a:lnTo>
                  <a:lnTo>
                    <a:pt x="70" y="139"/>
                  </a:lnTo>
                  <a:lnTo>
                    <a:pt x="55" y="137"/>
                  </a:lnTo>
                  <a:lnTo>
                    <a:pt x="42" y="134"/>
                  </a:lnTo>
                  <a:lnTo>
                    <a:pt x="30" y="128"/>
                  </a:lnTo>
                  <a:lnTo>
                    <a:pt x="20" y="119"/>
                  </a:lnTo>
                  <a:lnTo>
                    <a:pt x="12" y="108"/>
                  </a:lnTo>
                  <a:lnTo>
                    <a:pt x="6" y="98"/>
                  </a:lnTo>
                  <a:lnTo>
                    <a:pt x="1" y="84"/>
                  </a:lnTo>
                  <a:lnTo>
                    <a:pt x="0" y="70"/>
                  </a:lnTo>
                  <a:lnTo>
                    <a:pt x="0" y="70"/>
                  </a:lnTo>
                  <a:lnTo>
                    <a:pt x="1" y="56"/>
                  </a:lnTo>
                  <a:lnTo>
                    <a:pt x="6" y="43"/>
                  </a:lnTo>
                  <a:lnTo>
                    <a:pt x="12" y="31"/>
                  </a:lnTo>
                  <a:lnTo>
                    <a:pt x="20" y="21"/>
                  </a:lnTo>
                  <a:lnTo>
                    <a:pt x="30" y="12"/>
                  </a:lnTo>
                  <a:lnTo>
                    <a:pt x="42" y="6"/>
                  </a:lnTo>
                  <a:lnTo>
                    <a:pt x="55" y="2"/>
                  </a:lnTo>
                  <a:lnTo>
                    <a:pt x="70" y="0"/>
                  </a:lnTo>
                  <a:lnTo>
                    <a:pt x="70" y="0"/>
                  </a:lnTo>
                  <a:lnTo>
                    <a:pt x="84" y="2"/>
                  </a:lnTo>
                  <a:lnTo>
                    <a:pt x="96" y="6"/>
                  </a:lnTo>
                  <a:lnTo>
                    <a:pt x="108" y="12"/>
                  </a:lnTo>
                  <a:lnTo>
                    <a:pt x="119" y="21"/>
                  </a:lnTo>
                  <a:lnTo>
                    <a:pt x="126" y="31"/>
                  </a:lnTo>
                  <a:lnTo>
                    <a:pt x="134" y="43"/>
                  </a:lnTo>
                  <a:lnTo>
                    <a:pt x="137" y="56"/>
                  </a:lnTo>
                  <a:lnTo>
                    <a:pt x="139" y="70"/>
                  </a:lnTo>
                  <a:lnTo>
                    <a:pt x="139"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0" name="Freeform 13">
              <a:extLst>
                <a:ext uri="{FF2B5EF4-FFF2-40B4-BE49-F238E27FC236}">
                  <a16:creationId xmlns:a16="http://schemas.microsoft.com/office/drawing/2014/main" id="{04AFD81D-0E8A-48CA-AA29-DC18E2AD2662}"/>
                </a:ext>
              </a:extLst>
            </p:cNvPr>
            <p:cNvSpPr>
              <a:spLocks/>
            </p:cNvSpPr>
            <p:nvPr/>
          </p:nvSpPr>
          <p:spPr bwMode="auto">
            <a:xfrm rot="16200000" flipV="1">
              <a:off x="760271" y="3538267"/>
              <a:ext cx="220663" cy="220663"/>
            </a:xfrm>
            <a:custGeom>
              <a:avLst/>
              <a:gdLst>
                <a:gd name="T0" fmla="*/ 139 w 139"/>
                <a:gd name="T1" fmla="*/ 70 h 139"/>
                <a:gd name="T2" fmla="*/ 139 w 139"/>
                <a:gd name="T3" fmla="*/ 70 h 139"/>
                <a:gd name="T4" fmla="*/ 138 w 139"/>
                <a:gd name="T5" fmla="*/ 84 h 139"/>
                <a:gd name="T6" fmla="*/ 134 w 139"/>
                <a:gd name="T7" fmla="*/ 96 h 139"/>
                <a:gd name="T8" fmla="*/ 127 w 139"/>
                <a:gd name="T9" fmla="*/ 108 h 139"/>
                <a:gd name="T10" fmla="*/ 119 w 139"/>
                <a:gd name="T11" fmla="*/ 119 h 139"/>
                <a:gd name="T12" fmla="*/ 109 w 139"/>
                <a:gd name="T13" fmla="*/ 128 h 139"/>
                <a:gd name="T14" fmla="*/ 96 w 139"/>
                <a:gd name="T15" fmla="*/ 134 h 139"/>
                <a:gd name="T16" fmla="*/ 84 w 139"/>
                <a:gd name="T17" fmla="*/ 137 h 139"/>
                <a:gd name="T18" fmla="*/ 70 w 139"/>
                <a:gd name="T19" fmla="*/ 139 h 139"/>
                <a:gd name="T20" fmla="*/ 70 w 139"/>
                <a:gd name="T21" fmla="*/ 139 h 139"/>
                <a:gd name="T22" fmla="*/ 57 w 139"/>
                <a:gd name="T23" fmla="*/ 137 h 139"/>
                <a:gd name="T24" fmla="*/ 43 w 139"/>
                <a:gd name="T25" fmla="*/ 134 h 139"/>
                <a:gd name="T26" fmla="*/ 31 w 139"/>
                <a:gd name="T27" fmla="*/ 128 h 139"/>
                <a:gd name="T28" fmla="*/ 21 w 139"/>
                <a:gd name="T29" fmla="*/ 119 h 139"/>
                <a:gd name="T30" fmla="*/ 12 w 139"/>
                <a:gd name="T31" fmla="*/ 108 h 139"/>
                <a:gd name="T32" fmla="*/ 6 w 139"/>
                <a:gd name="T33" fmla="*/ 96 h 139"/>
                <a:gd name="T34" fmla="*/ 2 w 139"/>
                <a:gd name="T35" fmla="*/ 84 h 139"/>
                <a:gd name="T36" fmla="*/ 0 w 139"/>
                <a:gd name="T37" fmla="*/ 70 h 139"/>
                <a:gd name="T38" fmla="*/ 0 w 139"/>
                <a:gd name="T39" fmla="*/ 70 h 139"/>
                <a:gd name="T40" fmla="*/ 2 w 139"/>
                <a:gd name="T41" fmla="*/ 57 h 139"/>
                <a:gd name="T42" fmla="*/ 6 w 139"/>
                <a:gd name="T43" fmla="*/ 43 h 139"/>
                <a:gd name="T44" fmla="*/ 12 w 139"/>
                <a:gd name="T45" fmla="*/ 31 h 139"/>
                <a:gd name="T46" fmla="*/ 21 w 139"/>
                <a:gd name="T47" fmla="*/ 22 h 139"/>
                <a:gd name="T48" fmla="*/ 31 w 139"/>
                <a:gd name="T49" fmla="*/ 12 h 139"/>
                <a:gd name="T50" fmla="*/ 43 w 139"/>
                <a:gd name="T51" fmla="*/ 6 h 139"/>
                <a:gd name="T52" fmla="*/ 57 w 139"/>
                <a:gd name="T53" fmla="*/ 2 h 139"/>
                <a:gd name="T54" fmla="*/ 70 w 139"/>
                <a:gd name="T55" fmla="*/ 0 h 139"/>
                <a:gd name="T56" fmla="*/ 70 w 139"/>
                <a:gd name="T57" fmla="*/ 0 h 139"/>
                <a:gd name="T58" fmla="*/ 84 w 139"/>
                <a:gd name="T59" fmla="*/ 2 h 139"/>
                <a:gd name="T60" fmla="*/ 96 w 139"/>
                <a:gd name="T61" fmla="*/ 6 h 139"/>
                <a:gd name="T62" fmla="*/ 109 w 139"/>
                <a:gd name="T63" fmla="*/ 12 h 139"/>
                <a:gd name="T64" fmla="*/ 119 w 139"/>
                <a:gd name="T65" fmla="*/ 22 h 139"/>
                <a:gd name="T66" fmla="*/ 127 w 139"/>
                <a:gd name="T67" fmla="*/ 31 h 139"/>
                <a:gd name="T68" fmla="*/ 134 w 139"/>
                <a:gd name="T69" fmla="*/ 43 h 139"/>
                <a:gd name="T70" fmla="*/ 138 w 139"/>
                <a:gd name="T71" fmla="*/ 57 h 139"/>
                <a:gd name="T72" fmla="*/ 139 w 139"/>
                <a:gd name="T73" fmla="*/ 70 h 139"/>
                <a:gd name="T74" fmla="*/ 139 w 139"/>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70"/>
                  </a:moveTo>
                  <a:lnTo>
                    <a:pt x="139" y="70"/>
                  </a:lnTo>
                  <a:lnTo>
                    <a:pt x="138" y="84"/>
                  </a:lnTo>
                  <a:lnTo>
                    <a:pt x="134" y="96"/>
                  </a:lnTo>
                  <a:lnTo>
                    <a:pt x="127" y="108"/>
                  </a:lnTo>
                  <a:lnTo>
                    <a:pt x="119" y="119"/>
                  </a:lnTo>
                  <a:lnTo>
                    <a:pt x="109" y="128"/>
                  </a:lnTo>
                  <a:lnTo>
                    <a:pt x="96" y="134"/>
                  </a:lnTo>
                  <a:lnTo>
                    <a:pt x="84" y="137"/>
                  </a:lnTo>
                  <a:lnTo>
                    <a:pt x="70" y="139"/>
                  </a:lnTo>
                  <a:lnTo>
                    <a:pt x="70" y="139"/>
                  </a:lnTo>
                  <a:lnTo>
                    <a:pt x="57" y="137"/>
                  </a:lnTo>
                  <a:lnTo>
                    <a:pt x="43" y="134"/>
                  </a:lnTo>
                  <a:lnTo>
                    <a:pt x="31" y="128"/>
                  </a:lnTo>
                  <a:lnTo>
                    <a:pt x="21" y="119"/>
                  </a:lnTo>
                  <a:lnTo>
                    <a:pt x="12" y="108"/>
                  </a:lnTo>
                  <a:lnTo>
                    <a:pt x="6" y="96"/>
                  </a:lnTo>
                  <a:lnTo>
                    <a:pt x="2" y="84"/>
                  </a:lnTo>
                  <a:lnTo>
                    <a:pt x="0" y="70"/>
                  </a:lnTo>
                  <a:lnTo>
                    <a:pt x="0" y="70"/>
                  </a:lnTo>
                  <a:lnTo>
                    <a:pt x="2" y="57"/>
                  </a:lnTo>
                  <a:lnTo>
                    <a:pt x="6" y="43"/>
                  </a:lnTo>
                  <a:lnTo>
                    <a:pt x="12" y="31"/>
                  </a:lnTo>
                  <a:lnTo>
                    <a:pt x="21" y="22"/>
                  </a:lnTo>
                  <a:lnTo>
                    <a:pt x="31" y="12"/>
                  </a:lnTo>
                  <a:lnTo>
                    <a:pt x="43" y="6"/>
                  </a:lnTo>
                  <a:lnTo>
                    <a:pt x="57" y="2"/>
                  </a:lnTo>
                  <a:lnTo>
                    <a:pt x="70" y="0"/>
                  </a:lnTo>
                  <a:lnTo>
                    <a:pt x="70" y="0"/>
                  </a:lnTo>
                  <a:lnTo>
                    <a:pt x="84" y="2"/>
                  </a:lnTo>
                  <a:lnTo>
                    <a:pt x="96" y="6"/>
                  </a:lnTo>
                  <a:lnTo>
                    <a:pt x="109" y="12"/>
                  </a:lnTo>
                  <a:lnTo>
                    <a:pt x="119" y="22"/>
                  </a:lnTo>
                  <a:lnTo>
                    <a:pt x="127" y="31"/>
                  </a:lnTo>
                  <a:lnTo>
                    <a:pt x="134" y="43"/>
                  </a:lnTo>
                  <a:lnTo>
                    <a:pt x="138" y="57"/>
                  </a:lnTo>
                  <a:lnTo>
                    <a:pt x="139" y="70"/>
                  </a:lnTo>
                  <a:lnTo>
                    <a:pt x="139"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1" name="Freeform 11">
              <a:extLst>
                <a:ext uri="{FF2B5EF4-FFF2-40B4-BE49-F238E27FC236}">
                  <a16:creationId xmlns:a16="http://schemas.microsoft.com/office/drawing/2014/main" id="{22A5D3CB-6F32-4BE5-A4B9-240CB40CEDFA}"/>
                </a:ext>
              </a:extLst>
            </p:cNvPr>
            <p:cNvSpPr>
              <a:spLocks/>
            </p:cNvSpPr>
            <p:nvPr/>
          </p:nvSpPr>
          <p:spPr bwMode="auto">
            <a:xfrm rot="16200000" flipV="1">
              <a:off x="3184884" y="3908441"/>
              <a:ext cx="219075" cy="220663"/>
            </a:xfrm>
            <a:custGeom>
              <a:avLst/>
              <a:gdLst>
                <a:gd name="T0" fmla="*/ 138 w 138"/>
                <a:gd name="T1" fmla="*/ 70 h 139"/>
                <a:gd name="T2" fmla="*/ 138 w 138"/>
                <a:gd name="T3" fmla="*/ 70 h 139"/>
                <a:gd name="T4" fmla="*/ 137 w 138"/>
                <a:gd name="T5" fmla="*/ 84 h 139"/>
                <a:gd name="T6" fmla="*/ 134 w 138"/>
                <a:gd name="T7" fmla="*/ 98 h 139"/>
                <a:gd name="T8" fmla="*/ 128 w 138"/>
                <a:gd name="T9" fmla="*/ 108 h 139"/>
                <a:gd name="T10" fmla="*/ 119 w 138"/>
                <a:gd name="T11" fmla="*/ 119 h 139"/>
                <a:gd name="T12" fmla="*/ 108 w 138"/>
                <a:gd name="T13" fmla="*/ 128 h 139"/>
                <a:gd name="T14" fmla="*/ 97 w 138"/>
                <a:gd name="T15" fmla="*/ 134 h 139"/>
                <a:gd name="T16" fmla="*/ 84 w 138"/>
                <a:gd name="T17" fmla="*/ 137 h 139"/>
                <a:gd name="T18" fmla="*/ 70 w 138"/>
                <a:gd name="T19" fmla="*/ 139 h 139"/>
                <a:gd name="T20" fmla="*/ 70 w 138"/>
                <a:gd name="T21" fmla="*/ 139 h 139"/>
                <a:gd name="T22" fmla="*/ 56 w 138"/>
                <a:gd name="T23" fmla="*/ 137 h 139"/>
                <a:gd name="T24" fmla="*/ 42 w 138"/>
                <a:gd name="T25" fmla="*/ 134 h 139"/>
                <a:gd name="T26" fmla="*/ 30 w 138"/>
                <a:gd name="T27" fmla="*/ 128 h 139"/>
                <a:gd name="T28" fmla="*/ 21 w 138"/>
                <a:gd name="T29" fmla="*/ 119 h 139"/>
                <a:gd name="T30" fmla="*/ 12 w 138"/>
                <a:gd name="T31" fmla="*/ 108 h 139"/>
                <a:gd name="T32" fmla="*/ 6 w 138"/>
                <a:gd name="T33" fmla="*/ 98 h 139"/>
                <a:gd name="T34" fmla="*/ 1 w 138"/>
                <a:gd name="T35" fmla="*/ 84 h 139"/>
                <a:gd name="T36" fmla="*/ 0 w 138"/>
                <a:gd name="T37" fmla="*/ 70 h 139"/>
                <a:gd name="T38" fmla="*/ 0 w 138"/>
                <a:gd name="T39" fmla="*/ 70 h 139"/>
                <a:gd name="T40" fmla="*/ 1 w 138"/>
                <a:gd name="T41" fmla="*/ 56 h 139"/>
                <a:gd name="T42" fmla="*/ 6 w 138"/>
                <a:gd name="T43" fmla="*/ 43 h 139"/>
                <a:gd name="T44" fmla="*/ 12 w 138"/>
                <a:gd name="T45" fmla="*/ 31 h 139"/>
                <a:gd name="T46" fmla="*/ 21 w 138"/>
                <a:gd name="T47" fmla="*/ 21 h 139"/>
                <a:gd name="T48" fmla="*/ 30 w 138"/>
                <a:gd name="T49" fmla="*/ 12 h 139"/>
                <a:gd name="T50" fmla="*/ 42 w 138"/>
                <a:gd name="T51" fmla="*/ 6 h 139"/>
                <a:gd name="T52" fmla="*/ 56 w 138"/>
                <a:gd name="T53" fmla="*/ 2 h 139"/>
                <a:gd name="T54" fmla="*/ 70 w 138"/>
                <a:gd name="T55" fmla="*/ 0 h 139"/>
                <a:gd name="T56" fmla="*/ 70 w 138"/>
                <a:gd name="T57" fmla="*/ 0 h 139"/>
                <a:gd name="T58" fmla="*/ 84 w 138"/>
                <a:gd name="T59" fmla="*/ 2 h 139"/>
                <a:gd name="T60" fmla="*/ 97 w 138"/>
                <a:gd name="T61" fmla="*/ 6 h 139"/>
                <a:gd name="T62" fmla="*/ 108 w 138"/>
                <a:gd name="T63" fmla="*/ 12 h 139"/>
                <a:gd name="T64" fmla="*/ 119 w 138"/>
                <a:gd name="T65" fmla="*/ 21 h 139"/>
                <a:gd name="T66" fmla="*/ 128 w 138"/>
                <a:gd name="T67" fmla="*/ 31 h 139"/>
                <a:gd name="T68" fmla="*/ 134 w 138"/>
                <a:gd name="T69" fmla="*/ 43 h 139"/>
                <a:gd name="T70" fmla="*/ 137 w 138"/>
                <a:gd name="T71" fmla="*/ 56 h 139"/>
                <a:gd name="T72" fmla="*/ 138 w 138"/>
                <a:gd name="T73" fmla="*/ 70 h 139"/>
                <a:gd name="T74" fmla="*/ 138 w 138"/>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39">
                  <a:moveTo>
                    <a:pt x="138" y="70"/>
                  </a:moveTo>
                  <a:lnTo>
                    <a:pt x="138" y="70"/>
                  </a:lnTo>
                  <a:lnTo>
                    <a:pt x="137" y="84"/>
                  </a:lnTo>
                  <a:lnTo>
                    <a:pt x="134" y="98"/>
                  </a:lnTo>
                  <a:lnTo>
                    <a:pt x="128" y="108"/>
                  </a:lnTo>
                  <a:lnTo>
                    <a:pt x="119" y="119"/>
                  </a:lnTo>
                  <a:lnTo>
                    <a:pt x="108" y="128"/>
                  </a:lnTo>
                  <a:lnTo>
                    <a:pt x="97" y="134"/>
                  </a:lnTo>
                  <a:lnTo>
                    <a:pt x="84" y="137"/>
                  </a:lnTo>
                  <a:lnTo>
                    <a:pt x="70" y="139"/>
                  </a:lnTo>
                  <a:lnTo>
                    <a:pt x="70" y="139"/>
                  </a:lnTo>
                  <a:lnTo>
                    <a:pt x="56" y="137"/>
                  </a:lnTo>
                  <a:lnTo>
                    <a:pt x="42" y="134"/>
                  </a:lnTo>
                  <a:lnTo>
                    <a:pt x="30" y="128"/>
                  </a:lnTo>
                  <a:lnTo>
                    <a:pt x="21" y="119"/>
                  </a:lnTo>
                  <a:lnTo>
                    <a:pt x="12" y="108"/>
                  </a:lnTo>
                  <a:lnTo>
                    <a:pt x="6" y="98"/>
                  </a:lnTo>
                  <a:lnTo>
                    <a:pt x="1" y="84"/>
                  </a:lnTo>
                  <a:lnTo>
                    <a:pt x="0" y="70"/>
                  </a:lnTo>
                  <a:lnTo>
                    <a:pt x="0" y="70"/>
                  </a:lnTo>
                  <a:lnTo>
                    <a:pt x="1" y="56"/>
                  </a:lnTo>
                  <a:lnTo>
                    <a:pt x="6" y="43"/>
                  </a:lnTo>
                  <a:lnTo>
                    <a:pt x="12" y="31"/>
                  </a:lnTo>
                  <a:lnTo>
                    <a:pt x="21" y="21"/>
                  </a:lnTo>
                  <a:lnTo>
                    <a:pt x="30" y="12"/>
                  </a:lnTo>
                  <a:lnTo>
                    <a:pt x="42" y="6"/>
                  </a:lnTo>
                  <a:lnTo>
                    <a:pt x="56" y="2"/>
                  </a:lnTo>
                  <a:lnTo>
                    <a:pt x="70" y="0"/>
                  </a:lnTo>
                  <a:lnTo>
                    <a:pt x="70" y="0"/>
                  </a:lnTo>
                  <a:lnTo>
                    <a:pt x="84" y="2"/>
                  </a:lnTo>
                  <a:lnTo>
                    <a:pt x="97" y="6"/>
                  </a:lnTo>
                  <a:lnTo>
                    <a:pt x="108" y="12"/>
                  </a:lnTo>
                  <a:lnTo>
                    <a:pt x="119" y="21"/>
                  </a:lnTo>
                  <a:lnTo>
                    <a:pt x="128" y="31"/>
                  </a:lnTo>
                  <a:lnTo>
                    <a:pt x="134" y="43"/>
                  </a:lnTo>
                  <a:lnTo>
                    <a:pt x="137" y="56"/>
                  </a:lnTo>
                  <a:lnTo>
                    <a:pt x="138" y="70"/>
                  </a:lnTo>
                  <a:lnTo>
                    <a:pt x="138"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2" name="Freeform 12">
              <a:extLst>
                <a:ext uri="{FF2B5EF4-FFF2-40B4-BE49-F238E27FC236}">
                  <a16:creationId xmlns:a16="http://schemas.microsoft.com/office/drawing/2014/main" id="{00A751F1-927E-4BDE-AD3A-A2F09FF08146}"/>
                </a:ext>
              </a:extLst>
            </p:cNvPr>
            <p:cNvSpPr>
              <a:spLocks/>
            </p:cNvSpPr>
            <p:nvPr/>
          </p:nvSpPr>
          <p:spPr bwMode="auto">
            <a:xfrm rot="16200000" flipV="1">
              <a:off x="3184090" y="3258360"/>
              <a:ext cx="220663" cy="220663"/>
            </a:xfrm>
            <a:custGeom>
              <a:avLst/>
              <a:gdLst>
                <a:gd name="T0" fmla="*/ 139 w 139"/>
                <a:gd name="T1" fmla="*/ 70 h 139"/>
                <a:gd name="T2" fmla="*/ 139 w 139"/>
                <a:gd name="T3" fmla="*/ 70 h 139"/>
                <a:gd name="T4" fmla="*/ 137 w 139"/>
                <a:gd name="T5" fmla="*/ 84 h 139"/>
                <a:gd name="T6" fmla="*/ 134 w 139"/>
                <a:gd name="T7" fmla="*/ 98 h 139"/>
                <a:gd name="T8" fmla="*/ 126 w 139"/>
                <a:gd name="T9" fmla="*/ 108 h 139"/>
                <a:gd name="T10" fmla="*/ 119 w 139"/>
                <a:gd name="T11" fmla="*/ 119 h 139"/>
                <a:gd name="T12" fmla="*/ 108 w 139"/>
                <a:gd name="T13" fmla="*/ 128 h 139"/>
                <a:gd name="T14" fmla="*/ 96 w 139"/>
                <a:gd name="T15" fmla="*/ 134 h 139"/>
                <a:gd name="T16" fmla="*/ 84 w 139"/>
                <a:gd name="T17" fmla="*/ 137 h 139"/>
                <a:gd name="T18" fmla="*/ 70 w 139"/>
                <a:gd name="T19" fmla="*/ 139 h 139"/>
                <a:gd name="T20" fmla="*/ 70 w 139"/>
                <a:gd name="T21" fmla="*/ 139 h 139"/>
                <a:gd name="T22" fmla="*/ 55 w 139"/>
                <a:gd name="T23" fmla="*/ 137 h 139"/>
                <a:gd name="T24" fmla="*/ 42 w 139"/>
                <a:gd name="T25" fmla="*/ 134 h 139"/>
                <a:gd name="T26" fmla="*/ 30 w 139"/>
                <a:gd name="T27" fmla="*/ 128 h 139"/>
                <a:gd name="T28" fmla="*/ 20 w 139"/>
                <a:gd name="T29" fmla="*/ 119 h 139"/>
                <a:gd name="T30" fmla="*/ 12 w 139"/>
                <a:gd name="T31" fmla="*/ 108 h 139"/>
                <a:gd name="T32" fmla="*/ 6 w 139"/>
                <a:gd name="T33" fmla="*/ 98 h 139"/>
                <a:gd name="T34" fmla="*/ 1 w 139"/>
                <a:gd name="T35" fmla="*/ 84 h 139"/>
                <a:gd name="T36" fmla="*/ 0 w 139"/>
                <a:gd name="T37" fmla="*/ 70 h 139"/>
                <a:gd name="T38" fmla="*/ 0 w 139"/>
                <a:gd name="T39" fmla="*/ 70 h 139"/>
                <a:gd name="T40" fmla="*/ 1 w 139"/>
                <a:gd name="T41" fmla="*/ 56 h 139"/>
                <a:gd name="T42" fmla="*/ 6 w 139"/>
                <a:gd name="T43" fmla="*/ 43 h 139"/>
                <a:gd name="T44" fmla="*/ 12 w 139"/>
                <a:gd name="T45" fmla="*/ 31 h 139"/>
                <a:gd name="T46" fmla="*/ 20 w 139"/>
                <a:gd name="T47" fmla="*/ 21 h 139"/>
                <a:gd name="T48" fmla="*/ 30 w 139"/>
                <a:gd name="T49" fmla="*/ 12 h 139"/>
                <a:gd name="T50" fmla="*/ 42 w 139"/>
                <a:gd name="T51" fmla="*/ 6 h 139"/>
                <a:gd name="T52" fmla="*/ 55 w 139"/>
                <a:gd name="T53" fmla="*/ 2 h 139"/>
                <a:gd name="T54" fmla="*/ 70 w 139"/>
                <a:gd name="T55" fmla="*/ 0 h 139"/>
                <a:gd name="T56" fmla="*/ 70 w 139"/>
                <a:gd name="T57" fmla="*/ 0 h 139"/>
                <a:gd name="T58" fmla="*/ 84 w 139"/>
                <a:gd name="T59" fmla="*/ 2 h 139"/>
                <a:gd name="T60" fmla="*/ 96 w 139"/>
                <a:gd name="T61" fmla="*/ 6 h 139"/>
                <a:gd name="T62" fmla="*/ 108 w 139"/>
                <a:gd name="T63" fmla="*/ 12 h 139"/>
                <a:gd name="T64" fmla="*/ 119 w 139"/>
                <a:gd name="T65" fmla="*/ 21 h 139"/>
                <a:gd name="T66" fmla="*/ 126 w 139"/>
                <a:gd name="T67" fmla="*/ 31 h 139"/>
                <a:gd name="T68" fmla="*/ 134 w 139"/>
                <a:gd name="T69" fmla="*/ 43 h 139"/>
                <a:gd name="T70" fmla="*/ 137 w 139"/>
                <a:gd name="T71" fmla="*/ 56 h 139"/>
                <a:gd name="T72" fmla="*/ 139 w 139"/>
                <a:gd name="T73" fmla="*/ 70 h 139"/>
                <a:gd name="T74" fmla="*/ 139 w 139"/>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70"/>
                  </a:moveTo>
                  <a:lnTo>
                    <a:pt x="139" y="70"/>
                  </a:lnTo>
                  <a:lnTo>
                    <a:pt x="137" y="84"/>
                  </a:lnTo>
                  <a:lnTo>
                    <a:pt x="134" y="98"/>
                  </a:lnTo>
                  <a:lnTo>
                    <a:pt x="126" y="108"/>
                  </a:lnTo>
                  <a:lnTo>
                    <a:pt x="119" y="119"/>
                  </a:lnTo>
                  <a:lnTo>
                    <a:pt x="108" y="128"/>
                  </a:lnTo>
                  <a:lnTo>
                    <a:pt x="96" y="134"/>
                  </a:lnTo>
                  <a:lnTo>
                    <a:pt x="84" y="137"/>
                  </a:lnTo>
                  <a:lnTo>
                    <a:pt x="70" y="139"/>
                  </a:lnTo>
                  <a:lnTo>
                    <a:pt x="70" y="139"/>
                  </a:lnTo>
                  <a:lnTo>
                    <a:pt x="55" y="137"/>
                  </a:lnTo>
                  <a:lnTo>
                    <a:pt x="42" y="134"/>
                  </a:lnTo>
                  <a:lnTo>
                    <a:pt x="30" y="128"/>
                  </a:lnTo>
                  <a:lnTo>
                    <a:pt x="20" y="119"/>
                  </a:lnTo>
                  <a:lnTo>
                    <a:pt x="12" y="108"/>
                  </a:lnTo>
                  <a:lnTo>
                    <a:pt x="6" y="98"/>
                  </a:lnTo>
                  <a:lnTo>
                    <a:pt x="1" y="84"/>
                  </a:lnTo>
                  <a:lnTo>
                    <a:pt x="0" y="70"/>
                  </a:lnTo>
                  <a:lnTo>
                    <a:pt x="0" y="70"/>
                  </a:lnTo>
                  <a:lnTo>
                    <a:pt x="1" y="56"/>
                  </a:lnTo>
                  <a:lnTo>
                    <a:pt x="6" y="43"/>
                  </a:lnTo>
                  <a:lnTo>
                    <a:pt x="12" y="31"/>
                  </a:lnTo>
                  <a:lnTo>
                    <a:pt x="20" y="21"/>
                  </a:lnTo>
                  <a:lnTo>
                    <a:pt x="30" y="12"/>
                  </a:lnTo>
                  <a:lnTo>
                    <a:pt x="42" y="6"/>
                  </a:lnTo>
                  <a:lnTo>
                    <a:pt x="55" y="2"/>
                  </a:lnTo>
                  <a:lnTo>
                    <a:pt x="70" y="0"/>
                  </a:lnTo>
                  <a:lnTo>
                    <a:pt x="70" y="0"/>
                  </a:lnTo>
                  <a:lnTo>
                    <a:pt x="84" y="2"/>
                  </a:lnTo>
                  <a:lnTo>
                    <a:pt x="96" y="6"/>
                  </a:lnTo>
                  <a:lnTo>
                    <a:pt x="108" y="12"/>
                  </a:lnTo>
                  <a:lnTo>
                    <a:pt x="119" y="21"/>
                  </a:lnTo>
                  <a:lnTo>
                    <a:pt x="126" y="31"/>
                  </a:lnTo>
                  <a:lnTo>
                    <a:pt x="134" y="43"/>
                  </a:lnTo>
                  <a:lnTo>
                    <a:pt x="137" y="56"/>
                  </a:lnTo>
                  <a:lnTo>
                    <a:pt x="139" y="70"/>
                  </a:lnTo>
                  <a:lnTo>
                    <a:pt x="139" y="7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103" name="Oval 102">
            <a:extLst>
              <a:ext uri="{FF2B5EF4-FFF2-40B4-BE49-F238E27FC236}">
                <a16:creationId xmlns:a16="http://schemas.microsoft.com/office/drawing/2014/main" id="{F086B072-F097-4A14-A43F-047D068FA5FF}"/>
              </a:ext>
            </a:extLst>
          </p:cNvPr>
          <p:cNvSpPr/>
          <p:nvPr/>
        </p:nvSpPr>
        <p:spPr>
          <a:xfrm>
            <a:off x="6065973" y="1946354"/>
            <a:ext cx="603697" cy="603697"/>
          </a:xfrm>
          <a:prstGeom prst="ellipse">
            <a:avLst/>
          </a:prstGeom>
          <a:noFill/>
          <a:ln w="412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104" name="Group 103">
            <a:extLst>
              <a:ext uri="{FF2B5EF4-FFF2-40B4-BE49-F238E27FC236}">
                <a16:creationId xmlns:a16="http://schemas.microsoft.com/office/drawing/2014/main" id="{2E2D1DD3-E9A5-46CD-BB64-4B12A7CC3DE4}"/>
              </a:ext>
            </a:extLst>
          </p:cNvPr>
          <p:cNvGrpSpPr>
            <a:grpSpLocks noChangeAspect="1"/>
          </p:cNvGrpSpPr>
          <p:nvPr/>
        </p:nvGrpSpPr>
        <p:grpSpPr>
          <a:xfrm>
            <a:off x="6854009" y="5087389"/>
            <a:ext cx="277526" cy="291986"/>
            <a:chOff x="152400" y="1090613"/>
            <a:chExt cx="527050" cy="527050"/>
          </a:xfrm>
          <a:solidFill>
            <a:schemeClr val="tx1"/>
          </a:solidFill>
        </p:grpSpPr>
        <p:sp>
          <p:nvSpPr>
            <p:cNvPr id="105" name="Freeform 16">
              <a:extLst>
                <a:ext uri="{FF2B5EF4-FFF2-40B4-BE49-F238E27FC236}">
                  <a16:creationId xmlns:a16="http://schemas.microsoft.com/office/drawing/2014/main" id="{1A5AAAB5-E70F-4B72-BA4D-E210E801CBD7}"/>
                </a:ext>
              </a:extLst>
            </p:cNvPr>
            <p:cNvSpPr>
              <a:spLocks/>
            </p:cNvSpPr>
            <p:nvPr/>
          </p:nvSpPr>
          <p:spPr bwMode="auto">
            <a:xfrm>
              <a:off x="152400" y="1276350"/>
              <a:ext cx="152400" cy="273050"/>
            </a:xfrm>
            <a:custGeom>
              <a:avLst/>
              <a:gdLst>
                <a:gd name="T0" fmla="*/ 129 w 386"/>
                <a:gd name="T1" fmla="*/ 373 h 686"/>
                <a:gd name="T2" fmla="*/ 129 w 386"/>
                <a:gd name="T3" fmla="*/ 664 h 686"/>
                <a:gd name="T4" fmla="*/ 129 w 386"/>
                <a:gd name="T5" fmla="*/ 664 h 686"/>
                <a:gd name="T6" fmla="*/ 130 w 386"/>
                <a:gd name="T7" fmla="*/ 669 h 686"/>
                <a:gd name="T8" fmla="*/ 131 w 386"/>
                <a:gd name="T9" fmla="*/ 673 h 686"/>
                <a:gd name="T10" fmla="*/ 133 w 386"/>
                <a:gd name="T11" fmla="*/ 676 h 686"/>
                <a:gd name="T12" fmla="*/ 135 w 386"/>
                <a:gd name="T13" fmla="*/ 680 h 686"/>
                <a:gd name="T14" fmla="*/ 138 w 386"/>
                <a:gd name="T15" fmla="*/ 682 h 686"/>
                <a:gd name="T16" fmla="*/ 141 w 386"/>
                <a:gd name="T17" fmla="*/ 684 h 686"/>
                <a:gd name="T18" fmla="*/ 146 w 386"/>
                <a:gd name="T19" fmla="*/ 685 h 686"/>
                <a:gd name="T20" fmla="*/ 150 w 386"/>
                <a:gd name="T21" fmla="*/ 686 h 686"/>
                <a:gd name="T22" fmla="*/ 365 w 386"/>
                <a:gd name="T23" fmla="*/ 686 h 686"/>
                <a:gd name="T24" fmla="*/ 365 w 386"/>
                <a:gd name="T25" fmla="*/ 686 h 686"/>
                <a:gd name="T26" fmla="*/ 369 w 386"/>
                <a:gd name="T27" fmla="*/ 685 h 686"/>
                <a:gd name="T28" fmla="*/ 373 w 386"/>
                <a:gd name="T29" fmla="*/ 684 h 686"/>
                <a:gd name="T30" fmla="*/ 377 w 386"/>
                <a:gd name="T31" fmla="*/ 682 h 686"/>
                <a:gd name="T32" fmla="*/ 380 w 386"/>
                <a:gd name="T33" fmla="*/ 680 h 686"/>
                <a:gd name="T34" fmla="*/ 382 w 386"/>
                <a:gd name="T35" fmla="*/ 676 h 686"/>
                <a:gd name="T36" fmla="*/ 384 w 386"/>
                <a:gd name="T37" fmla="*/ 673 h 686"/>
                <a:gd name="T38" fmla="*/ 386 w 386"/>
                <a:gd name="T39" fmla="*/ 669 h 686"/>
                <a:gd name="T40" fmla="*/ 386 w 386"/>
                <a:gd name="T41" fmla="*/ 664 h 686"/>
                <a:gd name="T42" fmla="*/ 386 w 386"/>
                <a:gd name="T43" fmla="*/ 434 h 686"/>
                <a:gd name="T44" fmla="*/ 362 w 386"/>
                <a:gd name="T45" fmla="*/ 410 h 686"/>
                <a:gd name="T46" fmla="*/ 362 w 386"/>
                <a:gd name="T47" fmla="*/ 410 h 686"/>
                <a:gd name="T48" fmla="*/ 354 w 386"/>
                <a:gd name="T49" fmla="*/ 400 h 686"/>
                <a:gd name="T50" fmla="*/ 348 w 386"/>
                <a:gd name="T51" fmla="*/ 389 h 686"/>
                <a:gd name="T52" fmla="*/ 344 w 386"/>
                <a:gd name="T53" fmla="*/ 377 h 686"/>
                <a:gd name="T54" fmla="*/ 343 w 386"/>
                <a:gd name="T55" fmla="*/ 364 h 686"/>
                <a:gd name="T56" fmla="*/ 343 w 386"/>
                <a:gd name="T57" fmla="*/ 0 h 686"/>
                <a:gd name="T58" fmla="*/ 22 w 386"/>
                <a:gd name="T59" fmla="*/ 0 h 686"/>
                <a:gd name="T60" fmla="*/ 22 w 386"/>
                <a:gd name="T61" fmla="*/ 0 h 686"/>
                <a:gd name="T62" fmla="*/ 17 w 386"/>
                <a:gd name="T63" fmla="*/ 0 h 686"/>
                <a:gd name="T64" fmla="*/ 13 w 386"/>
                <a:gd name="T65" fmla="*/ 2 h 686"/>
                <a:gd name="T66" fmla="*/ 10 w 386"/>
                <a:gd name="T67" fmla="*/ 3 h 686"/>
                <a:gd name="T68" fmla="*/ 6 w 386"/>
                <a:gd name="T69" fmla="*/ 7 h 686"/>
                <a:gd name="T70" fmla="*/ 4 w 386"/>
                <a:gd name="T71" fmla="*/ 10 h 686"/>
                <a:gd name="T72" fmla="*/ 2 w 386"/>
                <a:gd name="T73" fmla="*/ 13 h 686"/>
                <a:gd name="T74" fmla="*/ 1 w 386"/>
                <a:gd name="T75" fmla="*/ 17 h 686"/>
                <a:gd name="T76" fmla="*/ 0 w 386"/>
                <a:gd name="T77" fmla="*/ 22 h 686"/>
                <a:gd name="T78" fmla="*/ 0 w 386"/>
                <a:gd name="T79" fmla="*/ 236 h 686"/>
                <a:gd name="T80" fmla="*/ 0 w 386"/>
                <a:gd name="T81" fmla="*/ 236 h 686"/>
                <a:gd name="T82" fmla="*/ 1 w 386"/>
                <a:gd name="T83" fmla="*/ 240 h 686"/>
                <a:gd name="T84" fmla="*/ 2 w 386"/>
                <a:gd name="T85" fmla="*/ 244 h 686"/>
                <a:gd name="T86" fmla="*/ 4 w 386"/>
                <a:gd name="T87" fmla="*/ 248 h 686"/>
                <a:gd name="T88" fmla="*/ 6 w 386"/>
                <a:gd name="T89" fmla="*/ 251 h 686"/>
                <a:gd name="T90" fmla="*/ 129 w 386"/>
                <a:gd name="T91" fmla="*/ 373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6" h="686">
                  <a:moveTo>
                    <a:pt x="129" y="373"/>
                  </a:moveTo>
                  <a:lnTo>
                    <a:pt x="129" y="664"/>
                  </a:lnTo>
                  <a:lnTo>
                    <a:pt x="129" y="664"/>
                  </a:lnTo>
                  <a:lnTo>
                    <a:pt x="130" y="669"/>
                  </a:lnTo>
                  <a:lnTo>
                    <a:pt x="131" y="673"/>
                  </a:lnTo>
                  <a:lnTo>
                    <a:pt x="133" y="676"/>
                  </a:lnTo>
                  <a:lnTo>
                    <a:pt x="135" y="680"/>
                  </a:lnTo>
                  <a:lnTo>
                    <a:pt x="138" y="682"/>
                  </a:lnTo>
                  <a:lnTo>
                    <a:pt x="141" y="684"/>
                  </a:lnTo>
                  <a:lnTo>
                    <a:pt x="146" y="685"/>
                  </a:lnTo>
                  <a:lnTo>
                    <a:pt x="150" y="686"/>
                  </a:lnTo>
                  <a:lnTo>
                    <a:pt x="365" y="686"/>
                  </a:lnTo>
                  <a:lnTo>
                    <a:pt x="365" y="686"/>
                  </a:lnTo>
                  <a:lnTo>
                    <a:pt x="369" y="685"/>
                  </a:lnTo>
                  <a:lnTo>
                    <a:pt x="373" y="684"/>
                  </a:lnTo>
                  <a:lnTo>
                    <a:pt x="377" y="682"/>
                  </a:lnTo>
                  <a:lnTo>
                    <a:pt x="380" y="680"/>
                  </a:lnTo>
                  <a:lnTo>
                    <a:pt x="382" y="676"/>
                  </a:lnTo>
                  <a:lnTo>
                    <a:pt x="384" y="673"/>
                  </a:lnTo>
                  <a:lnTo>
                    <a:pt x="386" y="669"/>
                  </a:lnTo>
                  <a:lnTo>
                    <a:pt x="386" y="664"/>
                  </a:lnTo>
                  <a:lnTo>
                    <a:pt x="386" y="434"/>
                  </a:lnTo>
                  <a:lnTo>
                    <a:pt x="362" y="410"/>
                  </a:lnTo>
                  <a:lnTo>
                    <a:pt x="362" y="410"/>
                  </a:lnTo>
                  <a:lnTo>
                    <a:pt x="354" y="400"/>
                  </a:lnTo>
                  <a:lnTo>
                    <a:pt x="348" y="389"/>
                  </a:lnTo>
                  <a:lnTo>
                    <a:pt x="344" y="377"/>
                  </a:lnTo>
                  <a:lnTo>
                    <a:pt x="343" y="364"/>
                  </a:lnTo>
                  <a:lnTo>
                    <a:pt x="343" y="0"/>
                  </a:lnTo>
                  <a:lnTo>
                    <a:pt x="22" y="0"/>
                  </a:lnTo>
                  <a:lnTo>
                    <a:pt x="22" y="0"/>
                  </a:lnTo>
                  <a:lnTo>
                    <a:pt x="17" y="0"/>
                  </a:lnTo>
                  <a:lnTo>
                    <a:pt x="13" y="2"/>
                  </a:lnTo>
                  <a:lnTo>
                    <a:pt x="10" y="3"/>
                  </a:lnTo>
                  <a:lnTo>
                    <a:pt x="6" y="7"/>
                  </a:lnTo>
                  <a:lnTo>
                    <a:pt x="4" y="10"/>
                  </a:lnTo>
                  <a:lnTo>
                    <a:pt x="2" y="13"/>
                  </a:lnTo>
                  <a:lnTo>
                    <a:pt x="1" y="17"/>
                  </a:lnTo>
                  <a:lnTo>
                    <a:pt x="0" y="22"/>
                  </a:lnTo>
                  <a:lnTo>
                    <a:pt x="0" y="236"/>
                  </a:lnTo>
                  <a:lnTo>
                    <a:pt x="0" y="236"/>
                  </a:lnTo>
                  <a:lnTo>
                    <a:pt x="1" y="240"/>
                  </a:lnTo>
                  <a:lnTo>
                    <a:pt x="2" y="244"/>
                  </a:lnTo>
                  <a:lnTo>
                    <a:pt x="4" y="248"/>
                  </a:lnTo>
                  <a:lnTo>
                    <a:pt x="6" y="251"/>
                  </a:lnTo>
                  <a:lnTo>
                    <a:pt x="129" y="37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6" name="Freeform 17">
              <a:extLst>
                <a:ext uri="{FF2B5EF4-FFF2-40B4-BE49-F238E27FC236}">
                  <a16:creationId xmlns:a16="http://schemas.microsoft.com/office/drawing/2014/main" id="{0D39E83D-DCC2-48FD-909B-05965DE93A58}"/>
                </a:ext>
              </a:extLst>
            </p:cNvPr>
            <p:cNvSpPr>
              <a:spLocks/>
            </p:cNvSpPr>
            <p:nvPr/>
          </p:nvSpPr>
          <p:spPr bwMode="auto">
            <a:xfrm>
              <a:off x="527050" y="1276350"/>
              <a:ext cx="152400" cy="273050"/>
            </a:xfrm>
            <a:custGeom>
              <a:avLst/>
              <a:gdLst>
                <a:gd name="T0" fmla="*/ 364 w 385"/>
                <a:gd name="T1" fmla="*/ 0 h 686"/>
                <a:gd name="T2" fmla="*/ 43 w 385"/>
                <a:gd name="T3" fmla="*/ 0 h 686"/>
                <a:gd name="T4" fmla="*/ 43 w 385"/>
                <a:gd name="T5" fmla="*/ 364 h 686"/>
                <a:gd name="T6" fmla="*/ 43 w 385"/>
                <a:gd name="T7" fmla="*/ 364 h 686"/>
                <a:gd name="T8" fmla="*/ 42 w 385"/>
                <a:gd name="T9" fmla="*/ 377 h 686"/>
                <a:gd name="T10" fmla="*/ 38 w 385"/>
                <a:gd name="T11" fmla="*/ 389 h 686"/>
                <a:gd name="T12" fmla="*/ 32 w 385"/>
                <a:gd name="T13" fmla="*/ 400 h 686"/>
                <a:gd name="T14" fmla="*/ 24 w 385"/>
                <a:gd name="T15" fmla="*/ 410 h 686"/>
                <a:gd name="T16" fmla="*/ 0 w 385"/>
                <a:gd name="T17" fmla="*/ 434 h 686"/>
                <a:gd name="T18" fmla="*/ 0 w 385"/>
                <a:gd name="T19" fmla="*/ 664 h 686"/>
                <a:gd name="T20" fmla="*/ 0 w 385"/>
                <a:gd name="T21" fmla="*/ 664 h 686"/>
                <a:gd name="T22" fmla="*/ 1 w 385"/>
                <a:gd name="T23" fmla="*/ 669 h 686"/>
                <a:gd name="T24" fmla="*/ 2 w 385"/>
                <a:gd name="T25" fmla="*/ 673 h 686"/>
                <a:gd name="T26" fmla="*/ 4 w 385"/>
                <a:gd name="T27" fmla="*/ 676 h 686"/>
                <a:gd name="T28" fmla="*/ 6 w 385"/>
                <a:gd name="T29" fmla="*/ 680 h 686"/>
                <a:gd name="T30" fmla="*/ 9 w 385"/>
                <a:gd name="T31" fmla="*/ 682 h 686"/>
                <a:gd name="T32" fmla="*/ 13 w 385"/>
                <a:gd name="T33" fmla="*/ 684 h 686"/>
                <a:gd name="T34" fmla="*/ 17 w 385"/>
                <a:gd name="T35" fmla="*/ 685 h 686"/>
                <a:gd name="T36" fmla="*/ 21 w 385"/>
                <a:gd name="T37" fmla="*/ 686 h 686"/>
                <a:gd name="T38" fmla="*/ 235 w 385"/>
                <a:gd name="T39" fmla="*/ 686 h 686"/>
                <a:gd name="T40" fmla="*/ 235 w 385"/>
                <a:gd name="T41" fmla="*/ 686 h 686"/>
                <a:gd name="T42" fmla="*/ 239 w 385"/>
                <a:gd name="T43" fmla="*/ 685 h 686"/>
                <a:gd name="T44" fmla="*/ 244 w 385"/>
                <a:gd name="T45" fmla="*/ 684 h 686"/>
                <a:gd name="T46" fmla="*/ 247 w 385"/>
                <a:gd name="T47" fmla="*/ 682 h 686"/>
                <a:gd name="T48" fmla="*/ 250 w 385"/>
                <a:gd name="T49" fmla="*/ 680 h 686"/>
                <a:gd name="T50" fmla="*/ 254 w 385"/>
                <a:gd name="T51" fmla="*/ 676 h 686"/>
                <a:gd name="T52" fmla="*/ 256 w 385"/>
                <a:gd name="T53" fmla="*/ 673 h 686"/>
                <a:gd name="T54" fmla="*/ 257 w 385"/>
                <a:gd name="T55" fmla="*/ 669 h 686"/>
                <a:gd name="T56" fmla="*/ 257 w 385"/>
                <a:gd name="T57" fmla="*/ 664 h 686"/>
                <a:gd name="T58" fmla="*/ 257 w 385"/>
                <a:gd name="T59" fmla="*/ 373 h 686"/>
                <a:gd name="T60" fmla="*/ 379 w 385"/>
                <a:gd name="T61" fmla="*/ 251 h 686"/>
                <a:gd name="T62" fmla="*/ 379 w 385"/>
                <a:gd name="T63" fmla="*/ 251 h 686"/>
                <a:gd name="T64" fmla="*/ 382 w 385"/>
                <a:gd name="T65" fmla="*/ 248 h 686"/>
                <a:gd name="T66" fmla="*/ 384 w 385"/>
                <a:gd name="T67" fmla="*/ 244 h 686"/>
                <a:gd name="T68" fmla="*/ 385 w 385"/>
                <a:gd name="T69" fmla="*/ 240 h 686"/>
                <a:gd name="T70" fmla="*/ 385 w 385"/>
                <a:gd name="T71" fmla="*/ 236 h 686"/>
                <a:gd name="T72" fmla="*/ 385 w 385"/>
                <a:gd name="T73" fmla="*/ 22 h 686"/>
                <a:gd name="T74" fmla="*/ 385 w 385"/>
                <a:gd name="T75" fmla="*/ 22 h 686"/>
                <a:gd name="T76" fmla="*/ 385 w 385"/>
                <a:gd name="T77" fmla="*/ 17 h 686"/>
                <a:gd name="T78" fmla="*/ 384 w 385"/>
                <a:gd name="T79" fmla="*/ 13 h 686"/>
                <a:gd name="T80" fmla="*/ 382 w 385"/>
                <a:gd name="T81" fmla="*/ 10 h 686"/>
                <a:gd name="T82" fmla="*/ 379 w 385"/>
                <a:gd name="T83" fmla="*/ 7 h 686"/>
                <a:gd name="T84" fmla="*/ 376 w 385"/>
                <a:gd name="T85" fmla="*/ 3 h 686"/>
                <a:gd name="T86" fmla="*/ 372 w 385"/>
                <a:gd name="T87" fmla="*/ 2 h 686"/>
                <a:gd name="T88" fmla="*/ 368 w 385"/>
                <a:gd name="T89" fmla="*/ 0 h 686"/>
                <a:gd name="T90" fmla="*/ 364 w 385"/>
                <a:gd name="T91" fmla="*/ 0 h 686"/>
                <a:gd name="T92" fmla="*/ 364 w 385"/>
                <a:gd name="T93"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85" h="686">
                  <a:moveTo>
                    <a:pt x="364" y="0"/>
                  </a:moveTo>
                  <a:lnTo>
                    <a:pt x="43" y="0"/>
                  </a:lnTo>
                  <a:lnTo>
                    <a:pt x="43" y="364"/>
                  </a:lnTo>
                  <a:lnTo>
                    <a:pt x="43" y="364"/>
                  </a:lnTo>
                  <a:lnTo>
                    <a:pt x="42" y="377"/>
                  </a:lnTo>
                  <a:lnTo>
                    <a:pt x="38" y="389"/>
                  </a:lnTo>
                  <a:lnTo>
                    <a:pt x="32" y="400"/>
                  </a:lnTo>
                  <a:lnTo>
                    <a:pt x="24" y="410"/>
                  </a:lnTo>
                  <a:lnTo>
                    <a:pt x="0" y="434"/>
                  </a:lnTo>
                  <a:lnTo>
                    <a:pt x="0" y="664"/>
                  </a:lnTo>
                  <a:lnTo>
                    <a:pt x="0" y="664"/>
                  </a:lnTo>
                  <a:lnTo>
                    <a:pt x="1" y="669"/>
                  </a:lnTo>
                  <a:lnTo>
                    <a:pt x="2" y="673"/>
                  </a:lnTo>
                  <a:lnTo>
                    <a:pt x="4" y="676"/>
                  </a:lnTo>
                  <a:lnTo>
                    <a:pt x="6" y="680"/>
                  </a:lnTo>
                  <a:lnTo>
                    <a:pt x="9" y="682"/>
                  </a:lnTo>
                  <a:lnTo>
                    <a:pt x="13" y="684"/>
                  </a:lnTo>
                  <a:lnTo>
                    <a:pt x="17" y="685"/>
                  </a:lnTo>
                  <a:lnTo>
                    <a:pt x="21" y="686"/>
                  </a:lnTo>
                  <a:lnTo>
                    <a:pt x="235" y="686"/>
                  </a:lnTo>
                  <a:lnTo>
                    <a:pt x="235" y="686"/>
                  </a:lnTo>
                  <a:lnTo>
                    <a:pt x="239" y="685"/>
                  </a:lnTo>
                  <a:lnTo>
                    <a:pt x="244" y="684"/>
                  </a:lnTo>
                  <a:lnTo>
                    <a:pt x="247" y="682"/>
                  </a:lnTo>
                  <a:lnTo>
                    <a:pt x="250" y="680"/>
                  </a:lnTo>
                  <a:lnTo>
                    <a:pt x="254" y="676"/>
                  </a:lnTo>
                  <a:lnTo>
                    <a:pt x="256" y="673"/>
                  </a:lnTo>
                  <a:lnTo>
                    <a:pt x="257" y="669"/>
                  </a:lnTo>
                  <a:lnTo>
                    <a:pt x="257" y="664"/>
                  </a:lnTo>
                  <a:lnTo>
                    <a:pt x="257" y="373"/>
                  </a:lnTo>
                  <a:lnTo>
                    <a:pt x="379" y="251"/>
                  </a:lnTo>
                  <a:lnTo>
                    <a:pt x="379" y="251"/>
                  </a:lnTo>
                  <a:lnTo>
                    <a:pt x="382" y="248"/>
                  </a:lnTo>
                  <a:lnTo>
                    <a:pt x="384" y="244"/>
                  </a:lnTo>
                  <a:lnTo>
                    <a:pt x="385" y="240"/>
                  </a:lnTo>
                  <a:lnTo>
                    <a:pt x="385" y="236"/>
                  </a:lnTo>
                  <a:lnTo>
                    <a:pt x="385" y="22"/>
                  </a:lnTo>
                  <a:lnTo>
                    <a:pt x="385" y="22"/>
                  </a:lnTo>
                  <a:lnTo>
                    <a:pt x="385" y="17"/>
                  </a:lnTo>
                  <a:lnTo>
                    <a:pt x="384" y="13"/>
                  </a:lnTo>
                  <a:lnTo>
                    <a:pt x="382" y="10"/>
                  </a:lnTo>
                  <a:lnTo>
                    <a:pt x="379" y="7"/>
                  </a:lnTo>
                  <a:lnTo>
                    <a:pt x="376" y="3"/>
                  </a:lnTo>
                  <a:lnTo>
                    <a:pt x="372" y="2"/>
                  </a:lnTo>
                  <a:lnTo>
                    <a:pt x="368" y="0"/>
                  </a:lnTo>
                  <a:lnTo>
                    <a:pt x="364" y="0"/>
                  </a:lnTo>
                  <a:lnTo>
                    <a:pt x="36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7" name="Freeform 18">
              <a:extLst>
                <a:ext uri="{FF2B5EF4-FFF2-40B4-BE49-F238E27FC236}">
                  <a16:creationId xmlns:a16="http://schemas.microsoft.com/office/drawing/2014/main" id="{8DE8A75E-BBFF-4270-A39F-63489A6FB498}"/>
                </a:ext>
              </a:extLst>
            </p:cNvPr>
            <p:cNvSpPr>
              <a:spLocks/>
            </p:cNvSpPr>
            <p:nvPr/>
          </p:nvSpPr>
          <p:spPr bwMode="auto">
            <a:xfrm>
              <a:off x="304800" y="1276350"/>
              <a:ext cx="222250" cy="341313"/>
            </a:xfrm>
            <a:custGeom>
              <a:avLst/>
              <a:gdLst>
                <a:gd name="T0" fmla="*/ 557 w 557"/>
                <a:gd name="T1" fmla="*/ 22 h 858"/>
                <a:gd name="T2" fmla="*/ 557 w 557"/>
                <a:gd name="T3" fmla="*/ 22 h 858"/>
                <a:gd name="T4" fmla="*/ 557 w 557"/>
                <a:gd name="T5" fmla="*/ 17 h 858"/>
                <a:gd name="T6" fmla="*/ 556 w 557"/>
                <a:gd name="T7" fmla="*/ 13 h 858"/>
                <a:gd name="T8" fmla="*/ 554 w 557"/>
                <a:gd name="T9" fmla="*/ 10 h 858"/>
                <a:gd name="T10" fmla="*/ 550 w 557"/>
                <a:gd name="T11" fmla="*/ 7 h 858"/>
                <a:gd name="T12" fmla="*/ 547 w 557"/>
                <a:gd name="T13" fmla="*/ 3 h 858"/>
                <a:gd name="T14" fmla="*/ 544 w 557"/>
                <a:gd name="T15" fmla="*/ 2 h 858"/>
                <a:gd name="T16" fmla="*/ 539 w 557"/>
                <a:gd name="T17" fmla="*/ 0 h 858"/>
                <a:gd name="T18" fmla="*/ 535 w 557"/>
                <a:gd name="T19" fmla="*/ 0 h 858"/>
                <a:gd name="T20" fmla="*/ 21 w 557"/>
                <a:gd name="T21" fmla="*/ 0 h 858"/>
                <a:gd name="T22" fmla="*/ 21 w 557"/>
                <a:gd name="T23" fmla="*/ 0 h 858"/>
                <a:gd name="T24" fmla="*/ 17 w 557"/>
                <a:gd name="T25" fmla="*/ 0 h 858"/>
                <a:gd name="T26" fmla="*/ 12 w 557"/>
                <a:gd name="T27" fmla="*/ 2 h 858"/>
                <a:gd name="T28" fmla="*/ 9 w 557"/>
                <a:gd name="T29" fmla="*/ 3 h 858"/>
                <a:gd name="T30" fmla="*/ 6 w 557"/>
                <a:gd name="T31" fmla="*/ 7 h 858"/>
                <a:gd name="T32" fmla="*/ 4 w 557"/>
                <a:gd name="T33" fmla="*/ 10 h 858"/>
                <a:gd name="T34" fmla="*/ 2 w 557"/>
                <a:gd name="T35" fmla="*/ 13 h 858"/>
                <a:gd name="T36" fmla="*/ 1 w 557"/>
                <a:gd name="T37" fmla="*/ 17 h 858"/>
                <a:gd name="T38" fmla="*/ 0 w 557"/>
                <a:gd name="T39" fmla="*/ 22 h 858"/>
                <a:gd name="T40" fmla="*/ 0 w 557"/>
                <a:gd name="T41" fmla="*/ 364 h 858"/>
                <a:gd name="T42" fmla="*/ 0 w 557"/>
                <a:gd name="T43" fmla="*/ 364 h 858"/>
                <a:gd name="T44" fmla="*/ 1 w 557"/>
                <a:gd name="T45" fmla="*/ 368 h 858"/>
                <a:gd name="T46" fmla="*/ 2 w 557"/>
                <a:gd name="T47" fmla="*/ 373 h 858"/>
                <a:gd name="T48" fmla="*/ 4 w 557"/>
                <a:gd name="T49" fmla="*/ 376 h 858"/>
                <a:gd name="T50" fmla="*/ 6 w 557"/>
                <a:gd name="T51" fmla="*/ 379 h 858"/>
                <a:gd name="T52" fmla="*/ 128 w 557"/>
                <a:gd name="T53" fmla="*/ 502 h 858"/>
                <a:gd name="T54" fmla="*/ 128 w 557"/>
                <a:gd name="T55" fmla="*/ 836 h 858"/>
                <a:gd name="T56" fmla="*/ 128 w 557"/>
                <a:gd name="T57" fmla="*/ 836 h 858"/>
                <a:gd name="T58" fmla="*/ 129 w 557"/>
                <a:gd name="T59" fmla="*/ 840 h 858"/>
                <a:gd name="T60" fmla="*/ 130 w 557"/>
                <a:gd name="T61" fmla="*/ 844 h 858"/>
                <a:gd name="T62" fmla="*/ 132 w 557"/>
                <a:gd name="T63" fmla="*/ 848 h 858"/>
                <a:gd name="T64" fmla="*/ 135 w 557"/>
                <a:gd name="T65" fmla="*/ 851 h 858"/>
                <a:gd name="T66" fmla="*/ 138 w 557"/>
                <a:gd name="T67" fmla="*/ 853 h 858"/>
                <a:gd name="T68" fmla="*/ 142 w 557"/>
                <a:gd name="T69" fmla="*/ 856 h 858"/>
                <a:gd name="T70" fmla="*/ 145 w 557"/>
                <a:gd name="T71" fmla="*/ 857 h 858"/>
                <a:gd name="T72" fmla="*/ 150 w 557"/>
                <a:gd name="T73" fmla="*/ 858 h 858"/>
                <a:gd name="T74" fmla="*/ 407 w 557"/>
                <a:gd name="T75" fmla="*/ 858 h 858"/>
                <a:gd name="T76" fmla="*/ 407 w 557"/>
                <a:gd name="T77" fmla="*/ 858 h 858"/>
                <a:gd name="T78" fmla="*/ 411 w 557"/>
                <a:gd name="T79" fmla="*/ 857 h 858"/>
                <a:gd name="T80" fmla="*/ 415 w 557"/>
                <a:gd name="T81" fmla="*/ 856 h 858"/>
                <a:gd name="T82" fmla="*/ 419 w 557"/>
                <a:gd name="T83" fmla="*/ 853 h 858"/>
                <a:gd name="T84" fmla="*/ 422 w 557"/>
                <a:gd name="T85" fmla="*/ 851 h 858"/>
                <a:gd name="T86" fmla="*/ 425 w 557"/>
                <a:gd name="T87" fmla="*/ 848 h 858"/>
                <a:gd name="T88" fmla="*/ 427 w 557"/>
                <a:gd name="T89" fmla="*/ 844 h 858"/>
                <a:gd name="T90" fmla="*/ 428 w 557"/>
                <a:gd name="T91" fmla="*/ 840 h 858"/>
                <a:gd name="T92" fmla="*/ 428 w 557"/>
                <a:gd name="T93" fmla="*/ 836 h 858"/>
                <a:gd name="T94" fmla="*/ 428 w 557"/>
                <a:gd name="T95" fmla="*/ 502 h 858"/>
                <a:gd name="T96" fmla="*/ 550 w 557"/>
                <a:gd name="T97" fmla="*/ 379 h 858"/>
                <a:gd name="T98" fmla="*/ 550 w 557"/>
                <a:gd name="T99" fmla="*/ 379 h 858"/>
                <a:gd name="T100" fmla="*/ 554 w 557"/>
                <a:gd name="T101" fmla="*/ 376 h 858"/>
                <a:gd name="T102" fmla="*/ 556 w 557"/>
                <a:gd name="T103" fmla="*/ 373 h 858"/>
                <a:gd name="T104" fmla="*/ 557 w 557"/>
                <a:gd name="T105" fmla="*/ 368 h 858"/>
                <a:gd name="T106" fmla="*/ 557 w 557"/>
                <a:gd name="T107" fmla="*/ 364 h 858"/>
                <a:gd name="T108" fmla="*/ 557 w 557"/>
                <a:gd name="T109" fmla="*/ 22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57" h="858">
                  <a:moveTo>
                    <a:pt x="557" y="22"/>
                  </a:moveTo>
                  <a:lnTo>
                    <a:pt x="557" y="22"/>
                  </a:lnTo>
                  <a:lnTo>
                    <a:pt x="557" y="17"/>
                  </a:lnTo>
                  <a:lnTo>
                    <a:pt x="556" y="13"/>
                  </a:lnTo>
                  <a:lnTo>
                    <a:pt x="554" y="10"/>
                  </a:lnTo>
                  <a:lnTo>
                    <a:pt x="550" y="7"/>
                  </a:lnTo>
                  <a:lnTo>
                    <a:pt x="547" y="3"/>
                  </a:lnTo>
                  <a:lnTo>
                    <a:pt x="544" y="2"/>
                  </a:lnTo>
                  <a:lnTo>
                    <a:pt x="539" y="0"/>
                  </a:lnTo>
                  <a:lnTo>
                    <a:pt x="535" y="0"/>
                  </a:lnTo>
                  <a:lnTo>
                    <a:pt x="21" y="0"/>
                  </a:lnTo>
                  <a:lnTo>
                    <a:pt x="21" y="0"/>
                  </a:lnTo>
                  <a:lnTo>
                    <a:pt x="17" y="0"/>
                  </a:lnTo>
                  <a:lnTo>
                    <a:pt x="12" y="2"/>
                  </a:lnTo>
                  <a:lnTo>
                    <a:pt x="9" y="3"/>
                  </a:lnTo>
                  <a:lnTo>
                    <a:pt x="6" y="7"/>
                  </a:lnTo>
                  <a:lnTo>
                    <a:pt x="4" y="10"/>
                  </a:lnTo>
                  <a:lnTo>
                    <a:pt x="2" y="13"/>
                  </a:lnTo>
                  <a:lnTo>
                    <a:pt x="1" y="17"/>
                  </a:lnTo>
                  <a:lnTo>
                    <a:pt x="0" y="22"/>
                  </a:lnTo>
                  <a:lnTo>
                    <a:pt x="0" y="364"/>
                  </a:lnTo>
                  <a:lnTo>
                    <a:pt x="0" y="364"/>
                  </a:lnTo>
                  <a:lnTo>
                    <a:pt x="1" y="368"/>
                  </a:lnTo>
                  <a:lnTo>
                    <a:pt x="2" y="373"/>
                  </a:lnTo>
                  <a:lnTo>
                    <a:pt x="4" y="376"/>
                  </a:lnTo>
                  <a:lnTo>
                    <a:pt x="6" y="379"/>
                  </a:lnTo>
                  <a:lnTo>
                    <a:pt x="128" y="502"/>
                  </a:lnTo>
                  <a:lnTo>
                    <a:pt x="128" y="836"/>
                  </a:lnTo>
                  <a:lnTo>
                    <a:pt x="128" y="836"/>
                  </a:lnTo>
                  <a:lnTo>
                    <a:pt x="129" y="840"/>
                  </a:lnTo>
                  <a:lnTo>
                    <a:pt x="130" y="844"/>
                  </a:lnTo>
                  <a:lnTo>
                    <a:pt x="132" y="848"/>
                  </a:lnTo>
                  <a:lnTo>
                    <a:pt x="135" y="851"/>
                  </a:lnTo>
                  <a:lnTo>
                    <a:pt x="138" y="853"/>
                  </a:lnTo>
                  <a:lnTo>
                    <a:pt x="142" y="856"/>
                  </a:lnTo>
                  <a:lnTo>
                    <a:pt x="145" y="857"/>
                  </a:lnTo>
                  <a:lnTo>
                    <a:pt x="150" y="858"/>
                  </a:lnTo>
                  <a:lnTo>
                    <a:pt x="407" y="858"/>
                  </a:lnTo>
                  <a:lnTo>
                    <a:pt x="407" y="858"/>
                  </a:lnTo>
                  <a:lnTo>
                    <a:pt x="411" y="857"/>
                  </a:lnTo>
                  <a:lnTo>
                    <a:pt x="415" y="856"/>
                  </a:lnTo>
                  <a:lnTo>
                    <a:pt x="419" y="853"/>
                  </a:lnTo>
                  <a:lnTo>
                    <a:pt x="422" y="851"/>
                  </a:lnTo>
                  <a:lnTo>
                    <a:pt x="425" y="848"/>
                  </a:lnTo>
                  <a:lnTo>
                    <a:pt x="427" y="844"/>
                  </a:lnTo>
                  <a:lnTo>
                    <a:pt x="428" y="840"/>
                  </a:lnTo>
                  <a:lnTo>
                    <a:pt x="428" y="836"/>
                  </a:lnTo>
                  <a:lnTo>
                    <a:pt x="428" y="502"/>
                  </a:lnTo>
                  <a:lnTo>
                    <a:pt x="550" y="379"/>
                  </a:lnTo>
                  <a:lnTo>
                    <a:pt x="550" y="379"/>
                  </a:lnTo>
                  <a:lnTo>
                    <a:pt x="554" y="376"/>
                  </a:lnTo>
                  <a:lnTo>
                    <a:pt x="556" y="373"/>
                  </a:lnTo>
                  <a:lnTo>
                    <a:pt x="557" y="368"/>
                  </a:lnTo>
                  <a:lnTo>
                    <a:pt x="557" y="364"/>
                  </a:lnTo>
                  <a:lnTo>
                    <a:pt x="557" y="2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8" name="Freeform 19">
              <a:extLst>
                <a:ext uri="{FF2B5EF4-FFF2-40B4-BE49-F238E27FC236}">
                  <a16:creationId xmlns:a16="http://schemas.microsoft.com/office/drawing/2014/main" id="{4B4D064B-D0C4-4DC4-80A4-4E90942552A6}"/>
                </a:ext>
              </a:extLst>
            </p:cNvPr>
            <p:cNvSpPr>
              <a:spLocks/>
            </p:cNvSpPr>
            <p:nvPr/>
          </p:nvSpPr>
          <p:spPr bwMode="auto">
            <a:xfrm>
              <a:off x="527050" y="1123950"/>
              <a:ext cx="119063" cy="119063"/>
            </a:xfrm>
            <a:custGeom>
              <a:avLst/>
              <a:gdLst>
                <a:gd name="T0" fmla="*/ 0 w 300"/>
                <a:gd name="T1" fmla="*/ 150 h 300"/>
                <a:gd name="T2" fmla="*/ 3 w 300"/>
                <a:gd name="T3" fmla="*/ 180 h 300"/>
                <a:gd name="T4" fmla="*/ 12 w 300"/>
                <a:gd name="T5" fmla="*/ 208 h 300"/>
                <a:gd name="T6" fmla="*/ 26 w 300"/>
                <a:gd name="T7" fmla="*/ 233 h 300"/>
                <a:gd name="T8" fmla="*/ 44 w 300"/>
                <a:gd name="T9" fmla="*/ 256 h 300"/>
                <a:gd name="T10" fmla="*/ 66 w 300"/>
                <a:gd name="T11" fmla="*/ 274 h 300"/>
                <a:gd name="T12" fmla="*/ 92 w 300"/>
                <a:gd name="T13" fmla="*/ 288 h 300"/>
                <a:gd name="T14" fmla="*/ 120 w 300"/>
                <a:gd name="T15" fmla="*/ 297 h 300"/>
                <a:gd name="T16" fmla="*/ 150 w 300"/>
                <a:gd name="T17" fmla="*/ 300 h 300"/>
                <a:gd name="T18" fmla="*/ 165 w 300"/>
                <a:gd name="T19" fmla="*/ 299 h 300"/>
                <a:gd name="T20" fmla="*/ 194 w 300"/>
                <a:gd name="T21" fmla="*/ 292 h 300"/>
                <a:gd name="T22" fmla="*/ 221 w 300"/>
                <a:gd name="T23" fmla="*/ 281 h 300"/>
                <a:gd name="T24" fmla="*/ 245 w 300"/>
                <a:gd name="T25" fmla="*/ 265 h 300"/>
                <a:gd name="T26" fmla="*/ 265 w 300"/>
                <a:gd name="T27" fmla="*/ 245 h 300"/>
                <a:gd name="T28" fmla="*/ 282 w 300"/>
                <a:gd name="T29" fmla="*/ 221 h 300"/>
                <a:gd name="T30" fmla="*/ 293 w 300"/>
                <a:gd name="T31" fmla="*/ 194 h 300"/>
                <a:gd name="T32" fmla="*/ 299 w 300"/>
                <a:gd name="T33" fmla="*/ 165 h 300"/>
                <a:gd name="T34" fmla="*/ 300 w 300"/>
                <a:gd name="T35" fmla="*/ 150 h 300"/>
                <a:gd name="T36" fmla="*/ 297 w 300"/>
                <a:gd name="T37" fmla="*/ 119 h 300"/>
                <a:gd name="T38" fmla="*/ 288 w 300"/>
                <a:gd name="T39" fmla="*/ 91 h 300"/>
                <a:gd name="T40" fmla="*/ 274 w 300"/>
                <a:gd name="T41" fmla="*/ 65 h 300"/>
                <a:gd name="T42" fmla="*/ 256 w 300"/>
                <a:gd name="T43" fmla="*/ 44 h 300"/>
                <a:gd name="T44" fmla="*/ 234 w 300"/>
                <a:gd name="T45" fmla="*/ 26 h 300"/>
                <a:gd name="T46" fmla="*/ 208 w 300"/>
                <a:gd name="T47" fmla="*/ 11 h 300"/>
                <a:gd name="T48" fmla="*/ 180 w 300"/>
                <a:gd name="T49" fmla="*/ 3 h 300"/>
                <a:gd name="T50" fmla="*/ 150 w 300"/>
                <a:gd name="T51" fmla="*/ 0 h 300"/>
                <a:gd name="T52" fmla="*/ 135 w 300"/>
                <a:gd name="T53" fmla="*/ 1 h 300"/>
                <a:gd name="T54" fmla="*/ 106 w 300"/>
                <a:gd name="T55" fmla="*/ 6 h 300"/>
                <a:gd name="T56" fmla="*/ 79 w 300"/>
                <a:gd name="T57" fmla="*/ 18 h 300"/>
                <a:gd name="T58" fmla="*/ 55 w 300"/>
                <a:gd name="T59" fmla="*/ 34 h 300"/>
                <a:gd name="T60" fmla="*/ 34 w 300"/>
                <a:gd name="T61" fmla="*/ 55 h 300"/>
                <a:gd name="T62" fmla="*/ 18 w 300"/>
                <a:gd name="T63" fmla="*/ 78 h 300"/>
                <a:gd name="T64" fmla="*/ 6 w 300"/>
                <a:gd name="T65" fmla="*/ 105 h 300"/>
                <a:gd name="T66" fmla="*/ 1 w 300"/>
                <a:gd name="T67" fmla="*/ 135 h 300"/>
                <a:gd name="T68" fmla="*/ 0 w 300"/>
                <a:gd name="T69" fmla="*/ 15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0" y="150"/>
                  </a:moveTo>
                  <a:lnTo>
                    <a:pt x="0" y="150"/>
                  </a:lnTo>
                  <a:lnTo>
                    <a:pt x="1" y="165"/>
                  </a:lnTo>
                  <a:lnTo>
                    <a:pt x="3" y="180"/>
                  </a:lnTo>
                  <a:lnTo>
                    <a:pt x="6" y="194"/>
                  </a:lnTo>
                  <a:lnTo>
                    <a:pt x="12" y="208"/>
                  </a:lnTo>
                  <a:lnTo>
                    <a:pt x="18" y="221"/>
                  </a:lnTo>
                  <a:lnTo>
                    <a:pt x="26" y="233"/>
                  </a:lnTo>
                  <a:lnTo>
                    <a:pt x="34" y="245"/>
                  </a:lnTo>
                  <a:lnTo>
                    <a:pt x="44" y="256"/>
                  </a:lnTo>
                  <a:lnTo>
                    <a:pt x="55" y="265"/>
                  </a:lnTo>
                  <a:lnTo>
                    <a:pt x="66" y="274"/>
                  </a:lnTo>
                  <a:lnTo>
                    <a:pt x="79" y="281"/>
                  </a:lnTo>
                  <a:lnTo>
                    <a:pt x="92" y="288"/>
                  </a:lnTo>
                  <a:lnTo>
                    <a:pt x="106" y="292"/>
                  </a:lnTo>
                  <a:lnTo>
                    <a:pt x="120" y="297"/>
                  </a:lnTo>
                  <a:lnTo>
                    <a:pt x="135" y="299"/>
                  </a:lnTo>
                  <a:lnTo>
                    <a:pt x="150" y="300"/>
                  </a:lnTo>
                  <a:lnTo>
                    <a:pt x="150" y="300"/>
                  </a:lnTo>
                  <a:lnTo>
                    <a:pt x="165" y="299"/>
                  </a:lnTo>
                  <a:lnTo>
                    <a:pt x="180" y="297"/>
                  </a:lnTo>
                  <a:lnTo>
                    <a:pt x="194" y="292"/>
                  </a:lnTo>
                  <a:lnTo>
                    <a:pt x="208" y="288"/>
                  </a:lnTo>
                  <a:lnTo>
                    <a:pt x="221" y="281"/>
                  </a:lnTo>
                  <a:lnTo>
                    <a:pt x="234" y="274"/>
                  </a:lnTo>
                  <a:lnTo>
                    <a:pt x="245" y="265"/>
                  </a:lnTo>
                  <a:lnTo>
                    <a:pt x="256" y="256"/>
                  </a:lnTo>
                  <a:lnTo>
                    <a:pt x="265" y="245"/>
                  </a:lnTo>
                  <a:lnTo>
                    <a:pt x="274" y="233"/>
                  </a:lnTo>
                  <a:lnTo>
                    <a:pt x="282" y="221"/>
                  </a:lnTo>
                  <a:lnTo>
                    <a:pt x="288" y="208"/>
                  </a:lnTo>
                  <a:lnTo>
                    <a:pt x="293" y="194"/>
                  </a:lnTo>
                  <a:lnTo>
                    <a:pt x="297" y="180"/>
                  </a:lnTo>
                  <a:lnTo>
                    <a:pt x="299" y="165"/>
                  </a:lnTo>
                  <a:lnTo>
                    <a:pt x="300" y="150"/>
                  </a:lnTo>
                  <a:lnTo>
                    <a:pt x="300" y="150"/>
                  </a:lnTo>
                  <a:lnTo>
                    <a:pt x="299" y="135"/>
                  </a:lnTo>
                  <a:lnTo>
                    <a:pt x="297" y="119"/>
                  </a:lnTo>
                  <a:lnTo>
                    <a:pt x="293" y="105"/>
                  </a:lnTo>
                  <a:lnTo>
                    <a:pt x="288" y="91"/>
                  </a:lnTo>
                  <a:lnTo>
                    <a:pt x="282" y="78"/>
                  </a:lnTo>
                  <a:lnTo>
                    <a:pt x="274" y="65"/>
                  </a:lnTo>
                  <a:lnTo>
                    <a:pt x="265" y="55"/>
                  </a:lnTo>
                  <a:lnTo>
                    <a:pt x="256" y="44"/>
                  </a:lnTo>
                  <a:lnTo>
                    <a:pt x="245" y="34"/>
                  </a:lnTo>
                  <a:lnTo>
                    <a:pt x="234" y="26"/>
                  </a:lnTo>
                  <a:lnTo>
                    <a:pt x="221" y="18"/>
                  </a:lnTo>
                  <a:lnTo>
                    <a:pt x="208" y="11"/>
                  </a:lnTo>
                  <a:lnTo>
                    <a:pt x="194" y="6"/>
                  </a:lnTo>
                  <a:lnTo>
                    <a:pt x="180" y="3"/>
                  </a:lnTo>
                  <a:lnTo>
                    <a:pt x="165" y="1"/>
                  </a:lnTo>
                  <a:lnTo>
                    <a:pt x="150" y="0"/>
                  </a:lnTo>
                  <a:lnTo>
                    <a:pt x="150" y="0"/>
                  </a:lnTo>
                  <a:lnTo>
                    <a:pt x="135" y="1"/>
                  </a:lnTo>
                  <a:lnTo>
                    <a:pt x="120" y="3"/>
                  </a:lnTo>
                  <a:lnTo>
                    <a:pt x="106" y="6"/>
                  </a:lnTo>
                  <a:lnTo>
                    <a:pt x="92" y="11"/>
                  </a:lnTo>
                  <a:lnTo>
                    <a:pt x="79" y="18"/>
                  </a:lnTo>
                  <a:lnTo>
                    <a:pt x="66" y="26"/>
                  </a:lnTo>
                  <a:lnTo>
                    <a:pt x="55" y="34"/>
                  </a:lnTo>
                  <a:lnTo>
                    <a:pt x="44" y="44"/>
                  </a:lnTo>
                  <a:lnTo>
                    <a:pt x="34" y="55"/>
                  </a:lnTo>
                  <a:lnTo>
                    <a:pt x="26" y="65"/>
                  </a:lnTo>
                  <a:lnTo>
                    <a:pt x="18" y="78"/>
                  </a:lnTo>
                  <a:lnTo>
                    <a:pt x="12" y="91"/>
                  </a:lnTo>
                  <a:lnTo>
                    <a:pt x="6" y="105"/>
                  </a:lnTo>
                  <a:lnTo>
                    <a:pt x="3" y="119"/>
                  </a:lnTo>
                  <a:lnTo>
                    <a:pt x="1" y="135"/>
                  </a:lnTo>
                  <a:lnTo>
                    <a:pt x="0" y="150"/>
                  </a:lnTo>
                  <a:lnTo>
                    <a:pt x="0" y="15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9" name="Freeform 20">
              <a:extLst>
                <a:ext uri="{FF2B5EF4-FFF2-40B4-BE49-F238E27FC236}">
                  <a16:creationId xmlns:a16="http://schemas.microsoft.com/office/drawing/2014/main" id="{5FBC602A-80F4-4CDC-9D39-3869E73600C4}"/>
                </a:ext>
              </a:extLst>
            </p:cNvPr>
            <p:cNvSpPr>
              <a:spLocks/>
            </p:cNvSpPr>
            <p:nvPr/>
          </p:nvSpPr>
          <p:spPr bwMode="auto">
            <a:xfrm>
              <a:off x="187325" y="1123950"/>
              <a:ext cx="117475" cy="119063"/>
            </a:xfrm>
            <a:custGeom>
              <a:avLst/>
              <a:gdLst>
                <a:gd name="T0" fmla="*/ 149 w 300"/>
                <a:gd name="T1" fmla="*/ 0 h 300"/>
                <a:gd name="T2" fmla="*/ 120 w 300"/>
                <a:gd name="T3" fmla="*/ 3 h 300"/>
                <a:gd name="T4" fmla="*/ 91 w 300"/>
                <a:gd name="T5" fmla="*/ 11 h 300"/>
                <a:gd name="T6" fmla="*/ 66 w 300"/>
                <a:gd name="T7" fmla="*/ 26 h 300"/>
                <a:gd name="T8" fmla="*/ 44 w 300"/>
                <a:gd name="T9" fmla="*/ 44 h 300"/>
                <a:gd name="T10" fmla="*/ 25 w 300"/>
                <a:gd name="T11" fmla="*/ 65 h 300"/>
                <a:gd name="T12" fmla="*/ 12 w 300"/>
                <a:gd name="T13" fmla="*/ 91 h 300"/>
                <a:gd name="T14" fmla="*/ 3 w 300"/>
                <a:gd name="T15" fmla="*/ 119 h 300"/>
                <a:gd name="T16" fmla="*/ 0 w 300"/>
                <a:gd name="T17" fmla="*/ 150 h 300"/>
                <a:gd name="T18" fmla="*/ 0 w 300"/>
                <a:gd name="T19" fmla="*/ 165 h 300"/>
                <a:gd name="T20" fmla="*/ 7 w 300"/>
                <a:gd name="T21" fmla="*/ 194 h 300"/>
                <a:gd name="T22" fmla="*/ 18 w 300"/>
                <a:gd name="T23" fmla="*/ 221 h 300"/>
                <a:gd name="T24" fmla="*/ 34 w 300"/>
                <a:gd name="T25" fmla="*/ 245 h 300"/>
                <a:gd name="T26" fmla="*/ 54 w 300"/>
                <a:gd name="T27" fmla="*/ 265 h 300"/>
                <a:gd name="T28" fmla="*/ 78 w 300"/>
                <a:gd name="T29" fmla="*/ 281 h 300"/>
                <a:gd name="T30" fmla="*/ 105 w 300"/>
                <a:gd name="T31" fmla="*/ 292 h 300"/>
                <a:gd name="T32" fmla="*/ 134 w 300"/>
                <a:gd name="T33" fmla="*/ 299 h 300"/>
                <a:gd name="T34" fmla="*/ 149 w 300"/>
                <a:gd name="T35" fmla="*/ 300 h 300"/>
                <a:gd name="T36" fmla="*/ 180 w 300"/>
                <a:gd name="T37" fmla="*/ 297 h 300"/>
                <a:gd name="T38" fmla="*/ 209 w 300"/>
                <a:gd name="T39" fmla="*/ 288 h 300"/>
                <a:gd name="T40" fmla="*/ 234 w 300"/>
                <a:gd name="T41" fmla="*/ 274 h 300"/>
                <a:gd name="T42" fmla="*/ 256 w 300"/>
                <a:gd name="T43" fmla="*/ 256 h 300"/>
                <a:gd name="T44" fmla="*/ 275 w 300"/>
                <a:gd name="T45" fmla="*/ 233 h 300"/>
                <a:gd name="T46" fmla="*/ 288 w 300"/>
                <a:gd name="T47" fmla="*/ 208 h 300"/>
                <a:gd name="T48" fmla="*/ 297 w 300"/>
                <a:gd name="T49" fmla="*/ 180 h 300"/>
                <a:gd name="T50" fmla="*/ 300 w 300"/>
                <a:gd name="T51" fmla="*/ 150 h 300"/>
                <a:gd name="T52" fmla="*/ 300 w 300"/>
                <a:gd name="T53" fmla="*/ 135 h 300"/>
                <a:gd name="T54" fmla="*/ 293 w 300"/>
                <a:gd name="T55" fmla="*/ 105 h 300"/>
                <a:gd name="T56" fmla="*/ 282 w 300"/>
                <a:gd name="T57" fmla="*/ 78 h 300"/>
                <a:gd name="T58" fmla="*/ 266 w 300"/>
                <a:gd name="T59" fmla="*/ 55 h 300"/>
                <a:gd name="T60" fmla="*/ 246 w 300"/>
                <a:gd name="T61" fmla="*/ 34 h 300"/>
                <a:gd name="T62" fmla="*/ 222 w 300"/>
                <a:gd name="T63" fmla="*/ 18 h 300"/>
                <a:gd name="T64" fmla="*/ 195 w 300"/>
                <a:gd name="T65" fmla="*/ 6 h 300"/>
                <a:gd name="T66" fmla="*/ 166 w 300"/>
                <a:gd name="T67" fmla="*/ 1 h 300"/>
                <a:gd name="T68" fmla="*/ 149 w 300"/>
                <a:gd name="T69"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49" y="0"/>
                  </a:moveTo>
                  <a:lnTo>
                    <a:pt x="149" y="0"/>
                  </a:lnTo>
                  <a:lnTo>
                    <a:pt x="134" y="1"/>
                  </a:lnTo>
                  <a:lnTo>
                    <a:pt x="120" y="3"/>
                  </a:lnTo>
                  <a:lnTo>
                    <a:pt x="105" y="6"/>
                  </a:lnTo>
                  <a:lnTo>
                    <a:pt x="91" y="11"/>
                  </a:lnTo>
                  <a:lnTo>
                    <a:pt x="78" y="18"/>
                  </a:lnTo>
                  <a:lnTo>
                    <a:pt x="66" y="26"/>
                  </a:lnTo>
                  <a:lnTo>
                    <a:pt x="54" y="34"/>
                  </a:lnTo>
                  <a:lnTo>
                    <a:pt x="44" y="44"/>
                  </a:lnTo>
                  <a:lnTo>
                    <a:pt x="34" y="55"/>
                  </a:lnTo>
                  <a:lnTo>
                    <a:pt x="25" y="65"/>
                  </a:lnTo>
                  <a:lnTo>
                    <a:pt x="18" y="78"/>
                  </a:lnTo>
                  <a:lnTo>
                    <a:pt x="12" y="91"/>
                  </a:lnTo>
                  <a:lnTo>
                    <a:pt x="7" y="105"/>
                  </a:lnTo>
                  <a:lnTo>
                    <a:pt x="3" y="119"/>
                  </a:lnTo>
                  <a:lnTo>
                    <a:pt x="0" y="135"/>
                  </a:lnTo>
                  <a:lnTo>
                    <a:pt x="0" y="150"/>
                  </a:lnTo>
                  <a:lnTo>
                    <a:pt x="0" y="150"/>
                  </a:lnTo>
                  <a:lnTo>
                    <a:pt x="0" y="165"/>
                  </a:lnTo>
                  <a:lnTo>
                    <a:pt x="3" y="180"/>
                  </a:lnTo>
                  <a:lnTo>
                    <a:pt x="7" y="194"/>
                  </a:lnTo>
                  <a:lnTo>
                    <a:pt x="12" y="208"/>
                  </a:lnTo>
                  <a:lnTo>
                    <a:pt x="18" y="221"/>
                  </a:lnTo>
                  <a:lnTo>
                    <a:pt x="25" y="233"/>
                  </a:lnTo>
                  <a:lnTo>
                    <a:pt x="34" y="245"/>
                  </a:lnTo>
                  <a:lnTo>
                    <a:pt x="44" y="256"/>
                  </a:lnTo>
                  <a:lnTo>
                    <a:pt x="54" y="265"/>
                  </a:lnTo>
                  <a:lnTo>
                    <a:pt x="66" y="274"/>
                  </a:lnTo>
                  <a:lnTo>
                    <a:pt x="78" y="281"/>
                  </a:lnTo>
                  <a:lnTo>
                    <a:pt x="91" y="288"/>
                  </a:lnTo>
                  <a:lnTo>
                    <a:pt x="105" y="292"/>
                  </a:lnTo>
                  <a:lnTo>
                    <a:pt x="120" y="297"/>
                  </a:lnTo>
                  <a:lnTo>
                    <a:pt x="134" y="299"/>
                  </a:lnTo>
                  <a:lnTo>
                    <a:pt x="149" y="300"/>
                  </a:lnTo>
                  <a:lnTo>
                    <a:pt x="149" y="300"/>
                  </a:lnTo>
                  <a:lnTo>
                    <a:pt x="166" y="299"/>
                  </a:lnTo>
                  <a:lnTo>
                    <a:pt x="180" y="297"/>
                  </a:lnTo>
                  <a:lnTo>
                    <a:pt x="195" y="292"/>
                  </a:lnTo>
                  <a:lnTo>
                    <a:pt x="209" y="288"/>
                  </a:lnTo>
                  <a:lnTo>
                    <a:pt x="222" y="281"/>
                  </a:lnTo>
                  <a:lnTo>
                    <a:pt x="234" y="274"/>
                  </a:lnTo>
                  <a:lnTo>
                    <a:pt x="246" y="265"/>
                  </a:lnTo>
                  <a:lnTo>
                    <a:pt x="256" y="256"/>
                  </a:lnTo>
                  <a:lnTo>
                    <a:pt x="266" y="245"/>
                  </a:lnTo>
                  <a:lnTo>
                    <a:pt x="275" y="233"/>
                  </a:lnTo>
                  <a:lnTo>
                    <a:pt x="282" y="221"/>
                  </a:lnTo>
                  <a:lnTo>
                    <a:pt x="288" y="208"/>
                  </a:lnTo>
                  <a:lnTo>
                    <a:pt x="293" y="194"/>
                  </a:lnTo>
                  <a:lnTo>
                    <a:pt x="297" y="180"/>
                  </a:lnTo>
                  <a:lnTo>
                    <a:pt x="300" y="165"/>
                  </a:lnTo>
                  <a:lnTo>
                    <a:pt x="300" y="150"/>
                  </a:lnTo>
                  <a:lnTo>
                    <a:pt x="300" y="150"/>
                  </a:lnTo>
                  <a:lnTo>
                    <a:pt x="300" y="135"/>
                  </a:lnTo>
                  <a:lnTo>
                    <a:pt x="297" y="119"/>
                  </a:lnTo>
                  <a:lnTo>
                    <a:pt x="293" y="105"/>
                  </a:lnTo>
                  <a:lnTo>
                    <a:pt x="288" y="91"/>
                  </a:lnTo>
                  <a:lnTo>
                    <a:pt x="282" y="78"/>
                  </a:lnTo>
                  <a:lnTo>
                    <a:pt x="275" y="65"/>
                  </a:lnTo>
                  <a:lnTo>
                    <a:pt x="266" y="55"/>
                  </a:lnTo>
                  <a:lnTo>
                    <a:pt x="256" y="44"/>
                  </a:lnTo>
                  <a:lnTo>
                    <a:pt x="246" y="34"/>
                  </a:lnTo>
                  <a:lnTo>
                    <a:pt x="234" y="26"/>
                  </a:lnTo>
                  <a:lnTo>
                    <a:pt x="222" y="18"/>
                  </a:lnTo>
                  <a:lnTo>
                    <a:pt x="209" y="11"/>
                  </a:lnTo>
                  <a:lnTo>
                    <a:pt x="195" y="6"/>
                  </a:lnTo>
                  <a:lnTo>
                    <a:pt x="180" y="3"/>
                  </a:lnTo>
                  <a:lnTo>
                    <a:pt x="166" y="1"/>
                  </a:lnTo>
                  <a:lnTo>
                    <a:pt x="149" y="0"/>
                  </a:lnTo>
                  <a:lnTo>
                    <a:pt x="14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0" name="Freeform 21">
              <a:extLst>
                <a:ext uri="{FF2B5EF4-FFF2-40B4-BE49-F238E27FC236}">
                  <a16:creationId xmlns:a16="http://schemas.microsoft.com/office/drawing/2014/main" id="{9D6FCABC-89FE-4ED8-AE92-9320E41F9736}"/>
                </a:ext>
              </a:extLst>
            </p:cNvPr>
            <p:cNvSpPr>
              <a:spLocks/>
            </p:cNvSpPr>
            <p:nvPr/>
          </p:nvSpPr>
          <p:spPr bwMode="auto">
            <a:xfrm>
              <a:off x="339725" y="1090613"/>
              <a:ext cx="152400" cy="152400"/>
            </a:xfrm>
            <a:custGeom>
              <a:avLst/>
              <a:gdLst>
                <a:gd name="T0" fmla="*/ 385 w 385"/>
                <a:gd name="T1" fmla="*/ 193 h 386"/>
                <a:gd name="T2" fmla="*/ 381 w 385"/>
                <a:gd name="T3" fmla="*/ 154 h 386"/>
                <a:gd name="T4" fmla="*/ 370 w 385"/>
                <a:gd name="T5" fmla="*/ 118 h 386"/>
                <a:gd name="T6" fmla="*/ 352 w 385"/>
                <a:gd name="T7" fmla="*/ 84 h 386"/>
                <a:gd name="T8" fmla="*/ 328 w 385"/>
                <a:gd name="T9" fmla="*/ 56 h 386"/>
                <a:gd name="T10" fmla="*/ 300 w 385"/>
                <a:gd name="T11" fmla="*/ 33 h 386"/>
                <a:gd name="T12" fmla="*/ 268 w 385"/>
                <a:gd name="T13" fmla="*/ 15 h 386"/>
                <a:gd name="T14" fmla="*/ 231 w 385"/>
                <a:gd name="T15" fmla="*/ 3 h 386"/>
                <a:gd name="T16" fmla="*/ 192 w 385"/>
                <a:gd name="T17" fmla="*/ 0 h 386"/>
                <a:gd name="T18" fmla="*/ 173 w 385"/>
                <a:gd name="T19" fmla="*/ 1 h 386"/>
                <a:gd name="T20" fmla="*/ 135 w 385"/>
                <a:gd name="T21" fmla="*/ 9 h 386"/>
                <a:gd name="T22" fmla="*/ 100 w 385"/>
                <a:gd name="T23" fmla="*/ 23 h 386"/>
                <a:gd name="T24" fmla="*/ 70 w 385"/>
                <a:gd name="T25" fmla="*/ 43 h 386"/>
                <a:gd name="T26" fmla="*/ 44 w 385"/>
                <a:gd name="T27" fmla="*/ 70 h 386"/>
                <a:gd name="T28" fmla="*/ 23 w 385"/>
                <a:gd name="T29" fmla="*/ 101 h 386"/>
                <a:gd name="T30" fmla="*/ 9 w 385"/>
                <a:gd name="T31" fmla="*/ 135 h 386"/>
                <a:gd name="T32" fmla="*/ 1 w 385"/>
                <a:gd name="T33" fmla="*/ 173 h 386"/>
                <a:gd name="T34" fmla="*/ 0 w 385"/>
                <a:gd name="T35" fmla="*/ 193 h 386"/>
                <a:gd name="T36" fmla="*/ 3 w 385"/>
                <a:gd name="T37" fmla="*/ 231 h 386"/>
                <a:gd name="T38" fmla="*/ 15 w 385"/>
                <a:gd name="T39" fmla="*/ 268 h 386"/>
                <a:gd name="T40" fmla="*/ 32 w 385"/>
                <a:gd name="T41" fmla="*/ 301 h 386"/>
                <a:gd name="T42" fmla="*/ 56 w 385"/>
                <a:gd name="T43" fmla="*/ 329 h 386"/>
                <a:gd name="T44" fmla="*/ 85 w 385"/>
                <a:gd name="T45" fmla="*/ 352 h 386"/>
                <a:gd name="T46" fmla="*/ 118 w 385"/>
                <a:gd name="T47" fmla="*/ 371 h 386"/>
                <a:gd name="T48" fmla="*/ 153 w 385"/>
                <a:gd name="T49" fmla="*/ 382 h 386"/>
                <a:gd name="T50" fmla="*/ 192 w 385"/>
                <a:gd name="T51" fmla="*/ 386 h 386"/>
                <a:gd name="T52" fmla="*/ 212 w 385"/>
                <a:gd name="T53" fmla="*/ 385 h 386"/>
                <a:gd name="T54" fmla="*/ 249 w 385"/>
                <a:gd name="T55" fmla="*/ 377 h 386"/>
                <a:gd name="T56" fmla="*/ 284 w 385"/>
                <a:gd name="T57" fmla="*/ 362 h 386"/>
                <a:gd name="T58" fmla="*/ 315 w 385"/>
                <a:gd name="T59" fmla="*/ 342 h 386"/>
                <a:gd name="T60" fmla="*/ 341 w 385"/>
                <a:gd name="T61" fmla="*/ 316 h 386"/>
                <a:gd name="T62" fmla="*/ 362 w 385"/>
                <a:gd name="T63" fmla="*/ 284 h 386"/>
                <a:gd name="T64" fmla="*/ 377 w 385"/>
                <a:gd name="T65" fmla="*/ 250 h 386"/>
                <a:gd name="T66" fmla="*/ 384 w 385"/>
                <a:gd name="T67" fmla="*/ 212 h 386"/>
                <a:gd name="T68" fmla="*/ 385 w 385"/>
                <a:gd name="T69" fmla="*/ 193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5" h="386">
                  <a:moveTo>
                    <a:pt x="385" y="193"/>
                  </a:moveTo>
                  <a:lnTo>
                    <a:pt x="385" y="193"/>
                  </a:lnTo>
                  <a:lnTo>
                    <a:pt x="384" y="173"/>
                  </a:lnTo>
                  <a:lnTo>
                    <a:pt x="381" y="154"/>
                  </a:lnTo>
                  <a:lnTo>
                    <a:pt x="377" y="135"/>
                  </a:lnTo>
                  <a:lnTo>
                    <a:pt x="370" y="118"/>
                  </a:lnTo>
                  <a:lnTo>
                    <a:pt x="362" y="101"/>
                  </a:lnTo>
                  <a:lnTo>
                    <a:pt x="352" y="84"/>
                  </a:lnTo>
                  <a:lnTo>
                    <a:pt x="341" y="70"/>
                  </a:lnTo>
                  <a:lnTo>
                    <a:pt x="328" y="56"/>
                  </a:lnTo>
                  <a:lnTo>
                    <a:pt x="315" y="43"/>
                  </a:lnTo>
                  <a:lnTo>
                    <a:pt x="300" y="33"/>
                  </a:lnTo>
                  <a:lnTo>
                    <a:pt x="284" y="23"/>
                  </a:lnTo>
                  <a:lnTo>
                    <a:pt x="268" y="15"/>
                  </a:lnTo>
                  <a:lnTo>
                    <a:pt x="249" y="9"/>
                  </a:lnTo>
                  <a:lnTo>
                    <a:pt x="231" y="3"/>
                  </a:lnTo>
                  <a:lnTo>
                    <a:pt x="212" y="1"/>
                  </a:lnTo>
                  <a:lnTo>
                    <a:pt x="192" y="0"/>
                  </a:lnTo>
                  <a:lnTo>
                    <a:pt x="192" y="0"/>
                  </a:lnTo>
                  <a:lnTo>
                    <a:pt x="173" y="1"/>
                  </a:lnTo>
                  <a:lnTo>
                    <a:pt x="153" y="3"/>
                  </a:lnTo>
                  <a:lnTo>
                    <a:pt x="135" y="9"/>
                  </a:lnTo>
                  <a:lnTo>
                    <a:pt x="118" y="15"/>
                  </a:lnTo>
                  <a:lnTo>
                    <a:pt x="100" y="23"/>
                  </a:lnTo>
                  <a:lnTo>
                    <a:pt x="85" y="33"/>
                  </a:lnTo>
                  <a:lnTo>
                    <a:pt x="70" y="43"/>
                  </a:lnTo>
                  <a:lnTo>
                    <a:pt x="56" y="56"/>
                  </a:lnTo>
                  <a:lnTo>
                    <a:pt x="44" y="70"/>
                  </a:lnTo>
                  <a:lnTo>
                    <a:pt x="32" y="84"/>
                  </a:lnTo>
                  <a:lnTo>
                    <a:pt x="23" y="101"/>
                  </a:lnTo>
                  <a:lnTo>
                    <a:pt x="15" y="118"/>
                  </a:lnTo>
                  <a:lnTo>
                    <a:pt x="9" y="135"/>
                  </a:lnTo>
                  <a:lnTo>
                    <a:pt x="3" y="154"/>
                  </a:lnTo>
                  <a:lnTo>
                    <a:pt x="1" y="173"/>
                  </a:lnTo>
                  <a:lnTo>
                    <a:pt x="0" y="193"/>
                  </a:lnTo>
                  <a:lnTo>
                    <a:pt x="0" y="193"/>
                  </a:lnTo>
                  <a:lnTo>
                    <a:pt x="1" y="212"/>
                  </a:lnTo>
                  <a:lnTo>
                    <a:pt x="3" y="231"/>
                  </a:lnTo>
                  <a:lnTo>
                    <a:pt x="9" y="250"/>
                  </a:lnTo>
                  <a:lnTo>
                    <a:pt x="15" y="268"/>
                  </a:lnTo>
                  <a:lnTo>
                    <a:pt x="23" y="284"/>
                  </a:lnTo>
                  <a:lnTo>
                    <a:pt x="32" y="301"/>
                  </a:lnTo>
                  <a:lnTo>
                    <a:pt x="44" y="316"/>
                  </a:lnTo>
                  <a:lnTo>
                    <a:pt x="56" y="329"/>
                  </a:lnTo>
                  <a:lnTo>
                    <a:pt x="70" y="342"/>
                  </a:lnTo>
                  <a:lnTo>
                    <a:pt x="85" y="352"/>
                  </a:lnTo>
                  <a:lnTo>
                    <a:pt x="100" y="362"/>
                  </a:lnTo>
                  <a:lnTo>
                    <a:pt x="118" y="371"/>
                  </a:lnTo>
                  <a:lnTo>
                    <a:pt x="135" y="377"/>
                  </a:lnTo>
                  <a:lnTo>
                    <a:pt x="153" y="382"/>
                  </a:lnTo>
                  <a:lnTo>
                    <a:pt x="173" y="385"/>
                  </a:lnTo>
                  <a:lnTo>
                    <a:pt x="192" y="386"/>
                  </a:lnTo>
                  <a:lnTo>
                    <a:pt x="192" y="386"/>
                  </a:lnTo>
                  <a:lnTo>
                    <a:pt x="212" y="385"/>
                  </a:lnTo>
                  <a:lnTo>
                    <a:pt x="231" y="382"/>
                  </a:lnTo>
                  <a:lnTo>
                    <a:pt x="249" y="377"/>
                  </a:lnTo>
                  <a:lnTo>
                    <a:pt x="268" y="371"/>
                  </a:lnTo>
                  <a:lnTo>
                    <a:pt x="284" y="362"/>
                  </a:lnTo>
                  <a:lnTo>
                    <a:pt x="300" y="352"/>
                  </a:lnTo>
                  <a:lnTo>
                    <a:pt x="315" y="342"/>
                  </a:lnTo>
                  <a:lnTo>
                    <a:pt x="328" y="329"/>
                  </a:lnTo>
                  <a:lnTo>
                    <a:pt x="341" y="316"/>
                  </a:lnTo>
                  <a:lnTo>
                    <a:pt x="352" y="301"/>
                  </a:lnTo>
                  <a:lnTo>
                    <a:pt x="362" y="284"/>
                  </a:lnTo>
                  <a:lnTo>
                    <a:pt x="370" y="268"/>
                  </a:lnTo>
                  <a:lnTo>
                    <a:pt x="377" y="250"/>
                  </a:lnTo>
                  <a:lnTo>
                    <a:pt x="381" y="231"/>
                  </a:lnTo>
                  <a:lnTo>
                    <a:pt x="384" y="212"/>
                  </a:lnTo>
                  <a:lnTo>
                    <a:pt x="385" y="193"/>
                  </a:lnTo>
                  <a:lnTo>
                    <a:pt x="385" y="19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111" name="Oval 110">
            <a:extLst>
              <a:ext uri="{FF2B5EF4-FFF2-40B4-BE49-F238E27FC236}">
                <a16:creationId xmlns:a16="http://schemas.microsoft.com/office/drawing/2014/main" id="{44EDD922-11A2-4D9D-853E-6536254B0BCE}"/>
              </a:ext>
            </a:extLst>
          </p:cNvPr>
          <p:cNvSpPr/>
          <p:nvPr/>
        </p:nvSpPr>
        <p:spPr>
          <a:xfrm>
            <a:off x="1969035" y="4915408"/>
            <a:ext cx="603697" cy="603697"/>
          </a:xfrm>
          <a:prstGeom prst="ellipse">
            <a:avLst/>
          </a:prstGeom>
          <a:noFill/>
          <a:ln w="412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12" name="Rectangle 3">
            <a:extLst>
              <a:ext uri="{FF2B5EF4-FFF2-40B4-BE49-F238E27FC236}">
                <a16:creationId xmlns:a16="http://schemas.microsoft.com/office/drawing/2014/main" id="{D53DD6E2-A39F-4BE2-B07F-BF30C9A82F54}"/>
              </a:ext>
            </a:extLst>
          </p:cNvPr>
          <p:cNvSpPr>
            <a:spLocks/>
          </p:cNvSpPr>
          <p:nvPr/>
        </p:nvSpPr>
        <p:spPr bwMode="auto">
          <a:xfrm>
            <a:off x="2108200" y="1924362"/>
            <a:ext cx="3743172" cy="1055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hronicle Display Black"/>
                <a:ea typeface="+mn-ea"/>
                <a:cs typeface="Frutiger Next Pro Medium"/>
                <a:sym typeface="Frutiger Next Pro Medium" charset="0"/>
              </a:rPr>
              <a:t>Master</a:t>
            </a:r>
            <a:r>
              <a:rPr kumimoji="0" lang="en-US" sz="2400" b="0" i="0" u="none" strike="noStrike" kern="1200" cap="none" spc="0" normalizeH="0" baseline="0" noProof="0" dirty="0">
                <a:ln>
                  <a:noFill/>
                </a:ln>
                <a:solidFill>
                  <a:srgbClr val="000000"/>
                </a:solidFill>
                <a:effectLst/>
                <a:uLnTx/>
                <a:uFillTx/>
                <a:latin typeface="Chronicle Display Black"/>
                <a:ea typeface="+mn-ea"/>
                <a:cs typeface="Frutiger Next Pro Medium"/>
                <a:sym typeface="Frutiger Next Pro Medium" charset="0"/>
              </a:rPr>
              <a:t> the Delive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Deliver personalized, real-time content at each journey touchpoint to attract, retain, and unlock value from every consumer</a:t>
            </a:r>
          </a:p>
        </p:txBody>
      </p:sp>
      <p:grpSp>
        <p:nvGrpSpPr>
          <p:cNvPr id="113" name="Group 112">
            <a:extLst>
              <a:ext uri="{FF2B5EF4-FFF2-40B4-BE49-F238E27FC236}">
                <a16:creationId xmlns:a16="http://schemas.microsoft.com/office/drawing/2014/main" id="{FFDC9994-509B-4100-868B-AF891D864EE3}"/>
              </a:ext>
            </a:extLst>
          </p:cNvPr>
          <p:cNvGrpSpPr/>
          <p:nvPr/>
        </p:nvGrpSpPr>
        <p:grpSpPr>
          <a:xfrm>
            <a:off x="1371600" y="1949762"/>
            <a:ext cx="603697" cy="603697"/>
            <a:chOff x="6689476" y="4832546"/>
            <a:chExt cx="603697" cy="603697"/>
          </a:xfrm>
        </p:grpSpPr>
        <p:grpSp>
          <p:nvGrpSpPr>
            <p:cNvPr id="114" name="Group 113">
              <a:extLst>
                <a:ext uri="{FF2B5EF4-FFF2-40B4-BE49-F238E27FC236}">
                  <a16:creationId xmlns:a16="http://schemas.microsoft.com/office/drawing/2014/main" id="{B5C10614-EFBB-472A-8C42-337FEBD64E36}"/>
                </a:ext>
              </a:extLst>
            </p:cNvPr>
            <p:cNvGrpSpPr>
              <a:grpSpLocks noChangeAspect="1"/>
            </p:cNvGrpSpPr>
            <p:nvPr/>
          </p:nvGrpSpPr>
          <p:grpSpPr>
            <a:xfrm>
              <a:off x="6886022" y="5021056"/>
              <a:ext cx="227100" cy="225615"/>
              <a:chOff x="3330576" y="2638425"/>
              <a:chExt cx="242888" cy="241300"/>
            </a:xfrm>
            <a:solidFill>
              <a:schemeClr val="tx1"/>
            </a:solidFill>
          </p:grpSpPr>
          <p:sp>
            <p:nvSpPr>
              <p:cNvPr id="116" name="Freeform 238">
                <a:extLst>
                  <a:ext uri="{FF2B5EF4-FFF2-40B4-BE49-F238E27FC236}">
                    <a16:creationId xmlns:a16="http://schemas.microsoft.com/office/drawing/2014/main" id="{6960C09F-4598-436A-8262-C140817AB927}"/>
                  </a:ext>
                </a:extLst>
              </p:cNvPr>
              <p:cNvSpPr>
                <a:spLocks/>
              </p:cNvSpPr>
              <p:nvPr/>
            </p:nvSpPr>
            <p:spPr bwMode="auto">
              <a:xfrm>
                <a:off x="3333751" y="2668588"/>
                <a:ext cx="101600" cy="77788"/>
              </a:xfrm>
              <a:custGeom>
                <a:avLst/>
                <a:gdLst>
                  <a:gd name="T0" fmla="*/ 38 w 129"/>
                  <a:gd name="T1" fmla="*/ 98 h 98"/>
                  <a:gd name="T2" fmla="*/ 38 w 129"/>
                  <a:gd name="T3" fmla="*/ 98 h 98"/>
                  <a:gd name="T4" fmla="*/ 53 w 129"/>
                  <a:gd name="T5" fmla="*/ 76 h 98"/>
                  <a:gd name="T6" fmla="*/ 73 w 129"/>
                  <a:gd name="T7" fmla="*/ 52 h 98"/>
                  <a:gd name="T8" fmla="*/ 85 w 129"/>
                  <a:gd name="T9" fmla="*/ 40 h 98"/>
                  <a:gd name="T10" fmla="*/ 98 w 129"/>
                  <a:gd name="T11" fmla="*/ 28 h 98"/>
                  <a:gd name="T12" fmla="*/ 113 w 129"/>
                  <a:gd name="T13" fmla="*/ 16 h 98"/>
                  <a:gd name="T14" fmla="*/ 129 w 129"/>
                  <a:gd name="T15" fmla="*/ 4 h 98"/>
                  <a:gd name="T16" fmla="*/ 129 w 129"/>
                  <a:gd name="T17" fmla="*/ 4 h 98"/>
                  <a:gd name="T18" fmla="*/ 115 w 129"/>
                  <a:gd name="T19" fmla="*/ 1 h 98"/>
                  <a:gd name="T20" fmla="*/ 100 w 129"/>
                  <a:gd name="T21" fmla="*/ 0 h 98"/>
                  <a:gd name="T22" fmla="*/ 85 w 129"/>
                  <a:gd name="T23" fmla="*/ 1 h 98"/>
                  <a:gd name="T24" fmla="*/ 70 w 129"/>
                  <a:gd name="T25" fmla="*/ 4 h 98"/>
                  <a:gd name="T26" fmla="*/ 55 w 129"/>
                  <a:gd name="T27" fmla="*/ 8 h 98"/>
                  <a:gd name="T28" fmla="*/ 42 w 129"/>
                  <a:gd name="T29" fmla="*/ 14 h 98"/>
                  <a:gd name="T30" fmla="*/ 30 w 129"/>
                  <a:gd name="T31" fmla="*/ 22 h 98"/>
                  <a:gd name="T32" fmla="*/ 18 w 129"/>
                  <a:gd name="T33" fmla="*/ 33 h 98"/>
                  <a:gd name="T34" fmla="*/ 18 w 129"/>
                  <a:gd name="T35" fmla="*/ 33 h 98"/>
                  <a:gd name="T36" fmla="*/ 8 w 129"/>
                  <a:gd name="T37" fmla="*/ 44 h 98"/>
                  <a:gd name="T38" fmla="*/ 0 w 129"/>
                  <a:gd name="T39" fmla="*/ 56 h 98"/>
                  <a:gd name="T40" fmla="*/ 0 w 129"/>
                  <a:gd name="T41" fmla="*/ 56 h 98"/>
                  <a:gd name="T42" fmla="*/ 0 w 129"/>
                  <a:gd name="T43" fmla="*/ 59 h 98"/>
                  <a:gd name="T44" fmla="*/ 2 w 129"/>
                  <a:gd name="T45" fmla="*/ 61 h 98"/>
                  <a:gd name="T46" fmla="*/ 38 w 129"/>
                  <a:gd name="T4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9" h="98">
                    <a:moveTo>
                      <a:pt x="38" y="98"/>
                    </a:moveTo>
                    <a:lnTo>
                      <a:pt x="38" y="98"/>
                    </a:lnTo>
                    <a:lnTo>
                      <a:pt x="53" y="76"/>
                    </a:lnTo>
                    <a:lnTo>
                      <a:pt x="73" y="52"/>
                    </a:lnTo>
                    <a:lnTo>
                      <a:pt x="85" y="40"/>
                    </a:lnTo>
                    <a:lnTo>
                      <a:pt x="98" y="28"/>
                    </a:lnTo>
                    <a:lnTo>
                      <a:pt x="113" y="16"/>
                    </a:lnTo>
                    <a:lnTo>
                      <a:pt x="129" y="4"/>
                    </a:lnTo>
                    <a:lnTo>
                      <a:pt x="129" y="4"/>
                    </a:lnTo>
                    <a:lnTo>
                      <a:pt x="115" y="1"/>
                    </a:lnTo>
                    <a:lnTo>
                      <a:pt x="100" y="0"/>
                    </a:lnTo>
                    <a:lnTo>
                      <a:pt x="85" y="1"/>
                    </a:lnTo>
                    <a:lnTo>
                      <a:pt x="70" y="4"/>
                    </a:lnTo>
                    <a:lnTo>
                      <a:pt x="55" y="8"/>
                    </a:lnTo>
                    <a:lnTo>
                      <a:pt x="42" y="14"/>
                    </a:lnTo>
                    <a:lnTo>
                      <a:pt x="30" y="22"/>
                    </a:lnTo>
                    <a:lnTo>
                      <a:pt x="18" y="33"/>
                    </a:lnTo>
                    <a:lnTo>
                      <a:pt x="18" y="33"/>
                    </a:lnTo>
                    <a:lnTo>
                      <a:pt x="8" y="44"/>
                    </a:lnTo>
                    <a:lnTo>
                      <a:pt x="0" y="56"/>
                    </a:lnTo>
                    <a:lnTo>
                      <a:pt x="0" y="56"/>
                    </a:lnTo>
                    <a:lnTo>
                      <a:pt x="0" y="59"/>
                    </a:lnTo>
                    <a:lnTo>
                      <a:pt x="2" y="61"/>
                    </a:lnTo>
                    <a:lnTo>
                      <a:pt x="38" y="98"/>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17" name="Freeform 239">
                <a:extLst>
                  <a:ext uri="{FF2B5EF4-FFF2-40B4-BE49-F238E27FC236}">
                    <a16:creationId xmlns:a16="http://schemas.microsoft.com/office/drawing/2014/main" id="{2AB434DD-C585-41CF-B9DD-3435C25FC823}"/>
                  </a:ext>
                </a:extLst>
              </p:cNvPr>
              <p:cNvSpPr>
                <a:spLocks/>
              </p:cNvSpPr>
              <p:nvPr/>
            </p:nvSpPr>
            <p:spPr bwMode="auto">
              <a:xfrm>
                <a:off x="3463926" y="2774950"/>
                <a:ext cx="79375" cy="104775"/>
              </a:xfrm>
              <a:custGeom>
                <a:avLst/>
                <a:gdLst>
                  <a:gd name="T0" fmla="*/ 0 w 99"/>
                  <a:gd name="T1" fmla="*/ 92 h 130"/>
                  <a:gd name="T2" fmla="*/ 37 w 99"/>
                  <a:gd name="T3" fmla="*/ 129 h 130"/>
                  <a:gd name="T4" fmla="*/ 37 w 99"/>
                  <a:gd name="T5" fmla="*/ 129 h 130"/>
                  <a:gd name="T6" fmla="*/ 40 w 99"/>
                  <a:gd name="T7" fmla="*/ 130 h 130"/>
                  <a:gd name="T8" fmla="*/ 40 w 99"/>
                  <a:gd name="T9" fmla="*/ 130 h 130"/>
                  <a:gd name="T10" fmla="*/ 43 w 99"/>
                  <a:gd name="T11" fmla="*/ 129 h 130"/>
                  <a:gd name="T12" fmla="*/ 43 w 99"/>
                  <a:gd name="T13" fmla="*/ 129 h 130"/>
                  <a:gd name="T14" fmla="*/ 55 w 99"/>
                  <a:gd name="T15" fmla="*/ 121 h 130"/>
                  <a:gd name="T16" fmla="*/ 65 w 99"/>
                  <a:gd name="T17" fmla="*/ 111 h 130"/>
                  <a:gd name="T18" fmla="*/ 65 w 99"/>
                  <a:gd name="T19" fmla="*/ 111 h 130"/>
                  <a:gd name="T20" fmla="*/ 76 w 99"/>
                  <a:gd name="T21" fmla="*/ 101 h 130"/>
                  <a:gd name="T22" fmla="*/ 84 w 99"/>
                  <a:gd name="T23" fmla="*/ 87 h 130"/>
                  <a:gd name="T24" fmla="*/ 91 w 99"/>
                  <a:gd name="T25" fmla="*/ 74 h 130"/>
                  <a:gd name="T26" fmla="*/ 95 w 99"/>
                  <a:gd name="T27" fmla="*/ 60 h 130"/>
                  <a:gd name="T28" fmla="*/ 98 w 99"/>
                  <a:gd name="T29" fmla="*/ 45 h 130"/>
                  <a:gd name="T30" fmla="*/ 99 w 99"/>
                  <a:gd name="T31" fmla="*/ 31 h 130"/>
                  <a:gd name="T32" fmla="*/ 98 w 99"/>
                  <a:gd name="T33" fmla="*/ 16 h 130"/>
                  <a:gd name="T34" fmla="*/ 94 w 99"/>
                  <a:gd name="T35" fmla="*/ 0 h 130"/>
                  <a:gd name="T36" fmla="*/ 94 w 99"/>
                  <a:gd name="T37" fmla="*/ 0 h 130"/>
                  <a:gd name="T38" fmla="*/ 83 w 99"/>
                  <a:gd name="T39" fmla="*/ 16 h 130"/>
                  <a:gd name="T40" fmla="*/ 71 w 99"/>
                  <a:gd name="T41" fmla="*/ 31 h 130"/>
                  <a:gd name="T42" fmla="*/ 59 w 99"/>
                  <a:gd name="T43" fmla="*/ 44 h 130"/>
                  <a:gd name="T44" fmla="*/ 47 w 99"/>
                  <a:gd name="T45" fmla="*/ 56 h 130"/>
                  <a:gd name="T46" fmla="*/ 22 w 99"/>
                  <a:gd name="T47" fmla="*/ 76 h 130"/>
                  <a:gd name="T48" fmla="*/ 0 w 99"/>
                  <a:gd name="T49" fmla="*/ 92 h 130"/>
                  <a:gd name="T50" fmla="*/ 0 w 99"/>
                  <a:gd name="T51" fmla="*/ 92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9" h="130">
                    <a:moveTo>
                      <a:pt x="0" y="92"/>
                    </a:moveTo>
                    <a:lnTo>
                      <a:pt x="37" y="129"/>
                    </a:lnTo>
                    <a:lnTo>
                      <a:pt x="37" y="129"/>
                    </a:lnTo>
                    <a:lnTo>
                      <a:pt x="40" y="130"/>
                    </a:lnTo>
                    <a:lnTo>
                      <a:pt x="40" y="130"/>
                    </a:lnTo>
                    <a:lnTo>
                      <a:pt x="43" y="129"/>
                    </a:lnTo>
                    <a:lnTo>
                      <a:pt x="43" y="129"/>
                    </a:lnTo>
                    <a:lnTo>
                      <a:pt x="55" y="121"/>
                    </a:lnTo>
                    <a:lnTo>
                      <a:pt x="65" y="111"/>
                    </a:lnTo>
                    <a:lnTo>
                      <a:pt x="65" y="111"/>
                    </a:lnTo>
                    <a:lnTo>
                      <a:pt x="76" y="101"/>
                    </a:lnTo>
                    <a:lnTo>
                      <a:pt x="84" y="87"/>
                    </a:lnTo>
                    <a:lnTo>
                      <a:pt x="91" y="74"/>
                    </a:lnTo>
                    <a:lnTo>
                      <a:pt x="95" y="60"/>
                    </a:lnTo>
                    <a:lnTo>
                      <a:pt x="98" y="45"/>
                    </a:lnTo>
                    <a:lnTo>
                      <a:pt x="99" y="31"/>
                    </a:lnTo>
                    <a:lnTo>
                      <a:pt x="98" y="16"/>
                    </a:lnTo>
                    <a:lnTo>
                      <a:pt x="94" y="0"/>
                    </a:lnTo>
                    <a:lnTo>
                      <a:pt x="94" y="0"/>
                    </a:lnTo>
                    <a:lnTo>
                      <a:pt x="83" y="16"/>
                    </a:lnTo>
                    <a:lnTo>
                      <a:pt x="71" y="31"/>
                    </a:lnTo>
                    <a:lnTo>
                      <a:pt x="59" y="44"/>
                    </a:lnTo>
                    <a:lnTo>
                      <a:pt x="47" y="56"/>
                    </a:lnTo>
                    <a:lnTo>
                      <a:pt x="22" y="76"/>
                    </a:lnTo>
                    <a:lnTo>
                      <a:pt x="0" y="92"/>
                    </a:lnTo>
                    <a:lnTo>
                      <a:pt x="0" y="92"/>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18" name="Freeform 240">
                <a:extLst>
                  <a:ext uri="{FF2B5EF4-FFF2-40B4-BE49-F238E27FC236}">
                    <a16:creationId xmlns:a16="http://schemas.microsoft.com/office/drawing/2014/main" id="{A9132EB6-8A7C-4D0D-BE9A-F5B7ADD43F89}"/>
                  </a:ext>
                </a:extLst>
              </p:cNvPr>
              <p:cNvSpPr>
                <a:spLocks/>
              </p:cNvSpPr>
              <p:nvPr/>
            </p:nvSpPr>
            <p:spPr bwMode="auto">
              <a:xfrm>
                <a:off x="3330576" y="2828925"/>
                <a:ext cx="52388" cy="50800"/>
              </a:xfrm>
              <a:custGeom>
                <a:avLst/>
                <a:gdLst>
                  <a:gd name="T0" fmla="*/ 5 w 64"/>
                  <a:gd name="T1" fmla="*/ 64 h 64"/>
                  <a:gd name="T2" fmla="*/ 5 w 64"/>
                  <a:gd name="T3" fmla="*/ 64 h 64"/>
                  <a:gd name="T4" fmla="*/ 14 w 64"/>
                  <a:gd name="T5" fmla="*/ 64 h 64"/>
                  <a:gd name="T6" fmla="*/ 14 w 64"/>
                  <a:gd name="T7" fmla="*/ 64 h 64"/>
                  <a:gd name="T8" fmla="*/ 29 w 64"/>
                  <a:gd name="T9" fmla="*/ 64 h 64"/>
                  <a:gd name="T10" fmla="*/ 40 w 64"/>
                  <a:gd name="T11" fmla="*/ 63 h 64"/>
                  <a:gd name="T12" fmla="*/ 49 w 64"/>
                  <a:gd name="T13" fmla="*/ 59 h 64"/>
                  <a:gd name="T14" fmla="*/ 55 w 64"/>
                  <a:gd name="T15" fmla="*/ 55 h 64"/>
                  <a:gd name="T16" fmla="*/ 55 w 64"/>
                  <a:gd name="T17" fmla="*/ 55 h 64"/>
                  <a:gd name="T18" fmla="*/ 59 w 64"/>
                  <a:gd name="T19" fmla="*/ 50 h 64"/>
                  <a:gd name="T20" fmla="*/ 61 w 64"/>
                  <a:gd name="T21" fmla="*/ 44 h 64"/>
                  <a:gd name="T22" fmla="*/ 64 w 64"/>
                  <a:gd name="T23" fmla="*/ 39 h 64"/>
                  <a:gd name="T24" fmla="*/ 64 w 64"/>
                  <a:gd name="T25" fmla="*/ 32 h 64"/>
                  <a:gd name="T26" fmla="*/ 64 w 64"/>
                  <a:gd name="T27" fmla="*/ 32 h 64"/>
                  <a:gd name="T28" fmla="*/ 64 w 64"/>
                  <a:gd name="T29" fmla="*/ 27 h 64"/>
                  <a:gd name="T30" fmla="*/ 61 w 64"/>
                  <a:gd name="T31" fmla="*/ 20 h 64"/>
                  <a:gd name="T32" fmla="*/ 59 w 64"/>
                  <a:gd name="T33" fmla="*/ 15 h 64"/>
                  <a:gd name="T34" fmla="*/ 55 w 64"/>
                  <a:gd name="T35" fmla="*/ 9 h 64"/>
                  <a:gd name="T36" fmla="*/ 55 w 64"/>
                  <a:gd name="T37" fmla="*/ 9 h 64"/>
                  <a:gd name="T38" fmla="*/ 51 w 64"/>
                  <a:gd name="T39" fmla="*/ 5 h 64"/>
                  <a:gd name="T40" fmla="*/ 45 w 64"/>
                  <a:gd name="T41" fmla="*/ 3 h 64"/>
                  <a:gd name="T42" fmla="*/ 39 w 64"/>
                  <a:gd name="T43" fmla="*/ 1 h 64"/>
                  <a:gd name="T44" fmla="*/ 32 w 64"/>
                  <a:gd name="T45" fmla="*/ 0 h 64"/>
                  <a:gd name="T46" fmla="*/ 32 w 64"/>
                  <a:gd name="T47" fmla="*/ 0 h 64"/>
                  <a:gd name="T48" fmla="*/ 27 w 64"/>
                  <a:gd name="T49" fmla="*/ 1 h 64"/>
                  <a:gd name="T50" fmla="*/ 20 w 64"/>
                  <a:gd name="T51" fmla="*/ 3 h 64"/>
                  <a:gd name="T52" fmla="*/ 14 w 64"/>
                  <a:gd name="T53" fmla="*/ 5 h 64"/>
                  <a:gd name="T54" fmla="*/ 10 w 64"/>
                  <a:gd name="T55" fmla="*/ 9 h 64"/>
                  <a:gd name="T56" fmla="*/ 10 w 64"/>
                  <a:gd name="T57" fmla="*/ 9 h 64"/>
                  <a:gd name="T58" fmla="*/ 6 w 64"/>
                  <a:gd name="T59" fmla="*/ 15 h 64"/>
                  <a:gd name="T60" fmla="*/ 4 w 64"/>
                  <a:gd name="T61" fmla="*/ 23 h 64"/>
                  <a:gd name="T62" fmla="*/ 1 w 64"/>
                  <a:gd name="T63" fmla="*/ 30 h 64"/>
                  <a:gd name="T64" fmla="*/ 1 w 64"/>
                  <a:gd name="T65" fmla="*/ 38 h 64"/>
                  <a:gd name="T66" fmla="*/ 0 w 64"/>
                  <a:gd name="T67" fmla="*/ 52 h 64"/>
                  <a:gd name="T68" fmla="*/ 1 w 64"/>
                  <a:gd name="T69" fmla="*/ 60 h 64"/>
                  <a:gd name="T70" fmla="*/ 1 w 64"/>
                  <a:gd name="T71" fmla="*/ 60 h 64"/>
                  <a:gd name="T72" fmla="*/ 2 w 64"/>
                  <a:gd name="T73" fmla="*/ 63 h 64"/>
                  <a:gd name="T74" fmla="*/ 5 w 64"/>
                  <a:gd name="T75" fmla="*/ 64 h 64"/>
                  <a:gd name="T76" fmla="*/ 5 w 64"/>
                  <a:gd name="T7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4" h="64">
                    <a:moveTo>
                      <a:pt x="5" y="64"/>
                    </a:moveTo>
                    <a:lnTo>
                      <a:pt x="5" y="64"/>
                    </a:lnTo>
                    <a:lnTo>
                      <a:pt x="14" y="64"/>
                    </a:lnTo>
                    <a:lnTo>
                      <a:pt x="14" y="64"/>
                    </a:lnTo>
                    <a:lnTo>
                      <a:pt x="29" y="64"/>
                    </a:lnTo>
                    <a:lnTo>
                      <a:pt x="40" y="63"/>
                    </a:lnTo>
                    <a:lnTo>
                      <a:pt x="49" y="59"/>
                    </a:lnTo>
                    <a:lnTo>
                      <a:pt x="55" y="55"/>
                    </a:lnTo>
                    <a:lnTo>
                      <a:pt x="55" y="55"/>
                    </a:lnTo>
                    <a:lnTo>
                      <a:pt x="59" y="50"/>
                    </a:lnTo>
                    <a:lnTo>
                      <a:pt x="61" y="44"/>
                    </a:lnTo>
                    <a:lnTo>
                      <a:pt x="64" y="39"/>
                    </a:lnTo>
                    <a:lnTo>
                      <a:pt x="64" y="32"/>
                    </a:lnTo>
                    <a:lnTo>
                      <a:pt x="64" y="32"/>
                    </a:lnTo>
                    <a:lnTo>
                      <a:pt x="64" y="27"/>
                    </a:lnTo>
                    <a:lnTo>
                      <a:pt x="61" y="20"/>
                    </a:lnTo>
                    <a:lnTo>
                      <a:pt x="59" y="15"/>
                    </a:lnTo>
                    <a:lnTo>
                      <a:pt x="55" y="9"/>
                    </a:lnTo>
                    <a:lnTo>
                      <a:pt x="55" y="9"/>
                    </a:lnTo>
                    <a:lnTo>
                      <a:pt x="51" y="5"/>
                    </a:lnTo>
                    <a:lnTo>
                      <a:pt x="45" y="3"/>
                    </a:lnTo>
                    <a:lnTo>
                      <a:pt x="39" y="1"/>
                    </a:lnTo>
                    <a:lnTo>
                      <a:pt x="32" y="0"/>
                    </a:lnTo>
                    <a:lnTo>
                      <a:pt x="32" y="0"/>
                    </a:lnTo>
                    <a:lnTo>
                      <a:pt x="27" y="1"/>
                    </a:lnTo>
                    <a:lnTo>
                      <a:pt x="20" y="3"/>
                    </a:lnTo>
                    <a:lnTo>
                      <a:pt x="14" y="5"/>
                    </a:lnTo>
                    <a:lnTo>
                      <a:pt x="10" y="9"/>
                    </a:lnTo>
                    <a:lnTo>
                      <a:pt x="10" y="9"/>
                    </a:lnTo>
                    <a:lnTo>
                      <a:pt x="6" y="15"/>
                    </a:lnTo>
                    <a:lnTo>
                      <a:pt x="4" y="23"/>
                    </a:lnTo>
                    <a:lnTo>
                      <a:pt x="1" y="30"/>
                    </a:lnTo>
                    <a:lnTo>
                      <a:pt x="1" y="38"/>
                    </a:lnTo>
                    <a:lnTo>
                      <a:pt x="0" y="52"/>
                    </a:lnTo>
                    <a:lnTo>
                      <a:pt x="1" y="60"/>
                    </a:lnTo>
                    <a:lnTo>
                      <a:pt x="1" y="60"/>
                    </a:lnTo>
                    <a:lnTo>
                      <a:pt x="2" y="63"/>
                    </a:lnTo>
                    <a:lnTo>
                      <a:pt x="5" y="64"/>
                    </a:lnTo>
                    <a:lnTo>
                      <a:pt x="5" y="64"/>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19" name="Freeform 241">
                <a:extLst>
                  <a:ext uri="{FF2B5EF4-FFF2-40B4-BE49-F238E27FC236}">
                    <a16:creationId xmlns:a16="http://schemas.microsoft.com/office/drawing/2014/main" id="{FB98F697-4B69-46AA-A34E-3F55EF8A5A68}"/>
                  </a:ext>
                </a:extLst>
              </p:cNvPr>
              <p:cNvSpPr>
                <a:spLocks/>
              </p:cNvSpPr>
              <p:nvPr/>
            </p:nvSpPr>
            <p:spPr bwMode="auto">
              <a:xfrm>
                <a:off x="3492501" y="2638425"/>
                <a:ext cx="80963" cy="80963"/>
              </a:xfrm>
              <a:custGeom>
                <a:avLst/>
                <a:gdLst>
                  <a:gd name="T0" fmla="*/ 79 w 102"/>
                  <a:gd name="T1" fmla="*/ 102 h 102"/>
                  <a:gd name="T2" fmla="*/ 79 w 102"/>
                  <a:gd name="T3" fmla="*/ 102 h 102"/>
                  <a:gd name="T4" fmla="*/ 87 w 102"/>
                  <a:gd name="T5" fmla="*/ 80 h 102"/>
                  <a:gd name="T6" fmla="*/ 94 w 102"/>
                  <a:gd name="T7" fmla="*/ 56 h 102"/>
                  <a:gd name="T8" fmla="*/ 99 w 102"/>
                  <a:gd name="T9" fmla="*/ 32 h 102"/>
                  <a:gd name="T10" fmla="*/ 102 w 102"/>
                  <a:gd name="T11" fmla="*/ 5 h 102"/>
                  <a:gd name="T12" fmla="*/ 102 w 102"/>
                  <a:gd name="T13" fmla="*/ 5 h 102"/>
                  <a:gd name="T14" fmla="*/ 100 w 102"/>
                  <a:gd name="T15" fmla="*/ 4 h 102"/>
                  <a:gd name="T16" fmla="*/ 99 w 102"/>
                  <a:gd name="T17" fmla="*/ 1 h 102"/>
                  <a:gd name="T18" fmla="*/ 99 w 102"/>
                  <a:gd name="T19" fmla="*/ 1 h 102"/>
                  <a:gd name="T20" fmla="*/ 98 w 102"/>
                  <a:gd name="T21" fmla="*/ 0 h 102"/>
                  <a:gd name="T22" fmla="*/ 96 w 102"/>
                  <a:gd name="T23" fmla="*/ 0 h 102"/>
                  <a:gd name="T24" fmla="*/ 96 w 102"/>
                  <a:gd name="T25" fmla="*/ 0 h 102"/>
                  <a:gd name="T26" fmla="*/ 70 w 102"/>
                  <a:gd name="T27" fmla="*/ 2 h 102"/>
                  <a:gd name="T28" fmla="*/ 44 w 102"/>
                  <a:gd name="T29" fmla="*/ 6 h 102"/>
                  <a:gd name="T30" fmla="*/ 21 w 102"/>
                  <a:gd name="T31" fmla="*/ 13 h 102"/>
                  <a:gd name="T32" fmla="*/ 0 w 102"/>
                  <a:gd name="T33" fmla="*/ 21 h 102"/>
                  <a:gd name="T34" fmla="*/ 79 w 102"/>
                  <a:gd name="T35"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2" h="102">
                    <a:moveTo>
                      <a:pt x="79" y="102"/>
                    </a:moveTo>
                    <a:lnTo>
                      <a:pt x="79" y="102"/>
                    </a:lnTo>
                    <a:lnTo>
                      <a:pt x="87" y="80"/>
                    </a:lnTo>
                    <a:lnTo>
                      <a:pt x="94" y="56"/>
                    </a:lnTo>
                    <a:lnTo>
                      <a:pt x="99" y="32"/>
                    </a:lnTo>
                    <a:lnTo>
                      <a:pt x="102" y="5"/>
                    </a:lnTo>
                    <a:lnTo>
                      <a:pt x="102" y="5"/>
                    </a:lnTo>
                    <a:lnTo>
                      <a:pt x="100" y="4"/>
                    </a:lnTo>
                    <a:lnTo>
                      <a:pt x="99" y="1"/>
                    </a:lnTo>
                    <a:lnTo>
                      <a:pt x="99" y="1"/>
                    </a:lnTo>
                    <a:lnTo>
                      <a:pt x="98" y="0"/>
                    </a:lnTo>
                    <a:lnTo>
                      <a:pt x="96" y="0"/>
                    </a:lnTo>
                    <a:lnTo>
                      <a:pt x="96" y="0"/>
                    </a:lnTo>
                    <a:lnTo>
                      <a:pt x="70" y="2"/>
                    </a:lnTo>
                    <a:lnTo>
                      <a:pt x="44" y="6"/>
                    </a:lnTo>
                    <a:lnTo>
                      <a:pt x="21" y="13"/>
                    </a:lnTo>
                    <a:lnTo>
                      <a:pt x="0" y="21"/>
                    </a:lnTo>
                    <a:lnTo>
                      <a:pt x="79" y="102"/>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20" name="Freeform 242">
                <a:extLst>
                  <a:ext uri="{FF2B5EF4-FFF2-40B4-BE49-F238E27FC236}">
                    <a16:creationId xmlns:a16="http://schemas.microsoft.com/office/drawing/2014/main" id="{591CBD26-746A-4F26-BAA7-D1810416A5F2}"/>
                  </a:ext>
                </a:extLst>
              </p:cNvPr>
              <p:cNvSpPr>
                <a:spLocks noEditPoints="1"/>
              </p:cNvSpPr>
              <p:nvPr/>
            </p:nvSpPr>
            <p:spPr bwMode="auto">
              <a:xfrm>
                <a:off x="3360738" y="2667000"/>
                <a:ext cx="184150" cy="184150"/>
              </a:xfrm>
              <a:custGeom>
                <a:avLst/>
                <a:gdLst>
                  <a:gd name="T0" fmla="*/ 147 w 231"/>
                  <a:gd name="T1" fmla="*/ 0 h 232"/>
                  <a:gd name="T2" fmla="*/ 110 w 231"/>
                  <a:gd name="T3" fmla="*/ 20 h 232"/>
                  <a:gd name="T4" fmla="*/ 80 w 231"/>
                  <a:gd name="T5" fmla="*/ 44 h 232"/>
                  <a:gd name="T6" fmla="*/ 54 w 231"/>
                  <a:gd name="T7" fmla="*/ 68 h 232"/>
                  <a:gd name="T8" fmla="*/ 19 w 231"/>
                  <a:gd name="T9" fmla="*/ 114 h 232"/>
                  <a:gd name="T10" fmla="*/ 0 w 231"/>
                  <a:gd name="T11" fmla="*/ 149 h 232"/>
                  <a:gd name="T12" fmla="*/ 0 w 231"/>
                  <a:gd name="T13" fmla="*/ 152 h 232"/>
                  <a:gd name="T14" fmla="*/ 78 w 231"/>
                  <a:gd name="T15" fmla="*/ 231 h 232"/>
                  <a:gd name="T16" fmla="*/ 81 w 231"/>
                  <a:gd name="T17" fmla="*/ 232 h 232"/>
                  <a:gd name="T18" fmla="*/ 84 w 231"/>
                  <a:gd name="T19" fmla="*/ 232 h 232"/>
                  <a:gd name="T20" fmla="*/ 100 w 231"/>
                  <a:gd name="T21" fmla="*/ 223 h 232"/>
                  <a:gd name="T22" fmla="*/ 140 w 231"/>
                  <a:gd name="T23" fmla="*/ 197 h 232"/>
                  <a:gd name="T24" fmla="*/ 176 w 231"/>
                  <a:gd name="T25" fmla="*/ 165 h 232"/>
                  <a:gd name="T26" fmla="*/ 200 w 231"/>
                  <a:gd name="T27" fmla="*/ 138 h 232"/>
                  <a:gd name="T28" fmla="*/ 222 w 231"/>
                  <a:gd name="T29" fmla="*/ 105 h 232"/>
                  <a:gd name="T30" fmla="*/ 147 w 231"/>
                  <a:gd name="T31" fmla="*/ 0 h 232"/>
                  <a:gd name="T32" fmla="*/ 152 w 231"/>
                  <a:gd name="T33" fmla="*/ 126 h 232"/>
                  <a:gd name="T34" fmla="*/ 141 w 231"/>
                  <a:gd name="T35" fmla="*/ 133 h 232"/>
                  <a:gd name="T36" fmla="*/ 129 w 231"/>
                  <a:gd name="T37" fmla="*/ 135 h 232"/>
                  <a:gd name="T38" fmla="*/ 122 w 231"/>
                  <a:gd name="T39" fmla="*/ 134 h 232"/>
                  <a:gd name="T40" fmla="*/ 112 w 231"/>
                  <a:gd name="T41" fmla="*/ 130 h 232"/>
                  <a:gd name="T42" fmla="*/ 106 w 231"/>
                  <a:gd name="T43" fmla="*/ 126 h 232"/>
                  <a:gd name="T44" fmla="*/ 100 w 231"/>
                  <a:gd name="T45" fmla="*/ 115 h 232"/>
                  <a:gd name="T46" fmla="*/ 97 w 231"/>
                  <a:gd name="T47" fmla="*/ 103 h 232"/>
                  <a:gd name="T48" fmla="*/ 100 w 231"/>
                  <a:gd name="T49" fmla="*/ 91 h 232"/>
                  <a:gd name="T50" fmla="*/ 106 w 231"/>
                  <a:gd name="T51" fmla="*/ 80 h 232"/>
                  <a:gd name="T52" fmla="*/ 112 w 231"/>
                  <a:gd name="T53" fmla="*/ 76 h 232"/>
                  <a:gd name="T54" fmla="*/ 122 w 231"/>
                  <a:gd name="T55" fmla="*/ 71 h 232"/>
                  <a:gd name="T56" fmla="*/ 129 w 231"/>
                  <a:gd name="T57" fmla="*/ 71 h 232"/>
                  <a:gd name="T58" fmla="*/ 141 w 231"/>
                  <a:gd name="T59" fmla="*/ 74 h 232"/>
                  <a:gd name="T60" fmla="*/ 152 w 231"/>
                  <a:gd name="T61" fmla="*/ 80 h 232"/>
                  <a:gd name="T62" fmla="*/ 156 w 231"/>
                  <a:gd name="T63" fmla="*/ 86 h 232"/>
                  <a:gd name="T64" fmla="*/ 160 w 231"/>
                  <a:gd name="T65" fmla="*/ 97 h 232"/>
                  <a:gd name="T66" fmla="*/ 160 w 231"/>
                  <a:gd name="T67" fmla="*/ 109 h 232"/>
                  <a:gd name="T68" fmla="*/ 156 w 231"/>
                  <a:gd name="T69" fmla="*/ 121 h 232"/>
                  <a:gd name="T70" fmla="*/ 152 w 231"/>
                  <a:gd name="T71" fmla="*/ 12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1" h="232">
                    <a:moveTo>
                      <a:pt x="147" y="0"/>
                    </a:moveTo>
                    <a:lnTo>
                      <a:pt x="147" y="0"/>
                    </a:lnTo>
                    <a:lnTo>
                      <a:pt x="128" y="9"/>
                    </a:lnTo>
                    <a:lnTo>
                      <a:pt x="110" y="20"/>
                    </a:lnTo>
                    <a:lnTo>
                      <a:pt x="94" y="32"/>
                    </a:lnTo>
                    <a:lnTo>
                      <a:pt x="80" y="44"/>
                    </a:lnTo>
                    <a:lnTo>
                      <a:pt x="66" y="56"/>
                    </a:lnTo>
                    <a:lnTo>
                      <a:pt x="54" y="68"/>
                    </a:lnTo>
                    <a:lnTo>
                      <a:pt x="34" y="93"/>
                    </a:lnTo>
                    <a:lnTo>
                      <a:pt x="19" y="114"/>
                    </a:lnTo>
                    <a:lnTo>
                      <a:pt x="8" y="131"/>
                    </a:lnTo>
                    <a:lnTo>
                      <a:pt x="0" y="149"/>
                    </a:lnTo>
                    <a:lnTo>
                      <a:pt x="0" y="149"/>
                    </a:lnTo>
                    <a:lnTo>
                      <a:pt x="0" y="152"/>
                    </a:lnTo>
                    <a:lnTo>
                      <a:pt x="2" y="154"/>
                    </a:lnTo>
                    <a:lnTo>
                      <a:pt x="78" y="231"/>
                    </a:lnTo>
                    <a:lnTo>
                      <a:pt x="78" y="231"/>
                    </a:lnTo>
                    <a:lnTo>
                      <a:pt x="81" y="232"/>
                    </a:lnTo>
                    <a:lnTo>
                      <a:pt x="81" y="232"/>
                    </a:lnTo>
                    <a:lnTo>
                      <a:pt x="84" y="232"/>
                    </a:lnTo>
                    <a:lnTo>
                      <a:pt x="84" y="232"/>
                    </a:lnTo>
                    <a:lnTo>
                      <a:pt x="100" y="223"/>
                    </a:lnTo>
                    <a:lnTo>
                      <a:pt x="118" y="212"/>
                    </a:lnTo>
                    <a:lnTo>
                      <a:pt x="140" y="197"/>
                    </a:lnTo>
                    <a:lnTo>
                      <a:pt x="164" y="177"/>
                    </a:lnTo>
                    <a:lnTo>
                      <a:pt x="176" y="165"/>
                    </a:lnTo>
                    <a:lnTo>
                      <a:pt x="188" y="152"/>
                    </a:lnTo>
                    <a:lnTo>
                      <a:pt x="200" y="138"/>
                    </a:lnTo>
                    <a:lnTo>
                      <a:pt x="211" y="122"/>
                    </a:lnTo>
                    <a:lnTo>
                      <a:pt x="222" y="105"/>
                    </a:lnTo>
                    <a:lnTo>
                      <a:pt x="231" y="86"/>
                    </a:lnTo>
                    <a:lnTo>
                      <a:pt x="147" y="0"/>
                    </a:lnTo>
                    <a:close/>
                    <a:moveTo>
                      <a:pt x="152" y="126"/>
                    </a:moveTo>
                    <a:lnTo>
                      <a:pt x="152" y="126"/>
                    </a:lnTo>
                    <a:lnTo>
                      <a:pt x="147" y="130"/>
                    </a:lnTo>
                    <a:lnTo>
                      <a:pt x="141" y="133"/>
                    </a:lnTo>
                    <a:lnTo>
                      <a:pt x="136" y="134"/>
                    </a:lnTo>
                    <a:lnTo>
                      <a:pt x="129" y="135"/>
                    </a:lnTo>
                    <a:lnTo>
                      <a:pt x="129" y="135"/>
                    </a:lnTo>
                    <a:lnTo>
                      <a:pt x="122" y="134"/>
                    </a:lnTo>
                    <a:lnTo>
                      <a:pt x="117" y="133"/>
                    </a:lnTo>
                    <a:lnTo>
                      <a:pt x="112" y="130"/>
                    </a:lnTo>
                    <a:lnTo>
                      <a:pt x="106" y="126"/>
                    </a:lnTo>
                    <a:lnTo>
                      <a:pt x="106" y="126"/>
                    </a:lnTo>
                    <a:lnTo>
                      <a:pt x="102" y="121"/>
                    </a:lnTo>
                    <a:lnTo>
                      <a:pt x="100" y="115"/>
                    </a:lnTo>
                    <a:lnTo>
                      <a:pt x="97" y="109"/>
                    </a:lnTo>
                    <a:lnTo>
                      <a:pt x="97" y="103"/>
                    </a:lnTo>
                    <a:lnTo>
                      <a:pt x="97" y="97"/>
                    </a:lnTo>
                    <a:lnTo>
                      <a:pt x="100" y="91"/>
                    </a:lnTo>
                    <a:lnTo>
                      <a:pt x="102" y="86"/>
                    </a:lnTo>
                    <a:lnTo>
                      <a:pt x="106" y="80"/>
                    </a:lnTo>
                    <a:lnTo>
                      <a:pt x="106" y="80"/>
                    </a:lnTo>
                    <a:lnTo>
                      <a:pt x="112" y="76"/>
                    </a:lnTo>
                    <a:lnTo>
                      <a:pt x="117" y="74"/>
                    </a:lnTo>
                    <a:lnTo>
                      <a:pt x="122" y="71"/>
                    </a:lnTo>
                    <a:lnTo>
                      <a:pt x="129" y="71"/>
                    </a:lnTo>
                    <a:lnTo>
                      <a:pt x="129" y="71"/>
                    </a:lnTo>
                    <a:lnTo>
                      <a:pt x="136" y="71"/>
                    </a:lnTo>
                    <a:lnTo>
                      <a:pt x="141" y="74"/>
                    </a:lnTo>
                    <a:lnTo>
                      <a:pt x="147" y="76"/>
                    </a:lnTo>
                    <a:lnTo>
                      <a:pt x="152" y="80"/>
                    </a:lnTo>
                    <a:lnTo>
                      <a:pt x="152" y="80"/>
                    </a:lnTo>
                    <a:lnTo>
                      <a:pt x="156" y="86"/>
                    </a:lnTo>
                    <a:lnTo>
                      <a:pt x="159" y="91"/>
                    </a:lnTo>
                    <a:lnTo>
                      <a:pt x="160" y="97"/>
                    </a:lnTo>
                    <a:lnTo>
                      <a:pt x="161" y="103"/>
                    </a:lnTo>
                    <a:lnTo>
                      <a:pt x="160" y="109"/>
                    </a:lnTo>
                    <a:lnTo>
                      <a:pt x="159" y="115"/>
                    </a:lnTo>
                    <a:lnTo>
                      <a:pt x="156" y="121"/>
                    </a:lnTo>
                    <a:lnTo>
                      <a:pt x="152" y="126"/>
                    </a:lnTo>
                    <a:lnTo>
                      <a:pt x="152" y="126"/>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sp>
          <p:nvSpPr>
            <p:cNvPr id="115" name="Oval 114">
              <a:extLst>
                <a:ext uri="{FF2B5EF4-FFF2-40B4-BE49-F238E27FC236}">
                  <a16:creationId xmlns:a16="http://schemas.microsoft.com/office/drawing/2014/main" id="{5A204A78-DACB-4376-9C84-84688CADB23A}"/>
                </a:ext>
              </a:extLst>
            </p:cNvPr>
            <p:cNvSpPr/>
            <p:nvPr/>
          </p:nvSpPr>
          <p:spPr>
            <a:xfrm>
              <a:off x="6689476" y="4832546"/>
              <a:ext cx="603697" cy="603697"/>
            </a:xfrm>
            <a:prstGeom prst="ellipse">
              <a:avLst/>
            </a:prstGeom>
            <a:noFill/>
            <a:ln w="412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grpSp>
        <p:nvGrpSpPr>
          <p:cNvPr id="121" name="Group 120">
            <a:extLst>
              <a:ext uri="{FF2B5EF4-FFF2-40B4-BE49-F238E27FC236}">
                <a16:creationId xmlns:a16="http://schemas.microsoft.com/office/drawing/2014/main" id="{B966F94B-A831-4C16-9A39-508FB20727FC}"/>
              </a:ext>
            </a:extLst>
          </p:cNvPr>
          <p:cNvGrpSpPr>
            <a:grpSpLocks noChangeAspect="1"/>
          </p:cNvGrpSpPr>
          <p:nvPr/>
        </p:nvGrpSpPr>
        <p:grpSpPr>
          <a:xfrm>
            <a:off x="6223000" y="2102162"/>
            <a:ext cx="307135" cy="285615"/>
            <a:chOff x="6840538" y="3465513"/>
            <a:chExt cx="249238" cy="231775"/>
          </a:xfrm>
        </p:grpSpPr>
        <p:sp>
          <p:nvSpPr>
            <p:cNvPr id="122" name="Freeform 128">
              <a:extLst>
                <a:ext uri="{FF2B5EF4-FFF2-40B4-BE49-F238E27FC236}">
                  <a16:creationId xmlns:a16="http://schemas.microsoft.com/office/drawing/2014/main" id="{501E2453-84A3-4CC5-B9A5-B0C66FBB89A8}"/>
                </a:ext>
              </a:extLst>
            </p:cNvPr>
            <p:cNvSpPr>
              <a:spLocks/>
            </p:cNvSpPr>
            <p:nvPr/>
          </p:nvSpPr>
          <p:spPr bwMode="auto">
            <a:xfrm>
              <a:off x="6862763" y="3540125"/>
              <a:ext cx="204788" cy="82550"/>
            </a:xfrm>
            <a:custGeom>
              <a:avLst/>
              <a:gdLst>
                <a:gd name="T0" fmla="*/ 9 w 258"/>
                <a:gd name="T1" fmla="*/ 105 h 105"/>
                <a:gd name="T2" fmla="*/ 16 w 258"/>
                <a:gd name="T3" fmla="*/ 102 h 105"/>
                <a:gd name="T4" fmla="*/ 19 w 258"/>
                <a:gd name="T5" fmla="*/ 95 h 105"/>
                <a:gd name="T6" fmla="*/ 119 w 258"/>
                <a:gd name="T7" fmla="*/ 62 h 105"/>
                <a:gd name="T8" fmla="*/ 119 w 258"/>
                <a:gd name="T9" fmla="*/ 95 h 105"/>
                <a:gd name="T10" fmla="*/ 122 w 258"/>
                <a:gd name="T11" fmla="*/ 102 h 105"/>
                <a:gd name="T12" fmla="*/ 129 w 258"/>
                <a:gd name="T13" fmla="*/ 105 h 105"/>
                <a:gd name="T14" fmla="*/ 133 w 258"/>
                <a:gd name="T15" fmla="*/ 105 h 105"/>
                <a:gd name="T16" fmla="*/ 137 w 258"/>
                <a:gd name="T17" fmla="*/ 99 h 105"/>
                <a:gd name="T18" fmla="*/ 138 w 258"/>
                <a:gd name="T19" fmla="*/ 62 h 105"/>
                <a:gd name="T20" fmla="*/ 239 w 258"/>
                <a:gd name="T21" fmla="*/ 95 h 105"/>
                <a:gd name="T22" fmla="*/ 239 w 258"/>
                <a:gd name="T23" fmla="*/ 99 h 105"/>
                <a:gd name="T24" fmla="*/ 244 w 258"/>
                <a:gd name="T25" fmla="*/ 105 h 105"/>
                <a:gd name="T26" fmla="*/ 248 w 258"/>
                <a:gd name="T27" fmla="*/ 105 h 105"/>
                <a:gd name="T28" fmla="*/ 255 w 258"/>
                <a:gd name="T29" fmla="*/ 102 h 105"/>
                <a:gd name="T30" fmla="*/ 258 w 258"/>
                <a:gd name="T31" fmla="*/ 95 h 105"/>
                <a:gd name="T32" fmla="*/ 258 w 258"/>
                <a:gd name="T33" fmla="*/ 52 h 105"/>
                <a:gd name="T34" fmla="*/ 255 w 258"/>
                <a:gd name="T35" fmla="*/ 45 h 105"/>
                <a:gd name="T36" fmla="*/ 248 w 258"/>
                <a:gd name="T37" fmla="*/ 43 h 105"/>
                <a:gd name="T38" fmla="*/ 138 w 258"/>
                <a:gd name="T39" fmla="*/ 9 h 105"/>
                <a:gd name="T40" fmla="*/ 137 w 258"/>
                <a:gd name="T41" fmla="*/ 5 h 105"/>
                <a:gd name="T42" fmla="*/ 133 w 258"/>
                <a:gd name="T43" fmla="*/ 0 h 105"/>
                <a:gd name="T44" fmla="*/ 129 w 258"/>
                <a:gd name="T45" fmla="*/ 0 h 105"/>
                <a:gd name="T46" fmla="*/ 122 w 258"/>
                <a:gd name="T47" fmla="*/ 2 h 105"/>
                <a:gd name="T48" fmla="*/ 119 w 258"/>
                <a:gd name="T49" fmla="*/ 9 h 105"/>
                <a:gd name="T50" fmla="*/ 9 w 258"/>
                <a:gd name="T51" fmla="*/ 43 h 105"/>
                <a:gd name="T52" fmla="*/ 6 w 258"/>
                <a:gd name="T53" fmla="*/ 43 h 105"/>
                <a:gd name="T54" fmla="*/ 1 w 258"/>
                <a:gd name="T55" fmla="*/ 48 h 105"/>
                <a:gd name="T56" fmla="*/ 0 w 258"/>
                <a:gd name="T57" fmla="*/ 95 h 105"/>
                <a:gd name="T58" fmla="*/ 1 w 258"/>
                <a:gd name="T59" fmla="*/ 99 h 105"/>
                <a:gd name="T60" fmla="*/ 6 w 258"/>
                <a:gd name="T61" fmla="*/ 105 h 105"/>
                <a:gd name="T62" fmla="*/ 9 w 258"/>
                <a:gd name="T6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8" h="105">
                  <a:moveTo>
                    <a:pt x="9" y="105"/>
                  </a:moveTo>
                  <a:lnTo>
                    <a:pt x="9" y="105"/>
                  </a:lnTo>
                  <a:lnTo>
                    <a:pt x="13" y="105"/>
                  </a:lnTo>
                  <a:lnTo>
                    <a:pt x="16" y="102"/>
                  </a:lnTo>
                  <a:lnTo>
                    <a:pt x="19" y="99"/>
                  </a:lnTo>
                  <a:lnTo>
                    <a:pt x="19" y="95"/>
                  </a:lnTo>
                  <a:lnTo>
                    <a:pt x="19" y="62"/>
                  </a:lnTo>
                  <a:lnTo>
                    <a:pt x="119" y="62"/>
                  </a:lnTo>
                  <a:lnTo>
                    <a:pt x="119" y="95"/>
                  </a:lnTo>
                  <a:lnTo>
                    <a:pt x="119" y="95"/>
                  </a:lnTo>
                  <a:lnTo>
                    <a:pt x="119" y="99"/>
                  </a:lnTo>
                  <a:lnTo>
                    <a:pt x="122" y="102"/>
                  </a:lnTo>
                  <a:lnTo>
                    <a:pt x="125" y="105"/>
                  </a:lnTo>
                  <a:lnTo>
                    <a:pt x="129" y="105"/>
                  </a:lnTo>
                  <a:lnTo>
                    <a:pt x="129" y="105"/>
                  </a:lnTo>
                  <a:lnTo>
                    <a:pt x="133" y="105"/>
                  </a:lnTo>
                  <a:lnTo>
                    <a:pt x="135" y="102"/>
                  </a:lnTo>
                  <a:lnTo>
                    <a:pt x="137" y="99"/>
                  </a:lnTo>
                  <a:lnTo>
                    <a:pt x="138" y="95"/>
                  </a:lnTo>
                  <a:lnTo>
                    <a:pt x="138" y="62"/>
                  </a:lnTo>
                  <a:lnTo>
                    <a:pt x="239" y="62"/>
                  </a:lnTo>
                  <a:lnTo>
                    <a:pt x="239" y="95"/>
                  </a:lnTo>
                  <a:lnTo>
                    <a:pt x="239" y="95"/>
                  </a:lnTo>
                  <a:lnTo>
                    <a:pt x="239" y="99"/>
                  </a:lnTo>
                  <a:lnTo>
                    <a:pt x="242" y="102"/>
                  </a:lnTo>
                  <a:lnTo>
                    <a:pt x="244" y="105"/>
                  </a:lnTo>
                  <a:lnTo>
                    <a:pt x="248" y="105"/>
                  </a:lnTo>
                  <a:lnTo>
                    <a:pt x="248" y="105"/>
                  </a:lnTo>
                  <a:lnTo>
                    <a:pt x="251" y="105"/>
                  </a:lnTo>
                  <a:lnTo>
                    <a:pt x="255" y="102"/>
                  </a:lnTo>
                  <a:lnTo>
                    <a:pt x="256" y="99"/>
                  </a:lnTo>
                  <a:lnTo>
                    <a:pt x="258" y="95"/>
                  </a:lnTo>
                  <a:lnTo>
                    <a:pt x="258" y="52"/>
                  </a:lnTo>
                  <a:lnTo>
                    <a:pt x="258" y="52"/>
                  </a:lnTo>
                  <a:lnTo>
                    <a:pt x="256" y="48"/>
                  </a:lnTo>
                  <a:lnTo>
                    <a:pt x="255" y="45"/>
                  </a:lnTo>
                  <a:lnTo>
                    <a:pt x="251" y="43"/>
                  </a:lnTo>
                  <a:lnTo>
                    <a:pt x="248" y="43"/>
                  </a:lnTo>
                  <a:lnTo>
                    <a:pt x="138" y="43"/>
                  </a:lnTo>
                  <a:lnTo>
                    <a:pt x="138" y="9"/>
                  </a:lnTo>
                  <a:lnTo>
                    <a:pt x="138" y="9"/>
                  </a:lnTo>
                  <a:lnTo>
                    <a:pt x="137" y="5"/>
                  </a:lnTo>
                  <a:lnTo>
                    <a:pt x="135" y="2"/>
                  </a:lnTo>
                  <a:lnTo>
                    <a:pt x="133" y="0"/>
                  </a:lnTo>
                  <a:lnTo>
                    <a:pt x="129" y="0"/>
                  </a:lnTo>
                  <a:lnTo>
                    <a:pt x="129" y="0"/>
                  </a:lnTo>
                  <a:lnTo>
                    <a:pt x="125" y="0"/>
                  </a:lnTo>
                  <a:lnTo>
                    <a:pt x="122" y="2"/>
                  </a:lnTo>
                  <a:lnTo>
                    <a:pt x="119" y="5"/>
                  </a:lnTo>
                  <a:lnTo>
                    <a:pt x="119" y="9"/>
                  </a:lnTo>
                  <a:lnTo>
                    <a:pt x="119" y="43"/>
                  </a:lnTo>
                  <a:lnTo>
                    <a:pt x="9" y="43"/>
                  </a:lnTo>
                  <a:lnTo>
                    <a:pt x="9" y="43"/>
                  </a:lnTo>
                  <a:lnTo>
                    <a:pt x="6" y="43"/>
                  </a:lnTo>
                  <a:lnTo>
                    <a:pt x="2" y="45"/>
                  </a:lnTo>
                  <a:lnTo>
                    <a:pt x="1" y="48"/>
                  </a:lnTo>
                  <a:lnTo>
                    <a:pt x="0" y="52"/>
                  </a:lnTo>
                  <a:lnTo>
                    <a:pt x="0" y="95"/>
                  </a:lnTo>
                  <a:lnTo>
                    <a:pt x="0" y="95"/>
                  </a:lnTo>
                  <a:lnTo>
                    <a:pt x="1" y="99"/>
                  </a:lnTo>
                  <a:lnTo>
                    <a:pt x="2" y="102"/>
                  </a:lnTo>
                  <a:lnTo>
                    <a:pt x="6" y="105"/>
                  </a:lnTo>
                  <a:lnTo>
                    <a:pt x="9" y="105"/>
                  </a:lnTo>
                  <a:lnTo>
                    <a:pt x="9" y="10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3" name="Freeform 129">
              <a:extLst>
                <a:ext uri="{FF2B5EF4-FFF2-40B4-BE49-F238E27FC236}">
                  <a16:creationId xmlns:a16="http://schemas.microsoft.com/office/drawing/2014/main" id="{F84F9F4A-F547-4653-B7BB-4FC2C95956BB}"/>
                </a:ext>
              </a:extLst>
            </p:cNvPr>
            <p:cNvSpPr>
              <a:spLocks/>
            </p:cNvSpPr>
            <p:nvPr/>
          </p:nvSpPr>
          <p:spPr bwMode="auto">
            <a:xfrm>
              <a:off x="6935788" y="3465513"/>
              <a:ext cx="58738" cy="58738"/>
            </a:xfrm>
            <a:custGeom>
              <a:avLst/>
              <a:gdLst>
                <a:gd name="T0" fmla="*/ 38 w 75"/>
                <a:gd name="T1" fmla="*/ 75 h 75"/>
                <a:gd name="T2" fmla="*/ 38 w 75"/>
                <a:gd name="T3" fmla="*/ 75 h 75"/>
                <a:gd name="T4" fmla="*/ 46 w 75"/>
                <a:gd name="T5" fmla="*/ 75 h 75"/>
                <a:gd name="T6" fmla="*/ 52 w 75"/>
                <a:gd name="T7" fmla="*/ 72 h 75"/>
                <a:gd name="T8" fmla="*/ 59 w 75"/>
                <a:gd name="T9" fmla="*/ 70 h 75"/>
                <a:gd name="T10" fmla="*/ 65 w 75"/>
                <a:gd name="T11" fmla="*/ 64 h 75"/>
                <a:gd name="T12" fmla="*/ 69 w 75"/>
                <a:gd name="T13" fmla="*/ 59 h 75"/>
                <a:gd name="T14" fmla="*/ 73 w 75"/>
                <a:gd name="T15" fmla="*/ 52 h 75"/>
                <a:gd name="T16" fmla="*/ 75 w 75"/>
                <a:gd name="T17" fmla="*/ 45 h 75"/>
                <a:gd name="T18" fmla="*/ 75 w 75"/>
                <a:gd name="T19" fmla="*/ 37 h 75"/>
                <a:gd name="T20" fmla="*/ 75 w 75"/>
                <a:gd name="T21" fmla="*/ 37 h 75"/>
                <a:gd name="T22" fmla="*/ 75 w 75"/>
                <a:gd name="T23" fmla="*/ 31 h 75"/>
                <a:gd name="T24" fmla="*/ 73 w 75"/>
                <a:gd name="T25" fmla="*/ 23 h 75"/>
                <a:gd name="T26" fmla="*/ 69 w 75"/>
                <a:gd name="T27" fmla="*/ 16 h 75"/>
                <a:gd name="T28" fmla="*/ 65 w 75"/>
                <a:gd name="T29" fmla="*/ 10 h 75"/>
                <a:gd name="T30" fmla="*/ 59 w 75"/>
                <a:gd name="T31" fmla="*/ 6 h 75"/>
                <a:gd name="T32" fmla="*/ 52 w 75"/>
                <a:gd name="T33" fmla="*/ 2 h 75"/>
                <a:gd name="T34" fmla="*/ 46 w 75"/>
                <a:gd name="T35" fmla="*/ 1 h 75"/>
                <a:gd name="T36" fmla="*/ 38 w 75"/>
                <a:gd name="T37" fmla="*/ 0 h 75"/>
                <a:gd name="T38" fmla="*/ 38 w 75"/>
                <a:gd name="T39" fmla="*/ 0 h 75"/>
                <a:gd name="T40" fmla="*/ 30 w 75"/>
                <a:gd name="T41" fmla="*/ 1 h 75"/>
                <a:gd name="T42" fmla="*/ 23 w 75"/>
                <a:gd name="T43" fmla="*/ 2 h 75"/>
                <a:gd name="T44" fmla="*/ 16 w 75"/>
                <a:gd name="T45" fmla="*/ 6 h 75"/>
                <a:gd name="T46" fmla="*/ 11 w 75"/>
                <a:gd name="T47" fmla="*/ 10 h 75"/>
                <a:gd name="T48" fmla="*/ 7 w 75"/>
                <a:gd name="T49" fmla="*/ 16 h 75"/>
                <a:gd name="T50" fmla="*/ 3 w 75"/>
                <a:gd name="T51" fmla="*/ 23 h 75"/>
                <a:gd name="T52" fmla="*/ 0 w 75"/>
                <a:gd name="T53" fmla="*/ 31 h 75"/>
                <a:gd name="T54" fmla="*/ 0 w 75"/>
                <a:gd name="T55" fmla="*/ 37 h 75"/>
                <a:gd name="T56" fmla="*/ 0 w 75"/>
                <a:gd name="T57" fmla="*/ 37 h 75"/>
                <a:gd name="T58" fmla="*/ 0 w 75"/>
                <a:gd name="T59" fmla="*/ 45 h 75"/>
                <a:gd name="T60" fmla="*/ 3 w 75"/>
                <a:gd name="T61" fmla="*/ 52 h 75"/>
                <a:gd name="T62" fmla="*/ 7 w 75"/>
                <a:gd name="T63" fmla="*/ 59 h 75"/>
                <a:gd name="T64" fmla="*/ 11 w 75"/>
                <a:gd name="T65" fmla="*/ 64 h 75"/>
                <a:gd name="T66" fmla="*/ 16 w 75"/>
                <a:gd name="T67" fmla="*/ 70 h 75"/>
                <a:gd name="T68" fmla="*/ 23 w 75"/>
                <a:gd name="T69" fmla="*/ 72 h 75"/>
                <a:gd name="T70" fmla="*/ 30 w 75"/>
                <a:gd name="T71" fmla="*/ 75 h 75"/>
                <a:gd name="T72" fmla="*/ 38 w 75"/>
                <a:gd name="T73" fmla="*/ 75 h 75"/>
                <a:gd name="T74" fmla="*/ 38 w 75"/>
                <a:gd name="T7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5" h="75">
                  <a:moveTo>
                    <a:pt x="38" y="75"/>
                  </a:moveTo>
                  <a:lnTo>
                    <a:pt x="38" y="75"/>
                  </a:lnTo>
                  <a:lnTo>
                    <a:pt x="46" y="75"/>
                  </a:lnTo>
                  <a:lnTo>
                    <a:pt x="52" y="72"/>
                  </a:lnTo>
                  <a:lnTo>
                    <a:pt x="59" y="70"/>
                  </a:lnTo>
                  <a:lnTo>
                    <a:pt x="65" y="64"/>
                  </a:lnTo>
                  <a:lnTo>
                    <a:pt x="69" y="59"/>
                  </a:lnTo>
                  <a:lnTo>
                    <a:pt x="73" y="52"/>
                  </a:lnTo>
                  <a:lnTo>
                    <a:pt x="75" y="45"/>
                  </a:lnTo>
                  <a:lnTo>
                    <a:pt x="75" y="37"/>
                  </a:lnTo>
                  <a:lnTo>
                    <a:pt x="75" y="37"/>
                  </a:lnTo>
                  <a:lnTo>
                    <a:pt x="75" y="31"/>
                  </a:lnTo>
                  <a:lnTo>
                    <a:pt x="73" y="23"/>
                  </a:lnTo>
                  <a:lnTo>
                    <a:pt x="69" y="16"/>
                  </a:lnTo>
                  <a:lnTo>
                    <a:pt x="65" y="10"/>
                  </a:lnTo>
                  <a:lnTo>
                    <a:pt x="59" y="6"/>
                  </a:lnTo>
                  <a:lnTo>
                    <a:pt x="52" y="2"/>
                  </a:lnTo>
                  <a:lnTo>
                    <a:pt x="46" y="1"/>
                  </a:lnTo>
                  <a:lnTo>
                    <a:pt x="38" y="0"/>
                  </a:lnTo>
                  <a:lnTo>
                    <a:pt x="38" y="0"/>
                  </a:lnTo>
                  <a:lnTo>
                    <a:pt x="30" y="1"/>
                  </a:lnTo>
                  <a:lnTo>
                    <a:pt x="23" y="2"/>
                  </a:lnTo>
                  <a:lnTo>
                    <a:pt x="16" y="6"/>
                  </a:lnTo>
                  <a:lnTo>
                    <a:pt x="11" y="10"/>
                  </a:lnTo>
                  <a:lnTo>
                    <a:pt x="7" y="16"/>
                  </a:lnTo>
                  <a:lnTo>
                    <a:pt x="3" y="23"/>
                  </a:lnTo>
                  <a:lnTo>
                    <a:pt x="0" y="31"/>
                  </a:lnTo>
                  <a:lnTo>
                    <a:pt x="0" y="37"/>
                  </a:lnTo>
                  <a:lnTo>
                    <a:pt x="0" y="37"/>
                  </a:lnTo>
                  <a:lnTo>
                    <a:pt x="0" y="45"/>
                  </a:lnTo>
                  <a:lnTo>
                    <a:pt x="3" y="52"/>
                  </a:lnTo>
                  <a:lnTo>
                    <a:pt x="7" y="59"/>
                  </a:lnTo>
                  <a:lnTo>
                    <a:pt x="11" y="64"/>
                  </a:lnTo>
                  <a:lnTo>
                    <a:pt x="16" y="70"/>
                  </a:lnTo>
                  <a:lnTo>
                    <a:pt x="23" y="72"/>
                  </a:lnTo>
                  <a:lnTo>
                    <a:pt x="30" y="75"/>
                  </a:lnTo>
                  <a:lnTo>
                    <a:pt x="38" y="75"/>
                  </a:lnTo>
                  <a:lnTo>
                    <a:pt x="38" y="7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4" name="Freeform 130">
              <a:extLst>
                <a:ext uri="{FF2B5EF4-FFF2-40B4-BE49-F238E27FC236}">
                  <a16:creationId xmlns:a16="http://schemas.microsoft.com/office/drawing/2014/main" id="{02D186E2-28A6-4AF1-987B-4DEE8D407491}"/>
                </a:ext>
              </a:extLst>
            </p:cNvPr>
            <p:cNvSpPr>
              <a:spLocks/>
            </p:cNvSpPr>
            <p:nvPr/>
          </p:nvSpPr>
          <p:spPr bwMode="auto">
            <a:xfrm>
              <a:off x="6840538" y="3636963"/>
              <a:ext cx="58738" cy="60325"/>
            </a:xfrm>
            <a:custGeom>
              <a:avLst/>
              <a:gdLst>
                <a:gd name="T0" fmla="*/ 37 w 75"/>
                <a:gd name="T1" fmla="*/ 0 h 77"/>
                <a:gd name="T2" fmla="*/ 37 w 75"/>
                <a:gd name="T3" fmla="*/ 0 h 77"/>
                <a:gd name="T4" fmla="*/ 30 w 75"/>
                <a:gd name="T5" fmla="*/ 1 h 77"/>
                <a:gd name="T6" fmla="*/ 22 w 75"/>
                <a:gd name="T7" fmla="*/ 4 h 77"/>
                <a:gd name="T8" fmla="*/ 16 w 75"/>
                <a:gd name="T9" fmla="*/ 7 h 77"/>
                <a:gd name="T10" fmla="*/ 10 w 75"/>
                <a:gd name="T11" fmla="*/ 12 h 77"/>
                <a:gd name="T12" fmla="*/ 6 w 75"/>
                <a:gd name="T13" fmla="*/ 17 h 77"/>
                <a:gd name="T14" fmla="*/ 2 w 75"/>
                <a:gd name="T15" fmla="*/ 24 h 77"/>
                <a:gd name="T16" fmla="*/ 1 w 75"/>
                <a:gd name="T17" fmla="*/ 31 h 77"/>
                <a:gd name="T18" fmla="*/ 0 w 75"/>
                <a:gd name="T19" fmla="*/ 39 h 77"/>
                <a:gd name="T20" fmla="*/ 0 w 75"/>
                <a:gd name="T21" fmla="*/ 39 h 77"/>
                <a:gd name="T22" fmla="*/ 1 w 75"/>
                <a:gd name="T23" fmla="*/ 46 h 77"/>
                <a:gd name="T24" fmla="*/ 2 w 75"/>
                <a:gd name="T25" fmla="*/ 54 h 77"/>
                <a:gd name="T26" fmla="*/ 6 w 75"/>
                <a:gd name="T27" fmla="*/ 59 h 77"/>
                <a:gd name="T28" fmla="*/ 10 w 75"/>
                <a:gd name="T29" fmla="*/ 64 h 77"/>
                <a:gd name="T30" fmla="*/ 16 w 75"/>
                <a:gd name="T31" fmla="*/ 70 h 77"/>
                <a:gd name="T32" fmla="*/ 22 w 75"/>
                <a:gd name="T33" fmla="*/ 74 h 77"/>
                <a:gd name="T34" fmla="*/ 30 w 75"/>
                <a:gd name="T35" fmla="*/ 75 h 77"/>
                <a:gd name="T36" fmla="*/ 37 w 75"/>
                <a:gd name="T37" fmla="*/ 77 h 77"/>
                <a:gd name="T38" fmla="*/ 37 w 75"/>
                <a:gd name="T39" fmla="*/ 77 h 77"/>
                <a:gd name="T40" fmla="*/ 45 w 75"/>
                <a:gd name="T41" fmla="*/ 75 h 77"/>
                <a:gd name="T42" fmla="*/ 52 w 75"/>
                <a:gd name="T43" fmla="*/ 74 h 77"/>
                <a:gd name="T44" fmla="*/ 59 w 75"/>
                <a:gd name="T45" fmla="*/ 70 h 77"/>
                <a:gd name="T46" fmla="*/ 64 w 75"/>
                <a:gd name="T47" fmla="*/ 64 h 77"/>
                <a:gd name="T48" fmla="*/ 69 w 75"/>
                <a:gd name="T49" fmla="*/ 59 h 77"/>
                <a:gd name="T50" fmla="*/ 72 w 75"/>
                <a:gd name="T51" fmla="*/ 54 h 77"/>
                <a:gd name="T52" fmla="*/ 75 w 75"/>
                <a:gd name="T53" fmla="*/ 46 h 77"/>
                <a:gd name="T54" fmla="*/ 75 w 75"/>
                <a:gd name="T55" fmla="*/ 39 h 77"/>
                <a:gd name="T56" fmla="*/ 75 w 75"/>
                <a:gd name="T57" fmla="*/ 39 h 77"/>
                <a:gd name="T58" fmla="*/ 75 w 75"/>
                <a:gd name="T59" fmla="*/ 31 h 77"/>
                <a:gd name="T60" fmla="*/ 72 w 75"/>
                <a:gd name="T61" fmla="*/ 24 h 77"/>
                <a:gd name="T62" fmla="*/ 69 w 75"/>
                <a:gd name="T63" fmla="*/ 17 h 77"/>
                <a:gd name="T64" fmla="*/ 64 w 75"/>
                <a:gd name="T65" fmla="*/ 12 h 77"/>
                <a:gd name="T66" fmla="*/ 59 w 75"/>
                <a:gd name="T67" fmla="*/ 7 h 77"/>
                <a:gd name="T68" fmla="*/ 52 w 75"/>
                <a:gd name="T69" fmla="*/ 4 h 77"/>
                <a:gd name="T70" fmla="*/ 45 w 75"/>
                <a:gd name="T71" fmla="*/ 1 h 77"/>
                <a:gd name="T72" fmla="*/ 37 w 75"/>
                <a:gd name="T73" fmla="*/ 0 h 77"/>
                <a:gd name="T74" fmla="*/ 37 w 75"/>
                <a:gd name="T75"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5" h="77">
                  <a:moveTo>
                    <a:pt x="37" y="0"/>
                  </a:moveTo>
                  <a:lnTo>
                    <a:pt x="37" y="0"/>
                  </a:lnTo>
                  <a:lnTo>
                    <a:pt x="30" y="1"/>
                  </a:lnTo>
                  <a:lnTo>
                    <a:pt x="22" y="4"/>
                  </a:lnTo>
                  <a:lnTo>
                    <a:pt x="16" y="7"/>
                  </a:lnTo>
                  <a:lnTo>
                    <a:pt x="10" y="12"/>
                  </a:lnTo>
                  <a:lnTo>
                    <a:pt x="6" y="17"/>
                  </a:lnTo>
                  <a:lnTo>
                    <a:pt x="2" y="24"/>
                  </a:lnTo>
                  <a:lnTo>
                    <a:pt x="1" y="31"/>
                  </a:lnTo>
                  <a:lnTo>
                    <a:pt x="0" y="39"/>
                  </a:lnTo>
                  <a:lnTo>
                    <a:pt x="0" y="39"/>
                  </a:lnTo>
                  <a:lnTo>
                    <a:pt x="1" y="46"/>
                  </a:lnTo>
                  <a:lnTo>
                    <a:pt x="2" y="54"/>
                  </a:lnTo>
                  <a:lnTo>
                    <a:pt x="6" y="59"/>
                  </a:lnTo>
                  <a:lnTo>
                    <a:pt x="10" y="64"/>
                  </a:lnTo>
                  <a:lnTo>
                    <a:pt x="16" y="70"/>
                  </a:lnTo>
                  <a:lnTo>
                    <a:pt x="22" y="74"/>
                  </a:lnTo>
                  <a:lnTo>
                    <a:pt x="30" y="75"/>
                  </a:lnTo>
                  <a:lnTo>
                    <a:pt x="37" y="77"/>
                  </a:lnTo>
                  <a:lnTo>
                    <a:pt x="37" y="77"/>
                  </a:lnTo>
                  <a:lnTo>
                    <a:pt x="45" y="75"/>
                  </a:lnTo>
                  <a:lnTo>
                    <a:pt x="52" y="74"/>
                  </a:lnTo>
                  <a:lnTo>
                    <a:pt x="59" y="70"/>
                  </a:lnTo>
                  <a:lnTo>
                    <a:pt x="64" y="64"/>
                  </a:lnTo>
                  <a:lnTo>
                    <a:pt x="69" y="59"/>
                  </a:lnTo>
                  <a:lnTo>
                    <a:pt x="72" y="54"/>
                  </a:lnTo>
                  <a:lnTo>
                    <a:pt x="75" y="46"/>
                  </a:lnTo>
                  <a:lnTo>
                    <a:pt x="75" y="39"/>
                  </a:lnTo>
                  <a:lnTo>
                    <a:pt x="75" y="39"/>
                  </a:lnTo>
                  <a:lnTo>
                    <a:pt x="75" y="31"/>
                  </a:lnTo>
                  <a:lnTo>
                    <a:pt x="72" y="24"/>
                  </a:lnTo>
                  <a:lnTo>
                    <a:pt x="69" y="17"/>
                  </a:lnTo>
                  <a:lnTo>
                    <a:pt x="64" y="12"/>
                  </a:lnTo>
                  <a:lnTo>
                    <a:pt x="59" y="7"/>
                  </a:lnTo>
                  <a:lnTo>
                    <a:pt x="52" y="4"/>
                  </a:lnTo>
                  <a:lnTo>
                    <a:pt x="45" y="1"/>
                  </a:lnTo>
                  <a:lnTo>
                    <a:pt x="37" y="0"/>
                  </a:lnTo>
                  <a:lnTo>
                    <a:pt x="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5" name="Freeform 131">
              <a:extLst>
                <a:ext uri="{FF2B5EF4-FFF2-40B4-BE49-F238E27FC236}">
                  <a16:creationId xmlns:a16="http://schemas.microsoft.com/office/drawing/2014/main" id="{7352358A-8C75-4470-B002-E97A3C80AC87}"/>
                </a:ext>
              </a:extLst>
            </p:cNvPr>
            <p:cNvSpPr>
              <a:spLocks/>
            </p:cNvSpPr>
            <p:nvPr/>
          </p:nvSpPr>
          <p:spPr bwMode="auto">
            <a:xfrm>
              <a:off x="6935788" y="3636963"/>
              <a:ext cx="58738" cy="60325"/>
            </a:xfrm>
            <a:custGeom>
              <a:avLst/>
              <a:gdLst>
                <a:gd name="T0" fmla="*/ 38 w 75"/>
                <a:gd name="T1" fmla="*/ 0 h 77"/>
                <a:gd name="T2" fmla="*/ 38 w 75"/>
                <a:gd name="T3" fmla="*/ 0 h 77"/>
                <a:gd name="T4" fmla="*/ 30 w 75"/>
                <a:gd name="T5" fmla="*/ 1 h 77"/>
                <a:gd name="T6" fmla="*/ 23 w 75"/>
                <a:gd name="T7" fmla="*/ 4 h 77"/>
                <a:gd name="T8" fmla="*/ 16 w 75"/>
                <a:gd name="T9" fmla="*/ 7 h 77"/>
                <a:gd name="T10" fmla="*/ 11 w 75"/>
                <a:gd name="T11" fmla="*/ 12 h 77"/>
                <a:gd name="T12" fmla="*/ 7 w 75"/>
                <a:gd name="T13" fmla="*/ 17 h 77"/>
                <a:gd name="T14" fmla="*/ 3 w 75"/>
                <a:gd name="T15" fmla="*/ 24 h 77"/>
                <a:gd name="T16" fmla="*/ 0 w 75"/>
                <a:gd name="T17" fmla="*/ 31 h 77"/>
                <a:gd name="T18" fmla="*/ 0 w 75"/>
                <a:gd name="T19" fmla="*/ 39 h 77"/>
                <a:gd name="T20" fmla="*/ 0 w 75"/>
                <a:gd name="T21" fmla="*/ 39 h 77"/>
                <a:gd name="T22" fmla="*/ 0 w 75"/>
                <a:gd name="T23" fmla="*/ 46 h 77"/>
                <a:gd name="T24" fmla="*/ 3 w 75"/>
                <a:gd name="T25" fmla="*/ 54 h 77"/>
                <a:gd name="T26" fmla="*/ 7 w 75"/>
                <a:gd name="T27" fmla="*/ 59 h 77"/>
                <a:gd name="T28" fmla="*/ 11 w 75"/>
                <a:gd name="T29" fmla="*/ 64 h 77"/>
                <a:gd name="T30" fmla="*/ 16 w 75"/>
                <a:gd name="T31" fmla="*/ 70 h 77"/>
                <a:gd name="T32" fmla="*/ 23 w 75"/>
                <a:gd name="T33" fmla="*/ 74 h 77"/>
                <a:gd name="T34" fmla="*/ 30 w 75"/>
                <a:gd name="T35" fmla="*/ 75 h 77"/>
                <a:gd name="T36" fmla="*/ 38 w 75"/>
                <a:gd name="T37" fmla="*/ 77 h 77"/>
                <a:gd name="T38" fmla="*/ 38 w 75"/>
                <a:gd name="T39" fmla="*/ 77 h 77"/>
                <a:gd name="T40" fmla="*/ 46 w 75"/>
                <a:gd name="T41" fmla="*/ 75 h 77"/>
                <a:gd name="T42" fmla="*/ 52 w 75"/>
                <a:gd name="T43" fmla="*/ 74 h 77"/>
                <a:gd name="T44" fmla="*/ 59 w 75"/>
                <a:gd name="T45" fmla="*/ 70 h 77"/>
                <a:gd name="T46" fmla="*/ 65 w 75"/>
                <a:gd name="T47" fmla="*/ 64 h 77"/>
                <a:gd name="T48" fmla="*/ 69 w 75"/>
                <a:gd name="T49" fmla="*/ 59 h 77"/>
                <a:gd name="T50" fmla="*/ 73 w 75"/>
                <a:gd name="T51" fmla="*/ 54 h 77"/>
                <a:gd name="T52" fmla="*/ 75 w 75"/>
                <a:gd name="T53" fmla="*/ 46 h 77"/>
                <a:gd name="T54" fmla="*/ 75 w 75"/>
                <a:gd name="T55" fmla="*/ 39 h 77"/>
                <a:gd name="T56" fmla="*/ 75 w 75"/>
                <a:gd name="T57" fmla="*/ 39 h 77"/>
                <a:gd name="T58" fmla="*/ 75 w 75"/>
                <a:gd name="T59" fmla="*/ 31 h 77"/>
                <a:gd name="T60" fmla="*/ 73 w 75"/>
                <a:gd name="T61" fmla="*/ 24 h 77"/>
                <a:gd name="T62" fmla="*/ 69 w 75"/>
                <a:gd name="T63" fmla="*/ 17 h 77"/>
                <a:gd name="T64" fmla="*/ 65 w 75"/>
                <a:gd name="T65" fmla="*/ 12 h 77"/>
                <a:gd name="T66" fmla="*/ 59 w 75"/>
                <a:gd name="T67" fmla="*/ 7 h 77"/>
                <a:gd name="T68" fmla="*/ 52 w 75"/>
                <a:gd name="T69" fmla="*/ 4 h 77"/>
                <a:gd name="T70" fmla="*/ 46 w 75"/>
                <a:gd name="T71" fmla="*/ 1 h 77"/>
                <a:gd name="T72" fmla="*/ 38 w 75"/>
                <a:gd name="T73" fmla="*/ 0 h 77"/>
                <a:gd name="T74" fmla="*/ 38 w 75"/>
                <a:gd name="T75"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5" h="77">
                  <a:moveTo>
                    <a:pt x="38" y="0"/>
                  </a:moveTo>
                  <a:lnTo>
                    <a:pt x="38" y="0"/>
                  </a:lnTo>
                  <a:lnTo>
                    <a:pt x="30" y="1"/>
                  </a:lnTo>
                  <a:lnTo>
                    <a:pt x="23" y="4"/>
                  </a:lnTo>
                  <a:lnTo>
                    <a:pt x="16" y="7"/>
                  </a:lnTo>
                  <a:lnTo>
                    <a:pt x="11" y="12"/>
                  </a:lnTo>
                  <a:lnTo>
                    <a:pt x="7" y="17"/>
                  </a:lnTo>
                  <a:lnTo>
                    <a:pt x="3" y="24"/>
                  </a:lnTo>
                  <a:lnTo>
                    <a:pt x="0" y="31"/>
                  </a:lnTo>
                  <a:lnTo>
                    <a:pt x="0" y="39"/>
                  </a:lnTo>
                  <a:lnTo>
                    <a:pt x="0" y="39"/>
                  </a:lnTo>
                  <a:lnTo>
                    <a:pt x="0" y="46"/>
                  </a:lnTo>
                  <a:lnTo>
                    <a:pt x="3" y="54"/>
                  </a:lnTo>
                  <a:lnTo>
                    <a:pt x="7" y="59"/>
                  </a:lnTo>
                  <a:lnTo>
                    <a:pt x="11" y="64"/>
                  </a:lnTo>
                  <a:lnTo>
                    <a:pt x="16" y="70"/>
                  </a:lnTo>
                  <a:lnTo>
                    <a:pt x="23" y="74"/>
                  </a:lnTo>
                  <a:lnTo>
                    <a:pt x="30" y="75"/>
                  </a:lnTo>
                  <a:lnTo>
                    <a:pt x="38" y="77"/>
                  </a:lnTo>
                  <a:lnTo>
                    <a:pt x="38" y="77"/>
                  </a:lnTo>
                  <a:lnTo>
                    <a:pt x="46" y="75"/>
                  </a:lnTo>
                  <a:lnTo>
                    <a:pt x="52" y="74"/>
                  </a:lnTo>
                  <a:lnTo>
                    <a:pt x="59" y="70"/>
                  </a:lnTo>
                  <a:lnTo>
                    <a:pt x="65" y="64"/>
                  </a:lnTo>
                  <a:lnTo>
                    <a:pt x="69" y="59"/>
                  </a:lnTo>
                  <a:lnTo>
                    <a:pt x="73" y="54"/>
                  </a:lnTo>
                  <a:lnTo>
                    <a:pt x="75" y="46"/>
                  </a:lnTo>
                  <a:lnTo>
                    <a:pt x="75" y="39"/>
                  </a:lnTo>
                  <a:lnTo>
                    <a:pt x="75" y="39"/>
                  </a:lnTo>
                  <a:lnTo>
                    <a:pt x="75" y="31"/>
                  </a:lnTo>
                  <a:lnTo>
                    <a:pt x="73" y="24"/>
                  </a:lnTo>
                  <a:lnTo>
                    <a:pt x="69" y="17"/>
                  </a:lnTo>
                  <a:lnTo>
                    <a:pt x="65" y="12"/>
                  </a:lnTo>
                  <a:lnTo>
                    <a:pt x="59" y="7"/>
                  </a:lnTo>
                  <a:lnTo>
                    <a:pt x="52" y="4"/>
                  </a:lnTo>
                  <a:lnTo>
                    <a:pt x="46" y="1"/>
                  </a:lnTo>
                  <a:lnTo>
                    <a:pt x="38" y="0"/>
                  </a:lnTo>
                  <a:lnTo>
                    <a:pt x="3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6" name="Freeform 132">
              <a:extLst>
                <a:ext uri="{FF2B5EF4-FFF2-40B4-BE49-F238E27FC236}">
                  <a16:creationId xmlns:a16="http://schemas.microsoft.com/office/drawing/2014/main" id="{16BE0504-976D-4F31-BDBD-2D13E1E17D1A}"/>
                </a:ext>
              </a:extLst>
            </p:cNvPr>
            <p:cNvSpPr>
              <a:spLocks/>
            </p:cNvSpPr>
            <p:nvPr/>
          </p:nvSpPr>
          <p:spPr bwMode="auto">
            <a:xfrm>
              <a:off x="7029451" y="3636963"/>
              <a:ext cx="60325" cy="60325"/>
            </a:xfrm>
            <a:custGeom>
              <a:avLst/>
              <a:gdLst>
                <a:gd name="T0" fmla="*/ 39 w 77"/>
                <a:gd name="T1" fmla="*/ 0 h 77"/>
                <a:gd name="T2" fmla="*/ 39 w 77"/>
                <a:gd name="T3" fmla="*/ 0 h 77"/>
                <a:gd name="T4" fmla="*/ 31 w 77"/>
                <a:gd name="T5" fmla="*/ 1 h 77"/>
                <a:gd name="T6" fmla="*/ 24 w 77"/>
                <a:gd name="T7" fmla="*/ 4 h 77"/>
                <a:gd name="T8" fmla="*/ 18 w 77"/>
                <a:gd name="T9" fmla="*/ 7 h 77"/>
                <a:gd name="T10" fmla="*/ 12 w 77"/>
                <a:gd name="T11" fmla="*/ 12 h 77"/>
                <a:gd name="T12" fmla="*/ 7 w 77"/>
                <a:gd name="T13" fmla="*/ 17 h 77"/>
                <a:gd name="T14" fmla="*/ 4 w 77"/>
                <a:gd name="T15" fmla="*/ 24 h 77"/>
                <a:gd name="T16" fmla="*/ 2 w 77"/>
                <a:gd name="T17" fmla="*/ 31 h 77"/>
                <a:gd name="T18" fmla="*/ 0 w 77"/>
                <a:gd name="T19" fmla="*/ 39 h 77"/>
                <a:gd name="T20" fmla="*/ 0 w 77"/>
                <a:gd name="T21" fmla="*/ 39 h 77"/>
                <a:gd name="T22" fmla="*/ 2 w 77"/>
                <a:gd name="T23" fmla="*/ 46 h 77"/>
                <a:gd name="T24" fmla="*/ 4 w 77"/>
                <a:gd name="T25" fmla="*/ 54 h 77"/>
                <a:gd name="T26" fmla="*/ 7 w 77"/>
                <a:gd name="T27" fmla="*/ 59 h 77"/>
                <a:gd name="T28" fmla="*/ 12 w 77"/>
                <a:gd name="T29" fmla="*/ 64 h 77"/>
                <a:gd name="T30" fmla="*/ 18 w 77"/>
                <a:gd name="T31" fmla="*/ 70 h 77"/>
                <a:gd name="T32" fmla="*/ 24 w 77"/>
                <a:gd name="T33" fmla="*/ 74 h 77"/>
                <a:gd name="T34" fmla="*/ 31 w 77"/>
                <a:gd name="T35" fmla="*/ 75 h 77"/>
                <a:gd name="T36" fmla="*/ 39 w 77"/>
                <a:gd name="T37" fmla="*/ 77 h 77"/>
                <a:gd name="T38" fmla="*/ 39 w 77"/>
                <a:gd name="T39" fmla="*/ 77 h 77"/>
                <a:gd name="T40" fmla="*/ 46 w 77"/>
                <a:gd name="T41" fmla="*/ 75 h 77"/>
                <a:gd name="T42" fmla="*/ 54 w 77"/>
                <a:gd name="T43" fmla="*/ 74 h 77"/>
                <a:gd name="T44" fmla="*/ 59 w 77"/>
                <a:gd name="T45" fmla="*/ 70 h 77"/>
                <a:gd name="T46" fmla="*/ 66 w 77"/>
                <a:gd name="T47" fmla="*/ 64 h 77"/>
                <a:gd name="T48" fmla="*/ 70 w 77"/>
                <a:gd name="T49" fmla="*/ 59 h 77"/>
                <a:gd name="T50" fmla="*/ 74 w 77"/>
                <a:gd name="T51" fmla="*/ 54 h 77"/>
                <a:gd name="T52" fmla="*/ 76 w 77"/>
                <a:gd name="T53" fmla="*/ 46 h 77"/>
                <a:gd name="T54" fmla="*/ 77 w 77"/>
                <a:gd name="T55" fmla="*/ 39 h 77"/>
                <a:gd name="T56" fmla="*/ 77 w 77"/>
                <a:gd name="T57" fmla="*/ 39 h 77"/>
                <a:gd name="T58" fmla="*/ 76 w 77"/>
                <a:gd name="T59" fmla="*/ 31 h 77"/>
                <a:gd name="T60" fmla="*/ 74 w 77"/>
                <a:gd name="T61" fmla="*/ 24 h 77"/>
                <a:gd name="T62" fmla="*/ 70 w 77"/>
                <a:gd name="T63" fmla="*/ 17 h 77"/>
                <a:gd name="T64" fmla="*/ 66 w 77"/>
                <a:gd name="T65" fmla="*/ 12 h 77"/>
                <a:gd name="T66" fmla="*/ 59 w 77"/>
                <a:gd name="T67" fmla="*/ 7 h 77"/>
                <a:gd name="T68" fmla="*/ 54 w 77"/>
                <a:gd name="T69" fmla="*/ 4 h 77"/>
                <a:gd name="T70" fmla="*/ 46 w 77"/>
                <a:gd name="T71" fmla="*/ 1 h 77"/>
                <a:gd name="T72" fmla="*/ 39 w 77"/>
                <a:gd name="T73" fmla="*/ 0 h 77"/>
                <a:gd name="T74" fmla="*/ 39 w 77"/>
                <a:gd name="T75"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7" h="77">
                  <a:moveTo>
                    <a:pt x="39" y="0"/>
                  </a:moveTo>
                  <a:lnTo>
                    <a:pt x="39" y="0"/>
                  </a:lnTo>
                  <a:lnTo>
                    <a:pt x="31" y="1"/>
                  </a:lnTo>
                  <a:lnTo>
                    <a:pt x="24" y="4"/>
                  </a:lnTo>
                  <a:lnTo>
                    <a:pt x="18" y="7"/>
                  </a:lnTo>
                  <a:lnTo>
                    <a:pt x="12" y="12"/>
                  </a:lnTo>
                  <a:lnTo>
                    <a:pt x="7" y="17"/>
                  </a:lnTo>
                  <a:lnTo>
                    <a:pt x="4" y="24"/>
                  </a:lnTo>
                  <a:lnTo>
                    <a:pt x="2" y="31"/>
                  </a:lnTo>
                  <a:lnTo>
                    <a:pt x="0" y="39"/>
                  </a:lnTo>
                  <a:lnTo>
                    <a:pt x="0" y="39"/>
                  </a:lnTo>
                  <a:lnTo>
                    <a:pt x="2" y="46"/>
                  </a:lnTo>
                  <a:lnTo>
                    <a:pt x="4" y="54"/>
                  </a:lnTo>
                  <a:lnTo>
                    <a:pt x="7" y="59"/>
                  </a:lnTo>
                  <a:lnTo>
                    <a:pt x="12" y="64"/>
                  </a:lnTo>
                  <a:lnTo>
                    <a:pt x="18" y="70"/>
                  </a:lnTo>
                  <a:lnTo>
                    <a:pt x="24" y="74"/>
                  </a:lnTo>
                  <a:lnTo>
                    <a:pt x="31" y="75"/>
                  </a:lnTo>
                  <a:lnTo>
                    <a:pt x="39" y="77"/>
                  </a:lnTo>
                  <a:lnTo>
                    <a:pt x="39" y="77"/>
                  </a:lnTo>
                  <a:lnTo>
                    <a:pt x="46" y="75"/>
                  </a:lnTo>
                  <a:lnTo>
                    <a:pt x="54" y="74"/>
                  </a:lnTo>
                  <a:lnTo>
                    <a:pt x="59" y="70"/>
                  </a:lnTo>
                  <a:lnTo>
                    <a:pt x="66" y="64"/>
                  </a:lnTo>
                  <a:lnTo>
                    <a:pt x="70" y="59"/>
                  </a:lnTo>
                  <a:lnTo>
                    <a:pt x="74" y="54"/>
                  </a:lnTo>
                  <a:lnTo>
                    <a:pt x="76" y="46"/>
                  </a:lnTo>
                  <a:lnTo>
                    <a:pt x="77" y="39"/>
                  </a:lnTo>
                  <a:lnTo>
                    <a:pt x="77" y="39"/>
                  </a:lnTo>
                  <a:lnTo>
                    <a:pt x="76" y="31"/>
                  </a:lnTo>
                  <a:lnTo>
                    <a:pt x="74" y="24"/>
                  </a:lnTo>
                  <a:lnTo>
                    <a:pt x="70" y="17"/>
                  </a:lnTo>
                  <a:lnTo>
                    <a:pt x="66" y="12"/>
                  </a:lnTo>
                  <a:lnTo>
                    <a:pt x="59" y="7"/>
                  </a:lnTo>
                  <a:lnTo>
                    <a:pt x="54" y="4"/>
                  </a:lnTo>
                  <a:lnTo>
                    <a:pt x="46" y="1"/>
                  </a:lnTo>
                  <a:lnTo>
                    <a:pt x="39" y="0"/>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Tree>
    <p:extLst>
      <p:ext uri="{BB962C8B-B14F-4D97-AF65-F5344CB8AC3E}">
        <p14:creationId xmlns:p14="http://schemas.microsoft.com/office/powerpoint/2010/main" val="1896306155"/>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Object 54" hidden="1">
            <a:extLst>
              <a:ext uri="{FF2B5EF4-FFF2-40B4-BE49-F238E27FC236}">
                <a16:creationId xmlns:a16="http://schemas.microsoft.com/office/drawing/2014/main" id="{52A90B26-9C2E-437C-8064-023936FADBB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7636" name="think-cell Slide" r:id="rId6" imgW="395" imgH="396" progId="TCLayout.ActiveDocument.1">
                  <p:embed/>
                </p:oleObj>
              </mc:Choice>
              <mc:Fallback>
                <p:oleObj name="think-cell Slide" r:id="rId6" imgW="395" imgH="396" progId="TCLayout.ActiveDocument.1">
                  <p:embed/>
                  <p:pic>
                    <p:nvPicPr>
                      <p:cNvPr id="55" name="Object 54" hidden="1">
                        <a:extLst>
                          <a:ext uri="{FF2B5EF4-FFF2-40B4-BE49-F238E27FC236}">
                            <a16:creationId xmlns:a16="http://schemas.microsoft.com/office/drawing/2014/main" id="{52A90B26-9C2E-437C-8064-023936FADBB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4" name="Rectangle 53" hidden="1">
            <a:extLst>
              <a:ext uri="{FF2B5EF4-FFF2-40B4-BE49-F238E27FC236}">
                <a16:creationId xmlns:a16="http://schemas.microsoft.com/office/drawing/2014/main" id="{175AE8BC-5647-4065-B077-96D903AEEDD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C751657C-45C9-46E3-BFE9-669A22C34F5D}"/>
              </a:ext>
            </a:extLst>
          </p:cNvPr>
          <p:cNvSpPr>
            <a:spLocks noGrp="1"/>
          </p:cNvSpPr>
          <p:nvPr>
            <p:ph type="title"/>
          </p:nvPr>
        </p:nvSpPr>
        <p:spPr/>
        <p:txBody>
          <a:bodyPr/>
          <a:lstStyle/>
          <a:p>
            <a:r>
              <a:rPr lang="en-US" dirty="0"/>
              <a:t>Where would we focus?</a:t>
            </a:r>
          </a:p>
        </p:txBody>
      </p:sp>
      <p:sp>
        <p:nvSpPr>
          <p:cNvPr id="3" name="Text Placeholder 2">
            <a:extLst>
              <a:ext uri="{FF2B5EF4-FFF2-40B4-BE49-F238E27FC236}">
                <a16:creationId xmlns:a16="http://schemas.microsoft.com/office/drawing/2014/main" id="{F9B7C3C9-3E58-4CE2-AC48-58472896E84E}"/>
              </a:ext>
            </a:extLst>
          </p:cNvPr>
          <p:cNvSpPr>
            <a:spLocks noGrp="1"/>
          </p:cNvSpPr>
          <p:nvPr>
            <p:ph type="body" sz="quarter" idx="14"/>
          </p:nvPr>
        </p:nvSpPr>
        <p:spPr>
          <a:xfrm>
            <a:off x="914721" y="1353312"/>
            <a:ext cx="10362880" cy="475488"/>
          </a:xfrm>
        </p:spPr>
        <p:txBody>
          <a:bodyPr/>
          <a:lstStyle/>
          <a:p>
            <a:r>
              <a:rPr lang="en-US" dirty="0"/>
              <a:t>Subtitle</a:t>
            </a:r>
          </a:p>
        </p:txBody>
      </p:sp>
      <p:sp>
        <p:nvSpPr>
          <p:cNvPr id="5" name="Rectangle 4">
            <a:extLst>
              <a:ext uri="{FF2B5EF4-FFF2-40B4-BE49-F238E27FC236}">
                <a16:creationId xmlns:a16="http://schemas.microsoft.com/office/drawing/2014/main" id="{83E92621-11CA-4E7F-82B3-FF3CE81705E7}"/>
              </a:ext>
            </a:extLst>
          </p:cNvPr>
          <p:cNvSpPr/>
          <p:nvPr/>
        </p:nvSpPr>
        <p:spPr>
          <a:xfrm>
            <a:off x="8817261" y="1737620"/>
            <a:ext cx="3235568" cy="246221"/>
          </a:xfrm>
          <a:prstGeom prst="rect">
            <a:avLst/>
          </a:prstGeom>
        </p:spPr>
        <p:txBody>
          <a:bodyPr wrap="squar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ea typeface="+mn-ea"/>
                <a:cs typeface="+mn-cs"/>
              </a:rPr>
              <a:t>Asset Portfolio Review  </a:t>
            </a:r>
          </a:p>
        </p:txBody>
      </p:sp>
      <p:sp>
        <p:nvSpPr>
          <p:cNvPr id="6" name="Rectangle 5">
            <a:extLst>
              <a:ext uri="{FF2B5EF4-FFF2-40B4-BE49-F238E27FC236}">
                <a16:creationId xmlns:a16="http://schemas.microsoft.com/office/drawing/2014/main" id="{ABB8F233-AD26-4AC8-B95E-46EA62038949}"/>
              </a:ext>
            </a:extLst>
          </p:cNvPr>
          <p:cNvSpPr/>
          <p:nvPr/>
        </p:nvSpPr>
        <p:spPr>
          <a:xfrm>
            <a:off x="422542" y="1749172"/>
            <a:ext cx="3638155" cy="492443"/>
          </a:xfrm>
          <a:prstGeom prst="rect">
            <a:avLst/>
          </a:prstGeom>
        </p:spPr>
        <p:txBody>
          <a:bodyPr wrap="squar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ea typeface="Open Sans" panose="020B0606030504020204" pitchFamily="34" charset="0"/>
                <a:cs typeface="Open Sans" panose="020B0606030504020204" pitchFamily="34" charset="0"/>
              </a:rPr>
              <a:t>Business Case Performance</a:t>
            </a:r>
          </a:p>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ea typeface="Open Sans" panose="020B0606030504020204" pitchFamily="34" charset="0"/>
              <a:cs typeface="Open Sans" panose="020B0606030504020204" pitchFamily="34" charset="0"/>
            </a:endParaRPr>
          </a:p>
        </p:txBody>
      </p:sp>
      <p:graphicFrame>
        <p:nvGraphicFramePr>
          <p:cNvPr id="7" name="Chart Placeholder 19">
            <a:extLst>
              <a:ext uri="{FF2B5EF4-FFF2-40B4-BE49-F238E27FC236}">
                <a16:creationId xmlns:a16="http://schemas.microsoft.com/office/drawing/2014/main" id="{27E2F260-3A71-40CD-B5E8-72A7C45825D7}"/>
              </a:ext>
            </a:extLst>
          </p:cNvPr>
          <p:cNvGraphicFramePr>
            <a:graphicFrameLocks/>
          </p:cNvGraphicFramePr>
          <p:nvPr/>
        </p:nvGraphicFramePr>
        <p:xfrm>
          <a:off x="2940784" y="1254516"/>
          <a:ext cx="6190837" cy="6039009"/>
        </p:xfrm>
        <a:graphic>
          <a:graphicData uri="http://schemas.openxmlformats.org/drawingml/2006/chart">
            <c:chart xmlns:c="http://schemas.openxmlformats.org/drawingml/2006/chart" xmlns:r="http://schemas.openxmlformats.org/officeDocument/2006/relationships" r:id="rId8"/>
          </a:graphicData>
        </a:graphic>
      </p:graphicFrame>
      <p:sp>
        <p:nvSpPr>
          <p:cNvPr id="8" name="Oval 7">
            <a:extLst>
              <a:ext uri="{FF2B5EF4-FFF2-40B4-BE49-F238E27FC236}">
                <a16:creationId xmlns:a16="http://schemas.microsoft.com/office/drawing/2014/main" id="{70C4E591-FCAD-495A-9812-3BCFA88AC3B7}"/>
              </a:ext>
            </a:extLst>
          </p:cNvPr>
          <p:cNvSpPr/>
          <p:nvPr/>
        </p:nvSpPr>
        <p:spPr bwMode="gray">
          <a:xfrm>
            <a:off x="5081800" y="3071170"/>
            <a:ext cx="1987377" cy="1921620"/>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ea typeface="+mn-ea"/>
              <a:cs typeface="+mn-cs"/>
            </a:endParaRPr>
          </a:p>
        </p:txBody>
      </p:sp>
      <p:grpSp>
        <p:nvGrpSpPr>
          <p:cNvPr id="9" name="Group 8">
            <a:extLst>
              <a:ext uri="{FF2B5EF4-FFF2-40B4-BE49-F238E27FC236}">
                <a16:creationId xmlns:a16="http://schemas.microsoft.com/office/drawing/2014/main" id="{3B544E54-C252-4951-A110-DFEB6B625BC7}"/>
              </a:ext>
            </a:extLst>
          </p:cNvPr>
          <p:cNvGrpSpPr>
            <a:grpSpLocks noChangeAspect="1"/>
          </p:cNvGrpSpPr>
          <p:nvPr/>
        </p:nvGrpSpPr>
        <p:grpSpPr>
          <a:xfrm>
            <a:off x="6776982" y="2401622"/>
            <a:ext cx="496844" cy="480405"/>
            <a:chOff x="1430338" y="5858510"/>
            <a:chExt cx="522288" cy="522288"/>
          </a:xfrm>
          <a:solidFill>
            <a:schemeClr val="tx1"/>
          </a:solidFill>
        </p:grpSpPr>
        <p:sp>
          <p:nvSpPr>
            <p:cNvPr id="10" name="Freeform 91">
              <a:extLst>
                <a:ext uri="{FF2B5EF4-FFF2-40B4-BE49-F238E27FC236}">
                  <a16:creationId xmlns:a16="http://schemas.microsoft.com/office/drawing/2014/main" id="{BA3EAFDC-17D8-4EAA-8AAF-2CCA77452DC5}"/>
                </a:ext>
              </a:extLst>
            </p:cNvPr>
            <p:cNvSpPr>
              <a:spLocks noEditPoints="1"/>
            </p:cNvSpPr>
            <p:nvPr/>
          </p:nvSpPr>
          <p:spPr bwMode="auto">
            <a:xfrm>
              <a:off x="1430338" y="5858510"/>
              <a:ext cx="522288" cy="522288"/>
            </a:xfrm>
            <a:custGeom>
              <a:avLst/>
              <a:gdLst>
                <a:gd name="T0" fmla="*/ 312 w 657"/>
                <a:gd name="T1" fmla="*/ 657 h 657"/>
                <a:gd name="T2" fmla="*/ 262 w 657"/>
                <a:gd name="T3" fmla="*/ 651 h 657"/>
                <a:gd name="T4" fmla="*/ 200 w 657"/>
                <a:gd name="T5" fmla="*/ 632 h 657"/>
                <a:gd name="T6" fmla="*/ 119 w 657"/>
                <a:gd name="T7" fmla="*/ 582 h 657"/>
                <a:gd name="T8" fmla="*/ 56 w 657"/>
                <a:gd name="T9" fmla="*/ 512 h 657"/>
                <a:gd name="T10" fmla="*/ 15 w 657"/>
                <a:gd name="T11" fmla="*/ 426 h 657"/>
                <a:gd name="T12" fmla="*/ 4 w 657"/>
                <a:gd name="T13" fmla="*/ 379 h 657"/>
                <a:gd name="T14" fmla="*/ 0 w 657"/>
                <a:gd name="T15" fmla="*/ 329 h 657"/>
                <a:gd name="T16" fmla="*/ 1 w 657"/>
                <a:gd name="T17" fmla="*/ 296 h 657"/>
                <a:gd name="T18" fmla="*/ 9 w 657"/>
                <a:gd name="T19" fmla="*/ 247 h 657"/>
                <a:gd name="T20" fmla="*/ 39 w 657"/>
                <a:gd name="T21" fmla="*/ 172 h 657"/>
                <a:gd name="T22" fmla="*/ 95 w 657"/>
                <a:gd name="T23" fmla="*/ 97 h 657"/>
                <a:gd name="T24" fmla="*/ 172 w 657"/>
                <a:gd name="T25" fmla="*/ 39 h 657"/>
                <a:gd name="T26" fmla="*/ 246 w 657"/>
                <a:gd name="T27" fmla="*/ 11 h 657"/>
                <a:gd name="T28" fmla="*/ 294 w 657"/>
                <a:gd name="T29" fmla="*/ 1 h 657"/>
                <a:gd name="T30" fmla="*/ 328 w 657"/>
                <a:gd name="T31" fmla="*/ 0 h 657"/>
                <a:gd name="T32" fmla="*/ 379 w 657"/>
                <a:gd name="T33" fmla="*/ 4 h 657"/>
                <a:gd name="T34" fmla="*/ 426 w 657"/>
                <a:gd name="T35" fmla="*/ 15 h 657"/>
                <a:gd name="T36" fmla="*/ 512 w 657"/>
                <a:gd name="T37" fmla="*/ 57 h 657"/>
                <a:gd name="T38" fmla="*/ 582 w 657"/>
                <a:gd name="T39" fmla="*/ 120 h 657"/>
                <a:gd name="T40" fmla="*/ 631 w 657"/>
                <a:gd name="T41" fmla="*/ 200 h 657"/>
                <a:gd name="T42" fmla="*/ 650 w 657"/>
                <a:gd name="T43" fmla="*/ 262 h 657"/>
                <a:gd name="T44" fmla="*/ 657 w 657"/>
                <a:gd name="T45" fmla="*/ 312 h 657"/>
                <a:gd name="T46" fmla="*/ 657 w 657"/>
                <a:gd name="T47" fmla="*/ 345 h 657"/>
                <a:gd name="T48" fmla="*/ 650 w 657"/>
                <a:gd name="T49" fmla="*/ 395 h 657"/>
                <a:gd name="T50" fmla="*/ 631 w 657"/>
                <a:gd name="T51" fmla="*/ 457 h 657"/>
                <a:gd name="T52" fmla="*/ 582 w 657"/>
                <a:gd name="T53" fmla="*/ 538 h 657"/>
                <a:gd name="T54" fmla="*/ 512 w 657"/>
                <a:gd name="T55" fmla="*/ 602 h 657"/>
                <a:gd name="T56" fmla="*/ 426 w 657"/>
                <a:gd name="T57" fmla="*/ 643 h 657"/>
                <a:gd name="T58" fmla="*/ 379 w 657"/>
                <a:gd name="T59" fmla="*/ 655 h 657"/>
                <a:gd name="T60" fmla="*/ 328 w 657"/>
                <a:gd name="T61" fmla="*/ 657 h 657"/>
                <a:gd name="T62" fmla="*/ 328 w 657"/>
                <a:gd name="T63" fmla="*/ 38 h 657"/>
                <a:gd name="T64" fmla="*/ 242 w 657"/>
                <a:gd name="T65" fmla="*/ 51 h 657"/>
                <a:gd name="T66" fmla="*/ 165 w 657"/>
                <a:gd name="T67" fmla="*/ 87 h 657"/>
                <a:gd name="T68" fmla="*/ 103 w 657"/>
                <a:gd name="T69" fmla="*/ 144 h 657"/>
                <a:gd name="T70" fmla="*/ 60 w 657"/>
                <a:gd name="T71" fmla="*/ 215 h 657"/>
                <a:gd name="T72" fmla="*/ 39 w 657"/>
                <a:gd name="T73" fmla="*/ 300 h 657"/>
                <a:gd name="T74" fmla="*/ 39 w 657"/>
                <a:gd name="T75" fmla="*/ 359 h 657"/>
                <a:gd name="T76" fmla="*/ 60 w 657"/>
                <a:gd name="T77" fmla="*/ 442 h 657"/>
                <a:gd name="T78" fmla="*/ 103 w 657"/>
                <a:gd name="T79" fmla="*/ 513 h 657"/>
                <a:gd name="T80" fmla="*/ 165 w 657"/>
                <a:gd name="T81" fmla="*/ 570 h 657"/>
                <a:gd name="T82" fmla="*/ 242 w 657"/>
                <a:gd name="T83" fmla="*/ 608 h 657"/>
                <a:gd name="T84" fmla="*/ 328 w 657"/>
                <a:gd name="T85" fmla="*/ 620 h 657"/>
                <a:gd name="T86" fmla="*/ 387 w 657"/>
                <a:gd name="T87" fmla="*/ 614 h 657"/>
                <a:gd name="T88" fmla="*/ 467 w 657"/>
                <a:gd name="T89" fmla="*/ 585 h 657"/>
                <a:gd name="T90" fmla="*/ 535 w 657"/>
                <a:gd name="T91" fmla="*/ 535 h 657"/>
                <a:gd name="T92" fmla="*/ 584 w 657"/>
                <a:gd name="T93" fmla="*/ 468 h 657"/>
                <a:gd name="T94" fmla="*/ 614 w 657"/>
                <a:gd name="T95" fmla="*/ 387 h 657"/>
                <a:gd name="T96" fmla="*/ 619 w 657"/>
                <a:gd name="T97" fmla="*/ 329 h 657"/>
                <a:gd name="T98" fmla="*/ 606 w 657"/>
                <a:gd name="T99" fmla="*/ 242 h 657"/>
                <a:gd name="T100" fmla="*/ 570 w 657"/>
                <a:gd name="T101" fmla="*/ 167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4" y="656"/>
                  </a:lnTo>
                  <a:lnTo>
                    <a:pt x="278" y="655"/>
                  </a:lnTo>
                  <a:lnTo>
                    <a:pt x="262" y="651"/>
                  </a:lnTo>
                  <a:lnTo>
                    <a:pt x="246" y="648"/>
                  </a:lnTo>
                  <a:lnTo>
                    <a:pt x="231" y="643"/>
                  </a:lnTo>
                  <a:lnTo>
                    <a:pt x="200" y="632"/>
                  </a:lnTo>
                  <a:lnTo>
                    <a:pt x="172" y="618"/>
                  </a:lnTo>
                  <a:lnTo>
                    <a:pt x="145" y="602"/>
                  </a:lnTo>
                  <a:lnTo>
                    <a:pt x="119" y="582"/>
                  </a:lnTo>
                  <a:lnTo>
                    <a:pt x="95" y="562"/>
                  </a:lnTo>
                  <a:lnTo>
                    <a:pt x="75" y="538"/>
                  </a:lnTo>
                  <a:lnTo>
                    <a:pt x="56" y="512"/>
                  </a:lnTo>
                  <a:lnTo>
                    <a:pt x="39" y="485"/>
                  </a:lnTo>
                  <a:lnTo>
                    <a:pt x="25" y="457"/>
                  </a:lnTo>
                  <a:lnTo>
                    <a:pt x="15" y="426"/>
                  </a:lnTo>
                  <a:lnTo>
                    <a:pt x="9" y="411"/>
                  </a:lnTo>
                  <a:lnTo>
                    <a:pt x="6" y="395"/>
                  </a:lnTo>
                  <a:lnTo>
                    <a:pt x="4" y="379"/>
                  </a:lnTo>
                  <a:lnTo>
                    <a:pt x="1" y="363"/>
                  </a:lnTo>
                  <a:lnTo>
                    <a:pt x="0" y="345"/>
                  </a:lnTo>
                  <a:lnTo>
                    <a:pt x="0" y="329"/>
                  </a:lnTo>
                  <a:lnTo>
                    <a:pt x="0" y="329"/>
                  </a:lnTo>
                  <a:lnTo>
                    <a:pt x="0" y="312"/>
                  </a:lnTo>
                  <a:lnTo>
                    <a:pt x="1" y="296"/>
                  </a:lnTo>
                  <a:lnTo>
                    <a:pt x="4" y="278"/>
                  </a:lnTo>
                  <a:lnTo>
                    <a:pt x="6" y="262"/>
                  </a:lnTo>
                  <a:lnTo>
                    <a:pt x="9" y="247"/>
                  </a:lnTo>
                  <a:lnTo>
                    <a:pt x="15" y="231"/>
                  </a:lnTo>
                  <a:lnTo>
                    <a:pt x="25" y="200"/>
                  </a:lnTo>
                  <a:lnTo>
                    <a:pt x="39" y="172"/>
                  </a:lnTo>
                  <a:lnTo>
                    <a:pt x="56" y="145"/>
                  </a:lnTo>
                  <a:lnTo>
                    <a:pt x="75" y="120"/>
                  </a:lnTo>
                  <a:lnTo>
                    <a:pt x="95" y="97"/>
                  </a:lnTo>
                  <a:lnTo>
                    <a:pt x="119" y="75"/>
                  </a:lnTo>
                  <a:lnTo>
                    <a:pt x="145" y="57"/>
                  </a:lnTo>
                  <a:lnTo>
                    <a:pt x="172" y="39"/>
                  </a:lnTo>
                  <a:lnTo>
                    <a:pt x="200" y="26"/>
                  </a:lnTo>
                  <a:lnTo>
                    <a:pt x="231" y="15"/>
                  </a:lnTo>
                  <a:lnTo>
                    <a:pt x="246" y="11"/>
                  </a:lnTo>
                  <a:lnTo>
                    <a:pt x="262" y="7"/>
                  </a:lnTo>
                  <a:lnTo>
                    <a:pt x="278" y="4"/>
                  </a:lnTo>
                  <a:lnTo>
                    <a:pt x="294" y="1"/>
                  </a:lnTo>
                  <a:lnTo>
                    <a:pt x="312" y="0"/>
                  </a:lnTo>
                  <a:lnTo>
                    <a:pt x="328" y="0"/>
                  </a:lnTo>
                  <a:lnTo>
                    <a:pt x="328" y="0"/>
                  </a:lnTo>
                  <a:lnTo>
                    <a:pt x="345" y="0"/>
                  </a:lnTo>
                  <a:lnTo>
                    <a:pt x="361" y="1"/>
                  </a:lnTo>
                  <a:lnTo>
                    <a:pt x="379" y="4"/>
                  </a:lnTo>
                  <a:lnTo>
                    <a:pt x="395" y="7"/>
                  </a:lnTo>
                  <a:lnTo>
                    <a:pt x="411" y="11"/>
                  </a:lnTo>
                  <a:lnTo>
                    <a:pt x="426" y="15"/>
                  </a:lnTo>
                  <a:lnTo>
                    <a:pt x="457" y="26"/>
                  </a:lnTo>
                  <a:lnTo>
                    <a:pt x="485" y="39"/>
                  </a:lnTo>
                  <a:lnTo>
                    <a:pt x="512" y="57"/>
                  </a:lnTo>
                  <a:lnTo>
                    <a:pt x="537" y="75"/>
                  </a:lnTo>
                  <a:lnTo>
                    <a:pt x="560" y="97"/>
                  </a:lnTo>
                  <a:lnTo>
                    <a:pt x="582" y="120"/>
                  </a:lnTo>
                  <a:lnTo>
                    <a:pt x="601" y="145"/>
                  </a:lnTo>
                  <a:lnTo>
                    <a:pt x="618" y="172"/>
                  </a:lnTo>
                  <a:lnTo>
                    <a:pt x="631" y="200"/>
                  </a:lnTo>
                  <a:lnTo>
                    <a:pt x="642" y="231"/>
                  </a:lnTo>
                  <a:lnTo>
                    <a:pt x="648" y="247"/>
                  </a:lnTo>
                  <a:lnTo>
                    <a:pt x="650" y="262"/>
                  </a:lnTo>
                  <a:lnTo>
                    <a:pt x="653" y="278"/>
                  </a:lnTo>
                  <a:lnTo>
                    <a:pt x="656" y="296"/>
                  </a:lnTo>
                  <a:lnTo>
                    <a:pt x="657" y="312"/>
                  </a:lnTo>
                  <a:lnTo>
                    <a:pt x="657" y="329"/>
                  </a:lnTo>
                  <a:lnTo>
                    <a:pt x="657" y="329"/>
                  </a:lnTo>
                  <a:lnTo>
                    <a:pt x="657" y="345"/>
                  </a:lnTo>
                  <a:lnTo>
                    <a:pt x="656" y="363"/>
                  </a:lnTo>
                  <a:lnTo>
                    <a:pt x="653" y="379"/>
                  </a:lnTo>
                  <a:lnTo>
                    <a:pt x="650" y="395"/>
                  </a:lnTo>
                  <a:lnTo>
                    <a:pt x="648" y="411"/>
                  </a:lnTo>
                  <a:lnTo>
                    <a:pt x="642" y="426"/>
                  </a:lnTo>
                  <a:lnTo>
                    <a:pt x="631" y="457"/>
                  </a:lnTo>
                  <a:lnTo>
                    <a:pt x="618" y="485"/>
                  </a:lnTo>
                  <a:lnTo>
                    <a:pt x="601" y="512"/>
                  </a:lnTo>
                  <a:lnTo>
                    <a:pt x="582" y="538"/>
                  </a:lnTo>
                  <a:lnTo>
                    <a:pt x="560" y="562"/>
                  </a:lnTo>
                  <a:lnTo>
                    <a:pt x="537" y="582"/>
                  </a:lnTo>
                  <a:lnTo>
                    <a:pt x="512" y="602"/>
                  </a:lnTo>
                  <a:lnTo>
                    <a:pt x="485" y="618"/>
                  </a:lnTo>
                  <a:lnTo>
                    <a:pt x="457" y="632"/>
                  </a:lnTo>
                  <a:lnTo>
                    <a:pt x="426" y="643"/>
                  </a:lnTo>
                  <a:lnTo>
                    <a:pt x="411" y="648"/>
                  </a:lnTo>
                  <a:lnTo>
                    <a:pt x="395" y="651"/>
                  </a:lnTo>
                  <a:lnTo>
                    <a:pt x="379" y="655"/>
                  </a:lnTo>
                  <a:lnTo>
                    <a:pt x="361" y="656"/>
                  </a:lnTo>
                  <a:lnTo>
                    <a:pt x="345" y="657"/>
                  </a:lnTo>
                  <a:lnTo>
                    <a:pt x="328" y="657"/>
                  </a:lnTo>
                  <a:lnTo>
                    <a:pt x="328" y="657"/>
                  </a:lnTo>
                  <a:close/>
                  <a:moveTo>
                    <a:pt x="328" y="38"/>
                  </a:moveTo>
                  <a:lnTo>
                    <a:pt x="328" y="38"/>
                  </a:lnTo>
                  <a:lnTo>
                    <a:pt x="298" y="39"/>
                  </a:lnTo>
                  <a:lnTo>
                    <a:pt x="270" y="43"/>
                  </a:lnTo>
                  <a:lnTo>
                    <a:pt x="242" y="51"/>
                  </a:lnTo>
                  <a:lnTo>
                    <a:pt x="215" y="61"/>
                  </a:lnTo>
                  <a:lnTo>
                    <a:pt x="189" y="73"/>
                  </a:lnTo>
                  <a:lnTo>
                    <a:pt x="165" y="87"/>
                  </a:lnTo>
                  <a:lnTo>
                    <a:pt x="144" y="104"/>
                  </a:lnTo>
                  <a:lnTo>
                    <a:pt x="122" y="122"/>
                  </a:lnTo>
                  <a:lnTo>
                    <a:pt x="103" y="144"/>
                  </a:lnTo>
                  <a:lnTo>
                    <a:pt x="87" y="167"/>
                  </a:lnTo>
                  <a:lnTo>
                    <a:pt x="72" y="190"/>
                  </a:lnTo>
                  <a:lnTo>
                    <a:pt x="60" y="215"/>
                  </a:lnTo>
                  <a:lnTo>
                    <a:pt x="49" y="242"/>
                  </a:lnTo>
                  <a:lnTo>
                    <a:pt x="43" y="270"/>
                  </a:lnTo>
                  <a:lnTo>
                    <a:pt x="39" y="300"/>
                  </a:lnTo>
                  <a:lnTo>
                    <a:pt x="37" y="329"/>
                  </a:lnTo>
                  <a:lnTo>
                    <a:pt x="37" y="329"/>
                  </a:lnTo>
                  <a:lnTo>
                    <a:pt x="39" y="359"/>
                  </a:lnTo>
                  <a:lnTo>
                    <a:pt x="43" y="387"/>
                  </a:lnTo>
                  <a:lnTo>
                    <a:pt x="49" y="415"/>
                  </a:lnTo>
                  <a:lnTo>
                    <a:pt x="60" y="442"/>
                  </a:lnTo>
                  <a:lnTo>
                    <a:pt x="72" y="468"/>
                  </a:lnTo>
                  <a:lnTo>
                    <a:pt x="87" y="492"/>
                  </a:lnTo>
                  <a:lnTo>
                    <a:pt x="103" y="513"/>
                  </a:lnTo>
                  <a:lnTo>
                    <a:pt x="122" y="535"/>
                  </a:lnTo>
                  <a:lnTo>
                    <a:pt x="144" y="554"/>
                  </a:lnTo>
                  <a:lnTo>
                    <a:pt x="165" y="570"/>
                  </a:lnTo>
                  <a:lnTo>
                    <a:pt x="189" y="585"/>
                  </a:lnTo>
                  <a:lnTo>
                    <a:pt x="215" y="597"/>
                  </a:lnTo>
                  <a:lnTo>
                    <a:pt x="242" y="608"/>
                  </a:lnTo>
                  <a:lnTo>
                    <a:pt x="270" y="614"/>
                  </a:lnTo>
                  <a:lnTo>
                    <a:pt x="298" y="618"/>
                  </a:lnTo>
                  <a:lnTo>
                    <a:pt x="328" y="620"/>
                  </a:lnTo>
                  <a:lnTo>
                    <a:pt x="328" y="620"/>
                  </a:lnTo>
                  <a:lnTo>
                    <a:pt x="359" y="618"/>
                  </a:lnTo>
                  <a:lnTo>
                    <a:pt x="387" y="614"/>
                  </a:lnTo>
                  <a:lnTo>
                    <a:pt x="415" y="608"/>
                  </a:lnTo>
                  <a:lnTo>
                    <a:pt x="442" y="597"/>
                  </a:lnTo>
                  <a:lnTo>
                    <a:pt x="467" y="585"/>
                  </a:lnTo>
                  <a:lnTo>
                    <a:pt x="492" y="570"/>
                  </a:lnTo>
                  <a:lnTo>
                    <a:pt x="513" y="554"/>
                  </a:lnTo>
                  <a:lnTo>
                    <a:pt x="535" y="535"/>
                  </a:lnTo>
                  <a:lnTo>
                    <a:pt x="553" y="513"/>
                  </a:lnTo>
                  <a:lnTo>
                    <a:pt x="570" y="492"/>
                  </a:lnTo>
                  <a:lnTo>
                    <a:pt x="584" y="468"/>
                  </a:lnTo>
                  <a:lnTo>
                    <a:pt x="596" y="442"/>
                  </a:lnTo>
                  <a:lnTo>
                    <a:pt x="606" y="415"/>
                  </a:lnTo>
                  <a:lnTo>
                    <a:pt x="614" y="387"/>
                  </a:lnTo>
                  <a:lnTo>
                    <a:pt x="618" y="359"/>
                  </a:lnTo>
                  <a:lnTo>
                    <a:pt x="619" y="329"/>
                  </a:lnTo>
                  <a:lnTo>
                    <a:pt x="619" y="329"/>
                  </a:lnTo>
                  <a:lnTo>
                    <a:pt x="618" y="300"/>
                  </a:lnTo>
                  <a:lnTo>
                    <a:pt x="614" y="270"/>
                  </a:lnTo>
                  <a:lnTo>
                    <a:pt x="606" y="242"/>
                  </a:lnTo>
                  <a:lnTo>
                    <a:pt x="596" y="215"/>
                  </a:lnTo>
                  <a:lnTo>
                    <a:pt x="584" y="190"/>
                  </a:lnTo>
                  <a:lnTo>
                    <a:pt x="570" y="167"/>
                  </a:lnTo>
                  <a:lnTo>
                    <a:pt x="553" y="144"/>
                  </a:lnTo>
                  <a:lnTo>
                    <a:pt x="535" y="122"/>
                  </a:lnTo>
                  <a:lnTo>
                    <a:pt x="513" y="104"/>
                  </a:lnTo>
                  <a:lnTo>
                    <a:pt x="492" y="87"/>
                  </a:lnTo>
                  <a:lnTo>
                    <a:pt x="467" y="73"/>
                  </a:lnTo>
                  <a:lnTo>
                    <a:pt x="442" y="61"/>
                  </a:lnTo>
                  <a:lnTo>
                    <a:pt x="415" y="51"/>
                  </a:lnTo>
                  <a:lnTo>
                    <a:pt x="387" y="43"/>
                  </a:lnTo>
                  <a:lnTo>
                    <a:pt x="359" y="39"/>
                  </a:lnTo>
                  <a:lnTo>
                    <a:pt x="328" y="38"/>
                  </a:lnTo>
                  <a:lnTo>
                    <a:pt x="328" y="3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a typeface="+mn-ea"/>
                <a:cs typeface="+mn-cs"/>
              </a:endParaRPr>
            </a:p>
          </p:txBody>
        </p:sp>
        <p:sp>
          <p:nvSpPr>
            <p:cNvPr id="11" name="Freeform 300">
              <a:extLst>
                <a:ext uri="{FF2B5EF4-FFF2-40B4-BE49-F238E27FC236}">
                  <a16:creationId xmlns:a16="http://schemas.microsoft.com/office/drawing/2014/main" id="{30FCF8C7-C296-40A6-822A-2D66DBE1572D}"/>
                </a:ext>
              </a:extLst>
            </p:cNvPr>
            <p:cNvSpPr>
              <a:spLocks/>
            </p:cNvSpPr>
            <p:nvPr/>
          </p:nvSpPr>
          <p:spPr bwMode="auto">
            <a:xfrm>
              <a:off x="1638301" y="6013728"/>
              <a:ext cx="182563" cy="17463"/>
            </a:xfrm>
            <a:custGeom>
              <a:avLst/>
              <a:gdLst>
                <a:gd name="T0" fmla="*/ 223 w 228"/>
                <a:gd name="T1" fmla="*/ 22 h 22"/>
                <a:gd name="T2" fmla="*/ 5 w 228"/>
                <a:gd name="T3" fmla="*/ 22 h 22"/>
                <a:gd name="T4" fmla="*/ 5 w 228"/>
                <a:gd name="T5" fmla="*/ 22 h 22"/>
                <a:gd name="T6" fmla="*/ 4 w 228"/>
                <a:gd name="T7" fmla="*/ 22 h 22"/>
                <a:gd name="T8" fmla="*/ 1 w 228"/>
                <a:gd name="T9" fmla="*/ 21 h 22"/>
                <a:gd name="T10" fmla="*/ 0 w 228"/>
                <a:gd name="T11" fmla="*/ 19 h 22"/>
                <a:gd name="T12" fmla="*/ 0 w 228"/>
                <a:gd name="T13" fmla="*/ 17 h 22"/>
                <a:gd name="T14" fmla="*/ 0 w 228"/>
                <a:gd name="T15" fmla="*/ 6 h 22"/>
                <a:gd name="T16" fmla="*/ 0 w 228"/>
                <a:gd name="T17" fmla="*/ 6 h 22"/>
                <a:gd name="T18" fmla="*/ 0 w 228"/>
                <a:gd name="T19" fmla="*/ 4 h 22"/>
                <a:gd name="T20" fmla="*/ 1 w 228"/>
                <a:gd name="T21" fmla="*/ 2 h 22"/>
                <a:gd name="T22" fmla="*/ 4 w 228"/>
                <a:gd name="T23" fmla="*/ 2 h 22"/>
                <a:gd name="T24" fmla="*/ 5 w 228"/>
                <a:gd name="T25" fmla="*/ 0 h 22"/>
                <a:gd name="T26" fmla="*/ 223 w 228"/>
                <a:gd name="T27" fmla="*/ 0 h 22"/>
                <a:gd name="T28" fmla="*/ 223 w 228"/>
                <a:gd name="T29" fmla="*/ 0 h 22"/>
                <a:gd name="T30" fmla="*/ 226 w 228"/>
                <a:gd name="T31" fmla="*/ 2 h 22"/>
                <a:gd name="T32" fmla="*/ 227 w 228"/>
                <a:gd name="T33" fmla="*/ 2 h 22"/>
                <a:gd name="T34" fmla="*/ 228 w 228"/>
                <a:gd name="T35" fmla="*/ 4 h 22"/>
                <a:gd name="T36" fmla="*/ 228 w 228"/>
                <a:gd name="T37" fmla="*/ 6 h 22"/>
                <a:gd name="T38" fmla="*/ 228 w 228"/>
                <a:gd name="T39" fmla="*/ 17 h 22"/>
                <a:gd name="T40" fmla="*/ 228 w 228"/>
                <a:gd name="T41" fmla="*/ 17 h 22"/>
                <a:gd name="T42" fmla="*/ 228 w 228"/>
                <a:gd name="T43" fmla="*/ 19 h 22"/>
                <a:gd name="T44" fmla="*/ 227 w 228"/>
                <a:gd name="T45" fmla="*/ 21 h 22"/>
                <a:gd name="T46" fmla="*/ 226 w 228"/>
                <a:gd name="T47" fmla="*/ 22 h 22"/>
                <a:gd name="T48" fmla="*/ 223 w 228"/>
                <a:gd name="T49" fmla="*/ 22 h 22"/>
                <a:gd name="T50" fmla="*/ 223 w 228"/>
                <a:gd name="T5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8" h="22">
                  <a:moveTo>
                    <a:pt x="223" y="22"/>
                  </a:moveTo>
                  <a:lnTo>
                    <a:pt x="5" y="22"/>
                  </a:lnTo>
                  <a:lnTo>
                    <a:pt x="5" y="22"/>
                  </a:lnTo>
                  <a:lnTo>
                    <a:pt x="4" y="22"/>
                  </a:lnTo>
                  <a:lnTo>
                    <a:pt x="1" y="21"/>
                  </a:lnTo>
                  <a:lnTo>
                    <a:pt x="0" y="19"/>
                  </a:lnTo>
                  <a:lnTo>
                    <a:pt x="0" y="17"/>
                  </a:lnTo>
                  <a:lnTo>
                    <a:pt x="0" y="6"/>
                  </a:lnTo>
                  <a:lnTo>
                    <a:pt x="0" y="6"/>
                  </a:lnTo>
                  <a:lnTo>
                    <a:pt x="0" y="4"/>
                  </a:lnTo>
                  <a:lnTo>
                    <a:pt x="1" y="2"/>
                  </a:lnTo>
                  <a:lnTo>
                    <a:pt x="4" y="2"/>
                  </a:lnTo>
                  <a:lnTo>
                    <a:pt x="5" y="0"/>
                  </a:lnTo>
                  <a:lnTo>
                    <a:pt x="223" y="0"/>
                  </a:lnTo>
                  <a:lnTo>
                    <a:pt x="223" y="0"/>
                  </a:lnTo>
                  <a:lnTo>
                    <a:pt x="226" y="2"/>
                  </a:lnTo>
                  <a:lnTo>
                    <a:pt x="227" y="2"/>
                  </a:lnTo>
                  <a:lnTo>
                    <a:pt x="228" y="4"/>
                  </a:lnTo>
                  <a:lnTo>
                    <a:pt x="228" y="6"/>
                  </a:lnTo>
                  <a:lnTo>
                    <a:pt x="228" y="17"/>
                  </a:lnTo>
                  <a:lnTo>
                    <a:pt x="228" y="17"/>
                  </a:lnTo>
                  <a:lnTo>
                    <a:pt x="228" y="19"/>
                  </a:lnTo>
                  <a:lnTo>
                    <a:pt x="227" y="21"/>
                  </a:lnTo>
                  <a:lnTo>
                    <a:pt x="226" y="22"/>
                  </a:lnTo>
                  <a:lnTo>
                    <a:pt x="223" y="22"/>
                  </a:lnTo>
                  <a:lnTo>
                    <a:pt x="223" y="2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a typeface="+mn-ea"/>
                <a:cs typeface="+mn-cs"/>
              </a:endParaRPr>
            </a:p>
          </p:txBody>
        </p:sp>
        <p:sp>
          <p:nvSpPr>
            <p:cNvPr id="12" name="Freeform 301">
              <a:extLst>
                <a:ext uri="{FF2B5EF4-FFF2-40B4-BE49-F238E27FC236}">
                  <a16:creationId xmlns:a16="http://schemas.microsoft.com/office/drawing/2014/main" id="{67DC4F59-089E-45E5-AB5E-2F79B6299780}"/>
                </a:ext>
              </a:extLst>
            </p:cNvPr>
            <p:cNvSpPr>
              <a:spLocks/>
            </p:cNvSpPr>
            <p:nvPr/>
          </p:nvSpPr>
          <p:spPr bwMode="auto">
            <a:xfrm>
              <a:off x="1638301" y="6101042"/>
              <a:ext cx="182563" cy="15875"/>
            </a:xfrm>
            <a:custGeom>
              <a:avLst/>
              <a:gdLst>
                <a:gd name="T0" fmla="*/ 223 w 228"/>
                <a:gd name="T1" fmla="*/ 22 h 22"/>
                <a:gd name="T2" fmla="*/ 5 w 228"/>
                <a:gd name="T3" fmla="*/ 22 h 22"/>
                <a:gd name="T4" fmla="*/ 5 w 228"/>
                <a:gd name="T5" fmla="*/ 22 h 22"/>
                <a:gd name="T6" fmla="*/ 4 w 228"/>
                <a:gd name="T7" fmla="*/ 22 h 22"/>
                <a:gd name="T8" fmla="*/ 1 w 228"/>
                <a:gd name="T9" fmla="*/ 20 h 22"/>
                <a:gd name="T10" fmla="*/ 0 w 228"/>
                <a:gd name="T11" fmla="*/ 19 h 22"/>
                <a:gd name="T12" fmla="*/ 0 w 228"/>
                <a:gd name="T13" fmla="*/ 16 h 22"/>
                <a:gd name="T14" fmla="*/ 0 w 228"/>
                <a:gd name="T15" fmla="*/ 6 h 22"/>
                <a:gd name="T16" fmla="*/ 0 w 228"/>
                <a:gd name="T17" fmla="*/ 6 h 22"/>
                <a:gd name="T18" fmla="*/ 0 w 228"/>
                <a:gd name="T19" fmla="*/ 4 h 22"/>
                <a:gd name="T20" fmla="*/ 1 w 228"/>
                <a:gd name="T21" fmla="*/ 2 h 22"/>
                <a:gd name="T22" fmla="*/ 4 w 228"/>
                <a:gd name="T23" fmla="*/ 0 h 22"/>
                <a:gd name="T24" fmla="*/ 5 w 228"/>
                <a:gd name="T25" fmla="*/ 0 h 22"/>
                <a:gd name="T26" fmla="*/ 223 w 228"/>
                <a:gd name="T27" fmla="*/ 0 h 22"/>
                <a:gd name="T28" fmla="*/ 223 w 228"/>
                <a:gd name="T29" fmla="*/ 0 h 22"/>
                <a:gd name="T30" fmla="*/ 226 w 228"/>
                <a:gd name="T31" fmla="*/ 0 h 22"/>
                <a:gd name="T32" fmla="*/ 227 w 228"/>
                <a:gd name="T33" fmla="*/ 2 h 22"/>
                <a:gd name="T34" fmla="*/ 228 w 228"/>
                <a:gd name="T35" fmla="*/ 4 h 22"/>
                <a:gd name="T36" fmla="*/ 228 w 228"/>
                <a:gd name="T37" fmla="*/ 6 h 22"/>
                <a:gd name="T38" fmla="*/ 228 w 228"/>
                <a:gd name="T39" fmla="*/ 16 h 22"/>
                <a:gd name="T40" fmla="*/ 228 w 228"/>
                <a:gd name="T41" fmla="*/ 16 h 22"/>
                <a:gd name="T42" fmla="*/ 228 w 228"/>
                <a:gd name="T43" fmla="*/ 19 h 22"/>
                <a:gd name="T44" fmla="*/ 227 w 228"/>
                <a:gd name="T45" fmla="*/ 20 h 22"/>
                <a:gd name="T46" fmla="*/ 226 w 228"/>
                <a:gd name="T47" fmla="*/ 22 h 22"/>
                <a:gd name="T48" fmla="*/ 223 w 228"/>
                <a:gd name="T49" fmla="*/ 22 h 22"/>
                <a:gd name="T50" fmla="*/ 223 w 228"/>
                <a:gd name="T5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8" h="22">
                  <a:moveTo>
                    <a:pt x="223" y="22"/>
                  </a:moveTo>
                  <a:lnTo>
                    <a:pt x="5" y="22"/>
                  </a:lnTo>
                  <a:lnTo>
                    <a:pt x="5" y="22"/>
                  </a:lnTo>
                  <a:lnTo>
                    <a:pt x="4" y="22"/>
                  </a:lnTo>
                  <a:lnTo>
                    <a:pt x="1" y="20"/>
                  </a:lnTo>
                  <a:lnTo>
                    <a:pt x="0" y="19"/>
                  </a:lnTo>
                  <a:lnTo>
                    <a:pt x="0" y="16"/>
                  </a:lnTo>
                  <a:lnTo>
                    <a:pt x="0" y="6"/>
                  </a:lnTo>
                  <a:lnTo>
                    <a:pt x="0" y="6"/>
                  </a:lnTo>
                  <a:lnTo>
                    <a:pt x="0" y="4"/>
                  </a:lnTo>
                  <a:lnTo>
                    <a:pt x="1" y="2"/>
                  </a:lnTo>
                  <a:lnTo>
                    <a:pt x="4" y="0"/>
                  </a:lnTo>
                  <a:lnTo>
                    <a:pt x="5" y="0"/>
                  </a:lnTo>
                  <a:lnTo>
                    <a:pt x="223" y="0"/>
                  </a:lnTo>
                  <a:lnTo>
                    <a:pt x="223" y="0"/>
                  </a:lnTo>
                  <a:lnTo>
                    <a:pt x="226" y="0"/>
                  </a:lnTo>
                  <a:lnTo>
                    <a:pt x="227" y="2"/>
                  </a:lnTo>
                  <a:lnTo>
                    <a:pt x="228" y="4"/>
                  </a:lnTo>
                  <a:lnTo>
                    <a:pt x="228" y="6"/>
                  </a:lnTo>
                  <a:lnTo>
                    <a:pt x="228" y="16"/>
                  </a:lnTo>
                  <a:lnTo>
                    <a:pt x="228" y="16"/>
                  </a:lnTo>
                  <a:lnTo>
                    <a:pt x="228" y="19"/>
                  </a:lnTo>
                  <a:lnTo>
                    <a:pt x="227" y="20"/>
                  </a:lnTo>
                  <a:lnTo>
                    <a:pt x="226" y="22"/>
                  </a:lnTo>
                  <a:lnTo>
                    <a:pt x="223" y="22"/>
                  </a:lnTo>
                  <a:lnTo>
                    <a:pt x="223" y="2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a typeface="+mn-ea"/>
                <a:cs typeface="+mn-cs"/>
              </a:endParaRPr>
            </a:p>
          </p:txBody>
        </p:sp>
        <p:sp>
          <p:nvSpPr>
            <p:cNvPr id="13" name="Freeform 302">
              <a:extLst>
                <a:ext uri="{FF2B5EF4-FFF2-40B4-BE49-F238E27FC236}">
                  <a16:creationId xmlns:a16="http://schemas.microsoft.com/office/drawing/2014/main" id="{D7CF5758-8744-481E-84CC-084C97136593}"/>
                </a:ext>
              </a:extLst>
            </p:cNvPr>
            <p:cNvSpPr>
              <a:spLocks/>
            </p:cNvSpPr>
            <p:nvPr/>
          </p:nvSpPr>
          <p:spPr bwMode="auto">
            <a:xfrm>
              <a:off x="1638301" y="6186766"/>
              <a:ext cx="182563" cy="17463"/>
            </a:xfrm>
            <a:custGeom>
              <a:avLst/>
              <a:gdLst>
                <a:gd name="T0" fmla="*/ 223 w 228"/>
                <a:gd name="T1" fmla="*/ 22 h 22"/>
                <a:gd name="T2" fmla="*/ 5 w 228"/>
                <a:gd name="T3" fmla="*/ 22 h 22"/>
                <a:gd name="T4" fmla="*/ 5 w 228"/>
                <a:gd name="T5" fmla="*/ 22 h 22"/>
                <a:gd name="T6" fmla="*/ 4 w 228"/>
                <a:gd name="T7" fmla="*/ 22 h 22"/>
                <a:gd name="T8" fmla="*/ 1 w 228"/>
                <a:gd name="T9" fmla="*/ 20 h 22"/>
                <a:gd name="T10" fmla="*/ 0 w 228"/>
                <a:gd name="T11" fmla="*/ 19 h 22"/>
                <a:gd name="T12" fmla="*/ 0 w 228"/>
                <a:gd name="T13" fmla="*/ 16 h 22"/>
                <a:gd name="T14" fmla="*/ 0 w 228"/>
                <a:gd name="T15" fmla="*/ 6 h 22"/>
                <a:gd name="T16" fmla="*/ 0 w 228"/>
                <a:gd name="T17" fmla="*/ 6 h 22"/>
                <a:gd name="T18" fmla="*/ 0 w 228"/>
                <a:gd name="T19" fmla="*/ 4 h 22"/>
                <a:gd name="T20" fmla="*/ 1 w 228"/>
                <a:gd name="T21" fmla="*/ 1 h 22"/>
                <a:gd name="T22" fmla="*/ 4 w 228"/>
                <a:gd name="T23" fmla="*/ 0 h 22"/>
                <a:gd name="T24" fmla="*/ 5 w 228"/>
                <a:gd name="T25" fmla="*/ 0 h 22"/>
                <a:gd name="T26" fmla="*/ 223 w 228"/>
                <a:gd name="T27" fmla="*/ 0 h 22"/>
                <a:gd name="T28" fmla="*/ 223 w 228"/>
                <a:gd name="T29" fmla="*/ 0 h 22"/>
                <a:gd name="T30" fmla="*/ 226 w 228"/>
                <a:gd name="T31" fmla="*/ 0 h 22"/>
                <a:gd name="T32" fmla="*/ 227 w 228"/>
                <a:gd name="T33" fmla="*/ 1 h 22"/>
                <a:gd name="T34" fmla="*/ 228 w 228"/>
                <a:gd name="T35" fmla="*/ 4 h 22"/>
                <a:gd name="T36" fmla="*/ 228 w 228"/>
                <a:gd name="T37" fmla="*/ 6 h 22"/>
                <a:gd name="T38" fmla="*/ 228 w 228"/>
                <a:gd name="T39" fmla="*/ 16 h 22"/>
                <a:gd name="T40" fmla="*/ 228 w 228"/>
                <a:gd name="T41" fmla="*/ 16 h 22"/>
                <a:gd name="T42" fmla="*/ 228 w 228"/>
                <a:gd name="T43" fmla="*/ 19 h 22"/>
                <a:gd name="T44" fmla="*/ 227 w 228"/>
                <a:gd name="T45" fmla="*/ 20 h 22"/>
                <a:gd name="T46" fmla="*/ 226 w 228"/>
                <a:gd name="T47" fmla="*/ 22 h 22"/>
                <a:gd name="T48" fmla="*/ 223 w 228"/>
                <a:gd name="T49" fmla="*/ 22 h 22"/>
                <a:gd name="T50" fmla="*/ 223 w 228"/>
                <a:gd name="T5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8" h="22">
                  <a:moveTo>
                    <a:pt x="223" y="22"/>
                  </a:moveTo>
                  <a:lnTo>
                    <a:pt x="5" y="22"/>
                  </a:lnTo>
                  <a:lnTo>
                    <a:pt x="5" y="22"/>
                  </a:lnTo>
                  <a:lnTo>
                    <a:pt x="4" y="22"/>
                  </a:lnTo>
                  <a:lnTo>
                    <a:pt x="1" y="20"/>
                  </a:lnTo>
                  <a:lnTo>
                    <a:pt x="0" y="19"/>
                  </a:lnTo>
                  <a:lnTo>
                    <a:pt x="0" y="16"/>
                  </a:lnTo>
                  <a:lnTo>
                    <a:pt x="0" y="6"/>
                  </a:lnTo>
                  <a:lnTo>
                    <a:pt x="0" y="6"/>
                  </a:lnTo>
                  <a:lnTo>
                    <a:pt x="0" y="4"/>
                  </a:lnTo>
                  <a:lnTo>
                    <a:pt x="1" y="1"/>
                  </a:lnTo>
                  <a:lnTo>
                    <a:pt x="4" y="0"/>
                  </a:lnTo>
                  <a:lnTo>
                    <a:pt x="5" y="0"/>
                  </a:lnTo>
                  <a:lnTo>
                    <a:pt x="223" y="0"/>
                  </a:lnTo>
                  <a:lnTo>
                    <a:pt x="223" y="0"/>
                  </a:lnTo>
                  <a:lnTo>
                    <a:pt x="226" y="0"/>
                  </a:lnTo>
                  <a:lnTo>
                    <a:pt x="227" y="1"/>
                  </a:lnTo>
                  <a:lnTo>
                    <a:pt x="228" y="4"/>
                  </a:lnTo>
                  <a:lnTo>
                    <a:pt x="228" y="6"/>
                  </a:lnTo>
                  <a:lnTo>
                    <a:pt x="228" y="16"/>
                  </a:lnTo>
                  <a:lnTo>
                    <a:pt x="228" y="16"/>
                  </a:lnTo>
                  <a:lnTo>
                    <a:pt x="228" y="19"/>
                  </a:lnTo>
                  <a:lnTo>
                    <a:pt x="227" y="20"/>
                  </a:lnTo>
                  <a:lnTo>
                    <a:pt x="226" y="22"/>
                  </a:lnTo>
                  <a:lnTo>
                    <a:pt x="223" y="22"/>
                  </a:lnTo>
                  <a:lnTo>
                    <a:pt x="223" y="2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a typeface="+mn-ea"/>
                <a:cs typeface="+mn-cs"/>
              </a:endParaRPr>
            </a:p>
          </p:txBody>
        </p:sp>
        <p:sp>
          <p:nvSpPr>
            <p:cNvPr id="14" name="Freeform 303">
              <a:extLst>
                <a:ext uri="{FF2B5EF4-FFF2-40B4-BE49-F238E27FC236}">
                  <a16:creationId xmlns:a16="http://schemas.microsoft.com/office/drawing/2014/main" id="{4FF4894D-1209-4E6C-A233-44745824449C}"/>
                </a:ext>
              </a:extLst>
            </p:cNvPr>
            <p:cNvSpPr>
              <a:spLocks/>
            </p:cNvSpPr>
            <p:nvPr/>
          </p:nvSpPr>
          <p:spPr bwMode="auto">
            <a:xfrm>
              <a:off x="1570038" y="6002973"/>
              <a:ext cx="36513" cy="58738"/>
            </a:xfrm>
            <a:custGeom>
              <a:avLst/>
              <a:gdLst>
                <a:gd name="T0" fmla="*/ 0 w 46"/>
                <a:gd name="T1" fmla="*/ 75 h 75"/>
                <a:gd name="T2" fmla="*/ 0 w 46"/>
                <a:gd name="T3" fmla="*/ 65 h 75"/>
                <a:gd name="T4" fmla="*/ 13 w 46"/>
                <a:gd name="T5" fmla="*/ 64 h 75"/>
                <a:gd name="T6" fmla="*/ 13 w 46"/>
                <a:gd name="T7" fmla="*/ 64 h 75"/>
                <a:gd name="T8" fmla="*/ 14 w 46"/>
                <a:gd name="T9" fmla="*/ 63 h 75"/>
                <a:gd name="T10" fmla="*/ 14 w 46"/>
                <a:gd name="T11" fmla="*/ 61 h 75"/>
                <a:gd name="T12" fmla="*/ 14 w 46"/>
                <a:gd name="T13" fmla="*/ 16 h 75"/>
                <a:gd name="T14" fmla="*/ 14 w 46"/>
                <a:gd name="T15" fmla="*/ 16 h 75"/>
                <a:gd name="T16" fmla="*/ 14 w 46"/>
                <a:gd name="T17" fmla="*/ 14 h 75"/>
                <a:gd name="T18" fmla="*/ 13 w 46"/>
                <a:gd name="T19" fmla="*/ 13 h 75"/>
                <a:gd name="T20" fmla="*/ 2 w 46"/>
                <a:gd name="T21" fmla="*/ 10 h 75"/>
                <a:gd name="T22" fmla="*/ 3 w 46"/>
                <a:gd name="T23" fmla="*/ 0 h 75"/>
                <a:gd name="T24" fmla="*/ 34 w 46"/>
                <a:gd name="T25" fmla="*/ 0 h 75"/>
                <a:gd name="T26" fmla="*/ 34 w 46"/>
                <a:gd name="T27" fmla="*/ 61 h 75"/>
                <a:gd name="T28" fmla="*/ 34 w 46"/>
                <a:gd name="T29" fmla="*/ 61 h 75"/>
                <a:gd name="T30" fmla="*/ 34 w 46"/>
                <a:gd name="T31" fmla="*/ 63 h 75"/>
                <a:gd name="T32" fmla="*/ 35 w 46"/>
                <a:gd name="T33" fmla="*/ 64 h 75"/>
                <a:gd name="T34" fmla="*/ 46 w 46"/>
                <a:gd name="T35" fmla="*/ 65 h 75"/>
                <a:gd name="T36" fmla="*/ 46 w 46"/>
                <a:gd name="T37" fmla="*/ 75 h 75"/>
                <a:gd name="T38" fmla="*/ 0 w 46"/>
                <a:gd name="T39"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 h="75">
                  <a:moveTo>
                    <a:pt x="0" y="75"/>
                  </a:moveTo>
                  <a:lnTo>
                    <a:pt x="0" y="65"/>
                  </a:lnTo>
                  <a:lnTo>
                    <a:pt x="13" y="64"/>
                  </a:lnTo>
                  <a:lnTo>
                    <a:pt x="13" y="64"/>
                  </a:lnTo>
                  <a:lnTo>
                    <a:pt x="14" y="63"/>
                  </a:lnTo>
                  <a:lnTo>
                    <a:pt x="14" y="61"/>
                  </a:lnTo>
                  <a:lnTo>
                    <a:pt x="14" y="16"/>
                  </a:lnTo>
                  <a:lnTo>
                    <a:pt x="14" y="16"/>
                  </a:lnTo>
                  <a:lnTo>
                    <a:pt x="14" y="14"/>
                  </a:lnTo>
                  <a:lnTo>
                    <a:pt x="13" y="13"/>
                  </a:lnTo>
                  <a:lnTo>
                    <a:pt x="2" y="10"/>
                  </a:lnTo>
                  <a:lnTo>
                    <a:pt x="3" y="0"/>
                  </a:lnTo>
                  <a:lnTo>
                    <a:pt x="34" y="0"/>
                  </a:lnTo>
                  <a:lnTo>
                    <a:pt x="34" y="61"/>
                  </a:lnTo>
                  <a:lnTo>
                    <a:pt x="34" y="61"/>
                  </a:lnTo>
                  <a:lnTo>
                    <a:pt x="34" y="63"/>
                  </a:lnTo>
                  <a:lnTo>
                    <a:pt x="35" y="64"/>
                  </a:lnTo>
                  <a:lnTo>
                    <a:pt x="46" y="65"/>
                  </a:lnTo>
                  <a:lnTo>
                    <a:pt x="46" y="75"/>
                  </a:lnTo>
                  <a:lnTo>
                    <a:pt x="0" y="7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a typeface="+mn-ea"/>
                <a:cs typeface="+mn-cs"/>
              </a:endParaRPr>
            </a:p>
          </p:txBody>
        </p:sp>
        <p:sp>
          <p:nvSpPr>
            <p:cNvPr id="15" name="Freeform 304">
              <a:extLst>
                <a:ext uri="{FF2B5EF4-FFF2-40B4-BE49-F238E27FC236}">
                  <a16:creationId xmlns:a16="http://schemas.microsoft.com/office/drawing/2014/main" id="{244F6DF5-E685-4058-A918-5CA7DDCBDDDB}"/>
                </a:ext>
              </a:extLst>
            </p:cNvPr>
            <p:cNvSpPr>
              <a:spLocks/>
            </p:cNvSpPr>
            <p:nvPr/>
          </p:nvSpPr>
          <p:spPr bwMode="auto">
            <a:xfrm>
              <a:off x="1563688" y="6088698"/>
              <a:ext cx="49213" cy="60325"/>
            </a:xfrm>
            <a:custGeom>
              <a:avLst/>
              <a:gdLst>
                <a:gd name="T0" fmla="*/ 0 w 60"/>
                <a:gd name="T1" fmla="*/ 77 h 77"/>
                <a:gd name="T2" fmla="*/ 0 w 60"/>
                <a:gd name="T3" fmla="*/ 65 h 77"/>
                <a:gd name="T4" fmla="*/ 17 w 60"/>
                <a:gd name="T5" fmla="*/ 47 h 77"/>
                <a:gd name="T6" fmla="*/ 17 w 60"/>
                <a:gd name="T7" fmla="*/ 47 h 77"/>
                <a:gd name="T8" fmla="*/ 32 w 60"/>
                <a:gd name="T9" fmla="*/ 33 h 77"/>
                <a:gd name="T10" fmla="*/ 35 w 60"/>
                <a:gd name="T11" fmla="*/ 27 h 77"/>
                <a:gd name="T12" fmla="*/ 36 w 60"/>
                <a:gd name="T13" fmla="*/ 22 h 77"/>
                <a:gd name="T14" fmla="*/ 36 w 60"/>
                <a:gd name="T15" fmla="*/ 22 h 77"/>
                <a:gd name="T16" fmla="*/ 36 w 60"/>
                <a:gd name="T17" fmla="*/ 19 h 77"/>
                <a:gd name="T18" fmla="*/ 35 w 60"/>
                <a:gd name="T19" fmla="*/ 17 h 77"/>
                <a:gd name="T20" fmla="*/ 32 w 60"/>
                <a:gd name="T21" fmla="*/ 15 h 77"/>
                <a:gd name="T22" fmla="*/ 27 w 60"/>
                <a:gd name="T23" fmla="*/ 14 h 77"/>
                <a:gd name="T24" fmla="*/ 27 w 60"/>
                <a:gd name="T25" fmla="*/ 14 h 77"/>
                <a:gd name="T26" fmla="*/ 23 w 60"/>
                <a:gd name="T27" fmla="*/ 14 h 77"/>
                <a:gd name="T28" fmla="*/ 20 w 60"/>
                <a:gd name="T29" fmla="*/ 17 h 77"/>
                <a:gd name="T30" fmla="*/ 17 w 60"/>
                <a:gd name="T31" fmla="*/ 19 h 77"/>
                <a:gd name="T32" fmla="*/ 17 w 60"/>
                <a:gd name="T33" fmla="*/ 26 h 77"/>
                <a:gd name="T34" fmla="*/ 0 w 60"/>
                <a:gd name="T35" fmla="*/ 25 h 77"/>
                <a:gd name="T36" fmla="*/ 0 w 60"/>
                <a:gd name="T37" fmla="*/ 25 h 77"/>
                <a:gd name="T38" fmla="*/ 0 w 60"/>
                <a:gd name="T39" fmla="*/ 17 h 77"/>
                <a:gd name="T40" fmla="*/ 2 w 60"/>
                <a:gd name="T41" fmla="*/ 11 h 77"/>
                <a:gd name="T42" fmla="*/ 5 w 60"/>
                <a:gd name="T43" fmla="*/ 7 h 77"/>
                <a:gd name="T44" fmla="*/ 9 w 60"/>
                <a:gd name="T45" fmla="*/ 4 h 77"/>
                <a:gd name="T46" fmla="*/ 13 w 60"/>
                <a:gd name="T47" fmla="*/ 2 h 77"/>
                <a:gd name="T48" fmla="*/ 19 w 60"/>
                <a:gd name="T49" fmla="*/ 0 h 77"/>
                <a:gd name="T50" fmla="*/ 29 w 60"/>
                <a:gd name="T51" fmla="*/ 0 h 77"/>
                <a:gd name="T52" fmla="*/ 29 w 60"/>
                <a:gd name="T53" fmla="*/ 0 h 77"/>
                <a:gd name="T54" fmla="*/ 36 w 60"/>
                <a:gd name="T55" fmla="*/ 0 h 77"/>
                <a:gd name="T56" fmla="*/ 41 w 60"/>
                <a:gd name="T57" fmla="*/ 2 h 77"/>
                <a:gd name="T58" fmla="*/ 47 w 60"/>
                <a:gd name="T59" fmla="*/ 3 h 77"/>
                <a:gd name="T60" fmla="*/ 49 w 60"/>
                <a:gd name="T61" fmla="*/ 6 h 77"/>
                <a:gd name="T62" fmla="*/ 54 w 60"/>
                <a:gd name="T63" fmla="*/ 8 h 77"/>
                <a:gd name="T64" fmla="*/ 55 w 60"/>
                <a:gd name="T65" fmla="*/ 12 h 77"/>
                <a:gd name="T66" fmla="*/ 56 w 60"/>
                <a:gd name="T67" fmla="*/ 17 h 77"/>
                <a:gd name="T68" fmla="*/ 56 w 60"/>
                <a:gd name="T69" fmla="*/ 21 h 77"/>
                <a:gd name="T70" fmla="*/ 56 w 60"/>
                <a:gd name="T71" fmla="*/ 21 h 77"/>
                <a:gd name="T72" fmla="*/ 55 w 60"/>
                <a:gd name="T73" fmla="*/ 29 h 77"/>
                <a:gd name="T74" fmla="*/ 51 w 60"/>
                <a:gd name="T75" fmla="*/ 37 h 77"/>
                <a:gd name="T76" fmla="*/ 45 w 60"/>
                <a:gd name="T77" fmla="*/ 43 h 77"/>
                <a:gd name="T78" fmla="*/ 39 w 60"/>
                <a:gd name="T79" fmla="*/ 50 h 77"/>
                <a:gd name="T80" fmla="*/ 24 w 60"/>
                <a:gd name="T81" fmla="*/ 65 h 77"/>
                <a:gd name="T82" fmla="*/ 43 w 60"/>
                <a:gd name="T83" fmla="*/ 65 h 77"/>
                <a:gd name="T84" fmla="*/ 43 w 60"/>
                <a:gd name="T85" fmla="*/ 65 h 77"/>
                <a:gd name="T86" fmla="*/ 44 w 60"/>
                <a:gd name="T87" fmla="*/ 64 h 77"/>
                <a:gd name="T88" fmla="*/ 44 w 60"/>
                <a:gd name="T89" fmla="*/ 62 h 77"/>
                <a:gd name="T90" fmla="*/ 47 w 60"/>
                <a:gd name="T91" fmla="*/ 53 h 77"/>
                <a:gd name="T92" fmla="*/ 60 w 60"/>
                <a:gd name="T93" fmla="*/ 53 h 77"/>
                <a:gd name="T94" fmla="*/ 60 w 60"/>
                <a:gd name="T95" fmla="*/ 77 h 77"/>
                <a:gd name="T96" fmla="*/ 0 w 60"/>
                <a:gd name="T9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0" h="77">
                  <a:moveTo>
                    <a:pt x="0" y="77"/>
                  </a:moveTo>
                  <a:lnTo>
                    <a:pt x="0" y="65"/>
                  </a:lnTo>
                  <a:lnTo>
                    <a:pt x="17" y="47"/>
                  </a:lnTo>
                  <a:lnTo>
                    <a:pt x="17" y="47"/>
                  </a:lnTo>
                  <a:lnTo>
                    <a:pt x="32" y="33"/>
                  </a:lnTo>
                  <a:lnTo>
                    <a:pt x="35" y="27"/>
                  </a:lnTo>
                  <a:lnTo>
                    <a:pt x="36" y="22"/>
                  </a:lnTo>
                  <a:lnTo>
                    <a:pt x="36" y="22"/>
                  </a:lnTo>
                  <a:lnTo>
                    <a:pt x="36" y="19"/>
                  </a:lnTo>
                  <a:lnTo>
                    <a:pt x="35" y="17"/>
                  </a:lnTo>
                  <a:lnTo>
                    <a:pt x="32" y="15"/>
                  </a:lnTo>
                  <a:lnTo>
                    <a:pt x="27" y="14"/>
                  </a:lnTo>
                  <a:lnTo>
                    <a:pt x="27" y="14"/>
                  </a:lnTo>
                  <a:lnTo>
                    <a:pt x="23" y="14"/>
                  </a:lnTo>
                  <a:lnTo>
                    <a:pt x="20" y="17"/>
                  </a:lnTo>
                  <a:lnTo>
                    <a:pt x="17" y="19"/>
                  </a:lnTo>
                  <a:lnTo>
                    <a:pt x="17" y="26"/>
                  </a:lnTo>
                  <a:lnTo>
                    <a:pt x="0" y="25"/>
                  </a:lnTo>
                  <a:lnTo>
                    <a:pt x="0" y="25"/>
                  </a:lnTo>
                  <a:lnTo>
                    <a:pt x="0" y="17"/>
                  </a:lnTo>
                  <a:lnTo>
                    <a:pt x="2" y="11"/>
                  </a:lnTo>
                  <a:lnTo>
                    <a:pt x="5" y="7"/>
                  </a:lnTo>
                  <a:lnTo>
                    <a:pt x="9" y="4"/>
                  </a:lnTo>
                  <a:lnTo>
                    <a:pt x="13" y="2"/>
                  </a:lnTo>
                  <a:lnTo>
                    <a:pt x="19" y="0"/>
                  </a:lnTo>
                  <a:lnTo>
                    <a:pt x="29" y="0"/>
                  </a:lnTo>
                  <a:lnTo>
                    <a:pt x="29" y="0"/>
                  </a:lnTo>
                  <a:lnTo>
                    <a:pt x="36" y="0"/>
                  </a:lnTo>
                  <a:lnTo>
                    <a:pt x="41" y="2"/>
                  </a:lnTo>
                  <a:lnTo>
                    <a:pt x="47" y="3"/>
                  </a:lnTo>
                  <a:lnTo>
                    <a:pt x="49" y="6"/>
                  </a:lnTo>
                  <a:lnTo>
                    <a:pt x="54" y="8"/>
                  </a:lnTo>
                  <a:lnTo>
                    <a:pt x="55" y="12"/>
                  </a:lnTo>
                  <a:lnTo>
                    <a:pt x="56" y="17"/>
                  </a:lnTo>
                  <a:lnTo>
                    <a:pt x="56" y="21"/>
                  </a:lnTo>
                  <a:lnTo>
                    <a:pt x="56" y="21"/>
                  </a:lnTo>
                  <a:lnTo>
                    <a:pt x="55" y="29"/>
                  </a:lnTo>
                  <a:lnTo>
                    <a:pt x="51" y="37"/>
                  </a:lnTo>
                  <a:lnTo>
                    <a:pt x="45" y="43"/>
                  </a:lnTo>
                  <a:lnTo>
                    <a:pt x="39" y="50"/>
                  </a:lnTo>
                  <a:lnTo>
                    <a:pt x="24" y="65"/>
                  </a:lnTo>
                  <a:lnTo>
                    <a:pt x="43" y="65"/>
                  </a:lnTo>
                  <a:lnTo>
                    <a:pt x="43" y="65"/>
                  </a:lnTo>
                  <a:lnTo>
                    <a:pt x="44" y="64"/>
                  </a:lnTo>
                  <a:lnTo>
                    <a:pt x="44" y="62"/>
                  </a:lnTo>
                  <a:lnTo>
                    <a:pt x="47" y="53"/>
                  </a:lnTo>
                  <a:lnTo>
                    <a:pt x="60" y="53"/>
                  </a:lnTo>
                  <a:lnTo>
                    <a:pt x="60" y="77"/>
                  </a:lnTo>
                  <a:lnTo>
                    <a:pt x="0" y="7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a typeface="+mn-ea"/>
                <a:cs typeface="+mn-cs"/>
              </a:endParaRPr>
            </a:p>
          </p:txBody>
        </p:sp>
        <p:sp>
          <p:nvSpPr>
            <p:cNvPr id="16" name="Freeform 305">
              <a:extLst>
                <a:ext uri="{FF2B5EF4-FFF2-40B4-BE49-F238E27FC236}">
                  <a16:creationId xmlns:a16="http://schemas.microsoft.com/office/drawing/2014/main" id="{E11E2F3F-3813-4D46-9C39-DB942D515785}"/>
                </a:ext>
              </a:extLst>
            </p:cNvPr>
            <p:cNvSpPr>
              <a:spLocks/>
            </p:cNvSpPr>
            <p:nvPr/>
          </p:nvSpPr>
          <p:spPr bwMode="auto">
            <a:xfrm>
              <a:off x="1563688" y="6159778"/>
              <a:ext cx="49214" cy="71438"/>
            </a:xfrm>
            <a:custGeom>
              <a:avLst/>
              <a:gdLst>
                <a:gd name="T0" fmla="*/ 46 w 64"/>
                <a:gd name="T1" fmla="*/ 43 h 88"/>
                <a:gd name="T2" fmla="*/ 60 w 64"/>
                <a:gd name="T3" fmla="*/ 49 h 88"/>
                <a:gd name="T4" fmla="*/ 64 w 64"/>
                <a:gd name="T5" fmla="*/ 63 h 88"/>
                <a:gd name="T6" fmla="*/ 62 w 64"/>
                <a:gd name="T7" fmla="*/ 69 h 88"/>
                <a:gd name="T8" fmla="*/ 58 w 64"/>
                <a:gd name="T9" fmla="*/ 79 h 88"/>
                <a:gd name="T10" fmla="*/ 50 w 64"/>
                <a:gd name="T11" fmla="*/ 84 h 88"/>
                <a:gd name="T12" fmla="*/ 38 w 64"/>
                <a:gd name="T13" fmla="*/ 88 h 88"/>
                <a:gd name="T14" fmla="*/ 31 w 64"/>
                <a:gd name="T15" fmla="*/ 88 h 88"/>
                <a:gd name="T16" fmla="*/ 14 w 64"/>
                <a:gd name="T17" fmla="*/ 84 h 88"/>
                <a:gd name="T18" fmla="*/ 0 w 64"/>
                <a:gd name="T19" fmla="*/ 76 h 88"/>
                <a:gd name="T20" fmla="*/ 11 w 64"/>
                <a:gd name="T21" fmla="*/ 64 h 88"/>
                <a:gd name="T22" fmla="*/ 19 w 64"/>
                <a:gd name="T23" fmla="*/ 71 h 88"/>
                <a:gd name="T24" fmla="*/ 30 w 64"/>
                <a:gd name="T25" fmla="*/ 73 h 88"/>
                <a:gd name="T26" fmla="*/ 35 w 64"/>
                <a:gd name="T27" fmla="*/ 72 h 88"/>
                <a:gd name="T28" fmla="*/ 42 w 64"/>
                <a:gd name="T29" fmla="*/ 67 h 88"/>
                <a:gd name="T30" fmla="*/ 43 w 64"/>
                <a:gd name="T31" fmla="*/ 61 h 88"/>
                <a:gd name="T32" fmla="*/ 41 w 64"/>
                <a:gd name="T33" fmla="*/ 53 h 88"/>
                <a:gd name="T34" fmla="*/ 31 w 64"/>
                <a:gd name="T35" fmla="*/ 51 h 88"/>
                <a:gd name="T36" fmla="*/ 21 w 64"/>
                <a:gd name="T37" fmla="*/ 51 h 88"/>
                <a:gd name="T38" fmla="*/ 27 w 64"/>
                <a:gd name="T39" fmla="*/ 37 h 88"/>
                <a:gd name="T40" fmla="*/ 34 w 64"/>
                <a:gd name="T41" fmla="*/ 36 h 88"/>
                <a:gd name="T42" fmla="*/ 41 w 64"/>
                <a:gd name="T43" fmla="*/ 29 h 88"/>
                <a:gd name="T44" fmla="*/ 42 w 64"/>
                <a:gd name="T45" fmla="*/ 24 h 88"/>
                <a:gd name="T46" fmla="*/ 39 w 64"/>
                <a:gd name="T47" fmla="*/ 17 h 88"/>
                <a:gd name="T48" fmla="*/ 33 w 64"/>
                <a:gd name="T49" fmla="*/ 14 h 88"/>
                <a:gd name="T50" fmla="*/ 27 w 64"/>
                <a:gd name="T51" fmla="*/ 14 h 88"/>
                <a:gd name="T52" fmla="*/ 23 w 64"/>
                <a:gd name="T53" fmla="*/ 20 h 88"/>
                <a:gd name="T54" fmla="*/ 4 w 64"/>
                <a:gd name="T55" fmla="*/ 24 h 88"/>
                <a:gd name="T56" fmla="*/ 4 w 64"/>
                <a:gd name="T57" fmla="*/ 17 h 88"/>
                <a:gd name="T58" fmla="*/ 10 w 64"/>
                <a:gd name="T59" fmla="*/ 8 h 88"/>
                <a:gd name="T60" fmla="*/ 18 w 64"/>
                <a:gd name="T61" fmla="*/ 2 h 88"/>
                <a:gd name="T62" fmla="*/ 34 w 64"/>
                <a:gd name="T63" fmla="*/ 0 h 88"/>
                <a:gd name="T64" fmla="*/ 41 w 64"/>
                <a:gd name="T65" fmla="*/ 1 h 88"/>
                <a:gd name="T66" fmla="*/ 51 w 64"/>
                <a:gd name="T67" fmla="*/ 4 h 88"/>
                <a:gd name="T68" fmla="*/ 58 w 64"/>
                <a:gd name="T69" fmla="*/ 9 h 88"/>
                <a:gd name="T70" fmla="*/ 61 w 64"/>
                <a:gd name="T71" fmla="*/ 17 h 88"/>
                <a:gd name="T72" fmla="*/ 61 w 64"/>
                <a:gd name="T73" fmla="*/ 22 h 88"/>
                <a:gd name="T74" fmla="*/ 57 w 64"/>
                <a:gd name="T75" fmla="*/ 36 h 88"/>
                <a:gd name="T76" fmla="*/ 46 w 64"/>
                <a:gd name="T77" fmla="*/ 4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4" h="88">
                  <a:moveTo>
                    <a:pt x="46" y="43"/>
                  </a:moveTo>
                  <a:lnTo>
                    <a:pt x="46" y="43"/>
                  </a:lnTo>
                  <a:lnTo>
                    <a:pt x="54" y="45"/>
                  </a:lnTo>
                  <a:lnTo>
                    <a:pt x="60" y="49"/>
                  </a:lnTo>
                  <a:lnTo>
                    <a:pt x="62" y="55"/>
                  </a:lnTo>
                  <a:lnTo>
                    <a:pt x="64" y="63"/>
                  </a:lnTo>
                  <a:lnTo>
                    <a:pt x="64" y="63"/>
                  </a:lnTo>
                  <a:lnTo>
                    <a:pt x="62" y="69"/>
                  </a:lnTo>
                  <a:lnTo>
                    <a:pt x="61" y="73"/>
                  </a:lnTo>
                  <a:lnTo>
                    <a:pt x="58" y="79"/>
                  </a:lnTo>
                  <a:lnTo>
                    <a:pt x="54" y="82"/>
                  </a:lnTo>
                  <a:lnTo>
                    <a:pt x="50" y="84"/>
                  </a:lnTo>
                  <a:lnTo>
                    <a:pt x="45" y="87"/>
                  </a:lnTo>
                  <a:lnTo>
                    <a:pt x="38" y="88"/>
                  </a:lnTo>
                  <a:lnTo>
                    <a:pt x="31" y="88"/>
                  </a:lnTo>
                  <a:lnTo>
                    <a:pt x="31" y="88"/>
                  </a:lnTo>
                  <a:lnTo>
                    <a:pt x="22" y="87"/>
                  </a:lnTo>
                  <a:lnTo>
                    <a:pt x="14" y="84"/>
                  </a:lnTo>
                  <a:lnTo>
                    <a:pt x="6" y="82"/>
                  </a:lnTo>
                  <a:lnTo>
                    <a:pt x="0" y="76"/>
                  </a:lnTo>
                  <a:lnTo>
                    <a:pt x="11" y="64"/>
                  </a:lnTo>
                  <a:lnTo>
                    <a:pt x="11" y="64"/>
                  </a:lnTo>
                  <a:lnTo>
                    <a:pt x="15" y="68"/>
                  </a:lnTo>
                  <a:lnTo>
                    <a:pt x="19" y="71"/>
                  </a:lnTo>
                  <a:lnTo>
                    <a:pt x="25" y="72"/>
                  </a:lnTo>
                  <a:lnTo>
                    <a:pt x="30" y="73"/>
                  </a:lnTo>
                  <a:lnTo>
                    <a:pt x="30" y="73"/>
                  </a:lnTo>
                  <a:lnTo>
                    <a:pt x="35" y="72"/>
                  </a:lnTo>
                  <a:lnTo>
                    <a:pt x="39" y="71"/>
                  </a:lnTo>
                  <a:lnTo>
                    <a:pt x="42" y="67"/>
                  </a:lnTo>
                  <a:lnTo>
                    <a:pt x="43" y="61"/>
                  </a:lnTo>
                  <a:lnTo>
                    <a:pt x="43" y="61"/>
                  </a:lnTo>
                  <a:lnTo>
                    <a:pt x="43" y="56"/>
                  </a:lnTo>
                  <a:lnTo>
                    <a:pt x="41" y="53"/>
                  </a:lnTo>
                  <a:lnTo>
                    <a:pt x="37" y="51"/>
                  </a:lnTo>
                  <a:lnTo>
                    <a:pt x="31" y="51"/>
                  </a:lnTo>
                  <a:lnTo>
                    <a:pt x="31" y="51"/>
                  </a:lnTo>
                  <a:lnTo>
                    <a:pt x="21" y="51"/>
                  </a:lnTo>
                  <a:lnTo>
                    <a:pt x="21" y="39"/>
                  </a:lnTo>
                  <a:lnTo>
                    <a:pt x="27" y="37"/>
                  </a:lnTo>
                  <a:lnTo>
                    <a:pt x="27" y="37"/>
                  </a:lnTo>
                  <a:lnTo>
                    <a:pt x="34" y="36"/>
                  </a:lnTo>
                  <a:lnTo>
                    <a:pt x="38" y="33"/>
                  </a:lnTo>
                  <a:lnTo>
                    <a:pt x="41" y="29"/>
                  </a:lnTo>
                  <a:lnTo>
                    <a:pt x="42" y="24"/>
                  </a:lnTo>
                  <a:lnTo>
                    <a:pt x="42" y="24"/>
                  </a:lnTo>
                  <a:lnTo>
                    <a:pt x="42" y="20"/>
                  </a:lnTo>
                  <a:lnTo>
                    <a:pt x="39" y="17"/>
                  </a:lnTo>
                  <a:lnTo>
                    <a:pt x="37" y="14"/>
                  </a:lnTo>
                  <a:lnTo>
                    <a:pt x="33" y="14"/>
                  </a:lnTo>
                  <a:lnTo>
                    <a:pt x="33" y="14"/>
                  </a:lnTo>
                  <a:lnTo>
                    <a:pt x="27" y="14"/>
                  </a:lnTo>
                  <a:lnTo>
                    <a:pt x="25" y="17"/>
                  </a:lnTo>
                  <a:lnTo>
                    <a:pt x="23" y="20"/>
                  </a:lnTo>
                  <a:lnTo>
                    <a:pt x="22" y="26"/>
                  </a:lnTo>
                  <a:lnTo>
                    <a:pt x="4" y="24"/>
                  </a:lnTo>
                  <a:lnTo>
                    <a:pt x="4" y="24"/>
                  </a:lnTo>
                  <a:lnTo>
                    <a:pt x="4" y="17"/>
                  </a:lnTo>
                  <a:lnTo>
                    <a:pt x="7" y="12"/>
                  </a:lnTo>
                  <a:lnTo>
                    <a:pt x="10" y="8"/>
                  </a:lnTo>
                  <a:lnTo>
                    <a:pt x="14" y="5"/>
                  </a:lnTo>
                  <a:lnTo>
                    <a:pt x="18" y="2"/>
                  </a:lnTo>
                  <a:lnTo>
                    <a:pt x="23" y="1"/>
                  </a:lnTo>
                  <a:lnTo>
                    <a:pt x="34" y="0"/>
                  </a:lnTo>
                  <a:lnTo>
                    <a:pt x="34" y="0"/>
                  </a:lnTo>
                  <a:lnTo>
                    <a:pt x="41" y="1"/>
                  </a:lnTo>
                  <a:lnTo>
                    <a:pt x="46" y="2"/>
                  </a:lnTo>
                  <a:lnTo>
                    <a:pt x="51" y="4"/>
                  </a:lnTo>
                  <a:lnTo>
                    <a:pt x="54" y="6"/>
                  </a:lnTo>
                  <a:lnTo>
                    <a:pt x="58" y="9"/>
                  </a:lnTo>
                  <a:lnTo>
                    <a:pt x="60" y="13"/>
                  </a:lnTo>
                  <a:lnTo>
                    <a:pt x="61" y="17"/>
                  </a:lnTo>
                  <a:lnTo>
                    <a:pt x="61" y="22"/>
                  </a:lnTo>
                  <a:lnTo>
                    <a:pt x="61" y="22"/>
                  </a:lnTo>
                  <a:lnTo>
                    <a:pt x="60" y="29"/>
                  </a:lnTo>
                  <a:lnTo>
                    <a:pt x="57" y="36"/>
                  </a:lnTo>
                  <a:lnTo>
                    <a:pt x="51" y="40"/>
                  </a:lnTo>
                  <a:lnTo>
                    <a:pt x="46" y="43"/>
                  </a:lnTo>
                  <a:lnTo>
                    <a:pt x="46" y="4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a typeface="+mn-ea"/>
                <a:cs typeface="+mn-cs"/>
              </a:endParaRPr>
            </a:p>
          </p:txBody>
        </p:sp>
      </p:grpSp>
      <p:grpSp>
        <p:nvGrpSpPr>
          <p:cNvPr id="17" name="Group 16">
            <a:extLst>
              <a:ext uri="{FF2B5EF4-FFF2-40B4-BE49-F238E27FC236}">
                <a16:creationId xmlns:a16="http://schemas.microsoft.com/office/drawing/2014/main" id="{631A2B98-C25A-48E5-A935-031BA724E20F}"/>
              </a:ext>
            </a:extLst>
          </p:cNvPr>
          <p:cNvGrpSpPr>
            <a:grpSpLocks noChangeAspect="1"/>
          </p:cNvGrpSpPr>
          <p:nvPr/>
        </p:nvGrpSpPr>
        <p:grpSpPr>
          <a:xfrm>
            <a:off x="4863614" y="2407375"/>
            <a:ext cx="496844" cy="480405"/>
            <a:chOff x="4951414" y="1663700"/>
            <a:chExt cx="522288" cy="522288"/>
          </a:xfrm>
          <a:solidFill>
            <a:schemeClr val="tx1"/>
          </a:solidFill>
        </p:grpSpPr>
        <p:sp>
          <p:nvSpPr>
            <p:cNvPr id="18" name="Freeform 21">
              <a:extLst>
                <a:ext uri="{FF2B5EF4-FFF2-40B4-BE49-F238E27FC236}">
                  <a16:creationId xmlns:a16="http://schemas.microsoft.com/office/drawing/2014/main" id="{1AC3CC66-271D-4EF8-96A1-004ABBAF2B9A}"/>
                </a:ext>
              </a:extLst>
            </p:cNvPr>
            <p:cNvSpPr>
              <a:spLocks noEditPoints="1"/>
            </p:cNvSpPr>
            <p:nvPr/>
          </p:nvSpPr>
          <p:spPr bwMode="auto">
            <a:xfrm>
              <a:off x="4951414" y="1663700"/>
              <a:ext cx="522288" cy="522288"/>
            </a:xfrm>
            <a:custGeom>
              <a:avLst/>
              <a:gdLst>
                <a:gd name="T0" fmla="*/ 313 w 658"/>
                <a:gd name="T1" fmla="*/ 657 h 658"/>
                <a:gd name="T2" fmla="*/ 263 w 658"/>
                <a:gd name="T3" fmla="*/ 651 h 658"/>
                <a:gd name="T4" fmla="*/ 201 w 658"/>
                <a:gd name="T5" fmla="*/ 631 h 658"/>
                <a:gd name="T6" fmla="*/ 121 w 658"/>
                <a:gd name="T7" fmla="*/ 583 h 658"/>
                <a:gd name="T8" fmla="*/ 56 w 658"/>
                <a:gd name="T9" fmla="*/ 513 h 658"/>
                <a:gd name="T10" fmla="*/ 15 w 658"/>
                <a:gd name="T11" fmla="*/ 427 h 658"/>
                <a:gd name="T12" fmla="*/ 4 w 658"/>
                <a:gd name="T13" fmla="*/ 379 h 658"/>
                <a:gd name="T14" fmla="*/ 0 w 658"/>
                <a:gd name="T15" fmla="*/ 329 h 658"/>
                <a:gd name="T16" fmla="*/ 2 w 658"/>
                <a:gd name="T17" fmla="*/ 295 h 658"/>
                <a:gd name="T18" fmla="*/ 10 w 658"/>
                <a:gd name="T19" fmla="*/ 247 h 658"/>
                <a:gd name="T20" fmla="*/ 40 w 658"/>
                <a:gd name="T21" fmla="*/ 172 h 658"/>
                <a:gd name="T22" fmla="*/ 96 w 658"/>
                <a:gd name="T23" fmla="*/ 96 h 658"/>
                <a:gd name="T24" fmla="*/ 173 w 658"/>
                <a:gd name="T25" fmla="*/ 40 h 658"/>
                <a:gd name="T26" fmla="*/ 247 w 658"/>
                <a:gd name="T27" fmla="*/ 11 h 658"/>
                <a:gd name="T28" fmla="*/ 295 w 658"/>
                <a:gd name="T29" fmla="*/ 1 h 658"/>
                <a:gd name="T30" fmla="*/ 329 w 658"/>
                <a:gd name="T31" fmla="*/ 0 h 658"/>
                <a:gd name="T32" fmla="*/ 379 w 658"/>
                <a:gd name="T33" fmla="*/ 4 h 658"/>
                <a:gd name="T34" fmla="*/ 427 w 658"/>
                <a:gd name="T35" fmla="*/ 15 h 658"/>
                <a:gd name="T36" fmla="*/ 513 w 658"/>
                <a:gd name="T37" fmla="*/ 56 h 658"/>
                <a:gd name="T38" fmla="*/ 583 w 658"/>
                <a:gd name="T39" fmla="*/ 119 h 658"/>
                <a:gd name="T40" fmla="*/ 632 w 658"/>
                <a:gd name="T41" fmla="*/ 201 h 658"/>
                <a:gd name="T42" fmla="*/ 651 w 658"/>
                <a:gd name="T43" fmla="*/ 263 h 658"/>
                <a:gd name="T44" fmla="*/ 658 w 658"/>
                <a:gd name="T45" fmla="*/ 311 h 658"/>
                <a:gd name="T46" fmla="*/ 658 w 658"/>
                <a:gd name="T47" fmla="*/ 346 h 658"/>
                <a:gd name="T48" fmla="*/ 651 w 658"/>
                <a:gd name="T49" fmla="*/ 395 h 658"/>
                <a:gd name="T50" fmla="*/ 632 w 658"/>
                <a:gd name="T51" fmla="*/ 456 h 658"/>
                <a:gd name="T52" fmla="*/ 583 w 658"/>
                <a:gd name="T53" fmla="*/ 538 h 658"/>
                <a:gd name="T54" fmla="*/ 513 w 658"/>
                <a:gd name="T55" fmla="*/ 602 h 658"/>
                <a:gd name="T56" fmla="*/ 427 w 658"/>
                <a:gd name="T57" fmla="*/ 643 h 658"/>
                <a:gd name="T58" fmla="*/ 379 w 658"/>
                <a:gd name="T59" fmla="*/ 654 h 658"/>
                <a:gd name="T60" fmla="*/ 329 w 658"/>
                <a:gd name="T61" fmla="*/ 658 h 658"/>
                <a:gd name="T62" fmla="*/ 329 w 658"/>
                <a:gd name="T63" fmla="*/ 37 h 658"/>
                <a:gd name="T64" fmla="*/ 243 w 658"/>
                <a:gd name="T65" fmla="*/ 51 h 658"/>
                <a:gd name="T66" fmla="*/ 166 w 658"/>
                <a:gd name="T67" fmla="*/ 87 h 658"/>
                <a:gd name="T68" fmla="*/ 105 w 658"/>
                <a:gd name="T69" fmla="*/ 143 h 658"/>
                <a:gd name="T70" fmla="*/ 62 w 658"/>
                <a:gd name="T71" fmla="*/ 216 h 658"/>
                <a:gd name="T72" fmla="*/ 40 w 658"/>
                <a:gd name="T73" fmla="*/ 299 h 658"/>
                <a:gd name="T74" fmla="*/ 40 w 658"/>
                <a:gd name="T75" fmla="*/ 358 h 658"/>
                <a:gd name="T76" fmla="*/ 62 w 658"/>
                <a:gd name="T77" fmla="*/ 442 h 658"/>
                <a:gd name="T78" fmla="*/ 105 w 658"/>
                <a:gd name="T79" fmla="*/ 514 h 658"/>
                <a:gd name="T80" fmla="*/ 166 w 658"/>
                <a:gd name="T81" fmla="*/ 571 h 658"/>
                <a:gd name="T82" fmla="*/ 243 w 658"/>
                <a:gd name="T83" fmla="*/ 607 h 658"/>
                <a:gd name="T84" fmla="*/ 329 w 658"/>
                <a:gd name="T85" fmla="*/ 620 h 658"/>
                <a:gd name="T86" fmla="*/ 388 w 658"/>
                <a:gd name="T87" fmla="*/ 614 h 658"/>
                <a:gd name="T88" fmla="*/ 467 w 658"/>
                <a:gd name="T89" fmla="*/ 585 h 658"/>
                <a:gd name="T90" fmla="*/ 534 w 658"/>
                <a:gd name="T91" fmla="*/ 534 h 658"/>
                <a:gd name="T92" fmla="*/ 585 w 658"/>
                <a:gd name="T93" fmla="*/ 467 h 658"/>
                <a:gd name="T94" fmla="*/ 615 w 658"/>
                <a:gd name="T95" fmla="*/ 388 h 658"/>
                <a:gd name="T96" fmla="*/ 620 w 658"/>
                <a:gd name="T97" fmla="*/ 329 h 658"/>
                <a:gd name="T98" fmla="*/ 607 w 658"/>
                <a:gd name="T99" fmla="*/ 243 h 658"/>
                <a:gd name="T100" fmla="*/ 571 w 658"/>
                <a:gd name="T101" fmla="*/ 166 h 658"/>
                <a:gd name="T102" fmla="*/ 514 w 658"/>
                <a:gd name="T103" fmla="*/ 105 h 658"/>
                <a:gd name="T104" fmla="*/ 443 w 658"/>
                <a:gd name="T105" fmla="*/ 60 h 658"/>
                <a:gd name="T106" fmla="*/ 358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7"/>
                  </a:lnTo>
                  <a:lnTo>
                    <a:pt x="295" y="655"/>
                  </a:lnTo>
                  <a:lnTo>
                    <a:pt x="279" y="654"/>
                  </a:lnTo>
                  <a:lnTo>
                    <a:pt x="263" y="651"/>
                  </a:lnTo>
                  <a:lnTo>
                    <a:pt x="247" y="647"/>
                  </a:lnTo>
                  <a:lnTo>
                    <a:pt x="232" y="643"/>
                  </a:lnTo>
                  <a:lnTo>
                    <a:pt x="201" y="631"/>
                  </a:lnTo>
                  <a:lnTo>
                    <a:pt x="173" y="618"/>
                  </a:lnTo>
                  <a:lnTo>
                    <a:pt x="145" y="602"/>
                  </a:lnTo>
                  <a:lnTo>
                    <a:pt x="121" y="583"/>
                  </a:lnTo>
                  <a:lnTo>
                    <a:pt x="96" y="561"/>
                  </a:lnTo>
                  <a:lnTo>
                    <a:pt x="75" y="538"/>
                  </a:lnTo>
                  <a:lnTo>
                    <a:pt x="56" y="513"/>
                  </a:lnTo>
                  <a:lnTo>
                    <a:pt x="40" y="486"/>
                  </a:lnTo>
                  <a:lnTo>
                    <a:pt x="27" y="456"/>
                  </a:lnTo>
                  <a:lnTo>
                    <a:pt x="15" y="427"/>
                  </a:lnTo>
                  <a:lnTo>
                    <a:pt x="10" y="411"/>
                  </a:lnTo>
                  <a:lnTo>
                    <a:pt x="6" y="395"/>
                  </a:lnTo>
                  <a:lnTo>
                    <a:pt x="4" y="379"/>
                  </a:lnTo>
                  <a:lnTo>
                    <a:pt x="2" y="362"/>
                  </a:lnTo>
                  <a:lnTo>
                    <a:pt x="1" y="346"/>
                  </a:lnTo>
                  <a:lnTo>
                    <a:pt x="0" y="329"/>
                  </a:lnTo>
                  <a:lnTo>
                    <a:pt x="0" y="329"/>
                  </a:lnTo>
                  <a:lnTo>
                    <a:pt x="1" y="311"/>
                  </a:lnTo>
                  <a:lnTo>
                    <a:pt x="2" y="295"/>
                  </a:lnTo>
                  <a:lnTo>
                    <a:pt x="4" y="279"/>
                  </a:lnTo>
                  <a:lnTo>
                    <a:pt x="6" y="263"/>
                  </a:lnTo>
                  <a:lnTo>
                    <a:pt x="10" y="247"/>
                  </a:lnTo>
                  <a:lnTo>
                    <a:pt x="15" y="231"/>
                  </a:lnTo>
                  <a:lnTo>
                    <a:pt x="27" y="201"/>
                  </a:lnTo>
                  <a:lnTo>
                    <a:pt x="40" y="172"/>
                  </a:lnTo>
                  <a:lnTo>
                    <a:pt x="56" y="145"/>
                  </a:lnTo>
                  <a:lnTo>
                    <a:pt x="75" y="119"/>
                  </a:lnTo>
                  <a:lnTo>
                    <a:pt x="96" y="96"/>
                  </a:lnTo>
                  <a:lnTo>
                    <a:pt x="121" y="75"/>
                  </a:lnTo>
                  <a:lnTo>
                    <a:pt x="145" y="56"/>
                  </a:lnTo>
                  <a:lnTo>
                    <a:pt x="173" y="40"/>
                  </a:lnTo>
                  <a:lnTo>
                    <a:pt x="201" y="25"/>
                  </a:lnTo>
                  <a:lnTo>
                    <a:pt x="232" y="15"/>
                  </a:lnTo>
                  <a:lnTo>
                    <a:pt x="247" y="11"/>
                  </a:lnTo>
                  <a:lnTo>
                    <a:pt x="263" y="6"/>
                  </a:lnTo>
                  <a:lnTo>
                    <a:pt x="279" y="4"/>
                  </a:lnTo>
                  <a:lnTo>
                    <a:pt x="295" y="1"/>
                  </a:lnTo>
                  <a:lnTo>
                    <a:pt x="313" y="1"/>
                  </a:lnTo>
                  <a:lnTo>
                    <a:pt x="329" y="0"/>
                  </a:lnTo>
                  <a:lnTo>
                    <a:pt x="329" y="0"/>
                  </a:lnTo>
                  <a:lnTo>
                    <a:pt x="346" y="1"/>
                  </a:lnTo>
                  <a:lnTo>
                    <a:pt x="362" y="1"/>
                  </a:lnTo>
                  <a:lnTo>
                    <a:pt x="379" y="4"/>
                  </a:lnTo>
                  <a:lnTo>
                    <a:pt x="396" y="6"/>
                  </a:lnTo>
                  <a:lnTo>
                    <a:pt x="411" y="11"/>
                  </a:lnTo>
                  <a:lnTo>
                    <a:pt x="427" y="15"/>
                  </a:lnTo>
                  <a:lnTo>
                    <a:pt x="456" y="25"/>
                  </a:lnTo>
                  <a:lnTo>
                    <a:pt x="486" y="40"/>
                  </a:lnTo>
                  <a:lnTo>
                    <a:pt x="513" y="56"/>
                  </a:lnTo>
                  <a:lnTo>
                    <a:pt x="538" y="75"/>
                  </a:lnTo>
                  <a:lnTo>
                    <a:pt x="561" y="96"/>
                  </a:lnTo>
                  <a:lnTo>
                    <a:pt x="583" y="119"/>
                  </a:lnTo>
                  <a:lnTo>
                    <a:pt x="601" y="145"/>
                  </a:lnTo>
                  <a:lnTo>
                    <a:pt x="618" y="172"/>
                  </a:lnTo>
                  <a:lnTo>
                    <a:pt x="632" y="201"/>
                  </a:lnTo>
                  <a:lnTo>
                    <a:pt x="643" y="231"/>
                  </a:lnTo>
                  <a:lnTo>
                    <a:pt x="647" y="247"/>
                  </a:lnTo>
                  <a:lnTo>
                    <a:pt x="651" y="263"/>
                  </a:lnTo>
                  <a:lnTo>
                    <a:pt x="654" y="279"/>
                  </a:lnTo>
                  <a:lnTo>
                    <a:pt x="657" y="295"/>
                  </a:lnTo>
                  <a:lnTo>
                    <a:pt x="658" y="311"/>
                  </a:lnTo>
                  <a:lnTo>
                    <a:pt x="658" y="329"/>
                  </a:lnTo>
                  <a:lnTo>
                    <a:pt x="658" y="329"/>
                  </a:lnTo>
                  <a:lnTo>
                    <a:pt x="658" y="346"/>
                  </a:lnTo>
                  <a:lnTo>
                    <a:pt x="657" y="362"/>
                  </a:lnTo>
                  <a:lnTo>
                    <a:pt x="654" y="379"/>
                  </a:lnTo>
                  <a:lnTo>
                    <a:pt x="651" y="395"/>
                  </a:lnTo>
                  <a:lnTo>
                    <a:pt x="647" y="411"/>
                  </a:lnTo>
                  <a:lnTo>
                    <a:pt x="643" y="427"/>
                  </a:lnTo>
                  <a:lnTo>
                    <a:pt x="632" y="456"/>
                  </a:lnTo>
                  <a:lnTo>
                    <a:pt x="618" y="486"/>
                  </a:lnTo>
                  <a:lnTo>
                    <a:pt x="601" y="513"/>
                  </a:lnTo>
                  <a:lnTo>
                    <a:pt x="583" y="538"/>
                  </a:lnTo>
                  <a:lnTo>
                    <a:pt x="561" y="561"/>
                  </a:lnTo>
                  <a:lnTo>
                    <a:pt x="538" y="583"/>
                  </a:lnTo>
                  <a:lnTo>
                    <a:pt x="513" y="602"/>
                  </a:lnTo>
                  <a:lnTo>
                    <a:pt x="486" y="618"/>
                  </a:lnTo>
                  <a:lnTo>
                    <a:pt x="456" y="631"/>
                  </a:lnTo>
                  <a:lnTo>
                    <a:pt x="427" y="643"/>
                  </a:lnTo>
                  <a:lnTo>
                    <a:pt x="411" y="647"/>
                  </a:lnTo>
                  <a:lnTo>
                    <a:pt x="396" y="651"/>
                  </a:lnTo>
                  <a:lnTo>
                    <a:pt x="379" y="654"/>
                  </a:lnTo>
                  <a:lnTo>
                    <a:pt x="362" y="655"/>
                  </a:lnTo>
                  <a:lnTo>
                    <a:pt x="346" y="657"/>
                  </a:lnTo>
                  <a:lnTo>
                    <a:pt x="329" y="658"/>
                  </a:lnTo>
                  <a:lnTo>
                    <a:pt x="329" y="658"/>
                  </a:lnTo>
                  <a:close/>
                  <a:moveTo>
                    <a:pt x="329" y="37"/>
                  </a:moveTo>
                  <a:lnTo>
                    <a:pt x="329" y="37"/>
                  </a:lnTo>
                  <a:lnTo>
                    <a:pt x="299" y="39"/>
                  </a:lnTo>
                  <a:lnTo>
                    <a:pt x="271" y="44"/>
                  </a:lnTo>
                  <a:lnTo>
                    <a:pt x="243" y="51"/>
                  </a:lnTo>
                  <a:lnTo>
                    <a:pt x="216" y="60"/>
                  </a:lnTo>
                  <a:lnTo>
                    <a:pt x="190" y="72"/>
                  </a:lnTo>
                  <a:lnTo>
                    <a:pt x="166" y="87"/>
                  </a:lnTo>
                  <a:lnTo>
                    <a:pt x="143" y="105"/>
                  </a:lnTo>
                  <a:lnTo>
                    <a:pt x="123" y="123"/>
                  </a:lnTo>
                  <a:lnTo>
                    <a:pt x="105" y="143"/>
                  </a:lnTo>
                  <a:lnTo>
                    <a:pt x="88" y="166"/>
                  </a:lnTo>
                  <a:lnTo>
                    <a:pt x="74" y="191"/>
                  </a:lnTo>
                  <a:lnTo>
                    <a:pt x="62" y="216"/>
                  </a:lnTo>
                  <a:lnTo>
                    <a:pt x="51" y="243"/>
                  </a:lnTo>
                  <a:lnTo>
                    <a:pt x="44" y="270"/>
                  </a:lnTo>
                  <a:lnTo>
                    <a:pt x="40" y="299"/>
                  </a:lnTo>
                  <a:lnTo>
                    <a:pt x="37" y="329"/>
                  </a:lnTo>
                  <a:lnTo>
                    <a:pt x="37" y="329"/>
                  </a:lnTo>
                  <a:lnTo>
                    <a:pt x="40" y="358"/>
                  </a:lnTo>
                  <a:lnTo>
                    <a:pt x="44" y="388"/>
                  </a:lnTo>
                  <a:lnTo>
                    <a:pt x="51" y="415"/>
                  </a:lnTo>
                  <a:lnTo>
                    <a:pt x="62" y="442"/>
                  </a:lnTo>
                  <a:lnTo>
                    <a:pt x="74" y="467"/>
                  </a:lnTo>
                  <a:lnTo>
                    <a:pt x="88" y="491"/>
                  </a:lnTo>
                  <a:lnTo>
                    <a:pt x="105" y="514"/>
                  </a:lnTo>
                  <a:lnTo>
                    <a:pt x="123" y="534"/>
                  </a:lnTo>
                  <a:lnTo>
                    <a:pt x="143" y="553"/>
                  </a:lnTo>
                  <a:lnTo>
                    <a:pt x="166" y="571"/>
                  </a:lnTo>
                  <a:lnTo>
                    <a:pt x="190" y="585"/>
                  </a:lnTo>
                  <a:lnTo>
                    <a:pt x="216" y="597"/>
                  </a:lnTo>
                  <a:lnTo>
                    <a:pt x="243" y="607"/>
                  </a:lnTo>
                  <a:lnTo>
                    <a:pt x="271" y="614"/>
                  </a:lnTo>
                  <a:lnTo>
                    <a:pt x="299" y="619"/>
                  </a:lnTo>
                  <a:lnTo>
                    <a:pt x="329" y="620"/>
                  </a:lnTo>
                  <a:lnTo>
                    <a:pt x="329" y="620"/>
                  </a:lnTo>
                  <a:lnTo>
                    <a:pt x="358" y="619"/>
                  </a:lnTo>
                  <a:lnTo>
                    <a:pt x="388" y="614"/>
                  </a:lnTo>
                  <a:lnTo>
                    <a:pt x="416" y="607"/>
                  </a:lnTo>
                  <a:lnTo>
                    <a:pt x="443" y="597"/>
                  </a:lnTo>
                  <a:lnTo>
                    <a:pt x="467" y="585"/>
                  </a:lnTo>
                  <a:lnTo>
                    <a:pt x="491" y="571"/>
                  </a:lnTo>
                  <a:lnTo>
                    <a:pt x="514" y="553"/>
                  </a:lnTo>
                  <a:lnTo>
                    <a:pt x="534" y="534"/>
                  </a:lnTo>
                  <a:lnTo>
                    <a:pt x="553" y="514"/>
                  </a:lnTo>
                  <a:lnTo>
                    <a:pt x="571" y="491"/>
                  </a:lnTo>
                  <a:lnTo>
                    <a:pt x="585" y="467"/>
                  </a:lnTo>
                  <a:lnTo>
                    <a:pt x="597" y="442"/>
                  </a:lnTo>
                  <a:lnTo>
                    <a:pt x="607" y="415"/>
                  </a:lnTo>
                  <a:lnTo>
                    <a:pt x="615" y="388"/>
                  </a:lnTo>
                  <a:lnTo>
                    <a:pt x="619" y="358"/>
                  </a:lnTo>
                  <a:lnTo>
                    <a:pt x="620" y="329"/>
                  </a:lnTo>
                  <a:lnTo>
                    <a:pt x="620" y="329"/>
                  </a:lnTo>
                  <a:lnTo>
                    <a:pt x="619" y="299"/>
                  </a:lnTo>
                  <a:lnTo>
                    <a:pt x="615" y="270"/>
                  </a:lnTo>
                  <a:lnTo>
                    <a:pt x="607" y="243"/>
                  </a:lnTo>
                  <a:lnTo>
                    <a:pt x="597" y="216"/>
                  </a:lnTo>
                  <a:lnTo>
                    <a:pt x="585" y="191"/>
                  </a:lnTo>
                  <a:lnTo>
                    <a:pt x="571" y="166"/>
                  </a:lnTo>
                  <a:lnTo>
                    <a:pt x="553" y="143"/>
                  </a:lnTo>
                  <a:lnTo>
                    <a:pt x="534" y="123"/>
                  </a:lnTo>
                  <a:lnTo>
                    <a:pt x="514" y="105"/>
                  </a:lnTo>
                  <a:lnTo>
                    <a:pt x="491" y="87"/>
                  </a:lnTo>
                  <a:lnTo>
                    <a:pt x="467" y="72"/>
                  </a:lnTo>
                  <a:lnTo>
                    <a:pt x="443" y="60"/>
                  </a:lnTo>
                  <a:lnTo>
                    <a:pt x="416" y="51"/>
                  </a:lnTo>
                  <a:lnTo>
                    <a:pt x="388" y="44"/>
                  </a:lnTo>
                  <a:lnTo>
                    <a:pt x="358" y="39"/>
                  </a:lnTo>
                  <a:lnTo>
                    <a:pt x="329" y="37"/>
                  </a:lnTo>
                  <a:lnTo>
                    <a:pt x="329"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a typeface="+mn-ea"/>
                <a:cs typeface="+mn-cs"/>
              </a:endParaRPr>
            </a:p>
          </p:txBody>
        </p:sp>
        <p:sp>
          <p:nvSpPr>
            <p:cNvPr id="19" name="Freeform 179">
              <a:extLst>
                <a:ext uri="{FF2B5EF4-FFF2-40B4-BE49-F238E27FC236}">
                  <a16:creationId xmlns:a16="http://schemas.microsoft.com/office/drawing/2014/main" id="{091E05C3-DF1A-4D95-80C8-020B53462156}"/>
                </a:ext>
              </a:extLst>
            </p:cNvPr>
            <p:cNvSpPr>
              <a:spLocks/>
            </p:cNvSpPr>
            <p:nvPr/>
          </p:nvSpPr>
          <p:spPr bwMode="auto">
            <a:xfrm>
              <a:off x="5172076" y="1911350"/>
              <a:ext cx="61913" cy="100013"/>
            </a:xfrm>
            <a:custGeom>
              <a:avLst/>
              <a:gdLst>
                <a:gd name="T0" fmla="*/ 72 w 78"/>
                <a:gd name="T1" fmla="*/ 0 h 127"/>
                <a:gd name="T2" fmla="*/ 4 w 78"/>
                <a:gd name="T3" fmla="*/ 0 h 127"/>
                <a:gd name="T4" fmla="*/ 4 w 78"/>
                <a:gd name="T5" fmla="*/ 0 h 127"/>
                <a:gd name="T6" fmla="*/ 1 w 78"/>
                <a:gd name="T7" fmla="*/ 2 h 127"/>
                <a:gd name="T8" fmla="*/ 0 w 78"/>
                <a:gd name="T9" fmla="*/ 6 h 127"/>
                <a:gd name="T10" fmla="*/ 0 w 78"/>
                <a:gd name="T11" fmla="*/ 123 h 127"/>
                <a:gd name="T12" fmla="*/ 0 w 78"/>
                <a:gd name="T13" fmla="*/ 123 h 127"/>
                <a:gd name="T14" fmla="*/ 1 w 78"/>
                <a:gd name="T15" fmla="*/ 125 h 127"/>
                <a:gd name="T16" fmla="*/ 4 w 78"/>
                <a:gd name="T17" fmla="*/ 127 h 127"/>
                <a:gd name="T18" fmla="*/ 72 w 78"/>
                <a:gd name="T19" fmla="*/ 127 h 127"/>
                <a:gd name="T20" fmla="*/ 72 w 78"/>
                <a:gd name="T21" fmla="*/ 127 h 127"/>
                <a:gd name="T22" fmla="*/ 76 w 78"/>
                <a:gd name="T23" fmla="*/ 125 h 127"/>
                <a:gd name="T24" fmla="*/ 78 w 78"/>
                <a:gd name="T25" fmla="*/ 123 h 127"/>
                <a:gd name="T26" fmla="*/ 78 w 78"/>
                <a:gd name="T27" fmla="*/ 6 h 127"/>
                <a:gd name="T28" fmla="*/ 78 w 78"/>
                <a:gd name="T29" fmla="*/ 6 h 127"/>
                <a:gd name="T30" fmla="*/ 76 w 78"/>
                <a:gd name="T31" fmla="*/ 2 h 127"/>
                <a:gd name="T32" fmla="*/ 72 w 78"/>
                <a:gd name="T33" fmla="*/ 0 h 127"/>
                <a:gd name="T34" fmla="*/ 72 w 78"/>
                <a:gd name="T35"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27">
                  <a:moveTo>
                    <a:pt x="72" y="0"/>
                  </a:moveTo>
                  <a:lnTo>
                    <a:pt x="4" y="0"/>
                  </a:lnTo>
                  <a:lnTo>
                    <a:pt x="4" y="0"/>
                  </a:lnTo>
                  <a:lnTo>
                    <a:pt x="1" y="2"/>
                  </a:lnTo>
                  <a:lnTo>
                    <a:pt x="0" y="6"/>
                  </a:lnTo>
                  <a:lnTo>
                    <a:pt x="0" y="123"/>
                  </a:lnTo>
                  <a:lnTo>
                    <a:pt x="0" y="123"/>
                  </a:lnTo>
                  <a:lnTo>
                    <a:pt x="1" y="125"/>
                  </a:lnTo>
                  <a:lnTo>
                    <a:pt x="4" y="127"/>
                  </a:lnTo>
                  <a:lnTo>
                    <a:pt x="72" y="127"/>
                  </a:lnTo>
                  <a:lnTo>
                    <a:pt x="72" y="127"/>
                  </a:lnTo>
                  <a:lnTo>
                    <a:pt x="76" y="125"/>
                  </a:lnTo>
                  <a:lnTo>
                    <a:pt x="78" y="123"/>
                  </a:lnTo>
                  <a:lnTo>
                    <a:pt x="78" y="6"/>
                  </a:lnTo>
                  <a:lnTo>
                    <a:pt x="78" y="6"/>
                  </a:lnTo>
                  <a:lnTo>
                    <a:pt x="76" y="2"/>
                  </a:lnTo>
                  <a:lnTo>
                    <a:pt x="72" y="0"/>
                  </a:lnTo>
                  <a:lnTo>
                    <a:pt x="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a typeface="+mn-ea"/>
                <a:cs typeface="+mn-cs"/>
              </a:endParaRPr>
            </a:p>
          </p:txBody>
        </p:sp>
        <p:sp>
          <p:nvSpPr>
            <p:cNvPr id="20" name="Freeform 180">
              <a:extLst>
                <a:ext uri="{FF2B5EF4-FFF2-40B4-BE49-F238E27FC236}">
                  <a16:creationId xmlns:a16="http://schemas.microsoft.com/office/drawing/2014/main" id="{8D483CB7-EEA5-4938-ACA0-FBF26C4E97EA}"/>
                </a:ext>
              </a:extLst>
            </p:cNvPr>
            <p:cNvSpPr>
              <a:spLocks/>
            </p:cNvSpPr>
            <p:nvPr/>
          </p:nvSpPr>
          <p:spPr bwMode="auto">
            <a:xfrm>
              <a:off x="5094288" y="1957388"/>
              <a:ext cx="61913" cy="53975"/>
            </a:xfrm>
            <a:custGeom>
              <a:avLst/>
              <a:gdLst>
                <a:gd name="T0" fmla="*/ 74 w 78"/>
                <a:gd name="T1" fmla="*/ 0 h 68"/>
                <a:gd name="T2" fmla="*/ 5 w 78"/>
                <a:gd name="T3" fmla="*/ 0 h 68"/>
                <a:gd name="T4" fmla="*/ 5 w 78"/>
                <a:gd name="T5" fmla="*/ 0 h 68"/>
                <a:gd name="T6" fmla="*/ 1 w 78"/>
                <a:gd name="T7" fmla="*/ 2 h 68"/>
                <a:gd name="T8" fmla="*/ 0 w 78"/>
                <a:gd name="T9" fmla="*/ 5 h 68"/>
                <a:gd name="T10" fmla="*/ 0 w 78"/>
                <a:gd name="T11" fmla="*/ 64 h 68"/>
                <a:gd name="T12" fmla="*/ 0 w 78"/>
                <a:gd name="T13" fmla="*/ 64 h 68"/>
                <a:gd name="T14" fmla="*/ 1 w 78"/>
                <a:gd name="T15" fmla="*/ 66 h 68"/>
                <a:gd name="T16" fmla="*/ 5 w 78"/>
                <a:gd name="T17" fmla="*/ 68 h 68"/>
                <a:gd name="T18" fmla="*/ 74 w 78"/>
                <a:gd name="T19" fmla="*/ 68 h 68"/>
                <a:gd name="T20" fmla="*/ 74 w 78"/>
                <a:gd name="T21" fmla="*/ 68 h 68"/>
                <a:gd name="T22" fmla="*/ 76 w 78"/>
                <a:gd name="T23" fmla="*/ 66 h 68"/>
                <a:gd name="T24" fmla="*/ 78 w 78"/>
                <a:gd name="T25" fmla="*/ 64 h 68"/>
                <a:gd name="T26" fmla="*/ 78 w 78"/>
                <a:gd name="T27" fmla="*/ 5 h 68"/>
                <a:gd name="T28" fmla="*/ 78 w 78"/>
                <a:gd name="T29" fmla="*/ 5 h 68"/>
                <a:gd name="T30" fmla="*/ 76 w 78"/>
                <a:gd name="T31" fmla="*/ 2 h 68"/>
                <a:gd name="T32" fmla="*/ 74 w 78"/>
                <a:gd name="T33" fmla="*/ 0 h 68"/>
                <a:gd name="T34" fmla="*/ 74 w 78"/>
                <a:gd name="T35"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68">
                  <a:moveTo>
                    <a:pt x="74" y="0"/>
                  </a:moveTo>
                  <a:lnTo>
                    <a:pt x="5" y="0"/>
                  </a:lnTo>
                  <a:lnTo>
                    <a:pt x="5" y="0"/>
                  </a:lnTo>
                  <a:lnTo>
                    <a:pt x="1" y="2"/>
                  </a:lnTo>
                  <a:lnTo>
                    <a:pt x="0" y="5"/>
                  </a:lnTo>
                  <a:lnTo>
                    <a:pt x="0" y="64"/>
                  </a:lnTo>
                  <a:lnTo>
                    <a:pt x="0" y="64"/>
                  </a:lnTo>
                  <a:lnTo>
                    <a:pt x="1" y="66"/>
                  </a:lnTo>
                  <a:lnTo>
                    <a:pt x="5" y="68"/>
                  </a:lnTo>
                  <a:lnTo>
                    <a:pt x="74" y="68"/>
                  </a:lnTo>
                  <a:lnTo>
                    <a:pt x="74" y="68"/>
                  </a:lnTo>
                  <a:lnTo>
                    <a:pt x="76" y="66"/>
                  </a:lnTo>
                  <a:lnTo>
                    <a:pt x="78" y="64"/>
                  </a:lnTo>
                  <a:lnTo>
                    <a:pt x="78" y="5"/>
                  </a:lnTo>
                  <a:lnTo>
                    <a:pt x="78" y="5"/>
                  </a:lnTo>
                  <a:lnTo>
                    <a:pt x="76" y="2"/>
                  </a:lnTo>
                  <a:lnTo>
                    <a:pt x="74" y="0"/>
                  </a:lnTo>
                  <a:lnTo>
                    <a:pt x="7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a typeface="+mn-ea"/>
                <a:cs typeface="+mn-cs"/>
              </a:endParaRPr>
            </a:p>
          </p:txBody>
        </p:sp>
        <p:sp>
          <p:nvSpPr>
            <p:cNvPr id="21" name="Freeform 181">
              <a:extLst>
                <a:ext uri="{FF2B5EF4-FFF2-40B4-BE49-F238E27FC236}">
                  <a16:creationId xmlns:a16="http://schemas.microsoft.com/office/drawing/2014/main" id="{B8B646E4-5753-4FBD-B339-6BF59542F4FD}"/>
                </a:ext>
              </a:extLst>
            </p:cNvPr>
            <p:cNvSpPr>
              <a:spLocks/>
            </p:cNvSpPr>
            <p:nvPr/>
          </p:nvSpPr>
          <p:spPr bwMode="auto">
            <a:xfrm>
              <a:off x="5227638" y="1795463"/>
              <a:ext cx="106363" cy="215900"/>
            </a:xfrm>
            <a:custGeom>
              <a:avLst/>
              <a:gdLst>
                <a:gd name="T0" fmla="*/ 135 w 136"/>
                <a:gd name="T1" fmla="*/ 89 h 272"/>
                <a:gd name="T2" fmla="*/ 71 w 136"/>
                <a:gd name="T3" fmla="*/ 2 h 272"/>
                <a:gd name="T4" fmla="*/ 71 w 136"/>
                <a:gd name="T5" fmla="*/ 2 h 272"/>
                <a:gd name="T6" fmla="*/ 70 w 136"/>
                <a:gd name="T7" fmla="*/ 0 h 272"/>
                <a:gd name="T8" fmla="*/ 67 w 136"/>
                <a:gd name="T9" fmla="*/ 0 h 272"/>
                <a:gd name="T10" fmla="*/ 66 w 136"/>
                <a:gd name="T11" fmla="*/ 0 h 272"/>
                <a:gd name="T12" fmla="*/ 63 w 136"/>
                <a:gd name="T13" fmla="*/ 2 h 272"/>
                <a:gd name="T14" fmla="*/ 0 w 136"/>
                <a:gd name="T15" fmla="*/ 89 h 272"/>
                <a:gd name="T16" fmla="*/ 0 w 136"/>
                <a:gd name="T17" fmla="*/ 89 h 272"/>
                <a:gd name="T18" fmla="*/ 0 w 136"/>
                <a:gd name="T19" fmla="*/ 92 h 272"/>
                <a:gd name="T20" fmla="*/ 0 w 136"/>
                <a:gd name="T21" fmla="*/ 94 h 272"/>
                <a:gd name="T22" fmla="*/ 0 w 136"/>
                <a:gd name="T23" fmla="*/ 94 h 272"/>
                <a:gd name="T24" fmla="*/ 2 w 136"/>
                <a:gd name="T25" fmla="*/ 96 h 272"/>
                <a:gd name="T26" fmla="*/ 4 w 136"/>
                <a:gd name="T27" fmla="*/ 97 h 272"/>
                <a:gd name="T28" fmla="*/ 28 w 136"/>
                <a:gd name="T29" fmla="*/ 97 h 272"/>
                <a:gd name="T30" fmla="*/ 28 w 136"/>
                <a:gd name="T31" fmla="*/ 268 h 272"/>
                <a:gd name="T32" fmla="*/ 28 w 136"/>
                <a:gd name="T33" fmla="*/ 268 h 272"/>
                <a:gd name="T34" fmla="*/ 30 w 136"/>
                <a:gd name="T35" fmla="*/ 270 h 272"/>
                <a:gd name="T36" fmla="*/ 34 w 136"/>
                <a:gd name="T37" fmla="*/ 272 h 272"/>
                <a:gd name="T38" fmla="*/ 102 w 136"/>
                <a:gd name="T39" fmla="*/ 272 h 272"/>
                <a:gd name="T40" fmla="*/ 102 w 136"/>
                <a:gd name="T41" fmla="*/ 272 h 272"/>
                <a:gd name="T42" fmla="*/ 105 w 136"/>
                <a:gd name="T43" fmla="*/ 270 h 272"/>
                <a:gd name="T44" fmla="*/ 106 w 136"/>
                <a:gd name="T45" fmla="*/ 268 h 272"/>
                <a:gd name="T46" fmla="*/ 106 w 136"/>
                <a:gd name="T47" fmla="*/ 97 h 272"/>
                <a:gd name="T48" fmla="*/ 131 w 136"/>
                <a:gd name="T49" fmla="*/ 97 h 272"/>
                <a:gd name="T50" fmla="*/ 131 w 136"/>
                <a:gd name="T51" fmla="*/ 97 h 272"/>
                <a:gd name="T52" fmla="*/ 133 w 136"/>
                <a:gd name="T53" fmla="*/ 96 h 272"/>
                <a:gd name="T54" fmla="*/ 136 w 136"/>
                <a:gd name="T55" fmla="*/ 94 h 272"/>
                <a:gd name="T56" fmla="*/ 136 w 136"/>
                <a:gd name="T57" fmla="*/ 94 h 272"/>
                <a:gd name="T58" fmla="*/ 136 w 136"/>
                <a:gd name="T59" fmla="*/ 92 h 272"/>
                <a:gd name="T60" fmla="*/ 135 w 136"/>
                <a:gd name="T61" fmla="*/ 89 h 272"/>
                <a:gd name="T62" fmla="*/ 135 w 136"/>
                <a:gd name="T63" fmla="*/ 89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6" h="272">
                  <a:moveTo>
                    <a:pt x="135" y="89"/>
                  </a:moveTo>
                  <a:lnTo>
                    <a:pt x="71" y="2"/>
                  </a:lnTo>
                  <a:lnTo>
                    <a:pt x="71" y="2"/>
                  </a:lnTo>
                  <a:lnTo>
                    <a:pt x="70" y="0"/>
                  </a:lnTo>
                  <a:lnTo>
                    <a:pt x="67" y="0"/>
                  </a:lnTo>
                  <a:lnTo>
                    <a:pt x="66" y="0"/>
                  </a:lnTo>
                  <a:lnTo>
                    <a:pt x="63" y="2"/>
                  </a:lnTo>
                  <a:lnTo>
                    <a:pt x="0" y="89"/>
                  </a:lnTo>
                  <a:lnTo>
                    <a:pt x="0" y="89"/>
                  </a:lnTo>
                  <a:lnTo>
                    <a:pt x="0" y="92"/>
                  </a:lnTo>
                  <a:lnTo>
                    <a:pt x="0" y="94"/>
                  </a:lnTo>
                  <a:lnTo>
                    <a:pt x="0" y="94"/>
                  </a:lnTo>
                  <a:lnTo>
                    <a:pt x="2" y="96"/>
                  </a:lnTo>
                  <a:lnTo>
                    <a:pt x="4" y="97"/>
                  </a:lnTo>
                  <a:lnTo>
                    <a:pt x="28" y="97"/>
                  </a:lnTo>
                  <a:lnTo>
                    <a:pt x="28" y="268"/>
                  </a:lnTo>
                  <a:lnTo>
                    <a:pt x="28" y="268"/>
                  </a:lnTo>
                  <a:lnTo>
                    <a:pt x="30" y="270"/>
                  </a:lnTo>
                  <a:lnTo>
                    <a:pt x="34" y="272"/>
                  </a:lnTo>
                  <a:lnTo>
                    <a:pt x="102" y="272"/>
                  </a:lnTo>
                  <a:lnTo>
                    <a:pt x="102" y="272"/>
                  </a:lnTo>
                  <a:lnTo>
                    <a:pt x="105" y="270"/>
                  </a:lnTo>
                  <a:lnTo>
                    <a:pt x="106" y="268"/>
                  </a:lnTo>
                  <a:lnTo>
                    <a:pt x="106" y="97"/>
                  </a:lnTo>
                  <a:lnTo>
                    <a:pt x="131" y="97"/>
                  </a:lnTo>
                  <a:lnTo>
                    <a:pt x="131" y="97"/>
                  </a:lnTo>
                  <a:lnTo>
                    <a:pt x="133" y="96"/>
                  </a:lnTo>
                  <a:lnTo>
                    <a:pt x="136" y="94"/>
                  </a:lnTo>
                  <a:lnTo>
                    <a:pt x="136" y="94"/>
                  </a:lnTo>
                  <a:lnTo>
                    <a:pt x="136" y="92"/>
                  </a:lnTo>
                  <a:lnTo>
                    <a:pt x="135" y="89"/>
                  </a:lnTo>
                  <a:lnTo>
                    <a:pt x="135"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a typeface="+mn-ea"/>
                <a:cs typeface="+mn-cs"/>
              </a:endParaRPr>
            </a:p>
          </p:txBody>
        </p:sp>
      </p:grpSp>
      <p:cxnSp>
        <p:nvCxnSpPr>
          <p:cNvPr id="22" name="Straight Connector 21">
            <a:extLst>
              <a:ext uri="{FF2B5EF4-FFF2-40B4-BE49-F238E27FC236}">
                <a16:creationId xmlns:a16="http://schemas.microsoft.com/office/drawing/2014/main" id="{7CCF8ACB-6BAA-4C68-B5CE-957130233AFE}"/>
              </a:ext>
            </a:extLst>
          </p:cNvPr>
          <p:cNvCxnSpPr>
            <a:cxnSpLocks/>
          </p:cNvCxnSpPr>
          <p:nvPr/>
        </p:nvCxnSpPr>
        <p:spPr>
          <a:xfrm flipH="1" flipV="1">
            <a:off x="3628355" y="2052468"/>
            <a:ext cx="1235291" cy="713694"/>
          </a:xfrm>
          <a:prstGeom prst="line">
            <a:avLst/>
          </a:prstGeom>
          <a:ln w="38100">
            <a:solidFill>
              <a:srgbClr val="86F200"/>
            </a:solidFill>
          </a:ln>
        </p:spPr>
        <p:style>
          <a:lnRef idx="1">
            <a:schemeClr val="accent1"/>
          </a:lnRef>
          <a:fillRef idx="0">
            <a:schemeClr val="accent1"/>
          </a:fillRef>
          <a:effectRef idx="0">
            <a:schemeClr val="accent1"/>
          </a:effectRef>
          <a:fontRef idx="minor">
            <a:schemeClr val="tx1"/>
          </a:fontRef>
        </p:style>
      </p:cxnSp>
      <p:sp>
        <p:nvSpPr>
          <p:cNvPr id="23" name="Title 3">
            <a:extLst>
              <a:ext uri="{FF2B5EF4-FFF2-40B4-BE49-F238E27FC236}">
                <a16:creationId xmlns:a16="http://schemas.microsoft.com/office/drawing/2014/main" id="{9E2E04A1-0A45-4A4A-B2D4-222C475529BB}"/>
              </a:ext>
            </a:extLst>
          </p:cNvPr>
          <p:cNvSpPr txBox="1">
            <a:spLocks/>
          </p:cNvSpPr>
          <p:nvPr/>
        </p:nvSpPr>
        <p:spPr>
          <a:xfrm>
            <a:off x="904973" y="797646"/>
            <a:ext cx="10548594" cy="654082"/>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sz="2000" dirty="0">
              <a:latin typeface="+mn-lt"/>
            </a:endParaRPr>
          </a:p>
        </p:txBody>
      </p:sp>
      <p:sp>
        <p:nvSpPr>
          <p:cNvPr id="24" name="Text Placeholder 19">
            <a:extLst>
              <a:ext uri="{FF2B5EF4-FFF2-40B4-BE49-F238E27FC236}">
                <a16:creationId xmlns:a16="http://schemas.microsoft.com/office/drawing/2014/main" id="{0BBBD92B-49FD-462B-8CCA-C2B5123BA760}"/>
              </a:ext>
            </a:extLst>
          </p:cNvPr>
          <p:cNvSpPr txBox="1">
            <a:spLocks/>
          </p:cNvSpPr>
          <p:nvPr/>
        </p:nvSpPr>
        <p:spPr>
          <a:xfrm>
            <a:off x="914971" y="466344"/>
            <a:ext cx="7315200" cy="2032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FRAMEWORKS &amp; CONCEPT ILLUSTRATION</a:t>
            </a:r>
          </a:p>
        </p:txBody>
      </p:sp>
      <p:cxnSp>
        <p:nvCxnSpPr>
          <p:cNvPr id="25" name="Straight Connector 24">
            <a:extLst>
              <a:ext uri="{FF2B5EF4-FFF2-40B4-BE49-F238E27FC236}">
                <a16:creationId xmlns:a16="http://schemas.microsoft.com/office/drawing/2014/main" id="{B2CF1C36-1AAE-46DE-8992-2AEC1890A550}"/>
              </a:ext>
            </a:extLst>
          </p:cNvPr>
          <p:cNvCxnSpPr>
            <a:cxnSpLocks/>
          </p:cNvCxnSpPr>
          <p:nvPr/>
        </p:nvCxnSpPr>
        <p:spPr>
          <a:xfrm flipH="1">
            <a:off x="3568224" y="4637211"/>
            <a:ext cx="801957" cy="493692"/>
          </a:xfrm>
          <a:prstGeom prst="line">
            <a:avLst/>
          </a:prstGeom>
          <a:ln w="38100">
            <a:solidFill>
              <a:srgbClr val="FCD200"/>
            </a:solidFill>
          </a:ln>
        </p:spPr>
        <p:style>
          <a:lnRef idx="1">
            <a:schemeClr val="accent2"/>
          </a:lnRef>
          <a:fillRef idx="0">
            <a:schemeClr val="accent2"/>
          </a:fillRef>
          <a:effectRef idx="0">
            <a:schemeClr val="accent2"/>
          </a:effectRef>
          <a:fontRef idx="minor">
            <a:schemeClr val="tx1"/>
          </a:fontRef>
        </p:style>
      </p:cxnSp>
      <p:cxnSp>
        <p:nvCxnSpPr>
          <p:cNvPr id="26" name="Straight Connector 25">
            <a:extLst>
              <a:ext uri="{FF2B5EF4-FFF2-40B4-BE49-F238E27FC236}">
                <a16:creationId xmlns:a16="http://schemas.microsoft.com/office/drawing/2014/main" id="{B18906A2-DD9B-4771-9956-B6F56A16580E}"/>
              </a:ext>
            </a:extLst>
          </p:cNvPr>
          <p:cNvCxnSpPr>
            <a:cxnSpLocks/>
          </p:cNvCxnSpPr>
          <p:nvPr/>
        </p:nvCxnSpPr>
        <p:spPr>
          <a:xfrm flipH="1" flipV="1">
            <a:off x="408791" y="5127923"/>
            <a:ext cx="3171731" cy="2981"/>
          </a:xfrm>
          <a:prstGeom prst="line">
            <a:avLst/>
          </a:prstGeom>
          <a:ln w="38100">
            <a:solidFill>
              <a:srgbClr val="FCD200"/>
            </a:solidFill>
          </a:ln>
        </p:spPr>
        <p:style>
          <a:lnRef idx="1">
            <a:schemeClr val="accent2"/>
          </a:lnRef>
          <a:fillRef idx="0">
            <a:schemeClr val="accent2"/>
          </a:fillRef>
          <a:effectRef idx="0">
            <a:schemeClr val="accent2"/>
          </a:effectRef>
          <a:fontRef idx="minor">
            <a:schemeClr val="tx1"/>
          </a:fontRef>
        </p:style>
      </p:cxnSp>
      <p:cxnSp>
        <p:nvCxnSpPr>
          <p:cNvPr id="27" name="Straight Connector 26">
            <a:extLst>
              <a:ext uri="{FF2B5EF4-FFF2-40B4-BE49-F238E27FC236}">
                <a16:creationId xmlns:a16="http://schemas.microsoft.com/office/drawing/2014/main" id="{AD86F059-CE86-4F0C-B0A6-2FB7BCF95BFB}"/>
              </a:ext>
            </a:extLst>
          </p:cNvPr>
          <p:cNvCxnSpPr>
            <a:cxnSpLocks/>
          </p:cNvCxnSpPr>
          <p:nvPr/>
        </p:nvCxnSpPr>
        <p:spPr>
          <a:xfrm flipH="1" flipV="1">
            <a:off x="420918" y="2052468"/>
            <a:ext cx="3216526" cy="1"/>
          </a:xfrm>
          <a:prstGeom prst="line">
            <a:avLst/>
          </a:prstGeom>
          <a:ln w="38100">
            <a:solidFill>
              <a:srgbClr val="86F2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11B6B12-760B-45A8-97AE-195DB1EB6FE1}"/>
              </a:ext>
            </a:extLst>
          </p:cNvPr>
          <p:cNvCxnSpPr>
            <a:cxnSpLocks/>
          </p:cNvCxnSpPr>
          <p:nvPr/>
        </p:nvCxnSpPr>
        <p:spPr>
          <a:xfrm flipH="1">
            <a:off x="7572707" y="2047640"/>
            <a:ext cx="1191389" cy="806970"/>
          </a:xfrm>
          <a:prstGeom prst="line">
            <a:avLst/>
          </a:prstGeom>
          <a:ln w="38100">
            <a:solidFill>
              <a:srgbClr val="34F0FF"/>
            </a:solidFill>
          </a:ln>
        </p:spPr>
        <p:style>
          <a:lnRef idx="1">
            <a:schemeClr val="accent2"/>
          </a:lnRef>
          <a:fillRef idx="0">
            <a:schemeClr val="accent2"/>
          </a:fillRef>
          <a:effectRef idx="0">
            <a:schemeClr val="accent2"/>
          </a:effectRef>
          <a:fontRef idx="minor">
            <a:schemeClr val="tx1"/>
          </a:fontRef>
        </p:style>
      </p:cxnSp>
      <p:cxnSp>
        <p:nvCxnSpPr>
          <p:cNvPr id="29" name="Straight Connector 28">
            <a:extLst>
              <a:ext uri="{FF2B5EF4-FFF2-40B4-BE49-F238E27FC236}">
                <a16:creationId xmlns:a16="http://schemas.microsoft.com/office/drawing/2014/main" id="{DAAA180C-BCB9-487D-A17B-5E834D15653E}"/>
              </a:ext>
            </a:extLst>
          </p:cNvPr>
          <p:cNvCxnSpPr>
            <a:cxnSpLocks/>
          </p:cNvCxnSpPr>
          <p:nvPr/>
        </p:nvCxnSpPr>
        <p:spPr>
          <a:xfrm flipH="1" flipV="1">
            <a:off x="7828014" y="4533427"/>
            <a:ext cx="941492" cy="615899"/>
          </a:xfrm>
          <a:prstGeom prst="line">
            <a:avLst/>
          </a:prstGeom>
          <a:ln w="38100">
            <a:solidFill>
              <a:srgbClr val="787878"/>
            </a:solidFill>
          </a:ln>
        </p:spPr>
        <p:style>
          <a:lnRef idx="1">
            <a:schemeClr val="accent2"/>
          </a:lnRef>
          <a:fillRef idx="0">
            <a:schemeClr val="accent2"/>
          </a:fillRef>
          <a:effectRef idx="0">
            <a:schemeClr val="accent2"/>
          </a:effectRef>
          <a:fontRef idx="minor">
            <a:schemeClr val="tx1"/>
          </a:fontRef>
        </p:style>
      </p:cxnSp>
      <p:cxnSp>
        <p:nvCxnSpPr>
          <p:cNvPr id="30" name="Straight Connector 29">
            <a:extLst>
              <a:ext uri="{FF2B5EF4-FFF2-40B4-BE49-F238E27FC236}">
                <a16:creationId xmlns:a16="http://schemas.microsoft.com/office/drawing/2014/main" id="{6840FADA-6FEB-4D5E-BD3E-3E8BB2AFB073}"/>
              </a:ext>
            </a:extLst>
          </p:cNvPr>
          <p:cNvCxnSpPr>
            <a:cxnSpLocks/>
          </p:cNvCxnSpPr>
          <p:nvPr/>
        </p:nvCxnSpPr>
        <p:spPr>
          <a:xfrm flipH="1">
            <a:off x="8754174" y="2037139"/>
            <a:ext cx="2986541" cy="14463"/>
          </a:xfrm>
          <a:prstGeom prst="line">
            <a:avLst/>
          </a:prstGeom>
          <a:ln w="38100">
            <a:solidFill>
              <a:srgbClr val="34F0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3969FD3-6924-44E8-BD14-68FD26FD0841}"/>
              </a:ext>
            </a:extLst>
          </p:cNvPr>
          <p:cNvCxnSpPr>
            <a:cxnSpLocks/>
          </p:cNvCxnSpPr>
          <p:nvPr/>
        </p:nvCxnSpPr>
        <p:spPr>
          <a:xfrm flipH="1" flipV="1">
            <a:off x="8764096" y="5149326"/>
            <a:ext cx="2800332" cy="1"/>
          </a:xfrm>
          <a:prstGeom prst="line">
            <a:avLst/>
          </a:prstGeom>
          <a:ln w="38100">
            <a:solidFill>
              <a:srgbClr val="787878"/>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8B5316F9-3140-44C3-BC16-122BD5DAF411}"/>
              </a:ext>
            </a:extLst>
          </p:cNvPr>
          <p:cNvSpPr txBox="1"/>
          <p:nvPr/>
        </p:nvSpPr>
        <p:spPr>
          <a:xfrm>
            <a:off x="7052713" y="4684262"/>
            <a:ext cx="789883" cy="215444"/>
          </a:xfrm>
          <a:prstGeom prst="rect">
            <a:avLst/>
          </a:prstGeom>
          <a:noFill/>
        </p:spPr>
        <p:txBody>
          <a:bodyPr wrap="square" lIns="0" tIns="0" rIns="0" bIns="0" rtlCol="0">
            <a:spAutoFit/>
          </a:bodyPr>
          <a:lstStyle>
            <a:defPPr>
              <a:defRPr lang="en-US"/>
            </a:defPPr>
            <a:lvl1pPr>
              <a:spcBef>
                <a:spcPts val="600"/>
              </a:spcBef>
              <a:buSzPct val="100000"/>
              <a:defRPr sz="900">
                <a:solidFill>
                  <a:schemeClr val="bg1"/>
                </a:solidFill>
              </a:defRPr>
            </a:lvl1p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400" b="0" i="0" u="none" strike="noStrike" kern="0" cap="none" spc="0" normalizeH="0" baseline="0" noProof="0" dirty="0">
                <a:ln>
                  <a:noFill/>
                </a:ln>
                <a:solidFill>
                  <a:srgbClr val="FFFFFF"/>
                </a:solidFill>
                <a:effectLst/>
                <a:uLnTx/>
                <a:uFillTx/>
                <a:ea typeface="+mn-ea"/>
                <a:cs typeface="+mn-cs"/>
              </a:rPr>
              <a:t>Pipeline</a:t>
            </a:r>
            <a:endParaRPr kumimoji="0" lang="en-US" sz="900" b="0" i="0" u="none" strike="noStrike" kern="0" cap="none" spc="0" normalizeH="0" baseline="0" noProof="0" dirty="0">
              <a:ln>
                <a:noFill/>
              </a:ln>
              <a:solidFill>
                <a:srgbClr val="FFFFFF"/>
              </a:solidFill>
              <a:effectLst/>
              <a:uLnTx/>
              <a:uFillTx/>
              <a:ea typeface="+mn-ea"/>
              <a:cs typeface="+mn-cs"/>
            </a:endParaRPr>
          </a:p>
        </p:txBody>
      </p:sp>
      <p:sp>
        <p:nvSpPr>
          <p:cNvPr id="33" name="TextBox 32">
            <a:extLst>
              <a:ext uri="{FF2B5EF4-FFF2-40B4-BE49-F238E27FC236}">
                <a16:creationId xmlns:a16="http://schemas.microsoft.com/office/drawing/2014/main" id="{BF004E72-E771-4F0A-B361-4F660273475B}"/>
              </a:ext>
            </a:extLst>
          </p:cNvPr>
          <p:cNvSpPr txBox="1"/>
          <p:nvPr/>
        </p:nvSpPr>
        <p:spPr>
          <a:xfrm>
            <a:off x="4243893" y="4680089"/>
            <a:ext cx="924459"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400" b="0" i="0" u="none" strike="noStrike" kern="0" cap="none" spc="0" normalizeH="0" baseline="0" noProof="0" dirty="0">
                <a:ln>
                  <a:noFill/>
                </a:ln>
                <a:solidFill>
                  <a:srgbClr val="000000"/>
                </a:solidFill>
                <a:effectLst/>
                <a:uLnTx/>
                <a:uFillTx/>
                <a:ea typeface="+mn-ea"/>
                <a:cs typeface="+mn-cs"/>
              </a:rPr>
              <a:t>Budget</a:t>
            </a:r>
            <a:endParaRPr kumimoji="0" lang="en-US" sz="900" b="0" i="0" u="none" strike="noStrike" kern="0" cap="none" spc="0" normalizeH="0" baseline="0" noProof="0" dirty="0">
              <a:ln>
                <a:noFill/>
              </a:ln>
              <a:solidFill>
                <a:srgbClr val="000000"/>
              </a:solidFill>
              <a:effectLst/>
              <a:uLnTx/>
              <a:uFillTx/>
              <a:ea typeface="+mn-ea"/>
              <a:cs typeface="+mn-cs"/>
            </a:endParaRPr>
          </a:p>
        </p:txBody>
      </p:sp>
      <p:sp>
        <p:nvSpPr>
          <p:cNvPr id="34" name="TextBox 33">
            <a:extLst>
              <a:ext uri="{FF2B5EF4-FFF2-40B4-BE49-F238E27FC236}">
                <a16:creationId xmlns:a16="http://schemas.microsoft.com/office/drawing/2014/main" id="{4235177D-D758-4D84-B5F7-388AC5AB4353}"/>
              </a:ext>
            </a:extLst>
          </p:cNvPr>
          <p:cNvSpPr txBox="1"/>
          <p:nvPr/>
        </p:nvSpPr>
        <p:spPr>
          <a:xfrm>
            <a:off x="4560010" y="2947748"/>
            <a:ext cx="1086054" cy="215444"/>
          </a:xfrm>
          <a:prstGeom prst="rect">
            <a:avLst/>
          </a:prstGeom>
          <a:noFill/>
        </p:spPr>
        <p:txBody>
          <a:bodyPr wrap="square" lIns="0" tIns="0" rIns="0" bIns="0" rtlCol="0">
            <a:spAutoFit/>
          </a:bodyPr>
          <a:lstStyle>
            <a:defPPr>
              <a:defRPr lang="en-US"/>
            </a:defPPr>
            <a:lvl1pPr>
              <a:spcBef>
                <a:spcPts val="600"/>
              </a:spcBef>
              <a:buSzPct val="100000"/>
              <a:defRPr sz="900">
                <a:solidFill>
                  <a:schemeClr val="bg1"/>
                </a:solidFill>
              </a:defRPr>
            </a:lvl1p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400" b="0" i="0" u="none" strike="noStrike" kern="0" cap="none" spc="0" normalizeH="0" baseline="0" noProof="0" dirty="0">
                <a:ln>
                  <a:noFill/>
                </a:ln>
                <a:solidFill>
                  <a:srgbClr val="000000"/>
                </a:solidFill>
                <a:effectLst/>
                <a:uLnTx/>
                <a:uFillTx/>
                <a:ea typeface="Open Sans" panose="020B0606030504020204" pitchFamily="34" charset="0"/>
                <a:cs typeface="Open Sans" panose="020B0606030504020204" pitchFamily="34" charset="0"/>
              </a:rPr>
              <a:t>Performance</a:t>
            </a:r>
            <a:endParaRPr kumimoji="0" lang="en-US" sz="1050" b="0" i="0" u="none" strike="noStrike" kern="0" cap="none" spc="0" normalizeH="0" baseline="0" noProof="0" dirty="0">
              <a:ln>
                <a:noFill/>
              </a:ln>
              <a:solidFill>
                <a:srgbClr val="000000"/>
              </a:solidFill>
              <a:effectLst/>
              <a:uLnTx/>
              <a:uFillTx/>
              <a:ea typeface="Open Sans" panose="020B0606030504020204" pitchFamily="34" charset="0"/>
              <a:cs typeface="Open Sans" panose="020B0606030504020204" pitchFamily="34" charset="0"/>
            </a:endParaRPr>
          </a:p>
        </p:txBody>
      </p:sp>
      <p:sp>
        <p:nvSpPr>
          <p:cNvPr id="35" name="TextBox 34">
            <a:extLst>
              <a:ext uri="{FF2B5EF4-FFF2-40B4-BE49-F238E27FC236}">
                <a16:creationId xmlns:a16="http://schemas.microsoft.com/office/drawing/2014/main" id="{153EB838-FAB5-4B72-BE82-64510B4F3362}"/>
              </a:ext>
            </a:extLst>
          </p:cNvPr>
          <p:cNvSpPr txBox="1"/>
          <p:nvPr/>
        </p:nvSpPr>
        <p:spPr>
          <a:xfrm>
            <a:off x="6604312" y="2947748"/>
            <a:ext cx="88125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400" b="0" i="0" u="none" strike="noStrike" kern="0" cap="none" spc="0" normalizeH="0" baseline="0" noProof="0" dirty="0">
                <a:ln>
                  <a:noFill/>
                </a:ln>
                <a:solidFill>
                  <a:srgbClr val="000000"/>
                </a:solidFill>
                <a:effectLst/>
                <a:uLnTx/>
                <a:uFillTx/>
                <a:ea typeface="Open Sans" panose="020B0606030504020204" pitchFamily="34" charset="0"/>
                <a:cs typeface="Open Sans" panose="020B0606030504020204" pitchFamily="34" charset="0"/>
              </a:rPr>
              <a:t>Portfolio</a:t>
            </a:r>
            <a:endParaRPr kumimoji="0" lang="en-US" sz="900" b="0" i="0" u="none" strike="noStrike" kern="0" cap="none" spc="0" normalizeH="0" baseline="0" noProof="0" dirty="0">
              <a:ln>
                <a:noFill/>
              </a:ln>
              <a:solidFill>
                <a:srgbClr val="000000"/>
              </a:solidFill>
              <a:effectLst/>
              <a:uLnTx/>
              <a:uFillTx/>
              <a:ea typeface="Open Sans" panose="020B0606030504020204" pitchFamily="34" charset="0"/>
              <a:cs typeface="Open Sans" panose="020B0606030504020204" pitchFamily="34" charset="0"/>
            </a:endParaRPr>
          </a:p>
        </p:txBody>
      </p:sp>
      <p:sp>
        <p:nvSpPr>
          <p:cNvPr id="36" name="TextBox 35">
            <a:extLst>
              <a:ext uri="{FF2B5EF4-FFF2-40B4-BE49-F238E27FC236}">
                <a16:creationId xmlns:a16="http://schemas.microsoft.com/office/drawing/2014/main" id="{B6ABBE60-27AF-4BD0-B0C3-2D73FB7A5EF5}"/>
              </a:ext>
            </a:extLst>
          </p:cNvPr>
          <p:cNvSpPr txBox="1"/>
          <p:nvPr/>
        </p:nvSpPr>
        <p:spPr>
          <a:xfrm>
            <a:off x="5239509" y="5416026"/>
            <a:ext cx="1671958" cy="246221"/>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600" b="1" i="0" u="none" strike="noStrike" kern="0" cap="none" spc="0" normalizeH="0" baseline="0" noProof="0" dirty="0">
                <a:ln>
                  <a:noFill/>
                </a:ln>
                <a:solidFill>
                  <a:prstClr val="black"/>
                </a:solidFill>
                <a:effectLst/>
                <a:uLnTx/>
                <a:uFillTx/>
                <a:ea typeface="+mn-ea"/>
                <a:cs typeface="+mn-cs"/>
              </a:rPr>
              <a:t>Key Focus Areas</a:t>
            </a:r>
          </a:p>
        </p:txBody>
      </p:sp>
      <p:sp>
        <p:nvSpPr>
          <p:cNvPr id="37" name="Oval 36">
            <a:extLst>
              <a:ext uri="{FF2B5EF4-FFF2-40B4-BE49-F238E27FC236}">
                <a16:creationId xmlns:a16="http://schemas.microsoft.com/office/drawing/2014/main" id="{608708BB-692D-45F0-9992-EDEA3DFB099E}"/>
              </a:ext>
            </a:extLst>
          </p:cNvPr>
          <p:cNvSpPr/>
          <p:nvPr/>
        </p:nvSpPr>
        <p:spPr bwMode="gray">
          <a:xfrm>
            <a:off x="5266839" y="3098923"/>
            <a:ext cx="1888877" cy="1826380"/>
          </a:xfrm>
          <a:prstGeom prst="ellipse">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ea typeface="+mn-ea"/>
              <a:cs typeface="+mn-cs"/>
            </a:endParaRPr>
          </a:p>
        </p:txBody>
      </p:sp>
      <p:sp>
        <p:nvSpPr>
          <p:cNvPr id="38" name="Rectangle 37">
            <a:extLst>
              <a:ext uri="{FF2B5EF4-FFF2-40B4-BE49-F238E27FC236}">
                <a16:creationId xmlns:a16="http://schemas.microsoft.com/office/drawing/2014/main" id="{A749593A-5DFE-4B31-A0BC-321682526E12}"/>
              </a:ext>
            </a:extLst>
          </p:cNvPr>
          <p:cNvSpPr/>
          <p:nvPr/>
        </p:nvSpPr>
        <p:spPr>
          <a:xfrm>
            <a:off x="422068" y="4818645"/>
            <a:ext cx="2310633" cy="246221"/>
          </a:xfrm>
          <a:prstGeom prst="rect">
            <a:avLst/>
          </a:prstGeom>
        </p:spPr>
        <p:txBody>
          <a:bodyPr wrap="non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ea typeface="Open Sans" panose="020B0606030504020204" pitchFamily="34" charset="0"/>
                <a:cs typeface="Open Sans" panose="020B0606030504020204" pitchFamily="34" charset="0"/>
              </a:rPr>
              <a:t>Budget Group Analysis</a:t>
            </a:r>
            <a:endParaRPr kumimoji="0" lang="en-US" sz="1600" b="1" i="0" u="none" strike="noStrike" kern="1200" cap="none" spc="0" normalizeH="0" baseline="0" noProof="0" dirty="0">
              <a:ln>
                <a:noFill/>
              </a:ln>
              <a:solidFill>
                <a:srgbClr val="FFFFFF"/>
              </a:solidFill>
              <a:effectLst/>
              <a:uLnTx/>
              <a:uFillTx/>
              <a:ea typeface="Open Sans" panose="020B0606030504020204" pitchFamily="34" charset="0"/>
              <a:cs typeface="Open Sans" panose="020B0606030504020204" pitchFamily="34" charset="0"/>
            </a:endParaRPr>
          </a:p>
        </p:txBody>
      </p:sp>
      <p:sp>
        <p:nvSpPr>
          <p:cNvPr id="39" name="Rectangle 38">
            <a:extLst>
              <a:ext uri="{FF2B5EF4-FFF2-40B4-BE49-F238E27FC236}">
                <a16:creationId xmlns:a16="http://schemas.microsoft.com/office/drawing/2014/main" id="{FEDE3D08-C8A4-40AD-ABBC-F3ABADE38A5F}"/>
              </a:ext>
            </a:extLst>
          </p:cNvPr>
          <p:cNvSpPr/>
          <p:nvPr/>
        </p:nvSpPr>
        <p:spPr>
          <a:xfrm>
            <a:off x="8817261" y="4852589"/>
            <a:ext cx="2058256" cy="246221"/>
          </a:xfrm>
          <a:prstGeom prst="rect">
            <a:avLst/>
          </a:prstGeom>
        </p:spPr>
        <p:txBody>
          <a:bodyPr wrap="non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ea typeface="Open Sans" panose="020B0606030504020204" pitchFamily="34" charset="0"/>
                <a:cs typeface="Open Sans" panose="020B0606030504020204" pitchFamily="34" charset="0"/>
              </a:rPr>
              <a:t>Investment Pipeline</a:t>
            </a:r>
            <a:endParaRPr kumimoji="0" lang="en-US" sz="1600" b="1" i="0" u="none" strike="noStrike" kern="1200" cap="none" spc="0" normalizeH="0" baseline="0" noProof="0" dirty="0">
              <a:ln>
                <a:noFill/>
              </a:ln>
              <a:solidFill>
                <a:srgbClr val="FFFFFF"/>
              </a:solidFill>
              <a:effectLst/>
              <a:uLnTx/>
              <a:uFillTx/>
              <a:ea typeface="Open Sans" panose="020B0606030504020204" pitchFamily="34" charset="0"/>
              <a:cs typeface="Open Sans" panose="020B0606030504020204" pitchFamily="34" charset="0"/>
            </a:endParaRPr>
          </a:p>
        </p:txBody>
      </p:sp>
      <p:sp>
        <p:nvSpPr>
          <p:cNvPr id="40" name="TextBox 39">
            <a:extLst>
              <a:ext uri="{FF2B5EF4-FFF2-40B4-BE49-F238E27FC236}">
                <a16:creationId xmlns:a16="http://schemas.microsoft.com/office/drawing/2014/main" id="{3DEF8EEC-907C-44B2-935E-B9679512CDE1}"/>
              </a:ext>
            </a:extLst>
          </p:cNvPr>
          <p:cNvSpPr txBox="1"/>
          <p:nvPr/>
        </p:nvSpPr>
        <p:spPr>
          <a:xfrm>
            <a:off x="8793418" y="2125630"/>
            <a:ext cx="3149117" cy="2028248"/>
          </a:xfrm>
          <a:prstGeom prst="rect">
            <a:avLst/>
          </a:prstGeom>
          <a:noFill/>
        </p:spPr>
        <p:txBody>
          <a:bodyPr wrap="square" rtlCol="0">
            <a:spAutoFit/>
          </a:bodyPr>
          <a:lstStyle/>
          <a:p>
            <a:pPr marL="180975" marR="5080" lvl="0" indent="-17145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ea typeface="+mn-ea"/>
                <a:cs typeface="Open Sans"/>
              </a:rPr>
              <a:t>Conduct investment oversight and quarterly analysis of Asset performance </a:t>
            </a:r>
          </a:p>
          <a:p>
            <a:pPr marL="180975" marR="5080" lvl="0" indent="-17145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ea typeface="+mn-ea"/>
                <a:cs typeface="Open Sans"/>
              </a:rPr>
              <a:t>Evaluate market priorities for existing and new Asset / hybrid opportunities</a:t>
            </a:r>
          </a:p>
          <a:p>
            <a:pPr marL="180975" marR="5080" lvl="0" indent="-17145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ea typeface="+mn-ea"/>
                <a:cs typeface="Open Sans"/>
              </a:rPr>
              <a:t>Review investment requests based on annual budgeting cycle </a:t>
            </a:r>
          </a:p>
          <a:p>
            <a:pPr marL="180975" marR="5080" lvl="0" indent="-17145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ea typeface="+mn-ea"/>
                <a:cs typeface="Open Sans"/>
              </a:rPr>
              <a:t>Share high-potential, new Asset ideas to  determine fit within the strategy</a:t>
            </a:r>
          </a:p>
        </p:txBody>
      </p:sp>
      <p:sp>
        <p:nvSpPr>
          <p:cNvPr id="41" name="TextBox 40">
            <a:extLst>
              <a:ext uri="{FF2B5EF4-FFF2-40B4-BE49-F238E27FC236}">
                <a16:creationId xmlns:a16="http://schemas.microsoft.com/office/drawing/2014/main" id="{C3565766-5022-45A0-8255-514B3330AD17}"/>
              </a:ext>
            </a:extLst>
          </p:cNvPr>
          <p:cNvSpPr txBox="1"/>
          <p:nvPr/>
        </p:nvSpPr>
        <p:spPr>
          <a:xfrm>
            <a:off x="8793418" y="5213493"/>
            <a:ext cx="3149117" cy="1318310"/>
          </a:xfrm>
          <a:prstGeom prst="rect">
            <a:avLst/>
          </a:prstGeom>
          <a:noFill/>
        </p:spPr>
        <p:txBody>
          <a:bodyPr wrap="square" rtlCol="0">
            <a:spAutoFit/>
          </a:bodyPr>
          <a:lstStyle/>
          <a:p>
            <a:pPr marL="180975" marR="5080" lvl="0" indent="-17145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ea typeface="+mn-ea"/>
                <a:cs typeface="Open Sans"/>
              </a:rPr>
              <a:t>Review summary of new investment requests</a:t>
            </a:r>
          </a:p>
          <a:p>
            <a:pPr marL="180975" marR="5080" lvl="0" indent="-17145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ea typeface="+mn-ea"/>
                <a:cs typeface="Open Sans"/>
              </a:rPr>
              <a:t>Evaluate single-investments that surpass set threshold</a:t>
            </a:r>
          </a:p>
          <a:p>
            <a:pPr marL="180975" marR="5080" lvl="0" indent="-17145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ea typeface="+mn-ea"/>
                <a:cs typeface="Open Sans"/>
              </a:rPr>
              <a:t>Discuss internal areas to re-deploy capacity</a:t>
            </a:r>
          </a:p>
        </p:txBody>
      </p:sp>
      <p:sp>
        <p:nvSpPr>
          <p:cNvPr id="42" name="TextBox 41">
            <a:extLst>
              <a:ext uri="{FF2B5EF4-FFF2-40B4-BE49-F238E27FC236}">
                <a16:creationId xmlns:a16="http://schemas.microsoft.com/office/drawing/2014/main" id="{6C85988B-6A2C-4E26-9549-01AD4F3176C8}"/>
              </a:ext>
            </a:extLst>
          </p:cNvPr>
          <p:cNvSpPr txBox="1"/>
          <p:nvPr/>
        </p:nvSpPr>
        <p:spPr>
          <a:xfrm>
            <a:off x="373108" y="2125630"/>
            <a:ext cx="3149117" cy="1886286"/>
          </a:xfrm>
          <a:prstGeom prst="rect">
            <a:avLst/>
          </a:prstGeom>
          <a:noFill/>
        </p:spPr>
        <p:txBody>
          <a:bodyPr wrap="square" rtlCol="0">
            <a:spAutoFit/>
          </a:bodyPr>
          <a:lstStyle/>
          <a:p>
            <a:pPr marL="180975" marR="5080" lvl="0" indent="-17145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ea typeface="+mn-ea"/>
                <a:cs typeface="Open Sans"/>
              </a:rPr>
              <a:t>Review summary investment financials (target, projected, actuals) and roadmap for our existing large investment verticals in the offerings / Assets </a:t>
            </a:r>
          </a:p>
          <a:p>
            <a:pPr marL="180975" marR="5080" lvl="0" indent="-17145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ea typeface="+mn-ea"/>
                <a:cs typeface="Open Sans"/>
              </a:rPr>
              <a:t>Access traction, hurdles, and support / resources required to make or exceed plan for each business case </a:t>
            </a:r>
          </a:p>
          <a:p>
            <a:pPr marL="9525" marR="5080" lvl="0" indent="0" algn="l" defTabSz="914400" rtl="0" eaLnBrk="1" fontAlgn="auto" latinLnBrk="0" hangingPunct="1">
              <a:lnSpc>
                <a:spcPct val="120000"/>
              </a:lnSpc>
              <a:spcBef>
                <a:spcPts val="100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ea typeface="+mn-ea"/>
              <a:cs typeface="Open Sans"/>
            </a:endParaRPr>
          </a:p>
        </p:txBody>
      </p:sp>
      <p:sp>
        <p:nvSpPr>
          <p:cNvPr id="43" name="TextBox 42">
            <a:extLst>
              <a:ext uri="{FF2B5EF4-FFF2-40B4-BE49-F238E27FC236}">
                <a16:creationId xmlns:a16="http://schemas.microsoft.com/office/drawing/2014/main" id="{C1F21E88-8E5B-4597-A442-F0BC4B84FFC4}"/>
              </a:ext>
            </a:extLst>
          </p:cNvPr>
          <p:cNvSpPr txBox="1"/>
          <p:nvPr/>
        </p:nvSpPr>
        <p:spPr>
          <a:xfrm>
            <a:off x="373108" y="5192090"/>
            <a:ext cx="3370874" cy="1190069"/>
          </a:xfrm>
          <a:prstGeom prst="rect">
            <a:avLst/>
          </a:prstGeom>
          <a:noFill/>
        </p:spPr>
        <p:txBody>
          <a:bodyPr wrap="square" rtlCol="0">
            <a:spAutoFit/>
          </a:bodyPr>
          <a:lstStyle/>
          <a:p>
            <a:pPr marL="180975" marR="5080" lvl="0" indent="-17145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ea typeface="+mn-ea"/>
                <a:cs typeface="Open Sans"/>
              </a:rPr>
              <a:t>Conduct investment oversight and quarterly analysis of budget performance</a:t>
            </a:r>
          </a:p>
          <a:p>
            <a:pPr marL="180975" marR="5080" lvl="0" indent="-17145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ea typeface="+mn-ea"/>
                <a:cs typeface="+mn-cs"/>
              </a:rPr>
              <a:t>Review analysis of allocation, burn-rate, and year-end projections to identify insights and opportunities for higher-value, fund distribution</a:t>
            </a:r>
          </a:p>
        </p:txBody>
      </p:sp>
      <p:grpSp>
        <p:nvGrpSpPr>
          <p:cNvPr id="44" name="Group 345">
            <a:extLst>
              <a:ext uri="{FF2B5EF4-FFF2-40B4-BE49-F238E27FC236}">
                <a16:creationId xmlns:a16="http://schemas.microsoft.com/office/drawing/2014/main" id="{1C785A53-EC13-440C-A01A-0B67F9687C7E}"/>
              </a:ext>
            </a:extLst>
          </p:cNvPr>
          <p:cNvGrpSpPr>
            <a:grpSpLocks noChangeAspect="1"/>
          </p:cNvGrpSpPr>
          <p:nvPr/>
        </p:nvGrpSpPr>
        <p:grpSpPr bwMode="auto">
          <a:xfrm>
            <a:off x="4431814" y="4159975"/>
            <a:ext cx="528699" cy="484632"/>
            <a:chOff x="3451" y="1171"/>
            <a:chExt cx="340" cy="340"/>
          </a:xfrm>
          <a:solidFill>
            <a:schemeClr val="tx1"/>
          </a:solidFill>
        </p:grpSpPr>
        <p:sp>
          <p:nvSpPr>
            <p:cNvPr id="45" name="Freeform 346">
              <a:extLst>
                <a:ext uri="{FF2B5EF4-FFF2-40B4-BE49-F238E27FC236}">
                  <a16:creationId xmlns:a16="http://schemas.microsoft.com/office/drawing/2014/main" id="{7785DBB4-8676-4926-9D50-5743DDEFAD14}"/>
                </a:ext>
              </a:extLst>
            </p:cNvPr>
            <p:cNvSpPr>
              <a:spLocks noEditPoints="1"/>
            </p:cNvSpPr>
            <p:nvPr/>
          </p:nvSpPr>
          <p:spPr bwMode="auto">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ea typeface="+mn-ea"/>
                <a:cs typeface="+mn-cs"/>
              </a:endParaRPr>
            </a:p>
          </p:txBody>
        </p:sp>
        <p:sp>
          <p:nvSpPr>
            <p:cNvPr id="46" name="Freeform 347">
              <a:extLst>
                <a:ext uri="{FF2B5EF4-FFF2-40B4-BE49-F238E27FC236}">
                  <a16:creationId xmlns:a16="http://schemas.microsoft.com/office/drawing/2014/main" id="{6D1EE302-71A7-45EE-98F8-E43291DA359D}"/>
                </a:ext>
              </a:extLst>
            </p:cNvPr>
            <p:cNvSpPr>
              <a:spLocks noEditPoints="1"/>
            </p:cNvSpPr>
            <p:nvPr/>
          </p:nvSpPr>
          <p:spPr bwMode="auto">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ea typeface="+mn-ea"/>
                <a:cs typeface="+mn-cs"/>
              </a:endParaRPr>
            </a:p>
          </p:txBody>
        </p:sp>
      </p:grpSp>
      <p:grpSp>
        <p:nvGrpSpPr>
          <p:cNvPr id="47" name="Group 108">
            <a:extLst>
              <a:ext uri="{FF2B5EF4-FFF2-40B4-BE49-F238E27FC236}">
                <a16:creationId xmlns:a16="http://schemas.microsoft.com/office/drawing/2014/main" id="{0B5DFC19-0D4B-497E-A52B-B763FD326BDE}"/>
              </a:ext>
            </a:extLst>
          </p:cNvPr>
          <p:cNvGrpSpPr>
            <a:grpSpLocks noChangeAspect="1"/>
          </p:cNvGrpSpPr>
          <p:nvPr/>
        </p:nvGrpSpPr>
        <p:grpSpPr bwMode="auto">
          <a:xfrm>
            <a:off x="7213114" y="4159975"/>
            <a:ext cx="527254" cy="484632"/>
            <a:chOff x="655" y="442"/>
            <a:chExt cx="340" cy="340"/>
          </a:xfrm>
          <a:solidFill>
            <a:schemeClr val="bg1"/>
          </a:solidFill>
        </p:grpSpPr>
        <p:sp>
          <p:nvSpPr>
            <p:cNvPr id="48" name="Freeform 109">
              <a:extLst>
                <a:ext uri="{FF2B5EF4-FFF2-40B4-BE49-F238E27FC236}">
                  <a16:creationId xmlns:a16="http://schemas.microsoft.com/office/drawing/2014/main" id="{077F3598-128D-4599-9135-A876633FD5F6}"/>
                </a:ext>
              </a:extLst>
            </p:cNvPr>
            <p:cNvSpPr>
              <a:spLocks noEditPoints="1"/>
            </p:cNvSpPr>
            <p:nvPr/>
          </p:nvSpPr>
          <p:spPr bwMode="auto">
            <a:xfrm>
              <a:off x="655" y="44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ea typeface="+mn-ea"/>
                <a:cs typeface="+mn-cs"/>
              </a:endParaRPr>
            </a:p>
          </p:txBody>
        </p:sp>
        <p:sp>
          <p:nvSpPr>
            <p:cNvPr id="49" name="Freeform 110">
              <a:extLst>
                <a:ext uri="{FF2B5EF4-FFF2-40B4-BE49-F238E27FC236}">
                  <a16:creationId xmlns:a16="http://schemas.microsoft.com/office/drawing/2014/main" id="{48EFD9A6-7306-4245-8412-FD6160559E90}"/>
                </a:ext>
              </a:extLst>
            </p:cNvPr>
            <p:cNvSpPr>
              <a:spLocks noEditPoints="1"/>
            </p:cNvSpPr>
            <p:nvPr/>
          </p:nvSpPr>
          <p:spPr bwMode="auto">
            <a:xfrm>
              <a:off x="718" y="505"/>
              <a:ext cx="213" cy="185"/>
            </a:xfrm>
            <a:custGeom>
              <a:avLst/>
              <a:gdLst>
                <a:gd name="T0" fmla="*/ 318 w 321"/>
                <a:gd name="T1" fmla="*/ 79 h 278"/>
                <a:gd name="T2" fmla="*/ 254 w 321"/>
                <a:gd name="T3" fmla="*/ 4 h 278"/>
                <a:gd name="T4" fmla="*/ 243 w 321"/>
                <a:gd name="T5" fmla="*/ 1 h 278"/>
                <a:gd name="T6" fmla="*/ 8 w 321"/>
                <a:gd name="T7" fmla="*/ 76 h 278"/>
                <a:gd name="T8" fmla="*/ 1 w 321"/>
                <a:gd name="T9" fmla="*/ 88 h 278"/>
                <a:gd name="T10" fmla="*/ 11 w 321"/>
                <a:gd name="T11" fmla="*/ 97 h 278"/>
                <a:gd name="T12" fmla="*/ 43 w 321"/>
                <a:gd name="T13" fmla="*/ 97 h 278"/>
                <a:gd name="T14" fmla="*/ 43 w 321"/>
                <a:gd name="T15" fmla="*/ 139 h 278"/>
                <a:gd name="T16" fmla="*/ 11 w 321"/>
                <a:gd name="T17" fmla="*/ 139 h 278"/>
                <a:gd name="T18" fmla="*/ 1 w 321"/>
                <a:gd name="T19" fmla="*/ 150 h 278"/>
                <a:gd name="T20" fmla="*/ 1 w 321"/>
                <a:gd name="T21" fmla="*/ 203 h 278"/>
                <a:gd name="T22" fmla="*/ 11 w 321"/>
                <a:gd name="T23" fmla="*/ 214 h 278"/>
                <a:gd name="T24" fmla="*/ 97 w 321"/>
                <a:gd name="T25" fmla="*/ 214 h 278"/>
                <a:gd name="T26" fmla="*/ 107 w 321"/>
                <a:gd name="T27" fmla="*/ 203 h 278"/>
                <a:gd name="T28" fmla="*/ 107 w 321"/>
                <a:gd name="T29" fmla="*/ 150 h 278"/>
                <a:gd name="T30" fmla="*/ 97 w 321"/>
                <a:gd name="T31" fmla="*/ 139 h 278"/>
                <a:gd name="T32" fmla="*/ 65 w 321"/>
                <a:gd name="T33" fmla="*/ 139 h 278"/>
                <a:gd name="T34" fmla="*/ 65 w 321"/>
                <a:gd name="T35" fmla="*/ 97 h 278"/>
                <a:gd name="T36" fmla="*/ 214 w 321"/>
                <a:gd name="T37" fmla="*/ 97 h 278"/>
                <a:gd name="T38" fmla="*/ 214 w 321"/>
                <a:gd name="T39" fmla="*/ 257 h 278"/>
                <a:gd name="T40" fmla="*/ 33 w 321"/>
                <a:gd name="T41" fmla="*/ 257 h 278"/>
                <a:gd name="T42" fmla="*/ 22 w 321"/>
                <a:gd name="T43" fmla="*/ 267 h 278"/>
                <a:gd name="T44" fmla="*/ 33 w 321"/>
                <a:gd name="T45" fmla="*/ 278 h 278"/>
                <a:gd name="T46" fmla="*/ 289 w 321"/>
                <a:gd name="T47" fmla="*/ 278 h 278"/>
                <a:gd name="T48" fmla="*/ 299 w 321"/>
                <a:gd name="T49" fmla="*/ 267 h 278"/>
                <a:gd name="T50" fmla="*/ 289 w 321"/>
                <a:gd name="T51" fmla="*/ 257 h 278"/>
                <a:gd name="T52" fmla="*/ 289 w 321"/>
                <a:gd name="T53" fmla="*/ 97 h 278"/>
                <a:gd name="T54" fmla="*/ 310 w 321"/>
                <a:gd name="T55" fmla="*/ 97 h 278"/>
                <a:gd name="T56" fmla="*/ 320 w 321"/>
                <a:gd name="T57" fmla="*/ 90 h 278"/>
                <a:gd name="T58" fmla="*/ 318 w 321"/>
                <a:gd name="T59" fmla="*/ 79 h 278"/>
                <a:gd name="T60" fmla="*/ 86 w 321"/>
                <a:gd name="T61" fmla="*/ 161 h 278"/>
                <a:gd name="T62" fmla="*/ 86 w 321"/>
                <a:gd name="T63" fmla="*/ 193 h 278"/>
                <a:gd name="T64" fmla="*/ 22 w 321"/>
                <a:gd name="T65" fmla="*/ 193 h 278"/>
                <a:gd name="T66" fmla="*/ 22 w 321"/>
                <a:gd name="T67" fmla="*/ 161 h 278"/>
                <a:gd name="T68" fmla="*/ 86 w 321"/>
                <a:gd name="T69" fmla="*/ 161 h 278"/>
                <a:gd name="T70" fmla="*/ 257 w 321"/>
                <a:gd name="T71" fmla="*/ 75 h 278"/>
                <a:gd name="T72" fmla="*/ 257 w 321"/>
                <a:gd name="T73" fmla="*/ 40 h 278"/>
                <a:gd name="T74" fmla="*/ 287 w 321"/>
                <a:gd name="T75" fmla="*/ 75 h 278"/>
                <a:gd name="T76" fmla="*/ 257 w 321"/>
                <a:gd name="T77" fmla="*/ 75 h 278"/>
                <a:gd name="T78" fmla="*/ 235 w 321"/>
                <a:gd name="T79" fmla="*/ 26 h 278"/>
                <a:gd name="T80" fmla="*/ 235 w 321"/>
                <a:gd name="T81" fmla="*/ 75 h 278"/>
                <a:gd name="T82" fmla="*/ 80 w 321"/>
                <a:gd name="T83" fmla="*/ 75 h 278"/>
                <a:gd name="T84" fmla="*/ 235 w 321"/>
                <a:gd name="T85" fmla="*/ 26 h 278"/>
                <a:gd name="T86" fmla="*/ 267 w 321"/>
                <a:gd name="T87" fmla="*/ 178 h 278"/>
                <a:gd name="T88" fmla="*/ 235 w 321"/>
                <a:gd name="T89" fmla="*/ 217 h 278"/>
                <a:gd name="T90" fmla="*/ 235 w 321"/>
                <a:gd name="T91" fmla="*/ 175 h 278"/>
                <a:gd name="T92" fmla="*/ 267 w 321"/>
                <a:gd name="T93" fmla="*/ 137 h 278"/>
                <a:gd name="T94" fmla="*/ 267 w 321"/>
                <a:gd name="T95" fmla="*/ 178 h 278"/>
                <a:gd name="T96" fmla="*/ 235 w 321"/>
                <a:gd name="T97" fmla="*/ 257 h 278"/>
                <a:gd name="T98" fmla="*/ 235 w 321"/>
                <a:gd name="T99" fmla="*/ 250 h 278"/>
                <a:gd name="T100" fmla="*/ 267 w 321"/>
                <a:gd name="T101" fmla="*/ 211 h 278"/>
                <a:gd name="T102" fmla="*/ 267 w 321"/>
                <a:gd name="T103" fmla="*/ 257 h 278"/>
                <a:gd name="T104" fmla="*/ 235 w 321"/>
                <a:gd name="T105" fmla="*/ 257 h 278"/>
                <a:gd name="T106" fmla="*/ 267 w 321"/>
                <a:gd name="T107" fmla="*/ 103 h 278"/>
                <a:gd name="T108" fmla="*/ 235 w 321"/>
                <a:gd name="T109" fmla="*/ 142 h 278"/>
                <a:gd name="T110" fmla="*/ 235 w 321"/>
                <a:gd name="T111" fmla="*/ 97 h 278"/>
                <a:gd name="T112" fmla="*/ 267 w 321"/>
                <a:gd name="T113" fmla="*/ 97 h 278"/>
                <a:gd name="T114" fmla="*/ 267 w 321"/>
                <a:gd name="T115" fmla="*/ 10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1" h="278">
                  <a:moveTo>
                    <a:pt x="318" y="79"/>
                  </a:moveTo>
                  <a:cubicBezTo>
                    <a:pt x="254" y="4"/>
                    <a:pt x="254" y="4"/>
                    <a:pt x="254" y="4"/>
                  </a:cubicBezTo>
                  <a:cubicBezTo>
                    <a:pt x="251" y="1"/>
                    <a:pt x="247" y="0"/>
                    <a:pt x="243" y="1"/>
                  </a:cubicBezTo>
                  <a:cubicBezTo>
                    <a:pt x="8" y="76"/>
                    <a:pt x="8" y="76"/>
                    <a:pt x="8" y="76"/>
                  </a:cubicBezTo>
                  <a:cubicBezTo>
                    <a:pt x="3" y="77"/>
                    <a:pt x="0" y="82"/>
                    <a:pt x="1" y="88"/>
                  </a:cubicBezTo>
                  <a:cubicBezTo>
                    <a:pt x="2" y="93"/>
                    <a:pt x="6" y="97"/>
                    <a:pt x="11" y="97"/>
                  </a:cubicBezTo>
                  <a:cubicBezTo>
                    <a:pt x="43" y="97"/>
                    <a:pt x="43" y="97"/>
                    <a:pt x="43" y="97"/>
                  </a:cubicBezTo>
                  <a:cubicBezTo>
                    <a:pt x="43" y="139"/>
                    <a:pt x="43" y="139"/>
                    <a:pt x="43" y="139"/>
                  </a:cubicBezTo>
                  <a:cubicBezTo>
                    <a:pt x="11" y="139"/>
                    <a:pt x="11" y="139"/>
                    <a:pt x="11" y="139"/>
                  </a:cubicBezTo>
                  <a:cubicBezTo>
                    <a:pt x="5" y="139"/>
                    <a:pt x="1" y="144"/>
                    <a:pt x="1" y="150"/>
                  </a:cubicBezTo>
                  <a:cubicBezTo>
                    <a:pt x="1" y="203"/>
                    <a:pt x="1" y="203"/>
                    <a:pt x="1" y="203"/>
                  </a:cubicBezTo>
                  <a:cubicBezTo>
                    <a:pt x="1" y="209"/>
                    <a:pt x="5" y="214"/>
                    <a:pt x="11" y="214"/>
                  </a:cubicBezTo>
                  <a:cubicBezTo>
                    <a:pt x="97" y="214"/>
                    <a:pt x="97" y="214"/>
                    <a:pt x="97" y="214"/>
                  </a:cubicBezTo>
                  <a:cubicBezTo>
                    <a:pt x="103" y="214"/>
                    <a:pt x="107" y="209"/>
                    <a:pt x="107" y="203"/>
                  </a:cubicBezTo>
                  <a:cubicBezTo>
                    <a:pt x="107" y="150"/>
                    <a:pt x="107" y="150"/>
                    <a:pt x="107" y="150"/>
                  </a:cubicBezTo>
                  <a:cubicBezTo>
                    <a:pt x="107" y="144"/>
                    <a:pt x="103" y="139"/>
                    <a:pt x="97" y="139"/>
                  </a:cubicBezTo>
                  <a:cubicBezTo>
                    <a:pt x="65" y="139"/>
                    <a:pt x="65" y="139"/>
                    <a:pt x="65" y="139"/>
                  </a:cubicBezTo>
                  <a:cubicBezTo>
                    <a:pt x="65" y="97"/>
                    <a:pt x="65" y="97"/>
                    <a:pt x="65" y="97"/>
                  </a:cubicBezTo>
                  <a:cubicBezTo>
                    <a:pt x="214" y="97"/>
                    <a:pt x="214" y="97"/>
                    <a:pt x="214" y="97"/>
                  </a:cubicBezTo>
                  <a:cubicBezTo>
                    <a:pt x="214" y="257"/>
                    <a:pt x="214" y="257"/>
                    <a:pt x="214" y="257"/>
                  </a:cubicBezTo>
                  <a:cubicBezTo>
                    <a:pt x="33" y="257"/>
                    <a:pt x="33" y="257"/>
                    <a:pt x="33" y="257"/>
                  </a:cubicBezTo>
                  <a:cubicBezTo>
                    <a:pt x="27" y="257"/>
                    <a:pt x="22" y="261"/>
                    <a:pt x="22" y="267"/>
                  </a:cubicBezTo>
                  <a:cubicBezTo>
                    <a:pt x="22" y="273"/>
                    <a:pt x="27" y="278"/>
                    <a:pt x="33" y="278"/>
                  </a:cubicBezTo>
                  <a:cubicBezTo>
                    <a:pt x="289" y="278"/>
                    <a:pt x="289" y="278"/>
                    <a:pt x="289" y="278"/>
                  </a:cubicBezTo>
                  <a:cubicBezTo>
                    <a:pt x="295" y="278"/>
                    <a:pt x="299" y="273"/>
                    <a:pt x="299" y="267"/>
                  </a:cubicBezTo>
                  <a:cubicBezTo>
                    <a:pt x="299" y="261"/>
                    <a:pt x="295" y="257"/>
                    <a:pt x="289" y="257"/>
                  </a:cubicBezTo>
                  <a:cubicBezTo>
                    <a:pt x="289" y="97"/>
                    <a:pt x="289" y="97"/>
                    <a:pt x="289" y="97"/>
                  </a:cubicBezTo>
                  <a:cubicBezTo>
                    <a:pt x="310" y="97"/>
                    <a:pt x="310" y="97"/>
                    <a:pt x="310" y="97"/>
                  </a:cubicBezTo>
                  <a:cubicBezTo>
                    <a:pt x="314" y="97"/>
                    <a:pt x="318" y="94"/>
                    <a:pt x="320" y="90"/>
                  </a:cubicBezTo>
                  <a:cubicBezTo>
                    <a:pt x="321" y="87"/>
                    <a:pt x="321" y="82"/>
                    <a:pt x="318" y="79"/>
                  </a:cubicBezTo>
                  <a:close/>
                  <a:moveTo>
                    <a:pt x="86" y="161"/>
                  </a:moveTo>
                  <a:cubicBezTo>
                    <a:pt x="86" y="193"/>
                    <a:pt x="86" y="193"/>
                    <a:pt x="86" y="193"/>
                  </a:cubicBezTo>
                  <a:cubicBezTo>
                    <a:pt x="22" y="193"/>
                    <a:pt x="22" y="193"/>
                    <a:pt x="22" y="193"/>
                  </a:cubicBezTo>
                  <a:cubicBezTo>
                    <a:pt x="22" y="161"/>
                    <a:pt x="22" y="161"/>
                    <a:pt x="22" y="161"/>
                  </a:cubicBezTo>
                  <a:lnTo>
                    <a:pt x="86" y="161"/>
                  </a:lnTo>
                  <a:close/>
                  <a:moveTo>
                    <a:pt x="257" y="75"/>
                  </a:moveTo>
                  <a:cubicBezTo>
                    <a:pt x="257" y="40"/>
                    <a:pt x="257" y="40"/>
                    <a:pt x="257" y="40"/>
                  </a:cubicBezTo>
                  <a:cubicBezTo>
                    <a:pt x="287" y="75"/>
                    <a:pt x="287" y="75"/>
                    <a:pt x="287" y="75"/>
                  </a:cubicBezTo>
                  <a:lnTo>
                    <a:pt x="257" y="75"/>
                  </a:lnTo>
                  <a:close/>
                  <a:moveTo>
                    <a:pt x="235" y="26"/>
                  </a:moveTo>
                  <a:cubicBezTo>
                    <a:pt x="235" y="75"/>
                    <a:pt x="235" y="75"/>
                    <a:pt x="235" y="75"/>
                  </a:cubicBezTo>
                  <a:cubicBezTo>
                    <a:pt x="80" y="75"/>
                    <a:pt x="80" y="75"/>
                    <a:pt x="80" y="75"/>
                  </a:cubicBezTo>
                  <a:lnTo>
                    <a:pt x="235" y="26"/>
                  </a:lnTo>
                  <a:close/>
                  <a:moveTo>
                    <a:pt x="267" y="178"/>
                  </a:moveTo>
                  <a:cubicBezTo>
                    <a:pt x="235" y="217"/>
                    <a:pt x="235" y="217"/>
                    <a:pt x="235" y="217"/>
                  </a:cubicBezTo>
                  <a:cubicBezTo>
                    <a:pt x="235" y="175"/>
                    <a:pt x="235" y="175"/>
                    <a:pt x="235" y="175"/>
                  </a:cubicBezTo>
                  <a:cubicBezTo>
                    <a:pt x="267" y="137"/>
                    <a:pt x="267" y="137"/>
                    <a:pt x="267" y="137"/>
                  </a:cubicBezTo>
                  <a:lnTo>
                    <a:pt x="267" y="178"/>
                  </a:lnTo>
                  <a:close/>
                  <a:moveTo>
                    <a:pt x="235" y="257"/>
                  </a:moveTo>
                  <a:cubicBezTo>
                    <a:pt x="235" y="250"/>
                    <a:pt x="235" y="250"/>
                    <a:pt x="235" y="250"/>
                  </a:cubicBezTo>
                  <a:cubicBezTo>
                    <a:pt x="267" y="211"/>
                    <a:pt x="267" y="211"/>
                    <a:pt x="267" y="211"/>
                  </a:cubicBezTo>
                  <a:cubicBezTo>
                    <a:pt x="267" y="257"/>
                    <a:pt x="267" y="257"/>
                    <a:pt x="267" y="257"/>
                  </a:cubicBezTo>
                  <a:lnTo>
                    <a:pt x="235" y="257"/>
                  </a:lnTo>
                  <a:close/>
                  <a:moveTo>
                    <a:pt x="267" y="103"/>
                  </a:moveTo>
                  <a:cubicBezTo>
                    <a:pt x="235" y="142"/>
                    <a:pt x="235" y="142"/>
                    <a:pt x="235" y="142"/>
                  </a:cubicBezTo>
                  <a:cubicBezTo>
                    <a:pt x="235" y="97"/>
                    <a:pt x="235" y="97"/>
                    <a:pt x="235" y="97"/>
                  </a:cubicBezTo>
                  <a:cubicBezTo>
                    <a:pt x="267" y="97"/>
                    <a:pt x="267" y="97"/>
                    <a:pt x="267" y="97"/>
                  </a:cubicBezTo>
                  <a:lnTo>
                    <a:pt x="267" y="10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ea typeface="+mn-ea"/>
                <a:cs typeface="+mn-cs"/>
              </a:endParaRPr>
            </a:p>
          </p:txBody>
        </p:sp>
      </p:grpSp>
    </p:spTree>
    <p:extLst>
      <p:ext uri="{BB962C8B-B14F-4D97-AF65-F5344CB8AC3E}">
        <p14:creationId xmlns:p14="http://schemas.microsoft.com/office/powerpoint/2010/main" val="882830911"/>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2" name="Object 131" hidden="1">
            <a:extLst>
              <a:ext uri="{FF2B5EF4-FFF2-40B4-BE49-F238E27FC236}">
                <a16:creationId xmlns:a16="http://schemas.microsoft.com/office/drawing/2014/main" id="{F6551D62-3C40-4B1C-9285-CBF5F0202AD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8660" name="think-cell Slide" r:id="rId6" imgW="395" imgH="396" progId="TCLayout.ActiveDocument.1">
                  <p:embed/>
                </p:oleObj>
              </mc:Choice>
              <mc:Fallback>
                <p:oleObj name="think-cell Slide" r:id="rId6" imgW="395" imgH="396" progId="TCLayout.ActiveDocument.1">
                  <p:embed/>
                  <p:pic>
                    <p:nvPicPr>
                      <p:cNvPr id="132" name="Object 131" hidden="1">
                        <a:extLst>
                          <a:ext uri="{FF2B5EF4-FFF2-40B4-BE49-F238E27FC236}">
                            <a16:creationId xmlns:a16="http://schemas.microsoft.com/office/drawing/2014/main" id="{F6551D62-3C40-4B1C-9285-CBF5F0202AD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1" name="Rectangle 130" hidden="1">
            <a:extLst>
              <a:ext uri="{FF2B5EF4-FFF2-40B4-BE49-F238E27FC236}">
                <a16:creationId xmlns:a16="http://schemas.microsoft.com/office/drawing/2014/main" id="{18BC397B-E2E3-4328-ADCE-4830961BEA7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EEC44DEF-83CD-4F58-9D4D-FA0F6F38B79F}"/>
              </a:ext>
            </a:extLst>
          </p:cNvPr>
          <p:cNvSpPr>
            <a:spLocks noGrp="1"/>
          </p:cNvSpPr>
          <p:nvPr>
            <p:ph type="title"/>
          </p:nvPr>
        </p:nvSpPr>
        <p:spPr>
          <a:xfrm>
            <a:off x="914400" y="694944"/>
            <a:ext cx="10363200" cy="594360"/>
          </a:xfrm>
        </p:spPr>
        <p:txBody>
          <a:bodyPr/>
          <a:lstStyle/>
          <a:p>
            <a:r>
              <a:rPr lang="en-US" dirty="0"/>
              <a:t>Activation: </a:t>
            </a:r>
            <a:r>
              <a:rPr lang="en-US" dirty="0">
                <a:ea typeface="Chronicle Display Light" charset="0"/>
                <a:cs typeface="Chronicle Display Light" charset="0"/>
              </a:rPr>
              <a:t>a solid foundation</a:t>
            </a:r>
            <a:endParaRPr lang="en-US" dirty="0"/>
          </a:p>
        </p:txBody>
      </p:sp>
      <p:sp>
        <p:nvSpPr>
          <p:cNvPr id="3" name="Text Placeholder 2">
            <a:extLst>
              <a:ext uri="{FF2B5EF4-FFF2-40B4-BE49-F238E27FC236}">
                <a16:creationId xmlns:a16="http://schemas.microsoft.com/office/drawing/2014/main" id="{C222305B-578B-47BD-B19F-30A17B539E17}"/>
              </a:ext>
            </a:extLst>
          </p:cNvPr>
          <p:cNvSpPr>
            <a:spLocks noGrp="1"/>
          </p:cNvSpPr>
          <p:nvPr>
            <p:ph type="body" sz="quarter" idx="14"/>
          </p:nvPr>
        </p:nvSpPr>
        <p:spPr/>
        <p:txBody>
          <a:bodyPr/>
          <a:lstStyle/>
          <a:p>
            <a:r>
              <a:rPr lang="en-US" dirty="0"/>
              <a:t>To deploy these solutions as well as the initial ‘no-regret’ sprints, we stood up an intermediate personalization capability focused on Seven Pillars required to launch personalized, relevant, and timely customer communication, offers, products, and services.</a:t>
            </a:r>
          </a:p>
          <a:p>
            <a:endParaRPr lang="en-US" dirty="0"/>
          </a:p>
        </p:txBody>
      </p:sp>
      <p:sp>
        <p:nvSpPr>
          <p:cNvPr id="4" name="Text Placeholder 3">
            <a:extLst>
              <a:ext uri="{FF2B5EF4-FFF2-40B4-BE49-F238E27FC236}">
                <a16:creationId xmlns:a16="http://schemas.microsoft.com/office/drawing/2014/main" id="{594D3BB8-2E21-485C-A323-CB7128DF4906}"/>
              </a:ext>
            </a:extLst>
          </p:cNvPr>
          <p:cNvSpPr>
            <a:spLocks noGrp="1"/>
          </p:cNvSpPr>
          <p:nvPr>
            <p:ph type="body" sz="quarter" idx="15"/>
          </p:nvPr>
        </p:nvSpPr>
        <p:spPr>
          <a:xfrm>
            <a:off x="914970" y="466344"/>
            <a:ext cx="3985243" cy="126230"/>
          </a:xfrm>
        </p:spPr>
        <p:txBody>
          <a:bodyPr/>
          <a:lstStyle/>
          <a:p>
            <a:r>
              <a:rPr lang="en-US" dirty="0"/>
              <a:t>FRAMEWORKS &amp; CONCEPT ILLUSTRATION</a:t>
            </a:r>
          </a:p>
        </p:txBody>
      </p:sp>
      <p:graphicFrame>
        <p:nvGraphicFramePr>
          <p:cNvPr id="5" name="Table 4">
            <a:extLst>
              <a:ext uri="{FF2B5EF4-FFF2-40B4-BE49-F238E27FC236}">
                <a16:creationId xmlns:a16="http://schemas.microsoft.com/office/drawing/2014/main" id="{7350D3C4-6573-4AAF-B94A-F23307429608}"/>
              </a:ext>
            </a:extLst>
          </p:cNvPr>
          <p:cNvGraphicFramePr>
            <a:graphicFrameLocks noGrp="1"/>
          </p:cNvGraphicFramePr>
          <p:nvPr/>
        </p:nvGraphicFramePr>
        <p:xfrm>
          <a:off x="4818202" y="2166156"/>
          <a:ext cx="6631460" cy="3840480"/>
        </p:xfrm>
        <a:graphic>
          <a:graphicData uri="http://schemas.openxmlformats.org/drawingml/2006/table">
            <a:tbl>
              <a:tblPr bandRow="1">
                <a:tableStyleId>{7E9639D4-E3E2-4D34-9284-5A2195B3D0D7}</a:tableStyleId>
              </a:tblPr>
              <a:tblGrid>
                <a:gridCol w="649225">
                  <a:extLst>
                    <a:ext uri="{9D8B030D-6E8A-4147-A177-3AD203B41FA5}">
                      <a16:colId xmlns:a16="http://schemas.microsoft.com/office/drawing/2014/main" val="20000"/>
                    </a:ext>
                  </a:extLst>
                </a:gridCol>
                <a:gridCol w="1921398">
                  <a:extLst>
                    <a:ext uri="{9D8B030D-6E8A-4147-A177-3AD203B41FA5}">
                      <a16:colId xmlns:a16="http://schemas.microsoft.com/office/drawing/2014/main" val="20001"/>
                    </a:ext>
                  </a:extLst>
                </a:gridCol>
                <a:gridCol w="4060837">
                  <a:extLst>
                    <a:ext uri="{9D8B030D-6E8A-4147-A177-3AD203B41FA5}">
                      <a16:colId xmlns:a16="http://schemas.microsoft.com/office/drawing/2014/main" val="20002"/>
                    </a:ext>
                  </a:extLst>
                </a:gridCol>
              </a:tblGrid>
              <a:tr h="548640">
                <a:tc>
                  <a:txBody>
                    <a:bodyPr/>
                    <a:lstStyle/>
                    <a:p>
                      <a:endParaRPr lang="en-US" sz="1000" b="1" dirty="0">
                        <a:solidFill>
                          <a:schemeClr val="tx2"/>
                        </a:solidFill>
                        <a:latin typeface="+mn-lt"/>
                        <a:cs typeface="Open Sans"/>
                      </a:endParaRPr>
                    </a:p>
                  </a:txBody>
                  <a:tcPr marL="83127" marR="83127" marT="40341" marB="40341"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50" b="1" dirty="0">
                          <a:solidFill>
                            <a:schemeClr val="tx2"/>
                          </a:solidFill>
                          <a:latin typeface="+mn-lt"/>
                          <a:cs typeface="Open Sans"/>
                        </a:rPr>
                        <a:t>Customer Experience –  </a:t>
                      </a:r>
                    </a:p>
                    <a:p>
                      <a:r>
                        <a:rPr lang="en-US" sz="1050" b="0" i="1" dirty="0">
                          <a:solidFill>
                            <a:schemeClr val="tx2"/>
                          </a:solidFill>
                          <a:latin typeface="+mn-lt"/>
                          <a:cs typeface="Open Sans"/>
                        </a:rPr>
                        <a:t>Gather customer insights</a:t>
                      </a:r>
                    </a:p>
                  </a:txBody>
                  <a:tcPr marL="83127" marR="83127"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900" dirty="0">
                          <a:solidFill>
                            <a:srgbClr val="000000"/>
                          </a:solidFill>
                          <a:cs typeface="Frutiger Next Pro Light"/>
                        </a:rPr>
                        <a:t>Understand the customer’s journey, their behaviors, and the moments of influence – to reach them more intelligently and to use that interaction to better engage with them going forward. </a:t>
                      </a:r>
                    </a:p>
                  </a:txBody>
                  <a:tcPr marL="83127" marR="83127" marT="40341" marB="40341"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31868261"/>
                  </a:ext>
                </a:extLst>
              </a:tr>
              <a:tr h="548640">
                <a:tc>
                  <a:txBody>
                    <a:bodyPr/>
                    <a:lstStyle/>
                    <a:p>
                      <a:endParaRPr lang="en-US" sz="1000" b="1" dirty="0">
                        <a:solidFill>
                          <a:schemeClr val="tx2"/>
                        </a:solidFill>
                        <a:latin typeface="+mn-lt"/>
                        <a:cs typeface="Open Sans"/>
                      </a:endParaRPr>
                    </a:p>
                  </a:txBody>
                  <a:tcPr marL="83127" marR="83127" marT="40341" marB="40341"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50" b="1" dirty="0">
                          <a:solidFill>
                            <a:schemeClr val="tx2"/>
                          </a:solidFill>
                          <a:latin typeface="+mn-lt"/>
                          <a:cs typeface="Open Sans"/>
                        </a:rPr>
                        <a:t>Test &amp; Learn – </a:t>
                      </a:r>
                    </a:p>
                    <a:p>
                      <a:r>
                        <a:rPr lang="en-US" sz="1050" b="0" i="1" dirty="0">
                          <a:solidFill>
                            <a:schemeClr val="tx2"/>
                          </a:solidFill>
                          <a:latin typeface="+mn-lt"/>
                          <a:cs typeface="Open Sans"/>
                        </a:rPr>
                        <a:t>Find out what works</a:t>
                      </a:r>
                      <a:endParaRPr lang="en-US" sz="1050" b="1" dirty="0">
                        <a:solidFill>
                          <a:schemeClr val="tx2"/>
                        </a:solidFill>
                        <a:latin typeface="+mn-lt"/>
                        <a:cs typeface="Open Sans"/>
                      </a:endParaRPr>
                    </a:p>
                  </a:txBody>
                  <a:tcPr marL="83127" marR="83127"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900" dirty="0">
                          <a:cs typeface="Frutiger Next Pro Light"/>
                        </a:rPr>
                        <a:t>Capture and ingest disparate sources to explore customer behavior across Client’s owned platforms, develop &amp; test hypotheses, and train prediction models to enable a compelling and tailored experience.</a:t>
                      </a:r>
                    </a:p>
                  </a:txBody>
                  <a:tcPr marL="83127" marR="83127" marT="40341" marB="40341"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1839945"/>
                  </a:ext>
                </a:extLst>
              </a:tr>
              <a:tr h="548640">
                <a:tc>
                  <a:txBody>
                    <a:bodyPr/>
                    <a:lstStyle/>
                    <a:p>
                      <a:endParaRPr lang="en-US" sz="1000" b="1" dirty="0">
                        <a:solidFill>
                          <a:schemeClr val="tx2"/>
                        </a:solidFill>
                        <a:latin typeface="+mn-lt"/>
                        <a:cs typeface="Open Sans"/>
                      </a:endParaRPr>
                    </a:p>
                  </a:txBody>
                  <a:tcPr marL="83127" marR="83127" marT="40341" marB="40341"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50" b="1" dirty="0">
                          <a:solidFill>
                            <a:schemeClr val="tx2"/>
                          </a:solidFill>
                          <a:latin typeface="+mn-lt"/>
                          <a:cs typeface="Open Sans"/>
                        </a:rPr>
                        <a:t>Industrialize – </a:t>
                      </a:r>
                    </a:p>
                    <a:p>
                      <a:r>
                        <a:rPr lang="en-US" sz="1050" b="0" i="1" dirty="0">
                          <a:solidFill>
                            <a:schemeClr val="tx2"/>
                          </a:solidFill>
                          <a:latin typeface="+mn-lt"/>
                          <a:cs typeface="Open Sans"/>
                        </a:rPr>
                        <a:t>Deploy a tested solution </a:t>
                      </a:r>
                      <a:endParaRPr lang="en-US" sz="1050" b="1" dirty="0">
                        <a:solidFill>
                          <a:schemeClr val="tx2"/>
                        </a:solidFill>
                        <a:latin typeface="+mn-lt"/>
                        <a:cs typeface="Open Sans"/>
                      </a:endParaRPr>
                    </a:p>
                  </a:txBody>
                  <a:tcPr marL="83127" marR="83127"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900" dirty="0">
                          <a:solidFill>
                            <a:srgbClr val="000000"/>
                          </a:solidFill>
                          <a:cs typeface="Frutiger Next Pro Light"/>
                        </a:rPr>
                        <a:t>Industrialize personalization techniques – including prediction models – on Big Data platforms in combination with existing EDW. </a:t>
                      </a:r>
                      <a:r>
                        <a:rPr kumimoji="0" lang="en-US" sz="900" b="0" i="0" u="none" strike="noStrike" kern="1200" cap="none" spc="0" normalizeH="0" baseline="0" dirty="0">
                          <a:ln>
                            <a:noFill/>
                          </a:ln>
                          <a:solidFill>
                            <a:schemeClr val="tx1"/>
                          </a:solidFill>
                          <a:effectLst/>
                          <a:uLnTx/>
                          <a:uFillTx/>
                          <a:latin typeface="+mn-lt"/>
                          <a:ea typeface="+mn-ea"/>
                          <a:cs typeface="Arial" charset="0"/>
                        </a:rPr>
                        <a:t>The personalization engine deploys decisions at specific touchpoints. </a:t>
                      </a:r>
                      <a:endParaRPr lang="en-US" sz="900" dirty="0">
                        <a:solidFill>
                          <a:srgbClr val="000000"/>
                        </a:solidFill>
                        <a:cs typeface="Frutiger Next Pro Light"/>
                      </a:endParaRPr>
                    </a:p>
                  </a:txBody>
                  <a:tcPr marL="83127" marR="83127" marT="40341" marB="40341"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3837555"/>
                  </a:ext>
                </a:extLst>
              </a:tr>
              <a:tr h="548640">
                <a:tc>
                  <a:txBody>
                    <a:bodyPr/>
                    <a:lstStyle/>
                    <a:p>
                      <a:endParaRPr lang="en-US" sz="1000" b="1" dirty="0">
                        <a:solidFill>
                          <a:schemeClr val="tx2"/>
                        </a:solidFill>
                        <a:latin typeface="+mn-lt"/>
                        <a:cs typeface="Open Sans"/>
                      </a:endParaRPr>
                    </a:p>
                  </a:txBody>
                  <a:tcPr marL="83127" marR="83127" marT="40341" marB="40341"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50" b="1" dirty="0">
                          <a:solidFill>
                            <a:schemeClr val="tx2"/>
                          </a:solidFill>
                          <a:latin typeface="+mn-lt"/>
                          <a:cs typeface="Open Sans"/>
                        </a:rPr>
                        <a:t>Personalization Engine –</a:t>
                      </a:r>
                    </a:p>
                    <a:p>
                      <a:r>
                        <a:rPr lang="en-US" sz="1050" b="0" i="1" dirty="0">
                          <a:solidFill>
                            <a:schemeClr val="tx2"/>
                          </a:solidFill>
                          <a:latin typeface="+mn-lt"/>
                          <a:cs typeface="Open Sans"/>
                        </a:rPr>
                        <a:t>Automate delivery</a:t>
                      </a:r>
                      <a:endParaRPr lang="en-US" sz="1050" b="1" dirty="0">
                        <a:solidFill>
                          <a:schemeClr val="tx2"/>
                        </a:solidFill>
                        <a:latin typeface="+mn-lt"/>
                        <a:cs typeface="Open Sans"/>
                      </a:endParaRPr>
                    </a:p>
                  </a:txBody>
                  <a:tcPr marL="83127" marR="83127"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900" dirty="0">
                          <a:solidFill>
                            <a:srgbClr val="000000"/>
                          </a:solidFill>
                          <a:cs typeface="Frutiger Next Pro Light"/>
                        </a:rPr>
                        <a:t>Generate customer affinity scores by managing a data lake of customer profiles, matches affinity with a real-time inventory of available products and services, and deploys personalized offers</a:t>
                      </a:r>
                    </a:p>
                  </a:txBody>
                  <a:tcPr marL="83127" marR="83127" marT="40341" marB="40341"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7396588"/>
                  </a:ext>
                </a:extLst>
              </a:tr>
              <a:tr h="548640">
                <a:tc>
                  <a:txBody>
                    <a:bodyPr/>
                    <a:lstStyle/>
                    <a:p>
                      <a:endParaRPr lang="en-US" sz="1000" b="1" dirty="0">
                        <a:solidFill>
                          <a:schemeClr val="tx1"/>
                        </a:solidFill>
                        <a:latin typeface="+mn-lt"/>
                        <a:cs typeface="Open Sans"/>
                      </a:endParaRPr>
                    </a:p>
                  </a:txBody>
                  <a:tcPr marL="83127" marR="83127" marT="40341" marB="40341"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50" b="1" dirty="0">
                          <a:solidFill>
                            <a:schemeClr val="tx2"/>
                          </a:solidFill>
                          <a:latin typeface="+mn-lt"/>
                          <a:cs typeface="Open Sans"/>
                        </a:rPr>
                        <a:t>Operating Model –</a:t>
                      </a:r>
                    </a:p>
                    <a:p>
                      <a:r>
                        <a:rPr lang="en-US" sz="1050" b="0" i="1" dirty="0">
                          <a:solidFill>
                            <a:schemeClr val="tx2"/>
                          </a:solidFill>
                          <a:latin typeface="+mn-lt"/>
                          <a:cs typeface="Open Sans"/>
                        </a:rPr>
                        <a:t>Build a sustainable capability</a:t>
                      </a:r>
                    </a:p>
                  </a:txBody>
                  <a:tcPr marL="83127" marR="83127"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900" dirty="0">
                          <a:solidFill>
                            <a:srgbClr val="000000"/>
                          </a:solidFill>
                          <a:cs typeface="Frutiger Next Pro Light"/>
                        </a:rPr>
                        <a:t>Define a target operating model including the objective / mission,  org structure &amp; talent, data, tools, &amp; technology, signature processes, and points of integration with the broader Client organization.</a:t>
                      </a:r>
                    </a:p>
                  </a:txBody>
                  <a:tcPr marL="83127" marR="83127" marT="40341" marB="40341"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48640">
                <a:tc>
                  <a:txBody>
                    <a:bodyPr/>
                    <a:lstStyle/>
                    <a:p>
                      <a:endParaRPr lang="en-US" sz="1000" b="1" dirty="0">
                        <a:solidFill>
                          <a:schemeClr val="tx1"/>
                        </a:solidFill>
                        <a:latin typeface="+mn-lt"/>
                        <a:cs typeface="Open Sans"/>
                      </a:endParaRPr>
                    </a:p>
                  </a:txBody>
                  <a:tcPr marL="83127" marR="83127" marT="40341" marB="40341"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50" b="1" dirty="0">
                          <a:solidFill>
                            <a:schemeClr val="tx2"/>
                          </a:solidFill>
                          <a:latin typeface="+mn-lt"/>
                          <a:cs typeface="Open Sans"/>
                        </a:rPr>
                        <a:t>Solution Architecture – </a:t>
                      </a:r>
                    </a:p>
                    <a:p>
                      <a:r>
                        <a:rPr lang="en-US" sz="1050" b="0" i="1" dirty="0">
                          <a:solidFill>
                            <a:schemeClr val="tx2"/>
                          </a:solidFill>
                          <a:latin typeface="+mn-lt"/>
                          <a:cs typeface="Open Sans"/>
                        </a:rPr>
                        <a:t>Be future-proof</a:t>
                      </a:r>
                      <a:endParaRPr lang="en-US" sz="1050" b="1" dirty="0">
                        <a:solidFill>
                          <a:schemeClr val="tx2"/>
                        </a:solidFill>
                        <a:latin typeface="+mn-lt"/>
                        <a:cs typeface="Open Sans"/>
                      </a:endParaRPr>
                    </a:p>
                  </a:txBody>
                  <a:tcPr marL="83127" marR="83127"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900" dirty="0">
                          <a:solidFill>
                            <a:srgbClr val="000000"/>
                          </a:solidFill>
                          <a:cs typeface="Frutiger Next Pro Light"/>
                        </a:rPr>
                        <a:t>Design a Solution Architecture to deliver a state-of-the-art future architecture with integration into the existing landscape as well as the evolving landscape and a path to transition to the end solution.</a:t>
                      </a:r>
                    </a:p>
                  </a:txBody>
                  <a:tcPr marL="83127" marR="83127" marT="40341" marB="40341"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31775"/>
                  </a:ext>
                </a:extLst>
              </a:tr>
              <a:tr h="548640">
                <a:tc>
                  <a:txBody>
                    <a:bodyPr/>
                    <a:lstStyle/>
                    <a:p>
                      <a:endParaRPr lang="en-US" sz="1000" b="1" dirty="0">
                        <a:solidFill>
                          <a:schemeClr val="tx1"/>
                        </a:solidFill>
                        <a:latin typeface="+mn-lt"/>
                        <a:cs typeface="Open Sans"/>
                      </a:endParaRPr>
                    </a:p>
                  </a:txBody>
                  <a:tcPr marL="83127" marR="83127" marT="40341" marB="40341"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50" b="1" dirty="0">
                          <a:solidFill>
                            <a:schemeClr val="tx2"/>
                          </a:solidFill>
                          <a:latin typeface="+mn-lt"/>
                          <a:cs typeface="Open Sans"/>
                        </a:rPr>
                        <a:t>Communication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1" dirty="0">
                          <a:solidFill>
                            <a:schemeClr val="tx2"/>
                          </a:solidFill>
                          <a:latin typeface="+mn-lt"/>
                          <a:cs typeface="Open Sans"/>
                        </a:rPr>
                        <a:t>Manage the change</a:t>
                      </a:r>
                      <a:endParaRPr lang="en-US" sz="1050" b="1" dirty="0">
                        <a:solidFill>
                          <a:schemeClr val="tx2"/>
                        </a:solidFill>
                        <a:latin typeface="+mn-lt"/>
                        <a:cs typeface="Open Sans"/>
                      </a:endParaRPr>
                    </a:p>
                  </a:txBody>
                  <a:tcPr marL="83127" marR="83127"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rgbClr val="000000"/>
                          </a:solidFill>
                          <a:cs typeface="Frutiger Next Pro Light"/>
                        </a:rPr>
                        <a:t>Implement a holistic communication strategy </a:t>
                      </a:r>
                      <a:r>
                        <a:rPr lang="en-US" sz="900" b="0" u="none" kern="1200" baseline="0" noProof="0" dirty="0">
                          <a:solidFill>
                            <a:schemeClr val="tx1"/>
                          </a:solidFill>
                          <a:effectLst/>
                          <a:latin typeface="+mn-lt"/>
                          <a:ea typeface="+mn-ea"/>
                          <a:cs typeface="+mn-cs"/>
                        </a:rPr>
                        <a:t>focusing on updates to the key stakeholders, board level communication, support of events and a change agent network.</a:t>
                      </a:r>
                    </a:p>
                  </a:txBody>
                  <a:tcPr marL="83127" marR="83127" marT="40341" marB="40341"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61825480"/>
                  </a:ext>
                </a:extLst>
              </a:tr>
            </a:tbl>
          </a:graphicData>
        </a:graphic>
      </p:graphicFrame>
      <p:sp>
        <p:nvSpPr>
          <p:cNvPr id="6" name="Title 1">
            <a:extLst>
              <a:ext uri="{FF2B5EF4-FFF2-40B4-BE49-F238E27FC236}">
                <a16:creationId xmlns:a16="http://schemas.microsoft.com/office/drawing/2014/main" id="{CACC820F-62EB-4DBE-A4D9-D1F18118CF80}"/>
              </a:ext>
            </a:extLst>
          </p:cNvPr>
          <p:cNvSpPr txBox="1">
            <a:spLocks/>
          </p:cNvSpPr>
          <p:nvPr/>
        </p:nvSpPr>
        <p:spPr>
          <a:xfrm>
            <a:off x="914400" y="694944"/>
            <a:ext cx="10363200"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latin typeface="Chronicle Display Light" charset="0"/>
              <a:ea typeface="Chronicle Display Light" charset="0"/>
              <a:cs typeface="Chronicle Display Light" charset="0"/>
            </a:endParaRPr>
          </a:p>
        </p:txBody>
      </p:sp>
      <p:sp>
        <p:nvSpPr>
          <p:cNvPr id="7" name="Text Placeholder 5">
            <a:extLst>
              <a:ext uri="{FF2B5EF4-FFF2-40B4-BE49-F238E27FC236}">
                <a16:creationId xmlns:a16="http://schemas.microsoft.com/office/drawing/2014/main" id="{5A61DEC9-7614-4451-8958-B5B843EBB7FC}"/>
              </a:ext>
            </a:extLst>
          </p:cNvPr>
          <p:cNvSpPr txBox="1">
            <a:spLocks/>
          </p:cNvSpPr>
          <p:nvPr/>
        </p:nvSpPr>
        <p:spPr>
          <a:xfrm>
            <a:off x="914720" y="1353312"/>
            <a:ext cx="8734377" cy="475488"/>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12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grpSp>
        <p:nvGrpSpPr>
          <p:cNvPr id="8" name="Group 7">
            <a:extLst>
              <a:ext uri="{FF2B5EF4-FFF2-40B4-BE49-F238E27FC236}">
                <a16:creationId xmlns:a16="http://schemas.microsoft.com/office/drawing/2014/main" id="{102F829C-52D5-4E6E-8912-488E300AD060}"/>
              </a:ext>
            </a:extLst>
          </p:cNvPr>
          <p:cNvGrpSpPr>
            <a:grpSpLocks noChangeAspect="1"/>
          </p:cNvGrpSpPr>
          <p:nvPr/>
        </p:nvGrpSpPr>
        <p:grpSpPr>
          <a:xfrm>
            <a:off x="4979767" y="2266953"/>
            <a:ext cx="321169" cy="319223"/>
            <a:chOff x="10234613" y="5860098"/>
            <a:chExt cx="523875" cy="520700"/>
          </a:xfrm>
        </p:grpSpPr>
        <p:sp>
          <p:nvSpPr>
            <p:cNvPr id="9" name="Freeform 61">
              <a:extLst>
                <a:ext uri="{FF2B5EF4-FFF2-40B4-BE49-F238E27FC236}">
                  <a16:creationId xmlns:a16="http://schemas.microsoft.com/office/drawing/2014/main" id="{E1C8B549-91CB-41F2-94C5-98AB34F6A1DE}"/>
                </a:ext>
              </a:extLst>
            </p:cNvPr>
            <p:cNvSpPr>
              <a:spLocks noEditPoints="1"/>
            </p:cNvSpPr>
            <p:nvPr/>
          </p:nvSpPr>
          <p:spPr bwMode="auto">
            <a:xfrm>
              <a:off x="10234613" y="5860098"/>
              <a:ext cx="523875" cy="520700"/>
            </a:xfrm>
            <a:custGeom>
              <a:avLst/>
              <a:gdLst>
                <a:gd name="T0" fmla="*/ 313 w 658"/>
                <a:gd name="T1" fmla="*/ 658 h 658"/>
                <a:gd name="T2" fmla="*/ 263 w 658"/>
                <a:gd name="T3" fmla="*/ 651 h 658"/>
                <a:gd name="T4" fmla="*/ 201 w 658"/>
                <a:gd name="T5" fmla="*/ 632 h 658"/>
                <a:gd name="T6" fmla="*/ 119 w 658"/>
                <a:gd name="T7" fmla="*/ 582 h 658"/>
                <a:gd name="T8" fmla="*/ 56 w 658"/>
                <a:gd name="T9" fmla="*/ 512 h 658"/>
                <a:gd name="T10" fmla="*/ 14 w 658"/>
                <a:gd name="T11" fmla="*/ 426 h 658"/>
                <a:gd name="T12" fmla="*/ 4 w 658"/>
                <a:gd name="T13" fmla="*/ 379 h 658"/>
                <a:gd name="T14" fmla="*/ 0 w 658"/>
                <a:gd name="T15" fmla="*/ 328 h 658"/>
                <a:gd name="T16" fmla="*/ 2 w 658"/>
                <a:gd name="T17" fmla="*/ 295 h 658"/>
                <a:gd name="T18" fmla="*/ 10 w 658"/>
                <a:gd name="T19" fmla="*/ 246 h 658"/>
                <a:gd name="T20" fmla="*/ 40 w 658"/>
                <a:gd name="T21" fmla="*/ 172 h 658"/>
                <a:gd name="T22" fmla="*/ 96 w 658"/>
                <a:gd name="T23" fmla="*/ 96 h 658"/>
                <a:gd name="T24" fmla="*/ 173 w 658"/>
                <a:gd name="T25" fmla="*/ 39 h 658"/>
                <a:gd name="T26" fmla="*/ 247 w 658"/>
                <a:gd name="T27" fmla="*/ 10 h 658"/>
                <a:gd name="T28" fmla="*/ 295 w 658"/>
                <a:gd name="T29" fmla="*/ 2 h 658"/>
                <a:gd name="T30" fmla="*/ 329 w 658"/>
                <a:gd name="T31" fmla="*/ 0 h 658"/>
                <a:gd name="T32" fmla="*/ 379 w 658"/>
                <a:gd name="T33" fmla="*/ 3 h 658"/>
                <a:gd name="T34" fmla="*/ 427 w 658"/>
                <a:gd name="T35" fmla="*/ 15 h 658"/>
                <a:gd name="T36" fmla="*/ 513 w 658"/>
                <a:gd name="T37" fmla="*/ 56 h 658"/>
                <a:gd name="T38" fmla="*/ 583 w 658"/>
                <a:gd name="T39" fmla="*/ 120 h 658"/>
                <a:gd name="T40" fmla="*/ 633 w 658"/>
                <a:gd name="T41" fmla="*/ 201 h 658"/>
                <a:gd name="T42" fmla="*/ 651 w 658"/>
                <a:gd name="T43" fmla="*/ 262 h 658"/>
                <a:gd name="T44" fmla="*/ 658 w 658"/>
                <a:gd name="T45" fmla="*/ 312 h 658"/>
                <a:gd name="T46" fmla="*/ 658 w 658"/>
                <a:gd name="T47" fmla="*/ 346 h 658"/>
                <a:gd name="T48" fmla="*/ 651 w 658"/>
                <a:gd name="T49" fmla="*/ 396 h 658"/>
                <a:gd name="T50" fmla="*/ 633 w 658"/>
                <a:gd name="T51" fmla="*/ 457 h 658"/>
                <a:gd name="T52" fmla="*/ 583 w 658"/>
                <a:gd name="T53" fmla="*/ 538 h 658"/>
                <a:gd name="T54" fmla="*/ 513 w 658"/>
                <a:gd name="T55" fmla="*/ 601 h 658"/>
                <a:gd name="T56" fmla="*/ 427 w 658"/>
                <a:gd name="T57" fmla="*/ 643 h 658"/>
                <a:gd name="T58" fmla="*/ 379 w 658"/>
                <a:gd name="T59" fmla="*/ 654 h 658"/>
                <a:gd name="T60" fmla="*/ 329 w 658"/>
                <a:gd name="T61" fmla="*/ 658 h 658"/>
                <a:gd name="T62" fmla="*/ 329 w 658"/>
                <a:gd name="T63" fmla="*/ 38 h 658"/>
                <a:gd name="T64" fmla="*/ 243 w 658"/>
                <a:gd name="T65" fmla="*/ 50 h 658"/>
                <a:gd name="T66" fmla="*/ 166 w 658"/>
                <a:gd name="T67" fmla="*/ 88 h 658"/>
                <a:gd name="T68" fmla="*/ 104 w 658"/>
                <a:gd name="T69" fmla="*/ 144 h 658"/>
                <a:gd name="T70" fmla="*/ 60 w 658"/>
                <a:gd name="T71" fmla="*/ 215 h 658"/>
                <a:gd name="T72" fmla="*/ 39 w 658"/>
                <a:gd name="T73" fmla="*/ 299 h 658"/>
                <a:gd name="T74" fmla="*/ 39 w 658"/>
                <a:gd name="T75" fmla="*/ 358 h 658"/>
                <a:gd name="T76" fmla="*/ 60 w 658"/>
                <a:gd name="T77" fmla="*/ 443 h 658"/>
                <a:gd name="T78" fmla="*/ 104 w 658"/>
                <a:gd name="T79" fmla="*/ 514 h 658"/>
                <a:gd name="T80" fmla="*/ 166 w 658"/>
                <a:gd name="T81" fmla="*/ 570 h 658"/>
                <a:gd name="T82" fmla="*/ 243 w 658"/>
                <a:gd name="T83" fmla="*/ 607 h 658"/>
                <a:gd name="T84" fmla="*/ 329 w 658"/>
                <a:gd name="T85" fmla="*/ 620 h 658"/>
                <a:gd name="T86" fmla="*/ 388 w 658"/>
                <a:gd name="T87" fmla="*/ 615 h 658"/>
                <a:gd name="T88" fmla="*/ 467 w 658"/>
                <a:gd name="T89" fmla="*/ 585 h 658"/>
                <a:gd name="T90" fmla="*/ 535 w 658"/>
                <a:gd name="T91" fmla="*/ 535 h 658"/>
                <a:gd name="T92" fmla="*/ 586 w 658"/>
                <a:gd name="T93" fmla="*/ 468 h 658"/>
                <a:gd name="T94" fmla="*/ 614 w 658"/>
                <a:gd name="T95" fmla="*/ 387 h 658"/>
                <a:gd name="T96" fmla="*/ 621 w 658"/>
                <a:gd name="T97" fmla="*/ 328 h 658"/>
                <a:gd name="T98" fmla="*/ 607 w 658"/>
                <a:gd name="T99" fmla="*/ 242 h 658"/>
                <a:gd name="T100" fmla="*/ 571 w 658"/>
                <a:gd name="T101" fmla="*/ 166 h 658"/>
                <a:gd name="T102" fmla="*/ 514 w 658"/>
                <a:gd name="T103" fmla="*/ 104 h 658"/>
                <a:gd name="T104" fmla="*/ 442 w 658"/>
                <a:gd name="T105" fmla="*/ 61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8"/>
                  </a:lnTo>
                  <a:lnTo>
                    <a:pt x="295" y="656"/>
                  </a:lnTo>
                  <a:lnTo>
                    <a:pt x="279" y="654"/>
                  </a:lnTo>
                  <a:lnTo>
                    <a:pt x="263" y="651"/>
                  </a:lnTo>
                  <a:lnTo>
                    <a:pt x="247" y="647"/>
                  </a:lnTo>
                  <a:lnTo>
                    <a:pt x="231" y="643"/>
                  </a:lnTo>
                  <a:lnTo>
                    <a:pt x="201" y="632"/>
                  </a:lnTo>
                  <a:lnTo>
                    <a:pt x="173" y="619"/>
                  </a:lnTo>
                  <a:lnTo>
                    <a:pt x="145" y="601"/>
                  </a:lnTo>
                  <a:lnTo>
                    <a:pt x="119" y="582"/>
                  </a:lnTo>
                  <a:lnTo>
                    <a:pt x="96" y="561"/>
                  </a:lnTo>
                  <a:lnTo>
                    <a:pt x="75" y="538"/>
                  </a:lnTo>
                  <a:lnTo>
                    <a:pt x="56" y="512"/>
                  </a:lnTo>
                  <a:lnTo>
                    <a:pt x="40" y="486"/>
                  </a:lnTo>
                  <a:lnTo>
                    <a:pt x="27" y="457"/>
                  </a:lnTo>
                  <a:lnTo>
                    <a:pt x="14" y="426"/>
                  </a:lnTo>
                  <a:lnTo>
                    <a:pt x="10" y="410"/>
                  </a:lnTo>
                  <a:lnTo>
                    <a:pt x="6" y="396"/>
                  </a:lnTo>
                  <a:lnTo>
                    <a:pt x="4" y="379"/>
                  </a:lnTo>
                  <a:lnTo>
                    <a:pt x="2" y="362"/>
                  </a:lnTo>
                  <a:lnTo>
                    <a:pt x="1" y="346"/>
                  </a:lnTo>
                  <a:lnTo>
                    <a:pt x="0" y="328"/>
                  </a:lnTo>
                  <a:lnTo>
                    <a:pt x="0" y="328"/>
                  </a:lnTo>
                  <a:lnTo>
                    <a:pt x="1" y="312"/>
                  </a:lnTo>
                  <a:lnTo>
                    <a:pt x="2" y="295"/>
                  </a:lnTo>
                  <a:lnTo>
                    <a:pt x="4" y="279"/>
                  </a:lnTo>
                  <a:lnTo>
                    <a:pt x="6" y="262"/>
                  </a:lnTo>
                  <a:lnTo>
                    <a:pt x="10" y="246"/>
                  </a:lnTo>
                  <a:lnTo>
                    <a:pt x="14" y="232"/>
                  </a:lnTo>
                  <a:lnTo>
                    <a:pt x="27" y="201"/>
                  </a:lnTo>
                  <a:lnTo>
                    <a:pt x="40" y="172"/>
                  </a:lnTo>
                  <a:lnTo>
                    <a:pt x="56" y="146"/>
                  </a:lnTo>
                  <a:lnTo>
                    <a:pt x="75" y="120"/>
                  </a:lnTo>
                  <a:lnTo>
                    <a:pt x="96" y="96"/>
                  </a:lnTo>
                  <a:lnTo>
                    <a:pt x="119" y="76"/>
                  </a:lnTo>
                  <a:lnTo>
                    <a:pt x="145" y="56"/>
                  </a:lnTo>
                  <a:lnTo>
                    <a:pt x="173" y="39"/>
                  </a:lnTo>
                  <a:lnTo>
                    <a:pt x="201" y="26"/>
                  </a:lnTo>
                  <a:lnTo>
                    <a:pt x="231" y="15"/>
                  </a:lnTo>
                  <a:lnTo>
                    <a:pt x="247" y="10"/>
                  </a:lnTo>
                  <a:lnTo>
                    <a:pt x="263" y="7"/>
                  </a:lnTo>
                  <a:lnTo>
                    <a:pt x="279" y="3"/>
                  </a:lnTo>
                  <a:lnTo>
                    <a:pt x="295" y="2"/>
                  </a:lnTo>
                  <a:lnTo>
                    <a:pt x="313" y="0"/>
                  </a:lnTo>
                  <a:lnTo>
                    <a:pt x="329" y="0"/>
                  </a:lnTo>
                  <a:lnTo>
                    <a:pt x="329" y="0"/>
                  </a:lnTo>
                  <a:lnTo>
                    <a:pt x="346" y="0"/>
                  </a:lnTo>
                  <a:lnTo>
                    <a:pt x="363" y="2"/>
                  </a:lnTo>
                  <a:lnTo>
                    <a:pt x="379" y="3"/>
                  </a:lnTo>
                  <a:lnTo>
                    <a:pt x="395" y="7"/>
                  </a:lnTo>
                  <a:lnTo>
                    <a:pt x="411" y="10"/>
                  </a:lnTo>
                  <a:lnTo>
                    <a:pt x="427" y="15"/>
                  </a:lnTo>
                  <a:lnTo>
                    <a:pt x="457" y="26"/>
                  </a:lnTo>
                  <a:lnTo>
                    <a:pt x="486" y="39"/>
                  </a:lnTo>
                  <a:lnTo>
                    <a:pt x="513" y="56"/>
                  </a:lnTo>
                  <a:lnTo>
                    <a:pt x="539" y="76"/>
                  </a:lnTo>
                  <a:lnTo>
                    <a:pt x="561" y="96"/>
                  </a:lnTo>
                  <a:lnTo>
                    <a:pt x="583" y="120"/>
                  </a:lnTo>
                  <a:lnTo>
                    <a:pt x="602" y="146"/>
                  </a:lnTo>
                  <a:lnTo>
                    <a:pt x="618" y="172"/>
                  </a:lnTo>
                  <a:lnTo>
                    <a:pt x="633" y="201"/>
                  </a:lnTo>
                  <a:lnTo>
                    <a:pt x="643" y="232"/>
                  </a:lnTo>
                  <a:lnTo>
                    <a:pt x="647" y="246"/>
                  </a:lnTo>
                  <a:lnTo>
                    <a:pt x="651" y="262"/>
                  </a:lnTo>
                  <a:lnTo>
                    <a:pt x="654" y="279"/>
                  </a:lnTo>
                  <a:lnTo>
                    <a:pt x="657" y="295"/>
                  </a:lnTo>
                  <a:lnTo>
                    <a:pt x="658" y="312"/>
                  </a:lnTo>
                  <a:lnTo>
                    <a:pt x="658" y="328"/>
                  </a:lnTo>
                  <a:lnTo>
                    <a:pt x="658" y="328"/>
                  </a:lnTo>
                  <a:lnTo>
                    <a:pt x="658" y="346"/>
                  </a:lnTo>
                  <a:lnTo>
                    <a:pt x="657" y="362"/>
                  </a:lnTo>
                  <a:lnTo>
                    <a:pt x="654" y="379"/>
                  </a:lnTo>
                  <a:lnTo>
                    <a:pt x="651" y="396"/>
                  </a:lnTo>
                  <a:lnTo>
                    <a:pt x="647" y="410"/>
                  </a:lnTo>
                  <a:lnTo>
                    <a:pt x="643" y="426"/>
                  </a:lnTo>
                  <a:lnTo>
                    <a:pt x="633" y="457"/>
                  </a:lnTo>
                  <a:lnTo>
                    <a:pt x="618" y="486"/>
                  </a:lnTo>
                  <a:lnTo>
                    <a:pt x="602" y="512"/>
                  </a:lnTo>
                  <a:lnTo>
                    <a:pt x="583" y="538"/>
                  </a:lnTo>
                  <a:lnTo>
                    <a:pt x="561" y="561"/>
                  </a:lnTo>
                  <a:lnTo>
                    <a:pt x="539" y="582"/>
                  </a:lnTo>
                  <a:lnTo>
                    <a:pt x="513" y="601"/>
                  </a:lnTo>
                  <a:lnTo>
                    <a:pt x="486" y="619"/>
                  </a:lnTo>
                  <a:lnTo>
                    <a:pt x="457" y="632"/>
                  </a:lnTo>
                  <a:lnTo>
                    <a:pt x="427" y="643"/>
                  </a:lnTo>
                  <a:lnTo>
                    <a:pt x="411" y="647"/>
                  </a:lnTo>
                  <a:lnTo>
                    <a:pt x="395" y="651"/>
                  </a:lnTo>
                  <a:lnTo>
                    <a:pt x="379" y="654"/>
                  </a:lnTo>
                  <a:lnTo>
                    <a:pt x="363" y="656"/>
                  </a:lnTo>
                  <a:lnTo>
                    <a:pt x="346" y="658"/>
                  </a:lnTo>
                  <a:lnTo>
                    <a:pt x="329" y="658"/>
                  </a:lnTo>
                  <a:lnTo>
                    <a:pt x="329" y="658"/>
                  </a:lnTo>
                  <a:close/>
                  <a:moveTo>
                    <a:pt x="329" y="38"/>
                  </a:moveTo>
                  <a:lnTo>
                    <a:pt x="329" y="38"/>
                  </a:lnTo>
                  <a:lnTo>
                    <a:pt x="299" y="39"/>
                  </a:lnTo>
                  <a:lnTo>
                    <a:pt x="270" y="43"/>
                  </a:lnTo>
                  <a:lnTo>
                    <a:pt x="243" y="50"/>
                  </a:lnTo>
                  <a:lnTo>
                    <a:pt x="216" y="61"/>
                  </a:lnTo>
                  <a:lnTo>
                    <a:pt x="191" y="73"/>
                  </a:lnTo>
                  <a:lnTo>
                    <a:pt x="166" y="88"/>
                  </a:lnTo>
                  <a:lnTo>
                    <a:pt x="143" y="104"/>
                  </a:lnTo>
                  <a:lnTo>
                    <a:pt x="123" y="123"/>
                  </a:lnTo>
                  <a:lnTo>
                    <a:pt x="104" y="144"/>
                  </a:lnTo>
                  <a:lnTo>
                    <a:pt x="87" y="166"/>
                  </a:lnTo>
                  <a:lnTo>
                    <a:pt x="74" y="190"/>
                  </a:lnTo>
                  <a:lnTo>
                    <a:pt x="60" y="215"/>
                  </a:lnTo>
                  <a:lnTo>
                    <a:pt x="51" y="242"/>
                  </a:lnTo>
                  <a:lnTo>
                    <a:pt x="44" y="271"/>
                  </a:lnTo>
                  <a:lnTo>
                    <a:pt x="39" y="299"/>
                  </a:lnTo>
                  <a:lnTo>
                    <a:pt x="37" y="328"/>
                  </a:lnTo>
                  <a:lnTo>
                    <a:pt x="37" y="328"/>
                  </a:lnTo>
                  <a:lnTo>
                    <a:pt x="39" y="358"/>
                  </a:lnTo>
                  <a:lnTo>
                    <a:pt x="44" y="387"/>
                  </a:lnTo>
                  <a:lnTo>
                    <a:pt x="51" y="416"/>
                  </a:lnTo>
                  <a:lnTo>
                    <a:pt x="60" y="443"/>
                  </a:lnTo>
                  <a:lnTo>
                    <a:pt x="74" y="468"/>
                  </a:lnTo>
                  <a:lnTo>
                    <a:pt x="87" y="491"/>
                  </a:lnTo>
                  <a:lnTo>
                    <a:pt x="104" y="514"/>
                  </a:lnTo>
                  <a:lnTo>
                    <a:pt x="123" y="535"/>
                  </a:lnTo>
                  <a:lnTo>
                    <a:pt x="143" y="554"/>
                  </a:lnTo>
                  <a:lnTo>
                    <a:pt x="166" y="570"/>
                  </a:lnTo>
                  <a:lnTo>
                    <a:pt x="191" y="585"/>
                  </a:lnTo>
                  <a:lnTo>
                    <a:pt x="216" y="597"/>
                  </a:lnTo>
                  <a:lnTo>
                    <a:pt x="243" y="607"/>
                  </a:lnTo>
                  <a:lnTo>
                    <a:pt x="270" y="615"/>
                  </a:lnTo>
                  <a:lnTo>
                    <a:pt x="299" y="619"/>
                  </a:lnTo>
                  <a:lnTo>
                    <a:pt x="329" y="620"/>
                  </a:lnTo>
                  <a:lnTo>
                    <a:pt x="329" y="620"/>
                  </a:lnTo>
                  <a:lnTo>
                    <a:pt x="359" y="619"/>
                  </a:lnTo>
                  <a:lnTo>
                    <a:pt x="388" y="615"/>
                  </a:lnTo>
                  <a:lnTo>
                    <a:pt x="415" y="607"/>
                  </a:lnTo>
                  <a:lnTo>
                    <a:pt x="442" y="597"/>
                  </a:lnTo>
                  <a:lnTo>
                    <a:pt x="467" y="585"/>
                  </a:lnTo>
                  <a:lnTo>
                    <a:pt x="492" y="570"/>
                  </a:lnTo>
                  <a:lnTo>
                    <a:pt x="514" y="554"/>
                  </a:lnTo>
                  <a:lnTo>
                    <a:pt x="535" y="535"/>
                  </a:lnTo>
                  <a:lnTo>
                    <a:pt x="553" y="514"/>
                  </a:lnTo>
                  <a:lnTo>
                    <a:pt x="571" y="491"/>
                  </a:lnTo>
                  <a:lnTo>
                    <a:pt x="586" y="468"/>
                  </a:lnTo>
                  <a:lnTo>
                    <a:pt x="598" y="443"/>
                  </a:lnTo>
                  <a:lnTo>
                    <a:pt x="607" y="416"/>
                  </a:lnTo>
                  <a:lnTo>
                    <a:pt x="614" y="387"/>
                  </a:lnTo>
                  <a:lnTo>
                    <a:pt x="619" y="358"/>
                  </a:lnTo>
                  <a:lnTo>
                    <a:pt x="621" y="328"/>
                  </a:lnTo>
                  <a:lnTo>
                    <a:pt x="621" y="328"/>
                  </a:lnTo>
                  <a:lnTo>
                    <a:pt x="619" y="299"/>
                  </a:lnTo>
                  <a:lnTo>
                    <a:pt x="614" y="271"/>
                  </a:lnTo>
                  <a:lnTo>
                    <a:pt x="607" y="242"/>
                  </a:lnTo>
                  <a:lnTo>
                    <a:pt x="598" y="215"/>
                  </a:lnTo>
                  <a:lnTo>
                    <a:pt x="586" y="190"/>
                  </a:lnTo>
                  <a:lnTo>
                    <a:pt x="571" y="166"/>
                  </a:lnTo>
                  <a:lnTo>
                    <a:pt x="553" y="144"/>
                  </a:lnTo>
                  <a:lnTo>
                    <a:pt x="535" y="123"/>
                  </a:lnTo>
                  <a:lnTo>
                    <a:pt x="514" y="104"/>
                  </a:lnTo>
                  <a:lnTo>
                    <a:pt x="492" y="88"/>
                  </a:lnTo>
                  <a:lnTo>
                    <a:pt x="467" y="73"/>
                  </a:lnTo>
                  <a:lnTo>
                    <a:pt x="442" y="61"/>
                  </a:lnTo>
                  <a:lnTo>
                    <a:pt x="415" y="50"/>
                  </a:lnTo>
                  <a:lnTo>
                    <a:pt x="388" y="43"/>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0" name="Freeform 264">
              <a:extLst>
                <a:ext uri="{FF2B5EF4-FFF2-40B4-BE49-F238E27FC236}">
                  <a16:creationId xmlns:a16="http://schemas.microsoft.com/office/drawing/2014/main" id="{3CFAF931-40BB-4A55-8EE9-F47FE2851B5D}"/>
                </a:ext>
              </a:extLst>
            </p:cNvPr>
            <p:cNvSpPr>
              <a:spLocks/>
            </p:cNvSpPr>
            <p:nvPr/>
          </p:nvSpPr>
          <p:spPr bwMode="auto">
            <a:xfrm>
              <a:off x="10460038" y="5983923"/>
              <a:ext cx="88900" cy="87313"/>
            </a:xfrm>
            <a:custGeom>
              <a:avLst/>
              <a:gdLst>
                <a:gd name="T0" fmla="*/ 55 w 112"/>
                <a:gd name="T1" fmla="*/ 0 h 111"/>
                <a:gd name="T2" fmla="*/ 55 w 112"/>
                <a:gd name="T3" fmla="*/ 0 h 111"/>
                <a:gd name="T4" fmla="*/ 45 w 112"/>
                <a:gd name="T5" fmla="*/ 2 h 111"/>
                <a:gd name="T6" fmla="*/ 34 w 112"/>
                <a:gd name="T7" fmla="*/ 4 h 111"/>
                <a:gd name="T8" fmla="*/ 24 w 112"/>
                <a:gd name="T9" fmla="*/ 10 h 111"/>
                <a:gd name="T10" fmla="*/ 16 w 112"/>
                <a:gd name="T11" fmla="*/ 16 h 111"/>
                <a:gd name="T12" fmla="*/ 10 w 112"/>
                <a:gd name="T13" fmla="*/ 25 h 111"/>
                <a:gd name="T14" fmla="*/ 4 w 112"/>
                <a:gd name="T15" fmla="*/ 34 h 111"/>
                <a:gd name="T16" fmla="*/ 2 w 112"/>
                <a:gd name="T17" fmla="*/ 45 h 111"/>
                <a:gd name="T18" fmla="*/ 0 w 112"/>
                <a:gd name="T19" fmla="*/ 55 h 111"/>
                <a:gd name="T20" fmla="*/ 0 w 112"/>
                <a:gd name="T21" fmla="*/ 55 h 111"/>
                <a:gd name="T22" fmla="*/ 2 w 112"/>
                <a:gd name="T23" fmla="*/ 66 h 111"/>
                <a:gd name="T24" fmla="*/ 4 w 112"/>
                <a:gd name="T25" fmla="*/ 77 h 111"/>
                <a:gd name="T26" fmla="*/ 10 w 112"/>
                <a:gd name="T27" fmla="*/ 86 h 111"/>
                <a:gd name="T28" fmla="*/ 16 w 112"/>
                <a:gd name="T29" fmla="*/ 94 h 111"/>
                <a:gd name="T30" fmla="*/ 24 w 112"/>
                <a:gd name="T31" fmla="*/ 101 h 111"/>
                <a:gd name="T32" fmla="*/ 34 w 112"/>
                <a:gd name="T33" fmla="*/ 106 h 111"/>
                <a:gd name="T34" fmla="*/ 45 w 112"/>
                <a:gd name="T35" fmla="*/ 111 h 111"/>
                <a:gd name="T36" fmla="*/ 55 w 112"/>
                <a:gd name="T37" fmla="*/ 111 h 111"/>
                <a:gd name="T38" fmla="*/ 55 w 112"/>
                <a:gd name="T39" fmla="*/ 111 h 111"/>
                <a:gd name="T40" fmla="*/ 67 w 112"/>
                <a:gd name="T41" fmla="*/ 111 h 111"/>
                <a:gd name="T42" fmla="*/ 77 w 112"/>
                <a:gd name="T43" fmla="*/ 106 h 111"/>
                <a:gd name="T44" fmla="*/ 86 w 112"/>
                <a:gd name="T45" fmla="*/ 101 h 111"/>
                <a:gd name="T46" fmla="*/ 94 w 112"/>
                <a:gd name="T47" fmla="*/ 94 h 111"/>
                <a:gd name="T48" fmla="*/ 102 w 112"/>
                <a:gd name="T49" fmla="*/ 86 h 111"/>
                <a:gd name="T50" fmla="*/ 106 w 112"/>
                <a:gd name="T51" fmla="*/ 77 h 111"/>
                <a:gd name="T52" fmla="*/ 110 w 112"/>
                <a:gd name="T53" fmla="*/ 66 h 111"/>
                <a:gd name="T54" fmla="*/ 112 w 112"/>
                <a:gd name="T55" fmla="*/ 55 h 111"/>
                <a:gd name="T56" fmla="*/ 112 w 112"/>
                <a:gd name="T57" fmla="*/ 55 h 111"/>
                <a:gd name="T58" fmla="*/ 110 w 112"/>
                <a:gd name="T59" fmla="*/ 45 h 111"/>
                <a:gd name="T60" fmla="*/ 106 w 112"/>
                <a:gd name="T61" fmla="*/ 34 h 111"/>
                <a:gd name="T62" fmla="*/ 102 w 112"/>
                <a:gd name="T63" fmla="*/ 25 h 111"/>
                <a:gd name="T64" fmla="*/ 94 w 112"/>
                <a:gd name="T65" fmla="*/ 16 h 111"/>
                <a:gd name="T66" fmla="*/ 86 w 112"/>
                <a:gd name="T67" fmla="*/ 10 h 111"/>
                <a:gd name="T68" fmla="*/ 77 w 112"/>
                <a:gd name="T69" fmla="*/ 4 h 111"/>
                <a:gd name="T70" fmla="*/ 67 w 112"/>
                <a:gd name="T71" fmla="*/ 2 h 111"/>
                <a:gd name="T72" fmla="*/ 55 w 112"/>
                <a:gd name="T73" fmla="*/ 0 h 111"/>
                <a:gd name="T74" fmla="*/ 55 w 112"/>
                <a:gd name="T7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111">
                  <a:moveTo>
                    <a:pt x="55" y="0"/>
                  </a:moveTo>
                  <a:lnTo>
                    <a:pt x="55" y="0"/>
                  </a:lnTo>
                  <a:lnTo>
                    <a:pt x="45" y="2"/>
                  </a:lnTo>
                  <a:lnTo>
                    <a:pt x="34" y="4"/>
                  </a:lnTo>
                  <a:lnTo>
                    <a:pt x="24" y="10"/>
                  </a:lnTo>
                  <a:lnTo>
                    <a:pt x="16" y="16"/>
                  </a:lnTo>
                  <a:lnTo>
                    <a:pt x="10" y="25"/>
                  </a:lnTo>
                  <a:lnTo>
                    <a:pt x="4" y="34"/>
                  </a:lnTo>
                  <a:lnTo>
                    <a:pt x="2" y="45"/>
                  </a:lnTo>
                  <a:lnTo>
                    <a:pt x="0" y="55"/>
                  </a:lnTo>
                  <a:lnTo>
                    <a:pt x="0" y="55"/>
                  </a:lnTo>
                  <a:lnTo>
                    <a:pt x="2" y="66"/>
                  </a:lnTo>
                  <a:lnTo>
                    <a:pt x="4" y="77"/>
                  </a:lnTo>
                  <a:lnTo>
                    <a:pt x="10" y="86"/>
                  </a:lnTo>
                  <a:lnTo>
                    <a:pt x="16" y="94"/>
                  </a:lnTo>
                  <a:lnTo>
                    <a:pt x="24" y="101"/>
                  </a:lnTo>
                  <a:lnTo>
                    <a:pt x="34" y="106"/>
                  </a:lnTo>
                  <a:lnTo>
                    <a:pt x="45" y="111"/>
                  </a:lnTo>
                  <a:lnTo>
                    <a:pt x="55" y="111"/>
                  </a:lnTo>
                  <a:lnTo>
                    <a:pt x="55" y="111"/>
                  </a:lnTo>
                  <a:lnTo>
                    <a:pt x="67" y="111"/>
                  </a:lnTo>
                  <a:lnTo>
                    <a:pt x="77" y="106"/>
                  </a:lnTo>
                  <a:lnTo>
                    <a:pt x="86" y="101"/>
                  </a:lnTo>
                  <a:lnTo>
                    <a:pt x="94" y="94"/>
                  </a:lnTo>
                  <a:lnTo>
                    <a:pt x="102" y="86"/>
                  </a:lnTo>
                  <a:lnTo>
                    <a:pt x="106" y="77"/>
                  </a:lnTo>
                  <a:lnTo>
                    <a:pt x="110" y="66"/>
                  </a:lnTo>
                  <a:lnTo>
                    <a:pt x="112" y="55"/>
                  </a:lnTo>
                  <a:lnTo>
                    <a:pt x="112" y="55"/>
                  </a:lnTo>
                  <a:lnTo>
                    <a:pt x="110" y="45"/>
                  </a:lnTo>
                  <a:lnTo>
                    <a:pt x="106" y="34"/>
                  </a:lnTo>
                  <a:lnTo>
                    <a:pt x="102" y="25"/>
                  </a:lnTo>
                  <a:lnTo>
                    <a:pt x="94" y="16"/>
                  </a:lnTo>
                  <a:lnTo>
                    <a:pt x="86" y="10"/>
                  </a:lnTo>
                  <a:lnTo>
                    <a:pt x="77" y="4"/>
                  </a:lnTo>
                  <a:lnTo>
                    <a:pt x="67" y="2"/>
                  </a:lnTo>
                  <a:lnTo>
                    <a:pt x="55" y="0"/>
                  </a:lnTo>
                  <a:lnTo>
                    <a:pt x="5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1" name="Freeform 265">
              <a:extLst>
                <a:ext uri="{FF2B5EF4-FFF2-40B4-BE49-F238E27FC236}">
                  <a16:creationId xmlns:a16="http://schemas.microsoft.com/office/drawing/2014/main" id="{CB088809-CAAE-4110-9F47-C19F0DE4F651}"/>
                </a:ext>
              </a:extLst>
            </p:cNvPr>
            <p:cNvSpPr>
              <a:spLocks/>
            </p:cNvSpPr>
            <p:nvPr/>
          </p:nvSpPr>
          <p:spPr bwMode="auto">
            <a:xfrm>
              <a:off x="10380663" y="6142673"/>
              <a:ext cx="87313" cy="88900"/>
            </a:xfrm>
            <a:custGeom>
              <a:avLst/>
              <a:gdLst>
                <a:gd name="T0" fmla="*/ 56 w 111"/>
                <a:gd name="T1" fmla="*/ 0 h 111"/>
                <a:gd name="T2" fmla="*/ 56 w 111"/>
                <a:gd name="T3" fmla="*/ 0 h 111"/>
                <a:gd name="T4" fmla="*/ 45 w 111"/>
                <a:gd name="T5" fmla="*/ 1 h 111"/>
                <a:gd name="T6" fmla="*/ 34 w 111"/>
                <a:gd name="T7" fmla="*/ 4 h 111"/>
                <a:gd name="T8" fmla="*/ 25 w 111"/>
                <a:gd name="T9" fmla="*/ 9 h 111"/>
                <a:gd name="T10" fmla="*/ 17 w 111"/>
                <a:gd name="T11" fmla="*/ 16 h 111"/>
                <a:gd name="T12" fmla="*/ 10 w 111"/>
                <a:gd name="T13" fmla="*/ 24 h 111"/>
                <a:gd name="T14" fmla="*/ 4 w 111"/>
                <a:gd name="T15" fmla="*/ 34 h 111"/>
                <a:gd name="T16" fmla="*/ 2 w 111"/>
                <a:gd name="T17" fmla="*/ 44 h 111"/>
                <a:gd name="T18" fmla="*/ 0 w 111"/>
                <a:gd name="T19" fmla="*/ 55 h 111"/>
                <a:gd name="T20" fmla="*/ 0 w 111"/>
                <a:gd name="T21" fmla="*/ 55 h 111"/>
                <a:gd name="T22" fmla="*/ 2 w 111"/>
                <a:gd name="T23" fmla="*/ 67 h 111"/>
                <a:gd name="T24" fmla="*/ 4 w 111"/>
                <a:gd name="T25" fmla="*/ 78 h 111"/>
                <a:gd name="T26" fmla="*/ 10 w 111"/>
                <a:gd name="T27" fmla="*/ 87 h 111"/>
                <a:gd name="T28" fmla="*/ 17 w 111"/>
                <a:gd name="T29" fmla="*/ 95 h 111"/>
                <a:gd name="T30" fmla="*/ 25 w 111"/>
                <a:gd name="T31" fmla="*/ 102 h 111"/>
                <a:gd name="T32" fmla="*/ 34 w 111"/>
                <a:gd name="T33" fmla="*/ 107 h 111"/>
                <a:gd name="T34" fmla="*/ 45 w 111"/>
                <a:gd name="T35" fmla="*/ 110 h 111"/>
                <a:gd name="T36" fmla="*/ 56 w 111"/>
                <a:gd name="T37" fmla="*/ 111 h 111"/>
                <a:gd name="T38" fmla="*/ 56 w 111"/>
                <a:gd name="T39" fmla="*/ 111 h 111"/>
                <a:gd name="T40" fmla="*/ 66 w 111"/>
                <a:gd name="T41" fmla="*/ 110 h 111"/>
                <a:gd name="T42" fmla="*/ 77 w 111"/>
                <a:gd name="T43" fmla="*/ 107 h 111"/>
                <a:gd name="T44" fmla="*/ 86 w 111"/>
                <a:gd name="T45" fmla="*/ 102 h 111"/>
                <a:gd name="T46" fmla="*/ 95 w 111"/>
                <a:gd name="T47" fmla="*/ 95 h 111"/>
                <a:gd name="T48" fmla="*/ 101 w 111"/>
                <a:gd name="T49" fmla="*/ 87 h 111"/>
                <a:gd name="T50" fmla="*/ 107 w 111"/>
                <a:gd name="T51" fmla="*/ 78 h 111"/>
                <a:gd name="T52" fmla="*/ 111 w 111"/>
                <a:gd name="T53" fmla="*/ 67 h 111"/>
                <a:gd name="T54" fmla="*/ 111 w 111"/>
                <a:gd name="T55" fmla="*/ 55 h 111"/>
                <a:gd name="T56" fmla="*/ 111 w 111"/>
                <a:gd name="T57" fmla="*/ 55 h 111"/>
                <a:gd name="T58" fmla="*/ 111 w 111"/>
                <a:gd name="T59" fmla="*/ 44 h 111"/>
                <a:gd name="T60" fmla="*/ 107 w 111"/>
                <a:gd name="T61" fmla="*/ 34 h 111"/>
                <a:gd name="T62" fmla="*/ 101 w 111"/>
                <a:gd name="T63" fmla="*/ 24 h 111"/>
                <a:gd name="T64" fmla="*/ 95 w 111"/>
                <a:gd name="T65" fmla="*/ 16 h 111"/>
                <a:gd name="T66" fmla="*/ 86 w 111"/>
                <a:gd name="T67" fmla="*/ 9 h 111"/>
                <a:gd name="T68" fmla="*/ 77 w 111"/>
                <a:gd name="T69" fmla="*/ 4 h 111"/>
                <a:gd name="T70" fmla="*/ 66 w 111"/>
                <a:gd name="T71" fmla="*/ 1 h 111"/>
                <a:gd name="T72" fmla="*/ 56 w 111"/>
                <a:gd name="T73" fmla="*/ 0 h 111"/>
                <a:gd name="T74" fmla="*/ 56 w 111"/>
                <a:gd name="T7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1" h="111">
                  <a:moveTo>
                    <a:pt x="56" y="0"/>
                  </a:moveTo>
                  <a:lnTo>
                    <a:pt x="56" y="0"/>
                  </a:lnTo>
                  <a:lnTo>
                    <a:pt x="45" y="1"/>
                  </a:lnTo>
                  <a:lnTo>
                    <a:pt x="34" y="4"/>
                  </a:lnTo>
                  <a:lnTo>
                    <a:pt x="25" y="9"/>
                  </a:lnTo>
                  <a:lnTo>
                    <a:pt x="17" y="16"/>
                  </a:lnTo>
                  <a:lnTo>
                    <a:pt x="10" y="24"/>
                  </a:lnTo>
                  <a:lnTo>
                    <a:pt x="4" y="34"/>
                  </a:lnTo>
                  <a:lnTo>
                    <a:pt x="2" y="44"/>
                  </a:lnTo>
                  <a:lnTo>
                    <a:pt x="0" y="55"/>
                  </a:lnTo>
                  <a:lnTo>
                    <a:pt x="0" y="55"/>
                  </a:lnTo>
                  <a:lnTo>
                    <a:pt x="2" y="67"/>
                  </a:lnTo>
                  <a:lnTo>
                    <a:pt x="4" y="78"/>
                  </a:lnTo>
                  <a:lnTo>
                    <a:pt x="10" y="87"/>
                  </a:lnTo>
                  <a:lnTo>
                    <a:pt x="17" y="95"/>
                  </a:lnTo>
                  <a:lnTo>
                    <a:pt x="25" y="102"/>
                  </a:lnTo>
                  <a:lnTo>
                    <a:pt x="34" y="107"/>
                  </a:lnTo>
                  <a:lnTo>
                    <a:pt x="45" y="110"/>
                  </a:lnTo>
                  <a:lnTo>
                    <a:pt x="56" y="111"/>
                  </a:lnTo>
                  <a:lnTo>
                    <a:pt x="56" y="111"/>
                  </a:lnTo>
                  <a:lnTo>
                    <a:pt x="66" y="110"/>
                  </a:lnTo>
                  <a:lnTo>
                    <a:pt x="77" y="107"/>
                  </a:lnTo>
                  <a:lnTo>
                    <a:pt x="86" y="102"/>
                  </a:lnTo>
                  <a:lnTo>
                    <a:pt x="95" y="95"/>
                  </a:lnTo>
                  <a:lnTo>
                    <a:pt x="101" y="87"/>
                  </a:lnTo>
                  <a:lnTo>
                    <a:pt x="107" y="78"/>
                  </a:lnTo>
                  <a:lnTo>
                    <a:pt x="111" y="67"/>
                  </a:lnTo>
                  <a:lnTo>
                    <a:pt x="111" y="55"/>
                  </a:lnTo>
                  <a:lnTo>
                    <a:pt x="111" y="55"/>
                  </a:lnTo>
                  <a:lnTo>
                    <a:pt x="111" y="44"/>
                  </a:lnTo>
                  <a:lnTo>
                    <a:pt x="107" y="34"/>
                  </a:lnTo>
                  <a:lnTo>
                    <a:pt x="101" y="24"/>
                  </a:lnTo>
                  <a:lnTo>
                    <a:pt x="95" y="16"/>
                  </a:lnTo>
                  <a:lnTo>
                    <a:pt x="86" y="9"/>
                  </a:lnTo>
                  <a:lnTo>
                    <a:pt x="77" y="4"/>
                  </a:lnTo>
                  <a:lnTo>
                    <a:pt x="66" y="1"/>
                  </a:lnTo>
                  <a:lnTo>
                    <a:pt x="56" y="0"/>
                  </a:lnTo>
                  <a:lnTo>
                    <a:pt x="5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2" name="Freeform 266">
              <a:extLst>
                <a:ext uri="{FF2B5EF4-FFF2-40B4-BE49-F238E27FC236}">
                  <a16:creationId xmlns:a16="http://schemas.microsoft.com/office/drawing/2014/main" id="{5C6C5714-6EC0-4043-A7CC-9AF97DC6C3FA}"/>
                </a:ext>
              </a:extLst>
            </p:cNvPr>
            <p:cNvSpPr>
              <a:spLocks/>
            </p:cNvSpPr>
            <p:nvPr/>
          </p:nvSpPr>
          <p:spPr bwMode="auto">
            <a:xfrm>
              <a:off x="10541001" y="6142673"/>
              <a:ext cx="87313" cy="88900"/>
            </a:xfrm>
            <a:custGeom>
              <a:avLst/>
              <a:gdLst>
                <a:gd name="T0" fmla="*/ 55 w 112"/>
                <a:gd name="T1" fmla="*/ 0 h 111"/>
                <a:gd name="T2" fmla="*/ 55 w 112"/>
                <a:gd name="T3" fmla="*/ 0 h 111"/>
                <a:gd name="T4" fmla="*/ 44 w 112"/>
                <a:gd name="T5" fmla="*/ 1 h 111"/>
                <a:gd name="T6" fmla="*/ 34 w 112"/>
                <a:gd name="T7" fmla="*/ 4 h 111"/>
                <a:gd name="T8" fmla="*/ 24 w 112"/>
                <a:gd name="T9" fmla="*/ 9 h 111"/>
                <a:gd name="T10" fmla="*/ 16 w 112"/>
                <a:gd name="T11" fmla="*/ 16 h 111"/>
                <a:gd name="T12" fmla="*/ 9 w 112"/>
                <a:gd name="T13" fmla="*/ 24 h 111"/>
                <a:gd name="T14" fmla="*/ 4 w 112"/>
                <a:gd name="T15" fmla="*/ 34 h 111"/>
                <a:gd name="T16" fmla="*/ 1 w 112"/>
                <a:gd name="T17" fmla="*/ 44 h 111"/>
                <a:gd name="T18" fmla="*/ 0 w 112"/>
                <a:gd name="T19" fmla="*/ 55 h 111"/>
                <a:gd name="T20" fmla="*/ 0 w 112"/>
                <a:gd name="T21" fmla="*/ 55 h 111"/>
                <a:gd name="T22" fmla="*/ 1 w 112"/>
                <a:gd name="T23" fmla="*/ 67 h 111"/>
                <a:gd name="T24" fmla="*/ 4 w 112"/>
                <a:gd name="T25" fmla="*/ 78 h 111"/>
                <a:gd name="T26" fmla="*/ 9 w 112"/>
                <a:gd name="T27" fmla="*/ 87 h 111"/>
                <a:gd name="T28" fmla="*/ 16 w 112"/>
                <a:gd name="T29" fmla="*/ 95 h 111"/>
                <a:gd name="T30" fmla="*/ 24 w 112"/>
                <a:gd name="T31" fmla="*/ 102 h 111"/>
                <a:gd name="T32" fmla="*/ 34 w 112"/>
                <a:gd name="T33" fmla="*/ 107 h 111"/>
                <a:gd name="T34" fmla="*/ 44 w 112"/>
                <a:gd name="T35" fmla="*/ 110 h 111"/>
                <a:gd name="T36" fmla="*/ 55 w 112"/>
                <a:gd name="T37" fmla="*/ 111 h 111"/>
                <a:gd name="T38" fmla="*/ 55 w 112"/>
                <a:gd name="T39" fmla="*/ 111 h 111"/>
                <a:gd name="T40" fmla="*/ 67 w 112"/>
                <a:gd name="T41" fmla="*/ 110 h 111"/>
                <a:gd name="T42" fmla="*/ 77 w 112"/>
                <a:gd name="T43" fmla="*/ 107 h 111"/>
                <a:gd name="T44" fmla="*/ 87 w 112"/>
                <a:gd name="T45" fmla="*/ 102 h 111"/>
                <a:gd name="T46" fmla="*/ 95 w 112"/>
                <a:gd name="T47" fmla="*/ 95 h 111"/>
                <a:gd name="T48" fmla="*/ 102 w 112"/>
                <a:gd name="T49" fmla="*/ 87 h 111"/>
                <a:gd name="T50" fmla="*/ 106 w 112"/>
                <a:gd name="T51" fmla="*/ 78 h 111"/>
                <a:gd name="T52" fmla="*/ 110 w 112"/>
                <a:gd name="T53" fmla="*/ 67 h 111"/>
                <a:gd name="T54" fmla="*/ 112 w 112"/>
                <a:gd name="T55" fmla="*/ 55 h 111"/>
                <a:gd name="T56" fmla="*/ 112 w 112"/>
                <a:gd name="T57" fmla="*/ 55 h 111"/>
                <a:gd name="T58" fmla="*/ 110 w 112"/>
                <a:gd name="T59" fmla="*/ 44 h 111"/>
                <a:gd name="T60" fmla="*/ 106 w 112"/>
                <a:gd name="T61" fmla="*/ 34 h 111"/>
                <a:gd name="T62" fmla="*/ 102 w 112"/>
                <a:gd name="T63" fmla="*/ 24 h 111"/>
                <a:gd name="T64" fmla="*/ 95 w 112"/>
                <a:gd name="T65" fmla="*/ 16 h 111"/>
                <a:gd name="T66" fmla="*/ 87 w 112"/>
                <a:gd name="T67" fmla="*/ 9 h 111"/>
                <a:gd name="T68" fmla="*/ 77 w 112"/>
                <a:gd name="T69" fmla="*/ 4 h 111"/>
                <a:gd name="T70" fmla="*/ 67 w 112"/>
                <a:gd name="T71" fmla="*/ 1 h 111"/>
                <a:gd name="T72" fmla="*/ 55 w 112"/>
                <a:gd name="T73" fmla="*/ 0 h 111"/>
                <a:gd name="T74" fmla="*/ 55 w 112"/>
                <a:gd name="T7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111">
                  <a:moveTo>
                    <a:pt x="55" y="0"/>
                  </a:moveTo>
                  <a:lnTo>
                    <a:pt x="55" y="0"/>
                  </a:lnTo>
                  <a:lnTo>
                    <a:pt x="44" y="1"/>
                  </a:lnTo>
                  <a:lnTo>
                    <a:pt x="34" y="4"/>
                  </a:lnTo>
                  <a:lnTo>
                    <a:pt x="24" y="9"/>
                  </a:lnTo>
                  <a:lnTo>
                    <a:pt x="16" y="16"/>
                  </a:lnTo>
                  <a:lnTo>
                    <a:pt x="9" y="24"/>
                  </a:lnTo>
                  <a:lnTo>
                    <a:pt x="4" y="34"/>
                  </a:lnTo>
                  <a:lnTo>
                    <a:pt x="1" y="44"/>
                  </a:lnTo>
                  <a:lnTo>
                    <a:pt x="0" y="55"/>
                  </a:lnTo>
                  <a:lnTo>
                    <a:pt x="0" y="55"/>
                  </a:lnTo>
                  <a:lnTo>
                    <a:pt x="1" y="67"/>
                  </a:lnTo>
                  <a:lnTo>
                    <a:pt x="4" y="78"/>
                  </a:lnTo>
                  <a:lnTo>
                    <a:pt x="9" y="87"/>
                  </a:lnTo>
                  <a:lnTo>
                    <a:pt x="16" y="95"/>
                  </a:lnTo>
                  <a:lnTo>
                    <a:pt x="24" y="102"/>
                  </a:lnTo>
                  <a:lnTo>
                    <a:pt x="34" y="107"/>
                  </a:lnTo>
                  <a:lnTo>
                    <a:pt x="44" y="110"/>
                  </a:lnTo>
                  <a:lnTo>
                    <a:pt x="55" y="111"/>
                  </a:lnTo>
                  <a:lnTo>
                    <a:pt x="55" y="111"/>
                  </a:lnTo>
                  <a:lnTo>
                    <a:pt x="67" y="110"/>
                  </a:lnTo>
                  <a:lnTo>
                    <a:pt x="77" y="107"/>
                  </a:lnTo>
                  <a:lnTo>
                    <a:pt x="87" y="102"/>
                  </a:lnTo>
                  <a:lnTo>
                    <a:pt x="95" y="95"/>
                  </a:lnTo>
                  <a:lnTo>
                    <a:pt x="102" y="87"/>
                  </a:lnTo>
                  <a:lnTo>
                    <a:pt x="106" y="78"/>
                  </a:lnTo>
                  <a:lnTo>
                    <a:pt x="110" y="67"/>
                  </a:lnTo>
                  <a:lnTo>
                    <a:pt x="112" y="55"/>
                  </a:lnTo>
                  <a:lnTo>
                    <a:pt x="112" y="55"/>
                  </a:lnTo>
                  <a:lnTo>
                    <a:pt x="110" y="44"/>
                  </a:lnTo>
                  <a:lnTo>
                    <a:pt x="106" y="34"/>
                  </a:lnTo>
                  <a:lnTo>
                    <a:pt x="102" y="24"/>
                  </a:lnTo>
                  <a:lnTo>
                    <a:pt x="95" y="16"/>
                  </a:lnTo>
                  <a:lnTo>
                    <a:pt x="87" y="9"/>
                  </a:lnTo>
                  <a:lnTo>
                    <a:pt x="77" y="4"/>
                  </a:lnTo>
                  <a:lnTo>
                    <a:pt x="67" y="1"/>
                  </a:lnTo>
                  <a:lnTo>
                    <a:pt x="55" y="0"/>
                  </a:lnTo>
                  <a:lnTo>
                    <a:pt x="5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3" name="Freeform 267">
              <a:extLst>
                <a:ext uri="{FF2B5EF4-FFF2-40B4-BE49-F238E27FC236}">
                  <a16:creationId xmlns:a16="http://schemas.microsoft.com/office/drawing/2014/main" id="{E9560107-454E-4365-9B49-BB4151ACB35F}"/>
                </a:ext>
              </a:extLst>
            </p:cNvPr>
            <p:cNvSpPr>
              <a:spLocks/>
            </p:cNvSpPr>
            <p:nvPr/>
          </p:nvSpPr>
          <p:spPr bwMode="auto">
            <a:xfrm>
              <a:off x="10458451" y="6077585"/>
              <a:ext cx="90488" cy="84138"/>
            </a:xfrm>
            <a:custGeom>
              <a:avLst/>
              <a:gdLst>
                <a:gd name="T0" fmla="*/ 67 w 113"/>
                <a:gd name="T1" fmla="*/ 52 h 105"/>
                <a:gd name="T2" fmla="*/ 67 w 113"/>
                <a:gd name="T3" fmla="*/ 0 h 105"/>
                <a:gd name="T4" fmla="*/ 67 w 113"/>
                <a:gd name="T5" fmla="*/ 0 h 105"/>
                <a:gd name="T6" fmla="*/ 56 w 113"/>
                <a:gd name="T7" fmla="*/ 1 h 105"/>
                <a:gd name="T8" fmla="*/ 56 w 113"/>
                <a:gd name="T9" fmla="*/ 1 h 105"/>
                <a:gd name="T10" fmla="*/ 47 w 113"/>
                <a:gd name="T11" fmla="*/ 0 h 105"/>
                <a:gd name="T12" fmla="*/ 47 w 113"/>
                <a:gd name="T13" fmla="*/ 52 h 105"/>
                <a:gd name="T14" fmla="*/ 0 w 113"/>
                <a:gd name="T15" fmla="*/ 89 h 105"/>
                <a:gd name="T16" fmla="*/ 0 w 113"/>
                <a:gd name="T17" fmla="*/ 89 h 105"/>
                <a:gd name="T18" fmla="*/ 7 w 113"/>
                <a:gd name="T19" fmla="*/ 97 h 105"/>
                <a:gd name="T20" fmla="*/ 12 w 113"/>
                <a:gd name="T21" fmla="*/ 105 h 105"/>
                <a:gd name="T22" fmla="*/ 56 w 113"/>
                <a:gd name="T23" fmla="*/ 70 h 105"/>
                <a:gd name="T24" fmla="*/ 101 w 113"/>
                <a:gd name="T25" fmla="*/ 105 h 105"/>
                <a:gd name="T26" fmla="*/ 101 w 113"/>
                <a:gd name="T27" fmla="*/ 105 h 105"/>
                <a:gd name="T28" fmla="*/ 106 w 113"/>
                <a:gd name="T29" fmla="*/ 97 h 105"/>
                <a:gd name="T30" fmla="*/ 113 w 113"/>
                <a:gd name="T31" fmla="*/ 89 h 105"/>
                <a:gd name="T32" fmla="*/ 67 w 113"/>
                <a:gd name="T33" fmla="*/ 5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 h="105">
                  <a:moveTo>
                    <a:pt x="67" y="52"/>
                  </a:moveTo>
                  <a:lnTo>
                    <a:pt x="67" y="0"/>
                  </a:lnTo>
                  <a:lnTo>
                    <a:pt x="67" y="0"/>
                  </a:lnTo>
                  <a:lnTo>
                    <a:pt x="56" y="1"/>
                  </a:lnTo>
                  <a:lnTo>
                    <a:pt x="56" y="1"/>
                  </a:lnTo>
                  <a:lnTo>
                    <a:pt x="47" y="0"/>
                  </a:lnTo>
                  <a:lnTo>
                    <a:pt x="47" y="52"/>
                  </a:lnTo>
                  <a:lnTo>
                    <a:pt x="0" y="89"/>
                  </a:lnTo>
                  <a:lnTo>
                    <a:pt x="0" y="89"/>
                  </a:lnTo>
                  <a:lnTo>
                    <a:pt x="7" y="97"/>
                  </a:lnTo>
                  <a:lnTo>
                    <a:pt x="12" y="105"/>
                  </a:lnTo>
                  <a:lnTo>
                    <a:pt x="56" y="70"/>
                  </a:lnTo>
                  <a:lnTo>
                    <a:pt x="101" y="105"/>
                  </a:lnTo>
                  <a:lnTo>
                    <a:pt x="101" y="105"/>
                  </a:lnTo>
                  <a:lnTo>
                    <a:pt x="106" y="97"/>
                  </a:lnTo>
                  <a:lnTo>
                    <a:pt x="113" y="89"/>
                  </a:lnTo>
                  <a:lnTo>
                    <a:pt x="67"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14" name="Group 13">
            <a:extLst>
              <a:ext uri="{FF2B5EF4-FFF2-40B4-BE49-F238E27FC236}">
                <a16:creationId xmlns:a16="http://schemas.microsoft.com/office/drawing/2014/main" id="{6F295BC7-4675-4A99-9275-ECC52B06CB7D}"/>
              </a:ext>
            </a:extLst>
          </p:cNvPr>
          <p:cNvGrpSpPr>
            <a:grpSpLocks noChangeAspect="1"/>
          </p:cNvGrpSpPr>
          <p:nvPr/>
        </p:nvGrpSpPr>
        <p:grpSpPr>
          <a:xfrm>
            <a:off x="4979767" y="2802884"/>
            <a:ext cx="320040" cy="320040"/>
            <a:chOff x="4071938" y="2498725"/>
            <a:chExt cx="522288" cy="522288"/>
          </a:xfrm>
        </p:grpSpPr>
        <p:sp>
          <p:nvSpPr>
            <p:cNvPr id="15" name="Freeform 46">
              <a:extLst>
                <a:ext uri="{FF2B5EF4-FFF2-40B4-BE49-F238E27FC236}">
                  <a16:creationId xmlns:a16="http://schemas.microsoft.com/office/drawing/2014/main" id="{242B8FFD-1B5E-4F2C-87C8-8774332C3793}"/>
                </a:ext>
              </a:extLst>
            </p:cNvPr>
            <p:cNvSpPr>
              <a:spLocks noEditPoints="1"/>
            </p:cNvSpPr>
            <p:nvPr/>
          </p:nvSpPr>
          <p:spPr bwMode="auto">
            <a:xfrm>
              <a:off x="4071938" y="2498725"/>
              <a:ext cx="522288" cy="522288"/>
            </a:xfrm>
            <a:custGeom>
              <a:avLst/>
              <a:gdLst>
                <a:gd name="T0" fmla="*/ 313 w 658"/>
                <a:gd name="T1" fmla="*/ 657 h 657"/>
                <a:gd name="T2" fmla="*/ 263 w 658"/>
                <a:gd name="T3" fmla="*/ 651 h 657"/>
                <a:gd name="T4" fmla="*/ 201 w 658"/>
                <a:gd name="T5" fmla="*/ 631 h 657"/>
                <a:gd name="T6" fmla="*/ 120 w 658"/>
                <a:gd name="T7" fmla="*/ 583 h 657"/>
                <a:gd name="T8" fmla="*/ 56 w 658"/>
                <a:gd name="T9" fmla="*/ 512 h 657"/>
                <a:gd name="T10" fmla="*/ 14 w 658"/>
                <a:gd name="T11" fmla="*/ 426 h 657"/>
                <a:gd name="T12" fmla="*/ 4 w 658"/>
                <a:gd name="T13" fmla="*/ 379 h 657"/>
                <a:gd name="T14" fmla="*/ 0 w 658"/>
                <a:gd name="T15" fmla="*/ 329 h 657"/>
                <a:gd name="T16" fmla="*/ 2 w 658"/>
                <a:gd name="T17" fmla="*/ 295 h 657"/>
                <a:gd name="T18" fmla="*/ 10 w 658"/>
                <a:gd name="T19" fmla="*/ 247 h 657"/>
                <a:gd name="T20" fmla="*/ 40 w 658"/>
                <a:gd name="T21" fmla="*/ 172 h 657"/>
                <a:gd name="T22" fmla="*/ 96 w 658"/>
                <a:gd name="T23" fmla="*/ 97 h 657"/>
                <a:gd name="T24" fmla="*/ 173 w 658"/>
                <a:gd name="T25" fmla="*/ 40 h 657"/>
                <a:gd name="T26" fmla="*/ 247 w 658"/>
                <a:gd name="T27" fmla="*/ 11 h 657"/>
                <a:gd name="T28" fmla="*/ 295 w 658"/>
                <a:gd name="T29" fmla="*/ 1 h 657"/>
                <a:gd name="T30" fmla="*/ 329 w 658"/>
                <a:gd name="T31" fmla="*/ 0 h 657"/>
                <a:gd name="T32" fmla="*/ 378 w 658"/>
                <a:gd name="T33" fmla="*/ 4 h 657"/>
                <a:gd name="T34" fmla="*/ 427 w 658"/>
                <a:gd name="T35" fmla="*/ 15 h 657"/>
                <a:gd name="T36" fmla="*/ 513 w 658"/>
                <a:gd name="T37" fmla="*/ 56 h 657"/>
                <a:gd name="T38" fmla="*/ 583 w 658"/>
                <a:gd name="T39" fmla="*/ 119 h 657"/>
                <a:gd name="T40" fmla="*/ 632 w 658"/>
                <a:gd name="T41" fmla="*/ 201 h 657"/>
                <a:gd name="T42" fmla="*/ 651 w 658"/>
                <a:gd name="T43" fmla="*/ 262 h 657"/>
                <a:gd name="T44" fmla="*/ 658 w 658"/>
                <a:gd name="T45" fmla="*/ 311 h 657"/>
                <a:gd name="T46" fmla="*/ 658 w 658"/>
                <a:gd name="T47" fmla="*/ 345 h 657"/>
                <a:gd name="T48" fmla="*/ 651 w 658"/>
                <a:gd name="T49" fmla="*/ 395 h 657"/>
                <a:gd name="T50" fmla="*/ 632 w 658"/>
                <a:gd name="T51" fmla="*/ 457 h 657"/>
                <a:gd name="T52" fmla="*/ 583 w 658"/>
                <a:gd name="T53" fmla="*/ 537 h 657"/>
                <a:gd name="T54" fmla="*/ 513 w 658"/>
                <a:gd name="T55" fmla="*/ 602 h 657"/>
                <a:gd name="T56" fmla="*/ 427 w 658"/>
                <a:gd name="T57" fmla="*/ 642 h 657"/>
                <a:gd name="T58" fmla="*/ 378 w 658"/>
                <a:gd name="T59" fmla="*/ 654 h 657"/>
                <a:gd name="T60" fmla="*/ 329 w 658"/>
                <a:gd name="T61" fmla="*/ 657 h 657"/>
                <a:gd name="T62" fmla="*/ 329 w 658"/>
                <a:gd name="T63" fmla="*/ 37 h 657"/>
                <a:gd name="T64" fmla="*/ 243 w 658"/>
                <a:gd name="T65" fmla="*/ 51 h 657"/>
                <a:gd name="T66" fmla="*/ 166 w 658"/>
                <a:gd name="T67" fmla="*/ 87 h 657"/>
                <a:gd name="T68" fmla="*/ 104 w 658"/>
                <a:gd name="T69" fmla="*/ 144 h 657"/>
                <a:gd name="T70" fmla="*/ 61 w 658"/>
                <a:gd name="T71" fmla="*/ 215 h 657"/>
                <a:gd name="T72" fmla="*/ 40 w 658"/>
                <a:gd name="T73" fmla="*/ 299 h 657"/>
                <a:gd name="T74" fmla="*/ 40 w 658"/>
                <a:gd name="T75" fmla="*/ 358 h 657"/>
                <a:gd name="T76" fmla="*/ 61 w 658"/>
                <a:gd name="T77" fmla="*/ 442 h 657"/>
                <a:gd name="T78" fmla="*/ 104 w 658"/>
                <a:gd name="T79" fmla="*/ 514 h 657"/>
                <a:gd name="T80" fmla="*/ 166 w 658"/>
                <a:gd name="T81" fmla="*/ 569 h 657"/>
                <a:gd name="T82" fmla="*/ 243 w 658"/>
                <a:gd name="T83" fmla="*/ 607 h 657"/>
                <a:gd name="T84" fmla="*/ 329 w 658"/>
                <a:gd name="T85" fmla="*/ 619 h 657"/>
                <a:gd name="T86" fmla="*/ 388 w 658"/>
                <a:gd name="T87" fmla="*/ 614 h 657"/>
                <a:gd name="T88" fmla="*/ 467 w 658"/>
                <a:gd name="T89" fmla="*/ 584 h 657"/>
                <a:gd name="T90" fmla="*/ 534 w 658"/>
                <a:gd name="T91" fmla="*/ 534 h 657"/>
                <a:gd name="T92" fmla="*/ 585 w 658"/>
                <a:gd name="T93" fmla="*/ 467 h 657"/>
                <a:gd name="T94" fmla="*/ 615 w 658"/>
                <a:gd name="T95" fmla="*/ 387 h 657"/>
                <a:gd name="T96" fmla="*/ 620 w 658"/>
                <a:gd name="T97" fmla="*/ 329 h 657"/>
                <a:gd name="T98" fmla="*/ 607 w 658"/>
                <a:gd name="T99" fmla="*/ 242 h 657"/>
                <a:gd name="T100" fmla="*/ 570 w 658"/>
                <a:gd name="T101" fmla="*/ 166 h 657"/>
                <a:gd name="T102" fmla="*/ 514 w 658"/>
                <a:gd name="T103" fmla="*/ 105 h 657"/>
                <a:gd name="T104" fmla="*/ 443 w 658"/>
                <a:gd name="T105" fmla="*/ 60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5" y="655"/>
                  </a:lnTo>
                  <a:lnTo>
                    <a:pt x="279" y="654"/>
                  </a:lnTo>
                  <a:lnTo>
                    <a:pt x="263" y="651"/>
                  </a:lnTo>
                  <a:lnTo>
                    <a:pt x="247" y="647"/>
                  </a:lnTo>
                  <a:lnTo>
                    <a:pt x="232" y="642"/>
                  </a:lnTo>
                  <a:lnTo>
                    <a:pt x="201" y="631"/>
                  </a:lnTo>
                  <a:lnTo>
                    <a:pt x="173" y="618"/>
                  </a:lnTo>
                  <a:lnTo>
                    <a:pt x="145" y="602"/>
                  </a:lnTo>
                  <a:lnTo>
                    <a:pt x="120" y="583"/>
                  </a:lnTo>
                  <a:lnTo>
                    <a:pt x="96" y="561"/>
                  </a:lnTo>
                  <a:lnTo>
                    <a:pt x="75" y="537"/>
                  </a:lnTo>
                  <a:lnTo>
                    <a:pt x="56" y="512"/>
                  </a:lnTo>
                  <a:lnTo>
                    <a:pt x="40" y="485"/>
                  </a:lnTo>
                  <a:lnTo>
                    <a:pt x="26" y="457"/>
                  </a:lnTo>
                  <a:lnTo>
                    <a:pt x="14" y="426"/>
                  </a:lnTo>
                  <a:lnTo>
                    <a:pt x="10" y="411"/>
                  </a:lnTo>
                  <a:lnTo>
                    <a:pt x="6" y="395"/>
                  </a:lnTo>
                  <a:lnTo>
                    <a:pt x="4" y="379"/>
                  </a:lnTo>
                  <a:lnTo>
                    <a:pt x="2" y="362"/>
                  </a:lnTo>
                  <a:lnTo>
                    <a:pt x="1" y="345"/>
                  </a:lnTo>
                  <a:lnTo>
                    <a:pt x="0" y="329"/>
                  </a:lnTo>
                  <a:lnTo>
                    <a:pt x="0" y="329"/>
                  </a:lnTo>
                  <a:lnTo>
                    <a:pt x="1" y="311"/>
                  </a:lnTo>
                  <a:lnTo>
                    <a:pt x="2" y="295"/>
                  </a:lnTo>
                  <a:lnTo>
                    <a:pt x="4" y="279"/>
                  </a:lnTo>
                  <a:lnTo>
                    <a:pt x="6" y="262"/>
                  </a:lnTo>
                  <a:lnTo>
                    <a:pt x="10" y="247"/>
                  </a:lnTo>
                  <a:lnTo>
                    <a:pt x="14" y="231"/>
                  </a:lnTo>
                  <a:lnTo>
                    <a:pt x="26" y="201"/>
                  </a:lnTo>
                  <a:lnTo>
                    <a:pt x="40" y="172"/>
                  </a:lnTo>
                  <a:lnTo>
                    <a:pt x="56" y="145"/>
                  </a:lnTo>
                  <a:lnTo>
                    <a:pt x="75" y="119"/>
                  </a:lnTo>
                  <a:lnTo>
                    <a:pt x="96" y="97"/>
                  </a:lnTo>
                  <a:lnTo>
                    <a:pt x="120" y="75"/>
                  </a:lnTo>
                  <a:lnTo>
                    <a:pt x="145" y="56"/>
                  </a:lnTo>
                  <a:lnTo>
                    <a:pt x="173" y="40"/>
                  </a:lnTo>
                  <a:lnTo>
                    <a:pt x="201" y="25"/>
                  </a:lnTo>
                  <a:lnTo>
                    <a:pt x="232" y="15"/>
                  </a:lnTo>
                  <a:lnTo>
                    <a:pt x="247" y="11"/>
                  </a:lnTo>
                  <a:lnTo>
                    <a:pt x="263" y="7"/>
                  </a:lnTo>
                  <a:lnTo>
                    <a:pt x="279" y="4"/>
                  </a:lnTo>
                  <a:lnTo>
                    <a:pt x="295" y="1"/>
                  </a:lnTo>
                  <a:lnTo>
                    <a:pt x="313" y="0"/>
                  </a:lnTo>
                  <a:lnTo>
                    <a:pt x="329" y="0"/>
                  </a:lnTo>
                  <a:lnTo>
                    <a:pt x="329" y="0"/>
                  </a:lnTo>
                  <a:lnTo>
                    <a:pt x="346" y="0"/>
                  </a:lnTo>
                  <a:lnTo>
                    <a:pt x="362" y="1"/>
                  </a:lnTo>
                  <a:lnTo>
                    <a:pt x="378" y="4"/>
                  </a:lnTo>
                  <a:lnTo>
                    <a:pt x="396" y="7"/>
                  </a:lnTo>
                  <a:lnTo>
                    <a:pt x="411" y="11"/>
                  </a:lnTo>
                  <a:lnTo>
                    <a:pt x="427" y="15"/>
                  </a:lnTo>
                  <a:lnTo>
                    <a:pt x="456" y="25"/>
                  </a:lnTo>
                  <a:lnTo>
                    <a:pt x="486" y="40"/>
                  </a:lnTo>
                  <a:lnTo>
                    <a:pt x="513" y="56"/>
                  </a:lnTo>
                  <a:lnTo>
                    <a:pt x="538" y="75"/>
                  </a:lnTo>
                  <a:lnTo>
                    <a:pt x="561" y="97"/>
                  </a:lnTo>
                  <a:lnTo>
                    <a:pt x="583" y="119"/>
                  </a:lnTo>
                  <a:lnTo>
                    <a:pt x="601" y="145"/>
                  </a:lnTo>
                  <a:lnTo>
                    <a:pt x="617" y="172"/>
                  </a:lnTo>
                  <a:lnTo>
                    <a:pt x="632" y="201"/>
                  </a:lnTo>
                  <a:lnTo>
                    <a:pt x="643" y="231"/>
                  </a:lnTo>
                  <a:lnTo>
                    <a:pt x="647" y="247"/>
                  </a:lnTo>
                  <a:lnTo>
                    <a:pt x="651" y="262"/>
                  </a:lnTo>
                  <a:lnTo>
                    <a:pt x="654" y="279"/>
                  </a:lnTo>
                  <a:lnTo>
                    <a:pt x="656" y="295"/>
                  </a:lnTo>
                  <a:lnTo>
                    <a:pt x="658" y="311"/>
                  </a:lnTo>
                  <a:lnTo>
                    <a:pt x="658" y="329"/>
                  </a:lnTo>
                  <a:lnTo>
                    <a:pt x="658" y="329"/>
                  </a:lnTo>
                  <a:lnTo>
                    <a:pt x="658" y="345"/>
                  </a:lnTo>
                  <a:lnTo>
                    <a:pt x="656" y="362"/>
                  </a:lnTo>
                  <a:lnTo>
                    <a:pt x="654" y="379"/>
                  </a:lnTo>
                  <a:lnTo>
                    <a:pt x="651" y="395"/>
                  </a:lnTo>
                  <a:lnTo>
                    <a:pt x="647" y="411"/>
                  </a:lnTo>
                  <a:lnTo>
                    <a:pt x="643" y="426"/>
                  </a:lnTo>
                  <a:lnTo>
                    <a:pt x="632" y="457"/>
                  </a:lnTo>
                  <a:lnTo>
                    <a:pt x="617" y="485"/>
                  </a:lnTo>
                  <a:lnTo>
                    <a:pt x="601" y="512"/>
                  </a:lnTo>
                  <a:lnTo>
                    <a:pt x="583" y="537"/>
                  </a:lnTo>
                  <a:lnTo>
                    <a:pt x="561" y="561"/>
                  </a:lnTo>
                  <a:lnTo>
                    <a:pt x="538" y="583"/>
                  </a:lnTo>
                  <a:lnTo>
                    <a:pt x="513" y="602"/>
                  </a:lnTo>
                  <a:lnTo>
                    <a:pt x="486" y="618"/>
                  </a:lnTo>
                  <a:lnTo>
                    <a:pt x="456" y="631"/>
                  </a:lnTo>
                  <a:lnTo>
                    <a:pt x="427" y="642"/>
                  </a:lnTo>
                  <a:lnTo>
                    <a:pt x="411" y="647"/>
                  </a:lnTo>
                  <a:lnTo>
                    <a:pt x="396" y="651"/>
                  </a:lnTo>
                  <a:lnTo>
                    <a:pt x="378" y="654"/>
                  </a:lnTo>
                  <a:lnTo>
                    <a:pt x="362" y="655"/>
                  </a:lnTo>
                  <a:lnTo>
                    <a:pt x="346" y="657"/>
                  </a:lnTo>
                  <a:lnTo>
                    <a:pt x="329" y="657"/>
                  </a:lnTo>
                  <a:lnTo>
                    <a:pt x="329" y="657"/>
                  </a:lnTo>
                  <a:close/>
                  <a:moveTo>
                    <a:pt x="329" y="37"/>
                  </a:moveTo>
                  <a:lnTo>
                    <a:pt x="329" y="37"/>
                  </a:lnTo>
                  <a:lnTo>
                    <a:pt x="299" y="39"/>
                  </a:lnTo>
                  <a:lnTo>
                    <a:pt x="271" y="43"/>
                  </a:lnTo>
                  <a:lnTo>
                    <a:pt x="243" y="51"/>
                  </a:lnTo>
                  <a:lnTo>
                    <a:pt x="216" y="60"/>
                  </a:lnTo>
                  <a:lnTo>
                    <a:pt x="190" y="72"/>
                  </a:lnTo>
                  <a:lnTo>
                    <a:pt x="166" y="87"/>
                  </a:lnTo>
                  <a:lnTo>
                    <a:pt x="143" y="105"/>
                  </a:lnTo>
                  <a:lnTo>
                    <a:pt x="123" y="123"/>
                  </a:lnTo>
                  <a:lnTo>
                    <a:pt x="104" y="144"/>
                  </a:lnTo>
                  <a:lnTo>
                    <a:pt x="88" y="166"/>
                  </a:lnTo>
                  <a:lnTo>
                    <a:pt x="73" y="189"/>
                  </a:lnTo>
                  <a:lnTo>
                    <a:pt x="61" y="215"/>
                  </a:lnTo>
                  <a:lnTo>
                    <a:pt x="51" y="242"/>
                  </a:lnTo>
                  <a:lnTo>
                    <a:pt x="44" y="270"/>
                  </a:lnTo>
                  <a:lnTo>
                    <a:pt x="40" y="299"/>
                  </a:lnTo>
                  <a:lnTo>
                    <a:pt x="37" y="329"/>
                  </a:lnTo>
                  <a:lnTo>
                    <a:pt x="37" y="329"/>
                  </a:lnTo>
                  <a:lnTo>
                    <a:pt x="40" y="358"/>
                  </a:lnTo>
                  <a:lnTo>
                    <a:pt x="44" y="387"/>
                  </a:lnTo>
                  <a:lnTo>
                    <a:pt x="51" y="415"/>
                  </a:lnTo>
                  <a:lnTo>
                    <a:pt x="61" y="442"/>
                  </a:lnTo>
                  <a:lnTo>
                    <a:pt x="73" y="467"/>
                  </a:lnTo>
                  <a:lnTo>
                    <a:pt x="88" y="491"/>
                  </a:lnTo>
                  <a:lnTo>
                    <a:pt x="104" y="514"/>
                  </a:lnTo>
                  <a:lnTo>
                    <a:pt x="123" y="534"/>
                  </a:lnTo>
                  <a:lnTo>
                    <a:pt x="143" y="553"/>
                  </a:lnTo>
                  <a:lnTo>
                    <a:pt x="166" y="569"/>
                  </a:lnTo>
                  <a:lnTo>
                    <a:pt x="190" y="584"/>
                  </a:lnTo>
                  <a:lnTo>
                    <a:pt x="216" y="596"/>
                  </a:lnTo>
                  <a:lnTo>
                    <a:pt x="243" y="607"/>
                  </a:lnTo>
                  <a:lnTo>
                    <a:pt x="271" y="614"/>
                  </a:lnTo>
                  <a:lnTo>
                    <a:pt x="299" y="618"/>
                  </a:lnTo>
                  <a:lnTo>
                    <a:pt x="329" y="619"/>
                  </a:lnTo>
                  <a:lnTo>
                    <a:pt x="329" y="619"/>
                  </a:lnTo>
                  <a:lnTo>
                    <a:pt x="358" y="618"/>
                  </a:lnTo>
                  <a:lnTo>
                    <a:pt x="388" y="614"/>
                  </a:lnTo>
                  <a:lnTo>
                    <a:pt x="416" y="607"/>
                  </a:lnTo>
                  <a:lnTo>
                    <a:pt x="443" y="596"/>
                  </a:lnTo>
                  <a:lnTo>
                    <a:pt x="467" y="584"/>
                  </a:lnTo>
                  <a:lnTo>
                    <a:pt x="491" y="569"/>
                  </a:lnTo>
                  <a:lnTo>
                    <a:pt x="514" y="553"/>
                  </a:lnTo>
                  <a:lnTo>
                    <a:pt x="534" y="534"/>
                  </a:lnTo>
                  <a:lnTo>
                    <a:pt x="553" y="514"/>
                  </a:lnTo>
                  <a:lnTo>
                    <a:pt x="570" y="491"/>
                  </a:lnTo>
                  <a:lnTo>
                    <a:pt x="585" y="467"/>
                  </a:lnTo>
                  <a:lnTo>
                    <a:pt x="597" y="442"/>
                  </a:lnTo>
                  <a:lnTo>
                    <a:pt x="607" y="415"/>
                  </a:lnTo>
                  <a:lnTo>
                    <a:pt x="615" y="387"/>
                  </a:lnTo>
                  <a:lnTo>
                    <a:pt x="619" y="358"/>
                  </a:lnTo>
                  <a:lnTo>
                    <a:pt x="620" y="329"/>
                  </a:lnTo>
                  <a:lnTo>
                    <a:pt x="620" y="329"/>
                  </a:lnTo>
                  <a:lnTo>
                    <a:pt x="619" y="299"/>
                  </a:lnTo>
                  <a:lnTo>
                    <a:pt x="615" y="270"/>
                  </a:lnTo>
                  <a:lnTo>
                    <a:pt x="607" y="242"/>
                  </a:lnTo>
                  <a:lnTo>
                    <a:pt x="597" y="215"/>
                  </a:lnTo>
                  <a:lnTo>
                    <a:pt x="585" y="189"/>
                  </a:lnTo>
                  <a:lnTo>
                    <a:pt x="570" y="166"/>
                  </a:lnTo>
                  <a:lnTo>
                    <a:pt x="553" y="144"/>
                  </a:lnTo>
                  <a:lnTo>
                    <a:pt x="534" y="123"/>
                  </a:lnTo>
                  <a:lnTo>
                    <a:pt x="514" y="105"/>
                  </a:lnTo>
                  <a:lnTo>
                    <a:pt x="491" y="87"/>
                  </a:lnTo>
                  <a:lnTo>
                    <a:pt x="467" y="72"/>
                  </a:lnTo>
                  <a:lnTo>
                    <a:pt x="443" y="60"/>
                  </a:lnTo>
                  <a:lnTo>
                    <a:pt x="416" y="51"/>
                  </a:lnTo>
                  <a:lnTo>
                    <a:pt x="388" y="43"/>
                  </a:lnTo>
                  <a:lnTo>
                    <a:pt x="358"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6" name="Freeform 207">
              <a:extLst>
                <a:ext uri="{FF2B5EF4-FFF2-40B4-BE49-F238E27FC236}">
                  <a16:creationId xmlns:a16="http://schemas.microsoft.com/office/drawing/2014/main" id="{0BB54C5B-F047-426F-874C-F180110840FD}"/>
                </a:ext>
              </a:extLst>
            </p:cNvPr>
            <p:cNvSpPr>
              <a:spLocks/>
            </p:cNvSpPr>
            <p:nvPr/>
          </p:nvSpPr>
          <p:spPr bwMode="auto">
            <a:xfrm>
              <a:off x="4224338" y="2814638"/>
              <a:ext cx="63500" cy="46038"/>
            </a:xfrm>
            <a:custGeom>
              <a:avLst/>
              <a:gdLst>
                <a:gd name="T0" fmla="*/ 79 w 79"/>
                <a:gd name="T1" fmla="*/ 55 h 59"/>
                <a:gd name="T2" fmla="*/ 79 w 79"/>
                <a:gd name="T3" fmla="*/ 0 h 59"/>
                <a:gd name="T4" fmla="*/ 0 w 79"/>
                <a:gd name="T5" fmla="*/ 0 h 59"/>
                <a:gd name="T6" fmla="*/ 0 w 79"/>
                <a:gd name="T7" fmla="*/ 55 h 59"/>
                <a:gd name="T8" fmla="*/ 0 w 79"/>
                <a:gd name="T9" fmla="*/ 55 h 59"/>
                <a:gd name="T10" fmla="*/ 1 w 79"/>
                <a:gd name="T11" fmla="*/ 58 h 59"/>
                <a:gd name="T12" fmla="*/ 5 w 79"/>
                <a:gd name="T13" fmla="*/ 59 h 59"/>
                <a:gd name="T14" fmla="*/ 75 w 79"/>
                <a:gd name="T15" fmla="*/ 59 h 59"/>
                <a:gd name="T16" fmla="*/ 75 w 79"/>
                <a:gd name="T17" fmla="*/ 59 h 59"/>
                <a:gd name="T18" fmla="*/ 78 w 79"/>
                <a:gd name="T19" fmla="*/ 58 h 59"/>
                <a:gd name="T20" fmla="*/ 79 w 79"/>
                <a:gd name="T21" fmla="*/ 55 h 59"/>
                <a:gd name="T22" fmla="*/ 79 w 79"/>
                <a:gd name="T23" fmla="*/ 55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9" h="59">
                  <a:moveTo>
                    <a:pt x="79" y="55"/>
                  </a:moveTo>
                  <a:lnTo>
                    <a:pt x="79" y="0"/>
                  </a:lnTo>
                  <a:lnTo>
                    <a:pt x="0" y="0"/>
                  </a:lnTo>
                  <a:lnTo>
                    <a:pt x="0" y="55"/>
                  </a:lnTo>
                  <a:lnTo>
                    <a:pt x="0" y="55"/>
                  </a:lnTo>
                  <a:lnTo>
                    <a:pt x="1" y="58"/>
                  </a:lnTo>
                  <a:lnTo>
                    <a:pt x="5" y="59"/>
                  </a:lnTo>
                  <a:lnTo>
                    <a:pt x="75" y="59"/>
                  </a:lnTo>
                  <a:lnTo>
                    <a:pt x="75" y="59"/>
                  </a:lnTo>
                  <a:lnTo>
                    <a:pt x="78" y="58"/>
                  </a:lnTo>
                  <a:lnTo>
                    <a:pt x="79" y="55"/>
                  </a:lnTo>
                  <a:lnTo>
                    <a:pt x="79"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7" name="Freeform 208">
              <a:extLst>
                <a:ext uri="{FF2B5EF4-FFF2-40B4-BE49-F238E27FC236}">
                  <a16:creationId xmlns:a16="http://schemas.microsoft.com/office/drawing/2014/main" id="{B7DA6BC5-ABDC-4000-8B04-E32796A51777}"/>
                </a:ext>
              </a:extLst>
            </p:cNvPr>
            <p:cNvSpPr>
              <a:spLocks noEditPoints="1"/>
            </p:cNvSpPr>
            <p:nvPr/>
          </p:nvSpPr>
          <p:spPr bwMode="auto">
            <a:xfrm>
              <a:off x="4224338" y="2663825"/>
              <a:ext cx="63500" cy="142875"/>
            </a:xfrm>
            <a:custGeom>
              <a:avLst/>
              <a:gdLst>
                <a:gd name="T0" fmla="*/ 79 w 79"/>
                <a:gd name="T1" fmla="*/ 5 h 180"/>
                <a:gd name="T2" fmla="*/ 79 w 79"/>
                <a:gd name="T3" fmla="*/ 5 h 180"/>
                <a:gd name="T4" fmla="*/ 78 w 79"/>
                <a:gd name="T5" fmla="*/ 1 h 180"/>
                <a:gd name="T6" fmla="*/ 75 w 79"/>
                <a:gd name="T7" fmla="*/ 0 h 180"/>
                <a:gd name="T8" fmla="*/ 5 w 79"/>
                <a:gd name="T9" fmla="*/ 0 h 180"/>
                <a:gd name="T10" fmla="*/ 5 w 79"/>
                <a:gd name="T11" fmla="*/ 0 h 180"/>
                <a:gd name="T12" fmla="*/ 1 w 79"/>
                <a:gd name="T13" fmla="*/ 1 h 180"/>
                <a:gd name="T14" fmla="*/ 0 w 79"/>
                <a:gd name="T15" fmla="*/ 5 h 180"/>
                <a:gd name="T16" fmla="*/ 0 w 79"/>
                <a:gd name="T17" fmla="*/ 180 h 180"/>
                <a:gd name="T18" fmla="*/ 79 w 79"/>
                <a:gd name="T19" fmla="*/ 180 h 180"/>
                <a:gd name="T20" fmla="*/ 79 w 79"/>
                <a:gd name="T21" fmla="*/ 5 h 180"/>
                <a:gd name="T22" fmla="*/ 45 w 79"/>
                <a:gd name="T23" fmla="*/ 130 h 180"/>
                <a:gd name="T24" fmla="*/ 35 w 79"/>
                <a:gd name="T25" fmla="*/ 130 h 180"/>
                <a:gd name="T26" fmla="*/ 35 w 79"/>
                <a:gd name="T27" fmla="*/ 130 h 180"/>
                <a:gd name="T28" fmla="*/ 32 w 79"/>
                <a:gd name="T29" fmla="*/ 127 h 180"/>
                <a:gd name="T30" fmla="*/ 29 w 79"/>
                <a:gd name="T31" fmla="*/ 125 h 180"/>
                <a:gd name="T32" fmla="*/ 29 w 79"/>
                <a:gd name="T33" fmla="*/ 125 h 180"/>
                <a:gd name="T34" fmla="*/ 32 w 79"/>
                <a:gd name="T35" fmla="*/ 121 h 180"/>
                <a:gd name="T36" fmla="*/ 35 w 79"/>
                <a:gd name="T37" fmla="*/ 119 h 180"/>
                <a:gd name="T38" fmla="*/ 45 w 79"/>
                <a:gd name="T39" fmla="*/ 119 h 180"/>
                <a:gd name="T40" fmla="*/ 45 w 79"/>
                <a:gd name="T41" fmla="*/ 119 h 180"/>
                <a:gd name="T42" fmla="*/ 48 w 79"/>
                <a:gd name="T43" fmla="*/ 121 h 180"/>
                <a:gd name="T44" fmla="*/ 49 w 79"/>
                <a:gd name="T45" fmla="*/ 125 h 180"/>
                <a:gd name="T46" fmla="*/ 49 w 79"/>
                <a:gd name="T47" fmla="*/ 125 h 180"/>
                <a:gd name="T48" fmla="*/ 48 w 79"/>
                <a:gd name="T49" fmla="*/ 127 h 180"/>
                <a:gd name="T50" fmla="*/ 45 w 79"/>
                <a:gd name="T51" fmla="*/ 130 h 180"/>
                <a:gd name="T52" fmla="*/ 45 w 79"/>
                <a:gd name="T53" fmla="*/ 130 h 180"/>
                <a:gd name="T54" fmla="*/ 45 w 79"/>
                <a:gd name="T55" fmla="*/ 90 h 180"/>
                <a:gd name="T56" fmla="*/ 35 w 79"/>
                <a:gd name="T57" fmla="*/ 90 h 180"/>
                <a:gd name="T58" fmla="*/ 35 w 79"/>
                <a:gd name="T59" fmla="*/ 90 h 180"/>
                <a:gd name="T60" fmla="*/ 32 w 79"/>
                <a:gd name="T61" fmla="*/ 88 h 180"/>
                <a:gd name="T62" fmla="*/ 29 w 79"/>
                <a:gd name="T63" fmla="*/ 84 h 180"/>
                <a:gd name="T64" fmla="*/ 29 w 79"/>
                <a:gd name="T65" fmla="*/ 84 h 180"/>
                <a:gd name="T66" fmla="*/ 32 w 79"/>
                <a:gd name="T67" fmla="*/ 82 h 180"/>
                <a:gd name="T68" fmla="*/ 35 w 79"/>
                <a:gd name="T69" fmla="*/ 79 h 180"/>
                <a:gd name="T70" fmla="*/ 45 w 79"/>
                <a:gd name="T71" fmla="*/ 79 h 180"/>
                <a:gd name="T72" fmla="*/ 45 w 79"/>
                <a:gd name="T73" fmla="*/ 79 h 180"/>
                <a:gd name="T74" fmla="*/ 48 w 79"/>
                <a:gd name="T75" fmla="*/ 82 h 180"/>
                <a:gd name="T76" fmla="*/ 49 w 79"/>
                <a:gd name="T77" fmla="*/ 84 h 180"/>
                <a:gd name="T78" fmla="*/ 49 w 79"/>
                <a:gd name="T79" fmla="*/ 84 h 180"/>
                <a:gd name="T80" fmla="*/ 48 w 79"/>
                <a:gd name="T81" fmla="*/ 88 h 180"/>
                <a:gd name="T82" fmla="*/ 45 w 79"/>
                <a:gd name="T83" fmla="*/ 90 h 180"/>
                <a:gd name="T84" fmla="*/ 45 w 79"/>
                <a:gd name="T85" fmla="*/ 90 h 180"/>
                <a:gd name="T86" fmla="*/ 45 w 79"/>
                <a:gd name="T87" fmla="*/ 49 h 180"/>
                <a:gd name="T88" fmla="*/ 35 w 79"/>
                <a:gd name="T89" fmla="*/ 49 h 180"/>
                <a:gd name="T90" fmla="*/ 35 w 79"/>
                <a:gd name="T91" fmla="*/ 49 h 180"/>
                <a:gd name="T92" fmla="*/ 32 w 79"/>
                <a:gd name="T93" fmla="*/ 48 h 180"/>
                <a:gd name="T94" fmla="*/ 29 w 79"/>
                <a:gd name="T95" fmla="*/ 45 h 180"/>
                <a:gd name="T96" fmla="*/ 29 w 79"/>
                <a:gd name="T97" fmla="*/ 45 h 180"/>
                <a:gd name="T98" fmla="*/ 32 w 79"/>
                <a:gd name="T99" fmla="*/ 41 h 180"/>
                <a:gd name="T100" fmla="*/ 35 w 79"/>
                <a:gd name="T101" fmla="*/ 40 h 180"/>
                <a:gd name="T102" fmla="*/ 45 w 79"/>
                <a:gd name="T103" fmla="*/ 40 h 180"/>
                <a:gd name="T104" fmla="*/ 45 w 79"/>
                <a:gd name="T105" fmla="*/ 40 h 180"/>
                <a:gd name="T106" fmla="*/ 48 w 79"/>
                <a:gd name="T107" fmla="*/ 41 h 180"/>
                <a:gd name="T108" fmla="*/ 49 w 79"/>
                <a:gd name="T109" fmla="*/ 45 h 180"/>
                <a:gd name="T110" fmla="*/ 49 w 79"/>
                <a:gd name="T111" fmla="*/ 45 h 180"/>
                <a:gd name="T112" fmla="*/ 48 w 79"/>
                <a:gd name="T113" fmla="*/ 48 h 180"/>
                <a:gd name="T114" fmla="*/ 45 w 79"/>
                <a:gd name="T115" fmla="*/ 49 h 180"/>
                <a:gd name="T116" fmla="*/ 45 w 79"/>
                <a:gd name="T117" fmla="*/ 49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9" h="180">
                  <a:moveTo>
                    <a:pt x="79" y="5"/>
                  </a:moveTo>
                  <a:lnTo>
                    <a:pt x="79" y="5"/>
                  </a:lnTo>
                  <a:lnTo>
                    <a:pt x="78" y="1"/>
                  </a:lnTo>
                  <a:lnTo>
                    <a:pt x="75" y="0"/>
                  </a:lnTo>
                  <a:lnTo>
                    <a:pt x="5" y="0"/>
                  </a:lnTo>
                  <a:lnTo>
                    <a:pt x="5" y="0"/>
                  </a:lnTo>
                  <a:lnTo>
                    <a:pt x="1" y="1"/>
                  </a:lnTo>
                  <a:lnTo>
                    <a:pt x="0" y="5"/>
                  </a:lnTo>
                  <a:lnTo>
                    <a:pt x="0" y="180"/>
                  </a:lnTo>
                  <a:lnTo>
                    <a:pt x="79" y="180"/>
                  </a:lnTo>
                  <a:lnTo>
                    <a:pt x="79" y="5"/>
                  </a:lnTo>
                  <a:close/>
                  <a:moveTo>
                    <a:pt x="45" y="130"/>
                  </a:moveTo>
                  <a:lnTo>
                    <a:pt x="35" y="130"/>
                  </a:lnTo>
                  <a:lnTo>
                    <a:pt x="35" y="130"/>
                  </a:lnTo>
                  <a:lnTo>
                    <a:pt x="32" y="127"/>
                  </a:lnTo>
                  <a:lnTo>
                    <a:pt x="29" y="125"/>
                  </a:lnTo>
                  <a:lnTo>
                    <a:pt x="29" y="125"/>
                  </a:lnTo>
                  <a:lnTo>
                    <a:pt x="32" y="121"/>
                  </a:lnTo>
                  <a:lnTo>
                    <a:pt x="35" y="119"/>
                  </a:lnTo>
                  <a:lnTo>
                    <a:pt x="45" y="119"/>
                  </a:lnTo>
                  <a:lnTo>
                    <a:pt x="45" y="119"/>
                  </a:lnTo>
                  <a:lnTo>
                    <a:pt x="48" y="121"/>
                  </a:lnTo>
                  <a:lnTo>
                    <a:pt x="49" y="125"/>
                  </a:lnTo>
                  <a:lnTo>
                    <a:pt x="49" y="125"/>
                  </a:lnTo>
                  <a:lnTo>
                    <a:pt x="48" y="127"/>
                  </a:lnTo>
                  <a:lnTo>
                    <a:pt x="45" y="130"/>
                  </a:lnTo>
                  <a:lnTo>
                    <a:pt x="45" y="130"/>
                  </a:lnTo>
                  <a:close/>
                  <a:moveTo>
                    <a:pt x="45" y="90"/>
                  </a:moveTo>
                  <a:lnTo>
                    <a:pt x="35" y="90"/>
                  </a:lnTo>
                  <a:lnTo>
                    <a:pt x="35" y="90"/>
                  </a:lnTo>
                  <a:lnTo>
                    <a:pt x="32" y="88"/>
                  </a:lnTo>
                  <a:lnTo>
                    <a:pt x="29" y="84"/>
                  </a:lnTo>
                  <a:lnTo>
                    <a:pt x="29" y="84"/>
                  </a:lnTo>
                  <a:lnTo>
                    <a:pt x="32" y="82"/>
                  </a:lnTo>
                  <a:lnTo>
                    <a:pt x="35" y="79"/>
                  </a:lnTo>
                  <a:lnTo>
                    <a:pt x="45" y="79"/>
                  </a:lnTo>
                  <a:lnTo>
                    <a:pt x="45" y="79"/>
                  </a:lnTo>
                  <a:lnTo>
                    <a:pt x="48" y="82"/>
                  </a:lnTo>
                  <a:lnTo>
                    <a:pt x="49" y="84"/>
                  </a:lnTo>
                  <a:lnTo>
                    <a:pt x="49" y="84"/>
                  </a:lnTo>
                  <a:lnTo>
                    <a:pt x="48" y="88"/>
                  </a:lnTo>
                  <a:lnTo>
                    <a:pt x="45" y="90"/>
                  </a:lnTo>
                  <a:lnTo>
                    <a:pt x="45" y="90"/>
                  </a:lnTo>
                  <a:close/>
                  <a:moveTo>
                    <a:pt x="45" y="49"/>
                  </a:moveTo>
                  <a:lnTo>
                    <a:pt x="35" y="49"/>
                  </a:lnTo>
                  <a:lnTo>
                    <a:pt x="35" y="49"/>
                  </a:lnTo>
                  <a:lnTo>
                    <a:pt x="32" y="48"/>
                  </a:lnTo>
                  <a:lnTo>
                    <a:pt x="29" y="45"/>
                  </a:lnTo>
                  <a:lnTo>
                    <a:pt x="29" y="45"/>
                  </a:lnTo>
                  <a:lnTo>
                    <a:pt x="32" y="41"/>
                  </a:lnTo>
                  <a:lnTo>
                    <a:pt x="35" y="40"/>
                  </a:lnTo>
                  <a:lnTo>
                    <a:pt x="45" y="40"/>
                  </a:lnTo>
                  <a:lnTo>
                    <a:pt x="45" y="40"/>
                  </a:lnTo>
                  <a:lnTo>
                    <a:pt x="48" y="41"/>
                  </a:lnTo>
                  <a:lnTo>
                    <a:pt x="49" y="45"/>
                  </a:lnTo>
                  <a:lnTo>
                    <a:pt x="49" y="45"/>
                  </a:lnTo>
                  <a:lnTo>
                    <a:pt x="48" y="48"/>
                  </a:lnTo>
                  <a:lnTo>
                    <a:pt x="45" y="49"/>
                  </a:lnTo>
                  <a:lnTo>
                    <a:pt x="45" y="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8" name="Freeform 209">
              <a:extLst>
                <a:ext uri="{FF2B5EF4-FFF2-40B4-BE49-F238E27FC236}">
                  <a16:creationId xmlns:a16="http://schemas.microsoft.com/office/drawing/2014/main" id="{E77BF420-CBE4-462A-9E25-C709827AAC30}"/>
                </a:ext>
              </a:extLst>
            </p:cNvPr>
            <p:cNvSpPr>
              <a:spLocks/>
            </p:cNvSpPr>
            <p:nvPr/>
          </p:nvSpPr>
          <p:spPr bwMode="auto">
            <a:xfrm>
              <a:off x="4303713" y="2814638"/>
              <a:ext cx="63500" cy="46038"/>
            </a:xfrm>
            <a:custGeom>
              <a:avLst/>
              <a:gdLst>
                <a:gd name="T0" fmla="*/ 5 w 79"/>
                <a:gd name="T1" fmla="*/ 59 h 59"/>
                <a:gd name="T2" fmla="*/ 75 w 79"/>
                <a:gd name="T3" fmla="*/ 59 h 59"/>
                <a:gd name="T4" fmla="*/ 75 w 79"/>
                <a:gd name="T5" fmla="*/ 59 h 59"/>
                <a:gd name="T6" fmla="*/ 78 w 79"/>
                <a:gd name="T7" fmla="*/ 58 h 59"/>
                <a:gd name="T8" fmla="*/ 79 w 79"/>
                <a:gd name="T9" fmla="*/ 55 h 59"/>
                <a:gd name="T10" fmla="*/ 79 w 79"/>
                <a:gd name="T11" fmla="*/ 0 h 59"/>
                <a:gd name="T12" fmla="*/ 0 w 79"/>
                <a:gd name="T13" fmla="*/ 0 h 59"/>
                <a:gd name="T14" fmla="*/ 0 w 79"/>
                <a:gd name="T15" fmla="*/ 55 h 59"/>
                <a:gd name="T16" fmla="*/ 0 w 79"/>
                <a:gd name="T17" fmla="*/ 55 h 59"/>
                <a:gd name="T18" fmla="*/ 1 w 79"/>
                <a:gd name="T19" fmla="*/ 58 h 59"/>
                <a:gd name="T20" fmla="*/ 5 w 79"/>
                <a:gd name="T21" fmla="*/ 59 h 59"/>
                <a:gd name="T22" fmla="*/ 5 w 79"/>
                <a:gd name="T23"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9" h="59">
                  <a:moveTo>
                    <a:pt x="5" y="59"/>
                  </a:moveTo>
                  <a:lnTo>
                    <a:pt x="75" y="59"/>
                  </a:lnTo>
                  <a:lnTo>
                    <a:pt x="75" y="59"/>
                  </a:lnTo>
                  <a:lnTo>
                    <a:pt x="78" y="58"/>
                  </a:lnTo>
                  <a:lnTo>
                    <a:pt x="79" y="55"/>
                  </a:lnTo>
                  <a:lnTo>
                    <a:pt x="79" y="0"/>
                  </a:lnTo>
                  <a:lnTo>
                    <a:pt x="0" y="0"/>
                  </a:lnTo>
                  <a:lnTo>
                    <a:pt x="0" y="55"/>
                  </a:lnTo>
                  <a:lnTo>
                    <a:pt x="0" y="55"/>
                  </a:lnTo>
                  <a:lnTo>
                    <a:pt x="1" y="58"/>
                  </a:lnTo>
                  <a:lnTo>
                    <a:pt x="5" y="59"/>
                  </a:lnTo>
                  <a:lnTo>
                    <a:pt x="5" y="5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9" name="Freeform 210">
              <a:extLst>
                <a:ext uri="{FF2B5EF4-FFF2-40B4-BE49-F238E27FC236}">
                  <a16:creationId xmlns:a16="http://schemas.microsoft.com/office/drawing/2014/main" id="{249DD3B3-A931-4920-8C00-D488DAC74AE2}"/>
                </a:ext>
              </a:extLst>
            </p:cNvPr>
            <p:cNvSpPr>
              <a:spLocks noEditPoints="1"/>
            </p:cNvSpPr>
            <p:nvPr/>
          </p:nvSpPr>
          <p:spPr bwMode="auto">
            <a:xfrm>
              <a:off x="4303713" y="2663825"/>
              <a:ext cx="63500" cy="142875"/>
            </a:xfrm>
            <a:custGeom>
              <a:avLst/>
              <a:gdLst>
                <a:gd name="T0" fmla="*/ 79 w 79"/>
                <a:gd name="T1" fmla="*/ 5 h 180"/>
                <a:gd name="T2" fmla="*/ 79 w 79"/>
                <a:gd name="T3" fmla="*/ 5 h 180"/>
                <a:gd name="T4" fmla="*/ 78 w 79"/>
                <a:gd name="T5" fmla="*/ 1 h 180"/>
                <a:gd name="T6" fmla="*/ 75 w 79"/>
                <a:gd name="T7" fmla="*/ 0 h 180"/>
                <a:gd name="T8" fmla="*/ 5 w 79"/>
                <a:gd name="T9" fmla="*/ 0 h 180"/>
                <a:gd name="T10" fmla="*/ 5 w 79"/>
                <a:gd name="T11" fmla="*/ 0 h 180"/>
                <a:gd name="T12" fmla="*/ 1 w 79"/>
                <a:gd name="T13" fmla="*/ 1 h 180"/>
                <a:gd name="T14" fmla="*/ 0 w 79"/>
                <a:gd name="T15" fmla="*/ 5 h 180"/>
                <a:gd name="T16" fmla="*/ 0 w 79"/>
                <a:gd name="T17" fmla="*/ 180 h 180"/>
                <a:gd name="T18" fmla="*/ 79 w 79"/>
                <a:gd name="T19" fmla="*/ 180 h 180"/>
                <a:gd name="T20" fmla="*/ 79 w 79"/>
                <a:gd name="T21" fmla="*/ 5 h 180"/>
                <a:gd name="T22" fmla="*/ 46 w 79"/>
                <a:gd name="T23" fmla="*/ 130 h 180"/>
                <a:gd name="T24" fmla="*/ 35 w 79"/>
                <a:gd name="T25" fmla="*/ 130 h 180"/>
                <a:gd name="T26" fmla="*/ 35 w 79"/>
                <a:gd name="T27" fmla="*/ 130 h 180"/>
                <a:gd name="T28" fmla="*/ 32 w 79"/>
                <a:gd name="T29" fmla="*/ 127 h 180"/>
                <a:gd name="T30" fmla="*/ 30 w 79"/>
                <a:gd name="T31" fmla="*/ 125 h 180"/>
                <a:gd name="T32" fmla="*/ 30 w 79"/>
                <a:gd name="T33" fmla="*/ 125 h 180"/>
                <a:gd name="T34" fmla="*/ 32 w 79"/>
                <a:gd name="T35" fmla="*/ 121 h 180"/>
                <a:gd name="T36" fmla="*/ 35 w 79"/>
                <a:gd name="T37" fmla="*/ 119 h 180"/>
                <a:gd name="T38" fmla="*/ 46 w 79"/>
                <a:gd name="T39" fmla="*/ 119 h 180"/>
                <a:gd name="T40" fmla="*/ 46 w 79"/>
                <a:gd name="T41" fmla="*/ 119 h 180"/>
                <a:gd name="T42" fmla="*/ 48 w 79"/>
                <a:gd name="T43" fmla="*/ 121 h 180"/>
                <a:gd name="T44" fmla="*/ 50 w 79"/>
                <a:gd name="T45" fmla="*/ 125 h 180"/>
                <a:gd name="T46" fmla="*/ 50 w 79"/>
                <a:gd name="T47" fmla="*/ 125 h 180"/>
                <a:gd name="T48" fmla="*/ 48 w 79"/>
                <a:gd name="T49" fmla="*/ 127 h 180"/>
                <a:gd name="T50" fmla="*/ 46 w 79"/>
                <a:gd name="T51" fmla="*/ 130 h 180"/>
                <a:gd name="T52" fmla="*/ 46 w 79"/>
                <a:gd name="T53" fmla="*/ 130 h 180"/>
                <a:gd name="T54" fmla="*/ 46 w 79"/>
                <a:gd name="T55" fmla="*/ 90 h 180"/>
                <a:gd name="T56" fmla="*/ 35 w 79"/>
                <a:gd name="T57" fmla="*/ 90 h 180"/>
                <a:gd name="T58" fmla="*/ 35 w 79"/>
                <a:gd name="T59" fmla="*/ 90 h 180"/>
                <a:gd name="T60" fmla="*/ 32 w 79"/>
                <a:gd name="T61" fmla="*/ 88 h 180"/>
                <a:gd name="T62" fmla="*/ 30 w 79"/>
                <a:gd name="T63" fmla="*/ 84 h 180"/>
                <a:gd name="T64" fmla="*/ 30 w 79"/>
                <a:gd name="T65" fmla="*/ 84 h 180"/>
                <a:gd name="T66" fmla="*/ 32 w 79"/>
                <a:gd name="T67" fmla="*/ 82 h 180"/>
                <a:gd name="T68" fmla="*/ 35 w 79"/>
                <a:gd name="T69" fmla="*/ 79 h 180"/>
                <a:gd name="T70" fmla="*/ 46 w 79"/>
                <a:gd name="T71" fmla="*/ 79 h 180"/>
                <a:gd name="T72" fmla="*/ 46 w 79"/>
                <a:gd name="T73" fmla="*/ 79 h 180"/>
                <a:gd name="T74" fmla="*/ 48 w 79"/>
                <a:gd name="T75" fmla="*/ 82 h 180"/>
                <a:gd name="T76" fmla="*/ 50 w 79"/>
                <a:gd name="T77" fmla="*/ 84 h 180"/>
                <a:gd name="T78" fmla="*/ 50 w 79"/>
                <a:gd name="T79" fmla="*/ 84 h 180"/>
                <a:gd name="T80" fmla="*/ 48 w 79"/>
                <a:gd name="T81" fmla="*/ 88 h 180"/>
                <a:gd name="T82" fmla="*/ 46 w 79"/>
                <a:gd name="T83" fmla="*/ 90 h 180"/>
                <a:gd name="T84" fmla="*/ 46 w 79"/>
                <a:gd name="T85" fmla="*/ 90 h 180"/>
                <a:gd name="T86" fmla="*/ 46 w 79"/>
                <a:gd name="T87" fmla="*/ 49 h 180"/>
                <a:gd name="T88" fmla="*/ 35 w 79"/>
                <a:gd name="T89" fmla="*/ 49 h 180"/>
                <a:gd name="T90" fmla="*/ 35 w 79"/>
                <a:gd name="T91" fmla="*/ 49 h 180"/>
                <a:gd name="T92" fmla="*/ 32 w 79"/>
                <a:gd name="T93" fmla="*/ 48 h 180"/>
                <a:gd name="T94" fmla="*/ 30 w 79"/>
                <a:gd name="T95" fmla="*/ 45 h 180"/>
                <a:gd name="T96" fmla="*/ 30 w 79"/>
                <a:gd name="T97" fmla="*/ 45 h 180"/>
                <a:gd name="T98" fmla="*/ 32 w 79"/>
                <a:gd name="T99" fmla="*/ 41 h 180"/>
                <a:gd name="T100" fmla="*/ 35 w 79"/>
                <a:gd name="T101" fmla="*/ 40 h 180"/>
                <a:gd name="T102" fmla="*/ 46 w 79"/>
                <a:gd name="T103" fmla="*/ 40 h 180"/>
                <a:gd name="T104" fmla="*/ 46 w 79"/>
                <a:gd name="T105" fmla="*/ 40 h 180"/>
                <a:gd name="T106" fmla="*/ 48 w 79"/>
                <a:gd name="T107" fmla="*/ 41 h 180"/>
                <a:gd name="T108" fmla="*/ 50 w 79"/>
                <a:gd name="T109" fmla="*/ 45 h 180"/>
                <a:gd name="T110" fmla="*/ 50 w 79"/>
                <a:gd name="T111" fmla="*/ 45 h 180"/>
                <a:gd name="T112" fmla="*/ 48 w 79"/>
                <a:gd name="T113" fmla="*/ 48 h 180"/>
                <a:gd name="T114" fmla="*/ 46 w 79"/>
                <a:gd name="T115" fmla="*/ 49 h 180"/>
                <a:gd name="T116" fmla="*/ 46 w 79"/>
                <a:gd name="T117" fmla="*/ 49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9" h="180">
                  <a:moveTo>
                    <a:pt x="79" y="5"/>
                  </a:moveTo>
                  <a:lnTo>
                    <a:pt x="79" y="5"/>
                  </a:lnTo>
                  <a:lnTo>
                    <a:pt x="78" y="1"/>
                  </a:lnTo>
                  <a:lnTo>
                    <a:pt x="75" y="0"/>
                  </a:lnTo>
                  <a:lnTo>
                    <a:pt x="5" y="0"/>
                  </a:lnTo>
                  <a:lnTo>
                    <a:pt x="5" y="0"/>
                  </a:lnTo>
                  <a:lnTo>
                    <a:pt x="1" y="1"/>
                  </a:lnTo>
                  <a:lnTo>
                    <a:pt x="0" y="5"/>
                  </a:lnTo>
                  <a:lnTo>
                    <a:pt x="0" y="180"/>
                  </a:lnTo>
                  <a:lnTo>
                    <a:pt x="79" y="180"/>
                  </a:lnTo>
                  <a:lnTo>
                    <a:pt x="79" y="5"/>
                  </a:lnTo>
                  <a:close/>
                  <a:moveTo>
                    <a:pt x="46" y="130"/>
                  </a:moveTo>
                  <a:lnTo>
                    <a:pt x="35" y="130"/>
                  </a:lnTo>
                  <a:lnTo>
                    <a:pt x="35" y="130"/>
                  </a:lnTo>
                  <a:lnTo>
                    <a:pt x="32" y="127"/>
                  </a:lnTo>
                  <a:lnTo>
                    <a:pt x="30" y="125"/>
                  </a:lnTo>
                  <a:lnTo>
                    <a:pt x="30" y="125"/>
                  </a:lnTo>
                  <a:lnTo>
                    <a:pt x="32" y="121"/>
                  </a:lnTo>
                  <a:lnTo>
                    <a:pt x="35" y="119"/>
                  </a:lnTo>
                  <a:lnTo>
                    <a:pt x="46" y="119"/>
                  </a:lnTo>
                  <a:lnTo>
                    <a:pt x="46" y="119"/>
                  </a:lnTo>
                  <a:lnTo>
                    <a:pt x="48" y="121"/>
                  </a:lnTo>
                  <a:lnTo>
                    <a:pt x="50" y="125"/>
                  </a:lnTo>
                  <a:lnTo>
                    <a:pt x="50" y="125"/>
                  </a:lnTo>
                  <a:lnTo>
                    <a:pt x="48" y="127"/>
                  </a:lnTo>
                  <a:lnTo>
                    <a:pt x="46" y="130"/>
                  </a:lnTo>
                  <a:lnTo>
                    <a:pt x="46" y="130"/>
                  </a:lnTo>
                  <a:close/>
                  <a:moveTo>
                    <a:pt x="46" y="90"/>
                  </a:moveTo>
                  <a:lnTo>
                    <a:pt x="35" y="90"/>
                  </a:lnTo>
                  <a:lnTo>
                    <a:pt x="35" y="90"/>
                  </a:lnTo>
                  <a:lnTo>
                    <a:pt x="32" y="88"/>
                  </a:lnTo>
                  <a:lnTo>
                    <a:pt x="30" y="84"/>
                  </a:lnTo>
                  <a:lnTo>
                    <a:pt x="30" y="84"/>
                  </a:lnTo>
                  <a:lnTo>
                    <a:pt x="32" y="82"/>
                  </a:lnTo>
                  <a:lnTo>
                    <a:pt x="35" y="79"/>
                  </a:lnTo>
                  <a:lnTo>
                    <a:pt x="46" y="79"/>
                  </a:lnTo>
                  <a:lnTo>
                    <a:pt x="46" y="79"/>
                  </a:lnTo>
                  <a:lnTo>
                    <a:pt x="48" y="82"/>
                  </a:lnTo>
                  <a:lnTo>
                    <a:pt x="50" y="84"/>
                  </a:lnTo>
                  <a:lnTo>
                    <a:pt x="50" y="84"/>
                  </a:lnTo>
                  <a:lnTo>
                    <a:pt x="48" y="88"/>
                  </a:lnTo>
                  <a:lnTo>
                    <a:pt x="46" y="90"/>
                  </a:lnTo>
                  <a:lnTo>
                    <a:pt x="46" y="90"/>
                  </a:lnTo>
                  <a:close/>
                  <a:moveTo>
                    <a:pt x="46" y="49"/>
                  </a:moveTo>
                  <a:lnTo>
                    <a:pt x="35" y="49"/>
                  </a:lnTo>
                  <a:lnTo>
                    <a:pt x="35" y="49"/>
                  </a:lnTo>
                  <a:lnTo>
                    <a:pt x="32" y="48"/>
                  </a:lnTo>
                  <a:lnTo>
                    <a:pt x="30" y="45"/>
                  </a:lnTo>
                  <a:lnTo>
                    <a:pt x="30" y="45"/>
                  </a:lnTo>
                  <a:lnTo>
                    <a:pt x="32" y="41"/>
                  </a:lnTo>
                  <a:lnTo>
                    <a:pt x="35" y="40"/>
                  </a:lnTo>
                  <a:lnTo>
                    <a:pt x="46" y="40"/>
                  </a:lnTo>
                  <a:lnTo>
                    <a:pt x="46" y="40"/>
                  </a:lnTo>
                  <a:lnTo>
                    <a:pt x="48" y="41"/>
                  </a:lnTo>
                  <a:lnTo>
                    <a:pt x="50" y="45"/>
                  </a:lnTo>
                  <a:lnTo>
                    <a:pt x="50" y="45"/>
                  </a:lnTo>
                  <a:lnTo>
                    <a:pt x="48" y="48"/>
                  </a:lnTo>
                  <a:lnTo>
                    <a:pt x="46" y="49"/>
                  </a:lnTo>
                  <a:lnTo>
                    <a:pt x="46" y="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0" name="Freeform 211">
              <a:extLst>
                <a:ext uri="{FF2B5EF4-FFF2-40B4-BE49-F238E27FC236}">
                  <a16:creationId xmlns:a16="http://schemas.microsoft.com/office/drawing/2014/main" id="{A8FCF590-C142-4410-B8CB-91150AD9B804}"/>
                </a:ext>
              </a:extLst>
            </p:cNvPr>
            <p:cNvSpPr>
              <a:spLocks/>
            </p:cNvSpPr>
            <p:nvPr/>
          </p:nvSpPr>
          <p:spPr bwMode="auto">
            <a:xfrm>
              <a:off x="4392613" y="2803525"/>
              <a:ext cx="69850" cy="57150"/>
            </a:xfrm>
            <a:custGeom>
              <a:avLst/>
              <a:gdLst>
                <a:gd name="T0" fmla="*/ 0 w 88"/>
                <a:gd name="T1" fmla="*/ 13 h 71"/>
                <a:gd name="T2" fmla="*/ 9 w 88"/>
                <a:gd name="T3" fmla="*/ 67 h 71"/>
                <a:gd name="T4" fmla="*/ 9 w 88"/>
                <a:gd name="T5" fmla="*/ 67 h 71"/>
                <a:gd name="T6" fmla="*/ 12 w 88"/>
                <a:gd name="T7" fmla="*/ 70 h 71"/>
                <a:gd name="T8" fmla="*/ 14 w 88"/>
                <a:gd name="T9" fmla="*/ 71 h 71"/>
                <a:gd name="T10" fmla="*/ 14 w 88"/>
                <a:gd name="T11" fmla="*/ 71 h 71"/>
                <a:gd name="T12" fmla="*/ 16 w 88"/>
                <a:gd name="T13" fmla="*/ 71 h 71"/>
                <a:gd name="T14" fmla="*/ 84 w 88"/>
                <a:gd name="T15" fmla="*/ 59 h 71"/>
                <a:gd name="T16" fmla="*/ 84 w 88"/>
                <a:gd name="T17" fmla="*/ 59 h 71"/>
                <a:gd name="T18" fmla="*/ 87 w 88"/>
                <a:gd name="T19" fmla="*/ 58 h 71"/>
                <a:gd name="T20" fmla="*/ 87 w 88"/>
                <a:gd name="T21" fmla="*/ 58 h 71"/>
                <a:gd name="T22" fmla="*/ 88 w 88"/>
                <a:gd name="T23" fmla="*/ 54 h 71"/>
                <a:gd name="T24" fmla="*/ 79 w 88"/>
                <a:gd name="T25" fmla="*/ 0 h 71"/>
                <a:gd name="T26" fmla="*/ 0 w 88"/>
                <a:gd name="T27" fmla="*/ 13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71">
                  <a:moveTo>
                    <a:pt x="0" y="13"/>
                  </a:moveTo>
                  <a:lnTo>
                    <a:pt x="9" y="67"/>
                  </a:lnTo>
                  <a:lnTo>
                    <a:pt x="9" y="67"/>
                  </a:lnTo>
                  <a:lnTo>
                    <a:pt x="12" y="70"/>
                  </a:lnTo>
                  <a:lnTo>
                    <a:pt x="14" y="71"/>
                  </a:lnTo>
                  <a:lnTo>
                    <a:pt x="14" y="71"/>
                  </a:lnTo>
                  <a:lnTo>
                    <a:pt x="16" y="71"/>
                  </a:lnTo>
                  <a:lnTo>
                    <a:pt x="84" y="59"/>
                  </a:lnTo>
                  <a:lnTo>
                    <a:pt x="84" y="59"/>
                  </a:lnTo>
                  <a:lnTo>
                    <a:pt x="87" y="58"/>
                  </a:lnTo>
                  <a:lnTo>
                    <a:pt x="87" y="58"/>
                  </a:lnTo>
                  <a:lnTo>
                    <a:pt x="88" y="54"/>
                  </a:lnTo>
                  <a:lnTo>
                    <a:pt x="79" y="0"/>
                  </a:lnTo>
                  <a:lnTo>
                    <a:pt x="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1" name="Freeform 212">
              <a:extLst>
                <a:ext uri="{FF2B5EF4-FFF2-40B4-BE49-F238E27FC236}">
                  <a16:creationId xmlns:a16="http://schemas.microsoft.com/office/drawing/2014/main" id="{F6399F75-337F-40BE-B422-04F8D24E82CC}"/>
                </a:ext>
              </a:extLst>
            </p:cNvPr>
            <p:cNvSpPr>
              <a:spLocks noEditPoints="1"/>
            </p:cNvSpPr>
            <p:nvPr/>
          </p:nvSpPr>
          <p:spPr bwMode="auto">
            <a:xfrm>
              <a:off x="4367213" y="2657475"/>
              <a:ext cx="85725" cy="150813"/>
            </a:xfrm>
            <a:custGeom>
              <a:avLst/>
              <a:gdLst>
                <a:gd name="T0" fmla="*/ 80 w 109"/>
                <a:gd name="T1" fmla="*/ 4 h 189"/>
                <a:gd name="T2" fmla="*/ 77 w 109"/>
                <a:gd name="T3" fmla="*/ 1 h 189"/>
                <a:gd name="T4" fmla="*/ 74 w 109"/>
                <a:gd name="T5" fmla="*/ 0 h 189"/>
                <a:gd name="T6" fmla="*/ 6 w 109"/>
                <a:gd name="T7" fmla="*/ 12 h 189"/>
                <a:gd name="T8" fmla="*/ 0 w 109"/>
                <a:gd name="T9" fmla="*/ 17 h 189"/>
                <a:gd name="T10" fmla="*/ 109 w 109"/>
                <a:gd name="T11" fmla="*/ 176 h 189"/>
                <a:gd name="T12" fmla="*/ 70 w 109"/>
                <a:gd name="T13" fmla="*/ 126 h 189"/>
                <a:gd name="T14" fmla="*/ 66 w 109"/>
                <a:gd name="T15" fmla="*/ 133 h 189"/>
                <a:gd name="T16" fmla="*/ 57 w 109"/>
                <a:gd name="T17" fmla="*/ 134 h 189"/>
                <a:gd name="T18" fmla="*/ 55 w 109"/>
                <a:gd name="T19" fmla="*/ 134 h 189"/>
                <a:gd name="T20" fmla="*/ 51 w 109"/>
                <a:gd name="T21" fmla="*/ 130 h 189"/>
                <a:gd name="T22" fmla="*/ 51 w 109"/>
                <a:gd name="T23" fmla="*/ 126 h 189"/>
                <a:gd name="T24" fmla="*/ 65 w 109"/>
                <a:gd name="T25" fmla="*/ 122 h 189"/>
                <a:gd name="T26" fmla="*/ 69 w 109"/>
                <a:gd name="T27" fmla="*/ 123 h 189"/>
                <a:gd name="T28" fmla="*/ 70 w 109"/>
                <a:gd name="T29" fmla="*/ 126 h 189"/>
                <a:gd name="T30" fmla="*/ 63 w 109"/>
                <a:gd name="T31" fmla="*/ 87 h 189"/>
                <a:gd name="T32" fmla="*/ 59 w 109"/>
                <a:gd name="T33" fmla="*/ 92 h 189"/>
                <a:gd name="T34" fmla="*/ 50 w 109"/>
                <a:gd name="T35" fmla="*/ 95 h 189"/>
                <a:gd name="T36" fmla="*/ 49 w 109"/>
                <a:gd name="T37" fmla="*/ 95 h 189"/>
                <a:gd name="T38" fmla="*/ 45 w 109"/>
                <a:gd name="T39" fmla="*/ 91 h 189"/>
                <a:gd name="T40" fmla="*/ 45 w 109"/>
                <a:gd name="T41" fmla="*/ 87 h 189"/>
                <a:gd name="T42" fmla="*/ 58 w 109"/>
                <a:gd name="T43" fmla="*/ 83 h 189"/>
                <a:gd name="T44" fmla="*/ 62 w 109"/>
                <a:gd name="T45" fmla="*/ 84 h 189"/>
                <a:gd name="T46" fmla="*/ 63 w 109"/>
                <a:gd name="T47" fmla="*/ 87 h 189"/>
                <a:gd name="T48" fmla="*/ 51 w 109"/>
                <a:gd name="T49" fmla="*/ 44 h 189"/>
                <a:gd name="T50" fmla="*/ 53 w 109"/>
                <a:gd name="T51" fmla="*/ 44 h 189"/>
                <a:gd name="T52" fmla="*/ 57 w 109"/>
                <a:gd name="T53" fmla="*/ 48 h 189"/>
                <a:gd name="T54" fmla="*/ 55 w 109"/>
                <a:gd name="T55" fmla="*/ 52 h 189"/>
                <a:gd name="T56" fmla="*/ 43 w 109"/>
                <a:gd name="T57" fmla="*/ 56 h 189"/>
                <a:gd name="T58" fmla="*/ 42 w 109"/>
                <a:gd name="T59" fmla="*/ 56 h 189"/>
                <a:gd name="T60" fmla="*/ 39 w 109"/>
                <a:gd name="T61" fmla="*/ 55 h 189"/>
                <a:gd name="T62" fmla="*/ 38 w 109"/>
                <a:gd name="T63" fmla="*/ 52 h 189"/>
                <a:gd name="T64" fmla="*/ 42 w 109"/>
                <a:gd name="T65" fmla="*/ 45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9" h="189">
                  <a:moveTo>
                    <a:pt x="109" y="176"/>
                  </a:moveTo>
                  <a:lnTo>
                    <a:pt x="80" y="4"/>
                  </a:lnTo>
                  <a:lnTo>
                    <a:pt x="80" y="4"/>
                  </a:lnTo>
                  <a:lnTo>
                    <a:pt x="77" y="1"/>
                  </a:lnTo>
                  <a:lnTo>
                    <a:pt x="77" y="1"/>
                  </a:lnTo>
                  <a:lnTo>
                    <a:pt x="74" y="0"/>
                  </a:lnTo>
                  <a:lnTo>
                    <a:pt x="6" y="12"/>
                  </a:lnTo>
                  <a:lnTo>
                    <a:pt x="6" y="12"/>
                  </a:lnTo>
                  <a:lnTo>
                    <a:pt x="2" y="14"/>
                  </a:lnTo>
                  <a:lnTo>
                    <a:pt x="0" y="17"/>
                  </a:lnTo>
                  <a:lnTo>
                    <a:pt x="31" y="189"/>
                  </a:lnTo>
                  <a:lnTo>
                    <a:pt x="109" y="176"/>
                  </a:lnTo>
                  <a:close/>
                  <a:moveTo>
                    <a:pt x="70" y="126"/>
                  </a:moveTo>
                  <a:lnTo>
                    <a:pt x="70" y="126"/>
                  </a:lnTo>
                  <a:lnTo>
                    <a:pt x="70" y="130"/>
                  </a:lnTo>
                  <a:lnTo>
                    <a:pt x="66" y="133"/>
                  </a:lnTo>
                  <a:lnTo>
                    <a:pt x="57" y="134"/>
                  </a:lnTo>
                  <a:lnTo>
                    <a:pt x="57" y="134"/>
                  </a:lnTo>
                  <a:lnTo>
                    <a:pt x="55" y="134"/>
                  </a:lnTo>
                  <a:lnTo>
                    <a:pt x="55" y="134"/>
                  </a:lnTo>
                  <a:lnTo>
                    <a:pt x="53" y="133"/>
                  </a:lnTo>
                  <a:lnTo>
                    <a:pt x="51" y="130"/>
                  </a:lnTo>
                  <a:lnTo>
                    <a:pt x="51" y="130"/>
                  </a:lnTo>
                  <a:lnTo>
                    <a:pt x="51" y="126"/>
                  </a:lnTo>
                  <a:lnTo>
                    <a:pt x="55" y="125"/>
                  </a:lnTo>
                  <a:lnTo>
                    <a:pt x="65" y="122"/>
                  </a:lnTo>
                  <a:lnTo>
                    <a:pt x="65" y="122"/>
                  </a:lnTo>
                  <a:lnTo>
                    <a:pt x="69" y="123"/>
                  </a:lnTo>
                  <a:lnTo>
                    <a:pt x="70" y="126"/>
                  </a:lnTo>
                  <a:lnTo>
                    <a:pt x="70" y="126"/>
                  </a:lnTo>
                  <a:close/>
                  <a:moveTo>
                    <a:pt x="63" y="87"/>
                  </a:moveTo>
                  <a:lnTo>
                    <a:pt x="63" y="87"/>
                  </a:lnTo>
                  <a:lnTo>
                    <a:pt x="63" y="91"/>
                  </a:lnTo>
                  <a:lnTo>
                    <a:pt x="59" y="92"/>
                  </a:lnTo>
                  <a:lnTo>
                    <a:pt x="50" y="95"/>
                  </a:lnTo>
                  <a:lnTo>
                    <a:pt x="50" y="95"/>
                  </a:lnTo>
                  <a:lnTo>
                    <a:pt x="49" y="95"/>
                  </a:lnTo>
                  <a:lnTo>
                    <a:pt x="49" y="95"/>
                  </a:lnTo>
                  <a:lnTo>
                    <a:pt x="46" y="94"/>
                  </a:lnTo>
                  <a:lnTo>
                    <a:pt x="45" y="91"/>
                  </a:lnTo>
                  <a:lnTo>
                    <a:pt x="45" y="91"/>
                  </a:lnTo>
                  <a:lnTo>
                    <a:pt x="45" y="87"/>
                  </a:lnTo>
                  <a:lnTo>
                    <a:pt x="49" y="84"/>
                  </a:lnTo>
                  <a:lnTo>
                    <a:pt x="58" y="83"/>
                  </a:lnTo>
                  <a:lnTo>
                    <a:pt x="58" y="83"/>
                  </a:lnTo>
                  <a:lnTo>
                    <a:pt x="62" y="84"/>
                  </a:lnTo>
                  <a:lnTo>
                    <a:pt x="63" y="87"/>
                  </a:lnTo>
                  <a:lnTo>
                    <a:pt x="63" y="87"/>
                  </a:lnTo>
                  <a:close/>
                  <a:moveTo>
                    <a:pt x="42" y="45"/>
                  </a:moveTo>
                  <a:lnTo>
                    <a:pt x="51" y="44"/>
                  </a:lnTo>
                  <a:lnTo>
                    <a:pt x="51" y="44"/>
                  </a:lnTo>
                  <a:lnTo>
                    <a:pt x="53" y="44"/>
                  </a:lnTo>
                  <a:lnTo>
                    <a:pt x="55" y="45"/>
                  </a:lnTo>
                  <a:lnTo>
                    <a:pt x="57" y="48"/>
                  </a:lnTo>
                  <a:lnTo>
                    <a:pt x="57" y="48"/>
                  </a:lnTo>
                  <a:lnTo>
                    <a:pt x="55" y="52"/>
                  </a:lnTo>
                  <a:lnTo>
                    <a:pt x="53" y="53"/>
                  </a:lnTo>
                  <a:lnTo>
                    <a:pt x="43" y="56"/>
                  </a:lnTo>
                  <a:lnTo>
                    <a:pt x="43" y="56"/>
                  </a:lnTo>
                  <a:lnTo>
                    <a:pt x="42" y="56"/>
                  </a:lnTo>
                  <a:lnTo>
                    <a:pt x="42" y="56"/>
                  </a:lnTo>
                  <a:lnTo>
                    <a:pt x="39" y="55"/>
                  </a:lnTo>
                  <a:lnTo>
                    <a:pt x="38" y="52"/>
                  </a:lnTo>
                  <a:lnTo>
                    <a:pt x="38" y="52"/>
                  </a:lnTo>
                  <a:lnTo>
                    <a:pt x="38" y="48"/>
                  </a:lnTo>
                  <a:lnTo>
                    <a:pt x="42" y="45"/>
                  </a:lnTo>
                  <a:lnTo>
                    <a:pt x="42" y="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22" name="Group 21">
            <a:extLst>
              <a:ext uri="{FF2B5EF4-FFF2-40B4-BE49-F238E27FC236}">
                <a16:creationId xmlns:a16="http://schemas.microsoft.com/office/drawing/2014/main" id="{4F5D109D-42A5-49CC-84D6-344CFF649260}"/>
              </a:ext>
            </a:extLst>
          </p:cNvPr>
          <p:cNvGrpSpPr>
            <a:grpSpLocks noChangeAspect="1"/>
          </p:cNvGrpSpPr>
          <p:nvPr/>
        </p:nvGrpSpPr>
        <p:grpSpPr>
          <a:xfrm>
            <a:off x="4979767" y="3371157"/>
            <a:ext cx="320040" cy="320040"/>
            <a:chOff x="6716713" y="4183698"/>
            <a:chExt cx="522288" cy="522288"/>
          </a:xfrm>
        </p:grpSpPr>
        <p:sp>
          <p:nvSpPr>
            <p:cNvPr id="23" name="Freeform 73">
              <a:extLst>
                <a:ext uri="{FF2B5EF4-FFF2-40B4-BE49-F238E27FC236}">
                  <a16:creationId xmlns:a16="http://schemas.microsoft.com/office/drawing/2014/main" id="{DCA1B0F8-58FB-4ADC-8486-2BB9B845E38E}"/>
                </a:ext>
              </a:extLst>
            </p:cNvPr>
            <p:cNvSpPr>
              <a:spLocks noEditPoints="1"/>
            </p:cNvSpPr>
            <p:nvPr/>
          </p:nvSpPr>
          <p:spPr bwMode="auto">
            <a:xfrm>
              <a:off x="6716713" y="4183698"/>
              <a:ext cx="522288" cy="522288"/>
            </a:xfrm>
            <a:custGeom>
              <a:avLst/>
              <a:gdLst>
                <a:gd name="T0" fmla="*/ 312 w 657"/>
                <a:gd name="T1" fmla="*/ 657 h 657"/>
                <a:gd name="T2" fmla="*/ 262 w 657"/>
                <a:gd name="T3" fmla="*/ 650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8 h 657"/>
                <a:gd name="T16" fmla="*/ 2 w 657"/>
                <a:gd name="T17" fmla="*/ 294 h 657"/>
                <a:gd name="T18" fmla="*/ 10 w 657"/>
                <a:gd name="T19" fmla="*/ 246 h 657"/>
                <a:gd name="T20" fmla="*/ 39 w 657"/>
                <a:gd name="T21" fmla="*/ 172 h 657"/>
                <a:gd name="T22" fmla="*/ 96 w 657"/>
                <a:gd name="T23" fmla="*/ 95 h 657"/>
                <a:gd name="T24" fmla="*/ 172 w 657"/>
                <a:gd name="T25" fmla="*/ 39 h 657"/>
                <a:gd name="T26" fmla="*/ 246 w 657"/>
                <a:gd name="T27" fmla="*/ 9 h 657"/>
                <a:gd name="T28" fmla="*/ 295 w 657"/>
                <a:gd name="T29" fmla="*/ 1 h 657"/>
                <a:gd name="T30" fmla="*/ 328 w 657"/>
                <a:gd name="T31" fmla="*/ 0 h 657"/>
                <a:gd name="T32" fmla="*/ 379 w 657"/>
                <a:gd name="T33" fmla="*/ 4 h 657"/>
                <a:gd name="T34" fmla="*/ 426 w 657"/>
                <a:gd name="T35" fmla="*/ 15 h 657"/>
                <a:gd name="T36" fmla="*/ 512 w 657"/>
                <a:gd name="T37" fmla="*/ 56 h 657"/>
                <a:gd name="T38" fmla="*/ 582 w 657"/>
                <a:gd name="T39" fmla="*/ 119 h 657"/>
                <a:gd name="T40" fmla="*/ 632 w 657"/>
                <a:gd name="T41" fmla="*/ 200 h 657"/>
                <a:gd name="T42" fmla="*/ 651 w 657"/>
                <a:gd name="T43" fmla="*/ 262 h 657"/>
                <a:gd name="T44" fmla="*/ 657 w 657"/>
                <a:gd name="T45" fmla="*/ 312 h 657"/>
                <a:gd name="T46" fmla="*/ 657 w 657"/>
                <a:gd name="T47" fmla="*/ 345 h 657"/>
                <a:gd name="T48" fmla="*/ 651 w 657"/>
                <a:gd name="T49" fmla="*/ 395 h 657"/>
                <a:gd name="T50" fmla="*/ 632 w 657"/>
                <a:gd name="T51" fmla="*/ 457 h 657"/>
                <a:gd name="T52" fmla="*/ 582 w 657"/>
                <a:gd name="T53" fmla="*/ 537 h 657"/>
                <a:gd name="T54" fmla="*/ 512 w 657"/>
                <a:gd name="T55" fmla="*/ 601 h 657"/>
                <a:gd name="T56" fmla="*/ 426 w 657"/>
                <a:gd name="T57" fmla="*/ 642 h 657"/>
                <a:gd name="T58" fmla="*/ 379 w 657"/>
                <a:gd name="T59" fmla="*/ 653 h 657"/>
                <a:gd name="T60" fmla="*/ 328 w 657"/>
                <a:gd name="T61" fmla="*/ 657 h 657"/>
                <a:gd name="T62" fmla="*/ 328 w 657"/>
                <a:gd name="T63" fmla="*/ 37 h 657"/>
                <a:gd name="T64" fmla="*/ 242 w 657"/>
                <a:gd name="T65" fmla="*/ 50 h 657"/>
                <a:gd name="T66" fmla="*/ 166 w 657"/>
                <a:gd name="T67" fmla="*/ 87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6 w 657"/>
                <a:gd name="T81" fmla="*/ 570 h 657"/>
                <a:gd name="T82" fmla="*/ 242 w 657"/>
                <a:gd name="T83" fmla="*/ 606 h 657"/>
                <a:gd name="T84" fmla="*/ 328 w 657"/>
                <a:gd name="T85" fmla="*/ 619 h 657"/>
                <a:gd name="T86" fmla="*/ 387 w 657"/>
                <a:gd name="T87" fmla="*/ 614 h 657"/>
                <a:gd name="T88" fmla="*/ 468 w 657"/>
                <a:gd name="T89" fmla="*/ 585 h 657"/>
                <a:gd name="T90" fmla="*/ 535 w 657"/>
                <a:gd name="T91" fmla="*/ 535 h 657"/>
                <a:gd name="T92" fmla="*/ 585 w 657"/>
                <a:gd name="T93" fmla="*/ 468 h 657"/>
                <a:gd name="T94" fmla="*/ 614 w 657"/>
                <a:gd name="T95" fmla="*/ 387 h 657"/>
                <a:gd name="T96" fmla="*/ 620 w 657"/>
                <a:gd name="T97" fmla="*/ 328 h 657"/>
                <a:gd name="T98" fmla="*/ 606 w 657"/>
                <a:gd name="T99" fmla="*/ 242 h 657"/>
                <a:gd name="T100" fmla="*/ 570 w 657"/>
                <a:gd name="T101" fmla="*/ 165 h 657"/>
                <a:gd name="T102" fmla="*/ 514 w 657"/>
                <a:gd name="T103" fmla="*/ 103 h 657"/>
                <a:gd name="T104" fmla="*/ 442 w 657"/>
                <a:gd name="T105" fmla="*/ 60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5" y="656"/>
                  </a:lnTo>
                  <a:lnTo>
                    <a:pt x="278" y="653"/>
                  </a:lnTo>
                  <a:lnTo>
                    <a:pt x="262" y="650"/>
                  </a:lnTo>
                  <a:lnTo>
                    <a:pt x="246" y="646"/>
                  </a:lnTo>
                  <a:lnTo>
                    <a:pt x="231" y="642"/>
                  </a:lnTo>
                  <a:lnTo>
                    <a:pt x="200" y="632"/>
                  </a:lnTo>
                  <a:lnTo>
                    <a:pt x="172" y="618"/>
                  </a:lnTo>
                  <a:lnTo>
                    <a:pt x="145" y="601"/>
                  </a:lnTo>
                  <a:lnTo>
                    <a:pt x="120" y="582"/>
                  </a:lnTo>
                  <a:lnTo>
                    <a:pt x="96" y="560"/>
                  </a:lnTo>
                  <a:lnTo>
                    <a:pt x="75" y="537"/>
                  </a:lnTo>
                  <a:lnTo>
                    <a:pt x="57" y="512"/>
                  </a:lnTo>
                  <a:lnTo>
                    <a:pt x="39" y="485"/>
                  </a:lnTo>
                  <a:lnTo>
                    <a:pt x="26" y="457"/>
                  </a:lnTo>
                  <a:lnTo>
                    <a:pt x="15" y="426"/>
                  </a:lnTo>
                  <a:lnTo>
                    <a:pt x="10" y="411"/>
                  </a:lnTo>
                  <a:lnTo>
                    <a:pt x="7" y="395"/>
                  </a:lnTo>
                  <a:lnTo>
                    <a:pt x="4" y="379"/>
                  </a:lnTo>
                  <a:lnTo>
                    <a:pt x="2" y="361"/>
                  </a:lnTo>
                  <a:lnTo>
                    <a:pt x="0" y="345"/>
                  </a:lnTo>
                  <a:lnTo>
                    <a:pt x="0" y="328"/>
                  </a:lnTo>
                  <a:lnTo>
                    <a:pt x="0" y="328"/>
                  </a:lnTo>
                  <a:lnTo>
                    <a:pt x="0" y="312"/>
                  </a:lnTo>
                  <a:lnTo>
                    <a:pt x="2" y="294"/>
                  </a:lnTo>
                  <a:lnTo>
                    <a:pt x="4" y="278"/>
                  </a:lnTo>
                  <a:lnTo>
                    <a:pt x="7" y="262"/>
                  </a:lnTo>
                  <a:lnTo>
                    <a:pt x="10" y="246"/>
                  </a:lnTo>
                  <a:lnTo>
                    <a:pt x="15" y="231"/>
                  </a:lnTo>
                  <a:lnTo>
                    <a:pt x="26" y="200"/>
                  </a:lnTo>
                  <a:lnTo>
                    <a:pt x="39" y="172"/>
                  </a:lnTo>
                  <a:lnTo>
                    <a:pt x="57" y="145"/>
                  </a:lnTo>
                  <a:lnTo>
                    <a:pt x="75" y="119"/>
                  </a:lnTo>
                  <a:lnTo>
                    <a:pt x="96" y="95"/>
                  </a:lnTo>
                  <a:lnTo>
                    <a:pt x="120" y="75"/>
                  </a:lnTo>
                  <a:lnTo>
                    <a:pt x="145" y="56"/>
                  </a:lnTo>
                  <a:lnTo>
                    <a:pt x="172" y="39"/>
                  </a:lnTo>
                  <a:lnTo>
                    <a:pt x="200" y="25"/>
                  </a:lnTo>
                  <a:lnTo>
                    <a:pt x="231" y="15"/>
                  </a:lnTo>
                  <a:lnTo>
                    <a:pt x="246" y="9"/>
                  </a:lnTo>
                  <a:lnTo>
                    <a:pt x="262" y="7"/>
                  </a:lnTo>
                  <a:lnTo>
                    <a:pt x="278" y="4"/>
                  </a:lnTo>
                  <a:lnTo>
                    <a:pt x="295" y="1"/>
                  </a:lnTo>
                  <a:lnTo>
                    <a:pt x="312" y="0"/>
                  </a:lnTo>
                  <a:lnTo>
                    <a:pt x="328" y="0"/>
                  </a:lnTo>
                  <a:lnTo>
                    <a:pt x="328" y="0"/>
                  </a:lnTo>
                  <a:lnTo>
                    <a:pt x="346" y="0"/>
                  </a:lnTo>
                  <a:lnTo>
                    <a:pt x="362" y="1"/>
                  </a:lnTo>
                  <a:lnTo>
                    <a:pt x="379" y="4"/>
                  </a:lnTo>
                  <a:lnTo>
                    <a:pt x="395" y="7"/>
                  </a:lnTo>
                  <a:lnTo>
                    <a:pt x="411" y="9"/>
                  </a:lnTo>
                  <a:lnTo>
                    <a:pt x="426" y="15"/>
                  </a:lnTo>
                  <a:lnTo>
                    <a:pt x="457" y="25"/>
                  </a:lnTo>
                  <a:lnTo>
                    <a:pt x="485" y="39"/>
                  </a:lnTo>
                  <a:lnTo>
                    <a:pt x="512" y="56"/>
                  </a:lnTo>
                  <a:lnTo>
                    <a:pt x="538" y="75"/>
                  </a:lnTo>
                  <a:lnTo>
                    <a:pt x="561" y="95"/>
                  </a:lnTo>
                  <a:lnTo>
                    <a:pt x="582" y="119"/>
                  </a:lnTo>
                  <a:lnTo>
                    <a:pt x="601" y="145"/>
                  </a:lnTo>
                  <a:lnTo>
                    <a:pt x="618" y="172"/>
                  </a:lnTo>
                  <a:lnTo>
                    <a:pt x="632" y="200"/>
                  </a:lnTo>
                  <a:lnTo>
                    <a:pt x="643" y="231"/>
                  </a:lnTo>
                  <a:lnTo>
                    <a:pt x="648" y="246"/>
                  </a:lnTo>
                  <a:lnTo>
                    <a:pt x="651" y="262"/>
                  </a:lnTo>
                  <a:lnTo>
                    <a:pt x="653" y="278"/>
                  </a:lnTo>
                  <a:lnTo>
                    <a:pt x="656" y="294"/>
                  </a:lnTo>
                  <a:lnTo>
                    <a:pt x="657" y="312"/>
                  </a:lnTo>
                  <a:lnTo>
                    <a:pt x="657" y="328"/>
                  </a:lnTo>
                  <a:lnTo>
                    <a:pt x="657" y="328"/>
                  </a:lnTo>
                  <a:lnTo>
                    <a:pt x="657" y="345"/>
                  </a:lnTo>
                  <a:lnTo>
                    <a:pt x="656" y="361"/>
                  </a:lnTo>
                  <a:lnTo>
                    <a:pt x="653" y="379"/>
                  </a:lnTo>
                  <a:lnTo>
                    <a:pt x="651" y="395"/>
                  </a:lnTo>
                  <a:lnTo>
                    <a:pt x="648" y="411"/>
                  </a:lnTo>
                  <a:lnTo>
                    <a:pt x="643" y="426"/>
                  </a:lnTo>
                  <a:lnTo>
                    <a:pt x="632" y="457"/>
                  </a:lnTo>
                  <a:lnTo>
                    <a:pt x="618" y="485"/>
                  </a:lnTo>
                  <a:lnTo>
                    <a:pt x="601" y="512"/>
                  </a:lnTo>
                  <a:lnTo>
                    <a:pt x="582" y="537"/>
                  </a:lnTo>
                  <a:lnTo>
                    <a:pt x="561" y="560"/>
                  </a:lnTo>
                  <a:lnTo>
                    <a:pt x="538" y="582"/>
                  </a:lnTo>
                  <a:lnTo>
                    <a:pt x="512" y="601"/>
                  </a:lnTo>
                  <a:lnTo>
                    <a:pt x="485" y="618"/>
                  </a:lnTo>
                  <a:lnTo>
                    <a:pt x="457" y="632"/>
                  </a:lnTo>
                  <a:lnTo>
                    <a:pt x="426" y="642"/>
                  </a:lnTo>
                  <a:lnTo>
                    <a:pt x="411" y="646"/>
                  </a:lnTo>
                  <a:lnTo>
                    <a:pt x="395" y="650"/>
                  </a:lnTo>
                  <a:lnTo>
                    <a:pt x="379" y="653"/>
                  </a:lnTo>
                  <a:lnTo>
                    <a:pt x="362" y="656"/>
                  </a:lnTo>
                  <a:lnTo>
                    <a:pt x="346" y="657"/>
                  </a:lnTo>
                  <a:lnTo>
                    <a:pt x="328" y="657"/>
                  </a:lnTo>
                  <a:lnTo>
                    <a:pt x="328" y="657"/>
                  </a:lnTo>
                  <a:close/>
                  <a:moveTo>
                    <a:pt x="328" y="37"/>
                  </a:moveTo>
                  <a:lnTo>
                    <a:pt x="328" y="37"/>
                  </a:lnTo>
                  <a:lnTo>
                    <a:pt x="299" y="39"/>
                  </a:lnTo>
                  <a:lnTo>
                    <a:pt x="270" y="43"/>
                  </a:lnTo>
                  <a:lnTo>
                    <a:pt x="242" y="50"/>
                  </a:lnTo>
                  <a:lnTo>
                    <a:pt x="215" y="60"/>
                  </a:lnTo>
                  <a:lnTo>
                    <a:pt x="190" y="72"/>
                  </a:lnTo>
                  <a:lnTo>
                    <a:pt x="166" y="87"/>
                  </a:lnTo>
                  <a:lnTo>
                    <a:pt x="144" y="103"/>
                  </a:lnTo>
                  <a:lnTo>
                    <a:pt x="123" y="122"/>
                  </a:lnTo>
                  <a:lnTo>
                    <a:pt x="104" y="144"/>
                  </a:lnTo>
                  <a:lnTo>
                    <a:pt x="88" y="165"/>
                  </a:lnTo>
                  <a:lnTo>
                    <a:pt x="73" y="189"/>
                  </a:lnTo>
                  <a:lnTo>
                    <a:pt x="61" y="215"/>
                  </a:lnTo>
                  <a:lnTo>
                    <a:pt x="50" y="242"/>
                  </a:lnTo>
                  <a:lnTo>
                    <a:pt x="43" y="270"/>
                  </a:lnTo>
                  <a:lnTo>
                    <a:pt x="39" y="298"/>
                  </a:lnTo>
                  <a:lnTo>
                    <a:pt x="38" y="328"/>
                  </a:lnTo>
                  <a:lnTo>
                    <a:pt x="38" y="328"/>
                  </a:lnTo>
                  <a:lnTo>
                    <a:pt x="39" y="359"/>
                  </a:lnTo>
                  <a:lnTo>
                    <a:pt x="43" y="387"/>
                  </a:lnTo>
                  <a:lnTo>
                    <a:pt x="50" y="415"/>
                  </a:lnTo>
                  <a:lnTo>
                    <a:pt x="61" y="442"/>
                  </a:lnTo>
                  <a:lnTo>
                    <a:pt x="73" y="468"/>
                  </a:lnTo>
                  <a:lnTo>
                    <a:pt x="88" y="492"/>
                  </a:lnTo>
                  <a:lnTo>
                    <a:pt x="104" y="513"/>
                  </a:lnTo>
                  <a:lnTo>
                    <a:pt x="123" y="535"/>
                  </a:lnTo>
                  <a:lnTo>
                    <a:pt x="144" y="554"/>
                  </a:lnTo>
                  <a:lnTo>
                    <a:pt x="166" y="570"/>
                  </a:lnTo>
                  <a:lnTo>
                    <a:pt x="190" y="585"/>
                  </a:lnTo>
                  <a:lnTo>
                    <a:pt x="215" y="597"/>
                  </a:lnTo>
                  <a:lnTo>
                    <a:pt x="242" y="606"/>
                  </a:lnTo>
                  <a:lnTo>
                    <a:pt x="270" y="614"/>
                  </a:lnTo>
                  <a:lnTo>
                    <a:pt x="299" y="618"/>
                  </a:lnTo>
                  <a:lnTo>
                    <a:pt x="328" y="619"/>
                  </a:lnTo>
                  <a:lnTo>
                    <a:pt x="328" y="619"/>
                  </a:lnTo>
                  <a:lnTo>
                    <a:pt x="359" y="618"/>
                  </a:lnTo>
                  <a:lnTo>
                    <a:pt x="387" y="614"/>
                  </a:lnTo>
                  <a:lnTo>
                    <a:pt x="415" y="606"/>
                  </a:lnTo>
                  <a:lnTo>
                    <a:pt x="442" y="597"/>
                  </a:lnTo>
                  <a:lnTo>
                    <a:pt x="468" y="585"/>
                  </a:lnTo>
                  <a:lnTo>
                    <a:pt x="492" y="570"/>
                  </a:lnTo>
                  <a:lnTo>
                    <a:pt x="514" y="554"/>
                  </a:lnTo>
                  <a:lnTo>
                    <a:pt x="535" y="535"/>
                  </a:lnTo>
                  <a:lnTo>
                    <a:pt x="554" y="513"/>
                  </a:lnTo>
                  <a:lnTo>
                    <a:pt x="570" y="492"/>
                  </a:lnTo>
                  <a:lnTo>
                    <a:pt x="585" y="468"/>
                  </a:lnTo>
                  <a:lnTo>
                    <a:pt x="597" y="442"/>
                  </a:lnTo>
                  <a:lnTo>
                    <a:pt x="606" y="415"/>
                  </a:lnTo>
                  <a:lnTo>
                    <a:pt x="614" y="387"/>
                  </a:lnTo>
                  <a:lnTo>
                    <a:pt x="618" y="359"/>
                  </a:lnTo>
                  <a:lnTo>
                    <a:pt x="620" y="328"/>
                  </a:lnTo>
                  <a:lnTo>
                    <a:pt x="620" y="328"/>
                  </a:lnTo>
                  <a:lnTo>
                    <a:pt x="618" y="298"/>
                  </a:lnTo>
                  <a:lnTo>
                    <a:pt x="614" y="270"/>
                  </a:lnTo>
                  <a:lnTo>
                    <a:pt x="606" y="242"/>
                  </a:lnTo>
                  <a:lnTo>
                    <a:pt x="597" y="215"/>
                  </a:lnTo>
                  <a:lnTo>
                    <a:pt x="585" y="189"/>
                  </a:lnTo>
                  <a:lnTo>
                    <a:pt x="570" y="165"/>
                  </a:lnTo>
                  <a:lnTo>
                    <a:pt x="554" y="144"/>
                  </a:lnTo>
                  <a:lnTo>
                    <a:pt x="535" y="122"/>
                  </a:lnTo>
                  <a:lnTo>
                    <a:pt x="514" y="103"/>
                  </a:lnTo>
                  <a:lnTo>
                    <a:pt x="492" y="87"/>
                  </a:lnTo>
                  <a:lnTo>
                    <a:pt x="468" y="72"/>
                  </a:lnTo>
                  <a:lnTo>
                    <a:pt x="442" y="60"/>
                  </a:lnTo>
                  <a:lnTo>
                    <a:pt x="415" y="50"/>
                  </a:lnTo>
                  <a:lnTo>
                    <a:pt x="387" y="43"/>
                  </a:lnTo>
                  <a:lnTo>
                    <a:pt x="359" y="39"/>
                  </a:lnTo>
                  <a:lnTo>
                    <a:pt x="328" y="37"/>
                  </a:lnTo>
                  <a:lnTo>
                    <a:pt x="328"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4" name="Freeform 216">
              <a:extLst>
                <a:ext uri="{FF2B5EF4-FFF2-40B4-BE49-F238E27FC236}">
                  <a16:creationId xmlns:a16="http://schemas.microsoft.com/office/drawing/2014/main" id="{835DB4F5-7C9A-4C1C-B07B-A18B67FE25DF}"/>
                </a:ext>
              </a:extLst>
            </p:cNvPr>
            <p:cNvSpPr>
              <a:spLocks noEditPoints="1"/>
            </p:cNvSpPr>
            <p:nvPr/>
          </p:nvSpPr>
          <p:spPr bwMode="auto">
            <a:xfrm>
              <a:off x="6831013" y="4294823"/>
              <a:ext cx="296863" cy="298450"/>
            </a:xfrm>
            <a:custGeom>
              <a:avLst/>
              <a:gdLst>
                <a:gd name="T0" fmla="*/ 321 w 374"/>
                <a:gd name="T1" fmla="*/ 151 h 375"/>
                <a:gd name="T2" fmla="*/ 336 w 374"/>
                <a:gd name="T3" fmla="*/ 81 h 375"/>
                <a:gd name="T4" fmla="*/ 336 w 374"/>
                <a:gd name="T5" fmla="*/ 73 h 375"/>
                <a:gd name="T6" fmla="*/ 298 w 374"/>
                <a:gd name="T7" fmla="*/ 36 h 375"/>
                <a:gd name="T8" fmla="*/ 255 w 374"/>
                <a:gd name="T9" fmla="*/ 67 h 375"/>
                <a:gd name="T10" fmla="*/ 216 w 374"/>
                <a:gd name="T11" fmla="*/ 5 h 375"/>
                <a:gd name="T12" fmla="*/ 211 w 374"/>
                <a:gd name="T13" fmla="*/ 0 h 375"/>
                <a:gd name="T14" fmla="*/ 159 w 374"/>
                <a:gd name="T15" fmla="*/ 1 h 375"/>
                <a:gd name="T16" fmla="*/ 151 w 374"/>
                <a:gd name="T17" fmla="*/ 54 h 375"/>
                <a:gd name="T18" fmla="*/ 79 w 374"/>
                <a:gd name="T19" fmla="*/ 38 h 375"/>
                <a:gd name="T20" fmla="*/ 71 w 374"/>
                <a:gd name="T21" fmla="*/ 38 h 375"/>
                <a:gd name="T22" fmla="*/ 35 w 374"/>
                <a:gd name="T23" fmla="*/ 77 h 375"/>
                <a:gd name="T24" fmla="*/ 66 w 374"/>
                <a:gd name="T25" fmla="*/ 118 h 375"/>
                <a:gd name="T26" fmla="*/ 5 w 374"/>
                <a:gd name="T27" fmla="*/ 157 h 375"/>
                <a:gd name="T28" fmla="*/ 0 w 374"/>
                <a:gd name="T29" fmla="*/ 163 h 375"/>
                <a:gd name="T30" fmla="*/ 1 w 374"/>
                <a:gd name="T31" fmla="*/ 215 h 375"/>
                <a:gd name="T32" fmla="*/ 52 w 374"/>
                <a:gd name="T33" fmla="*/ 224 h 375"/>
                <a:gd name="T34" fmla="*/ 36 w 374"/>
                <a:gd name="T35" fmla="*/ 294 h 375"/>
                <a:gd name="T36" fmla="*/ 38 w 374"/>
                <a:gd name="T37" fmla="*/ 302 h 375"/>
                <a:gd name="T38" fmla="*/ 74 w 374"/>
                <a:gd name="T39" fmla="*/ 339 h 375"/>
                <a:gd name="T40" fmla="*/ 79 w 374"/>
                <a:gd name="T41" fmla="*/ 337 h 375"/>
                <a:gd name="T42" fmla="*/ 133 w 374"/>
                <a:gd name="T43" fmla="*/ 316 h 375"/>
                <a:gd name="T44" fmla="*/ 156 w 374"/>
                <a:gd name="T45" fmla="*/ 370 h 375"/>
                <a:gd name="T46" fmla="*/ 211 w 374"/>
                <a:gd name="T47" fmla="*/ 375 h 375"/>
                <a:gd name="T48" fmla="*/ 216 w 374"/>
                <a:gd name="T49" fmla="*/ 370 h 375"/>
                <a:gd name="T50" fmla="*/ 239 w 374"/>
                <a:gd name="T51" fmla="*/ 316 h 375"/>
                <a:gd name="T52" fmla="*/ 294 w 374"/>
                <a:gd name="T53" fmla="*/ 337 h 375"/>
                <a:gd name="T54" fmla="*/ 300 w 374"/>
                <a:gd name="T55" fmla="*/ 339 h 375"/>
                <a:gd name="T56" fmla="*/ 336 w 374"/>
                <a:gd name="T57" fmla="*/ 302 h 375"/>
                <a:gd name="T58" fmla="*/ 308 w 374"/>
                <a:gd name="T59" fmla="*/ 257 h 375"/>
                <a:gd name="T60" fmla="*/ 321 w 374"/>
                <a:gd name="T61" fmla="*/ 224 h 375"/>
                <a:gd name="T62" fmla="*/ 372 w 374"/>
                <a:gd name="T63" fmla="*/ 215 h 375"/>
                <a:gd name="T64" fmla="*/ 374 w 374"/>
                <a:gd name="T65" fmla="*/ 163 h 375"/>
                <a:gd name="T66" fmla="*/ 368 w 374"/>
                <a:gd name="T67" fmla="*/ 157 h 375"/>
                <a:gd name="T68" fmla="*/ 179 w 374"/>
                <a:gd name="T69" fmla="*/ 266 h 375"/>
                <a:gd name="T70" fmla="*/ 142 w 374"/>
                <a:gd name="T71" fmla="*/ 254 h 375"/>
                <a:gd name="T72" fmla="*/ 113 w 374"/>
                <a:gd name="T73" fmla="*/ 219 h 375"/>
                <a:gd name="T74" fmla="*/ 108 w 374"/>
                <a:gd name="T75" fmla="*/ 187 h 375"/>
                <a:gd name="T76" fmla="*/ 109 w 374"/>
                <a:gd name="T77" fmla="*/ 171 h 375"/>
                <a:gd name="T78" fmla="*/ 130 w 374"/>
                <a:gd name="T79" fmla="*/ 132 h 375"/>
                <a:gd name="T80" fmla="*/ 171 w 374"/>
                <a:gd name="T81" fmla="*/ 109 h 375"/>
                <a:gd name="T82" fmla="*/ 187 w 374"/>
                <a:gd name="T83" fmla="*/ 108 h 375"/>
                <a:gd name="T84" fmla="*/ 218 w 374"/>
                <a:gd name="T85" fmla="*/ 114 h 375"/>
                <a:gd name="T86" fmla="*/ 253 w 374"/>
                <a:gd name="T87" fmla="*/ 142 h 375"/>
                <a:gd name="T88" fmla="*/ 266 w 374"/>
                <a:gd name="T89" fmla="*/ 179 h 375"/>
                <a:gd name="T90" fmla="*/ 266 w 374"/>
                <a:gd name="T91" fmla="*/ 196 h 375"/>
                <a:gd name="T92" fmla="*/ 253 w 374"/>
                <a:gd name="T93" fmla="*/ 233 h 375"/>
                <a:gd name="T94" fmla="*/ 218 w 374"/>
                <a:gd name="T95" fmla="*/ 261 h 375"/>
                <a:gd name="T96" fmla="*/ 187 w 374"/>
                <a:gd name="T97" fmla="*/ 267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74" h="375">
                  <a:moveTo>
                    <a:pt x="368" y="157"/>
                  </a:moveTo>
                  <a:lnTo>
                    <a:pt x="321" y="151"/>
                  </a:lnTo>
                  <a:lnTo>
                    <a:pt x="321" y="151"/>
                  </a:lnTo>
                  <a:lnTo>
                    <a:pt x="314" y="134"/>
                  </a:lnTo>
                  <a:lnTo>
                    <a:pt x="308" y="118"/>
                  </a:lnTo>
                  <a:lnTo>
                    <a:pt x="336" y="81"/>
                  </a:lnTo>
                  <a:lnTo>
                    <a:pt x="336" y="81"/>
                  </a:lnTo>
                  <a:lnTo>
                    <a:pt x="337" y="77"/>
                  </a:lnTo>
                  <a:lnTo>
                    <a:pt x="336" y="73"/>
                  </a:lnTo>
                  <a:lnTo>
                    <a:pt x="302" y="38"/>
                  </a:lnTo>
                  <a:lnTo>
                    <a:pt x="302" y="38"/>
                  </a:lnTo>
                  <a:lnTo>
                    <a:pt x="298" y="36"/>
                  </a:lnTo>
                  <a:lnTo>
                    <a:pt x="294" y="38"/>
                  </a:lnTo>
                  <a:lnTo>
                    <a:pt x="255" y="67"/>
                  </a:lnTo>
                  <a:lnTo>
                    <a:pt x="255" y="67"/>
                  </a:lnTo>
                  <a:lnTo>
                    <a:pt x="239" y="59"/>
                  </a:lnTo>
                  <a:lnTo>
                    <a:pt x="223" y="54"/>
                  </a:lnTo>
                  <a:lnTo>
                    <a:pt x="216" y="5"/>
                  </a:lnTo>
                  <a:lnTo>
                    <a:pt x="216" y="5"/>
                  </a:lnTo>
                  <a:lnTo>
                    <a:pt x="215" y="1"/>
                  </a:lnTo>
                  <a:lnTo>
                    <a:pt x="211" y="0"/>
                  </a:lnTo>
                  <a:lnTo>
                    <a:pt x="163" y="0"/>
                  </a:lnTo>
                  <a:lnTo>
                    <a:pt x="163" y="0"/>
                  </a:lnTo>
                  <a:lnTo>
                    <a:pt x="159" y="1"/>
                  </a:lnTo>
                  <a:lnTo>
                    <a:pt x="156" y="5"/>
                  </a:lnTo>
                  <a:lnTo>
                    <a:pt x="151" y="54"/>
                  </a:lnTo>
                  <a:lnTo>
                    <a:pt x="151" y="54"/>
                  </a:lnTo>
                  <a:lnTo>
                    <a:pt x="133" y="59"/>
                  </a:lnTo>
                  <a:lnTo>
                    <a:pt x="118" y="67"/>
                  </a:lnTo>
                  <a:lnTo>
                    <a:pt x="79" y="38"/>
                  </a:lnTo>
                  <a:lnTo>
                    <a:pt x="79" y="38"/>
                  </a:lnTo>
                  <a:lnTo>
                    <a:pt x="75" y="36"/>
                  </a:lnTo>
                  <a:lnTo>
                    <a:pt x="71" y="38"/>
                  </a:lnTo>
                  <a:lnTo>
                    <a:pt x="38" y="73"/>
                  </a:lnTo>
                  <a:lnTo>
                    <a:pt x="38" y="73"/>
                  </a:lnTo>
                  <a:lnTo>
                    <a:pt x="35" y="77"/>
                  </a:lnTo>
                  <a:lnTo>
                    <a:pt x="36" y="81"/>
                  </a:lnTo>
                  <a:lnTo>
                    <a:pt x="66" y="118"/>
                  </a:lnTo>
                  <a:lnTo>
                    <a:pt x="66" y="118"/>
                  </a:lnTo>
                  <a:lnTo>
                    <a:pt x="58" y="134"/>
                  </a:lnTo>
                  <a:lnTo>
                    <a:pt x="52" y="151"/>
                  </a:lnTo>
                  <a:lnTo>
                    <a:pt x="5" y="157"/>
                  </a:lnTo>
                  <a:lnTo>
                    <a:pt x="5" y="157"/>
                  </a:lnTo>
                  <a:lnTo>
                    <a:pt x="1" y="160"/>
                  </a:lnTo>
                  <a:lnTo>
                    <a:pt x="0" y="163"/>
                  </a:lnTo>
                  <a:lnTo>
                    <a:pt x="0" y="211"/>
                  </a:lnTo>
                  <a:lnTo>
                    <a:pt x="0" y="211"/>
                  </a:lnTo>
                  <a:lnTo>
                    <a:pt x="1" y="215"/>
                  </a:lnTo>
                  <a:lnTo>
                    <a:pt x="5" y="218"/>
                  </a:lnTo>
                  <a:lnTo>
                    <a:pt x="52" y="224"/>
                  </a:lnTo>
                  <a:lnTo>
                    <a:pt x="52" y="224"/>
                  </a:lnTo>
                  <a:lnTo>
                    <a:pt x="58" y="241"/>
                  </a:lnTo>
                  <a:lnTo>
                    <a:pt x="66" y="257"/>
                  </a:lnTo>
                  <a:lnTo>
                    <a:pt x="36" y="294"/>
                  </a:lnTo>
                  <a:lnTo>
                    <a:pt x="36" y="294"/>
                  </a:lnTo>
                  <a:lnTo>
                    <a:pt x="35" y="298"/>
                  </a:lnTo>
                  <a:lnTo>
                    <a:pt x="38" y="302"/>
                  </a:lnTo>
                  <a:lnTo>
                    <a:pt x="71" y="337"/>
                  </a:lnTo>
                  <a:lnTo>
                    <a:pt x="71" y="337"/>
                  </a:lnTo>
                  <a:lnTo>
                    <a:pt x="74" y="339"/>
                  </a:lnTo>
                  <a:lnTo>
                    <a:pt x="75" y="339"/>
                  </a:lnTo>
                  <a:lnTo>
                    <a:pt x="75" y="339"/>
                  </a:lnTo>
                  <a:lnTo>
                    <a:pt x="79" y="337"/>
                  </a:lnTo>
                  <a:lnTo>
                    <a:pt x="118" y="308"/>
                  </a:lnTo>
                  <a:lnTo>
                    <a:pt x="118" y="308"/>
                  </a:lnTo>
                  <a:lnTo>
                    <a:pt x="133" y="316"/>
                  </a:lnTo>
                  <a:lnTo>
                    <a:pt x="151" y="321"/>
                  </a:lnTo>
                  <a:lnTo>
                    <a:pt x="156" y="370"/>
                  </a:lnTo>
                  <a:lnTo>
                    <a:pt x="156" y="370"/>
                  </a:lnTo>
                  <a:lnTo>
                    <a:pt x="159" y="374"/>
                  </a:lnTo>
                  <a:lnTo>
                    <a:pt x="163" y="375"/>
                  </a:lnTo>
                  <a:lnTo>
                    <a:pt x="211" y="375"/>
                  </a:lnTo>
                  <a:lnTo>
                    <a:pt x="211" y="375"/>
                  </a:lnTo>
                  <a:lnTo>
                    <a:pt x="215" y="374"/>
                  </a:lnTo>
                  <a:lnTo>
                    <a:pt x="216" y="370"/>
                  </a:lnTo>
                  <a:lnTo>
                    <a:pt x="223" y="321"/>
                  </a:lnTo>
                  <a:lnTo>
                    <a:pt x="223" y="321"/>
                  </a:lnTo>
                  <a:lnTo>
                    <a:pt x="239" y="316"/>
                  </a:lnTo>
                  <a:lnTo>
                    <a:pt x="255" y="308"/>
                  </a:lnTo>
                  <a:lnTo>
                    <a:pt x="294" y="337"/>
                  </a:lnTo>
                  <a:lnTo>
                    <a:pt x="294" y="337"/>
                  </a:lnTo>
                  <a:lnTo>
                    <a:pt x="297" y="339"/>
                  </a:lnTo>
                  <a:lnTo>
                    <a:pt x="297" y="339"/>
                  </a:lnTo>
                  <a:lnTo>
                    <a:pt x="300" y="339"/>
                  </a:lnTo>
                  <a:lnTo>
                    <a:pt x="302" y="337"/>
                  </a:lnTo>
                  <a:lnTo>
                    <a:pt x="336" y="302"/>
                  </a:lnTo>
                  <a:lnTo>
                    <a:pt x="336" y="302"/>
                  </a:lnTo>
                  <a:lnTo>
                    <a:pt x="337" y="298"/>
                  </a:lnTo>
                  <a:lnTo>
                    <a:pt x="336" y="294"/>
                  </a:lnTo>
                  <a:lnTo>
                    <a:pt x="308" y="257"/>
                  </a:lnTo>
                  <a:lnTo>
                    <a:pt x="308" y="257"/>
                  </a:lnTo>
                  <a:lnTo>
                    <a:pt x="314" y="241"/>
                  </a:lnTo>
                  <a:lnTo>
                    <a:pt x="321" y="224"/>
                  </a:lnTo>
                  <a:lnTo>
                    <a:pt x="368" y="218"/>
                  </a:lnTo>
                  <a:lnTo>
                    <a:pt x="368" y="218"/>
                  </a:lnTo>
                  <a:lnTo>
                    <a:pt x="372" y="215"/>
                  </a:lnTo>
                  <a:lnTo>
                    <a:pt x="374" y="211"/>
                  </a:lnTo>
                  <a:lnTo>
                    <a:pt x="374" y="163"/>
                  </a:lnTo>
                  <a:lnTo>
                    <a:pt x="374" y="163"/>
                  </a:lnTo>
                  <a:lnTo>
                    <a:pt x="372" y="160"/>
                  </a:lnTo>
                  <a:lnTo>
                    <a:pt x="368" y="157"/>
                  </a:lnTo>
                  <a:lnTo>
                    <a:pt x="368" y="157"/>
                  </a:lnTo>
                  <a:close/>
                  <a:moveTo>
                    <a:pt x="187" y="267"/>
                  </a:moveTo>
                  <a:lnTo>
                    <a:pt x="187" y="267"/>
                  </a:lnTo>
                  <a:lnTo>
                    <a:pt x="179" y="266"/>
                  </a:lnTo>
                  <a:lnTo>
                    <a:pt x="171" y="266"/>
                  </a:lnTo>
                  <a:lnTo>
                    <a:pt x="156" y="261"/>
                  </a:lnTo>
                  <a:lnTo>
                    <a:pt x="142" y="254"/>
                  </a:lnTo>
                  <a:lnTo>
                    <a:pt x="130" y="243"/>
                  </a:lnTo>
                  <a:lnTo>
                    <a:pt x="121" y="233"/>
                  </a:lnTo>
                  <a:lnTo>
                    <a:pt x="113" y="219"/>
                  </a:lnTo>
                  <a:lnTo>
                    <a:pt x="109" y="203"/>
                  </a:lnTo>
                  <a:lnTo>
                    <a:pt x="108" y="196"/>
                  </a:lnTo>
                  <a:lnTo>
                    <a:pt x="108" y="187"/>
                  </a:lnTo>
                  <a:lnTo>
                    <a:pt x="108" y="187"/>
                  </a:lnTo>
                  <a:lnTo>
                    <a:pt x="108" y="179"/>
                  </a:lnTo>
                  <a:lnTo>
                    <a:pt x="109" y="171"/>
                  </a:lnTo>
                  <a:lnTo>
                    <a:pt x="113" y="156"/>
                  </a:lnTo>
                  <a:lnTo>
                    <a:pt x="121" y="142"/>
                  </a:lnTo>
                  <a:lnTo>
                    <a:pt x="130" y="132"/>
                  </a:lnTo>
                  <a:lnTo>
                    <a:pt x="142" y="121"/>
                  </a:lnTo>
                  <a:lnTo>
                    <a:pt x="156" y="114"/>
                  </a:lnTo>
                  <a:lnTo>
                    <a:pt x="171" y="109"/>
                  </a:lnTo>
                  <a:lnTo>
                    <a:pt x="179" y="108"/>
                  </a:lnTo>
                  <a:lnTo>
                    <a:pt x="187" y="108"/>
                  </a:lnTo>
                  <a:lnTo>
                    <a:pt x="187" y="108"/>
                  </a:lnTo>
                  <a:lnTo>
                    <a:pt x="195" y="108"/>
                  </a:lnTo>
                  <a:lnTo>
                    <a:pt x="203" y="109"/>
                  </a:lnTo>
                  <a:lnTo>
                    <a:pt x="218" y="114"/>
                  </a:lnTo>
                  <a:lnTo>
                    <a:pt x="231" y="121"/>
                  </a:lnTo>
                  <a:lnTo>
                    <a:pt x="243" y="132"/>
                  </a:lnTo>
                  <a:lnTo>
                    <a:pt x="253" y="142"/>
                  </a:lnTo>
                  <a:lnTo>
                    <a:pt x="259" y="156"/>
                  </a:lnTo>
                  <a:lnTo>
                    <a:pt x="265" y="171"/>
                  </a:lnTo>
                  <a:lnTo>
                    <a:pt x="266" y="179"/>
                  </a:lnTo>
                  <a:lnTo>
                    <a:pt x="266" y="187"/>
                  </a:lnTo>
                  <a:lnTo>
                    <a:pt x="266" y="187"/>
                  </a:lnTo>
                  <a:lnTo>
                    <a:pt x="266" y="196"/>
                  </a:lnTo>
                  <a:lnTo>
                    <a:pt x="265" y="203"/>
                  </a:lnTo>
                  <a:lnTo>
                    <a:pt x="259" y="219"/>
                  </a:lnTo>
                  <a:lnTo>
                    <a:pt x="253" y="233"/>
                  </a:lnTo>
                  <a:lnTo>
                    <a:pt x="243" y="243"/>
                  </a:lnTo>
                  <a:lnTo>
                    <a:pt x="231" y="254"/>
                  </a:lnTo>
                  <a:lnTo>
                    <a:pt x="218" y="261"/>
                  </a:lnTo>
                  <a:lnTo>
                    <a:pt x="203" y="266"/>
                  </a:lnTo>
                  <a:lnTo>
                    <a:pt x="195" y="266"/>
                  </a:lnTo>
                  <a:lnTo>
                    <a:pt x="187" y="267"/>
                  </a:lnTo>
                  <a:lnTo>
                    <a:pt x="187" y="2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25" name="Group 24">
            <a:extLst>
              <a:ext uri="{FF2B5EF4-FFF2-40B4-BE49-F238E27FC236}">
                <a16:creationId xmlns:a16="http://schemas.microsoft.com/office/drawing/2014/main" id="{FD084450-A13C-4BC2-8946-7DB4D7D6CD3D}"/>
              </a:ext>
            </a:extLst>
          </p:cNvPr>
          <p:cNvGrpSpPr>
            <a:grpSpLocks noChangeAspect="1"/>
          </p:cNvGrpSpPr>
          <p:nvPr/>
        </p:nvGrpSpPr>
        <p:grpSpPr>
          <a:xfrm>
            <a:off x="4979767" y="4485972"/>
            <a:ext cx="320040" cy="320040"/>
            <a:chOff x="3194051" y="2502535"/>
            <a:chExt cx="522288" cy="522288"/>
          </a:xfrm>
        </p:grpSpPr>
        <p:sp>
          <p:nvSpPr>
            <p:cNvPr id="26" name="Freeform 28">
              <a:extLst>
                <a:ext uri="{FF2B5EF4-FFF2-40B4-BE49-F238E27FC236}">
                  <a16:creationId xmlns:a16="http://schemas.microsoft.com/office/drawing/2014/main" id="{E9BA0EDD-DABD-4D51-B346-E6A5F876B4C0}"/>
                </a:ext>
              </a:extLst>
            </p:cNvPr>
            <p:cNvSpPr>
              <a:spLocks noEditPoints="1"/>
            </p:cNvSpPr>
            <p:nvPr/>
          </p:nvSpPr>
          <p:spPr bwMode="auto">
            <a:xfrm>
              <a:off x="3194051" y="2502535"/>
              <a:ext cx="522288" cy="522288"/>
            </a:xfrm>
            <a:custGeom>
              <a:avLst/>
              <a:gdLst>
                <a:gd name="T0" fmla="*/ 312 w 659"/>
                <a:gd name="T1" fmla="*/ 657 h 657"/>
                <a:gd name="T2" fmla="*/ 262 w 659"/>
                <a:gd name="T3" fmla="*/ 652 h 657"/>
                <a:gd name="T4" fmla="*/ 202 w 659"/>
                <a:gd name="T5" fmla="*/ 632 h 657"/>
                <a:gd name="T6" fmla="*/ 120 w 659"/>
                <a:gd name="T7" fmla="*/ 583 h 657"/>
                <a:gd name="T8" fmla="*/ 57 w 659"/>
                <a:gd name="T9" fmla="*/ 512 h 657"/>
                <a:gd name="T10" fmla="*/ 15 w 659"/>
                <a:gd name="T11" fmla="*/ 426 h 657"/>
                <a:gd name="T12" fmla="*/ 4 w 659"/>
                <a:gd name="T13" fmla="*/ 379 h 657"/>
                <a:gd name="T14" fmla="*/ 0 w 659"/>
                <a:gd name="T15" fmla="*/ 329 h 657"/>
                <a:gd name="T16" fmla="*/ 2 w 659"/>
                <a:gd name="T17" fmla="*/ 296 h 657"/>
                <a:gd name="T18" fmla="*/ 11 w 659"/>
                <a:gd name="T19" fmla="*/ 247 h 657"/>
                <a:gd name="T20" fmla="*/ 41 w 659"/>
                <a:gd name="T21" fmla="*/ 172 h 657"/>
                <a:gd name="T22" fmla="*/ 97 w 659"/>
                <a:gd name="T23" fmla="*/ 97 h 657"/>
                <a:gd name="T24" fmla="*/ 172 w 659"/>
                <a:gd name="T25" fmla="*/ 40 h 657"/>
                <a:gd name="T26" fmla="*/ 248 w 659"/>
                <a:gd name="T27" fmla="*/ 11 h 657"/>
                <a:gd name="T28" fmla="*/ 296 w 659"/>
                <a:gd name="T29" fmla="*/ 1 h 657"/>
                <a:gd name="T30" fmla="*/ 330 w 659"/>
                <a:gd name="T31" fmla="*/ 0 h 657"/>
                <a:gd name="T32" fmla="*/ 379 w 659"/>
                <a:gd name="T33" fmla="*/ 4 h 657"/>
                <a:gd name="T34" fmla="*/ 426 w 659"/>
                <a:gd name="T35" fmla="*/ 15 h 657"/>
                <a:gd name="T36" fmla="*/ 514 w 659"/>
                <a:gd name="T37" fmla="*/ 56 h 657"/>
                <a:gd name="T38" fmla="*/ 584 w 659"/>
                <a:gd name="T39" fmla="*/ 120 h 657"/>
                <a:gd name="T40" fmla="*/ 632 w 659"/>
                <a:gd name="T41" fmla="*/ 202 h 657"/>
                <a:gd name="T42" fmla="*/ 652 w 659"/>
                <a:gd name="T43" fmla="*/ 262 h 657"/>
                <a:gd name="T44" fmla="*/ 658 w 659"/>
                <a:gd name="T45" fmla="*/ 312 h 657"/>
                <a:gd name="T46" fmla="*/ 658 w 659"/>
                <a:gd name="T47" fmla="*/ 345 h 657"/>
                <a:gd name="T48" fmla="*/ 652 w 659"/>
                <a:gd name="T49" fmla="*/ 395 h 657"/>
                <a:gd name="T50" fmla="*/ 632 w 659"/>
                <a:gd name="T51" fmla="*/ 457 h 657"/>
                <a:gd name="T52" fmla="*/ 584 w 659"/>
                <a:gd name="T53" fmla="*/ 538 h 657"/>
                <a:gd name="T54" fmla="*/ 514 w 659"/>
                <a:gd name="T55" fmla="*/ 602 h 657"/>
                <a:gd name="T56" fmla="*/ 426 w 659"/>
                <a:gd name="T57" fmla="*/ 642 h 657"/>
                <a:gd name="T58" fmla="*/ 379 w 659"/>
                <a:gd name="T59" fmla="*/ 654 h 657"/>
                <a:gd name="T60" fmla="*/ 330 w 659"/>
                <a:gd name="T61" fmla="*/ 657 h 657"/>
                <a:gd name="T62" fmla="*/ 330 w 659"/>
                <a:gd name="T63" fmla="*/ 38 h 657"/>
                <a:gd name="T64" fmla="*/ 242 w 659"/>
                <a:gd name="T65" fmla="*/ 51 h 657"/>
                <a:gd name="T66" fmla="*/ 167 w 659"/>
                <a:gd name="T67" fmla="*/ 87 h 657"/>
                <a:gd name="T68" fmla="*/ 105 w 659"/>
                <a:gd name="T69" fmla="*/ 144 h 657"/>
                <a:gd name="T70" fmla="*/ 61 w 659"/>
                <a:gd name="T71" fmla="*/ 215 h 657"/>
                <a:gd name="T72" fmla="*/ 39 w 659"/>
                <a:gd name="T73" fmla="*/ 300 h 657"/>
                <a:gd name="T74" fmla="*/ 39 w 659"/>
                <a:gd name="T75" fmla="*/ 359 h 657"/>
                <a:gd name="T76" fmla="*/ 61 w 659"/>
                <a:gd name="T77" fmla="*/ 442 h 657"/>
                <a:gd name="T78" fmla="*/ 105 w 659"/>
                <a:gd name="T79" fmla="*/ 515 h 657"/>
                <a:gd name="T80" fmla="*/ 167 w 659"/>
                <a:gd name="T81" fmla="*/ 570 h 657"/>
                <a:gd name="T82" fmla="*/ 242 w 659"/>
                <a:gd name="T83" fmla="*/ 607 h 657"/>
                <a:gd name="T84" fmla="*/ 330 w 659"/>
                <a:gd name="T85" fmla="*/ 620 h 657"/>
                <a:gd name="T86" fmla="*/ 387 w 659"/>
                <a:gd name="T87" fmla="*/ 614 h 657"/>
                <a:gd name="T88" fmla="*/ 468 w 659"/>
                <a:gd name="T89" fmla="*/ 585 h 657"/>
                <a:gd name="T90" fmla="*/ 535 w 659"/>
                <a:gd name="T91" fmla="*/ 535 h 657"/>
                <a:gd name="T92" fmla="*/ 585 w 659"/>
                <a:gd name="T93" fmla="*/ 468 h 657"/>
                <a:gd name="T94" fmla="*/ 615 w 659"/>
                <a:gd name="T95" fmla="*/ 387 h 657"/>
                <a:gd name="T96" fmla="*/ 621 w 659"/>
                <a:gd name="T97" fmla="*/ 329 h 657"/>
                <a:gd name="T98" fmla="*/ 608 w 659"/>
                <a:gd name="T99" fmla="*/ 242 h 657"/>
                <a:gd name="T100" fmla="*/ 570 w 659"/>
                <a:gd name="T101" fmla="*/ 167 h 657"/>
                <a:gd name="T102" fmla="*/ 515 w 659"/>
                <a:gd name="T103" fmla="*/ 105 h 657"/>
                <a:gd name="T104" fmla="*/ 443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6"/>
                  </a:lnTo>
                  <a:lnTo>
                    <a:pt x="280" y="654"/>
                  </a:lnTo>
                  <a:lnTo>
                    <a:pt x="262" y="652"/>
                  </a:lnTo>
                  <a:lnTo>
                    <a:pt x="248" y="648"/>
                  </a:lnTo>
                  <a:lnTo>
                    <a:pt x="232" y="642"/>
                  </a:lnTo>
                  <a:lnTo>
                    <a:pt x="202" y="632"/>
                  </a:lnTo>
                  <a:lnTo>
                    <a:pt x="172" y="618"/>
                  </a:lnTo>
                  <a:lnTo>
                    <a:pt x="146" y="602"/>
                  </a:lnTo>
                  <a:lnTo>
                    <a:pt x="120" y="583"/>
                  </a:lnTo>
                  <a:lnTo>
                    <a:pt x="97" y="562"/>
                  </a:lnTo>
                  <a:lnTo>
                    <a:pt x="76" y="538"/>
                  </a:lnTo>
                  <a:lnTo>
                    <a:pt x="57" y="512"/>
                  </a:lnTo>
                  <a:lnTo>
                    <a:pt x="41" y="485"/>
                  </a:lnTo>
                  <a:lnTo>
                    <a:pt x="26" y="457"/>
                  </a:lnTo>
                  <a:lnTo>
                    <a:pt x="15" y="426"/>
                  </a:lnTo>
                  <a:lnTo>
                    <a:pt x="11" y="411"/>
                  </a:lnTo>
                  <a:lnTo>
                    <a:pt x="7" y="395"/>
                  </a:lnTo>
                  <a:lnTo>
                    <a:pt x="4" y="379"/>
                  </a:lnTo>
                  <a:lnTo>
                    <a:pt x="2" y="363"/>
                  </a:lnTo>
                  <a:lnTo>
                    <a:pt x="0" y="345"/>
                  </a:lnTo>
                  <a:lnTo>
                    <a:pt x="0" y="329"/>
                  </a:lnTo>
                  <a:lnTo>
                    <a:pt x="0" y="329"/>
                  </a:lnTo>
                  <a:lnTo>
                    <a:pt x="0" y="312"/>
                  </a:lnTo>
                  <a:lnTo>
                    <a:pt x="2" y="296"/>
                  </a:lnTo>
                  <a:lnTo>
                    <a:pt x="4" y="279"/>
                  </a:lnTo>
                  <a:lnTo>
                    <a:pt x="7" y="262"/>
                  </a:lnTo>
                  <a:lnTo>
                    <a:pt x="11" y="247"/>
                  </a:lnTo>
                  <a:lnTo>
                    <a:pt x="15" y="231"/>
                  </a:lnTo>
                  <a:lnTo>
                    <a:pt x="26" y="202"/>
                  </a:lnTo>
                  <a:lnTo>
                    <a:pt x="41" y="172"/>
                  </a:lnTo>
                  <a:lnTo>
                    <a:pt x="57" y="145"/>
                  </a:lnTo>
                  <a:lnTo>
                    <a:pt x="76" y="120"/>
                  </a:lnTo>
                  <a:lnTo>
                    <a:pt x="97" y="97"/>
                  </a:lnTo>
                  <a:lnTo>
                    <a:pt x="120" y="75"/>
                  </a:lnTo>
                  <a:lnTo>
                    <a:pt x="146" y="56"/>
                  </a:lnTo>
                  <a:lnTo>
                    <a:pt x="172" y="40"/>
                  </a:lnTo>
                  <a:lnTo>
                    <a:pt x="202" y="25"/>
                  </a:lnTo>
                  <a:lnTo>
                    <a:pt x="232" y="15"/>
                  </a:lnTo>
                  <a:lnTo>
                    <a:pt x="248" y="11"/>
                  </a:lnTo>
                  <a:lnTo>
                    <a:pt x="262" y="7"/>
                  </a:lnTo>
                  <a:lnTo>
                    <a:pt x="280" y="4"/>
                  </a:lnTo>
                  <a:lnTo>
                    <a:pt x="296" y="1"/>
                  </a:lnTo>
                  <a:lnTo>
                    <a:pt x="312" y="0"/>
                  </a:lnTo>
                  <a:lnTo>
                    <a:pt x="330" y="0"/>
                  </a:lnTo>
                  <a:lnTo>
                    <a:pt x="330" y="0"/>
                  </a:lnTo>
                  <a:lnTo>
                    <a:pt x="346" y="0"/>
                  </a:lnTo>
                  <a:lnTo>
                    <a:pt x="363" y="1"/>
                  </a:lnTo>
                  <a:lnTo>
                    <a:pt x="379" y="4"/>
                  </a:lnTo>
                  <a:lnTo>
                    <a:pt x="395" y="7"/>
                  </a:lnTo>
                  <a:lnTo>
                    <a:pt x="412" y="11"/>
                  </a:lnTo>
                  <a:lnTo>
                    <a:pt x="426" y="15"/>
                  </a:lnTo>
                  <a:lnTo>
                    <a:pt x="457" y="25"/>
                  </a:lnTo>
                  <a:lnTo>
                    <a:pt x="486" y="40"/>
                  </a:lnTo>
                  <a:lnTo>
                    <a:pt x="514" y="56"/>
                  </a:lnTo>
                  <a:lnTo>
                    <a:pt x="538" y="75"/>
                  </a:lnTo>
                  <a:lnTo>
                    <a:pt x="562" y="97"/>
                  </a:lnTo>
                  <a:lnTo>
                    <a:pt x="584" y="120"/>
                  </a:lnTo>
                  <a:lnTo>
                    <a:pt x="602" y="145"/>
                  </a:lnTo>
                  <a:lnTo>
                    <a:pt x="619" y="172"/>
                  </a:lnTo>
                  <a:lnTo>
                    <a:pt x="632" y="202"/>
                  </a:lnTo>
                  <a:lnTo>
                    <a:pt x="644" y="231"/>
                  </a:lnTo>
                  <a:lnTo>
                    <a:pt x="648" y="247"/>
                  </a:lnTo>
                  <a:lnTo>
                    <a:pt x="652" y="262"/>
                  </a:lnTo>
                  <a:lnTo>
                    <a:pt x="655" y="279"/>
                  </a:lnTo>
                  <a:lnTo>
                    <a:pt x="656" y="296"/>
                  </a:lnTo>
                  <a:lnTo>
                    <a:pt x="658" y="312"/>
                  </a:lnTo>
                  <a:lnTo>
                    <a:pt x="659" y="329"/>
                  </a:lnTo>
                  <a:lnTo>
                    <a:pt x="659" y="329"/>
                  </a:lnTo>
                  <a:lnTo>
                    <a:pt x="658" y="345"/>
                  </a:lnTo>
                  <a:lnTo>
                    <a:pt x="656" y="363"/>
                  </a:lnTo>
                  <a:lnTo>
                    <a:pt x="655" y="379"/>
                  </a:lnTo>
                  <a:lnTo>
                    <a:pt x="652" y="395"/>
                  </a:lnTo>
                  <a:lnTo>
                    <a:pt x="648" y="411"/>
                  </a:lnTo>
                  <a:lnTo>
                    <a:pt x="644" y="426"/>
                  </a:lnTo>
                  <a:lnTo>
                    <a:pt x="632" y="457"/>
                  </a:lnTo>
                  <a:lnTo>
                    <a:pt x="619" y="485"/>
                  </a:lnTo>
                  <a:lnTo>
                    <a:pt x="602" y="512"/>
                  </a:lnTo>
                  <a:lnTo>
                    <a:pt x="584" y="538"/>
                  </a:lnTo>
                  <a:lnTo>
                    <a:pt x="562" y="562"/>
                  </a:lnTo>
                  <a:lnTo>
                    <a:pt x="538" y="583"/>
                  </a:lnTo>
                  <a:lnTo>
                    <a:pt x="514" y="602"/>
                  </a:lnTo>
                  <a:lnTo>
                    <a:pt x="486" y="618"/>
                  </a:lnTo>
                  <a:lnTo>
                    <a:pt x="457" y="632"/>
                  </a:lnTo>
                  <a:lnTo>
                    <a:pt x="426" y="642"/>
                  </a:lnTo>
                  <a:lnTo>
                    <a:pt x="412" y="648"/>
                  </a:lnTo>
                  <a:lnTo>
                    <a:pt x="395" y="652"/>
                  </a:lnTo>
                  <a:lnTo>
                    <a:pt x="379" y="654"/>
                  </a:lnTo>
                  <a:lnTo>
                    <a:pt x="363" y="656"/>
                  </a:lnTo>
                  <a:lnTo>
                    <a:pt x="346" y="657"/>
                  </a:lnTo>
                  <a:lnTo>
                    <a:pt x="330" y="657"/>
                  </a:lnTo>
                  <a:lnTo>
                    <a:pt x="330" y="657"/>
                  </a:lnTo>
                  <a:close/>
                  <a:moveTo>
                    <a:pt x="330" y="38"/>
                  </a:moveTo>
                  <a:lnTo>
                    <a:pt x="330" y="38"/>
                  </a:lnTo>
                  <a:lnTo>
                    <a:pt x="300" y="39"/>
                  </a:lnTo>
                  <a:lnTo>
                    <a:pt x="271" y="43"/>
                  </a:lnTo>
                  <a:lnTo>
                    <a:pt x="242" y="51"/>
                  </a:lnTo>
                  <a:lnTo>
                    <a:pt x="215" y="60"/>
                  </a:lnTo>
                  <a:lnTo>
                    <a:pt x="191" y="73"/>
                  </a:lnTo>
                  <a:lnTo>
                    <a:pt x="167" y="87"/>
                  </a:lnTo>
                  <a:lnTo>
                    <a:pt x="144" y="105"/>
                  </a:lnTo>
                  <a:lnTo>
                    <a:pt x="124" y="124"/>
                  </a:lnTo>
                  <a:lnTo>
                    <a:pt x="105" y="144"/>
                  </a:lnTo>
                  <a:lnTo>
                    <a:pt x="88" y="167"/>
                  </a:lnTo>
                  <a:lnTo>
                    <a:pt x="73" y="189"/>
                  </a:lnTo>
                  <a:lnTo>
                    <a:pt x="61" y="215"/>
                  </a:lnTo>
                  <a:lnTo>
                    <a:pt x="51" y="242"/>
                  </a:lnTo>
                  <a:lnTo>
                    <a:pt x="43" y="270"/>
                  </a:lnTo>
                  <a:lnTo>
                    <a:pt x="39" y="300"/>
                  </a:lnTo>
                  <a:lnTo>
                    <a:pt x="38" y="329"/>
                  </a:lnTo>
                  <a:lnTo>
                    <a:pt x="38" y="329"/>
                  </a:lnTo>
                  <a:lnTo>
                    <a:pt x="39" y="359"/>
                  </a:lnTo>
                  <a:lnTo>
                    <a:pt x="43" y="387"/>
                  </a:lnTo>
                  <a:lnTo>
                    <a:pt x="51" y="415"/>
                  </a:lnTo>
                  <a:lnTo>
                    <a:pt x="61" y="442"/>
                  </a:lnTo>
                  <a:lnTo>
                    <a:pt x="73" y="468"/>
                  </a:lnTo>
                  <a:lnTo>
                    <a:pt x="88" y="492"/>
                  </a:lnTo>
                  <a:lnTo>
                    <a:pt x="105" y="515"/>
                  </a:lnTo>
                  <a:lnTo>
                    <a:pt x="124" y="535"/>
                  </a:lnTo>
                  <a:lnTo>
                    <a:pt x="144" y="554"/>
                  </a:lnTo>
                  <a:lnTo>
                    <a:pt x="167" y="570"/>
                  </a:lnTo>
                  <a:lnTo>
                    <a:pt x="191" y="585"/>
                  </a:lnTo>
                  <a:lnTo>
                    <a:pt x="215" y="597"/>
                  </a:lnTo>
                  <a:lnTo>
                    <a:pt x="242" y="607"/>
                  </a:lnTo>
                  <a:lnTo>
                    <a:pt x="271" y="614"/>
                  </a:lnTo>
                  <a:lnTo>
                    <a:pt x="300" y="618"/>
                  </a:lnTo>
                  <a:lnTo>
                    <a:pt x="330" y="620"/>
                  </a:lnTo>
                  <a:lnTo>
                    <a:pt x="330" y="620"/>
                  </a:lnTo>
                  <a:lnTo>
                    <a:pt x="359" y="618"/>
                  </a:lnTo>
                  <a:lnTo>
                    <a:pt x="387" y="614"/>
                  </a:lnTo>
                  <a:lnTo>
                    <a:pt x="416" y="607"/>
                  </a:lnTo>
                  <a:lnTo>
                    <a:pt x="443" y="597"/>
                  </a:lnTo>
                  <a:lnTo>
                    <a:pt x="468" y="585"/>
                  </a:lnTo>
                  <a:lnTo>
                    <a:pt x="492" y="570"/>
                  </a:lnTo>
                  <a:lnTo>
                    <a:pt x="515" y="554"/>
                  </a:lnTo>
                  <a:lnTo>
                    <a:pt x="535" y="535"/>
                  </a:lnTo>
                  <a:lnTo>
                    <a:pt x="554" y="515"/>
                  </a:lnTo>
                  <a:lnTo>
                    <a:pt x="570" y="492"/>
                  </a:lnTo>
                  <a:lnTo>
                    <a:pt x="585" y="468"/>
                  </a:lnTo>
                  <a:lnTo>
                    <a:pt x="597" y="442"/>
                  </a:lnTo>
                  <a:lnTo>
                    <a:pt x="608" y="415"/>
                  </a:lnTo>
                  <a:lnTo>
                    <a:pt x="615" y="387"/>
                  </a:lnTo>
                  <a:lnTo>
                    <a:pt x="619" y="359"/>
                  </a:lnTo>
                  <a:lnTo>
                    <a:pt x="621" y="329"/>
                  </a:lnTo>
                  <a:lnTo>
                    <a:pt x="621" y="329"/>
                  </a:lnTo>
                  <a:lnTo>
                    <a:pt x="619" y="300"/>
                  </a:lnTo>
                  <a:lnTo>
                    <a:pt x="615" y="270"/>
                  </a:lnTo>
                  <a:lnTo>
                    <a:pt x="608" y="242"/>
                  </a:lnTo>
                  <a:lnTo>
                    <a:pt x="597" y="215"/>
                  </a:lnTo>
                  <a:lnTo>
                    <a:pt x="585" y="189"/>
                  </a:lnTo>
                  <a:lnTo>
                    <a:pt x="570" y="167"/>
                  </a:lnTo>
                  <a:lnTo>
                    <a:pt x="554" y="144"/>
                  </a:lnTo>
                  <a:lnTo>
                    <a:pt x="535" y="124"/>
                  </a:lnTo>
                  <a:lnTo>
                    <a:pt x="515" y="105"/>
                  </a:lnTo>
                  <a:lnTo>
                    <a:pt x="492" y="87"/>
                  </a:lnTo>
                  <a:lnTo>
                    <a:pt x="468" y="73"/>
                  </a:lnTo>
                  <a:lnTo>
                    <a:pt x="443" y="60"/>
                  </a:lnTo>
                  <a:lnTo>
                    <a:pt x="416" y="51"/>
                  </a:lnTo>
                  <a:lnTo>
                    <a:pt x="387" y="43"/>
                  </a:lnTo>
                  <a:lnTo>
                    <a:pt x="359" y="39"/>
                  </a:lnTo>
                  <a:lnTo>
                    <a:pt x="330" y="38"/>
                  </a:lnTo>
                  <a:lnTo>
                    <a:pt x="330"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7" name="Freeform 132">
              <a:extLst>
                <a:ext uri="{FF2B5EF4-FFF2-40B4-BE49-F238E27FC236}">
                  <a16:creationId xmlns:a16="http://schemas.microsoft.com/office/drawing/2014/main" id="{87E7A894-C5F2-4A3F-838B-47000FBDF65F}"/>
                </a:ext>
              </a:extLst>
            </p:cNvPr>
            <p:cNvSpPr>
              <a:spLocks/>
            </p:cNvSpPr>
            <p:nvPr/>
          </p:nvSpPr>
          <p:spPr bwMode="auto">
            <a:xfrm>
              <a:off x="3317876" y="2734310"/>
              <a:ext cx="77788" cy="136525"/>
            </a:xfrm>
            <a:custGeom>
              <a:avLst/>
              <a:gdLst>
                <a:gd name="T0" fmla="*/ 86 w 97"/>
                <a:gd name="T1" fmla="*/ 92 h 172"/>
                <a:gd name="T2" fmla="*/ 86 w 97"/>
                <a:gd name="T3" fmla="*/ 0 h 172"/>
                <a:gd name="T4" fmla="*/ 6 w 97"/>
                <a:gd name="T5" fmla="*/ 0 h 172"/>
                <a:gd name="T6" fmla="*/ 6 w 97"/>
                <a:gd name="T7" fmla="*/ 0 h 172"/>
                <a:gd name="T8" fmla="*/ 4 w 97"/>
                <a:gd name="T9" fmla="*/ 2 h 172"/>
                <a:gd name="T10" fmla="*/ 3 w 97"/>
                <a:gd name="T11" fmla="*/ 3 h 172"/>
                <a:gd name="T12" fmla="*/ 2 w 97"/>
                <a:gd name="T13" fmla="*/ 4 h 172"/>
                <a:gd name="T14" fmla="*/ 0 w 97"/>
                <a:gd name="T15" fmla="*/ 6 h 172"/>
                <a:gd name="T16" fmla="*/ 0 w 97"/>
                <a:gd name="T17" fmla="*/ 59 h 172"/>
                <a:gd name="T18" fmla="*/ 0 w 97"/>
                <a:gd name="T19" fmla="*/ 59 h 172"/>
                <a:gd name="T20" fmla="*/ 2 w 97"/>
                <a:gd name="T21" fmla="*/ 62 h 172"/>
                <a:gd name="T22" fmla="*/ 3 w 97"/>
                <a:gd name="T23" fmla="*/ 63 h 172"/>
                <a:gd name="T24" fmla="*/ 33 w 97"/>
                <a:gd name="T25" fmla="*/ 94 h 172"/>
                <a:gd name="T26" fmla="*/ 33 w 97"/>
                <a:gd name="T27" fmla="*/ 167 h 172"/>
                <a:gd name="T28" fmla="*/ 33 w 97"/>
                <a:gd name="T29" fmla="*/ 167 h 172"/>
                <a:gd name="T30" fmla="*/ 34 w 97"/>
                <a:gd name="T31" fmla="*/ 170 h 172"/>
                <a:gd name="T32" fmla="*/ 35 w 97"/>
                <a:gd name="T33" fmla="*/ 171 h 172"/>
                <a:gd name="T34" fmla="*/ 37 w 97"/>
                <a:gd name="T35" fmla="*/ 172 h 172"/>
                <a:gd name="T36" fmla="*/ 38 w 97"/>
                <a:gd name="T37" fmla="*/ 172 h 172"/>
                <a:gd name="T38" fmla="*/ 92 w 97"/>
                <a:gd name="T39" fmla="*/ 172 h 172"/>
                <a:gd name="T40" fmla="*/ 92 w 97"/>
                <a:gd name="T41" fmla="*/ 172 h 172"/>
                <a:gd name="T42" fmla="*/ 94 w 97"/>
                <a:gd name="T43" fmla="*/ 172 h 172"/>
                <a:gd name="T44" fmla="*/ 96 w 97"/>
                <a:gd name="T45" fmla="*/ 171 h 172"/>
                <a:gd name="T46" fmla="*/ 97 w 97"/>
                <a:gd name="T47" fmla="*/ 170 h 172"/>
                <a:gd name="T48" fmla="*/ 97 w 97"/>
                <a:gd name="T49" fmla="*/ 167 h 172"/>
                <a:gd name="T50" fmla="*/ 97 w 97"/>
                <a:gd name="T51" fmla="*/ 109 h 172"/>
                <a:gd name="T52" fmla="*/ 92 w 97"/>
                <a:gd name="T53" fmla="*/ 104 h 172"/>
                <a:gd name="T54" fmla="*/ 92 w 97"/>
                <a:gd name="T55" fmla="*/ 104 h 172"/>
                <a:gd name="T56" fmla="*/ 88 w 97"/>
                <a:gd name="T57" fmla="*/ 98 h 172"/>
                <a:gd name="T58" fmla="*/ 86 w 97"/>
                <a:gd name="T59" fmla="*/ 92 h 172"/>
                <a:gd name="T60" fmla="*/ 86 w 97"/>
                <a:gd name="T61" fmla="*/ 9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86" y="92"/>
                  </a:moveTo>
                  <a:lnTo>
                    <a:pt x="86" y="0"/>
                  </a:lnTo>
                  <a:lnTo>
                    <a:pt x="6" y="0"/>
                  </a:lnTo>
                  <a:lnTo>
                    <a:pt x="6" y="0"/>
                  </a:lnTo>
                  <a:lnTo>
                    <a:pt x="4" y="2"/>
                  </a:lnTo>
                  <a:lnTo>
                    <a:pt x="3" y="3"/>
                  </a:lnTo>
                  <a:lnTo>
                    <a:pt x="2" y="4"/>
                  </a:lnTo>
                  <a:lnTo>
                    <a:pt x="0" y="6"/>
                  </a:lnTo>
                  <a:lnTo>
                    <a:pt x="0" y="59"/>
                  </a:lnTo>
                  <a:lnTo>
                    <a:pt x="0" y="59"/>
                  </a:lnTo>
                  <a:lnTo>
                    <a:pt x="2" y="62"/>
                  </a:lnTo>
                  <a:lnTo>
                    <a:pt x="3" y="63"/>
                  </a:lnTo>
                  <a:lnTo>
                    <a:pt x="33" y="94"/>
                  </a:lnTo>
                  <a:lnTo>
                    <a:pt x="33" y="167"/>
                  </a:lnTo>
                  <a:lnTo>
                    <a:pt x="33" y="167"/>
                  </a:lnTo>
                  <a:lnTo>
                    <a:pt x="34" y="170"/>
                  </a:lnTo>
                  <a:lnTo>
                    <a:pt x="35" y="171"/>
                  </a:lnTo>
                  <a:lnTo>
                    <a:pt x="37" y="172"/>
                  </a:lnTo>
                  <a:lnTo>
                    <a:pt x="38" y="172"/>
                  </a:lnTo>
                  <a:lnTo>
                    <a:pt x="92" y="172"/>
                  </a:lnTo>
                  <a:lnTo>
                    <a:pt x="92" y="172"/>
                  </a:lnTo>
                  <a:lnTo>
                    <a:pt x="94" y="172"/>
                  </a:lnTo>
                  <a:lnTo>
                    <a:pt x="96" y="171"/>
                  </a:lnTo>
                  <a:lnTo>
                    <a:pt x="97" y="170"/>
                  </a:lnTo>
                  <a:lnTo>
                    <a:pt x="97" y="167"/>
                  </a:lnTo>
                  <a:lnTo>
                    <a:pt x="97" y="109"/>
                  </a:lnTo>
                  <a:lnTo>
                    <a:pt x="92" y="104"/>
                  </a:lnTo>
                  <a:lnTo>
                    <a:pt x="92" y="104"/>
                  </a:lnTo>
                  <a:lnTo>
                    <a:pt x="88" y="98"/>
                  </a:lnTo>
                  <a:lnTo>
                    <a:pt x="86" y="92"/>
                  </a:lnTo>
                  <a:lnTo>
                    <a:pt x="86" y="9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8" name="Freeform 133">
              <a:extLst>
                <a:ext uri="{FF2B5EF4-FFF2-40B4-BE49-F238E27FC236}">
                  <a16:creationId xmlns:a16="http://schemas.microsoft.com/office/drawing/2014/main" id="{04536031-0A05-4588-A07A-F51B71A73829}"/>
                </a:ext>
              </a:extLst>
            </p:cNvPr>
            <p:cNvSpPr>
              <a:spLocks/>
            </p:cNvSpPr>
            <p:nvPr/>
          </p:nvSpPr>
          <p:spPr bwMode="auto">
            <a:xfrm>
              <a:off x="3514726" y="2734310"/>
              <a:ext cx="77788" cy="136525"/>
            </a:xfrm>
            <a:custGeom>
              <a:avLst/>
              <a:gdLst>
                <a:gd name="T0" fmla="*/ 91 w 97"/>
                <a:gd name="T1" fmla="*/ 0 h 172"/>
                <a:gd name="T2" fmla="*/ 11 w 97"/>
                <a:gd name="T3" fmla="*/ 0 h 172"/>
                <a:gd name="T4" fmla="*/ 11 w 97"/>
                <a:gd name="T5" fmla="*/ 92 h 172"/>
                <a:gd name="T6" fmla="*/ 11 w 97"/>
                <a:gd name="T7" fmla="*/ 92 h 172"/>
                <a:gd name="T8" fmla="*/ 9 w 97"/>
                <a:gd name="T9" fmla="*/ 98 h 172"/>
                <a:gd name="T10" fmla="*/ 7 w 97"/>
                <a:gd name="T11" fmla="*/ 104 h 172"/>
                <a:gd name="T12" fmla="*/ 0 w 97"/>
                <a:gd name="T13" fmla="*/ 109 h 172"/>
                <a:gd name="T14" fmla="*/ 0 w 97"/>
                <a:gd name="T15" fmla="*/ 167 h 172"/>
                <a:gd name="T16" fmla="*/ 0 w 97"/>
                <a:gd name="T17" fmla="*/ 167 h 172"/>
                <a:gd name="T18" fmla="*/ 1 w 97"/>
                <a:gd name="T19" fmla="*/ 170 h 172"/>
                <a:gd name="T20" fmla="*/ 1 w 97"/>
                <a:gd name="T21" fmla="*/ 171 h 172"/>
                <a:gd name="T22" fmla="*/ 4 w 97"/>
                <a:gd name="T23" fmla="*/ 172 h 172"/>
                <a:gd name="T24" fmla="*/ 5 w 97"/>
                <a:gd name="T25" fmla="*/ 172 h 172"/>
                <a:gd name="T26" fmla="*/ 59 w 97"/>
                <a:gd name="T27" fmla="*/ 172 h 172"/>
                <a:gd name="T28" fmla="*/ 59 w 97"/>
                <a:gd name="T29" fmla="*/ 172 h 172"/>
                <a:gd name="T30" fmla="*/ 62 w 97"/>
                <a:gd name="T31" fmla="*/ 172 h 172"/>
                <a:gd name="T32" fmla="*/ 63 w 97"/>
                <a:gd name="T33" fmla="*/ 171 h 172"/>
                <a:gd name="T34" fmla="*/ 64 w 97"/>
                <a:gd name="T35" fmla="*/ 170 h 172"/>
                <a:gd name="T36" fmla="*/ 64 w 97"/>
                <a:gd name="T37" fmla="*/ 167 h 172"/>
                <a:gd name="T38" fmla="*/ 64 w 97"/>
                <a:gd name="T39" fmla="*/ 94 h 172"/>
                <a:gd name="T40" fmla="*/ 95 w 97"/>
                <a:gd name="T41" fmla="*/ 63 h 172"/>
                <a:gd name="T42" fmla="*/ 95 w 97"/>
                <a:gd name="T43" fmla="*/ 63 h 172"/>
                <a:gd name="T44" fmla="*/ 97 w 97"/>
                <a:gd name="T45" fmla="*/ 62 h 172"/>
                <a:gd name="T46" fmla="*/ 97 w 97"/>
                <a:gd name="T47" fmla="*/ 59 h 172"/>
                <a:gd name="T48" fmla="*/ 97 w 97"/>
                <a:gd name="T49" fmla="*/ 6 h 172"/>
                <a:gd name="T50" fmla="*/ 97 w 97"/>
                <a:gd name="T51" fmla="*/ 6 h 172"/>
                <a:gd name="T52" fmla="*/ 97 w 97"/>
                <a:gd name="T53" fmla="*/ 4 h 172"/>
                <a:gd name="T54" fmla="*/ 95 w 97"/>
                <a:gd name="T55" fmla="*/ 3 h 172"/>
                <a:gd name="T56" fmla="*/ 94 w 97"/>
                <a:gd name="T57" fmla="*/ 2 h 172"/>
                <a:gd name="T58" fmla="*/ 91 w 97"/>
                <a:gd name="T59" fmla="*/ 0 h 172"/>
                <a:gd name="T60" fmla="*/ 91 w 97"/>
                <a:gd name="T6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91" y="0"/>
                  </a:moveTo>
                  <a:lnTo>
                    <a:pt x="11" y="0"/>
                  </a:lnTo>
                  <a:lnTo>
                    <a:pt x="11" y="92"/>
                  </a:lnTo>
                  <a:lnTo>
                    <a:pt x="11" y="92"/>
                  </a:lnTo>
                  <a:lnTo>
                    <a:pt x="9" y="98"/>
                  </a:lnTo>
                  <a:lnTo>
                    <a:pt x="7" y="104"/>
                  </a:lnTo>
                  <a:lnTo>
                    <a:pt x="0" y="109"/>
                  </a:lnTo>
                  <a:lnTo>
                    <a:pt x="0" y="167"/>
                  </a:lnTo>
                  <a:lnTo>
                    <a:pt x="0" y="167"/>
                  </a:lnTo>
                  <a:lnTo>
                    <a:pt x="1" y="170"/>
                  </a:lnTo>
                  <a:lnTo>
                    <a:pt x="1" y="171"/>
                  </a:lnTo>
                  <a:lnTo>
                    <a:pt x="4" y="172"/>
                  </a:lnTo>
                  <a:lnTo>
                    <a:pt x="5" y="172"/>
                  </a:lnTo>
                  <a:lnTo>
                    <a:pt x="59" y="172"/>
                  </a:lnTo>
                  <a:lnTo>
                    <a:pt x="59" y="172"/>
                  </a:lnTo>
                  <a:lnTo>
                    <a:pt x="62" y="172"/>
                  </a:lnTo>
                  <a:lnTo>
                    <a:pt x="63" y="171"/>
                  </a:lnTo>
                  <a:lnTo>
                    <a:pt x="64" y="170"/>
                  </a:lnTo>
                  <a:lnTo>
                    <a:pt x="64" y="167"/>
                  </a:lnTo>
                  <a:lnTo>
                    <a:pt x="64" y="94"/>
                  </a:lnTo>
                  <a:lnTo>
                    <a:pt x="95" y="63"/>
                  </a:lnTo>
                  <a:lnTo>
                    <a:pt x="95" y="63"/>
                  </a:lnTo>
                  <a:lnTo>
                    <a:pt x="97" y="62"/>
                  </a:lnTo>
                  <a:lnTo>
                    <a:pt x="97" y="59"/>
                  </a:lnTo>
                  <a:lnTo>
                    <a:pt x="97" y="6"/>
                  </a:lnTo>
                  <a:lnTo>
                    <a:pt x="97" y="6"/>
                  </a:lnTo>
                  <a:lnTo>
                    <a:pt x="97" y="4"/>
                  </a:lnTo>
                  <a:lnTo>
                    <a:pt x="95" y="3"/>
                  </a:lnTo>
                  <a:lnTo>
                    <a:pt x="94" y="2"/>
                  </a:lnTo>
                  <a:lnTo>
                    <a:pt x="91" y="0"/>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9" name="Freeform 134">
              <a:extLst>
                <a:ext uri="{FF2B5EF4-FFF2-40B4-BE49-F238E27FC236}">
                  <a16:creationId xmlns:a16="http://schemas.microsoft.com/office/drawing/2014/main" id="{1AE40BB6-5880-4EE4-B231-1628EC9217DD}"/>
                </a:ext>
              </a:extLst>
            </p:cNvPr>
            <p:cNvSpPr>
              <a:spLocks/>
            </p:cNvSpPr>
            <p:nvPr/>
          </p:nvSpPr>
          <p:spPr bwMode="auto">
            <a:xfrm>
              <a:off x="3400426" y="2734310"/>
              <a:ext cx="111125" cy="171450"/>
            </a:xfrm>
            <a:custGeom>
              <a:avLst/>
              <a:gdLst>
                <a:gd name="T0" fmla="*/ 134 w 140"/>
                <a:gd name="T1" fmla="*/ 0 h 215"/>
                <a:gd name="T2" fmla="*/ 5 w 140"/>
                <a:gd name="T3" fmla="*/ 0 h 215"/>
                <a:gd name="T4" fmla="*/ 5 w 140"/>
                <a:gd name="T5" fmla="*/ 0 h 215"/>
                <a:gd name="T6" fmla="*/ 2 w 140"/>
                <a:gd name="T7" fmla="*/ 1 h 215"/>
                <a:gd name="T8" fmla="*/ 1 w 140"/>
                <a:gd name="T9" fmla="*/ 1 h 215"/>
                <a:gd name="T10" fmla="*/ 0 w 140"/>
                <a:gd name="T11" fmla="*/ 4 h 215"/>
                <a:gd name="T12" fmla="*/ 0 w 140"/>
                <a:gd name="T13" fmla="*/ 5 h 215"/>
                <a:gd name="T14" fmla="*/ 0 w 140"/>
                <a:gd name="T15" fmla="*/ 91 h 215"/>
                <a:gd name="T16" fmla="*/ 0 w 140"/>
                <a:gd name="T17" fmla="*/ 91 h 215"/>
                <a:gd name="T18" fmla="*/ 0 w 140"/>
                <a:gd name="T19" fmla="*/ 94 h 215"/>
                <a:gd name="T20" fmla="*/ 1 w 140"/>
                <a:gd name="T21" fmla="*/ 95 h 215"/>
                <a:gd name="T22" fmla="*/ 32 w 140"/>
                <a:gd name="T23" fmla="*/ 126 h 215"/>
                <a:gd name="T24" fmla="*/ 32 w 140"/>
                <a:gd name="T25" fmla="*/ 209 h 215"/>
                <a:gd name="T26" fmla="*/ 32 w 140"/>
                <a:gd name="T27" fmla="*/ 209 h 215"/>
                <a:gd name="T28" fmla="*/ 32 w 140"/>
                <a:gd name="T29" fmla="*/ 211 h 215"/>
                <a:gd name="T30" fmla="*/ 33 w 140"/>
                <a:gd name="T31" fmla="*/ 213 h 215"/>
                <a:gd name="T32" fmla="*/ 35 w 140"/>
                <a:gd name="T33" fmla="*/ 215 h 215"/>
                <a:gd name="T34" fmla="*/ 37 w 140"/>
                <a:gd name="T35" fmla="*/ 215 h 215"/>
                <a:gd name="T36" fmla="*/ 102 w 140"/>
                <a:gd name="T37" fmla="*/ 215 h 215"/>
                <a:gd name="T38" fmla="*/ 102 w 140"/>
                <a:gd name="T39" fmla="*/ 215 h 215"/>
                <a:gd name="T40" fmla="*/ 103 w 140"/>
                <a:gd name="T41" fmla="*/ 215 h 215"/>
                <a:gd name="T42" fmla="*/ 106 w 140"/>
                <a:gd name="T43" fmla="*/ 213 h 215"/>
                <a:gd name="T44" fmla="*/ 106 w 140"/>
                <a:gd name="T45" fmla="*/ 211 h 215"/>
                <a:gd name="T46" fmla="*/ 107 w 140"/>
                <a:gd name="T47" fmla="*/ 209 h 215"/>
                <a:gd name="T48" fmla="*/ 107 w 140"/>
                <a:gd name="T49" fmla="*/ 126 h 215"/>
                <a:gd name="T50" fmla="*/ 137 w 140"/>
                <a:gd name="T51" fmla="*/ 95 h 215"/>
                <a:gd name="T52" fmla="*/ 137 w 140"/>
                <a:gd name="T53" fmla="*/ 95 h 215"/>
                <a:gd name="T54" fmla="*/ 138 w 140"/>
                <a:gd name="T55" fmla="*/ 94 h 215"/>
                <a:gd name="T56" fmla="*/ 140 w 140"/>
                <a:gd name="T57" fmla="*/ 91 h 215"/>
                <a:gd name="T58" fmla="*/ 140 w 140"/>
                <a:gd name="T59" fmla="*/ 5 h 215"/>
                <a:gd name="T60" fmla="*/ 140 w 140"/>
                <a:gd name="T61" fmla="*/ 5 h 215"/>
                <a:gd name="T62" fmla="*/ 138 w 140"/>
                <a:gd name="T63" fmla="*/ 4 h 215"/>
                <a:gd name="T64" fmla="*/ 137 w 140"/>
                <a:gd name="T65" fmla="*/ 1 h 215"/>
                <a:gd name="T66" fmla="*/ 135 w 140"/>
                <a:gd name="T67" fmla="*/ 1 h 215"/>
                <a:gd name="T68" fmla="*/ 134 w 140"/>
                <a:gd name="T69" fmla="*/ 0 h 215"/>
                <a:gd name="T70" fmla="*/ 134 w 140"/>
                <a:gd name="T71"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0" h="215">
                  <a:moveTo>
                    <a:pt x="134" y="0"/>
                  </a:moveTo>
                  <a:lnTo>
                    <a:pt x="5" y="0"/>
                  </a:lnTo>
                  <a:lnTo>
                    <a:pt x="5" y="0"/>
                  </a:lnTo>
                  <a:lnTo>
                    <a:pt x="2" y="1"/>
                  </a:lnTo>
                  <a:lnTo>
                    <a:pt x="1" y="1"/>
                  </a:lnTo>
                  <a:lnTo>
                    <a:pt x="0" y="4"/>
                  </a:lnTo>
                  <a:lnTo>
                    <a:pt x="0" y="5"/>
                  </a:lnTo>
                  <a:lnTo>
                    <a:pt x="0" y="91"/>
                  </a:lnTo>
                  <a:lnTo>
                    <a:pt x="0" y="91"/>
                  </a:lnTo>
                  <a:lnTo>
                    <a:pt x="0" y="94"/>
                  </a:lnTo>
                  <a:lnTo>
                    <a:pt x="1" y="95"/>
                  </a:lnTo>
                  <a:lnTo>
                    <a:pt x="32" y="126"/>
                  </a:lnTo>
                  <a:lnTo>
                    <a:pt x="32" y="209"/>
                  </a:lnTo>
                  <a:lnTo>
                    <a:pt x="32" y="209"/>
                  </a:lnTo>
                  <a:lnTo>
                    <a:pt x="32" y="211"/>
                  </a:lnTo>
                  <a:lnTo>
                    <a:pt x="33" y="213"/>
                  </a:lnTo>
                  <a:lnTo>
                    <a:pt x="35" y="215"/>
                  </a:lnTo>
                  <a:lnTo>
                    <a:pt x="37" y="215"/>
                  </a:lnTo>
                  <a:lnTo>
                    <a:pt x="102" y="215"/>
                  </a:lnTo>
                  <a:lnTo>
                    <a:pt x="102" y="215"/>
                  </a:lnTo>
                  <a:lnTo>
                    <a:pt x="103" y="215"/>
                  </a:lnTo>
                  <a:lnTo>
                    <a:pt x="106" y="213"/>
                  </a:lnTo>
                  <a:lnTo>
                    <a:pt x="106" y="211"/>
                  </a:lnTo>
                  <a:lnTo>
                    <a:pt x="107" y="209"/>
                  </a:lnTo>
                  <a:lnTo>
                    <a:pt x="107" y="126"/>
                  </a:lnTo>
                  <a:lnTo>
                    <a:pt x="137" y="95"/>
                  </a:lnTo>
                  <a:lnTo>
                    <a:pt x="137" y="95"/>
                  </a:lnTo>
                  <a:lnTo>
                    <a:pt x="138" y="94"/>
                  </a:lnTo>
                  <a:lnTo>
                    <a:pt x="140" y="91"/>
                  </a:lnTo>
                  <a:lnTo>
                    <a:pt x="140" y="5"/>
                  </a:lnTo>
                  <a:lnTo>
                    <a:pt x="140" y="5"/>
                  </a:lnTo>
                  <a:lnTo>
                    <a:pt x="138" y="4"/>
                  </a:lnTo>
                  <a:lnTo>
                    <a:pt x="137" y="1"/>
                  </a:lnTo>
                  <a:lnTo>
                    <a:pt x="135" y="1"/>
                  </a:lnTo>
                  <a:lnTo>
                    <a:pt x="134" y="0"/>
                  </a:lnTo>
                  <a:lnTo>
                    <a:pt x="13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0" name="Freeform 135">
              <a:extLst>
                <a:ext uri="{FF2B5EF4-FFF2-40B4-BE49-F238E27FC236}">
                  <a16:creationId xmlns:a16="http://schemas.microsoft.com/office/drawing/2014/main" id="{CD59A17A-6F65-4F72-97A8-2FD4979143EC}"/>
                </a:ext>
              </a:extLst>
            </p:cNvPr>
            <p:cNvSpPr>
              <a:spLocks/>
            </p:cNvSpPr>
            <p:nvPr/>
          </p:nvSpPr>
          <p:spPr bwMode="auto">
            <a:xfrm>
              <a:off x="3513138" y="2650173"/>
              <a:ext cx="63500" cy="61913"/>
            </a:xfrm>
            <a:custGeom>
              <a:avLst/>
              <a:gdLst>
                <a:gd name="T0" fmla="*/ 41 w 80"/>
                <a:gd name="T1" fmla="*/ 79 h 79"/>
                <a:gd name="T2" fmla="*/ 41 w 80"/>
                <a:gd name="T3" fmla="*/ 79 h 79"/>
                <a:gd name="T4" fmla="*/ 49 w 80"/>
                <a:gd name="T5" fmla="*/ 79 h 79"/>
                <a:gd name="T6" fmla="*/ 55 w 80"/>
                <a:gd name="T7" fmla="*/ 77 h 79"/>
                <a:gd name="T8" fmla="*/ 62 w 80"/>
                <a:gd name="T9" fmla="*/ 73 h 79"/>
                <a:gd name="T10" fmla="*/ 69 w 80"/>
                <a:gd name="T11" fmla="*/ 69 h 79"/>
                <a:gd name="T12" fmla="*/ 73 w 80"/>
                <a:gd name="T13" fmla="*/ 62 h 79"/>
                <a:gd name="T14" fmla="*/ 77 w 80"/>
                <a:gd name="T15" fmla="*/ 55 h 79"/>
                <a:gd name="T16" fmla="*/ 80 w 80"/>
                <a:gd name="T17" fmla="*/ 48 h 79"/>
                <a:gd name="T18" fmla="*/ 80 w 80"/>
                <a:gd name="T19" fmla="*/ 40 h 79"/>
                <a:gd name="T20" fmla="*/ 80 w 80"/>
                <a:gd name="T21" fmla="*/ 40 h 79"/>
                <a:gd name="T22" fmla="*/ 80 w 80"/>
                <a:gd name="T23" fmla="*/ 32 h 79"/>
                <a:gd name="T24" fmla="*/ 77 w 80"/>
                <a:gd name="T25" fmla="*/ 24 h 79"/>
                <a:gd name="T26" fmla="*/ 73 w 80"/>
                <a:gd name="T27" fmla="*/ 18 h 79"/>
                <a:gd name="T28" fmla="*/ 69 w 80"/>
                <a:gd name="T29" fmla="*/ 12 h 79"/>
                <a:gd name="T30" fmla="*/ 62 w 80"/>
                <a:gd name="T31" fmla="*/ 7 h 79"/>
                <a:gd name="T32" fmla="*/ 55 w 80"/>
                <a:gd name="T33" fmla="*/ 4 h 79"/>
                <a:gd name="T34" fmla="*/ 49 w 80"/>
                <a:gd name="T35" fmla="*/ 1 h 79"/>
                <a:gd name="T36" fmla="*/ 41 w 80"/>
                <a:gd name="T37" fmla="*/ 0 h 79"/>
                <a:gd name="T38" fmla="*/ 41 w 80"/>
                <a:gd name="T39" fmla="*/ 0 h 79"/>
                <a:gd name="T40" fmla="*/ 32 w 80"/>
                <a:gd name="T41" fmla="*/ 1 h 79"/>
                <a:gd name="T42" fmla="*/ 24 w 80"/>
                <a:gd name="T43" fmla="*/ 4 h 79"/>
                <a:gd name="T44" fmla="*/ 18 w 80"/>
                <a:gd name="T45" fmla="*/ 7 h 79"/>
                <a:gd name="T46" fmla="*/ 12 w 80"/>
                <a:gd name="T47" fmla="*/ 12 h 79"/>
                <a:gd name="T48" fmla="*/ 7 w 80"/>
                <a:gd name="T49" fmla="*/ 18 h 79"/>
                <a:gd name="T50" fmla="*/ 4 w 80"/>
                <a:gd name="T51" fmla="*/ 24 h 79"/>
                <a:gd name="T52" fmla="*/ 2 w 80"/>
                <a:gd name="T53" fmla="*/ 32 h 79"/>
                <a:gd name="T54" fmla="*/ 0 w 80"/>
                <a:gd name="T55" fmla="*/ 40 h 79"/>
                <a:gd name="T56" fmla="*/ 0 w 80"/>
                <a:gd name="T57" fmla="*/ 40 h 79"/>
                <a:gd name="T58" fmla="*/ 2 w 80"/>
                <a:gd name="T59" fmla="*/ 48 h 79"/>
                <a:gd name="T60" fmla="*/ 4 w 80"/>
                <a:gd name="T61" fmla="*/ 55 h 79"/>
                <a:gd name="T62" fmla="*/ 7 w 80"/>
                <a:gd name="T63" fmla="*/ 62 h 79"/>
                <a:gd name="T64" fmla="*/ 12 w 80"/>
                <a:gd name="T65" fmla="*/ 69 h 79"/>
                <a:gd name="T66" fmla="*/ 18 w 80"/>
                <a:gd name="T67" fmla="*/ 73 h 79"/>
                <a:gd name="T68" fmla="*/ 24 w 80"/>
                <a:gd name="T69" fmla="*/ 77 h 79"/>
                <a:gd name="T70" fmla="*/ 32 w 80"/>
                <a:gd name="T71" fmla="*/ 79 h 79"/>
                <a:gd name="T72" fmla="*/ 41 w 80"/>
                <a:gd name="T73" fmla="*/ 79 h 79"/>
                <a:gd name="T74" fmla="*/ 41 w 80"/>
                <a:gd name="T75"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79"/>
                  </a:moveTo>
                  <a:lnTo>
                    <a:pt x="41" y="79"/>
                  </a:lnTo>
                  <a:lnTo>
                    <a:pt x="49" y="79"/>
                  </a:lnTo>
                  <a:lnTo>
                    <a:pt x="55"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5" y="4"/>
                  </a:lnTo>
                  <a:lnTo>
                    <a:pt x="49" y="1"/>
                  </a:lnTo>
                  <a:lnTo>
                    <a:pt x="41" y="0"/>
                  </a:lnTo>
                  <a:lnTo>
                    <a:pt x="41" y="0"/>
                  </a:lnTo>
                  <a:lnTo>
                    <a:pt x="32" y="1"/>
                  </a:lnTo>
                  <a:lnTo>
                    <a:pt x="24" y="4"/>
                  </a:lnTo>
                  <a:lnTo>
                    <a:pt x="18" y="7"/>
                  </a:lnTo>
                  <a:lnTo>
                    <a:pt x="12" y="12"/>
                  </a:lnTo>
                  <a:lnTo>
                    <a:pt x="7" y="18"/>
                  </a:lnTo>
                  <a:lnTo>
                    <a:pt x="4" y="24"/>
                  </a:lnTo>
                  <a:lnTo>
                    <a:pt x="2" y="32"/>
                  </a:lnTo>
                  <a:lnTo>
                    <a:pt x="0" y="40"/>
                  </a:lnTo>
                  <a:lnTo>
                    <a:pt x="0" y="40"/>
                  </a:lnTo>
                  <a:lnTo>
                    <a:pt x="2" y="48"/>
                  </a:lnTo>
                  <a:lnTo>
                    <a:pt x="4" y="55"/>
                  </a:lnTo>
                  <a:lnTo>
                    <a:pt x="7" y="62"/>
                  </a:lnTo>
                  <a:lnTo>
                    <a:pt x="12" y="69"/>
                  </a:lnTo>
                  <a:lnTo>
                    <a:pt x="18" y="73"/>
                  </a:lnTo>
                  <a:lnTo>
                    <a:pt x="24" y="77"/>
                  </a:lnTo>
                  <a:lnTo>
                    <a:pt x="32" y="79"/>
                  </a:lnTo>
                  <a:lnTo>
                    <a:pt x="41" y="79"/>
                  </a:lnTo>
                  <a:lnTo>
                    <a:pt x="41" y="7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1" name="Freeform 136">
              <a:extLst>
                <a:ext uri="{FF2B5EF4-FFF2-40B4-BE49-F238E27FC236}">
                  <a16:creationId xmlns:a16="http://schemas.microsoft.com/office/drawing/2014/main" id="{76AFA6BD-7A64-41A0-86E5-9F62091A0E1C}"/>
                </a:ext>
              </a:extLst>
            </p:cNvPr>
            <p:cNvSpPr>
              <a:spLocks/>
            </p:cNvSpPr>
            <p:nvPr/>
          </p:nvSpPr>
          <p:spPr bwMode="auto">
            <a:xfrm>
              <a:off x="3333751" y="2650173"/>
              <a:ext cx="63500" cy="61913"/>
            </a:xfrm>
            <a:custGeom>
              <a:avLst/>
              <a:gdLst>
                <a:gd name="T0" fmla="*/ 41 w 80"/>
                <a:gd name="T1" fmla="*/ 0 h 79"/>
                <a:gd name="T2" fmla="*/ 41 w 80"/>
                <a:gd name="T3" fmla="*/ 0 h 79"/>
                <a:gd name="T4" fmla="*/ 33 w 80"/>
                <a:gd name="T5" fmla="*/ 1 h 79"/>
                <a:gd name="T6" fmla="*/ 25 w 80"/>
                <a:gd name="T7" fmla="*/ 4 h 79"/>
                <a:gd name="T8" fmla="*/ 18 w 80"/>
                <a:gd name="T9" fmla="*/ 7 h 79"/>
                <a:gd name="T10" fmla="*/ 13 w 80"/>
                <a:gd name="T11" fmla="*/ 12 h 79"/>
                <a:gd name="T12" fmla="*/ 7 w 80"/>
                <a:gd name="T13" fmla="*/ 18 h 79"/>
                <a:gd name="T14" fmla="*/ 4 w 80"/>
                <a:gd name="T15" fmla="*/ 24 h 79"/>
                <a:gd name="T16" fmla="*/ 2 w 80"/>
                <a:gd name="T17" fmla="*/ 32 h 79"/>
                <a:gd name="T18" fmla="*/ 0 w 80"/>
                <a:gd name="T19" fmla="*/ 40 h 79"/>
                <a:gd name="T20" fmla="*/ 0 w 80"/>
                <a:gd name="T21" fmla="*/ 40 h 79"/>
                <a:gd name="T22" fmla="*/ 2 w 80"/>
                <a:gd name="T23" fmla="*/ 48 h 79"/>
                <a:gd name="T24" fmla="*/ 4 w 80"/>
                <a:gd name="T25" fmla="*/ 55 h 79"/>
                <a:gd name="T26" fmla="*/ 7 w 80"/>
                <a:gd name="T27" fmla="*/ 62 h 79"/>
                <a:gd name="T28" fmla="*/ 13 w 80"/>
                <a:gd name="T29" fmla="*/ 69 h 79"/>
                <a:gd name="T30" fmla="*/ 18 w 80"/>
                <a:gd name="T31" fmla="*/ 73 h 79"/>
                <a:gd name="T32" fmla="*/ 25 w 80"/>
                <a:gd name="T33" fmla="*/ 77 h 79"/>
                <a:gd name="T34" fmla="*/ 33 w 80"/>
                <a:gd name="T35" fmla="*/ 79 h 79"/>
                <a:gd name="T36" fmla="*/ 41 w 80"/>
                <a:gd name="T37" fmla="*/ 79 h 79"/>
                <a:gd name="T38" fmla="*/ 41 w 80"/>
                <a:gd name="T39" fmla="*/ 79 h 79"/>
                <a:gd name="T40" fmla="*/ 49 w 80"/>
                <a:gd name="T41" fmla="*/ 79 h 79"/>
                <a:gd name="T42" fmla="*/ 56 w 80"/>
                <a:gd name="T43" fmla="*/ 77 h 79"/>
                <a:gd name="T44" fmla="*/ 62 w 80"/>
                <a:gd name="T45" fmla="*/ 73 h 79"/>
                <a:gd name="T46" fmla="*/ 69 w 80"/>
                <a:gd name="T47" fmla="*/ 69 h 79"/>
                <a:gd name="T48" fmla="*/ 73 w 80"/>
                <a:gd name="T49" fmla="*/ 62 h 79"/>
                <a:gd name="T50" fmla="*/ 77 w 80"/>
                <a:gd name="T51" fmla="*/ 55 h 79"/>
                <a:gd name="T52" fmla="*/ 80 w 80"/>
                <a:gd name="T53" fmla="*/ 48 h 79"/>
                <a:gd name="T54" fmla="*/ 80 w 80"/>
                <a:gd name="T55" fmla="*/ 40 h 79"/>
                <a:gd name="T56" fmla="*/ 80 w 80"/>
                <a:gd name="T57" fmla="*/ 40 h 79"/>
                <a:gd name="T58" fmla="*/ 80 w 80"/>
                <a:gd name="T59" fmla="*/ 32 h 79"/>
                <a:gd name="T60" fmla="*/ 77 w 80"/>
                <a:gd name="T61" fmla="*/ 24 h 79"/>
                <a:gd name="T62" fmla="*/ 73 w 80"/>
                <a:gd name="T63" fmla="*/ 18 h 79"/>
                <a:gd name="T64" fmla="*/ 69 w 80"/>
                <a:gd name="T65" fmla="*/ 12 h 79"/>
                <a:gd name="T66" fmla="*/ 62 w 80"/>
                <a:gd name="T67" fmla="*/ 7 h 79"/>
                <a:gd name="T68" fmla="*/ 56 w 80"/>
                <a:gd name="T69" fmla="*/ 4 h 79"/>
                <a:gd name="T70" fmla="*/ 49 w 80"/>
                <a:gd name="T71" fmla="*/ 1 h 79"/>
                <a:gd name="T72" fmla="*/ 41 w 80"/>
                <a:gd name="T73" fmla="*/ 0 h 79"/>
                <a:gd name="T74" fmla="*/ 41 w 80"/>
                <a:gd name="T75"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0"/>
                  </a:moveTo>
                  <a:lnTo>
                    <a:pt x="41" y="0"/>
                  </a:lnTo>
                  <a:lnTo>
                    <a:pt x="33" y="1"/>
                  </a:lnTo>
                  <a:lnTo>
                    <a:pt x="25" y="4"/>
                  </a:lnTo>
                  <a:lnTo>
                    <a:pt x="18" y="7"/>
                  </a:lnTo>
                  <a:lnTo>
                    <a:pt x="13" y="12"/>
                  </a:lnTo>
                  <a:lnTo>
                    <a:pt x="7" y="18"/>
                  </a:lnTo>
                  <a:lnTo>
                    <a:pt x="4" y="24"/>
                  </a:lnTo>
                  <a:lnTo>
                    <a:pt x="2" y="32"/>
                  </a:lnTo>
                  <a:lnTo>
                    <a:pt x="0" y="40"/>
                  </a:lnTo>
                  <a:lnTo>
                    <a:pt x="0" y="40"/>
                  </a:lnTo>
                  <a:lnTo>
                    <a:pt x="2" y="48"/>
                  </a:lnTo>
                  <a:lnTo>
                    <a:pt x="4" y="55"/>
                  </a:lnTo>
                  <a:lnTo>
                    <a:pt x="7" y="62"/>
                  </a:lnTo>
                  <a:lnTo>
                    <a:pt x="13" y="69"/>
                  </a:lnTo>
                  <a:lnTo>
                    <a:pt x="18" y="73"/>
                  </a:lnTo>
                  <a:lnTo>
                    <a:pt x="25" y="77"/>
                  </a:lnTo>
                  <a:lnTo>
                    <a:pt x="33" y="79"/>
                  </a:lnTo>
                  <a:lnTo>
                    <a:pt x="41" y="79"/>
                  </a:lnTo>
                  <a:lnTo>
                    <a:pt x="41" y="79"/>
                  </a:lnTo>
                  <a:lnTo>
                    <a:pt x="49" y="79"/>
                  </a:lnTo>
                  <a:lnTo>
                    <a:pt x="56"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6" y="4"/>
                  </a:lnTo>
                  <a:lnTo>
                    <a:pt x="49" y="1"/>
                  </a:lnTo>
                  <a:lnTo>
                    <a:pt x="41" y="0"/>
                  </a:lnTo>
                  <a:lnTo>
                    <a:pt x="4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2" name="Freeform 137">
              <a:extLst>
                <a:ext uri="{FF2B5EF4-FFF2-40B4-BE49-F238E27FC236}">
                  <a16:creationId xmlns:a16="http://schemas.microsoft.com/office/drawing/2014/main" id="{B8C175F4-6E98-4645-B397-1F0840F53903}"/>
                </a:ext>
              </a:extLst>
            </p:cNvPr>
            <p:cNvSpPr>
              <a:spLocks/>
            </p:cNvSpPr>
            <p:nvPr/>
          </p:nvSpPr>
          <p:spPr bwMode="auto">
            <a:xfrm>
              <a:off x="3414713" y="2632710"/>
              <a:ext cx="80963" cy="79375"/>
            </a:xfrm>
            <a:custGeom>
              <a:avLst/>
              <a:gdLst>
                <a:gd name="T0" fmla="*/ 51 w 102"/>
                <a:gd name="T1" fmla="*/ 100 h 100"/>
                <a:gd name="T2" fmla="*/ 51 w 102"/>
                <a:gd name="T3" fmla="*/ 100 h 100"/>
                <a:gd name="T4" fmla="*/ 60 w 102"/>
                <a:gd name="T5" fmla="*/ 99 h 100"/>
                <a:gd name="T6" fmla="*/ 69 w 102"/>
                <a:gd name="T7" fmla="*/ 96 h 100"/>
                <a:gd name="T8" fmla="*/ 79 w 102"/>
                <a:gd name="T9" fmla="*/ 92 h 100"/>
                <a:gd name="T10" fmla="*/ 86 w 102"/>
                <a:gd name="T11" fmla="*/ 86 h 100"/>
                <a:gd name="T12" fmla="*/ 92 w 102"/>
                <a:gd name="T13" fmla="*/ 78 h 100"/>
                <a:gd name="T14" fmla="*/ 98 w 102"/>
                <a:gd name="T15" fmla="*/ 69 h 100"/>
                <a:gd name="T16" fmla="*/ 100 w 102"/>
                <a:gd name="T17" fmla="*/ 60 h 100"/>
                <a:gd name="T18" fmla="*/ 102 w 102"/>
                <a:gd name="T19" fmla="*/ 49 h 100"/>
                <a:gd name="T20" fmla="*/ 102 w 102"/>
                <a:gd name="T21" fmla="*/ 49 h 100"/>
                <a:gd name="T22" fmla="*/ 100 w 102"/>
                <a:gd name="T23" fmla="*/ 40 h 100"/>
                <a:gd name="T24" fmla="*/ 98 w 102"/>
                <a:gd name="T25" fmla="*/ 30 h 100"/>
                <a:gd name="T26" fmla="*/ 92 w 102"/>
                <a:gd name="T27" fmla="*/ 21 h 100"/>
                <a:gd name="T28" fmla="*/ 86 w 102"/>
                <a:gd name="T29" fmla="*/ 14 h 100"/>
                <a:gd name="T30" fmla="*/ 79 w 102"/>
                <a:gd name="T31" fmla="*/ 8 h 100"/>
                <a:gd name="T32" fmla="*/ 69 w 102"/>
                <a:gd name="T33" fmla="*/ 4 h 100"/>
                <a:gd name="T34" fmla="*/ 60 w 102"/>
                <a:gd name="T35" fmla="*/ 0 h 100"/>
                <a:gd name="T36" fmla="*/ 51 w 102"/>
                <a:gd name="T37" fmla="*/ 0 h 100"/>
                <a:gd name="T38" fmla="*/ 51 w 102"/>
                <a:gd name="T39" fmla="*/ 0 h 100"/>
                <a:gd name="T40" fmla="*/ 40 w 102"/>
                <a:gd name="T41" fmla="*/ 0 h 100"/>
                <a:gd name="T42" fmla="*/ 30 w 102"/>
                <a:gd name="T43" fmla="*/ 4 h 100"/>
                <a:gd name="T44" fmla="*/ 22 w 102"/>
                <a:gd name="T45" fmla="*/ 8 h 100"/>
                <a:gd name="T46" fmla="*/ 14 w 102"/>
                <a:gd name="T47" fmla="*/ 14 h 100"/>
                <a:gd name="T48" fmla="*/ 8 w 102"/>
                <a:gd name="T49" fmla="*/ 21 h 100"/>
                <a:gd name="T50" fmla="*/ 4 w 102"/>
                <a:gd name="T51" fmla="*/ 30 h 100"/>
                <a:gd name="T52" fmla="*/ 1 w 102"/>
                <a:gd name="T53" fmla="*/ 40 h 100"/>
                <a:gd name="T54" fmla="*/ 0 w 102"/>
                <a:gd name="T55" fmla="*/ 49 h 100"/>
                <a:gd name="T56" fmla="*/ 0 w 102"/>
                <a:gd name="T57" fmla="*/ 49 h 100"/>
                <a:gd name="T58" fmla="*/ 1 w 102"/>
                <a:gd name="T59" fmla="*/ 60 h 100"/>
                <a:gd name="T60" fmla="*/ 4 w 102"/>
                <a:gd name="T61" fmla="*/ 69 h 100"/>
                <a:gd name="T62" fmla="*/ 8 w 102"/>
                <a:gd name="T63" fmla="*/ 78 h 100"/>
                <a:gd name="T64" fmla="*/ 14 w 102"/>
                <a:gd name="T65" fmla="*/ 86 h 100"/>
                <a:gd name="T66" fmla="*/ 22 w 102"/>
                <a:gd name="T67" fmla="*/ 92 h 100"/>
                <a:gd name="T68" fmla="*/ 30 w 102"/>
                <a:gd name="T69" fmla="*/ 96 h 100"/>
                <a:gd name="T70" fmla="*/ 40 w 102"/>
                <a:gd name="T71" fmla="*/ 99 h 100"/>
                <a:gd name="T72" fmla="*/ 51 w 102"/>
                <a:gd name="T73" fmla="*/ 100 h 100"/>
                <a:gd name="T74" fmla="*/ 51 w 102"/>
                <a:gd name="T75"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0">
                  <a:moveTo>
                    <a:pt x="51" y="100"/>
                  </a:moveTo>
                  <a:lnTo>
                    <a:pt x="51" y="100"/>
                  </a:lnTo>
                  <a:lnTo>
                    <a:pt x="60" y="99"/>
                  </a:lnTo>
                  <a:lnTo>
                    <a:pt x="69" y="96"/>
                  </a:lnTo>
                  <a:lnTo>
                    <a:pt x="79" y="92"/>
                  </a:lnTo>
                  <a:lnTo>
                    <a:pt x="86" y="86"/>
                  </a:lnTo>
                  <a:lnTo>
                    <a:pt x="92" y="78"/>
                  </a:lnTo>
                  <a:lnTo>
                    <a:pt x="98" y="69"/>
                  </a:lnTo>
                  <a:lnTo>
                    <a:pt x="100" y="60"/>
                  </a:lnTo>
                  <a:lnTo>
                    <a:pt x="102" y="49"/>
                  </a:lnTo>
                  <a:lnTo>
                    <a:pt x="102" y="49"/>
                  </a:lnTo>
                  <a:lnTo>
                    <a:pt x="100" y="40"/>
                  </a:lnTo>
                  <a:lnTo>
                    <a:pt x="98" y="30"/>
                  </a:lnTo>
                  <a:lnTo>
                    <a:pt x="92" y="21"/>
                  </a:lnTo>
                  <a:lnTo>
                    <a:pt x="86" y="14"/>
                  </a:lnTo>
                  <a:lnTo>
                    <a:pt x="79" y="8"/>
                  </a:lnTo>
                  <a:lnTo>
                    <a:pt x="69" y="4"/>
                  </a:lnTo>
                  <a:lnTo>
                    <a:pt x="60" y="0"/>
                  </a:lnTo>
                  <a:lnTo>
                    <a:pt x="51" y="0"/>
                  </a:lnTo>
                  <a:lnTo>
                    <a:pt x="51" y="0"/>
                  </a:lnTo>
                  <a:lnTo>
                    <a:pt x="40" y="0"/>
                  </a:lnTo>
                  <a:lnTo>
                    <a:pt x="30" y="4"/>
                  </a:lnTo>
                  <a:lnTo>
                    <a:pt x="22" y="8"/>
                  </a:lnTo>
                  <a:lnTo>
                    <a:pt x="14" y="14"/>
                  </a:lnTo>
                  <a:lnTo>
                    <a:pt x="8" y="21"/>
                  </a:lnTo>
                  <a:lnTo>
                    <a:pt x="4" y="30"/>
                  </a:lnTo>
                  <a:lnTo>
                    <a:pt x="1" y="40"/>
                  </a:lnTo>
                  <a:lnTo>
                    <a:pt x="0" y="49"/>
                  </a:lnTo>
                  <a:lnTo>
                    <a:pt x="0" y="49"/>
                  </a:lnTo>
                  <a:lnTo>
                    <a:pt x="1" y="60"/>
                  </a:lnTo>
                  <a:lnTo>
                    <a:pt x="4" y="69"/>
                  </a:lnTo>
                  <a:lnTo>
                    <a:pt x="8" y="78"/>
                  </a:lnTo>
                  <a:lnTo>
                    <a:pt x="14" y="86"/>
                  </a:lnTo>
                  <a:lnTo>
                    <a:pt x="22" y="92"/>
                  </a:lnTo>
                  <a:lnTo>
                    <a:pt x="30" y="96"/>
                  </a:lnTo>
                  <a:lnTo>
                    <a:pt x="40" y="99"/>
                  </a:lnTo>
                  <a:lnTo>
                    <a:pt x="51" y="100"/>
                  </a:lnTo>
                  <a:lnTo>
                    <a:pt x="51"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33" name="Group 32">
            <a:extLst>
              <a:ext uri="{FF2B5EF4-FFF2-40B4-BE49-F238E27FC236}">
                <a16:creationId xmlns:a16="http://schemas.microsoft.com/office/drawing/2014/main" id="{B5388F60-E845-453F-A495-F6AEAFC5E315}"/>
              </a:ext>
            </a:extLst>
          </p:cNvPr>
          <p:cNvGrpSpPr>
            <a:grpSpLocks noChangeAspect="1"/>
          </p:cNvGrpSpPr>
          <p:nvPr/>
        </p:nvGrpSpPr>
        <p:grpSpPr>
          <a:xfrm>
            <a:off x="4979767" y="5033223"/>
            <a:ext cx="321991" cy="320040"/>
            <a:chOff x="1433513" y="5020310"/>
            <a:chExt cx="523875" cy="520700"/>
          </a:xfrm>
        </p:grpSpPr>
        <p:sp>
          <p:nvSpPr>
            <p:cNvPr id="34" name="Freeform 76">
              <a:extLst>
                <a:ext uri="{FF2B5EF4-FFF2-40B4-BE49-F238E27FC236}">
                  <a16:creationId xmlns:a16="http://schemas.microsoft.com/office/drawing/2014/main" id="{1CDD751D-2E46-4DE8-BFC5-E649DA2BA1A0}"/>
                </a:ext>
              </a:extLst>
            </p:cNvPr>
            <p:cNvSpPr>
              <a:spLocks noEditPoints="1"/>
            </p:cNvSpPr>
            <p:nvPr/>
          </p:nvSpPr>
          <p:spPr bwMode="auto">
            <a:xfrm>
              <a:off x="1433513" y="5020310"/>
              <a:ext cx="523875" cy="520700"/>
            </a:xfrm>
            <a:custGeom>
              <a:avLst/>
              <a:gdLst>
                <a:gd name="T0" fmla="*/ 312 w 658"/>
                <a:gd name="T1" fmla="*/ 657 h 657"/>
                <a:gd name="T2" fmla="*/ 263 w 658"/>
                <a:gd name="T3" fmla="*/ 650 h 657"/>
                <a:gd name="T4" fmla="*/ 201 w 658"/>
                <a:gd name="T5" fmla="*/ 631 h 657"/>
                <a:gd name="T6" fmla="*/ 119 w 658"/>
                <a:gd name="T7" fmla="*/ 582 h 657"/>
                <a:gd name="T8" fmla="*/ 56 w 658"/>
                <a:gd name="T9" fmla="*/ 512 h 657"/>
                <a:gd name="T10" fmla="*/ 15 w 658"/>
                <a:gd name="T11" fmla="*/ 426 h 657"/>
                <a:gd name="T12" fmla="*/ 4 w 658"/>
                <a:gd name="T13" fmla="*/ 379 h 657"/>
                <a:gd name="T14" fmla="*/ 0 w 658"/>
                <a:gd name="T15" fmla="*/ 328 h 657"/>
                <a:gd name="T16" fmla="*/ 2 w 658"/>
                <a:gd name="T17" fmla="*/ 294 h 657"/>
                <a:gd name="T18" fmla="*/ 11 w 658"/>
                <a:gd name="T19" fmla="*/ 246 h 657"/>
                <a:gd name="T20" fmla="*/ 40 w 658"/>
                <a:gd name="T21" fmla="*/ 172 h 657"/>
                <a:gd name="T22" fmla="*/ 97 w 658"/>
                <a:gd name="T23" fmla="*/ 95 h 657"/>
                <a:gd name="T24" fmla="*/ 172 w 658"/>
                <a:gd name="T25" fmla="*/ 39 h 657"/>
                <a:gd name="T26" fmla="*/ 247 w 658"/>
                <a:gd name="T27" fmla="*/ 9 h 657"/>
                <a:gd name="T28" fmla="*/ 295 w 658"/>
                <a:gd name="T29" fmla="*/ 1 h 657"/>
                <a:gd name="T30" fmla="*/ 329 w 658"/>
                <a:gd name="T31" fmla="*/ 0 h 657"/>
                <a:gd name="T32" fmla="*/ 379 w 658"/>
                <a:gd name="T33" fmla="*/ 4 h 657"/>
                <a:gd name="T34" fmla="*/ 427 w 658"/>
                <a:gd name="T35" fmla="*/ 14 h 657"/>
                <a:gd name="T36" fmla="*/ 513 w 658"/>
                <a:gd name="T37" fmla="*/ 56 h 657"/>
                <a:gd name="T38" fmla="*/ 583 w 658"/>
                <a:gd name="T39" fmla="*/ 119 h 657"/>
                <a:gd name="T40" fmla="*/ 633 w 658"/>
                <a:gd name="T41" fmla="*/ 200 h 657"/>
                <a:gd name="T42" fmla="*/ 652 w 658"/>
                <a:gd name="T43" fmla="*/ 262 h 657"/>
                <a:gd name="T44" fmla="*/ 657 w 658"/>
                <a:gd name="T45" fmla="*/ 311 h 657"/>
                <a:gd name="T46" fmla="*/ 657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7 h 657"/>
                <a:gd name="T64" fmla="*/ 243 w 658"/>
                <a:gd name="T65" fmla="*/ 49 h 657"/>
                <a:gd name="T66" fmla="*/ 166 w 658"/>
                <a:gd name="T67" fmla="*/ 87 h 657"/>
                <a:gd name="T68" fmla="*/ 105 w 658"/>
                <a:gd name="T69" fmla="*/ 143 h 657"/>
                <a:gd name="T70" fmla="*/ 60 w 658"/>
                <a:gd name="T71" fmla="*/ 215 h 657"/>
                <a:gd name="T72" fmla="*/ 39 w 658"/>
                <a:gd name="T73" fmla="*/ 298 h 657"/>
                <a:gd name="T74" fmla="*/ 39 w 658"/>
                <a:gd name="T75" fmla="*/ 358 h 657"/>
                <a:gd name="T76" fmla="*/ 60 w 658"/>
                <a:gd name="T77" fmla="*/ 442 h 657"/>
                <a:gd name="T78" fmla="*/ 105 w 658"/>
                <a:gd name="T79" fmla="*/ 513 h 657"/>
                <a:gd name="T80" fmla="*/ 166 w 658"/>
                <a:gd name="T81" fmla="*/ 569 h 657"/>
                <a:gd name="T82" fmla="*/ 243 w 658"/>
                <a:gd name="T83" fmla="*/ 606 h 657"/>
                <a:gd name="T84" fmla="*/ 329 w 658"/>
                <a:gd name="T85" fmla="*/ 619 h 657"/>
                <a:gd name="T86" fmla="*/ 388 w 658"/>
                <a:gd name="T87" fmla="*/ 614 h 657"/>
                <a:gd name="T88" fmla="*/ 467 w 658"/>
                <a:gd name="T89" fmla="*/ 584 h 657"/>
                <a:gd name="T90" fmla="*/ 535 w 658"/>
                <a:gd name="T91" fmla="*/ 535 h 657"/>
                <a:gd name="T92" fmla="*/ 586 w 658"/>
                <a:gd name="T93" fmla="*/ 467 h 657"/>
                <a:gd name="T94" fmla="*/ 614 w 658"/>
                <a:gd name="T95" fmla="*/ 387 h 657"/>
                <a:gd name="T96" fmla="*/ 621 w 658"/>
                <a:gd name="T97" fmla="*/ 328 h 657"/>
                <a:gd name="T98" fmla="*/ 607 w 658"/>
                <a:gd name="T99" fmla="*/ 242 h 657"/>
                <a:gd name="T100" fmla="*/ 571 w 658"/>
                <a:gd name="T101" fmla="*/ 165 h 657"/>
                <a:gd name="T102" fmla="*/ 515 w 658"/>
                <a:gd name="T103" fmla="*/ 103 h 657"/>
                <a:gd name="T104" fmla="*/ 442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2" y="657"/>
                  </a:lnTo>
                  <a:lnTo>
                    <a:pt x="295" y="656"/>
                  </a:lnTo>
                  <a:lnTo>
                    <a:pt x="279" y="653"/>
                  </a:lnTo>
                  <a:lnTo>
                    <a:pt x="263" y="650"/>
                  </a:lnTo>
                  <a:lnTo>
                    <a:pt x="247" y="647"/>
                  </a:lnTo>
                  <a:lnTo>
                    <a:pt x="231" y="642"/>
                  </a:lnTo>
                  <a:lnTo>
                    <a:pt x="201" y="631"/>
                  </a:lnTo>
                  <a:lnTo>
                    <a:pt x="172" y="618"/>
                  </a:lnTo>
                  <a:lnTo>
                    <a:pt x="145" y="600"/>
                  </a:lnTo>
                  <a:lnTo>
                    <a:pt x="119" y="582"/>
                  </a:lnTo>
                  <a:lnTo>
                    <a:pt x="97" y="560"/>
                  </a:lnTo>
                  <a:lnTo>
                    <a:pt x="75" y="537"/>
                  </a:lnTo>
                  <a:lnTo>
                    <a:pt x="56" y="512"/>
                  </a:lnTo>
                  <a:lnTo>
                    <a:pt x="40" y="485"/>
                  </a:lnTo>
                  <a:lnTo>
                    <a:pt x="27" y="457"/>
                  </a:lnTo>
                  <a:lnTo>
                    <a:pt x="15" y="426"/>
                  </a:lnTo>
                  <a:lnTo>
                    <a:pt x="11" y="411"/>
                  </a:lnTo>
                  <a:lnTo>
                    <a:pt x="7" y="395"/>
                  </a:lnTo>
                  <a:lnTo>
                    <a:pt x="4" y="379"/>
                  </a:lnTo>
                  <a:lnTo>
                    <a:pt x="2" y="361"/>
                  </a:lnTo>
                  <a:lnTo>
                    <a:pt x="1" y="345"/>
                  </a:lnTo>
                  <a:lnTo>
                    <a:pt x="0" y="328"/>
                  </a:lnTo>
                  <a:lnTo>
                    <a:pt x="0" y="328"/>
                  </a:lnTo>
                  <a:lnTo>
                    <a:pt x="1" y="311"/>
                  </a:lnTo>
                  <a:lnTo>
                    <a:pt x="2" y="294"/>
                  </a:lnTo>
                  <a:lnTo>
                    <a:pt x="4" y="278"/>
                  </a:lnTo>
                  <a:lnTo>
                    <a:pt x="7" y="262"/>
                  </a:lnTo>
                  <a:lnTo>
                    <a:pt x="11" y="246"/>
                  </a:lnTo>
                  <a:lnTo>
                    <a:pt x="15" y="231"/>
                  </a:lnTo>
                  <a:lnTo>
                    <a:pt x="27" y="200"/>
                  </a:lnTo>
                  <a:lnTo>
                    <a:pt x="40" y="172"/>
                  </a:lnTo>
                  <a:lnTo>
                    <a:pt x="56" y="145"/>
                  </a:lnTo>
                  <a:lnTo>
                    <a:pt x="75" y="119"/>
                  </a:lnTo>
                  <a:lnTo>
                    <a:pt x="97" y="95"/>
                  </a:lnTo>
                  <a:lnTo>
                    <a:pt x="119" y="75"/>
                  </a:lnTo>
                  <a:lnTo>
                    <a:pt x="145" y="56"/>
                  </a:lnTo>
                  <a:lnTo>
                    <a:pt x="172" y="39"/>
                  </a:lnTo>
                  <a:lnTo>
                    <a:pt x="201" y="25"/>
                  </a:lnTo>
                  <a:lnTo>
                    <a:pt x="231" y="14"/>
                  </a:lnTo>
                  <a:lnTo>
                    <a:pt x="247" y="9"/>
                  </a:lnTo>
                  <a:lnTo>
                    <a:pt x="263" y="6"/>
                  </a:lnTo>
                  <a:lnTo>
                    <a:pt x="279" y="4"/>
                  </a:lnTo>
                  <a:lnTo>
                    <a:pt x="295" y="1"/>
                  </a:lnTo>
                  <a:lnTo>
                    <a:pt x="312" y="0"/>
                  </a:lnTo>
                  <a:lnTo>
                    <a:pt x="329" y="0"/>
                  </a:lnTo>
                  <a:lnTo>
                    <a:pt x="329" y="0"/>
                  </a:lnTo>
                  <a:lnTo>
                    <a:pt x="347" y="0"/>
                  </a:lnTo>
                  <a:lnTo>
                    <a:pt x="363" y="1"/>
                  </a:lnTo>
                  <a:lnTo>
                    <a:pt x="379" y="4"/>
                  </a:lnTo>
                  <a:lnTo>
                    <a:pt x="395" y="6"/>
                  </a:lnTo>
                  <a:lnTo>
                    <a:pt x="411" y="9"/>
                  </a:lnTo>
                  <a:lnTo>
                    <a:pt x="427" y="14"/>
                  </a:lnTo>
                  <a:lnTo>
                    <a:pt x="457" y="25"/>
                  </a:lnTo>
                  <a:lnTo>
                    <a:pt x="486" y="39"/>
                  </a:lnTo>
                  <a:lnTo>
                    <a:pt x="513" y="56"/>
                  </a:lnTo>
                  <a:lnTo>
                    <a:pt x="539" y="75"/>
                  </a:lnTo>
                  <a:lnTo>
                    <a:pt x="562" y="95"/>
                  </a:lnTo>
                  <a:lnTo>
                    <a:pt x="583" y="119"/>
                  </a:lnTo>
                  <a:lnTo>
                    <a:pt x="602" y="145"/>
                  </a:lnTo>
                  <a:lnTo>
                    <a:pt x="618" y="172"/>
                  </a:lnTo>
                  <a:lnTo>
                    <a:pt x="633" y="200"/>
                  </a:lnTo>
                  <a:lnTo>
                    <a:pt x="644" y="231"/>
                  </a:lnTo>
                  <a:lnTo>
                    <a:pt x="648" y="246"/>
                  </a:lnTo>
                  <a:lnTo>
                    <a:pt x="652" y="262"/>
                  </a:lnTo>
                  <a:lnTo>
                    <a:pt x="654" y="278"/>
                  </a:lnTo>
                  <a:lnTo>
                    <a:pt x="657" y="294"/>
                  </a:lnTo>
                  <a:lnTo>
                    <a:pt x="657" y="311"/>
                  </a:lnTo>
                  <a:lnTo>
                    <a:pt x="658" y="328"/>
                  </a:lnTo>
                  <a:lnTo>
                    <a:pt x="658" y="328"/>
                  </a:lnTo>
                  <a:lnTo>
                    <a:pt x="657" y="345"/>
                  </a:lnTo>
                  <a:lnTo>
                    <a:pt x="657" y="361"/>
                  </a:lnTo>
                  <a:lnTo>
                    <a:pt x="654" y="379"/>
                  </a:lnTo>
                  <a:lnTo>
                    <a:pt x="652" y="395"/>
                  </a:lnTo>
                  <a:lnTo>
                    <a:pt x="648" y="411"/>
                  </a:lnTo>
                  <a:lnTo>
                    <a:pt x="644" y="426"/>
                  </a:lnTo>
                  <a:lnTo>
                    <a:pt x="633" y="457"/>
                  </a:lnTo>
                  <a:lnTo>
                    <a:pt x="618" y="485"/>
                  </a:lnTo>
                  <a:lnTo>
                    <a:pt x="602" y="512"/>
                  </a:lnTo>
                  <a:lnTo>
                    <a:pt x="583" y="537"/>
                  </a:lnTo>
                  <a:lnTo>
                    <a:pt x="562" y="560"/>
                  </a:lnTo>
                  <a:lnTo>
                    <a:pt x="539" y="582"/>
                  </a:lnTo>
                  <a:lnTo>
                    <a:pt x="513" y="600"/>
                  </a:lnTo>
                  <a:lnTo>
                    <a:pt x="486" y="618"/>
                  </a:lnTo>
                  <a:lnTo>
                    <a:pt x="457" y="631"/>
                  </a:lnTo>
                  <a:lnTo>
                    <a:pt x="427" y="642"/>
                  </a:lnTo>
                  <a:lnTo>
                    <a:pt x="411" y="647"/>
                  </a:lnTo>
                  <a:lnTo>
                    <a:pt x="395" y="650"/>
                  </a:lnTo>
                  <a:lnTo>
                    <a:pt x="379" y="653"/>
                  </a:lnTo>
                  <a:lnTo>
                    <a:pt x="363" y="656"/>
                  </a:lnTo>
                  <a:lnTo>
                    <a:pt x="347" y="657"/>
                  </a:lnTo>
                  <a:lnTo>
                    <a:pt x="329" y="657"/>
                  </a:lnTo>
                  <a:lnTo>
                    <a:pt x="329" y="657"/>
                  </a:lnTo>
                  <a:close/>
                  <a:moveTo>
                    <a:pt x="329" y="37"/>
                  </a:moveTo>
                  <a:lnTo>
                    <a:pt x="329" y="37"/>
                  </a:lnTo>
                  <a:lnTo>
                    <a:pt x="299" y="39"/>
                  </a:lnTo>
                  <a:lnTo>
                    <a:pt x="270" y="43"/>
                  </a:lnTo>
                  <a:lnTo>
                    <a:pt x="243" y="49"/>
                  </a:lnTo>
                  <a:lnTo>
                    <a:pt x="216" y="60"/>
                  </a:lnTo>
                  <a:lnTo>
                    <a:pt x="191" y="72"/>
                  </a:lnTo>
                  <a:lnTo>
                    <a:pt x="166" y="87"/>
                  </a:lnTo>
                  <a:lnTo>
                    <a:pt x="144" y="103"/>
                  </a:lnTo>
                  <a:lnTo>
                    <a:pt x="123" y="122"/>
                  </a:lnTo>
                  <a:lnTo>
                    <a:pt x="105" y="143"/>
                  </a:lnTo>
                  <a:lnTo>
                    <a:pt x="87" y="165"/>
                  </a:lnTo>
                  <a:lnTo>
                    <a:pt x="72" y="189"/>
                  </a:lnTo>
                  <a:lnTo>
                    <a:pt x="60" y="215"/>
                  </a:lnTo>
                  <a:lnTo>
                    <a:pt x="51" y="242"/>
                  </a:lnTo>
                  <a:lnTo>
                    <a:pt x="44" y="270"/>
                  </a:lnTo>
                  <a:lnTo>
                    <a:pt x="39" y="298"/>
                  </a:lnTo>
                  <a:lnTo>
                    <a:pt x="37" y="328"/>
                  </a:lnTo>
                  <a:lnTo>
                    <a:pt x="37" y="328"/>
                  </a:lnTo>
                  <a:lnTo>
                    <a:pt x="39" y="358"/>
                  </a:lnTo>
                  <a:lnTo>
                    <a:pt x="44" y="387"/>
                  </a:lnTo>
                  <a:lnTo>
                    <a:pt x="51" y="415"/>
                  </a:lnTo>
                  <a:lnTo>
                    <a:pt x="60" y="442"/>
                  </a:lnTo>
                  <a:lnTo>
                    <a:pt x="72" y="467"/>
                  </a:lnTo>
                  <a:lnTo>
                    <a:pt x="87" y="492"/>
                  </a:lnTo>
                  <a:lnTo>
                    <a:pt x="105" y="513"/>
                  </a:lnTo>
                  <a:lnTo>
                    <a:pt x="123" y="535"/>
                  </a:lnTo>
                  <a:lnTo>
                    <a:pt x="144" y="553"/>
                  </a:lnTo>
                  <a:lnTo>
                    <a:pt x="166" y="569"/>
                  </a:lnTo>
                  <a:lnTo>
                    <a:pt x="191" y="584"/>
                  </a:lnTo>
                  <a:lnTo>
                    <a:pt x="216" y="596"/>
                  </a:lnTo>
                  <a:lnTo>
                    <a:pt x="243" y="606"/>
                  </a:lnTo>
                  <a:lnTo>
                    <a:pt x="270" y="614"/>
                  </a:lnTo>
                  <a:lnTo>
                    <a:pt x="299" y="618"/>
                  </a:lnTo>
                  <a:lnTo>
                    <a:pt x="329" y="619"/>
                  </a:lnTo>
                  <a:lnTo>
                    <a:pt x="329" y="619"/>
                  </a:lnTo>
                  <a:lnTo>
                    <a:pt x="359" y="618"/>
                  </a:lnTo>
                  <a:lnTo>
                    <a:pt x="388" y="614"/>
                  </a:lnTo>
                  <a:lnTo>
                    <a:pt x="415" y="606"/>
                  </a:lnTo>
                  <a:lnTo>
                    <a:pt x="442" y="596"/>
                  </a:lnTo>
                  <a:lnTo>
                    <a:pt x="467" y="584"/>
                  </a:lnTo>
                  <a:lnTo>
                    <a:pt x="492" y="569"/>
                  </a:lnTo>
                  <a:lnTo>
                    <a:pt x="515" y="553"/>
                  </a:lnTo>
                  <a:lnTo>
                    <a:pt x="535" y="535"/>
                  </a:lnTo>
                  <a:lnTo>
                    <a:pt x="554" y="513"/>
                  </a:lnTo>
                  <a:lnTo>
                    <a:pt x="571" y="492"/>
                  </a:lnTo>
                  <a:lnTo>
                    <a:pt x="586" y="467"/>
                  </a:lnTo>
                  <a:lnTo>
                    <a:pt x="598" y="442"/>
                  </a:lnTo>
                  <a:lnTo>
                    <a:pt x="607" y="415"/>
                  </a:lnTo>
                  <a:lnTo>
                    <a:pt x="614" y="387"/>
                  </a:lnTo>
                  <a:lnTo>
                    <a:pt x="619" y="358"/>
                  </a:lnTo>
                  <a:lnTo>
                    <a:pt x="621" y="328"/>
                  </a:lnTo>
                  <a:lnTo>
                    <a:pt x="621" y="328"/>
                  </a:lnTo>
                  <a:lnTo>
                    <a:pt x="619" y="298"/>
                  </a:lnTo>
                  <a:lnTo>
                    <a:pt x="614" y="270"/>
                  </a:lnTo>
                  <a:lnTo>
                    <a:pt x="607" y="242"/>
                  </a:lnTo>
                  <a:lnTo>
                    <a:pt x="598" y="215"/>
                  </a:lnTo>
                  <a:lnTo>
                    <a:pt x="586" y="189"/>
                  </a:lnTo>
                  <a:lnTo>
                    <a:pt x="571" y="165"/>
                  </a:lnTo>
                  <a:lnTo>
                    <a:pt x="554" y="143"/>
                  </a:lnTo>
                  <a:lnTo>
                    <a:pt x="535" y="122"/>
                  </a:lnTo>
                  <a:lnTo>
                    <a:pt x="515" y="103"/>
                  </a:lnTo>
                  <a:lnTo>
                    <a:pt x="492" y="87"/>
                  </a:lnTo>
                  <a:lnTo>
                    <a:pt x="467" y="72"/>
                  </a:lnTo>
                  <a:lnTo>
                    <a:pt x="442" y="60"/>
                  </a:lnTo>
                  <a:lnTo>
                    <a:pt x="415" y="49"/>
                  </a:lnTo>
                  <a:lnTo>
                    <a:pt x="388" y="43"/>
                  </a:lnTo>
                  <a:lnTo>
                    <a:pt x="359"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5" name="Freeform 206">
              <a:extLst>
                <a:ext uri="{FF2B5EF4-FFF2-40B4-BE49-F238E27FC236}">
                  <a16:creationId xmlns:a16="http://schemas.microsoft.com/office/drawing/2014/main" id="{AF25B85F-D751-4223-AE8E-4F2365E5F0F2}"/>
                </a:ext>
              </a:extLst>
            </p:cNvPr>
            <p:cNvSpPr>
              <a:spLocks/>
            </p:cNvSpPr>
            <p:nvPr/>
          </p:nvSpPr>
          <p:spPr bwMode="auto">
            <a:xfrm>
              <a:off x="1687513" y="5183823"/>
              <a:ext cx="138113" cy="14288"/>
            </a:xfrm>
            <a:custGeom>
              <a:avLst/>
              <a:gdLst>
                <a:gd name="T0" fmla="*/ 164 w 173"/>
                <a:gd name="T1" fmla="*/ 19 h 19"/>
                <a:gd name="T2" fmla="*/ 164 w 173"/>
                <a:gd name="T3" fmla="*/ 19 h 19"/>
                <a:gd name="T4" fmla="*/ 168 w 173"/>
                <a:gd name="T5" fmla="*/ 18 h 19"/>
                <a:gd name="T6" fmla="*/ 170 w 173"/>
                <a:gd name="T7" fmla="*/ 16 h 19"/>
                <a:gd name="T8" fmla="*/ 172 w 173"/>
                <a:gd name="T9" fmla="*/ 12 h 19"/>
                <a:gd name="T10" fmla="*/ 173 w 173"/>
                <a:gd name="T11" fmla="*/ 10 h 19"/>
                <a:gd name="T12" fmla="*/ 173 w 173"/>
                <a:gd name="T13" fmla="*/ 10 h 19"/>
                <a:gd name="T14" fmla="*/ 172 w 173"/>
                <a:gd name="T15" fmla="*/ 6 h 19"/>
                <a:gd name="T16" fmla="*/ 170 w 173"/>
                <a:gd name="T17" fmla="*/ 3 h 19"/>
                <a:gd name="T18" fmla="*/ 168 w 173"/>
                <a:gd name="T19" fmla="*/ 0 h 19"/>
                <a:gd name="T20" fmla="*/ 164 w 173"/>
                <a:gd name="T21" fmla="*/ 0 h 19"/>
                <a:gd name="T22" fmla="*/ 0 w 173"/>
                <a:gd name="T23" fmla="*/ 0 h 19"/>
                <a:gd name="T24" fmla="*/ 0 w 173"/>
                <a:gd name="T25" fmla="*/ 19 h 19"/>
                <a:gd name="T26" fmla="*/ 164 w 173"/>
                <a:gd name="T2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3" h="19">
                  <a:moveTo>
                    <a:pt x="164" y="19"/>
                  </a:moveTo>
                  <a:lnTo>
                    <a:pt x="164" y="19"/>
                  </a:lnTo>
                  <a:lnTo>
                    <a:pt x="168" y="18"/>
                  </a:lnTo>
                  <a:lnTo>
                    <a:pt x="170" y="16"/>
                  </a:lnTo>
                  <a:lnTo>
                    <a:pt x="172" y="12"/>
                  </a:lnTo>
                  <a:lnTo>
                    <a:pt x="173" y="10"/>
                  </a:lnTo>
                  <a:lnTo>
                    <a:pt x="173" y="10"/>
                  </a:lnTo>
                  <a:lnTo>
                    <a:pt x="172" y="6"/>
                  </a:lnTo>
                  <a:lnTo>
                    <a:pt x="170" y="3"/>
                  </a:lnTo>
                  <a:lnTo>
                    <a:pt x="168" y="0"/>
                  </a:lnTo>
                  <a:lnTo>
                    <a:pt x="164" y="0"/>
                  </a:lnTo>
                  <a:lnTo>
                    <a:pt x="0" y="0"/>
                  </a:lnTo>
                  <a:lnTo>
                    <a:pt x="0" y="19"/>
                  </a:lnTo>
                  <a:lnTo>
                    <a:pt x="164"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6" name="Freeform 207">
              <a:extLst>
                <a:ext uri="{FF2B5EF4-FFF2-40B4-BE49-F238E27FC236}">
                  <a16:creationId xmlns:a16="http://schemas.microsoft.com/office/drawing/2014/main" id="{CB3EDB7B-BF99-4A84-A1A9-1952FBE809C9}"/>
                </a:ext>
              </a:extLst>
            </p:cNvPr>
            <p:cNvSpPr>
              <a:spLocks/>
            </p:cNvSpPr>
            <p:nvPr/>
          </p:nvSpPr>
          <p:spPr bwMode="auto">
            <a:xfrm>
              <a:off x="1563688" y="5153660"/>
              <a:ext cx="111125" cy="73025"/>
            </a:xfrm>
            <a:custGeom>
              <a:avLst/>
              <a:gdLst>
                <a:gd name="T0" fmla="*/ 138 w 138"/>
                <a:gd name="T1" fmla="*/ 88 h 92"/>
                <a:gd name="T2" fmla="*/ 138 w 138"/>
                <a:gd name="T3" fmla="*/ 5 h 92"/>
                <a:gd name="T4" fmla="*/ 138 w 138"/>
                <a:gd name="T5" fmla="*/ 5 h 92"/>
                <a:gd name="T6" fmla="*/ 138 w 138"/>
                <a:gd name="T7" fmla="*/ 2 h 92"/>
                <a:gd name="T8" fmla="*/ 137 w 138"/>
                <a:gd name="T9" fmla="*/ 1 h 92"/>
                <a:gd name="T10" fmla="*/ 135 w 138"/>
                <a:gd name="T11" fmla="*/ 0 h 92"/>
                <a:gd name="T12" fmla="*/ 133 w 138"/>
                <a:gd name="T13" fmla="*/ 0 h 92"/>
                <a:gd name="T14" fmla="*/ 82 w 138"/>
                <a:gd name="T15" fmla="*/ 0 h 92"/>
                <a:gd name="T16" fmla="*/ 82 w 138"/>
                <a:gd name="T17" fmla="*/ 0 h 92"/>
                <a:gd name="T18" fmla="*/ 79 w 138"/>
                <a:gd name="T19" fmla="*/ 0 h 92"/>
                <a:gd name="T20" fmla="*/ 78 w 138"/>
                <a:gd name="T21" fmla="*/ 1 h 92"/>
                <a:gd name="T22" fmla="*/ 76 w 138"/>
                <a:gd name="T23" fmla="*/ 2 h 92"/>
                <a:gd name="T24" fmla="*/ 76 w 138"/>
                <a:gd name="T25" fmla="*/ 5 h 92"/>
                <a:gd name="T26" fmla="*/ 76 w 138"/>
                <a:gd name="T27" fmla="*/ 37 h 92"/>
                <a:gd name="T28" fmla="*/ 9 w 138"/>
                <a:gd name="T29" fmla="*/ 37 h 92"/>
                <a:gd name="T30" fmla="*/ 9 w 138"/>
                <a:gd name="T31" fmla="*/ 37 h 92"/>
                <a:gd name="T32" fmla="*/ 5 w 138"/>
                <a:gd name="T33" fmla="*/ 37 h 92"/>
                <a:gd name="T34" fmla="*/ 2 w 138"/>
                <a:gd name="T35" fmla="*/ 40 h 92"/>
                <a:gd name="T36" fmla="*/ 1 w 138"/>
                <a:gd name="T37" fmla="*/ 43 h 92"/>
                <a:gd name="T38" fmla="*/ 0 w 138"/>
                <a:gd name="T39" fmla="*/ 47 h 92"/>
                <a:gd name="T40" fmla="*/ 0 w 138"/>
                <a:gd name="T41" fmla="*/ 47 h 92"/>
                <a:gd name="T42" fmla="*/ 1 w 138"/>
                <a:gd name="T43" fmla="*/ 49 h 92"/>
                <a:gd name="T44" fmla="*/ 2 w 138"/>
                <a:gd name="T45" fmla="*/ 53 h 92"/>
                <a:gd name="T46" fmla="*/ 5 w 138"/>
                <a:gd name="T47" fmla="*/ 55 h 92"/>
                <a:gd name="T48" fmla="*/ 9 w 138"/>
                <a:gd name="T49" fmla="*/ 56 h 92"/>
                <a:gd name="T50" fmla="*/ 76 w 138"/>
                <a:gd name="T51" fmla="*/ 56 h 92"/>
                <a:gd name="T52" fmla="*/ 76 w 138"/>
                <a:gd name="T53" fmla="*/ 88 h 92"/>
                <a:gd name="T54" fmla="*/ 76 w 138"/>
                <a:gd name="T55" fmla="*/ 88 h 92"/>
                <a:gd name="T56" fmla="*/ 76 w 138"/>
                <a:gd name="T57" fmla="*/ 90 h 92"/>
                <a:gd name="T58" fmla="*/ 78 w 138"/>
                <a:gd name="T59" fmla="*/ 91 h 92"/>
                <a:gd name="T60" fmla="*/ 79 w 138"/>
                <a:gd name="T61" fmla="*/ 92 h 92"/>
                <a:gd name="T62" fmla="*/ 82 w 138"/>
                <a:gd name="T63" fmla="*/ 92 h 92"/>
                <a:gd name="T64" fmla="*/ 133 w 138"/>
                <a:gd name="T65" fmla="*/ 92 h 92"/>
                <a:gd name="T66" fmla="*/ 133 w 138"/>
                <a:gd name="T67" fmla="*/ 92 h 92"/>
                <a:gd name="T68" fmla="*/ 135 w 138"/>
                <a:gd name="T69" fmla="*/ 92 h 92"/>
                <a:gd name="T70" fmla="*/ 137 w 138"/>
                <a:gd name="T71" fmla="*/ 91 h 92"/>
                <a:gd name="T72" fmla="*/ 138 w 138"/>
                <a:gd name="T73" fmla="*/ 90 h 92"/>
                <a:gd name="T74" fmla="*/ 138 w 138"/>
                <a:gd name="T75" fmla="*/ 88 h 92"/>
                <a:gd name="T76" fmla="*/ 138 w 138"/>
                <a:gd name="T77" fmla="*/ 8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2">
                  <a:moveTo>
                    <a:pt x="138" y="88"/>
                  </a:moveTo>
                  <a:lnTo>
                    <a:pt x="138" y="5"/>
                  </a:lnTo>
                  <a:lnTo>
                    <a:pt x="138" y="5"/>
                  </a:lnTo>
                  <a:lnTo>
                    <a:pt x="138" y="2"/>
                  </a:lnTo>
                  <a:lnTo>
                    <a:pt x="137" y="1"/>
                  </a:lnTo>
                  <a:lnTo>
                    <a:pt x="135" y="0"/>
                  </a:lnTo>
                  <a:lnTo>
                    <a:pt x="133" y="0"/>
                  </a:lnTo>
                  <a:lnTo>
                    <a:pt x="82" y="0"/>
                  </a:lnTo>
                  <a:lnTo>
                    <a:pt x="82" y="0"/>
                  </a:lnTo>
                  <a:lnTo>
                    <a:pt x="79" y="0"/>
                  </a:lnTo>
                  <a:lnTo>
                    <a:pt x="78" y="1"/>
                  </a:lnTo>
                  <a:lnTo>
                    <a:pt x="76" y="2"/>
                  </a:lnTo>
                  <a:lnTo>
                    <a:pt x="76" y="5"/>
                  </a:lnTo>
                  <a:lnTo>
                    <a:pt x="76" y="37"/>
                  </a:lnTo>
                  <a:lnTo>
                    <a:pt x="9" y="37"/>
                  </a:lnTo>
                  <a:lnTo>
                    <a:pt x="9" y="37"/>
                  </a:lnTo>
                  <a:lnTo>
                    <a:pt x="5" y="37"/>
                  </a:lnTo>
                  <a:lnTo>
                    <a:pt x="2" y="40"/>
                  </a:lnTo>
                  <a:lnTo>
                    <a:pt x="1" y="43"/>
                  </a:lnTo>
                  <a:lnTo>
                    <a:pt x="0" y="47"/>
                  </a:lnTo>
                  <a:lnTo>
                    <a:pt x="0" y="47"/>
                  </a:lnTo>
                  <a:lnTo>
                    <a:pt x="1" y="49"/>
                  </a:lnTo>
                  <a:lnTo>
                    <a:pt x="2" y="53"/>
                  </a:lnTo>
                  <a:lnTo>
                    <a:pt x="5" y="55"/>
                  </a:lnTo>
                  <a:lnTo>
                    <a:pt x="9" y="56"/>
                  </a:lnTo>
                  <a:lnTo>
                    <a:pt x="76" y="56"/>
                  </a:lnTo>
                  <a:lnTo>
                    <a:pt x="76" y="88"/>
                  </a:lnTo>
                  <a:lnTo>
                    <a:pt x="76" y="88"/>
                  </a:lnTo>
                  <a:lnTo>
                    <a:pt x="76" y="90"/>
                  </a:lnTo>
                  <a:lnTo>
                    <a:pt x="78" y="91"/>
                  </a:lnTo>
                  <a:lnTo>
                    <a:pt x="79" y="92"/>
                  </a:lnTo>
                  <a:lnTo>
                    <a:pt x="82" y="92"/>
                  </a:lnTo>
                  <a:lnTo>
                    <a:pt x="133" y="92"/>
                  </a:lnTo>
                  <a:lnTo>
                    <a:pt x="133" y="92"/>
                  </a:lnTo>
                  <a:lnTo>
                    <a:pt x="135" y="92"/>
                  </a:lnTo>
                  <a:lnTo>
                    <a:pt x="137" y="91"/>
                  </a:lnTo>
                  <a:lnTo>
                    <a:pt x="138" y="90"/>
                  </a:lnTo>
                  <a:lnTo>
                    <a:pt x="138" y="88"/>
                  </a:lnTo>
                  <a:lnTo>
                    <a:pt x="138"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7" name="Freeform 208">
              <a:extLst>
                <a:ext uri="{FF2B5EF4-FFF2-40B4-BE49-F238E27FC236}">
                  <a16:creationId xmlns:a16="http://schemas.microsoft.com/office/drawing/2014/main" id="{0B35F00A-938B-4D31-8E52-D5024662395E}"/>
                </a:ext>
              </a:extLst>
            </p:cNvPr>
            <p:cNvSpPr>
              <a:spLocks/>
            </p:cNvSpPr>
            <p:nvPr/>
          </p:nvSpPr>
          <p:spPr bwMode="auto">
            <a:xfrm>
              <a:off x="1687513" y="5363210"/>
              <a:ext cx="138113" cy="15875"/>
            </a:xfrm>
            <a:custGeom>
              <a:avLst/>
              <a:gdLst>
                <a:gd name="T0" fmla="*/ 164 w 173"/>
                <a:gd name="T1" fmla="*/ 19 h 19"/>
                <a:gd name="T2" fmla="*/ 164 w 173"/>
                <a:gd name="T3" fmla="*/ 19 h 19"/>
                <a:gd name="T4" fmla="*/ 168 w 173"/>
                <a:gd name="T5" fmla="*/ 19 h 19"/>
                <a:gd name="T6" fmla="*/ 170 w 173"/>
                <a:gd name="T7" fmla="*/ 17 h 19"/>
                <a:gd name="T8" fmla="*/ 172 w 173"/>
                <a:gd name="T9" fmla="*/ 14 h 19"/>
                <a:gd name="T10" fmla="*/ 173 w 173"/>
                <a:gd name="T11" fmla="*/ 10 h 19"/>
                <a:gd name="T12" fmla="*/ 173 w 173"/>
                <a:gd name="T13" fmla="*/ 10 h 19"/>
                <a:gd name="T14" fmla="*/ 172 w 173"/>
                <a:gd name="T15" fmla="*/ 7 h 19"/>
                <a:gd name="T16" fmla="*/ 170 w 173"/>
                <a:gd name="T17" fmla="*/ 3 h 19"/>
                <a:gd name="T18" fmla="*/ 168 w 173"/>
                <a:gd name="T19" fmla="*/ 2 h 19"/>
                <a:gd name="T20" fmla="*/ 164 w 173"/>
                <a:gd name="T21" fmla="*/ 0 h 19"/>
                <a:gd name="T22" fmla="*/ 0 w 173"/>
                <a:gd name="T23" fmla="*/ 0 h 19"/>
                <a:gd name="T24" fmla="*/ 0 w 173"/>
                <a:gd name="T25" fmla="*/ 19 h 19"/>
                <a:gd name="T26" fmla="*/ 164 w 173"/>
                <a:gd name="T2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3" h="19">
                  <a:moveTo>
                    <a:pt x="164" y="19"/>
                  </a:moveTo>
                  <a:lnTo>
                    <a:pt x="164" y="19"/>
                  </a:lnTo>
                  <a:lnTo>
                    <a:pt x="168" y="19"/>
                  </a:lnTo>
                  <a:lnTo>
                    <a:pt x="170" y="17"/>
                  </a:lnTo>
                  <a:lnTo>
                    <a:pt x="172" y="14"/>
                  </a:lnTo>
                  <a:lnTo>
                    <a:pt x="173" y="10"/>
                  </a:lnTo>
                  <a:lnTo>
                    <a:pt x="173" y="10"/>
                  </a:lnTo>
                  <a:lnTo>
                    <a:pt x="172" y="7"/>
                  </a:lnTo>
                  <a:lnTo>
                    <a:pt x="170" y="3"/>
                  </a:lnTo>
                  <a:lnTo>
                    <a:pt x="168" y="2"/>
                  </a:lnTo>
                  <a:lnTo>
                    <a:pt x="164" y="0"/>
                  </a:lnTo>
                  <a:lnTo>
                    <a:pt x="0" y="0"/>
                  </a:lnTo>
                  <a:lnTo>
                    <a:pt x="0" y="19"/>
                  </a:lnTo>
                  <a:lnTo>
                    <a:pt x="164"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8" name="Freeform 209">
              <a:extLst>
                <a:ext uri="{FF2B5EF4-FFF2-40B4-BE49-F238E27FC236}">
                  <a16:creationId xmlns:a16="http://schemas.microsoft.com/office/drawing/2014/main" id="{599827EE-4D8A-4222-9AD5-95444BB7CF35}"/>
                </a:ext>
              </a:extLst>
            </p:cNvPr>
            <p:cNvSpPr>
              <a:spLocks/>
            </p:cNvSpPr>
            <p:nvPr/>
          </p:nvSpPr>
          <p:spPr bwMode="auto">
            <a:xfrm>
              <a:off x="1563688" y="5334635"/>
              <a:ext cx="111125" cy="73025"/>
            </a:xfrm>
            <a:custGeom>
              <a:avLst/>
              <a:gdLst>
                <a:gd name="T0" fmla="*/ 138 w 138"/>
                <a:gd name="T1" fmla="*/ 87 h 93"/>
                <a:gd name="T2" fmla="*/ 138 w 138"/>
                <a:gd name="T3" fmla="*/ 4 h 93"/>
                <a:gd name="T4" fmla="*/ 138 w 138"/>
                <a:gd name="T5" fmla="*/ 4 h 93"/>
                <a:gd name="T6" fmla="*/ 138 w 138"/>
                <a:gd name="T7" fmla="*/ 3 h 93"/>
                <a:gd name="T8" fmla="*/ 137 w 138"/>
                <a:gd name="T9" fmla="*/ 1 h 93"/>
                <a:gd name="T10" fmla="*/ 135 w 138"/>
                <a:gd name="T11" fmla="*/ 0 h 93"/>
                <a:gd name="T12" fmla="*/ 133 w 138"/>
                <a:gd name="T13" fmla="*/ 0 h 93"/>
                <a:gd name="T14" fmla="*/ 82 w 138"/>
                <a:gd name="T15" fmla="*/ 0 h 93"/>
                <a:gd name="T16" fmla="*/ 82 w 138"/>
                <a:gd name="T17" fmla="*/ 0 h 93"/>
                <a:gd name="T18" fmla="*/ 79 w 138"/>
                <a:gd name="T19" fmla="*/ 0 h 93"/>
                <a:gd name="T20" fmla="*/ 78 w 138"/>
                <a:gd name="T21" fmla="*/ 1 h 93"/>
                <a:gd name="T22" fmla="*/ 76 w 138"/>
                <a:gd name="T23" fmla="*/ 3 h 93"/>
                <a:gd name="T24" fmla="*/ 76 w 138"/>
                <a:gd name="T25" fmla="*/ 4 h 93"/>
                <a:gd name="T26" fmla="*/ 76 w 138"/>
                <a:gd name="T27" fmla="*/ 36 h 93"/>
                <a:gd name="T28" fmla="*/ 9 w 138"/>
                <a:gd name="T29" fmla="*/ 36 h 93"/>
                <a:gd name="T30" fmla="*/ 9 w 138"/>
                <a:gd name="T31" fmla="*/ 36 h 93"/>
                <a:gd name="T32" fmla="*/ 5 w 138"/>
                <a:gd name="T33" fmla="*/ 38 h 93"/>
                <a:gd name="T34" fmla="*/ 2 w 138"/>
                <a:gd name="T35" fmla="*/ 39 h 93"/>
                <a:gd name="T36" fmla="*/ 1 w 138"/>
                <a:gd name="T37" fmla="*/ 43 h 93"/>
                <a:gd name="T38" fmla="*/ 0 w 138"/>
                <a:gd name="T39" fmla="*/ 46 h 93"/>
                <a:gd name="T40" fmla="*/ 0 w 138"/>
                <a:gd name="T41" fmla="*/ 46 h 93"/>
                <a:gd name="T42" fmla="*/ 1 w 138"/>
                <a:gd name="T43" fmla="*/ 50 h 93"/>
                <a:gd name="T44" fmla="*/ 2 w 138"/>
                <a:gd name="T45" fmla="*/ 53 h 93"/>
                <a:gd name="T46" fmla="*/ 5 w 138"/>
                <a:gd name="T47" fmla="*/ 55 h 93"/>
                <a:gd name="T48" fmla="*/ 9 w 138"/>
                <a:gd name="T49" fmla="*/ 55 h 93"/>
                <a:gd name="T50" fmla="*/ 76 w 138"/>
                <a:gd name="T51" fmla="*/ 55 h 93"/>
                <a:gd name="T52" fmla="*/ 76 w 138"/>
                <a:gd name="T53" fmla="*/ 87 h 93"/>
                <a:gd name="T54" fmla="*/ 76 w 138"/>
                <a:gd name="T55" fmla="*/ 87 h 93"/>
                <a:gd name="T56" fmla="*/ 76 w 138"/>
                <a:gd name="T57" fmla="*/ 89 h 93"/>
                <a:gd name="T58" fmla="*/ 78 w 138"/>
                <a:gd name="T59" fmla="*/ 92 h 93"/>
                <a:gd name="T60" fmla="*/ 79 w 138"/>
                <a:gd name="T61" fmla="*/ 93 h 93"/>
                <a:gd name="T62" fmla="*/ 82 w 138"/>
                <a:gd name="T63" fmla="*/ 93 h 93"/>
                <a:gd name="T64" fmla="*/ 133 w 138"/>
                <a:gd name="T65" fmla="*/ 93 h 93"/>
                <a:gd name="T66" fmla="*/ 133 w 138"/>
                <a:gd name="T67" fmla="*/ 93 h 93"/>
                <a:gd name="T68" fmla="*/ 135 w 138"/>
                <a:gd name="T69" fmla="*/ 93 h 93"/>
                <a:gd name="T70" fmla="*/ 137 w 138"/>
                <a:gd name="T71" fmla="*/ 92 h 93"/>
                <a:gd name="T72" fmla="*/ 138 w 138"/>
                <a:gd name="T73" fmla="*/ 89 h 93"/>
                <a:gd name="T74" fmla="*/ 138 w 138"/>
                <a:gd name="T75" fmla="*/ 87 h 93"/>
                <a:gd name="T76" fmla="*/ 138 w 138"/>
                <a:gd name="T77" fmla="*/ 8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3">
                  <a:moveTo>
                    <a:pt x="138" y="87"/>
                  </a:moveTo>
                  <a:lnTo>
                    <a:pt x="138" y="4"/>
                  </a:lnTo>
                  <a:lnTo>
                    <a:pt x="138" y="4"/>
                  </a:lnTo>
                  <a:lnTo>
                    <a:pt x="138" y="3"/>
                  </a:lnTo>
                  <a:lnTo>
                    <a:pt x="137" y="1"/>
                  </a:lnTo>
                  <a:lnTo>
                    <a:pt x="135" y="0"/>
                  </a:lnTo>
                  <a:lnTo>
                    <a:pt x="133" y="0"/>
                  </a:lnTo>
                  <a:lnTo>
                    <a:pt x="82" y="0"/>
                  </a:lnTo>
                  <a:lnTo>
                    <a:pt x="82" y="0"/>
                  </a:lnTo>
                  <a:lnTo>
                    <a:pt x="79" y="0"/>
                  </a:lnTo>
                  <a:lnTo>
                    <a:pt x="78" y="1"/>
                  </a:lnTo>
                  <a:lnTo>
                    <a:pt x="76" y="3"/>
                  </a:lnTo>
                  <a:lnTo>
                    <a:pt x="76" y="4"/>
                  </a:lnTo>
                  <a:lnTo>
                    <a:pt x="76" y="36"/>
                  </a:lnTo>
                  <a:lnTo>
                    <a:pt x="9" y="36"/>
                  </a:lnTo>
                  <a:lnTo>
                    <a:pt x="9" y="36"/>
                  </a:lnTo>
                  <a:lnTo>
                    <a:pt x="5" y="38"/>
                  </a:lnTo>
                  <a:lnTo>
                    <a:pt x="2" y="39"/>
                  </a:lnTo>
                  <a:lnTo>
                    <a:pt x="1" y="43"/>
                  </a:lnTo>
                  <a:lnTo>
                    <a:pt x="0" y="46"/>
                  </a:lnTo>
                  <a:lnTo>
                    <a:pt x="0" y="46"/>
                  </a:lnTo>
                  <a:lnTo>
                    <a:pt x="1" y="50"/>
                  </a:lnTo>
                  <a:lnTo>
                    <a:pt x="2" y="53"/>
                  </a:lnTo>
                  <a:lnTo>
                    <a:pt x="5" y="55"/>
                  </a:lnTo>
                  <a:lnTo>
                    <a:pt x="9" y="55"/>
                  </a:lnTo>
                  <a:lnTo>
                    <a:pt x="76" y="55"/>
                  </a:lnTo>
                  <a:lnTo>
                    <a:pt x="76" y="87"/>
                  </a:lnTo>
                  <a:lnTo>
                    <a:pt x="76" y="87"/>
                  </a:lnTo>
                  <a:lnTo>
                    <a:pt x="76" y="89"/>
                  </a:lnTo>
                  <a:lnTo>
                    <a:pt x="78" y="92"/>
                  </a:lnTo>
                  <a:lnTo>
                    <a:pt x="79" y="93"/>
                  </a:lnTo>
                  <a:lnTo>
                    <a:pt x="82" y="93"/>
                  </a:lnTo>
                  <a:lnTo>
                    <a:pt x="133" y="93"/>
                  </a:lnTo>
                  <a:lnTo>
                    <a:pt x="133" y="93"/>
                  </a:lnTo>
                  <a:lnTo>
                    <a:pt x="135" y="93"/>
                  </a:lnTo>
                  <a:lnTo>
                    <a:pt x="137" y="92"/>
                  </a:lnTo>
                  <a:lnTo>
                    <a:pt x="138" y="89"/>
                  </a:lnTo>
                  <a:lnTo>
                    <a:pt x="138" y="87"/>
                  </a:lnTo>
                  <a:lnTo>
                    <a:pt x="138" y="8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9" name="Freeform 210">
              <a:extLst>
                <a:ext uri="{FF2B5EF4-FFF2-40B4-BE49-F238E27FC236}">
                  <a16:creationId xmlns:a16="http://schemas.microsoft.com/office/drawing/2014/main" id="{C92BA612-9311-4FBE-AC73-0C3FFFAAD893}"/>
                </a:ext>
              </a:extLst>
            </p:cNvPr>
            <p:cNvSpPr>
              <a:spLocks/>
            </p:cNvSpPr>
            <p:nvPr/>
          </p:nvSpPr>
          <p:spPr bwMode="auto">
            <a:xfrm>
              <a:off x="1563688" y="5274310"/>
              <a:ext cx="138113" cy="12700"/>
            </a:xfrm>
            <a:custGeom>
              <a:avLst/>
              <a:gdLst>
                <a:gd name="T0" fmla="*/ 9 w 173"/>
                <a:gd name="T1" fmla="*/ 0 h 17"/>
                <a:gd name="T2" fmla="*/ 9 w 173"/>
                <a:gd name="T3" fmla="*/ 0 h 17"/>
                <a:gd name="T4" fmla="*/ 5 w 173"/>
                <a:gd name="T5" fmla="*/ 0 h 17"/>
                <a:gd name="T6" fmla="*/ 2 w 173"/>
                <a:gd name="T7" fmla="*/ 2 h 17"/>
                <a:gd name="T8" fmla="*/ 1 w 173"/>
                <a:gd name="T9" fmla="*/ 5 h 17"/>
                <a:gd name="T10" fmla="*/ 0 w 173"/>
                <a:gd name="T11" fmla="*/ 8 h 17"/>
                <a:gd name="T12" fmla="*/ 0 w 173"/>
                <a:gd name="T13" fmla="*/ 8 h 17"/>
                <a:gd name="T14" fmla="*/ 1 w 173"/>
                <a:gd name="T15" fmla="*/ 12 h 17"/>
                <a:gd name="T16" fmla="*/ 2 w 173"/>
                <a:gd name="T17" fmla="*/ 14 h 17"/>
                <a:gd name="T18" fmla="*/ 5 w 173"/>
                <a:gd name="T19" fmla="*/ 17 h 17"/>
                <a:gd name="T20" fmla="*/ 9 w 173"/>
                <a:gd name="T21" fmla="*/ 17 h 17"/>
                <a:gd name="T22" fmla="*/ 173 w 173"/>
                <a:gd name="T23" fmla="*/ 17 h 17"/>
                <a:gd name="T24" fmla="*/ 173 w 173"/>
                <a:gd name="T25" fmla="*/ 0 h 17"/>
                <a:gd name="T26" fmla="*/ 9 w 173"/>
                <a:gd name="T2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3" h="17">
                  <a:moveTo>
                    <a:pt x="9" y="0"/>
                  </a:moveTo>
                  <a:lnTo>
                    <a:pt x="9" y="0"/>
                  </a:lnTo>
                  <a:lnTo>
                    <a:pt x="5" y="0"/>
                  </a:lnTo>
                  <a:lnTo>
                    <a:pt x="2" y="2"/>
                  </a:lnTo>
                  <a:lnTo>
                    <a:pt x="1" y="5"/>
                  </a:lnTo>
                  <a:lnTo>
                    <a:pt x="0" y="8"/>
                  </a:lnTo>
                  <a:lnTo>
                    <a:pt x="0" y="8"/>
                  </a:lnTo>
                  <a:lnTo>
                    <a:pt x="1" y="12"/>
                  </a:lnTo>
                  <a:lnTo>
                    <a:pt x="2" y="14"/>
                  </a:lnTo>
                  <a:lnTo>
                    <a:pt x="5" y="17"/>
                  </a:lnTo>
                  <a:lnTo>
                    <a:pt x="9" y="17"/>
                  </a:lnTo>
                  <a:lnTo>
                    <a:pt x="173" y="17"/>
                  </a:lnTo>
                  <a:lnTo>
                    <a:pt x="173" y="0"/>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40" name="Freeform 211">
              <a:extLst>
                <a:ext uri="{FF2B5EF4-FFF2-40B4-BE49-F238E27FC236}">
                  <a16:creationId xmlns:a16="http://schemas.microsoft.com/office/drawing/2014/main" id="{21F6D4F2-C454-4C40-9E33-AA39CCAF7F3E}"/>
                </a:ext>
              </a:extLst>
            </p:cNvPr>
            <p:cNvSpPr>
              <a:spLocks/>
            </p:cNvSpPr>
            <p:nvPr/>
          </p:nvSpPr>
          <p:spPr bwMode="auto">
            <a:xfrm>
              <a:off x="1716088" y="5244148"/>
              <a:ext cx="109538" cy="73025"/>
            </a:xfrm>
            <a:custGeom>
              <a:avLst/>
              <a:gdLst>
                <a:gd name="T0" fmla="*/ 61 w 138"/>
                <a:gd name="T1" fmla="*/ 87 h 93"/>
                <a:gd name="T2" fmla="*/ 61 w 138"/>
                <a:gd name="T3" fmla="*/ 55 h 93"/>
                <a:gd name="T4" fmla="*/ 129 w 138"/>
                <a:gd name="T5" fmla="*/ 55 h 93"/>
                <a:gd name="T6" fmla="*/ 129 w 138"/>
                <a:gd name="T7" fmla="*/ 55 h 93"/>
                <a:gd name="T8" fmla="*/ 133 w 138"/>
                <a:gd name="T9" fmla="*/ 55 h 93"/>
                <a:gd name="T10" fmla="*/ 135 w 138"/>
                <a:gd name="T11" fmla="*/ 52 h 93"/>
                <a:gd name="T12" fmla="*/ 137 w 138"/>
                <a:gd name="T13" fmla="*/ 50 h 93"/>
                <a:gd name="T14" fmla="*/ 138 w 138"/>
                <a:gd name="T15" fmla="*/ 46 h 93"/>
                <a:gd name="T16" fmla="*/ 138 w 138"/>
                <a:gd name="T17" fmla="*/ 46 h 93"/>
                <a:gd name="T18" fmla="*/ 137 w 138"/>
                <a:gd name="T19" fmla="*/ 43 h 93"/>
                <a:gd name="T20" fmla="*/ 135 w 138"/>
                <a:gd name="T21" fmla="*/ 40 h 93"/>
                <a:gd name="T22" fmla="*/ 133 w 138"/>
                <a:gd name="T23" fmla="*/ 38 h 93"/>
                <a:gd name="T24" fmla="*/ 129 w 138"/>
                <a:gd name="T25" fmla="*/ 38 h 93"/>
                <a:gd name="T26" fmla="*/ 61 w 138"/>
                <a:gd name="T27" fmla="*/ 38 h 93"/>
                <a:gd name="T28" fmla="*/ 61 w 138"/>
                <a:gd name="T29" fmla="*/ 5 h 93"/>
                <a:gd name="T30" fmla="*/ 61 w 138"/>
                <a:gd name="T31" fmla="*/ 5 h 93"/>
                <a:gd name="T32" fmla="*/ 61 w 138"/>
                <a:gd name="T33" fmla="*/ 3 h 93"/>
                <a:gd name="T34" fmla="*/ 60 w 138"/>
                <a:gd name="T35" fmla="*/ 1 h 93"/>
                <a:gd name="T36" fmla="*/ 59 w 138"/>
                <a:gd name="T37" fmla="*/ 0 h 93"/>
                <a:gd name="T38" fmla="*/ 56 w 138"/>
                <a:gd name="T39" fmla="*/ 0 h 93"/>
                <a:gd name="T40" fmla="*/ 5 w 138"/>
                <a:gd name="T41" fmla="*/ 0 h 93"/>
                <a:gd name="T42" fmla="*/ 5 w 138"/>
                <a:gd name="T43" fmla="*/ 0 h 93"/>
                <a:gd name="T44" fmla="*/ 2 w 138"/>
                <a:gd name="T45" fmla="*/ 0 h 93"/>
                <a:gd name="T46" fmla="*/ 1 w 138"/>
                <a:gd name="T47" fmla="*/ 1 h 93"/>
                <a:gd name="T48" fmla="*/ 0 w 138"/>
                <a:gd name="T49" fmla="*/ 3 h 93"/>
                <a:gd name="T50" fmla="*/ 0 w 138"/>
                <a:gd name="T51" fmla="*/ 5 h 93"/>
                <a:gd name="T52" fmla="*/ 0 w 138"/>
                <a:gd name="T53" fmla="*/ 87 h 93"/>
                <a:gd name="T54" fmla="*/ 0 w 138"/>
                <a:gd name="T55" fmla="*/ 87 h 93"/>
                <a:gd name="T56" fmla="*/ 0 w 138"/>
                <a:gd name="T57" fmla="*/ 90 h 93"/>
                <a:gd name="T58" fmla="*/ 1 w 138"/>
                <a:gd name="T59" fmla="*/ 91 h 93"/>
                <a:gd name="T60" fmla="*/ 2 w 138"/>
                <a:gd name="T61" fmla="*/ 93 h 93"/>
                <a:gd name="T62" fmla="*/ 5 w 138"/>
                <a:gd name="T63" fmla="*/ 93 h 93"/>
                <a:gd name="T64" fmla="*/ 56 w 138"/>
                <a:gd name="T65" fmla="*/ 93 h 93"/>
                <a:gd name="T66" fmla="*/ 56 w 138"/>
                <a:gd name="T67" fmla="*/ 93 h 93"/>
                <a:gd name="T68" fmla="*/ 59 w 138"/>
                <a:gd name="T69" fmla="*/ 93 h 93"/>
                <a:gd name="T70" fmla="*/ 60 w 138"/>
                <a:gd name="T71" fmla="*/ 91 h 93"/>
                <a:gd name="T72" fmla="*/ 61 w 138"/>
                <a:gd name="T73" fmla="*/ 90 h 93"/>
                <a:gd name="T74" fmla="*/ 61 w 138"/>
                <a:gd name="T75" fmla="*/ 87 h 93"/>
                <a:gd name="T76" fmla="*/ 61 w 138"/>
                <a:gd name="T77" fmla="*/ 8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3">
                  <a:moveTo>
                    <a:pt x="61" y="87"/>
                  </a:moveTo>
                  <a:lnTo>
                    <a:pt x="61" y="55"/>
                  </a:lnTo>
                  <a:lnTo>
                    <a:pt x="129" y="55"/>
                  </a:lnTo>
                  <a:lnTo>
                    <a:pt x="129" y="55"/>
                  </a:lnTo>
                  <a:lnTo>
                    <a:pt x="133" y="55"/>
                  </a:lnTo>
                  <a:lnTo>
                    <a:pt x="135" y="52"/>
                  </a:lnTo>
                  <a:lnTo>
                    <a:pt x="137" y="50"/>
                  </a:lnTo>
                  <a:lnTo>
                    <a:pt x="138" y="46"/>
                  </a:lnTo>
                  <a:lnTo>
                    <a:pt x="138" y="46"/>
                  </a:lnTo>
                  <a:lnTo>
                    <a:pt x="137" y="43"/>
                  </a:lnTo>
                  <a:lnTo>
                    <a:pt x="135" y="40"/>
                  </a:lnTo>
                  <a:lnTo>
                    <a:pt x="133" y="38"/>
                  </a:lnTo>
                  <a:lnTo>
                    <a:pt x="129" y="38"/>
                  </a:lnTo>
                  <a:lnTo>
                    <a:pt x="61" y="38"/>
                  </a:lnTo>
                  <a:lnTo>
                    <a:pt x="61" y="5"/>
                  </a:lnTo>
                  <a:lnTo>
                    <a:pt x="61" y="5"/>
                  </a:lnTo>
                  <a:lnTo>
                    <a:pt x="61" y="3"/>
                  </a:lnTo>
                  <a:lnTo>
                    <a:pt x="60" y="1"/>
                  </a:lnTo>
                  <a:lnTo>
                    <a:pt x="59" y="0"/>
                  </a:lnTo>
                  <a:lnTo>
                    <a:pt x="56" y="0"/>
                  </a:lnTo>
                  <a:lnTo>
                    <a:pt x="5" y="0"/>
                  </a:lnTo>
                  <a:lnTo>
                    <a:pt x="5" y="0"/>
                  </a:lnTo>
                  <a:lnTo>
                    <a:pt x="2" y="0"/>
                  </a:lnTo>
                  <a:lnTo>
                    <a:pt x="1" y="1"/>
                  </a:lnTo>
                  <a:lnTo>
                    <a:pt x="0" y="3"/>
                  </a:lnTo>
                  <a:lnTo>
                    <a:pt x="0" y="5"/>
                  </a:lnTo>
                  <a:lnTo>
                    <a:pt x="0" y="87"/>
                  </a:lnTo>
                  <a:lnTo>
                    <a:pt x="0" y="87"/>
                  </a:lnTo>
                  <a:lnTo>
                    <a:pt x="0" y="90"/>
                  </a:lnTo>
                  <a:lnTo>
                    <a:pt x="1" y="91"/>
                  </a:lnTo>
                  <a:lnTo>
                    <a:pt x="2" y="93"/>
                  </a:lnTo>
                  <a:lnTo>
                    <a:pt x="5" y="93"/>
                  </a:lnTo>
                  <a:lnTo>
                    <a:pt x="56" y="93"/>
                  </a:lnTo>
                  <a:lnTo>
                    <a:pt x="56" y="93"/>
                  </a:lnTo>
                  <a:lnTo>
                    <a:pt x="59" y="93"/>
                  </a:lnTo>
                  <a:lnTo>
                    <a:pt x="60" y="91"/>
                  </a:lnTo>
                  <a:lnTo>
                    <a:pt x="61" y="90"/>
                  </a:lnTo>
                  <a:lnTo>
                    <a:pt x="61" y="87"/>
                  </a:lnTo>
                  <a:lnTo>
                    <a:pt x="61" y="8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41" name="Group 40">
            <a:extLst>
              <a:ext uri="{FF2B5EF4-FFF2-40B4-BE49-F238E27FC236}">
                <a16:creationId xmlns:a16="http://schemas.microsoft.com/office/drawing/2014/main" id="{A6B30779-CD02-409C-961D-095CDB06E7DB}"/>
              </a:ext>
            </a:extLst>
          </p:cNvPr>
          <p:cNvGrpSpPr/>
          <p:nvPr/>
        </p:nvGrpSpPr>
        <p:grpSpPr>
          <a:xfrm>
            <a:off x="1039462" y="2294795"/>
            <a:ext cx="3525140" cy="3525140"/>
            <a:chOff x="941724" y="2479025"/>
            <a:chExt cx="3249276" cy="3249277"/>
          </a:xfrm>
        </p:grpSpPr>
        <p:sp>
          <p:nvSpPr>
            <p:cNvPr id="42" name="object 2">
              <a:extLst>
                <a:ext uri="{FF2B5EF4-FFF2-40B4-BE49-F238E27FC236}">
                  <a16:creationId xmlns:a16="http://schemas.microsoft.com/office/drawing/2014/main" id="{A5D7C9E7-D78D-42BA-A22A-FAA60670F153}"/>
                </a:ext>
              </a:extLst>
            </p:cNvPr>
            <p:cNvSpPr/>
            <p:nvPr/>
          </p:nvSpPr>
          <p:spPr>
            <a:xfrm rot="18900000">
              <a:off x="941724" y="2479025"/>
              <a:ext cx="3249276" cy="3249277"/>
            </a:xfrm>
            <a:custGeom>
              <a:avLst/>
              <a:gdLst/>
              <a:ahLst/>
              <a:cxnLst/>
              <a:rect l="l" t="t" r="r" b="b"/>
              <a:pathLst>
                <a:path w="1756409" h="1756410">
                  <a:moveTo>
                    <a:pt x="1756410" y="878205"/>
                  </a:moveTo>
                  <a:lnTo>
                    <a:pt x="1753498" y="950230"/>
                  </a:lnTo>
                  <a:lnTo>
                    <a:pt x="1744915" y="1020652"/>
                  </a:lnTo>
                  <a:lnTo>
                    <a:pt x="1730887" y="1089245"/>
                  </a:lnTo>
                  <a:lnTo>
                    <a:pt x="1711639" y="1155783"/>
                  </a:lnTo>
                  <a:lnTo>
                    <a:pt x="1687397" y="1220039"/>
                  </a:lnTo>
                  <a:lnTo>
                    <a:pt x="1658387" y="1281788"/>
                  </a:lnTo>
                  <a:lnTo>
                    <a:pt x="1624836" y="1340803"/>
                  </a:lnTo>
                  <a:lnTo>
                    <a:pt x="1586969" y="1396858"/>
                  </a:lnTo>
                  <a:lnTo>
                    <a:pt x="1545012" y="1449728"/>
                  </a:lnTo>
                  <a:lnTo>
                    <a:pt x="1499192" y="1499187"/>
                  </a:lnTo>
                  <a:lnTo>
                    <a:pt x="1449734" y="1545008"/>
                  </a:lnTo>
                  <a:lnTo>
                    <a:pt x="1396864" y="1586965"/>
                  </a:lnTo>
                  <a:lnTo>
                    <a:pt x="1340808" y="1624833"/>
                  </a:lnTo>
                  <a:lnTo>
                    <a:pt x="1281793" y="1658385"/>
                  </a:lnTo>
                  <a:lnTo>
                    <a:pt x="1220044" y="1687395"/>
                  </a:lnTo>
                  <a:lnTo>
                    <a:pt x="1155788" y="1711637"/>
                  </a:lnTo>
                  <a:lnTo>
                    <a:pt x="1089249" y="1730886"/>
                  </a:lnTo>
                  <a:lnTo>
                    <a:pt x="1020655" y="1744915"/>
                  </a:lnTo>
                  <a:lnTo>
                    <a:pt x="950232" y="1753498"/>
                  </a:lnTo>
                  <a:lnTo>
                    <a:pt x="878205" y="1756410"/>
                  </a:lnTo>
                  <a:lnTo>
                    <a:pt x="806177" y="1753498"/>
                  </a:lnTo>
                  <a:lnTo>
                    <a:pt x="735754" y="1744915"/>
                  </a:lnTo>
                  <a:lnTo>
                    <a:pt x="667160" y="1730886"/>
                  </a:lnTo>
                  <a:lnTo>
                    <a:pt x="600621" y="1711637"/>
                  </a:lnTo>
                  <a:lnTo>
                    <a:pt x="536365" y="1687395"/>
                  </a:lnTo>
                  <a:lnTo>
                    <a:pt x="474616" y="1658385"/>
                  </a:lnTo>
                  <a:lnTo>
                    <a:pt x="415601" y="1624833"/>
                  </a:lnTo>
                  <a:lnTo>
                    <a:pt x="359545" y="1586965"/>
                  </a:lnTo>
                  <a:lnTo>
                    <a:pt x="306675" y="1545008"/>
                  </a:lnTo>
                  <a:lnTo>
                    <a:pt x="257217" y="1499187"/>
                  </a:lnTo>
                  <a:lnTo>
                    <a:pt x="211397" y="1449728"/>
                  </a:lnTo>
                  <a:lnTo>
                    <a:pt x="169440" y="1396858"/>
                  </a:lnTo>
                  <a:lnTo>
                    <a:pt x="131573" y="1340803"/>
                  </a:lnTo>
                  <a:lnTo>
                    <a:pt x="98022" y="1281788"/>
                  </a:lnTo>
                  <a:lnTo>
                    <a:pt x="69012" y="1220039"/>
                  </a:lnTo>
                  <a:lnTo>
                    <a:pt x="44770" y="1155783"/>
                  </a:lnTo>
                  <a:lnTo>
                    <a:pt x="25522" y="1089245"/>
                  </a:lnTo>
                  <a:lnTo>
                    <a:pt x="11494" y="1020652"/>
                  </a:lnTo>
                  <a:lnTo>
                    <a:pt x="2911" y="950230"/>
                  </a:lnTo>
                  <a:lnTo>
                    <a:pt x="0" y="878205"/>
                  </a:lnTo>
                  <a:lnTo>
                    <a:pt x="2911" y="806177"/>
                  </a:lnTo>
                  <a:lnTo>
                    <a:pt x="11494" y="735754"/>
                  </a:lnTo>
                  <a:lnTo>
                    <a:pt x="25522" y="667160"/>
                  </a:lnTo>
                  <a:lnTo>
                    <a:pt x="44770" y="600621"/>
                  </a:lnTo>
                  <a:lnTo>
                    <a:pt x="69012" y="536365"/>
                  </a:lnTo>
                  <a:lnTo>
                    <a:pt x="98022" y="474616"/>
                  </a:lnTo>
                  <a:lnTo>
                    <a:pt x="131573" y="415601"/>
                  </a:lnTo>
                  <a:lnTo>
                    <a:pt x="169440" y="359545"/>
                  </a:lnTo>
                  <a:lnTo>
                    <a:pt x="211397" y="306675"/>
                  </a:lnTo>
                  <a:lnTo>
                    <a:pt x="257217" y="257217"/>
                  </a:lnTo>
                  <a:lnTo>
                    <a:pt x="306675" y="211397"/>
                  </a:lnTo>
                  <a:lnTo>
                    <a:pt x="359545" y="169440"/>
                  </a:lnTo>
                  <a:lnTo>
                    <a:pt x="415601" y="131573"/>
                  </a:lnTo>
                  <a:lnTo>
                    <a:pt x="474616" y="98022"/>
                  </a:lnTo>
                  <a:lnTo>
                    <a:pt x="536365" y="69012"/>
                  </a:lnTo>
                  <a:lnTo>
                    <a:pt x="600621" y="44770"/>
                  </a:lnTo>
                  <a:lnTo>
                    <a:pt x="667160" y="25522"/>
                  </a:lnTo>
                  <a:lnTo>
                    <a:pt x="735754" y="11494"/>
                  </a:lnTo>
                  <a:lnTo>
                    <a:pt x="806177" y="2911"/>
                  </a:lnTo>
                  <a:lnTo>
                    <a:pt x="878205" y="0"/>
                  </a:lnTo>
                  <a:lnTo>
                    <a:pt x="950232" y="2911"/>
                  </a:lnTo>
                  <a:lnTo>
                    <a:pt x="1020655" y="11494"/>
                  </a:lnTo>
                  <a:lnTo>
                    <a:pt x="1089249" y="25522"/>
                  </a:lnTo>
                  <a:lnTo>
                    <a:pt x="1155788" y="44770"/>
                  </a:lnTo>
                  <a:lnTo>
                    <a:pt x="1220044" y="69012"/>
                  </a:lnTo>
                  <a:lnTo>
                    <a:pt x="1281793" y="98022"/>
                  </a:lnTo>
                  <a:lnTo>
                    <a:pt x="1340808" y="131573"/>
                  </a:lnTo>
                  <a:lnTo>
                    <a:pt x="1396864" y="169440"/>
                  </a:lnTo>
                  <a:lnTo>
                    <a:pt x="1449734" y="211397"/>
                  </a:lnTo>
                  <a:lnTo>
                    <a:pt x="1499192" y="257217"/>
                  </a:lnTo>
                  <a:lnTo>
                    <a:pt x="1545012" y="306675"/>
                  </a:lnTo>
                  <a:lnTo>
                    <a:pt x="1586969" y="359545"/>
                  </a:lnTo>
                  <a:lnTo>
                    <a:pt x="1624836" y="415601"/>
                  </a:lnTo>
                  <a:lnTo>
                    <a:pt x="1658387" y="474616"/>
                  </a:lnTo>
                  <a:lnTo>
                    <a:pt x="1687397" y="536365"/>
                  </a:lnTo>
                  <a:lnTo>
                    <a:pt x="1711639" y="600621"/>
                  </a:lnTo>
                  <a:lnTo>
                    <a:pt x="1730887" y="667160"/>
                  </a:lnTo>
                  <a:lnTo>
                    <a:pt x="1744915" y="735754"/>
                  </a:lnTo>
                  <a:lnTo>
                    <a:pt x="1753498" y="806177"/>
                  </a:lnTo>
                  <a:lnTo>
                    <a:pt x="1756410" y="878205"/>
                  </a:lnTo>
                  <a:close/>
                </a:path>
              </a:pathLst>
            </a:custGeom>
            <a:ln w="38100" cmpd="sng">
              <a:solidFill>
                <a:schemeClr val="accent4"/>
              </a:solid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999999"/>
                </a:solidFill>
                <a:effectLst/>
                <a:uLnTx/>
                <a:uFillTx/>
                <a:ea typeface="+mn-ea"/>
                <a:cs typeface="+mn-cs"/>
              </a:endParaRPr>
            </a:p>
          </p:txBody>
        </p:sp>
        <p:grpSp>
          <p:nvGrpSpPr>
            <p:cNvPr id="43" name="Group 42">
              <a:extLst>
                <a:ext uri="{FF2B5EF4-FFF2-40B4-BE49-F238E27FC236}">
                  <a16:creationId xmlns:a16="http://schemas.microsoft.com/office/drawing/2014/main" id="{ACBD7C8D-D953-4A86-BD21-26BADF58A784}"/>
                </a:ext>
              </a:extLst>
            </p:cNvPr>
            <p:cNvGrpSpPr/>
            <p:nvPr/>
          </p:nvGrpSpPr>
          <p:grpSpPr>
            <a:xfrm>
              <a:off x="1168400" y="2722247"/>
              <a:ext cx="2777820" cy="2677498"/>
              <a:chOff x="1168400" y="2722247"/>
              <a:chExt cx="2777820" cy="2677498"/>
            </a:xfrm>
          </p:grpSpPr>
          <p:cxnSp>
            <p:nvCxnSpPr>
              <p:cNvPr id="44" name="Straight Connector 43">
                <a:extLst>
                  <a:ext uri="{FF2B5EF4-FFF2-40B4-BE49-F238E27FC236}">
                    <a16:creationId xmlns:a16="http://schemas.microsoft.com/office/drawing/2014/main" id="{A81656FF-3A81-4575-8A2E-6AC8AA4A68C8}"/>
                  </a:ext>
                </a:extLst>
              </p:cNvPr>
              <p:cNvCxnSpPr/>
              <p:nvPr/>
            </p:nvCxnSpPr>
            <p:spPr>
              <a:xfrm>
                <a:off x="2566362" y="3032185"/>
                <a:ext cx="0" cy="629728"/>
              </a:xfrm>
              <a:prstGeom prst="line">
                <a:avLst/>
              </a:prstGeom>
              <a:ln w="25400"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24F95A1E-DC68-4D32-A7E9-458AA69FBDED}"/>
                  </a:ext>
                </a:extLst>
              </p:cNvPr>
              <p:cNvCxnSpPr/>
              <p:nvPr/>
            </p:nvCxnSpPr>
            <p:spPr>
              <a:xfrm flipH="1">
                <a:off x="2071195" y="4483100"/>
                <a:ext cx="291005" cy="526606"/>
              </a:xfrm>
              <a:prstGeom prst="line">
                <a:avLst/>
              </a:prstGeom>
              <a:ln w="25400"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B3FBBDE3-1A7D-4172-857D-F46C1060A08A}"/>
                  </a:ext>
                </a:extLst>
              </p:cNvPr>
              <p:cNvCxnSpPr>
                <a:stCxn id="76" idx="26"/>
              </p:cNvCxnSpPr>
              <p:nvPr/>
            </p:nvCxnSpPr>
            <p:spPr>
              <a:xfrm>
                <a:off x="1698894" y="3515030"/>
                <a:ext cx="495623" cy="360926"/>
              </a:xfrm>
              <a:prstGeom prst="line">
                <a:avLst/>
              </a:prstGeom>
              <a:ln w="25400"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64AB0026-257A-4F86-BF15-1E7BEAE5C240}"/>
                  </a:ext>
                </a:extLst>
              </p:cNvPr>
              <p:cNvCxnSpPr/>
              <p:nvPr/>
            </p:nvCxnSpPr>
            <p:spPr>
              <a:xfrm flipV="1">
                <a:off x="1493305" y="4225925"/>
                <a:ext cx="658368" cy="72102"/>
              </a:xfrm>
              <a:prstGeom prst="line">
                <a:avLst/>
              </a:prstGeom>
              <a:ln w="25400"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1857D9A-E8F4-4007-9010-0174EA1495DB}"/>
                  </a:ext>
                </a:extLst>
              </p:cNvPr>
              <p:cNvCxnSpPr/>
              <p:nvPr/>
            </p:nvCxnSpPr>
            <p:spPr>
              <a:xfrm flipH="1" flipV="1">
                <a:off x="2986467" y="4225925"/>
                <a:ext cx="640080" cy="72102"/>
              </a:xfrm>
              <a:prstGeom prst="line">
                <a:avLst/>
              </a:prstGeom>
              <a:ln w="25400"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AD712EEE-95D2-4BC9-B9A4-88B362A4FC85}"/>
                  </a:ext>
                </a:extLst>
              </p:cNvPr>
              <p:cNvCxnSpPr/>
              <p:nvPr/>
            </p:nvCxnSpPr>
            <p:spPr>
              <a:xfrm flipH="1">
                <a:off x="2946177" y="3515030"/>
                <a:ext cx="495623" cy="360926"/>
              </a:xfrm>
              <a:prstGeom prst="line">
                <a:avLst/>
              </a:prstGeom>
              <a:ln w="25400"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423393D-4998-4610-980F-74D1DFD38CC3}"/>
                  </a:ext>
                </a:extLst>
              </p:cNvPr>
              <p:cNvCxnSpPr/>
              <p:nvPr/>
            </p:nvCxnSpPr>
            <p:spPr>
              <a:xfrm>
                <a:off x="2786584" y="4483100"/>
                <a:ext cx="291005" cy="526606"/>
              </a:xfrm>
              <a:prstGeom prst="line">
                <a:avLst/>
              </a:prstGeom>
              <a:ln w="25400"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51" name="Oval 50">
                <a:extLst>
                  <a:ext uri="{FF2B5EF4-FFF2-40B4-BE49-F238E27FC236}">
                    <a16:creationId xmlns:a16="http://schemas.microsoft.com/office/drawing/2014/main" id="{F2CF3C2E-185A-48AE-A33C-82AE2035A52E}"/>
                  </a:ext>
                </a:extLst>
              </p:cNvPr>
              <p:cNvSpPr/>
              <p:nvPr/>
            </p:nvSpPr>
            <p:spPr>
              <a:xfrm>
                <a:off x="1358971" y="3366239"/>
                <a:ext cx="290260" cy="2902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52" name="Oval 51">
                <a:extLst>
                  <a:ext uri="{FF2B5EF4-FFF2-40B4-BE49-F238E27FC236}">
                    <a16:creationId xmlns:a16="http://schemas.microsoft.com/office/drawing/2014/main" id="{48996C92-487C-41EF-84CA-CEF7254EDE6F}"/>
                  </a:ext>
                </a:extLst>
              </p:cNvPr>
              <p:cNvSpPr/>
              <p:nvPr/>
            </p:nvSpPr>
            <p:spPr>
              <a:xfrm>
                <a:off x="2432960" y="2736511"/>
                <a:ext cx="290260" cy="2902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53" name="Oval 52">
                <a:extLst>
                  <a:ext uri="{FF2B5EF4-FFF2-40B4-BE49-F238E27FC236}">
                    <a16:creationId xmlns:a16="http://schemas.microsoft.com/office/drawing/2014/main" id="{E452D0AD-DB9C-4073-BBAC-0C6B20224EE0}"/>
                  </a:ext>
                </a:extLst>
              </p:cNvPr>
              <p:cNvSpPr/>
              <p:nvPr/>
            </p:nvSpPr>
            <p:spPr>
              <a:xfrm>
                <a:off x="3455190" y="3353299"/>
                <a:ext cx="290260" cy="2902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54" name="Oval 53">
                <a:extLst>
                  <a:ext uri="{FF2B5EF4-FFF2-40B4-BE49-F238E27FC236}">
                    <a16:creationId xmlns:a16="http://schemas.microsoft.com/office/drawing/2014/main" id="{7FB8900F-AE05-4D0A-8A89-AE2517D94150}"/>
                  </a:ext>
                </a:extLst>
              </p:cNvPr>
              <p:cNvSpPr/>
              <p:nvPr/>
            </p:nvSpPr>
            <p:spPr>
              <a:xfrm>
                <a:off x="3636345" y="4185748"/>
                <a:ext cx="290260" cy="2902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55" name="Oval 54">
                <a:extLst>
                  <a:ext uri="{FF2B5EF4-FFF2-40B4-BE49-F238E27FC236}">
                    <a16:creationId xmlns:a16="http://schemas.microsoft.com/office/drawing/2014/main" id="{4420EC4D-CBCF-4074-ABC6-E7DE1BC46432}"/>
                  </a:ext>
                </a:extLst>
              </p:cNvPr>
              <p:cNvSpPr/>
              <p:nvPr/>
            </p:nvSpPr>
            <p:spPr>
              <a:xfrm>
                <a:off x="1734220" y="4970752"/>
                <a:ext cx="290260" cy="2902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56" name="object 3">
                <a:extLst>
                  <a:ext uri="{FF2B5EF4-FFF2-40B4-BE49-F238E27FC236}">
                    <a16:creationId xmlns:a16="http://schemas.microsoft.com/office/drawing/2014/main" id="{2F55EC6C-F787-48B7-A537-594AD9E3859F}"/>
                  </a:ext>
                </a:extLst>
              </p:cNvPr>
              <p:cNvSpPr/>
              <p:nvPr/>
            </p:nvSpPr>
            <p:spPr>
              <a:xfrm rot="18900000">
                <a:off x="3543219" y="2807571"/>
                <a:ext cx="225546" cy="222018"/>
              </a:xfrm>
              <a:custGeom>
                <a:avLst/>
                <a:gdLst/>
                <a:ahLst/>
                <a:cxnLst/>
                <a:rect l="l" t="t" r="r" b="b"/>
                <a:pathLst>
                  <a:path w="121920" h="120014">
                    <a:moveTo>
                      <a:pt x="106946" y="0"/>
                    </a:moveTo>
                    <a:lnTo>
                      <a:pt x="0" y="14681"/>
                    </a:lnTo>
                    <a:lnTo>
                      <a:pt x="14376" y="119418"/>
                    </a:lnTo>
                    <a:lnTo>
                      <a:pt x="121323" y="104736"/>
                    </a:lnTo>
                    <a:lnTo>
                      <a:pt x="106946" y="0"/>
                    </a:lnTo>
                    <a:close/>
                  </a:path>
                </a:pathLst>
              </a:custGeom>
              <a:solidFill>
                <a:schemeClr val="bg1"/>
              </a:solidFill>
              <a:ln w="12700" cmpd="sng">
                <a:no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999999"/>
                  </a:solidFill>
                  <a:effectLst/>
                  <a:uLnTx/>
                  <a:uFillTx/>
                  <a:ea typeface="+mn-ea"/>
                  <a:cs typeface="+mn-cs"/>
                </a:endParaRPr>
              </a:p>
            </p:txBody>
          </p:sp>
          <p:sp>
            <p:nvSpPr>
              <p:cNvPr id="57" name="object 4">
                <a:extLst>
                  <a:ext uri="{FF2B5EF4-FFF2-40B4-BE49-F238E27FC236}">
                    <a16:creationId xmlns:a16="http://schemas.microsoft.com/office/drawing/2014/main" id="{0C6031A7-4270-46A8-A015-88DE8FB657AE}"/>
                  </a:ext>
                </a:extLst>
              </p:cNvPr>
              <p:cNvSpPr/>
              <p:nvPr/>
            </p:nvSpPr>
            <p:spPr>
              <a:xfrm rot="18900000">
                <a:off x="3621997" y="2942709"/>
                <a:ext cx="324223" cy="162112"/>
              </a:xfrm>
              <a:custGeom>
                <a:avLst/>
                <a:gdLst/>
                <a:ahLst/>
                <a:cxnLst/>
                <a:rect l="l" t="t" r="r" b="b"/>
                <a:pathLst>
                  <a:path w="175259" h="87629">
                    <a:moveTo>
                      <a:pt x="0" y="87617"/>
                    </a:moveTo>
                    <a:lnTo>
                      <a:pt x="87617" y="0"/>
                    </a:lnTo>
                    <a:lnTo>
                      <a:pt x="175221" y="87591"/>
                    </a:lnTo>
                  </a:path>
                </a:pathLst>
              </a:custGeom>
              <a:ln w="38100" cmpd="sng">
                <a:solidFill>
                  <a:schemeClr val="accent4"/>
                </a:solid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999999"/>
                  </a:solidFill>
                  <a:effectLst/>
                  <a:uLnTx/>
                  <a:uFillTx/>
                  <a:ea typeface="+mn-ea"/>
                  <a:cs typeface="+mn-cs"/>
                </a:endParaRPr>
              </a:p>
            </p:txBody>
          </p:sp>
          <p:sp>
            <p:nvSpPr>
              <p:cNvPr id="58" name="object 5">
                <a:extLst>
                  <a:ext uri="{FF2B5EF4-FFF2-40B4-BE49-F238E27FC236}">
                    <a16:creationId xmlns:a16="http://schemas.microsoft.com/office/drawing/2014/main" id="{F45C3F1C-DF23-4B5F-A252-1FC5B2640F82}"/>
                  </a:ext>
                </a:extLst>
              </p:cNvPr>
              <p:cNvSpPr/>
              <p:nvPr/>
            </p:nvSpPr>
            <p:spPr>
              <a:xfrm rot="18900000">
                <a:off x="1365520" y="5177727"/>
                <a:ext cx="225546" cy="222018"/>
              </a:xfrm>
              <a:custGeom>
                <a:avLst/>
                <a:gdLst/>
                <a:ahLst/>
                <a:cxnLst/>
                <a:rect l="l" t="t" r="r" b="b"/>
                <a:pathLst>
                  <a:path w="121920" h="120014">
                    <a:moveTo>
                      <a:pt x="106946" y="0"/>
                    </a:moveTo>
                    <a:lnTo>
                      <a:pt x="0" y="14681"/>
                    </a:lnTo>
                    <a:lnTo>
                      <a:pt x="14376" y="119418"/>
                    </a:lnTo>
                    <a:lnTo>
                      <a:pt x="121323" y="104736"/>
                    </a:lnTo>
                    <a:lnTo>
                      <a:pt x="106946" y="0"/>
                    </a:lnTo>
                    <a:close/>
                  </a:path>
                </a:pathLst>
              </a:custGeom>
              <a:solidFill>
                <a:schemeClr val="bg1"/>
              </a:solidFill>
              <a:ln w="12700" cmpd="sng">
                <a:no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999999"/>
                  </a:solidFill>
                  <a:effectLst/>
                  <a:uLnTx/>
                  <a:uFillTx/>
                  <a:ea typeface="+mn-ea"/>
                  <a:cs typeface="+mn-cs"/>
                </a:endParaRPr>
              </a:p>
            </p:txBody>
          </p:sp>
          <p:sp>
            <p:nvSpPr>
              <p:cNvPr id="59" name="object 6">
                <a:extLst>
                  <a:ext uri="{FF2B5EF4-FFF2-40B4-BE49-F238E27FC236}">
                    <a16:creationId xmlns:a16="http://schemas.microsoft.com/office/drawing/2014/main" id="{427F223B-BC97-4300-A9A3-09DFD65FFFB0}"/>
                  </a:ext>
                </a:extLst>
              </p:cNvPr>
              <p:cNvSpPr/>
              <p:nvPr/>
            </p:nvSpPr>
            <p:spPr>
              <a:xfrm rot="18900000">
                <a:off x="1186574" y="5102463"/>
                <a:ext cx="324223" cy="162112"/>
              </a:xfrm>
              <a:custGeom>
                <a:avLst/>
                <a:gdLst/>
                <a:ahLst/>
                <a:cxnLst/>
                <a:rect l="l" t="t" r="r" b="b"/>
                <a:pathLst>
                  <a:path w="175260" h="87629">
                    <a:moveTo>
                      <a:pt x="175221" y="0"/>
                    </a:moveTo>
                    <a:lnTo>
                      <a:pt x="87591" y="87617"/>
                    </a:lnTo>
                    <a:lnTo>
                      <a:pt x="0" y="25"/>
                    </a:lnTo>
                  </a:path>
                </a:pathLst>
              </a:custGeom>
              <a:ln w="38100" cmpd="sng">
                <a:solidFill>
                  <a:schemeClr val="accent4"/>
                </a:solidFill>
              </a:ln>
            </p:spPr>
            <p:txBody>
              <a:bodyPr wrap="square" lIns="0" tIns="0" rIns="0" bIns="0" rtlCol="0"/>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999999"/>
                  </a:solidFill>
                  <a:effectLst/>
                  <a:uLnTx/>
                  <a:uFillTx/>
                  <a:ea typeface="+mn-ea"/>
                  <a:cs typeface="+mn-cs"/>
                </a:endParaRPr>
              </a:p>
            </p:txBody>
          </p:sp>
          <p:grpSp>
            <p:nvGrpSpPr>
              <p:cNvPr id="60" name="Group 59">
                <a:extLst>
                  <a:ext uri="{FF2B5EF4-FFF2-40B4-BE49-F238E27FC236}">
                    <a16:creationId xmlns:a16="http://schemas.microsoft.com/office/drawing/2014/main" id="{FDC83626-889C-4613-A751-CCBD3A4BDDF3}"/>
                  </a:ext>
                </a:extLst>
              </p:cNvPr>
              <p:cNvGrpSpPr>
                <a:grpSpLocks noChangeAspect="1"/>
              </p:cNvGrpSpPr>
              <p:nvPr/>
            </p:nvGrpSpPr>
            <p:grpSpPr>
              <a:xfrm>
                <a:off x="2405776" y="2722247"/>
                <a:ext cx="321169" cy="319223"/>
                <a:chOff x="10234592" y="5860086"/>
                <a:chExt cx="523874" cy="520699"/>
              </a:xfrm>
              <a:solidFill>
                <a:srgbClr val="000000"/>
              </a:solidFill>
            </p:grpSpPr>
            <p:sp>
              <p:nvSpPr>
                <p:cNvPr id="109" name="Freeform 61">
                  <a:extLst>
                    <a:ext uri="{FF2B5EF4-FFF2-40B4-BE49-F238E27FC236}">
                      <a16:creationId xmlns:a16="http://schemas.microsoft.com/office/drawing/2014/main" id="{218E5C14-C864-4E4D-8ECB-BFBAB7EA5FFD}"/>
                    </a:ext>
                  </a:extLst>
                </p:cNvPr>
                <p:cNvSpPr>
                  <a:spLocks noEditPoints="1"/>
                </p:cNvSpPr>
                <p:nvPr/>
              </p:nvSpPr>
              <p:spPr bwMode="auto">
                <a:xfrm>
                  <a:off x="10234592" y="5860086"/>
                  <a:ext cx="523874" cy="520699"/>
                </a:xfrm>
                <a:custGeom>
                  <a:avLst/>
                  <a:gdLst>
                    <a:gd name="T0" fmla="*/ 313 w 658"/>
                    <a:gd name="T1" fmla="*/ 658 h 658"/>
                    <a:gd name="T2" fmla="*/ 263 w 658"/>
                    <a:gd name="T3" fmla="*/ 651 h 658"/>
                    <a:gd name="T4" fmla="*/ 201 w 658"/>
                    <a:gd name="T5" fmla="*/ 632 h 658"/>
                    <a:gd name="T6" fmla="*/ 119 w 658"/>
                    <a:gd name="T7" fmla="*/ 582 h 658"/>
                    <a:gd name="T8" fmla="*/ 56 w 658"/>
                    <a:gd name="T9" fmla="*/ 512 h 658"/>
                    <a:gd name="T10" fmla="*/ 14 w 658"/>
                    <a:gd name="T11" fmla="*/ 426 h 658"/>
                    <a:gd name="T12" fmla="*/ 4 w 658"/>
                    <a:gd name="T13" fmla="*/ 379 h 658"/>
                    <a:gd name="T14" fmla="*/ 0 w 658"/>
                    <a:gd name="T15" fmla="*/ 328 h 658"/>
                    <a:gd name="T16" fmla="*/ 2 w 658"/>
                    <a:gd name="T17" fmla="*/ 295 h 658"/>
                    <a:gd name="T18" fmla="*/ 10 w 658"/>
                    <a:gd name="T19" fmla="*/ 246 h 658"/>
                    <a:gd name="T20" fmla="*/ 40 w 658"/>
                    <a:gd name="T21" fmla="*/ 172 h 658"/>
                    <a:gd name="T22" fmla="*/ 96 w 658"/>
                    <a:gd name="T23" fmla="*/ 96 h 658"/>
                    <a:gd name="T24" fmla="*/ 173 w 658"/>
                    <a:gd name="T25" fmla="*/ 39 h 658"/>
                    <a:gd name="T26" fmla="*/ 247 w 658"/>
                    <a:gd name="T27" fmla="*/ 10 h 658"/>
                    <a:gd name="T28" fmla="*/ 295 w 658"/>
                    <a:gd name="T29" fmla="*/ 2 h 658"/>
                    <a:gd name="T30" fmla="*/ 329 w 658"/>
                    <a:gd name="T31" fmla="*/ 0 h 658"/>
                    <a:gd name="T32" fmla="*/ 379 w 658"/>
                    <a:gd name="T33" fmla="*/ 3 h 658"/>
                    <a:gd name="T34" fmla="*/ 427 w 658"/>
                    <a:gd name="T35" fmla="*/ 15 h 658"/>
                    <a:gd name="T36" fmla="*/ 513 w 658"/>
                    <a:gd name="T37" fmla="*/ 56 h 658"/>
                    <a:gd name="T38" fmla="*/ 583 w 658"/>
                    <a:gd name="T39" fmla="*/ 120 h 658"/>
                    <a:gd name="T40" fmla="*/ 633 w 658"/>
                    <a:gd name="T41" fmla="*/ 201 h 658"/>
                    <a:gd name="T42" fmla="*/ 651 w 658"/>
                    <a:gd name="T43" fmla="*/ 262 h 658"/>
                    <a:gd name="T44" fmla="*/ 658 w 658"/>
                    <a:gd name="T45" fmla="*/ 312 h 658"/>
                    <a:gd name="T46" fmla="*/ 658 w 658"/>
                    <a:gd name="T47" fmla="*/ 346 h 658"/>
                    <a:gd name="T48" fmla="*/ 651 w 658"/>
                    <a:gd name="T49" fmla="*/ 396 h 658"/>
                    <a:gd name="T50" fmla="*/ 633 w 658"/>
                    <a:gd name="T51" fmla="*/ 457 h 658"/>
                    <a:gd name="T52" fmla="*/ 583 w 658"/>
                    <a:gd name="T53" fmla="*/ 538 h 658"/>
                    <a:gd name="T54" fmla="*/ 513 w 658"/>
                    <a:gd name="T55" fmla="*/ 601 h 658"/>
                    <a:gd name="T56" fmla="*/ 427 w 658"/>
                    <a:gd name="T57" fmla="*/ 643 h 658"/>
                    <a:gd name="T58" fmla="*/ 379 w 658"/>
                    <a:gd name="T59" fmla="*/ 654 h 658"/>
                    <a:gd name="T60" fmla="*/ 329 w 658"/>
                    <a:gd name="T61" fmla="*/ 658 h 658"/>
                    <a:gd name="T62" fmla="*/ 329 w 658"/>
                    <a:gd name="T63" fmla="*/ 38 h 658"/>
                    <a:gd name="T64" fmla="*/ 243 w 658"/>
                    <a:gd name="T65" fmla="*/ 50 h 658"/>
                    <a:gd name="T66" fmla="*/ 166 w 658"/>
                    <a:gd name="T67" fmla="*/ 88 h 658"/>
                    <a:gd name="T68" fmla="*/ 104 w 658"/>
                    <a:gd name="T69" fmla="*/ 144 h 658"/>
                    <a:gd name="T70" fmla="*/ 60 w 658"/>
                    <a:gd name="T71" fmla="*/ 215 h 658"/>
                    <a:gd name="T72" fmla="*/ 39 w 658"/>
                    <a:gd name="T73" fmla="*/ 299 h 658"/>
                    <a:gd name="T74" fmla="*/ 39 w 658"/>
                    <a:gd name="T75" fmla="*/ 358 h 658"/>
                    <a:gd name="T76" fmla="*/ 60 w 658"/>
                    <a:gd name="T77" fmla="*/ 443 h 658"/>
                    <a:gd name="T78" fmla="*/ 104 w 658"/>
                    <a:gd name="T79" fmla="*/ 514 h 658"/>
                    <a:gd name="T80" fmla="*/ 166 w 658"/>
                    <a:gd name="T81" fmla="*/ 570 h 658"/>
                    <a:gd name="T82" fmla="*/ 243 w 658"/>
                    <a:gd name="T83" fmla="*/ 607 h 658"/>
                    <a:gd name="T84" fmla="*/ 329 w 658"/>
                    <a:gd name="T85" fmla="*/ 620 h 658"/>
                    <a:gd name="T86" fmla="*/ 388 w 658"/>
                    <a:gd name="T87" fmla="*/ 615 h 658"/>
                    <a:gd name="T88" fmla="*/ 467 w 658"/>
                    <a:gd name="T89" fmla="*/ 585 h 658"/>
                    <a:gd name="T90" fmla="*/ 535 w 658"/>
                    <a:gd name="T91" fmla="*/ 535 h 658"/>
                    <a:gd name="T92" fmla="*/ 586 w 658"/>
                    <a:gd name="T93" fmla="*/ 468 h 658"/>
                    <a:gd name="T94" fmla="*/ 614 w 658"/>
                    <a:gd name="T95" fmla="*/ 387 h 658"/>
                    <a:gd name="T96" fmla="*/ 621 w 658"/>
                    <a:gd name="T97" fmla="*/ 328 h 658"/>
                    <a:gd name="T98" fmla="*/ 607 w 658"/>
                    <a:gd name="T99" fmla="*/ 242 h 658"/>
                    <a:gd name="T100" fmla="*/ 571 w 658"/>
                    <a:gd name="T101" fmla="*/ 166 h 658"/>
                    <a:gd name="T102" fmla="*/ 514 w 658"/>
                    <a:gd name="T103" fmla="*/ 104 h 658"/>
                    <a:gd name="T104" fmla="*/ 442 w 658"/>
                    <a:gd name="T105" fmla="*/ 61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8"/>
                      </a:lnTo>
                      <a:lnTo>
                        <a:pt x="295" y="656"/>
                      </a:lnTo>
                      <a:lnTo>
                        <a:pt x="279" y="654"/>
                      </a:lnTo>
                      <a:lnTo>
                        <a:pt x="263" y="651"/>
                      </a:lnTo>
                      <a:lnTo>
                        <a:pt x="247" y="647"/>
                      </a:lnTo>
                      <a:lnTo>
                        <a:pt x="231" y="643"/>
                      </a:lnTo>
                      <a:lnTo>
                        <a:pt x="201" y="632"/>
                      </a:lnTo>
                      <a:lnTo>
                        <a:pt x="173" y="619"/>
                      </a:lnTo>
                      <a:lnTo>
                        <a:pt x="145" y="601"/>
                      </a:lnTo>
                      <a:lnTo>
                        <a:pt x="119" y="582"/>
                      </a:lnTo>
                      <a:lnTo>
                        <a:pt x="96" y="561"/>
                      </a:lnTo>
                      <a:lnTo>
                        <a:pt x="75" y="538"/>
                      </a:lnTo>
                      <a:lnTo>
                        <a:pt x="56" y="512"/>
                      </a:lnTo>
                      <a:lnTo>
                        <a:pt x="40" y="486"/>
                      </a:lnTo>
                      <a:lnTo>
                        <a:pt x="27" y="457"/>
                      </a:lnTo>
                      <a:lnTo>
                        <a:pt x="14" y="426"/>
                      </a:lnTo>
                      <a:lnTo>
                        <a:pt x="10" y="410"/>
                      </a:lnTo>
                      <a:lnTo>
                        <a:pt x="6" y="396"/>
                      </a:lnTo>
                      <a:lnTo>
                        <a:pt x="4" y="379"/>
                      </a:lnTo>
                      <a:lnTo>
                        <a:pt x="2" y="362"/>
                      </a:lnTo>
                      <a:lnTo>
                        <a:pt x="1" y="346"/>
                      </a:lnTo>
                      <a:lnTo>
                        <a:pt x="0" y="328"/>
                      </a:lnTo>
                      <a:lnTo>
                        <a:pt x="0" y="328"/>
                      </a:lnTo>
                      <a:lnTo>
                        <a:pt x="1" y="312"/>
                      </a:lnTo>
                      <a:lnTo>
                        <a:pt x="2" y="295"/>
                      </a:lnTo>
                      <a:lnTo>
                        <a:pt x="4" y="279"/>
                      </a:lnTo>
                      <a:lnTo>
                        <a:pt x="6" y="262"/>
                      </a:lnTo>
                      <a:lnTo>
                        <a:pt x="10" y="246"/>
                      </a:lnTo>
                      <a:lnTo>
                        <a:pt x="14" y="232"/>
                      </a:lnTo>
                      <a:lnTo>
                        <a:pt x="27" y="201"/>
                      </a:lnTo>
                      <a:lnTo>
                        <a:pt x="40" y="172"/>
                      </a:lnTo>
                      <a:lnTo>
                        <a:pt x="56" y="146"/>
                      </a:lnTo>
                      <a:lnTo>
                        <a:pt x="75" y="120"/>
                      </a:lnTo>
                      <a:lnTo>
                        <a:pt x="96" y="96"/>
                      </a:lnTo>
                      <a:lnTo>
                        <a:pt x="119" y="76"/>
                      </a:lnTo>
                      <a:lnTo>
                        <a:pt x="145" y="56"/>
                      </a:lnTo>
                      <a:lnTo>
                        <a:pt x="173" y="39"/>
                      </a:lnTo>
                      <a:lnTo>
                        <a:pt x="201" y="26"/>
                      </a:lnTo>
                      <a:lnTo>
                        <a:pt x="231" y="15"/>
                      </a:lnTo>
                      <a:lnTo>
                        <a:pt x="247" y="10"/>
                      </a:lnTo>
                      <a:lnTo>
                        <a:pt x="263" y="7"/>
                      </a:lnTo>
                      <a:lnTo>
                        <a:pt x="279" y="3"/>
                      </a:lnTo>
                      <a:lnTo>
                        <a:pt x="295" y="2"/>
                      </a:lnTo>
                      <a:lnTo>
                        <a:pt x="313" y="0"/>
                      </a:lnTo>
                      <a:lnTo>
                        <a:pt x="329" y="0"/>
                      </a:lnTo>
                      <a:lnTo>
                        <a:pt x="329" y="0"/>
                      </a:lnTo>
                      <a:lnTo>
                        <a:pt x="346" y="0"/>
                      </a:lnTo>
                      <a:lnTo>
                        <a:pt x="363" y="2"/>
                      </a:lnTo>
                      <a:lnTo>
                        <a:pt x="379" y="3"/>
                      </a:lnTo>
                      <a:lnTo>
                        <a:pt x="395" y="7"/>
                      </a:lnTo>
                      <a:lnTo>
                        <a:pt x="411" y="10"/>
                      </a:lnTo>
                      <a:lnTo>
                        <a:pt x="427" y="15"/>
                      </a:lnTo>
                      <a:lnTo>
                        <a:pt x="457" y="26"/>
                      </a:lnTo>
                      <a:lnTo>
                        <a:pt x="486" y="39"/>
                      </a:lnTo>
                      <a:lnTo>
                        <a:pt x="513" y="56"/>
                      </a:lnTo>
                      <a:lnTo>
                        <a:pt x="539" y="76"/>
                      </a:lnTo>
                      <a:lnTo>
                        <a:pt x="561" y="96"/>
                      </a:lnTo>
                      <a:lnTo>
                        <a:pt x="583" y="120"/>
                      </a:lnTo>
                      <a:lnTo>
                        <a:pt x="602" y="146"/>
                      </a:lnTo>
                      <a:lnTo>
                        <a:pt x="618" y="172"/>
                      </a:lnTo>
                      <a:lnTo>
                        <a:pt x="633" y="201"/>
                      </a:lnTo>
                      <a:lnTo>
                        <a:pt x="643" y="232"/>
                      </a:lnTo>
                      <a:lnTo>
                        <a:pt x="647" y="246"/>
                      </a:lnTo>
                      <a:lnTo>
                        <a:pt x="651" y="262"/>
                      </a:lnTo>
                      <a:lnTo>
                        <a:pt x="654" y="279"/>
                      </a:lnTo>
                      <a:lnTo>
                        <a:pt x="657" y="295"/>
                      </a:lnTo>
                      <a:lnTo>
                        <a:pt x="658" y="312"/>
                      </a:lnTo>
                      <a:lnTo>
                        <a:pt x="658" y="328"/>
                      </a:lnTo>
                      <a:lnTo>
                        <a:pt x="658" y="328"/>
                      </a:lnTo>
                      <a:lnTo>
                        <a:pt x="658" y="346"/>
                      </a:lnTo>
                      <a:lnTo>
                        <a:pt x="657" y="362"/>
                      </a:lnTo>
                      <a:lnTo>
                        <a:pt x="654" y="379"/>
                      </a:lnTo>
                      <a:lnTo>
                        <a:pt x="651" y="396"/>
                      </a:lnTo>
                      <a:lnTo>
                        <a:pt x="647" y="410"/>
                      </a:lnTo>
                      <a:lnTo>
                        <a:pt x="643" y="426"/>
                      </a:lnTo>
                      <a:lnTo>
                        <a:pt x="633" y="457"/>
                      </a:lnTo>
                      <a:lnTo>
                        <a:pt x="618" y="486"/>
                      </a:lnTo>
                      <a:lnTo>
                        <a:pt x="602" y="512"/>
                      </a:lnTo>
                      <a:lnTo>
                        <a:pt x="583" y="538"/>
                      </a:lnTo>
                      <a:lnTo>
                        <a:pt x="561" y="561"/>
                      </a:lnTo>
                      <a:lnTo>
                        <a:pt x="539" y="582"/>
                      </a:lnTo>
                      <a:lnTo>
                        <a:pt x="513" y="601"/>
                      </a:lnTo>
                      <a:lnTo>
                        <a:pt x="486" y="619"/>
                      </a:lnTo>
                      <a:lnTo>
                        <a:pt x="457" y="632"/>
                      </a:lnTo>
                      <a:lnTo>
                        <a:pt x="427" y="643"/>
                      </a:lnTo>
                      <a:lnTo>
                        <a:pt x="411" y="647"/>
                      </a:lnTo>
                      <a:lnTo>
                        <a:pt x="395" y="651"/>
                      </a:lnTo>
                      <a:lnTo>
                        <a:pt x="379" y="654"/>
                      </a:lnTo>
                      <a:lnTo>
                        <a:pt x="363" y="656"/>
                      </a:lnTo>
                      <a:lnTo>
                        <a:pt x="346" y="658"/>
                      </a:lnTo>
                      <a:lnTo>
                        <a:pt x="329" y="658"/>
                      </a:lnTo>
                      <a:lnTo>
                        <a:pt x="329" y="658"/>
                      </a:lnTo>
                      <a:close/>
                      <a:moveTo>
                        <a:pt x="329" y="38"/>
                      </a:moveTo>
                      <a:lnTo>
                        <a:pt x="329" y="38"/>
                      </a:lnTo>
                      <a:lnTo>
                        <a:pt x="299" y="39"/>
                      </a:lnTo>
                      <a:lnTo>
                        <a:pt x="270" y="43"/>
                      </a:lnTo>
                      <a:lnTo>
                        <a:pt x="243" y="50"/>
                      </a:lnTo>
                      <a:lnTo>
                        <a:pt x="216" y="61"/>
                      </a:lnTo>
                      <a:lnTo>
                        <a:pt x="191" y="73"/>
                      </a:lnTo>
                      <a:lnTo>
                        <a:pt x="166" y="88"/>
                      </a:lnTo>
                      <a:lnTo>
                        <a:pt x="143" y="104"/>
                      </a:lnTo>
                      <a:lnTo>
                        <a:pt x="123" y="123"/>
                      </a:lnTo>
                      <a:lnTo>
                        <a:pt x="104" y="144"/>
                      </a:lnTo>
                      <a:lnTo>
                        <a:pt x="87" y="166"/>
                      </a:lnTo>
                      <a:lnTo>
                        <a:pt x="74" y="190"/>
                      </a:lnTo>
                      <a:lnTo>
                        <a:pt x="60" y="215"/>
                      </a:lnTo>
                      <a:lnTo>
                        <a:pt x="51" y="242"/>
                      </a:lnTo>
                      <a:lnTo>
                        <a:pt x="44" y="271"/>
                      </a:lnTo>
                      <a:lnTo>
                        <a:pt x="39" y="299"/>
                      </a:lnTo>
                      <a:lnTo>
                        <a:pt x="37" y="328"/>
                      </a:lnTo>
                      <a:lnTo>
                        <a:pt x="37" y="328"/>
                      </a:lnTo>
                      <a:lnTo>
                        <a:pt x="39" y="358"/>
                      </a:lnTo>
                      <a:lnTo>
                        <a:pt x="44" y="387"/>
                      </a:lnTo>
                      <a:lnTo>
                        <a:pt x="51" y="416"/>
                      </a:lnTo>
                      <a:lnTo>
                        <a:pt x="60" y="443"/>
                      </a:lnTo>
                      <a:lnTo>
                        <a:pt x="74" y="468"/>
                      </a:lnTo>
                      <a:lnTo>
                        <a:pt x="87" y="491"/>
                      </a:lnTo>
                      <a:lnTo>
                        <a:pt x="104" y="514"/>
                      </a:lnTo>
                      <a:lnTo>
                        <a:pt x="123" y="535"/>
                      </a:lnTo>
                      <a:lnTo>
                        <a:pt x="143" y="554"/>
                      </a:lnTo>
                      <a:lnTo>
                        <a:pt x="166" y="570"/>
                      </a:lnTo>
                      <a:lnTo>
                        <a:pt x="191" y="585"/>
                      </a:lnTo>
                      <a:lnTo>
                        <a:pt x="216" y="597"/>
                      </a:lnTo>
                      <a:lnTo>
                        <a:pt x="243" y="607"/>
                      </a:lnTo>
                      <a:lnTo>
                        <a:pt x="270" y="615"/>
                      </a:lnTo>
                      <a:lnTo>
                        <a:pt x="299" y="619"/>
                      </a:lnTo>
                      <a:lnTo>
                        <a:pt x="329" y="620"/>
                      </a:lnTo>
                      <a:lnTo>
                        <a:pt x="329" y="620"/>
                      </a:lnTo>
                      <a:lnTo>
                        <a:pt x="359" y="619"/>
                      </a:lnTo>
                      <a:lnTo>
                        <a:pt x="388" y="615"/>
                      </a:lnTo>
                      <a:lnTo>
                        <a:pt x="415" y="607"/>
                      </a:lnTo>
                      <a:lnTo>
                        <a:pt x="442" y="597"/>
                      </a:lnTo>
                      <a:lnTo>
                        <a:pt x="467" y="585"/>
                      </a:lnTo>
                      <a:lnTo>
                        <a:pt x="492" y="570"/>
                      </a:lnTo>
                      <a:lnTo>
                        <a:pt x="514" y="554"/>
                      </a:lnTo>
                      <a:lnTo>
                        <a:pt x="535" y="535"/>
                      </a:lnTo>
                      <a:lnTo>
                        <a:pt x="553" y="514"/>
                      </a:lnTo>
                      <a:lnTo>
                        <a:pt x="571" y="491"/>
                      </a:lnTo>
                      <a:lnTo>
                        <a:pt x="586" y="468"/>
                      </a:lnTo>
                      <a:lnTo>
                        <a:pt x="598" y="443"/>
                      </a:lnTo>
                      <a:lnTo>
                        <a:pt x="607" y="416"/>
                      </a:lnTo>
                      <a:lnTo>
                        <a:pt x="614" y="387"/>
                      </a:lnTo>
                      <a:lnTo>
                        <a:pt x="619" y="358"/>
                      </a:lnTo>
                      <a:lnTo>
                        <a:pt x="621" y="328"/>
                      </a:lnTo>
                      <a:lnTo>
                        <a:pt x="621" y="328"/>
                      </a:lnTo>
                      <a:lnTo>
                        <a:pt x="619" y="299"/>
                      </a:lnTo>
                      <a:lnTo>
                        <a:pt x="614" y="271"/>
                      </a:lnTo>
                      <a:lnTo>
                        <a:pt x="607" y="242"/>
                      </a:lnTo>
                      <a:lnTo>
                        <a:pt x="598" y="215"/>
                      </a:lnTo>
                      <a:lnTo>
                        <a:pt x="586" y="190"/>
                      </a:lnTo>
                      <a:lnTo>
                        <a:pt x="571" y="166"/>
                      </a:lnTo>
                      <a:lnTo>
                        <a:pt x="553" y="144"/>
                      </a:lnTo>
                      <a:lnTo>
                        <a:pt x="535" y="123"/>
                      </a:lnTo>
                      <a:lnTo>
                        <a:pt x="514" y="104"/>
                      </a:lnTo>
                      <a:lnTo>
                        <a:pt x="492" y="88"/>
                      </a:lnTo>
                      <a:lnTo>
                        <a:pt x="467" y="73"/>
                      </a:lnTo>
                      <a:lnTo>
                        <a:pt x="442" y="61"/>
                      </a:lnTo>
                      <a:lnTo>
                        <a:pt x="415" y="50"/>
                      </a:lnTo>
                      <a:lnTo>
                        <a:pt x="388" y="43"/>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10" name="Freeform 264">
                  <a:extLst>
                    <a:ext uri="{FF2B5EF4-FFF2-40B4-BE49-F238E27FC236}">
                      <a16:creationId xmlns:a16="http://schemas.microsoft.com/office/drawing/2014/main" id="{7F002483-CF56-4F63-8571-C9827958AA97}"/>
                    </a:ext>
                  </a:extLst>
                </p:cNvPr>
                <p:cNvSpPr>
                  <a:spLocks/>
                </p:cNvSpPr>
                <p:nvPr/>
              </p:nvSpPr>
              <p:spPr bwMode="auto">
                <a:xfrm>
                  <a:off x="10460017" y="5983921"/>
                  <a:ext cx="88899" cy="87314"/>
                </a:xfrm>
                <a:custGeom>
                  <a:avLst/>
                  <a:gdLst>
                    <a:gd name="T0" fmla="*/ 55 w 112"/>
                    <a:gd name="T1" fmla="*/ 0 h 111"/>
                    <a:gd name="T2" fmla="*/ 55 w 112"/>
                    <a:gd name="T3" fmla="*/ 0 h 111"/>
                    <a:gd name="T4" fmla="*/ 45 w 112"/>
                    <a:gd name="T5" fmla="*/ 2 h 111"/>
                    <a:gd name="T6" fmla="*/ 34 w 112"/>
                    <a:gd name="T7" fmla="*/ 4 h 111"/>
                    <a:gd name="T8" fmla="*/ 24 w 112"/>
                    <a:gd name="T9" fmla="*/ 10 h 111"/>
                    <a:gd name="T10" fmla="*/ 16 w 112"/>
                    <a:gd name="T11" fmla="*/ 16 h 111"/>
                    <a:gd name="T12" fmla="*/ 10 w 112"/>
                    <a:gd name="T13" fmla="*/ 25 h 111"/>
                    <a:gd name="T14" fmla="*/ 4 w 112"/>
                    <a:gd name="T15" fmla="*/ 34 h 111"/>
                    <a:gd name="T16" fmla="*/ 2 w 112"/>
                    <a:gd name="T17" fmla="*/ 45 h 111"/>
                    <a:gd name="T18" fmla="*/ 0 w 112"/>
                    <a:gd name="T19" fmla="*/ 55 h 111"/>
                    <a:gd name="T20" fmla="*/ 0 w 112"/>
                    <a:gd name="T21" fmla="*/ 55 h 111"/>
                    <a:gd name="T22" fmla="*/ 2 w 112"/>
                    <a:gd name="T23" fmla="*/ 66 h 111"/>
                    <a:gd name="T24" fmla="*/ 4 w 112"/>
                    <a:gd name="T25" fmla="*/ 77 h 111"/>
                    <a:gd name="T26" fmla="*/ 10 w 112"/>
                    <a:gd name="T27" fmla="*/ 86 h 111"/>
                    <a:gd name="T28" fmla="*/ 16 w 112"/>
                    <a:gd name="T29" fmla="*/ 94 h 111"/>
                    <a:gd name="T30" fmla="*/ 24 w 112"/>
                    <a:gd name="T31" fmla="*/ 101 h 111"/>
                    <a:gd name="T32" fmla="*/ 34 w 112"/>
                    <a:gd name="T33" fmla="*/ 106 h 111"/>
                    <a:gd name="T34" fmla="*/ 45 w 112"/>
                    <a:gd name="T35" fmla="*/ 111 h 111"/>
                    <a:gd name="T36" fmla="*/ 55 w 112"/>
                    <a:gd name="T37" fmla="*/ 111 h 111"/>
                    <a:gd name="T38" fmla="*/ 55 w 112"/>
                    <a:gd name="T39" fmla="*/ 111 h 111"/>
                    <a:gd name="T40" fmla="*/ 67 w 112"/>
                    <a:gd name="T41" fmla="*/ 111 h 111"/>
                    <a:gd name="T42" fmla="*/ 77 w 112"/>
                    <a:gd name="T43" fmla="*/ 106 h 111"/>
                    <a:gd name="T44" fmla="*/ 86 w 112"/>
                    <a:gd name="T45" fmla="*/ 101 h 111"/>
                    <a:gd name="T46" fmla="*/ 94 w 112"/>
                    <a:gd name="T47" fmla="*/ 94 h 111"/>
                    <a:gd name="T48" fmla="*/ 102 w 112"/>
                    <a:gd name="T49" fmla="*/ 86 h 111"/>
                    <a:gd name="T50" fmla="*/ 106 w 112"/>
                    <a:gd name="T51" fmla="*/ 77 h 111"/>
                    <a:gd name="T52" fmla="*/ 110 w 112"/>
                    <a:gd name="T53" fmla="*/ 66 h 111"/>
                    <a:gd name="T54" fmla="*/ 112 w 112"/>
                    <a:gd name="T55" fmla="*/ 55 h 111"/>
                    <a:gd name="T56" fmla="*/ 112 w 112"/>
                    <a:gd name="T57" fmla="*/ 55 h 111"/>
                    <a:gd name="T58" fmla="*/ 110 w 112"/>
                    <a:gd name="T59" fmla="*/ 45 h 111"/>
                    <a:gd name="T60" fmla="*/ 106 w 112"/>
                    <a:gd name="T61" fmla="*/ 34 h 111"/>
                    <a:gd name="T62" fmla="*/ 102 w 112"/>
                    <a:gd name="T63" fmla="*/ 25 h 111"/>
                    <a:gd name="T64" fmla="*/ 94 w 112"/>
                    <a:gd name="T65" fmla="*/ 16 h 111"/>
                    <a:gd name="T66" fmla="*/ 86 w 112"/>
                    <a:gd name="T67" fmla="*/ 10 h 111"/>
                    <a:gd name="T68" fmla="*/ 77 w 112"/>
                    <a:gd name="T69" fmla="*/ 4 h 111"/>
                    <a:gd name="T70" fmla="*/ 67 w 112"/>
                    <a:gd name="T71" fmla="*/ 2 h 111"/>
                    <a:gd name="T72" fmla="*/ 55 w 112"/>
                    <a:gd name="T73" fmla="*/ 0 h 111"/>
                    <a:gd name="T74" fmla="*/ 55 w 112"/>
                    <a:gd name="T7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111">
                      <a:moveTo>
                        <a:pt x="55" y="0"/>
                      </a:moveTo>
                      <a:lnTo>
                        <a:pt x="55" y="0"/>
                      </a:lnTo>
                      <a:lnTo>
                        <a:pt x="45" y="2"/>
                      </a:lnTo>
                      <a:lnTo>
                        <a:pt x="34" y="4"/>
                      </a:lnTo>
                      <a:lnTo>
                        <a:pt x="24" y="10"/>
                      </a:lnTo>
                      <a:lnTo>
                        <a:pt x="16" y="16"/>
                      </a:lnTo>
                      <a:lnTo>
                        <a:pt x="10" y="25"/>
                      </a:lnTo>
                      <a:lnTo>
                        <a:pt x="4" y="34"/>
                      </a:lnTo>
                      <a:lnTo>
                        <a:pt x="2" y="45"/>
                      </a:lnTo>
                      <a:lnTo>
                        <a:pt x="0" y="55"/>
                      </a:lnTo>
                      <a:lnTo>
                        <a:pt x="0" y="55"/>
                      </a:lnTo>
                      <a:lnTo>
                        <a:pt x="2" y="66"/>
                      </a:lnTo>
                      <a:lnTo>
                        <a:pt x="4" y="77"/>
                      </a:lnTo>
                      <a:lnTo>
                        <a:pt x="10" y="86"/>
                      </a:lnTo>
                      <a:lnTo>
                        <a:pt x="16" y="94"/>
                      </a:lnTo>
                      <a:lnTo>
                        <a:pt x="24" y="101"/>
                      </a:lnTo>
                      <a:lnTo>
                        <a:pt x="34" y="106"/>
                      </a:lnTo>
                      <a:lnTo>
                        <a:pt x="45" y="111"/>
                      </a:lnTo>
                      <a:lnTo>
                        <a:pt x="55" y="111"/>
                      </a:lnTo>
                      <a:lnTo>
                        <a:pt x="55" y="111"/>
                      </a:lnTo>
                      <a:lnTo>
                        <a:pt x="67" y="111"/>
                      </a:lnTo>
                      <a:lnTo>
                        <a:pt x="77" y="106"/>
                      </a:lnTo>
                      <a:lnTo>
                        <a:pt x="86" y="101"/>
                      </a:lnTo>
                      <a:lnTo>
                        <a:pt x="94" y="94"/>
                      </a:lnTo>
                      <a:lnTo>
                        <a:pt x="102" y="86"/>
                      </a:lnTo>
                      <a:lnTo>
                        <a:pt x="106" y="77"/>
                      </a:lnTo>
                      <a:lnTo>
                        <a:pt x="110" y="66"/>
                      </a:lnTo>
                      <a:lnTo>
                        <a:pt x="112" y="55"/>
                      </a:lnTo>
                      <a:lnTo>
                        <a:pt x="112" y="55"/>
                      </a:lnTo>
                      <a:lnTo>
                        <a:pt x="110" y="45"/>
                      </a:lnTo>
                      <a:lnTo>
                        <a:pt x="106" y="34"/>
                      </a:lnTo>
                      <a:lnTo>
                        <a:pt x="102" y="25"/>
                      </a:lnTo>
                      <a:lnTo>
                        <a:pt x="94" y="16"/>
                      </a:lnTo>
                      <a:lnTo>
                        <a:pt x="86" y="10"/>
                      </a:lnTo>
                      <a:lnTo>
                        <a:pt x="77" y="4"/>
                      </a:lnTo>
                      <a:lnTo>
                        <a:pt x="67" y="2"/>
                      </a:lnTo>
                      <a:lnTo>
                        <a:pt x="55" y="0"/>
                      </a:lnTo>
                      <a:lnTo>
                        <a:pt x="5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11" name="Freeform 265">
                  <a:extLst>
                    <a:ext uri="{FF2B5EF4-FFF2-40B4-BE49-F238E27FC236}">
                      <a16:creationId xmlns:a16="http://schemas.microsoft.com/office/drawing/2014/main" id="{2023B4AA-FD47-4217-A789-1F9A45F3E8BC}"/>
                    </a:ext>
                  </a:extLst>
                </p:cNvPr>
                <p:cNvSpPr>
                  <a:spLocks/>
                </p:cNvSpPr>
                <p:nvPr/>
              </p:nvSpPr>
              <p:spPr bwMode="auto">
                <a:xfrm>
                  <a:off x="10380642" y="6142670"/>
                  <a:ext cx="87312" cy="88899"/>
                </a:xfrm>
                <a:custGeom>
                  <a:avLst/>
                  <a:gdLst>
                    <a:gd name="T0" fmla="*/ 56 w 111"/>
                    <a:gd name="T1" fmla="*/ 0 h 111"/>
                    <a:gd name="T2" fmla="*/ 56 w 111"/>
                    <a:gd name="T3" fmla="*/ 0 h 111"/>
                    <a:gd name="T4" fmla="*/ 45 w 111"/>
                    <a:gd name="T5" fmla="*/ 1 h 111"/>
                    <a:gd name="T6" fmla="*/ 34 w 111"/>
                    <a:gd name="T7" fmla="*/ 4 h 111"/>
                    <a:gd name="T8" fmla="*/ 25 w 111"/>
                    <a:gd name="T9" fmla="*/ 9 h 111"/>
                    <a:gd name="T10" fmla="*/ 17 w 111"/>
                    <a:gd name="T11" fmla="*/ 16 h 111"/>
                    <a:gd name="T12" fmla="*/ 10 w 111"/>
                    <a:gd name="T13" fmla="*/ 24 h 111"/>
                    <a:gd name="T14" fmla="*/ 4 w 111"/>
                    <a:gd name="T15" fmla="*/ 34 h 111"/>
                    <a:gd name="T16" fmla="*/ 2 w 111"/>
                    <a:gd name="T17" fmla="*/ 44 h 111"/>
                    <a:gd name="T18" fmla="*/ 0 w 111"/>
                    <a:gd name="T19" fmla="*/ 55 h 111"/>
                    <a:gd name="T20" fmla="*/ 0 w 111"/>
                    <a:gd name="T21" fmla="*/ 55 h 111"/>
                    <a:gd name="T22" fmla="*/ 2 w 111"/>
                    <a:gd name="T23" fmla="*/ 67 h 111"/>
                    <a:gd name="T24" fmla="*/ 4 w 111"/>
                    <a:gd name="T25" fmla="*/ 78 h 111"/>
                    <a:gd name="T26" fmla="*/ 10 w 111"/>
                    <a:gd name="T27" fmla="*/ 87 h 111"/>
                    <a:gd name="T28" fmla="*/ 17 w 111"/>
                    <a:gd name="T29" fmla="*/ 95 h 111"/>
                    <a:gd name="T30" fmla="*/ 25 w 111"/>
                    <a:gd name="T31" fmla="*/ 102 h 111"/>
                    <a:gd name="T32" fmla="*/ 34 w 111"/>
                    <a:gd name="T33" fmla="*/ 107 h 111"/>
                    <a:gd name="T34" fmla="*/ 45 w 111"/>
                    <a:gd name="T35" fmla="*/ 110 h 111"/>
                    <a:gd name="T36" fmla="*/ 56 w 111"/>
                    <a:gd name="T37" fmla="*/ 111 h 111"/>
                    <a:gd name="T38" fmla="*/ 56 w 111"/>
                    <a:gd name="T39" fmla="*/ 111 h 111"/>
                    <a:gd name="T40" fmla="*/ 66 w 111"/>
                    <a:gd name="T41" fmla="*/ 110 h 111"/>
                    <a:gd name="T42" fmla="*/ 77 w 111"/>
                    <a:gd name="T43" fmla="*/ 107 h 111"/>
                    <a:gd name="T44" fmla="*/ 86 w 111"/>
                    <a:gd name="T45" fmla="*/ 102 h 111"/>
                    <a:gd name="T46" fmla="*/ 95 w 111"/>
                    <a:gd name="T47" fmla="*/ 95 h 111"/>
                    <a:gd name="T48" fmla="*/ 101 w 111"/>
                    <a:gd name="T49" fmla="*/ 87 h 111"/>
                    <a:gd name="T50" fmla="*/ 107 w 111"/>
                    <a:gd name="T51" fmla="*/ 78 h 111"/>
                    <a:gd name="T52" fmla="*/ 111 w 111"/>
                    <a:gd name="T53" fmla="*/ 67 h 111"/>
                    <a:gd name="T54" fmla="*/ 111 w 111"/>
                    <a:gd name="T55" fmla="*/ 55 h 111"/>
                    <a:gd name="T56" fmla="*/ 111 w 111"/>
                    <a:gd name="T57" fmla="*/ 55 h 111"/>
                    <a:gd name="T58" fmla="*/ 111 w 111"/>
                    <a:gd name="T59" fmla="*/ 44 h 111"/>
                    <a:gd name="T60" fmla="*/ 107 w 111"/>
                    <a:gd name="T61" fmla="*/ 34 h 111"/>
                    <a:gd name="T62" fmla="*/ 101 w 111"/>
                    <a:gd name="T63" fmla="*/ 24 h 111"/>
                    <a:gd name="T64" fmla="*/ 95 w 111"/>
                    <a:gd name="T65" fmla="*/ 16 h 111"/>
                    <a:gd name="T66" fmla="*/ 86 w 111"/>
                    <a:gd name="T67" fmla="*/ 9 h 111"/>
                    <a:gd name="T68" fmla="*/ 77 w 111"/>
                    <a:gd name="T69" fmla="*/ 4 h 111"/>
                    <a:gd name="T70" fmla="*/ 66 w 111"/>
                    <a:gd name="T71" fmla="*/ 1 h 111"/>
                    <a:gd name="T72" fmla="*/ 56 w 111"/>
                    <a:gd name="T73" fmla="*/ 0 h 111"/>
                    <a:gd name="T74" fmla="*/ 56 w 111"/>
                    <a:gd name="T7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1" h="111">
                      <a:moveTo>
                        <a:pt x="56" y="0"/>
                      </a:moveTo>
                      <a:lnTo>
                        <a:pt x="56" y="0"/>
                      </a:lnTo>
                      <a:lnTo>
                        <a:pt x="45" y="1"/>
                      </a:lnTo>
                      <a:lnTo>
                        <a:pt x="34" y="4"/>
                      </a:lnTo>
                      <a:lnTo>
                        <a:pt x="25" y="9"/>
                      </a:lnTo>
                      <a:lnTo>
                        <a:pt x="17" y="16"/>
                      </a:lnTo>
                      <a:lnTo>
                        <a:pt x="10" y="24"/>
                      </a:lnTo>
                      <a:lnTo>
                        <a:pt x="4" y="34"/>
                      </a:lnTo>
                      <a:lnTo>
                        <a:pt x="2" y="44"/>
                      </a:lnTo>
                      <a:lnTo>
                        <a:pt x="0" y="55"/>
                      </a:lnTo>
                      <a:lnTo>
                        <a:pt x="0" y="55"/>
                      </a:lnTo>
                      <a:lnTo>
                        <a:pt x="2" y="67"/>
                      </a:lnTo>
                      <a:lnTo>
                        <a:pt x="4" y="78"/>
                      </a:lnTo>
                      <a:lnTo>
                        <a:pt x="10" y="87"/>
                      </a:lnTo>
                      <a:lnTo>
                        <a:pt x="17" y="95"/>
                      </a:lnTo>
                      <a:lnTo>
                        <a:pt x="25" y="102"/>
                      </a:lnTo>
                      <a:lnTo>
                        <a:pt x="34" y="107"/>
                      </a:lnTo>
                      <a:lnTo>
                        <a:pt x="45" y="110"/>
                      </a:lnTo>
                      <a:lnTo>
                        <a:pt x="56" y="111"/>
                      </a:lnTo>
                      <a:lnTo>
                        <a:pt x="56" y="111"/>
                      </a:lnTo>
                      <a:lnTo>
                        <a:pt x="66" y="110"/>
                      </a:lnTo>
                      <a:lnTo>
                        <a:pt x="77" y="107"/>
                      </a:lnTo>
                      <a:lnTo>
                        <a:pt x="86" y="102"/>
                      </a:lnTo>
                      <a:lnTo>
                        <a:pt x="95" y="95"/>
                      </a:lnTo>
                      <a:lnTo>
                        <a:pt x="101" y="87"/>
                      </a:lnTo>
                      <a:lnTo>
                        <a:pt x="107" y="78"/>
                      </a:lnTo>
                      <a:lnTo>
                        <a:pt x="111" y="67"/>
                      </a:lnTo>
                      <a:lnTo>
                        <a:pt x="111" y="55"/>
                      </a:lnTo>
                      <a:lnTo>
                        <a:pt x="111" y="55"/>
                      </a:lnTo>
                      <a:lnTo>
                        <a:pt x="111" y="44"/>
                      </a:lnTo>
                      <a:lnTo>
                        <a:pt x="107" y="34"/>
                      </a:lnTo>
                      <a:lnTo>
                        <a:pt x="101" y="24"/>
                      </a:lnTo>
                      <a:lnTo>
                        <a:pt x="95" y="16"/>
                      </a:lnTo>
                      <a:lnTo>
                        <a:pt x="86" y="9"/>
                      </a:lnTo>
                      <a:lnTo>
                        <a:pt x="77" y="4"/>
                      </a:lnTo>
                      <a:lnTo>
                        <a:pt x="66" y="1"/>
                      </a:lnTo>
                      <a:lnTo>
                        <a:pt x="56" y="0"/>
                      </a:lnTo>
                      <a:lnTo>
                        <a:pt x="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12" name="Freeform 266">
                  <a:extLst>
                    <a:ext uri="{FF2B5EF4-FFF2-40B4-BE49-F238E27FC236}">
                      <a16:creationId xmlns:a16="http://schemas.microsoft.com/office/drawing/2014/main" id="{4B78809C-0E8F-45CF-A9AA-92682B48E3C4}"/>
                    </a:ext>
                  </a:extLst>
                </p:cNvPr>
                <p:cNvSpPr>
                  <a:spLocks/>
                </p:cNvSpPr>
                <p:nvPr/>
              </p:nvSpPr>
              <p:spPr bwMode="auto">
                <a:xfrm>
                  <a:off x="10540992" y="6142682"/>
                  <a:ext cx="87312" cy="88899"/>
                </a:xfrm>
                <a:custGeom>
                  <a:avLst/>
                  <a:gdLst>
                    <a:gd name="T0" fmla="*/ 55 w 112"/>
                    <a:gd name="T1" fmla="*/ 0 h 111"/>
                    <a:gd name="T2" fmla="*/ 55 w 112"/>
                    <a:gd name="T3" fmla="*/ 0 h 111"/>
                    <a:gd name="T4" fmla="*/ 44 w 112"/>
                    <a:gd name="T5" fmla="*/ 1 h 111"/>
                    <a:gd name="T6" fmla="*/ 34 w 112"/>
                    <a:gd name="T7" fmla="*/ 4 h 111"/>
                    <a:gd name="T8" fmla="*/ 24 w 112"/>
                    <a:gd name="T9" fmla="*/ 9 h 111"/>
                    <a:gd name="T10" fmla="*/ 16 w 112"/>
                    <a:gd name="T11" fmla="*/ 16 h 111"/>
                    <a:gd name="T12" fmla="*/ 9 w 112"/>
                    <a:gd name="T13" fmla="*/ 24 h 111"/>
                    <a:gd name="T14" fmla="*/ 4 w 112"/>
                    <a:gd name="T15" fmla="*/ 34 h 111"/>
                    <a:gd name="T16" fmla="*/ 1 w 112"/>
                    <a:gd name="T17" fmla="*/ 44 h 111"/>
                    <a:gd name="T18" fmla="*/ 0 w 112"/>
                    <a:gd name="T19" fmla="*/ 55 h 111"/>
                    <a:gd name="T20" fmla="*/ 0 w 112"/>
                    <a:gd name="T21" fmla="*/ 55 h 111"/>
                    <a:gd name="T22" fmla="*/ 1 w 112"/>
                    <a:gd name="T23" fmla="*/ 67 h 111"/>
                    <a:gd name="T24" fmla="*/ 4 w 112"/>
                    <a:gd name="T25" fmla="*/ 78 h 111"/>
                    <a:gd name="T26" fmla="*/ 9 w 112"/>
                    <a:gd name="T27" fmla="*/ 87 h 111"/>
                    <a:gd name="T28" fmla="*/ 16 w 112"/>
                    <a:gd name="T29" fmla="*/ 95 h 111"/>
                    <a:gd name="T30" fmla="*/ 24 w 112"/>
                    <a:gd name="T31" fmla="*/ 102 h 111"/>
                    <a:gd name="T32" fmla="*/ 34 w 112"/>
                    <a:gd name="T33" fmla="*/ 107 h 111"/>
                    <a:gd name="T34" fmla="*/ 44 w 112"/>
                    <a:gd name="T35" fmla="*/ 110 h 111"/>
                    <a:gd name="T36" fmla="*/ 55 w 112"/>
                    <a:gd name="T37" fmla="*/ 111 h 111"/>
                    <a:gd name="T38" fmla="*/ 55 w 112"/>
                    <a:gd name="T39" fmla="*/ 111 h 111"/>
                    <a:gd name="T40" fmla="*/ 67 w 112"/>
                    <a:gd name="T41" fmla="*/ 110 h 111"/>
                    <a:gd name="T42" fmla="*/ 77 w 112"/>
                    <a:gd name="T43" fmla="*/ 107 h 111"/>
                    <a:gd name="T44" fmla="*/ 87 w 112"/>
                    <a:gd name="T45" fmla="*/ 102 h 111"/>
                    <a:gd name="T46" fmla="*/ 95 w 112"/>
                    <a:gd name="T47" fmla="*/ 95 h 111"/>
                    <a:gd name="T48" fmla="*/ 102 w 112"/>
                    <a:gd name="T49" fmla="*/ 87 h 111"/>
                    <a:gd name="T50" fmla="*/ 106 w 112"/>
                    <a:gd name="T51" fmla="*/ 78 h 111"/>
                    <a:gd name="T52" fmla="*/ 110 w 112"/>
                    <a:gd name="T53" fmla="*/ 67 h 111"/>
                    <a:gd name="T54" fmla="*/ 112 w 112"/>
                    <a:gd name="T55" fmla="*/ 55 h 111"/>
                    <a:gd name="T56" fmla="*/ 112 w 112"/>
                    <a:gd name="T57" fmla="*/ 55 h 111"/>
                    <a:gd name="T58" fmla="*/ 110 w 112"/>
                    <a:gd name="T59" fmla="*/ 44 h 111"/>
                    <a:gd name="T60" fmla="*/ 106 w 112"/>
                    <a:gd name="T61" fmla="*/ 34 h 111"/>
                    <a:gd name="T62" fmla="*/ 102 w 112"/>
                    <a:gd name="T63" fmla="*/ 24 h 111"/>
                    <a:gd name="T64" fmla="*/ 95 w 112"/>
                    <a:gd name="T65" fmla="*/ 16 h 111"/>
                    <a:gd name="T66" fmla="*/ 87 w 112"/>
                    <a:gd name="T67" fmla="*/ 9 h 111"/>
                    <a:gd name="T68" fmla="*/ 77 w 112"/>
                    <a:gd name="T69" fmla="*/ 4 h 111"/>
                    <a:gd name="T70" fmla="*/ 67 w 112"/>
                    <a:gd name="T71" fmla="*/ 1 h 111"/>
                    <a:gd name="T72" fmla="*/ 55 w 112"/>
                    <a:gd name="T73" fmla="*/ 0 h 111"/>
                    <a:gd name="T74" fmla="*/ 55 w 112"/>
                    <a:gd name="T7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111">
                      <a:moveTo>
                        <a:pt x="55" y="0"/>
                      </a:moveTo>
                      <a:lnTo>
                        <a:pt x="55" y="0"/>
                      </a:lnTo>
                      <a:lnTo>
                        <a:pt x="44" y="1"/>
                      </a:lnTo>
                      <a:lnTo>
                        <a:pt x="34" y="4"/>
                      </a:lnTo>
                      <a:lnTo>
                        <a:pt x="24" y="9"/>
                      </a:lnTo>
                      <a:lnTo>
                        <a:pt x="16" y="16"/>
                      </a:lnTo>
                      <a:lnTo>
                        <a:pt x="9" y="24"/>
                      </a:lnTo>
                      <a:lnTo>
                        <a:pt x="4" y="34"/>
                      </a:lnTo>
                      <a:lnTo>
                        <a:pt x="1" y="44"/>
                      </a:lnTo>
                      <a:lnTo>
                        <a:pt x="0" y="55"/>
                      </a:lnTo>
                      <a:lnTo>
                        <a:pt x="0" y="55"/>
                      </a:lnTo>
                      <a:lnTo>
                        <a:pt x="1" y="67"/>
                      </a:lnTo>
                      <a:lnTo>
                        <a:pt x="4" y="78"/>
                      </a:lnTo>
                      <a:lnTo>
                        <a:pt x="9" y="87"/>
                      </a:lnTo>
                      <a:lnTo>
                        <a:pt x="16" y="95"/>
                      </a:lnTo>
                      <a:lnTo>
                        <a:pt x="24" y="102"/>
                      </a:lnTo>
                      <a:lnTo>
                        <a:pt x="34" y="107"/>
                      </a:lnTo>
                      <a:lnTo>
                        <a:pt x="44" y="110"/>
                      </a:lnTo>
                      <a:lnTo>
                        <a:pt x="55" y="111"/>
                      </a:lnTo>
                      <a:lnTo>
                        <a:pt x="55" y="111"/>
                      </a:lnTo>
                      <a:lnTo>
                        <a:pt x="67" y="110"/>
                      </a:lnTo>
                      <a:lnTo>
                        <a:pt x="77" y="107"/>
                      </a:lnTo>
                      <a:lnTo>
                        <a:pt x="87" y="102"/>
                      </a:lnTo>
                      <a:lnTo>
                        <a:pt x="95" y="95"/>
                      </a:lnTo>
                      <a:lnTo>
                        <a:pt x="102" y="87"/>
                      </a:lnTo>
                      <a:lnTo>
                        <a:pt x="106" y="78"/>
                      </a:lnTo>
                      <a:lnTo>
                        <a:pt x="110" y="67"/>
                      </a:lnTo>
                      <a:lnTo>
                        <a:pt x="112" y="55"/>
                      </a:lnTo>
                      <a:lnTo>
                        <a:pt x="112" y="55"/>
                      </a:lnTo>
                      <a:lnTo>
                        <a:pt x="110" y="44"/>
                      </a:lnTo>
                      <a:lnTo>
                        <a:pt x="106" y="34"/>
                      </a:lnTo>
                      <a:lnTo>
                        <a:pt x="102" y="24"/>
                      </a:lnTo>
                      <a:lnTo>
                        <a:pt x="95" y="16"/>
                      </a:lnTo>
                      <a:lnTo>
                        <a:pt x="87" y="9"/>
                      </a:lnTo>
                      <a:lnTo>
                        <a:pt x="77" y="4"/>
                      </a:lnTo>
                      <a:lnTo>
                        <a:pt x="67" y="1"/>
                      </a:lnTo>
                      <a:lnTo>
                        <a:pt x="55" y="0"/>
                      </a:lnTo>
                      <a:lnTo>
                        <a:pt x="5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13" name="Freeform 267">
                  <a:extLst>
                    <a:ext uri="{FF2B5EF4-FFF2-40B4-BE49-F238E27FC236}">
                      <a16:creationId xmlns:a16="http://schemas.microsoft.com/office/drawing/2014/main" id="{F324D8B6-3813-433E-BDA4-8695C1D51E55}"/>
                    </a:ext>
                  </a:extLst>
                </p:cNvPr>
                <p:cNvSpPr>
                  <a:spLocks/>
                </p:cNvSpPr>
                <p:nvPr/>
              </p:nvSpPr>
              <p:spPr bwMode="auto">
                <a:xfrm>
                  <a:off x="10458451" y="6077586"/>
                  <a:ext cx="90488" cy="84138"/>
                </a:xfrm>
                <a:custGeom>
                  <a:avLst/>
                  <a:gdLst>
                    <a:gd name="T0" fmla="*/ 67 w 113"/>
                    <a:gd name="T1" fmla="*/ 52 h 105"/>
                    <a:gd name="T2" fmla="*/ 67 w 113"/>
                    <a:gd name="T3" fmla="*/ 0 h 105"/>
                    <a:gd name="T4" fmla="*/ 67 w 113"/>
                    <a:gd name="T5" fmla="*/ 0 h 105"/>
                    <a:gd name="T6" fmla="*/ 56 w 113"/>
                    <a:gd name="T7" fmla="*/ 1 h 105"/>
                    <a:gd name="T8" fmla="*/ 56 w 113"/>
                    <a:gd name="T9" fmla="*/ 1 h 105"/>
                    <a:gd name="T10" fmla="*/ 47 w 113"/>
                    <a:gd name="T11" fmla="*/ 0 h 105"/>
                    <a:gd name="T12" fmla="*/ 47 w 113"/>
                    <a:gd name="T13" fmla="*/ 52 h 105"/>
                    <a:gd name="T14" fmla="*/ 0 w 113"/>
                    <a:gd name="T15" fmla="*/ 89 h 105"/>
                    <a:gd name="T16" fmla="*/ 0 w 113"/>
                    <a:gd name="T17" fmla="*/ 89 h 105"/>
                    <a:gd name="T18" fmla="*/ 7 w 113"/>
                    <a:gd name="T19" fmla="*/ 97 h 105"/>
                    <a:gd name="T20" fmla="*/ 12 w 113"/>
                    <a:gd name="T21" fmla="*/ 105 h 105"/>
                    <a:gd name="T22" fmla="*/ 56 w 113"/>
                    <a:gd name="T23" fmla="*/ 70 h 105"/>
                    <a:gd name="T24" fmla="*/ 101 w 113"/>
                    <a:gd name="T25" fmla="*/ 105 h 105"/>
                    <a:gd name="T26" fmla="*/ 101 w 113"/>
                    <a:gd name="T27" fmla="*/ 105 h 105"/>
                    <a:gd name="T28" fmla="*/ 106 w 113"/>
                    <a:gd name="T29" fmla="*/ 97 h 105"/>
                    <a:gd name="T30" fmla="*/ 113 w 113"/>
                    <a:gd name="T31" fmla="*/ 89 h 105"/>
                    <a:gd name="T32" fmla="*/ 67 w 113"/>
                    <a:gd name="T33" fmla="*/ 5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 h="105">
                      <a:moveTo>
                        <a:pt x="67" y="52"/>
                      </a:moveTo>
                      <a:lnTo>
                        <a:pt x="67" y="0"/>
                      </a:lnTo>
                      <a:lnTo>
                        <a:pt x="67" y="0"/>
                      </a:lnTo>
                      <a:lnTo>
                        <a:pt x="56" y="1"/>
                      </a:lnTo>
                      <a:lnTo>
                        <a:pt x="56" y="1"/>
                      </a:lnTo>
                      <a:lnTo>
                        <a:pt x="47" y="0"/>
                      </a:lnTo>
                      <a:lnTo>
                        <a:pt x="47" y="52"/>
                      </a:lnTo>
                      <a:lnTo>
                        <a:pt x="0" y="89"/>
                      </a:lnTo>
                      <a:lnTo>
                        <a:pt x="0" y="89"/>
                      </a:lnTo>
                      <a:lnTo>
                        <a:pt x="7" y="97"/>
                      </a:lnTo>
                      <a:lnTo>
                        <a:pt x="12" y="105"/>
                      </a:lnTo>
                      <a:lnTo>
                        <a:pt x="56" y="70"/>
                      </a:lnTo>
                      <a:lnTo>
                        <a:pt x="101" y="105"/>
                      </a:lnTo>
                      <a:lnTo>
                        <a:pt x="101" y="105"/>
                      </a:lnTo>
                      <a:lnTo>
                        <a:pt x="106" y="97"/>
                      </a:lnTo>
                      <a:lnTo>
                        <a:pt x="113" y="89"/>
                      </a:lnTo>
                      <a:lnTo>
                        <a:pt x="67"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61" name="Group 60">
                <a:extLst>
                  <a:ext uri="{FF2B5EF4-FFF2-40B4-BE49-F238E27FC236}">
                    <a16:creationId xmlns:a16="http://schemas.microsoft.com/office/drawing/2014/main" id="{0B94861D-F324-4100-B10B-9D59F8237C5D}"/>
                  </a:ext>
                </a:extLst>
              </p:cNvPr>
              <p:cNvGrpSpPr>
                <a:grpSpLocks noChangeAspect="1"/>
              </p:cNvGrpSpPr>
              <p:nvPr/>
            </p:nvGrpSpPr>
            <p:grpSpPr>
              <a:xfrm>
                <a:off x="3404419" y="3253267"/>
                <a:ext cx="320040" cy="320040"/>
                <a:chOff x="4071938" y="2498725"/>
                <a:chExt cx="522288" cy="522288"/>
              </a:xfrm>
            </p:grpSpPr>
            <p:sp>
              <p:nvSpPr>
                <p:cNvPr id="102" name="Freeform 46">
                  <a:extLst>
                    <a:ext uri="{FF2B5EF4-FFF2-40B4-BE49-F238E27FC236}">
                      <a16:creationId xmlns:a16="http://schemas.microsoft.com/office/drawing/2014/main" id="{410793BA-FBE2-4B05-B4CF-A4BEE1B8747D}"/>
                    </a:ext>
                  </a:extLst>
                </p:cNvPr>
                <p:cNvSpPr>
                  <a:spLocks noEditPoints="1"/>
                </p:cNvSpPr>
                <p:nvPr/>
              </p:nvSpPr>
              <p:spPr bwMode="auto">
                <a:xfrm>
                  <a:off x="4071938" y="2498725"/>
                  <a:ext cx="522288" cy="522288"/>
                </a:xfrm>
                <a:custGeom>
                  <a:avLst/>
                  <a:gdLst>
                    <a:gd name="T0" fmla="*/ 313 w 658"/>
                    <a:gd name="T1" fmla="*/ 657 h 657"/>
                    <a:gd name="T2" fmla="*/ 263 w 658"/>
                    <a:gd name="T3" fmla="*/ 651 h 657"/>
                    <a:gd name="T4" fmla="*/ 201 w 658"/>
                    <a:gd name="T5" fmla="*/ 631 h 657"/>
                    <a:gd name="T6" fmla="*/ 120 w 658"/>
                    <a:gd name="T7" fmla="*/ 583 h 657"/>
                    <a:gd name="T8" fmla="*/ 56 w 658"/>
                    <a:gd name="T9" fmla="*/ 512 h 657"/>
                    <a:gd name="T10" fmla="*/ 14 w 658"/>
                    <a:gd name="T11" fmla="*/ 426 h 657"/>
                    <a:gd name="T12" fmla="*/ 4 w 658"/>
                    <a:gd name="T13" fmla="*/ 379 h 657"/>
                    <a:gd name="T14" fmla="*/ 0 w 658"/>
                    <a:gd name="T15" fmla="*/ 329 h 657"/>
                    <a:gd name="T16" fmla="*/ 2 w 658"/>
                    <a:gd name="T17" fmla="*/ 295 h 657"/>
                    <a:gd name="T18" fmla="*/ 10 w 658"/>
                    <a:gd name="T19" fmla="*/ 247 h 657"/>
                    <a:gd name="T20" fmla="*/ 40 w 658"/>
                    <a:gd name="T21" fmla="*/ 172 h 657"/>
                    <a:gd name="T22" fmla="*/ 96 w 658"/>
                    <a:gd name="T23" fmla="*/ 97 h 657"/>
                    <a:gd name="T24" fmla="*/ 173 w 658"/>
                    <a:gd name="T25" fmla="*/ 40 h 657"/>
                    <a:gd name="T26" fmla="*/ 247 w 658"/>
                    <a:gd name="T27" fmla="*/ 11 h 657"/>
                    <a:gd name="T28" fmla="*/ 295 w 658"/>
                    <a:gd name="T29" fmla="*/ 1 h 657"/>
                    <a:gd name="T30" fmla="*/ 329 w 658"/>
                    <a:gd name="T31" fmla="*/ 0 h 657"/>
                    <a:gd name="T32" fmla="*/ 378 w 658"/>
                    <a:gd name="T33" fmla="*/ 4 h 657"/>
                    <a:gd name="T34" fmla="*/ 427 w 658"/>
                    <a:gd name="T35" fmla="*/ 15 h 657"/>
                    <a:gd name="T36" fmla="*/ 513 w 658"/>
                    <a:gd name="T37" fmla="*/ 56 h 657"/>
                    <a:gd name="T38" fmla="*/ 583 w 658"/>
                    <a:gd name="T39" fmla="*/ 119 h 657"/>
                    <a:gd name="T40" fmla="*/ 632 w 658"/>
                    <a:gd name="T41" fmla="*/ 201 h 657"/>
                    <a:gd name="T42" fmla="*/ 651 w 658"/>
                    <a:gd name="T43" fmla="*/ 262 h 657"/>
                    <a:gd name="T44" fmla="*/ 658 w 658"/>
                    <a:gd name="T45" fmla="*/ 311 h 657"/>
                    <a:gd name="T46" fmla="*/ 658 w 658"/>
                    <a:gd name="T47" fmla="*/ 345 h 657"/>
                    <a:gd name="T48" fmla="*/ 651 w 658"/>
                    <a:gd name="T49" fmla="*/ 395 h 657"/>
                    <a:gd name="T50" fmla="*/ 632 w 658"/>
                    <a:gd name="T51" fmla="*/ 457 h 657"/>
                    <a:gd name="T52" fmla="*/ 583 w 658"/>
                    <a:gd name="T53" fmla="*/ 537 h 657"/>
                    <a:gd name="T54" fmla="*/ 513 w 658"/>
                    <a:gd name="T55" fmla="*/ 602 h 657"/>
                    <a:gd name="T56" fmla="*/ 427 w 658"/>
                    <a:gd name="T57" fmla="*/ 642 h 657"/>
                    <a:gd name="T58" fmla="*/ 378 w 658"/>
                    <a:gd name="T59" fmla="*/ 654 h 657"/>
                    <a:gd name="T60" fmla="*/ 329 w 658"/>
                    <a:gd name="T61" fmla="*/ 657 h 657"/>
                    <a:gd name="T62" fmla="*/ 329 w 658"/>
                    <a:gd name="T63" fmla="*/ 37 h 657"/>
                    <a:gd name="T64" fmla="*/ 243 w 658"/>
                    <a:gd name="T65" fmla="*/ 51 h 657"/>
                    <a:gd name="T66" fmla="*/ 166 w 658"/>
                    <a:gd name="T67" fmla="*/ 87 h 657"/>
                    <a:gd name="T68" fmla="*/ 104 w 658"/>
                    <a:gd name="T69" fmla="*/ 144 h 657"/>
                    <a:gd name="T70" fmla="*/ 61 w 658"/>
                    <a:gd name="T71" fmla="*/ 215 h 657"/>
                    <a:gd name="T72" fmla="*/ 40 w 658"/>
                    <a:gd name="T73" fmla="*/ 299 h 657"/>
                    <a:gd name="T74" fmla="*/ 40 w 658"/>
                    <a:gd name="T75" fmla="*/ 358 h 657"/>
                    <a:gd name="T76" fmla="*/ 61 w 658"/>
                    <a:gd name="T77" fmla="*/ 442 h 657"/>
                    <a:gd name="T78" fmla="*/ 104 w 658"/>
                    <a:gd name="T79" fmla="*/ 514 h 657"/>
                    <a:gd name="T80" fmla="*/ 166 w 658"/>
                    <a:gd name="T81" fmla="*/ 569 h 657"/>
                    <a:gd name="T82" fmla="*/ 243 w 658"/>
                    <a:gd name="T83" fmla="*/ 607 h 657"/>
                    <a:gd name="T84" fmla="*/ 329 w 658"/>
                    <a:gd name="T85" fmla="*/ 619 h 657"/>
                    <a:gd name="T86" fmla="*/ 388 w 658"/>
                    <a:gd name="T87" fmla="*/ 614 h 657"/>
                    <a:gd name="T88" fmla="*/ 467 w 658"/>
                    <a:gd name="T89" fmla="*/ 584 h 657"/>
                    <a:gd name="T90" fmla="*/ 534 w 658"/>
                    <a:gd name="T91" fmla="*/ 534 h 657"/>
                    <a:gd name="T92" fmla="*/ 585 w 658"/>
                    <a:gd name="T93" fmla="*/ 467 h 657"/>
                    <a:gd name="T94" fmla="*/ 615 w 658"/>
                    <a:gd name="T95" fmla="*/ 387 h 657"/>
                    <a:gd name="T96" fmla="*/ 620 w 658"/>
                    <a:gd name="T97" fmla="*/ 329 h 657"/>
                    <a:gd name="T98" fmla="*/ 607 w 658"/>
                    <a:gd name="T99" fmla="*/ 242 h 657"/>
                    <a:gd name="T100" fmla="*/ 570 w 658"/>
                    <a:gd name="T101" fmla="*/ 166 h 657"/>
                    <a:gd name="T102" fmla="*/ 514 w 658"/>
                    <a:gd name="T103" fmla="*/ 105 h 657"/>
                    <a:gd name="T104" fmla="*/ 443 w 658"/>
                    <a:gd name="T105" fmla="*/ 60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5" y="655"/>
                      </a:lnTo>
                      <a:lnTo>
                        <a:pt x="279" y="654"/>
                      </a:lnTo>
                      <a:lnTo>
                        <a:pt x="263" y="651"/>
                      </a:lnTo>
                      <a:lnTo>
                        <a:pt x="247" y="647"/>
                      </a:lnTo>
                      <a:lnTo>
                        <a:pt x="232" y="642"/>
                      </a:lnTo>
                      <a:lnTo>
                        <a:pt x="201" y="631"/>
                      </a:lnTo>
                      <a:lnTo>
                        <a:pt x="173" y="618"/>
                      </a:lnTo>
                      <a:lnTo>
                        <a:pt x="145" y="602"/>
                      </a:lnTo>
                      <a:lnTo>
                        <a:pt x="120" y="583"/>
                      </a:lnTo>
                      <a:lnTo>
                        <a:pt x="96" y="561"/>
                      </a:lnTo>
                      <a:lnTo>
                        <a:pt x="75" y="537"/>
                      </a:lnTo>
                      <a:lnTo>
                        <a:pt x="56" y="512"/>
                      </a:lnTo>
                      <a:lnTo>
                        <a:pt x="40" y="485"/>
                      </a:lnTo>
                      <a:lnTo>
                        <a:pt x="26" y="457"/>
                      </a:lnTo>
                      <a:lnTo>
                        <a:pt x="14" y="426"/>
                      </a:lnTo>
                      <a:lnTo>
                        <a:pt x="10" y="411"/>
                      </a:lnTo>
                      <a:lnTo>
                        <a:pt x="6" y="395"/>
                      </a:lnTo>
                      <a:lnTo>
                        <a:pt x="4" y="379"/>
                      </a:lnTo>
                      <a:lnTo>
                        <a:pt x="2" y="362"/>
                      </a:lnTo>
                      <a:lnTo>
                        <a:pt x="1" y="345"/>
                      </a:lnTo>
                      <a:lnTo>
                        <a:pt x="0" y="329"/>
                      </a:lnTo>
                      <a:lnTo>
                        <a:pt x="0" y="329"/>
                      </a:lnTo>
                      <a:lnTo>
                        <a:pt x="1" y="311"/>
                      </a:lnTo>
                      <a:lnTo>
                        <a:pt x="2" y="295"/>
                      </a:lnTo>
                      <a:lnTo>
                        <a:pt x="4" y="279"/>
                      </a:lnTo>
                      <a:lnTo>
                        <a:pt x="6" y="262"/>
                      </a:lnTo>
                      <a:lnTo>
                        <a:pt x="10" y="247"/>
                      </a:lnTo>
                      <a:lnTo>
                        <a:pt x="14" y="231"/>
                      </a:lnTo>
                      <a:lnTo>
                        <a:pt x="26" y="201"/>
                      </a:lnTo>
                      <a:lnTo>
                        <a:pt x="40" y="172"/>
                      </a:lnTo>
                      <a:lnTo>
                        <a:pt x="56" y="145"/>
                      </a:lnTo>
                      <a:lnTo>
                        <a:pt x="75" y="119"/>
                      </a:lnTo>
                      <a:lnTo>
                        <a:pt x="96" y="97"/>
                      </a:lnTo>
                      <a:lnTo>
                        <a:pt x="120" y="75"/>
                      </a:lnTo>
                      <a:lnTo>
                        <a:pt x="145" y="56"/>
                      </a:lnTo>
                      <a:lnTo>
                        <a:pt x="173" y="40"/>
                      </a:lnTo>
                      <a:lnTo>
                        <a:pt x="201" y="25"/>
                      </a:lnTo>
                      <a:lnTo>
                        <a:pt x="232" y="15"/>
                      </a:lnTo>
                      <a:lnTo>
                        <a:pt x="247" y="11"/>
                      </a:lnTo>
                      <a:lnTo>
                        <a:pt x="263" y="7"/>
                      </a:lnTo>
                      <a:lnTo>
                        <a:pt x="279" y="4"/>
                      </a:lnTo>
                      <a:lnTo>
                        <a:pt x="295" y="1"/>
                      </a:lnTo>
                      <a:lnTo>
                        <a:pt x="313" y="0"/>
                      </a:lnTo>
                      <a:lnTo>
                        <a:pt x="329" y="0"/>
                      </a:lnTo>
                      <a:lnTo>
                        <a:pt x="329" y="0"/>
                      </a:lnTo>
                      <a:lnTo>
                        <a:pt x="346" y="0"/>
                      </a:lnTo>
                      <a:lnTo>
                        <a:pt x="362" y="1"/>
                      </a:lnTo>
                      <a:lnTo>
                        <a:pt x="378" y="4"/>
                      </a:lnTo>
                      <a:lnTo>
                        <a:pt x="396" y="7"/>
                      </a:lnTo>
                      <a:lnTo>
                        <a:pt x="411" y="11"/>
                      </a:lnTo>
                      <a:lnTo>
                        <a:pt x="427" y="15"/>
                      </a:lnTo>
                      <a:lnTo>
                        <a:pt x="456" y="25"/>
                      </a:lnTo>
                      <a:lnTo>
                        <a:pt x="486" y="40"/>
                      </a:lnTo>
                      <a:lnTo>
                        <a:pt x="513" y="56"/>
                      </a:lnTo>
                      <a:lnTo>
                        <a:pt x="538" y="75"/>
                      </a:lnTo>
                      <a:lnTo>
                        <a:pt x="561" y="97"/>
                      </a:lnTo>
                      <a:lnTo>
                        <a:pt x="583" y="119"/>
                      </a:lnTo>
                      <a:lnTo>
                        <a:pt x="601" y="145"/>
                      </a:lnTo>
                      <a:lnTo>
                        <a:pt x="617" y="172"/>
                      </a:lnTo>
                      <a:lnTo>
                        <a:pt x="632" y="201"/>
                      </a:lnTo>
                      <a:lnTo>
                        <a:pt x="643" y="231"/>
                      </a:lnTo>
                      <a:lnTo>
                        <a:pt x="647" y="247"/>
                      </a:lnTo>
                      <a:lnTo>
                        <a:pt x="651" y="262"/>
                      </a:lnTo>
                      <a:lnTo>
                        <a:pt x="654" y="279"/>
                      </a:lnTo>
                      <a:lnTo>
                        <a:pt x="656" y="295"/>
                      </a:lnTo>
                      <a:lnTo>
                        <a:pt x="658" y="311"/>
                      </a:lnTo>
                      <a:lnTo>
                        <a:pt x="658" y="329"/>
                      </a:lnTo>
                      <a:lnTo>
                        <a:pt x="658" y="329"/>
                      </a:lnTo>
                      <a:lnTo>
                        <a:pt x="658" y="345"/>
                      </a:lnTo>
                      <a:lnTo>
                        <a:pt x="656" y="362"/>
                      </a:lnTo>
                      <a:lnTo>
                        <a:pt x="654" y="379"/>
                      </a:lnTo>
                      <a:lnTo>
                        <a:pt x="651" y="395"/>
                      </a:lnTo>
                      <a:lnTo>
                        <a:pt x="647" y="411"/>
                      </a:lnTo>
                      <a:lnTo>
                        <a:pt x="643" y="426"/>
                      </a:lnTo>
                      <a:lnTo>
                        <a:pt x="632" y="457"/>
                      </a:lnTo>
                      <a:lnTo>
                        <a:pt x="617" y="485"/>
                      </a:lnTo>
                      <a:lnTo>
                        <a:pt x="601" y="512"/>
                      </a:lnTo>
                      <a:lnTo>
                        <a:pt x="583" y="537"/>
                      </a:lnTo>
                      <a:lnTo>
                        <a:pt x="561" y="561"/>
                      </a:lnTo>
                      <a:lnTo>
                        <a:pt x="538" y="583"/>
                      </a:lnTo>
                      <a:lnTo>
                        <a:pt x="513" y="602"/>
                      </a:lnTo>
                      <a:lnTo>
                        <a:pt x="486" y="618"/>
                      </a:lnTo>
                      <a:lnTo>
                        <a:pt x="456" y="631"/>
                      </a:lnTo>
                      <a:lnTo>
                        <a:pt x="427" y="642"/>
                      </a:lnTo>
                      <a:lnTo>
                        <a:pt x="411" y="647"/>
                      </a:lnTo>
                      <a:lnTo>
                        <a:pt x="396" y="651"/>
                      </a:lnTo>
                      <a:lnTo>
                        <a:pt x="378" y="654"/>
                      </a:lnTo>
                      <a:lnTo>
                        <a:pt x="362" y="655"/>
                      </a:lnTo>
                      <a:lnTo>
                        <a:pt x="346" y="657"/>
                      </a:lnTo>
                      <a:lnTo>
                        <a:pt x="329" y="657"/>
                      </a:lnTo>
                      <a:lnTo>
                        <a:pt x="329" y="657"/>
                      </a:lnTo>
                      <a:close/>
                      <a:moveTo>
                        <a:pt x="329" y="37"/>
                      </a:moveTo>
                      <a:lnTo>
                        <a:pt x="329" y="37"/>
                      </a:lnTo>
                      <a:lnTo>
                        <a:pt x="299" y="39"/>
                      </a:lnTo>
                      <a:lnTo>
                        <a:pt x="271" y="43"/>
                      </a:lnTo>
                      <a:lnTo>
                        <a:pt x="243" y="51"/>
                      </a:lnTo>
                      <a:lnTo>
                        <a:pt x="216" y="60"/>
                      </a:lnTo>
                      <a:lnTo>
                        <a:pt x="190" y="72"/>
                      </a:lnTo>
                      <a:lnTo>
                        <a:pt x="166" y="87"/>
                      </a:lnTo>
                      <a:lnTo>
                        <a:pt x="143" y="105"/>
                      </a:lnTo>
                      <a:lnTo>
                        <a:pt x="123" y="123"/>
                      </a:lnTo>
                      <a:lnTo>
                        <a:pt x="104" y="144"/>
                      </a:lnTo>
                      <a:lnTo>
                        <a:pt x="88" y="166"/>
                      </a:lnTo>
                      <a:lnTo>
                        <a:pt x="73" y="189"/>
                      </a:lnTo>
                      <a:lnTo>
                        <a:pt x="61" y="215"/>
                      </a:lnTo>
                      <a:lnTo>
                        <a:pt x="51" y="242"/>
                      </a:lnTo>
                      <a:lnTo>
                        <a:pt x="44" y="270"/>
                      </a:lnTo>
                      <a:lnTo>
                        <a:pt x="40" y="299"/>
                      </a:lnTo>
                      <a:lnTo>
                        <a:pt x="37" y="329"/>
                      </a:lnTo>
                      <a:lnTo>
                        <a:pt x="37" y="329"/>
                      </a:lnTo>
                      <a:lnTo>
                        <a:pt x="40" y="358"/>
                      </a:lnTo>
                      <a:lnTo>
                        <a:pt x="44" y="387"/>
                      </a:lnTo>
                      <a:lnTo>
                        <a:pt x="51" y="415"/>
                      </a:lnTo>
                      <a:lnTo>
                        <a:pt x="61" y="442"/>
                      </a:lnTo>
                      <a:lnTo>
                        <a:pt x="73" y="467"/>
                      </a:lnTo>
                      <a:lnTo>
                        <a:pt x="88" y="491"/>
                      </a:lnTo>
                      <a:lnTo>
                        <a:pt x="104" y="514"/>
                      </a:lnTo>
                      <a:lnTo>
                        <a:pt x="123" y="534"/>
                      </a:lnTo>
                      <a:lnTo>
                        <a:pt x="143" y="553"/>
                      </a:lnTo>
                      <a:lnTo>
                        <a:pt x="166" y="569"/>
                      </a:lnTo>
                      <a:lnTo>
                        <a:pt x="190" y="584"/>
                      </a:lnTo>
                      <a:lnTo>
                        <a:pt x="216" y="596"/>
                      </a:lnTo>
                      <a:lnTo>
                        <a:pt x="243" y="607"/>
                      </a:lnTo>
                      <a:lnTo>
                        <a:pt x="271" y="614"/>
                      </a:lnTo>
                      <a:lnTo>
                        <a:pt x="299" y="618"/>
                      </a:lnTo>
                      <a:lnTo>
                        <a:pt x="329" y="619"/>
                      </a:lnTo>
                      <a:lnTo>
                        <a:pt x="329" y="619"/>
                      </a:lnTo>
                      <a:lnTo>
                        <a:pt x="358" y="618"/>
                      </a:lnTo>
                      <a:lnTo>
                        <a:pt x="388" y="614"/>
                      </a:lnTo>
                      <a:lnTo>
                        <a:pt x="416" y="607"/>
                      </a:lnTo>
                      <a:lnTo>
                        <a:pt x="443" y="596"/>
                      </a:lnTo>
                      <a:lnTo>
                        <a:pt x="467" y="584"/>
                      </a:lnTo>
                      <a:lnTo>
                        <a:pt x="491" y="569"/>
                      </a:lnTo>
                      <a:lnTo>
                        <a:pt x="514" y="553"/>
                      </a:lnTo>
                      <a:lnTo>
                        <a:pt x="534" y="534"/>
                      </a:lnTo>
                      <a:lnTo>
                        <a:pt x="553" y="514"/>
                      </a:lnTo>
                      <a:lnTo>
                        <a:pt x="570" y="491"/>
                      </a:lnTo>
                      <a:lnTo>
                        <a:pt x="585" y="467"/>
                      </a:lnTo>
                      <a:lnTo>
                        <a:pt x="597" y="442"/>
                      </a:lnTo>
                      <a:lnTo>
                        <a:pt x="607" y="415"/>
                      </a:lnTo>
                      <a:lnTo>
                        <a:pt x="615" y="387"/>
                      </a:lnTo>
                      <a:lnTo>
                        <a:pt x="619" y="358"/>
                      </a:lnTo>
                      <a:lnTo>
                        <a:pt x="620" y="329"/>
                      </a:lnTo>
                      <a:lnTo>
                        <a:pt x="620" y="329"/>
                      </a:lnTo>
                      <a:lnTo>
                        <a:pt x="619" y="299"/>
                      </a:lnTo>
                      <a:lnTo>
                        <a:pt x="615" y="270"/>
                      </a:lnTo>
                      <a:lnTo>
                        <a:pt x="607" y="242"/>
                      </a:lnTo>
                      <a:lnTo>
                        <a:pt x="597" y="215"/>
                      </a:lnTo>
                      <a:lnTo>
                        <a:pt x="585" y="189"/>
                      </a:lnTo>
                      <a:lnTo>
                        <a:pt x="570" y="166"/>
                      </a:lnTo>
                      <a:lnTo>
                        <a:pt x="553" y="144"/>
                      </a:lnTo>
                      <a:lnTo>
                        <a:pt x="534" y="123"/>
                      </a:lnTo>
                      <a:lnTo>
                        <a:pt x="514" y="105"/>
                      </a:lnTo>
                      <a:lnTo>
                        <a:pt x="491" y="87"/>
                      </a:lnTo>
                      <a:lnTo>
                        <a:pt x="467" y="72"/>
                      </a:lnTo>
                      <a:lnTo>
                        <a:pt x="443" y="60"/>
                      </a:lnTo>
                      <a:lnTo>
                        <a:pt x="416" y="51"/>
                      </a:lnTo>
                      <a:lnTo>
                        <a:pt x="388" y="43"/>
                      </a:lnTo>
                      <a:lnTo>
                        <a:pt x="358"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03" name="Freeform 207">
                  <a:extLst>
                    <a:ext uri="{FF2B5EF4-FFF2-40B4-BE49-F238E27FC236}">
                      <a16:creationId xmlns:a16="http://schemas.microsoft.com/office/drawing/2014/main" id="{5DBCDD42-DE0C-410C-A75C-3F327AA835D7}"/>
                    </a:ext>
                  </a:extLst>
                </p:cNvPr>
                <p:cNvSpPr>
                  <a:spLocks/>
                </p:cNvSpPr>
                <p:nvPr/>
              </p:nvSpPr>
              <p:spPr bwMode="auto">
                <a:xfrm>
                  <a:off x="4224338" y="2814638"/>
                  <a:ext cx="63500" cy="46038"/>
                </a:xfrm>
                <a:custGeom>
                  <a:avLst/>
                  <a:gdLst>
                    <a:gd name="T0" fmla="*/ 79 w 79"/>
                    <a:gd name="T1" fmla="*/ 55 h 59"/>
                    <a:gd name="T2" fmla="*/ 79 w 79"/>
                    <a:gd name="T3" fmla="*/ 0 h 59"/>
                    <a:gd name="T4" fmla="*/ 0 w 79"/>
                    <a:gd name="T5" fmla="*/ 0 h 59"/>
                    <a:gd name="T6" fmla="*/ 0 w 79"/>
                    <a:gd name="T7" fmla="*/ 55 h 59"/>
                    <a:gd name="T8" fmla="*/ 0 w 79"/>
                    <a:gd name="T9" fmla="*/ 55 h 59"/>
                    <a:gd name="T10" fmla="*/ 1 w 79"/>
                    <a:gd name="T11" fmla="*/ 58 h 59"/>
                    <a:gd name="T12" fmla="*/ 5 w 79"/>
                    <a:gd name="T13" fmla="*/ 59 h 59"/>
                    <a:gd name="T14" fmla="*/ 75 w 79"/>
                    <a:gd name="T15" fmla="*/ 59 h 59"/>
                    <a:gd name="T16" fmla="*/ 75 w 79"/>
                    <a:gd name="T17" fmla="*/ 59 h 59"/>
                    <a:gd name="T18" fmla="*/ 78 w 79"/>
                    <a:gd name="T19" fmla="*/ 58 h 59"/>
                    <a:gd name="T20" fmla="*/ 79 w 79"/>
                    <a:gd name="T21" fmla="*/ 55 h 59"/>
                    <a:gd name="T22" fmla="*/ 79 w 79"/>
                    <a:gd name="T23" fmla="*/ 55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9" h="59">
                      <a:moveTo>
                        <a:pt x="79" y="55"/>
                      </a:moveTo>
                      <a:lnTo>
                        <a:pt x="79" y="0"/>
                      </a:lnTo>
                      <a:lnTo>
                        <a:pt x="0" y="0"/>
                      </a:lnTo>
                      <a:lnTo>
                        <a:pt x="0" y="55"/>
                      </a:lnTo>
                      <a:lnTo>
                        <a:pt x="0" y="55"/>
                      </a:lnTo>
                      <a:lnTo>
                        <a:pt x="1" y="58"/>
                      </a:lnTo>
                      <a:lnTo>
                        <a:pt x="5" y="59"/>
                      </a:lnTo>
                      <a:lnTo>
                        <a:pt x="75" y="59"/>
                      </a:lnTo>
                      <a:lnTo>
                        <a:pt x="75" y="59"/>
                      </a:lnTo>
                      <a:lnTo>
                        <a:pt x="78" y="58"/>
                      </a:lnTo>
                      <a:lnTo>
                        <a:pt x="79" y="55"/>
                      </a:lnTo>
                      <a:lnTo>
                        <a:pt x="79"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04" name="Freeform 208">
                  <a:extLst>
                    <a:ext uri="{FF2B5EF4-FFF2-40B4-BE49-F238E27FC236}">
                      <a16:creationId xmlns:a16="http://schemas.microsoft.com/office/drawing/2014/main" id="{C1BA3306-1C91-40E0-B793-41CD034CAE41}"/>
                    </a:ext>
                  </a:extLst>
                </p:cNvPr>
                <p:cNvSpPr>
                  <a:spLocks noEditPoints="1"/>
                </p:cNvSpPr>
                <p:nvPr/>
              </p:nvSpPr>
              <p:spPr bwMode="auto">
                <a:xfrm>
                  <a:off x="4224338" y="2663825"/>
                  <a:ext cx="63500" cy="142875"/>
                </a:xfrm>
                <a:custGeom>
                  <a:avLst/>
                  <a:gdLst>
                    <a:gd name="T0" fmla="*/ 79 w 79"/>
                    <a:gd name="T1" fmla="*/ 5 h 180"/>
                    <a:gd name="T2" fmla="*/ 79 w 79"/>
                    <a:gd name="T3" fmla="*/ 5 h 180"/>
                    <a:gd name="T4" fmla="*/ 78 w 79"/>
                    <a:gd name="T5" fmla="*/ 1 h 180"/>
                    <a:gd name="T6" fmla="*/ 75 w 79"/>
                    <a:gd name="T7" fmla="*/ 0 h 180"/>
                    <a:gd name="T8" fmla="*/ 5 w 79"/>
                    <a:gd name="T9" fmla="*/ 0 h 180"/>
                    <a:gd name="T10" fmla="*/ 5 w 79"/>
                    <a:gd name="T11" fmla="*/ 0 h 180"/>
                    <a:gd name="T12" fmla="*/ 1 w 79"/>
                    <a:gd name="T13" fmla="*/ 1 h 180"/>
                    <a:gd name="T14" fmla="*/ 0 w 79"/>
                    <a:gd name="T15" fmla="*/ 5 h 180"/>
                    <a:gd name="T16" fmla="*/ 0 w 79"/>
                    <a:gd name="T17" fmla="*/ 180 h 180"/>
                    <a:gd name="T18" fmla="*/ 79 w 79"/>
                    <a:gd name="T19" fmla="*/ 180 h 180"/>
                    <a:gd name="T20" fmla="*/ 79 w 79"/>
                    <a:gd name="T21" fmla="*/ 5 h 180"/>
                    <a:gd name="T22" fmla="*/ 45 w 79"/>
                    <a:gd name="T23" fmla="*/ 130 h 180"/>
                    <a:gd name="T24" fmla="*/ 35 w 79"/>
                    <a:gd name="T25" fmla="*/ 130 h 180"/>
                    <a:gd name="T26" fmla="*/ 35 w 79"/>
                    <a:gd name="T27" fmla="*/ 130 h 180"/>
                    <a:gd name="T28" fmla="*/ 32 w 79"/>
                    <a:gd name="T29" fmla="*/ 127 h 180"/>
                    <a:gd name="T30" fmla="*/ 29 w 79"/>
                    <a:gd name="T31" fmla="*/ 125 h 180"/>
                    <a:gd name="T32" fmla="*/ 29 w 79"/>
                    <a:gd name="T33" fmla="*/ 125 h 180"/>
                    <a:gd name="T34" fmla="*/ 32 w 79"/>
                    <a:gd name="T35" fmla="*/ 121 h 180"/>
                    <a:gd name="T36" fmla="*/ 35 w 79"/>
                    <a:gd name="T37" fmla="*/ 119 h 180"/>
                    <a:gd name="T38" fmla="*/ 45 w 79"/>
                    <a:gd name="T39" fmla="*/ 119 h 180"/>
                    <a:gd name="T40" fmla="*/ 45 w 79"/>
                    <a:gd name="T41" fmla="*/ 119 h 180"/>
                    <a:gd name="T42" fmla="*/ 48 w 79"/>
                    <a:gd name="T43" fmla="*/ 121 h 180"/>
                    <a:gd name="T44" fmla="*/ 49 w 79"/>
                    <a:gd name="T45" fmla="*/ 125 h 180"/>
                    <a:gd name="T46" fmla="*/ 49 w 79"/>
                    <a:gd name="T47" fmla="*/ 125 h 180"/>
                    <a:gd name="T48" fmla="*/ 48 w 79"/>
                    <a:gd name="T49" fmla="*/ 127 h 180"/>
                    <a:gd name="T50" fmla="*/ 45 w 79"/>
                    <a:gd name="T51" fmla="*/ 130 h 180"/>
                    <a:gd name="T52" fmla="*/ 45 w 79"/>
                    <a:gd name="T53" fmla="*/ 130 h 180"/>
                    <a:gd name="T54" fmla="*/ 45 w 79"/>
                    <a:gd name="T55" fmla="*/ 90 h 180"/>
                    <a:gd name="T56" fmla="*/ 35 w 79"/>
                    <a:gd name="T57" fmla="*/ 90 h 180"/>
                    <a:gd name="T58" fmla="*/ 35 w 79"/>
                    <a:gd name="T59" fmla="*/ 90 h 180"/>
                    <a:gd name="T60" fmla="*/ 32 w 79"/>
                    <a:gd name="T61" fmla="*/ 88 h 180"/>
                    <a:gd name="T62" fmla="*/ 29 w 79"/>
                    <a:gd name="T63" fmla="*/ 84 h 180"/>
                    <a:gd name="T64" fmla="*/ 29 w 79"/>
                    <a:gd name="T65" fmla="*/ 84 h 180"/>
                    <a:gd name="T66" fmla="*/ 32 w 79"/>
                    <a:gd name="T67" fmla="*/ 82 h 180"/>
                    <a:gd name="T68" fmla="*/ 35 w 79"/>
                    <a:gd name="T69" fmla="*/ 79 h 180"/>
                    <a:gd name="T70" fmla="*/ 45 w 79"/>
                    <a:gd name="T71" fmla="*/ 79 h 180"/>
                    <a:gd name="T72" fmla="*/ 45 w 79"/>
                    <a:gd name="T73" fmla="*/ 79 h 180"/>
                    <a:gd name="T74" fmla="*/ 48 w 79"/>
                    <a:gd name="T75" fmla="*/ 82 h 180"/>
                    <a:gd name="T76" fmla="*/ 49 w 79"/>
                    <a:gd name="T77" fmla="*/ 84 h 180"/>
                    <a:gd name="T78" fmla="*/ 49 w 79"/>
                    <a:gd name="T79" fmla="*/ 84 h 180"/>
                    <a:gd name="T80" fmla="*/ 48 w 79"/>
                    <a:gd name="T81" fmla="*/ 88 h 180"/>
                    <a:gd name="T82" fmla="*/ 45 w 79"/>
                    <a:gd name="T83" fmla="*/ 90 h 180"/>
                    <a:gd name="T84" fmla="*/ 45 w 79"/>
                    <a:gd name="T85" fmla="*/ 90 h 180"/>
                    <a:gd name="T86" fmla="*/ 45 w 79"/>
                    <a:gd name="T87" fmla="*/ 49 h 180"/>
                    <a:gd name="T88" fmla="*/ 35 w 79"/>
                    <a:gd name="T89" fmla="*/ 49 h 180"/>
                    <a:gd name="T90" fmla="*/ 35 w 79"/>
                    <a:gd name="T91" fmla="*/ 49 h 180"/>
                    <a:gd name="T92" fmla="*/ 32 w 79"/>
                    <a:gd name="T93" fmla="*/ 48 h 180"/>
                    <a:gd name="T94" fmla="*/ 29 w 79"/>
                    <a:gd name="T95" fmla="*/ 45 h 180"/>
                    <a:gd name="T96" fmla="*/ 29 w 79"/>
                    <a:gd name="T97" fmla="*/ 45 h 180"/>
                    <a:gd name="T98" fmla="*/ 32 w 79"/>
                    <a:gd name="T99" fmla="*/ 41 h 180"/>
                    <a:gd name="T100" fmla="*/ 35 w 79"/>
                    <a:gd name="T101" fmla="*/ 40 h 180"/>
                    <a:gd name="T102" fmla="*/ 45 w 79"/>
                    <a:gd name="T103" fmla="*/ 40 h 180"/>
                    <a:gd name="T104" fmla="*/ 45 w 79"/>
                    <a:gd name="T105" fmla="*/ 40 h 180"/>
                    <a:gd name="T106" fmla="*/ 48 w 79"/>
                    <a:gd name="T107" fmla="*/ 41 h 180"/>
                    <a:gd name="T108" fmla="*/ 49 w 79"/>
                    <a:gd name="T109" fmla="*/ 45 h 180"/>
                    <a:gd name="T110" fmla="*/ 49 w 79"/>
                    <a:gd name="T111" fmla="*/ 45 h 180"/>
                    <a:gd name="T112" fmla="*/ 48 w 79"/>
                    <a:gd name="T113" fmla="*/ 48 h 180"/>
                    <a:gd name="T114" fmla="*/ 45 w 79"/>
                    <a:gd name="T115" fmla="*/ 49 h 180"/>
                    <a:gd name="T116" fmla="*/ 45 w 79"/>
                    <a:gd name="T117" fmla="*/ 49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9" h="180">
                      <a:moveTo>
                        <a:pt x="79" y="5"/>
                      </a:moveTo>
                      <a:lnTo>
                        <a:pt x="79" y="5"/>
                      </a:lnTo>
                      <a:lnTo>
                        <a:pt x="78" y="1"/>
                      </a:lnTo>
                      <a:lnTo>
                        <a:pt x="75" y="0"/>
                      </a:lnTo>
                      <a:lnTo>
                        <a:pt x="5" y="0"/>
                      </a:lnTo>
                      <a:lnTo>
                        <a:pt x="5" y="0"/>
                      </a:lnTo>
                      <a:lnTo>
                        <a:pt x="1" y="1"/>
                      </a:lnTo>
                      <a:lnTo>
                        <a:pt x="0" y="5"/>
                      </a:lnTo>
                      <a:lnTo>
                        <a:pt x="0" y="180"/>
                      </a:lnTo>
                      <a:lnTo>
                        <a:pt x="79" y="180"/>
                      </a:lnTo>
                      <a:lnTo>
                        <a:pt x="79" y="5"/>
                      </a:lnTo>
                      <a:close/>
                      <a:moveTo>
                        <a:pt x="45" y="130"/>
                      </a:moveTo>
                      <a:lnTo>
                        <a:pt x="35" y="130"/>
                      </a:lnTo>
                      <a:lnTo>
                        <a:pt x="35" y="130"/>
                      </a:lnTo>
                      <a:lnTo>
                        <a:pt x="32" y="127"/>
                      </a:lnTo>
                      <a:lnTo>
                        <a:pt x="29" y="125"/>
                      </a:lnTo>
                      <a:lnTo>
                        <a:pt x="29" y="125"/>
                      </a:lnTo>
                      <a:lnTo>
                        <a:pt x="32" y="121"/>
                      </a:lnTo>
                      <a:lnTo>
                        <a:pt x="35" y="119"/>
                      </a:lnTo>
                      <a:lnTo>
                        <a:pt x="45" y="119"/>
                      </a:lnTo>
                      <a:lnTo>
                        <a:pt x="45" y="119"/>
                      </a:lnTo>
                      <a:lnTo>
                        <a:pt x="48" y="121"/>
                      </a:lnTo>
                      <a:lnTo>
                        <a:pt x="49" y="125"/>
                      </a:lnTo>
                      <a:lnTo>
                        <a:pt x="49" y="125"/>
                      </a:lnTo>
                      <a:lnTo>
                        <a:pt x="48" y="127"/>
                      </a:lnTo>
                      <a:lnTo>
                        <a:pt x="45" y="130"/>
                      </a:lnTo>
                      <a:lnTo>
                        <a:pt x="45" y="130"/>
                      </a:lnTo>
                      <a:close/>
                      <a:moveTo>
                        <a:pt x="45" y="90"/>
                      </a:moveTo>
                      <a:lnTo>
                        <a:pt x="35" y="90"/>
                      </a:lnTo>
                      <a:lnTo>
                        <a:pt x="35" y="90"/>
                      </a:lnTo>
                      <a:lnTo>
                        <a:pt x="32" y="88"/>
                      </a:lnTo>
                      <a:lnTo>
                        <a:pt x="29" y="84"/>
                      </a:lnTo>
                      <a:lnTo>
                        <a:pt x="29" y="84"/>
                      </a:lnTo>
                      <a:lnTo>
                        <a:pt x="32" y="82"/>
                      </a:lnTo>
                      <a:lnTo>
                        <a:pt x="35" y="79"/>
                      </a:lnTo>
                      <a:lnTo>
                        <a:pt x="45" y="79"/>
                      </a:lnTo>
                      <a:lnTo>
                        <a:pt x="45" y="79"/>
                      </a:lnTo>
                      <a:lnTo>
                        <a:pt x="48" y="82"/>
                      </a:lnTo>
                      <a:lnTo>
                        <a:pt x="49" y="84"/>
                      </a:lnTo>
                      <a:lnTo>
                        <a:pt x="49" y="84"/>
                      </a:lnTo>
                      <a:lnTo>
                        <a:pt x="48" y="88"/>
                      </a:lnTo>
                      <a:lnTo>
                        <a:pt x="45" y="90"/>
                      </a:lnTo>
                      <a:lnTo>
                        <a:pt x="45" y="90"/>
                      </a:lnTo>
                      <a:close/>
                      <a:moveTo>
                        <a:pt x="45" y="49"/>
                      </a:moveTo>
                      <a:lnTo>
                        <a:pt x="35" y="49"/>
                      </a:lnTo>
                      <a:lnTo>
                        <a:pt x="35" y="49"/>
                      </a:lnTo>
                      <a:lnTo>
                        <a:pt x="32" y="48"/>
                      </a:lnTo>
                      <a:lnTo>
                        <a:pt x="29" y="45"/>
                      </a:lnTo>
                      <a:lnTo>
                        <a:pt x="29" y="45"/>
                      </a:lnTo>
                      <a:lnTo>
                        <a:pt x="32" y="41"/>
                      </a:lnTo>
                      <a:lnTo>
                        <a:pt x="35" y="40"/>
                      </a:lnTo>
                      <a:lnTo>
                        <a:pt x="45" y="40"/>
                      </a:lnTo>
                      <a:lnTo>
                        <a:pt x="45" y="40"/>
                      </a:lnTo>
                      <a:lnTo>
                        <a:pt x="48" y="41"/>
                      </a:lnTo>
                      <a:lnTo>
                        <a:pt x="49" y="45"/>
                      </a:lnTo>
                      <a:lnTo>
                        <a:pt x="49" y="45"/>
                      </a:lnTo>
                      <a:lnTo>
                        <a:pt x="48" y="48"/>
                      </a:lnTo>
                      <a:lnTo>
                        <a:pt x="45" y="49"/>
                      </a:lnTo>
                      <a:lnTo>
                        <a:pt x="45" y="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05" name="Freeform 209">
                  <a:extLst>
                    <a:ext uri="{FF2B5EF4-FFF2-40B4-BE49-F238E27FC236}">
                      <a16:creationId xmlns:a16="http://schemas.microsoft.com/office/drawing/2014/main" id="{FC3C0D69-D3E9-4B43-B279-8B341B830AB8}"/>
                    </a:ext>
                  </a:extLst>
                </p:cNvPr>
                <p:cNvSpPr>
                  <a:spLocks/>
                </p:cNvSpPr>
                <p:nvPr/>
              </p:nvSpPr>
              <p:spPr bwMode="auto">
                <a:xfrm>
                  <a:off x="4303713" y="2814638"/>
                  <a:ext cx="63500" cy="46038"/>
                </a:xfrm>
                <a:custGeom>
                  <a:avLst/>
                  <a:gdLst>
                    <a:gd name="T0" fmla="*/ 5 w 79"/>
                    <a:gd name="T1" fmla="*/ 59 h 59"/>
                    <a:gd name="T2" fmla="*/ 75 w 79"/>
                    <a:gd name="T3" fmla="*/ 59 h 59"/>
                    <a:gd name="T4" fmla="*/ 75 w 79"/>
                    <a:gd name="T5" fmla="*/ 59 h 59"/>
                    <a:gd name="T6" fmla="*/ 78 w 79"/>
                    <a:gd name="T7" fmla="*/ 58 h 59"/>
                    <a:gd name="T8" fmla="*/ 79 w 79"/>
                    <a:gd name="T9" fmla="*/ 55 h 59"/>
                    <a:gd name="T10" fmla="*/ 79 w 79"/>
                    <a:gd name="T11" fmla="*/ 0 h 59"/>
                    <a:gd name="T12" fmla="*/ 0 w 79"/>
                    <a:gd name="T13" fmla="*/ 0 h 59"/>
                    <a:gd name="T14" fmla="*/ 0 w 79"/>
                    <a:gd name="T15" fmla="*/ 55 h 59"/>
                    <a:gd name="T16" fmla="*/ 0 w 79"/>
                    <a:gd name="T17" fmla="*/ 55 h 59"/>
                    <a:gd name="T18" fmla="*/ 1 w 79"/>
                    <a:gd name="T19" fmla="*/ 58 h 59"/>
                    <a:gd name="T20" fmla="*/ 5 w 79"/>
                    <a:gd name="T21" fmla="*/ 59 h 59"/>
                    <a:gd name="T22" fmla="*/ 5 w 79"/>
                    <a:gd name="T23"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9" h="59">
                      <a:moveTo>
                        <a:pt x="5" y="59"/>
                      </a:moveTo>
                      <a:lnTo>
                        <a:pt x="75" y="59"/>
                      </a:lnTo>
                      <a:lnTo>
                        <a:pt x="75" y="59"/>
                      </a:lnTo>
                      <a:lnTo>
                        <a:pt x="78" y="58"/>
                      </a:lnTo>
                      <a:lnTo>
                        <a:pt x="79" y="55"/>
                      </a:lnTo>
                      <a:lnTo>
                        <a:pt x="79" y="0"/>
                      </a:lnTo>
                      <a:lnTo>
                        <a:pt x="0" y="0"/>
                      </a:lnTo>
                      <a:lnTo>
                        <a:pt x="0" y="55"/>
                      </a:lnTo>
                      <a:lnTo>
                        <a:pt x="0" y="55"/>
                      </a:lnTo>
                      <a:lnTo>
                        <a:pt x="1" y="58"/>
                      </a:lnTo>
                      <a:lnTo>
                        <a:pt x="5" y="59"/>
                      </a:lnTo>
                      <a:lnTo>
                        <a:pt x="5" y="5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06" name="Freeform 210">
                  <a:extLst>
                    <a:ext uri="{FF2B5EF4-FFF2-40B4-BE49-F238E27FC236}">
                      <a16:creationId xmlns:a16="http://schemas.microsoft.com/office/drawing/2014/main" id="{E81DFDDE-0387-4F0D-8DDA-9BA8621128DE}"/>
                    </a:ext>
                  </a:extLst>
                </p:cNvPr>
                <p:cNvSpPr>
                  <a:spLocks noEditPoints="1"/>
                </p:cNvSpPr>
                <p:nvPr/>
              </p:nvSpPr>
              <p:spPr bwMode="auto">
                <a:xfrm>
                  <a:off x="4303713" y="2663825"/>
                  <a:ext cx="63500" cy="142875"/>
                </a:xfrm>
                <a:custGeom>
                  <a:avLst/>
                  <a:gdLst>
                    <a:gd name="T0" fmla="*/ 79 w 79"/>
                    <a:gd name="T1" fmla="*/ 5 h 180"/>
                    <a:gd name="T2" fmla="*/ 79 w 79"/>
                    <a:gd name="T3" fmla="*/ 5 h 180"/>
                    <a:gd name="T4" fmla="*/ 78 w 79"/>
                    <a:gd name="T5" fmla="*/ 1 h 180"/>
                    <a:gd name="T6" fmla="*/ 75 w 79"/>
                    <a:gd name="T7" fmla="*/ 0 h 180"/>
                    <a:gd name="T8" fmla="*/ 5 w 79"/>
                    <a:gd name="T9" fmla="*/ 0 h 180"/>
                    <a:gd name="T10" fmla="*/ 5 w 79"/>
                    <a:gd name="T11" fmla="*/ 0 h 180"/>
                    <a:gd name="T12" fmla="*/ 1 w 79"/>
                    <a:gd name="T13" fmla="*/ 1 h 180"/>
                    <a:gd name="T14" fmla="*/ 0 w 79"/>
                    <a:gd name="T15" fmla="*/ 5 h 180"/>
                    <a:gd name="T16" fmla="*/ 0 w 79"/>
                    <a:gd name="T17" fmla="*/ 180 h 180"/>
                    <a:gd name="T18" fmla="*/ 79 w 79"/>
                    <a:gd name="T19" fmla="*/ 180 h 180"/>
                    <a:gd name="T20" fmla="*/ 79 w 79"/>
                    <a:gd name="T21" fmla="*/ 5 h 180"/>
                    <a:gd name="T22" fmla="*/ 46 w 79"/>
                    <a:gd name="T23" fmla="*/ 130 h 180"/>
                    <a:gd name="T24" fmla="*/ 35 w 79"/>
                    <a:gd name="T25" fmla="*/ 130 h 180"/>
                    <a:gd name="T26" fmla="*/ 35 w 79"/>
                    <a:gd name="T27" fmla="*/ 130 h 180"/>
                    <a:gd name="T28" fmla="*/ 32 w 79"/>
                    <a:gd name="T29" fmla="*/ 127 h 180"/>
                    <a:gd name="T30" fmla="*/ 30 w 79"/>
                    <a:gd name="T31" fmla="*/ 125 h 180"/>
                    <a:gd name="T32" fmla="*/ 30 w 79"/>
                    <a:gd name="T33" fmla="*/ 125 h 180"/>
                    <a:gd name="T34" fmla="*/ 32 w 79"/>
                    <a:gd name="T35" fmla="*/ 121 h 180"/>
                    <a:gd name="T36" fmla="*/ 35 w 79"/>
                    <a:gd name="T37" fmla="*/ 119 h 180"/>
                    <a:gd name="T38" fmla="*/ 46 w 79"/>
                    <a:gd name="T39" fmla="*/ 119 h 180"/>
                    <a:gd name="T40" fmla="*/ 46 w 79"/>
                    <a:gd name="T41" fmla="*/ 119 h 180"/>
                    <a:gd name="T42" fmla="*/ 48 w 79"/>
                    <a:gd name="T43" fmla="*/ 121 h 180"/>
                    <a:gd name="T44" fmla="*/ 50 w 79"/>
                    <a:gd name="T45" fmla="*/ 125 h 180"/>
                    <a:gd name="T46" fmla="*/ 50 w 79"/>
                    <a:gd name="T47" fmla="*/ 125 h 180"/>
                    <a:gd name="T48" fmla="*/ 48 w 79"/>
                    <a:gd name="T49" fmla="*/ 127 h 180"/>
                    <a:gd name="T50" fmla="*/ 46 w 79"/>
                    <a:gd name="T51" fmla="*/ 130 h 180"/>
                    <a:gd name="T52" fmla="*/ 46 w 79"/>
                    <a:gd name="T53" fmla="*/ 130 h 180"/>
                    <a:gd name="T54" fmla="*/ 46 w 79"/>
                    <a:gd name="T55" fmla="*/ 90 h 180"/>
                    <a:gd name="T56" fmla="*/ 35 w 79"/>
                    <a:gd name="T57" fmla="*/ 90 h 180"/>
                    <a:gd name="T58" fmla="*/ 35 w 79"/>
                    <a:gd name="T59" fmla="*/ 90 h 180"/>
                    <a:gd name="T60" fmla="*/ 32 w 79"/>
                    <a:gd name="T61" fmla="*/ 88 h 180"/>
                    <a:gd name="T62" fmla="*/ 30 w 79"/>
                    <a:gd name="T63" fmla="*/ 84 h 180"/>
                    <a:gd name="T64" fmla="*/ 30 w 79"/>
                    <a:gd name="T65" fmla="*/ 84 h 180"/>
                    <a:gd name="T66" fmla="*/ 32 w 79"/>
                    <a:gd name="T67" fmla="*/ 82 h 180"/>
                    <a:gd name="T68" fmla="*/ 35 w 79"/>
                    <a:gd name="T69" fmla="*/ 79 h 180"/>
                    <a:gd name="T70" fmla="*/ 46 w 79"/>
                    <a:gd name="T71" fmla="*/ 79 h 180"/>
                    <a:gd name="T72" fmla="*/ 46 w 79"/>
                    <a:gd name="T73" fmla="*/ 79 h 180"/>
                    <a:gd name="T74" fmla="*/ 48 w 79"/>
                    <a:gd name="T75" fmla="*/ 82 h 180"/>
                    <a:gd name="T76" fmla="*/ 50 w 79"/>
                    <a:gd name="T77" fmla="*/ 84 h 180"/>
                    <a:gd name="T78" fmla="*/ 50 w 79"/>
                    <a:gd name="T79" fmla="*/ 84 h 180"/>
                    <a:gd name="T80" fmla="*/ 48 w 79"/>
                    <a:gd name="T81" fmla="*/ 88 h 180"/>
                    <a:gd name="T82" fmla="*/ 46 w 79"/>
                    <a:gd name="T83" fmla="*/ 90 h 180"/>
                    <a:gd name="T84" fmla="*/ 46 w 79"/>
                    <a:gd name="T85" fmla="*/ 90 h 180"/>
                    <a:gd name="T86" fmla="*/ 46 w 79"/>
                    <a:gd name="T87" fmla="*/ 49 h 180"/>
                    <a:gd name="T88" fmla="*/ 35 w 79"/>
                    <a:gd name="T89" fmla="*/ 49 h 180"/>
                    <a:gd name="T90" fmla="*/ 35 w 79"/>
                    <a:gd name="T91" fmla="*/ 49 h 180"/>
                    <a:gd name="T92" fmla="*/ 32 w 79"/>
                    <a:gd name="T93" fmla="*/ 48 h 180"/>
                    <a:gd name="T94" fmla="*/ 30 w 79"/>
                    <a:gd name="T95" fmla="*/ 45 h 180"/>
                    <a:gd name="T96" fmla="*/ 30 w 79"/>
                    <a:gd name="T97" fmla="*/ 45 h 180"/>
                    <a:gd name="T98" fmla="*/ 32 w 79"/>
                    <a:gd name="T99" fmla="*/ 41 h 180"/>
                    <a:gd name="T100" fmla="*/ 35 w 79"/>
                    <a:gd name="T101" fmla="*/ 40 h 180"/>
                    <a:gd name="T102" fmla="*/ 46 w 79"/>
                    <a:gd name="T103" fmla="*/ 40 h 180"/>
                    <a:gd name="T104" fmla="*/ 46 w 79"/>
                    <a:gd name="T105" fmla="*/ 40 h 180"/>
                    <a:gd name="T106" fmla="*/ 48 w 79"/>
                    <a:gd name="T107" fmla="*/ 41 h 180"/>
                    <a:gd name="T108" fmla="*/ 50 w 79"/>
                    <a:gd name="T109" fmla="*/ 45 h 180"/>
                    <a:gd name="T110" fmla="*/ 50 w 79"/>
                    <a:gd name="T111" fmla="*/ 45 h 180"/>
                    <a:gd name="T112" fmla="*/ 48 w 79"/>
                    <a:gd name="T113" fmla="*/ 48 h 180"/>
                    <a:gd name="T114" fmla="*/ 46 w 79"/>
                    <a:gd name="T115" fmla="*/ 49 h 180"/>
                    <a:gd name="T116" fmla="*/ 46 w 79"/>
                    <a:gd name="T117" fmla="*/ 49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9" h="180">
                      <a:moveTo>
                        <a:pt x="79" y="5"/>
                      </a:moveTo>
                      <a:lnTo>
                        <a:pt x="79" y="5"/>
                      </a:lnTo>
                      <a:lnTo>
                        <a:pt x="78" y="1"/>
                      </a:lnTo>
                      <a:lnTo>
                        <a:pt x="75" y="0"/>
                      </a:lnTo>
                      <a:lnTo>
                        <a:pt x="5" y="0"/>
                      </a:lnTo>
                      <a:lnTo>
                        <a:pt x="5" y="0"/>
                      </a:lnTo>
                      <a:lnTo>
                        <a:pt x="1" y="1"/>
                      </a:lnTo>
                      <a:lnTo>
                        <a:pt x="0" y="5"/>
                      </a:lnTo>
                      <a:lnTo>
                        <a:pt x="0" y="180"/>
                      </a:lnTo>
                      <a:lnTo>
                        <a:pt x="79" y="180"/>
                      </a:lnTo>
                      <a:lnTo>
                        <a:pt x="79" y="5"/>
                      </a:lnTo>
                      <a:close/>
                      <a:moveTo>
                        <a:pt x="46" y="130"/>
                      </a:moveTo>
                      <a:lnTo>
                        <a:pt x="35" y="130"/>
                      </a:lnTo>
                      <a:lnTo>
                        <a:pt x="35" y="130"/>
                      </a:lnTo>
                      <a:lnTo>
                        <a:pt x="32" y="127"/>
                      </a:lnTo>
                      <a:lnTo>
                        <a:pt x="30" y="125"/>
                      </a:lnTo>
                      <a:lnTo>
                        <a:pt x="30" y="125"/>
                      </a:lnTo>
                      <a:lnTo>
                        <a:pt x="32" y="121"/>
                      </a:lnTo>
                      <a:lnTo>
                        <a:pt x="35" y="119"/>
                      </a:lnTo>
                      <a:lnTo>
                        <a:pt x="46" y="119"/>
                      </a:lnTo>
                      <a:lnTo>
                        <a:pt x="46" y="119"/>
                      </a:lnTo>
                      <a:lnTo>
                        <a:pt x="48" y="121"/>
                      </a:lnTo>
                      <a:lnTo>
                        <a:pt x="50" y="125"/>
                      </a:lnTo>
                      <a:lnTo>
                        <a:pt x="50" y="125"/>
                      </a:lnTo>
                      <a:lnTo>
                        <a:pt x="48" y="127"/>
                      </a:lnTo>
                      <a:lnTo>
                        <a:pt x="46" y="130"/>
                      </a:lnTo>
                      <a:lnTo>
                        <a:pt x="46" y="130"/>
                      </a:lnTo>
                      <a:close/>
                      <a:moveTo>
                        <a:pt x="46" y="90"/>
                      </a:moveTo>
                      <a:lnTo>
                        <a:pt x="35" y="90"/>
                      </a:lnTo>
                      <a:lnTo>
                        <a:pt x="35" y="90"/>
                      </a:lnTo>
                      <a:lnTo>
                        <a:pt x="32" y="88"/>
                      </a:lnTo>
                      <a:lnTo>
                        <a:pt x="30" y="84"/>
                      </a:lnTo>
                      <a:lnTo>
                        <a:pt x="30" y="84"/>
                      </a:lnTo>
                      <a:lnTo>
                        <a:pt x="32" y="82"/>
                      </a:lnTo>
                      <a:lnTo>
                        <a:pt x="35" y="79"/>
                      </a:lnTo>
                      <a:lnTo>
                        <a:pt x="46" y="79"/>
                      </a:lnTo>
                      <a:lnTo>
                        <a:pt x="46" y="79"/>
                      </a:lnTo>
                      <a:lnTo>
                        <a:pt x="48" y="82"/>
                      </a:lnTo>
                      <a:lnTo>
                        <a:pt x="50" y="84"/>
                      </a:lnTo>
                      <a:lnTo>
                        <a:pt x="50" y="84"/>
                      </a:lnTo>
                      <a:lnTo>
                        <a:pt x="48" y="88"/>
                      </a:lnTo>
                      <a:lnTo>
                        <a:pt x="46" y="90"/>
                      </a:lnTo>
                      <a:lnTo>
                        <a:pt x="46" y="90"/>
                      </a:lnTo>
                      <a:close/>
                      <a:moveTo>
                        <a:pt x="46" y="49"/>
                      </a:moveTo>
                      <a:lnTo>
                        <a:pt x="35" y="49"/>
                      </a:lnTo>
                      <a:lnTo>
                        <a:pt x="35" y="49"/>
                      </a:lnTo>
                      <a:lnTo>
                        <a:pt x="32" y="48"/>
                      </a:lnTo>
                      <a:lnTo>
                        <a:pt x="30" y="45"/>
                      </a:lnTo>
                      <a:lnTo>
                        <a:pt x="30" y="45"/>
                      </a:lnTo>
                      <a:lnTo>
                        <a:pt x="32" y="41"/>
                      </a:lnTo>
                      <a:lnTo>
                        <a:pt x="35" y="40"/>
                      </a:lnTo>
                      <a:lnTo>
                        <a:pt x="46" y="40"/>
                      </a:lnTo>
                      <a:lnTo>
                        <a:pt x="46" y="40"/>
                      </a:lnTo>
                      <a:lnTo>
                        <a:pt x="48" y="41"/>
                      </a:lnTo>
                      <a:lnTo>
                        <a:pt x="50" y="45"/>
                      </a:lnTo>
                      <a:lnTo>
                        <a:pt x="50" y="45"/>
                      </a:lnTo>
                      <a:lnTo>
                        <a:pt x="48" y="48"/>
                      </a:lnTo>
                      <a:lnTo>
                        <a:pt x="46" y="49"/>
                      </a:lnTo>
                      <a:lnTo>
                        <a:pt x="46" y="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07" name="Freeform 211">
                  <a:extLst>
                    <a:ext uri="{FF2B5EF4-FFF2-40B4-BE49-F238E27FC236}">
                      <a16:creationId xmlns:a16="http://schemas.microsoft.com/office/drawing/2014/main" id="{B76A0A19-F01A-4622-9E91-8A19B0A0D8AA}"/>
                    </a:ext>
                  </a:extLst>
                </p:cNvPr>
                <p:cNvSpPr>
                  <a:spLocks/>
                </p:cNvSpPr>
                <p:nvPr/>
              </p:nvSpPr>
              <p:spPr bwMode="auto">
                <a:xfrm>
                  <a:off x="4392613" y="2803525"/>
                  <a:ext cx="69850" cy="57150"/>
                </a:xfrm>
                <a:custGeom>
                  <a:avLst/>
                  <a:gdLst>
                    <a:gd name="T0" fmla="*/ 0 w 88"/>
                    <a:gd name="T1" fmla="*/ 13 h 71"/>
                    <a:gd name="T2" fmla="*/ 9 w 88"/>
                    <a:gd name="T3" fmla="*/ 67 h 71"/>
                    <a:gd name="T4" fmla="*/ 9 w 88"/>
                    <a:gd name="T5" fmla="*/ 67 h 71"/>
                    <a:gd name="T6" fmla="*/ 12 w 88"/>
                    <a:gd name="T7" fmla="*/ 70 h 71"/>
                    <a:gd name="T8" fmla="*/ 14 w 88"/>
                    <a:gd name="T9" fmla="*/ 71 h 71"/>
                    <a:gd name="T10" fmla="*/ 14 w 88"/>
                    <a:gd name="T11" fmla="*/ 71 h 71"/>
                    <a:gd name="T12" fmla="*/ 16 w 88"/>
                    <a:gd name="T13" fmla="*/ 71 h 71"/>
                    <a:gd name="T14" fmla="*/ 84 w 88"/>
                    <a:gd name="T15" fmla="*/ 59 h 71"/>
                    <a:gd name="T16" fmla="*/ 84 w 88"/>
                    <a:gd name="T17" fmla="*/ 59 h 71"/>
                    <a:gd name="T18" fmla="*/ 87 w 88"/>
                    <a:gd name="T19" fmla="*/ 58 h 71"/>
                    <a:gd name="T20" fmla="*/ 87 w 88"/>
                    <a:gd name="T21" fmla="*/ 58 h 71"/>
                    <a:gd name="T22" fmla="*/ 88 w 88"/>
                    <a:gd name="T23" fmla="*/ 54 h 71"/>
                    <a:gd name="T24" fmla="*/ 79 w 88"/>
                    <a:gd name="T25" fmla="*/ 0 h 71"/>
                    <a:gd name="T26" fmla="*/ 0 w 88"/>
                    <a:gd name="T27" fmla="*/ 13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71">
                      <a:moveTo>
                        <a:pt x="0" y="13"/>
                      </a:moveTo>
                      <a:lnTo>
                        <a:pt x="9" y="67"/>
                      </a:lnTo>
                      <a:lnTo>
                        <a:pt x="9" y="67"/>
                      </a:lnTo>
                      <a:lnTo>
                        <a:pt x="12" y="70"/>
                      </a:lnTo>
                      <a:lnTo>
                        <a:pt x="14" y="71"/>
                      </a:lnTo>
                      <a:lnTo>
                        <a:pt x="14" y="71"/>
                      </a:lnTo>
                      <a:lnTo>
                        <a:pt x="16" y="71"/>
                      </a:lnTo>
                      <a:lnTo>
                        <a:pt x="84" y="59"/>
                      </a:lnTo>
                      <a:lnTo>
                        <a:pt x="84" y="59"/>
                      </a:lnTo>
                      <a:lnTo>
                        <a:pt x="87" y="58"/>
                      </a:lnTo>
                      <a:lnTo>
                        <a:pt x="87" y="58"/>
                      </a:lnTo>
                      <a:lnTo>
                        <a:pt x="88" y="54"/>
                      </a:lnTo>
                      <a:lnTo>
                        <a:pt x="79" y="0"/>
                      </a:lnTo>
                      <a:lnTo>
                        <a:pt x="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08" name="Freeform 212">
                  <a:extLst>
                    <a:ext uri="{FF2B5EF4-FFF2-40B4-BE49-F238E27FC236}">
                      <a16:creationId xmlns:a16="http://schemas.microsoft.com/office/drawing/2014/main" id="{65B719CE-A1B4-464C-92DE-03B2E845EB4E}"/>
                    </a:ext>
                  </a:extLst>
                </p:cNvPr>
                <p:cNvSpPr>
                  <a:spLocks noEditPoints="1"/>
                </p:cNvSpPr>
                <p:nvPr/>
              </p:nvSpPr>
              <p:spPr bwMode="auto">
                <a:xfrm>
                  <a:off x="4367213" y="2657475"/>
                  <a:ext cx="85725" cy="150813"/>
                </a:xfrm>
                <a:custGeom>
                  <a:avLst/>
                  <a:gdLst>
                    <a:gd name="T0" fmla="*/ 80 w 109"/>
                    <a:gd name="T1" fmla="*/ 4 h 189"/>
                    <a:gd name="T2" fmla="*/ 77 w 109"/>
                    <a:gd name="T3" fmla="*/ 1 h 189"/>
                    <a:gd name="T4" fmla="*/ 74 w 109"/>
                    <a:gd name="T5" fmla="*/ 0 h 189"/>
                    <a:gd name="T6" fmla="*/ 6 w 109"/>
                    <a:gd name="T7" fmla="*/ 12 h 189"/>
                    <a:gd name="T8" fmla="*/ 0 w 109"/>
                    <a:gd name="T9" fmla="*/ 17 h 189"/>
                    <a:gd name="T10" fmla="*/ 109 w 109"/>
                    <a:gd name="T11" fmla="*/ 176 h 189"/>
                    <a:gd name="T12" fmla="*/ 70 w 109"/>
                    <a:gd name="T13" fmla="*/ 126 h 189"/>
                    <a:gd name="T14" fmla="*/ 66 w 109"/>
                    <a:gd name="T15" fmla="*/ 133 h 189"/>
                    <a:gd name="T16" fmla="*/ 57 w 109"/>
                    <a:gd name="T17" fmla="*/ 134 h 189"/>
                    <a:gd name="T18" fmla="*/ 55 w 109"/>
                    <a:gd name="T19" fmla="*/ 134 h 189"/>
                    <a:gd name="T20" fmla="*/ 51 w 109"/>
                    <a:gd name="T21" fmla="*/ 130 h 189"/>
                    <a:gd name="T22" fmla="*/ 51 w 109"/>
                    <a:gd name="T23" fmla="*/ 126 h 189"/>
                    <a:gd name="T24" fmla="*/ 65 w 109"/>
                    <a:gd name="T25" fmla="*/ 122 h 189"/>
                    <a:gd name="T26" fmla="*/ 69 w 109"/>
                    <a:gd name="T27" fmla="*/ 123 h 189"/>
                    <a:gd name="T28" fmla="*/ 70 w 109"/>
                    <a:gd name="T29" fmla="*/ 126 h 189"/>
                    <a:gd name="T30" fmla="*/ 63 w 109"/>
                    <a:gd name="T31" fmla="*/ 87 h 189"/>
                    <a:gd name="T32" fmla="*/ 59 w 109"/>
                    <a:gd name="T33" fmla="*/ 92 h 189"/>
                    <a:gd name="T34" fmla="*/ 50 w 109"/>
                    <a:gd name="T35" fmla="*/ 95 h 189"/>
                    <a:gd name="T36" fmla="*/ 49 w 109"/>
                    <a:gd name="T37" fmla="*/ 95 h 189"/>
                    <a:gd name="T38" fmla="*/ 45 w 109"/>
                    <a:gd name="T39" fmla="*/ 91 h 189"/>
                    <a:gd name="T40" fmla="*/ 45 w 109"/>
                    <a:gd name="T41" fmla="*/ 87 h 189"/>
                    <a:gd name="T42" fmla="*/ 58 w 109"/>
                    <a:gd name="T43" fmla="*/ 83 h 189"/>
                    <a:gd name="T44" fmla="*/ 62 w 109"/>
                    <a:gd name="T45" fmla="*/ 84 h 189"/>
                    <a:gd name="T46" fmla="*/ 63 w 109"/>
                    <a:gd name="T47" fmla="*/ 87 h 189"/>
                    <a:gd name="T48" fmla="*/ 51 w 109"/>
                    <a:gd name="T49" fmla="*/ 44 h 189"/>
                    <a:gd name="T50" fmla="*/ 53 w 109"/>
                    <a:gd name="T51" fmla="*/ 44 h 189"/>
                    <a:gd name="T52" fmla="*/ 57 w 109"/>
                    <a:gd name="T53" fmla="*/ 48 h 189"/>
                    <a:gd name="T54" fmla="*/ 55 w 109"/>
                    <a:gd name="T55" fmla="*/ 52 h 189"/>
                    <a:gd name="T56" fmla="*/ 43 w 109"/>
                    <a:gd name="T57" fmla="*/ 56 h 189"/>
                    <a:gd name="T58" fmla="*/ 42 w 109"/>
                    <a:gd name="T59" fmla="*/ 56 h 189"/>
                    <a:gd name="T60" fmla="*/ 39 w 109"/>
                    <a:gd name="T61" fmla="*/ 55 h 189"/>
                    <a:gd name="T62" fmla="*/ 38 w 109"/>
                    <a:gd name="T63" fmla="*/ 52 h 189"/>
                    <a:gd name="T64" fmla="*/ 42 w 109"/>
                    <a:gd name="T65" fmla="*/ 45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9" h="189">
                      <a:moveTo>
                        <a:pt x="109" y="176"/>
                      </a:moveTo>
                      <a:lnTo>
                        <a:pt x="80" y="4"/>
                      </a:lnTo>
                      <a:lnTo>
                        <a:pt x="80" y="4"/>
                      </a:lnTo>
                      <a:lnTo>
                        <a:pt x="77" y="1"/>
                      </a:lnTo>
                      <a:lnTo>
                        <a:pt x="77" y="1"/>
                      </a:lnTo>
                      <a:lnTo>
                        <a:pt x="74" y="0"/>
                      </a:lnTo>
                      <a:lnTo>
                        <a:pt x="6" y="12"/>
                      </a:lnTo>
                      <a:lnTo>
                        <a:pt x="6" y="12"/>
                      </a:lnTo>
                      <a:lnTo>
                        <a:pt x="2" y="14"/>
                      </a:lnTo>
                      <a:lnTo>
                        <a:pt x="0" y="17"/>
                      </a:lnTo>
                      <a:lnTo>
                        <a:pt x="31" y="189"/>
                      </a:lnTo>
                      <a:lnTo>
                        <a:pt x="109" y="176"/>
                      </a:lnTo>
                      <a:close/>
                      <a:moveTo>
                        <a:pt x="70" y="126"/>
                      </a:moveTo>
                      <a:lnTo>
                        <a:pt x="70" y="126"/>
                      </a:lnTo>
                      <a:lnTo>
                        <a:pt x="70" y="130"/>
                      </a:lnTo>
                      <a:lnTo>
                        <a:pt x="66" y="133"/>
                      </a:lnTo>
                      <a:lnTo>
                        <a:pt x="57" y="134"/>
                      </a:lnTo>
                      <a:lnTo>
                        <a:pt x="57" y="134"/>
                      </a:lnTo>
                      <a:lnTo>
                        <a:pt x="55" y="134"/>
                      </a:lnTo>
                      <a:lnTo>
                        <a:pt x="55" y="134"/>
                      </a:lnTo>
                      <a:lnTo>
                        <a:pt x="53" y="133"/>
                      </a:lnTo>
                      <a:lnTo>
                        <a:pt x="51" y="130"/>
                      </a:lnTo>
                      <a:lnTo>
                        <a:pt x="51" y="130"/>
                      </a:lnTo>
                      <a:lnTo>
                        <a:pt x="51" y="126"/>
                      </a:lnTo>
                      <a:lnTo>
                        <a:pt x="55" y="125"/>
                      </a:lnTo>
                      <a:lnTo>
                        <a:pt x="65" y="122"/>
                      </a:lnTo>
                      <a:lnTo>
                        <a:pt x="65" y="122"/>
                      </a:lnTo>
                      <a:lnTo>
                        <a:pt x="69" y="123"/>
                      </a:lnTo>
                      <a:lnTo>
                        <a:pt x="70" y="126"/>
                      </a:lnTo>
                      <a:lnTo>
                        <a:pt x="70" y="126"/>
                      </a:lnTo>
                      <a:close/>
                      <a:moveTo>
                        <a:pt x="63" y="87"/>
                      </a:moveTo>
                      <a:lnTo>
                        <a:pt x="63" y="87"/>
                      </a:lnTo>
                      <a:lnTo>
                        <a:pt x="63" y="91"/>
                      </a:lnTo>
                      <a:lnTo>
                        <a:pt x="59" y="92"/>
                      </a:lnTo>
                      <a:lnTo>
                        <a:pt x="50" y="95"/>
                      </a:lnTo>
                      <a:lnTo>
                        <a:pt x="50" y="95"/>
                      </a:lnTo>
                      <a:lnTo>
                        <a:pt x="49" y="95"/>
                      </a:lnTo>
                      <a:lnTo>
                        <a:pt x="49" y="95"/>
                      </a:lnTo>
                      <a:lnTo>
                        <a:pt x="46" y="94"/>
                      </a:lnTo>
                      <a:lnTo>
                        <a:pt x="45" y="91"/>
                      </a:lnTo>
                      <a:lnTo>
                        <a:pt x="45" y="91"/>
                      </a:lnTo>
                      <a:lnTo>
                        <a:pt x="45" y="87"/>
                      </a:lnTo>
                      <a:lnTo>
                        <a:pt x="49" y="84"/>
                      </a:lnTo>
                      <a:lnTo>
                        <a:pt x="58" y="83"/>
                      </a:lnTo>
                      <a:lnTo>
                        <a:pt x="58" y="83"/>
                      </a:lnTo>
                      <a:lnTo>
                        <a:pt x="62" y="84"/>
                      </a:lnTo>
                      <a:lnTo>
                        <a:pt x="63" y="87"/>
                      </a:lnTo>
                      <a:lnTo>
                        <a:pt x="63" y="87"/>
                      </a:lnTo>
                      <a:close/>
                      <a:moveTo>
                        <a:pt x="42" y="45"/>
                      </a:moveTo>
                      <a:lnTo>
                        <a:pt x="51" y="44"/>
                      </a:lnTo>
                      <a:lnTo>
                        <a:pt x="51" y="44"/>
                      </a:lnTo>
                      <a:lnTo>
                        <a:pt x="53" y="44"/>
                      </a:lnTo>
                      <a:lnTo>
                        <a:pt x="55" y="45"/>
                      </a:lnTo>
                      <a:lnTo>
                        <a:pt x="57" y="48"/>
                      </a:lnTo>
                      <a:lnTo>
                        <a:pt x="57" y="48"/>
                      </a:lnTo>
                      <a:lnTo>
                        <a:pt x="55" y="52"/>
                      </a:lnTo>
                      <a:lnTo>
                        <a:pt x="53" y="53"/>
                      </a:lnTo>
                      <a:lnTo>
                        <a:pt x="43" y="56"/>
                      </a:lnTo>
                      <a:lnTo>
                        <a:pt x="43" y="56"/>
                      </a:lnTo>
                      <a:lnTo>
                        <a:pt x="42" y="56"/>
                      </a:lnTo>
                      <a:lnTo>
                        <a:pt x="42" y="56"/>
                      </a:lnTo>
                      <a:lnTo>
                        <a:pt x="39" y="55"/>
                      </a:lnTo>
                      <a:lnTo>
                        <a:pt x="38" y="52"/>
                      </a:lnTo>
                      <a:lnTo>
                        <a:pt x="38" y="52"/>
                      </a:lnTo>
                      <a:lnTo>
                        <a:pt x="38" y="48"/>
                      </a:lnTo>
                      <a:lnTo>
                        <a:pt x="42" y="45"/>
                      </a:lnTo>
                      <a:lnTo>
                        <a:pt x="42" y="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62" name="Group 61">
                <a:extLst>
                  <a:ext uri="{FF2B5EF4-FFF2-40B4-BE49-F238E27FC236}">
                    <a16:creationId xmlns:a16="http://schemas.microsoft.com/office/drawing/2014/main" id="{03ED4794-37B1-415F-94A3-C01CE22C8026}"/>
                  </a:ext>
                </a:extLst>
              </p:cNvPr>
              <p:cNvGrpSpPr>
                <a:grpSpLocks noChangeAspect="1"/>
              </p:cNvGrpSpPr>
              <p:nvPr/>
            </p:nvGrpSpPr>
            <p:grpSpPr>
              <a:xfrm>
                <a:off x="3610941" y="4169827"/>
                <a:ext cx="320040" cy="320040"/>
                <a:chOff x="6716713" y="4183698"/>
                <a:chExt cx="522288" cy="522288"/>
              </a:xfrm>
            </p:grpSpPr>
            <p:sp>
              <p:nvSpPr>
                <p:cNvPr id="100" name="Freeform 73">
                  <a:extLst>
                    <a:ext uri="{FF2B5EF4-FFF2-40B4-BE49-F238E27FC236}">
                      <a16:creationId xmlns:a16="http://schemas.microsoft.com/office/drawing/2014/main" id="{738A2F76-B84A-4B93-B255-ACE9CFDB88AE}"/>
                    </a:ext>
                  </a:extLst>
                </p:cNvPr>
                <p:cNvSpPr>
                  <a:spLocks noEditPoints="1"/>
                </p:cNvSpPr>
                <p:nvPr/>
              </p:nvSpPr>
              <p:spPr bwMode="auto">
                <a:xfrm>
                  <a:off x="6716713" y="4183698"/>
                  <a:ext cx="522288" cy="522288"/>
                </a:xfrm>
                <a:custGeom>
                  <a:avLst/>
                  <a:gdLst>
                    <a:gd name="T0" fmla="*/ 312 w 657"/>
                    <a:gd name="T1" fmla="*/ 657 h 657"/>
                    <a:gd name="T2" fmla="*/ 262 w 657"/>
                    <a:gd name="T3" fmla="*/ 650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8 h 657"/>
                    <a:gd name="T16" fmla="*/ 2 w 657"/>
                    <a:gd name="T17" fmla="*/ 294 h 657"/>
                    <a:gd name="T18" fmla="*/ 10 w 657"/>
                    <a:gd name="T19" fmla="*/ 246 h 657"/>
                    <a:gd name="T20" fmla="*/ 39 w 657"/>
                    <a:gd name="T21" fmla="*/ 172 h 657"/>
                    <a:gd name="T22" fmla="*/ 96 w 657"/>
                    <a:gd name="T23" fmla="*/ 95 h 657"/>
                    <a:gd name="T24" fmla="*/ 172 w 657"/>
                    <a:gd name="T25" fmla="*/ 39 h 657"/>
                    <a:gd name="T26" fmla="*/ 246 w 657"/>
                    <a:gd name="T27" fmla="*/ 9 h 657"/>
                    <a:gd name="T28" fmla="*/ 295 w 657"/>
                    <a:gd name="T29" fmla="*/ 1 h 657"/>
                    <a:gd name="T30" fmla="*/ 328 w 657"/>
                    <a:gd name="T31" fmla="*/ 0 h 657"/>
                    <a:gd name="T32" fmla="*/ 379 w 657"/>
                    <a:gd name="T33" fmla="*/ 4 h 657"/>
                    <a:gd name="T34" fmla="*/ 426 w 657"/>
                    <a:gd name="T35" fmla="*/ 15 h 657"/>
                    <a:gd name="T36" fmla="*/ 512 w 657"/>
                    <a:gd name="T37" fmla="*/ 56 h 657"/>
                    <a:gd name="T38" fmla="*/ 582 w 657"/>
                    <a:gd name="T39" fmla="*/ 119 h 657"/>
                    <a:gd name="T40" fmla="*/ 632 w 657"/>
                    <a:gd name="T41" fmla="*/ 200 h 657"/>
                    <a:gd name="T42" fmla="*/ 651 w 657"/>
                    <a:gd name="T43" fmla="*/ 262 h 657"/>
                    <a:gd name="T44" fmla="*/ 657 w 657"/>
                    <a:gd name="T45" fmla="*/ 312 h 657"/>
                    <a:gd name="T46" fmla="*/ 657 w 657"/>
                    <a:gd name="T47" fmla="*/ 345 h 657"/>
                    <a:gd name="T48" fmla="*/ 651 w 657"/>
                    <a:gd name="T49" fmla="*/ 395 h 657"/>
                    <a:gd name="T50" fmla="*/ 632 w 657"/>
                    <a:gd name="T51" fmla="*/ 457 h 657"/>
                    <a:gd name="T52" fmla="*/ 582 w 657"/>
                    <a:gd name="T53" fmla="*/ 537 h 657"/>
                    <a:gd name="T54" fmla="*/ 512 w 657"/>
                    <a:gd name="T55" fmla="*/ 601 h 657"/>
                    <a:gd name="T56" fmla="*/ 426 w 657"/>
                    <a:gd name="T57" fmla="*/ 642 h 657"/>
                    <a:gd name="T58" fmla="*/ 379 w 657"/>
                    <a:gd name="T59" fmla="*/ 653 h 657"/>
                    <a:gd name="T60" fmla="*/ 328 w 657"/>
                    <a:gd name="T61" fmla="*/ 657 h 657"/>
                    <a:gd name="T62" fmla="*/ 328 w 657"/>
                    <a:gd name="T63" fmla="*/ 37 h 657"/>
                    <a:gd name="T64" fmla="*/ 242 w 657"/>
                    <a:gd name="T65" fmla="*/ 50 h 657"/>
                    <a:gd name="T66" fmla="*/ 166 w 657"/>
                    <a:gd name="T67" fmla="*/ 87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6 w 657"/>
                    <a:gd name="T81" fmla="*/ 570 h 657"/>
                    <a:gd name="T82" fmla="*/ 242 w 657"/>
                    <a:gd name="T83" fmla="*/ 606 h 657"/>
                    <a:gd name="T84" fmla="*/ 328 w 657"/>
                    <a:gd name="T85" fmla="*/ 619 h 657"/>
                    <a:gd name="T86" fmla="*/ 387 w 657"/>
                    <a:gd name="T87" fmla="*/ 614 h 657"/>
                    <a:gd name="T88" fmla="*/ 468 w 657"/>
                    <a:gd name="T89" fmla="*/ 585 h 657"/>
                    <a:gd name="T90" fmla="*/ 535 w 657"/>
                    <a:gd name="T91" fmla="*/ 535 h 657"/>
                    <a:gd name="T92" fmla="*/ 585 w 657"/>
                    <a:gd name="T93" fmla="*/ 468 h 657"/>
                    <a:gd name="T94" fmla="*/ 614 w 657"/>
                    <a:gd name="T95" fmla="*/ 387 h 657"/>
                    <a:gd name="T96" fmla="*/ 620 w 657"/>
                    <a:gd name="T97" fmla="*/ 328 h 657"/>
                    <a:gd name="T98" fmla="*/ 606 w 657"/>
                    <a:gd name="T99" fmla="*/ 242 h 657"/>
                    <a:gd name="T100" fmla="*/ 570 w 657"/>
                    <a:gd name="T101" fmla="*/ 165 h 657"/>
                    <a:gd name="T102" fmla="*/ 514 w 657"/>
                    <a:gd name="T103" fmla="*/ 103 h 657"/>
                    <a:gd name="T104" fmla="*/ 442 w 657"/>
                    <a:gd name="T105" fmla="*/ 60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5" y="656"/>
                      </a:lnTo>
                      <a:lnTo>
                        <a:pt x="278" y="653"/>
                      </a:lnTo>
                      <a:lnTo>
                        <a:pt x="262" y="650"/>
                      </a:lnTo>
                      <a:lnTo>
                        <a:pt x="246" y="646"/>
                      </a:lnTo>
                      <a:lnTo>
                        <a:pt x="231" y="642"/>
                      </a:lnTo>
                      <a:lnTo>
                        <a:pt x="200" y="632"/>
                      </a:lnTo>
                      <a:lnTo>
                        <a:pt x="172" y="618"/>
                      </a:lnTo>
                      <a:lnTo>
                        <a:pt x="145" y="601"/>
                      </a:lnTo>
                      <a:lnTo>
                        <a:pt x="120" y="582"/>
                      </a:lnTo>
                      <a:lnTo>
                        <a:pt x="96" y="560"/>
                      </a:lnTo>
                      <a:lnTo>
                        <a:pt x="75" y="537"/>
                      </a:lnTo>
                      <a:lnTo>
                        <a:pt x="57" y="512"/>
                      </a:lnTo>
                      <a:lnTo>
                        <a:pt x="39" y="485"/>
                      </a:lnTo>
                      <a:lnTo>
                        <a:pt x="26" y="457"/>
                      </a:lnTo>
                      <a:lnTo>
                        <a:pt x="15" y="426"/>
                      </a:lnTo>
                      <a:lnTo>
                        <a:pt x="10" y="411"/>
                      </a:lnTo>
                      <a:lnTo>
                        <a:pt x="7" y="395"/>
                      </a:lnTo>
                      <a:lnTo>
                        <a:pt x="4" y="379"/>
                      </a:lnTo>
                      <a:lnTo>
                        <a:pt x="2" y="361"/>
                      </a:lnTo>
                      <a:lnTo>
                        <a:pt x="0" y="345"/>
                      </a:lnTo>
                      <a:lnTo>
                        <a:pt x="0" y="328"/>
                      </a:lnTo>
                      <a:lnTo>
                        <a:pt x="0" y="328"/>
                      </a:lnTo>
                      <a:lnTo>
                        <a:pt x="0" y="312"/>
                      </a:lnTo>
                      <a:lnTo>
                        <a:pt x="2" y="294"/>
                      </a:lnTo>
                      <a:lnTo>
                        <a:pt x="4" y="278"/>
                      </a:lnTo>
                      <a:lnTo>
                        <a:pt x="7" y="262"/>
                      </a:lnTo>
                      <a:lnTo>
                        <a:pt x="10" y="246"/>
                      </a:lnTo>
                      <a:lnTo>
                        <a:pt x="15" y="231"/>
                      </a:lnTo>
                      <a:lnTo>
                        <a:pt x="26" y="200"/>
                      </a:lnTo>
                      <a:lnTo>
                        <a:pt x="39" y="172"/>
                      </a:lnTo>
                      <a:lnTo>
                        <a:pt x="57" y="145"/>
                      </a:lnTo>
                      <a:lnTo>
                        <a:pt x="75" y="119"/>
                      </a:lnTo>
                      <a:lnTo>
                        <a:pt x="96" y="95"/>
                      </a:lnTo>
                      <a:lnTo>
                        <a:pt x="120" y="75"/>
                      </a:lnTo>
                      <a:lnTo>
                        <a:pt x="145" y="56"/>
                      </a:lnTo>
                      <a:lnTo>
                        <a:pt x="172" y="39"/>
                      </a:lnTo>
                      <a:lnTo>
                        <a:pt x="200" y="25"/>
                      </a:lnTo>
                      <a:lnTo>
                        <a:pt x="231" y="15"/>
                      </a:lnTo>
                      <a:lnTo>
                        <a:pt x="246" y="9"/>
                      </a:lnTo>
                      <a:lnTo>
                        <a:pt x="262" y="7"/>
                      </a:lnTo>
                      <a:lnTo>
                        <a:pt x="278" y="4"/>
                      </a:lnTo>
                      <a:lnTo>
                        <a:pt x="295" y="1"/>
                      </a:lnTo>
                      <a:lnTo>
                        <a:pt x="312" y="0"/>
                      </a:lnTo>
                      <a:lnTo>
                        <a:pt x="328" y="0"/>
                      </a:lnTo>
                      <a:lnTo>
                        <a:pt x="328" y="0"/>
                      </a:lnTo>
                      <a:lnTo>
                        <a:pt x="346" y="0"/>
                      </a:lnTo>
                      <a:lnTo>
                        <a:pt x="362" y="1"/>
                      </a:lnTo>
                      <a:lnTo>
                        <a:pt x="379" y="4"/>
                      </a:lnTo>
                      <a:lnTo>
                        <a:pt x="395" y="7"/>
                      </a:lnTo>
                      <a:lnTo>
                        <a:pt x="411" y="9"/>
                      </a:lnTo>
                      <a:lnTo>
                        <a:pt x="426" y="15"/>
                      </a:lnTo>
                      <a:lnTo>
                        <a:pt x="457" y="25"/>
                      </a:lnTo>
                      <a:lnTo>
                        <a:pt x="485" y="39"/>
                      </a:lnTo>
                      <a:lnTo>
                        <a:pt x="512" y="56"/>
                      </a:lnTo>
                      <a:lnTo>
                        <a:pt x="538" y="75"/>
                      </a:lnTo>
                      <a:lnTo>
                        <a:pt x="561" y="95"/>
                      </a:lnTo>
                      <a:lnTo>
                        <a:pt x="582" y="119"/>
                      </a:lnTo>
                      <a:lnTo>
                        <a:pt x="601" y="145"/>
                      </a:lnTo>
                      <a:lnTo>
                        <a:pt x="618" y="172"/>
                      </a:lnTo>
                      <a:lnTo>
                        <a:pt x="632" y="200"/>
                      </a:lnTo>
                      <a:lnTo>
                        <a:pt x="643" y="231"/>
                      </a:lnTo>
                      <a:lnTo>
                        <a:pt x="648" y="246"/>
                      </a:lnTo>
                      <a:lnTo>
                        <a:pt x="651" y="262"/>
                      </a:lnTo>
                      <a:lnTo>
                        <a:pt x="653" y="278"/>
                      </a:lnTo>
                      <a:lnTo>
                        <a:pt x="656" y="294"/>
                      </a:lnTo>
                      <a:lnTo>
                        <a:pt x="657" y="312"/>
                      </a:lnTo>
                      <a:lnTo>
                        <a:pt x="657" y="328"/>
                      </a:lnTo>
                      <a:lnTo>
                        <a:pt x="657" y="328"/>
                      </a:lnTo>
                      <a:lnTo>
                        <a:pt x="657" y="345"/>
                      </a:lnTo>
                      <a:lnTo>
                        <a:pt x="656" y="361"/>
                      </a:lnTo>
                      <a:lnTo>
                        <a:pt x="653" y="379"/>
                      </a:lnTo>
                      <a:lnTo>
                        <a:pt x="651" y="395"/>
                      </a:lnTo>
                      <a:lnTo>
                        <a:pt x="648" y="411"/>
                      </a:lnTo>
                      <a:lnTo>
                        <a:pt x="643" y="426"/>
                      </a:lnTo>
                      <a:lnTo>
                        <a:pt x="632" y="457"/>
                      </a:lnTo>
                      <a:lnTo>
                        <a:pt x="618" y="485"/>
                      </a:lnTo>
                      <a:lnTo>
                        <a:pt x="601" y="512"/>
                      </a:lnTo>
                      <a:lnTo>
                        <a:pt x="582" y="537"/>
                      </a:lnTo>
                      <a:lnTo>
                        <a:pt x="561" y="560"/>
                      </a:lnTo>
                      <a:lnTo>
                        <a:pt x="538" y="582"/>
                      </a:lnTo>
                      <a:lnTo>
                        <a:pt x="512" y="601"/>
                      </a:lnTo>
                      <a:lnTo>
                        <a:pt x="485" y="618"/>
                      </a:lnTo>
                      <a:lnTo>
                        <a:pt x="457" y="632"/>
                      </a:lnTo>
                      <a:lnTo>
                        <a:pt x="426" y="642"/>
                      </a:lnTo>
                      <a:lnTo>
                        <a:pt x="411" y="646"/>
                      </a:lnTo>
                      <a:lnTo>
                        <a:pt x="395" y="650"/>
                      </a:lnTo>
                      <a:lnTo>
                        <a:pt x="379" y="653"/>
                      </a:lnTo>
                      <a:lnTo>
                        <a:pt x="362" y="656"/>
                      </a:lnTo>
                      <a:lnTo>
                        <a:pt x="346" y="657"/>
                      </a:lnTo>
                      <a:lnTo>
                        <a:pt x="328" y="657"/>
                      </a:lnTo>
                      <a:lnTo>
                        <a:pt x="328" y="657"/>
                      </a:lnTo>
                      <a:close/>
                      <a:moveTo>
                        <a:pt x="328" y="37"/>
                      </a:moveTo>
                      <a:lnTo>
                        <a:pt x="328" y="37"/>
                      </a:lnTo>
                      <a:lnTo>
                        <a:pt x="299" y="39"/>
                      </a:lnTo>
                      <a:lnTo>
                        <a:pt x="270" y="43"/>
                      </a:lnTo>
                      <a:lnTo>
                        <a:pt x="242" y="50"/>
                      </a:lnTo>
                      <a:lnTo>
                        <a:pt x="215" y="60"/>
                      </a:lnTo>
                      <a:lnTo>
                        <a:pt x="190" y="72"/>
                      </a:lnTo>
                      <a:lnTo>
                        <a:pt x="166" y="87"/>
                      </a:lnTo>
                      <a:lnTo>
                        <a:pt x="144" y="103"/>
                      </a:lnTo>
                      <a:lnTo>
                        <a:pt x="123" y="122"/>
                      </a:lnTo>
                      <a:lnTo>
                        <a:pt x="104" y="144"/>
                      </a:lnTo>
                      <a:lnTo>
                        <a:pt x="88" y="165"/>
                      </a:lnTo>
                      <a:lnTo>
                        <a:pt x="73" y="189"/>
                      </a:lnTo>
                      <a:lnTo>
                        <a:pt x="61" y="215"/>
                      </a:lnTo>
                      <a:lnTo>
                        <a:pt x="50" y="242"/>
                      </a:lnTo>
                      <a:lnTo>
                        <a:pt x="43" y="270"/>
                      </a:lnTo>
                      <a:lnTo>
                        <a:pt x="39" y="298"/>
                      </a:lnTo>
                      <a:lnTo>
                        <a:pt x="38" y="328"/>
                      </a:lnTo>
                      <a:lnTo>
                        <a:pt x="38" y="328"/>
                      </a:lnTo>
                      <a:lnTo>
                        <a:pt x="39" y="359"/>
                      </a:lnTo>
                      <a:lnTo>
                        <a:pt x="43" y="387"/>
                      </a:lnTo>
                      <a:lnTo>
                        <a:pt x="50" y="415"/>
                      </a:lnTo>
                      <a:lnTo>
                        <a:pt x="61" y="442"/>
                      </a:lnTo>
                      <a:lnTo>
                        <a:pt x="73" y="468"/>
                      </a:lnTo>
                      <a:lnTo>
                        <a:pt x="88" y="492"/>
                      </a:lnTo>
                      <a:lnTo>
                        <a:pt x="104" y="513"/>
                      </a:lnTo>
                      <a:lnTo>
                        <a:pt x="123" y="535"/>
                      </a:lnTo>
                      <a:lnTo>
                        <a:pt x="144" y="554"/>
                      </a:lnTo>
                      <a:lnTo>
                        <a:pt x="166" y="570"/>
                      </a:lnTo>
                      <a:lnTo>
                        <a:pt x="190" y="585"/>
                      </a:lnTo>
                      <a:lnTo>
                        <a:pt x="215" y="597"/>
                      </a:lnTo>
                      <a:lnTo>
                        <a:pt x="242" y="606"/>
                      </a:lnTo>
                      <a:lnTo>
                        <a:pt x="270" y="614"/>
                      </a:lnTo>
                      <a:lnTo>
                        <a:pt x="299" y="618"/>
                      </a:lnTo>
                      <a:lnTo>
                        <a:pt x="328" y="619"/>
                      </a:lnTo>
                      <a:lnTo>
                        <a:pt x="328" y="619"/>
                      </a:lnTo>
                      <a:lnTo>
                        <a:pt x="359" y="618"/>
                      </a:lnTo>
                      <a:lnTo>
                        <a:pt x="387" y="614"/>
                      </a:lnTo>
                      <a:lnTo>
                        <a:pt x="415" y="606"/>
                      </a:lnTo>
                      <a:lnTo>
                        <a:pt x="442" y="597"/>
                      </a:lnTo>
                      <a:lnTo>
                        <a:pt x="468" y="585"/>
                      </a:lnTo>
                      <a:lnTo>
                        <a:pt x="492" y="570"/>
                      </a:lnTo>
                      <a:lnTo>
                        <a:pt x="514" y="554"/>
                      </a:lnTo>
                      <a:lnTo>
                        <a:pt x="535" y="535"/>
                      </a:lnTo>
                      <a:lnTo>
                        <a:pt x="554" y="513"/>
                      </a:lnTo>
                      <a:lnTo>
                        <a:pt x="570" y="492"/>
                      </a:lnTo>
                      <a:lnTo>
                        <a:pt x="585" y="468"/>
                      </a:lnTo>
                      <a:lnTo>
                        <a:pt x="597" y="442"/>
                      </a:lnTo>
                      <a:lnTo>
                        <a:pt x="606" y="415"/>
                      </a:lnTo>
                      <a:lnTo>
                        <a:pt x="614" y="387"/>
                      </a:lnTo>
                      <a:lnTo>
                        <a:pt x="618" y="359"/>
                      </a:lnTo>
                      <a:lnTo>
                        <a:pt x="620" y="328"/>
                      </a:lnTo>
                      <a:lnTo>
                        <a:pt x="620" y="328"/>
                      </a:lnTo>
                      <a:lnTo>
                        <a:pt x="618" y="298"/>
                      </a:lnTo>
                      <a:lnTo>
                        <a:pt x="614" y="270"/>
                      </a:lnTo>
                      <a:lnTo>
                        <a:pt x="606" y="242"/>
                      </a:lnTo>
                      <a:lnTo>
                        <a:pt x="597" y="215"/>
                      </a:lnTo>
                      <a:lnTo>
                        <a:pt x="585" y="189"/>
                      </a:lnTo>
                      <a:lnTo>
                        <a:pt x="570" y="165"/>
                      </a:lnTo>
                      <a:lnTo>
                        <a:pt x="554" y="144"/>
                      </a:lnTo>
                      <a:lnTo>
                        <a:pt x="535" y="122"/>
                      </a:lnTo>
                      <a:lnTo>
                        <a:pt x="514" y="103"/>
                      </a:lnTo>
                      <a:lnTo>
                        <a:pt x="492" y="87"/>
                      </a:lnTo>
                      <a:lnTo>
                        <a:pt x="468" y="72"/>
                      </a:lnTo>
                      <a:lnTo>
                        <a:pt x="442" y="60"/>
                      </a:lnTo>
                      <a:lnTo>
                        <a:pt x="415" y="50"/>
                      </a:lnTo>
                      <a:lnTo>
                        <a:pt x="387" y="43"/>
                      </a:lnTo>
                      <a:lnTo>
                        <a:pt x="359" y="39"/>
                      </a:lnTo>
                      <a:lnTo>
                        <a:pt x="328" y="37"/>
                      </a:lnTo>
                      <a:lnTo>
                        <a:pt x="328"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01" name="Freeform 216">
                  <a:extLst>
                    <a:ext uri="{FF2B5EF4-FFF2-40B4-BE49-F238E27FC236}">
                      <a16:creationId xmlns:a16="http://schemas.microsoft.com/office/drawing/2014/main" id="{2A61F942-F030-4282-8CB7-FA4B081A9048}"/>
                    </a:ext>
                  </a:extLst>
                </p:cNvPr>
                <p:cNvSpPr>
                  <a:spLocks noEditPoints="1"/>
                </p:cNvSpPr>
                <p:nvPr/>
              </p:nvSpPr>
              <p:spPr bwMode="auto">
                <a:xfrm>
                  <a:off x="6831013" y="4294823"/>
                  <a:ext cx="296863" cy="298450"/>
                </a:xfrm>
                <a:custGeom>
                  <a:avLst/>
                  <a:gdLst>
                    <a:gd name="T0" fmla="*/ 321 w 374"/>
                    <a:gd name="T1" fmla="*/ 151 h 375"/>
                    <a:gd name="T2" fmla="*/ 336 w 374"/>
                    <a:gd name="T3" fmla="*/ 81 h 375"/>
                    <a:gd name="T4" fmla="*/ 336 w 374"/>
                    <a:gd name="T5" fmla="*/ 73 h 375"/>
                    <a:gd name="T6" fmla="*/ 298 w 374"/>
                    <a:gd name="T7" fmla="*/ 36 h 375"/>
                    <a:gd name="T8" fmla="*/ 255 w 374"/>
                    <a:gd name="T9" fmla="*/ 67 h 375"/>
                    <a:gd name="T10" fmla="*/ 216 w 374"/>
                    <a:gd name="T11" fmla="*/ 5 h 375"/>
                    <a:gd name="T12" fmla="*/ 211 w 374"/>
                    <a:gd name="T13" fmla="*/ 0 h 375"/>
                    <a:gd name="T14" fmla="*/ 159 w 374"/>
                    <a:gd name="T15" fmla="*/ 1 h 375"/>
                    <a:gd name="T16" fmla="*/ 151 w 374"/>
                    <a:gd name="T17" fmla="*/ 54 h 375"/>
                    <a:gd name="T18" fmla="*/ 79 w 374"/>
                    <a:gd name="T19" fmla="*/ 38 h 375"/>
                    <a:gd name="T20" fmla="*/ 71 w 374"/>
                    <a:gd name="T21" fmla="*/ 38 h 375"/>
                    <a:gd name="T22" fmla="*/ 35 w 374"/>
                    <a:gd name="T23" fmla="*/ 77 h 375"/>
                    <a:gd name="T24" fmla="*/ 66 w 374"/>
                    <a:gd name="T25" fmla="*/ 118 h 375"/>
                    <a:gd name="T26" fmla="*/ 5 w 374"/>
                    <a:gd name="T27" fmla="*/ 157 h 375"/>
                    <a:gd name="T28" fmla="*/ 0 w 374"/>
                    <a:gd name="T29" fmla="*/ 163 h 375"/>
                    <a:gd name="T30" fmla="*/ 1 w 374"/>
                    <a:gd name="T31" fmla="*/ 215 h 375"/>
                    <a:gd name="T32" fmla="*/ 52 w 374"/>
                    <a:gd name="T33" fmla="*/ 224 h 375"/>
                    <a:gd name="T34" fmla="*/ 36 w 374"/>
                    <a:gd name="T35" fmla="*/ 294 h 375"/>
                    <a:gd name="T36" fmla="*/ 38 w 374"/>
                    <a:gd name="T37" fmla="*/ 302 h 375"/>
                    <a:gd name="T38" fmla="*/ 74 w 374"/>
                    <a:gd name="T39" fmla="*/ 339 h 375"/>
                    <a:gd name="T40" fmla="*/ 79 w 374"/>
                    <a:gd name="T41" fmla="*/ 337 h 375"/>
                    <a:gd name="T42" fmla="*/ 133 w 374"/>
                    <a:gd name="T43" fmla="*/ 316 h 375"/>
                    <a:gd name="T44" fmla="*/ 156 w 374"/>
                    <a:gd name="T45" fmla="*/ 370 h 375"/>
                    <a:gd name="T46" fmla="*/ 211 w 374"/>
                    <a:gd name="T47" fmla="*/ 375 h 375"/>
                    <a:gd name="T48" fmla="*/ 216 w 374"/>
                    <a:gd name="T49" fmla="*/ 370 h 375"/>
                    <a:gd name="T50" fmla="*/ 239 w 374"/>
                    <a:gd name="T51" fmla="*/ 316 h 375"/>
                    <a:gd name="T52" fmla="*/ 294 w 374"/>
                    <a:gd name="T53" fmla="*/ 337 h 375"/>
                    <a:gd name="T54" fmla="*/ 300 w 374"/>
                    <a:gd name="T55" fmla="*/ 339 h 375"/>
                    <a:gd name="T56" fmla="*/ 336 w 374"/>
                    <a:gd name="T57" fmla="*/ 302 h 375"/>
                    <a:gd name="T58" fmla="*/ 308 w 374"/>
                    <a:gd name="T59" fmla="*/ 257 h 375"/>
                    <a:gd name="T60" fmla="*/ 321 w 374"/>
                    <a:gd name="T61" fmla="*/ 224 h 375"/>
                    <a:gd name="T62" fmla="*/ 372 w 374"/>
                    <a:gd name="T63" fmla="*/ 215 h 375"/>
                    <a:gd name="T64" fmla="*/ 374 w 374"/>
                    <a:gd name="T65" fmla="*/ 163 h 375"/>
                    <a:gd name="T66" fmla="*/ 368 w 374"/>
                    <a:gd name="T67" fmla="*/ 157 h 375"/>
                    <a:gd name="T68" fmla="*/ 179 w 374"/>
                    <a:gd name="T69" fmla="*/ 266 h 375"/>
                    <a:gd name="T70" fmla="*/ 142 w 374"/>
                    <a:gd name="T71" fmla="*/ 254 h 375"/>
                    <a:gd name="T72" fmla="*/ 113 w 374"/>
                    <a:gd name="T73" fmla="*/ 219 h 375"/>
                    <a:gd name="T74" fmla="*/ 108 w 374"/>
                    <a:gd name="T75" fmla="*/ 187 h 375"/>
                    <a:gd name="T76" fmla="*/ 109 w 374"/>
                    <a:gd name="T77" fmla="*/ 171 h 375"/>
                    <a:gd name="T78" fmla="*/ 130 w 374"/>
                    <a:gd name="T79" fmla="*/ 132 h 375"/>
                    <a:gd name="T80" fmla="*/ 171 w 374"/>
                    <a:gd name="T81" fmla="*/ 109 h 375"/>
                    <a:gd name="T82" fmla="*/ 187 w 374"/>
                    <a:gd name="T83" fmla="*/ 108 h 375"/>
                    <a:gd name="T84" fmla="*/ 218 w 374"/>
                    <a:gd name="T85" fmla="*/ 114 h 375"/>
                    <a:gd name="T86" fmla="*/ 253 w 374"/>
                    <a:gd name="T87" fmla="*/ 142 h 375"/>
                    <a:gd name="T88" fmla="*/ 266 w 374"/>
                    <a:gd name="T89" fmla="*/ 179 h 375"/>
                    <a:gd name="T90" fmla="*/ 266 w 374"/>
                    <a:gd name="T91" fmla="*/ 196 h 375"/>
                    <a:gd name="T92" fmla="*/ 253 w 374"/>
                    <a:gd name="T93" fmla="*/ 233 h 375"/>
                    <a:gd name="T94" fmla="*/ 218 w 374"/>
                    <a:gd name="T95" fmla="*/ 261 h 375"/>
                    <a:gd name="T96" fmla="*/ 187 w 374"/>
                    <a:gd name="T97" fmla="*/ 267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74" h="375">
                      <a:moveTo>
                        <a:pt x="368" y="157"/>
                      </a:moveTo>
                      <a:lnTo>
                        <a:pt x="321" y="151"/>
                      </a:lnTo>
                      <a:lnTo>
                        <a:pt x="321" y="151"/>
                      </a:lnTo>
                      <a:lnTo>
                        <a:pt x="314" y="134"/>
                      </a:lnTo>
                      <a:lnTo>
                        <a:pt x="308" y="118"/>
                      </a:lnTo>
                      <a:lnTo>
                        <a:pt x="336" y="81"/>
                      </a:lnTo>
                      <a:lnTo>
                        <a:pt x="336" y="81"/>
                      </a:lnTo>
                      <a:lnTo>
                        <a:pt x="337" y="77"/>
                      </a:lnTo>
                      <a:lnTo>
                        <a:pt x="336" y="73"/>
                      </a:lnTo>
                      <a:lnTo>
                        <a:pt x="302" y="38"/>
                      </a:lnTo>
                      <a:lnTo>
                        <a:pt x="302" y="38"/>
                      </a:lnTo>
                      <a:lnTo>
                        <a:pt x="298" y="36"/>
                      </a:lnTo>
                      <a:lnTo>
                        <a:pt x="294" y="38"/>
                      </a:lnTo>
                      <a:lnTo>
                        <a:pt x="255" y="67"/>
                      </a:lnTo>
                      <a:lnTo>
                        <a:pt x="255" y="67"/>
                      </a:lnTo>
                      <a:lnTo>
                        <a:pt x="239" y="59"/>
                      </a:lnTo>
                      <a:lnTo>
                        <a:pt x="223" y="54"/>
                      </a:lnTo>
                      <a:lnTo>
                        <a:pt x="216" y="5"/>
                      </a:lnTo>
                      <a:lnTo>
                        <a:pt x="216" y="5"/>
                      </a:lnTo>
                      <a:lnTo>
                        <a:pt x="215" y="1"/>
                      </a:lnTo>
                      <a:lnTo>
                        <a:pt x="211" y="0"/>
                      </a:lnTo>
                      <a:lnTo>
                        <a:pt x="163" y="0"/>
                      </a:lnTo>
                      <a:lnTo>
                        <a:pt x="163" y="0"/>
                      </a:lnTo>
                      <a:lnTo>
                        <a:pt x="159" y="1"/>
                      </a:lnTo>
                      <a:lnTo>
                        <a:pt x="156" y="5"/>
                      </a:lnTo>
                      <a:lnTo>
                        <a:pt x="151" y="54"/>
                      </a:lnTo>
                      <a:lnTo>
                        <a:pt x="151" y="54"/>
                      </a:lnTo>
                      <a:lnTo>
                        <a:pt x="133" y="59"/>
                      </a:lnTo>
                      <a:lnTo>
                        <a:pt x="118" y="67"/>
                      </a:lnTo>
                      <a:lnTo>
                        <a:pt x="79" y="38"/>
                      </a:lnTo>
                      <a:lnTo>
                        <a:pt x="79" y="38"/>
                      </a:lnTo>
                      <a:lnTo>
                        <a:pt x="75" y="36"/>
                      </a:lnTo>
                      <a:lnTo>
                        <a:pt x="71" y="38"/>
                      </a:lnTo>
                      <a:lnTo>
                        <a:pt x="38" y="73"/>
                      </a:lnTo>
                      <a:lnTo>
                        <a:pt x="38" y="73"/>
                      </a:lnTo>
                      <a:lnTo>
                        <a:pt x="35" y="77"/>
                      </a:lnTo>
                      <a:lnTo>
                        <a:pt x="36" y="81"/>
                      </a:lnTo>
                      <a:lnTo>
                        <a:pt x="66" y="118"/>
                      </a:lnTo>
                      <a:lnTo>
                        <a:pt x="66" y="118"/>
                      </a:lnTo>
                      <a:lnTo>
                        <a:pt x="58" y="134"/>
                      </a:lnTo>
                      <a:lnTo>
                        <a:pt x="52" y="151"/>
                      </a:lnTo>
                      <a:lnTo>
                        <a:pt x="5" y="157"/>
                      </a:lnTo>
                      <a:lnTo>
                        <a:pt x="5" y="157"/>
                      </a:lnTo>
                      <a:lnTo>
                        <a:pt x="1" y="160"/>
                      </a:lnTo>
                      <a:lnTo>
                        <a:pt x="0" y="163"/>
                      </a:lnTo>
                      <a:lnTo>
                        <a:pt x="0" y="211"/>
                      </a:lnTo>
                      <a:lnTo>
                        <a:pt x="0" y="211"/>
                      </a:lnTo>
                      <a:lnTo>
                        <a:pt x="1" y="215"/>
                      </a:lnTo>
                      <a:lnTo>
                        <a:pt x="5" y="218"/>
                      </a:lnTo>
                      <a:lnTo>
                        <a:pt x="52" y="224"/>
                      </a:lnTo>
                      <a:lnTo>
                        <a:pt x="52" y="224"/>
                      </a:lnTo>
                      <a:lnTo>
                        <a:pt x="58" y="241"/>
                      </a:lnTo>
                      <a:lnTo>
                        <a:pt x="66" y="257"/>
                      </a:lnTo>
                      <a:lnTo>
                        <a:pt x="36" y="294"/>
                      </a:lnTo>
                      <a:lnTo>
                        <a:pt x="36" y="294"/>
                      </a:lnTo>
                      <a:lnTo>
                        <a:pt x="35" y="298"/>
                      </a:lnTo>
                      <a:lnTo>
                        <a:pt x="38" y="302"/>
                      </a:lnTo>
                      <a:lnTo>
                        <a:pt x="71" y="337"/>
                      </a:lnTo>
                      <a:lnTo>
                        <a:pt x="71" y="337"/>
                      </a:lnTo>
                      <a:lnTo>
                        <a:pt x="74" y="339"/>
                      </a:lnTo>
                      <a:lnTo>
                        <a:pt x="75" y="339"/>
                      </a:lnTo>
                      <a:lnTo>
                        <a:pt x="75" y="339"/>
                      </a:lnTo>
                      <a:lnTo>
                        <a:pt x="79" y="337"/>
                      </a:lnTo>
                      <a:lnTo>
                        <a:pt x="118" y="308"/>
                      </a:lnTo>
                      <a:lnTo>
                        <a:pt x="118" y="308"/>
                      </a:lnTo>
                      <a:lnTo>
                        <a:pt x="133" y="316"/>
                      </a:lnTo>
                      <a:lnTo>
                        <a:pt x="151" y="321"/>
                      </a:lnTo>
                      <a:lnTo>
                        <a:pt x="156" y="370"/>
                      </a:lnTo>
                      <a:lnTo>
                        <a:pt x="156" y="370"/>
                      </a:lnTo>
                      <a:lnTo>
                        <a:pt x="159" y="374"/>
                      </a:lnTo>
                      <a:lnTo>
                        <a:pt x="163" y="375"/>
                      </a:lnTo>
                      <a:lnTo>
                        <a:pt x="211" y="375"/>
                      </a:lnTo>
                      <a:lnTo>
                        <a:pt x="211" y="375"/>
                      </a:lnTo>
                      <a:lnTo>
                        <a:pt x="215" y="374"/>
                      </a:lnTo>
                      <a:lnTo>
                        <a:pt x="216" y="370"/>
                      </a:lnTo>
                      <a:lnTo>
                        <a:pt x="223" y="321"/>
                      </a:lnTo>
                      <a:lnTo>
                        <a:pt x="223" y="321"/>
                      </a:lnTo>
                      <a:lnTo>
                        <a:pt x="239" y="316"/>
                      </a:lnTo>
                      <a:lnTo>
                        <a:pt x="255" y="308"/>
                      </a:lnTo>
                      <a:lnTo>
                        <a:pt x="294" y="337"/>
                      </a:lnTo>
                      <a:lnTo>
                        <a:pt x="294" y="337"/>
                      </a:lnTo>
                      <a:lnTo>
                        <a:pt x="297" y="339"/>
                      </a:lnTo>
                      <a:lnTo>
                        <a:pt x="297" y="339"/>
                      </a:lnTo>
                      <a:lnTo>
                        <a:pt x="300" y="339"/>
                      </a:lnTo>
                      <a:lnTo>
                        <a:pt x="302" y="337"/>
                      </a:lnTo>
                      <a:lnTo>
                        <a:pt x="336" y="302"/>
                      </a:lnTo>
                      <a:lnTo>
                        <a:pt x="336" y="302"/>
                      </a:lnTo>
                      <a:lnTo>
                        <a:pt x="337" y="298"/>
                      </a:lnTo>
                      <a:lnTo>
                        <a:pt x="336" y="294"/>
                      </a:lnTo>
                      <a:lnTo>
                        <a:pt x="308" y="257"/>
                      </a:lnTo>
                      <a:lnTo>
                        <a:pt x="308" y="257"/>
                      </a:lnTo>
                      <a:lnTo>
                        <a:pt x="314" y="241"/>
                      </a:lnTo>
                      <a:lnTo>
                        <a:pt x="321" y="224"/>
                      </a:lnTo>
                      <a:lnTo>
                        <a:pt x="368" y="218"/>
                      </a:lnTo>
                      <a:lnTo>
                        <a:pt x="368" y="218"/>
                      </a:lnTo>
                      <a:lnTo>
                        <a:pt x="372" y="215"/>
                      </a:lnTo>
                      <a:lnTo>
                        <a:pt x="374" y="211"/>
                      </a:lnTo>
                      <a:lnTo>
                        <a:pt x="374" y="163"/>
                      </a:lnTo>
                      <a:lnTo>
                        <a:pt x="374" y="163"/>
                      </a:lnTo>
                      <a:lnTo>
                        <a:pt x="372" y="160"/>
                      </a:lnTo>
                      <a:lnTo>
                        <a:pt x="368" y="157"/>
                      </a:lnTo>
                      <a:lnTo>
                        <a:pt x="368" y="157"/>
                      </a:lnTo>
                      <a:close/>
                      <a:moveTo>
                        <a:pt x="187" y="267"/>
                      </a:moveTo>
                      <a:lnTo>
                        <a:pt x="187" y="267"/>
                      </a:lnTo>
                      <a:lnTo>
                        <a:pt x="179" y="266"/>
                      </a:lnTo>
                      <a:lnTo>
                        <a:pt x="171" y="266"/>
                      </a:lnTo>
                      <a:lnTo>
                        <a:pt x="156" y="261"/>
                      </a:lnTo>
                      <a:lnTo>
                        <a:pt x="142" y="254"/>
                      </a:lnTo>
                      <a:lnTo>
                        <a:pt x="130" y="243"/>
                      </a:lnTo>
                      <a:lnTo>
                        <a:pt x="121" y="233"/>
                      </a:lnTo>
                      <a:lnTo>
                        <a:pt x="113" y="219"/>
                      </a:lnTo>
                      <a:lnTo>
                        <a:pt x="109" y="203"/>
                      </a:lnTo>
                      <a:lnTo>
                        <a:pt x="108" y="196"/>
                      </a:lnTo>
                      <a:lnTo>
                        <a:pt x="108" y="187"/>
                      </a:lnTo>
                      <a:lnTo>
                        <a:pt x="108" y="187"/>
                      </a:lnTo>
                      <a:lnTo>
                        <a:pt x="108" y="179"/>
                      </a:lnTo>
                      <a:lnTo>
                        <a:pt x="109" y="171"/>
                      </a:lnTo>
                      <a:lnTo>
                        <a:pt x="113" y="156"/>
                      </a:lnTo>
                      <a:lnTo>
                        <a:pt x="121" y="142"/>
                      </a:lnTo>
                      <a:lnTo>
                        <a:pt x="130" y="132"/>
                      </a:lnTo>
                      <a:lnTo>
                        <a:pt x="142" y="121"/>
                      </a:lnTo>
                      <a:lnTo>
                        <a:pt x="156" y="114"/>
                      </a:lnTo>
                      <a:lnTo>
                        <a:pt x="171" y="109"/>
                      </a:lnTo>
                      <a:lnTo>
                        <a:pt x="179" y="108"/>
                      </a:lnTo>
                      <a:lnTo>
                        <a:pt x="187" y="108"/>
                      </a:lnTo>
                      <a:lnTo>
                        <a:pt x="187" y="108"/>
                      </a:lnTo>
                      <a:lnTo>
                        <a:pt x="195" y="108"/>
                      </a:lnTo>
                      <a:lnTo>
                        <a:pt x="203" y="109"/>
                      </a:lnTo>
                      <a:lnTo>
                        <a:pt x="218" y="114"/>
                      </a:lnTo>
                      <a:lnTo>
                        <a:pt x="231" y="121"/>
                      </a:lnTo>
                      <a:lnTo>
                        <a:pt x="243" y="132"/>
                      </a:lnTo>
                      <a:lnTo>
                        <a:pt x="253" y="142"/>
                      </a:lnTo>
                      <a:lnTo>
                        <a:pt x="259" y="156"/>
                      </a:lnTo>
                      <a:lnTo>
                        <a:pt x="265" y="171"/>
                      </a:lnTo>
                      <a:lnTo>
                        <a:pt x="266" y="179"/>
                      </a:lnTo>
                      <a:lnTo>
                        <a:pt x="266" y="187"/>
                      </a:lnTo>
                      <a:lnTo>
                        <a:pt x="266" y="187"/>
                      </a:lnTo>
                      <a:lnTo>
                        <a:pt x="266" y="196"/>
                      </a:lnTo>
                      <a:lnTo>
                        <a:pt x="265" y="203"/>
                      </a:lnTo>
                      <a:lnTo>
                        <a:pt x="259" y="219"/>
                      </a:lnTo>
                      <a:lnTo>
                        <a:pt x="253" y="233"/>
                      </a:lnTo>
                      <a:lnTo>
                        <a:pt x="243" y="243"/>
                      </a:lnTo>
                      <a:lnTo>
                        <a:pt x="231" y="254"/>
                      </a:lnTo>
                      <a:lnTo>
                        <a:pt x="218" y="261"/>
                      </a:lnTo>
                      <a:lnTo>
                        <a:pt x="203" y="266"/>
                      </a:lnTo>
                      <a:lnTo>
                        <a:pt x="195" y="266"/>
                      </a:lnTo>
                      <a:lnTo>
                        <a:pt x="187" y="267"/>
                      </a:lnTo>
                      <a:lnTo>
                        <a:pt x="187" y="2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63" name="Group 62">
                <a:extLst>
                  <a:ext uri="{FF2B5EF4-FFF2-40B4-BE49-F238E27FC236}">
                    <a16:creationId xmlns:a16="http://schemas.microsoft.com/office/drawing/2014/main" id="{36CC7FA6-AF4A-4AB7-B08E-D7E69E9AC7C3}"/>
                  </a:ext>
                </a:extLst>
              </p:cNvPr>
              <p:cNvGrpSpPr/>
              <p:nvPr/>
            </p:nvGrpSpPr>
            <p:grpSpPr>
              <a:xfrm>
                <a:off x="2997200" y="4991100"/>
                <a:ext cx="322629" cy="320040"/>
                <a:chOff x="3090704" y="4956472"/>
                <a:chExt cx="322629" cy="320040"/>
              </a:xfrm>
            </p:grpSpPr>
            <p:sp>
              <p:nvSpPr>
                <p:cNvPr id="95" name="Oval 94">
                  <a:extLst>
                    <a:ext uri="{FF2B5EF4-FFF2-40B4-BE49-F238E27FC236}">
                      <a16:creationId xmlns:a16="http://schemas.microsoft.com/office/drawing/2014/main" id="{5748A0AE-8F78-43FC-8801-051A5FD11F95}"/>
                    </a:ext>
                  </a:extLst>
                </p:cNvPr>
                <p:cNvSpPr/>
                <p:nvPr/>
              </p:nvSpPr>
              <p:spPr>
                <a:xfrm>
                  <a:off x="3123073" y="4975065"/>
                  <a:ext cx="290260" cy="2902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grpSp>
              <p:nvGrpSpPr>
                <p:cNvPr id="96" name="Group 95">
                  <a:extLst>
                    <a:ext uri="{FF2B5EF4-FFF2-40B4-BE49-F238E27FC236}">
                      <a16:creationId xmlns:a16="http://schemas.microsoft.com/office/drawing/2014/main" id="{465FAD11-3840-4B71-9AA9-1FA84987CB1D}"/>
                    </a:ext>
                  </a:extLst>
                </p:cNvPr>
                <p:cNvGrpSpPr>
                  <a:grpSpLocks noChangeAspect="1"/>
                </p:cNvGrpSpPr>
                <p:nvPr/>
              </p:nvGrpSpPr>
              <p:grpSpPr>
                <a:xfrm>
                  <a:off x="3090704" y="4956472"/>
                  <a:ext cx="319070" cy="320040"/>
                  <a:chOff x="6715126" y="824548"/>
                  <a:chExt cx="522288" cy="523875"/>
                </a:xfrm>
              </p:grpSpPr>
              <p:sp>
                <p:nvSpPr>
                  <p:cNvPr id="97" name="Freeform 13">
                    <a:extLst>
                      <a:ext uri="{FF2B5EF4-FFF2-40B4-BE49-F238E27FC236}">
                        <a16:creationId xmlns:a16="http://schemas.microsoft.com/office/drawing/2014/main" id="{4293487A-0F37-4700-AAEB-B95777D4BF26}"/>
                      </a:ext>
                    </a:extLst>
                  </p:cNvPr>
                  <p:cNvSpPr>
                    <a:spLocks noEditPoints="1"/>
                  </p:cNvSpPr>
                  <p:nvPr/>
                </p:nvSpPr>
                <p:spPr bwMode="auto">
                  <a:xfrm>
                    <a:off x="6715126" y="824548"/>
                    <a:ext cx="522288" cy="523875"/>
                  </a:xfrm>
                  <a:custGeom>
                    <a:avLst/>
                    <a:gdLst>
                      <a:gd name="T0" fmla="*/ 311 w 658"/>
                      <a:gd name="T1" fmla="*/ 658 h 658"/>
                      <a:gd name="T2" fmla="*/ 262 w 658"/>
                      <a:gd name="T3" fmla="*/ 652 h 658"/>
                      <a:gd name="T4" fmla="*/ 201 w 658"/>
                      <a:gd name="T5" fmla="*/ 633 h 658"/>
                      <a:gd name="T6" fmla="*/ 119 w 658"/>
                      <a:gd name="T7" fmla="*/ 583 h 658"/>
                      <a:gd name="T8" fmla="*/ 56 w 658"/>
                      <a:gd name="T9" fmla="*/ 513 h 658"/>
                      <a:gd name="T10" fmla="*/ 14 w 658"/>
                      <a:gd name="T11" fmla="*/ 427 h 658"/>
                      <a:gd name="T12" fmla="*/ 4 w 658"/>
                      <a:gd name="T13" fmla="*/ 379 h 658"/>
                      <a:gd name="T14" fmla="*/ 0 w 658"/>
                      <a:gd name="T15" fmla="*/ 329 h 658"/>
                      <a:gd name="T16" fmla="*/ 1 w 658"/>
                      <a:gd name="T17" fmla="*/ 295 h 658"/>
                      <a:gd name="T18" fmla="*/ 10 w 658"/>
                      <a:gd name="T19" fmla="*/ 247 h 658"/>
                      <a:gd name="T20" fmla="*/ 40 w 658"/>
                      <a:gd name="T21" fmla="*/ 173 h 658"/>
                      <a:gd name="T22" fmla="*/ 96 w 658"/>
                      <a:gd name="T23" fmla="*/ 96 h 658"/>
                      <a:gd name="T24" fmla="*/ 172 w 658"/>
                      <a:gd name="T25" fmla="*/ 40 h 658"/>
                      <a:gd name="T26" fmla="*/ 247 w 658"/>
                      <a:gd name="T27" fmla="*/ 10 h 658"/>
                      <a:gd name="T28" fmla="*/ 295 w 658"/>
                      <a:gd name="T29" fmla="*/ 2 h 658"/>
                      <a:gd name="T30" fmla="*/ 329 w 658"/>
                      <a:gd name="T31" fmla="*/ 0 h 658"/>
                      <a:gd name="T32" fmla="*/ 379 w 658"/>
                      <a:gd name="T33" fmla="*/ 4 h 658"/>
                      <a:gd name="T34" fmla="*/ 426 w 658"/>
                      <a:gd name="T35" fmla="*/ 16 h 658"/>
                      <a:gd name="T36" fmla="*/ 513 w 658"/>
                      <a:gd name="T37" fmla="*/ 56 h 658"/>
                      <a:gd name="T38" fmla="*/ 583 w 658"/>
                      <a:gd name="T39" fmla="*/ 121 h 658"/>
                      <a:gd name="T40" fmla="*/ 631 w 658"/>
                      <a:gd name="T41" fmla="*/ 201 h 658"/>
                      <a:gd name="T42" fmla="*/ 651 w 658"/>
                      <a:gd name="T43" fmla="*/ 263 h 658"/>
                      <a:gd name="T44" fmla="*/ 657 w 658"/>
                      <a:gd name="T45" fmla="*/ 313 h 658"/>
                      <a:gd name="T46" fmla="*/ 657 w 658"/>
                      <a:gd name="T47" fmla="*/ 346 h 658"/>
                      <a:gd name="T48" fmla="*/ 651 w 658"/>
                      <a:gd name="T49" fmla="*/ 396 h 658"/>
                      <a:gd name="T50" fmla="*/ 631 w 658"/>
                      <a:gd name="T51" fmla="*/ 457 h 658"/>
                      <a:gd name="T52" fmla="*/ 583 w 658"/>
                      <a:gd name="T53" fmla="*/ 539 h 658"/>
                      <a:gd name="T54" fmla="*/ 513 w 658"/>
                      <a:gd name="T55" fmla="*/ 602 h 658"/>
                      <a:gd name="T56" fmla="*/ 426 w 658"/>
                      <a:gd name="T57" fmla="*/ 644 h 658"/>
                      <a:gd name="T58" fmla="*/ 379 w 658"/>
                      <a:gd name="T59" fmla="*/ 654 h 658"/>
                      <a:gd name="T60" fmla="*/ 329 w 658"/>
                      <a:gd name="T61" fmla="*/ 658 h 658"/>
                      <a:gd name="T62" fmla="*/ 329 w 658"/>
                      <a:gd name="T63" fmla="*/ 37 h 658"/>
                      <a:gd name="T64" fmla="*/ 241 w 658"/>
                      <a:gd name="T65" fmla="*/ 51 h 658"/>
                      <a:gd name="T66" fmla="*/ 166 w 658"/>
                      <a:gd name="T67" fmla="*/ 88 h 658"/>
                      <a:gd name="T68" fmla="*/ 104 w 658"/>
                      <a:gd name="T69" fmla="*/ 144 h 658"/>
                      <a:gd name="T70" fmla="*/ 60 w 658"/>
                      <a:gd name="T71" fmla="*/ 216 h 658"/>
                      <a:gd name="T72" fmla="*/ 38 w 658"/>
                      <a:gd name="T73" fmla="*/ 299 h 658"/>
                      <a:gd name="T74" fmla="*/ 38 w 658"/>
                      <a:gd name="T75" fmla="*/ 359 h 658"/>
                      <a:gd name="T76" fmla="*/ 60 w 658"/>
                      <a:gd name="T77" fmla="*/ 443 h 658"/>
                      <a:gd name="T78" fmla="*/ 104 w 658"/>
                      <a:gd name="T79" fmla="*/ 514 h 658"/>
                      <a:gd name="T80" fmla="*/ 166 w 658"/>
                      <a:gd name="T81" fmla="*/ 571 h 658"/>
                      <a:gd name="T82" fmla="*/ 241 w 658"/>
                      <a:gd name="T83" fmla="*/ 607 h 658"/>
                      <a:gd name="T84" fmla="*/ 329 w 658"/>
                      <a:gd name="T85" fmla="*/ 621 h 658"/>
                      <a:gd name="T86" fmla="*/ 387 w 658"/>
                      <a:gd name="T87" fmla="*/ 615 h 658"/>
                      <a:gd name="T88" fmla="*/ 467 w 658"/>
                      <a:gd name="T89" fmla="*/ 586 h 658"/>
                      <a:gd name="T90" fmla="*/ 534 w 658"/>
                      <a:gd name="T91" fmla="*/ 535 h 658"/>
                      <a:gd name="T92" fmla="*/ 584 w 658"/>
                      <a:gd name="T93" fmla="*/ 467 h 658"/>
                      <a:gd name="T94" fmla="*/ 614 w 658"/>
                      <a:gd name="T95" fmla="*/ 388 h 658"/>
                      <a:gd name="T96" fmla="*/ 620 w 658"/>
                      <a:gd name="T97" fmla="*/ 329 h 658"/>
                      <a:gd name="T98" fmla="*/ 607 w 658"/>
                      <a:gd name="T99" fmla="*/ 243 h 658"/>
                      <a:gd name="T100" fmla="*/ 569 w 658"/>
                      <a:gd name="T101" fmla="*/ 166 h 658"/>
                      <a:gd name="T102" fmla="*/ 514 w 658"/>
                      <a:gd name="T103" fmla="*/ 105 h 658"/>
                      <a:gd name="T104" fmla="*/ 442 w 658"/>
                      <a:gd name="T105" fmla="*/ 62 h 658"/>
                      <a:gd name="T106" fmla="*/ 358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1" y="658"/>
                        </a:lnTo>
                        <a:lnTo>
                          <a:pt x="295" y="657"/>
                        </a:lnTo>
                        <a:lnTo>
                          <a:pt x="279" y="654"/>
                        </a:lnTo>
                        <a:lnTo>
                          <a:pt x="262" y="652"/>
                        </a:lnTo>
                        <a:lnTo>
                          <a:pt x="247" y="648"/>
                        </a:lnTo>
                        <a:lnTo>
                          <a:pt x="231" y="644"/>
                        </a:lnTo>
                        <a:lnTo>
                          <a:pt x="201" y="633"/>
                        </a:lnTo>
                        <a:lnTo>
                          <a:pt x="172" y="618"/>
                        </a:lnTo>
                        <a:lnTo>
                          <a:pt x="145" y="602"/>
                        </a:lnTo>
                        <a:lnTo>
                          <a:pt x="119" y="583"/>
                        </a:lnTo>
                        <a:lnTo>
                          <a:pt x="96" y="562"/>
                        </a:lnTo>
                        <a:lnTo>
                          <a:pt x="75" y="539"/>
                        </a:lnTo>
                        <a:lnTo>
                          <a:pt x="56" y="513"/>
                        </a:lnTo>
                        <a:lnTo>
                          <a:pt x="40" y="486"/>
                        </a:lnTo>
                        <a:lnTo>
                          <a:pt x="25" y="457"/>
                        </a:lnTo>
                        <a:lnTo>
                          <a:pt x="14" y="427"/>
                        </a:lnTo>
                        <a:lnTo>
                          <a:pt x="10" y="411"/>
                        </a:lnTo>
                        <a:lnTo>
                          <a:pt x="6" y="396"/>
                        </a:lnTo>
                        <a:lnTo>
                          <a:pt x="4" y="379"/>
                        </a:lnTo>
                        <a:lnTo>
                          <a:pt x="1" y="363"/>
                        </a:lnTo>
                        <a:lnTo>
                          <a:pt x="0" y="346"/>
                        </a:lnTo>
                        <a:lnTo>
                          <a:pt x="0" y="329"/>
                        </a:lnTo>
                        <a:lnTo>
                          <a:pt x="0" y="329"/>
                        </a:lnTo>
                        <a:lnTo>
                          <a:pt x="0" y="313"/>
                        </a:lnTo>
                        <a:lnTo>
                          <a:pt x="1" y="295"/>
                        </a:lnTo>
                        <a:lnTo>
                          <a:pt x="4" y="279"/>
                        </a:lnTo>
                        <a:lnTo>
                          <a:pt x="6" y="263"/>
                        </a:lnTo>
                        <a:lnTo>
                          <a:pt x="10" y="247"/>
                        </a:lnTo>
                        <a:lnTo>
                          <a:pt x="14" y="232"/>
                        </a:lnTo>
                        <a:lnTo>
                          <a:pt x="25" y="201"/>
                        </a:lnTo>
                        <a:lnTo>
                          <a:pt x="40" y="173"/>
                        </a:lnTo>
                        <a:lnTo>
                          <a:pt x="56" y="145"/>
                        </a:lnTo>
                        <a:lnTo>
                          <a:pt x="75" y="121"/>
                        </a:lnTo>
                        <a:lnTo>
                          <a:pt x="96" y="96"/>
                        </a:lnTo>
                        <a:lnTo>
                          <a:pt x="119" y="75"/>
                        </a:lnTo>
                        <a:lnTo>
                          <a:pt x="145" y="56"/>
                        </a:lnTo>
                        <a:lnTo>
                          <a:pt x="172" y="40"/>
                        </a:lnTo>
                        <a:lnTo>
                          <a:pt x="201" y="27"/>
                        </a:lnTo>
                        <a:lnTo>
                          <a:pt x="231" y="16"/>
                        </a:lnTo>
                        <a:lnTo>
                          <a:pt x="247" y="10"/>
                        </a:lnTo>
                        <a:lnTo>
                          <a:pt x="262" y="6"/>
                        </a:lnTo>
                        <a:lnTo>
                          <a:pt x="279" y="4"/>
                        </a:lnTo>
                        <a:lnTo>
                          <a:pt x="295" y="2"/>
                        </a:lnTo>
                        <a:lnTo>
                          <a:pt x="311" y="1"/>
                        </a:lnTo>
                        <a:lnTo>
                          <a:pt x="329" y="0"/>
                        </a:lnTo>
                        <a:lnTo>
                          <a:pt x="329" y="0"/>
                        </a:lnTo>
                        <a:lnTo>
                          <a:pt x="345" y="1"/>
                        </a:lnTo>
                        <a:lnTo>
                          <a:pt x="362" y="2"/>
                        </a:lnTo>
                        <a:lnTo>
                          <a:pt x="379" y="4"/>
                        </a:lnTo>
                        <a:lnTo>
                          <a:pt x="395" y="6"/>
                        </a:lnTo>
                        <a:lnTo>
                          <a:pt x="411" y="10"/>
                        </a:lnTo>
                        <a:lnTo>
                          <a:pt x="426" y="16"/>
                        </a:lnTo>
                        <a:lnTo>
                          <a:pt x="456" y="27"/>
                        </a:lnTo>
                        <a:lnTo>
                          <a:pt x="485" y="40"/>
                        </a:lnTo>
                        <a:lnTo>
                          <a:pt x="513" y="56"/>
                        </a:lnTo>
                        <a:lnTo>
                          <a:pt x="537" y="75"/>
                        </a:lnTo>
                        <a:lnTo>
                          <a:pt x="561" y="96"/>
                        </a:lnTo>
                        <a:lnTo>
                          <a:pt x="583" y="121"/>
                        </a:lnTo>
                        <a:lnTo>
                          <a:pt x="602" y="145"/>
                        </a:lnTo>
                        <a:lnTo>
                          <a:pt x="618" y="173"/>
                        </a:lnTo>
                        <a:lnTo>
                          <a:pt x="631" y="201"/>
                        </a:lnTo>
                        <a:lnTo>
                          <a:pt x="643" y="232"/>
                        </a:lnTo>
                        <a:lnTo>
                          <a:pt x="647" y="247"/>
                        </a:lnTo>
                        <a:lnTo>
                          <a:pt x="651" y="263"/>
                        </a:lnTo>
                        <a:lnTo>
                          <a:pt x="654" y="279"/>
                        </a:lnTo>
                        <a:lnTo>
                          <a:pt x="655" y="295"/>
                        </a:lnTo>
                        <a:lnTo>
                          <a:pt x="657" y="313"/>
                        </a:lnTo>
                        <a:lnTo>
                          <a:pt x="658" y="329"/>
                        </a:lnTo>
                        <a:lnTo>
                          <a:pt x="658" y="329"/>
                        </a:lnTo>
                        <a:lnTo>
                          <a:pt x="657" y="346"/>
                        </a:lnTo>
                        <a:lnTo>
                          <a:pt x="655" y="363"/>
                        </a:lnTo>
                        <a:lnTo>
                          <a:pt x="654" y="379"/>
                        </a:lnTo>
                        <a:lnTo>
                          <a:pt x="651" y="396"/>
                        </a:lnTo>
                        <a:lnTo>
                          <a:pt x="647" y="411"/>
                        </a:lnTo>
                        <a:lnTo>
                          <a:pt x="643" y="427"/>
                        </a:lnTo>
                        <a:lnTo>
                          <a:pt x="631" y="457"/>
                        </a:lnTo>
                        <a:lnTo>
                          <a:pt x="618" y="486"/>
                        </a:lnTo>
                        <a:lnTo>
                          <a:pt x="602" y="513"/>
                        </a:lnTo>
                        <a:lnTo>
                          <a:pt x="583" y="539"/>
                        </a:lnTo>
                        <a:lnTo>
                          <a:pt x="561" y="562"/>
                        </a:lnTo>
                        <a:lnTo>
                          <a:pt x="537" y="583"/>
                        </a:lnTo>
                        <a:lnTo>
                          <a:pt x="513" y="602"/>
                        </a:lnTo>
                        <a:lnTo>
                          <a:pt x="485" y="618"/>
                        </a:lnTo>
                        <a:lnTo>
                          <a:pt x="456" y="633"/>
                        </a:lnTo>
                        <a:lnTo>
                          <a:pt x="426" y="644"/>
                        </a:lnTo>
                        <a:lnTo>
                          <a:pt x="411" y="648"/>
                        </a:lnTo>
                        <a:lnTo>
                          <a:pt x="395" y="652"/>
                        </a:lnTo>
                        <a:lnTo>
                          <a:pt x="379" y="654"/>
                        </a:lnTo>
                        <a:lnTo>
                          <a:pt x="362" y="657"/>
                        </a:lnTo>
                        <a:lnTo>
                          <a:pt x="345" y="658"/>
                        </a:lnTo>
                        <a:lnTo>
                          <a:pt x="329" y="658"/>
                        </a:lnTo>
                        <a:lnTo>
                          <a:pt x="329" y="658"/>
                        </a:lnTo>
                        <a:close/>
                        <a:moveTo>
                          <a:pt x="329" y="37"/>
                        </a:moveTo>
                        <a:lnTo>
                          <a:pt x="329" y="37"/>
                        </a:lnTo>
                        <a:lnTo>
                          <a:pt x="299" y="40"/>
                        </a:lnTo>
                        <a:lnTo>
                          <a:pt x="270" y="44"/>
                        </a:lnTo>
                        <a:lnTo>
                          <a:pt x="241" y="51"/>
                        </a:lnTo>
                        <a:lnTo>
                          <a:pt x="215" y="62"/>
                        </a:lnTo>
                        <a:lnTo>
                          <a:pt x="190" y="74"/>
                        </a:lnTo>
                        <a:lnTo>
                          <a:pt x="166" y="88"/>
                        </a:lnTo>
                        <a:lnTo>
                          <a:pt x="143" y="105"/>
                        </a:lnTo>
                        <a:lnTo>
                          <a:pt x="123" y="123"/>
                        </a:lnTo>
                        <a:lnTo>
                          <a:pt x="104" y="144"/>
                        </a:lnTo>
                        <a:lnTo>
                          <a:pt x="87" y="166"/>
                        </a:lnTo>
                        <a:lnTo>
                          <a:pt x="72" y="191"/>
                        </a:lnTo>
                        <a:lnTo>
                          <a:pt x="60" y="216"/>
                        </a:lnTo>
                        <a:lnTo>
                          <a:pt x="51" y="243"/>
                        </a:lnTo>
                        <a:lnTo>
                          <a:pt x="43" y="271"/>
                        </a:lnTo>
                        <a:lnTo>
                          <a:pt x="38" y="299"/>
                        </a:lnTo>
                        <a:lnTo>
                          <a:pt x="37" y="329"/>
                        </a:lnTo>
                        <a:lnTo>
                          <a:pt x="37" y="329"/>
                        </a:lnTo>
                        <a:lnTo>
                          <a:pt x="38" y="359"/>
                        </a:lnTo>
                        <a:lnTo>
                          <a:pt x="43" y="388"/>
                        </a:lnTo>
                        <a:lnTo>
                          <a:pt x="51" y="416"/>
                        </a:lnTo>
                        <a:lnTo>
                          <a:pt x="60" y="443"/>
                        </a:lnTo>
                        <a:lnTo>
                          <a:pt x="72" y="467"/>
                        </a:lnTo>
                        <a:lnTo>
                          <a:pt x="87" y="492"/>
                        </a:lnTo>
                        <a:lnTo>
                          <a:pt x="104" y="514"/>
                        </a:lnTo>
                        <a:lnTo>
                          <a:pt x="123" y="535"/>
                        </a:lnTo>
                        <a:lnTo>
                          <a:pt x="143" y="553"/>
                        </a:lnTo>
                        <a:lnTo>
                          <a:pt x="166" y="571"/>
                        </a:lnTo>
                        <a:lnTo>
                          <a:pt x="190" y="586"/>
                        </a:lnTo>
                        <a:lnTo>
                          <a:pt x="215" y="598"/>
                        </a:lnTo>
                        <a:lnTo>
                          <a:pt x="241" y="607"/>
                        </a:lnTo>
                        <a:lnTo>
                          <a:pt x="270" y="615"/>
                        </a:lnTo>
                        <a:lnTo>
                          <a:pt x="299" y="619"/>
                        </a:lnTo>
                        <a:lnTo>
                          <a:pt x="329" y="621"/>
                        </a:lnTo>
                        <a:lnTo>
                          <a:pt x="329" y="621"/>
                        </a:lnTo>
                        <a:lnTo>
                          <a:pt x="358" y="619"/>
                        </a:lnTo>
                        <a:lnTo>
                          <a:pt x="387" y="615"/>
                        </a:lnTo>
                        <a:lnTo>
                          <a:pt x="415" y="607"/>
                        </a:lnTo>
                        <a:lnTo>
                          <a:pt x="442" y="598"/>
                        </a:lnTo>
                        <a:lnTo>
                          <a:pt x="467" y="586"/>
                        </a:lnTo>
                        <a:lnTo>
                          <a:pt x="491" y="571"/>
                        </a:lnTo>
                        <a:lnTo>
                          <a:pt x="514" y="553"/>
                        </a:lnTo>
                        <a:lnTo>
                          <a:pt x="534" y="535"/>
                        </a:lnTo>
                        <a:lnTo>
                          <a:pt x="553" y="514"/>
                        </a:lnTo>
                        <a:lnTo>
                          <a:pt x="569" y="492"/>
                        </a:lnTo>
                        <a:lnTo>
                          <a:pt x="584" y="467"/>
                        </a:lnTo>
                        <a:lnTo>
                          <a:pt x="596" y="443"/>
                        </a:lnTo>
                        <a:lnTo>
                          <a:pt x="607" y="416"/>
                        </a:lnTo>
                        <a:lnTo>
                          <a:pt x="614" y="388"/>
                        </a:lnTo>
                        <a:lnTo>
                          <a:pt x="618" y="359"/>
                        </a:lnTo>
                        <a:lnTo>
                          <a:pt x="620" y="329"/>
                        </a:lnTo>
                        <a:lnTo>
                          <a:pt x="620" y="329"/>
                        </a:lnTo>
                        <a:lnTo>
                          <a:pt x="618" y="299"/>
                        </a:lnTo>
                        <a:lnTo>
                          <a:pt x="614" y="271"/>
                        </a:lnTo>
                        <a:lnTo>
                          <a:pt x="607" y="243"/>
                        </a:lnTo>
                        <a:lnTo>
                          <a:pt x="596" y="216"/>
                        </a:lnTo>
                        <a:lnTo>
                          <a:pt x="584" y="191"/>
                        </a:lnTo>
                        <a:lnTo>
                          <a:pt x="569" y="166"/>
                        </a:lnTo>
                        <a:lnTo>
                          <a:pt x="553" y="144"/>
                        </a:lnTo>
                        <a:lnTo>
                          <a:pt x="534" y="123"/>
                        </a:lnTo>
                        <a:lnTo>
                          <a:pt x="514" y="105"/>
                        </a:lnTo>
                        <a:lnTo>
                          <a:pt x="491" y="88"/>
                        </a:lnTo>
                        <a:lnTo>
                          <a:pt x="467" y="74"/>
                        </a:lnTo>
                        <a:lnTo>
                          <a:pt x="442" y="62"/>
                        </a:lnTo>
                        <a:lnTo>
                          <a:pt x="415" y="51"/>
                        </a:lnTo>
                        <a:lnTo>
                          <a:pt x="387" y="44"/>
                        </a:lnTo>
                        <a:lnTo>
                          <a:pt x="358" y="40"/>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98" name="Freeform 116">
                    <a:extLst>
                      <a:ext uri="{FF2B5EF4-FFF2-40B4-BE49-F238E27FC236}">
                        <a16:creationId xmlns:a16="http://schemas.microsoft.com/office/drawing/2014/main" id="{2E00778D-B5C4-4E5C-9AEA-CF391EEF4ABE}"/>
                      </a:ext>
                    </a:extLst>
                  </p:cNvPr>
                  <p:cNvSpPr>
                    <a:spLocks/>
                  </p:cNvSpPr>
                  <p:nvPr/>
                </p:nvSpPr>
                <p:spPr bwMode="auto">
                  <a:xfrm>
                    <a:off x="6842126" y="989648"/>
                    <a:ext cx="298450" cy="161925"/>
                  </a:xfrm>
                  <a:custGeom>
                    <a:avLst/>
                    <a:gdLst>
                      <a:gd name="T0" fmla="*/ 373 w 377"/>
                      <a:gd name="T1" fmla="*/ 110 h 204"/>
                      <a:gd name="T2" fmla="*/ 299 w 377"/>
                      <a:gd name="T3" fmla="*/ 36 h 204"/>
                      <a:gd name="T4" fmla="*/ 299 w 377"/>
                      <a:gd name="T5" fmla="*/ 36 h 204"/>
                      <a:gd name="T6" fmla="*/ 295 w 377"/>
                      <a:gd name="T7" fmla="*/ 33 h 204"/>
                      <a:gd name="T8" fmla="*/ 291 w 377"/>
                      <a:gd name="T9" fmla="*/ 33 h 204"/>
                      <a:gd name="T10" fmla="*/ 287 w 377"/>
                      <a:gd name="T11" fmla="*/ 33 h 204"/>
                      <a:gd name="T12" fmla="*/ 283 w 377"/>
                      <a:gd name="T13" fmla="*/ 36 h 204"/>
                      <a:gd name="T14" fmla="*/ 283 w 377"/>
                      <a:gd name="T15" fmla="*/ 36 h 204"/>
                      <a:gd name="T16" fmla="*/ 280 w 377"/>
                      <a:gd name="T17" fmla="*/ 40 h 204"/>
                      <a:gd name="T18" fmla="*/ 279 w 377"/>
                      <a:gd name="T19" fmla="*/ 44 h 204"/>
                      <a:gd name="T20" fmla="*/ 280 w 377"/>
                      <a:gd name="T21" fmla="*/ 49 h 204"/>
                      <a:gd name="T22" fmla="*/ 283 w 377"/>
                      <a:gd name="T23" fmla="*/ 53 h 204"/>
                      <a:gd name="T24" fmla="*/ 336 w 377"/>
                      <a:gd name="T25" fmla="*/ 106 h 204"/>
                      <a:gd name="T26" fmla="*/ 242 w 377"/>
                      <a:gd name="T27" fmla="*/ 106 h 204"/>
                      <a:gd name="T28" fmla="*/ 225 w 377"/>
                      <a:gd name="T29" fmla="*/ 106 h 204"/>
                      <a:gd name="T30" fmla="*/ 139 w 377"/>
                      <a:gd name="T31" fmla="*/ 106 h 204"/>
                      <a:gd name="T32" fmla="*/ 21 w 377"/>
                      <a:gd name="T33" fmla="*/ 2 h 204"/>
                      <a:gd name="T34" fmla="*/ 21 w 377"/>
                      <a:gd name="T35" fmla="*/ 2 h 204"/>
                      <a:gd name="T36" fmla="*/ 17 w 377"/>
                      <a:gd name="T37" fmla="*/ 1 h 204"/>
                      <a:gd name="T38" fmla="*/ 13 w 377"/>
                      <a:gd name="T39" fmla="*/ 0 h 204"/>
                      <a:gd name="T40" fmla="*/ 13 w 377"/>
                      <a:gd name="T41" fmla="*/ 0 h 204"/>
                      <a:gd name="T42" fmla="*/ 7 w 377"/>
                      <a:gd name="T43" fmla="*/ 1 h 204"/>
                      <a:gd name="T44" fmla="*/ 4 w 377"/>
                      <a:gd name="T45" fmla="*/ 4 h 204"/>
                      <a:gd name="T46" fmla="*/ 4 w 377"/>
                      <a:gd name="T47" fmla="*/ 4 h 204"/>
                      <a:gd name="T48" fmla="*/ 2 w 377"/>
                      <a:gd name="T49" fmla="*/ 8 h 204"/>
                      <a:gd name="T50" fmla="*/ 0 w 377"/>
                      <a:gd name="T51" fmla="*/ 12 h 204"/>
                      <a:gd name="T52" fmla="*/ 0 w 377"/>
                      <a:gd name="T53" fmla="*/ 12 h 204"/>
                      <a:gd name="T54" fmla="*/ 2 w 377"/>
                      <a:gd name="T55" fmla="*/ 16 h 204"/>
                      <a:gd name="T56" fmla="*/ 4 w 377"/>
                      <a:gd name="T57" fmla="*/ 20 h 204"/>
                      <a:gd name="T58" fmla="*/ 127 w 377"/>
                      <a:gd name="T59" fmla="*/ 127 h 204"/>
                      <a:gd name="T60" fmla="*/ 127 w 377"/>
                      <a:gd name="T61" fmla="*/ 127 h 204"/>
                      <a:gd name="T62" fmla="*/ 129 w 377"/>
                      <a:gd name="T63" fmla="*/ 129 h 204"/>
                      <a:gd name="T64" fmla="*/ 133 w 377"/>
                      <a:gd name="T65" fmla="*/ 130 h 204"/>
                      <a:gd name="T66" fmla="*/ 225 w 377"/>
                      <a:gd name="T67" fmla="*/ 130 h 204"/>
                      <a:gd name="T68" fmla="*/ 242 w 377"/>
                      <a:gd name="T69" fmla="*/ 130 h 204"/>
                      <a:gd name="T70" fmla="*/ 336 w 377"/>
                      <a:gd name="T71" fmla="*/ 130 h 204"/>
                      <a:gd name="T72" fmla="*/ 283 w 377"/>
                      <a:gd name="T73" fmla="*/ 184 h 204"/>
                      <a:gd name="T74" fmla="*/ 283 w 377"/>
                      <a:gd name="T75" fmla="*/ 184 h 204"/>
                      <a:gd name="T76" fmla="*/ 280 w 377"/>
                      <a:gd name="T77" fmla="*/ 188 h 204"/>
                      <a:gd name="T78" fmla="*/ 279 w 377"/>
                      <a:gd name="T79" fmla="*/ 192 h 204"/>
                      <a:gd name="T80" fmla="*/ 279 w 377"/>
                      <a:gd name="T81" fmla="*/ 192 h 204"/>
                      <a:gd name="T82" fmla="*/ 280 w 377"/>
                      <a:gd name="T83" fmla="*/ 196 h 204"/>
                      <a:gd name="T84" fmla="*/ 283 w 377"/>
                      <a:gd name="T85" fmla="*/ 200 h 204"/>
                      <a:gd name="T86" fmla="*/ 283 w 377"/>
                      <a:gd name="T87" fmla="*/ 200 h 204"/>
                      <a:gd name="T88" fmla="*/ 287 w 377"/>
                      <a:gd name="T89" fmla="*/ 203 h 204"/>
                      <a:gd name="T90" fmla="*/ 291 w 377"/>
                      <a:gd name="T91" fmla="*/ 204 h 204"/>
                      <a:gd name="T92" fmla="*/ 291 w 377"/>
                      <a:gd name="T93" fmla="*/ 204 h 204"/>
                      <a:gd name="T94" fmla="*/ 295 w 377"/>
                      <a:gd name="T95" fmla="*/ 203 h 204"/>
                      <a:gd name="T96" fmla="*/ 299 w 377"/>
                      <a:gd name="T97" fmla="*/ 200 h 204"/>
                      <a:gd name="T98" fmla="*/ 373 w 377"/>
                      <a:gd name="T99" fmla="*/ 126 h 204"/>
                      <a:gd name="T100" fmla="*/ 373 w 377"/>
                      <a:gd name="T101" fmla="*/ 126 h 204"/>
                      <a:gd name="T102" fmla="*/ 375 w 377"/>
                      <a:gd name="T103" fmla="*/ 123 h 204"/>
                      <a:gd name="T104" fmla="*/ 377 w 377"/>
                      <a:gd name="T105" fmla="*/ 118 h 204"/>
                      <a:gd name="T106" fmla="*/ 377 w 377"/>
                      <a:gd name="T107" fmla="*/ 118 h 204"/>
                      <a:gd name="T108" fmla="*/ 375 w 377"/>
                      <a:gd name="T109" fmla="*/ 114 h 204"/>
                      <a:gd name="T110" fmla="*/ 373 w 377"/>
                      <a:gd name="T111" fmla="*/ 110 h 204"/>
                      <a:gd name="T112" fmla="*/ 373 w 377"/>
                      <a:gd name="T113" fmla="*/ 1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77" h="204">
                        <a:moveTo>
                          <a:pt x="373" y="110"/>
                        </a:moveTo>
                        <a:lnTo>
                          <a:pt x="299" y="36"/>
                        </a:lnTo>
                        <a:lnTo>
                          <a:pt x="299" y="36"/>
                        </a:lnTo>
                        <a:lnTo>
                          <a:pt x="295" y="33"/>
                        </a:lnTo>
                        <a:lnTo>
                          <a:pt x="291" y="33"/>
                        </a:lnTo>
                        <a:lnTo>
                          <a:pt x="287" y="33"/>
                        </a:lnTo>
                        <a:lnTo>
                          <a:pt x="283" y="36"/>
                        </a:lnTo>
                        <a:lnTo>
                          <a:pt x="283" y="36"/>
                        </a:lnTo>
                        <a:lnTo>
                          <a:pt x="280" y="40"/>
                        </a:lnTo>
                        <a:lnTo>
                          <a:pt x="279" y="44"/>
                        </a:lnTo>
                        <a:lnTo>
                          <a:pt x="280" y="49"/>
                        </a:lnTo>
                        <a:lnTo>
                          <a:pt x="283" y="53"/>
                        </a:lnTo>
                        <a:lnTo>
                          <a:pt x="336" y="106"/>
                        </a:lnTo>
                        <a:lnTo>
                          <a:pt x="242" y="106"/>
                        </a:lnTo>
                        <a:lnTo>
                          <a:pt x="225" y="106"/>
                        </a:lnTo>
                        <a:lnTo>
                          <a:pt x="139" y="106"/>
                        </a:lnTo>
                        <a:lnTo>
                          <a:pt x="21" y="2"/>
                        </a:lnTo>
                        <a:lnTo>
                          <a:pt x="21" y="2"/>
                        </a:lnTo>
                        <a:lnTo>
                          <a:pt x="17" y="1"/>
                        </a:lnTo>
                        <a:lnTo>
                          <a:pt x="13" y="0"/>
                        </a:lnTo>
                        <a:lnTo>
                          <a:pt x="13" y="0"/>
                        </a:lnTo>
                        <a:lnTo>
                          <a:pt x="7" y="1"/>
                        </a:lnTo>
                        <a:lnTo>
                          <a:pt x="4" y="4"/>
                        </a:lnTo>
                        <a:lnTo>
                          <a:pt x="4" y="4"/>
                        </a:lnTo>
                        <a:lnTo>
                          <a:pt x="2" y="8"/>
                        </a:lnTo>
                        <a:lnTo>
                          <a:pt x="0" y="12"/>
                        </a:lnTo>
                        <a:lnTo>
                          <a:pt x="0" y="12"/>
                        </a:lnTo>
                        <a:lnTo>
                          <a:pt x="2" y="16"/>
                        </a:lnTo>
                        <a:lnTo>
                          <a:pt x="4" y="20"/>
                        </a:lnTo>
                        <a:lnTo>
                          <a:pt x="127" y="127"/>
                        </a:lnTo>
                        <a:lnTo>
                          <a:pt x="127" y="127"/>
                        </a:lnTo>
                        <a:lnTo>
                          <a:pt x="129" y="129"/>
                        </a:lnTo>
                        <a:lnTo>
                          <a:pt x="133" y="130"/>
                        </a:lnTo>
                        <a:lnTo>
                          <a:pt x="225" y="130"/>
                        </a:lnTo>
                        <a:lnTo>
                          <a:pt x="242" y="130"/>
                        </a:lnTo>
                        <a:lnTo>
                          <a:pt x="336" y="130"/>
                        </a:lnTo>
                        <a:lnTo>
                          <a:pt x="283" y="184"/>
                        </a:lnTo>
                        <a:lnTo>
                          <a:pt x="283" y="184"/>
                        </a:lnTo>
                        <a:lnTo>
                          <a:pt x="280" y="188"/>
                        </a:lnTo>
                        <a:lnTo>
                          <a:pt x="279" y="192"/>
                        </a:lnTo>
                        <a:lnTo>
                          <a:pt x="279" y="192"/>
                        </a:lnTo>
                        <a:lnTo>
                          <a:pt x="280" y="196"/>
                        </a:lnTo>
                        <a:lnTo>
                          <a:pt x="283" y="200"/>
                        </a:lnTo>
                        <a:lnTo>
                          <a:pt x="283" y="200"/>
                        </a:lnTo>
                        <a:lnTo>
                          <a:pt x="287" y="203"/>
                        </a:lnTo>
                        <a:lnTo>
                          <a:pt x="291" y="204"/>
                        </a:lnTo>
                        <a:lnTo>
                          <a:pt x="291" y="204"/>
                        </a:lnTo>
                        <a:lnTo>
                          <a:pt x="295" y="203"/>
                        </a:lnTo>
                        <a:lnTo>
                          <a:pt x="299" y="200"/>
                        </a:lnTo>
                        <a:lnTo>
                          <a:pt x="373" y="126"/>
                        </a:lnTo>
                        <a:lnTo>
                          <a:pt x="373" y="126"/>
                        </a:lnTo>
                        <a:lnTo>
                          <a:pt x="375" y="123"/>
                        </a:lnTo>
                        <a:lnTo>
                          <a:pt x="377" y="118"/>
                        </a:lnTo>
                        <a:lnTo>
                          <a:pt x="377" y="118"/>
                        </a:lnTo>
                        <a:lnTo>
                          <a:pt x="375" y="114"/>
                        </a:lnTo>
                        <a:lnTo>
                          <a:pt x="373" y="110"/>
                        </a:lnTo>
                        <a:lnTo>
                          <a:pt x="373" y="1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99" name="Freeform 117">
                    <a:extLst>
                      <a:ext uri="{FF2B5EF4-FFF2-40B4-BE49-F238E27FC236}">
                        <a16:creationId xmlns:a16="http://schemas.microsoft.com/office/drawing/2014/main" id="{94030DE9-BB20-4BF6-B23B-3FBAC6DF883A}"/>
                      </a:ext>
                    </a:extLst>
                  </p:cNvPr>
                  <p:cNvSpPr>
                    <a:spLocks/>
                  </p:cNvSpPr>
                  <p:nvPr/>
                </p:nvSpPr>
                <p:spPr bwMode="auto">
                  <a:xfrm>
                    <a:off x="6837363" y="1100773"/>
                    <a:ext cx="93663" cy="93663"/>
                  </a:xfrm>
                  <a:custGeom>
                    <a:avLst/>
                    <a:gdLst>
                      <a:gd name="T0" fmla="*/ 4 w 118"/>
                      <a:gd name="T1" fmla="*/ 99 h 119"/>
                      <a:gd name="T2" fmla="*/ 4 w 118"/>
                      <a:gd name="T3" fmla="*/ 99 h 119"/>
                      <a:gd name="T4" fmla="*/ 1 w 118"/>
                      <a:gd name="T5" fmla="*/ 103 h 119"/>
                      <a:gd name="T6" fmla="*/ 0 w 118"/>
                      <a:gd name="T7" fmla="*/ 107 h 119"/>
                      <a:gd name="T8" fmla="*/ 0 w 118"/>
                      <a:gd name="T9" fmla="*/ 107 h 119"/>
                      <a:gd name="T10" fmla="*/ 1 w 118"/>
                      <a:gd name="T11" fmla="*/ 111 h 119"/>
                      <a:gd name="T12" fmla="*/ 4 w 118"/>
                      <a:gd name="T13" fmla="*/ 115 h 119"/>
                      <a:gd name="T14" fmla="*/ 4 w 118"/>
                      <a:gd name="T15" fmla="*/ 115 h 119"/>
                      <a:gd name="T16" fmla="*/ 7 w 118"/>
                      <a:gd name="T17" fmla="*/ 117 h 119"/>
                      <a:gd name="T18" fmla="*/ 12 w 118"/>
                      <a:gd name="T19" fmla="*/ 119 h 119"/>
                      <a:gd name="T20" fmla="*/ 12 w 118"/>
                      <a:gd name="T21" fmla="*/ 119 h 119"/>
                      <a:gd name="T22" fmla="*/ 16 w 118"/>
                      <a:gd name="T23" fmla="*/ 117 h 119"/>
                      <a:gd name="T24" fmla="*/ 20 w 118"/>
                      <a:gd name="T25" fmla="*/ 115 h 119"/>
                      <a:gd name="T26" fmla="*/ 118 w 118"/>
                      <a:gd name="T27" fmla="*/ 17 h 119"/>
                      <a:gd name="T28" fmla="*/ 102 w 118"/>
                      <a:gd name="T29" fmla="*/ 0 h 119"/>
                      <a:gd name="T30" fmla="*/ 4 w 118"/>
                      <a:gd name="T31" fmla="*/ 9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8" h="119">
                        <a:moveTo>
                          <a:pt x="4" y="99"/>
                        </a:moveTo>
                        <a:lnTo>
                          <a:pt x="4" y="99"/>
                        </a:lnTo>
                        <a:lnTo>
                          <a:pt x="1" y="103"/>
                        </a:lnTo>
                        <a:lnTo>
                          <a:pt x="0" y="107"/>
                        </a:lnTo>
                        <a:lnTo>
                          <a:pt x="0" y="107"/>
                        </a:lnTo>
                        <a:lnTo>
                          <a:pt x="1" y="111"/>
                        </a:lnTo>
                        <a:lnTo>
                          <a:pt x="4" y="115"/>
                        </a:lnTo>
                        <a:lnTo>
                          <a:pt x="4" y="115"/>
                        </a:lnTo>
                        <a:lnTo>
                          <a:pt x="7" y="117"/>
                        </a:lnTo>
                        <a:lnTo>
                          <a:pt x="12" y="119"/>
                        </a:lnTo>
                        <a:lnTo>
                          <a:pt x="12" y="119"/>
                        </a:lnTo>
                        <a:lnTo>
                          <a:pt x="16" y="117"/>
                        </a:lnTo>
                        <a:lnTo>
                          <a:pt x="20" y="115"/>
                        </a:lnTo>
                        <a:lnTo>
                          <a:pt x="118" y="17"/>
                        </a:lnTo>
                        <a:lnTo>
                          <a:pt x="102" y="0"/>
                        </a:lnTo>
                        <a:lnTo>
                          <a:pt x="4" y="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grpSp>
            <p:nvGrpSpPr>
              <p:cNvPr id="64" name="Group 63">
                <a:extLst>
                  <a:ext uri="{FF2B5EF4-FFF2-40B4-BE49-F238E27FC236}">
                    <a16:creationId xmlns:a16="http://schemas.microsoft.com/office/drawing/2014/main" id="{F684A5ED-E6B5-419A-AD82-E0455384049A}"/>
                  </a:ext>
                </a:extLst>
              </p:cNvPr>
              <p:cNvGrpSpPr>
                <a:grpSpLocks noChangeAspect="1"/>
              </p:cNvGrpSpPr>
              <p:nvPr/>
            </p:nvGrpSpPr>
            <p:grpSpPr>
              <a:xfrm>
                <a:off x="1854200" y="4991100"/>
                <a:ext cx="320040" cy="320040"/>
                <a:chOff x="3194051" y="2502535"/>
                <a:chExt cx="522288" cy="522288"/>
              </a:xfrm>
            </p:grpSpPr>
            <p:sp>
              <p:nvSpPr>
                <p:cNvPr id="88" name="Freeform 28">
                  <a:extLst>
                    <a:ext uri="{FF2B5EF4-FFF2-40B4-BE49-F238E27FC236}">
                      <a16:creationId xmlns:a16="http://schemas.microsoft.com/office/drawing/2014/main" id="{98E7364C-CE48-42E8-A58F-DF991E374CF0}"/>
                    </a:ext>
                  </a:extLst>
                </p:cNvPr>
                <p:cNvSpPr>
                  <a:spLocks noEditPoints="1"/>
                </p:cNvSpPr>
                <p:nvPr/>
              </p:nvSpPr>
              <p:spPr bwMode="auto">
                <a:xfrm>
                  <a:off x="3194051" y="2502535"/>
                  <a:ext cx="522288" cy="522288"/>
                </a:xfrm>
                <a:custGeom>
                  <a:avLst/>
                  <a:gdLst>
                    <a:gd name="T0" fmla="*/ 312 w 659"/>
                    <a:gd name="T1" fmla="*/ 657 h 657"/>
                    <a:gd name="T2" fmla="*/ 262 w 659"/>
                    <a:gd name="T3" fmla="*/ 652 h 657"/>
                    <a:gd name="T4" fmla="*/ 202 w 659"/>
                    <a:gd name="T5" fmla="*/ 632 h 657"/>
                    <a:gd name="T6" fmla="*/ 120 w 659"/>
                    <a:gd name="T7" fmla="*/ 583 h 657"/>
                    <a:gd name="T8" fmla="*/ 57 w 659"/>
                    <a:gd name="T9" fmla="*/ 512 h 657"/>
                    <a:gd name="T10" fmla="*/ 15 w 659"/>
                    <a:gd name="T11" fmla="*/ 426 h 657"/>
                    <a:gd name="T12" fmla="*/ 4 w 659"/>
                    <a:gd name="T13" fmla="*/ 379 h 657"/>
                    <a:gd name="T14" fmla="*/ 0 w 659"/>
                    <a:gd name="T15" fmla="*/ 329 h 657"/>
                    <a:gd name="T16" fmla="*/ 2 w 659"/>
                    <a:gd name="T17" fmla="*/ 296 h 657"/>
                    <a:gd name="T18" fmla="*/ 11 w 659"/>
                    <a:gd name="T19" fmla="*/ 247 h 657"/>
                    <a:gd name="T20" fmla="*/ 41 w 659"/>
                    <a:gd name="T21" fmla="*/ 172 h 657"/>
                    <a:gd name="T22" fmla="*/ 97 w 659"/>
                    <a:gd name="T23" fmla="*/ 97 h 657"/>
                    <a:gd name="T24" fmla="*/ 172 w 659"/>
                    <a:gd name="T25" fmla="*/ 40 h 657"/>
                    <a:gd name="T26" fmla="*/ 248 w 659"/>
                    <a:gd name="T27" fmla="*/ 11 h 657"/>
                    <a:gd name="T28" fmla="*/ 296 w 659"/>
                    <a:gd name="T29" fmla="*/ 1 h 657"/>
                    <a:gd name="T30" fmla="*/ 330 w 659"/>
                    <a:gd name="T31" fmla="*/ 0 h 657"/>
                    <a:gd name="T32" fmla="*/ 379 w 659"/>
                    <a:gd name="T33" fmla="*/ 4 h 657"/>
                    <a:gd name="T34" fmla="*/ 426 w 659"/>
                    <a:gd name="T35" fmla="*/ 15 h 657"/>
                    <a:gd name="T36" fmla="*/ 514 w 659"/>
                    <a:gd name="T37" fmla="*/ 56 h 657"/>
                    <a:gd name="T38" fmla="*/ 584 w 659"/>
                    <a:gd name="T39" fmla="*/ 120 h 657"/>
                    <a:gd name="T40" fmla="*/ 632 w 659"/>
                    <a:gd name="T41" fmla="*/ 202 h 657"/>
                    <a:gd name="T42" fmla="*/ 652 w 659"/>
                    <a:gd name="T43" fmla="*/ 262 h 657"/>
                    <a:gd name="T44" fmla="*/ 658 w 659"/>
                    <a:gd name="T45" fmla="*/ 312 h 657"/>
                    <a:gd name="T46" fmla="*/ 658 w 659"/>
                    <a:gd name="T47" fmla="*/ 345 h 657"/>
                    <a:gd name="T48" fmla="*/ 652 w 659"/>
                    <a:gd name="T49" fmla="*/ 395 h 657"/>
                    <a:gd name="T50" fmla="*/ 632 w 659"/>
                    <a:gd name="T51" fmla="*/ 457 h 657"/>
                    <a:gd name="T52" fmla="*/ 584 w 659"/>
                    <a:gd name="T53" fmla="*/ 538 h 657"/>
                    <a:gd name="T54" fmla="*/ 514 w 659"/>
                    <a:gd name="T55" fmla="*/ 602 h 657"/>
                    <a:gd name="T56" fmla="*/ 426 w 659"/>
                    <a:gd name="T57" fmla="*/ 642 h 657"/>
                    <a:gd name="T58" fmla="*/ 379 w 659"/>
                    <a:gd name="T59" fmla="*/ 654 h 657"/>
                    <a:gd name="T60" fmla="*/ 330 w 659"/>
                    <a:gd name="T61" fmla="*/ 657 h 657"/>
                    <a:gd name="T62" fmla="*/ 330 w 659"/>
                    <a:gd name="T63" fmla="*/ 38 h 657"/>
                    <a:gd name="T64" fmla="*/ 242 w 659"/>
                    <a:gd name="T65" fmla="*/ 51 h 657"/>
                    <a:gd name="T66" fmla="*/ 167 w 659"/>
                    <a:gd name="T67" fmla="*/ 87 h 657"/>
                    <a:gd name="T68" fmla="*/ 105 w 659"/>
                    <a:gd name="T69" fmla="*/ 144 h 657"/>
                    <a:gd name="T70" fmla="*/ 61 w 659"/>
                    <a:gd name="T71" fmla="*/ 215 h 657"/>
                    <a:gd name="T72" fmla="*/ 39 w 659"/>
                    <a:gd name="T73" fmla="*/ 300 h 657"/>
                    <a:gd name="T74" fmla="*/ 39 w 659"/>
                    <a:gd name="T75" fmla="*/ 359 h 657"/>
                    <a:gd name="T76" fmla="*/ 61 w 659"/>
                    <a:gd name="T77" fmla="*/ 442 h 657"/>
                    <a:gd name="T78" fmla="*/ 105 w 659"/>
                    <a:gd name="T79" fmla="*/ 515 h 657"/>
                    <a:gd name="T80" fmla="*/ 167 w 659"/>
                    <a:gd name="T81" fmla="*/ 570 h 657"/>
                    <a:gd name="T82" fmla="*/ 242 w 659"/>
                    <a:gd name="T83" fmla="*/ 607 h 657"/>
                    <a:gd name="T84" fmla="*/ 330 w 659"/>
                    <a:gd name="T85" fmla="*/ 620 h 657"/>
                    <a:gd name="T86" fmla="*/ 387 w 659"/>
                    <a:gd name="T87" fmla="*/ 614 h 657"/>
                    <a:gd name="T88" fmla="*/ 468 w 659"/>
                    <a:gd name="T89" fmla="*/ 585 h 657"/>
                    <a:gd name="T90" fmla="*/ 535 w 659"/>
                    <a:gd name="T91" fmla="*/ 535 h 657"/>
                    <a:gd name="T92" fmla="*/ 585 w 659"/>
                    <a:gd name="T93" fmla="*/ 468 h 657"/>
                    <a:gd name="T94" fmla="*/ 615 w 659"/>
                    <a:gd name="T95" fmla="*/ 387 h 657"/>
                    <a:gd name="T96" fmla="*/ 621 w 659"/>
                    <a:gd name="T97" fmla="*/ 329 h 657"/>
                    <a:gd name="T98" fmla="*/ 608 w 659"/>
                    <a:gd name="T99" fmla="*/ 242 h 657"/>
                    <a:gd name="T100" fmla="*/ 570 w 659"/>
                    <a:gd name="T101" fmla="*/ 167 h 657"/>
                    <a:gd name="T102" fmla="*/ 515 w 659"/>
                    <a:gd name="T103" fmla="*/ 105 h 657"/>
                    <a:gd name="T104" fmla="*/ 443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6"/>
                      </a:lnTo>
                      <a:lnTo>
                        <a:pt x="280" y="654"/>
                      </a:lnTo>
                      <a:lnTo>
                        <a:pt x="262" y="652"/>
                      </a:lnTo>
                      <a:lnTo>
                        <a:pt x="248" y="648"/>
                      </a:lnTo>
                      <a:lnTo>
                        <a:pt x="232" y="642"/>
                      </a:lnTo>
                      <a:lnTo>
                        <a:pt x="202" y="632"/>
                      </a:lnTo>
                      <a:lnTo>
                        <a:pt x="172" y="618"/>
                      </a:lnTo>
                      <a:lnTo>
                        <a:pt x="146" y="602"/>
                      </a:lnTo>
                      <a:lnTo>
                        <a:pt x="120" y="583"/>
                      </a:lnTo>
                      <a:lnTo>
                        <a:pt x="97" y="562"/>
                      </a:lnTo>
                      <a:lnTo>
                        <a:pt x="76" y="538"/>
                      </a:lnTo>
                      <a:lnTo>
                        <a:pt x="57" y="512"/>
                      </a:lnTo>
                      <a:lnTo>
                        <a:pt x="41" y="485"/>
                      </a:lnTo>
                      <a:lnTo>
                        <a:pt x="26" y="457"/>
                      </a:lnTo>
                      <a:lnTo>
                        <a:pt x="15" y="426"/>
                      </a:lnTo>
                      <a:lnTo>
                        <a:pt x="11" y="411"/>
                      </a:lnTo>
                      <a:lnTo>
                        <a:pt x="7" y="395"/>
                      </a:lnTo>
                      <a:lnTo>
                        <a:pt x="4" y="379"/>
                      </a:lnTo>
                      <a:lnTo>
                        <a:pt x="2" y="363"/>
                      </a:lnTo>
                      <a:lnTo>
                        <a:pt x="0" y="345"/>
                      </a:lnTo>
                      <a:lnTo>
                        <a:pt x="0" y="329"/>
                      </a:lnTo>
                      <a:lnTo>
                        <a:pt x="0" y="329"/>
                      </a:lnTo>
                      <a:lnTo>
                        <a:pt x="0" y="312"/>
                      </a:lnTo>
                      <a:lnTo>
                        <a:pt x="2" y="296"/>
                      </a:lnTo>
                      <a:lnTo>
                        <a:pt x="4" y="279"/>
                      </a:lnTo>
                      <a:lnTo>
                        <a:pt x="7" y="262"/>
                      </a:lnTo>
                      <a:lnTo>
                        <a:pt x="11" y="247"/>
                      </a:lnTo>
                      <a:lnTo>
                        <a:pt x="15" y="231"/>
                      </a:lnTo>
                      <a:lnTo>
                        <a:pt x="26" y="202"/>
                      </a:lnTo>
                      <a:lnTo>
                        <a:pt x="41" y="172"/>
                      </a:lnTo>
                      <a:lnTo>
                        <a:pt x="57" y="145"/>
                      </a:lnTo>
                      <a:lnTo>
                        <a:pt x="76" y="120"/>
                      </a:lnTo>
                      <a:lnTo>
                        <a:pt x="97" y="97"/>
                      </a:lnTo>
                      <a:lnTo>
                        <a:pt x="120" y="75"/>
                      </a:lnTo>
                      <a:lnTo>
                        <a:pt x="146" y="56"/>
                      </a:lnTo>
                      <a:lnTo>
                        <a:pt x="172" y="40"/>
                      </a:lnTo>
                      <a:lnTo>
                        <a:pt x="202" y="25"/>
                      </a:lnTo>
                      <a:lnTo>
                        <a:pt x="232" y="15"/>
                      </a:lnTo>
                      <a:lnTo>
                        <a:pt x="248" y="11"/>
                      </a:lnTo>
                      <a:lnTo>
                        <a:pt x="262" y="7"/>
                      </a:lnTo>
                      <a:lnTo>
                        <a:pt x="280" y="4"/>
                      </a:lnTo>
                      <a:lnTo>
                        <a:pt x="296" y="1"/>
                      </a:lnTo>
                      <a:lnTo>
                        <a:pt x="312" y="0"/>
                      </a:lnTo>
                      <a:lnTo>
                        <a:pt x="330" y="0"/>
                      </a:lnTo>
                      <a:lnTo>
                        <a:pt x="330" y="0"/>
                      </a:lnTo>
                      <a:lnTo>
                        <a:pt x="346" y="0"/>
                      </a:lnTo>
                      <a:lnTo>
                        <a:pt x="363" y="1"/>
                      </a:lnTo>
                      <a:lnTo>
                        <a:pt x="379" y="4"/>
                      </a:lnTo>
                      <a:lnTo>
                        <a:pt x="395" y="7"/>
                      </a:lnTo>
                      <a:lnTo>
                        <a:pt x="412" y="11"/>
                      </a:lnTo>
                      <a:lnTo>
                        <a:pt x="426" y="15"/>
                      </a:lnTo>
                      <a:lnTo>
                        <a:pt x="457" y="25"/>
                      </a:lnTo>
                      <a:lnTo>
                        <a:pt x="486" y="40"/>
                      </a:lnTo>
                      <a:lnTo>
                        <a:pt x="514" y="56"/>
                      </a:lnTo>
                      <a:lnTo>
                        <a:pt x="538" y="75"/>
                      </a:lnTo>
                      <a:lnTo>
                        <a:pt x="562" y="97"/>
                      </a:lnTo>
                      <a:lnTo>
                        <a:pt x="584" y="120"/>
                      </a:lnTo>
                      <a:lnTo>
                        <a:pt x="602" y="145"/>
                      </a:lnTo>
                      <a:lnTo>
                        <a:pt x="619" y="172"/>
                      </a:lnTo>
                      <a:lnTo>
                        <a:pt x="632" y="202"/>
                      </a:lnTo>
                      <a:lnTo>
                        <a:pt x="644" y="231"/>
                      </a:lnTo>
                      <a:lnTo>
                        <a:pt x="648" y="247"/>
                      </a:lnTo>
                      <a:lnTo>
                        <a:pt x="652" y="262"/>
                      </a:lnTo>
                      <a:lnTo>
                        <a:pt x="655" y="279"/>
                      </a:lnTo>
                      <a:lnTo>
                        <a:pt x="656" y="296"/>
                      </a:lnTo>
                      <a:lnTo>
                        <a:pt x="658" y="312"/>
                      </a:lnTo>
                      <a:lnTo>
                        <a:pt x="659" y="329"/>
                      </a:lnTo>
                      <a:lnTo>
                        <a:pt x="659" y="329"/>
                      </a:lnTo>
                      <a:lnTo>
                        <a:pt x="658" y="345"/>
                      </a:lnTo>
                      <a:lnTo>
                        <a:pt x="656" y="363"/>
                      </a:lnTo>
                      <a:lnTo>
                        <a:pt x="655" y="379"/>
                      </a:lnTo>
                      <a:lnTo>
                        <a:pt x="652" y="395"/>
                      </a:lnTo>
                      <a:lnTo>
                        <a:pt x="648" y="411"/>
                      </a:lnTo>
                      <a:lnTo>
                        <a:pt x="644" y="426"/>
                      </a:lnTo>
                      <a:lnTo>
                        <a:pt x="632" y="457"/>
                      </a:lnTo>
                      <a:lnTo>
                        <a:pt x="619" y="485"/>
                      </a:lnTo>
                      <a:lnTo>
                        <a:pt x="602" y="512"/>
                      </a:lnTo>
                      <a:lnTo>
                        <a:pt x="584" y="538"/>
                      </a:lnTo>
                      <a:lnTo>
                        <a:pt x="562" y="562"/>
                      </a:lnTo>
                      <a:lnTo>
                        <a:pt x="538" y="583"/>
                      </a:lnTo>
                      <a:lnTo>
                        <a:pt x="514" y="602"/>
                      </a:lnTo>
                      <a:lnTo>
                        <a:pt x="486" y="618"/>
                      </a:lnTo>
                      <a:lnTo>
                        <a:pt x="457" y="632"/>
                      </a:lnTo>
                      <a:lnTo>
                        <a:pt x="426" y="642"/>
                      </a:lnTo>
                      <a:lnTo>
                        <a:pt x="412" y="648"/>
                      </a:lnTo>
                      <a:lnTo>
                        <a:pt x="395" y="652"/>
                      </a:lnTo>
                      <a:lnTo>
                        <a:pt x="379" y="654"/>
                      </a:lnTo>
                      <a:lnTo>
                        <a:pt x="363" y="656"/>
                      </a:lnTo>
                      <a:lnTo>
                        <a:pt x="346" y="657"/>
                      </a:lnTo>
                      <a:lnTo>
                        <a:pt x="330" y="657"/>
                      </a:lnTo>
                      <a:lnTo>
                        <a:pt x="330" y="657"/>
                      </a:lnTo>
                      <a:close/>
                      <a:moveTo>
                        <a:pt x="330" y="38"/>
                      </a:moveTo>
                      <a:lnTo>
                        <a:pt x="330" y="38"/>
                      </a:lnTo>
                      <a:lnTo>
                        <a:pt x="300" y="39"/>
                      </a:lnTo>
                      <a:lnTo>
                        <a:pt x="271" y="43"/>
                      </a:lnTo>
                      <a:lnTo>
                        <a:pt x="242" y="51"/>
                      </a:lnTo>
                      <a:lnTo>
                        <a:pt x="215" y="60"/>
                      </a:lnTo>
                      <a:lnTo>
                        <a:pt x="191" y="73"/>
                      </a:lnTo>
                      <a:lnTo>
                        <a:pt x="167" y="87"/>
                      </a:lnTo>
                      <a:lnTo>
                        <a:pt x="144" y="105"/>
                      </a:lnTo>
                      <a:lnTo>
                        <a:pt x="124" y="124"/>
                      </a:lnTo>
                      <a:lnTo>
                        <a:pt x="105" y="144"/>
                      </a:lnTo>
                      <a:lnTo>
                        <a:pt x="88" y="167"/>
                      </a:lnTo>
                      <a:lnTo>
                        <a:pt x="73" y="189"/>
                      </a:lnTo>
                      <a:lnTo>
                        <a:pt x="61" y="215"/>
                      </a:lnTo>
                      <a:lnTo>
                        <a:pt x="51" y="242"/>
                      </a:lnTo>
                      <a:lnTo>
                        <a:pt x="43" y="270"/>
                      </a:lnTo>
                      <a:lnTo>
                        <a:pt x="39" y="300"/>
                      </a:lnTo>
                      <a:lnTo>
                        <a:pt x="38" y="329"/>
                      </a:lnTo>
                      <a:lnTo>
                        <a:pt x="38" y="329"/>
                      </a:lnTo>
                      <a:lnTo>
                        <a:pt x="39" y="359"/>
                      </a:lnTo>
                      <a:lnTo>
                        <a:pt x="43" y="387"/>
                      </a:lnTo>
                      <a:lnTo>
                        <a:pt x="51" y="415"/>
                      </a:lnTo>
                      <a:lnTo>
                        <a:pt x="61" y="442"/>
                      </a:lnTo>
                      <a:lnTo>
                        <a:pt x="73" y="468"/>
                      </a:lnTo>
                      <a:lnTo>
                        <a:pt x="88" y="492"/>
                      </a:lnTo>
                      <a:lnTo>
                        <a:pt x="105" y="515"/>
                      </a:lnTo>
                      <a:lnTo>
                        <a:pt x="124" y="535"/>
                      </a:lnTo>
                      <a:lnTo>
                        <a:pt x="144" y="554"/>
                      </a:lnTo>
                      <a:lnTo>
                        <a:pt x="167" y="570"/>
                      </a:lnTo>
                      <a:lnTo>
                        <a:pt x="191" y="585"/>
                      </a:lnTo>
                      <a:lnTo>
                        <a:pt x="215" y="597"/>
                      </a:lnTo>
                      <a:lnTo>
                        <a:pt x="242" y="607"/>
                      </a:lnTo>
                      <a:lnTo>
                        <a:pt x="271" y="614"/>
                      </a:lnTo>
                      <a:lnTo>
                        <a:pt x="300" y="618"/>
                      </a:lnTo>
                      <a:lnTo>
                        <a:pt x="330" y="620"/>
                      </a:lnTo>
                      <a:lnTo>
                        <a:pt x="330" y="620"/>
                      </a:lnTo>
                      <a:lnTo>
                        <a:pt x="359" y="618"/>
                      </a:lnTo>
                      <a:lnTo>
                        <a:pt x="387" y="614"/>
                      </a:lnTo>
                      <a:lnTo>
                        <a:pt x="416" y="607"/>
                      </a:lnTo>
                      <a:lnTo>
                        <a:pt x="443" y="597"/>
                      </a:lnTo>
                      <a:lnTo>
                        <a:pt x="468" y="585"/>
                      </a:lnTo>
                      <a:lnTo>
                        <a:pt x="492" y="570"/>
                      </a:lnTo>
                      <a:lnTo>
                        <a:pt x="515" y="554"/>
                      </a:lnTo>
                      <a:lnTo>
                        <a:pt x="535" y="535"/>
                      </a:lnTo>
                      <a:lnTo>
                        <a:pt x="554" y="515"/>
                      </a:lnTo>
                      <a:lnTo>
                        <a:pt x="570" y="492"/>
                      </a:lnTo>
                      <a:lnTo>
                        <a:pt x="585" y="468"/>
                      </a:lnTo>
                      <a:lnTo>
                        <a:pt x="597" y="442"/>
                      </a:lnTo>
                      <a:lnTo>
                        <a:pt x="608" y="415"/>
                      </a:lnTo>
                      <a:lnTo>
                        <a:pt x="615" y="387"/>
                      </a:lnTo>
                      <a:lnTo>
                        <a:pt x="619" y="359"/>
                      </a:lnTo>
                      <a:lnTo>
                        <a:pt x="621" y="329"/>
                      </a:lnTo>
                      <a:lnTo>
                        <a:pt x="621" y="329"/>
                      </a:lnTo>
                      <a:lnTo>
                        <a:pt x="619" y="300"/>
                      </a:lnTo>
                      <a:lnTo>
                        <a:pt x="615" y="270"/>
                      </a:lnTo>
                      <a:lnTo>
                        <a:pt x="608" y="242"/>
                      </a:lnTo>
                      <a:lnTo>
                        <a:pt x="597" y="215"/>
                      </a:lnTo>
                      <a:lnTo>
                        <a:pt x="585" y="189"/>
                      </a:lnTo>
                      <a:lnTo>
                        <a:pt x="570" y="167"/>
                      </a:lnTo>
                      <a:lnTo>
                        <a:pt x="554" y="144"/>
                      </a:lnTo>
                      <a:lnTo>
                        <a:pt x="535" y="124"/>
                      </a:lnTo>
                      <a:lnTo>
                        <a:pt x="515" y="105"/>
                      </a:lnTo>
                      <a:lnTo>
                        <a:pt x="492" y="87"/>
                      </a:lnTo>
                      <a:lnTo>
                        <a:pt x="468" y="73"/>
                      </a:lnTo>
                      <a:lnTo>
                        <a:pt x="443" y="60"/>
                      </a:lnTo>
                      <a:lnTo>
                        <a:pt x="416" y="51"/>
                      </a:lnTo>
                      <a:lnTo>
                        <a:pt x="387" y="43"/>
                      </a:lnTo>
                      <a:lnTo>
                        <a:pt x="359" y="39"/>
                      </a:lnTo>
                      <a:lnTo>
                        <a:pt x="330" y="38"/>
                      </a:lnTo>
                      <a:lnTo>
                        <a:pt x="330"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89" name="Freeform 132">
                  <a:extLst>
                    <a:ext uri="{FF2B5EF4-FFF2-40B4-BE49-F238E27FC236}">
                      <a16:creationId xmlns:a16="http://schemas.microsoft.com/office/drawing/2014/main" id="{B5BBCB80-B54C-4719-97C0-27E05FED9DDA}"/>
                    </a:ext>
                  </a:extLst>
                </p:cNvPr>
                <p:cNvSpPr>
                  <a:spLocks/>
                </p:cNvSpPr>
                <p:nvPr/>
              </p:nvSpPr>
              <p:spPr bwMode="auto">
                <a:xfrm>
                  <a:off x="3317876" y="2734310"/>
                  <a:ext cx="77788" cy="136525"/>
                </a:xfrm>
                <a:custGeom>
                  <a:avLst/>
                  <a:gdLst>
                    <a:gd name="T0" fmla="*/ 86 w 97"/>
                    <a:gd name="T1" fmla="*/ 92 h 172"/>
                    <a:gd name="T2" fmla="*/ 86 w 97"/>
                    <a:gd name="T3" fmla="*/ 0 h 172"/>
                    <a:gd name="T4" fmla="*/ 6 w 97"/>
                    <a:gd name="T5" fmla="*/ 0 h 172"/>
                    <a:gd name="T6" fmla="*/ 6 w 97"/>
                    <a:gd name="T7" fmla="*/ 0 h 172"/>
                    <a:gd name="T8" fmla="*/ 4 w 97"/>
                    <a:gd name="T9" fmla="*/ 2 h 172"/>
                    <a:gd name="T10" fmla="*/ 3 w 97"/>
                    <a:gd name="T11" fmla="*/ 3 h 172"/>
                    <a:gd name="T12" fmla="*/ 2 w 97"/>
                    <a:gd name="T13" fmla="*/ 4 h 172"/>
                    <a:gd name="T14" fmla="*/ 0 w 97"/>
                    <a:gd name="T15" fmla="*/ 6 h 172"/>
                    <a:gd name="T16" fmla="*/ 0 w 97"/>
                    <a:gd name="T17" fmla="*/ 59 h 172"/>
                    <a:gd name="T18" fmla="*/ 0 w 97"/>
                    <a:gd name="T19" fmla="*/ 59 h 172"/>
                    <a:gd name="T20" fmla="*/ 2 w 97"/>
                    <a:gd name="T21" fmla="*/ 62 h 172"/>
                    <a:gd name="T22" fmla="*/ 3 w 97"/>
                    <a:gd name="T23" fmla="*/ 63 h 172"/>
                    <a:gd name="T24" fmla="*/ 33 w 97"/>
                    <a:gd name="T25" fmla="*/ 94 h 172"/>
                    <a:gd name="T26" fmla="*/ 33 w 97"/>
                    <a:gd name="T27" fmla="*/ 167 h 172"/>
                    <a:gd name="T28" fmla="*/ 33 w 97"/>
                    <a:gd name="T29" fmla="*/ 167 h 172"/>
                    <a:gd name="T30" fmla="*/ 34 w 97"/>
                    <a:gd name="T31" fmla="*/ 170 h 172"/>
                    <a:gd name="T32" fmla="*/ 35 w 97"/>
                    <a:gd name="T33" fmla="*/ 171 h 172"/>
                    <a:gd name="T34" fmla="*/ 37 w 97"/>
                    <a:gd name="T35" fmla="*/ 172 h 172"/>
                    <a:gd name="T36" fmla="*/ 38 w 97"/>
                    <a:gd name="T37" fmla="*/ 172 h 172"/>
                    <a:gd name="T38" fmla="*/ 92 w 97"/>
                    <a:gd name="T39" fmla="*/ 172 h 172"/>
                    <a:gd name="T40" fmla="*/ 92 w 97"/>
                    <a:gd name="T41" fmla="*/ 172 h 172"/>
                    <a:gd name="T42" fmla="*/ 94 w 97"/>
                    <a:gd name="T43" fmla="*/ 172 h 172"/>
                    <a:gd name="T44" fmla="*/ 96 w 97"/>
                    <a:gd name="T45" fmla="*/ 171 h 172"/>
                    <a:gd name="T46" fmla="*/ 97 w 97"/>
                    <a:gd name="T47" fmla="*/ 170 h 172"/>
                    <a:gd name="T48" fmla="*/ 97 w 97"/>
                    <a:gd name="T49" fmla="*/ 167 h 172"/>
                    <a:gd name="T50" fmla="*/ 97 w 97"/>
                    <a:gd name="T51" fmla="*/ 109 h 172"/>
                    <a:gd name="T52" fmla="*/ 92 w 97"/>
                    <a:gd name="T53" fmla="*/ 104 h 172"/>
                    <a:gd name="T54" fmla="*/ 92 w 97"/>
                    <a:gd name="T55" fmla="*/ 104 h 172"/>
                    <a:gd name="T56" fmla="*/ 88 w 97"/>
                    <a:gd name="T57" fmla="*/ 98 h 172"/>
                    <a:gd name="T58" fmla="*/ 86 w 97"/>
                    <a:gd name="T59" fmla="*/ 92 h 172"/>
                    <a:gd name="T60" fmla="*/ 86 w 97"/>
                    <a:gd name="T61" fmla="*/ 9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86" y="92"/>
                      </a:moveTo>
                      <a:lnTo>
                        <a:pt x="86" y="0"/>
                      </a:lnTo>
                      <a:lnTo>
                        <a:pt x="6" y="0"/>
                      </a:lnTo>
                      <a:lnTo>
                        <a:pt x="6" y="0"/>
                      </a:lnTo>
                      <a:lnTo>
                        <a:pt x="4" y="2"/>
                      </a:lnTo>
                      <a:lnTo>
                        <a:pt x="3" y="3"/>
                      </a:lnTo>
                      <a:lnTo>
                        <a:pt x="2" y="4"/>
                      </a:lnTo>
                      <a:lnTo>
                        <a:pt x="0" y="6"/>
                      </a:lnTo>
                      <a:lnTo>
                        <a:pt x="0" y="59"/>
                      </a:lnTo>
                      <a:lnTo>
                        <a:pt x="0" y="59"/>
                      </a:lnTo>
                      <a:lnTo>
                        <a:pt x="2" y="62"/>
                      </a:lnTo>
                      <a:lnTo>
                        <a:pt x="3" y="63"/>
                      </a:lnTo>
                      <a:lnTo>
                        <a:pt x="33" y="94"/>
                      </a:lnTo>
                      <a:lnTo>
                        <a:pt x="33" y="167"/>
                      </a:lnTo>
                      <a:lnTo>
                        <a:pt x="33" y="167"/>
                      </a:lnTo>
                      <a:lnTo>
                        <a:pt x="34" y="170"/>
                      </a:lnTo>
                      <a:lnTo>
                        <a:pt x="35" y="171"/>
                      </a:lnTo>
                      <a:lnTo>
                        <a:pt x="37" y="172"/>
                      </a:lnTo>
                      <a:lnTo>
                        <a:pt x="38" y="172"/>
                      </a:lnTo>
                      <a:lnTo>
                        <a:pt x="92" y="172"/>
                      </a:lnTo>
                      <a:lnTo>
                        <a:pt x="92" y="172"/>
                      </a:lnTo>
                      <a:lnTo>
                        <a:pt x="94" y="172"/>
                      </a:lnTo>
                      <a:lnTo>
                        <a:pt x="96" y="171"/>
                      </a:lnTo>
                      <a:lnTo>
                        <a:pt x="97" y="170"/>
                      </a:lnTo>
                      <a:lnTo>
                        <a:pt x="97" y="167"/>
                      </a:lnTo>
                      <a:lnTo>
                        <a:pt x="97" y="109"/>
                      </a:lnTo>
                      <a:lnTo>
                        <a:pt x="92" y="104"/>
                      </a:lnTo>
                      <a:lnTo>
                        <a:pt x="92" y="104"/>
                      </a:lnTo>
                      <a:lnTo>
                        <a:pt x="88" y="98"/>
                      </a:lnTo>
                      <a:lnTo>
                        <a:pt x="86" y="92"/>
                      </a:lnTo>
                      <a:lnTo>
                        <a:pt x="86" y="9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90" name="Freeform 133">
                  <a:extLst>
                    <a:ext uri="{FF2B5EF4-FFF2-40B4-BE49-F238E27FC236}">
                      <a16:creationId xmlns:a16="http://schemas.microsoft.com/office/drawing/2014/main" id="{2CDCA637-5F50-4811-9807-8A8D21C8EE11}"/>
                    </a:ext>
                  </a:extLst>
                </p:cNvPr>
                <p:cNvSpPr>
                  <a:spLocks/>
                </p:cNvSpPr>
                <p:nvPr/>
              </p:nvSpPr>
              <p:spPr bwMode="auto">
                <a:xfrm>
                  <a:off x="3514726" y="2734310"/>
                  <a:ext cx="77788" cy="136525"/>
                </a:xfrm>
                <a:custGeom>
                  <a:avLst/>
                  <a:gdLst>
                    <a:gd name="T0" fmla="*/ 91 w 97"/>
                    <a:gd name="T1" fmla="*/ 0 h 172"/>
                    <a:gd name="T2" fmla="*/ 11 w 97"/>
                    <a:gd name="T3" fmla="*/ 0 h 172"/>
                    <a:gd name="T4" fmla="*/ 11 w 97"/>
                    <a:gd name="T5" fmla="*/ 92 h 172"/>
                    <a:gd name="T6" fmla="*/ 11 w 97"/>
                    <a:gd name="T7" fmla="*/ 92 h 172"/>
                    <a:gd name="T8" fmla="*/ 9 w 97"/>
                    <a:gd name="T9" fmla="*/ 98 h 172"/>
                    <a:gd name="T10" fmla="*/ 7 w 97"/>
                    <a:gd name="T11" fmla="*/ 104 h 172"/>
                    <a:gd name="T12" fmla="*/ 0 w 97"/>
                    <a:gd name="T13" fmla="*/ 109 h 172"/>
                    <a:gd name="T14" fmla="*/ 0 w 97"/>
                    <a:gd name="T15" fmla="*/ 167 h 172"/>
                    <a:gd name="T16" fmla="*/ 0 w 97"/>
                    <a:gd name="T17" fmla="*/ 167 h 172"/>
                    <a:gd name="T18" fmla="*/ 1 w 97"/>
                    <a:gd name="T19" fmla="*/ 170 h 172"/>
                    <a:gd name="T20" fmla="*/ 1 w 97"/>
                    <a:gd name="T21" fmla="*/ 171 h 172"/>
                    <a:gd name="T22" fmla="*/ 4 w 97"/>
                    <a:gd name="T23" fmla="*/ 172 h 172"/>
                    <a:gd name="T24" fmla="*/ 5 w 97"/>
                    <a:gd name="T25" fmla="*/ 172 h 172"/>
                    <a:gd name="T26" fmla="*/ 59 w 97"/>
                    <a:gd name="T27" fmla="*/ 172 h 172"/>
                    <a:gd name="T28" fmla="*/ 59 w 97"/>
                    <a:gd name="T29" fmla="*/ 172 h 172"/>
                    <a:gd name="T30" fmla="*/ 62 w 97"/>
                    <a:gd name="T31" fmla="*/ 172 h 172"/>
                    <a:gd name="T32" fmla="*/ 63 w 97"/>
                    <a:gd name="T33" fmla="*/ 171 h 172"/>
                    <a:gd name="T34" fmla="*/ 64 w 97"/>
                    <a:gd name="T35" fmla="*/ 170 h 172"/>
                    <a:gd name="T36" fmla="*/ 64 w 97"/>
                    <a:gd name="T37" fmla="*/ 167 h 172"/>
                    <a:gd name="T38" fmla="*/ 64 w 97"/>
                    <a:gd name="T39" fmla="*/ 94 h 172"/>
                    <a:gd name="T40" fmla="*/ 95 w 97"/>
                    <a:gd name="T41" fmla="*/ 63 h 172"/>
                    <a:gd name="T42" fmla="*/ 95 w 97"/>
                    <a:gd name="T43" fmla="*/ 63 h 172"/>
                    <a:gd name="T44" fmla="*/ 97 w 97"/>
                    <a:gd name="T45" fmla="*/ 62 h 172"/>
                    <a:gd name="T46" fmla="*/ 97 w 97"/>
                    <a:gd name="T47" fmla="*/ 59 h 172"/>
                    <a:gd name="T48" fmla="*/ 97 w 97"/>
                    <a:gd name="T49" fmla="*/ 6 h 172"/>
                    <a:gd name="T50" fmla="*/ 97 w 97"/>
                    <a:gd name="T51" fmla="*/ 6 h 172"/>
                    <a:gd name="T52" fmla="*/ 97 w 97"/>
                    <a:gd name="T53" fmla="*/ 4 h 172"/>
                    <a:gd name="T54" fmla="*/ 95 w 97"/>
                    <a:gd name="T55" fmla="*/ 3 h 172"/>
                    <a:gd name="T56" fmla="*/ 94 w 97"/>
                    <a:gd name="T57" fmla="*/ 2 h 172"/>
                    <a:gd name="T58" fmla="*/ 91 w 97"/>
                    <a:gd name="T59" fmla="*/ 0 h 172"/>
                    <a:gd name="T60" fmla="*/ 91 w 97"/>
                    <a:gd name="T6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91" y="0"/>
                      </a:moveTo>
                      <a:lnTo>
                        <a:pt x="11" y="0"/>
                      </a:lnTo>
                      <a:lnTo>
                        <a:pt x="11" y="92"/>
                      </a:lnTo>
                      <a:lnTo>
                        <a:pt x="11" y="92"/>
                      </a:lnTo>
                      <a:lnTo>
                        <a:pt x="9" y="98"/>
                      </a:lnTo>
                      <a:lnTo>
                        <a:pt x="7" y="104"/>
                      </a:lnTo>
                      <a:lnTo>
                        <a:pt x="0" y="109"/>
                      </a:lnTo>
                      <a:lnTo>
                        <a:pt x="0" y="167"/>
                      </a:lnTo>
                      <a:lnTo>
                        <a:pt x="0" y="167"/>
                      </a:lnTo>
                      <a:lnTo>
                        <a:pt x="1" y="170"/>
                      </a:lnTo>
                      <a:lnTo>
                        <a:pt x="1" y="171"/>
                      </a:lnTo>
                      <a:lnTo>
                        <a:pt x="4" y="172"/>
                      </a:lnTo>
                      <a:lnTo>
                        <a:pt x="5" y="172"/>
                      </a:lnTo>
                      <a:lnTo>
                        <a:pt x="59" y="172"/>
                      </a:lnTo>
                      <a:lnTo>
                        <a:pt x="59" y="172"/>
                      </a:lnTo>
                      <a:lnTo>
                        <a:pt x="62" y="172"/>
                      </a:lnTo>
                      <a:lnTo>
                        <a:pt x="63" y="171"/>
                      </a:lnTo>
                      <a:lnTo>
                        <a:pt x="64" y="170"/>
                      </a:lnTo>
                      <a:lnTo>
                        <a:pt x="64" y="167"/>
                      </a:lnTo>
                      <a:lnTo>
                        <a:pt x="64" y="94"/>
                      </a:lnTo>
                      <a:lnTo>
                        <a:pt x="95" y="63"/>
                      </a:lnTo>
                      <a:lnTo>
                        <a:pt x="95" y="63"/>
                      </a:lnTo>
                      <a:lnTo>
                        <a:pt x="97" y="62"/>
                      </a:lnTo>
                      <a:lnTo>
                        <a:pt x="97" y="59"/>
                      </a:lnTo>
                      <a:lnTo>
                        <a:pt x="97" y="6"/>
                      </a:lnTo>
                      <a:lnTo>
                        <a:pt x="97" y="6"/>
                      </a:lnTo>
                      <a:lnTo>
                        <a:pt x="97" y="4"/>
                      </a:lnTo>
                      <a:lnTo>
                        <a:pt x="95" y="3"/>
                      </a:lnTo>
                      <a:lnTo>
                        <a:pt x="94" y="2"/>
                      </a:lnTo>
                      <a:lnTo>
                        <a:pt x="91" y="0"/>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91" name="Freeform 134">
                  <a:extLst>
                    <a:ext uri="{FF2B5EF4-FFF2-40B4-BE49-F238E27FC236}">
                      <a16:creationId xmlns:a16="http://schemas.microsoft.com/office/drawing/2014/main" id="{DA8B5DE8-ABAF-4CC7-8BEB-912118059E75}"/>
                    </a:ext>
                  </a:extLst>
                </p:cNvPr>
                <p:cNvSpPr>
                  <a:spLocks/>
                </p:cNvSpPr>
                <p:nvPr/>
              </p:nvSpPr>
              <p:spPr bwMode="auto">
                <a:xfrm>
                  <a:off x="3400426" y="2734310"/>
                  <a:ext cx="111125" cy="171450"/>
                </a:xfrm>
                <a:custGeom>
                  <a:avLst/>
                  <a:gdLst>
                    <a:gd name="T0" fmla="*/ 134 w 140"/>
                    <a:gd name="T1" fmla="*/ 0 h 215"/>
                    <a:gd name="T2" fmla="*/ 5 w 140"/>
                    <a:gd name="T3" fmla="*/ 0 h 215"/>
                    <a:gd name="T4" fmla="*/ 5 w 140"/>
                    <a:gd name="T5" fmla="*/ 0 h 215"/>
                    <a:gd name="T6" fmla="*/ 2 w 140"/>
                    <a:gd name="T7" fmla="*/ 1 h 215"/>
                    <a:gd name="T8" fmla="*/ 1 w 140"/>
                    <a:gd name="T9" fmla="*/ 1 h 215"/>
                    <a:gd name="T10" fmla="*/ 0 w 140"/>
                    <a:gd name="T11" fmla="*/ 4 h 215"/>
                    <a:gd name="T12" fmla="*/ 0 w 140"/>
                    <a:gd name="T13" fmla="*/ 5 h 215"/>
                    <a:gd name="T14" fmla="*/ 0 w 140"/>
                    <a:gd name="T15" fmla="*/ 91 h 215"/>
                    <a:gd name="T16" fmla="*/ 0 w 140"/>
                    <a:gd name="T17" fmla="*/ 91 h 215"/>
                    <a:gd name="T18" fmla="*/ 0 w 140"/>
                    <a:gd name="T19" fmla="*/ 94 h 215"/>
                    <a:gd name="T20" fmla="*/ 1 w 140"/>
                    <a:gd name="T21" fmla="*/ 95 h 215"/>
                    <a:gd name="T22" fmla="*/ 32 w 140"/>
                    <a:gd name="T23" fmla="*/ 126 h 215"/>
                    <a:gd name="T24" fmla="*/ 32 w 140"/>
                    <a:gd name="T25" fmla="*/ 209 h 215"/>
                    <a:gd name="T26" fmla="*/ 32 w 140"/>
                    <a:gd name="T27" fmla="*/ 209 h 215"/>
                    <a:gd name="T28" fmla="*/ 32 w 140"/>
                    <a:gd name="T29" fmla="*/ 211 h 215"/>
                    <a:gd name="T30" fmla="*/ 33 w 140"/>
                    <a:gd name="T31" fmla="*/ 213 h 215"/>
                    <a:gd name="T32" fmla="*/ 35 w 140"/>
                    <a:gd name="T33" fmla="*/ 215 h 215"/>
                    <a:gd name="T34" fmla="*/ 37 w 140"/>
                    <a:gd name="T35" fmla="*/ 215 h 215"/>
                    <a:gd name="T36" fmla="*/ 102 w 140"/>
                    <a:gd name="T37" fmla="*/ 215 h 215"/>
                    <a:gd name="T38" fmla="*/ 102 w 140"/>
                    <a:gd name="T39" fmla="*/ 215 h 215"/>
                    <a:gd name="T40" fmla="*/ 103 w 140"/>
                    <a:gd name="T41" fmla="*/ 215 h 215"/>
                    <a:gd name="T42" fmla="*/ 106 w 140"/>
                    <a:gd name="T43" fmla="*/ 213 h 215"/>
                    <a:gd name="T44" fmla="*/ 106 w 140"/>
                    <a:gd name="T45" fmla="*/ 211 h 215"/>
                    <a:gd name="T46" fmla="*/ 107 w 140"/>
                    <a:gd name="T47" fmla="*/ 209 h 215"/>
                    <a:gd name="T48" fmla="*/ 107 w 140"/>
                    <a:gd name="T49" fmla="*/ 126 h 215"/>
                    <a:gd name="T50" fmla="*/ 137 w 140"/>
                    <a:gd name="T51" fmla="*/ 95 h 215"/>
                    <a:gd name="T52" fmla="*/ 137 w 140"/>
                    <a:gd name="T53" fmla="*/ 95 h 215"/>
                    <a:gd name="T54" fmla="*/ 138 w 140"/>
                    <a:gd name="T55" fmla="*/ 94 h 215"/>
                    <a:gd name="T56" fmla="*/ 140 w 140"/>
                    <a:gd name="T57" fmla="*/ 91 h 215"/>
                    <a:gd name="T58" fmla="*/ 140 w 140"/>
                    <a:gd name="T59" fmla="*/ 5 h 215"/>
                    <a:gd name="T60" fmla="*/ 140 w 140"/>
                    <a:gd name="T61" fmla="*/ 5 h 215"/>
                    <a:gd name="T62" fmla="*/ 138 w 140"/>
                    <a:gd name="T63" fmla="*/ 4 h 215"/>
                    <a:gd name="T64" fmla="*/ 137 w 140"/>
                    <a:gd name="T65" fmla="*/ 1 h 215"/>
                    <a:gd name="T66" fmla="*/ 135 w 140"/>
                    <a:gd name="T67" fmla="*/ 1 h 215"/>
                    <a:gd name="T68" fmla="*/ 134 w 140"/>
                    <a:gd name="T69" fmla="*/ 0 h 215"/>
                    <a:gd name="T70" fmla="*/ 134 w 140"/>
                    <a:gd name="T71"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0" h="215">
                      <a:moveTo>
                        <a:pt x="134" y="0"/>
                      </a:moveTo>
                      <a:lnTo>
                        <a:pt x="5" y="0"/>
                      </a:lnTo>
                      <a:lnTo>
                        <a:pt x="5" y="0"/>
                      </a:lnTo>
                      <a:lnTo>
                        <a:pt x="2" y="1"/>
                      </a:lnTo>
                      <a:lnTo>
                        <a:pt x="1" y="1"/>
                      </a:lnTo>
                      <a:lnTo>
                        <a:pt x="0" y="4"/>
                      </a:lnTo>
                      <a:lnTo>
                        <a:pt x="0" y="5"/>
                      </a:lnTo>
                      <a:lnTo>
                        <a:pt x="0" y="91"/>
                      </a:lnTo>
                      <a:lnTo>
                        <a:pt x="0" y="91"/>
                      </a:lnTo>
                      <a:lnTo>
                        <a:pt x="0" y="94"/>
                      </a:lnTo>
                      <a:lnTo>
                        <a:pt x="1" y="95"/>
                      </a:lnTo>
                      <a:lnTo>
                        <a:pt x="32" y="126"/>
                      </a:lnTo>
                      <a:lnTo>
                        <a:pt x="32" y="209"/>
                      </a:lnTo>
                      <a:lnTo>
                        <a:pt x="32" y="209"/>
                      </a:lnTo>
                      <a:lnTo>
                        <a:pt x="32" y="211"/>
                      </a:lnTo>
                      <a:lnTo>
                        <a:pt x="33" y="213"/>
                      </a:lnTo>
                      <a:lnTo>
                        <a:pt x="35" y="215"/>
                      </a:lnTo>
                      <a:lnTo>
                        <a:pt x="37" y="215"/>
                      </a:lnTo>
                      <a:lnTo>
                        <a:pt x="102" y="215"/>
                      </a:lnTo>
                      <a:lnTo>
                        <a:pt x="102" y="215"/>
                      </a:lnTo>
                      <a:lnTo>
                        <a:pt x="103" y="215"/>
                      </a:lnTo>
                      <a:lnTo>
                        <a:pt x="106" y="213"/>
                      </a:lnTo>
                      <a:lnTo>
                        <a:pt x="106" y="211"/>
                      </a:lnTo>
                      <a:lnTo>
                        <a:pt x="107" y="209"/>
                      </a:lnTo>
                      <a:lnTo>
                        <a:pt x="107" y="126"/>
                      </a:lnTo>
                      <a:lnTo>
                        <a:pt x="137" y="95"/>
                      </a:lnTo>
                      <a:lnTo>
                        <a:pt x="137" y="95"/>
                      </a:lnTo>
                      <a:lnTo>
                        <a:pt x="138" y="94"/>
                      </a:lnTo>
                      <a:lnTo>
                        <a:pt x="140" y="91"/>
                      </a:lnTo>
                      <a:lnTo>
                        <a:pt x="140" y="5"/>
                      </a:lnTo>
                      <a:lnTo>
                        <a:pt x="140" y="5"/>
                      </a:lnTo>
                      <a:lnTo>
                        <a:pt x="138" y="4"/>
                      </a:lnTo>
                      <a:lnTo>
                        <a:pt x="137" y="1"/>
                      </a:lnTo>
                      <a:lnTo>
                        <a:pt x="135" y="1"/>
                      </a:lnTo>
                      <a:lnTo>
                        <a:pt x="134" y="0"/>
                      </a:lnTo>
                      <a:lnTo>
                        <a:pt x="13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92" name="Freeform 135">
                  <a:extLst>
                    <a:ext uri="{FF2B5EF4-FFF2-40B4-BE49-F238E27FC236}">
                      <a16:creationId xmlns:a16="http://schemas.microsoft.com/office/drawing/2014/main" id="{8A23D48D-B084-4C5A-B0A3-FA4A174C564A}"/>
                    </a:ext>
                  </a:extLst>
                </p:cNvPr>
                <p:cNvSpPr>
                  <a:spLocks/>
                </p:cNvSpPr>
                <p:nvPr/>
              </p:nvSpPr>
              <p:spPr bwMode="auto">
                <a:xfrm>
                  <a:off x="3513138" y="2650173"/>
                  <a:ext cx="63500" cy="61913"/>
                </a:xfrm>
                <a:custGeom>
                  <a:avLst/>
                  <a:gdLst>
                    <a:gd name="T0" fmla="*/ 41 w 80"/>
                    <a:gd name="T1" fmla="*/ 79 h 79"/>
                    <a:gd name="T2" fmla="*/ 41 w 80"/>
                    <a:gd name="T3" fmla="*/ 79 h 79"/>
                    <a:gd name="T4" fmla="*/ 49 w 80"/>
                    <a:gd name="T5" fmla="*/ 79 h 79"/>
                    <a:gd name="T6" fmla="*/ 55 w 80"/>
                    <a:gd name="T7" fmla="*/ 77 h 79"/>
                    <a:gd name="T8" fmla="*/ 62 w 80"/>
                    <a:gd name="T9" fmla="*/ 73 h 79"/>
                    <a:gd name="T10" fmla="*/ 69 w 80"/>
                    <a:gd name="T11" fmla="*/ 69 h 79"/>
                    <a:gd name="T12" fmla="*/ 73 w 80"/>
                    <a:gd name="T13" fmla="*/ 62 h 79"/>
                    <a:gd name="T14" fmla="*/ 77 w 80"/>
                    <a:gd name="T15" fmla="*/ 55 h 79"/>
                    <a:gd name="T16" fmla="*/ 80 w 80"/>
                    <a:gd name="T17" fmla="*/ 48 h 79"/>
                    <a:gd name="T18" fmla="*/ 80 w 80"/>
                    <a:gd name="T19" fmla="*/ 40 h 79"/>
                    <a:gd name="T20" fmla="*/ 80 w 80"/>
                    <a:gd name="T21" fmla="*/ 40 h 79"/>
                    <a:gd name="T22" fmla="*/ 80 w 80"/>
                    <a:gd name="T23" fmla="*/ 32 h 79"/>
                    <a:gd name="T24" fmla="*/ 77 w 80"/>
                    <a:gd name="T25" fmla="*/ 24 h 79"/>
                    <a:gd name="T26" fmla="*/ 73 w 80"/>
                    <a:gd name="T27" fmla="*/ 18 h 79"/>
                    <a:gd name="T28" fmla="*/ 69 w 80"/>
                    <a:gd name="T29" fmla="*/ 12 h 79"/>
                    <a:gd name="T30" fmla="*/ 62 w 80"/>
                    <a:gd name="T31" fmla="*/ 7 h 79"/>
                    <a:gd name="T32" fmla="*/ 55 w 80"/>
                    <a:gd name="T33" fmla="*/ 4 h 79"/>
                    <a:gd name="T34" fmla="*/ 49 w 80"/>
                    <a:gd name="T35" fmla="*/ 1 h 79"/>
                    <a:gd name="T36" fmla="*/ 41 w 80"/>
                    <a:gd name="T37" fmla="*/ 0 h 79"/>
                    <a:gd name="T38" fmla="*/ 41 w 80"/>
                    <a:gd name="T39" fmla="*/ 0 h 79"/>
                    <a:gd name="T40" fmla="*/ 32 w 80"/>
                    <a:gd name="T41" fmla="*/ 1 h 79"/>
                    <a:gd name="T42" fmla="*/ 24 w 80"/>
                    <a:gd name="T43" fmla="*/ 4 h 79"/>
                    <a:gd name="T44" fmla="*/ 18 w 80"/>
                    <a:gd name="T45" fmla="*/ 7 h 79"/>
                    <a:gd name="T46" fmla="*/ 12 w 80"/>
                    <a:gd name="T47" fmla="*/ 12 h 79"/>
                    <a:gd name="T48" fmla="*/ 7 w 80"/>
                    <a:gd name="T49" fmla="*/ 18 h 79"/>
                    <a:gd name="T50" fmla="*/ 4 w 80"/>
                    <a:gd name="T51" fmla="*/ 24 h 79"/>
                    <a:gd name="T52" fmla="*/ 2 w 80"/>
                    <a:gd name="T53" fmla="*/ 32 h 79"/>
                    <a:gd name="T54" fmla="*/ 0 w 80"/>
                    <a:gd name="T55" fmla="*/ 40 h 79"/>
                    <a:gd name="T56" fmla="*/ 0 w 80"/>
                    <a:gd name="T57" fmla="*/ 40 h 79"/>
                    <a:gd name="T58" fmla="*/ 2 w 80"/>
                    <a:gd name="T59" fmla="*/ 48 h 79"/>
                    <a:gd name="T60" fmla="*/ 4 w 80"/>
                    <a:gd name="T61" fmla="*/ 55 h 79"/>
                    <a:gd name="T62" fmla="*/ 7 w 80"/>
                    <a:gd name="T63" fmla="*/ 62 h 79"/>
                    <a:gd name="T64" fmla="*/ 12 w 80"/>
                    <a:gd name="T65" fmla="*/ 69 h 79"/>
                    <a:gd name="T66" fmla="*/ 18 w 80"/>
                    <a:gd name="T67" fmla="*/ 73 h 79"/>
                    <a:gd name="T68" fmla="*/ 24 w 80"/>
                    <a:gd name="T69" fmla="*/ 77 h 79"/>
                    <a:gd name="T70" fmla="*/ 32 w 80"/>
                    <a:gd name="T71" fmla="*/ 79 h 79"/>
                    <a:gd name="T72" fmla="*/ 41 w 80"/>
                    <a:gd name="T73" fmla="*/ 79 h 79"/>
                    <a:gd name="T74" fmla="*/ 41 w 80"/>
                    <a:gd name="T75"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79"/>
                      </a:moveTo>
                      <a:lnTo>
                        <a:pt x="41" y="79"/>
                      </a:lnTo>
                      <a:lnTo>
                        <a:pt x="49" y="79"/>
                      </a:lnTo>
                      <a:lnTo>
                        <a:pt x="55"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5" y="4"/>
                      </a:lnTo>
                      <a:lnTo>
                        <a:pt x="49" y="1"/>
                      </a:lnTo>
                      <a:lnTo>
                        <a:pt x="41" y="0"/>
                      </a:lnTo>
                      <a:lnTo>
                        <a:pt x="41" y="0"/>
                      </a:lnTo>
                      <a:lnTo>
                        <a:pt x="32" y="1"/>
                      </a:lnTo>
                      <a:lnTo>
                        <a:pt x="24" y="4"/>
                      </a:lnTo>
                      <a:lnTo>
                        <a:pt x="18" y="7"/>
                      </a:lnTo>
                      <a:lnTo>
                        <a:pt x="12" y="12"/>
                      </a:lnTo>
                      <a:lnTo>
                        <a:pt x="7" y="18"/>
                      </a:lnTo>
                      <a:lnTo>
                        <a:pt x="4" y="24"/>
                      </a:lnTo>
                      <a:lnTo>
                        <a:pt x="2" y="32"/>
                      </a:lnTo>
                      <a:lnTo>
                        <a:pt x="0" y="40"/>
                      </a:lnTo>
                      <a:lnTo>
                        <a:pt x="0" y="40"/>
                      </a:lnTo>
                      <a:lnTo>
                        <a:pt x="2" y="48"/>
                      </a:lnTo>
                      <a:lnTo>
                        <a:pt x="4" y="55"/>
                      </a:lnTo>
                      <a:lnTo>
                        <a:pt x="7" y="62"/>
                      </a:lnTo>
                      <a:lnTo>
                        <a:pt x="12" y="69"/>
                      </a:lnTo>
                      <a:lnTo>
                        <a:pt x="18" y="73"/>
                      </a:lnTo>
                      <a:lnTo>
                        <a:pt x="24" y="77"/>
                      </a:lnTo>
                      <a:lnTo>
                        <a:pt x="32" y="79"/>
                      </a:lnTo>
                      <a:lnTo>
                        <a:pt x="41" y="79"/>
                      </a:lnTo>
                      <a:lnTo>
                        <a:pt x="41" y="7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93" name="Freeform 136">
                  <a:extLst>
                    <a:ext uri="{FF2B5EF4-FFF2-40B4-BE49-F238E27FC236}">
                      <a16:creationId xmlns:a16="http://schemas.microsoft.com/office/drawing/2014/main" id="{01FA6244-4A71-43FB-8670-DFE9581E7782}"/>
                    </a:ext>
                  </a:extLst>
                </p:cNvPr>
                <p:cNvSpPr>
                  <a:spLocks/>
                </p:cNvSpPr>
                <p:nvPr/>
              </p:nvSpPr>
              <p:spPr bwMode="auto">
                <a:xfrm>
                  <a:off x="3333751" y="2650173"/>
                  <a:ext cx="63500" cy="61913"/>
                </a:xfrm>
                <a:custGeom>
                  <a:avLst/>
                  <a:gdLst>
                    <a:gd name="T0" fmla="*/ 41 w 80"/>
                    <a:gd name="T1" fmla="*/ 0 h 79"/>
                    <a:gd name="T2" fmla="*/ 41 w 80"/>
                    <a:gd name="T3" fmla="*/ 0 h 79"/>
                    <a:gd name="T4" fmla="*/ 33 w 80"/>
                    <a:gd name="T5" fmla="*/ 1 h 79"/>
                    <a:gd name="T6" fmla="*/ 25 w 80"/>
                    <a:gd name="T7" fmla="*/ 4 h 79"/>
                    <a:gd name="T8" fmla="*/ 18 w 80"/>
                    <a:gd name="T9" fmla="*/ 7 h 79"/>
                    <a:gd name="T10" fmla="*/ 13 w 80"/>
                    <a:gd name="T11" fmla="*/ 12 h 79"/>
                    <a:gd name="T12" fmla="*/ 7 w 80"/>
                    <a:gd name="T13" fmla="*/ 18 h 79"/>
                    <a:gd name="T14" fmla="*/ 4 w 80"/>
                    <a:gd name="T15" fmla="*/ 24 h 79"/>
                    <a:gd name="T16" fmla="*/ 2 w 80"/>
                    <a:gd name="T17" fmla="*/ 32 h 79"/>
                    <a:gd name="T18" fmla="*/ 0 w 80"/>
                    <a:gd name="T19" fmla="*/ 40 h 79"/>
                    <a:gd name="T20" fmla="*/ 0 w 80"/>
                    <a:gd name="T21" fmla="*/ 40 h 79"/>
                    <a:gd name="T22" fmla="*/ 2 w 80"/>
                    <a:gd name="T23" fmla="*/ 48 h 79"/>
                    <a:gd name="T24" fmla="*/ 4 w 80"/>
                    <a:gd name="T25" fmla="*/ 55 h 79"/>
                    <a:gd name="T26" fmla="*/ 7 w 80"/>
                    <a:gd name="T27" fmla="*/ 62 h 79"/>
                    <a:gd name="T28" fmla="*/ 13 w 80"/>
                    <a:gd name="T29" fmla="*/ 69 h 79"/>
                    <a:gd name="T30" fmla="*/ 18 w 80"/>
                    <a:gd name="T31" fmla="*/ 73 h 79"/>
                    <a:gd name="T32" fmla="*/ 25 w 80"/>
                    <a:gd name="T33" fmla="*/ 77 h 79"/>
                    <a:gd name="T34" fmla="*/ 33 w 80"/>
                    <a:gd name="T35" fmla="*/ 79 h 79"/>
                    <a:gd name="T36" fmla="*/ 41 w 80"/>
                    <a:gd name="T37" fmla="*/ 79 h 79"/>
                    <a:gd name="T38" fmla="*/ 41 w 80"/>
                    <a:gd name="T39" fmla="*/ 79 h 79"/>
                    <a:gd name="T40" fmla="*/ 49 w 80"/>
                    <a:gd name="T41" fmla="*/ 79 h 79"/>
                    <a:gd name="T42" fmla="*/ 56 w 80"/>
                    <a:gd name="T43" fmla="*/ 77 h 79"/>
                    <a:gd name="T44" fmla="*/ 62 w 80"/>
                    <a:gd name="T45" fmla="*/ 73 h 79"/>
                    <a:gd name="T46" fmla="*/ 69 w 80"/>
                    <a:gd name="T47" fmla="*/ 69 h 79"/>
                    <a:gd name="T48" fmla="*/ 73 w 80"/>
                    <a:gd name="T49" fmla="*/ 62 h 79"/>
                    <a:gd name="T50" fmla="*/ 77 w 80"/>
                    <a:gd name="T51" fmla="*/ 55 h 79"/>
                    <a:gd name="T52" fmla="*/ 80 w 80"/>
                    <a:gd name="T53" fmla="*/ 48 h 79"/>
                    <a:gd name="T54" fmla="*/ 80 w 80"/>
                    <a:gd name="T55" fmla="*/ 40 h 79"/>
                    <a:gd name="T56" fmla="*/ 80 w 80"/>
                    <a:gd name="T57" fmla="*/ 40 h 79"/>
                    <a:gd name="T58" fmla="*/ 80 w 80"/>
                    <a:gd name="T59" fmla="*/ 32 h 79"/>
                    <a:gd name="T60" fmla="*/ 77 w 80"/>
                    <a:gd name="T61" fmla="*/ 24 h 79"/>
                    <a:gd name="T62" fmla="*/ 73 w 80"/>
                    <a:gd name="T63" fmla="*/ 18 h 79"/>
                    <a:gd name="T64" fmla="*/ 69 w 80"/>
                    <a:gd name="T65" fmla="*/ 12 h 79"/>
                    <a:gd name="T66" fmla="*/ 62 w 80"/>
                    <a:gd name="T67" fmla="*/ 7 h 79"/>
                    <a:gd name="T68" fmla="*/ 56 w 80"/>
                    <a:gd name="T69" fmla="*/ 4 h 79"/>
                    <a:gd name="T70" fmla="*/ 49 w 80"/>
                    <a:gd name="T71" fmla="*/ 1 h 79"/>
                    <a:gd name="T72" fmla="*/ 41 w 80"/>
                    <a:gd name="T73" fmla="*/ 0 h 79"/>
                    <a:gd name="T74" fmla="*/ 41 w 80"/>
                    <a:gd name="T75"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0"/>
                      </a:moveTo>
                      <a:lnTo>
                        <a:pt x="41" y="0"/>
                      </a:lnTo>
                      <a:lnTo>
                        <a:pt x="33" y="1"/>
                      </a:lnTo>
                      <a:lnTo>
                        <a:pt x="25" y="4"/>
                      </a:lnTo>
                      <a:lnTo>
                        <a:pt x="18" y="7"/>
                      </a:lnTo>
                      <a:lnTo>
                        <a:pt x="13" y="12"/>
                      </a:lnTo>
                      <a:lnTo>
                        <a:pt x="7" y="18"/>
                      </a:lnTo>
                      <a:lnTo>
                        <a:pt x="4" y="24"/>
                      </a:lnTo>
                      <a:lnTo>
                        <a:pt x="2" y="32"/>
                      </a:lnTo>
                      <a:lnTo>
                        <a:pt x="0" y="40"/>
                      </a:lnTo>
                      <a:lnTo>
                        <a:pt x="0" y="40"/>
                      </a:lnTo>
                      <a:lnTo>
                        <a:pt x="2" y="48"/>
                      </a:lnTo>
                      <a:lnTo>
                        <a:pt x="4" y="55"/>
                      </a:lnTo>
                      <a:lnTo>
                        <a:pt x="7" y="62"/>
                      </a:lnTo>
                      <a:lnTo>
                        <a:pt x="13" y="69"/>
                      </a:lnTo>
                      <a:lnTo>
                        <a:pt x="18" y="73"/>
                      </a:lnTo>
                      <a:lnTo>
                        <a:pt x="25" y="77"/>
                      </a:lnTo>
                      <a:lnTo>
                        <a:pt x="33" y="79"/>
                      </a:lnTo>
                      <a:lnTo>
                        <a:pt x="41" y="79"/>
                      </a:lnTo>
                      <a:lnTo>
                        <a:pt x="41" y="79"/>
                      </a:lnTo>
                      <a:lnTo>
                        <a:pt x="49" y="79"/>
                      </a:lnTo>
                      <a:lnTo>
                        <a:pt x="56"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6" y="4"/>
                      </a:lnTo>
                      <a:lnTo>
                        <a:pt x="49" y="1"/>
                      </a:lnTo>
                      <a:lnTo>
                        <a:pt x="41" y="0"/>
                      </a:lnTo>
                      <a:lnTo>
                        <a:pt x="4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94" name="Freeform 137">
                  <a:extLst>
                    <a:ext uri="{FF2B5EF4-FFF2-40B4-BE49-F238E27FC236}">
                      <a16:creationId xmlns:a16="http://schemas.microsoft.com/office/drawing/2014/main" id="{856669E8-2245-415D-A3B3-5D9DE032DFC7}"/>
                    </a:ext>
                  </a:extLst>
                </p:cNvPr>
                <p:cNvSpPr>
                  <a:spLocks/>
                </p:cNvSpPr>
                <p:nvPr/>
              </p:nvSpPr>
              <p:spPr bwMode="auto">
                <a:xfrm>
                  <a:off x="3414713" y="2632710"/>
                  <a:ext cx="80963" cy="79375"/>
                </a:xfrm>
                <a:custGeom>
                  <a:avLst/>
                  <a:gdLst>
                    <a:gd name="T0" fmla="*/ 51 w 102"/>
                    <a:gd name="T1" fmla="*/ 100 h 100"/>
                    <a:gd name="T2" fmla="*/ 51 w 102"/>
                    <a:gd name="T3" fmla="*/ 100 h 100"/>
                    <a:gd name="T4" fmla="*/ 60 w 102"/>
                    <a:gd name="T5" fmla="*/ 99 h 100"/>
                    <a:gd name="T6" fmla="*/ 69 w 102"/>
                    <a:gd name="T7" fmla="*/ 96 h 100"/>
                    <a:gd name="T8" fmla="*/ 79 w 102"/>
                    <a:gd name="T9" fmla="*/ 92 h 100"/>
                    <a:gd name="T10" fmla="*/ 86 w 102"/>
                    <a:gd name="T11" fmla="*/ 86 h 100"/>
                    <a:gd name="T12" fmla="*/ 92 w 102"/>
                    <a:gd name="T13" fmla="*/ 78 h 100"/>
                    <a:gd name="T14" fmla="*/ 98 w 102"/>
                    <a:gd name="T15" fmla="*/ 69 h 100"/>
                    <a:gd name="T16" fmla="*/ 100 w 102"/>
                    <a:gd name="T17" fmla="*/ 60 h 100"/>
                    <a:gd name="T18" fmla="*/ 102 w 102"/>
                    <a:gd name="T19" fmla="*/ 49 h 100"/>
                    <a:gd name="T20" fmla="*/ 102 w 102"/>
                    <a:gd name="T21" fmla="*/ 49 h 100"/>
                    <a:gd name="T22" fmla="*/ 100 w 102"/>
                    <a:gd name="T23" fmla="*/ 40 h 100"/>
                    <a:gd name="T24" fmla="*/ 98 w 102"/>
                    <a:gd name="T25" fmla="*/ 30 h 100"/>
                    <a:gd name="T26" fmla="*/ 92 w 102"/>
                    <a:gd name="T27" fmla="*/ 21 h 100"/>
                    <a:gd name="T28" fmla="*/ 86 w 102"/>
                    <a:gd name="T29" fmla="*/ 14 h 100"/>
                    <a:gd name="T30" fmla="*/ 79 w 102"/>
                    <a:gd name="T31" fmla="*/ 8 h 100"/>
                    <a:gd name="T32" fmla="*/ 69 w 102"/>
                    <a:gd name="T33" fmla="*/ 4 h 100"/>
                    <a:gd name="T34" fmla="*/ 60 w 102"/>
                    <a:gd name="T35" fmla="*/ 0 h 100"/>
                    <a:gd name="T36" fmla="*/ 51 w 102"/>
                    <a:gd name="T37" fmla="*/ 0 h 100"/>
                    <a:gd name="T38" fmla="*/ 51 w 102"/>
                    <a:gd name="T39" fmla="*/ 0 h 100"/>
                    <a:gd name="T40" fmla="*/ 40 w 102"/>
                    <a:gd name="T41" fmla="*/ 0 h 100"/>
                    <a:gd name="T42" fmla="*/ 30 w 102"/>
                    <a:gd name="T43" fmla="*/ 4 h 100"/>
                    <a:gd name="T44" fmla="*/ 22 w 102"/>
                    <a:gd name="T45" fmla="*/ 8 h 100"/>
                    <a:gd name="T46" fmla="*/ 14 w 102"/>
                    <a:gd name="T47" fmla="*/ 14 h 100"/>
                    <a:gd name="T48" fmla="*/ 8 w 102"/>
                    <a:gd name="T49" fmla="*/ 21 h 100"/>
                    <a:gd name="T50" fmla="*/ 4 w 102"/>
                    <a:gd name="T51" fmla="*/ 30 h 100"/>
                    <a:gd name="T52" fmla="*/ 1 w 102"/>
                    <a:gd name="T53" fmla="*/ 40 h 100"/>
                    <a:gd name="T54" fmla="*/ 0 w 102"/>
                    <a:gd name="T55" fmla="*/ 49 h 100"/>
                    <a:gd name="T56" fmla="*/ 0 w 102"/>
                    <a:gd name="T57" fmla="*/ 49 h 100"/>
                    <a:gd name="T58" fmla="*/ 1 w 102"/>
                    <a:gd name="T59" fmla="*/ 60 h 100"/>
                    <a:gd name="T60" fmla="*/ 4 w 102"/>
                    <a:gd name="T61" fmla="*/ 69 h 100"/>
                    <a:gd name="T62" fmla="*/ 8 w 102"/>
                    <a:gd name="T63" fmla="*/ 78 h 100"/>
                    <a:gd name="T64" fmla="*/ 14 w 102"/>
                    <a:gd name="T65" fmla="*/ 86 h 100"/>
                    <a:gd name="T66" fmla="*/ 22 w 102"/>
                    <a:gd name="T67" fmla="*/ 92 h 100"/>
                    <a:gd name="T68" fmla="*/ 30 w 102"/>
                    <a:gd name="T69" fmla="*/ 96 h 100"/>
                    <a:gd name="T70" fmla="*/ 40 w 102"/>
                    <a:gd name="T71" fmla="*/ 99 h 100"/>
                    <a:gd name="T72" fmla="*/ 51 w 102"/>
                    <a:gd name="T73" fmla="*/ 100 h 100"/>
                    <a:gd name="T74" fmla="*/ 51 w 102"/>
                    <a:gd name="T75"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0">
                      <a:moveTo>
                        <a:pt x="51" y="100"/>
                      </a:moveTo>
                      <a:lnTo>
                        <a:pt x="51" y="100"/>
                      </a:lnTo>
                      <a:lnTo>
                        <a:pt x="60" y="99"/>
                      </a:lnTo>
                      <a:lnTo>
                        <a:pt x="69" y="96"/>
                      </a:lnTo>
                      <a:lnTo>
                        <a:pt x="79" y="92"/>
                      </a:lnTo>
                      <a:lnTo>
                        <a:pt x="86" y="86"/>
                      </a:lnTo>
                      <a:lnTo>
                        <a:pt x="92" y="78"/>
                      </a:lnTo>
                      <a:lnTo>
                        <a:pt x="98" y="69"/>
                      </a:lnTo>
                      <a:lnTo>
                        <a:pt x="100" y="60"/>
                      </a:lnTo>
                      <a:lnTo>
                        <a:pt x="102" y="49"/>
                      </a:lnTo>
                      <a:lnTo>
                        <a:pt x="102" y="49"/>
                      </a:lnTo>
                      <a:lnTo>
                        <a:pt x="100" y="40"/>
                      </a:lnTo>
                      <a:lnTo>
                        <a:pt x="98" y="30"/>
                      </a:lnTo>
                      <a:lnTo>
                        <a:pt x="92" y="21"/>
                      </a:lnTo>
                      <a:lnTo>
                        <a:pt x="86" y="14"/>
                      </a:lnTo>
                      <a:lnTo>
                        <a:pt x="79" y="8"/>
                      </a:lnTo>
                      <a:lnTo>
                        <a:pt x="69" y="4"/>
                      </a:lnTo>
                      <a:lnTo>
                        <a:pt x="60" y="0"/>
                      </a:lnTo>
                      <a:lnTo>
                        <a:pt x="51" y="0"/>
                      </a:lnTo>
                      <a:lnTo>
                        <a:pt x="51" y="0"/>
                      </a:lnTo>
                      <a:lnTo>
                        <a:pt x="40" y="0"/>
                      </a:lnTo>
                      <a:lnTo>
                        <a:pt x="30" y="4"/>
                      </a:lnTo>
                      <a:lnTo>
                        <a:pt x="22" y="8"/>
                      </a:lnTo>
                      <a:lnTo>
                        <a:pt x="14" y="14"/>
                      </a:lnTo>
                      <a:lnTo>
                        <a:pt x="8" y="21"/>
                      </a:lnTo>
                      <a:lnTo>
                        <a:pt x="4" y="30"/>
                      </a:lnTo>
                      <a:lnTo>
                        <a:pt x="1" y="40"/>
                      </a:lnTo>
                      <a:lnTo>
                        <a:pt x="0" y="49"/>
                      </a:lnTo>
                      <a:lnTo>
                        <a:pt x="0" y="49"/>
                      </a:lnTo>
                      <a:lnTo>
                        <a:pt x="1" y="60"/>
                      </a:lnTo>
                      <a:lnTo>
                        <a:pt x="4" y="69"/>
                      </a:lnTo>
                      <a:lnTo>
                        <a:pt x="8" y="78"/>
                      </a:lnTo>
                      <a:lnTo>
                        <a:pt x="14" y="86"/>
                      </a:lnTo>
                      <a:lnTo>
                        <a:pt x="22" y="92"/>
                      </a:lnTo>
                      <a:lnTo>
                        <a:pt x="30" y="96"/>
                      </a:lnTo>
                      <a:lnTo>
                        <a:pt x="40" y="99"/>
                      </a:lnTo>
                      <a:lnTo>
                        <a:pt x="51" y="100"/>
                      </a:lnTo>
                      <a:lnTo>
                        <a:pt x="51"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65" name="Group 64">
                <a:extLst>
                  <a:ext uri="{FF2B5EF4-FFF2-40B4-BE49-F238E27FC236}">
                    <a16:creationId xmlns:a16="http://schemas.microsoft.com/office/drawing/2014/main" id="{E46B266E-B280-453E-BF8D-031CFBD6D0A7}"/>
                  </a:ext>
                </a:extLst>
              </p:cNvPr>
              <p:cNvGrpSpPr/>
              <p:nvPr/>
            </p:nvGrpSpPr>
            <p:grpSpPr>
              <a:xfrm>
                <a:off x="1168400" y="4165600"/>
                <a:ext cx="321991" cy="320040"/>
                <a:chOff x="1172591" y="4169827"/>
                <a:chExt cx="321991" cy="320040"/>
              </a:xfrm>
            </p:grpSpPr>
            <p:sp>
              <p:nvSpPr>
                <p:cNvPr id="79" name="Oval 78">
                  <a:extLst>
                    <a:ext uri="{FF2B5EF4-FFF2-40B4-BE49-F238E27FC236}">
                      <a16:creationId xmlns:a16="http://schemas.microsoft.com/office/drawing/2014/main" id="{7FCB1466-C6BF-4988-85A6-510250011C40}"/>
                    </a:ext>
                  </a:extLst>
                </p:cNvPr>
                <p:cNvSpPr/>
                <p:nvPr/>
              </p:nvSpPr>
              <p:spPr>
                <a:xfrm>
                  <a:off x="1203696" y="4181435"/>
                  <a:ext cx="290260" cy="2902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grpSp>
              <p:nvGrpSpPr>
                <p:cNvPr id="80" name="Group 79">
                  <a:extLst>
                    <a:ext uri="{FF2B5EF4-FFF2-40B4-BE49-F238E27FC236}">
                      <a16:creationId xmlns:a16="http://schemas.microsoft.com/office/drawing/2014/main" id="{0353B4A6-278B-498D-BD67-F7C942EB51BE}"/>
                    </a:ext>
                  </a:extLst>
                </p:cNvPr>
                <p:cNvGrpSpPr>
                  <a:grpSpLocks noChangeAspect="1"/>
                </p:cNvGrpSpPr>
                <p:nvPr/>
              </p:nvGrpSpPr>
              <p:grpSpPr>
                <a:xfrm>
                  <a:off x="1172591" y="4169827"/>
                  <a:ext cx="321991" cy="320040"/>
                  <a:chOff x="1433513" y="5020310"/>
                  <a:chExt cx="523875" cy="520700"/>
                </a:xfrm>
              </p:grpSpPr>
              <p:sp>
                <p:nvSpPr>
                  <p:cNvPr id="81" name="Freeform 76">
                    <a:extLst>
                      <a:ext uri="{FF2B5EF4-FFF2-40B4-BE49-F238E27FC236}">
                        <a16:creationId xmlns:a16="http://schemas.microsoft.com/office/drawing/2014/main" id="{47BDEDF2-06EA-49A3-9D0D-A8E12B76A55B}"/>
                      </a:ext>
                    </a:extLst>
                  </p:cNvPr>
                  <p:cNvSpPr>
                    <a:spLocks noEditPoints="1"/>
                  </p:cNvSpPr>
                  <p:nvPr/>
                </p:nvSpPr>
                <p:spPr bwMode="auto">
                  <a:xfrm>
                    <a:off x="1433513" y="5020310"/>
                    <a:ext cx="523875" cy="520700"/>
                  </a:xfrm>
                  <a:custGeom>
                    <a:avLst/>
                    <a:gdLst>
                      <a:gd name="T0" fmla="*/ 312 w 658"/>
                      <a:gd name="T1" fmla="*/ 657 h 657"/>
                      <a:gd name="T2" fmla="*/ 263 w 658"/>
                      <a:gd name="T3" fmla="*/ 650 h 657"/>
                      <a:gd name="T4" fmla="*/ 201 w 658"/>
                      <a:gd name="T5" fmla="*/ 631 h 657"/>
                      <a:gd name="T6" fmla="*/ 119 w 658"/>
                      <a:gd name="T7" fmla="*/ 582 h 657"/>
                      <a:gd name="T8" fmla="*/ 56 w 658"/>
                      <a:gd name="T9" fmla="*/ 512 h 657"/>
                      <a:gd name="T10" fmla="*/ 15 w 658"/>
                      <a:gd name="T11" fmla="*/ 426 h 657"/>
                      <a:gd name="T12" fmla="*/ 4 w 658"/>
                      <a:gd name="T13" fmla="*/ 379 h 657"/>
                      <a:gd name="T14" fmla="*/ 0 w 658"/>
                      <a:gd name="T15" fmla="*/ 328 h 657"/>
                      <a:gd name="T16" fmla="*/ 2 w 658"/>
                      <a:gd name="T17" fmla="*/ 294 h 657"/>
                      <a:gd name="T18" fmla="*/ 11 w 658"/>
                      <a:gd name="T19" fmla="*/ 246 h 657"/>
                      <a:gd name="T20" fmla="*/ 40 w 658"/>
                      <a:gd name="T21" fmla="*/ 172 h 657"/>
                      <a:gd name="T22" fmla="*/ 97 w 658"/>
                      <a:gd name="T23" fmla="*/ 95 h 657"/>
                      <a:gd name="T24" fmla="*/ 172 w 658"/>
                      <a:gd name="T25" fmla="*/ 39 h 657"/>
                      <a:gd name="T26" fmla="*/ 247 w 658"/>
                      <a:gd name="T27" fmla="*/ 9 h 657"/>
                      <a:gd name="T28" fmla="*/ 295 w 658"/>
                      <a:gd name="T29" fmla="*/ 1 h 657"/>
                      <a:gd name="T30" fmla="*/ 329 w 658"/>
                      <a:gd name="T31" fmla="*/ 0 h 657"/>
                      <a:gd name="T32" fmla="*/ 379 w 658"/>
                      <a:gd name="T33" fmla="*/ 4 h 657"/>
                      <a:gd name="T34" fmla="*/ 427 w 658"/>
                      <a:gd name="T35" fmla="*/ 14 h 657"/>
                      <a:gd name="T36" fmla="*/ 513 w 658"/>
                      <a:gd name="T37" fmla="*/ 56 h 657"/>
                      <a:gd name="T38" fmla="*/ 583 w 658"/>
                      <a:gd name="T39" fmla="*/ 119 h 657"/>
                      <a:gd name="T40" fmla="*/ 633 w 658"/>
                      <a:gd name="T41" fmla="*/ 200 h 657"/>
                      <a:gd name="T42" fmla="*/ 652 w 658"/>
                      <a:gd name="T43" fmla="*/ 262 h 657"/>
                      <a:gd name="T44" fmla="*/ 657 w 658"/>
                      <a:gd name="T45" fmla="*/ 311 h 657"/>
                      <a:gd name="T46" fmla="*/ 657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7 h 657"/>
                      <a:gd name="T64" fmla="*/ 243 w 658"/>
                      <a:gd name="T65" fmla="*/ 49 h 657"/>
                      <a:gd name="T66" fmla="*/ 166 w 658"/>
                      <a:gd name="T67" fmla="*/ 87 h 657"/>
                      <a:gd name="T68" fmla="*/ 105 w 658"/>
                      <a:gd name="T69" fmla="*/ 143 h 657"/>
                      <a:gd name="T70" fmla="*/ 60 w 658"/>
                      <a:gd name="T71" fmla="*/ 215 h 657"/>
                      <a:gd name="T72" fmla="*/ 39 w 658"/>
                      <a:gd name="T73" fmla="*/ 298 h 657"/>
                      <a:gd name="T74" fmla="*/ 39 w 658"/>
                      <a:gd name="T75" fmla="*/ 358 h 657"/>
                      <a:gd name="T76" fmla="*/ 60 w 658"/>
                      <a:gd name="T77" fmla="*/ 442 h 657"/>
                      <a:gd name="T78" fmla="*/ 105 w 658"/>
                      <a:gd name="T79" fmla="*/ 513 h 657"/>
                      <a:gd name="T80" fmla="*/ 166 w 658"/>
                      <a:gd name="T81" fmla="*/ 569 h 657"/>
                      <a:gd name="T82" fmla="*/ 243 w 658"/>
                      <a:gd name="T83" fmla="*/ 606 h 657"/>
                      <a:gd name="T84" fmla="*/ 329 w 658"/>
                      <a:gd name="T85" fmla="*/ 619 h 657"/>
                      <a:gd name="T86" fmla="*/ 388 w 658"/>
                      <a:gd name="T87" fmla="*/ 614 h 657"/>
                      <a:gd name="T88" fmla="*/ 467 w 658"/>
                      <a:gd name="T89" fmla="*/ 584 h 657"/>
                      <a:gd name="T90" fmla="*/ 535 w 658"/>
                      <a:gd name="T91" fmla="*/ 535 h 657"/>
                      <a:gd name="T92" fmla="*/ 586 w 658"/>
                      <a:gd name="T93" fmla="*/ 467 h 657"/>
                      <a:gd name="T94" fmla="*/ 614 w 658"/>
                      <a:gd name="T95" fmla="*/ 387 h 657"/>
                      <a:gd name="T96" fmla="*/ 621 w 658"/>
                      <a:gd name="T97" fmla="*/ 328 h 657"/>
                      <a:gd name="T98" fmla="*/ 607 w 658"/>
                      <a:gd name="T99" fmla="*/ 242 h 657"/>
                      <a:gd name="T100" fmla="*/ 571 w 658"/>
                      <a:gd name="T101" fmla="*/ 165 h 657"/>
                      <a:gd name="T102" fmla="*/ 515 w 658"/>
                      <a:gd name="T103" fmla="*/ 103 h 657"/>
                      <a:gd name="T104" fmla="*/ 442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2" y="657"/>
                        </a:lnTo>
                        <a:lnTo>
                          <a:pt x="295" y="656"/>
                        </a:lnTo>
                        <a:lnTo>
                          <a:pt x="279" y="653"/>
                        </a:lnTo>
                        <a:lnTo>
                          <a:pt x="263" y="650"/>
                        </a:lnTo>
                        <a:lnTo>
                          <a:pt x="247" y="647"/>
                        </a:lnTo>
                        <a:lnTo>
                          <a:pt x="231" y="642"/>
                        </a:lnTo>
                        <a:lnTo>
                          <a:pt x="201" y="631"/>
                        </a:lnTo>
                        <a:lnTo>
                          <a:pt x="172" y="618"/>
                        </a:lnTo>
                        <a:lnTo>
                          <a:pt x="145" y="600"/>
                        </a:lnTo>
                        <a:lnTo>
                          <a:pt x="119" y="582"/>
                        </a:lnTo>
                        <a:lnTo>
                          <a:pt x="97" y="560"/>
                        </a:lnTo>
                        <a:lnTo>
                          <a:pt x="75" y="537"/>
                        </a:lnTo>
                        <a:lnTo>
                          <a:pt x="56" y="512"/>
                        </a:lnTo>
                        <a:lnTo>
                          <a:pt x="40" y="485"/>
                        </a:lnTo>
                        <a:lnTo>
                          <a:pt x="27" y="457"/>
                        </a:lnTo>
                        <a:lnTo>
                          <a:pt x="15" y="426"/>
                        </a:lnTo>
                        <a:lnTo>
                          <a:pt x="11" y="411"/>
                        </a:lnTo>
                        <a:lnTo>
                          <a:pt x="7" y="395"/>
                        </a:lnTo>
                        <a:lnTo>
                          <a:pt x="4" y="379"/>
                        </a:lnTo>
                        <a:lnTo>
                          <a:pt x="2" y="361"/>
                        </a:lnTo>
                        <a:lnTo>
                          <a:pt x="1" y="345"/>
                        </a:lnTo>
                        <a:lnTo>
                          <a:pt x="0" y="328"/>
                        </a:lnTo>
                        <a:lnTo>
                          <a:pt x="0" y="328"/>
                        </a:lnTo>
                        <a:lnTo>
                          <a:pt x="1" y="311"/>
                        </a:lnTo>
                        <a:lnTo>
                          <a:pt x="2" y="294"/>
                        </a:lnTo>
                        <a:lnTo>
                          <a:pt x="4" y="278"/>
                        </a:lnTo>
                        <a:lnTo>
                          <a:pt x="7" y="262"/>
                        </a:lnTo>
                        <a:lnTo>
                          <a:pt x="11" y="246"/>
                        </a:lnTo>
                        <a:lnTo>
                          <a:pt x="15" y="231"/>
                        </a:lnTo>
                        <a:lnTo>
                          <a:pt x="27" y="200"/>
                        </a:lnTo>
                        <a:lnTo>
                          <a:pt x="40" y="172"/>
                        </a:lnTo>
                        <a:lnTo>
                          <a:pt x="56" y="145"/>
                        </a:lnTo>
                        <a:lnTo>
                          <a:pt x="75" y="119"/>
                        </a:lnTo>
                        <a:lnTo>
                          <a:pt x="97" y="95"/>
                        </a:lnTo>
                        <a:lnTo>
                          <a:pt x="119" y="75"/>
                        </a:lnTo>
                        <a:lnTo>
                          <a:pt x="145" y="56"/>
                        </a:lnTo>
                        <a:lnTo>
                          <a:pt x="172" y="39"/>
                        </a:lnTo>
                        <a:lnTo>
                          <a:pt x="201" y="25"/>
                        </a:lnTo>
                        <a:lnTo>
                          <a:pt x="231" y="14"/>
                        </a:lnTo>
                        <a:lnTo>
                          <a:pt x="247" y="9"/>
                        </a:lnTo>
                        <a:lnTo>
                          <a:pt x="263" y="6"/>
                        </a:lnTo>
                        <a:lnTo>
                          <a:pt x="279" y="4"/>
                        </a:lnTo>
                        <a:lnTo>
                          <a:pt x="295" y="1"/>
                        </a:lnTo>
                        <a:lnTo>
                          <a:pt x="312" y="0"/>
                        </a:lnTo>
                        <a:lnTo>
                          <a:pt x="329" y="0"/>
                        </a:lnTo>
                        <a:lnTo>
                          <a:pt x="329" y="0"/>
                        </a:lnTo>
                        <a:lnTo>
                          <a:pt x="347" y="0"/>
                        </a:lnTo>
                        <a:lnTo>
                          <a:pt x="363" y="1"/>
                        </a:lnTo>
                        <a:lnTo>
                          <a:pt x="379" y="4"/>
                        </a:lnTo>
                        <a:lnTo>
                          <a:pt x="395" y="6"/>
                        </a:lnTo>
                        <a:lnTo>
                          <a:pt x="411" y="9"/>
                        </a:lnTo>
                        <a:lnTo>
                          <a:pt x="427" y="14"/>
                        </a:lnTo>
                        <a:lnTo>
                          <a:pt x="457" y="25"/>
                        </a:lnTo>
                        <a:lnTo>
                          <a:pt x="486" y="39"/>
                        </a:lnTo>
                        <a:lnTo>
                          <a:pt x="513" y="56"/>
                        </a:lnTo>
                        <a:lnTo>
                          <a:pt x="539" y="75"/>
                        </a:lnTo>
                        <a:lnTo>
                          <a:pt x="562" y="95"/>
                        </a:lnTo>
                        <a:lnTo>
                          <a:pt x="583" y="119"/>
                        </a:lnTo>
                        <a:lnTo>
                          <a:pt x="602" y="145"/>
                        </a:lnTo>
                        <a:lnTo>
                          <a:pt x="618" y="172"/>
                        </a:lnTo>
                        <a:lnTo>
                          <a:pt x="633" y="200"/>
                        </a:lnTo>
                        <a:lnTo>
                          <a:pt x="644" y="231"/>
                        </a:lnTo>
                        <a:lnTo>
                          <a:pt x="648" y="246"/>
                        </a:lnTo>
                        <a:lnTo>
                          <a:pt x="652" y="262"/>
                        </a:lnTo>
                        <a:lnTo>
                          <a:pt x="654" y="278"/>
                        </a:lnTo>
                        <a:lnTo>
                          <a:pt x="657" y="294"/>
                        </a:lnTo>
                        <a:lnTo>
                          <a:pt x="657" y="311"/>
                        </a:lnTo>
                        <a:lnTo>
                          <a:pt x="658" y="328"/>
                        </a:lnTo>
                        <a:lnTo>
                          <a:pt x="658" y="328"/>
                        </a:lnTo>
                        <a:lnTo>
                          <a:pt x="657" y="345"/>
                        </a:lnTo>
                        <a:lnTo>
                          <a:pt x="657" y="361"/>
                        </a:lnTo>
                        <a:lnTo>
                          <a:pt x="654" y="379"/>
                        </a:lnTo>
                        <a:lnTo>
                          <a:pt x="652" y="395"/>
                        </a:lnTo>
                        <a:lnTo>
                          <a:pt x="648" y="411"/>
                        </a:lnTo>
                        <a:lnTo>
                          <a:pt x="644" y="426"/>
                        </a:lnTo>
                        <a:lnTo>
                          <a:pt x="633" y="457"/>
                        </a:lnTo>
                        <a:lnTo>
                          <a:pt x="618" y="485"/>
                        </a:lnTo>
                        <a:lnTo>
                          <a:pt x="602" y="512"/>
                        </a:lnTo>
                        <a:lnTo>
                          <a:pt x="583" y="537"/>
                        </a:lnTo>
                        <a:lnTo>
                          <a:pt x="562" y="560"/>
                        </a:lnTo>
                        <a:lnTo>
                          <a:pt x="539" y="582"/>
                        </a:lnTo>
                        <a:lnTo>
                          <a:pt x="513" y="600"/>
                        </a:lnTo>
                        <a:lnTo>
                          <a:pt x="486" y="618"/>
                        </a:lnTo>
                        <a:lnTo>
                          <a:pt x="457" y="631"/>
                        </a:lnTo>
                        <a:lnTo>
                          <a:pt x="427" y="642"/>
                        </a:lnTo>
                        <a:lnTo>
                          <a:pt x="411" y="647"/>
                        </a:lnTo>
                        <a:lnTo>
                          <a:pt x="395" y="650"/>
                        </a:lnTo>
                        <a:lnTo>
                          <a:pt x="379" y="653"/>
                        </a:lnTo>
                        <a:lnTo>
                          <a:pt x="363" y="656"/>
                        </a:lnTo>
                        <a:lnTo>
                          <a:pt x="347" y="657"/>
                        </a:lnTo>
                        <a:lnTo>
                          <a:pt x="329" y="657"/>
                        </a:lnTo>
                        <a:lnTo>
                          <a:pt x="329" y="657"/>
                        </a:lnTo>
                        <a:close/>
                        <a:moveTo>
                          <a:pt x="329" y="37"/>
                        </a:moveTo>
                        <a:lnTo>
                          <a:pt x="329" y="37"/>
                        </a:lnTo>
                        <a:lnTo>
                          <a:pt x="299" y="39"/>
                        </a:lnTo>
                        <a:lnTo>
                          <a:pt x="270" y="43"/>
                        </a:lnTo>
                        <a:lnTo>
                          <a:pt x="243" y="49"/>
                        </a:lnTo>
                        <a:lnTo>
                          <a:pt x="216" y="60"/>
                        </a:lnTo>
                        <a:lnTo>
                          <a:pt x="191" y="72"/>
                        </a:lnTo>
                        <a:lnTo>
                          <a:pt x="166" y="87"/>
                        </a:lnTo>
                        <a:lnTo>
                          <a:pt x="144" y="103"/>
                        </a:lnTo>
                        <a:lnTo>
                          <a:pt x="123" y="122"/>
                        </a:lnTo>
                        <a:lnTo>
                          <a:pt x="105" y="143"/>
                        </a:lnTo>
                        <a:lnTo>
                          <a:pt x="87" y="165"/>
                        </a:lnTo>
                        <a:lnTo>
                          <a:pt x="72" y="189"/>
                        </a:lnTo>
                        <a:lnTo>
                          <a:pt x="60" y="215"/>
                        </a:lnTo>
                        <a:lnTo>
                          <a:pt x="51" y="242"/>
                        </a:lnTo>
                        <a:lnTo>
                          <a:pt x="44" y="270"/>
                        </a:lnTo>
                        <a:lnTo>
                          <a:pt x="39" y="298"/>
                        </a:lnTo>
                        <a:lnTo>
                          <a:pt x="37" y="328"/>
                        </a:lnTo>
                        <a:lnTo>
                          <a:pt x="37" y="328"/>
                        </a:lnTo>
                        <a:lnTo>
                          <a:pt x="39" y="358"/>
                        </a:lnTo>
                        <a:lnTo>
                          <a:pt x="44" y="387"/>
                        </a:lnTo>
                        <a:lnTo>
                          <a:pt x="51" y="415"/>
                        </a:lnTo>
                        <a:lnTo>
                          <a:pt x="60" y="442"/>
                        </a:lnTo>
                        <a:lnTo>
                          <a:pt x="72" y="467"/>
                        </a:lnTo>
                        <a:lnTo>
                          <a:pt x="87" y="492"/>
                        </a:lnTo>
                        <a:lnTo>
                          <a:pt x="105" y="513"/>
                        </a:lnTo>
                        <a:lnTo>
                          <a:pt x="123" y="535"/>
                        </a:lnTo>
                        <a:lnTo>
                          <a:pt x="144" y="553"/>
                        </a:lnTo>
                        <a:lnTo>
                          <a:pt x="166" y="569"/>
                        </a:lnTo>
                        <a:lnTo>
                          <a:pt x="191" y="584"/>
                        </a:lnTo>
                        <a:lnTo>
                          <a:pt x="216" y="596"/>
                        </a:lnTo>
                        <a:lnTo>
                          <a:pt x="243" y="606"/>
                        </a:lnTo>
                        <a:lnTo>
                          <a:pt x="270" y="614"/>
                        </a:lnTo>
                        <a:lnTo>
                          <a:pt x="299" y="618"/>
                        </a:lnTo>
                        <a:lnTo>
                          <a:pt x="329" y="619"/>
                        </a:lnTo>
                        <a:lnTo>
                          <a:pt x="329" y="619"/>
                        </a:lnTo>
                        <a:lnTo>
                          <a:pt x="359" y="618"/>
                        </a:lnTo>
                        <a:lnTo>
                          <a:pt x="388" y="614"/>
                        </a:lnTo>
                        <a:lnTo>
                          <a:pt x="415" y="606"/>
                        </a:lnTo>
                        <a:lnTo>
                          <a:pt x="442" y="596"/>
                        </a:lnTo>
                        <a:lnTo>
                          <a:pt x="467" y="584"/>
                        </a:lnTo>
                        <a:lnTo>
                          <a:pt x="492" y="569"/>
                        </a:lnTo>
                        <a:lnTo>
                          <a:pt x="515" y="553"/>
                        </a:lnTo>
                        <a:lnTo>
                          <a:pt x="535" y="535"/>
                        </a:lnTo>
                        <a:lnTo>
                          <a:pt x="554" y="513"/>
                        </a:lnTo>
                        <a:lnTo>
                          <a:pt x="571" y="492"/>
                        </a:lnTo>
                        <a:lnTo>
                          <a:pt x="586" y="467"/>
                        </a:lnTo>
                        <a:lnTo>
                          <a:pt x="598" y="442"/>
                        </a:lnTo>
                        <a:lnTo>
                          <a:pt x="607" y="415"/>
                        </a:lnTo>
                        <a:lnTo>
                          <a:pt x="614" y="387"/>
                        </a:lnTo>
                        <a:lnTo>
                          <a:pt x="619" y="358"/>
                        </a:lnTo>
                        <a:lnTo>
                          <a:pt x="621" y="328"/>
                        </a:lnTo>
                        <a:lnTo>
                          <a:pt x="621" y="328"/>
                        </a:lnTo>
                        <a:lnTo>
                          <a:pt x="619" y="298"/>
                        </a:lnTo>
                        <a:lnTo>
                          <a:pt x="614" y="270"/>
                        </a:lnTo>
                        <a:lnTo>
                          <a:pt x="607" y="242"/>
                        </a:lnTo>
                        <a:lnTo>
                          <a:pt x="598" y="215"/>
                        </a:lnTo>
                        <a:lnTo>
                          <a:pt x="586" y="189"/>
                        </a:lnTo>
                        <a:lnTo>
                          <a:pt x="571" y="165"/>
                        </a:lnTo>
                        <a:lnTo>
                          <a:pt x="554" y="143"/>
                        </a:lnTo>
                        <a:lnTo>
                          <a:pt x="535" y="122"/>
                        </a:lnTo>
                        <a:lnTo>
                          <a:pt x="515" y="103"/>
                        </a:lnTo>
                        <a:lnTo>
                          <a:pt x="492" y="87"/>
                        </a:lnTo>
                        <a:lnTo>
                          <a:pt x="467" y="72"/>
                        </a:lnTo>
                        <a:lnTo>
                          <a:pt x="442" y="60"/>
                        </a:lnTo>
                        <a:lnTo>
                          <a:pt x="415" y="49"/>
                        </a:lnTo>
                        <a:lnTo>
                          <a:pt x="388" y="43"/>
                        </a:lnTo>
                        <a:lnTo>
                          <a:pt x="359"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82" name="Freeform 206">
                    <a:extLst>
                      <a:ext uri="{FF2B5EF4-FFF2-40B4-BE49-F238E27FC236}">
                        <a16:creationId xmlns:a16="http://schemas.microsoft.com/office/drawing/2014/main" id="{86CBB67B-6313-4F78-95C0-B483F7E544C9}"/>
                      </a:ext>
                    </a:extLst>
                  </p:cNvPr>
                  <p:cNvSpPr>
                    <a:spLocks/>
                  </p:cNvSpPr>
                  <p:nvPr/>
                </p:nvSpPr>
                <p:spPr bwMode="auto">
                  <a:xfrm>
                    <a:off x="1687513" y="5183823"/>
                    <a:ext cx="138113" cy="14288"/>
                  </a:xfrm>
                  <a:custGeom>
                    <a:avLst/>
                    <a:gdLst>
                      <a:gd name="T0" fmla="*/ 164 w 173"/>
                      <a:gd name="T1" fmla="*/ 19 h 19"/>
                      <a:gd name="T2" fmla="*/ 164 w 173"/>
                      <a:gd name="T3" fmla="*/ 19 h 19"/>
                      <a:gd name="T4" fmla="*/ 168 w 173"/>
                      <a:gd name="T5" fmla="*/ 18 h 19"/>
                      <a:gd name="T6" fmla="*/ 170 w 173"/>
                      <a:gd name="T7" fmla="*/ 16 h 19"/>
                      <a:gd name="T8" fmla="*/ 172 w 173"/>
                      <a:gd name="T9" fmla="*/ 12 h 19"/>
                      <a:gd name="T10" fmla="*/ 173 w 173"/>
                      <a:gd name="T11" fmla="*/ 10 h 19"/>
                      <a:gd name="T12" fmla="*/ 173 w 173"/>
                      <a:gd name="T13" fmla="*/ 10 h 19"/>
                      <a:gd name="T14" fmla="*/ 172 w 173"/>
                      <a:gd name="T15" fmla="*/ 6 h 19"/>
                      <a:gd name="T16" fmla="*/ 170 w 173"/>
                      <a:gd name="T17" fmla="*/ 3 h 19"/>
                      <a:gd name="T18" fmla="*/ 168 w 173"/>
                      <a:gd name="T19" fmla="*/ 0 h 19"/>
                      <a:gd name="T20" fmla="*/ 164 w 173"/>
                      <a:gd name="T21" fmla="*/ 0 h 19"/>
                      <a:gd name="T22" fmla="*/ 0 w 173"/>
                      <a:gd name="T23" fmla="*/ 0 h 19"/>
                      <a:gd name="T24" fmla="*/ 0 w 173"/>
                      <a:gd name="T25" fmla="*/ 19 h 19"/>
                      <a:gd name="T26" fmla="*/ 164 w 173"/>
                      <a:gd name="T2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3" h="19">
                        <a:moveTo>
                          <a:pt x="164" y="19"/>
                        </a:moveTo>
                        <a:lnTo>
                          <a:pt x="164" y="19"/>
                        </a:lnTo>
                        <a:lnTo>
                          <a:pt x="168" y="18"/>
                        </a:lnTo>
                        <a:lnTo>
                          <a:pt x="170" y="16"/>
                        </a:lnTo>
                        <a:lnTo>
                          <a:pt x="172" y="12"/>
                        </a:lnTo>
                        <a:lnTo>
                          <a:pt x="173" y="10"/>
                        </a:lnTo>
                        <a:lnTo>
                          <a:pt x="173" y="10"/>
                        </a:lnTo>
                        <a:lnTo>
                          <a:pt x="172" y="6"/>
                        </a:lnTo>
                        <a:lnTo>
                          <a:pt x="170" y="3"/>
                        </a:lnTo>
                        <a:lnTo>
                          <a:pt x="168" y="0"/>
                        </a:lnTo>
                        <a:lnTo>
                          <a:pt x="164" y="0"/>
                        </a:lnTo>
                        <a:lnTo>
                          <a:pt x="0" y="0"/>
                        </a:lnTo>
                        <a:lnTo>
                          <a:pt x="0" y="19"/>
                        </a:lnTo>
                        <a:lnTo>
                          <a:pt x="164"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83" name="Freeform 207">
                    <a:extLst>
                      <a:ext uri="{FF2B5EF4-FFF2-40B4-BE49-F238E27FC236}">
                        <a16:creationId xmlns:a16="http://schemas.microsoft.com/office/drawing/2014/main" id="{2E0F9E89-F437-4F54-A462-9F3233AB6043}"/>
                      </a:ext>
                    </a:extLst>
                  </p:cNvPr>
                  <p:cNvSpPr>
                    <a:spLocks/>
                  </p:cNvSpPr>
                  <p:nvPr/>
                </p:nvSpPr>
                <p:spPr bwMode="auto">
                  <a:xfrm>
                    <a:off x="1563688" y="5153660"/>
                    <a:ext cx="111125" cy="73025"/>
                  </a:xfrm>
                  <a:custGeom>
                    <a:avLst/>
                    <a:gdLst>
                      <a:gd name="T0" fmla="*/ 138 w 138"/>
                      <a:gd name="T1" fmla="*/ 88 h 92"/>
                      <a:gd name="T2" fmla="*/ 138 w 138"/>
                      <a:gd name="T3" fmla="*/ 5 h 92"/>
                      <a:gd name="T4" fmla="*/ 138 w 138"/>
                      <a:gd name="T5" fmla="*/ 5 h 92"/>
                      <a:gd name="T6" fmla="*/ 138 w 138"/>
                      <a:gd name="T7" fmla="*/ 2 h 92"/>
                      <a:gd name="T8" fmla="*/ 137 w 138"/>
                      <a:gd name="T9" fmla="*/ 1 h 92"/>
                      <a:gd name="T10" fmla="*/ 135 w 138"/>
                      <a:gd name="T11" fmla="*/ 0 h 92"/>
                      <a:gd name="T12" fmla="*/ 133 w 138"/>
                      <a:gd name="T13" fmla="*/ 0 h 92"/>
                      <a:gd name="T14" fmla="*/ 82 w 138"/>
                      <a:gd name="T15" fmla="*/ 0 h 92"/>
                      <a:gd name="T16" fmla="*/ 82 w 138"/>
                      <a:gd name="T17" fmla="*/ 0 h 92"/>
                      <a:gd name="T18" fmla="*/ 79 w 138"/>
                      <a:gd name="T19" fmla="*/ 0 h 92"/>
                      <a:gd name="T20" fmla="*/ 78 w 138"/>
                      <a:gd name="T21" fmla="*/ 1 h 92"/>
                      <a:gd name="T22" fmla="*/ 76 w 138"/>
                      <a:gd name="T23" fmla="*/ 2 h 92"/>
                      <a:gd name="T24" fmla="*/ 76 w 138"/>
                      <a:gd name="T25" fmla="*/ 5 h 92"/>
                      <a:gd name="T26" fmla="*/ 76 w 138"/>
                      <a:gd name="T27" fmla="*/ 37 h 92"/>
                      <a:gd name="T28" fmla="*/ 9 w 138"/>
                      <a:gd name="T29" fmla="*/ 37 h 92"/>
                      <a:gd name="T30" fmla="*/ 9 w 138"/>
                      <a:gd name="T31" fmla="*/ 37 h 92"/>
                      <a:gd name="T32" fmla="*/ 5 w 138"/>
                      <a:gd name="T33" fmla="*/ 37 h 92"/>
                      <a:gd name="T34" fmla="*/ 2 w 138"/>
                      <a:gd name="T35" fmla="*/ 40 h 92"/>
                      <a:gd name="T36" fmla="*/ 1 w 138"/>
                      <a:gd name="T37" fmla="*/ 43 h 92"/>
                      <a:gd name="T38" fmla="*/ 0 w 138"/>
                      <a:gd name="T39" fmla="*/ 47 h 92"/>
                      <a:gd name="T40" fmla="*/ 0 w 138"/>
                      <a:gd name="T41" fmla="*/ 47 h 92"/>
                      <a:gd name="T42" fmla="*/ 1 w 138"/>
                      <a:gd name="T43" fmla="*/ 49 h 92"/>
                      <a:gd name="T44" fmla="*/ 2 w 138"/>
                      <a:gd name="T45" fmla="*/ 53 h 92"/>
                      <a:gd name="T46" fmla="*/ 5 w 138"/>
                      <a:gd name="T47" fmla="*/ 55 h 92"/>
                      <a:gd name="T48" fmla="*/ 9 w 138"/>
                      <a:gd name="T49" fmla="*/ 56 h 92"/>
                      <a:gd name="T50" fmla="*/ 76 w 138"/>
                      <a:gd name="T51" fmla="*/ 56 h 92"/>
                      <a:gd name="T52" fmla="*/ 76 w 138"/>
                      <a:gd name="T53" fmla="*/ 88 h 92"/>
                      <a:gd name="T54" fmla="*/ 76 w 138"/>
                      <a:gd name="T55" fmla="*/ 88 h 92"/>
                      <a:gd name="T56" fmla="*/ 76 w 138"/>
                      <a:gd name="T57" fmla="*/ 90 h 92"/>
                      <a:gd name="T58" fmla="*/ 78 w 138"/>
                      <a:gd name="T59" fmla="*/ 91 h 92"/>
                      <a:gd name="T60" fmla="*/ 79 w 138"/>
                      <a:gd name="T61" fmla="*/ 92 h 92"/>
                      <a:gd name="T62" fmla="*/ 82 w 138"/>
                      <a:gd name="T63" fmla="*/ 92 h 92"/>
                      <a:gd name="T64" fmla="*/ 133 w 138"/>
                      <a:gd name="T65" fmla="*/ 92 h 92"/>
                      <a:gd name="T66" fmla="*/ 133 w 138"/>
                      <a:gd name="T67" fmla="*/ 92 h 92"/>
                      <a:gd name="T68" fmla="*/ 135 w 138"/>
                      <a:gd name="T69" fmla="*/ 92 h 92"/>
                      <a:gd name="T70" fmla="*/ 137 w 138"/>
                      <a:gd name="T71" fmla="*/ 91 h 92"/>
                      <a:gd name="T72" fmla="*/ 138 w 138"/>
                      <a:gd name="T73" fmla="*/ 90 h 92"/>
                      <a:gd name="T74" fmla="*/ 138 w 138"/>
                      <a:gd name="T75" fmla="*/ 88 h 92"/>
                      <a:gd name="T76" fmla="*/ 138 w 138"/>
                      <a:gd name="T77" fmla="*/ 8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2">
                        <a:moveTo>
                          <a:pt x="138" y="88"/>
                        </a:moveTo>
                        <a:lnTo>
                          <a:pt x="138" y="5"/>
                        </a:lnTo>
                        <a:lnTo>
                          <a:pt x="138" y="5"/>
                        </a:lnTo>
                        <a:lnTo>
                          <a:pt x="138" y="2"/>
                        </a:lnTo>
                        <a:lnTo>
                          <a:pt x="137" y="1"/>
                        </a:lnTo>
                        <a:lnTo>
                          <a:pt x="135" y="0"/>
                        </a:lnTo>
                        <a:lnTo>
                          <a:pt x="133" y="0"/>
                        </a:lnTo>
                        <a:lnTo>
                          <a:pt x="82" y="0"/>
                        </a:lnTo>
                        <a:lnTo>
                          <a:pt x="82" y="0"/>
                        </a:lnTo>
                        <a:lnTo>
                          <a:pt x="79" y="0"/>
                        </a:lnTo>
                        <a:lnTo>
                          <a:pt x="78" y="1"/>
                        </a:lnTo>
                        <a:lnTo>
                          <a:pt x="76" y="2"/>
                        </a:lnTo>
                        <a:lnTo>
                          <a:pt x="76" y="5"/>
                        </a:lnTo>
                        <a:lnTo>
                          <a:pt x="76" y="37"/>
                        </a:lnTo>
                        <a:lnTo>
                          <a:pt x="9" y="37"/>
                        </a:lnTo>
                        <a:lnTo>
                          <a:pt x="9" y="37"/>
                        </a:lnTo>
                        <a:lnTo>
                          <a:pt x="5" y="37"/>
                        </a:lnTo>
                        <a:lnTo>
                          <a:pt x="2" y="40"/>
                        </a:lnTo>
                        <a:lnTo>
                          <a:pt x="1" y="43"/>
                        </a:lnTo>
                        <a:lnTo>
                          <a:pt x="0" y="47"/>
                        </a:lnTo>
                        <a:lnTo>
                          <a:pt x="0" y="47"/>
                        </a:lnTo>
                        <a:lnTo>
                          <a:pt x="1" y="49"/>
                        </a:lnTo>
                        <a:lnTo>
                          <a:pt x="2" y="53"/>
                        </a:lnTo>
                        <a:lnTo>
                          <a:pt x="5" y="55"/>
                        </a:lnTo>
                        <a:lnTo>
                          <a:pt x="9" y="56"/>
                        </a:lnTo>
                        <a:lnTo>
                          <a:pt x="76" y="56"/>
                        </a:lnTo>
                        <a:lnTo>
                          <a:pt x="76" y="88"/>
                        </a:lnTo>
                        <a:lnTo>
                          <a:pt x="76" y="88"/>
                        </a:lnTo>
                        <a:lnTo>
                          <a:pt x="76" y="90"/>
                        </a:lnTo>
                        <a:lnTo>
                          <a:pt x="78" y="91"/>
                        </a:lnTo>
                        <a:lnTo>
                          <a:pt x="79" y="92"/>
                        </a:lnTo>
                        <a:lnTo>
                          <a:pt x="82" y="92"/>
                        </a:lnTo>
                        <a:lnTo>
                          <a:pt x="133" y="92"/>
                        </a:lnTo>
                        <a:lnTo>
                          <a:pt x="133" y="92"/>
                        </a:lnTo>
                        <a:lnTo>
                          <a:pt x="135" y="92"/>
                        </a:lnTo>
                        <a:lnTo>
                          <a:pt x="137" y="91"/>
                        </a:lnTo>
                        <a:lnTo>
                          <a:pt x="138" y="90"/>
                        </a:lnTo>
                        <a:lnTo>
                          <a:pt x="138" y="88"/>
                        </a:lnTo>
                        <a:lnTo>
                          <a:pt x="138"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84" name="Freeform 208">
                    <a:extLst>
                      <a:ext uri="{FF2B5EF4-FFF2-40B4-BE49-F238E27FC236}">
                        <a16:creationId xmlns:a16="http://schemas.microsoft.com/office/drawing/2014/main" id="{65BF998F-6709-4DFB-9EC7-B31D7D815A1C}"/>
                      </a:ext>
                    </a:extLst>
                  </p:cNvPr>
                  <p:cNvSpPr>
                    <a:spLocks/>
                  </p:cNvSpPr>
                  <p:nvPr/>
                </p:nvSpPr>
                <p:spPr bwMode="auto">
                  <a:xfrm>
                    <a:off x="1687513" y="5363210"/>
                    <a:ext cx="138113" cy="15875"/>
                  </a:xfrm>
                  <a:custGeom>
                    <a:avLst/>
                    <a:gdLst>
                      <a:gd name="T0" fmla="*/ 164 w 173"/>
                      <a:gd name="T1" fmla="*/ 19 h 19"/>
                      <a:gd name="T2" fmla="*/ 164 w 173"/>
                      <a:gd name="T3" fmla="*/ 19 h 19"/>
                      <a:gd name="T4" fmla="*/ 168 w 173"/>
                      <a:gd name="T5" fmla="*/ 19 h 19"/>
                      <a:gd name="T6" fmla="*/ 170 w 173"/>
                      <a:gd name="T7" fmla="*/ 17 h 19"/>
                      <a:gd name="T8" fmla="*/ 172 w 173"/>
                      <a:gd name="T9" fmla="*/ 14 h 19"/>
                      <a:gd name="T10" fmla="*/ 173 w 173"/>
                      <a:gd name="T11" fmla="*/ 10 h 19"/>
                      <a:gd name="T12" fmla="*/ 173 w 173"/>
                      <a:gd name="T13" fmla="*/ 10 h 19"/>
                      <a:gd name="T14" fmla="*/ 172 w 173"/>
                      <a:gd name="T15" fmla="*/ 7 h 19"/>
                      <a:gd name="T16" fmla="*/ 170 w 173"/>
                      <a:gd name="T17" fmla="*/ 3 h 19"/>
                      <a:gd name="T18" fmla="*/ 168 w 173"/>
                      <a:gd name="T19" fmla="*/ 2 h 19"/>
                      <a:gd name="T20" fmla="*/ 164 w 173"/>
                      <a:gd name="T21" fmla="*/ 0 h 19"/>
                      <a:gd name="T22" fmla="*/ 0 w 173"/>
                      <a:gd name="T23" fmla="*/ 0 h 19"/>
                      <a:gd name="T24" fmla="*/ 0 w 173"/>
                      <a:gd name="T25" fmla="*/ 19 h 19"/>
                      <a:gd name="T26" fmla="*/ 164 w 173"/>
                      <a:gd name="T2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3" h="19">
                        <a:moveTo>
                          <a:pt x="164" y="19"/>
                        </a:moveTo>
                        <a:lnTo>
                          <a:pt x="164" y="19"/>
                        </a:lnTo>
                        <a:lnTo>
                          <a:pt x="168" y="19"/>
                        </a:lnTo>
                        <a:lnTo>
                          <a:pt x="170" y="17"/>
                        </a:lnTo>
                        <a:lnTo>
                          <a:pt x="172" y="14"/>
                        </a:lnTo>
                        <a:lnTo>
                          <a:pt x="173" y="10"/>
                        </a:lnTo>
                        <a:lnTo>
                          <a:pt x="173" y="10"/>
                        </a:lnTo>
                        <a:lnTo>
                          <a:pt x="172" y="7"/>
                        </a:lnTo>
                        <a:lnTo>
                          <a:pt x="170" y="3"/>
                        </a:lnTo>
                        <a:lnTo>
                          <a:pt x="168" y="2"/>
                        </a:lnTo>
                        <a:lnTo>
                          <a:pt x="164" y="0"/>
                        </a:lnTo>
                        <a:lnTo>
                          <a:pt x="0" y="0"/>
                        </a:lnTo>
                        <a:lnTo>
                          <a:pt x="0" y="19"/>
                        </a:lnTo>
                        <a:lnTo>
                          <a:pt x="164"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85" name="Freeform 209">
                    <a:extLst>
                      <a:ext uri="{FF2B5EF4-FFF2-40B4-BE49-F238E27FC236}">
                        <a16:creationId xmlns:a16="http://schemas.microsoft.com/office/drawing/2014/main" id="{5271F7F9-2EA6-47AA-90D7-4196D054D132}"/>
                      </a:ext>
                    </a:extLst>
                  </p:cNvPr>
                  <p:cNvSpPr>
                    <a:spLocks/>
                  </p:cNvSpPr>
                  <p:nvPr/>
                </p:nvSpPr>
                <p:spPr bwMode="auto">
                  <a:xfrm>
                    <a:off x="1563688" y="5334635"/>
                    <a:ext cx="111125" cy="73025"/>
                  </a:xfrm>
                  <a:custGeom>
                    <a:avLst/>
                    <a:gdLst>
                      <a:gd name="T0" fmla="*/ 138 w 138"/>
                      <a:gd name="T1" fmla="*/ 87 h 93"/>
                      <a:gd name="T2" fmla="*/ 138 w 138"/>
                      <a:gd name="T3" fmla="*/ 4 h 93"/>
                      <a:gd name="T4" fmla="*/ 138 w 138"/>
                      <a:gd name="T5" fmla="*/ 4 h 93"/>
                      <a:gd name="T6" fmla="*/ 138 w 138"/>
                      <a:gd name="T7" fmla="*/ 3 h 93"/>
                      <a:gd name="T8" fmla="*/ 137 w 138"/>
                      <a:gd name="T9" fmla="*/ 1 h 93"/>
                      <a:gd name="T10" fmla="*/ 135 w 138"/>
                      <a:gd name="T11" fmla="*/ 0 h 93"/>
                      <a:gd name="T12" fmla="*/ 133 w 138"/>
                      <a:gd name="T13" fmla="*/ 0 h 93"/>
                      <a:gd name="T14" fmla="*/ 82 w 138"/>
                      <a:gd name="T15" fmla="*/ 0 h 93"/>
                      <a:gd name="T16" fmla="*/ 82 w 138"/>
                      <a:gd name="T17" fmla="*/ 0 h 93"/>
                      <a:gd name="T18" fmla="*/ 79 w 138"/>
                      <a:gd name="T19" fmla="*/ 0 h 93"/>
                      <a:gd name="T20" fmla="*/ 78 w 138"/>
                      <a:gd name="T21" fmla="*/ 1 h 93"/>
                      <a:gd name="T22" fmla="*/ 76 w 138"/>
                      <a:gd name="T23" fmla="*/ 3 h 93"/>
                      <a:gd name="T24" fmla="*/ 76 w 138"/>
                      <a:gd name="T25" fmla="*/ 4 h 93"/>
                      <a:gd name="T26" fmla="*/ 76 w 138"/>
                      <a:gd name="T27" fmla="*/ 36 h 93"/>
                      <a:gd name="T28" fmla="*/ 9 w 138"/>
                      <a:gd name="T29" fmla="*/ 36 h 93"/>
                      <a:gd name="T30" fmla="*/ 9 w 138"/>
                      <a:gd name="T31" fmla="*/ 36 h 93"/>
                      <a:gd name="T32" fmla="*/ 5 w 138"/>
                      <a:gd name="T33" fmla="*/ 38 h 93"/>
                      <a:gd name="T34" fmla="*/ 2 w 138"/>
                      <a:gd name="T35" fmla="*/ 39 h 93"/>
                      <a:gd name="T36" fmla="*/ 1 w 138"/>
                      <a:gd name="T37" fmla="*/ 43 h 93"/>
                      <a:gd name="T38" fmla="*/ 0 w 138"/>
                      <a:gd name="T39" fmla="*/ 46 h 93"/>
                      <a:gd name="T40" fmla="*/ 0 w 138"/>
                      <a:gd name="T41" fmla="*/ 46 h 93"/>
                      <a:gd name="T42" fmla="*/ 1 w 138"/>
                      <a:gd name="T43" fmla="*/ 50 h 93"/>
                      <a:gd name="T44" fmla="*/ 2 w 138"/>
                      <a:gd name="T45" fmla="*/ 53 h 93"/>
                      <a:gd name="T46" fmla="*/ 5 w 138"/>
                      <a:gd name="T47" fmla="*/ 55 h 93"/>
                      <a:gd name="T48" fmla="*/ 9 w 138"/>
                      <a:gd name="T49" fmla="*/ 55 h 93"/>
                      <a:gd name="T50" fmla="*/ 76 w 138"/>
                      <a:gd name="T51" fmla="*/ 55 h 93"/>
                      <a:gd name="T52" fmla="*/ 76 w 138"/>
                      <a:gd name="T53" fmla="*/ 87 h 93"/>
                      <a:gd name="T54" fmla="*/ 76 w 138"/>
                      <a:gd name="T55" fmla="*/ 87 h 93"/>
                      <a:gd name="T56" fmla="*/ 76 w 138"/>
                      <a:gd name="T57" fmla="*/ 89 h 93"/>
                      <a:gd name="T58" fmla="*/ 78 w 138"/>
                      <a:gd name="T59" fmla="*/ 92 h 93"/>
                      <a:gd name="T60" fmla="*/ 79 w 138"/>
                      <a:gd name="T61" fmla="*/ 93 h 93"/>
                      <a:gd name="T62" fmla="*/ 82 w 138"/>
                      <a:gd name="T63" fmla="*/ 93 h 93"/>
                      <a:gd name="T64" fmla="*/ 133 w 138"/>
                      <a:gd name="T65" fmla="*/ 93 h 93"/>
                      <a:gd name="T66" fmla="*/ 133 w 138"/>
                      <a:gd name="T67" fmla="*/ 93 h 93"/>
                      <a:gd name="T68" fmla="*/ 135 w 138"/>
                      <a:gd name="T69" fmla="*/ 93 h 93"/>
                      <a:gd name="T70" fmla="*/ 137 w 138"/>
                      <a:gd name="T71" fmla="*/ 92 h 93"/>
                      <a:gd name="T72" fmla="*/ 138 w 138"/>
                      <a:gd name="T73" fmla="*/ 89 h 93"/>
                      <a:gd name="T74" fmla="*/ 138 w 138"/>
                      <a:gd name="T75" fmla="*/ 87 h 93"/>
                      <a:gd name="T76" fmla="*/ 138 w 138"/>
                      <a:gd name="T77" fmla="*/ 8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3">
                        <a:moveTo>
                          <a:pt x="138" y="87"/>
                        </a:moveTo>
                        <a:lnTo>
                          <a:pt x="138" y="4"/>
                        </a:lnTo>
                        <a:lnTo>
                          <a:pt x="138" y="4"/>
                        </a:lnTo>
                        <a:lnTo>
                          <a:pt x="138" y="3"/>
                        </a:lnTo>
                        <a:lnTo>
                          <a:pt x="137" y="1"/>
                        </a:lnTo>
                        <a:lnTo>
                          <a:pt x="135" y="0"/>
                        </a:lnTo>
                        <a:lnTo>
                          <a:pt x="133" y="0"/>
                        </a:lnTo>
                        <a:lnTo>
                          <a:pt x="82" y="0"/>
                        </a:lnTo>
                        <a:lnTo>
                          <a:pt x="82" y="0"/>
                        </a:lnTo>
                        <a:lnTo>
                          <a:pt x="79" y="0"/>
                        </a:lnTo>
                        <a:lnTo>
                          <a:pt x="78" y="1"/>
                        </a:lnTo>
                        <a:lnTo>
                          <a:pt x="76" y="3"/>
                        </a:lnTo>
                        <a:lnTo>
                          <a:pt x="76" y="4"/>
                        </a:lnTo>
                        <a:lnTo>
                          <a:pt x="76" y="36"/>
                        </a:lnTo>
                        <a:lnTo>
                          <a:pt x="9" y="36"/>
                        </a:lnTo>
                        <a:lnTo>
                          <a:pt x="9" y="36"/>
                        </a:lnTo>
                        <a:lnTo>
                          <a:pt x="5" y="38"/>
                        </a:lnTo>
                        <a:lnTo>
                          <a:pt x="2" y="39"/>
                        </a:lnTo>
                        <a:lnTo>
                          <a:pt x="1" y="43"/>
                        </a:lnTo>
                        <a:lnTo>
                          <a:pt x="0" y="46"/>
                        </a:lnTo>
                        <a:lnTo>
                          <a:pt x="0" y="46"/>
                        </a:lnTo>
                        <a:lnTo>
                          <a:pt x="1" y="50"/>
                        </a:lnTo>
                        <a:lnTo>
                          <a:pt x="2" y="53"/>
                        </a:lnTo>
                        <a:lnTo>
                          <a:pt x="5" y="55"/>
                        </a:lnTo>
                        <a:lnTo>
                          <a:pt x="9" y="55"/>
                        </a:lnTo>
                        <a:lnTo>
                          <a:pt x="76" y="55"/>
                        </a:lnTo>
                        <a:lnTo>
                          <a:pt x="76" y="87"/>
                        </a:lnTo>
                        <a:lnTo>
                          <a:pt x="76" y="87"/>
                        </a:lnTo>
                        <a:lnTo>
                          <a:pt x="76" y="89"/>
                        </a:lnTo>
                        <a:lnTo>
                          <a:pt x="78" y="92"/>
                        </a:lnTo>
                        <a:lnTo>
                          <a:pt x="79" y="93"/>
                        </a:lnTo>
                        <a:lnTo>
                          <a:pt x="82" y="93"/>
                        </a:lnTo>
                        <a:lnTo>
                          <a:pt x="133" y="93"/>
                        </a:lnTo>
                        <a:lnTo>
                          <a:pt x="133" y="93"/>
                        </a:lnTo>
                        <a:lnTo>
                          <a:pt x="135" y="93"/>
                        </a:lnTo>
                        <a:lnTo>
                          <a:pt x="137" y="92"/>
                        </a:lnTo>
                        <a:lnTo>
                          <a:pt x="138" y="89"/>
                        </a:lnTo>
                        <a:lnTo>
                          <a:pt x="138" y="87"/>
                        </a:lnTo>
                        <a:lnTo>
                          <a:pt x="138" y="8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86" name="Freeform 210">
                    <a:extLst>
                      <a:ext uri="{FF2B5EF4-FFF2-40B4-BE49-F238E27FC236}">
                        <a16:creationId xmlns:a16="http://schemas.microsoft.com/office/drawing/2014/main" id="{A62BBC1E-D88A-41A2-AF8A-C842AE2C7264}"/>
                      </a:ext>
                    </a:extLst>
                  </p:cNvPr>
                  <p:cNvSpPr>
                    <a:spLocks/>
                  </p:cNvSpPr>
                  <p:nvPr/>
                </p:nvSpPr>
                <p:spPr bwMode="auto">
                  <a:xfrm>
                    <a:off x="1563688" y="5274310"/>
                    <a:ext cx="138113" cy="12700"/>
                  </a:xfrm>
                  <a:custGeom>
                    <a:avLst/>
                    <a:gdLst>
                      <a:gd name="T0" fmla="*/ 9 w 173"/>
                      <a:gd name="T1" fmla="*/ 0 h 17"/>
                      <a:gd name="T2" fmla="*/ 9 w 173"/>
                      <a:gd name="T3" fmla="*/ 0 h 17"/>
                      <a:gd name="T4" fmla="*/ 5 w 173"/>
                      <a:gd name="T5" fmla="*/ 0 h 17"/>
                      <a:gd name="T6" fmla="*/ 2 w 173"/>
                      <a:gd name="T7" fmla="*/ 2 h 17"/>
                      <a:gd name="T8" fmla="*/ 1 w 173"/>
                      <a:gd name="T9" fmla="*/ 5 h 17"/>
                      <a:gd name="T10" fmla="*/ 0 w 173"/>
                      <a:gd name="T11" fmla="*/ 8 h 17"/>
                      <a:gd name="T12" fmla="*/ 0 w 173"/>
                      <a:gd name="T13" fmla="*/ 8 h 17"/>
                      <a:gd name="T14" fmla="*/ 1 w 173"/>
                      <a:gd name="T15" fmla="*/ 12 h 17"/>
                      <a:gd name="T16" fmla="*/ 2 w 173"/>
                      <a:gd name="T17" fmla="*/ 14 h 17"/>
                      <a:gd name="T18" fmla="*/ 5 w 173"/>
                      <a:gd name="T19" fmla="*/ 17 h 17"/>
                      <a:gd name="T20" fmla="*/ 9 w 173"/>
                      <a:gd name="T21" fmla="*/ 17 h 17"/>
                      <a:gd name="T22" fmla="*/ 173 w 173"/>
                      <a:gd name="T23" fmla="*/ 17 h 17"/>
                      <a:gd name="T24" fmla="*/ 173 w 173"/>
                      <a:gd name="T25" fmla="*/ 0 h 17"/>
                      <a:gd name="T26" fmla="*/ 9 w 173"/>
                      <a:gd name="T2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3" h="17">
                        <a:moveTo>
                          <a:pt x="9" y="0"/>
                        </a:moveTo>
                        <a:lnTo>
                          <a:pt x="9" y="0"/>
                        </a:lnTo>
                        <a:lnTo>
                          <a:pt x="5" y="0"/>
                        </a:lnTo>
                        <a:lnTo>
                          <a:pt x="2" y="2"/>
                        </a:lnTo>
                        <a:lnTo>
                          <a:pt x="1" y="5"/>
                        </a:lnTo>
                        <a:lnTo>
                          <a:pt x="0" y="8"/>
                        </a:lnTo>
                        <a:lnTo>
                          <a:pt x="0" y="8"/>
                        </a:lnTo>
                        <a:lnTo>
                          <a:pt x="1" y="12"/>
                        </a:lnTo>
                        <a:lnTo>
                          <a:pt x="2" y="14"/>
                        </a:lnTo>
                        <a:lnTo>
                          <a:pt x="5" y="17"/>
                        </a:lnTo>
                        <a:lnTo>
                          <a:pt x="9" y="17"/>
                        </a:lnTo>
                        <a:lnTo>
                          <a:pt x="173" y="17"/>
                        </a:lnTo>
                        <a:lnTo>
                          <a:pt x="173" y="0"/>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87" name="Freeform 211">
                    <a:extLst>
                      <a:ext uri="{FF2B5EF4-FFF2-40B4-BE49-F238E27FC236}">
                        <a16:creationId xmlns:a16="http://schemas.microsoft.com/office/drawing/2014/main" id="{CADFDB88-DE60-4A75-BACE-8CCE69563A1C}"/>
                      </a:ext>
                    </a:extLst>
                  </p:cNvPr>
                  <p:cNvSpPr>
                    <a:spLocks/>
                  </p:cNvSpPr>
                  <p:nvPr/>
                </p:nvSpPr>
                <p:spPr bwMode="auto">
                  <a:xfrm>
                    <a:off x="1716088" y="5244148"/>
                    <a:ext cx="109538" cy="73025"/>
                  </a:xfrm>
                  <a:custGeom>
                    <a:avLst/>
                    <a:gdLst>
                      <a:gd name="T0" fmla="*/ 61 w 138"/>
                      <a:gd name="T1" fmla="*/ 87 h 93"/>
                      <a:gd name="T2" fmla="*/ 61 w 138"/>
                      <a:gd name="T3" fmla="*/ 55 h 93"/>
                      <a:gd name="T4" fmla="*/ 129 w 138"/>
                      <a:gd name="T5" fmla="*/ 55 h 93"/>
                      <a:gd name="T6" fmla="*/ 129 w 138"/>
                      <a:gd name="T7" fmla="*/ 55 h 93"/>
                      <a:gd name="T8" fmla="*/ 133 w 138"/>
                      <a:gd name="T9" fmla="*/ 55 h 93"/>
                      <a:gd name="T10" fmla="*/ 135 w 138"/>
                      <a:gd name="T11" fmla="*/ 52 h 93"/>
                      <a:gd name="T12" fmla="*/ 137 w 138"/>
                      <a:gd name="T13" fmla="*/ 50 h 93"/>
                      <a:gd name="T14" fmla="*/ 138 w 138"/>
                      <a:gd name="T15" fmla="*/ 46 h 93"/>
                      <a:gd name="T16" fmla="*/ 138 w 138"/>
                      <a:gd name="T17" fmla="*/ 46 h 93"/>
                      <a:gd name="T18" fmla="*/ 137 w 138"/>
                      <a:gd name="T19" fmla="*/ 43 h 93"/>
                      <a:gd name="T20" fmla="*/ 135 w 138"/>
                      <a:gd name="T21" fmla="*/ 40 h 93"/>
                      <a:gd name="T22" fmla="*/ 133 w 138"/>
                      <a:gd name="T23" fmla="*/ 38 h 93"/>
                      <a:gd name="T24" fmla="*/ 129 w 138"/>
                      <a:gd name="T25" fmla="*/ 38 h 93"/>
                      <a:gd name="T26" fmla="*/ 61 w 138"/>
                      <a:gd name="T27" fmla="*/ 38 h 93"/>
                      <a:gd name="T28" fmla="*/ 61 w 138"/>
                      <a:gd name="T29" fmla="*/ 5 h 93"/>
                      <a:gd name="T30" fmla="*/ 61 w 138"/>
                      <a:gd name="T31" fmla="*/ 5 h 93"/>
                      <a:gd name="T32" fmla="*/ 61 w 138"/>
                      <a:gd name="T33" fmla="*/ 3 h 93"/>
                      <a:gd name="T34" fmla="*/ 60 w 138"/>
                      <a:gd name="T35" fmla="*/ 1 h 93"/>
                      <a:gd name="T36" fmla="*/ 59 w 138"/>
                      <a:gd name="T37" fmla="*/ 0 h 93"/>
                      <a:gd name="T38" fmla="*/ 56 w 138"/>
                      <a:gd name="T39" fmla="*/ 0 h 93"/>
                      <a:gd name="T40" fmla="*/ 5 w 138"/>
                      <a:gd name="T41" fmla="*/ 0 h 93"/>
                      <a:gd name="T42" fmla="*/ 5 w 138"/>
                      <a:gd name="T43" fmla="*/ 0 h 93"/>
                      <a:gd name="T44" fmla="*/ 2 w 138"/>
                      <a:gd name="T45" fmla="*/ 0 h 93"/>
                      <a:gd name="T46" fmla="*/ 1 w 138"/>
                      <a:gd name="T47" fmla="*/ 1 h 93"/>
                      <a:gd name="T48" fmla="*/ 0 w 138"/>
                      <a:gd name="T49" fmla="*/ 3 h 93"/>
                      <a:gd name="T50" fmla="*/ 0 w 138"/>
                      <a:gd name="T51" fmla="*/ 5 h 93"/>
                      <a:gd name="T52" fmla="*/ 0 w 138"/>
                      <a:gd name="T53" fmla="*/ 87 h 93"/>
                      <a:gd name="T54" fmla="*/ 0 w 138"/>
                      <a:gd name="T55" fmla="*/ 87 h 93"/>
                      <a:gd name="T56" fmla="*/ 0 w 138"/>
                      <a:gd name="T57" fmla="*/ 90 h 93"/>
                      <a:gd name="T58" fmla="*/ 1 w 138"/>
                      <a:gd name="T59" fmla="*/ 91 h 93"/>
                      <a:gd name="T60" fmla="*/ 2 w 138"/>
                      <a:gd name="T61" fmla="*/ 93 h 93"/>
                      <a:gd name="T62" fmla="*/ 5 w 138"/>
                      <a:gd name="T63" fmla="*/ 93 h 93"/>
                      <a:gd name="T64" fmla="*/ 56 w 138"/>
                      <a:gd name="T65" fmla="*/ 93 h 93"/>
                      <a:gd name="T66" fmla="*/ 56 w 138"/>
                      <a:gd name="T67" fmla="*/ 93 h 93"/>
                      <a:gd name="T68" fmla="*/ 59 w 138"/>
                      <a:gd name="T69" fmla="*/ 93 h 93"/>
                      <a:gd name="T70" fmla="*/ 60 w 138"/>
                      <a:gd name="T71" fmla="*/ 91 h 93"/>
                      <a:gd name="T72" fmla="*/ 61 w 138"/>
                      <a:gd name="T73" fmla="*/ 90 h 93"/>
                      <a:gd name="T74" fmla="*/ 61 w 138"/>
                      <a:gd name="T75" fmla="*/ 87 h 93"/>
                      <a:gd name="T76" fmla="*/ 61 w 138"/>
                      <a:gd name="T77" fmla="*/ 8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3">
                        <a:moveTo>
                          <a:pt x="61" y="87"/>
                        </a:moveTo>
                        <a:lnTo>
                          <a:pt x="61" y="55"/>
                        </a:lnTo>
                        <a:lnTo>
                          <a:pt x="129" y="55"/>
                        </a:lnTo>
                        <a:lnTo>
                          <a:pt x="129" y="55"/>
                        </a:lnTo>
                        <a:lnTo>
                          <a:pt x="133" y="55"/>
                        </a:lnTo>
                        <a:lnTo>
                          <a:pt x="135" y="52"/>
                        </a:lnTo>
                        <a:lnTo>
                          <a:pt x="137" y="50"/>
                        </a:lnTo>
                        <a:lnTo>
                          <a:pt x="138" y="46"/>
                        </a:lnTo>
                        <a:lnTo>
                          <a:pt x="138" y="46"/>
                        </a:lnTo>
                        <a:lnTo>
                          <a:pt x="137" y="43"/>
                        </a:lnTo>
                        <a:lnTo>
                          <a:pt x="135" y="40"/>
                        </a:lnTo>
                        <a:lnTo>
                          <a:pt x="133" y="38"/>
                        </a:lnTo>
                        <a:lnTo>
                          <a:pt x="129" y="38"/>
                        </a:lnTo>
                        <a:lnTo>
                          <a:pt x="61" y="38"/>
                        </a:lnTo>
                        <a:lnTo>
                          <a:pt x="61" y="5"/>
                        </a:lnTo>
                        <a:lnTo>
                          <a:pt x="61" y="5"/>
                        </a:lnTo>
                        <a:lnTo>
                          <a:pt x="61" y="3"/>
                        </a:lnTo>
                        <a:lnTo>
                          <a:pt x="60" y="1"/>
                        </a:lnTo>
                        <a:lnTo>
                          <a:pt x="59" y="0"/>
                        </a:lnTo>
                        <a:lnTo>
                          <a:pt x="56" y="0"/>
                        </a:lnTo>
                        <a:lnTo>
                          <a:pt x="5" y="0"/>
                        </a:lnTo>
                        <a:lnTo>
                          <a:pt x="5" y="0"/>
                        </a:lnTo>
                        <a:lnTo>
                          <a:pt x="2" y="0"/>
                        </a:lnTo>
                        <a:lnTo>
                          <a:pt x="1" y="1"/>
                        </a:lnTo>
                        <a:lnTo>
                          <a:pt x="0" y="3"/>
                        </a:lnTo>
                        <a:lnTo>
                          <a:pt x="0" y="5"/>
                        </a:lnTo>
                        <a:lnTo>
                          <a:pt x="0" y="87"/>
                        </a:lnTo>
                        <a:lnTo>
                          <a:pt x="0" y="87"/>
                        </a:lnTo>
                        <a:lnTo>
                          <a:pt x="0" y="90"/>
                        </a:lnTo>
                        <a:lnTo>
                          <a:pt x="1" y="91"/>
                        </a:lnTo>
                        <a:lnTo>
                          <a:pt x="2" y="93"/>
                        </a:lnTo>
                        <a:lnTo>
                          <a:pt x="5" y="93"/>
                        </a:lnTo>
                        <a:lnTo>
                          <a:pt x="56" y="93"/>
                        </a:lnTo>
                        <a:lnTo>
                          <a:pt x="56" y="93"/>
                        </a:lnTo>
                        <a:lnTo>
                          <a:pt x="59" y="93"/>
                        </a:lnTo>
                        <a:lnTo>
                          <a:pt x="60" y="91"/>
                        </a:lnTo>
                        <a:lnTo>
                          <a:pt x="61" y="90"/>
                        </a:lnTo>
                        <a:lnTo>
                          <a:pt x="61" y="87"/>
                        </a:lnTo>
                        <a:lnTo>
                          <a:pt x="61" y="8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grpSp>
            <p:nvGrpSpPr>
              <p:cNvPr id="66" name="Group 65">
                <a:extLst>
                  <a:ext uri="{FF2B5EF4-FFF2-40B4-BE49-F238E27FC236}">
                    <a16:creationId xmlns:a16="http://schemas.microsoft.com/office/drawing/2014/main" id="{9893D609-2590-46F2-90DC-3A2DB8301BF1}"/>
                  </a:ext>
                </a:extLst>
              </p:cNvPr>
              <p:cNvGrpSpPr>
                <a:grpSpLocks noChangeAspect="1"/>
              </p:cNvGrpSpPr>
              <p:nvPr/>
            </p:nvGrpSpPr>
            <p:grpSpPr>
              <a:xfrm>
                <a:off x="1416137" y="3253267"/>
                <a:ext cx="319070" cy="320040"/>
                <a:chOff x="2312988" y="1664335"/>
                <a:chExt cx="522288" cy="523875"/>
              </a:xfrm>
            </p:grpSpPr>
            <p:sp>
              <p:nvSpPr>
                <p:cNvPr id="76" name="Freeform 19">
                  <a:extLst>
                    <a:ext uri="{FF2B5EF4-FFF2-40B4-BE49-F238E27FC236}">
                      <a16:creationId xmlns:a16="http://schemas.microsoft.com/office/drawing/2014/main" id="{3561E255-B4CF-407B-850D-A149A52DDDD4}"/>
                    </a:ext>
                  </a:extLst>
                </p:cNvPr>
                <p:cNvSpPr>
                  <a:spLocks noEditPoints="1"/>
                </p:cNvSpPr>
                <p:nvPr/>
              </p:nvSpPr>
              <p:spPr bwMode="auto">
                <a:xfrm>
                  <a:off x="2312988" y="1664335"/>
                  <a:ext cx="522288" cy="523875"/>
                </a:xfrm>
                <a:custGeom>
                  <a:avLst/>
                  <a:gdLst>
                    <a:gd name="T0" fmla="*/ 313 w 659"/>
                    <a:gd name="T1" fmla="*/ 659 h 659"/>
                    <a:gd name="T2" fmla="*/ 264 w 659"/>
                    <a:gd name="T3" fmla="*/ 652 h 659"/>
                    <a:gd name="T4" fmla="*/ 202 w 659"/>
                    <a:gd name="T5" fmla="*/ 634 h 659"/>
                    <a:gd name="T6" fmla="*/ 121 w 659"/>
                    <a:gd name="T7" fmla="*/ 584 h 659"/>
                    <a:gd name="T8" fmla="*/ 57 w 659"/>
                    <a:gd name="T9" fmla="*/ 514 h 659"/>
                    <a:gd name="T10" fmla="*/ 15 w 659"/>
                    <a:gd name="T11" fmla="*/ 428 h 659"/>
                    <a:gd name="T12" fmla="*/ 4 w 659"/>
                    <a:gd name="T13" fmla="*/ 380 h 659"/>
                    <a:gd name="T14" fmla="*/ 0 w 659"/>
                    <a:gd name="T15" fmla="*/ 330 h 659"/>
                    <a:gd name="T16" fmla="*/ 3 w 659"/>
                    <a:gd name="T17" fmla="*/ 296 h 659"/>
                    <a:gd name="T18" fmla="*/ 11 w 659"/>
                    <a:gd name="T19" fmla="*/ 248 h 659"/>
                    <a:gd name="T20" fmla="*/ 41 w 659"/>
                    <a:gd name="T21" fmla="*/ 174 h 659"/>
                    <a:gd name="T22" fmla="*/ 97 w 659"/>
                    <a:gd name="T23" fmla="*/ 97 h 659"/>
                    <a:gd name="T24" fmla="*/ 174 w 659"/>
                    <a:gd name="T25" fmla="*/ 41 h 659"/>
                    <a:gd name="T26" fmla="*/ 248 w 659"/>
                    <a:gd name="T27" fmla="*/ 11 h 659"/>
                    <a:gd name="T28" fmla="*/ 296 w 659"/>
                    <a:gd name="T29" fmla="*/ 3 h 659"/>
                    <a:gd name="T30" fmla="*/ 330 w 659"/>
                    <a:gd name="T31" fmla="*/ 0 h 659"/>
                    <a:gd name="T32" fmla="*/ 379 w 659"/>
                    <a:gd name="T33" fmla="*/ 5 h 659"/>
                    <a:gd name="T34" fmla="*/ 428 w 659"/>
                    <a:gd name="T35" fmla="*/ 15 h 659"/>
                    <a:gd name="T36" fmla="*/ 514 w 659"/>
                    <a:gd name="T37" fmla="*/ 57 h 659"/>
                    <a:gd name="T38" fmla="*/ 584 w 659"/>
                    <a:gd name="T39" fmla="*/ 121 h 659"/>
                    <a:gd name="T40" fmla="*/ 633 w 659"/>
                    <a:gd name="T41" fmla="*/ 202 h 659"/>
                    <a:gd name="T42" fmla="*/ 652 w 659"/>
                    <a:gd name="T43" fmla="*/ 264 h 659"/>
                    <a:gd name="T44" fmla="*/ 659 w 659"/>
                    <a:gd name="T45" fmla="*/ 314 h 659"/>
                    <a:gd name="T46" fmla="*/ 659 w 659"/>
                    <a:gd name="T47" fmla="*/ 347 h 659"/>
                    <a:gd name="T48" fmla="*/ 652 w 659"/>
                    <a:gd name="T49" fmla="*/ 396 h 659"/>
                    <a:gd name="T50" fmla="*/ 633 w 659"/>
                    <a:gd name="T51" fmla="*/ 457 h 659"/>
                    <a:gd name="T52" fmla="*/ 584 w 659"/>
                    <a:gd name="T53" fmla="*/ 539 h 659"/>
                    <a:gd name="T54" fmla="*/ 514 w 659"/>
                    <a:gd name="T55" fmla="*/ 603 h 659"/>
                    <a:gd name="T56" fmla="*/ 428 w 659"/>
                    <a:gd name="T57" fmla="*/ 644 h 659"/>
                    <a:gd name="T58" fmla="*/ 379 w 659"/>
                    <a:gd name="T59" fmla="*/ 655 h 659"/>
                    <a:gd name="T60" fmla="*/ 330 w 659"/>
                    <a:gd name="T61" fmla="*/ 659 h 659"/>
                    <a:gd name="T62" fmla="*/ 330 w 659"/>
                    <a:gd name="T63" fmla="*/ 38 h 659"/>
                    <a:gd name="T64" fmla="*/ 243 w 659"/>
                    <a:gd name="T65" fmla="*/ 52 h 659"/>
                    <a:gd name="T66" fmla="*/ 167 w 659"/>
                    <a:gd name="T67" fmla="*/ 89 h 659"/>
                    <a:gd name="T68" fmla="*/ 105 w 659"/>
                    <a:gd name="T69" fmla="*/ 144 h 659"/>
                    <a:gd name="T70" fmla="*/ 62 w 659"/>
                    <a:gd name="T71" fmla="*/ 217 h 659"/>
                    <a:gd name="T72" fmla="*/ 41 w 659"/>
                    <a:gd name="T73" fmla="*/ 300 h 659"/>
                    <a:gd name="T74" fmla="*/ 41 w 659"/>
                    <a:gd name="T75" fmla="*/ 359 h 659"/>
                    <a:gd name="T76" fmla="*/ 62 w 659"/>
                    <a:gd name="T77" fmla="*/ 443 h 659"/>
                    <a:gd name="T78" fmla="*/ 105 w 659"/>
                    <a:gd name="T79" fmla="*/ 515 h 659"/>
                    <a:gd name="T80" fmla="*/ 167 w 659"/>
                    <a:gd name="T81" fmla="*/ 572 h 659"/>
                    <a:gd name="T82" fmla="*/ 243 w 659"/>
                    <a:gd name="T83" fmla="*/ 608 h 659"/>
                    <a:gd name="T84" fmla="*/ 330 w 659"/>
                    <a:gd name="T85" fmla="*/ 621 h 659"/>
                    <a:gd name="T86" fmla="*/ 389 w 659"/>
                    <a:gd name="T87" fmla="*/ 616 h 659"/>
                    <a:gd name="T88" fmla="*/ 468 w 659"/>
                    <a:gd name="T89" fmla="*/ 586 h 659"/>
                    <a:gd name="T90" fmla="*/ 535 w 659"/>
                    <a:gd name="T91" fmla="*/ 535 h 659"/>
                    <a:gd name="T92" fmla="*/ 586 w 659"/>
                    <a:gd name="T93" fmla="*/ 468 h 659"/>
                    <a:gd name="T94" fmla="*/ 616 w 659"/>
                    <a:gd name="T95" fmla="*/ 389 h 659"/>
                    <a:gd name="T96" fmla="*/ 621 w 659"/>
                    <a:gd name="T97" fmla="*/ 330 h 659"/>
                    <a:gd name="T98" fmla="*/ 608 w 659"/>
                    <a:gd name="T99" fmla="*/ 244 h 659"/>
                    <a:gd name="T100" fmla="*/ 571 w 659"/>
                    <a:gd name="T101" fmla="*/ 167 h 659"/>
                    <a:gd name="T102" fmla="*/ 515 w 659"/>
                    <a:gd name="T103" fmla="*/ 105 h 659"/>
                    <a:gd name="T104" fmla="*/ 444 w 659"/>
                    <a:gd name="T105" fmla="*/ 62 h 659"/>
                    <a:gd name="T106" fmla="*/ 359 w 659"/>
                    <a:gd name="T107" fmla="*/ 41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9">
                      <a:moveTo>
                        <a:pt x="330" y="659"/>
                      </a:moveTo>
                      <a:lnTo>
                        <a:pt x="330" y="659"/>
                      </a:lnTo>
                      <a:lnTo>
                        <a:pt x="313" y="659"/>
                      </a:lnTo>
                      <a:lnTo>
                        <a:pt x="296" y="658"/>
                      </a:lnTo>
                      <a:lnTo>
                        <a:pt x="280" y="655"/>
                      </a:lnTo>
                      <a:lnTo>
                        <a:pt x="264" y="652"/>
                      </a:lnTo>
                      <a:lnTo>
                        <a:pt x="248" y="648"/>
                      </a:lnTo>
                      <a:lnTo>
                        <a:pt x="233" y="644"/>
                      </a:lnTo>
                      <a:lnTo>
                        <a:pt x="202" y="634"/>
                      </a:lnTo>
                      <a:lnTo>
                        <a:pt x="174" y="619"/>
                      </a:lnTo>
                      <a:lnTo>
                        <a:pt x="145" y="603"/>
                      </a:lnTo>
                      <a:lnTo>
                        <a:pt x="121" y="584"/>
                      </a:lnTo>
                      <a:lnTo>
                        <a:pt x="97" y="562"/>
                      </a:lnTo>
                      <a:lnTo>
                        <a:pt x="75" y="539"/>
                      </a:lnTo>
                      <a:lnTo>
                        <a:pt x="57" y="514"/>
                      </a:lnTo>
                      <a:lnTo>
                        <a:pt x="41" y="487"/>
                      </a:lnTo>
                      <a:lnTo>
                        <a:pt x="27" y="457"/>
                      </a:lnTo>
                      <a:lnTo>
                        <a:pt x="15" y="428"/>
                      </a:lnTo>
                      <a:lnTo>
                        <a:pt x="11" y="412"/>
                      </a:lnTo>
                      <a:lnTo>
                        <a:pt x="7" y="396"/>
                      </a:lnTo>
                      <a:lnTo>
                        <a:pt x="4" y="380"/>
                      </a:lnTo>
                      <a:lnTo>
                        <a:pt x="3" y="363"/>
                      </a:lnTo>
                      <a:lnTo>
                        <a:pt x="2" y="347"/>
                      </a:lnTo>
                      <a:lnTo>
                        <a:pt x="0" y="330"/>
                      </a:lnTo>
                      <a:lnTo>
                        <a:pt x="0" y="330"/>
                      </a:lnTo>
                      <a:lnTo>
                        <a:pt x="2" y="314"/>
                      </a:lnTo>
                      <a:lnTo>
                        <a:pt x="3" y="296"/>
                      </a:lnTo>
                      <a:lnTo>
                        <a:pt x="4" y="280"/>
                      </a:lnTo>
                      <a:lnTo>
                        <a:pt x="7" y="264"/>
                      </a:lnTo>
                      <a:lnTo>
                        <a:pt x="11" y="248"/>
                      </a:lnTo>
                      <a:lnTo>
                        <a:pt x="15" y="233"/>
                      </a:lnTo>
                      <a:lnTo>
                        <a:pt x="27" y="202"/>
                      </a:lnTo>
                      <a:lnTo>
                        <a:pt x="41" y="174"/>
                      </a:lnTo>
                      <a:lnTo>
                        <a:pt x="57" y="146"/>
                      </a:lnTo>
                      <a:lnTo>
                        <a:pt x="75" y="121"/>
                      </a:lnTo>
                      <a:lnTo>
                        <a:pt x="97" y="97"/>
                      </a:lnTo>
                      <a:lnTo>
                        <a:pt x="121" y="76"/>
                      </a:lnTo>
                      <a:lnTo>
                        <a:pt x="145" y="57"/>
                      </a:lnTo>
                      <a:lnTo>
                        <a:pt x="174" y="41"/>
                      </a:lnTo>
                      <a:lnTo>
                        <a:pt x="202" y="27"/>
                      </a:lnTo>
                      <a:lnTo>
                        <a:pt x="233" y="15"/>
                      </a:lnTo>
                      <a:lnTo>
                        <a:pt x="248" y="11"/>
                      </a:lnTo>
                      <a:lnTo>
                        <a:pt x="264" y="7"/>
                      </a:lnTo>
                      <a:lnTo>
                        <a:pt x="280" y="5"/>
                      </a:lnTo>
                      <a:lnTo>
                        <a:pt x="296" y="3"/>
                      </a:lnTo>
                      <a:lnTo>
                        <a:pt x="313" y="2"/>
                      </a:lnTo>
                      <a:lnTo>
                        <a:pt x="330" y="0"/>
                      </a:lnTo>
                      <a:lnTo>
                        <a:pt x="330" y="0"/>
                      </a:lnTo>
                      <a:lnTo>
                        <a:pt x="347" y="2"/>
                      </a:lnTo>
                      <a:lnTo>
                        <a:pt x="363" y="3"/>
                      </a:lnTo>
                      <a:lnTo>
                        <a:pt x="379" y="5"/>
                      </a:lnTo>
                      <a:lnTo>
                        <a:pt x="395" y="7"/>
                      </a:lnTo>
                      <a:lnTo>
                        <a:pt x="411" y="11"/>
                      </a:lnTo>
                      <a:lnTo>
                        <a:pt x="428" y="15"/>
                      </a:lnTo>
                      <a:lnTo>
                        <a:pt x="457" y="27"/>
                      </a:lnTo>
                      <a:lnTo>
                        <a:pt x="487" y="41"/>
                      </a:lnTo>
                      <a:lnTo>
                        <a:pt x="514" y="57"/>
                      </a:lnTo>
                      <a:lnTo>
                        <a:pt x="539" y="76"/>
                      </a:lnTo>
                      <a:lnTo>
                        <a:pt x="562" y="97"/>
                      </a:lnTo>
                      <a:lnTo>
                        <a:pt x="584" y="121"/>
                      </a:lnTo>
                      <a:lnTo>
                        <a:pt x="602" y="146"/>
                      </a:lnTo>
                      <a:lnTo>
                        <a:pt x="618" y="174"/>
                      </a:lnTo>
                      <a:lnTo>
                        <a:pt x="633" y="202"/>
                      </a:lnTo>
                      <a:lnTo>
                        <a:pt x="644" y="233"/>
                      </a:lnTo>
                      <a:lnTo>
                        <a:pt x="648" y="248"/>
                      </a:lnTo>
                      <a:lnTo>
                        <a:pt x="652" y="264"/>
                      </a:lnTo>
                      <a:lnTo>
                        <a:pt x="655" y="280"/>
                      </a:lnTo>
                      <a:lnTo>
                        <a:pt x="657" y="296"/>
                      </a:lnTo>
                      <a:lnTo>
                        <a:pt x="659" y="314"/>
                      </a:lnTo>
                      <a:lnTo>
                        <a:pt x="659" y="330"/>
                      </a:lnTo>
                      <a:lnTo>
                        <a:pt x="659" y="330"/>
                      </a:lnTo>
                      <a:lnTo>
                        <a:pt x="659" y="347"/>
                      </a:lnTo>
                      <a:lnTo>
                        <a:pt x="657" y="363"/>
                      </a:lnTo>
                      <a:lnTo>
                        <a:pt x="655" y="380"/>
                      </a:lnTo>
                      <a:lnTo>
                        <a:pt x="652" y="396"/>
                      </a:lnTo>
                      <a:lnTo>
                        <a:pt x="648" y="412"/>
                      </a:lnTo>
                      <a:lnTo>
                        <a:pt x="644" y="428"/>
                      </a:lnTo>
                      <a:lnTo>
                        <a:pt x="633" y="457"/>
                      </a:lnTo>
                      <a:lnTo>
                        <a:pt x="618" y="487"/>
                      </a:lnTo>
                      <a:lnTo>
                        <a:pt x="602" y="514"/>
                      </a:lnTo>
                      <a:lnTo>
                        <a:pt x="584" y="539"/>
                      </a:lnTo>
                      <a:lnTo>
                        <a:pt x="562" y="562"/>
                      </a:lnTo>
                      <a:lnTo>
                        <a:pt x="539" y="584"/>
                      </a:lnTo>
                      <a:lnTo>
                        <a:pt x="514" y="603"/>
                      </a:lnTo>
                      <a:lnTo>
                        <a:pt x="487" y="619"/>
                      </a:lnTo>
                      <a:lnTo>
                        <a:pt x="457" y="634"/>
                      </a:lnTo>
                      <a:lnTo>
                        <a:pt x="428" y="644"/>
                      </a:lnTo>
                      <a:lnTo>
                        <a:pt x="411" y="648"/>
                      </a:lnTo>
                      <a:lnTo>
                        <a:pt x="395" y="652"/>
                      </a:lnTo>
                      <a:lnTo>
                        <a:pt x="379" y="655"/>
                      </a:lnTo>
                      <a:lnTo>
                        <a:pt x="363" y="658"/>
                      </a:lnTo>
                      <a:lnTo>
                        <a:pt x="347" y="659"/>
                      </a:lnTo>
                      <a:lnTo>
                        <a:pt x="330" y="659"/>
                      </a:lnTo>
                      <a:lnTo>
                        <a:pt x="330" y="659"/>
                      </a:lnTo>
                      <a:close/>
                      <a:moveTo>
                        <a:pt x="330" y="38"/>
                      </a:moveTo>
                      <a:lnTo>
                        <a:pt x="330" y="38"/>
                      </a:lnTo>
                      <a:lnTo>
                        <a:pt x="300" y="41"/>
                      </a:lnTo>
                      <a:lnTo>
                        <a:pt x="272" y="45"/>
                      </a:lnTo>
                      <a:lnTo>
                        <a:pt x="243" y="52"/>
                      </a:lnTo>
                      <a:lnTo>
                        <a:pt x="217" y="62"/>
                      </a:lnTo>
                      <a:lnTo>
                        <a:pt x="191" y="74"/>
                      </a:lnTo>
                      <a:lnTo>
                        <a:pt x="167" y="89"/>
                      </a:lnTo>
                      <a:lnTo>
                        <a:pt x="144" y="105"/>
                      </a:lnTo>
                      <a:lnTo>
                        <a:pt x="124" y="124"/>
                      </a:lnTo>
                      <a:lnTo>
                        <a:pt x="105" y="144"/>
                      </a:lnTo>
                      <a:lnTo>
                        <a:pt x="89" y="167"/>
                      </a:lnTo>
                      <a:lnTo>
                        <a:pt x="74" y="191"/>
                      </a:lnTo>
                      <a:lnTo>
                        <a:pt x="62" y="217"/>
                      </a:lnTo>
                      <a:lnTo>
                        <a:pt x="51" y="244"/>
                      </a:lnTo>
                      <a:lnTo>
                        <a:pt x="45" y="272"/>
                      </a:lnTo>
                      <a:lnTo>
                        <a:pt x="41" y="300"/>
                      </a:lnTo>
                      <a:lnTo>
                        <a:pt x="38" y="330"/>
                      </a:lnTo>
                      <a:lnTo>
                        <a:pt x="38" y="330"/>
                      </a:lnTo>
                      <a:lnTo>
                        <a:pt x="41" y="359"/>
                      </a:lnTo>
                      <a:lnTo>
                        <a:pt x="45" y="389"/>
                      </a:lnTo>
                      <a:lnTo>
                        <a:pt x="51" y="417"/>
                      </a:lnTo>
                      <a:lnTo>
                        <a:pt x="62" y="443"/>
                      </a:lnTo>
                      <a:lnTo>
                        <a:pt x="74" y="468"/>
                      </a:lnTo>
                      <a:lnTo>
                        <a:pt x="89" y="492"/>
                      </a:lnTo>
                      <a:lnTo>
                        <a:pt x="105" y="515"/>
                      </a:lnTo>
                      <a:lnTo>
                        <a:pt x="124" y="535"/>
                      </a:lnTo>
                      <a:lnTo>
                        <a:pt x="144" y="554"/>
                      </a:lnTo>
                      <a:lnTo>
                        <a:pt x="167" y="572"/>
                      </a:lnTo>
                      <a:lnTo>
                        <a:pt x="191" y="586"/>
                      </a:lnTo>
                      <a:lnTo>
                        <a:pt x="217" y="599"/>
                      </a:lnTo>
                      <a:lnTo>
                        <a:pt x="243" y="608"/>
                      </a:lnTo>
                      <a:lnTo>
                        <a:pt x="272" y="616"/>
                      </a:lnTo>
                      <a:lnTo>
                        <a:pt x="300" y="620"/>
                      </a:lnTo>
                      <a:lnTo>
                        <a:pt x="330" y="621"/>
                      </a:lnTo>
                      <a:lnTo>
                        <a:pt x="330" y="621"/>
                      </a:lnTo>
                      <a:lnTo>
                        <a:pt x="359" y="620"/>
                      </a:lnTo>
                      <a:lnTo>
                        <a:pt x="389" y="616"/>
                      </a:lnTo>
                      <a:lnTo>
                        <a:pt x="417" y="608"/>
                      </a:lnTo>
                      <a:lnTo>
                        <a:pt x="444" y="599"/>
                      </a:lnTo>
                      <a:lnTo>
                        <a:pt x="468" y="586"/>
                      </a:lnTo>
                      <a:lnTo>
                        <a:pt x="492" y="572"/>
                      </a:lnTo>
                      <a:lnTo>
                        <a:pt x="515" y="554"/>
                      </a:lnTo>
                      <a:lnTo>
                        <a:pt x="535" y="535"/>
                      </a:lnTo>
                      <a:lnTo>
                        <a:pt x="554" y="515"/>
                      </a:lnTo>
                      <a:lnTo>
                        <a:pt x="571" y="492"/>
                      </a:lnTo>
                      <a:lnTo>
                        <a:pt x="586" y="468"/>
                      </a:lnTo>
                      <a:lnTo>
                        <a:pt x="598" y="443"/>
                      </a:lnTo>
                      <a:lnTo>
                        <a:pt x="608" y="417"/>
                      </a:lnTo>
                      <a:lnTo>
                        <a:pt x="616" y="389"/>
                      </a:lnTo>
                      <a:lnTo>
                        <a:pt x="620" y="359"/>
                      </a:lnTo>
                      <a:lnTo>
                        <a:pt x="621" y="330"/>
                      </a:lnTo>
                      <a:lnTo>
                        <a:pt x="621" y="330"/>
                      </a:lnTo>
                      <a:lnTo>
                        <a:pt x="620" y="300"/>
                      </a:lnTo>
                      <a:lnTo>
                        <a:pt x="616" y="272"/>
                      </a:lnTo>
                      <a:lnTo>
                        <a:pt x="608" y="244"/>
                      </a:lnTo>
                      <a:lnTo>
                        <a:pt x="598" y="217"/>
                      </a:lnTo>
                      <a:lnTo>
                        <a:pt x="586" y="191"/>
                      </a:lnTo>
                      <a:lnTo>
                        <a:pt x="571" y="167"/>
                      </a:lnTo>
                      <a:lnTo>
                        <a:pt x="554" y="144"/>
                      </a:lnTo>
                      <a:lnTo>
                        <a:pt x="535" y="124"/>
                      </a:lnTo>
                      <a:lnTo>
                        <a:pt x="515" y="105"/>
                      </a:lnTo>
                      <a:lnTo>
                        <a:pt x="492" y="89"/>
                      </a:lnTo>
                      <a:lnTo>
                        <a:pt x="468" y="74"/>
                      </a:lnTo>
                      <a:lnTo>
                        <a:pt x="444" y="62"/>
                      </a:lnTo>
                      <a:lnTo>
                        <a:pt x="417" y="52"/>
                      </a:lnTo>
                      <a:lnTo>
                        <a:pt x="389" y="45"/>
                      </a:lnTo>
                      <a:lnTo>
                        <a:pt x="359" y="41"/>
                      </a:lnTo>
                      <a:lnTo>
                        <a:pt x="330" y="38"/>
                      </a:lnTo>
                      <a:lnTo>
                        <a:pt x="330"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77" name="Freeform 118">
                  <a:extLst>
                    <a:ext uri="{FF2B5EF4-FFF2-40B4-BE49-F238E27FC236}">
                      <a16:creationId xmlns:a16="http://schemas.microsoft.com/office/drawing/2014/main" id="{0DABFFF6-951C-429C-BEB4-306946B820AA}"/>
                    </a:ext>
                  </a:extLst>
                </p:cNvPr>
                <p:cNvSpPr>
                  <a:spLocks/>
                </p:cNvSpPr>
                <p:nvPr/>
              </p:nvSpPr>
              <p:spPr bwMode="auto">
                <a:xfrm>
                  <a:off x="2454276" y="1826260"/>
                  <a:ext cx="255588" cy="179388"/>
                </a:xfrm>
                <a:custGeom>
                  <a:avLst/>
                  <a:gdLst>
                    <a:gd name="T0" fmla="*/ 320 w 322"/>
                    <a:gd name="T1" fmla="*/ 105 h 224"/>
                    <a:gd name="T2" fmla="*/ 215 w 322"/>
                    <a:gd name="T3" fmla="*/ 0 h 224"/>
                    <a:gd name="T4" fmla="*/ 200 w 322"/>
                    <a:gd name="T5" fmla="*/ 15 h 224"/>
                    <a:gd name="T6" fmla="*/ 286 w 322"/>
                    <a:gd name="T7" fmla="*/ 101 h 224"/>
                    <a:gd name="T8" fmla="*/ 0 w 322"/>
                    <a:gd name="T9" fmla="*/ 101 h 224"/>
                    <a:gd name="T10" fmla="*/ 0 w 322"/>
                    <a:gd name="T11" fmla="*/ 122 h 224"/>
                    <a:gd name="T12" fmla="*/ 286 w 322"/>
                    <a:gd name="T13" fmla="*/ 122 h 224"/>
                    <a:gd name="T14" fmla="*/ 200 w 322"/>
                    <a:gd name="T15" fmla="*/ 208 h 224"/>
                    <a:gd name="T16" fmla="*/ 215 w 322"/>
                    <a:gd name="T17" fmla="*/ 224 h 224"/>
                    <a:gd name="T18" fmla="*/ 320 w 322"/>
                    <a:gd name="T19" fmla="*/ 119 h 224"/>
                    <a:gd name="T20" fmla="*/ 320 w 322"/>
                    <a:gd name="T21" fmla="*/ 119 h 224"/>
                    <a:gd name="T22" fmla="*/ 321 w 322"/>
                    <a:gd name="T23" fmla="*/ 115 h 224"/>
                    <a:gd name="T24" fmla="*/ 322 w 322"/>
                    <a:gd name="T25" fmla="*/ 111 h 224"/>
                    <a:gd name="T26" fmla="*/ 322 w 322"/>
                    <a:gd name="T27" fmla="*/ 111 h 224"/>
                    <a:gd name="T28" fmla="*/ 321 w 322"/>
                    <a:gd name="T29" fmla="*/ 107 h 224"/>
                    <a:gd name="T30" fmla="*/ 320 w 322"/>
                    <a:gd name="T31" fmla="*/ 105 h 224"/>
                    <a:gd name="T32" fmla="*/ 320 w 322"/>
                    <a:gd name="T33" fmla="*/ 105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2" h="224">
                      <a:moveTo>
                        <a:pt x="320" y="105"/>
                      </a:moveTo>
                      <a:lnTo>
                        <a:pt x="215" y="0"/>
                      </a:lnTo>
                      <a:lnTo>
                        <a:pt x="200" y="15"/>
                      </a:lnTo>
                      <a:lnTo>
                        <a:pt x="286" y="101"/>
                      </a:lnTo>
                      <a:lnTo>
                        <a:pt x="0" y="101"/>
                      </a:lnTo>
                      <a:lnTo>
                        <a:pt x="0" y="122"/>
                      </a:lnTo>
                      <a:lnTo>
                        <a:pt x="286" y="122"/>
                      </a:lnTo>
                      <a:lnTo>
                        <a:pt x="200" y="208"/>
                      </a:lnTo>
                      <a:lnTo>
                        <a:pt x="215" y="224"/>
                      </a:lnTo>
                      <a:lnTo>
                        <a:pt x="320" y="119"/>
                      </a:lnTo>
                      <a:lnTo>
                        <a:pt x="320" y="119"/>
                      </a:lnTo>
                      <a:lnTo>
                        <a:pt x="321" y="115"/>
                      </a:lnTo>
                      <a:lnTo>
                        <a:pt x="322" y="111"/>
                      </a:lnTo>
                      <a:lnTo>
                        <a:pt x="322" y="111"/>
                      </a:lnTo>
                      <a:lnTo>
                        <a:pt x="321" y="107"/>
                      </a:lnTo>
                      <a:lnTo>
                        <a:pt x="320" y="105"/>
                      </a:lnTo>
                      <a:lnTo>
                        <a:pt x="320" y="10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78" name="Freeform 119">
                  <a:extLst>
                    <a:ext uri="{FF2B5EF4-FFF2-40B4-BE49-F238E27FC236}">
                      <a16:creationId xmlns:a16="http://schemas.microsoft.com/office/drawing/2014/main" id="{8DB91154-BB3F-4D06-BBD9-A504C50DDBC2}"/>
                    </a:ext>
                  </a:extLst>
                </p:cNvPr>
                <p:cNvSpPr>
                  <a:spLocks/>
                </p:cNvSpPr>
                <p:nvPr/>
              </p:nvSpPr>
              <p:spPr bwMode="auto">
                <a:xfrm>
                  <a:off x="2471738" y="1970723"/>
                  <a:ext cx="109538" cy="82550"/>
                </a:xfrm>
                <a:custGeom>
                  <a:avLst/>
                  <a:gdLst>
                    <a:gd name="T0" fmla="*/ 92 w 140"/>
                    <a:gd name="T1" fmla="*/ 0 h 104"/>
                    <a:gd name="T2" fmla="*/ 78 w 140"/>
                    <a:gd name="T3" fmla="*/ 15 h 104"/>
                    <a:gd name="T4" fmla="*/ 106 w 140"/>
                    <a:gd name="T5" fmla="*/ 42 h 104"/>
                    <a:gd name="T6" fmla="*/ 0 w 140"/>
                    <a:gd name="T7" fmla="*/ 42 h 104"/>
                    <a:gd name="T8" fmla="*/ 0 w 140"/>
                    <a:gd name="T9" fmla="*/ 62 h 104"/>
                    <a:gd name="T10" fmla="*/ 106 w 140"/>
                    <a:gd name="T11" fmla="*/ 62 h 104"/>
                    <a:gd name="T12" fmla="*/ 78 w 140"/>
                    <a:gd name="T13" fmla="*/ 90 h 104"/>
                    <a:gd name="T14" fmla="*/ 92 w 140"/>
                    <a:gd name="T15" fmla="*/ 104 h 104"/>
                    <a:gd name="T16" fmla="*/ 136 w 140"/>
                    <a:gd name="T17" fmla="*/ 59 h 104"/>
                    <a:gd name="T18" fmla="*/ 136 w 140"/>
                    <a:gd name="T19" fmla="*/ 59 h 104"/>
                    <a:gd name="T20" fmla="*/ 139 w 140"/>
                    <a:gd name="T21" fmla="*/ 55 h 104"/>
                    <a:gd name="T22" fmla="*/ 140 w 140"/>
                    <a:gd name="T23" fmla="*/ 53 h 104"/>
                    <a:gd name="T24" fmla="*/ 140 w 140"/>
                    <a:gd name="T25" fmla="*/ 53 h 104"/>
                    <a:gd name="T26" fmla="*/ 139 w 140"/>
                    <a:gd name="T27" fmla="*/ 50 h 104"/>
                    <a:gd name="T28" fmla="*/ 136 w 140"/>
                    <a:gd name="T29" fmla="*/ 45 h 104"/>
                    <a:gd name="T30" fmla="*/ 92 w 140"/>
                    <a:gd name="T31"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0" h="104">
                      <a:moveTo>
                        <a:pt x="92" y="0"/>
                      </a:moveTo>
                      <a:lnTo>
                        <a:pt x="78" y="15"/>
                      </a:lnTo>
                      <a:lnTo>
                        <a:pt x="106" y="42"/>
                      </a:lnTo>
                      <a:lnTo>
                        <a:pt x="0" y="42"/>
                      </a:lnTo>
                      <a:lnTo>
                        <a:pt x="0" y="62"/>
                      </a:lnTo>
                      <a:lnTo>
                        <a:pt x="106" y="62"/>
                      </a:lnTo>
                      <a:lnTo>
                        <a:pt x="78" y="90"/>
                      </a:lnTo>
                      <a:lnTo>
                        <a:pt x="92" y="104"/>
                      </a:lnTo>
                      <a:lnTo>
                        <a:pt x="136" y="59"/>
                      </a:lnTo>
                      <a:lnTo>
                        <a:pt x="136" y="59"/>
                      </a:lnTo>
                      <a:lnTo>
                        <a:pt x="139" y="55"/>
                      </a:lnTo>
                      <a:lnTo>
                        <a:pt x="140" y="53"/>
                      </a:lnTo>
                      <a:lnTo>
                        <a:pt x="140" y="53"/>
                      </a:lnTo>
                      <a:lnTo>
                        <a:pt x="139" y="50"/>
                      </a:lnTo>
                      <a:lnTo>
                        <a:pt x="136" y="45"/>
                      </a:lnTo>
                      <a:lnTo>
                        <a:pt x="9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sp>
            <p:nvSpPr>
              <p:cNvPr id="67" name="Arc 66">
                <a:extLst>
                  <a:ext uri="{FF2B5EF4-FFF2-40B4-BE49-F238E27FC236}">
                    <a16:creationId xmlns:a16="http://schemas.microsoft.com/office/drawing/2014/main" id="{049AABE3-57B8-4477-80D8-EDF014DD20C7}"/>
                  </a:ext>
                </a:extLst>
              </p:cNvPr>
              <p:cNvSpPr/>
              <p:nvPr/>
            </p:nvSpPr>
            <p:spPr>
              <a:xfrm>
                <a:off x="1299379" y="2863970"/>
                <a:ext cx="2483304" cy="2480094"/>
              </a:xfrm>
              <a:prstGeom prst="arc">
                <a:avLst>
                  <a:gd name="adj1" fmla="val 16805369"/>
                  <a:gd name="adj2" fmla="val 19033459"/>
                </a:avLst>
              </a:prstGeom>
              <a:ln w="28575"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68" name="Arc 67">
                <a:extLst>
                  <a:ext uri="{FF2B5EF4-FFF2-40B4-BE49-F238E27FC236}">
                    <a16:creationId xmlns:a16="http://schemas.microsoft.com/office/drawing/2014/main" id="{00BBAD55-4CE0-4175-88CA-FD5BB8AB86F4}"/>
                  </a:ext>
                </a:extLst>
              </p:cNvPr>
              <p:cNvSpPr/>
              <p:nvPr/>
            </p:nvSpPr>
            <p:spPr>
              <a:xfrm>
                <a:off x="1304267" y="2863970"/>
                <a:ext cx="2483304" cy="2480094"/>
              </a:xfrm>
              <a:prstGeom prst="arc">
                <a:avLst>
                  <a:gd name="adj1" fmla="val 20087662"/>
                  <a:gd name="adj2" fmla="val 81767"/>
                </a:avLst>
              </a:prstGeom>
              <a:ln w="28575"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69" name="Arc 68">
                <a:extLst>
                  <a:ext uri="{FF2B5EF4-FFF2-40B4-BE49-F238E27FC236}">
                    <a16:creationId xmlns:a16="http://schemas.microsoft.com/office/drawing/2014/main" id="{27037D7E-BD04-4468-8618-B23E6EE6CACA}"/>
                  </a:ext>
                </a:extLst>
              </p:cNvPr>
              <p:cNvSpPr/>
              <p:nvPr/>
            </p:nvSpPr>
            <p:spPr>
              <a:xfrm>
                <a:off x="1306435" y="2863970"/>
                <a:ext cx="2483304" cy="2480094"/>
              </a:xfrm>
              <a:prstGeom prst="arc">
                <a:avLst>
                  <a:gd name="adj1" fmla="val 1192955"/>
                  <a:gd name="adj2" fmla="val 3118379"/>
                </a:avLst>
              </a:prstGeom>
              <a:ln w="28575"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70" name="Arc 69">
                <a:extLst>
                  <a:ext uri="{FF2B5EF4-FFF2-40B4-BE49-F238E27FC236}">
                    <a16:creationId xmlns:a16="http://schemas.microsoft.com/office/drawing/2014/main" id="{CCC6FA54-64F5-4CB7-83BF-44E7928CC103}"/>
                  </a:ext>
                </a:extLst>
              </p:cNvPr>
              <p:cNvSpPr/>
              <p:nvPr/>
            </p:nvSpPr>
            <p:spPr>
              <a:xfrm>
                <a:off x="1306435" y="2863970"/>
                <a:ext cx="2483304" cy="2480094"/>
              </a:xfrm>
              <a:prstGeom prst="arc">
                <a:avLst>
                  <a:gd name="adj1" fmla="val 4112940"/>
                  <a:gd name="adj2" fmla="val 6539099"/>
                </a:avLst>
              </a:prstGeom>
              <a:ln w="28575"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71" name="Arc 70">
                <a:extLst>
                  <a:ext uri="{FF2B5EF4-FFF2-40B4-BE49-F238E27FC236}">
                    <a16:creationId xmlns:a16="http://schemas.microsoft.com/office/drawing/2014/main" id="{51E995D2-F268-491B-8379-D3E730DE92CB}"/>
                  </a:ext>
                </a:extLst>
              </p:cNvPr>
              <p:cNvSpPr/>
              <p:nvPr/>
            </p:nvSpPr>
            <p:spPr>
              <a:xfrm>
                <a:off x="1313995" y="2863970"/>
                <a:ext cx="2483304" cy="2480094"/>
              </a:xfrm>
              <a:prstGeom prst="arc">
                <a:avLst>
                  <a:gd name="adj1" fmla="val 7564226"/>
                  <a:gd name="adj2" fmla="val 9568727"/>
                </a:avLst>
              </a:prstGeom>
              <a:ln w="28575"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72" name="Arc 71">
                <a:extLst>
                  <a:ext uri="{FF2B5EF4-FFF2-40B4-BE49-F238E27FC236}">
                    <a16:creationId xmlns:a16="http://schemas.microsoft.com/office/drawing/2014/main" id="{0CB000AF-A0FD-4988-87F1-C1005543CC29}"/>
                  </a:ext>
                </a:extLst>
              </p:cNvPr>
              <p:cNvSpPr/>
              <p:nvPr/>
            </p:nvSpPr>
            <p:spPr>
              <a:xfrm>
                <a:off x="1311078" y="2863970"/>
                <a:ext cx="2483304" cy="2480094"/>
              </a:xfrm>
              <a:prstGeom prst="arc">
                <a:avLst>
                  <a:gd name="adj1" fmla="val 10677256"/>
                  <a:gd name="adj2" fmla="val 12413464"/>
                </a:avLst>
              </a:prstGeom>
              <a:ln w="28575"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73" name="Arc 72">
                <a:extLst>
                  <a:ext uri="{FF2B5EF4-FFF2-40B4-BE49-F238E27FC236}">
                    <a16:creationId xmlns:a16="http://schemas.microsoft.com/office/drawing/2014/main" id="{34165313-FDB7-4324-8A11-16C1C21572E2}"/>
                  </a:ext>
                </a:extLst>
              </p:cNvPr>
              <p:cNvSpPr/>
              <p:nvPr/>
            </p:nvSpPr>
            <p:spPr>
              <a:xfrm>
                <a:off x="1310536" y="2863970"/>
                <a:ext cx="2483304" cy="2480094"/>
              </a:xfrm>
              <a:prstGeom prst="arc">
                <a:avLst>
                  <a:gd name="adj1" fmla="val 13421742"/>
                  <a:gd name="adj2" fmla="val 15684479"/>
                </a:avLst>
              </a:prstGeom>
              <a:ln w="28575"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74" name="Oval 73">
                <a:extLst>
                  <a:ext uri="{FF2B5EF4-FFF2-40B4-BE49-F238E27FC236}">
                    <a16:creationId xmlns:a16="http://schemas.microsoft.com/office/drawing/2014/main" id="{A959114E-2E46-4BD2-88E3-490D577C06C5}"/>
                  </a:ext>
                </a:extLst>
              </p:cNvPr>
              <p:cNvSpPr/>
              <p:nvPr/>
            </p:nvSpPr>
            <p:spPr>
              <a:xfrm>
                <a:off x="1969828" y="3507129"/>
                <a:ext cx="1193068" cy="1193068"/>
              </a:xfrm>
              <a:prstGeom prst="ellipse">
                <a:avLst/>
              </a:prstGeom>
              <a:solidFill>
                <a:schemeClr val="bg1"/>
              </a:solidFill>
              <a:ln w="123825" cmpd="thickThin">
                <a:solidFill>
                  <a:schemeClr val="accent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ea typeface="+mn-ea"/>
                  <a:cs typeface="+mn-cs"/>
                </a:endParaRPr>
              </a:p>
            </p:txBody>
          </p:sp>
          <p:sp>
            <p:nvSpPr>
              <p:cNvPr id="75" name="Rectangle 74">
                <a:extLst>
                  <a:ext uri="{FF2B5EF4-FFF2-40B4-BE49-F238E27FC236}">
                    <a16:creationId xmlns:a16="http://schemas.microsoft.com/office/drawing/2014/main" id="{638041D6-3B7E-4193-BE8A-1404BB120C32}"/>
                  </a:ext>
                </a:extLst>
              </p:cNvPr>
              <p:cNvSpPr/>
              <p:nvPr/>
            </p:nvSpPr>
            <p:spPr>
              <a:xfrm>
                <a:off x="2121495" y="3964751"/>
                <a:ext cx="852846" cy="25532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Open Sans Light" charset="0"/>
                    <a:cs typeface="Open Sans Light" charset="0"/>
                  </a:rPr>
                  <a:t>7 PILLARS</a:t>
                </a:r>
              </a:p>
            </p:txBody>
          </p:sp>
        </p:grpSp>
      </p:grpSp>
      <p:sp>
        <p:nvSpPr>
          <p:cNvPr id="114" name="Oval 113">
            <a:extLst>
              <a:ext uri="{FF2B5EF4-FFF2-40B4-BE49-F238E27FC236}">
                <a16:creationId xmlns:a16="http://schemas.microsoft.com/office/drawing/2014/main" id="{A8C83507-DB2D-43DB-AFBB-7770F4D5EF0C}"/>
              </a:ext>
            </a:extLst>
          </p:cNvPr>
          <p:cNvSpPr/>
          <p:nvPr/>
        </p:nvSpPr>
        <p:spPr>
          <a:xfrm>
            <a:off x="4979767" y="5689224"/>
            <a:ext cx="290260" cy="2902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grpSp>
        <p:nvGrpSpPr>
          <p:cNvPr id="115" name="Group 114">
            <a:extLst>
              <a:ext uri="{FF2B5EF4-FFF2-40B4-BE49-F238E27FC236}">
                <a16:creationId xmlns:a16="http://schemas.microsoft.com/office/drawing/2014/main" id="{8B000407-ADC1-47A8-898D-541D71730666}"/>
              </a:ext>
            </a:extLst>
          </p:cNvPr>
          <p:cNvGrpSpPr>
            <a:grpSpLocks noChangeAspect="1"/>
          </p:cNvGrpSpPr>
          <p:nvPr/>
        </p:nvGrpSpPr>
        <p:grpSpPr>
          <a:xfrm>
            <a:off x="4979767" y="5576252"/>
            <a:ext cx="319070" cy="320040"/>
            <a:chOff x="2312988" y="1664335"/>
            <a:chExt cx="522288" cy="523875"/>
          </a:xfrm>
        </p:grpSpPr>
        <p:sp>
          <p:nvSpPr>
            <p:cNvPr id="116" name="Freeform 19">
              <a:extLst>
                <a:ext uri="{FF2B5EF4-FFF2-40B4-BE49-F238E27FC236}">
                  <a16:creationId xmlns:a16="http://schemas.microsoft.com/office/drawing/2014/main" id="{3B74C55F-63E1-4758-96DB-1E7C602FCE97}"/>
                </a:ext>
              </a:extLst>
            </p:cNvPr>
            <p:cNvSpPr>
              <a:spLocks noEditPoints="1"/>
            </p:cNvSpPr>
            <p:nvPr/>
          </p:nvSpPr>
          <p:spPr bwMode="auto">
            <a:xfrm>
              <a:off x="2312988" y="1664335"/>
              <a:ext cx="522288" cy="523875"/>
            </a:xfrm>
            <a:custGeom>
              <a:avLst/>
              <a:gdLst>
                <a:gd name="T0" fmla="*/ 313 w 659"/>
                <a:gd name="T1" fmla="*/ 659 h 659"/>
                <a:gd name="T2" fmla="*/ 264 w 659"/>
                <a:gd name="T3" fmla="*/ 652 h 659"/>
                <a:gd name="T4" fmla="*/ 202 w 659"/>
                <a:gd name="T5" fmla="*/ 634 h 659"/>
                <a:gd name="T6" fmla="*/ 121 w 659"/>
                <a:gd name="T7" fmla="*/ 584 h 659"/>
                <a:gd name="T8" fmla="*/ 57 w 659"/>
                <a:gd name="T9" fmla="*/ 514 h 659"/>
                <a:gd name="T10" fmla="*/ 15 w 659"/>
                <a:gd name="T11" fmla="*/ 428 h 659"/>
                <a:gd name="T12" fmla="*/ 4 w 659"/>
                <a:gd name="T13" fmla="*/ 380 h 659"/>
                <a:gd name="T14" fmla="*/ 0 w 659"/>
                <a:gd name="T15" fmla="*/ 330 h 659"/>
                <a:gd name="T16" fmla="*/ 3 w 659"/>
                <a:gd name="T17" fmla="*/ 296 h 659"/>
                <a:gd name="T18" fmla="*/ 11 w 659"/>
                <a:gd name="T19" fmla="*/ 248 h 659"/>
                <a:gd name="T20" fmla="*/ 41 w 659"/>
                <a:gd name="T21" fmla="*/ 174 h 659"/>
                <a:gd name="T22" fmla="*/ 97 w 659"/>
                <a:gd name="T23" fmla="*/ 97 h 659"/>
                <a:gd name="T24" fmla="*/ 174 w 659"/>
                <a:gd name="T25" fmla="*/ 41 h 659"/>
                <a:gd name="T26" fmla="*/ 248 w 659"/>
                <a:gd name="T27" fmla="*/ 11 h 659"/>
                <a:gd name="T28" fmla="*/ 296 w 659"/>
                <a:gd name="T29" fmla="*/ 3 h 659"/>
                <a:gd name="T30" fmla="*/ 330 w 659"/>
                <a:gd name="T31" fmla="*/ 0 h 659"/>
                <a:gd name="T32" fmla="*/ 379 w 659"/>
                <a:gd name="T33" fmla="*/ 5 h 659"/>
                <a:gd name="T34" fmla="*/ 428 w 659"/>
                <a:gd name="T35" fmla="*/ 15 h 659"/>
                <a:gd name="T36" fmla="*/ 514 w 659"/>
                <a:gd name="T37" fmla="*/ 57 h 659"/>
                <a:gd name="T38" fmla="*/ 584 w 659"/>
                <a:gd name="T39" fmla="*/ 121 h 659"/>
                <a:gd name="T40" fmla="*/ 633 w 659"/>
                <a:gd name="T41" fmla="*/ 202 h 659"/>
                <a:gd name="T42" fmla="*/ 652 w 659"/>
                <a:gd name="T43" fmla="*/ 264 h 659"/>
                <a:gd name="T44" fmla="*/ 659 w 659"/>
                <a:gd name="T45" fmla="*/ 314 h 659"/>
                <a:gd name="T46" fmla="*/ 659 w 659"/>
                <a:gd name="T47" fmla="*/ 347 h 659"/>
                <a:gd name="T48" fmla="*/ 652 w 659"/>
                <a:gd name="T49" fmla="*/ 396 h 659"/>
                <a:gd name="T50" fmla="*/ 633 w 659"/>
                <a:gd name="T51" fmla="*/ 457 h 659"/>
                <a:gd name="T52" fmla="*/ 584 w 659"/>
                <a:gd name="T53" fmla="*/ 539 h 659"/>
                <a:gd name="T54" fmla="*/ 514 w 659"/>
                <a:gd name="T55" fmla="*/ 603 h 659"/>
                <a:gd name="T56" fmla="*/ 428 w 659"/>
                <a:gd name="T57" fmla="*/ 644 h 659"/>
                <a:gd name="T58" fmla="*/ 379 w 659"/>
                <a:gd name="T59" fmla="*/ 655 h 659"/>
                <a:gd name="T60" fmla="*/ 330 w 659"/>
                <a:gd name="T61" fmla="*/ 659 h 659"/>
                <a:gd name="T62" fmla="*/ 330 w 659"/>
                <a:gd name="T63" fmla="*/ 38 h 659"/>
                <a:gd name="T64" fmla="*/ 243 w 659"/>
                <a:gd name="T65" fmla="*/ 52 h 659"/>
                <a:gd name="T66" fmla="*/ 167 w 659"/>
                <a:gd name="T67" fmla="*/ 89 h 659"/>
                <a:gd name="T68" fmla="*/ 105 w 659"/>
                <a:gd name="T69" fmla="*/ 144 h 659"/>
                <a:gd name="T70" fmla="*/ 62 w 659"/>
                <a:gd name="T71" fmla="*/ 217 h 659"/>
                <a:gd name="T72" fmla="*/ 41 w 659"/>
                <a:gd name="T73" fmla="*/ 300 h 659"/>
                <a:gd name="T74" fmla="*/ 41 w 659"/>
                <a:gd name="T75" fmla="*/ 359 h 659"/>
                <a:gd name="T76" fmla="*/ 62 w 659"/>
                <a:gd name="T77" fmla="*/ 443 h 659"/>
                <a:gd name="T78" fmla="*/ 105 w 659"/>
                <a:gd name="T79" fmla="*/ 515 h 659"/>
                <a:gd name="T80" fmla="*/ 167 w 659"/>
                <a:gd name="T81" fmla="*/ 572 h 659"/>
                <a:gd name="T82" fmla="*/ 243 w 659"/>
                <a:gd name="T83" fmla="*/ 608 h 659"/>
                <a:gd name="T84" fmla="*/ 330 w 659"/>
                <a:gd name="T85" fmla="*/ 621 h 659"/>
                <a:gd name="T86" fmla="*/ 389 w 659"/>
                <a:gd name="T87" fmla="*/ 616 h 659"/>
                <a:gd name="T88" fmla="*/ 468 w 659"/>
                <a:gd name="T89" fmla="*/ 586 h 659"/>
                <a:gd name="T90" fmla="*/ 535 w 659"/>
                <a:gd name="T91" fmla="*/ 535 h 659"/>
                <a:gd name="T92" fmla="*/ 586 w 659"/>
                <a:gd name="T93" fmla="*/ 468 h 659"/>
                <a:gd name="T94" fmla="*/ 616 w 659"/>
                <a:gd name="T95" fmla="*/ 389 h 659"/>
                <a:gd name="T96" fmla="*/ 621 w 659"/>
                <a:gd name="T97" fmla="*/ 330 h 659"/>
                <a:gd name="T98" fmla="*/ 608 w 659"/>
                <a:gd name="T99" fmla="*/ 244 h 659"/>
                <a:gd name="T100" fmla="*/ 571 w 659"/>
                <a:gd name="T101" fmla="*/ 167 h 659"/>
                <a:gd name="T102" fmla="*/ 515 w 659"/>
                <a:gd name="T103" fmla="*/ 105 h 659"/>
                <a:gd name="T104" fmla="*/ 444 w 659"/>
                <a:gd name="T105" fmla="*/ 62 h 659"/>
                <a:gd name="T106" fmla="*/ 359 w 659"/>
                <a:gd name="T107" fmla="*/ 41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9">
                  <a:moveTo>
                    <a:pt x="330" y="659"/>
                  </a:moveTo>
                  <a:lnTo>
                    <a:pt x="330" y="659"/>
                  </a:lnTo>
                  <a:lnTo>
                    <a:pt x="313" y="659"/>
                  </a:lnTo>
                  <a:lnTo>
                    <a:pt x="296" y="658"/>
                  </a:lnTo>
                  <a:lnTo>
                    <a:pt x="280" y="655"/>
                  </a:lnTo>
                  <a:lnTo>
                    <a:pt x="264" y="652"/>
                  </a:lnTo>
                  <a:lnTo>
                    <a:pt x="248" y="648"/>
                  </a:lnTo>
                  <a:lnTo>
                    <a:pt x="233" y="644"/>
                  </a:lnTo>
                  <a:lnTo>
                    <a:pt x="202" y="634"/>
                  </a:lnTo>
                  <a:lnTo>
                    <a:pt x="174" y="619"/>
                  </a:lnTo>
                  <a:lnTo>
                    <a:pt x="145" y="603"/>
                  </a:lnTo>
                  <a:lnTo>
                    <a:pt x="121" y="584"/>
                  </a:lnTo>
                  <a:lnTo>
                    <a:pt x="97" y="562"/>
                  </a:lnTo>
                  <a:lnTo>
                    <a:pt x="75" y="539"/>
                  </a:lnTo>
                  <a:lnTo>
                    <a:pt x="57" y="514"/>
                  </a:lnTo>
                  <a:lnTo>
                    <a:pt x="41" y="487"/>
                  </a:lnTo>
                  <a:lnTo>
                    <a:pt x="27" y="457"/>
                  </a:lnTo>
                  <a:lnTo>
                    <a:pt x="15" y="428"/>
                  </a:lnTo>
                  <a:lnTo>
                    <a:pt x="11" y="412"/>
                  </a:lnTo>
                  <a:lnTo>
                    <a:pt x="7" y="396"/>
                  </a:lnTo>
                  <a:lnTo>
                    <a:pt x="4" y="380"/>
                  </a:lnTo>
                  <a:lnTo>
                    <a:pt x="3" y="363"/>
                  </a:lnTo>
                  <a:lnTo>
                    <a:pt x="2" y="347"/>
                  </a:lnTo>
                  <a:lnTo>
                    <a:pt x="0" y="330"/>
                  </a:lnTo>
                  <a:lnTo>
                    <a:pt x="0" y="330"/>
                  </a:lnTo>
                  <a:lnTo>
                    <a:pt x="2" y="314"/>
                  </a:lnTo>
                  <a:lnTo>
                    <a:pt x="3" y="296"/>
                  </a:lnTo>
                  <a:lnTo>
                    <a:pt x="4" y="280"/>
                  </a:lnTo>
                  <a:lnTo>
                    <a:pt x="7" y="264"/>
                  </a:lnTo>
                  <a:lnTo>
                    <a:pt x="11" y="248"/>
                  </a:lnTo>
                  <a:lnTo>
                    <a:pt x="15" y="233"/>
                  </a:lnTo>
                  <a:lnTo>
                    <a:pt x="27" y="202"/>
                  </a:lnTo>
                  <a:lnTo>
                    <a:pt x="41" y="174"/>
                  </a:lnTo>
                  <a:lnTo>
                    <a:pt x="57" y="146"/>
                  </a:lnTo>
                  <a:lnTo>
                    <a:pt x="75" y="121"/>
                  </a:lnTo>
                  <a:lnTo>
                    <a:pt x="97" y="97"/>
                  </a:lnTo>
                  <a:lnTo>
                    <a:pt x="121" y="76"/>
                  </a:lnTo>
                  <a:lnTo>
                    <a:pt x="145" y="57"/>
                  </a:lnTo>
                  <a:lnTo>
                    <a:pt x="174" y="41"/>
                  </a:lnTo>
                  <a:lnTo>
                    <a:pt x="202" y="27"/>
                  </a:lnTo>
                  <a:lnTo>
                    <a:pt x="233" y="15"/>
                  </a:lnTo>
                  <a:lnTo>
                    <a:pt x="248" y="11"/>
                  </a:lnTo>
                  <a:lnTo>
                    <a:pt x="264" y="7"/>
                  </a:lnTo>
                  <a:lnTo>
                    <a:pt x="280" y="5"/>
                  </a:lnTo>
                  <a:lnTo>
                    <a:pt x="296" y="3"/>
                  </a:lnTo>
                  <a:lnTo>
                    <a:pt x="313" y="2"/>
                  </a:lnTo>
                  <a:lnTo>
                    <a:pt x="330" y="0"/>
                  </a:lnTo>
                  <a:lnTo>
                    <a:pt x="330" y="0"/>
                  </a:lnTo>
                  <a:lnTo>
                    <a:pt x="347" y="2"/>
                  </a:lnTo>
                  <a:lnTo>
                    <a:pt x="363" y="3"/>
                  </a:lnTo>
                  <a:lnTo>
                    <a:pt x="379" y="5"/>
                  </a:lnTo>
                  <a:lnTo>
                    <a:pt x="395" y="7"/>
                  </a:lnTo>
                  <a:lnTo>
                    <a:pt x="411" y="11"/>
                  </a:lnTo>
                  <a:lnTo>
                    <a:pt x="428" y="15"/>
                  </a:lnTo>
                  <a:lnTo>
                    <a:pt x="457" y="27"/>
                  </a:lnTo>
                  <a:lnTo>
                    <a:pt x="487" y="41"/>
                  </a:lnTo>
                  <a:lnTo>
                    <a:pt x="514" y="57"/>
                  </a:lnTo>
                  <a:lnTo>
                    <a:pt x="539" y="76"/>
                  </a:lnTo>
                  <a:lnTo>
                    <a:pt x="562" y="97"/>
                  </a:lnTo>
                  <a:lnTo>
                    <a:pt x="584" y="121"/>
                  </a:lnTo>
                  <a:lnTo>
                    <a:pt x="602" y="146"/>
                  </a:lnTo>
                  <a:lnTo>
                    <a:pt x="618" y="174"/>
                  </a:lnTo>
                  <a:lnTo>
                    <a:pt x="633" y="202"/>
                  </a:lnTo>
                  <a:lnTo>
                    <a:pt x="644" y="233"/>
                  </a:lnTo>
                  <a:lnTo>
                    <a:pt x="648" y="248"/>
                  </a:lnTo>
                  <a:lnTo>
                    <a:pt x="652" y="264"/>
                  </a:lnTo>
                  <a:lnTo>
                    <a:pt x="655" y="280"/>
                  </a:lnTo>
                  <a:lnTo>
                    <a:pt x="657" y="296"/>
                  </a:lnTo>
                  <a:lnTo>
                    <a:pt x="659" y="314"/>
                  </a:lnTo>
                  <a:lnTo>
                    <a:pt x="659" y="330"/>
                  </a:lnTo>
                  <a:lnTo>
                    <a:pt x="659" y="330"/>
                  </a:lnTo>
                  <a:lnTo>
                    <a:pt x="659" y="347"/>
                  </a:lnTo>
                  <a:lnTo>
                    <a:pt x="657" y="363"/>
                  </a:lnTo>
                  <a:lnTo>
                    <a:pt x="655" y="380"/>
                  </a:lnTo>
                  <a:lnTo>
                    <a:pt x="652" y="396"/>
                  </a:lnTo>
                  <a:lnTo>
                    <a:pt x="648" y="412"/>
                  </a:lnTo>
                  <a:lnTo>
                    <a:pt x="644" y="428"/>
                  </a:lnTo>
                  <a:lnTo>
                    <a:pt x="633" y="457"/>
                  </a:lnTo>
                  <a:lnTo>
                    <a:pt x="618" y="487"/>
                  </a:lnTo>
                  <a:lnTo>
                    <a:pt x="602" y="514"/>
                  </a:lnTo>
                  <a:lnTo>
                    <a:pt x="584" y="539"/>
                  </a:lnTo>
                  <a:lnTo>
                    <a:pt x="562" y="562"/>
                  </a:lnTo>
                  <a:lnTo>
                    <a:pt x="539" y="584"/>
                  </a:lnTo>
                  <a:lnTo>
                    <a:pt x="514" y="603"/>
                  </a:lnTo>
                  <a:lnTo>
                    <a:pt x="487" y="619"/>
                  </a:lnTo>
                  <a:lnTo>
                    <a:pt x="457" y="634"/>
                  </a:lnTo>
                  <a:lnTo>
                    <a:pt x="428" y="644"/>
                  </a:lnTo>
                  <a:lnTo>
                    <a:pt x="411" y="648"/>
                  </a:lnTo>
                  <a:lnTo>
                    <a:pt x="395" y="652"/>
                  </a:lnTo>
                  <a:lnTo>
                    <a:pt x="379" y="655"/>
                  </a:lnTo>
                  <a:lnTo>
                    <a:pt x="363" y="658"/>
                  </a:lnTo>
                  <a:lnTo>
                    <a:pt x="347" y="659"/>
                  </a:lnTo>
                  <a:lnTo>
                    <a:pt x="330" y="659"/>
                  </a:lnTo>
                  <a:lnTo>
                    <a:pt x="330" y="659"/>
                  </a:lnTo>
                  <a:close/>
                  <a:moveTo>
                    <a:pt x="330" y="38"/>
                  </a:moveTo>
                  <a:lnTo>
                    <a:pt x="330" y="38"/>
                  </a:lnTo>
                  <a:lnTo>
                    <a:pt x="300" y="41"/>
                  </a:lnTo>
                  <a:lnTo>
                    <a:pt x="272" y="45"/>
                  </a:lnTo>
                  <a:lnTo>
                    <a:pt x="243" y="52"/>
                  </a:lnTo>
                  <a:lnTo>
                    <a:pt x="217" y="62"/>
                  </a:lnTo>
                  <a:lnTo>
                    <a:pt x="191" y="74"/>
                  </a:lnTo>
                  <a:lnTo>
                    <a:pt x="167" y="89"/>
                  </a:lnTo>
                  <a:lnTo>
                    <a:pt x="144" y="105"/>
                  </a:lnTo>
                  <a:lnTo>
                    <a:pt x="124" y="124"/>
                  </a:lnTo>
                  <a:lnTo>
                    <a:pt x="105" y="144"/>
                  </a:lnTo>
                  <a:lnTo>
                    <a:pt x="89" y="167"/>
                  </a:lnTo>
                  <a:lnTo>
                    <a:pt x="74" y="191"/>
                  </a:lnTo>
                  <a:lnTo>
                    <a:pt x="62" y="217"/>
                  </a:lnTo>
                  <a:lnTo>
                    <a:pt x="51" y="244"/>
                  </a:lnTo>
                  <a:lnTo>
                    <a:pt x="45" y="272"/>
                  </a:lnTo>
                  <a:lnTo>
                    <a:pt x="41" y="300"/>
                  </a:lnTo>
                  <a:lnTo>
                    <a:pt x="38" y="330"/>
                  </a:lnTo>
                  <a:lnTo>
                    <a:pt x="38" y="330"/>
                  </a:lnTo>
                  <a:lnTo>
                    <a:pt x="41" y="359"/>
                  </a:lnTo>
                  <a:lnTo>
                    <a:pt x="45" y="389"/>
                  </a:lnTo>
                  <a:lnTo>
                    <a:pt x="51" y="417"/>
                  </a:lnTo>
                  <a:lnTo>
                    <a:pt x="62" y="443"/>
                  </a:lnTo>
                  <a:lnTo>
                    <a:pt x="74" y="468"/>
                  </a:lnTo>
                  <a:lnTo>
                    <a:pt x="89" y="492"/>
                  </a:lnTo>
                  <a:lnTo>
                    <a:pt x="105" y="515"/>
                  </a:lnTo>
                  <a:lnTo>
                    <a:pt x="124" y="535"/>
                  </a:lnTo>
                  <a:lnTo>
                    <a:pt x="144" y="554"/>
                  </a:lnTo>
                  <a:lnTo>
                    <a:pt x="167" y="572"/>
                  </a:lnTo>
                  <a:lnTo>
                    <a:pt x="191" y="586"/>
                  </a:lnTo>
                  <a:lnTo>
                    <a:pt x="217" y="599"/>
                  </a:lnTo>
                  <a:lnTo>
                    <a:pt x="243" y="608"/>
                  </a:lnTo>
                  <a:lnTo>
                    <a:pt x="272" y="616"/>
                  </a:lnTo>
                  <a:lnTo>
                    <a:pt x="300" y="620"/>
                  </a:lnTo>
                  <a:lnTo>
                    <a:pt x="330" y="621"/>
                  </a:lnTo>
                  <a:lnTo>
                    <a:pt x="330" y="621"/>
                  </a:lnTo>
                  <a:lnTo>
                    <a:pt x="359" y="620"/>
                  </a:lnTo>
                  <a:lnTo>
                    <a:pt x="389" y="616"/>
                  </a:lnTo>
                  <a:lnTo>
                    <a:pt x="417" y="608"/>
                  </a:lnTo>
                  <a:lnTo>
                    <a:pt x="444" y="599"/>
                  </a:lnTo>
                  <a:lnTo>
                    <a:pt x="468" y="586"/>
                  </a:lnTo>
                  <a:lnTo>
                    <a:pt x="492" y="572"/>
                  </a:lnTo>
                  <a:lnTo>
                    <a:pt x="515" y="554"/>
                  </a:lnTo>
                  <a:lnTo>
                    <a:pt x="535" y="535"/>
                  </a:lnTo>
                  <a:lnTo>
                    <a:pt x="554" y="515"/>
                  </a:lnTo>
                  <a:lnTo>
                    <a:pt x="571" y="492"/>
                  </a:lnTo>
                  <a:lnTo>
                    <a:pt x="586" y="468"/>
                  </a:lnTo>
                  <a:lnTo>
                    <a:pt x="598" y="443"/>
                  </a:lnTo>
                  <a:lnTo>
                    <a:pt x="608" y="417"/>
                  </a:lnTo>
                  <a:lnTo>
                    <a:pt x="616" y="389"/>
                  </a:lnTo>
                  <a:lnTo>
                    <a:pt x="620" y="359"/>
                  </a:lnTo>
                  <a:lnTo>
                    <a:pt x="621" y="330"/>
                  </a:lnTo>
                  <a:lnTo>
                    <a:pt x="621" y="330"/>
                  </a:lnTo>
                  <a:lnTo>
                    <a:pt x="620" y="300"/>
                  </a:lnTo>
                  <a:lnTo>
                    <a:pt x="616" y="272"/>
                  </a:lnTo>
                  <a:lnTo>
                    <a:pt x="608" y="244"/>
                  </a:lnTo>
                  <a:lnTo>
                    <a:pt x="598" y="217"/>
                  </a:lnTo>
                  <a:lnTo>
                    <a:pt x="586" y="191"/>
                  </a:lnTo>
                  <a:lnTo>
                    <a:pt x="571" y="167"/>
                  </a:lnTo>
                  <a:lnTo>
                    <a:pt x="554" y="144"/>
                  </a:lnTo>
                  <a:lnTo>
                    <a:pt x="535" y="124"/>
                  </a:lnTo>
                  <a:lnTo>
                    <a:pt x="515" y="105"/>
                  </a:lnTo>
                  <a:lnTo>
                    <a:pt x="492" y="89"/>
                  </a:lnTo>
                  <a:lnTo>
                    <a:pt x="468" y="74"/>
                  </a:lnTo>
                  <a:lnTo>
                    <a:pt x="444" y="62"/>
                  </a:lnTo>
                  <a:lnTo>
                    <a:pt x="417" y="52"/>
                  </a:lnTo>
                  <a:lnTo>
                    <a:pt x="389" y="45"/>
                  </a:lnTo>
                  <a:lnTo>
                    <a:pt x="359" y="41"/>
                  </a:lnTo>
                  <a:lnTo>
                    <a:pt x="330" y="38"/>
                  </a:lnTo>
                  <a:lnTo>
                    <a:pt x="330"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17" name="Freeform 118">
              <a:extLst>
                <a:ext uri="{FF2B5EF4-FFF2-40B4-BE49-F238E27FC236}">
                  <a16:creationId xmlns:a16="http://schemas.microsoft.com/office/drawing/2014/main" id="{A51C558D-5AB0-4F6A-8D6D-3F484B945F6C}"/>
                </a:ext>
              </a:extLst>
            </p:cNvPr>
            <p:cNvSpPr>
              <a:spLocks/>
            </p:cNvSpPr>
            <p:nvPr/>
          </p:nvSpPr>
          <p:spPr bwMode="auto">
            <a:xfrm>
              <a:off x="2454276" y="1826260"/>
              <a:ext cx="255588" cy="179388"/>
            </a:xfrm>
            <a:custGeom>
              <a:avLst/>
              <a:gdLst>
                <a:gd name="T0" fmla="*/ 320 w 322"/>
                <a:gd name="T1" fmla="*/ 105 h 224"/>
                <a:gd name="T2" fmla="*/ 215 w 322"/>
                <a:gd name="T3" fmla="*/ 0 h 224"/>
                <a:gd name="T4" fmla="*/ 200 w 322"/>
                <a:gd name="T5" fmla="*/ 15 h 224"/>
                <a:gd name="T6" fmla="*/ 286 w 322"/>
                <a:gd name="T7" fmla="*/ 101 h 224"/>
                <a:gd name="T8" fmla="*/ 0 w 322"/>
                <a:gd name="T9" fmla="*/ 101 h 224"/>
                <a:gd name="T10" fmla="*/ 0 w 322"/>
                <a:gd name="T11" fmla="*/ 122 h 224"/>
                <a:gd name="T12" fmla="*/ 286 w 322"/>
                <a:gd name="T13" fmla="*/ 122 h 224"/>
                <a:gd name="T14" fmla="*/ 200 w 322"/>
                <a:gd name="T15" fmla="*/ 208 h 224"/>
                <a:gd name="T16" fmla="*/ 215 w 322"/>
                <a:gd name="T17" fmla="*/ 224 h 224"/>
                <a:gd name="T18" fmla="*/ 320 w 322"/>
                <a:gd name="T19" fmla="*/ 119 h 224"/>
                <a:gd name="T20" fmla="*/ 320 w 322"/>
                <a:gd name="T21" fmla="*/ 119 h 224"/>
                <a:gd name="T22" fmla="*/ 321 w 322"/>
                <a:gd name="T23" fmla="*/ 115 h 224"/>
                <a:gd name="T24" fmla="*/ 322 w 322"/>
                <a:gd name="T25" fmla="*/ 111 h 224"/>
                <a:gd name="T26" fmla="*/ 322 w 322"/>
                <a:gd name="T27" fmla="*/ 111 h 224"/>
                <a:gd name="T28" fmla="*/ 321 w 322"/>
                <a:gd name="T29" fmla="*/ 107 h 224"/>
                <a:gd name="T30" fmla="*/ 320 w 322"/>
                <a:gd name="T31" fmla="*/ 105 h 224"/>
                <a:gd name="T32" fmla="*/ 320 w 322"/>
                <a:gd name="T33" fmla="*/ 105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2" h="224">
                  <a:moveTo>
                    <a:pt x="320" y="105"/>
                  </a:moveTo>
                  <a:lnTo>
                    <a:pt x="215" y="0"/>
                  </a:lnTo>
                  <a:lnTo>
                    <a:pt x="200" y="15"/>
                  </a:lnTo>
                  <a:lnTo>
                    <a:pt x="286" y="101"/>
                  </a:lnTo>
                  <a:lnTo>
                    <a:pt x="0" y="101"/>
                  </a:lnTo>
                  <a:lnTo>
                    <a:pt x="0" y="122"/>
                  </a:lnTo>
                  <a:lnTo>
                    <a:pt x="286" y="122"/>
                  </a:lnTo>
                  <a:lnTo>
                    <a:pt x="200" y="208"/>
                  </a:lnTo>
                  <a:lnTo>
                    <a:pt x="215" y="224"/>
                  </a:lnTo>
                  <a:lnTo>
                    <a:pt x="320" y="119"/>
                  </a:lnTo>
                  <a:lnTo>
                    <a:pt x="320" y="119"/>
                  </a:lnTo>
                  <a:lnTo>
                    <a:pt x="321" y="115"/>
                  </a:lnTo>
                  <a:lnTo>
                    <a:pt x="322" y="111"/>
                  </a:lnTo>
                  <a:lnTo>
                    <a:pt x="322" y="111"/>
                  </a:lnTo>
                  <a:lnTo>
                    <a:pt x="321" y="107"/>
                  </a:lnTo>
                  <a:lnTo>
                    <a:pt x="320" y="105"/>
                  </a:lnTo>
                  <a:lnTo>
                    <a:pt x="320" y="10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18" name="Freeform 119">
              <a:extLst>
                <a:ext uri="{FF2B5EF4-FFF2-40B4-BE49-F238E27FC236}">
                  <a16:creationId xmlns:a16="http://schemas.microsoft.com/office/drawing/2014/main" id="{A49489EF-F4BE-4E2C-A6FA-F798FB4F16E9}"/>
                </a:ext>
              </a:extLst>
            </p:cNvPr>
            <p:cNvSpPr>
              <a:spLocks/>
            </p:cNvSpPr>
            <p:nvPr/>
          </p:nvSpPr>
          <p:spPr bwMode="auto">
            <a:xfrm>
              <a:off x="2471738" y="1970723"/>
              <a:ext cx="109538" cy="82550"/>
            </a:xfrm>
            <a:custGeom>
              <a:avLst/>
              <a:gdLst>
                <a:gd name="T0" fmla="*/ 92 w 140"/>
                <a:gd name="T1" fmla="*/ 0 h 104"/>
                <a:gd name="T2" fmla="*/ 78 w 140"/>
                <a:gd name="T3" fmla="*/ 15 h 104"/>
                <a:gd name="T4" fmla="*/ 106 w 140"/>
                <a:gd name="T5" fmla="*/ 42 h 104"/>
                <a:gd name="T6" fmla="*/ 0 w 140"/>
                <a:gd name="T7" fmla="*/ 42 h 104"/>
                <a:gd name="T8" fmla="*/ 0 w 140"/>
                <a:gd name="T9" fmla="*/ 62 h 104"/>
                <a:gd name="T10" fmla="*/ 106 w 140"/>
                <a:gd name="T11" fmla="*/ 62 h 104"/>
                <a:gd name="T12" fmla="*/ 78 w 140"/>
                <a:gd name="T13" fmla="*/ 90 h 104"/>
                <a:gd name="T14" fmla="*/ 92 w 140"/>
                <a:gd name="T15" fmla="*/ 104 h 104"/>
                <a:gd name="T16" fmla="*/ 136 w 140"/>
                <a:gd name="T17" fmla="*/ 59 h 104"/>
                <a:gd name="T18" fmla="*/ 136 w 140"/>
                <a:gd name="T19" fmla="*/ 59 h 104"/>
                <a:gd name="T20" fmla="*/ 139 w 140"/>
                <a:gd name="T21" fmla="*/ 55 h 104"/>
                <a:gd name="T22" fmla="*/ 140 w 140"/>
                <a:gd name="T23" fmla="*/ 53 h 104"/>
                <a:gd name="T24" fmla="*/ 140 w 140"/>
                <a:gd name="T25" fmla="*/ 53 h 104"/>
                <a:gd name="T26" fmla="*/ 139 w 140"/>
                <a:gd name="T27" fmla="*/ 50 h 104"/>
                <a:gd name="T28" fmla="*/ 136 w 140"/>
                <a:gd name="T29" fmla="*/ 45 h 104"/>
                <a:gd name="T30" fmla="*/ 92 w 140"/>
                <a:gd name="T31"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0" h="104">
                  <a:moveTo>
                    <a:pt x="92" y="0"/>
                  </a:moveTo>
                  <a:lnTo>
                    <a:pt x="78" y="15"/>
                  </a:lnTo>
                  <a:lnTo>
                    <a:pt x="106" y="42"/>
                  </a:lnTo>
                  <a:lnTo>
                    <a:pt x="0" y="42"/>
                  </a:lnTo>
                  <a:lnTo>
                    <a:pt x="0" y="62"/>
                  </a:lnTo>
                  <a:lnTo>
                    <a:pt x="106" y="62"/>
                  </a:lnTo>
                  <a:lnTo>
                    <a:pt x="78" y="90"/>
                  </a:lnTo>
                  <a:lnTo>
                    <a:pt x="92" y="104"/>
                  </a:lnTo>
                  <a:lnTo>
                    <a:pt x="136" y="59"/>
                  </a:lnTo>
                  <a:lnTo>
                    <a:pt x="136" y="59"/>
                  </a:lnTo>
                  <a:lnTo>
                    <a:pt x="139" y="55"/>
                  </a:lnTo>
                  <a:lnTo>
                    <a:pt x="140" y="53"/>
                  </a:lnTo>
                  <a:lnTo>
                    <a:pt x="140" y="53"/>
                  </a:lnTo>
                  <a:lnTo>
                    <a:pt x="139" y="50"/>
                  </a:lnTo>
                  <a:lnTo>
                    <a:pt x="136" y="45"/>
                  </a:lnTo>
                  <a:lnTo>
                    <a:pt x="9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119" name="Group 118">
            <a:extLst>
              <a:ext uri="{FF2B5EF4-FFF2-40B4-BE49-F238E27FC236}">
                <a16:creationId xmlns:a16="http://schemas.microsoft.com/office/drawing/2014/main" id="{EAB5D6FE-98B4-42C3-8131-0A20C5A75834}"/>
              </a:ext>
            </a:extLst>
          </p:cNvPr>
          <p:cNvGrpSpPr/>
          <p:nvPr/>
        </p:nvGrpSpPr>
        <p:grpSpPr>
          <a:xfrm>
            <a:off x="4979767" y="3941658"/>
            <a:ext cx="322629" cy="320040"/>
            <a:chOff x="3090704" y="4956472"/>
            <a:chExt cx="322629" cy="320040"/>
          </a:xfrm>
        </p:grpSpPr>
        <p:sp>
          <p:nvSpPr>
            <p:cNvPr id="120" name="Oval 119">
              <a:extLst>
                <a:ext uri="{FF2B5EF4-FFF2-40B4-BE49-F238E27FC236}">
                  <a16:creationId xmlns:a16="http://schemas.microsoft.com/office/drawing/2014/main" id="{2D2D080E-030C-4297-BAE5-399BE8BC5F6E}"/>
                </a:ext>
              </a:extLst>
            </p:cNvPr>
            <p:cNvSpPr/>
            <p:nvPr/>
          </p:nvSpPr>
          <p:spPr>
            <a:xfrm>
              <a:off x="3123073" y="4975065"/>
              <a:ext cx="290260" cy="2902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grpSp>
          <p:nvGrpSpPr>
            <p:cNvPr id="121" name="Group 120">
              <a:extLst>
                <a:ext uri="{FF2B5EF4-FFF2-40B4-BE49-F238E27FC236}">
                  <a16:creationId xmlns:a16="http://schemas.microsoft.com/office/drawing/2014/main" id="{9A441E5C-6080-456F-88D1-695C4298E359}"/>
                </a:ext>
              </a:extLst>
            </p:cNvPr>
            <p:cNvGrpSpPr>
              <a:grpSpLocks noChangeAspect="1"/>
            </p:cNvGrpSpPr>
            <p:nvPr/>
          </p:nvGrpSpPr>
          <p:grpSpPr>
            <a:xfrm>
              <a:off x="3090704" y="4956472"/>
              <a:ext cx="319070" cy="320040"/>
              <a:chOff x="6715126" y="824548"/>
              <a:chExt cx="522288" cy="523875"/>
            </a:xfrm>
          </p:grpSpPr>
          <p:sp>
            <p:nvSpPr>
              <p:cNvPr id="122" name="Freeform 13">
                <a:extLst>
                  <a:ext uri="{FF2B5EF4-FFF2-40B4-BE49-F238E27FC236}">
                    <a16:creationId xmlns:a16="http://schemas.microsoft.com/office/drawing/2014/main" id="{113887A5-7724-4C1E-A7B5-62207B881BB5}"/>
                  </a:ext>
                </a:extLst>
              </p:cNvPr>
              <p:cNvSpPr>
                <a:spLocks noEditPoints="1"/>
              </p:cNvSpPr>
              <p:nvPr/>
            </p:nvSpPr>
            <p:spPr bwMode="auto">
              <a:xfrm>
                <a:off x="6715126" y="824548"/>
                <a:ext cx="522288" cy="523875"/>
              </a:xfrm>
              <a:custGeom>
                <a:avLst/>
                <a:gdLst>
                  <a:gd name="T0" fmla="*/ 311 w 658"/>
                  <a:gd name="T1" fmla="*/ 658 h 658"/>
                  <a:gd name="T2" fmla="*/ 262 w 658"/>
                  <a:gd name="T3" fmla="*/ 652 h 658"/>
                  <a:gd name="T4" fmla="*/ 201 w 658"/>
                  <a:gd name="T5" fmla="*/ 633 h 658"/>
                  <a:gd name="T6" fmla="*/ 119 w 658"/>
                  <a:gd name="T7" fmla="*/ 583 h 658"/>
                  <a:gd name="T8" fmla="*/ 56 w 658"/>
                  <a:gd name="T9" fmla="*/ 513 h 658"/>
                  <a:gd name="T10" fmla="*/ 14 w 658"/>
                  <a:gd name="T11" fmla="*/ 427 h 658"/>
                  <a:gd name="T12" fmla="*/ 4 w 658"/>
                  <a:gd name="T13" fmla="*/ 379 h 658"/>
                  <a:gd name="T14" fmla="*/ 0 w 658"/>
                  <a:gd name="T15" fmla="*/ 329 h 658"/>
                  <a:gd name="T16" fmla="*/ 1 w 658"/>
                  <a:gd name="T17" fmla="*/ 295 h 658"/>
                  <a:gd name="T18" fmla="*/ 10 w 658"/>
                  <a:gd name="T19" fmla="*/ 247 h 658"/>
                  <a:gd name="T20" fmla="*/ 40 w 658"/>
                  <a:gd name="T21" fmla="*/ 173 h 658"/>
                  <a:gd name="T22" fmla="*/ 96 w 658"/>
                  <a:gd name="T23" fmla="*/ 96 h 658"/>
                  <a:gd name="T24" fmla="*/ 172 w 658"/>
                  <a:gd name="T25" fmla="*/ 40 h 658"/>
                  <a:gd name="T26" fmla="*/ 247 w 658"/>
                  <a:gd name="T27" fmla="*/ 10 h 658"/>
                  <a:gd name="T28" fmla="*/ 295 w 658"/>
                  <a:gd name="T29" fmla="*/ 2 h 658"/>
                  <a:gd name="T30" fmla="*/ 329 w 658"/>
                  <a:gd name="T31" fmla="*/ 0 h 658"/>
                  <a:gd name="T32" fmla="*/ 379 w 658"/>
                  <a:gd name="T33" fmla="*/ 4 h 658"/>
                  <a:gd name="T34" fmla="*/ 426 w 658"/>
                  <a:gd name="T35" fmla="*/ 16 h 658"/>
                  <a:gd name="T36" fmla="*/ 513 w 658"/>
                  <a:gd name="T37" fmla="*/ 56 h 658"/>
                  <a:gd name="T38" fmla="*/ 583 w 658"/>
                  <a:gd name="T39" fmla="*/ 121 h 658"/>
                  <a:gd name="T40" fmla="*/ 631 w 658"/>
                  <a:gd name="T41" fmla="*/ 201 h 658"/>
                  <a:gd name="T42" fmla="*/ 651 w 658"/>
                  <a:gd name="T43" fmla="*/ 263 h 658"/>
                  <a:gd name="T44" fmla="*/ 657 w 658"/>
                  <a:gd name="T45" fmla="*/ 313 h 658"/>
                  <a:gd name="T46" fmla="*/ 657 w 658"/>
                  <a:gd name="T47" fmla="*/ 346 h 658"/>
                  <a:gd name="T48" fmla="*/ 651 w 658"/>
                  <a:gd name="T49" fmla="*/ 396 h 658"/>
                  <a:gd name="T50" fmla="*/ 631 w 658"/>
                  <a:gd name="T51" fmla="*/ 457 h 658"/>
                  <a:gd name="T52" fmla="*/ 583 w 658"/>
                  <a:gd name="T53" fmla="*/ 539 h 658"/>
                  <a:gd name="T54" fmla="*/ 513 w 658"/>
                  <a:gd name="T55" fmla="*/ 602 h 658"/>
                  <a:gd name="T56" fmla="*/ 426 w 658"/>
                  <a:gd name="T57" fmla="*/ 644 h 658"/>
                  <a:gd name="T58" fmla="*/ 379 w 658"/>
                  <a:gd name="T59" fmla="*/ 654 h 658"/>
                  <a:gd name="T60" fmla="*/ 329 w 658"/>
                  <a:gd name="T61" fmla="*/ 658 h 658"/>
                  <a:gd name="T62" fmla="*/ 329 w 658"/>
                  <a:gd name="T63" fmla="*/ 37 h 658"/>
                  <a:gd name="T64" fmla="*/ 241 w 658"/>
                  <a:gd name="T65" fmla="*/ 51 h 658"/>
                  <a:gd name="T66" fmla="*/ 166 w 658"/>
                  <a:gd name="T67" fmla="*/ 88 h 658"/>
                  <a:gd name="T68" fmla="*/ 104 w 658"/>
                  <a:gd name="T69" fmla="*/ 144 h 658"/>
                  <a:gd name="T70" fmla="*/ 60 w 658"/>
                  <a:gd name="T71" fmla="*/ 216 h 658"/>
                  <a:gd name="T72" fmla="*/ 38 w 658"/>
                  <a:gd name="T73" fmla="*/ 299 h 658"/>
                  <a:gd name="T74" fmla="*/ 38 w 658"/>
                  <a:gd name="T75" fmla="*/ 359 h 658"/>
                  <a:gd name="T76" fmla="*/ 60 w 658"/>
                  <a:gd name="T77" fmla="*/ 443 h 658"/>
                  <a:gd name="T78" fmla="*/ 104 w 658"/>
                  <a:gd name="T79" fmla="*/ 514 h 658"/>
                  <a:gd name="T80" fmla="*/ 166 w 658"/>
                  <a:gd name="T81" fmla="*/ 571 h 658"/>
                  <a:gd name="T82" fmla="*/ 241 w 658"/>
                  <a:gd name="T83" fmla="*/ 607 h 658"/>
                  <a:gd name="T84" fmla="*/ 329 w 658"/>
                  <a:gd name="T85" fmla="*/ 621 h 658"/>
                  <a:gd name="T86" fmla="*/ 387 w 658"/>
                  <a:gd name="T87" fmla="*/ 615 h 658"/>
                  <a:gd name="T88" fmla="*/ 467 w 658"/>
                  <a:gd name="T89" fmla="*/ 586 h 658"/>
                  <a:gd name="T90" fmla="*/ 534 w 658"/>
                  <a:gd name="T91" fmla="*/ 535 h 658"/>
                  <a:gd name="T92" fmla="*/ 584 w 658"/>
                  <a:gd name="T93" fmla="*/ 467 h 658"/>
                  <a:gd name="T94" fmla="*/ 614 w 658"/>
                  <a:gd name="T95" fmla="*/ 388 h 658"/>
                  <a:gd name="T96" fmla="*/ 620 w 658"/>
                  <a:gd name="T97" fmla="*/ 329 h 658"/>
                  <a:gd name="T98" fmla="*/ 607 w 658"/>
                  <a:gd name="T99" fmla="*/ 243 h 658"/>
                  <a:gd name="T100" fmla="*/ 569 w 658"/>
                  <a:gd name="T101" fmla="*/ 166 h 658"/>
                  <a:gd name="T102" fmla="*/ 514 w 658"/>
                  <a:gd name="T103" fmla="*/ 105 h 658"/>
                  <a:gd name="T104" fmla="*/ 442 w 658"/>
                  <a:gd name="T105" fmla="*/ 62 h 658"/>
                  <a:gd name="T106" fmla="*/ 358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1" y="658"/>
                    </a:lnTo>
                    <a:lnTo>
                      <a:pt x="295" y="657"/>
                    </a:lnTo>
                    <a:lnTo>
                      <a:pt x="279" y="654"/>
                    </a:lnTo>
                    <a:lnTo>
                      <a:pt x="262" y="652"/>
                    </a:lnTo>
                    <a:lnTo>
                      <a:pt x="247" y="648"/>
                    </a:lnTo>
                    <a:lnTo>
                      <a:pt x="231" y="644"/>
                    </a:lnTo>
                    <a:lnTo>
                      <a:pt x="201" y="633"/>
                    </a:lnTo>
                    <a:lnTo>
                      <a:pt x="172" y="618"/>
                    </a:lnTo>
                    <a:lnTo>
                      <a:pt x="145" y="602"/>
                    </a:lnTo>
                    <a:lnTo>
                      <a:pt x="119" y="583"/>
                    </a:lnTo>
                    <a:lnTo>
                      <a:pt x="96" y="562"/>
                    </a:lnTo>
                    <a:lnTo>
                      <a:pt x="75" y="539"/>
                    </a:lnTo>
                    <a:lnTo>
                      <a:pt x="56" y="513"/>
                    </a:lnTo>
                    <a:lnTo>
                      <a:pt x="40" y="486"/>
                    </a:lnTo>
                    <a:lnTo>
                      <a:pt x="25" y="457"/>
                    </a:lnTo>
                    <a:lnTo>
                      <a:pt x="14" y="427"/>
                    </a:lnTo>
                    <a:lnTo>
                      <a:pt x="10" y="411"/>
                    </a:lnTo>
                    <a:lnTo>
                      <a:pt x="6" y="396"/>
                    </a:lnTo>
                    <a:lnTo>
                      <a:pt x="4" y="379"/>
                    </a:lnTo>
                    <a:lnTo>
                      <a:pt x="1" y="363"/>
                    </a:lnTo>
                    <a:lnTo>
                      <a:pt x="0" y="346"/>
                    </a:lnTo>
                    <a:lnTo>
                      <a:pt x="0" y="329"/>
                    </a:lnTo>
                    <a:lnTo>
                      <a:pt x="0" y="329"/>
                    </a:lnTo>
                    <a:lnTo>
                      <a:pt x="0" y="313"/>
                    </a:lnTo>
                    <a:lnTo>
                      <a:pt x="1" y="295"/>
                    </a:lnTo>
                    <a:lnTo>
                      <a:pt x="4" y="279"/>
                    </a:lnTo>
                    <a:lnTo>
                      <a:pt x="6" y="263"/>
                    </a:lnTo>
                    <a:lnTo>
                      <a:pt x="10" y="247"/>
                    </a:lnTo>
                    <a:lnTo>
                      <a:pt x="14" y="232"/>
                    </a:lnTo>
                    <a:lnTo>
                      <a:pt x="25" y="201"/>
                    </a:lnTo>
                    <a:lnTo>
                      <a:pt x="40" y="173"/>
                    </a:lnTo>
                    <a:lnTo>
                      <a:pt x="56" y="145"/>
                    </a:lnTo>
                    <a:lnTo>
                      <a:pt x="75" y="121"/>
                    </a:lnTo>
                    <a:lnTo>
                      <a:pt x="96" y="96"/>
                    </a:lnTo>
                    <a:lnTo>
                      <a:pt x="119" y="75"/>
                    </a:lnTo>
                    <a:lnTo>
                      <a:pt x="145" y="56"/>
                    </a:lnTo>
                    <a:lnTo>
                      <a:pt x="172" y="40"/>
                    </a:lnTo>
                    <a:lnTo>
                      <a:pt x="201" y="27"/>
                    </a:lnTo>
                    <a:lnTo>
                      <a:pt x="231" y="16"/>
                    </a:lnTo>
                    <a:lnTo>
                      <a:pt x="247" y="10"/>
                    </a:lnTo>
                    <a:lnTo>
                      <a:pt x="262" y="6"/>
                    </a:lnTo>
                    <a:lnTo>
                      <a:pt x="279" y="4"/>
                    </a:lnTo>
                    <a:lnTo>
                      <a:pt x="295" y="2"/>
                    </a:lnTo>
                    <a:lnTo>
                      <a:pt x="311" y="1"/>
                    </a:lnTo>
                    <a:lnTo>
                      <a:pt x="329" y="0"/>
                    </a:lnTo>
                    <a:lnTo>
                      <a:pt x="329" y="0"/>
                    </a:lnTo>
                    <a:lnTo>
                      <a:pt x="345" y="1"/>
                    </a:lnTo>
                    <a:lnTo>
                      <a:pt x="362" y="2"/>
                    </a:lnTo>
                    <a:lnTo>
                      <a:pt x="379" y="4"/>
                    </a:lnTo>
                    <a:lnTo>
                      <a:pt x="395" y="6"/>
                    </a:lnTo>
                    <a:lnTo>
                      <a:pt x="411" y="10"/>
                    </a:lnTo>
                    <a:lnTo>
                      <a:pt x="426" y="16"/>
                    </a:lnTo>
                    <a:lnTo>
                      <a:pt x="456" y="27"/>
                    </a:lnTo>
                    <a:lnTo>
                      <a:pt x="485" y="40"/>
                    </a:lnTo>
                    <a:lnTo>
                      <a:pt x="513" y="56"/>
                    </a:lnTo>
                    <a:lnTo>
                      <a:pt x="537" y="75"/>
                    </a:lnTo>
                    <a:lnTo>
                      <a:pt x="561" y="96"/>
                    </a:lnTo>
                    <a:lnTo>
                      <a:pt x="583" y="121"/>
                    </a:lnTo>
                    <a:lnTo>
                      <a:pt x="602" y="145"/>
                    </a:lnTo>
                    <a:lnTo>
                      <a:pt x="618" y="173"/>
                    </a:lnTo>
                    <a:lnTo>
                      <a:pt x="631" y="201"/>
                    </a:lnTo>
                    <a:lnTo>
                      <a:pt x="643" y="232"/>
                    </a:lnTo>
                    <a:lnTo>
                      <a:pt x="647" y="247"/>
                    </a:lnTo>
                    <a:lnTo>
                      <a:pt x="651" y="263"/>
                    </a:lnTo>
                    <a:lnTo>
                      <a:pt x="654" y="279"/>
                    </a:lnTo>
                    <a:lnTo>
                      <a:pt x="655" y="295"/>
                    </a:lnTo>
                    <a:lnTo>
                      <a:pt x="657" y="313"/>
                    </a:lnTo>
                    <a:lnTo>
                      <a:pt x="658" y="329"/>
                    </a:lnTo>
                    <a:lnTo>
                      <a:pt x="658" y="329"/>
                    </a:lnTo>
                    <a:lnTo>
                      <a:pt x="657" y="346"/>
                    </a:lnTo>
                    <a:lnTo>
                      <a:pt x="655" y="363"/>
                    </a:lnTo>
                    <a:lnTo>
                      <a:pt x="654" y="379"/>
                    </a:lnTo>
                    <a:lnTo>
                      <a:pt x="651" y="396"/>
                    </a:lnTo>
                    <a:lnTo>
                      <a:pt x="647" y="411"/>
                    </a:lnTo>
                    <a:lnTo>
                      <a:pt x="643" y="427"/>
                    </a:lnTo>
                    <a:lnTo>
                      <a:pt x="631" y="457"/>
                    </a:lnTo>
                    <a:lnTo>
                      <a:pt x="618" y="486"/>
                    </a:lnTo>
                    <a:lnTo>
                      <a:pt x="602" y="513"/>
                    </a:lnTo>
                    <a:lnTo>
                      <a:pt x="583" y="539"/>
                    </a:lnTo>
                    <a:lnTo>
                      <a:pt x="561" y="562"/>
                    </a:lnTo>
                    <a:lnTo>
                      <a:pt x="537" y="583"/>
                    </a:lnTo>
                    <a:lnTo>
                      <a:pt x="513" y="602"/>
                    </a:lnTo>
                    <a:lnTo>
                      <a:pt x="485" y="618"/>
                    </a:lnTo>
                    <a:lnTo>
                      <a:pt x="456" y="633"/>
                    </a:lnTo>
                    <a:lnTo>
                      <a:pt x="426" y="644"/>
                    </a:lnTo>
                    <a:lnTo>
                      <a:pt x="411" y="648"/>
                    </a:lnTo>
                    <a:lnTo>
                      <a:pt x="395" y="652"/>
                    </a:lnTo>
                    <a:lnTo>
                      <a:pt x="379" y="654"/>
                    </a:lnTo>
                    <a:lnTo>
                      <a:pt x="362" y="657"/>
                    </a:lnTo>
                    <a:lnTo>
                      <a:pt x="345" y="658"/>
                    </a:lnTo>
                    <a:lnTo>
                      <a:pt x="329" y="658"/>
                    </a:lnTo>
                    <a:lnTo>
                      <a:pt x="329" y="658"/>
                    </a:lnTo>
                    <a:close/>
                    <a:moveTo>
                      <a:pt x="329" y="37"/>
                    </a:moveTo>
                    <a:lnTo>
                      <a:pt x="329" y="37"/>
                    </a:lnTo>
                    <a:lnTo>
                      <a:pt x="299" y="40"/>
                    </a:lnTo>
                    <a:lnTo>
                      <a:pt x="270" y="44"/>
                    </a:lnTo>
                    <a:lnTo>
                      <a:pt x="241" y="51"/>
                    </a:lnTo>
                    <a:lnTo>
                      <a:pt x="215" y="62"/>
                    </a:lnTo>
                    <a:lnTo>
                      <a:pt x="190" y="74"/>
                    </a:lnTo>
                    <a:lnTo>
                      <a:pt x="166" y="88"/>
                    </a:lnTo>
                    <a:lnTo>
                      <a:pt x="143" y="105"/>
                    </a:lnTo>
                    <a:lnTo>
                      <a:pt x="123" y="123"/>
                    </a:lnTo>
                    <a:lnTo>
                      <a:pt x="104" y="144"/>
                    </a:lnTo>
                    <a:lnTo>
                      <a:pt x="87" y="166"/>
                    </a:lnTo>
                    <a:lnTo>
                      <a:pt x="72" y="191"/>
                    </a:lnTo>
                    <a:lnTo>
                      <a:pt x="60" y="216"/>
                    </a:lnTo>
                    <a:lnTo>
                      <a:pt x="51" y="243"/>
                    </a:lnTo>
                    <a:lnTo>
                      <a:pt x="43" y="271"/>
                    </a:lnTo>
                    <a:lnTo>
                      <a:pt x="38" y="299"/>
                    </a:lnTo>
                    <a:lnTo>
                      <a:pt x="37" y="329"/>
                    </a:lnTo>
                    <a:lnTo>
                      <a:pt x="37" y="329"/>
                    </a:lnTo>
                    <a:lnTo>
                      <a:pt x="38" y="359"/>
                    </a:lnTo>
                    <a:lnTo>
                      <a:pt x="43" y="388"/>
                    </a:lnTo>
                    <a:lnTo>
                      <a:pt x="51" y="416"/>
                    </a:lnTo>
                    <a:lnTo>
                      <a:pt x="60" y="443"/>
                    </a:lnTo>
                    <a:lnTo>
                      <a:pt x="72" y="467"/>
                    </a:lnTo>
                    <a:lnTo>
                      <a:pt x="87" y="492"/>
                    </a:lnTo>
                    <a:lnTo>
                      <a:pt x="104" y="514"/>
                    </a:lnTo>
                    <a:lnTo>
                      <a:pt x="123" y="535"/>
                    </a:lnTo>
                    <a:lnTo>
                      <a:pt x="143" y="553"/>
                    </a:lnTo>
                    <a:lnTo>
                      <a:pt x="166" y="571"/>
                    </a:lnTo>
                    <a:lnTo>
                      <a:pt x="190" y="586"/>
                    </a:lnTo>
                    <a:lnTo>
                      <a:pt x="215" y="598"/>
                    </a:lnTo>
                    <a:lnTo>
                      <a:pt x="241" y="607"/>
                    </a:lnTo>
                    <a:lnTo>
                      <a:pt x="270" y="615"/>
                    </a:lnTo>
                    <a:lnTo>
                      <a:pt x="299" y="619"/>
                    </a:lnTo>
                    <a:lnTo>
                      <a:pt x="329" y="621"/>
                    </a:lnTo>
                    <a:lnTo>
                      <a:pt x="329" y="621"/>
                    </a:lnTo>
                    <a:lnTo>
                      <a:pt x="358" y="619"/>
                    </a:lnTo>
                    <a:lnTo>
                      <a:pt x="387" y="615"/>
                    </a:lnTo>
                    <a:lnTo>
                      <a:pt x="415" y="607"/>
                    </a:lnTo>
                    <a:lnTo>
                      <a:pt x="442" y="598"/>
                    </a:lnTo>
                    <a:lnTo>
                      <a:pt x="467" y="586"/>
                    </a:lnTo>
                    <a:lnTo>
                      <a:pt x="491" y="571"/>
                    </a:lnTo>
                    <a:lnTo>
                      <a:pt x="514" y="553"/>
                    </a:lnTo>
                    <a:lnTo>
                      <a:pt x="534" y="535"/>
                    </a:lnTo>
                    <a:lnTo>
                      <a:pt x="553" y="514"/>
                    </a:lnTo>
                    <a:lnTo>
                      <a:pt x="569" y="492"/>
                    </a:lnTo>
                    <a:lnTo>
                      <a:pt x="584" y="467"/>
                    </a:lnTo>
                    <a:lnTo>
                      <a:pt x="596" y="443"/>
                    </a:lnTo>
                    <a:lnTo>
                      <a:pt x="607" y="416"/>
                    </a:lnTo>
                    <a:lnTo>
                      <a:pt x="614" y="388"/>
                    </a:lnTo>
                    <a:lnTo>
                      <a:pt x="618" y="359"/>
                    </a:lnTo>
                    <a:lnTo>
                      <a:pt x="620" y="329"/>
                    </a:lnTo>
                    <a:lnTo>
                      <a:pt x="620" y="329"/>
                    </a:lnTo>
                    <a:lnTo>
                      <a:pt x="618" y="299"/>
                    </a:lnTo>
                    <a:lnTo>
                      <a:pt x="614" y="271"/>
                    </a:lnTo>
                    <a:lnTo>
                      <a:pt x="607" y="243"/>
                    </a:lnTo>
                    <a:lnTo>
                      <a:pt x="596" y="216"/>
                    </a:lnTo>
                    <a:lnTo>
                      <a:pt x="584" y="191"/>
                    </a:lnTo>
                    <a:lnTo>
                      <a:pt x="569" y="166"/>
                    </a:lnTo>
                    <a:lnTo>
                      <a:pt x="553" y="144"/>
                    </a:lnTo>
                    <a:lnTo>
                      <a:pt x="534" y="123"/>
                    </a:lnTo>
                    <a:lnTo>
                      <a:pt x="514" y="105"/>
                    </a:lnTo>
                    <a:lnTo>
                      <a:pt x="491" y="88"/>
                    </a:lnTo>
                    <a:lnTo>
                      <a:pt x="467" y="74"/>
                    </a:lnTo>
                    <a:lnTo>
                      <a:pt x="442" y="62"/>
                    </a:lnTo>
                    <a:lnTo>
                      <a:pt x="415" y="51"/>
                    </a:lnTo>
                    <a:lnTo>
                      <a:pt x="387" y="44"/>
                    </a:lnTo>
                    <a:lnTo>
                      <a:pt x="358" y="40"/>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23" name="Freeform 116">
                <a:extLst>
                  <a:ext uri="{FF2B5EF4-FFF2-40B4-BE49-F238E27FC236}">
                    <a16:creationId xmlns:a16="http://schemas.microsoft.com/office/drawing/2014/main" id="{9E458BEF-0BE0-4C29-BCFA-A64BFCFDC35B}"/>
                  </a:ext>
                </a:extLst>
              </p:cNvPr>
              <p:cNvSpPr>
                <a:spLocks/>
              </p:cNvSpPr>
              <p:nvPr/>
            </p:nvSpPr>
            <p:spPr bwMode="auto">
              <a:xfrm>
                <a:off x="6842126" y="989648"/>
                <a:ext cx="298450" cy="161925"/>
              </a:xfrm>
              <a:custGeom>
                <a:avLst/>
                <a:gdLst>
                  <a:gd name="T0" fmla="*/ 373 w 377"/>
                  <a:gd name="T1" fmla="*/ 110 h 204"/>
                  <a:gd name="T2" fmla="*/ 299 w 377"/>
                  <a:gd name="T3" fmla="*/ 36 h 204"/>
                  <a:gd name="T4" fmla="*/ 299 w 377"/>
                  <a:gd name="T5" fmla="*/ 36 h 204"/>
                  <a:gd name="T6" fmla="*/ 295 w 377"/>
                  <a:gd name="T7" fmla="*/ 33 h 204"/>
                  <a:gd name="T8" fmla="*/ 291 w 377"/>
                  <a:gd name="T9" fmla="*/ 33 h 204"/>
                  <a:gd name="T10" fmla="*/ 287 w 377"/>
                  <a:gd name="T11" fmla="*/ 33 h 204"/>
                  <a:gd name="T12" fmla="*/ 283 w 377"/>
                  <a:gd name="T13" fmla="*/ 36 h 204"/>
                  <a:gd name="T14" fmla="*/ 283 w 377"/>
                  <a:gd name="T15" fmla="*/ 36 h 204"/>
                  <a:gd name="T16" fmla="*/ 280 w 377"/>
                  <a:gd name="T17" fmla="*/ 40 h 204"/>
                  <a:gd name="T18" fmla="*/ 279 w 377"/>
                  <a:gd name="T19" fmla="*/ 44 h 204"/>
                  <a:gd name="T20" fmla="*/ 280 w 377"/>
                  <a:gd name="T21" fmla="*/ 49 h 204"/>
                  <a:gd name="T22" fmla="*/ 283 w 377"/>
                  <a:gd name="T23" fmla="*/ 53 h 204"/>
                  <a:gd name="T24" fmla="*/ 336 w 377"/>
                  <a:gd name="T25" fmla="*/ 106 h 204"/>
                  <a:gd name="T26" fmla="*/ 242 w 377"/>
                  <a:gd name="T27" fmla="*/ 106 h 204"/>
                  <a:gd name="T28" fmla="*/ 225 w 377"/>
                  <a:gd name="T29" fmla="*/ 106 h 204"/>
                  <a:gd name="T30" fmla="*/ 139 w 377"/>
                  <a:gd name="T31" fmla="*/ 106 h 204"/>
                  <a:gd name="T32" fmla="*/ 21 w 377"/>
                  <a:gd name="T33" fmla="*/ 2 h 204"/>
                  <a:gd name="T34" fmla="*/ 21 w 377"/>
                  <a:gd name="T35" fmla="*/ 2 h 204"/>
                  <a:gd name="T36" fmla="*/ 17 w 377"/>
                  <a:gd name="T37" fmla="*/ 1 h 204"/>
                  <a:gd name="T38" fmla="*/ 13 w 377"/>
                  <a:gd name="T39" fmla="*/ 0 h 204"/>
                  <a:gd name="T40" fmla="*/ 13 w 377"/>
                  <a:gd name="T41" fmla="*/ 0 h 204"/>
                  <a:gd name="T42" fmla="*/ 7 w 377"/>
                  <a:gd name="T43" fmla="*/ 1 h 204"/>
                  <a:gd name="T44" fmla="*/ 4 w 377"/>
                  <a:gd name="T45" fmla="*/ 4 h 204"/>
                  <a:gd name="T46" fmla="*/ 4 w 377"/>
                  <a:gd name="T47" fmla="*/ 4 h 204"/>
                  <a:gd name="T48" fmla="*/ 2 w 377"/>
                  <a:gd name="T49" fmla="*/ 8 h 204"/>
                  <a:gd name="T50" fmla="*/ 0 w 377"/>
                  <a:gd name="T51" fmla="*/ 12 h 204"/>
                  <a:gd name="T52" fmla="*/ 0 w 377"/>
                  <a:gd name="T53" fmla="*/ 12 h 204"/>
                  <a:gd name="T54" fmla="*/ 2 w 377"/>
                  <a:gd name="T55" fmla="*/ 16 h 204"/>
                  <a:gd name="T56" fmla="*/ 4 w 377"/>
                  <a:gd name="T57" fmla="*/ 20 h 204"/>
                  <a:gd name="T58" fmla="*/ 127 w 377"/>
                  <a:gd name="T59" fmla="*/ 127 h 204"/>
                  <a:gd name="T60" fmla="*/ 127 w 377"/>
                  <a:gd name="T61" fmla="*/ 127 h 204"/>
                  <a:gd name="T62" fmla="*/ 129 w 377"/>
                  <a:gd name="T63" fmla="*/ 129 h 204"/>
                  <a:gd name="T64" fmla="*/ 133 w 377"/>
                  <a:gd name="T65" fmla="*/ 130 h 204"/>
                  <a:gd name="T66" fmla="*/ 225 w 377"/>
                  <a:gd name="T67" fmla="*/ 130 h 204"/>
                  <a:gd name="T68" fmla="*/ 242 w 377"/>
                  <a:gd name="T69" fmla="*/ 130 h 204"/>
                  <a:gd name="T70" fmla="*/ 336 w 377"/>
                  <a:gd name="T71" fmla="*/ 130 h 204"/>
                  <a:gd name="T72" fmla="*/ 283 w 377"/>
                  <a:gd name="T73" fmla="*/ 184 h 204"/>
                  <a:gd name="T74" fmla="*/ 283 w 377"/>
                  <a:gd name="T75" fmla="*/ 184 h 204"/>
                  <a:gd name="T76" fmla="*/ 280 w 377"/>
                  <a:gd name="T77" fmla="*/ 188 h 204"/>
                  <a:gd name="T78" fmla="*/ 279 w 377"/>
                  <a:gd name="T79" fmla="*/ 192 h 204"/>
                  <a:gd name="T80" fmla="*/ 279 w 377"/>
                  <a:gd name="T81" fmla="*/ 192 h 204"/>
                  <a:gd name="T82" fmla="*/ 280 w 377"/>
                  <a:gd name="T83" fmla="*/ 196 h 204"/>
                  <a:gd name="T84" fmla="*/ 283 w 377"/>
                  <a:gd name="T85" fmla="*/ 200 h 204"/>
                  <a:gd name="T86" fmla="*/ 283 w 377"/>
                  <a:gd name="T87" fmla="*/ 200 h 204"/>
                  <a:gd name="T88" fmla="*/ 287 w 377"/>
                  <a:gd name="T89" fmla="*/ 203 h 204"/>
                  <a:gd name="T90" fmla="*/ 291 w 377"/>
                  <a:gd name="T91" fmla="*/ 204 h 204"/>
                  <a:gd name="T92" fmla="*/ 291 w 377"/>
                  <a:gd name="T93" fmla="*/ 204 h 204"/>
                  <a:gd name="T94" fmla="*/ 295 w 377"/>
                  <a:gd name="T95" fmla="*/ 203 h 204"/>
                  <a:gd name="T96" fmla="*/ 299 w 377"/>
                  <a:gd name="T97" fmla="*/ 200 h 204"/>
                  <a:gd name="T98" fmla="*/ 373 w 377"/>
                  <a:gd name="T99" fmla="*/ 126 h 204"/>
                  <a:gd name="T100" fmla="*/ 373 w 377"/>
                  <a:gd name="T101" fmla="*/ 126 h 204"/>
                  <a:gd name="T102" fmla="*/ 375 w 377"/>
                  <a:gd name="T103" fmla="*/ 123 h 204"/>
                  <a:gd name="T104" fmla="*/ 377 w 377"/>
                  <a:gd name="T105" fmla="*/ 118 h 204"/>
                  <a:gd name="T106" fmla="*/ 377 w 377"/>
                  <a:gd name="T107" fmla="*/ 118 h 204"/>
                  <a:gd name="T108" fmla="*/ 375 w 377"/>
                  <a:gd name="T109" fmla="*/ 114 h 204"/>
                  <a:gd name="T110" fmla="*/ 373 w 377"/>
                  <a:gd name="T111" fmla="*/ 110 h 204"/>
                  <a:gd name="T112" fmla="*/ 373 w 377"/>
                  <a:gd name="T113" fmla="*/ 1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77" h="204">
                    <a:moveTo>
                      <a:pt x="373" y="110"/>
                    </a:moveTo>
                    <a:lnTo>
                      <a:pt x="299" y="36"/>
                    </a:lnTo>
                    <a:lnTo>
                      <a:pt x="299" y="36"/>
                    </a:lnTo>
                    <a:lnTo>
                      <a:pt x="295" y="33"/>
                    </a:lnTo>
                    <a:lnTo>
                      <a:pt x="291" y="33"/>
                    </a:lnTo>
                    <a:lnTo>
                      <a:pt x="287" y="33"/>
                    </a:lnTo>
                    <a:lnTo>
                      <a:pt x="283" y="36"/>
                    </a:lnTo>
                    <a:lnTo>
                      <a:pt x="283" y="36"/>
                    </a:lnTo>
                    <a:lnTo>
                      <a:pt x="280" y="40"/>
                    </a:lnTo>
                    <a:lnTo>
                      <a:pt x="279" y="44"/>
                    </a:lnTo>
                    <a:lnTo>
                      <a:pt x="280" y="49"/>
                    </a:lnTo>
                    <a:lnTo>
                      <a:pt x="283" y="53"/>
                    </a:lnTo>
                    <a:lnTo>
                      <a:pt x="336" y="106"/>
                    </a:lnTo>
                    <a:lnTo>
                      <a:pt x="242" y="106"/>
                    </a:lnTo>
                    <a:lnTo>
                      <a:pt x="225" y="106"/>
                    </a:lnTo>
                    <a:lnTo>
                      <a:pt x="139" y="106"/>
                    </a:lnTo>
                    <a:lnTo>
                      <a:pt x="21" y="2"/>
                    </a:lnTo>
                    <a:lnTo>
                      <a:pt x="21" y="2"/>
                    </a:lnTo>
                    <a:lnTo>
                      <a:pt x="17" y="1"/>
                    </a:lnTo>
                    <a:lnTo>
                      <a:pt x="13" y="0"/>
                    </a:lnTo>
                    <a:lnTo>
                      <a:pt x="13" y="0"/>
                    </a:lnTo>
                    <a:lnTo>
                      <a:pt x="7" y="1"/>
                    </a:lnTo>
                    <a:lnTo>
                      <a:pt x="4" y="4"/>
                    </a:lnTo>
                    <a:lnTo>
                      <a:pt x="4" y="4"/>
                    </a:lnTo>
                    <a:lnTo>
                      <a:pt x="2" y="8"/>
                    </a:lnTo>
                    <a:lnTo>
                      <a:pt x="0" y="12"/>
                    </a:lnTo>
                    <a:lnTo>
                      <a:pt x="0" y="12"/>
                    </a:lnTo>
                    <a:lnTo>
                      <a:pt x="2" y="16"/>
                    </a:lnTo>
                    <a:lnTo>
                      <a:pt x="4" y="20"/>
                    </a:lnTo>
                    <a:lnTo>
                      <a:pt x="127" y="127"/>
                    </a:lnTo>
                    <a:lnTo>
                      <a:pt x="127" y="127"/>
                    </a:lnTo>
                    <a:lnTo>
                      <a:pt x="129" y="129"/>
                    </a:lnTo>
                    <a:lnTo>
                      <a:pt x="133" y="130"/>
                    </a:lnTo>
                    <a:lnTo>
                      <a:pt x="225" y="130"/>
                    </a:lnTo>
                    <a:lnTo>
                      <a:pt x="242" y="130"/>
                    </a:lnTo>
                    <a:lnTo>
                      <a:pt x="336" y="130"/>
                    </a:lnTo>
                    <a:lnTo>
                      <a:pt x="283" y="184"/>
                    </a:lnTo>
                    <a:lnTo>
                      <a:pt x="283" y="184"/>
                    </a:lnTo>
                    <a:lnTo>
                      <a:pt x="280" y="188"/>
                    </a:lnTo>
                    <a:lnTo>
                      <a:pt x="279" y="192"/>
                    </a:lnTo>
                    <a:lnTo>
                      <a:pt x="279" y="192"/>
                    </a:lnTo>
                    <a:lnTo>
                      <a:pt x="280" y="196"/>
                    </a:lnTo>
                    <a:lnTo>
                      <a:pt x="283" y="200"/>
                    </a:lnTo>
                    <a:lnTo>
                      <a:pt x="283" y="200"/>
                    </a:lnTo>
                    <a:lnTo>
                      <a:pt x="287" y="203"/>
                    </a:lnTo>
                    <a:lnTo>
                      <a:pt x="291" y="204"/>
                    </a:lnTo>
                    <a:lnTo>
                      <a:pt x="291" y="204"/>
                    </a:lnTo>
                    <a:lnTo>
                      <a:pt x="295" y="203"/>
                    </a:lnTo>
                    <a:lnTo>
                      <a:pt x="299" y="200"/>
                    </a:lnTo>
                    <a:lnTo>
                      <a:pt x="373" y="126"/>
                    </a:lnTo>
                    <a:lnTo>
                      <a:pt x="373" y="126"/>
                    </a:lnTo>
                    <a:lnTo>
                      <a:pt x="375" y="123"/>
                    </a:lnTo>
                    <a:lnTo>
                      <a:pt x="377" y="118"/>
                    </a:lnTo>
                    <a:lnTo>
                      <a:pt x="377" y="118"/>
                    </a:lnTo>
                    <a:lnTo>
                      <a:pt x="375" y="114"/>
                    </a:lnTo>
                    <a:lnTo>
                      <a:pt x="373" y="110"/>
                    </a:lnTo>
                    <a:lnTo>
                      <a:pt x="373" y="1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24" name="Freeform 117">
                <a:extLst>
                  <a:ext uri="{FF2B5EF4-FFF2-40B4-BE49-F238E27FC236}">
                    <a16:creationId xmlns:a16="http://schemas.microsoft.com/office/drawing/2014/main" id="{918A6770-A6AC-4542-9604-259126B8A5B5}"/>
                  </a:ext>
                </a:extLst>
              </p:cNvPr>
              <p:cNvSpPr>
                <a:spLocks/>
              </p:cNvSpPr>
              <p:nvPr/>
            </p:nvSpPr>
            <p:spPr bwMode="auto">
              <a:xfrm>
                <a:off x="6837363" y="1100773"/>
                <a:ext cx="93663" cy="93663"/>
              </a:xfrm>
              <a:custGeom>
                <a:avLst/>
                <a:gdLst>
                  <a:gd name="T0" fmla="*/ 4 w 118"/>
                  <a:gd name="T1" fmla="*/ 99 h 119"/>
                  <a:gd name="T2" fmla="*/ 4 w 118"/>
                  <a:gd name="T3" fmla="*/ 99 h 119"/>
                  <a:gd name="T4" fmla="*/ 1 w 118"/>
                  <a:gd name="T5" fmla="*/ 103 h 119"/>
                  <a:gd name="T6" fmla="*/ 0 w 118"/>
                  <a:gd name="T7" fmla="*/ 107 h 119"/>
                  <a:gd name="T8" fmla="*/ 0 w 118"/>
                  <a:gd name="T9" fmla="*/ 107 h 119"/>
                  <a:gd name="T10" fmla="*/ 1 w 118"/>
                  <a:gd name="T11" fmla="*/ 111 h 119"/>
                  <a:gd name="T12" fmla="*/ 4 w 118"/>
                  <a:gd name="T13" fmla="*/ 115 h 119"/>
                  <a:gd name="T14" fmla="*/ 4 w 118"/>
                  <a:gd name="T15" fmla="*/ 115 h 119"/>
                  <a:gd name="T16" fmla="*/ 7 w 118"/>
                  <a:gd name="T17" fmla="*/ 117 h 119"/>
                  <a:gd name="T18" fmla="*/ 12 w 118"/>
                  <a:gd name="T19" fmla="*/ 119 h 119"/>
                  <a:gd name="T20" fmla="*/ 12 w 118"/>
                  <a:gd name="T21" fmla="*/ 119 h 119"/>
                  <a:gd name="T22" fmla="*/ 16 w 118"/>
                  <a:gd name="T23" fmla="*/ 117 h 119"/>
                  <a:gd name="T24" fmla="*/ 20 w 118"/>
                  <a:gd name="T25" fmla="*/ 115 h 119"/>
                  <a:gd name="T26" fmla="*/ 118 w 118"/>
                  <a:gd name="T27" fmla="*/ 17 h 119"/>
                  <a:gd name="T28" fmla="*/ 102 w 118"/>
                  <a:gd name="T29" fmla="*/ 0 h 119"/>
                  <a:gd name="T30" fmla="*/ 4 w 118"/>
                  <a:gd name="T31" fmla="*/ 9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8" h="119">
                    <a:moveTo>
                      <a:pt x="4" y="99"/>
                    </a:moveTo>
                    <a:lnTo>
                      <a:pt x="4" y="99"/>
                    </a:lnTo>
                    <a:lnTo>
                      <a:pt x="1" y="103"/>
                    </a:lnTo>
                    <a:lnTo>
                      <a:pt x="0" y="107"/>
                    </a:lnTo>
                    <a:lnTo>
                      <a:pt x="0" y="107"/>
                    </a:lnTo>
                    <a:lnTo>
                      <a:pt x="1" y="111"/>
                    </a:lnTo>
                    <a:lnTo>
                      <a:pt x="4" y="115"/>
                    </a:lnTo>
                    <a:lnTo>
                      <a:pt x="4" y="115"/>
                    </a:lnTo>
                    <a:lnTo>
                      <a:pt x="7" y="117"/>
                    </a:lnTo>
                    <a:lnTo>
                      <a:pt x="12" y="119"/>
                    </a:lnTo>
                    <a:lnTo>
                      <a:pt x="12" y="119"/>
                    </a:lnTo>
                    <a:lnTo>
                      <a:pt x="16" y="117"/>
                    </a:lnTo>
                    <a:lnTo>
                      <a:pt x="20" y="115"/>
                    </a:lnTo>
                    <a:lnTo>
                      <a:pt x="118" y="17"/>
                    </a:lnTo>
                    <a:lnTo>
                      <a:pt x="102" y="0"/>
                    </a:lnTo>
                    <a:lnTo>
                      <a:pt x="4" y="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spTree>
    <p:extLst>
      <p:ext uri="{BB962C8B-B14F-4D97-AF65-F5344CB8AC3E}">
        <p14:creationId xmlns:p14="http://schemas.microsoft.com/office/powerpoint/2010/main" val="2023350080"/>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0" name="Object 109" hidden="1">
            <a:extLst>
              <a:ext uri="{FF2B5EF4-FFF2-40B4-BE49-F238E27FC236}">
                <a16:creationId xmlns:a16="http://schemas.microsoft.com/office/drawing/2014/main" id="{1A960B19-C107-425D-9B15-60A0A2792E5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9684" name="think-cell Slide" r:id="rId6" imgW="395" imgH="396" progId="TCLayout.ActiveDocument.1">
                  <p:embed/>
                </p:oleObj>
              </mc:Choice>
              <mc:Fallback>
                <p:oleObj name="think-cell Slide" r:id="rId6" imgW="395" imgH="396" progId="TCLayout.ActiveDocument.1">
                  <p:embed/>
                  <p:pic>
                    <p:nvPicPr>
                      <p:cNvPr id="110" name="Object 109" hidden="1">
                        <a:extLst>
                          <a:ext uri="{FF2B5EF4-FFF2-40B4-BE49-F238E27FC236}">
                            <a16:creationId xmlns:a16="http://schemas.microsoft.com/office/drawing/2014/main" id="{1A960B19-C107-425D-9B15-60A0A2792E5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9" name="Rectangle 108" hidden="1">
            <a:extLst>
              <a:ext uri="{FF2B5EF4-FFF2-40B4-BE49-F238E27FC236}">
                <a16:creationId xmlns:a16="http://schemas.microsoft.com/office/drawing/2014/main" id="{2985C84D-06FD-47E4-AF59-67375E87AF8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43781104-07B4-4A4E-9A95-36B4B581F790}"/>
              </a:ext>
            </a:extLst>
          </p:cNvPr>
          <p:cNvSpPr>
            <a:spLocks noGrp="1"/>
          </p:cNvSpPr>
          <p:nvPr>
            <p:ph type="title"/>
          </p:nvPr>
        </p:nvSpPr>
        <p:spPr/>
        <p:txBody>
          <a:bodyPr/>
          <a:lstStyle/>
          <a:p>
            <a:r>
              <a:rPr lang="en-US" dirty="0"/>
              <a:t>Technology is shifting customer expectations</a:t>
            </a:r>
          </a:p>
        </p:txBody>
      </p:sp>
      <p:sp>
        <p:nvSpPr>
          <p:cNvPr id="3" name="Text Placeholder 2">
            <a:extLst>
              <a:ext uri="{FF2B5EF4-FFF2-40B4-BE49-F238E27FC236}">
                <a16:creationId xmlns:a16="http://schemas.microsoft.com/office/drawing/2014/main" id="{8F1FDB64-312A-4D7F-876F-4B38BFAA8357}"/>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66AB9C7C-78EC-42F9-BE43-FF961BA51E0A}"/>
              </a:ext>
            </a:extLst>
          </p:cNvPr>
          <p:cNvSpPr>
            <a:spLocks noGrp="1"/>
          </p:cNvSpPr>
          <p:nvPr>
            <p:ph type="body" sz="quarter" idx="15"/>
          </p:nvPr>
        </p:nvSpPr>
        <p:spPr>
          <a:xfrm>
            <a:off x="914971" y="466343"/>
            <a:ext cx="3623332" cy="266691"/>
          </a:xfrm>
        </p:spPr>
        <p:txBody>
          <a:bodyPr/>
          <a:lstStyle/>
          <a:p>
            <a:r>
              <a:rPr lang="en-US" dirty="0"/>
              <a:t>FRAMEWORKS &amp; CONCEPT ILLUSTRATION</a:t>
            </a:r>
          </a:p>
        </p:txBody>
      </p:sp>
      <p:grpSp>
        <p:nvGrpSpPr>
          <p:cNvPr id="5" name="Group 4">
            <a:extLst>
              <a:ext uri="{FF2B5EF4-FFF2-40B4-BE49-F238E27FC236}">
                <a16:creationId xmlns:a16="http://schemas.microsoft.com/office/drawing/2014/main" id="{C9C5BECF-9F6D-46E9-9A2F-3C13F22F9FE0}"/>
              </a:ext>
            </a:extLst>
          </p:cNvPr>
          <p:cNvGrpSpPr/>
          <p:nvPr/>
        </p:nvGrpSpPr>
        <p:grpSpPr>
          <a:xfrm>
            <a:off x="4998510" y="2087595"/>
            <a:ext cx="2182792" cy="2180087"/>
            <a:chOff x="3259203" y="1561092"/>
            <a:chExt cx="2182792" cy="2180087"/>
          </a:xfrm>
        </p:grpSpPr>
        <p:sp>
          <p:nvSpPr>
            <p:cNvPr id="6" name="Freeform 5">
              <a:extLst>
                <a:ext uri="{FF2B5EF4-FFF2-40B4-BE49-F238E27FC236}">
                  <a16:creationId xmlns:a16="http://schemas.microsoft.com/office/drawing/2014/main" id="{D00D0570-DE1C-4830-B7D3-09868FA8B15C}"/>
                </a:ext>
              </a:extLst>
            </p:cNvPr>
            <p:cNvSpPr>
              <a:spLocks noEditPoints="1"/>
            </p:cNvSpPr>
            <p:nvPr/>
          </p:nvSpPr>
          <p:spPr bwMode="auto">
            <a:xfrm>
              <a:off x="3602715" y="1569207"/>
              <a:ext cx="1506586" cy="1847394"/>
            </a:xfrm>
            <a:custGeom>
              <a:avLst/>
              <a:gdLst>
                <a:gd name="T0" fmla="*/ 1114 w 1114"/>
                <a:gd name="T1" fmla="*/ 1366 h 1366"/>
                <a:gd name="T2" fmla="*/ 0 w 1114"/>
                <a:gd name="T3" fmla="*/ 1366 h 1366"/>
                <a:gd name="T4" fmla="*/ 0 w 1114"/>
                <a:gd name="T5" fmla="*/ 1364 h 1366"/>
                <a:gd name="T6" fmla="*/ 556 w 1114"/>
                <a:gd name="T7" fmla="*/ 0 h 1366"/>
                <a:gd name="T8" fmla="*/ 558 w 1114"/>
                <a:gd name="T9" fmla="*/ 4 h 1366"/>
                <a:gd name="T10" fmla="*/ 1114 w 1114"/>
                <a:gd name="T11" fmla="*/ 1366 h 1366"/>
                <a:gd name="T12" fmla="*/ 4 w 1114"/>
                <a:gd name="T13" fmla="*/ 1364 h 1366"/>
                <a:gd name="T14" fmla="*/ 1110 w 1114"/>
                <a:gd name="T15" fmla="*/ 1364 h 1366"/>
                <a:gd name="T16" fmla="*/ 556 w 1114"/>
                <a:gd name="T17" fmla="*/ 8 h 1366"/>
                <a:gd name="T18" fmla="*/ 4 w 1114"/>
                <a:gd name="T19" fmla="*/ 1364 h 1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4" h="1366">
                  <a:moveTo>
                    <a:pt x="1114" y="1366"/>
                  </a:moveTo>
                  <a:lnTo>
                    <a:pt x="0" y="1366"/>
                  </a:lnTo>
                  <a:lnTo>
                    <a:pt x="0" y="1364"/>
                  </a:lnTo>
                  <a:lnTo>
                    <a:pt x="556" y="0"/>
                  </a:lnTo>
                  <a:lnTo>
                    <a:pt x="558" y="4"/>
                  </a:lnTo>
                  <a:lnTo>
                    <a:pt x="1114" y="1366"/>
                  </a:lnTo>
                  <a:close/>
                  <a:moveTo>
                    <a:pt x="4" y="1364"/>
                  </a:moveTo>
                  <a:lnTo>
                    <a:pt x="1110" y="1364"/>
                  </a:lnTo>
                  <a:lnTo>
                    <a:pt x="556" y="8"/>
                  </a:lnTo>
                  <a:lnTo>
                    <a:pt x="4" y="1364"/>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7" name="Freeform 6">
              <a:extLst>
                <a:ext uri="{FF2B5EF4-FFF2-40B4-BE49-F238E27FC236}">
                  <a16:creationId xmlns:a16="http://schemas.microsoft.com/office/drawing/2014/main" id="{9B21B72D-22B6-40CD-855D-D278153D78B2}"/>
                </a:ext>
              </a:extLst>
            </p:cNvPr>
            <p:cNvSpPr>
              <a:spLocks noEditPoints="1"/>
            </p:cNvSpPr>
            <p:nvPr/>
          </p:nvSpPr>
          <p:spPr bwMode="auto">
            <a:xfrm>
              <a:off x="3602715" y="1893785"/>
              <a:ext cx="1509291" cy="1847394"/>
            </a:xfrm>
            <a:custGeom>
              <a:avLst/>
              <a:gdLst>
                <a:gd name="T0" fmla="*/ 558 w 1116"/>
                <a:gd name="T1" fmla="*/ 1366 h 1366"/>
                <a:gd name="T2" fmla="*/ 556 w 1116"/>
                <a:gd name="T3" fmla="*/ 1362 h 1366"/>
                <a:gd name="T4" fmla="*/ 0 w 1116"/>
                <a:gd name="T5" fmla="*/ 0 h 1366"/>
                <a:gd name="T6" fmla="*/ 1116 w 1116"/>
                <a:gd name="T7" fmla="*/ 0 h 1366"/>
                <a:gd name="T8" fmla="*/ 1116 w 1116"/>
                <a:gd name="T9" fmla="*/ 2 h 1366"/>
                <a:gd name="T10" fmla="*/ 558 w 1116"/>
                <a:gd name="T11" fmla="*/ 1366 h 1366"/>
                <a:gd name="T12" fmla="*/ 4 w 1116"/>
                <a:gd name="T13" fmla="*/ 2 h 1366"/>
                <a:gd name="T14" fmla="*/ 558 w 1116"/>
                <a:gd name="T15" fmla="*/ 1358 h 1366"/>
                <a:gd name="T16" fmla="*/ 1112 w 1116"/>
                <a:gd name="T17" fmla="*/ 2 h 1366"/>
                <a:gd name="T18" fmla="*/ 4 w 1116"/>
                <a:gd name="T19" fmla="*/ 2 h 1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6" h="1366">
                  <a:moveTo>
                    <a:pt x="558" y="1366"/>
                  </a:moveTo>
                  <a:lnTo>
                    <a:pt x="556" y="1362"/>
                  </a:lnTo>
                  <a:lnTo>
                    <a:pt x="0" y="0"/>
                  </a:lnTo>
                  <a:lnTo>
                    <a:pt x="1116" y="0"/>
                  </a:lnTo>
                  <a:lnTo>
                    <a:pt x="1116" y="2"/>
                  </a:lnTo>
                  <a:lnTo>
                    <a:pt x="558" y="1366"/>
                  </a:lnTo>
                  <a:close/>
                  <a:moveTo>
                    <a:pt x="4" y="2"/>
                  </a:moveTo>
                  <a:lnTo>
                    <a:pt x="558" y="1358"/>
                  </a:lnTo>
                  <a:lnTo>
                    <a:pt x="1112" y="2"/>
                  </a:lnTo>
                  <a:lnTo>
                    <a:pt x="4" y="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8" name="Freeform 7">
              <a:extLst>
                <a:ext uri="{FF2B5EF4-FFF2-40B4-BE49-F238E27FC236}">
                  <a16:creationId xmlns:a16="http://schemas.microsoft.com/office/drawing/2014/main" id="{9989C1E9-2347-460A-8A90-07DBB4DDDAD1}"/>
                </a:ext>
              </a:extLst>
            </p:cNvPr>
            <p:cNvSpPr>
              <a:spLocks noEditPoints="1"/>
            </p:cNvSpPr>
            <p:nvPr/>
          </p:nvSpPr>
          <p:spPr bwMode="auto">
            <a:xfrm>
              <a:off x="3361986" y="2245412"/>
              <a:ext cx="1996158" cy="841200"/>
            </a:xfrm>
            <a:custGeom>
              <a:avLst/>
              <a:gdLst>
                <a:gd name="T0" fmla="*/ 1476 w 1476"/>
                <a:gd name="T1" fmla="*/ 622 h 622"/>
                <a:gd name="T2" fmla="*/ 0 w 1476"/>
                <a:gd name="T3" fmla="*/ 622 h 622"/>
                <a:gd name="T4" fmla="*/ 0 w 1476"/>
                <a:gd name="T5" fmla="*/ 0 h 622"/>
                <a:gd name="T6" fmla="*/ 1476 w 1476"/>
                <a:gd name="T7" fmla="*/ 0 h 622"/>
                <a:gd name="T8" fmla="*/ 1476 w 1476"/>
                <a:gd name="T9" fmla="*/ 622 h 622"/>
                <a:gd name="T10" fmla="*/ 2 w 1476"/>
                <a:gd name="T11" fmla="*/ 620 h 622"/>
                <a:gd name="T12" fmla="*/ 1474 w 1476"/>
                <a:gd name="T13" fmla="*/ 620 h 622"/>
                <a:gd name="T14" fmla="*/ 1474 w 1476"/>
                <a:gd name="T15" fmla="*/ 4 h 622"/>
                <a:gd name="T16" fmla="*/ 2 w 1476"/>
                <a:gd name="T17" fmla="*/ 4 h 622"/>
                <a:gd name="T18" fmla="*/ 2 w 1476"/>
                <a:gd name="T19" fmla="*/ 620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6" h="622">
                  <a:moveTo>
                    <a:pt x="1476" y="622"/>
                  </a:moveTo>
                  <a:lnTo>
                    <a:pt x="0" y="622"/>
                  </a:lnTo>
                  <a:lnTo>
                    <a:pt x="0" y="0"/>
                  </a:lnTo>
                  <a:lnTo>
                    <a:pt x="1476" y="0"/>
                  </a:lnTo>
                  <a:lnTo>
                    <a:pt x="1476" y="622"/>
                  </a:lnTo>
                  <a:close/>
                  <a:moveTo>
                    <a:pt x="2" y="620"/>
                  </a:moveTo>
                  <a:lnTo>
                    <a:pt x="1474" y="620"/>
                  </a:lnTo>
                  <a:lnTo>
                    <a:pt x="1474" y="4"/>
                  </a:lnTo>
                  <a:lnTo>
                    <a:pt x="2" y="4"/>
                  </a:lnTo>
                  <a:lnTo>
                    <a:pt x="2" y="620"/>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9" name="Freeform 8">
              <a:extLst>
                <a:ext uri="{FF2B5EF4-FFF2-40B4-BE49-F238E27FC236}">
                  <a16:creationId xmlns:a16="http://schemas.microsoft.com/office/drawing/2014/main" id="{1BCE6224-BCEE-449A-83DA-73C1073D19AA}"/>
                </a:ext>
              </a:extLst>
            </p:cNvPr>
            <p:cNvSpPr>
              <a:spLocks noEditPoints="1"/>
            </p:cNvSpPr>
            <p:nvPr/>
          </p:nvSpPr>
          <p:spPr bwMode="auto">
            <a:xfrm>
              <a:off x="3938114" y="1666581"/>
              <a:ext cx="841200" cy="1998863"/>
            </a:xfrm>
            <a:custGeom>
              <a:avLst/>
              <a:gdLst>
                <a:gd name="T0" fmla="*/ 622 w 622"/>
                <a:gd name="T1" fmla="*/ 1478 h 1478"/>
                <a:gd name="T2" fmla="*/ 0 w 622"/>
                <a:gd name="T3" fmla="*/ 1478 h 1478"/>
                <a:gd name="T4" fmla="*/ 0 w 622"/>
                <a:gd name="T5" fmla="*/ 0 h 1478"/>
                <a:gd name="T6" fmla="*/ 622 w 622"/>
                <a:gd name="T7" fmla="*/ 0 h 1478"/>
                <a:gd name="T8" fmla="*/ 622 w 622"/>
                <a:gd name="T9" fmla="*/ 1478 h 1478"/>
                <a:gd name="T10" fmla="*/ 4 w 622"/>
                <a:gd name="T11" fmla="*/ 1476 h 1478"/>
                <a:gd name="T12" fmla="*/ 620 w 622"/>
                <a:gd name="T13" fmla="*/ 1476 h 1478"/>
                <a:gd name="T14" fmla="*/ 620 w 622"/>
                <a:gd name="T15" fmla="*/ 4 h 1478"/>
                <a:gd name="T16" fmla="*/ 4 w 622"/>
                <a:gd name="T17" fmla="*/ 4 h 1478"/>
                <a:gd name="T18" fmla="*/ 4 w 622"/>
                <a:gd name="T19" fmla="*/ 1476 h 1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1478">
                  <a:moveTo>
                    <a:pt x="622" y="1478"/>
                  </a:moveTo>
                  <a:lnTo>
                    <a:pt x="0" y="1478"/>
                  </a:lnTo>
                  <a:lnTo>
                    <a:pt x="0" y="0"/>
                  </a:lnTo>
                  <a:lnTo>
                    <a:pt x="622" y="0"/>
                  </a:lnTo>
                  <a:lnTo>
                    <a:pt x="622" y="1478"/>
                  </a:lnTo>
                  <a:close/>
                  <a:moveTo>
                    <a:pt x="4" y="1476"/>
                  </a:moveTo>
                  <a:lnTo>
                    <a:pt x="620" y="1476"/>
                  </a:lnTo>
                  <a:lnTo>
                    <a:pt x="620" y="4"/>
                  </a:lnTo>
                  <a:lnTo>
                    <a:pt x="4" y="4"/>
                  </a:lnTo>
                  <a:lnTo>
                    <a:pt x="4" y="1476"/>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0" name="Freeform 9">
              <a:extLst>
                <a:ext uri="{FF2B5EF4-FFF2-40B4-BE49-F238E27FC236}">
                  <a16:creationId xmlns:a16="http://schemas.microsoft.com/office/drawing/2014/main" id="{A4854822-9CC1-4788-9975-3310601F5F47}"/>
                </a:ext>
              </a:extLst>
            </p:cNvPr>
            <p:cNvSpPr>
              <a:spLocks/>
            </p:cNvSpPr>
            <p:nvPr/>
          </p:nvSpPr>
          <p:spPr bwMode="auto">
            <a:xfrm>
              <a:off x="3361986" y="2245412"/>
              <a:ext cx="1996158" cy="841200"/>
            </a:xfrm>
            <a:custGeom>
              <a:avLst/>
              <a:gdLst>
                <a:gd name="T0" fmla="*/ 1474 w 1476"/>
                <a:gd name="T1" fmla="*/ 622 h 622"/>
                <a:gd name="T2" fmla="*/ 0 w 1476"/>
                <a:gd name="T3" fmla="*/ 2 h 622"/>
                <a:gd name="T4" fmla="*/ 0 w 1476"/>
                <a:gd name="T5" fmla="*/ 0 h 622"/>
                <a:gd name="T6" fmla="*/ 1476 w 1476"/>
                <a:gd name="T7" fmla="*/ 620 h 622"/>
                <a:gd name="T8" fmla="*/ 1474 w 1476"/>
                <a:gd name="T9" fmla="*/ 622 h 622"/>
              </a:gdLst>
              <a:ahLst/>
              <a:cxnLst>
                <a:cxn ang="0">
                  <a:pos x="T0" y="T1"/>
                </a:cxn>
                <a:cxn ang="0">
                  <a:pos x="T2" y="T3"/>
                </a:cxn>
                <a:cxn ang="0">
                  <a:pos x="T4" y="T5"/>
                </a:cxn>
                <a:cxn ang="0">
                  <a:pos x="T6" y="T7"/>
                </a:cxn>
                <a:cxn ang="0">
                  <a:pos x="T8" y="T9"/>
                </a:cxn>
              </a:cxnLst>
              <a:rect l="0" t="0" r="r" b="b"/>
              <a:pathLst>
                <a:path w="1476" h="622">
                  <a:moveTo>
                    <a:pt x="1474" y="622"/>
                  </a:moveTo>
                  <a:lnTo>
                    <a:pt x="0" y="2"/>
                  </a:lnTo>
                  <a:lnTo>
                    <a:pt x="0" y="0"/>
                  </a:lnTo>
                  <a:lnTo>
                    <a:pt x="1476" y="620"/>
                  </a:lnTo>
                  <a:lnTo>
                    <a:pt x="1474" y="62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1" name="Freeform 10">
              <a:extLst>
                <a:ext uri="{FF2B5EF4-FFF2-40B4-BE49-F238E27FC236}">
                  <a16:creationId xmlns:a16="http://schemas.microsoft.com/office/drawing/2014/main" id="{2EB8A17D-7EBE-4A35-A04C-F67C57A8C1F3}"/>
                </a:ext>
              </a:extLst>
            </p:cNvPr>
            <p:cNvSpPr>
              <a:spLocks/>
            </p:cNvSpPr>
            <p:nvPr/>
          </p:nvSpPr>
          <p:spPr bwMode="auto">
            <a:xfrm>
              <a:off x="3616240" y="1893785"/>
              <a:ext cx="1817641" cy="770875"/>
            </a:xfrm>
            <a:custGeom>
              <a:avLst/>
              <a:gdLst>
                <a:gd name="T0" fmla="*/ 1342 w 1344"/>
                <a:gd name="T1" fmla="*/ 570 h 570"/>
                <a:gd name="T2" fmla="*/ 0 w 1344"/>
                <a:gd name="T3" fmla="*/ 2 h 570"/>
                <a:gd name="T4" fmla="*/ 0 w 1344"/>
                <a:gd name="T5" fmla="*/ 0 h 570"/>
                <a:gd name="T6" fmla="*/ 1344 w 1344"/>
                <a:gd name="T7" fmla="*/ 568 h 570"/>
                <a:gd name="T8" fmla="*/ 1342 w 1344"/>
                <a:gd name="T9" fmla="*/ 570 h 570"/>
              </a:gdLst>
              <a:ahLst/>
              <a:cxnLst>
                <a:cxn ang="0">
                  <a:pos x="T0" y="T1"/>
                </a:cxn>
                <a:cxn ang="0">
                  <a:pos x="T2" y="T3"/>
                </a:cxn>
                <a:cxn ang="0">
                  <a:pos x="T4" y="T5"/>
                </a:cxn>
                <a:cxn ang="0">
                  <a:pos x="T6" y="T7"/>
                </a:cxn>
                <a:cxn ang="0">
                  <a:pos x="T8" y="T9"/>
                </a:cxn>
              </a:cxnLst>
              <a:rect l="0" t="0" r="r" b="b"/>
              <a:pathLst>
                <a:path w="1344" h="570">
                  <a:moveTo>
                    <a:pt x="1342" y="570"/>
                  </a:moveTo>
                  <a:lnTo>
                    <a:pt x="0" y="2"/>
                  </a:lnTo>
                  <a:lnTo>
                    <a:pt x="0" y="0"/>
                  </a:lnTo>
                  <a:lnTo>
                    <a:pt x="1344" y="568"/>
                  </a:lnTo>
                  <a:lnTo>
                    <a:pt x="1342" y="570"/>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2" name="Freeform 11">
              <a:extLst>
                <a:ext uri="{FF2B5EF4-FFF2-40B4-BE49-F238E27FC236}">
                  <a16:creationId xmlns:a16="http://schemas.microsoft.com/office/drawing/2014/main" id="{B7965BA2-7ED2-4FAC-8812-76A77648131F}"/>
                </a:ext>
              </a:extLst>
            </p:cNvPr>
            <p:cNvSpPr>
              <a:spLocks/>
            </p:cNvSpPr>
            <p:nvPr/>
          </p:nvSpPr>
          <p:spPr bwMode="auto">
            <a:xfrm>
              <a:off x="3267318" y="2643021"/>
              <a:ext cx="1841983" cy="773579"/>
            </a:xfrm>
            <a:custGeom>
              <a:avLst/>
              <a:gdLst>
                <a:gd name="T0" fmla="*/ 1360 w 1362"/>
                <a:gd name="T1" fmla="*/ 572 h 572"/>
                <a:gd name="T2" fmla="*/ 0 w 1362"/>
                <a:gd name="T3" fmla="*/ 2 h 572"/>
                <a:gd name="T4" fmla="*/ 2 w 1362"/>
                <a:gd name="T5" fmla="*/ 0 h 572"/>
                <a:gd name="T6" fmla="*/ 1362 w 1362"/>
                <a:gd name="T7" fmla="*/ 570 h 572"/>
                <a:gd name="T8" fmla="*/ 1360 w 1362"/>
                <a:gd name="T9" fmla="*/ 572 h 572"/>
              </a:gdLst>
              <a:ahLst/>
              <a:cxnLst>
                <a:cxn ang="0">
                  <a:pos x="T0" y="T1"/>
                </a:cxn>
                <a:cxn ang="0">
                  <a:pos x="T2" y="T3"/>
                </a:cxn>
                <a:cxn ang="0">
                  <a:pos x="T4" y="T5"/>
                </a:cxn>
                <a:cxn ang="0">
                  <a:pos x="T6" y="T7"/>
                </a:cxn>
                <a:cxn ang="0">
                  <a:pos x="T8" y="T9"/>
                </a:cxn>
              </a:cxnLst>
              <a:rect l="0" t="0" r="r" b="b"/>
              <a:pathLst>
                <a:path w="1362" h="572">
                  <a:moveTo>
                    <a:pt x="1360" y="572"/>
                  </a:moveTo>
                  <a:lnTo>
                    <a:pt x="0" y="2"/>
                  </a:lnTo>
                  <a:lnTo>
                    <a:pt x="2" y="0"/>
                  </a:lnTo>
                  <a:lnTo>
                    <a:pt x="1362" y="570"/>
                  </a:lnTo>
                  <a:lnTo>
                    <a:pt x="1360" y="57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3" name="Freeform 12">
              <a:extLst>
                <a:ext uri="{FF2B5EF4-FFF2-40B4-BE49-F238E27FC236}">
                  <a16:creationId xmlns:a16="http://schemas.microsoft.com/office/drawing/2014/main" id="{942ECFB2-E7F6-4AD6-9FE2-B48EDE51F7D7}"/>
                </a:ext>
              </a:extLst>
            </p:cNvPr>
            <p:cNvSpPr>
              <a:spLocks/>
            </p:cNvSpPr>
            <p:nvPr/>
          </p:nvSpPr>
          <p:spPr bwMode="auto">
            <a:xfrm>
              <a:off x="3345757" y="2245412"/>
              <a:ext cx="2012388" cy="841200"/>
            </a:xfrm>
            <a:custGeom>
              <a:avLst/>
              <a:gdLst>
                <a:gd name="T0" fmla="*/ 0 w 1488"/>
                <a:gd name="T1" fmla="*/ 622 h 622"/>
                <a:gd name="T2" fmla="*/ 0 w 1488"/>
                <a:gd name="T3" fmla="*/ 620 h 622"/>
                <a:gd name="T4" fmla="*/ 1486 w 1488"/>
                <a:gd name="T5" fmla="*/ 0 h 622"/>
                <a:gd name="T6" fmla="*/ 1488 w 1488"/>
                <a:gd name="T7" fmla="*/ 2 h 622"/>
                <a:gd name="T8" fmla="*/ 0 w 1488"/>
                <a:gd name="T9" fmla="*/ 622 h 622"/>
              </a:gdLst>
              <a:ahLst/>
              <a:cxnLst>
                <a:cxn ang="0">
                  <a:pos x="T0" y="T1"/>
                </a:cxn>
                <a:cxn ang="0">
                  <a:pos x="T2" y="T3"/>
                </a:cxn>
                <a:cxn ang="0">
                  <a:pos x="T4" y="T5"/>
                </a:cxn>
                <a:cxn ang="0">
                  <a:pos x="T6" y="T7"/>
                </a:cxn>
                <a:cxn ang="0">
                  <a:pos x="T8" y="T9"/>
                </a:cxn>
              </a:cxnLst>
              <a:rect l="0" t="0" r="r" b="b"/>
              <a:pathLst>
                <a:path w="1488" h="622">
                  <a:moveTo>
                    <a:pt x="0" y="622"/>
                  </a:moveTo>
                  <a:lnTo>
                    <a:pt x="0" y="620"/>
                  </a:lnTo>
                  <a:lnTo>
                    <a:pt x="1486" y="0"/>
                  </a:lnTo>
                  <a:lnTo>
                    <a:pt x="1488" y="2"/>
                  </a:lnTo>
                  <a:lnTo>
                    <a:pt x="0" y="62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4" name="Freeform 13">
              <a:extLst>
                <a:ext uri="{FF2B5EF4-FFF2-40B4-BE49-F238E27FC236}">
                  <a16:creationId xmlns:a16="http://schemas.microsoft.com/office/drawing/2014/main" id="{4D21AA17-B91B-4252-A634-BD0DCBD79C43}"/>
                </a:ext>
              </a:extLst>
            </p:cNvPr>
            <p:cNvSpPr>
              <a:spLocks/>
            </p:cNvSpPr>
            <p:nvPr/>
          </p:nvSpPr>
          <p:spPr bwMode="auto">
            <a:xfrm>
              <a:off x="3270022" y="1893785"/>
              <a:ext cx="1839280" cy="751940"/>
            </a:xfrm>
            <a:custGeom>
              <a:avLst/>
              <a:gdLst>
                <a:gd name="T0" fmla="*/ 0 w 1360"/>
                <a:gd name="T1" fmla="*/ 556 h 556"/>
                <a:gd name="T2" fmla="*/ 0 w 1360"/>
                <a:gd name="T3" fmla="*/ 554 h 556"/>
                <a:gd name="T4" fmla="*/ 1360 w 1360"/>
                <a:gd name="T5" fmla="*/ 0 h 556"/>
                <a:gd name="T6" fmla="*/ 1360 w 1360"/>
                <a:gd name="T7" fmla="*/ 2 h 556"/>
                <a:gd name="T8" fmla="*/ 0 w 1360"/>
                <a:gd name="T9" fmla="*/ 556 h 556"/>
              </a:gdLst>
              <a:ahLst/>
              <a:cxnLst>
                <a:cxn ang="0">
                  <a:pos x="T0" y="T1"/>
                </a:cxn>
                <a:cxn ang="0">
                  <a:pos x="T2" y="T3"/>
                </a:cxn>
                <a:cxn ang="0">
                  <a:pos x="T4" y="T5"/>
                </a:cxn>
                <a:cxn ang="0">
                  <a:pos x="T6" y="T7"/>
                </a:cxn>
                <a:cxn ang="0">
                  <a:pos x="T8" y="T9"/>
                </a:cxn>
              </a:cxnLst>
              <a:rect l="0" t="0" r="r" b="b"/>
              <a:pathLst>
                <a:path w="1360" h="556">
                  <a:moveTo>
                    <a:pt x="0" y="556"/>
                  </a:moveTo>
                  <a:lnTo>
                    <a:pt x="0" y="554"/>
                  </a:lnTo>
                  <a:lnTo>
                    <a:pt x="1360" y="0"/>
                  </a:lnTo>
                  <a:lnTo>
                    <a:pt x="1360" y="2"/>
                  </a:lnTo>
                  <a:lnTo>
                    <a:pt x="0" y="556"/>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5" name="Freeform 14">
              <a:extLst>
                <a:ext uri="{FF2B5EF4-FFF2-40B4-BE49-F238E27FC236}">
                  <a16:creationId xmlns:a16="http://schemas.microsoft.com/office/drawing/2014/main" id="{6543795C-5B7D-4EB2-872B-474B76D1A875}"/>
                </a:ext>
              </a:extLst>
            </p:cNvPr>
            <p:cNvSpPr>
              <a:spLocks/>
            </p:cNvSpPr>
            <p:nvPr/>
          </p:nvSpPr>
          <p:spPr bwMode="auto">
            <a:xfrm>
              <a:off x="3602715" y="2661955"/>
              <a:ext cx="1831165" cy="754645"/>
            </a:xfrm>
            <a:custGeom>
              <a:avLst/>
              <a:gdLst>
                <a:gd name="T0" fmla="*/ 2 w 1354"/>
                <a:gd name="T1" fmla="*/ 558 h 558"/>
                <a:gd name="T2" fmla="*/ 0 w 1354"/>
                <a:gd name="T3" fmla="*/ 556 h 558"/>
                <a:gd name="T4" fmla="*/ 1352 w 1354"/>
                <a:gd name="T5" fmla="*/ 0 h 558"/>
                <a:gd name="T6" fmla="*/ 1354 w 1354"/>
                <a:gd name="T7" fmla="*/ 4 h 558"/>
                <a:gd name="T8" fmla="*/ 2 w 1354"/>
                <a:gd name="T9" fmla="*/ 558 h 558"/>
              </a:gdLst>
              <a:ahLst/>
              <a:cxnLst>
                <a:cxn ang="0">
                  <a:pos x="T0" y="T1"/>
                </a:cxn>
                <a:cxn ang="0">
                  <a:pos x="T2" y="T3"/>
                </a:cxn>
                <a:cxn ang="0">
                  <a:pos x="T4" y="T5"/>
                </a:cxn>
                <a:cxn ang="0">
                  <a:pos x="T6" y="T7"/>
                </a:cxn>
                <a:cxn ang="0">
                  <a:pos x="T8" y="T9"/>
                </a:cxn>
              </a:cxnLst>
              <a:rect l="0" t="0" r="r" b="b"/>
              <a:pathLst>
                <a:path w="1354" h="558">
                  <a:moveTo>
                    <a:pt x="2" y="558"/>
                  </a:moveTo>
                  <a:lnTo>
                    <a:pt x="0" y="556"/>
                  </a:lnTo>
                  <a:lnTo>
                    <a:pt x="1352" y="0"/>
                  </a:lnTo>
                  <a:lnTo>
                    <a:pt x="1354" y="4"/>
                  </a:lnTo>
                  <a:lnTo>
                    <a:pt x="2" y="558"/>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6" name="Freeform 15">
              <a:extLst>
                <a:ext uri="{FF2B5EF4-FFF2-40B4-BE49-F238E27FC236}">
                  <a16:creationId xmlns:a16="http://schemas.microsoft.com/office/drawing/2014/main" id="{B6855C54-1203-455B-A5D6-D373B6FB458A}"/>
                </a:ext>
              </a:extLst>
            </p:cNvPr>
            <p:cNvSpPr>
              <a:spLocks/>
            </p:cNvSpPr>
            <p:nvPr/>
          </p:nvSpPr>
          <p:spPr bwMode="auto">
            <a:xfrm>
              <a:off x="3938114" y="1669285"/>
              <a:ext cx="841200" cy="1996159"/>
            </a:xfrm>
            <a:custGeom>
              <a:avLst/>
              <a:gdLst>
                <a:gd name="T0" fmla="*/ 620 w 622"/>
                <a:gd name="T1" fmla="*/ 1476 h 1476"/>
                <a:gd name="T2" fmla="*/ 0 w 622"/>
                <a:gd name="T3" fmla="*/ 0 h 1476"/>
                <a:gd name="T4" fmla="*/ 4 w 622"/>
                <a:gd name="T5" fmla="*/ 0 h 1476"/>
                <a:gd name="T6" fmla="*/ 622 w 622"/>
                <a:gd name="T7" fmla="*/ 1474 h 1476"/>
                <a:gd name="T8" fmla="*/ 620 w 622"/>
                <a:gd name="T9" fmla="*/ 1476 h 1476"/>
              </a:gdLst>
              <a:ahLst/>
              <a:cxnLst>
                <a:cxn ang="0">
                  <a:pos x="T0" y="T1"/>
                </a:cxn>
                <a:cxn ang="0">
                  <a:pos x="T2" y="T3"/>
                </a:cxn>
                <a:cxn ang="0">
                  <a:pos x="T4" y="T5"/>
                </a:cxn>
                <a:cxn ang="0">
                  <a:pos x="T6" y="T7"/>
                </a:cxn>
                <a:cxn ang="0">
                  <a:pos x="T8" y="T9"/>
                </a:cxn>
              </a:cxnLst>
              <a:rect l="0" t="0" r="r" b="b"/>
              <a:pathLst>
                <a:path w="622" h="1476">
                  <a:moveTo>
                    <a:pt x="620" y="1476"/>
                  </a:moveTo>
                  <a:lnTo>
                    <a:pt x="0" y="0"/>
                  </a:lnTo>
                  <a:lnTo>
                    <a:pt x="4" y="0"/>
                  </a:lnTo>
                  <a:lnTo>
                    <a:pt x="622" y="1474"/>
                  </a:lnTo>
                  <a:lnTo>
                    <a:pt x="620" y="1476"/>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7" name="Freeform 16">
              <a:extLst>
                <a:ext uri="{FF2B5EF4-FFF2-40B4-BE49-F238E27FC236}">
                  <a16:creationId xmlns:a16="http://schemas.microsoft.com/office/drawing/2014/main" id="{614A2C69-EBEF-442C-9A5F-E2F79033878F}"/>
                </a:ext>
              </a:extLst>
            </p:cNvPr>
            <p:cNvSpPr>
              <a:spLocks/>
            </p:cNvSpPr>
            <p:nvPr/>
          </p:nvSpPr>
          <p:spPr bwMode="auto">
            <a:xfrm>
              <a:off x="3938114" y="1669285"/>
              <a:ext cx="841200" cy="1996159"/>
            </a:xfrm>
            <a:custGeom>
              <a:avLst/>
              <a:gdLst>
                <a:gd name="T0" fmla="*/ 4 w 622"/>
                <a:gd name="T1" fmla="*/ 1476 h 1476"/>
                <a:gd name="T2" fmla="*/ 0 w 622"/>
                <a:gd name="T3" fmla="*/ 1474 h 1476"/>
                <a:gd name="T4" fmla="*/ 620 w 622"/>
                <a:gd name="T5" fmla="*/ 0 h 1476"/>
                <a:gd name="T6" fmla="*/ 622 w 622"/>
                <a:gd name="T7" fmla="*/ 0 h 1476"/>
                <a:gd name="T8" fmla="*/ 4 w 622"/>
                <a:gd name="T9" fmla="*/ 1476 h 1476"/>
              </a:gdLst>
              <a:ahLst/>
              <a:cxnLst>
                <a:cxn ang="0">
                  <a:pos x="T0" y="T1"/>
                </a:cxn>
                <a:cxn ang="0">
                  <a:pos x="T2" y="T3"/>
                </a:cxn>
                <a:cxn ang="0">
                  <a:pos x="T4" y="T5"/>
                </a:cxn>
                <a:cxn ang="0">
                  <a:pos x="T6" y="T7"/>
                </a:cxn>
                <a:cxn ang="0">
                  <a:pos x="T8" y="T9"/>
                </a:cxn>
              </a:cxnLst>
              <a:rect l="0" t="0" r="r" b="b"/>
              <a:pathLst>
                <a:path w="622" h="1476">
                  <a:moveTo>
                    <a:pt x="4" y="1476"/>
                  </a:moveTo>
                  <a:lnTo>
                    <a:pt x="0" y="1474"/>
                  </a:lnTo>
                  <a:lnTo>
                    <a:pt x="620" y="0"/>
                  </a:lnTo>
                  <a:lnTo>
                    <a:pt x="622" y="0"/>
                  </a:lnTo>
                  <a:lnTo>
                    <a:pt x="4" y="1476"/>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8" name="Freeform 17">
              <a:extLst>
                <a:ext uri="{FF2B5EF4-FFF2-40B4-BE49-F238E27FC236}">
                  <a16:creationId xmlns:a16="http://schemas.microsoft.com/office/drawing/2014/main" id="{6B4C248D-B099-4082-9D49-B43330D49F89}"/>
                </a:ext>
              </a:extLst>
            </p:cNvPr>
            <p:cNvSpPr>
              <a:spLocks/>
            </p:cNvSpPr>
            <p:nvPr/>
          </p:nvSpPr>
          <p:spPr bwMode="auto">
            <a:xfrm>
              <a:off x="3345757" y="2234594"/>
              <a:ext cx="29753" cy="29753"/>
            </a:xfrm>
            <a:custGeom>
              <a:avLst/>
              <a:gdLst>
                <a:gd name="T0" fmla="*/ 22 w 22"/>
                <a:gd name="T1" fmla="*/ 10 h 22"/>
                <a:gd name="T2" fmla="*/ 22 w 22"/>
                <a:gd name="T3" fmla="*/ 10 h 22"/>
                <a:gd name="T4" fmla="*/ 20 w 22"/>
                <a:gd name="T5" fmla="*/ 6 h 22"/>
                <a:gd name="T6" fmla="*/ 18 w 22"/>
                <a:gd name="T7" fmla="*/ 2 h 22"/>
                <a:gd name="T8" fmla="*/ 14 w 22"/>
                <a:gd name="T9" fmla="*/ 0 h 22"/>
                <a:gd name="T10" fmla="*/ 10 w 22"/>
                <a:gd name="T11" fmla="*/ 0 h 22"/>
                <a:gd name="T12" fmla="*/ 10 w 22"/>
                <a:gd name="T13" fmla="*/ 0 h 22"/>
                <a:gd name="T14" fmla="*/ 6 w 22"/>
                <a:gd name="T15" fmla="*/ 0 h 22"/>
                <a:gd name="T16" fmla="*/ 2 w 22"/>
                <a:gd name="T17" fmla="*/ 2 h 22"/>
                <a:gd name="T18" fmla="*/ 0 w 22"/>
                <a:gd name="T19" fmla="*/ 6 h 22"/>
                <a:gd name="T20" fmla="*/ 0 w 22"/>
                <a:gd name="T21" fmla="*/ 10 h 22"/>
                <a:gd name="T22" fmla="*/ 0 w 22"/>
                <a:gd name="T23" fmla="*/ 10 h 22"/>
                <a:gd name="T24" fmla="*/ 0 w 22"/>
                <a:gd name="T25" fmla="*/ 16 h 22"/>
                <a:gd name="T26" fmla="*/ 2 w 22"/>
                <a:gd name="T27" fmla="*/ 18 h 22"/>
                <a:gd name="T28" fmla="*/ 6 w 22"/>
                <a:gd name="T29" fmla="*/ 22 h 22"/>
                <a:gd name="T30" fmla="*/ 10 w 22"/>
                <a:gd name="T31" fmla="*/ 22 h 22"/>
                <a:gd name="T32" fmla="*/ 10 w 22"/>
                <a:gd name="T33" fmla="*/ 22 h 22"/>
                <a:gd name="T34" fmla="*/ 14 w 22"/>
                <a:gd name="T35" fmla="*/ 22 h 22"/>
                <a:gd name="T36" fmla="*/ 18 w 22"/>
                <a:gd name="T37" fmla="*/ 18 h 22"/>
                <a:gd name="T38" fmla="*/ 20 w 22"/>
                <a:gd name="T39" fmla="*/ 16 h 22"/>
                <a:gd name="T40" fmla="*/ 22 w 22"/>
                <a:gd name="T41" fmla="*/ 10 h 22"/>
                <a:gd name="T42" fmla="*/ 22 w 22"/>
                <a:gd name="T4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0"/>
                  </a:moveTo>
                  <a:lnTo>
                    <a:pt x="22" y="10"/>
                  </a:lnTo>
                  <a:lnTo>
                    <a:pt x="20" y="6"/>
                  </a:lnTo>
                  <a:lnTo>
                    <a:pt x="18" y="2"/>
                  </a:lnTo>
                  <a:lnTo>
                    <a:pt x="14" y="0"/>
                  </a:lnTo>
                  <a:lnTo>
                    <a:pt x="10" y="0"/>
                  </a:lnTo>
                  <a:lnTo>
                    <a:pt x="10" y="0"/>
                  </a:lnTo>
                  <a:lnTo>
                    <a:pt x="6" y="0"/>
                  </a:lnTo>
                  <a:lnTo>
                    <a:pt x="2" y="2"/>
                  </a:lnTo>
                  <a:lnTo>
                    <a:pt x="0" y="6"/>
                  </a:lnTo>
                  <a:lnTo>
                    <a:pt x="0" y="10"/>
                  </a:lnTo>
                  <a:lnTo>
                    <a:pt x="0" y="10"/>
                  </a:lnTo>
                  <a:lnTo>
                    <a:pt x="0" y="16"/>
                  </a:lnTo>
                  <a:lnTo>
                    <a:pt x="2" y="18"/>
                  </a:lnTo>
                  <a:lnTo>
                    <a:pt x="6" y="22"/>
                  </a:lnTo>
                  <a:lnTo>
                    <a:pt x="10" y="22"/>
                  </a:lnTo>
                  <a:lnTo>
                    <a:pt x="10" y="22"/>
                  </a:lnTo>
                  <a:lnTo>
                    <a:pt x="14" y="22"/>
                  </a:lnTo>
                  <a:lnTo>
                    <a:pt x="18" y="18"/>
                  </a:lnTo>
                  <a:lnTo>
                    <a:pt x="20" y="16"/>
                  </a:lnTo>
                  <a:lnTo>
                    <a:pt x="22" y="10"/>
                  </a:lnTo>
                  <a:lnTo>
                    <a:pt x="22" y="10"/>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9" name="Freeform 18">
              <a:extLst>
                <a:ext uri="{FF2B5EF4-FFF2-40B4-BE49-F238E27FC236}">
                  <a16:creationId xmlns:a16="http://schemas.microsoft.com/office/drawing/2014/main" id="{01BEC65D-E189-4D32-B20E-EA489D3341FD}"/>
                </a:ext>
              </a:extLst>
            </p:cNvPr>
            <p:cNvSpPr>
              <a:spLocks/>
            </p:cNvSpPr>
            <p:nvPr/>
          </p:nvSpPr>
          <p:spPr bwMode="auto">
            <a:xfrm>
              <a:off x="3589192" y="1880261"/>
              <a:ext cx="29753" cy="29753"/>
            </a:xfrm>
            <a:custGeom>
              <a:avLst/>
              <a:gdLst>
                <a:gd name="T0" fmla="*/ 22 w 22"/>
                <a:gd name="T1" fmla="*/ 12 h 22"/>
                <a:gd name="T2" fmla="*/ 22 w 22"/>
                <a:gd name="T3" fmla="*/ 12 h 22"/>
                <a:gd name="T4" fmla="*/ 22 w 22"/>
                <a:gd name="T5" fmla="*/ 6 h 22"/>
                <a:gd name="T6" fmla="*/ 18 w 22"/>
                <a:gd name="T7" fmla="*/ 4 h 22"/>
                <a:gd name="T8" fmla="*/ 16 w 22"/>
                <a:gd name="T9" fmla="*/ 0 h 22"/>
                <a:gd name="T10" fmla="*/ 12 w 22"/>
                <a:gd name="T11" fmla="*/ 0 h 22"/>
                <a:gd name="T12" fmla="*/ 12 w 22"/>
                <a:gd name="T13" fmla="*/ 0 h 22"/>
                <a:gd name="T14" fmla="*/ 6 w 22"/>
                <a:gd name="T15" fmla="*/ 0 h 22"/>
                <a:gd name="T16" fmla="*/ 4 w 22"/>
                <a:gd name="T17" fmla="*/ 4 h 22"/>
                <a:gd name="T18" fmla="*/ 0 w 22"/>
                <a:gd name="T19" fmla="*/ 6 h 22"/>
                <a:gd name="T20" fmla="*/ 0 w 22"/>
                <a:gd name="T21" fmla="*/ 12 h 22"/>
                <a:gd name="T22" fmla="*/ 0 w 22"/>
                <a:gd name="T23" fmla="*/ 12 h 22"/>
                <a:gd name="T24" fmla="*/ 0 w 22"/>
                <a:gd name="T25" fmla="*/ 16 h 22"/>
                <a:gd name="T26" fmla="*/ 4 w 22"/>
                <a:gd name="T27" fmla="*/ 20 h 22"/>
                <a:gd name="T28" fmla="*/ 6 w 22"/>
                <a:gd name="T29" fmla="*/ 22 h 22"/>
                <a:gd name="T30" fmla="*/ 12 w 22"/>
                <a:gd name="T31" fmla="*/ 22 h 22"/>
                <a:gd name="T32" fmla="*/ 12 w 22"/>
                <a:gd name="T33" fmla="*/ 22 h 22"/>
                <a:gd name="T34" fmla="*/ 16 w 22"/>
                <a:gd name="T35" fmla="*/ 22 h 22"/>
                <a:gd name="T36" fmla="*/ 18 w 22"/>
                <a:gd name="T37" fmla="*/ 20 h 22"/>
                <a:gd name="T38" fmla="*/ 22 w 22"/>
                <a:gd name="T39" fmla="*/ 16 h 22"/>
                <a:gd name="T40" fmla="*/ 22 w 22"/>
                <a:gd name="T41" fmla="*/ 12 h 22"/>
                <a:gd name="T42" fmla="*/ 22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2"/>
                  </a:moveTo>
                  <a:lnTo>
                    <a:pt x="22" y="12"/>
                  </a:lnTo>
                  <a:lnTo>
                    <a:pt x="22" y="6"/>
                  </a:lnTo>
                  <a:lnTo>
                    <a:pt x="18" y="4"/>
                  </a:lnTo>
                  <a:lnTo>
                    <a:pt x="16" y="0"/>
                  </a:lnTo>
                  <a:lnTo>
                    <a:pt x="12" y="0"/>
                  </a:lnTo>
                  <a:lnTo>
                    <a:pt x="12" y="0"/>
                  </a:lnTo>
                  <a:lnTo>
                    <a:pt x="6" y="0"/>
                  </a:lnTo>
                  <a:lnTo>
                    <a:pt x="4" y="4"/>
                  </a:lnTo>
                  <a:lnTo>
                    <a:pt x="0" y="6"/>
                  </a:lnTo>
                  <a:lnTo>
                    <a:pt x="0" y="12"/>
                  </a:lnTo>
                  <a:lnTo>
                    <a:pt x="0" y="12"/>
                  </a:lnTo>
                  <a:lnTo>
                    <a:pt x="0" y="16"/>
                  </a:lnTo>
                  <a:lnTo>
                    <a:pt x="4" y="20"/>
                  </a:lnTo>
                  <a:lnTo>
                    <a:pt x="6" y="22"/>
                  </a:lnTo>
                  <a:lnTo>
                    <a:pt x="12" y="22"/>
                  </a:lnTo>
                  <a:lnTo>
                    <a:pt x="12" y="22"/>
                  </a:lnTo>
                  <a:lnTo>
                    <a:pt x="16" y="22"/>
                  </a:lnTo>
                  <a:lnTo>
                    <a:pt x="18" y="20"/>
                  </a:lnTo>
                  <a:lnTo>
                    <a:pt x="22" y="16"/>
                  </a:lnTo>
                  <a:lnTo>
                    <a:pt x="22" y="12"/>
                  </a:lnTo>
                  <a:lnTo>
                    <a:pt x="22" y="1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0" name="Freeform 19">
              <a:extLst>
                <a:ext uri="{FF2B5EF4-FFF2-40B4-BE49-F238E27FC236}">
                  <a16:creationId xmlns:a16="http://schemas.microsoft.com/office/drawing/2014/main" id="{8EF18322-358A-4DC1-B6C2-50730295C49C}"/>
                </a:ext>
              </a:extLst>
            </p:cNvPr>
            <p:cNvSpPr>
              <a:spLocks/>
            </p:cNvSpPr>
            <p:nvPr/>
          </p:nvSpPr>
          <p:spPr bwMode="auto">
            <a:xfrm>
              <a:off x="3924589" y="1655760"/>
              <a:ext cx="29753" cy="29753"/>
            </a:xfrm>
            <a:custGeom>
              <a:avLst/>
              <a:gdLst>
                <a:gd name="T0" fmla="*/ 22 w 22"/>
                <a:gd name="T1" fmla="*/ 10 h 22"/>
                <a:gd name="T2" fmla="*/ 22 w 22"/>
                <a:gd name="T3" fmla="*/ 10 h 22"/>
                <a:gd name="T4" fmla="*/ 22 w 22"/>
                <a:gd name="T5" fmla="*/ 6 h 22"/>
                <a:gd name="T6" fmla="*/ 20 w 22"/>
                <a:gd name="T7" fmla="*/ 2 h 22"/>
                <a:gd name="T8" fmla="*/ 16 w 22"/>
                <a:gd name="T9" fmla="*/ 0 h 22"/>
                <a:gd name="T10" fmla="*/ 12 w 22"/>
                <a:gd name="T11" fmla="*/ 0 h 22"/>
                <a:gd name="T12" fmla="*/ 12 w 22"/>
                <a:gd name="T13" fmla="*/ 0 h 22"/>
                <a:gd name="T14" fmla="*/ 8 w 22"/>
                <a:gd name="T15" fmla="*/ 0 h 22"/>
                <a:gd name="T16" fmla="*/ 4 w 22"/>
                <a:gd name="T17" fmla="*/ 2 h 22"/>
                <a:gd name="T18" fmla="*/ 2 w 22"/>
                <a:gd name="T19" fmla="*/ 6 h 22"/>
                <a:gd name="T20" fmla="*/ 0 w 22"/>
                <a:gd name="T21" fmla="*/ 10 h 22"/>
                <a:gd name="T22" fmla="*/ 0 w 22"/>
                <a:gd name="T23" fmla="*/ 10 h 22"/>
                <a:gd name="T24" fmla="*/ 2 w 22"/>
                <a:gd name="T25" fmla="*/ 14 h 22"/>
                <a:gd name="T26" fmla="*/ 4 w 22"/>
                <a:gd name="T27" fmla="*/ 18 h 22"/>
                <a:gd name="T28" fmla="*/ 8 w 22"/>
                <a:gd name="T29" fmla="*/ 20 h 22"/>
                <a:gd name="T30" fmla="*/ 12 w 22"/>
                <a:gd name="T31" fmla="*/ 22 h 22"/>
                <a:gd name="T32" fmla="*/ 12 w 22"/>
                <a:gd name="T33" fmla="*/ 22 h 22"/>
                <a:gd name="T34" fmla="*/ 16 w 22"/>
                <a:gd name="T35" fmla="*/ 20 h 22"/>
                <a:gd name="T36" fmla="*/ 20 w 22"/>
                <a:gd name="T37" fmla="*/ 18 h 22"/>
                <a:gd name="T38" fmla="*/ 22 w 22"/>
                <a:gd name="T39" fmla="*/ 14 h 22"/>
                <a:gd name="T40" fmla="*/ 22 w 22"/>
                <a:gd name="T41" fmla="*/ 10 h 22"/>
                <a:gd name="T42" fmla="*/ 22 w 22"/>
                <a:gd name="T4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0"/>
                  </a:moveTo>
                  <a:lnTo>
                    <a:pt x="22" y="10"/>
                  </a:lnTo>
                  <a:lnTo>
                    <a:pt x="22" y="6"/>
                  </a:lnTo>
                  <a:lnTo>
                    <a:pt x="20" y="2"/>
                  </a:lnTo>
                  <a:lnTo>
                    <a:pt x="16" y="0"/>
                  </a:lnTo>
                  <a:lnTo>
                    <a:pt x="12" y="0"/>
                  </a:lnTo>
                  <a:lnTo>
                    <a:pt x="12" y="0"/>
                  </a:lnTo>
                  <a:lnTo>
                    <a:pt x="8" y="0"/>
                  </a:lnTo>
                  <a:lnTo>
                    <a:pt x="4" y="2"/>
                  </a:lnTo>
                  <a:lnTo>
                    <a:pt x="2" y="6"/>
                  </a:lnTo>
                  <a:lnTo>
                    <a:pt x="0" y="10"/>
                  </a:lnTo>
                  <a:lnTo>
                    <a:pt x="0" y="10"/>
                  </a:lnTo>
                  <a:lnTo>
                    <a:pt x="2" y="14"/>
                  </a:lnTo>
                  <a:lnTo>
                    <a:pt x="4" y="18"/>
                  </a:lnTo>
                  <a:lnTo>
                    <a:pt x="8" y="20"/>
                  </a:lnTo>
                  <a:lnTo>
                    <a:pt x="12" y="22"/>
                  </a:lnTo>
                  <a:lnTo>
                    <a:pt x="12" y="22"/>
                  </a:lnTo>
                  <a:lnTo>
                    <a:pt x="16" y="20"/>
                  </a:lnTo>
                  <a:lnTo>
                    <a:pt x="20" y="18"/>
                  </a:lnTo>
                  <a:lnTo>
                    <a:pt x="22" y="14"/>
                  </a:lnTo>
                  <a:lnTo>
                    <a:pt x="22" y="10"/>
                  </a:lnTo>
                  <a:lnTo>
                    <a:pt x="22" y="10"/>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1" name="Freeform 20">
              <a:extLst>
                <a:ext uri="{FF2B5EF4-FFF2-40B4-BE49-F238E27FC236}">
                  <a16:creationId xmlns:a16="http://schemas.microsoft.com/office/drawing/2014/main" id="{E1A968E0-9995-4919-BD74-1535A14C0265}"/>
                </a:ext>
              </a:extLst>
            </p:cNvPr>
            <p:cNvSpPr>
              <a:spLocks/>
            </p:cNvSpPr>
            <p:nvPr/>
          </p:nvSpPr>
          <p:spPr bwMode="auto">
            <a:xfrm>
              <a:off x="4341132" y="1561092"/>
              <a:ext cx="29753" cy="29753"/>
            </a:xfrm>
            <a:custGeom>
              <a:avLst/>
              <a:gdLst>
                <a:gd name="T0" fmla="*/ 22 w 22"/>
                <a:gd name="T1" fmla="*/ 10 h 22"/>
                <a:gd name="T2" fmla="*/ 22 w 22"/>
                <a:gd name="T3" fmla="*/ 10 h 22"/>
                <a:gd name="T4" fmla="*/ 22 w 22"/>
                <a:gd name="T5" fmla="*/ 6 h 22"/>
                <a:gd name="T6" fmla="*/ 20 w 22"/>
                <a:gd name="T7" fmla="*/ 2 h 22"/>
                <a:gd name="T8" fmla="*/ 16 w 22"/>
                <a:gd name="T9" fmla="*/ 0 h 22"/>
                <a:gd name="T10" fmla="*/ 12 w 22"/>
                <a:gd name="T11" fmla="*/ 0 h 22"/>
                <a:gd name="T12" fmla="*/ 12 w 22"/>
                <a:gd name="T13" fmla="*/ 0 h 22"/>
                <a:gd name="T14" fmla="*/ 6 w 22"/>
                <a:gd name="T15" fmla="*/ 0 h 22"/>
                <a:gd name="T16" fmla="*/ 4 w 22"/>
                <a:gd name="T17" fmla="*/ 2 h 22"/>
                <a:gd name="T18" fmla="*/ 0 w 22"/>
                <a:gd name="T19" fmla="*/ 6 h 22"/>
                <a:gd name="T20" fmla="*/ 0 w 22"/>
                <a:gd name="T21" fmla="*/ 10 h 22"/>
                <a:gd name="T22" fmla="*/ 0 w 22"/>
                <a:gd name="T23" fmla="*/ 10 h 22"/>
                <a:gd name="T24" fmla="*/ 0 w 22"/>
                <a:gd name="T25" fmla="*/ 14 h 22"/>
                <a:gd name="T26" fmla="*/ 4 w 22"/>
                <a:gd name="T27" fmla="*/ 18 h 22"/>
                <a:gd name="T28" fmla="*/ 6 w 22"/>
                <a:gd name="T29" fmla="*/ 20 h 22"/>
                <a:gd name="T30" fmla="*/ 12 w 22"/>
                <a:gd name="T31" fmla="*/ 22 h 22"/>
                <a:gd name="T32" fmla="*/ 12 w 22"/>
                <a:gd name="T33" fmla="*/ 22 h 22"/>
                <a:gd name="T34" fmla="*/ 16 w 22"/>
                <a:gd name="T35" fmla="*/ 20 h 22"/>
                <a:gd name="T36" fmla="*/ 20 w 22"/>
                <a:gd name="T37" fmla="*/ 18 h 22"/>
                <a:gd name="T38" fmla="*/ 22 w 22"/>
                <a:gd name="T39" fmla="*/ 14 h 22"/>
                <a:gd name="T40" fmla="*/ 22 w 22"/>
                <a:gd name="T41" fmla="*/ 10 h 22"/>
                <a:gd name="T42" fmla="*/ 22 w 22"/>
                <a:gd name="T4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0"/>
                  </a:moveTo>
                  <a:lnTo>
                    <a:pt x="22" y="10"/>
                  </a:lnTo>
                  <a:lnTo>
                    <a:pt x="22" y="6"/>
                  </a:lnTo>
                  <a:lnTo>
                    <a:pt x="20" y="2"/>
                  </a:lnTo>
                  <a:lnTo>
                    <a:pt x="16" y="0"/>
                  </a:lnTo>
                  <a:lnTo>
                    <a:pt x="12" y="0"/>
                  </a:lnTo>
                  <a:lnTo>
                    <a:pt x="12" y="0"/>
                  </a:lnTo>
                  <a:lnTo>
                    <a:pt x="6" y="0"/>
                  </a:lnTo>
                  <a:lnTo>
                    <a:pt x="4" y="2"/>
                  </a:lnTo>
                  <a:lnTo>
                    <a:pt x="0" y="6"/>
                  </a:lnTo>
                  <a:lnTo>
                    <a:pt x="0" y="10"/>
                  </a:lnTo>
                  <a:lnTo>
                    <a:pt x="0" y="10"/>
                  </a:lnTo>
                  <a:lnTo>
                    <a:pt x="0" y="14"/>
                  </a:lnTo>
                  <a:lnTo>
                    <a:pt x="4" y="18"/>
                  </a:lnTo>
                  <a:lnTo>
                    <a:pt x="6" y="20"/>
                  </a:lnTo>
                  <a:lnTo>
                    <a:pt x="12" y="22"/>
                  </a:lnTo>
                  <a:lnTo>
                    <a:pt x="12" y="22"/>
                  </a:lnTo>
                  <a:lnTo>
                    <a:pt x="16" y="20"/>
                  </a:lnTo>
                  <a:lnTo>
                    <a:pt x="20" y="18"/>
                  </a:lnTo>
                  <a:lnTo>
                    <a:pt x="22" y="14"/>
                  </a:lnTo>
                  <a:lnTo>
                    <a:pt x="22" y="10"/>
                  </a:lnTo>
                  <a:lnTo>
                    <a:pt x="22" y="10"/>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2" name="Freeform 23">
              <a:extLst>
                <a:ext uri="{FF2B5EF4-FFF2-40B4-BE49-F238E27FC236}">
                  <a16:creationId xmlns:a16="http://schemas.microsoft.com/office/drawing/2014/main" id="{10D1DAF6-BC2E-4734-B707-CC7427AA0CD0}"/>
                </a:ext>
              </a:extLst>
            </p:cNvPr>
            <p:cNvSpPr>
              <a:spLocks/>
            </p:cNvSpPr>
            <p:nvPr/>
          </p:nvSpPr>
          <p:spPr bwMode="auto">
            <a:xfrm>
              <a:off x="3589192" y="3400371"/>
              <a:ext cx="29753" cy="29753"/>
            </a:xfrm>
            <a:custGeom>
              <a:avLst/>
              <a:gdLst>
                <a:gd name="T0" fmla="*/ 22 w 22"/>
                <a:gd name="T1" fmla="*/ 12 h 22"/>
                <a:gd name="T2" fmla="*/ 22 w 22"/>
                <a:gd name="T3" fmla="*/ 12 h 22"/>
                <a:gd name="T4" fmla="*/ 22 w 22"/>
                <a:gd name="T5" fmla="*/ 8 h 22"/>
                <a:gd name="T6" fmla="*/ 18 w 22"/>
                <a:gd name="T7" fmla="*/ 4 h 22"/>
                <a:gd name="T8" fmla="*/ 16 w 22"/>
                <a:gd name="T9" fmla="*/ 2 h 22"/>
                <a:gd name="T10" fmla="*/ 12 w 22"/>
                <a:gd name="T11" fmla="*/ 0 h 22"/>
                <a:gd name="T12" fmla="*/ 12 w 22"/>
                <a:gd name="T13" fmla="*/ 0 h 22"/>
                <a:gd name="T14" fmla="*/ 6 w 22"/>
                <a:gd name="T15" fmla="*/ 2 h 22"/>
                <a:gd name="T16" fmla="*/ 4 w 22"/>
                <a:gd name="T17" fmla="*/ 4 h 22"/>
                <a:gd name="T18" fmla="*/ 0 w 22"/>
                <a:gd name="T19" fmla="*/ 8 h 22"/>
                <a:gd name="T20" fmla="*/ 0 w 22"/>
                <a:gd name="T21" fmla="*/ 12 h 22"/>
                <a:gd name="T22" fmla="*/ 0 w 22"/>
                <a:gd name="T23" fmla="*/ 12 h 22"/>
                <a:gd name="T24" fmla="*/ 0 w 22"/>
                <a:gd name="T25" fmla="*/ 16 h 22"/>
                <a:gd name="T26" fmla="*/ 4 w 22"/>
                <a:gd name="T27" fmla="*/ 20 h 22"/>
                <a:gd name="T28" fmla="*/ 6 w 22"/>
                <a:gd name="T29" fmla="*/ 22 h 22"/>
                <a:gd name="T30" fmla="*/ 12 w 22"/>
                <a:gd name="T31" fmla="*/ 22 h 22"/>
                <a:gd name="T32" fmla="*/ 12 w 22"/>
                <a:gd name="T33" fmla="*/ 22 h 22"/>
                <a:gd name="T34" fmla="*/ 16 w 22"/>
                <a:gd name="T35" fmla="*/ 22 h 22"/>
                <a:gd name="T36" fmla="*/ 18 w 22"/>
                <a:gd name="T37" fmla="*/ 20 h 22"/>
                <a:gd name="T38" fmla="*/ 22 w 22"/>
                <a:gd name="T39" fmla="*/ 16 h 22"/>
                <a:gd name="T40" fmla="*/ 22 w 22"/>
                <a:gd name="T41" fmla="*/ 12 h 22"/>
                <a:gd name="T42" fmla="*/ 22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2"/>
                  </a:moveTo>
                  <a:lnTo>
                    <a:pt x="22" y="12"/>
                  </a:lnTo>
                  <a:lnTo>
                    <a:pt x="22" y="8"/>
                  </a:lnTo>
                  <a:lnTo>
                    <a:pt x="18" y="4"/>
                  </a:lnTo>
                  <a:lnTo>
                    <a:pt x="16" y="2"/>
                  </a:lnTo>
                  <a:lnTo>
                    <a:pt x="12" y="0"/>
                  </a:lnTo>
                  <a:lnTo>
                    <a:pt x="12" y="0"/>
                  </a:lnTo>
                  <a:lnTo>
                    <a:pt x="6" y="2"/>
                  </a:lnTo>
                  <a:lnTo>
                    <a:pt x="4" y="4"/>
                  </a:lnTo>
                  <a:lnTo>
                    <a:pt x="0" y="8"/>
                  </a:lnTo>
                  <a:lnTo>
                    <a:pt x="0" y="12"/>
                  </a:lnTo>
                  <a:lnTo>
                    <a:pt x="0" y="12"/>
                  </a:lnTo>
                  <a:lnTo>
                    <a:pt x="0" y="16"/>
                  </a:lnTo>
                  <a:lnTo>
                    <a:pt x="4" y="20"/>
                  </a:lnTo>
                  <a:lnTo>
                    <a:pt x="6" y="22"/>
                  </a:lnTo>
                  <a:lnTo>
                    <a:pt x="12" y="22"/>
                  </a:lnTo>
                  <a:lnTo>
                    <a:pt x="12" y="22"/>
                  </a:lnTo>
                  <a:lnTo>
                    <a:pt x="16" y="22"/>
                  </a:lnTo>
                  <a:lnTo>
                    <a:pt x="18" y="20"/>
                  </a:lnTo>
                  <a:lnTo>
                    <a:pt x="22" y="16"/>
                  </a:lnTo>
                  <a:lnTo>
                    <a:pt x="22" y="12"/>
                  </a:lnTo>
                  <a:lnTo>
                    <a:pt x="22" y="1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3" name="Freeform 24">
              <a:extLst>
                <a:ext uri="{FF2B5EF4-FFF2-40B4-BE49-F238E27FC236}">
                  <a16:creationId xmlns:a16="http://schemas.microsoft.com/office/drawing/2014/main" id="{A29133E6-102F-4B7E-8DA7-43976FC7B3FA}"/>
                </a:ext>
              </a:extLst>
            </p:cNvPr>
            <p:cNvSpPr>
              <a:spLocks/>
            </p:cNvSpPr>
            <p:nvPr/>
          </p:nvSpPr>
          <p:spPr bwMode="auto">
            <a:xfrm>
              <a:off x="3259203" y="2629497"/>
              <a:ext cx="29753" cy="29753"/>
            </a:xfrm>
            <a:custGeom>
              <a:avLst/>
              <a:gdLst>
                <a:gd name="T0" fmla="*/ 22 w 22"/>
                <a:gd name="T1" fmla="*/ 12 h 22"/>
                <a:gd name="T2" fmla="*/ 22 w 22"/>
                <a:gd name="T3" fmla="*/ 12 h 22"/>
                <a:gd name="T4" fmla="*/ 22 w 22"/>
                <a:gd name="T5" fmla="*/ 8 h 22"/>
                <a:gd name="T6" fmla="*/ 20 w 22"/>
                <a:gd name="T7" fmla="*/ 4 h 22"/>
                <a:gd name="T8" fmla="*/ 16 w 22"/>
                <a:gd name="T9" fmla="*/ 2 h 22"/>
                <a:gd name="T10" fmla="*/ 12 w 22"/>
                <a:gd name="T11" fmla="*/ 0 h 22"/>
                <a:gd name="T12" fmla="*/ 12 w 22"/>
                <a:gd name="T13" fmla="*/ 0 h 22"/>
                <a:gd name="T14" fmla="*/ 8 w 22"/>
                <a:gd name="T15" fmla="*/ 2 h 22"/>
                <a:gd name="T16" fmla="*/ 4 w 22"/>
                <a:gd name="T17" fmla="*/ 4 h 22"/>
                <a:gd name="T18" fmla="*/ 2 w 22"/>
                <a:gd name="T19" fmla="*/ 8 h 22"/>
                <a:gd name="T20" fmla="*/ 0 w 22"/>
                <a:gd name="T21" fmla="*/ 12 h 22"/>
                <a:gd name="T22" fmla="*/ 0 w 22"/>
                <a:gd name="T23" fmla="*/ 12 h 22"/>
                <a:gd name="T24" fmla="*/ 2 w 22"/>
                <a:gd name="T25" fmla="*/ 16 h 22"/>
                <a:gd name="T26" fmla="*/ 4 w 22"/>
                <a:gd name="T27" fmla="*/ 20 h 22"/>
                <a:gd name="T28" fmla="*/ 8 w 22"/>
                <a:gd name="T29" fmla="*/ 22 h 22"/>
                <a:gd name="T30" fmla="*/ 12 w 22"/>
                <a:gd name="T31" fmla="*/ 22 h 22"/>
                <a:gd name="T32" fmla="*/ 12 w 22"/>
                <a:gd name="T33" fmla="*/ 22 h 22"/>
                <a:gd name="T34" fmla="*/ 16 w 22"/>
                <a:gd name="T35" fmla="*/ 22 h 22"/>
                <a:gd name="T36" fmla="*/ 20 w 22"/>
                <a:gd name="T37" fmla="*/ 20 h 22"/>
                <a:gd name="T38" fmla="*/ 22 w 22"/>
                <a:gd name="T39" fmla="*/ 16 h 22"/>
                <a:gd name="T40" fmla="*/ 22 w 22"/>
                <a:gd name="T41" fmla="*/ 12 h 22"/>
                <a:gd name="T42" fmla="*/ 22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2"/>
                  </a:moveTo>
                  <a:lnTo>
                    <a:pt x="22" y="12"/>
                  </a:lnTo>
                  <a:lnTo>
                    <a:pt x="22" y="8"/>
                  </a:lnTo>
                  <a:lnTo>
                    <a:pt x="20" y="4"/>
                  </a:lnTo>
                  <a:lnTo>
                    <a:pt x="16" y="2"/>
                  </a:lnTo>
                  <a:lnTo>
                    <a:pt x="12" y="0"/>
                  </a:lnTo>
                  <a:lnTo>
                    <a:pt x="12" y="0"/>
                  </a:lnTo>
                  <a:lnTo>
                    <a:pt x="8" y="2"/>
                  </a:lnTo>
                  <a:lnTo>
                    <a:pt x="4" y="4"/>
                  </a:lnTo>
                  <a:lnTo>
                    <a:pt x="2" y="8"/>
                  </a:lnTo>
                  <a:lnTo>
                    <a:pt x="0" y="12"/>
                  </a:lnTo>
                  <a:lnTo>
                    <a:pt x="0" y="12"/>
                  </a:lnTo>
                  <a:lnTo>
                    <a:pt x="2" y="16"/>
                  </a:lnTo>
                  <a:lnTo>
                    <a:pt x="4" y="20"/>
                  </a:lnTo>
                  <a:lnTo>
                    <a:pt x="8" y="22"/>
                  </a:lnTo>
                  <a:lnTo>
                    <a:pt x="12" y="22"/>
                  </a:lnTo>
                  <a:lnTo>
                    <a:pt x="12" y="22"/>
                  </a:lnTo>
                  <a:lnTo>
                    <a:pt x="16" y="22"/>
                  </a:lnTo>
                  <a:lnTo>
                    <a:pt x="20" y="20"/>
                  </a:lnTo>
                  <a:lnTo>
                    <a:pt x="22" y="16"/>
                  </a:lnTo>
                  <a:lnTo>
                    <a:pt x="22" y="12"/>
                  </a:lnTo>
                  <a:lnTo>
                    <a:pt x="22" y="1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4" name="Freeform 25">
              <a:extLst>
                <a:ext uri="{FF2B5EF4-FFF2-40B4-BE49-F238E27FC236}">
                  <a16:creationId xmlns:a16="http://schemas.microsoft.com/office/drawing/2014/main" id="{E521ADC8-3015-4C01-9467-B1E3A694E9FC}"/>
                </a:ext>
              </a:extLst>
            </p:cNvPr>
            <p:cNvSpPr>
              <a:spLocks/>
            </p:cNvSpPr>
            <p:nvPr/>
          </p:nvSpPr>
          <p:spPr bwMode="auto">
            <a:xfrm>
              <a:off x="3343052" y="3067678"/>
              <a:ext cx="29753" cy="29753"/>
            </a:xfrm>
            <a:custGeom>
              <a:avLst/>
              <a:gdLst>
                <a:gd name="T0" fmla="*/ 22 w 22"/>
                <a:gd name="T1" fmla="*/ 12 h 22"/>
                <a:gd name="T2" fmla="*/ 22 w 22"/>
                <a:gd name="T3" fmla="*/ 12 h 22"/>
                <a:gd name="T4" fmla="*/ 22 w 22"/>
                <a:gd name="T5" fmla="*/ 8 h 22"/>
                <a:gd name="T6" fmla="*/ 20 w 22"/>
                <a:gd name="T7" fmla="*/ 4 h 22"/>
                <a:gd name="T8" fmla="*/ 16 w 22"/>
                <a:gd name="T9" fmla="*/ 2 h 22"/>
                <a:gd name="T10" fmla="*/ 12 w 22"/>
                <a:gd name="T11" fmla="*/ 0 h 22"/>
                <a:gd name="T12" fmla="*/ 12 w 22"/>
                <a:gd name="T13" fmla="*/ 0 h 22"/>
                <a:gd name="T14" fmla="*/ 8 w 22"/>
                <a:gd name="T15" fmla="*/ 2 h 22"/>
                <a:gd name="T16" fmla="*/ 4 w 22"/>
                <a:gd name="T17" fmla="*/ 4 h 22"/>
                <a:gd name="T18" fmla="*/ 2 w 22"/>
                <a:gd name="T19" fmla="*/ 8 h 22"/>
                <a:gd name="T20" fmla="*/ 0 w 22"/>
                <a:gd name="T21" fmla="*/ 12 h 22"/>
                <a:gd name="T22" fmla="*/ 0 w 22"/>
                <a:gd name="T23" fmla="*/ 12 h 22"/>
                <a:gd name="T24" fmla="*/ 2 w 22"/>
                <a:gd name="T25" fmla="*/ 16 h 22"/>
                <a:gd name="T26" fmla="*/ 4 w 22"/>
                <a:gd name="T27" fmla="*/ 20 h 22"/>
                <a:gd name="T28" fmla="*/ 8 w 22"/>
                <a:gd name="T29" fmla="*/ 22 h 22"/>
                <a:gd name="T30" fmla="*/ 12 w 22"/>
                <a:gd name="T31" fmla="*/ 22 h 22"/>
                <a:gd name="T32" fmla="*/ 12 w 22"/>
                <a:gd name="T33" fmla="*/ 22 h 22"/>
                <a:gd name="T34" fmla="*/ 16 w 22"/>
                <a:gd name="T35" fmla="*/ 22 h 22"/>
                <a:gd name="T36" fmla="*/ 20 w 22"/>
                <a:gd name="T37" fmla="*/ 20 h 22"/>
                <a:gd name="T38" fmla="*/ 22 w 22"/>
                <a:gd name="T39" fmla="*/ 16 h 22"/>
                <a:gd name="T40" fmla="*/ 22 w 22"/>
                <a:gd name="T41" fmla="*/ 12 h 22"/>
                <a:gd name="T42" fmla="*/ 22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2"/>
                  </a:moveTo>
                  <a:lnTo>
                    <a:pt x="22" y="12"/>
                  </a:lnTo>
                  <a:lnTo>
                    <a:pt x="22" y="8"/>
                  </a:lnTo>
                  <a:lnTo>
                    <a:pt x="20" y="4"/>
                  </a:lnTo>
                  <a:lnTo>
                    <a:pt x="16" y="2"/>
                  </a:lnTo>
                  <a:lnTo>
                    <a:pt x="12" y="0"/>
                  </a:lnTo>
                  <a:lnTo>
                    <a:pt x="12" y="0"/>
                  </a:lnTo>
                  <a:lnTo>
                    <a:pt x="8" y="2"/>
                  </a:lnTo>
                  <a:lnTo>
                    <a:pt x="4" y="4"/>
                  </a:lnTo>
                  <a:lnTo>
                    <a:pt x="2" y="8"/>
                  </a:lnTo>
                  <a:lnTo>
                    <a:pt x="0" y="12"/>
                  </a:lnTo>
                  <a:lnTo>
                    <a:pt x="0" y="12"/>
                  </a:lnTo>
                  <a:lnTo>
                    <a:pt x="2" y="16"/>
                  </a:lnTo>
                  <a:lnTo>
                    <a:pt x="4" y="20"/>
                  </a:lnTo>
                  <a:lnTo>
                    <a:pt x="8" y="22"/>
                  </a:lnTo>
                  <a:lnTo>
                    <a:pt x="12" y="22"/>
                  </a:lnTo>
                  <a:lnTo>
                    <a:pt x="12" y="22"/>
                  </a:lnTo>
                  <a:lnTo>
                    <a:pt x="16" y="22"/>
                  </a:lnTo>
                  <a:lnTo>
                    <a:pt x="20" y="20"/>
                  </a:lnTo>
                  <a:lnTo>
                    <a:pt x="22" y="16"/>
                  </a:lnTo>
                  <a:lnTo>
                    <a:pt x="22" y="12"/>
                  </a:lnTo>
                  <a:lnTo>
                    <a:pt x="22" y="1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5" name="Freeform 26">
              <a:extLst>
                <a:ext uri="{FF2B5EF4-FFF2-40B4-BE49-F238E27FC236}">
                  <a16:creationId xmlns:a16="http://schemas.microsoft.com/office/drawing/2014/main" id="{0CD7B3D4-0D61-4606-BA67-C8EFA3A32E5A}"/>
                </a:ext>
              </a:extLst>
            </p:cNvPr>
            <p:cNvSpPr>
              <a:spLocks/>
            </p:cNvSpPr>
            <p:nvPr/>
          </p:nvSpPr>
          <p:spPr bwMode="auto">
            <a:xfrm>
              <a:off x="5336506" y="2234594"/>
              <a:ext cx="29753" cy="29753"/>
            </a:xfrm>
            <a:custGeom>
              <a:avLst/>
              <a:gdLst>
                <a:gd name="T0" fmla="*/ 0 w 22"/>
                <a:gd name="T1" fmla="*/ 10 h 22"/>
                <a:gd name="T2" fmla="*/ 0 w 22"/>
                <a:gd name="T3" fmla="*/ 10 h 22"/>
                <a:gd name="T4" fmla="*/ 0 w 22"/>
                <a:gd name="T5" fmla="*/ 6 h 22"/>
                <a:gd name="T6" fmla="*/ 2 w 22"/>
                <a:gd name="T7" fmla="*/ 2 h 22"/>
                <a:gd name="T8" fmla="*/ 6 w 22"/>
                <a:gd name="T9" fmla="*/ 0 h 22"/>
                <a:gd name="T10" fmla="*/ 10 w 22"/>
                <a:gd name="T11" fmla="*/ 0 h 22"/>
                <a:gd name="T12" fmla="*/ 10 w 22"/>
                <a:gd name="T13" fmla="*/ 0 h 22"/>
                <a:gd name="T14" fmla="*/ 14 w 22"/>
                <a:gd name="T15" fmla="*/ 0 h 22"/>
                <a:gd name="T16" fmla="*/ 18 w 22"/>
                <a:gd name="T17" fmla="*/ 2 h 22"/>
                <a:gd name="T18" fmla="*/ 20 w 22"/>
                <a:gd name="T19" fmla="*/ 6 h 22"/>
                <a:gd name="T20" fmla="*/ 22 w 22"/>
                <a:gd name="T21" fmla="*/ 10 h 22"/>
                <a:gd name="T22" fmla="*/ 22 w 22"/>
                <a:gd name="T23" fmla="*/ 10 h 22"/>
                <a:gd name="T24" fmla="*/ 20 w 22"/>
                <a:gd name="T25" fmla="*/ 16 h 22"/>
                <a:gd name="T26" fmla="*/ 18 w 22"/>
                <a:gd name="T27" fmla="*/ 18 h 22"/>
                <a:gd name="T28" fmla="*/ 14 w 22"/>
                <a:gd name="T29" fmla="*/ 22 h 22"/>
                <a:gd name="T30" fmla="*/ 10 w 22"/>
                <a:gd name="T31" fmla="*/ 22 h 22"/>
                <a:gd name="T32" fmla="*/ 10 w 22"/>
                <a:gd name="T33" fmla="*/ 22 h 22"/>
                <a:gd name="T34" fmla="*/ 6 w 22"/>
                <a:gd name="T35" fmla="*/ 22 h 22"/>
                <a:gd name="T36" fmla="*/ 2 w 22"/>
                <a:gd name="T37" fmla="*/ 18 h 22"/>
                <a:gd name="T38" fmla="*/ 0 w 22"/>
                <a:gd name="T39" fmla="*/ 16 h 22"/>
                <a:gd name="T40" fmla="*/ 0 w 22"/>
                <a:gd name="T41" fmla="*/ 10 h 22"/>
                <a:gd name="T42" fmla="*/ 0 w 22"/>
                <a:gd name="T4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0" y="10"/>
                  </a:moveTo>
                  <a:lnTo>
                    <a:pt x="0" y="10"/>
                  </a:lnTo>
                  <a:lnTo>
                    <a:pt x="0" y="6"/>
                  </a:lnTo>
                  <a:lnTo>
                    <a:pt x="2" y="2"/>
                  </a:lnTo>
                  <a:lnTo>
                    <a:pt x="6" y="0"/>
                  </a:lnTo>
                  <a:lnTo>
                    <a:pt x="10" y="0"/>
                  </a:lnTo>
                  <a:lnTo>
                    <a:pt x="10" y="0"/>
                  </a:lnTo>
                  <a:lnTo>
                    <a:pt x="14" y="0"/>
                  </a:lnTo>
                  <a:lnTo>
                    <a:pt x="18" y="2"/>
                  </a:lnTo>
                  <a:lnTo>
                    <a:pt x="20" y="6"/>
                  </a:lnTo>
                  <a:lnTo>
                    <a:pt x="22" y="10"/>
                  </a:lnTo>
                  <a:lnTo>
                    <a:pt x="22" y="10"/>
                  </a:lnTo>
                  <a:lnTo>
                    <a:pt x="20" y="16"/>
                  </a:lnTo>
                  <a:lnTo>
                    <a:pt x="18" y="18"/>
                  </a:lnTo>
                  <a:lnTo>
                    <a:pt x="14" y="22"/>
                  </a:lnTo>
                  <a:lnTo>
                    <a:pt x="10" y="22"/>
                  </a:lnTo>
                  <a:lnTo>
                    <a:pt x="10" y="22"/>
                  </a:lnTo>
                  <a:lnTo>
                    <a:pt x="6" y="22"/>
                  </a:lnTo>
                  <a:lnTo>
                    <a:pt x="2" y="18"/>
                  </a:lnTo>
                  <a:lnTo>
                    <a:pt x="0" y="16"/>
                  </a:lnTo>
                  <a:lnTo>
                    <a:pt x="0" y="10"/>
                  </a:lnTo>
                  <a:lnTo>
                    <a:pt x="0" y="10"/>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6" name="Freeform 27">
              <a:extLst>
                <a:ext uri="{FF2B5EF4-FFF2-40B4-BE49-F238E27FC236}">
                  <a16:creationId xmlns:a16="http://schemas.microsoft.com/office/drawing/2014/main" id="{A5EFF1BE-0306-4CD2-868E-1FEE198E8292}"/>
                </a:ext>
              </a:extLst>
            </p:cNvPr>
            <p:cNvSpPr>
              <a:spLocks/>
            </p:cNvSpPr>
            <p:nvPr/>
          </p:nvSpPr>
          <p:spPr bwMode="auto">
            <a:xfrm>
              <a:off x="5090367" y="1880261"/>
              <a:ext cx="29753" cy="29753"/>
            </a:xfrm>
            <a:custGeom>
              <a:avLst/>
              <a:gdLst>
                <a:gd name="T0" fmla="*/ 0 w 22"/>
                <a:gd name="T1" fmla="*/ 12 h 22"/>
                <a:gd name="T2" fmla="*/ 0 w 22"/>
                <a:gd name="T3" fmla="*/ 12 h 22"/>
                <a:gd name="T4" fmla="*/ 2 w 22"/>
                <a:gd name="T5" fmla="*/ 6 h 22"/>
                <a:gd name="T6" fmla="*/ 4 w 22"/>
                <a:gd name="T7" fmla="*/ 4 h 22"/>
                <a:gd name="T8" fmla="*/ 8 w 22"/>
                <a:gd name="T9" fmla="*/ 0 h 22"/>
                <a:gd name="T10" fmla="*/ 12 w 22"/>
                <a:gd name="T11" fmla="*/ 0 h 22"/>
                <a:gd name="T12" fmla="*/ 12 w 22"/>
                <a:gd name="T13" fmla="*/ 0 h 22"/>
                <a:gd name="T14" fmla="*/ 16 w 22"/>
                <a:gd name="T15" fmla="*/ 0 h 22"/>
                <a:gd name="T16" fmla="*/ 20 w 22"/>
                <a:gd name="T17" fmla="*/ 4 h 22"/>
                <a:gd name="T18" fmla="*/ 22 w 22"/>
                <a:gd name="T19" fmla="*/ 6 h 22"/>
                <a:gd name="T20" fmla="*/ 22 w 22"/>
                <a:gd name="T21" fmla="*/ 12 h 22"/>
                <a:gd name="T22" fmla="*/ 22 w 22"/>
                <a:gd name="T23" fmla="*/ 12 h 22"/>
                <a:gd name="T24" fmla="*/ 22 w 22"/>
                <a:gd name="T25" fmla="*/ 16 h 22"/>
                <a:gd name="T26" fmla="*/ 20 w 22"/>
                <a:gd name="T27" fmla="*/ 20 h 22"/>
                <a:gd name="T28" fmla="*/ 16 w 22"/>
                <a:gd name="T29" fmla="*/ 22 h 22"/>
                <a:gd name="T30" fmla="*/ 12 w 22"/>
                <a:gd name="T31" fmla="*/ 22 h 22"/>
                <a:gd name="T32" fmla="*/ 12 w 22"/>
                <a:gd name="T33" fmla="*/ 22 h 22"/>
                <a:gd name="T34" fmla="*/ 8 w 22"/>
                <a:gd name="T35" fmla="*/ 22 h 22"/>
                <a:gd name="T36" fmla="*/ 4 w 22"/>
                <a:gd name="T37" fmla="*/ 20 h 22"/>
                <a:gd name="T38" fmla="*/ 2 w 22"/>
                <a:gd name="T39" fmla="*/ 16 h 22"/>
                <a:gd name="T40" fmla="*/ 0 w 22"/>
                <a:gd name="T41" fmla="*/ 12 h 22"/>
                <a:gd name="T42" fmla="*/ 0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0" y="12"/>
                  </a:moveTo>
                  <a:lnTo>
                    <a:pt x="0" y="12"/>
                  </a:lnTo>
                  <a:lnTo>
                    <a:pt x="2" y="6"/>
                  </a:lnTo>
                  <a:lnTo>
                    <a:pt x="4" y="4"/>
                  </a:lnTo>
                  <a:lnTo>
                    <a:pt x="8" y="0"/>
                  </a:lnTo>
                  <a:lnTo>
                    <a:pt x="12" y="0"/>
                  </a:lnTo>
                  <a:lnTo>
                    <a:pt x="12" y="0"/>
                  </a:lnTo>
                  <a:lnTo>
                    <a:pt x="16" y="0"/>
                  </a:lnTo>
                  <a:lnTo>
                    <a:pt x="20" y="4"/>
                  </a:lnTo>
                  <a:lnTo>
                    <a:pt x="22" y="6"/>
                  </a:lnTo>
                  <a:lnTo>
                    <a:pt x="22" y="12"/>
                  </a:lnTo>
                  <a:lnTo>
                    <a:pt x="22" y="12"/>
                  </a:lnTo>
                  <a:lnTo>
                    <a:pt x="22" y="16"/>
                  </a:lnTo>
                  <a:lnTo>
                    <a:pt x="20" y="20"/>
                  </a:lnTo>
                  <a:lnTo>
                    <a:pt x="16" y="22"/>
                  </a:lnTo>
                  <a:lnTo>
                    <a:pt x="12" y="22"/>
                  </a:lnTo>
                  <a:lnTo>
                    <a:pt x="12" y="22"/>
                  </a:lnTo>
                  <a:lnTo>
                    <a:pt x="8" y="22"/>
                  </a:lnTo>
                  <a:lnTo>
                    <a:pt x="4" y="20"/>
                  </a:lnTo>
                  <a:lnTo>
                    <a:pt x="2" y="16"/>
                  </a:lnTo>
                  <a:lnTo>
                    <a:pt x="0" y="12"/>
                  </a:lnTo>
                  <a:lnTo>
                    <a:pt x="0" y="1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7" name="Freeform 28">
              <a:extLst>
                <a:ext uri="{FF2B5EF4-FFF2-40B4-BE49-F238E27FC236}">
                  <a16:creationId xmlns:a16="http://schemas.microsoft.com/office/drawing/2014/main" id="{D5DF22E8-EDED-49DB-9FD9-44744D26A227}"/>
                </a:ext>
              </a:extLst>
            </p:cNvPr>
            <p:cNvSpPr>
              <a:spLocks/>
            </p:cNvSpPr>
            <p:nvPr/>
          </p:nvSpPr>
          <p:spPr bwMode="auto">
            <a:xfrm>
              <a:off x="4763083" y="1658466"/>
              <a:ext cx="29753" cy="29753"/>
            </a:xfrm>
            <a:custGeom>
              <a:avLst/>
              <a:gdLst>
                <a:gd name="T0" fmla="*/ 0 w 22"/>
                <a:gd name="T1" fmla="*/ 12 h 22"/>
                <a:gd name="T2" fmla="*/ 0 w 22"/>
                <a:gd name="T3" fmla="*/ 12 h 22"/>
                <a:gd name="T4" fmla="*/ 2 w 22"/>
                <a:gd name="T5" fmla="*/ 6 h 22"/>
                <a:gd name="T6" fmla="*/ 4 w 22"/>
                <a:gd name="T7" fmla="*/ 4 h 22"/>
                <a:gd name="T8" fmla="*/ 6 w 22"/>
                <a:gd name="T9" fmla="*/ 0 h 22"/>
                <a:gd name="T10" fmla="*/ 12 w 22"/>
                <a:gd name="T11" fmla="*/ 0 h 22"/>
                <a:gd name="T12" fmla="*/ 12 w 22"/>
                <a:gd name="T13" fmla="*/ 0 h 22"/>
                <a:gd name="T14" fmla="*/ 16 w 22"/>
                <a:gd name="T15" fmla="*/ 0 h 22"/>
                <a:gd name="T16" fmla="*/ 20 w 22"/>
                <a:gd name="T17" fmla="*/ 4 h 22"/>
                <a:gd name="T18" fmla="*/ 22 w 22"/>
                <a:gd name="T19" fmla="*/ 6 h 22"/>
                <a:gd name="T20" fmla="*/ 22 w 22"/>
                <a:gd name="T21" fmla="*/ 12 h 22"/>
                <a:gd name="T22" fmla="*/ 22 w 22"/>
                <a:gd name="T23" fmla="*/ 12 h 22"/>
                <a:gd name="T24" fmla="*/ 22 w 22"/>
                <a:gd name="T25" fmla="*/ 16 h 22"/>
                <a:gd name="T26" fmla="*/ 20 w 22"/>
                <a:gd name="T27" fmla="*/ 18 h 22"/>
                <a:gd name="T28" fmla="*/ 16 w 22"/>
                <a:gd name="T29" fmla="*/ 22 h 22"/>
                <a:gd name="T30" fmla="*/ 12 w 22"/>
                <a:gd name="T31" fmla="*/ 22 h 22"/>
                <a:gd name="T32" fmla="*/ 12 w 22"/>
                <a:gd name="T33" fmla="*/ 22 h 22"/>
                <a:gd name="T34" fmla="*/ 6 w 22"/>
                <a:gd name="T35" fmla="*/ 22 h 22"/>
                <a:gd name="T36" fmla="*/ 4 w 22"/>
                <a:gd name="T37" fmla="*/ 18 h 22"/>
                <a:gd name="T38" fmla="*/ 2 w 22"/>
                <a:gd name="T39" fmla="*/ 16 h 22"/>
                <a:gd name="T40" fmla="*/ 0 w 22"/>
                <a:gd name="T41" fmla="*/ 12 h 22"/>
                <a:gd name="T42" fmla="*/ 0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0" y="12"/>
                  </a:moveTo>
                  <a:lnTo>
                    <a:pt x="0" y="12"/>
                  </a:lnTo>
                  <a:lnTo>
                    <a:pt x="2" y="6"/>
                  </a:lnTo>
                  <a:lnTo>
                    <a:pt x="4" y="4"/>
                  </a:lnTo>
                  <a:lnTo>
                    <a:pt x="6" y="0"/>
                  </a:lnTo>
                  <a:lnTo>
                    <a:pt x="12" y="0"/>
                  </a:lnTo>
                  <a:lnTo>
                    <a:pt x="12" y="0"/>
                  </a:lnTo>
                  <a:lnTo>
                    <a:pt x="16" y="0"/>
                  </a:lnTo>
                  <a:lnTo>
                    <a:pt x="20" y="4"/>
                  </a:lnTo>
                  <a:lnTo>
                    <a:pt x="22" y="6"/>
                  </a:lnTo>
                  <a:lnTo>
                    <a:pt x="22" y="12"/>
                  </a:lnTo>
                  <a:lnTo>
                    <a:pt x="22" y="12"/>
                  </a:lnTo>
                  <a:lnTo>
                    <a:pt x="22" y="16"/>
                  </a:lnTo>
                  <a:lnTo>
                    <a:pt x="20" y="18"/>
                  </a:lnTo>
                  <a:lnTo>
                    <a:pt x="16" y="22"/>
                  </a:lnTo>
                  <a:lnTo>
                    <a:pt x="12" y="22"/>
                  </a:lnTo>
                  <a:lnTo>
                    <a:pt x="12" y="22"/>
                  </a:lnTo>
                  <a:lnTo>
                    <a:pt x="6" y="22"/>
                  </a:lnTo>
                  <a:lnTo>
                    <a:pt x="4" y="18"/>
                  </a:lnTo>
                  <a:lnTo>
                    <a:pt x="2" y="16"/>
                  </a:lnTo>
                  <a:lnTo>
                    <a:pt x="0" y="12"/>
                  </a:lnTo>
                  <a:lnTo>
                    <a:pt x="0" y="1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8" name="Freeform 31">
              <a:extLst>
                <a:ext uri="{FF2B5EF4-FFF2-40B4-BE49-F238E27FC236}">
                  <a16:creationId xmlns:a16="http://schemas.microsoft.com/office/drawing/2014/main" id="{2B0A1E8A-A86B-432B-9B27-D5AA6C966ABB}"/>
                </a:ext>
              </a:extLst>
            </p:cNvPr>
            <p:cNvSpPr>
              <a:spLocks/>
            </p:cNvSpPr>
            <p:nvPr/>
          </p:nvSpPr>
          <p:spPr bwMode="auto">
            <a:xfrm>
              <a:off x="5412242" y="2645726"/>
              <a:ext cx="29753" cy="32458"/>
            </a:xfrm>
            <a:custGeom>
              <a:avLst/>
              <a:gdLst>
                <a:gd name="T0" fmla="*/ 0 w 22"/>
                <a:gd name="T1" fmla="*/ 12 h 24"/>
                <a:gd name="T2" fmla="*/ 0 w 22"/>
                <a:gd name="T3" fmla="*/ 12 h 24"/>
                <a:gd name="T4" fmla="*/ 0 w 22"/>
                <a:gd name="T5" fmla="*/ 8 h 24"/>
                <a:gd name="T6" fmla="*/ 2 w 22"/>
                <a:gd name="T7" fmla="*/ 4 h 24"/>
                <a:gd name="T8" fmla="*/ 6 w 22"/>
                <a:gd name="T9" fmla="*/ 2 h 24"/>
                <a:gd name="T10" fmla="*/ 10 w 22"/>
                <a:gd name="T11" fmla="*/ 0 h 24"/>
                <a:gd name="T12" fmla="*/ 10 w 22"/>
                <a:gd name="T13" fmla="*/ 0 h 24"/>
                <a:gd name="T14" fmla="*/ 16 w 22"/>
                <a:gd name="T15" fmla="*/ 2 h 24"/>
                <a:gd name="T16" fmla="*/ 18 w 22"/>
                <a:gd name="T17" fmla="*/ 4 h 24"/>
                <a:gd name="T18" fmla="*/ 22 w 22"/>
                <a:gd name="T19" fmla="*/ 8 h 24"/>
                <a:gd name="T20" fmla="*/ 22 w 22"/>
                <a:gd name="T21" fmla="*/ 12 h 24"/>
                <a:gd name="T22" fmla="*/ 22 w 22"/>
                <a:gd name="T23" fmla="*/ 12 h 24"/>
                <a:gd name="T24" fmla="*/ 22 w 22"/>
                <a:gd name="T25" fmla="*/ 16 h 24"/>
                <a:gd name="T26" fmla="*/ 18 w 22"/>
                <a:gd name="T27" fmla="*/ 20 h 24"/>
                <a:gd name="T28" fmla="*/ 16 w 22"/>
                <a:gd name="T29" fmla="*/ 22 h 24"/>
                <a:gd name="T30" fmla="*/ 10 w 22"/>
                <a:gd name="T31" fmla="*/ 24 h 24"/>
                <a:gd name="T32" fmla="*/ 10 w 22"/>
                <a:gd name="T33" fmla="*/ 24 h 24"/>
                <a:gd name="T34" fmla="*/ 6 w 22"/>
                <a:gd name="T35" fmla="*/ 22 h 24"/>
                <a:gd name="T36" fmla="*/ 2 w 22"/>
                <a:gd name="T37" fmla="*/ 20 h 24"/>
                <a:gd name="T38" fmla="*/ 0 w 22"/>
                <a:gd name="T39" fmla="*/ 16 h 24"/>
                <a:gd name="T40" fmla="*/ 0 w 22"/>
                <a:gd name="T41" fmla="*/ 12 h 24"/>
                <a:gd name="T42" fmla="*/ 0 w 22"/>
                <a:gd name="T4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4">
                  <a:moveTo>
                    <a:pt x="0" y="12"/>
                  </a:moveTo>
                  <a:lnTo>
                    <a:pt x="0" y="12"/>
                  </a:lnTo>
                  <a:lnTo>
                    <a:pt x="0" y="8"/>
                  </a:lnTo>
                  <a:lnTo>
                    <a:pt x="2" y="4"/>
                  </a:lnTo>
                  <a:lnTo>
                    <a:pt x="6" y="2"/>
                  </a:lnTo>
                  <a:lnTo>
                    <a:pt x="10" y="0"/>
                  </a:lnTo>
                  <a:lnTo>
                    <a:pt x="10" y="0"/>
                  </a:lnTo>
                  <a:lnTo>
                    <a:pt x="16" y="2"/>
                  </a:lnTo>
                  <a:lnTo>
                    <a:pt x="18" y="4"/>
                  </a:lnTo>
                  <a:lnTo>
                    <a:pt x="22" y="8"/>
                  </a:lnTo>
                  <a:lnTo>
                    <a:pt x="22" y="12"/>
                  </a:lnTo>
                  <a:lnTo>
                    <a:pt x="22" y="12"/>
                  </a:lnTo>
                  <a:lnTo>
                    <a:pt x="22" y="16"/>
                  </a:lnTo>
                  <a:lnTo>
                    <a:pt x="18" y="20"/>
                  </a:lnTo>
                  <a:lnTo>
                    <a:pt x="16" y="22"/>
                  </a:lnTo>
                  <a:lnTo>
                    <a:pt x="10" y="24"/>
                  </a:lnTo>
                  <a:lnTo>
                    <a:pt x="10" y="24"/>
                  </a:lnTo>
                  <a:lnTo>
                    <a:pt x="6" y="22"/>
                  </a:lnTo>
                  <a:lnTo>
                    <a:pt x="2" y="20"/>
                  </a:lnTo>
                  <a:lnTo>
                    <a:pt x="0" y="16"/>
                  </a:lnTo>
                  <a:lnTo>
                    <a:pt x="0" y="12"/>
                  </a:lnTo>
                  <a:lnTo>
                    <a:pt x="0" y="1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sp>
        <p:nvSpPr>
          <p:cNvPr id="30" name="Title 1">
            <a:extLst>
              <a:ext uri="{FF2B5EF4-FFF2-40B4-BE49-F238E27FC236}">
                <a16:creationId xmlns:a16="http://schemas.microsoft.com/office/drawing/2014/main" id="{80A81B12-885E-4852-A20F-8296AEBD411D}"/>
              </a:ext>
            </a:extLst>
          </p:cNvPr>
          <p:cNvSpPr txBox="1">
            <a:spLocks/>
          </p:cNvSpPr>
          <p:nvPr/>
        </p:nvSpPr>
        <p:spPr>
          <a:xfrm>
            <a:off x="914400" y="694944"/>
            <a:ext cx="10896600" cy="594360"/>
          </a:xfrm>
          <a:prstGeom prst="rect">
            <a:avLst/>
          </a:prstGeom>
        </p:spPr>
        <p:txBody>
          <a:bodyPr vert="horz" lIns="0" tIns="45720" rIns="0" bIns="0" rtlCol="0" anchor="ctr"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2800" b="0" i="0" u="none" strike="noStrike" kern="1200" cap="none" spc="-75" normalizeH="0" baseline="0" noProof="0" dirty="0">
              <a:ln>
                <a:noFill/>
              </a:ln>
              <a:solidFill>
                <a:srgbClr val="000000"/>
              </a:solidFill>
              <a:effectLst/>
              <a:uLnTx/>
              <a:uFillTx/>
              <a:latin typeface="Chronicle Display Semi" pitchFamily="50" charset="0"/>
            </a:endParaRPr>
          </a:p>
        </p:txBody>
      </p:sp>
      <p:sp>
        <p:nvSpPr>
          <p:cNvPr id="31" name="Title 7">
            <a:extLst>
              <a:ext uri="{FF2B5EF4-FFF2-40B4-BE49-F238E27FC236}">
                <a16:creationId xmlns:a16="http://schemas.microsoft.com/office/drawing/2014/main" id="{721E13E2-A799-4FD1-87D4-72D7A76E13BB}"/>
              </a:ext>
            </a:extLst>
          </p:cNvPr>
          <p:cNvSpPr txBox="1">
            <a:spLocks/>
          </p:cNvSpPr>
          <p:nvPr/>
        </p:nvSpPr>
        <p:spPr>
          <a:xfrm>
            <a:off x="914400" y="694944"/>
            <a:ext cx="10363200"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sz="2800" dirty="0">
              <a:latin typeface="Chronicle Display Semi" pitchFamily="50" charset="0"/>
            </a:endParaRPr>
          </a:p>
        </p:txBody>
      </p:sp>
      <p:sp>
        <p:nvSpPr>
          <p:cNvPr id="32" name="Arc 31">
            <a:extLst>
              <a:ext uri="{FF2B5EF4-FFF2-40B4-BE49-F238E27FC236}">
                <a16:creationId xmlns:a16="http://schemas.microsoft.com/office/drawing/2014/main" id="{FEE69648-6EB8-44E1-B068-ECF948FB1EE2}"/>
              </a:ext>
            </a:extLst>
          </p:cNvPr>
          <p:cNvSpPr/>
          <p:nvPr/>
        </p:nvSpPr>
        <p:spPr>
          <a:xfrm rot="602927">
            <a:off x="4743718" y="1840547"/>
            <a:ext cx="2697693" cy="2697693"/>
          </a:xfrm>
          <a:prstGeom prst="arc">
            <a:avLst>
              <a:gd name="adj1" fmla="val 18638933"/>
              <a:gd name="adj2" fmla="val 17228096"/>
            </a:avLst>
          </a:prstGeom>
          <a:ln w="28575" cmpd="sng">
            <a:solidFill>
              <a:schemeClr val="bg1">
                <a:lumMod val="85000"/>
              </a:schemeClr>
            </a:solidFill>
            <a:headEnd type="none"/>
            <a:tailEnd type="triangle"/>
          </a:ln>
          <a:effectLst/>
        </p:spPr>
        <p:style>
          <a:lnRef idx="2">
            <a:schemeClr val="accent1"/>
          </a:lnRef>
          <a:fillRef idx="0">
            <a:schemeClr val="accent1"/>
          </a:fillRef>
          <a:effectRef idx="1">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sp>
        <p:nvSpPr>
          <p:cNvPr id="33" name="Arc 32">
            <a:extLst>
              <a:ext uri="{FF2B5EF4-FFF2-40B4-BE49-F238E27FC236}">
                <a16:creationId xmlns:a16="http://schemas.microsoft.com/office/drawing/2014/main" id="{85799204-1B90-4E20-BDA3-41E8CD64D03F}"/>
              </a:ext>
            </a:extLst>
          </p:cNvPr>
          <p:cNvSpPr/>
          <p:nvPr/>
        </p:nvSpPr>
        <p:spPr>
          <a:xfrm rot="3986352" flipH="1">
            <a:off x="4845026" y="1942749"/>
            <a:ext cx="2503383" cy="2503383"/>
          </a:xfrm>
          <a:prstGeom prst="arc">
            <a:avLst>
              <a:gd name="adj1" fmla="val 18638933"/>
              <a:gd name="adj2" fmla="val 17228096"/>
            </a:avLst>
          </a:prstGeom>
          <a:ln w="28575" cmpd="sng">
            <a:solidFill>
              <a:schemeClr val="bg1">
                <a:lumMod val="85000"/>
              </a:schemeClr>
            </a:solidFill>
            <a:headEnd type="none"/>
            <a:tailEnd type="triangle"/>
          </a:ln>
          <a:effectLst/>
        </p:spPr>
        <p:style>
          <a:lnRef idx="2">
            <a:schemeClr val="accent1"/>
          </a:lnRef>
          <a:fillRef idx="0">
            <a:schemeClr val="accent1"/>
          </a:fillRef>
          <a:effectRef idx="1">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latin typeface="Frutiger Next Pro Light"/>
              <a:ea typeface="+mn-ea"/>
              <a:cs typeface="+mn-cs"/>
            </a:endParaRPr>
          </a:p>
        </p:txBody>
      </p:sp>
      <p:sp>
        <p:nvSpPr>
          <p:cNvPr id="34" name="Rectangle 33">
            <a:extLst>
              <a:ext uri="{FF2B5EF4-FFF2-40B4-BE49-F238E27FC236}">
                <a16:creationId xmlns:a16="http://schemas.microsoft.com/office/drawing/2014/main" id="{5AB4F021-1ACA-4B4C-AFC7-55D9A75DE792}"/>
              </a:ext>
            </a:extLst>
          </p:cNvPr>
          <p:cNvSpPr/>
          <p:nvPr/>
        </p:nvSpPr>
        <p:spPr>
          <a:xfrm>
            <a:off x="8047352" y="1738230"/>
            <a:ext cx="3005631" cy="338554"/>
          </a:xfrm>
          <a:prstGeom prst="rect">
            <a:avLst/>
          </a:prstGeom>
        </p:spPr>
        <p:txBody>
          <a:bodyPr wrap="none" lIns="0" tIns="0" rIns="0" bIns="0">
            <a:spAutoFit/>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150" normalizeH="0" baseline="0" noProof="0" dirty="0">
                <a:ln>
                  <a:noFill/>
                </a:ln>
                <a:solidFill>
                  <a:srgbClr val="F7F5F3">
                    <a:lumMod val="50000"/>
                  </a:srgbClr>
                </a:solidFill>
                <a:effectLst/>
                <a:uLnTx/>
                <a:uFillTx/>
                <a:ea typeface="+mn-ea"/>
                <a:cs typeface="+mn-cs"/>
              </a:rPr>
              <a:t>FIND INSPIRATION</a:t>
            </a:r>
          </a:p>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EVERY MOMENT IS A SHOPPING MOMENT”</a:t>
            </a:r>
          </a:p>
        </p:txBody>
      </p:sp>
      <p:cxnSp>
        <p:nvCxnSpPr>
          <p:cNvPr id="35" name="Straight Connector 34">
            <a:extLst>
              <a:ext uri="{FF2B5EF4-FFF2-40B4-BE49-F238E27FC236}">
                <a16:creationId xmlns:a16="http://schemas.microsoft.com/office/drawing/2014/main" id="{AD87C41D-7974-473C-84E2-F2DA0D1FFDC3}"/>
              </a:ext>
            </a:extLst>
          </p:cNvPr>
          <p:cNvCxnSpPr/>
          <p:nvPr/>
        </p:nvCxnSpPr>
        <p:spPr>
          <a:xfrm flipH="1">
            <a:off x="7071988" y="2077360"/>
            <a:ext cx="3987991" cy="0"/>
          </a:xfrm>
          <a:prstGeom prst="line">
            <a:avLst/>
          </a:prstGeom>
          <a:ln w="952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AD329F1-B966-4E93-A366-2362A34D275F}"/>
              </a:ext>
            </a:extLst>
          </p:cNvPr>
          <p:cNvCxnSpPr/>
          <p:nvPr/>
        </p:nvCxnSpPr>
        <p:spPr>
          <a:xfrm flipH="1">
            <a:off x="7812234" y="3210922"/>
            <a:ext cx="3240750" cy="0"/>
          </a:xfrm>
          <a:prstGeom prst="line">
            <a:avLst/>
          </a:prstGeom>
          <a:ln w="952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4E0D5B5-BAA9-4C5E-B697-CE07717A1A10}"/>
              </a:ext>
            </a:extLst>
          </p:cNvPr>
          <p:cNvCxnSpPr>
            <a:cxnSpLocks/>
          </p:cNvCxnSpPr>
          <p:nvPr/>
        </p:nvCxnSpPr>
        <p:spPr>
          <a:xfrm flipH="1">
            <a:off x="7238371" y="4273860"/>
            <a:ext cx="3843590" cy="0"/>
          </a:xfrm>
          <a:prstGeom prst="line">
            <a:avLst/>
          </a:prstGeom>
          <a:ln w="952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93F64931-77AA-48CD-A1AA-C7136E647609}"/>
              </a:ext>
            </a:extLst>
          </p:cNvPr>
          <p:cNvSpPr/>
          <p:nvPr/>
        </p:nvSpPr>
        <p:spPr>
          <a:xfrm>
            <a:off x="6742100" y="1830462"/>
            <a:ext cx="493797" cy="493797"/>
          </a:xfrm>
          <a:prstGeom prst="ellipse">
            <a:avLst/>
          </a:prstGeom>
          <a:solidFill>
            <a:schemeClr val="bg1"/>
          </a:solidFill>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00" b="0" i="0" u="none" strike="noStrike" kern="1200" cap="none" spc="0" normalizeH="0" baseline="0" noProof="0" dirty="0">
              <a:ln>
                <a:noFill/>
              </a:ln>
              <a:solidFill>
                <a:prstClr val="white"/>
              </a:solidFill>
              <a:effectLst/>
              <a:uLnTx/>
              <a:uFillTx/>
              <a:ea typeface="+mn-ea"/>
              <a:cs typeface="+mn-cs"/>
            </a:endParaRPr>
          </a:p>
        </p:txBody>
      </p:sp>
      <p:sp>
        <p:nvSpPr>
          <p:cNvPr id="39" name="Oval 38">
            <a:extLst>
              <a:ext uri="{FF2B5EF4-FFF2-40B4-BE49-F238E27FC236}">
                <a16:creationId xmlns:a16="http://schemas.microsoft.com/office/drawing/2014/main" id="{BED8EEE9-C37A-4012-A73F-F82C8FB7F79C}"/>
              </a:ext>
            </a:extLst>
          </p:cNvPr>
          <p:cNvSpPr/>
          <p:nvPr/>
        </p:nvSpPr>
        <p:spPr>
          <a:xfrm>
            <a:off x="7318437" y="2964023"/>
            <a:ext cx="493797" cy="493797"/>
          </a:xfrm>
          <a:prstGeom prst="ellipse">
            <a:avLst/>
          </a:prstGeom>
          <a:solidFill>
            <a:schemeClr val="bg1"/>
          </a:solidFill>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00" b="0" i="0" u="none" strike="noStrike" kern="1200" cap="none" spc="0" normalizeH="0" baseline="0" noProof="0" dirty="0">
              <a:ln>
                <a:noFill/>
              </a:ln>
              <a:solidFill>
                <a:prstClr val="white"/>
              </a:solidFill>
              <a:effectLst/>
              <a:uLnTx/>
              <a:uFillTx/>
              <a:ea typeface="+mn-ea"/>
              <a:cs typeface="+mn-cs"/>
            </a:endParaRPr>
          </a:p>
        </p:txBody>
      </p:sp>
      <p:sp>
        <p:nvSpPr>
          <p:cNvPr id="40" name="Oval 39">
            <a:extLst>
              <a:ext uri="{FF2B5EF4-FFF2-40B4-BE49-F238E27FC236}">
                <a16:creationId xmlns:a16="http://schemas.microsoft.com/office/drawing/2014/main" id="{83061306-67C2-4627-977E-393C351619CD}"/>
              </a:ext>
            </a:extLst>
          </p:cNvPr>
          <p:cNvSpPr/>
          <p:nvPr/>
        </p:nvSpPr>
        <p:spPr>
          <a:xfrm>
            <a:off x="6737358" y="4026961"/>
            <a:ext cx="493797" cy="493797"/>
          </a:xfrm>
          <a:prstGeom prst="ellipse">
            <a:avLst/>
          </a:prstGeom>
          <a:solidFill>
            <a:schemeClr val="bg1"/>
          </a:solidFill>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00" b="0" i="0" u="none" strike="noStrike" kern="1200" cap="none" spc="0" normalizeH="0" baseline="0" noProof="0" dirty="0">
              <a:ln>
                <a:noFill/>
              </a:ln>
              <a:solidFill>
                <a:prstClr val="white"/>
              </a:solidFill>
              <a:effectLst/>
              <a:uLnTx/>
              <a:uFillTx/>
              <a:ea typeface="+mn-ea"/>
              <a:cs typeface="+mn-cs"/>
            </a:endParaRPr>
          </a:p>
        </p:txBody>
      </p:sp>
      <p:sp>
        <p:nvSpPr>
          <p:cNvPr id="41" name="Rectangle 40">
            <a:extLst>
              <a:ext uri="{FF2B5EF4-FFF2-40B4-BE49-F238E27FC236}">
                <a16:creationId xmlns:a16="http://schemas.microsoft.com/office/drawing/2014/main" id="{D2616813-0823-440A-80F0-40EC45AB8656}"/>
              </a:ext>
            </a:extLst>
          </p:cNvPr>
          <p:cNvSpPr/>
          <p:nvPr/>
        </p:nvSpPr>
        <p:spPr>
          <a:xfrm>
            <a:off x="8059157" y="2866467"/>
            <a:ext cx="3000822" cy="338554"/>
          </a:xfrm>
          <a:prstGeom prst="rect">
            <a:avLst/>
          </a:prstGeom>
        </p:spPr>
        <p:txBody>
          <a:bodyPr wrap="none" lIns="0" tIns="0" rIns="0" bIns="0">
            <a:spAutoFit/>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150" normalizeH="0" baseline="0" noProof="0" dirty="0">
                <a:ln>
                  <a:noFill/>
                </a:ln>
                <a:solidFill>
                  <a:srgbClr val="86F200"/>
                </a:solidFill>
                <a:effectLst/>
                <a:uLnTx/>
                <a:uFillTx/>
                <a:ea typeface="+mn-ea"/>
                <a:cs typeface="+mn-cs"/>
              </a:rPr>
              <a:t>BROWSE, RESEARCH</a:t>
            </a:r>
          </a:p>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EVERY SHOPPING TRIP IS AN EXPERIENCE” </a:t>
            </a:r>
          </a:p>
        </p:txBody>
      </p:sp>
      <p:sp>
        <p:nvSpPr>
          <p:cNvPr id="42" name="Rectangle 41">
            <a:extLst>
              <a:ext uri="{FF2B5EF4-FFF2-40B4-BE49-F238E27FC236}">
                <a16:creationId xmlns:a16="http://schemas.microsoft.com/office/drawing/2014/main" id="{C38A27B4-4A83-459D-A8B7-84938432032A}"/>
              </a:ext>
            </a:extLst>
          </p:cNvPr>
          <p:cNvSpPr/>
          <p:nvPr/>
        </p:nvSpPr>
        <p:spPr>
          <a:xfrm>
            <a:off x="8029719" y="3936827"/>
            <a:ext cx="3023265" cy="338554"/>
          </a:xfrm>
          <a:prstGeom prst="rect">
            <a:avLst/>
          </a:prstGeom>
        </p:spPr>
        <p:txBody>
          <a:bodyPr wrap="none" lIns="0" tIns="0" rIns="0" bIns="0">
            <a:spAutoFit/>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150" normalizeH="0" baseline="0" noProof="0" dirty="0">
                <a:ln>
                  <a:noFill/>
                </a:ln>
                <a:solidFill>
                  <a:srgbClr val="34F0FF"/>
                </a:solidFill>
                <a:effectLst/>
                <a:uLnTx/>
                <a:uFillTx/>
                <a:ea typeface="+mn-ea"/>
                <a:cs typeface="+mn-cs"/>
              </a:rPr>
              <a:t>SELECT &amp; VALIDATE</a:t>
            </a:r>
          </a:p>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EVERY MOMENT IS A POINT OF PURCHASE”</a:t>
            </a:r>
          </a:p>
        </p:txBody>
      </p:sp>
      <p:sp>
        <p:nvSpPr>
          <p:cNvPr id="43" name="Rectangle 42">
            <a:extLst>
              <a:ext uri="{FF2B5EF4-FFF2-40B4-BE49-F238E27FC236}">
                <a16:creationId xmlns:a16="http://schemas.microsoft.com/office/drawing/2014/main" id="{953B6BC3-39BB-42D4-8145-BB589146C38C}"/>
              </a:ext>
            </a:extLst>
          </p:cNvPr>
          <p:cNvSpPr/>
          <p:nvPr/>
        </p:nvSpPr>
        <p:spPr>
          <a:xfrm>
            <a:off x="7330590" y="2129740"/>
            <a:ext cx="3751371" cy="461665"/>
          </a:xfrm>
          <a:prstGeom prst="rect">
            <a:avLst/>
          </a:prstGeom>
        </p:spPr>
        <p:txBody>
          <a:bodyPr wrap="square" lIns="0" tIns="0" rIns="0" bIns="0">
            <a:spAutoFit/>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ea typeface="+mn-ea"/>
                <a:cs typeface="+mn-cs"/>
              </a:rPr>
              <a:t>Unexpected occasions are important opportunities for consumers to shop and engage with because using digital to become aware and/or get inspiration led to a 27% spend per transaction lift </a:t>
            </a:r>
          </a:p>
        </p:txBody>
      </p:sp>
      <p:sp>
        <p:nvSpPr>
          <p:cNvPr id="44" name="Rectangle 43">
            <a:extLst>
              <a:ext uri="{FF2B5EF4-FFF2-40B4-BE49-F238E27FC236}">
                <a16:creationId xmlns:a16="http://schemas.microsoft.com/office/drawing/2014/main" id="{00965838-C09D-4F3A-8DC2-BCE2701A157F}"/>
              </a:ext>
            </a:extLst>
          </p:cNvPr>
          <p:cNvSpPr/>
          <p:nvPr/>
        </p:nvSpPr>
        <p:spPr>
          <a:xfrm>
            <a:off x="7356918" y="3254350"/>
            <a:ext cx="3696066" cy="461665"/>
          </a:xfrm>
          <a:prstGeom prst="rect">
            <a:avLst/>
          </a:prstGeom>
        </p:spPr>
        <p:txBody>
          <a:bodyPr wrap="square" lIns="0" tIns="0" rIns="0" bIns="0">
            <a:spAutoFit/>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ea typeface="+mn-ea"/>
                <a:cs typeface="+mn-cs"/>
              </a:rPr>
              <a:t>                  Technology that creates more compelling online-offline</a:t>
            </a:r>
          </a:p>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ea typeface="+mn-ea"/>
                <a:cs typeface="+mn-cs"/>
              </a:rPr>
              <a:t>experiences appeals to consumers’ use of digital to browse &amp; research both before (51%) and during (39%) the shopping trip</a:t>
            </a:r>
          </a:p>
        </p:txBody>
      </p:sp>
      <p:sp>
        <p:nvSpPr>
          <p:cNvPr id="45" name="Rectangle 44">
            <a:extLst>
              <a:ext uri="{FF2B5EF4-FFF2-40B4-BE49-F238E27FC236}">
                <a16:creationId xmlns:a16="http://schemas.microsoft.com/office/drawing/2014/main" id="{CF69C34D-C7A7-4943-BB33-1A6E156F1397}"/>
              </a:ext>
            </a:extLst>
          </p:cNvPr>
          <p:cNvSpPr/>
          <p:nvPr/>
        </p:nvSpPr>
        <p:spPr>
          <a:xfrm>
            <a:off x="7318437" y="4315030"/>
            <a:ext cx="3741542" cy="461665"/>
          </a:xfrm>
          <a:prstGeom prst="rect">
            <a:avLst/>
          </a:prstGeom>
        </p:spPr>
        <p:txBody>
          <a:bodyPr wrap="square" lIns="0" tIns="0" rIns="0" bIns="0">
            <a:spAutoFit/>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ea typeface="+mn-ea"/>
                <a:cs typeface="+mn-cs"/>
              </a:rPr>
              <a:t>Consumers cite convenience of product comparison, knowledge gained on product information, and narrowed down product selection  as top reasons for using digital to select and validate</a:t>
            </a:r>
          </a:p>
        </p:txBody>
      </p:sp>
      <p:grpSp>
        <p:nvGrpSpPr>
          <p:cNvPr id="46" name="Group 45">
            <a:extLst>
              <a:ext uri="{FF2B5EF4-FFF2-40B4-BE49-F238E27FC236}">
                <a16:creationId xmlns:a16="http://schemas.microsoft.com/office/drawing/2014/main" id="{6B37746A-5911-4600-AC31-C31E9BFC0660}"/>
              </a:ext>
            </a:extLst>
          </p:cNvPr>
          <p:cNvGrpSpPr/>
          <p:nvPr/>
        </p:nvGrpSpPr>
        <p:grpSpPr>
          <a:xfrm>
            <a:off x="1110039" y="1830461"/>
            <a:ext cx="4344603" cy="2687063"/>
            <a:chOff x="1239110" y="1951255"/>
            <a:chExt cx="4344603" cy="2687063"/>
          </a:xfrm>
        </p:grpSpPr>
        <p:cxnSp>
          <p:nvCxnSpPr>
            <p:cNvPr id="47" name="Straight Connector 46">
              <a:extLst>
                <a:ext uri="{FF2B5EF4-FFF2-40B4-BE49-F238E27FC236}">
                  <a16:creationId xmlns:a16="http://schemas.microsoft.com/office/drawing/2014/main" id="{812C91CB-4F62-4DC0-8D17-9481A59559DE}"/>
                </a:ext>
              </a:extLst>
            </p:cNvPr>
            <p:cNvCxnSpPr/>
            <p:nvPr/>
          </p:nvCxnSpPr>
          <p:spPr>
            <a:xfrm>
              <a:off x="1261092" y="2205697"/>
              <a:ext cx="3987991" cy="0"/>
            </a:xfrm>
            <a:prstGeom prst="line">
              <a:avLst/>
            </a:prstGeom>
            <a:ln w="952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B3FA132B-F576-4B4C-B514-D7ADF42DE9F1}"/>
                </a:ext>
              </a:extLst>
            </p:cNvPr>
            <p:cNvCxnSpPr/>
            <p:nvPr/>
          </p:nvCxnSpPr>
          <p:spPr>
            <a:xfrm>
              <a:off x="1268087" y="3339259"/>
              <a:ext cx="3240750" cy="0"/>
            </a:xfrm>
            <a:prstGeom prst="line">
              <a:avLst/>
            </a:prstGeom>
            <a:ln w="952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5DBDE9C5-A8BD-49C6-8102-754590463C42}"/>
                </a:ext>
              </a:extLst>
            </p:cNvPr>
            <p:cNvCxnSpPr>
              <a:cxnSpLocks/>
            </p:cNvCxnSpPr>
            <p:nvPr/>
          </p:nvCxnSpPr>
          <p:spPr>
            <a:xfrm>
              <a:off x="1239110" y="4402197"/>
              <a:ext cx="3843590" cy="0"/>
            </a:xfrm>
            <a:prstGeom prst="line">
              <a:avLst/>
            </a:prstGeom>
            <a:ln w="952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A1BCD5E4-E695-4901-B6BD-B184BF5D94FE}"/>
                </a:ext>
              </a:extLst>
            </p:cNvPr>
            <p:cNvSpPr/>
            <p:nvPr/>
          </p:nvSpPr>
          <p:spPr>
            <a:xfrm flipH="1">
              <a:off x="5085174" y="1951255"/>
              <a:ext cx="493797" cy="493797"/>
            </a:xfrm>
            <a:prstGeom prst="ellipse">
              <a:avLst/>
            </a:prstGeom>
            <a:solidFill>
              <a:schemeClr val="bg1"/>
            </a:solidFill>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00" b="0" i="0" u="none" strike="noStrike" kern="1200" cap="none" spc="0" normalizeH="0" baseline="0" noProof="0" dirty="0">
                <a:ln>
                  <a:noFill/>
                </a:ln>
                <a:solidFill>
                  <a:prstClr val="white"/>
                </a:solidFill>
                <a:effectLst/>
                <a:uLnTx/>
                <a:uFillTx/>
                <a:ea typeface="+mn-ea"/>
                <a:cs typeface="+mn-cs"/>
              </a:endParaRPr>
            </a:p>
          </p:txBody>
        </p:sp>
        <p:sp>
          <p:nvSpPr>
            <p:cNvPr id="51" name="Oval 50">
              <a:extLst>
                <a:ext uri="{FF2B5EF4-FFF2-40B4-BE49-F238E27FC236}">
                  <a16:creationId xmlns:a16="http://schemas.microsoft.com/office/drawing/2014/main" id="{72C08DA1-7A18-4C9D-AE52-2738E315EEA5}"/>
                </a:ext>
              </a:extLst>
            </p:cNvPr>
            <p:cNvSpPr/>
            <p:nvPr/>
          </p:nvSpPr>
          <p:spPr>
            <a:xfrm flipH="1">
              <a:off x="4508837" y="3083069"/>
              <a:ext cx="493797" cy="493797"/>
            </a:xfrm>
            <a:prstGeom prst="ellipse">
              <a:avLst/>
            </a:prstGeom>
            <a:solidFill>
              <a:schemeClr val="bg1"/>
            </a:solidFill>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00" b="0" i="0" u="none" strike="noStrike" kern="1200" cap="none" spc="0" normalizeH="0" baseline="0" noProof="0" dirty="0">
                <a:ln>
                  <a:noFill/>
                </a:ln>
                <a:solidFill>
                  <a:prstClr val="white"/>
                </a:solidFill>
                <a:effectLst/>
                <a:uLnTx/>
                <a:uFillTx/>
                <a:ea typeface="+mn-ea"/>
                <a:cs typeface="+mn-cs"/>
              </a:endParaRPr>
            </a:p>
          </p:txBody>
        </p:sp>
        <p:sp>
          <p:nvSpPr>
            <p:cNvPr id="52" name="Oval 51">
              <a:extLst>
                <a:ext uri="{FF2B5EF4-FFF2-40B4-BE49-F238E27FC236}">
                  <a16:creationId xmlns:a16="http://schemas.microsoft.com/office/drawing/2014/main" id="{7A44EC37-2A91-4C69-A416-FD55E6F15790}"/>
                </a:ext>
              </a:extLst>
            </p:cNvPr>
            <p:cNvSpPr/>
            <p:nvPr/>
          </p:nvSpPr>
          <p:spPr>
            <a:xfrm flipH="1">
              <a:off x="5089916" y="4144521"/>
              <a:ext cx="493797" cy="493797"/>
            </a:xfrm>
            <a:prstGeom prst="ellipse">
              <a:avLst/>
            </a:prstGeom>
            <a:solidFill>
              <a:schemeClr val="bg1"/>
            </a:solidFill>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00" b="0" i="0" u="none" strike="noStrike" kern="1200" cap="none" spc="0" normalizeH="0" baseline="0" noProof="0" dirty="0">
                <a:ln>
                  <a:noFill/>
                </a:ln>
                <a:solidFill>
                  <a:prstClr val="white"/>
                </a:solidFill>
                <a:effectLst/>
                <a:uLnTx/>
                <a:uFillTx/>
                <a:ea typeface="+mn-ea"/>
                <a:cs typeface="+mn-cs"/>
              </a:endParaRPr>
            </a:p>
          </p:txBody>
        </p:sp>
      </p:grpSp>
      <p:sp>
        <p:nvSpPr>
          <p:cNvPr id="53" name="Rectangle 52">
            <a:extLst>
              <a:ext uri="{FF2B5EF4-FFF2-40B4-BE49-F238E27FC236}">
                <a16:creationId xmlns:a16="http://schemas.microsoft.com/office/drawing/2014/main" id="{DC720F85-03BC-4A6C-A789-59EF3AAA9B91}"/>
              </a:ext>
            </a:extLst>
          </p:cNvPr>
          <p:cNvSpPr/>
          <p:nvPr/>
        </p:nvSpPr>
        <p:spPr>
          <a:xfrm>
            <a:off x="1129317" y="1738230"/>
            <a:ext cx="2935099" cy="338554"/>
          </a:xfrm>
          <a:prstGeom prst="rect">
            <a:avLst/>
          </a:prstGeom>
        </p:spPr>
        <p:txBody>
          <a:bodyPr wrap="non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150" normalizeH="0" baseline="0" noProof="0" dirty="0">
                <a:ln>
                  <a:noFill/>
                </a:ln>
                <a:solidFill>
                  <a:srgbClr val="787878"/>
                </a:solidFill>
                <a:effectLst/>
                <a:uLnTx/>
                <a:uFillTx/>
                <a:ea typeface="+mn-ea"/>
                <a:cs typeface="+mn-cs"/>
              </a:rPr>
              <a:t>SHARE &amp; ENGAGE</a:t>
            </a: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UNLEASH THE POWER OF THE NETWORK”</a:t>
            </a:r>
          </a:p>
        </p:txBody>
      </p:sp>
      <p:cxnSp>
        <p:nvCxnSpPr>
          <p:cNvPr id="54" name="Straight Connector 53">
            <a:extLst>
              <a:ext uri="{FF2B5EF4-FFF2-40B4-BE49-F238E27FC236}">
                <a16:creationId xmlns:a16="http://schemas.microsoft.com/office/drawing/2014/main" id="{F414274D-F8B7-4B98-825E-EC16BEB30986}"/>
              </a:ext>
            </a:extLst>
          </p:cNvPr>
          <p:cNvCxnSpPr/>
          <p:nvPr/>
        </p:nvCxnSpPr>
        <p:spPr>
          <a:xfrm flipH="1">
            <a:off x="1129317" y="3210922"/>
            <a:ext cx="3240750" cy="0"/>
          </a:xfrm>
          <a:prstGeom prst="line">
            <a:avLst/>
          </a:prstGeom>
          <a:ln w="952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F49C02CD-65C6-4458-864F-044E020A8231}"/>
              </a:ext>
            </a:extLst>
          </p:cNvPr>
          <p:cNvSpPr/>
          <p:nvPr/>
        </p:nvSpPr>
        <p:spPr>
          <a:xfrm>
            <a:off x="1129317" y="2866467"/>
            <a:ext cx="2675412" cy="507831"/>
          </a:xfrm>
          <a:prstGeom prst="rect">
            <a:avLst/>
          </a:prstGeom>
        </p:spPr>
        <p:txBody>
          <a:bodyPr wrap="non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150" normalizeH="0" baseline="0" noProof="0" dirty="0">
                <a:ln>
                  <a:noFill/>
                </a:ln>
                <a:solidFill>
                  <a:srgbClr val="3EFAC5"/>
                </a:solidFill>
                <a:effectLst/>
                <a:uLnTx/>
                <a:uFillTx/>
                <a:ea typeface="+mn-ea"/>
                <a:cs typeface="+mn-cs"/>
              </a:rPr>
              <a:t>RECEIVE</a:t>
            </a: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INSTANT GRATIFICATION, FULFILLED”</a:t>
            </a:r>
            <a:br>
              <a:rPr kumimoji="0" lang="en-US" sz="1100" b="1" i="0" u="none" strike="noStrike" kern="1200" cap="none" spc="0" normalizeH="0" baseline="0" noProof="0" dirty="0">
                <a:ln>
                  <a:noFill/>
                </a:ln>
                <a:solidFill>
                  <a:srgbClr val="000000"/>
                </a:solidFill>
                <a:effectLst/>
                <a:uLnTx/>
                <a:uFillTx/>
                <a:ea typeface="+mn-ea"/>
                <a:cs typeface="+mn-cs"/>
              </a:rPr>
            </a:br>
            <a:endParaRPr kumimoji="0" lang="en-US" sz="1100" b="1" i="0" u="none" strike="noStrike" kern="1200" cap="none" spc="0" normalizeH="0" baseline="0" noProof="0" dirty="0">
              <a:ln>
                <a:noFill/>
              </a:ln>
              <a:solidFill>
                <a:srgbClr val="000000"/>
              </a:solidFill>
              <a:effectLst/>
              <a:uLnTx/>
              <a:uFillTx/>
              <a:ea typeface="+mn-ea"/>
              <a:cs typeface="+mn-cs"/>
            </a:endParaRPr>
          </a:p>
        </p:txBody>
      </p:sp>
      <p:sp>
        <p:nvSpPr>
          <p:cNvPr id="56" name="Rectangle 55">
            <a:extLst>
              <a:ext uri="{FF2B5EF4-FFF2-40B4-BE49-F238E27FC236}">
                <a16:creationId xmlns:a16="http://schemas.microsoft.com/office/drawing/2014/main" id="{7F7C2546-6B65-45C9-BCA6-9A9ACA0645D8}"/>
              </a:ext>
            </a:extLst>
          </p:cNvPr>
          <p:cNvSpPr/>
          <p:nvPr/>
        </p:nvSpPr>
        <p:spPr>
          <a:xfrm>
            <a:off x="1129317" y="3936827"/>
            <a:ext cx="2612895" cy="338554"/>
          </a:xfrm>
          <a:prstGeom prst="rect">
            <a:avLst/>
          </a:prstGeom>
        </p:spPr>
        <p:txBody>
          <a:bodyPr wrap="non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150" normalizeH="0" baseline="0" noProof="0" dirty="0">
                <a:ln>
                  <a:noFill/>
                </a:ln>
                <a:solidFill>
                  <a:srgbClr val="FDD300"/>
                </a:solidFill>
                <a:effectLst/>
                <a:uLnTx/>
                <a:uFillTx/>
                <a:ea typeface="+mn-ea"/>
                <a:cs typeface="+mn-cs"/>
              </a:rPr>
              <a:t>PURCHASE &amp; PAY</a:t>
            </a: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EMBRACING THE CASHLESS SOCIETY”</a:t>
            </a:r>
          </a:p>
        </p:txBody>
      </p:sp>
      <p:sp>
        <p:nvSpPr>
          <p:cNvPr id="57" name="Rectangle 56">
            <a:extLst>
              <a:ext uri="{FF2B5EF4-FFF2-40B4-BE49-F238E27FC236}">
                <a16:creationId xmlns:a16="http://schemas.microsoft.com/office/drawing/2014/main" id="{0D288A29-5AA5-4103-9E38-B7367D291009}"/>
              </a:ext>
            </a:extLst>
          </p:cNvPr>
          <p:cNvSpPr/>
          <p:nvPr/>
        </p:nvSpPr>
        <p:spPr>
          <a:xfrm>
            <a:off x="1129317" y="2129740"/>
            <a:ext cx="3751371" cy="307777"/>
          </a:xfrm>
          <a:prstGeom prst="rect">
            <a:avLst/>
          </a:prstGeom>
        </p:spPr>
        <p:txBody>
          <a:bodyPr wrap="squar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ea typeface="+mn-ea"/>
                <a:cs typeface="+mn-cs"/>
              </a:rPr>
              <a:t>Consumers expect a two-way conversation with brands with 31% of consumers using a digital channel to provide product feedback </a:t>
            </a:r>
          </a:p>
        </p:txBody>
      </p:sp>
      <p:sp>
        <p:nvSpPr>
          <p:cNvPr id="58" name="Rectangle 57">
            <a:extLst>
              <a:ext uri="{FF2B5EF4-FFF2-40B4-BE49-F238E27FC236}">
                <a16:creationId xmlns:a16="http://schemas.microsoft.com/office/drawing/2014/main" id="{004AB8CA-493C-45C3-8926-FBE3A0439667}"/>
              </a:ext>
            </a:extLst>
          </p:cNvPr>
          <p:cNvSpPr/>
          <p:nvPr/>
        </p:nvSpPr>
        <p:spPr>
          <a:xfrm>
            <a:off x="1129317" y="3266666"/>
            <a:ext cx="3156090" cy="461665"/>
          </a:xfrm>
          <a:prstGeom prst="rect">
            <a:avLst/>
          </a:prstGeom>
        </p:spPr>
        <p:txBody>
          <a:bodyPr wrap="squar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ea typeface="+mn-ea"/>
                <a:cs typeface="+mn-cs"/>
              </a:rPr>
              <a:t>Consumers expect to receive product faster and more easily with 50% of consumers surveyed indicated they are willing to pay to receive delivery at home</a:t>
            </a:r>
          </a:p>
        </p:txBody>
      </p:sp>
      <p:sp>
        <p:nvSpPr>
          <p:cNvPr id="59" name="Rectangle 58">
            <a:extLst>
              <a:ext uri="{FF2B5EF4-FFF2-40B4-BE49-F238E27FC236}">
                <a16:creationId xmlns:a16="http://schemas.microsoft.com/office/drawing/2014/main" id="{FC9ED057-069F-4025-96FD-66C7DB87BF8F}"/>
              </a:ext>
            </a:extLst>
          </p:cNvPr>
          <p:cNvSpPr/>
          <p:nvPr/>
        </p:nvSpPr>
        <p:spPr>
          <a:xfrm>
            <a:off x="1129317" y="4315030"/>
            <a:ext cx="3741542" cy="461665"/>
          </a:xfrm>
          <a:prstGeom prst="rect">
            <a:avLst/>
          </a:prstGeom>
        </p:spPr>
        <p:txBody>
          <a:bodyPr wrap="squar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ea typeface="+mn-ea"/>
                <a:cs typeface="+mn-cs"/>
              </a:rPr>
              <a:t>Online purchases are considered an improved and differentiated experience, driven by consumers’ perception that they can get a better deal buying online </a:t>
            </a:r>
          </a:p>
        </p:txBody>
      </p:sp>
      <p:grpSp>
        <p:nvGrpSpPr>
          <p:cNvPr id="60" name="Group 59">
            <a:extLst>
              <a:ext uri="{FF2B5EF4-FFF2-40B4-BE49-F238E27FC236}">
                <a16:creationId xmlns:a16="http://schemas.microsoft.com/office/drawing/2014/main" id="{408DDF77-78B8-423E-A848-2EC348B3096A}"/>
              </a:ext>
            </a:extLst>
          </p:cNvPr>
          <p:cNvGrpSpPr/>
          <p:nvPr/>
        </p:nvGrpSpPr>
        <p:grpSpPr>
          <a:xfrm>
            <a:off x="6724571" y="1811099"/>
            <a:ext cx="532736" cy="532736"/>
            <a:chOff x="6316688" y="2360050"/>
            <a:chExt cx="502920" cy="502920"/>
          </a:xfrm>
        </p:grpSpPr>
        <p:sp>
          <p:nvSpPr>
            <p:cNvPr id="61" name="Oval 60">
              <a:extLst>
                <a:ext uri="{FF2B5EF4-FFF2-40B4-BE49-F238E27FC236}">
                  <a16:creationId xmlns:a16="http://schemas.microsoft.com/office/drawing/2014/main" id="{015E662D-9F1F-458B-BE30-244BABCA58CB}"/>
                </a:ext>
              </a:extLst>
            </p:cNvPr>
            <p:cNvSpPr/>
            <p:nvPr/>
          </p:nvSpPr>
          <p:spPr>
            <a:xfrm>
              <a:off x="6316688" y="2360050"/>
              <a:ext cx="502920" cy="5029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ea typeface="+mn-ea"/>
                <a:cs typeface="+mn-cs"/>
              </a:endParaRPr>
            </a:p>
          </p:txBody>
        </p:sp>
        <p:grpSp>
          <p:nvGrpSpPr>
            <p:cNvPr id="62" name="Group 61">
              <a:extLst>
                <a:ext uri="{FF2B5EF4-FFF2-40B4-BE49-F238E27FC236}">
                  <a16:creationId xmlns:a16="http://schemas.microsoft.com/office/drawing/2014/main" id="{2A8531B6-199F-409C-B884-8502D12AF9BF}"/>
                </a:ext>
              </a:extLst>
            </p:cNvPr>
            <p:cNvGrpSpPr>
              <a:grpSpLocks noChangeAspect="1"/>
            </p:cNvGrpSpPr>
            <p:nvPr/>
          </p:nvGrpSpPr>
          <p:grpSpPr>
            <a:xfrm>
              <a:off x="6324865" y="2378531"/>
              <a:ext cx="486567" cy="465958"/>
              <a:chOff x="1427163" y="4175125"/>
              <a:chExt cx="520700" cy="522288"/>
            </a:xfrm>
          </p:grpSpPr>
          <p:sp>
            <p:nvSpPr>
              <p:cNvPr id="63" name="Freeform 37">
                <a:extLst>
                  <a:ext uri="{FF2B5EF4-FFF2-40B4-BE49-F238E27FC236}">
                    <a16:creationId xmlns:a16="http://schemas.microsoft.com/office/drawing/2014/main" id="{312C7D6D-6AB5-4D8B-BFC8-B28E3ABA81F0}"/>
                  </a:ext>
                </a:extLst>
              </p:cNvPr>
              <p:cNvSpPr>
                <a:spLocks noEditPoints="1"/>
              </p:cNvSpPr>
              <p:nvPr/>
            </p:nvSpPr>
            <p:spPr bwMode="auto">
              <a:xfrm>
                <a:off x="1427163" y="4175125"/>
                <a:ext cx="520700" cy="522288"/>
              </a:xfrm>
              <a:custGeom>
                <a:avLst/>
                <a:gdLst>
                  <a:gd name="T0" fmla="*/ 312 w 657"/>
                  <a:gd name="T1" fmla="*/ 657 h 657"/>
                  <a:gd name="T2" fmla="*/ 262 w 657"/>
                  <a:gd name="T3" fmla="*/ 650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9 h 657"/>
                  <a:gd name="T16" fmla="*/ 1 w 657"/>
                  <a:gd name="T17" fmla="*/ 296 h 657"/>
                  <a:gd name="T18" fmla="*/ 11 w 657"/>
                  <a:gd name="T19" fmla="*/ 246 h 657"/>
                  <a:gd name="T20" fmla="*/ 39 w 657"/>
                  <a:gd name="T21" fmla="*/ 172 h 657"/>
                  <a:gd name="T22" fmla="*/ 97 w 657"/>
                  <a:gd name="T23" fmla="*/ 97 h 657"/>
                  <a:gd name="T24" fmla="*/ 172 w 657"/>
                  <a:gd name="T25" fmla="*/ 39 h 657"/>
                  <a:gd name="T26" fmla="*/ 247 w 657"/>
                  <a:gd name="T27" fmla="*/ 10 h 657"/>
                  <a:gd name="T28" fmla="*/ 296 w 657"/>
                  <a:gd name="T29" fmla="*/ 2 h 657"/>
                  <a:gd name="T30" fmla="*/ 329 w 657"/>
                  <a:gd name="T31" fmla="*/ 0 h 657"/>
                  <a:gd name="T32" fmla="*/ 379 w 657"/>
                  <a:gd name="T33" fmla="*/ 4 h 657"/>
                  <a:gd name="T34" fmla="*/ 426 w 657"/>
                  <a:gd name="T35" fmla="*/ 15 h 657"/>
                  <a:gd name="T36" fmla="*/ 512 w 657"/>
                  <a:gd name="T37" fmla="*/ 57 h 657"/>
                  <a:gd name="T38" fmla="*/ 582 w 657"/>
                  <a:gd name="T39" fmla="*/ 120 h 657"/>
                  <a:gd name="T40" fmla="*/ 631 w 657"/>
                  <a:gd name="T41" fmla="*/ 200 h 657"/>
                  <a:gd name="T42" fmla="*/ 650 w 657"/>
                  <a:gd name="T43" fmla="*/ 262 h 657"/>
                  <a:gd name="T44" fmla="*/ 657 w 657"/>
                  <a:gd name="T45" fmla="*/ 312 h 657"/>
                  <a:gd name="T46" fmla="*/ 657 w 657"/>
                  <a:gd name="T47" fmla="*/ 346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9 w 657"/>
                  <a:gd name="T59" fmla="*/ 653 h 657"/>
                  <a:gd name="T60" fmla="*/ 329 w 657"/>
                  <a:gd name="T61" fmla="*/ 657 h 657"/>
                  <a:gd name="T62" fmla="*/ 329 w 657"/>
                  <a:gd name="T63" fmla="*/ 38 h 657"/>
                  <a:gd name="T64" fmla="*/ 242 w 657"/>
                  <a:gd name="T65" fmla="*/ 51 h 657"/>
                  <a:gd name="T66" fmla="*/ 165 w 657"/>
                  <a:gd name="T67" fmla="*/ 88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5 w 657"/>
                  <a:gd name="T81" fmla="*/ 570 h 657"/>
                  <a:gd name="T82" fmla="*/ 242 w 657"/>
                  <a:gd name="T83" fmla="*/ 607 h 657"/>
                  <a:gd name="T84" fmla="*/ 329 w 657"/>
                  <a:gd name="T85" fmla="*/ 620 h 657"/>
                  <a:gd name="T86" fmla="*/ 387 w 657"/>
                  <a:gd name="T87" fmla="*/ 614 h 657"/>
                  <a:gd name="T88" fmla="*/ 468 w 657"/>
                  <a:gd name="T89" fmla="*/ 585 h 657"/>
                  <a:gd name="T90" fmla="*/ 535 w 657"/>
                  <a:gd name="T91" fmla="*/ 535 h 657"/>
                  <a:gd name="T92" fmla="*/ 584 w 657"/>
                  <a:gd name="T93" fmla="*/ 468 h 657"/>
                  <a:gd name="T94" fmla="*/ 614 w 657"/>
                  <a:gd name="T95" fmla="*/ 387 h 657"/>
                  <a:gd name="T96" fmla="*/ 619 w 657"/>
                  <a:gd name="T97" fmla="*/ 329 h 657"/>
                  <a:gd name="T98" fmla="*/ 607 w 657"/>
                  <a:gd name="T99" fmla="*/ 242 h 657"/>
                  <a:gd name="T100" fmla="*/ 570 w 657"/>
                  <a:gd name="T101" fmla="*/ 166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6"/>
                    </a:lnTo>
                    <a:lnTo>
                      <a:pt x="278" y="653"/>
                    </a:lnTo>
                    <a:lnTo>
                      <a:pt x="262" y="650"/>
                    </a:lnTo>
                    <a:lnTo>
                      <a:pt x="247" y="648"/>
                    </a:lnTo>
                    <a:lnTo>
                      <a:pt x="231" y="642"/>
                    </a:lnTo>
                    <a:lnTo>
                      <a:pt x="200" y="632"/>
                    </a:lnTo>
                    <a:lnTo>
                      <a:pt x="172" y="618"/>
                    </a:lnTo>
                    <a:lnTo>
                      <a:pt x="145" y="601"/>
                    </a:lnTo>
                    <a:lnTo>
                      <a:pt x="120" y="582"/>
                    </a:lnTo>
                    <a:lnTo>
                      <a:pt x="97" y="562"/>
                    </a:lnTo>
                    <a:lnTo>
                      <a:pt x="75" y="538"/>
                    </a:lnTo>
                    <a:lnTo>
                      <a:pt x="57" y="512"/>
                    </a:lnTo>
                    <a:lnTo>
                      <a:pt x="39" y="485"/>
                    </a:lnTo>
                    <a:lnTo>
                      <a:pt x="26" y="457"/>
                    </a:lnTo>
                    <a:lnTo>
                      <a:pt x="15" y="426"/>
                    </a:lnTo>
                    <a:lnTo>
                      <a:pt x="11" y="411"/>
                    </a:lnTo>
                    <a:lnTo>
                      <a:pt x="7" y="395"/>
                    </a:lnTo>
                    <a:lnTo>
                      <a:pt x="4" y="379"/>
                    </a:lnTo>
                    <a:lnTo>
                      <a:pt x="1" y="362"/>
                    </a:lnTo>
                    <a:lnTo>
                      <a:pt x="0" y="346"/>
                    </a:lnTo>
                    <a:lnTo>
                      <a:pt x="0" y="329"/>
                    </a:lnTo>
                    <a:lnTo>
                      <a:pt x="0" y="329"/>
                    </a:lnTo>
                    <a:lnTo>
                      <a:pt x="0" y="312"/>
                    </a:lnTo>
                    <a:lnTo>
                      <a:pt x="1" y="296"/>
                    </a:lnTo>
                    <a:lnTo>
                      <a:pt x="4" y="278"/>
                    </a:lnTo>
                    <a:lnTo>
                      <a:pt x="7" y="262"/>
                    </a:lnTo>
                    <a:lnTo>
                      <a:pt x="11" y="246"/>
                    </a:lnTo>
                    <a:lnTo>
                      <a:pt x="15" y="231"/>
                    </a:lnTo>
                    <a:lnTo>
                      <a:pt x="26" y="200"/>
                    </a:lnTo>
                    <a:lnTo>
                      <a:pt x="39" y="172"/>
                    </a:lnTo>
                    <a:lnTo>
                      <a:pt x="57" y="145"/>
                    </a:lnTo>
                    <a:lnTo>
                      <a:pt x="75" y="120"/>
                    </a:lnTo>
                    <a:lnTo>
                      <a:pt x="97" y="97"/>
                    </a:lnTo>
                    <a:lnTo>
                      <a:pt x="120" y="76"/>
                    </a:lnTo>
                    <a:lnTo>
                      <a:pt x="145" y="57"/>
                    </a:lnTo>
                    <a:lnTo>
                      <a:pt x="172" y="39"/>
                    </a:lnTo>
                    <a:lnTo>
                      <a:pt x="200" y="26"/>
                    </a:lnTo>
                    <a:lnTo>
                      <a:pt x="231" y="15"/>
                    </a:lnTo>
                    <a:lnTo>
                      <a:pt x="247" y="10"/>
                    </a:lnTo>
                    <a:lnTo>
                      <a:pt x="262" y="7"/>
                    </a:lnTo>
                    <a:lnTo>
                      <a:pt x="278" y="4"/>
                    </a:lnTo>
                    <a:lnTo>
                      <a:pt x="296" y="2"/>
                    </a:lnTo>
                    <a:lnTo>
                      <a:pt x="312" y="0"/>
                    </a:lnTo>
                    <a:lnTo>
                      <a:pt x="329" y="0"/>
                    </a:lnTo>
                    <a:lnTo>
                      <a:pt x="329" y="0"/>
                    </a:lnTo>
                    <a:lnTo>
                      <a:pt x="345" y="0"/>
                    </a:lnTo>
                    <a:lnTo>
                      <a:pt x="363" y="2"/>
                    </a:lnTo>
                    <a:lnTo>
                      <a:pt x="379" y="4"/>
                    </a:lnTo>
                    <a:lnTo>
                      <a:pt x="395" y="7"/>
                    </a:lnTo>
                    <a:lnTo>
                      <a:pt x="411" y="10"/>
                    </a:lnTo>
                    <a:lnTo>
                      <a:pt x="426" y="15"/>
                    </a:lnTo>
                    <a:lnTo>
                      <a:pt x="457" y="26"/>
                    </a:lnTo>
                    <a:lnTo>
                      <a:pt x="485" y="39"/>
                    </a:lnTo>
                    <a:lnTo>
                      <a:pt x="512" y="57"/>
                    </a:lnTo>
                    <a:lnTo>
                      <a:pt x="537" y="76"/>
                    </a:lnTo>
                    <a:lnTo>
                      <a:pt x="562" y="97"/>
                    </a:lnTo>
                    <a:lnTo>
                      <a:pt x="582" y="120"/>
                    </a:lnTo>
                    <a:lnTo>
                      <a:pt x="602" y="145"/>
                    </a:lnTo>
                    <a:lnTo>
                      <a:pt x="618" y="172"/>
                    </a:lnTo>
                    <a:lnTo>
                      <a:pt x="631" y="200"/>
                    </a:lnTo>
                    <a:lnTo>
                      <a:pt x="642" y="231"/>
                    </a:lnTo>
                    <a:lnTo>
                      <a:pt x="648" y="246"/>
                    </a:lnTo>
                    <a:lnTo>
                      <a:pt x="650" y="262"/>
                    </a:lnTo>
                    <a:lnTo>
                      <a:pt x="654" y="278"/>
                    </a:lnTo>
                    <a:lnTo>
                      <a:pt x="656" y="296"/>
                    </a:lnTo>
                    <a:lnTo>
                      <a:pt x="657" y="312"/>
                    </a:lnTo>
                    <a:lnTo>
                      <a:pt x="657" y="329"/>
                    </a:lnTo>
                    <a:lnTo>
                      <a:pt x="657" y="329"/>
                    </a:lnTo>
                    <a:lnTo>
                      <a:pt x="657" y="346"/>
                    </a:lnTo>
                    <a:lnTo>
                      <a:pt x="656" y="362"/>
                    </a:lnTo>
                    <a:lnTo>
                      <a:pt x="654" y="379"/>
                    </a:lnTo>
                    <a:lnTo>
                      <a:pt x="650" y="395"/>
                    </a:lnTo>
                    <a:lnTo>
                      <a:pt x="648" y="411"/>
                    </a:lnTo>
                    <a:lnTo>
                      <a:pt x="642" y="426"/>
                    </a:lnTo>
                    <a:lnTo>
                      <a:pt x="631" y="457"/>
                    </a:lnTo>
                    <a:lnTo>
                      <a:pt x="618" y="485"/>
                    </a:lnTo>
                    <a:lnTo>
                      <a:pt x="602" y="512"/>
                    </a:lnTo>
                    <a:lnTo>
                      <a:pt x="582" y="538"/>
                    </a:lnTo>
                    <a:lnTo>
                      <a:pt x="562" y="562"/>
                    </a:lnTo>
                    <a:lnTo>
                      <a:pt x="537" y="582"/>
                    </a:lnTo>
                    <a:lnTo>
                      <a:pt x="512" y="601"/>
                    </a:lnTo>
                    <a:lnTo>
                      <a:pt x="485" y="618"/>
                    </a:lnTo>
                    <a:lnTo>
                      <a:pt x="457" y="632"/>
                    </a:lnTo>
                    <a:lnTo>
                      <a:pt x="426" y="642"/>
                    </a:lnTo>
                    <a:lnTo>
                      <a:pt x="411" y="648"/>
                    </a:lnTo>
                    <a:lnTo>
                      <a:pt x="395" y="650"/>
                    </a:lnTo>
                    <a:lnTo>
                      <a:pt x="379" y="653"/>
                    </a:lnTo>
                    <a:lnTo>
                      <a:pt x="363" y="656"/>
                    </a:lnTo>
                    <a:lnTo>
                      <a:pt x="345" y="657"/>
                    </a:lnTo>
                    <a:lnTo>
                      <a:pt x="329" y="657"/>
                    </a:lnTo>
                    <a:lnTo>
                      <a:pt x="329" y="657"/>
                    </a:lnTo>
                    <a:close/>
                    <a:moveTo>
                      <a:pt x="329" y="38"/>
                    </a:moveTo>
                    <a:lnTo>
                      <a:pt x="329" y="38"/>
                    </a:lnTo>
                    <a:lnTo>
                      <a:pt x="298" y="39"/>
                    </a:lnTo>
                    <a:lnTo>
                      <a:pt x="270" y="43"/>
                    </a:lnTo>
                    <a:lnTo>
                      <a:pt x="242" y="51"/>
                    </a:lnTo>
                    <a:lnTo>
                      <a:pt x="215" y="61"/>
                    </a:lnTo>
                    <a:lnTo>
                      <a:pt x="189" y="73"/>
                    </a:lnTo>
                    <a:lnTo>
                      <a:pt x="165" y="88"/>
                    </a:lnTo>
                    <a:lnTo>
                      <a:pt x="144" y="104"/>
                    </a:lnTo>
                    <a:lnTo>
                      <a:pt x="122" y="123"/>
                    </a:lnTo>
                    <a:lnTo>
                      <a:pt x="104" y="144"/>
                    </a:lnTo>
                    <a:lnTo>
                      <a:pt x="87" y="166"/>
                    </a:lnTo>
                    <a:lnTo>
                      <a:pt x="73" y="190"/>
                    </a:lnTo>
                    <a:lnTo>
                      <a:pt x="61" y="215"/>
                    </a:lnTo>
                    <a:lnTo>
                      <a:pt x="51" y="242"/>
                    </a:lnTo>
                    <a:lnTo>
                      <a:pt x="43" y="270"/>
                    </a:lnTo>
                    <a:lnTo>
                      <a:pt x="39" y="298"/>
                    </a:lnTo>
                    <a:lnTo>
                      <a:pt x="38" y="329"/>
                    </a:lnTo>
                    <a:lnTo>
                      <a:pt x="38" y="329"/>
                    </a:lnTo>
                    <a:lnTo>
                      <a:pt x="39" y="359"/>
                    </a:lnTo>
                    <a:lnTo>
                      <a:pt x="43" y="387"/>
                    </a:lnTo>
                    <a:lnTo>
                      <a:pt x="51" y="415"/>
                    </a:lnTo>
                    <a:lnTo>
                      <a:pt x="61" y="442"/>
                    </a:lnTo>
                    <a:lnTo>
                      <a:pt x="73" y="468"/>
                    </a:lnTo>
                    <a:lnTo>
                      <a:pt x="87" y="492"/>
                    </a:lnTo>
                    <a:lnTo>
                      <a:pt x="104" y="513"/>
                    </a:lnTo>
                    <a:lnTo>
                      <a:pt x="122" y="535"/>
                    </a:lnTo>
                    <a:lnTo>
                      <a:pt x="144" y="554"/>
                    </a:lnTo>
                    <a:lnTo>
                      <a:pt x="165" y="570"/>
                    </a:lnTo>
                    <a:lnTo>
                      <a:pt x="189" y="585"/>
                    </a:lnTo>
                    <a:lnTo>
                      <a:pt x="215" y="597"/>
                    </a:lnTo>
                    <a:lnTo>
                      <a:pt x="242" y="607"/>
                    </a:lnTo>
                    <a:lnTo>
                      <a:pt x="270" y="614"/>
                    </a:lnTo>
                    <a:lnTo>
                      <a:pt x="298" y="618"/>
                    </a:lnTo>
                    <a:lnTo>
                      <a:pt x="329" y="620"/>
                    </a:lnTo>
                    <a:lnTo>
                      <a:pt x="329" y="620"/>
                    </a:lnTo>
                    <a:lnTo>
                      <a:pt x="359" y="618"/>
                    </a:lnTo>
                    <a:lnTo>
                      <a:pt x="387" y="614"/>
                    </a:lnTo>
                    <a:lnTo>
                      <a:pt x="415" y="607"/>
                    </a:lnTo>
                    <a:lnTo>
                      <a:pt x="442" y="597"/>
                    </a:lnTo>
                    <a:lnTo>
                      <a:pt x="468" y="585"/>
                    </a:lnTo>
                    <a:lnTo>
                      <a:pt x="492" y="570"/>
                    </a:lnTo>
                    <a:lnTo>
                      <a:pt x="513" y="554"/>
                    </a:lnTo>
                    <a:lnTo>
                      <a:pt x="535" y="535"/>
                    </a:lnTo>
                    <a:lnTo>
                      <a:pt x="553" y="513"/>
                    </a:lnTo>
                    <a:lnTo>
                      <a:pt x="570" y="492"/>
                    </a:lnTo>
                    <a:lnTo>
                      <a:pt x="584" y="468"/>
                    </a:lnTo>
                    <a:lnTo>
                      <a:pt x="596" y="442"/>
                    </a:lnTo>
                    <a:lnTo>
                      <a:pt x="607" y="415"/>
                    </a:lnTo>
                    <a:lnTo>
                      <a:pt x="614" y="387"/>
                    </a:lnTo>
                    <a:lnTo>
                      <a:pt x="618" y="359"/>
                    </a:lnTo>
                    <a:lnTo>
                      <a:pt x="619" y="329"/>
                    </a:lnTo>
                    <a:lnTo>
                      <a:pt x="619" y="329"/>
                    </a:lnTo>
                    <a:lnTo>
                      <a:pt x="618" y="298"/>
                    </a:lnTo>
                    <a:lnTo>
                      <a:pt x="614" y="270"/>
                    </a:lnTo>
                    <a:lnTo>
                      <a:pt x="607" y="242"/>
                    </a:lnTo>
                    <a:lnTo>
                      <a:pt x="596" y="215"/>
                    </a:lnTo>
                    <a:lnTo>
                      <a:pt x="584" y="190"/>
                    </a:lnTo>
                    <a:lnTo>
                      <a:pt x="570" y="166"/>
                    </a:lnTo>
                    <a:lnTo>
                      <a:pt x="553" y="144"/>
                    </a:lnTo>
                    <a:lnTo>
                      <a:pt x="535" y="123"/>
                    </a:lnTo>
                    <a:lnTo>
                      <a:pt x="513" y="104"/>
                    </a:lnTo>
                    <a:lnTo>
                      <a:pt x="492" y="88"/>
                    </a:lnTo>
                    <a:lnTo>
                      <a:pt x="468" y="73"/>
                    </a:lnTo>
                    <a:lnTo>
                      <a:pt x="442" y="61"/>
                    </a:lnTo>
                    <a:lnTo>
                      <a:pt x="415" y="51"/>
                    </a:lnTo>
                    <a:lnTo>
                      <a:pt x="387" y="43"/>
                    </a:lnTo>
                    <a:lnTo>
                      <a:pt x="359" y="39"/>
                    </a:lnTo>
                    <a:lnTo>
                      <a:pt x="329" y="38"/>
                    </a:lnTo>
                    <a:lnTo>
                      <a:pt x="329" y="38"/>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64" name="Freeform 345">
                <a:extLst>
                  <a:ext uri="{FF2B5EF4-FFF2-40B4-BE49-F238E27FC236}">
                    <a16:creationId xmlns:a16="http://schemas.microsoft.com/office/drawing/2014/main" id="{38448E3E-4378-42DD-B197-E19823571703}"/>
                  </a:ext>
                </a:extLst>
              </p:cNvPr>
              <p:cNvSpPr>
                <a:spLocks/>
              </p:cNvSpPr>
              <p:nvPr/>
            </p:nvSpPr>
            <p:spPr bwMode="auto">
              <a:xfrm>
                <a:off x="1646238" y="4533900"/>
                <a:ext cx="84138" cy="7938"/>
              </a:xfrm>
              <a:custGeom>
                <a:avLst/>
                <a:gdLst>
                  <a:gd name="T0" fmla="*/ 103 w 108"/>
                  <a:gd name="T1" fmla="*/ 0 h 9"/>
                  <a:gd name="T2" fmla="*/ 4 w 108"/>
                  <a:gd name="T3" fmla="*/ 0 h 9"/>
                  <a:gd name="T4" fmla="*/ 4 w 108"/>
                  <a:gd name="T5" fmla="*/ 0 h 9"/>
                  <a:gd name="T6" fmla="*/ 2 w 108"/>
                  <a:gd name="T7" fmla="*/ 1 h 9"/>
                  <a:gd name="T8" fmla="*/ 0 w 108"/>
                  <a:gd name="T9" fmla="*/ 4 h 9"/>
                  <a:gd name="T10" fmla="*/ 0 w 108"/>
                  <a:gd name="T11" fmla="*/ 4 h 9"/>
                  <a:gd name="T12" fmla="*/ 2 w 108"/>
                  <a:gd name="T13" fmla="*/ 8 h 9"/>
                  <a:gd name="T14" fmla="*/ 4 w 108"/>
                  <a:gd name="T15" fmla="*/ 9 h 9"/>
                  <a:gd name="T16" fmla="*/ 103 w 108"/>
                  <a:gd name="T17" fmla="*/ 9 h 9"/>
                  <a:gd name="T18" fmla="*/ 103 w 108"/>
                  <a:gd name="T19" fmla="*/ 9 h 9"/>
                  <a:gd name="T20" fmla="*/ 105 w 108"/>
                  <a:gd name="T21" fmla="*/ 8 h 9"/>
                  <a:gd name="T22" fmla="*/ 108 w 108"/>
                  <a:gd name="T23" fmla="*/ 4 h 9"/>
                  <a:gd name="T24" fmla="*/ 108 w 108"/>
                  <a:gd name="T25" fmla="*/ 4 h 9"/>
                  <a:gd name="T26" fmla="*/ 105 w 108"/>
                  <a:gd name="T27" fmla="*/ 1 h 9"/>
                  <a:gd name="T28" fmla="*/ 103 w 108"/>
                  <a:gd name="T29" fmla="*/ 0 h 9"/>
                  <a:gd name="T30" fmla="*/ 103 w 108"/>
                  <a:gd name="T3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9">
                    <a:moveTo>
                      <a:pt x="103" y="0"/>
                    </a:moveTo>
                    <a:lnTo>
                      <a:pt x="4" y="0"/>
                    </a:lnTo>
                    <a:lnTo>
                      <a:pt x="4" y="0"/>
                    </a:lnTo>
                    <a:lnTo>
                      <a:pt x="2" y="1"/>
                    </a:lnTo>
                    <a:lnTo>
                      <a:pt x="0" y="4"/>
                    </a:lnTo>
                    <a:lnTo>
                      <a:pt x="0" y="4"/>
                    </a:lnTo>
                    <a:lnTo>
                      <a:pt x="2" y="8"/>
                    </a:lnTo>
                    <a:lnTo>
                      <a:pt x="4" y="9"/>
                    </a:lnTo>
                    <a:lnTo>
                      <a:pt x="103" y="9"/>
                    </a:lnTo>
                    <a:lnTo>
                      <a:pt x="103" y="9"/>
                    </a:lnTo>
                    <a:lnTo>
                      <a:pt x="105" y="8"/>
                    </a:lnTo>
                    <a:lnTo>
                      <a:pt x="108" y="4"/>
                    </a:lnTo>
                    <a:lnTo>
                      <a:pt x="108" y="4"/>
                    </a:lnTo>
                    <a:lnTo>
                      <a:pt x="105" y="1"/>
                    </a:lnTo>
                    <a:lnTo>
                      <a:pt x="103" y="0"/>
                    </a:lnTo>
                    <a:lnTo>
                      <a:pt x="10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65" name="Freeform 346">
                <a:extLst>
                  <a:ext uri="{FF2B5EF4-FFF2-40B4-BE49-F238E27FC236}">
                    <a16:creationId xmlns:a16="http://schemas.microsoft.com/office/drawing/2014/main" id="{A3C3B650-E562-4BC6-8874-4B2D0BF31D6C}"/>
                  </a:ext>
                </a:extLst>
              </p:cNvPr>
              <p:cNvSpPr>
                <a:spLocks/>
              </p:cNvSpPr>
              <p:nvPr/>
            </p:nvSpPr>
            <p:spPr bwMode="auto">
              <a:xfrm>
                <a:off x="1668463" y="4554538"/>
                <a:ext cx="39688" cy="6350"/>
              </a:xfrm>
              <a:custGeom>
                <a:avLst/>
                <a:gdLst>
                  <a:gd name="T0" fmla="*/ 44 w 49"/>
                  <a:gd name="T1" fmla="*/ 0 h 10"/>
                  <a:gd name="T2" fmla="*/ 5 w 49"/>
                  <a:gd name="T3" fmla="*/ 0 h 10"/>
                  <a:gd name="T4" fmla="*/ 5 w 49"/>
                  <a:gd name="T5" fmla="*/ 0 h 10"/>
                  <a:gd name="T6" fmla="*/ 2 w 49"/>
                  <a:gd name="T7" fmla="*/ 1 h 10"/>
                  <a:gd name="T8" fmla="*/ 0 w 49"/>
                  <a:gd name="T9" fmla="*/ 6 h 10"/>
                  <a:gd name="T10" fmla="*/ 0 w 49"/>
                  <a:gd name="T11" fmla="*/ 6 h 10"/>
                  <a:gd name="T12" fmla="*/ 2 w 49"/>
                  <a:gd name="T13" fmla="*/ 8 h 10"/>
                  <a:gd name="T14" fmla="*/ 5 w 49"/>
                  <a:gd name="T15" fmla="*/ 10 h 10"/>
                  <a:gd name="T16" fmla="*/ 44 w 49"/>
                  <a:gd name="T17" fmla="*/ 10 h 10"/>
                  <a:gd name="T18" fmla="*/ 44 w 49"/>
                  <a:gd name="T19" fmla="*/ 10 h 10"/>
                  <a:gd name="T20" fmla="*/ 48 w 49"/>
                  <a:gd name="T21" fmla="*/ 8 h 10"/>
                  <a:gd name="T22" fmla="*/ 49 w 49"/>
                  <a:gd name="T23" fmla="*/ 6 h 10"/>
                  <a:gd name="T24" fmla="*/ 49 w 49"/>
                  <a:gd name="T25" fmla="*/ 6 h 10"/>
                  <a:gd name="T26" fmla="*/ 48 w 49"/>
                  <a:gd name="T27" fmla="*/ 1 h 10"/>
                  <a:gd name="T28" fmla="*/ 44 w 49"/>
                  <a:gd name="T29" fmla="*/ 0 h 10"/>
                  <a:gd name="T30" fmla="*/ 44 w 49"/>
                  <a:gd name="T3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9" h="10">
                    <a:moveTo>
                      <a:pt x="44" y="0"/>
                    </a:moveTo>
                    <a:lnTo>
                      <a:pt x="5" y="0"/>
                    </a:lnTo>
                    <a:lnTo>
                      <a:pt x="5" y="0"/>
                    </a:lnTo>
                    <a:lnTo>
                      <a:pt x="2" y="1"/>
                    </a:lnTo>
                    <a:lnTo>
                      <a:pt x="0" y="6"/>
                    </a:lnTo>
                    <a:lnTo>
                      <a:pt x="0" y="6"/>
                    </a:lnTo>
                    <a:lnTo>
                      <a:pt x="2" y="8"/>
                    </a:lnTo>
                    <a:lnTo>
                      <a:pt x="5" y="10"/>
                    </a:lnTo>
                    <a:lnTo>
                      <a:pt x="44" y="10"/>
                    </a:lnTo>
                    <a:lnTo>
                      <a:pt x="44" y="10"/>
                    </a:lnTo>
                    <a:lnTo>
                      <a:pt x="48" y="8"/>
                    </a:lnTo>
                    <a:lnTo>
                      <a:pt x="49" y="6"/>
                    </a:lnTo>
                    <a:lnTo>
                      <a:pt x="49" y="6"/>
                    </a:lnTo>
                    <a:lnTo>
                      <a:pt x="48" y="1"/>
                    </a:lnTo>
                    <a:lnTo>
                      <a:pt x="44" y="0"/>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66" name="Freeform 347">
                <a:extLst>
                  <a:ext uri="{FF2B5EF4-FFF2-40B4-BE49-F238E27FC236}">
                    <a16:creationId xmlns:a16="http://schemas.microsoft.com/office/drawing/2014/main" id="{FD0B02D8-FCDD-4107-A3E4-C7D5CC02BD7D}"/>
                  </a:ext>
                </a:extLst>
              </p:cNvPr>
              <p:cNvSpPr>
                <a:spLocks noEditPoints="1"/>
              </p:cNvSpPr>
              <p:nvPr/>
            </p:nvSpPr>
            <p:spPr bwMode="auto">
              <a:xfrm>
                <a:off x="1598613" y="4316413"/>
                <a:ext cx="177800" cy="201613"/>
              </a:xfrm>
              <a:custGeom>
                <a:avLst/>
                <a:gdLst>
                  <a:gd name="T0" fmla="*/ 113 w 225"/>
                  <a:gd name="T1" fmla="*/ 0 h 252"/>
                  <a:gd name="T2" fmla="*/ 90 w 225"/>
                  <a:gd name="T3" fmla="*/ 1 h 252"/>
                  <a:gd name="T4" fmla="*/ 69 w 225"/>
                  <a:gd name="T5" fmla="*/ 8 h 252"/>
                  <a:gd name="T6" fmla="*/ 50 w 225"/>
                  <a:gd name="T7" fmla="*/ 19 h 252"/>
                  <a:gd name="T8" fmla="*/ 34 w 225"/>
                  <a:gd name="T9" fmla="*/ 32 h 252"/>
                  <a:gd name="T10" fmla="*/ 19 w 225"/>
                  <a:gd name="T11" fmla="*/ 48 h 252"/>
                  <a:gd name="T12" fmla="*/ 10 w 225"/>
                  <a:gd name="T13" fmla="*/ 68 h 252"/>
                  <a:gd name="T14" fmla="*/ 3 w 225"/>
                  <a:gd name="T15" fmla="*/ 89 h 252"/>
                  <a:gd name="T16" fmla="*/ 0 w 225"/>
                  <a:gd name="T17" fmla="*/ 111 h 252"/>
                  <a:gd name="T18" fmla="*/ 2 w 225"/>
                  <a:gd name="T19" fmla="*/ 126 h 252"/>
                  <a:gd name="T20" fmla="*/ 10 w 225"/>
                  <a:gd name="T21" fmla="*/ 156 h 252"/>
                  <a:gd name="T22" fmla="*/ 25 w 225"/>
                  <a:gd name="T23" fmla="*/ 181 h 252"/>
                  <a:gd name="T24" fmla="*/ 46 w 225"/>
                  <a:gd name="T25" fmla="*/ 201 h 252"/>
                  <a:gd name="T26" fmla="*/ 59 w 225"/>
                  <a:gd name="T27" fmla="*/ 248 h 252"/>
                  <a:gd name="T28" fmla="*/ 61 w 225"/>
                  <a:gd name="T29" fmla="*/ 251 h 252"/>
                  <a:gd name="T30" fmla="*/ 162 w 225"/>
                  <a:gd name="T31" fmla="*/ 252 h 252"/>
                  <a:gd name="T32" fmla="*/ 164 w 225"/>
                  <a:gd name="T33" fmla="*/ 251 h 252"/>
                  <a:gd name="T34" fmla="*/ 167 w 225"/>
                  <a:gd name="T35" fmla="*/ 209 h 252"/>
                  <a:gd name="T36" fmla="*/ 179 w 225"/>
                  <a:gd name="T37" fmla="*/ 201 h 252"/>
                  <a:gd name="T38" fmla="*/ 200 w 225"/>
                  <a:gd name="T39" fmla="*/ 181 h 252"/>
                  <a:gd name="T40" fmla="*/ 215 w 225"/>
                  <a:gd name="T41" fmla="*/ 156 h 252"/>
                  <a:gd name="T42" fmla="*/ 223 w 225"/>
                  <a:gd name="T43" fmla="*/ 126 h 252"/>
                  <a:gd name="T44" fmla="*/ 225 w 225"/>
                  <a:gd name="T45" fmla="*/ 111 h 252"/>
                  <a:gd name="T46" fmla="*/ 222 w 225"/>
                  <a:gd name="T47" fmla="*/ 89 h 252"/>
                  <a:gd name="T48" fmla="*/ 215 w 225"/>
                  <a:gd name="T49" fmla="*/ 68 h 252"/>
                  <a:gd name="T50" fmla="*/ 206 w 225"/>
                  <a:gd name="T51" fmla="*/ 48 h 252"/>
                  <a:gd name="T52" fmla="*/ 192 w 225"/>
                  <a:gd name="T53" fmla="*/ 32 h 252"/>
                  <a:gd name="T54" fmla="*/ 175 w 225"/>
                  <a:gd name="T55" fmla="*/ 19 h 252"/>
                  <a:gd name="T56" fmla="*/ 156 w 225"/>
                  <a:gd name="T57" fmla="*/ 8 h 252"/>
                  <a:gd name="T58" fmla="*/ 135 w 225"/>
                  <a:gd name="T59" fmla="*/ 1 h 252"/>
                  <a:gd name="T60" fmla="*/ 113 w 225"/>
                  <a:gd name="T61" fmla="*/ 0 h 252"/>
                  <a:gd name="T62" fmla="*/ 167 w 225"/>
                  <a:gd name="T63" fmla="*/ 136 h 252"/>
                  <a:gd name="T64" fmla="*/ 112 w 225"/>
                  <a:gd name="T65" fmla="*/ 152 h 252"/>
                  <a:gd name="T66" fmla="*/ 58 w 225"/>
                  <a:gd name="T67" fmla="*/ 136 h 252"/>
                  <a:gd name="T68" fmla="*/ 55 w 225"/>
                  <a:gd name="T69" fmla="*/ 133 h 252"/>
                  <a:gd name="T70" fmla="*/ 55 w 225"/>
                  <a:gd name="T71" fmla="*/ 128 h 252"/>
                  <a:gd name="T72" fmla="*/ 58 w 225"/>
                  <a:gd name="T73" fmla="*/ 125 h 252"/>
                  <a:gd name="T74" fmla="*/ 63 w 225"/>
                  <a:gd name="T75" fmla="*/ 122 h 252"/>
                  <a:gd name="T76" fmla="*/ 69 w 225"/>
                  <a:gd name="T77" fmla="*/ 125 h 252"/>
                  <a:gd name="T78" fmla="*/ 106 w 225"/>
                  <a:gd name="T79" fmla="*/ 136 h 252"/>
                  <a:gd name="T80" fmla="*/ 109 w 225"/>
                  <a:gd name="T81" fmla="*/ 134 h 252"/>
                  <a:gd name="T82" fmla="*/ 112 w 225"/>
                  <a:gd name="T83" fmla="*/ 133 h 252"/>
                  <a:gd name="T84" fmla="*/ 119 w 225"/>
                  <a:gd name="T85" fmla="*/ 136 h 252"/>
                  <a:gd name="T86" fmla="*/ 156 w 225"/>
                  <a:gd name="T87" fmla="*/ 125 h 252"/>
                  <a:gd name="T88" fmla="*/ 159 w 225"/>
                  <a:gd name="T89" fmla="*/ 122 h 252"/>
                  <a:gd name="T90" fmla="*/ 164 w 225"/>
                  <a:gd name="T91" fmla="*/ 122 h 252"/>
                  <a:gd name="T92" fmla="*/ 167 w 225"/>
                  <a:gd name="T93" fmla="*/ 125 h 252"/>
                  <a:gd name="T94" fmla="*/ 170 w 225"/>
                  <a:gd name="T95" fmla="*/ 130 h 252"/>
                  <a:gd name="T96" fmla="*/ 167 w 225"/>
                  <a:gd name="T97" fmla="*/ 136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5" h="252">
                    <a:moveTo>
                      <a:pt x="113" y="0"/>
                    </a:moveTo>
                    <a:lnTo>
                      <a:pt x="113" y="0"/>
                    </a:lnTo>
                    <a:lnTo>
                      <a:pt x="101" y="0"/>
                    </a:lnTo>
                    <a:lnTo>
                      <a:pt x="90" y="1"/>
                    </a:lnTo>
                    <a:lnTo>
                      <a:pt x="80" y="4"/>
                    </a:lnTo>
                    <a:lnTo>
                      <a:pt x="69" y="8"/>
                    </a:lnTo>
                    <a:lnTo>
                      <a:pt x="59" y="13"/>
                    </a:lnTo>
                    <a:lnTo>
                      <a:pt x="50" y="19"/>
                    </a:lnTo>
                    <a:lnTo>
                      <a:pt x="42" y="25"/>
                    </a:lnTo>
                    <a:lnTo>
                      <a:pt x="34" y="32"/>
                    </a:lnTo>
                    <a:lnTo>
                      <a:pt x="26" y="40"/>
                    </a:lnTo>
                    <a:lnTo>
                      <a:pt x="19" y="48"/>
                    </a:lnTo>
                    <a:lnTo>
                      <a:pt x="14" y="58"/>
                    </a:lnTo>
                    <a:lnTo>
                      <a:pt x="10" y="68"/>
                    </a:lnTo>
                    <a:lnTo>
                      <a:pt x="6" y="78"/>
                    </a:lnTo>
                    <a:lnTo>
                      <a:pt x="3" y="89"/>
                    </a:lnTo>
                    <a:lnTo>
                      <a:pt x="2" y="101"/>
                    </a:lnTo>
                    <a:lnTo>
                      <a:pt x="0" y="111"/>
                    </a:lnTo>
                    <a:lnTo>
                      <a:pt x="0" y="111"/>
                    </a:lnTo>
                    <a:lnTo>
                      <a:pt x="2" y="126"/>
                    </a:lnTo>
                    <a:lnTo>
                      <a:pt x="4" y="141"/>
                    </a:lnTo>
                    <a:lnTo>
                      <a:pt x="10" y="156"/>
                    </a:lnTo>
                    <a:lnTo>
                      <a:pt x="16" y="169"/>
                    </a:lnTo>
                    <a:lnTo>
                      <a:pt x="25" y="181"/>
                    </a:lnTo>
                    <a:lnTo>
                      <a:pt x="35" y="192"/>
                    </a:lnTo>
                    <a:lnTo>
                      <a:pt x="46" y="201"/>
                    </a:lnTo>
                    <a:lnTo>
                      <a:pt x="59" y="209"/>
                    </a:lnTo>
                    <a:lnTo>
                      <a:pt x="59" y="248"/>
                    </a:lnTo>
                    <a:lnTo>
                      <a:pt x="59" y="248"/>
                    </a:lnTo>
                    <a:lnTo>
                      <a:pt x="61" y="251"/>
                    </a:lnTo>
                    <a:lnTo>
                      <a:pt x="63" y="252"/>
                    </a:lnTo>
                    <a:lnTo>
                      <a:pt x="162" y="252"/>
                    </a:lnTo>
                    <a:lnTo>
                      <a:pt x="162" y="252"/>
                    </a:lnTo>
                    <a:lnTo>
                      <a:pt x="164" y="251"/>
                    </a:lnTo>
                    <a:lnTo>
                      <a:pt x="167" y="248"/>
                    </a:lnTo>
                    <a:lnTo>
                      <a:pt x="167" y="209"/>
                    </a:lnTo>
                    <a:lnTo>
                      <a:pt x="167" y="209"/>
                    </a:lnTo>
                    <a:lnTo>
                      <a:pt x="179" y="201"/>
                    </a:lnTo>
                    <a:lnTo>
                      <a:pt x="191" y="192"/>
                    </a:lnTo>
                    <a:lnTo>
                      <a:pt x="200" y="181"/>
                    </a:lnTo>
                    <a:lnTo>
                      <a:pt x="209" y="169"/>
                    </a:lnTo>
                    <a:lnTo>
                      <a:pt x="215" y="156"/>
                    </a:lnTo>
                    <a:lnTo>
                      <a:pt x="221" y="141"/>
                    </a:lnTo>
                    <a:lnTo>
                      <a:pt x="223" y="126"/>
                    </a:lnTo>
                    <a:lnTo>
                      <a:pt x="225" y="111"/>
                    </a:lnTo>
                    <a:lnTo>
                      <a:pt x="225" y="111"/>
                    </a:lnTo>
                    <a:lnTo>
                      <a:pt x="225" y="101"/>
                    </a:lnTo>
                    <a:lnTo>
                      <a:pt x="222" y="89"/>
                    </a:lnTo>
                    <a:lnTo>
                      <a:pt x="219" y="78"/>
                    </a:lnTo>
                    <a:lnTo>
                      <a:pt x="215" y="68"/>
                    </a:lnTo>
                    <a:lnTo>
                      <a:pt x="211" y="58"/>
                    </a:lnTo>
                    <a:lnTo>
                      <a:pt x="206" y="48"/>
                    </a:lnTo>
                    <a:lnTo>
                      <a:pt x="199" y="40"/>
                    </a:lnTo>
                    <a:lnTo>
                      <a:pt x="192" y="32"/>
                    </a:lnTo>
                    <a:lnTo>
                      <a:pt x="184" y="25"/>
                    </a:lnTo>
                    <a:lnTo>
                      <a:pt x="175" y="19"/>
                    </a:lnTo>
                    <a:lnTo>
                      <a:pt x="166" y="13"/>
                    </a:lnTo>
                    <a:lnTo>
                      <a:pt x="156" y="8"/>
                    </a:lnTo>
                    <a:lnTo>
                      <a:pt x="145" y="4"/>
                    </a:lnTo>
                    <a:lnTo>
                      <a:pt x="135" y="1"/>
                    </a:lnTo>
                    <a:lnTo>
                      <a:pt x="124" y="0"/>
                    </a:lnTo>
                    <a:lnTo>
                      <a:pt x="113" y="0"/>
                    </a:lnTo>
                    <a:lnTo>
                      <a:pt x="113" y="0"/>
                    </a:lnTo>
                    <a:close/>
                    <a:moveTo>
                      <a:pt x="167" y="136"/>
                    </a:moveTo>
                    <a:lnTo>
                      <a:pt x="132" y="172"/>
                    </a:lnTo>
                    <a:lnTo>
                      <a:pt x="112" y="152"/>
                    </a:lnTo>
                    <a:lnTo>
                      <a:pt x="93" y="172"/>
                    </a:lnTo>
                    <a:lnTo>
                      <a:pt x="58" y="136"/>
                    </a:lnTo>
                    <a:lnTo>
                      <a:pt x="58" y="136"/>
                    </a:lnTo>
                    <a:lnTo>
                      <a:pt x="55" y="133"/>
                    </a:lnTo>
                    <a:lnTo>
                      <a:pt x="55" y="130"/>
                    </a:lnTo>
                    <a:lnTo>
                      <a:pt x="55" y="128"/>
                    </a:lnTo>
                    <a:lnTo>
                      <a:pt x="58" y="125"/>
                    </a:lnTo>
                    <a:lnTo>
                      <a:pt x="58" y="125"/>
                    </a:lnTo>
                    <a:lnTo>
                      <a:pt x="61" y="122"/>
                    </a:lnTo>
                    <a:lnTo>
                      <a:pt x="63" y="122"/>
                    </a:lnTo>
                    <a:lnTo>
                      <a:pt x="66" y="122"/>
                    </a:lnTo>
                    <a:lnTo>
                      <a:pt x="69" y="125"/>
                    </a:lnTo>
                    <a:lnTo>
                      <a:pt x="93" y="149"/>
                    </a:lnTo>
                    <a:lnTo>
                      <a:pt x="106" y="136"/>
                    </a:lnTo>
                    <a:lnTo>
                      <a:pt x="106" y="136"/>
                    </a:lnTo>
                    <a:lnTo>
                      <a:pt x="109" y="134"/>
                    </a:lnTo>
                    <a:lnTo>
                      <a:pt x="112" y="133"/>
                    </a:lnTo>
                    <a:lnTo>
                      <a:pt x="112" y="133"/>
                    </a:lnTo>
                    <a:lnTo>
                      <a:pt x="116" y="134"/>
                    </a:lnTo>
                    <a:lnTo>
                      <a:pt x="119" y="136"/>
                    </a:lnTo>
                    <a:lnTo>
                      <a:pt x="132" y="149"/>
                    </a:lnTo>
                    <a:lnTo>
                      <a:pt x="156" y="125"/>
                    </a:lnTo>
                    <a:lnTo>
                      <a:pt x="156" y="125"/>
                    </a:lnTo>
                    <a:lnTo>
                      <a:pt x="159" y="122"/>
                    </a:lnTo>
                    <a:lnTo>
                      <a:pt x="162" y="122"/>
                    </a:lnTo>
                    <a:lnTo>
                      <a:pt x="164" y="122"/>
                    </a:lnTo>
                    <a:lnTo>
                      <a:pt x="167" y="125"/>
                    </a:lnTo>
                    <a:lnTo>
                      <a:pt x="167" y="125"/>
                    </a:lnTo>
                    <a:lnTo>
                      <a:pt x="168" y="128"/>
                    </a:lnTo>
                    <a:lnTo>
                      <a:pt x="170" y="130"/>
                    </a:lnTo>
                    <a:lnTo>
                      <a:pt x="168" y="133"/>
                    </a:lnTo>
                    <a:lnTo>
                      <a:pt x="167" y="136"/>
                    </a:lnTo>
                    <a:lnTo>
                      <a:pt x="167" y="1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grpSp>
      </p:grpSp>
      <p:grpSp>
        <p:nvGrpSpPr>
          <p:cNvPr id="67" name="Group 66">
            <a:extLst>
              <a:ext uri="{FF2B5EF4-FFF2-40B4-BE49-F238E27FC236}">
                <a16:creationId xmlns:a16="http://schemas.microsoft.com/office/drawing/2014/main" id="{396CE5EF-E330-4637-BD4A-9042C63FD97B}"/>
              </a:ext>
            </a:extLst>
          </p:cNvPr>
          <p:cNvGrpSpPr/>
          <p:nvPr/>
        </p:nvGrpSpPr>
        <p:grpSpPr>
          <a:xfrm>
            <a:off x="6723484" y="4016271"/>
            <a:ext cx="532736" cy="532736"/>
            <a:chOff x="7609382" y="2821813"/>
            <a:chExt cx="502920" cy="502920"/>
          </a:xfrm>
        </p:grpSpPr>
        <p:sp>
          <p:nvSpPr>
            <p:cNvPr id="68" name="Oval 67">
              <a:extLst>
                <a:ext uri="{FF2B5EF4-FFF2-40B4-BE49-F238E27FC236}">
                  <a16:creationId xmlns:a16="http://schemas.microsoft.com/office/drawing/2014/main" id="{C25FE9B0-8703-481C-A1D8-3DA1C089BFD4}"/>
                </a:ext>
              </a:extLst>
            </p:cNvPr>
            <p:cNvSpPr/>
            <p:nvPr/>
          </p:nvSpPr>
          <p:spPr>
            <a:xfrm>
              <a:off x="7609382" y="2821813"/>
              <a:ext cx="502920" cy="5029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ea typeface="+mn-ea"/>
                <a:cs typeface="+mn-cs"/>
              </a:endParaRPr>
            </a:p>
          </p:txBody>
        </p:sp>
        <p:grpSp>
          <p:nvGrpSpPr>
            <p:cNvPr id="69" name="Group 68">
              <a:extLst>
                <a:ext uri="{FF2B5EF4-FFF2-40B4-BE49-F238E27FC236}">
                  <a16:creationId xmlns:a16="http://schemas.microsoft.com/office/drawing/2014/main" id="{FF9CE26C-7AB9-4DF6-A771-1E4BA10D5AA0}"/>
                </a:ext>
              </a:extLst>
            </p:cNvPr>
            <p:cNvGrpSpPr>
              <a:grpSpLocks noChangeAspect="1"/>
            </p:cNvGrpSpPr>
            <p:nvPr/>
          </p:nvGrpSpPr>
          <p:grpSpPr>
            <a:xfrm>
              <a:off x="7617559" y="2841709"/>
              <a:ext cx="486567" cy="463129"/>
              <a:chOff x="2324101" y="823913"/>
              <a:chExt cx="522288" cy="520700"/>
            </a:xfrm>
          </p:grpSpPr>
          <p:sp>
            <p:nvSpPr>
              <p:cNvPr id="70" name="Freeform 7">
                <a:extLst>
                  <a:ext uri="{FF2B5EF4-FFF2-40B4-BE49-F238E27FC236}">
                    <a16:creationId xmlns:a16="http://schemas.microsoft.com/office/drawing/2014/main" id="{14B0524F-8BF7-4194-AED9-F891E204BDE9}"/>
                  </a:ext>
                </a:extLst>
              </p:cNvPr>
              <p:cNvSpPr>
                <a:spLocks noEditPoints="1"/>
              </p:cNvSpPr>
              <p:nvPr/>
            </p:nvSpPr>
            <p:spPr bwMode="auto">
              <a:xfrm>
                <a:off x="2324101" y="823913"/>
                <a:ext cx="522288" cy="520700"/>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5 w 658"/>
                  <a:gd name="T11" fmla="*/ 426 h 657"/>
                  <a:gd name="T12" fmla="*/ 4 w 658"/>
                  <a:gd name="T13" fmla="*/ 379 h 657"/>
                  <a:gd name="T14" fmla="*/ 0 w 658"/>
                  <a:gd name="T15" fmla="*/ 329 h 657"/>
                  <a:gd name="T16" fmla="*/ 3 w 658"/>
                  <a:gd name="T17" fmla="*/ 296 h 657"/>
                  <a:gd name="T18" fmla="*/ 11 w 658"/>
                  <a:gd name="T19" fmla="*/ 246 h 657"/>
                  <a:gd name="T20" fmla="*/ 40 w 658"/>
                  <a:gd name="T21" fmla="*/ 172 h 657"/>
                  <a:gd name="T22" fmla="*/ 97 w 658"/>
                  <a:gd name="T23" fmla="*/ 97 h 657"/>
                  <a:gd name="T24" fmla="*/ 172 w 658"/>
                  <a:gd name="T25" fmla="*/ 39 h 657"/>
                  <a:gd name="T26" fmla="*/ 247 w 658"/>
                  <a:gd name="T27" fmla="*/ 10 h 657"/>
                  <a:gd name="T28" fmla="*/ 295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2 w 658"/>
                  <a:gd name="T41" fmla="*/ 200 h 657"/>
                  <a:gd name="T42" fmla="*/ 651 w 658"/>
                  <a:gd name="T43" fmla="*/ 262 h 657"/>
                  <a:gd name="T44" fmla="*/ 657 w 658"/>
                  <a:gd name="T45" fmla="*/ 312 h 657"/>
                  <a:gd name="T46" fmla="*/ 657 w 658"/>
                  <a:gd name="T47" fmla="*/ 345 h 657"/>
                  <a:gd name="T48" fmla="*/ 651 w 658"/>
                  <a:gd name="T49" fmla="*/ 395 h 657"/>
                  <a:gd name="T50" fmla="*/ 632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6 w 658"/>
                  <a:gd name="T67" fmla="*/ 88 h 657"/>
                  <a:gd name="T68" fmla="*/ 105 w 658"/>
                  <a:gd name="T69" fmla="*/ 144 h 657"/>
                  <a:gd name="T70" fmla="*/ 60 w 658"/>
                  <a:gd name="T71" fmla="*/ 215 h 657"/>
                  <a:gd name="T72" fmla="*/ 39 w 658"/>
                  <a:gd name="T73" fmla="*/ 298 h 657"/>
                  <a:gd name="T74" fmla="*/ 39 w 658"/>
                  <a:gd name="T75" fmla="*/ 359 h 657"/>
                  <a:gd name="T76" fmla="*/ 60 w 658"/>
                  <a:gd name="T77" fmla="*/ 442 h 657"/>
                  <a:gd name="T78" fmla="*/ 105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5 w 658"/>
                  <a:gd name="T93" fmla="*/ 468 h 657"/>
                  <a:gd name="T94" fmla="*/ 614 w 658"/>
                  <a:gd name="T95" fmla="*/ 387 h 657"/>
                  <a:gd name="T96" fmla="*/ 620 w 658"/>
                  <a:gd name="T97" fmla="*/ 329 h 657"/>
                  <a:gd name="T98" fmla="*/ 607 w 658"/>
                  <a:gd name="T99" fmla="*/ 242 h 657"/>
                  <a:gd name="T100" fmla="*/ 571 w 658"/>
                  <a:gd name="T101" fmla="*/ 165 h 657"/>
                  <a:gd name="T102" fmla="*/ 514 w 658"/>
                  <a:gd name="T103" fmla="*/ 104 h 657"/>
                  <a:gd name="T104" fmla="*/ 442 w 658"/>
                  <a:gd name="T105" fmla="*/ 61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6"/>
                    </a:lnTo>
                    <a:lnTo>
                      <a:pt x="279" y="653"/>
                    </a:lnTo>
                    <a:lnTo>
                      <a:pt x="263" y="650"/>
                    </a:lnTo>
                    <a:lnTo>
                      <a:pt x="247" y="647"/>
                    </a:lnTo>
                    <a:lnTo>
                      <a:pt x="231" y="642"/>
                    </a:lnTo>
                    <a:lnTo>
                      <a:pt x="201" y="631"/>
                    </a:lnTo>
                    <a:lnTo>
                      <a:pt x="172" y="618"/>
                    </a:lnTo>
                    <a:lnTo>
                      <a:pt x="145" y="600"/>
                    </a:lnTo>
                    <a:lnTo>
                      <a:pt x="119" y="582"/>
                    </a:lnTo>
                    <a:lnTo>
                      <a:pt x="97" y="562"/>
                    </a:lnTo>
                    <a:lnTo>
                      <a:pt x="75" y="537"/>
                    </a:lnTo>
                    <a:lnTo>
                      <a:pt x="56"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6"/>
                    </a:lnTo>
                    <a:lnTo>
                      <a:pt x="4" y="278"/>
                    </a:lnTo>
                    <a:lnTo>
                      <a:pt x="7" y="262"/>
                    </a:lnTo>
                    <a:lnTo>
                      <a:pt x="11" y="246"/>
                    </a:lnTo>
                    <a:lnTo>
                      <a:pt x="15" y="231"/>
                    </a:lnTo>
                    <a:lnTo>
                      <a:pt x="27" y="200"/>
                    </a:lnTo>
                    <a:lnTo>
                      <a:pt x="40" y="172"/>
                    </a:lnTo>
                    <a:lnTo>
                      <a:pt x="56" y="145"/>
                    </a:lnTo>
                    <a:lnTo>
                      <a:pt x="75" y="120"/>
                    </a:lnTo>
                    <a:lnTo>
                      <a:pt x="97" y="97"/>
                    </a:lnTo>
                    <a:lnTo>
                      <a:pt x="119" y="76"/>
                    </a:lnTo>
                    <a:lnTo>
                      <a:pt x="145" y="57"/>
                    </a:lnTo>
                    <a:lnTo>
                      <a:pt x="172" y="39"/>
                    </a:lnTo>
                    <a:lnTo>
                      <a:pt x="201" y="26"/>
                    </a:lnTo>
                    <a:lnTo>
                      <a:pt x="231" y="15"/>
                    </a:lnTo>
                    <a:lnTo>
                      <a:pt x="247" y="10"/>
                    </a:lnTo>
                    <a:lnTo>
                      <a:pt x="263" y="7"/>
                    </a:lnTo>
                    <a:lnTo>
                      <a:pt x="279" y="4"/>
                    </a:lnTo>
                    <a:lnTo>
                      <a:pt x="295" y="2"/>
                    </a:lnTo>
                    <a:lnTo>
                      <a:pt x="311" y="0"/>
                    </a:lnTo>
                    <a:lnTo>
                      <a:pt x="329" y="0"/>
                    </a:lnTo>
                    <a:lnTo>
                      <a:pt x="329" y="0"/>
                    </a:lnTo>
                    <a:lnTo>
                      <a:pt x="346" y="0"/>
                    </a:lnTo>
                    <a:lnTo>
                      <a:pt x="362" y="2"/>
                    </a:lnTo>
                    <a:lnTo>
                      <a:pt x="379" y="4"/>
                    </a:lnTo>
                    <a:lnTo>
                      <a:pt x="395" y="7"/>
                    </a:lnTo>
                    <a:lnTo>
                      <a:pt x="411" y="10"/>
                    </a:lnTo>
                    <a:lnTo>
                      <a:pt x="427" y="15"/>
                    </a:lnTo>
                    <a:lnTo>
                      <a:pt x="456" y="26"/>
                    </a:lnTo>
                    <a:lnTo>
                      <a:pt x="486" y="39"/>
                    </a:lnTo>
                    <a:lnTo>
                      <a:pt x="513" y="57"/>
                    </a:lnTo>
                    <a:lnTo>
                      <a:pt x="538" y="76"/>
                    </a:lnTo>
                    <a:lnTo>
                      <a:pt x="561" y="97"/>
                    </a:lnTo>
                    <a:lnTo>
                      <a:pt x="583" y="120"/>
                    </a:lnTo>
                    <a:lnTo>
                      <a:pt x="601" y="145"/>
                    </a:lnTo>
                    <a:lnTo>
                      <a:pt x="618" y="172"/>
                    </a:lnTo>
                    <a:lnTo>
                      <a:pt x="632" y="200"/>
                    </a:lnTo>
                    <a:lnTo>
                      <a:pt x="643" y="231"/>
                    </a:lnTo>
                    <a:lnTo>
                      <a:pt x="647" y="246"/>
                    </a:lnTo>
                    <a:lnTo>
                      <a:pt x="651" y="262"/>
                    </a:lnTo>
                    <a:lnTo>
                      <a:pt x="654" y="278"/>
                    </a:lnTo>
                    <a:lnTo>
                      <a:pt x="655" y="296"/>
                    </a:lnTo>
                    <a:lnTo>
                      <a:pt x="657" y="312"/>
                    </a:lnTo>
                    <a:lnTo>
                      <a:pt x="658" y="329"/>
                    </a:lnTo>
                    <a:lnTo>
                      <a:pt x="658" y="329"/>
                    </a:lnTo>
                    <a:lnTo>
                      <a:pt x="657" y="345"/>
                    </a:lnTo>
                    <a:lnTo>
                      <a:pt x="655" y="363"/>
                    </a:lnTo>
                    <a:lnTo>
                      <a:pt x="654" y="379"/>
                    </a:lnTo>
                    <a:lnTo>
                      <a:pt x="651" y="395"/>
                    </a:lnTo>
                    <a:lnTo>
                      <a:pt x="647" y="411"/>
                    </a:lnTo>
                    <a:lnTo>
                      <a:pt x="643" y="426"/>
                    </a:lnTo>
                    <a:lnTo>
                      <a:pt x="632" y="457"/>
                    </a:lnTo>
                    <a:lnTo>
                      <a:pt x="618" y="485"/>
                    </a:lnTo>
                    <a:lnTo>
                      <a:pt x="601" y="512"/>
                    </a:lnTo>
                    <a:lnTo>
                      <a:pt x="583" y="537"/>
                    </a:lnTo>
                    <a:lnTo>
                      <a:pt x="561" y="562"/>
                    </a:lnTo>
                    <a:lnTo>
                      <a:pt x="538" y="582"/>
                    </a:lnTo>
                    <a:lnTo>
                      <a:pt x="513" y="600"/>
                    </a:lnTo>
                    <a:lnTo>
                      <a:pt x="486" y="618"/>
                    </a:lnTo>
                    <a:lnTo>
                      <a:pt x="456" y="631"/>
                    </a:lnTo>
                    <a:lnTo>
                      <a:pt x="427" y="642"/>
                    </a:lnTo>
                    <a:lnTo>
                      <a:pt x="411" y="647"/>
                    </a:lnTo>
                    <a:lnTo>
                      <a:pt x="395" y="650"/>
                    </a:lnTo>
                    <a:lnTo>
                      <a:pt x="379" y="653"/>
                    </a:lnTo>
                    <a:lnTo>
                      <a:pt x="362" y="656"/>
                    </a:lnTo>
                    <a:lnTo>
                      <a:pt x="346" y="657"/>
                    </a:lnTo>
                    <a:lnTo>
                      <a:pt x="329" y="657"/>
                    </a:lnTo>
                    <a:lnTo>
                      <a:pt x="329" y="657"/>
                    </a:lnTo>
                    <a:close/>
                    <a:moveTo>
                      <a:pt x="329" y="38"/>
                    </a:moveTo>
                    <a:lnTo>
                      <a:pt x="329" y="38"/>
                    </a:lnTo>
                    <a:lnTo>
                      <a:pt x="299" y="39"/>
                    </a:lnTo>
                    <a:lnTo>
                      <a:pt x="270" y="43"/>
                    </a:lnTo>
                    <a:lnTo>
                      <a:pt x="243" y="51"/>
                    </a:lnTo>
                    <a:lnTo>
                      <a:pt x="216" y="61"/>
                    </a:lnTo>
                    <a:lnTo>
                      <a:pt x="191" y="73"/>
                    </a:lnTo>
                    <a:lnTo>
                      <a:pt x="166" y="88"/>
                    </a:lnTo>
                    <a:lnTo>
                      <a:pt x="144" y="104"/>
                    </a:lnTo>
                    <a:lnTo>
                      <a:pt x="124" y="123"/>
                    </a:lnTo>
                    <a:lnTo>
                      <a:pt x="105" y="144"/>
                    </a:lnTo>
                    <a:lnTo>
                      <a:pt x="87" y="165"/>
                    </a:lnTo>
                    <a:lnTo>
                      <a:pt x="72" y="190"/>
                    </a:lnTo>
                    <a:lnTo>
                      <a:pt x="60" y="215"/>
                    </a:lnTo>
                    <a:lnTo>
                      <a:pt x="51" y="242"/>
                    </a:lnTo>
                    <a:lnTo>
                      <a:pt x="44" y="270"/>
                    </a:lnTo>
                    <a:lnTo>
                      <a:pt x="39" y="298"/>
                    </a:lnTo>
                    <a:lnTo>
                      <a:pt x="38" y="329"/>
                    </a:lnTo>
                    <a:lnTo>
                      <a:pt x="38" y="329"/>
                    </a:lnTo>
                    <a:lnTo>
                      <a:pt x="39" y="359"/>
                    </a:lnTo>
                    <a:lnTo>
                      <a:pt x="44" y="387"/>
                    </a:lnTo>
                    <a:lnTo>
                      <a:pt x="51" y="415"/>
                    </a:lnTo>
                    <a:lnTo>
                      <a:pt x="60" y="442"/>
                    </a:lnTo>
                    <a:lnTo>
                      <a:pt x="72" y="468"/>
                    </a:lnTo>
                    <a:lnTo>
                      <a:pt x="87" y="492"/>
                    </a:lnTo>
                    <a:lnTo>
                      <a:pt x="105" y="513"/>
                    </a:lnTo>
                    <a:lnTo>
                      <a:pt x="124" y="535"/>
                    </a:lnTo>
                    <a:lnTo>
                      <a:pt x="144" y="553"/>
                    </a:lnTo>
                    <a:lnTo>
                      <a:pt x="166" y="570"/>
                    </a:lnTo>
                    <a:lnTo>
                      <a:pt x="191" y="584"/>
                    </a:lnTo>
                    <a:lnTo>
                      <a:pt x="216" y="596"/>
                    </a:lnTo>
                    <a:lnTo>
                      <a:pt x="243" y="607"/>
                    </a:lnTo>
                    <a:lnTo>
                      <a:pt x="270" y="614"/>
                    </a:lnTo>
                    <a:lnTo>
                      <a:pt x="299" y="618"/>
                    </a:lnTo>
                    <a:lnTo>
                      <a:pt x="329" y="619"/>
                    </a:lnTo>
                    <a:lnTo>
                      <a:pt x="329" y="619"/>
                    </a:lnTo>
                    <a:lnTo>
                      <a:pt x="358" y="618"/>
                    </a:lnTo>
                    <a:lnTo>
                      <a:pt x="388" y="614"/>
                    </a:lnTo>
                    <a:lnTo>
                      <a:pt x="415" y="607"/>
                    </a:lnTo>
                    <a:lnTo>
                      <a:pt x="442" y="596"/>
                    </a:lnTo>
                    <a:lnTo>
                      <a:pt x="467" y="584"/>
                    </a:lnTo>
                    <a:lnTo>
                      <a:pt x="491" y="570"/>
                    </a:lnTo>
                    <a:lnTo>
                      <a:pt x="514" y="553"/>
                    </a:lnTo>
                    <a:lnTo>
                      <a:pt x="534" y="535"/>
                    </a:lnTo>
                    <a:lnTo>
                      <a:pt x="553" y="513"/>
                    </a:lnTo>
                    <a:lnTo>
                      <a:pt x="571" y="492"/>
                    </a:lnTo>
                    <a:lnTo>
                      <a:pt x="585" y="468"/>
                    </a:lnTo>
                    <a:lnTo>
                      <a:pt x="597" y="442"/>
                    </a:lnTo>
                    <a:lnTo>
                      <a:pt x="607" y="415"/>
                    </a:lnTo>
                    <a:lnTo>
                      <a:pt x="614" y="387"/>
                    </a:lnTo>
                    <a:lnTo>
                      <a:pt x="619" y="359"/>
                    </a:lnTo>
                    <a:lnTo>
                      <a:pt x="620" y="329"/>
                    </a:lnTo>
                    <a:lnTo>
                      <a:pt x="620" y="329"/>
                    </a:lnTo>
                    <a:lnTo>
                      <a:pt x="619" y="298"/>
                    </a:lnTo>
                    <a:lnTo>
                      <a:pt x="614" y="270"/>
                    </a:lnTo>
                    <a:lnTo>
                      <a:pt x="607" y="242"/>
                    </a:lnTo>
                    <a:lnTo>
                      <a:pt x="597" y="215"/>
                    </a:lnTo>
                    <a:lnTo>
                      <a:pt x="585" y="190"/>
                    </a:lnTo>
                    <a:lnTo>
                      <a:pt x="571" y="165"/>
                    </a:lnTo>
                    <a:lnTo>
                      <a:pt x="553" y="144"/>
                    </a:lnTo>
                    <a:lnTo>
                      <a:pt x="534" y="123"/>
                    </a:lnTo>
                    <a:lnTo>
                      <a:pt x="514" y="104"/>
                    </a:lnTo>
                    <a:lnTo>
                      <a:pt x="491" y="88"/>
                    </a:lnTo>
                    <a:lnTo>
                      <a:pt x="467" y="73"/>
                    </a:lnTo>
                    <a:lnTo>
                      <a:pt x="442" y="61"/>
                    </a:lnTo>
                    <a:lnTo>
                      <a:pt x="415" y="51"/>
                    </a:lnTo>
                    <a:lnTo>
                      <a:pt x="388" y="43"/>
                    </a:lnTo>
                    <a:lnTo>
                      <a:pt x="358" y="39"/>
                    </a:lnTo>
                    <a:lnTo>
                      <a:pt x="329" y="38"/>
                    </a:lnTo>
                    <a:lnTo>
                      <a:pt x="329" y="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71" name="Freeform 89">
                <a:extLst>
                  <a:ext uri="{FF2B5EF4-FFF2-40B4-BE49-F238E27FC236}">
                    <a16:creationId xmlns:a16="http://schemas.microsoft.com/office/drawing/2014/main" id="{B32B5BAE-4599-46BC-A32F-EF35F1B9E051}"/>
                  </a:ext>
                </a:extLst>
              </p:cNvPr>
              <p:cNvSpPr>
                <a:spLocks/>
              </p:cNvSpPr>
              <p:nvPr/>
            </p:nvSpPr>
            <p:spPr bwMode="auto">
              <a:xfrm>
                <a:off x="2459038" y="944563"/>
                <a:ext cx="228600" cy="247650"/>
              </a:xfrm>
              <a:custGeom>
                <a:avLst/>
                <a:gdLst>
                  <a:gd name="T0" fmla="*/ 268 w 287"/>
                  <a:gd name="T1" fmla="*/ 141 h 313"/>
                  <a:gd name="T2" fmla="*/ 255 w 287"/>
                  <a:gd name="T3" fmla="*/ 142 h 313"/>
                  <a:gd name="T4" fmla="*/ 248 w 287"/>
                  <a:gd name="T5" fmla="*/ 146 h 313"/>
                  <a:gd name="T6" fmla="*/ 245 w 287"/>
                  <a:gd name="T7" fmla="*/ 148 h 313"/>
                  <a:gd name="T8" fmla="*/ 243 w 287"/>
                  <a:gd name="T9" fmla="*/ 146 h 313"/>
                  <a:gd name="T10" fmla="*/ 240 w 287"/>
                  <a:gd name="T11" fmla="*/ 138 h 313"/>
                  <a:gd name="T12" fmla="*/ 229 w 287"/>
                  <a:gd name="T13" fmla="*/ 129 h 313"/>
                  <a:gd name="T14" fmla="*/ 222 w 287"/>
                  <a:gd name="T15" fmla="*/ 128 h 313"/>
                  <a:gd name="T16" fmla="*/ 209 w 287"/>
                  <a:gd name="T17" fmla="*/ 130 h 313"/>
                  <a:gd name="T18" fmla="*/ 200 w 287"/>
                  <a:gd name="T19" fmla="*/ 137 h 313"/>
                  <a:gd name="T20" fmla="*/ 197 w 287"/>
                  <a:gd name="T21" fmla="*/ 137 h 313"/>
                  <a:gd name="T22" fmla="*/ 196 w 287"/>
                  <a:gd name="T23" fmla="*/ 136 h 313"/>
                  <a:gd name="T24" fmla="*/ 193 w 287"/>
                  <a:gd name="T25" fmla="*/ 129 h 313"/>
                  <a:gd name="T26" fmla="*/ 182 w 287"/>
                  <a:gd name="T27" fmla="*/ 120 h 313"/>
                  <a:gd name="T28" fmla="*/ 174 w 287"/>
                  <a:gd name="T29" fmla="*/ 117 h 313"/>
                  <a:gd name="T30" fmla="*/ 161 w 287"/>
                  <a:gd name="T31" fmla="*/ 120 h 313"/>
                  <a:gd name="T32" fmla="*/ 151 w 287"/>
                  <a:gd name="T33" fmla="*/ 129 h 313"/>
                  <a:gd name="T34" fmla="*/ 150 w 287"/>
                  <a:gd name="T35" fmla="*/ 130 h 313"/>
                  <a:gd name="T36" fmla="*/ 149 w 287"/>
                  <a:gd name="T37" fmla="*/ 26 h 313"/>
                  <a:gd name="T38" fmla="*/ 149 w 287"/>
                  <a:gd name="T39" fmla="*/ 20 h 313"/>
                  <a:gd name="T40" fmla="*/ 142 w 287"/>
                  <a:gd name="T41" fmla="*/ 8 h 313"/>
                  <a:gd name="T42" fmla="*/ 135 w 287"/>
                  <a:gd name="T43" fmla="*/ 3 h 313"/>
                  <a:gd name="T44" fmla="*/ 127 w 287"/>
                  <a:gd name="T45" fmla="*/ 0 h 313"/>
                  <a:gd name="T46" fmla="*/ 122 w 287"/>
                  <a:gd name="T47" fmla="*/ 0 h 313"/>
                  <a:gd name="T48" fmla="*/ 112 w 287"/>
                  <a:gd name="T49" fmla="*/ 4 h 313"/>
                  <a:gd name="T50" fmla="*/ 106 w 287"/>
                  <a:gd name="T51" fmla="*/ 9 h 313"/>
                  <a:gd name="T52" fmla="*/ 102 w 287"/>
                  <a:gd name="T53" fmla="*/ 19 h 313"/>
                  <a:gd name="T54" fmla="*/ 100 w 287"/>
                  <a:gd name="T55" fmla="*/ 192 h 313"/>
                  <a:gd name="T56" fmla="*/ 100 w 287"/>
                  <a:gd name="T57" fmla="*/ 197 h 313"/>
                  <a:gd name="T58" fmla="*/ 93 w 287"/>
                  <a:gd name="T59" fmla="*/ 204 h 313"/>
                  <a:gd name="T60" fmla="*/ 84 w 287"/>
                  <a:gd name="T61" fmla="*/ 208 h 313"/>
                  <a:gd name="T62" fmla="*/ 75 w 287"/>
                  <a:gd name="T63" fmla="*/ 204 h 313"/>
                  <a:gd name="T64" fmla="*/ 53 w 287"/>
                  <a:gd name="T65" fmla="*/ 173 h 313"/>
                  <a:gd name="T66" fmla="*/ 49 w 287"/>
                  <a:gd name="T67" fmla="*/ 168 h 313"/>
                  <a:gd name="T68" fmla="*/ 40 w 287"/>
                  <a:gd name="T69" fmla="*/ 161 h 313"/>
                  <a:gd name="T70" fmla="*/ 28 w 287"/>
                  <a:gd name="T71" fmla="*/ 157 h 313"/>
                  <a:gd name="T72" fmla="*/ 16 w 287"/>
                  <a:gd name="T73" fmla="*/ 157 h 313"/>
                  <a:gd name="T74" fmla="*/ 9 w 287"/>
                  <a:gd name="T75" fmla="*/ 158 h 313"/>
                  <a:gd name="T76" fmla="*/ 1 w 287"/>
                  <a:gd name="T77" fmla="*/ 168 h 313"/>
                  <a:gd name="T78" fmla="*/ 2 w 287"/>
                  <a:gd name="T79" fmla="*/ 179 h 313"/>
                  <a:gd name="T80" fmla="*/ 255 w 287"/>
                  <a:gd name="T81" fmla="*/ 313 h 313"/>
                  <a:gd name="T82" fmla="*/ 260 w 287"/>
                  <a:gd name="T83" fmla="*/ 302 h 313"/>
                  <a:gd name="T84" fmla="*/ 271 w 287"/>
                  <a:gd name="T85" fmla="*/ 270 h 313"/>
                  <a:gd name="T86" fmla="*/ 281 w 287"/>
                  <a:gd name="T87" fmla="*/ 223 h 313"/>
                  <a:gd name="T88" fmla="*/ 287 w 287"/>
                  <a:gd name="T89" fmla="*/ 165 h 313"/>
                  <a:gd name="T90" fmla="*/ 285 w 287"/>
                  <a:gd name="T91" fmla="*/ 160 h 313"/>
                  <a:gd name="T92" fmla="*/ 280 w 287"/>
                  <a:gd name="T93" fmla="*/ 149 h 313"/>
                  <a:gd name="T94" fmla="*/ 268 w 287"/>
                  <a:gd name="T95" fmla="*/ 141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7" h="313">
                    <a:moveTo>
                      <a:pt x="268" y="141"/>
                    </a:moveTo>
                    <a:lnTo>
                      <a:pt x="268" y="141"/>
                    </a:lnTo>
                    <a:lnTo>
                      <a:pt x="260" y="141"/>
                    </a:lnTo>
                    <a:lnTo>
                      <a:pt x="255" y="142"/>
                    </a:lnTo>
                    <a:lnTo>
                      <a:pt x="251" y="144"/>
                    </a:lnTo>
                    <a:lnTo>
                      <a:pt x="248" y="146"/>
                    </a:lnTo>
                    <a:lnTo>
                      <a:pt x="248" y="146"/>
                    </a:lnTo>
                    <a:lnTo>
                      <a:pt x="245" y="148"/>
                    </a:lnTo>
                    <a:lnTo>
                      <a:pt x="244" y="146"/>
                    </a:lnTo>
                    <a:lnTo>
                      <a:pt x="243" y="146"/>
                    </a:lnTo>
                    <a:lnTo>
                      <a:pt x="243" y="146"/>
                    </a:lnTo>
                    <a:lnTo>
                      <a:pt x="240" y="138"/>
                    </a:lnTo>
                    <a:lnTo>
                      <a:pt x="236" y="133"/>
                    </a:lnTo>
                    <a:lnTo>
                      <a:pt x="229" y="129"/>
                    </a:lnTo>
                    <a:lnTo>
                      <a:pt x="222" y="128"/>
                    </a:lnTo>
                    <a:lnTo>
                      <a:pt x="222" y="128"/>
                    </a:lnTo>
                    <a:lnTo>
                      <a:pt x="214" y="128"/>
                    </a:lnTo>
                    <a:lnTo>
                      <a:pt x="209" y="130"/>
                    </a:lnTo>
                    <a:lnTo>
                      <a:pt x="204" y="133"/>
                    </a:lnTo>
                    <a:lnTo>
                      <a:pt x="200" y="137"/>
                    </a:lnTo>
                    <a:lnTo>
                      <a:pt x="200" y="137"/>
                    </a:lnTo>
                    <a:lnTo>
                      <a:pt x="197" y="137"/>
                    </a:lnTo>
                    <a:lnTo>
                      <a:pt x="196" y="137"/>
                    </a:lnTo>
                    <a:lnTo>
                      <a:pt x="196" y="136"/>
                    </a:lnTo>
                    <a:lnTo>
                      <a:pt x="196" y="136"/>
                    </a:lnTo>
                    <a:lnTo>
                      <a:pt x="193" y="129"/>
                    </a:lnTo>
                    <a:lnTo>
                      <a:pt x="187" y="124"/>
                    </a:lnTo>
                    <a:lnTo>
                      <a:pt x="182" y="120"/>
                    </a:lnTo>
                    <a:lnTo>
                      <a:pt x="174" y="117"/>
                    </a:lnTo>
                    <a:lnTo>
                      <a:pt x="174" y="117"/>
                    </a:lnTo>
                    <a:lnTo>
                      <a:pt x="167" y="117"/>
                    </a:lnTo>
                    <a:lnTo>
                      <a:pt x="161" y="120"/>
                    </a:lnTo>
                    <a:lnTo>
                      <a:pt x="155" y="124"/>
                    </a:lnTo>
                    <a:lnTo>
                      <a:pt x="151" y="129"/>
                    </a:lnTo>
                    <a:lnTo>
                      <a:pt x="151" y="129"/>
                    </a:lnTo>
                    <a:lnTo>
                      <a:pt x="150" y="130"/>
                    </a:lnTo>
                    <a:lnTo>
                      <a:pt x="149" y="129"/>
                    </a:lnTo>
                    <a:lnTo>
                      <a:pt x="149" y="26"/>
                    </a:lnTo>
                    <a:lnTo>
                      <a:pt x="149" y="26"/>
                    </a:lnTo>
                    <a:lnTo>
                      <a:pt x="149" y="20"/>
                    </a:lnTo>
                    <a:lnTo>
                      <a:pt x="147" y="16"/>
                    </a:lnTo>
                    <a:lnTo>
                      <a:pt x="142" y="8"/>
                    </a:lnTo>
                    <a:lnTo>
                      <a:pt x="139" y="5"/>
                    </a:lnTo>
                    <a:lnTo>
                      <a:pt x="135" y="3"/>
                    </a:lnTo>
                    <a:lnTo>
                      <a:pt x="131" y="1"/>
                    </a:lnTo>
                    <a:lnTo>
                      <a:pt x="127" y="0"/>
                    </a:lnTo>
                    <a:lnTo>
                      <a:pt x="127" y="0"/>
                    </a:lnTo>
                    <a:lnTo>
                      <a:pt x="122" y="0"/>
                    </a:lnTo>
                    <a:lnTo>
                      <a:pt x="116" y="1"/>
                    </a:lnTo>
                    <a:lnTo>
                      <a:pt x="112" y="4"/>
                    </a:lnTo>
                    <a:lnTo>
                      <a:pt x="108" y="7"/>
                    </a:lnTo>
                    <a:lnTo>
                      <a:pt x="106" y="9"/>
                    </a:lnTo>
                    <a:lnTo>
                      <a:pt x="103" y="15"/>
                    </a:lnTo>
                    <a:lnTo>
                      <a:pt x="102" y="19"/>
                    </a:lnTo>
                    <a:lnTo>
                      <a:pt x="100" y="24"/>
                    </a:lnTo>
                    <a:lnTo>
                      <a:pt x="100" y="192"/>
                    </a:lnTo>
                    <a:lnTo>
                      <a:pt x="100" y="192"/>
                    </a:lnTo>
                    <a:lnTo>
                      <a:pt x="100" y="197"/>
                    </a:lnTo>
                    <a:lnTo>
                      <a:pt x="98" y="201"/>
                    </a:lnTo>
                    <a:lnTo>
                      <a:pt x="93" y="204"/>
                    </a:lnTo>
                    <a:lnTo>
                      <a:pt x="89" y="207"/>
                    </a:lnTo>
                    <a:lnTo>
                      <a:pt x="84" y="208"/>
                    </a:lnTo>
                    <a:lnTo>
                      <a:pt x="80" y="207"/>
                    </a:lnTo>
                    <a:lnTo>
                      <a:pt x="75" y="204"/>
                    </a:lnTo>
                    <a:lnTo>
                      <a:pt x="72" y="200"/>
                    </a:lnTo>
                    <a:lnTo>
                      <a:pt x="53" y="173"/>
                    </a:lnTo>
                    <a:lnTo>
                      <a:pt x="53" y="173"/>
                    </a:lnTo>
                    <a:lnTo>
                      <a:pt x="49" y="168"/>
                    </a:lnTo>
                    <a:lnTo>
                      <a:pt x="45" y="164"/>
                    </a:lnTo>
                    <a:lnTo>
                      <a:pt x="40" y="161"/>
                    </a:lnTo>
                    <a:lnTo>
                      <a:pt x="34" y="158"/>
                    </a:lnTo>
                    <a:lnTo>
                      <a:pt x="28" y="157"/>
                    </a:lnTo>
                    <a:lnTo>
                      <a:pt x="22" y="157"/>
                    </a:lnTo>
                    <a:lnTo>
                      <a:pt x="16" y="157"/>
                    </a:lnTo>
                    <a:lnTo>
                      <a:pt x="9" y="158"/>
                    </a:lnTo>
                    <a:lnTo>
                      <a:pt x="9" y="158"/>
                    </a:lnTo>
                    <a:lnTo>
                      <a:pt x="5" y="162"/>
                    </a:lnTo>
                    <a:lnTo>
                      <a:pt x="1" y="168"/>
                    </a:lnTo>
                    <a:lnTo>
                      <a:pt x="0" y="173"/>
                    </a:lnTo>
                    <a:lnTo>
                      <a:pt x="2" y="179"/>
                    </a:lnTo>
                    <a:lnTo>
                      <a:pt x="69" y="313"/>
                    </a:lnTo>
                    <a:lnTo>
                      <a:pt x="255" y="313"/>
                    </a:lnTo>
                    <a:lnTo>
                      <a:pt x="255" y="313"/>
                    </a:lnTo>
                    <a:lnTo>
                      <a:pt x="260" y="302"/>
                    </a:lnTo>
                    <a:lnTo>
                      <a:pt x="264" y="289"/>
                    </a:lnTo>
                    <a:lnTo>
                      <a:pt x="271" y="270"/>
                    </a:lnTo>
                    <a:lnTo>
                      <a:pt x="276" y="248"/>
                    </a:lnTo>
                    <a:lnTo>
                      <a:pt x="281" y="223"/>
                    </a:lnTo>
                    <a:lnTo>
                      <a:pt x="285" y="195"/>
                    </a:lnTo>
                    <a:lnTo>
                      <a:pt x="287" y="165"/>
                    </a:lnTo>
                    <a:lnTo>
                      <a:pt x="287" y="165"/>
                    </a:lnTo>
                    <a:lnTo>
                      <a:pt x="285" y="160"/>
                    </a:lnTo>
                    <a:lnTo>
                      <a:pt x="284" y="156"/>
                    </a:lnTo>
                    <a:lnTo>
                      <a:pt x="280" y="149"/>
                    </a:lnTo>
                    <a:lnTo>
                      <a:pt x="275" y="144"/>
                    </a:lnTo>
                    <a:lnTo>
                      <a:pt x="268" y="141"/>
                    </a:lnTo>
                    <a:lnTo>
                      <a:pt x="268"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grpSp>
        <p:nvGrpSpPr>
          <p:cNvPr id="72" name="Group 71">
            <a:extLst>
              <a:ext uri="{FF2B5EF4-FFF2-40B4-BE49-F238E27FC236}">
                <a16:creationId xmlns:a16="http://schemas.microsoft.com/office/drawing/2014/main" id="{5C76CF74-EC4E-45EF-900C-7B23E486AF41}"/>
              </a:ext>
            </a:extLst>
          </p:cNvPr>
          <p:cNvGrpSpPr/>
          <p:nvPr/>
        </p:nvGrpSpPr>
        <p:grpSpPr>
          <a:xfrm>
            <a:off x="7298967" y="2952446"/>
            <a:ext cx="532736" cy="532736"/>
            <a:chOff x="7609382" y="2821813"/>
            <a:chExt cx="502920" cy="502920"/>
          </a:xfrm>
        </p:grpSpPr>
        <p:sp>
          <p:nvSpPr>
            <p:cNvPr id="73" name="Oval 72">
              <a:extLst>
                <a:ext uri="{FF2B5EF4-FFF2-40B4-BE49-F238E27FC236}">
                  <a16:creationId xmlns:a16="http://schemas.microsoft.com/office/drawing/2014/main" id="{65A30C6C-3A46-41F2-B9B9-5D5C04BACCE3}"/>
                </a:ext>
              </a:extLst>
            </p:cNvPr>
            <p:cNvSpPr/>
            <p:nvPr/>
          </p:nvSpPr>
          <p:spPr>
            <a:xfrm>
              <a:off x="7609382" y="2821813"/>
              <a:ext cx="502920" cy="5029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ea typeface="+mn-ea"/>
                <a:cs typeface="+mn-cs"/>
              </a:endParaRPr>
            </a:p>
          </p:txBody>
        </p:sp>
        <p:sp>
          <p:nvSpPr>
            <p:cNvPr id="74" name="Freeform 7">
              <a:extLst>
                <a:ext uri="{FF2B5EF4-FFF2-40B4-BE49-F238E27FC236}">
                  <a16:creationId xmlns:a16="http://schemas.microsoft.com/office/drawing/2014/main" id="{1F73767B-E6D0-4383-B453-88763961AA85}"/>
                </a:ext>
              </a:extLst>
            </p:cNvPr>
            <p:cNvSpPr>
              <a:spLocks noEditPoints="1"/>
            </p:cNvSpPr>
            <p:nvPr/>
          </p:nvSpPr>
          <p:spPr bwMode="auto">
            <a:xfrm>
              <a:off x="7617559" y="2841709"/>
              <a:ext cx="486566" cy="463129"/>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5 w 658"/>
                <a:gd name="T11" fmla="*/ 426 h 657"/>
                <a:gd name="T12" fmla="*/ 4 w 658"/>
                <a:gd name="T13" fmla="*/ 379 h 657"/>
                <a:gd name="T14" fmla="*/ 0 w 658"/>
                <a:gd name="T15" fmla="*/ 329 h 657"/>
                <a:gd name="T16" fmla="*/ 3 w 658"/>
                <a:gd name="T17" fmla="*/ 296 h 657"/>
                <a:gd name="T18" fmla="*/ 11 w 658"/>
                <a:gd name="T19" fmla="*/ 246 h 657"/>
                <a:gd name="T20" fmla="*/ 40 w 658"/>
                <a:gd name="T21" fmla="*/ 172 h 657"/>
                <a:gd name="T22" fmla="*/ 97 w 658"/>
                <a:gd name="T23" fmla="*/ 97 h 657"/>
                <a:gd name="T24" fmla="*/ 172 w 658"/>
                <a:gd name="T25" fmla="*/ 39 h 657"/>
                <a:gd name="T26" fmla="*/ 247 w 658"/>
                <a:gd name="T27" fmla="*/ 10 h 657"/>
                <a:gd name="T28" fmla="*/ 295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2 w 658"/>
                <a:gd name="T41" fmla="*/ 200 h 657"/>
                <a:gd name="T42" fmla="*/ 651 w 658"/>
                <a:gd name="T43" fmla="*/ 262 h 657"/>
                <a:gd name="T44" fmla="*/ 657 w 658"/>
                <a:gd name="T45" fmla="*/ 312 h 657"/>
                <a:gd name="T46" fmla="*/ 657 w 658"/>
                <a:gd name="T47" fmla="*/ 345 h 657"/>
                <a:gd name="T48" fmla="*/ 651 w 658"/>
                <a:gd name="T49" fmla="*/ 395 h 657"/>
                <a:gd name="T50" fmla="*/ 632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6 w 658"/>
                <a:gd name="T67" fmla="*/ 88 h 657"/>
                <a:gd name="T68" fmla="*/ 105 w 658"/>
                <a:gd name="T69" fmla="*/ 144 h 657"/>
                <a:gd name="T70" fmla="*/ 60 w 658"/>
                <a:gd name="T71" fmla="*/ 215 h 657"/>
                <a:gd name="T72" fmla="*/ 39 w 658"/>
                <a:gd name="T73" fmla="*/ 298 h 657"/>
                <a:gd name="T74" fmla="*/ 39 w 658"/>
                <a:gd name="T75" fmla="*/ 359 h 657"/>
                <a:gd name="T76" fmla="*/ 60 w 658"/>
                <a:gd name="T77" fmla="*/ 442 h 657"/>
                <a:gd name="T78" fmla="*/ 105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5 w 658"/>
                <a:gd name="T93" fmla="*/ 468 h 657"/>
                <a:gd name="T94" fmla="*/ 614 w 658"/>
                <a:gd name="T95" fmla="*/ 387 h 657"/>
                <a:gd name="T96" fmla="*/ 620 w 658"/>
                <a:gd name="T97" fmla="*/ 329 h 657"/>
                <a:gd name="T98" fmla="*/ 607 w 658"/>
                <a:gd name="T99" fmla="*/ 242 h 657"/>
                <a:gd name="T100" fmla="*/ 571 w 658"/>
                <a:gd name="T101" fmla="*/ 165 h 657"/>
                <a:gd name="T102" fmla="*/ 514 w 658"/>
                <a:gd name="T103" fmla="*/ 104 h 657"/>
                <a:gd name="T104" fmla="*/ 442 w 658"/>
                <a:gd name="T105" fmla="*/ 61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6"/>
                  </a:lnTo>
                  <a:lnTo>
                    <a:pt x="279" y="653"/>
                  </a:lnTo>
                  <a:lnTo>
                    <a:pt x="263" y="650"/>
                  </a:lnTo>
                  <a:lnTo>
                    <a:pt x="247" y="647"/>
                  </a:lnTo>
                  <a:lnTo>
                    <a:pt x="231" y="642"/>
                  </a:lnTo>
                  <a:lnTo>
                    <a:pt x="201" y="631"/>
                  </a:lnTo>
                  <a:lnTo>
                    <a:pt x="172" y="618"/>
                  </a:lnTo>
                  <a:lnTo>
                    <a:pt x="145" y="600"/>
                  </a:lnTo>
                  <a:lnTo>
                    <a:pt x="119" y="582"/>
                  </a:lnTo>
                  <a:lnTo>
                    <a:pt x="97" y="562"/>
                  </a:lnTo>
                  <a:lnTo>
                    <a:pt x="75" y="537"/>
                  </a:lnTo>
                  <a:lnTo>
                    <a:pt x="56"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6"/>
                  </a:lnTo>
                  <a:lnTo>
                    <a:pt x="4" y="278"/>
                  </a:lnTo>
                  <a:lnTo>
                    <a:pt x="7" y="262"/>
                  </a:lnTo>
                  <a:lnTo>
                    <a:pt x="11" y="246"/>
                  </a:lnTo>
                  <a:lnTo>
                    <a:pt x="15" y="231"/>
                  </a:lnTo>
                  <a:lnTo>
                    <a:pt x="27" y="200"/>
                  </a:lnTo>
                  <a:lnTo>
                    <a:pt x="40" y="172"/>
                  </a:lnTo>
                  <a:lnTo>
                    <a:pt x="56" y="145"/>
                  </a:lnTo>
                  <a:lnTo>
                    <a:pt x="75" y="120"/>
                  </a:lnTo>
                  <a:lnTo>
                    <a:pt x="97" y="97"/>
                  </a:lnTo>
                  <a:lnTo>
                    <a:pt x="119" y="76"/>
                  </a:lnTo>
                  <a:lnTo>
                    <a:pt x="145" y="57"/>
                  </a:lnTo>
                  <a:lnTo>
                    <a:pt x="172" y="39"/>
                  </a:lnTo>
                  <a:lnTo>
                    <a:pt x="201" y="26"/>
                  </a:lnTo>
                  <a:lnTo>
                    <a:pt x="231" y="15"/>
                  </a:lnTo>
                  <a:lnTo>
                    <a:pt x="247" y="10"/>
                  </a:lnTo>
                  <a:lnTo>
                    <a:pt x="263" y="7"/>
                  </a:lnTo>
                  <a:lnTo>
                    <a:pt x="279" y="4"/>
                  </a:lnTo>
                  <a:lnTo>
                    <a:pt x="295" y="2"/>
                  </a:lnTo>
                  <a:lnTo>
                    <a:pt x="311" y="0"/>
                  </a:lnTo>
                  <a:lnTo>
                    <a:pt x="329" y="0"/>
                  </a:lnTo>
                  <a:lnTo>
                    <a:pt x="329" y="0"/>
                  </a:lnTo>
                  <a:lnTo>
                    <a:pt x="346" y="0"/>
                  </a:lnTo>
                  <a:lnTo>
                    <a:pt x="362" y="2"/>
                  </a:lnTo>
                  <a:lnTo>
                    <a:pt x="379" y="4"/>
                  </a:lnTo>
                  <a:lnTo>
                    <a:pt x="395" y="7"/>
                  </a:lnTo>
                  <a:lnTo>
                    <a:pt x="411" y="10"/>
                  </a:lnTo>
                  <a:lnTo>
                    <a:pt x="427" y="15"/>
                  </a:lnTo>
                  <a:lnTo>
                    <a:pt x="456" y="26"/>
                  </a:lnTo>
                  <a:lnTo>
                    <a:pt x="486" y="39"/>
                  </a:lnTo>
                  <a:lnTo>
                    <a:pt x="513" y="57"/>
                  </a:lnTo>
                  <a:lnTo>
                    <a:pt x="538" y="76"/>
                  </a:lnTo>
                  <a:lnTo>
                    <a:pt x="561" y="97"/>
                  </a:lnTo>
                  <a:lnTo>
                    <a:pt x="583" y="120"/>
                  </a:lnTo>
                  <a:lnTo>
                    <a:pt x="601" y="145"/>
                  </a:lnTo>
                  <a:lnTo>
                    <a:pt x="618" y="172"/>
                  </a:lnTo>
                  <a:lnTo>
                    <a:pt x="632" y="200"/>
                  </a:lnTo>
                  <a:lnTo>
                    <a:pt x="643" y="231"/>
                  </a:lnTo>
                  <a:lnTo>
                    <a:pt x="647" y="246"/>
                  </a:lnTo>
                  <a:lnTo>
                    <a:pt x="651" y="262"/>
                  </a:lnTo>
                  <a:lnTo>
                    <a:pt x="654" y="278"/>
                  </a:lnTo>
                  <a:lnTo>
                    <a:pt x="655" y="296"/>
                  </a:lnTo>
                  <a:lnTo>
                    <a:pt x="657" y="312"/>
                  </a:lnTo>
                  <a:lnTo>
                    <a:pt x="658" y="329"/>
                  </a:lnTo>
                  <a:lnTo>
                    <a:pt x="658" y="329"/>
                  </a:lnTo>
                  <a:lnTo>
                    <a:pt x="657" y="345"/>
                  </a:lnTo>
                  <a:lnTo>
                    <a:pt x="655" y="363"/>
                  </a:lnTo>
                  <a:lnTo>
                    <a:pt x="654" y="379"/>
                  </a:lnTo>
                  <a:lnTo>
                    <a:pt x="651" y="395"/>
                  </a:lnTo>
                  <a:lnTo>
                    <a:pt x="647" y="411"/>
                  </a:lnTo>
                  <a:lnTo>
                    <a:pt x="643" y="426"/>
                  </a:lnTo>
                  <a:lnTo>
                    <a:pt x="632" y="457"/>
                  </a:lnTo>
                  <a:lnTo>
                    <a:pt x="618" y="485"/>
                  </a:lnTo>
                  <a:lnTo>
                    <a:pt x="601" y="512"/>
                  </a:lnTo>
                  <a:lnTo>
                    <a:pt x="583" y="537"/>
                  </a:lnTo>
                  <a:lnTo>
                    <a:pt x="561" y="562"/>
                  </a:lnTo>
                  <a:lnTo>
                    <a:pt x="538" y="582"/>
                  </a:lnTo>
                  <a:lnTo>
                    <a:pt x="513" y="600"/>
                  </a:lnTo>
                  <a:lnTo>
                    <a:pt x="486" y="618"/>
                  </a:lnTo>
                  <a:lnTo>
                    <a:pt x="456" y="631"/>
                  </a:lnTo>
                  <a:lnTo>
                    <a:pt x="427" y="642"/>
                  </a:lnTo>
                  <a:lnTo>
                    <a:pt x="411" y="647"/>
                  </a:lnTo>
                  <a:lnTo>
                    <a:pt x="395" y="650"/>
                  </a:lnTo>
                  <a:lnTo>
                    <a:pt x="379" y="653"/>
                  </a:lnTo>
                  <a:lnTo>
                    <a:pt x="362" y="656"/>
                  </a:lnTo>
                  <a:lnTo>
                    <a:pt x="346" y="657"/>
                  </a:lnTo>
                  <a:lnTo>
                    <a:pt x="329" y="657"/>
                  </a:lnTo>
                  <a:lnTo>
                    <a:pt x="329" y="657"/>
                  </a:lnTo>
                  <a:close/>
                  <a:moveTo>
                    <a:pt x="329" y="38"/>
                  </a:moveTo>
                  <a:lnTo>
                    <a:pt x="329" y="38"/>
                  </a:lnTo>
                  <a:lnTo>
                    <a:pt x="299" y="39"/>
                  </a:lnTo>
                  <a:lnTo>
                    <a:pt x="270" y="43"/>
                  </a:lnTo>
                  <a:lnTo>
                    <a:pt x="243" y="51"/>
                  </a:lnTo>
                  <a:lnTo>
                    <a:pt x="216" y="61"/>
                  </a:lnTo>
                  <a:lnTo>
                    <a:pt x="191" y="73"/>
                  </a:lnTo>
                  <a:lnTo>
                    <a:pt x="166" y="88"/>
                  </a:lnTo>
                  <a:lnTo>
                    <a:pt x="144" y="104"/>
                  </a:lnTo>
                  <a:lnTo>
                    <a:pt x="124" y="123"/>
                  </a:lnTo>
                  <a:lnTo>
                    <a:pt x="105" y="144"/>
                  </a:lnTo>
                  <a:lnTo>
                    <a:pt x="87" y="165"/>
                  </a:lnTo>
                  <a:lnTo>
                    <a:pt x="72" y="190"/>
                  </a:lnTo>
                  <a:lnTo>
                    <a:pt x="60" y="215"/>
                  </a:lnTo>
                  <a:lnTo>
                    <a:pt x="51" y="242"/>
                  </a:lnTo>
                  <a:lnTo>
                    <a:pt x="44" y="270"/>
                  </a:lnTo>
                  <a:lnTo>
                    <a:pt x="39" y="298"/>
                  </a:lnTo>
                  <a:lnTo>
                    <a:pt x="38" y="329"/>
                  </a:lnTo>
                  <a:lnTo>
                    <a:pt x="38" y="329"/>
                  </a:lnTo>
                  <a:lnTo>
                    <a:pt x="39" y="359"/>
                  </a:lnTo>
                  <a:lnTo>
                    <a:pt x="44" y="387"/>
                  </a:lnTo>
                  <a:lnTo>
                    <a:pt x="51" y="415"/>
                  </a:lnTo>
                  <a:lnTo>
                    <a:pt x="60" y="442"/>
                  </a:lnTo>
                  <a:lnTo>
                    <a:pt x="72" y="468"/>
                  </a:lnTo>
                  <a:lnTo>
                    <a:pt x="87" y="492"/>
                  </a:lnTo>
                  <a:lnTo>
                    <a:pt x="105" y="513"/>
                  </a:lnTo>
                  <a:lnTo>
                    <a:pt x="124" y="535"/>
                  </a:lnTo>
                  <a:lnTo>
                    <a:pt x="144" y="553"/>
                  </a:lnTo>
                  <a:lnTo>
                    <a:pt x="166" y="570"/>
                  </a:lnTo>
                  <a:lnTo>
                    <a:pt x="191" y="584"/>
                  </a:lnTo>
                  <a:lnTo>
                    <a:pt x="216" y="596"/>
                  </a:lnTo>
                  <a:lnTo>
                    <a:pt x="243" y="607"/>
                  </a:lnTo>
                  <a:lnTo>
                    <a:pt x="270" y="614"/>
                  </a:lnTo>
                  <a:lnTo>
                    <a:pt x="299" y="618"/>
                  </a:lnTo>
                  <a:lnTo>
                    <a:pt x="329" y="619"/>
                  </a:lnTo>
                  <a:lnTo>
                    <a:pt x="329" y="619"/>
                  </a:lnTo>
                  <a:lnTo>
                    <a:pt x="358" y="618"/>
                  </a:lnTo>
                  <a:lnTo>
                    <a:pt x="388" y="614"/>
                  </a:lnTo>
                  <a:lnTo>
                    <a:pt x="415" y="607"/>
                  </a:lnTo>
                  <a:lnTo>
                    <a:pt x="442" y="596"/>
                  </a:lnTo>
                  <a:lnTo>
                    <a:pt x="467" y="584"/>
                  </a:lnTo>
                  <a:lnTo>
                    <a:pt x="491" y="570"/>
                  </a:lnTo>
                  <a:lnTo>
                    <a:pt x="514" y="553"/>
                  </a:lnTo>
                  <a:lnTo>
                    <a:pt x="534" y="535"/>
                  </a:lnTo>
                  <a:lnTo>
                    <a:pt x="553" y="513"/>
                  </a:lnTo>
                  <a:lnTo>
                    <a:pt x="571" y="492"/>
                  </a:lnTo>
                  <a:lnTo>
                    <a:pt x="585" y="468"/>
                  </a:lnTo>
                  <a:lnTo>
                    <a:pt x="597" y="442"/>
                  </a:lnTo>
                  <a:lnTo>
                    <a:pt x="607" y="415"/>
                  </a:lnTo>
                  <a:lnTo>
                    <a:pt x="614" y="387"/>
                  </a:lnTo>
                  <a:lnTo>
                    <a:pt x="619" y="359"/>
                  </a:lnTo>
                  <a:lnTo>
                    <a:pt x="620" y="329"/>
                  </a:lnTo>
                  <a:lnTo>
                    <a:pt x="620" y="329"/>
                  </a:lnTo>
                  <a:lnTo>
                    <a:pt x="619" y="298"/>
                  </a:lnTo>
                  <a:lnTo>
                    <a:pt x="614" y="270"/>
                  </a:lnTo>
                  <a:lnTo>
                    <a:pt x="607" y="242"/>
                  </a:lnTo>
                  <a:lnTo>
                    <a:pt x="597" y="215"/>
                  </a:lnTo>
                  <a:lnTo>
                    <a:pt x="585" y="190"/>
                  </a:lnTo>
                  <a:lnTo>
                    <a:pt x="571" y="165"/>
                  </a:lnTo>
                  <a:lnTo>
                    <a:pt x="553" y="144"/>
                  </a:lnTo>
                  <a:lnTo>
                    <a:pt x="534" y="123"/>
                  </a:lnTo>
                  <a:lnTo>
                    <a:pt x="514" y="104"/>
                  </a:lnTo>
                  <a:lnTo>
                    <a:pt x="491" y="88"/>
                  </a:lnTo>
                  <a:lnTo>
                    <a:pt x="467" y="73"/>
                  </a:lnTo>
                  <a:lnTo>
                    <a:pt x="442" y="61"/>
                  </a:lnTo>
                  <a:lnTo>
                    <a:pt x="415" y="51"/>
                  </a:lnTo>
                  <a:lnTo>
                    <a:pt x="388" y="43"/>
                  </a:lnTo>
                  <a:lnTo>
                    <a:pt x="358" y="39"/>
                  </a:lnTo>
                  <a:lnTo>
                    <a:pt x="329" y="38"/>
                  </a:lnTo>
                  <a:lnTo>
                    <a:pt x="329" y="3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pic>
        <p:nvPicPr>
          <p:cNvPr id="75" name="Picture 74">
            <a:extLst>
              <a:ext uri="{FF2B5EF4-FFF2-40B4-BE49-F238E27FC236}">
                <a16:creationId xmlns:a16="http://schemas.microsoft.com/office/drawing/2014/main" id="{52739895-65CB-4728-B748-9394BCE57786}"/>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11806" t="5278" r="12222" b="20694"/>
          <a:stretch/>
        </p:blipFill>
        <p:spPr>
          <a:xfrm>
            <a:off x="7413481" y="3068491"/>
            <a:ext cx="287584" cy="280224"/>
          </a:xfrm>
          <a:prstGeom prst="rect">
            <a:avLst/>
          </a:prstGeom>
        </p:spPr>
      </p:pic>
      <p:grpSp>
        <p:nvGrpSpPr>
          <p:cNvPr id="76" name="Group 75">
            <a:extLst>
              <a:ext uri="{FF2B5EF4-FFF2-40B4-BE49-F238E27FC236}">
                <a16:creationId xmlns:a16="http://schemas.microsoft.com/office/drawing/2014/main" id="{1F711F19-98E0-442E-8576-75993AE95EDC}"/>
              </a:ext>
            </a:extLst>
          </p:cNvPr>
          <p:cNvGrpSpPr/>
          <p:nvPr/>
        </p:nvGrpSpPr>
        <p:grpSpPr>
          <a:xfrm>
            <a:off x="4945945" y="4015035"/>
            <a:ext cx="532736" cy="532736"/>
            <a:chOff x="4321908" y="5301782"/>
            <a:chExt cx="502920" cy="502920"/>
          </a:xfrm>
        </p:grpSpPr>
        <p:sp>
          <p:nvSpPr>
            <p:cNvPr id="77" name="Oval 76">
              <a:extLst>
                <a:ext uri="{FF2B5EF4-FFF2-40B4-BE49-F238E27FC236}">
                  <a16:creationId xmlns:a16="http://schemas.microsoft.com/office/drawing/2014/main" id="{B725F908-CAEC-4559-8F78-16A8D997D54D}"/>
                </a:ext>
              </a:extLst>
            </p:cNvPr>
            <p:cNvSpPr/>
            <p:nvPr/>
          </p:nvSpPr>
          <p:spPr>
            <a:xfrm>
              <a:off x="4321908" y="5301782"/>
              <a:ext cx="502920" cy="5029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ea typeface="+mn-ea"/>
                <a:cs typeface="+mn-cs"/>
              </a:endParaRPr>
            </a:p>
          </p:txBody>
        </p:sp>
        <p:grpSp>
          <p:nvGrpSpPr>
            <p:cNvPr id="78" name="Group 77">
              <a:extLst>
                <a:ext uri="{FF2B5EF4-FFF2-40B4-BE49-F238E27FC236}">
                  <a16:creationId xmlns:a16="http://schemas.microsoft.com/office/drawing/2014/main" id="{5AA130DE-0CEC-4572-ACBB-0247297DCEDF}"/>
                </a:ext>
              </a:extLst>
            </p:cNvPr>
            <p:cNvGrpSpPr>
              <a:grpSpLocks noChangeAspect="1"/>
            </p:cNvGrpSpPr>
            <p:nvPr/>
          </p:nvGrpSpPr>
          <p:grpSpPr>
            <a:xfrm>
              <a:off x="4330085" y="5321678"/>
              <a:ext cx="486567" cy="463129"/>
              <a:chOff x="2312988" y="822325"/>
              <a:chExt cx="522288" cy="520700"/>
            </a:xfrm>
          </p:grpSpPr>
          <p:sp>
            <p:nvSpPr>
              <p:cNvPr id="79" name="Freeform 8">
                <a:extLst>
                  <a:ext uri="{FF2B5EF4-FFF2-40B4-BE49-F238E27FC236}">
                    <a16:creationId xmlns:a16="http://schemas.microsoft.com/office/drawing/2014/main" id="{D088E11C-EBB4-4F93-BEEB-A63E8CAFAA29}"/>
                  </a:ext>
                </a:extLst>
              </p:cNvPr>
              <p:cNvSpPr>
                <a:spLocks noEditPoints="1"/>
              </p:cNvSpPr>
              <p:nvPr/>
            </p:nvSpPr>
            <p:spPr bwMode="auto">
              <a:xfrm>
                <a:off x="2312988" y="822325"/>
                <a:ext cx="522288" cy="520700"/>
              </a:xfrm>
              <a:custGeom>
                <a:avLst/>
                <a:gdLst>
                  <a:gd name="T0" fmla="*/ 313 w 658"/>
                  <a:gd name="T1" fmla="*/ 657 h 657"/>
                  <a:gd name="T2" fmla="*/ 264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1 w 658"/>
                  <a:gd name="T21" fmla="*/ 172 h 657"/>
                  <a:gd name="T22" fmla="*/ 97 w 658"/>
                  <a:gd name="T23" fmla="*/ 97 h 657"/>
                  <a:gd name="T24" fmla="*/ 174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1 w 658"/>
                  <a:gd name="T73" fmla="*/ 298 h 657"/>
                  <a:gd name="T74" fmla="*/ 41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4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4" y="650"/>
                    </a:lnTo>
                    <a:lnTo>
                      <a:pt x="247" y="647"/>
                    </a:lnTo>
                    <a:lnTo>
                      <a:pt x="233" y="642"/>
                    </a:lnTo>
                    <a:lnTo>
                      <a:pt x="202" y="631"/>
                    </a:lnTo>
                    <a:lnTo>
                      <a:pt x="174" y="618"/>
                    </a:lnTo>
                    <a:lnTo>
                      <a:pt x="145" y="600"/>
                    </a:lnTo>
                    <a:lnTo>
                      <a:pt x="121" y="582"/>
                    </a:lnTo>
                    <a:lnTo>
                      <a:pt x="97" y="561"/>
                    </a:lnTo>
                    <a:lnTo>
                      <a:pt x="76" y="537"/>
                    </a:lnTo>
                    <a:lnTo>
                      <a:pt x="57" y="512"/>
                    </a:lnTo>
                    <a:lnTo>
                      <a:pt x="41" y="485"/>
                    </a:lnTo>
                    <a:lnTo>
                      <a:pt x="27" y="457"/>
                    </a:lnTo>
                    <a:lnTo>
                      <a:pt x="15" y="426"/>
                    </a:lnTo>
                    <a:lnTo>
                      <a:pt x="11" y="411"/>
                    </a:lnTo>
                    <a:lnTo>
                      <a:pt x="7" y="395"/>
                    </a:lnTo>
                    <a:lnTo>
                      <a:pt x="4" y="379"/>
                    </a:lnTo>
                    <a:lnTo>
                      <a:pt x="3" y="363"/>
                    </a:lnTo>
                    <a:lnTo>
                      <a:pt x="2" y="345"/>
                    </a:lnTo>
                    <a:lnTo>
                      <a:pt x="0" y="329"/>
                    </a:lnTo>
                    <a:lnTo>
                      <a:pt x="0" y="329"/>
                    </a:lnTo>
                    <a:lnTo>
                      <a:pt x="2" y="312"/>
                    </a:lnTo>
                    <a:lnTo>
                      <a:pt x="3" y="295"/>
                    </a:lnTo>
                    <a:lnTo>
                      <a:pt x="4" y="278"/>
                    </a:lnTo>
                    <a:lnTo>
                      <a:pt x="7" y="262"/>
                    </a:lnTo>
                    <a:lnTo>
                      <a:pt x="11" y="246"/>
                    </a:lnTo>
                    <a:lnTo>
                      <a:pt x="15" y="231"/>
                    </a:lnTo>
                    <a:lnTo>
                      <a:pt x="27" y="200"/>
                    </a:lnTo>
                    <a:lnTo>
                      <a:pt x="41" y="172"/>
                    </a:lnTo>
                    <a:lnTo>
                      <a:pt x="57" y="145"/>
                    </a:lnTo>
                    <a:lnTo>
                      <a:pt x="76" y="120"/>
                    </a:lnTo>
                    <a:lnTo>
                      <a:pt x="97" y="97"/>
                    </a:lnTo>
                    <a:lnTo>
                      <a:pt x="121" y="75"/>
                    </a:lnTo>
                    <a:lnTo>
                      <a:pt x="145" y="56"/>
                    </a:lnTo>
                    <a:lnTo>
                      <a:pt x="174" y="39"/>
                    </a:lnTo>
                    <a:lnTo>
                      <a:pt x="202" y="26"/>
                    </a:lnTo>
                    <a:lnTo>
                      <a:pt x="233" y="15"/>
                    </a:lnTo>
                    <a:lnTo>
                      <a:pt x="247" y="9"/>
                    </a:lnTo>
                    <a:lnTo>
                      <a:pt x="264" y="7"/>
                    </a:lnTo>
                    <a:lnTo>
                      <a:pt x="280" y="4"/>
                    </a:lnTo>
                    <a:lnTo>
                      <a:pt x="296" y="1"/>
                    </a:lnTo>
                    <a:lnTo>
                      <a:pt x="313" y="0"/>
                    </a:lnTo>
                    <a:lnTo>
                      <a:pt x="329" y="0"/>
                    </a:lnTo>
                    <a:lnTo>
                      <a:pt x="329" y="0"/>
                    </a:lnTo>
                    <a:lnTo>
                      <a:pt x="347" y="0"/>
                    </a:lnTo>
                    <a:lnTo>
                      <a:pt x="363" y="1"/>
                    </a:lnTo>
                    <a:lnTo>
                      <a:pt x="379" y="4"/>
                    </a:lnTo>
                    <a:lnTo>
                      <a:pt x="397" y="7"/>
                    </a:lnTo>
                    <a:lnTo>
                      <a:pt x="411" y="9"/>
                    </a:lnTo>
                    <a:lnTo>
                      <a:pt x="427" y="15"/>
                    </a:lnTo>
                    <a:lnTo>
                      <a:pt x="457" y="26"/>
                    </a:lnTo>
                    <a:lnTo>
                      <a:pt x="487"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7" y="618"/>
                    </a:lnTo>
                    <a:lnTo>
                      <a:pt x="457" y="631"/>
                    </a:lnTo>
                    <a:lnTo>
                      <a:pt x="427" y="642"/>
                    </a:lnTo>
                    <a:lnTo>
                      <a:pt x="411" y="647"/>
                    </a:lnTo>
                    <a:lnTo>
                      <a:pt x="397" y="650"/>
                    </a:lnTo>
                    <a:lnTo>
                      <a:pt x="379" y="653"/>
                    </a:lnTo>
                    <a:lnTo>
                      <a:pt x="363" y="655"/>
                    </a:lnTo>
                    <a:lnTo>
                      <a:pt x="347" y="657"/>
                    </a:lnTo>
                    <a:lnTo>
                      <a:pt x="329" y="657"/>
                    </a:lnTo>
                    <a:lnTo>
                      <a:pt x="329" y="657"/>
                    </a:lnTo>
                    <a:close/>
                    <a:moveTo>
                      <a:pt x="329" y="38"/>
                    </a:moveTo>
                    <a:lnTo>
                      <a:pt x="329" y="38"/>
                    </a:lnTo>
                    <a:lnTo>
                      <a:pt x="300" y="39"/>
                    </a:lnTo>
                    <a:lnTo>
                      <a:pt x="272" y="43"/>
                    </a:lnTo>
                    <a:lnTo>
                      <a:pt x="243" y="51"/>
                    </a:lnTo>
                    <a:lnTo>
                      <a:pt x="217" y="60"/>
                    </a:lnTo>
                    <a:lnTo>
                      <a:pt x="191" y="73"/>
                    </a:lnTo>
                    <a:lnTo>
                      <a:pt x="167" y="87"/>
                    </a:lnTo>
                    <a:lnTo>
                      <a:pt x="144" y="103"/>
                    </a:lnTo>
                    <a:lnTo>
                      <a:pt x="124" y="122"/>
                    </a:lnTo>
                    <a:lnTo>
                      <a:pt x="105" y="144"/>
                    </a:lnTo>
                    <a:lnTo>
                      <a:pt x="89" y="165"/>
                    </a:lnTo>
                    <a:lnTo>
                      <a:pt x="74" y="189"/>
                    </a:lnTo>
                    <a:lnTo>
                      <a:pt x="62" y="215"/>
                    </a:lnTo>
                    <a:lnTo>
                      <a:pt x="51" y="242"/>
                    </a:lnTo>
                    <a:lnTo>
                      <a:pt x="45" y="270"/>
                    </a:lnTo>
                    <a:lnTo>
                      <a:pt x="41" y="298"/>
                    </a:lnTo>
                    <a:lnTo>
                      <a:pt x="38" y="329"/>
                    </a:lnTo>
                    <a:lnTo>
                      <a:pt x="38" y="329"/>
                    </a:lnTo>
                    <a:lnTo>
                      <a:pt x="41" y="359"/>
                    </a:lnTo>
                    <a:lnTo>
                      <a:pt x="45" y="387"/>
                    </a:lnTo>
                    <a:lnTo>
                      <a:pt x="51" y="415"/>
                    </a:lnTo>
                    <a:lnTo>
                      <a:pt x="62" y="442"/>
                    </a:lnTo>
                    <a:lnTo>
                      <a:pt x="74" y="467"/>
                    </a:lnTo>
                    <a:lnTo>
                      <a:pt x="89" y="492"/>
                    </a:lnTo>
                    <a:lnTo>
                      <a:pt x="105" y="513"/>
                    </a:lnTo>
                    <a:lnTo>
                      <a:pt x="124" y="535"/>
                    </a:lnTo>
                    <a:lnTo>
                      <a:pt x="144" y="553"/>
                    </a:lnTo>
                    <a:lnTo>
                      <a:pt x="167" y="570"/>
                    </a:lnTo>
                    <a:lnTo>
                      <a:pt x="191" y="584"/>
                    </a:lnTo>
                    <a:lnTo>
                      <a:pt x="217" y="596"/>
                    </a:lnTo>
                    <a:lnTo>
                      <a:pt x="243" y="607"/>
                    </a:lnTo>
                    <a:lnTo>
                      <a:pt x="272" y="614"/>
                    </a:lnTo>
                    <a:lnTo>
                      <a:pt x="300" y="618"/>
                    </a:lnTo>
                    <a:lnTo>
                      <a:pt x="329" y="619"/>
                    </a:lnTo>
                    <a:lnTo>
                      <a:pt x="329" y="619"/>
                    </a:lnTo>
                    <a:lnTo>
                      <a:pt x="359" y="618"/>
                    </a:lnTo>
                    <a:lnTo>
                      <a:pt x="388" y="614"/>
                    </a:lnTo>
                    <a:lnTo>
                      <a:pt x="417" y="607"/>
                    </a:lnTo>
                    <a:lnTo>
                      <a:pt x="444"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20" y="359"/>
                    </a:lnTo>
                    <a:lnTo>
                      <a:pt x="621" y="329"/>
                    </a:lnTo>
                    <a:lnTo>
                      <a:pt x="621" y="329"/>
                    </a:lnTo>
                    <a:lnTo>
                      <a:pt x="620"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4" y="60"/>
                    </a:lnTo>
                    <a:lnTo>
                      <a:pt x="417" y="51"/>
                    </a:lnTo>
                    <a:lnTo>
                      <a:pt x="388" y="43"/>
                    </a:lnTo>
                    <a:lnTo>
                      <a:pt x="359" y="39"/>
                    </a:lnTo>
                    <a:lnTo>
                      <a:pt x="329" y="38"/>
                    </a:lnTo>
                    <a:lnTo>
                      <a:pt x="329" y="3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80" name="Freeform 230">
                <a:extLst>
                  <a:ext uri="{FF2B5EF4-FFF2-40B4-BE49-F238E27FC236}">
                    <a16:creationId xmlns:a16="http://schemas.microsoft.com/office/drawing/2014/main" id="{A4C7B94F-A1DC-4F8E-8046-EBDD73B03A32}"/>
                  </a:ext>
                </a:extLst>
              </p:cNvPr>
              <p:cNvSpPr>
                <a:spLocks noEditPoints="1"/>
              </p:cNvSpPr>
              <p:nvPr/>
            </p:nvSpPr>
            <p:spPr bwMode="auto">
              <a:xfrm>
                <a:off x="2441576" y="981075"/>
                <a:ext cx="250825" cy="266700"/>
              </a:xfrm>
              <a:custGeom>
                <a:avLst/>
                <a:gdLst>
                  <a:gd name="T0" fmla="*/ 67 w 314"/>
                  <a:gd name="T1" fmla="*/ 249 h 336"/>
                  <a:gd name="T2" fmla="*/ 90 w 314"/>
                  <a:gd name="T3" fmla="*/ 296 h 336"/>
                  <a:gd name="T4" fmla="*/ 131 w 314"/>
                  <a:gd name="T5" fmla="*/ 327 h 336"/>
                  <a:gd name="T6" fmla="*/ 173 w 314"/>
                  <a:gd name="T7" fmla="*/ 336 h 336"/>
                  <a:gd name="T8" fmla="*/ 225 w 314"/>
                  <a:gd name="T9" fmla="*/ 322 h 336"/>
                  <a:gd name="T10" fmla="*/ 263 w 314"/>
                  <a:gd name="T11" fmla="*/ 288 h 336"/>
                  <a:gd name="T12" fmla="*/ 281 w 314"/>
                  <a:gd name="T13" fmla="*/ 238 h 336"/>
                  <a:gd name="T14" fmla="*/ 313 w 314"/>
                  <a:gd name="T15" fmla="*/ 226 h 336"/>
                  <a:gd name="T16" fmla="*/ 314 w 314"/>
                  <a:gd name="T17" fmla="*/ 79 h 336"/>
                  <a:gd name="T18" fmla="*/ 250 w 314"/>
                  <a:gd name="T19" fmla="*/ 38 h 336"/>
                  <a:gd name="T20" fmla="*/ 242 w 314"/>
                  <a:gd name="T21" fmla="*/ 19 h 336"/>
                  <a:gd name="T22" fmla="*/ 221 w 314"/>
                  <a:gd name="T23" fmla="*/ 11 h 336"/>
                  <a:gd name="T24" fmla="*/ 204 w 314"/>
                  <a:gd name="T25" fmla="*/ 18 h 336"/>
                  <a:gd name="T26" fmla="*/ 178 w 314"/>
                  <a:gd name="T27" fmla="*/ 0 h 336"/>
                  <a:gd name="T28" fmla="*/ 153 w 314"/>
                  <a:gd name="T29" fmla="*/ 18 h 336"/>
                  <a:gd name="T30" fmla="*/ 135 w 314"/>
                  <a:gd name="T31" fmla="*/ 11 h 336"/>
                  <a:gd name="T32" fmla="*/ 110 w 314"/>
                  <a:gd name="T33" fmla="*/ 28 h 336"/>
                  <a:gd name="T34" fmla="*/ 93 w 314"/>
                  <a:gd name="T35" fmla="*/ 22 h 336"/>
                  <a:gd name="T36" fmla="*/ 70 w 314"/>
                  <a:gd name="T37" fmla="*/ 34 h 336"/>
                  <a:gd name="T38" fmla="*/ 5 w 314"/>
                  <a:gd name="T39" fmla="*/ 75 h 336"/>
                  <a:gd name="T40" fmla="*/ 0 w 314"/>
                  <a:gd name="T41" fmla="*/ 81 h 336"/>
                  <a:gd name="T42" fmla="*/ 4 w 314"/>
                  <a:gd name="T43" fmla="*/ 227 h 336"/>
                  <a:gd name="T44" fmla="*/ 207 w 314"/>
                  <a:gd name="T45" fmla="*/ 31 h 336"/>
                  <a:gd name="T46" fmla="*/ 228 w 314"/>
                  <a:gd name="T47" fmla="*/ 23 h 336"/>
                  <a:gd name="T48" fmla="*/ 205 w 314"/>
                  <a:gd name="T49" fmla="*/ 75 h 336"/>
                  <a:gd name="T50" fmla="*/ 164 w 314"/>
                  <a:gd name="T51" fmla="*/ 20 h 336"/>
                  <a:gd name="T52" fmla="*/ 185 w 314"/>
                  <a:gd name="T53" fmla="*/ 12 h 336"/>
                  <a:gd name="T54" fmla="*/ 195 w 314"/>
                  <a:gd name="T55" fmla="*/ 75 h 336"/>
                  <a:gd name="T56" fmla="*/ 164 w 314"/>
                  <a:gd name="T57" fmla="*/ 120 h 336"/>
                  <a:gd name="T58" fmla="*/ 187 w 314"/>
                  <a:gd name="T59" fmla="*/ 138 h 336"/>
                  <a:gd name="T60" fmla="*/ 187 w 314"/>
                  <a:gd name="T61" fmla="*/ 164 h 336"/>
                  <a:gd name="T62" fmla="*/ 164 w 314"/>
                  <a:gd name="T63" fmla="*/ 183 h 336"/>
                  <a:gd name="T64" fmla="*/ 140 w 314"/>
                  <a:gd name="T65" fmla="*/ 179 h 336"/>
                  <a:gd name="T66" fmla="*/ 125 w 314"/>
                  <a:gd name="T67" fmla="*/ 152 h 336"/>
                  <a:gd name="T68" fmla="*/ 134 w 314"/>
                  <a:gd name="T69" fmla="*/ 128 h 336"/>
                  <a:gd name="T70" fmla="*/ 157 w 314"/>
                  <a:gd name="T71" fmla="*/ 118 h 336"/>
                  <a:gd name="T72" fmla="*/ 123 w 314"/>
                  <a:gd name="T73" fmla="*/ 26 h 336"/>
                  <a:gd name="T74" fmla="*/ 148 w 314"/>
                  <a:gd name="T75" fmla="*/ 26 h 336"/>
                  <a:gd name="T76" fmla="*/ 119 w 314"/>
                  <a:gd name="T77" fmla="*/ 48 h 336"/>
                  <a:gd name="T78" fmla="*/ 164 w 314"/>
                  <a:gd name="T79" fmla="*/ 247 h 336"/>
                  <a:gd name="T80" fmla="*/ 166 w 314"/>
                  <a:gd name="T81" fmla="*/ 259 h 336"/>
                  <a:gd name="T82" fmla="*/ 173 w 314"/>
                  <a:gd name="T83" fmla="*/ 257 h 336"/>
                  <a:gd name="T84" fmla="*/ 180 w 314"/>
                  <a:gd name="T85" fmla="*/ 233 h 336"/>
                  <a:gd name="T86" fmla="*/ 195 w 314"/>
                  <a:gd name="T87" fmla="*/ 218 h 336"/>
                  <a:gd name="T88" fmla="*/ 235 w 314"/>
                  <a:gd name="T89" fmla="*/ 206 h 336"/>
                  <a:gd name="T90" fmla="*/ 239 w 314"/>
                  <a:gd name="T91" fmla="*/ 168 h 336"/>
                  <a:gd name="T92" fmla="*/ 252 w 314"/>
                  <a:gd name="T93" fmla="*/ 137 h 336"/>
                  <a:gd name="T94" fmla="*/ 271 w 314"/>
                  <a:gd name="T95" fmla="*/ 227 h 336"/>
                  <a:gd name="T96" fmla="*/ 259 w 314"/>
                  <a:gd name="T97" fmla="*/ 274 h 336"/>
                  <a:gd name="T98" fmla="*/ 228 w 314"/>
                  <a:gd name="T99" fmla="*/ 308 h 336"/>
                  <a:gd name="T100" fmla="*/ 184 w 314"/>
                  <a:gd name="T101" fmla="*/ 324 h 336"/>
                  <a:gd name="T102" fmla="*/ 145 w 314"/>
                  <a:gd name="T103" fmla="*/ 320 h 336"/>
                  <a:gd name="T104" fmla="*/ 105 w 314"/>
                  <a:gd name="T105" fmla="*/ 296 h 336"/>
                  <a:gd name="T106" fmla="*/ 80 w 314"/>
                  <a:gd name="T107" fmla="*/ 257 h 336"/>
                  <a:gd name="T108" fmla="*/ 76 w 314"/>
                  <a:gd name="T109" fmla="*/ 48 h 336"/>
                  <a:gd name="T110" fmla="*/ 93 w 314"/>
                  <a:gd name="T111" fmla="*/ 32 h 336"/>
                  <a:gd name="T112" fmla="*/ 109 w 314"/>
                  <a:gd name="T113" fmla="*/ 48 h 336"/>
                  <a:gd name="T114" fmla="*/ 93 w 314"/>
                  <a:gd name="T115" fmla="*/ 118 h 336"/>
                  <a:gd name="T116" fmla="*/ 98 w 314"/>
                  <a:gd name="T117" fmla="*/ 124 h 336"/>
                  <a:gd name="T118" fmla="*/ 93 w 314"/>
                  <a:gd name="T119" fmla="*/ 129 h 336"/>
                  <a:gd name="T120" fmla="*/ 44 w 314"/>
                  <a:gd name="T121" fmla="*/ 126 h 336"/>
                  <a:gd name="T122" fmla="*/ 47 w 314"/>
                  <a:gd name="T123" fmla="*/ 12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4" h="336">
                    <a:moveTo>
                      <a:pt x="5" y="227"/>
                    </a:moveTo>
                    <a:lnTo>
                      <a:pt x="66" y="227"/>
                    </a:lnTo>
                    <a:lnTo>
                      <a:pt x="66" y="227"/>
                    </a:lnTo>
                    <a:lnTo>
                      <a:pt x="66" y="238"/>
                    </a:lnTo>
                    <a:lnTo>
                      <a:pt x="67" y="249"/>
                    </a:lnTo>
                    <a:lnTo>
                      <a:pt x="70" y="259"/>
                    </a:lnTo>
                    <a:lnTo>
                      <a:pt x="74" y="269"/>
                    </a:lnTo>
                    <a:lnTo>
                      <a:pt x="78" y="278"/>
                    </a:lnTo>
                    <a:lnTo>
                      <a:pt x="83" y="288"/>
                    </a:lnTo>
                    <a:lnTo>
                      <a:pt x="90" y="296"/>
                    </a:lnTo>
                    <a:lnTo>
                      <a:pt x="97" y="304"/>
                    </a:lnTo>
                    <a:lnTo>
                      <a:pt x="105" y="310"/>
                    </a:lnTo>
                    <a:lnTo>
                      <a:pt x="113" y="317"/>
                    </a:lnTo>
                    <a:lnTo>
                      <a:pt x="122" y="322"/>
                    </a:lnTo>
                    <a:lnTo>
                      <a:pt x="131" y="327"/>
                    </a:lnTo>
                    <a:lnTo>
                      <a:pt x="141" y="331"/>
                    </a:lnTo>
                    <a:lnTo>
                      <a:pt x="152" y="333"/>
                    </a:lnTo>
                    <a:lnTo>
                      <a:pt x="162" y="335"/>
                    </a:lnTo>
                    <a:lnTo>
                      <a:pt x="173" y="336"/>
                    </a:lnTo>
                    <a:lnTo>
                      <a:pt x="173" y="336"/>
                    </a:lnTo>
                    <a:lnTo>
                      <a:pt x="184" y="335"/>
                    </a:lnTo>
                    <a:lnTo>
                      <a:pt x="195" y="333"/>
                    </a:lnTo>
                    <a:lnTo>
                      <a:pt x="205" y="331"/>
                    </a:lnTo>
                    <a:lnTo>
                      <a:pt x="216" y="327"/>
                    </a:lnTo>
                    <a:lnTo>
                      <a:pt x="225" y="322"/>
                    </a:lnTo>
                    <a:lnTo>
                      <a:pt x="234" y="317"/>
                    </a:lnTo>
                    <a:lnTo>
                      <a:pt x="242" y="310"/>
                    </a:lnTo>
                    <a:lnTo>
                      <a:pt x="250" y="304"/>
                    </a:lnTo>
                    <a:lnTo>
                      <a:pt x="256" y="296"/>
                    </a:lnTo>
                    <a:lnTo>
                      <a:pt x="263" y="288"/>
                    </a:lnTo>
                    <a:lnTo>
                      <a:pt x="268" y="278"/>
                    </a:lnTo>
                    <a:lnTo>
                      <a:pt x="274" y="269"/>
                    </a:lnTo>
                    <a:lnTo>
                      <a:pt x="277" y="259"/>
                    </a:lnTo>
                    <a:lnTo>
                      <a:pt x="279" y="249"/>
                    </a:lnTo>
                    <a:lnTo>
                      <a:pt x="281" y="238"/>
                    </a:lnTo>
                    <a:lnTo>
                      <a:pt x="282" y="227"/>
                    </a:lnTo>
                    <a:lnTo>
                      <a:pt x="309" y="227"/>
                    </a:lnTo>
                    <a:lnTo>
                      <a:pt x="309" y="227"/>
                    </a:lnTo>
                    <a:lnTo>
                      <a:pt x="311" y="227"/>
                    </a:lnTo>
                    <a:lnTo>
                      <a:pt x="313" y="226"/>
                    </a:lnTo>
                    <a:lnTo>
                      <a:pt x="314" y="224"/>
                    </a:lnTo>
                    <a:lnTo>
                      <a:pt x="314" y="222"/>
                    </a:lnTo>
                    <a:lnTo>
                      <a:pt x="314" y="81"/>
                    </a:lnTo>
                    <a:lnTo>
                      <a:pt x="314" y="81"/>
                    </a:lnTo>
                    <a:lnTo>
                      <a:pt x="314" y="79"/>
                    </a:lnTo>
                    <a:lnTo>
                      <a:pt x="313" y="77"/>
                    </a:lnTo>
                    <a:lnTo>
                      <a:pt x="311" y="75"/>
                    </a:lnTo>
                    <a:lnTo>
                      <a:pt x="309" y="75"/>
                    </a:lnTo>
                    <a:lnTo>
                      <a:pt x="250" y="75"/>
                    </a:lnTo>
                    <a:lnTo>
                      <a:pt x="250" y="38"/>
                    </a:lnTo>
                    <a:lnTo>
                      <a:pt x="250" y="38"/>
                    </a:lnTo>
                    <a:lnTo>
                      <a:pt x="248" y="32"/>
                    </a:lnTo>
                    <a:lnTo>
                      <a:pt x="247" y="27"/>
                    </a:lnTo>
                    <a:lnTo>
                      <a:pt x="244" y="23"/>
                    </a:lnTo>
                    <a:lnTo>
                      <a:pt x="242" y="19"/>
                    </a:lnTo>
                    <a:lnTo>
                      <a:pt x="238" y="15"/>
                    </a:lnTo>
                    <a:lnTo>
                      <a:pt x="232" y="12"/>
                    </a:lnTo>
                    <a:lnTo>
                      <a:pt x="228" y="11"/>
                    </a:lnTo>
                    <a:lnTo>
                      <a:pt x="221" y="11"/>
                    </a:lnTo>
                    <a:lnTo>
                      <a:pt x="221" y="11"/>
                    </a:lnTo>
                    <a:lnTo>
                      <a:pt x="217" y="11"/>
                    </a:lnTo>
                    <a:lnTo>
                      <a:pt x="212" y="12"/>
                    </a:lnTo>
                    <a:lnTo>
                      <a:pt x="208" y="15"/>
                    </a:lnTo>
                    <a:lnTo>
                      <a:pt x="204" y="18"/>
                    </a:lnTo>
                    <a:lnTo>
                      <a:pt x="204" y="18"/>
                    </a:lnTo>
                    <a:lnTo>
                      <a:pt x="200" y="11"/>
                    </a:lnTo>
                    <a:lnTo>
                      <a:pt x="195" y="4"/>
                    </a:lnTo>
                    <a:lnTo>
                      <a:pt x="187" y="1"/>
                    </a:lnTo>
                    <a:lnTo>
                      <a:pt x="178" y="0"/>
                    </a:lnTo>
                    <a:lnTo>
                      <a:pt x="178" y="0"/>
                    </a:lnTo>
                    <a:lnTo>
                      <a:pt x="170" y="1"/>
                    </a:lnTo>
                    <a:lnTo>
                      <a:pt x="164" y="4"/>
                    </a:lnTo>
                    <a:lnTo>
                      <a:pt x="157" y="11"/>
                    </a:lnTo>
                    <a:lnTo>
                      <a:pt x="153" y="18"/>
                    </a:lnTo>
                    <a:lnTo>
                      <a:pt x="153" y="18"/>
                    </a:lnTo>
                    <a:lnTo>
                      <a:pt x="150" y="15"/>
                    </a:lnTo>
                    <a:lnTo>
                      <a:pt x="145" y="12"/>
                    </a:lnTo>
                    <a:lnTo>
                      <a:pt x="141" y="11"/>
                    </a:lnTo>
                    <a:lnTo>
                      <a:pt x="135" y="11"/>
                    </a:lnTo>
                    <a:lnTo>
                      <a:pt x="135" y="11"/>
                    </a:lnTo>
                    <a:lnTo>
                      <a:pt x="127" y="12"/>
                    </a:lnTo>
                    <a:lnTo>
                      <a:pt x="119" y="15"/>
                    </a:lnTo>
                    <a:lnTo>
                      <a:pt x="114" y="22"/>
                    </a:lnTo>
                    <a:lnTo>
                      <a:pt x="110" y="28"/>
                    </a:lnTo>
                    <a:lnTo>
                      <a:pt x="110" y="28"/>
                    </a:lnTo>
                    <a:lnTo>
                      <a:pt x="106" y="26"/>
                    </a:lnTo>
                    <a:lnTo>
                      <a:pt x="102" y="23"/>
                    </a:lnTo>
                    <a:lnTo>
                      <a:pt x="97" y="22"/>
                    </a:lnTo>
                    <a:lnTo>
                      <a:pt x="93" y="22"/>
                    </a:lnTo>
                    <a:lnTo>
                      <a:pt x="93" y="22"/>
                    </a:lnTo>
                    <a:lnTo>
                      <a:pt x="87" y="22"/>
                    </a:lnTo>
                    <a:lnTo>
                      <a:pt x="82" y="23"/>
                    </a:lnTo>
                    <a:lnTo>
                      <a:pt x="76" y="26"/>
                    </a:lnTo>
                    <a:lnTo>
                      <a:pt x="72" y="30"/>
                    </a:lnTo>
                    <a:lnTo>
                      <a:pt x="70" y="34"/>
                    </a:lnTo>
                    <a:lnTo>
                      <a:pt x="67" y="38"/>
                    </a:lnTo>
                    <a:lnTo>
                      <a:pt x="66" y="43"/>
                    </a:lnTo>
                    <a:lnTo>
                      <a:pt x="66" y="48"/>
                    </a:lnTo>
                    <a:lnTo>
                      <a:pt x="66" y="75"/>
                    </a:lnTo>
                    <a:lnTo>
                      <a:pt x="5" y="75"/>
                    </a:lnTo>
                    <a:lnTo>
                      <a:pt x="5" y="75"/>
                    </a:lnTo>
                    <a:lnTo>
                      <a:pt x="4" y="75"/>
                    </a:lnTo>
                    <a:lnTo>
                      <a:pt x="1" y="77"/>
                    </a:lnTo>
                    <a:lnTo>
                      <a:pt x="1" y="79"/>
                    </a:lnTo>
                    <a:lnTo>
                      <a:pt x="0" y="81"/>
                    </a:lnTo>
                    <a:lnTo>
                      <a:pt x="0" y="222"/>
                    </a:lnTo>
                    <a:lnTo>
                      <a:pt x="0" y="222"/>
                    </a:lnTo>
                    <a:lnTo>
                      <a:pt x="1" y="224"/>
                    </a:lnTo>
                    <a:lnTo>
                      <a:pt x="1" y="226"/>
                    </a:lnTo>
                    <a:lnTo>
                      <a:pt x="4" y="227"/>
                    </a:lnTo>
                    <a:lnTo>
                      <a:pt x="5" y="227"/>
                    </a:lnTo>
                    <a:lnTo>
                      <a:pt x="5" y="227"/>
                    </a:lnTo>
                    <a:close/>
                    <a:moveTo>
                      <a:pt x="205" y="38"/>
                    </a:moveTo>
                    <a:lnTo>
                      <a:pt x="205" y="38"/>
                    </a:lnTo>
                    <a:lnTo>
                      <a:pt x="207" y="31"/>
                    </a:lnTo>
                    <a:lnTo>
                      <a:pt x="211" y="26"/>
                    </a:lnTo>
                    <a:lnTo>
                      <a:pt x="216" y="23"/>
                    </a:lnTo>
                    <a:lnTo>
                      <a:pt x="221" y="22"/>
                    </a:lnTo>
                    <a:lnTo>
                      <a:pt x="221" y="22"/>
                    </a:lnTo>
                    <a:lnTo>
                      <a:pt x="228" y="23"/>
                    </a:lnTo>
                    <a:lnTo>
                      <a:pt x="234" y="26"/>
                    </a:lnTo>
                    <a:lnTo>
                      <a:pt x="238" y="31"/>
                    </a:lnTo>
                    <a:lnTo>
                      <a:pt x="239" y="38"/>
                    </a:lnTo>
                    <a:lnTo>
                      <a:pt x="239" y="75"/>
                    </a:lnTo>
                    <a:lnTo>
                      <a:pt x="205" y="75"/>
                    </a:lnTo>
                    <a:lnTo>
                      <a:pt x="205" y="38"/>
                    </a:lnTo>
                    <a:close/>
                    <a:moveTo>
                      <a:pt x="162" y="38"/>
                    </a:moveTo>
                    <a:lnTo>
                      <a:pt x="162" y="27"/>
                    </a:lnTo>
                    <a:lnTo>
                      <a:pt x="162" y="27"/>
                    </a:lnTo>
                    <a:lnTo>
                      <a:pt x="164" y="20"/>
                    </a:lnTo>
                    <a:lnTo>
                      <a:pt x="168" y="15"/>
                    </a:lnTo>
                    <a:lnTo>
                      <a:pt x="173" y="12"/>
                    </a:lnTo>
                    <a:lnTo>
                      <a:pt x="178" y="11"/>
                    </a:lnTo>
                    <a:lnTo>
                      <a:pt x="178" y="11"/>
                    </a:lnTo>
                    <a:lnTo>
                      <a:pt x="185" y="12"/>
                    </a:lnTo>
                    <a:lnTo>
                      <a:pt x="191" y="15"/>
                    </a:lnTo>
                    <a:lnTo>
                      <a:pt x="193" y="20"/>
                    </a:lnTo>
                    <a:lnTo>
                      <a:pt x="195" y="27"/>
                    </a:lnTo>
                    <a:lnTo>
                      <a:pt x="195" y="38"/>
                    </a:lnTo>
                    <a:lnTo>
                      <a:pt x="195" y="75"/>
                    </a:lnTo>
                    <a:lnTo>
                      <a:pt x="162" y="75"/>
                    </a:lnTo>
                    <a:lnTo>
                      <a:pt x="162" y="38"/>
                    </a:lnTo>
                    <a:close/>
                    <a:moveTo>
                      <a:pt x="157" y="118"/>
                    </a:moveTo>
                    <a:lnTo>
                      <a:pt x="157" y="118"/>
                    </a:lnTo>
                    <a:lnTo>
                      <a:pt x="164" y="120"/>
                    </a:lnTo>
                    <a:lnTo>
                      <a:pt x="170" y="121"/>
                    </a:lnTo>
                    <a:lnTo>
                      <a:pt x="176" y="124"/>
                    </a:lnTo>
                    <a:lnTo>
                      <a:pt x="180" y="128"/>
                    </a:lnTo>
                    <a:lnTo>
                      <a:pt x="184" y="133"/>
                    </a:lnTo>
                    <a:lnTo>
                      <a:pt x="187" y="138"/>
                    </a:lnTo>
                    <a:lnTo>
                      <a:pt x="189" y="145"/>
                    </a:lnTo>
                    <a:lnTo>
                      <a:pt x="189" y="152"/>
                    </a:lnTo>
                    <a:lnTo>
                      <a:pt x="189" y="152"/>
                    </a:lnTo>
                    <a:lnTo>
                      <a:pt x="189" y="157"/>
                    </a:lnTo>
                    <a:lnTo>
                      <a:pt x="187" y="164"/>
                    </a:lnTo>
                    <a:lnTo>
                      <a:pt x="184" y="169"/>
                    </a:lnTo>
                    <a:lnTo>
                      <a:pt x="180" y="175"/>
                    </a:lnTo>
                    <a:lnTo>
                      <a:pt x="176" y="179"/>
                    </a:lnTo>
                    <a:lnTo>
                      <a:pt x="170" y="181"/>
                    </a:lnTo>
                    <a:lnTo>
                      <a:pt x="164" y="183"/>
                    </a:lnTo>
                    <a:lnTo>
                      <a:pt x="157" y="184"/>
                    </a:lnTo>
                    <a:lnTo>
                      <a:pt x="157" y="184"/>
                    </a:lnTo>
                    <a:lnTo>
                      <a:pt x="150" y="183"/>
                    </a:lnTo>
                    <a:lnTo>
                      <a:pt x="145" y="181"/>
                    </a:lnTo>
                    <a:lnTo>
                      <a:pt x="140" y="179"/>
                    </a:lnTo>
                    <a:lnTo>
                      <a:pt x="134" y="175"/>
                    </a:lnTo>
                    <a:lnTo>
                      <a:pt x="130" y="169"/>
                    </a:lnTo>
                    <a:lnTo>
                      <a:pt x="127" y="164"/>
                    </a:lnTo>
                    <a:lnTo>
                      <a:pt x="125" y="157"/>
                    </a:lnTo>
                    <a:lnTo>
                      <a:pt x="125" y="152"/>
                    </a:lnTo>
                    <a:lnTo>
                      <a:pt x="125" y="152"/>
                    </a:lnTo>
                    <a:lnTo>
                      <a:pt x="125" y="145"/>
                    </a:lnTo>
                    <a:lnTo>
                      <a:pt x="127" y="138"/>
                    </a:lnTo>
                    <a:lnTo>
                      <a:pt x="130" y="133"/>
                    </a:lnTo>
                    <a:lnTo>
                      <a:pt x="134" y="128"/>
                    </a:lnTo>
                    <a:lnTo>
                      <a:pt x="140" y="124"/>
                    </a:lnTo>
                    <a:lnTo>
                      <a:pt x="145" y="121"/>
                    </a:lnTo>
                    <a:lnTo>
                      <a:pt x="150" y="120"/>
                    </a:lnTo>
                    <a:lnTo>
                      <a:pt x="157" y="118"/>
                    </a:lnTo>
                    <a:lnTo>
                      <a:pt x="157" y="118"/>
                    </a:lnTo>
                    <a:close/>
                    <a:moveTo>
                      <a:pt x="119" y="48"/>
                    </a:moveTo>
                    <a:lnTo>
                      <a:pt x="119" y="38"/>
                    </a:lnTo>
                    <a:lnTo>
                      <a:pt x="119" y="38"/>
                    </a:lnTo>
                    <a:lnTo>
                      <a:pt x="121" y="31"/>
                    </a:lnTo>
                    <a:lnTo>
                      <a:pt x="123" y="26"/>
                    </a:lnTo>
                    <a:lnTo>
                      <a:pt x="129" y="23"/>
                    </a:lnTo>
                    <a:lnTo>
                      <a:pt x="135" y="22"/>
                    </a:lnTo>
                    <a:lnTo>
                      <a:pt x="135" y="22"/>
                    </a:lnTo>
                    <a:lnTo>
                      <a:pt x="142" y="23"/>
                    </a:lnTo>
                    <a:lnTo>
                      <a:pt x="148" y="26"/>
                    </a:lnTo>
                    <a:lnTo>
                      <a:pt x="150" y="31"/>
                    </a:lnTo>
                    <a:lnTo>
                      <a:pt x="152" y="38"/>
                    </a:lnTo>
                    <a:lnTo>
                      <a:pt x="152" y="75"/>
                    </a:lnTo>
                    <a:lnTo>
                      <a:pt x="119" y="75"/>
                    </a:lnTo>
                    <a:lnTo>
                      <a:pt x="119" y="48"/>
                    </a:lnTo>
                    <a:close/>
                    <a:moveTo>
                      <a:pt x="170" y="227"/>
                    </a:moveTo>
                    <a:lnTo>
                      <a:pt x="170" y="227"/>
                    </a:lnTo>
                    <a:lnTo>
                      <a:pt x="168" y="234"/>
                    </a:lnTo>
                    <a:lnTo>
                      <a:pt x="165" y="241"/>
                    </a:lnTo>
                    <a:lnTo>
                      <a:pt x="164" y="247"/>
                    </a:lnTo>
                    <a:lnTo>
                      <a:pt x="162" y="254"/>
                    </a:lnTo>
                    <a:lnTo>
                      <a:pt x="162" y="254"/>
                    </a:lnTo>
                    <a:lnTo>
                      <a:pt x="162" y="257"/>
                    </a:lnTo>
                    <a:lnTo>
                      <a:pt x="164" y="258"/>
                    </a:lnTo>
                    <a:lnTo>
                      <a:pt x="166" y="259"/>
                    </a:lnTo>
                    <a:lnTo>
                      <a:pt x="168" y="259"/>
                    </a:lnTo>
                    <a:lnTo>
                      <a:pt x="168" y="259"/>
                    </a:lnTo>
                    <a:lnTo>
                      <a:pt x="170" y="259"/>
                    </a:lnTo>
                    <a:lnTo>
                      <a:pt x="172" y="258"/>
                    </a:lnTo>
                    <a:lnTo>
                      <a:pt x="173" y="257"/>
                    </a:lnTo>
                    <a:lnTo>
                      <a:pt x="173" y="254"/>
                    </a:lnTo>
                    <a:lnTo>
                      <a:pt x="173" y="254"/>
                    </a:lnTo>
                    <a:lnTo>
                      <a:pt x="174" y="246"/>
                    </a:lnTo>
                    <a:lnTo>
                      <a:pt x="177" y="239"/>
                    </a:lnTo>
                    <a:lnTo>
                      <a:pt x="180" y="233"/>
                    </a:lnTo>
                    <a:lnTo>
                      <a:pt x="185" y="226"/>
                    </a:lnTo>
                    <a:lnTo>
                      <a:pt x="185" y="226"/>
                    </a:lnTo>
                    <a:lnTo>
                      <a:pt x="185" y="226"/>
                    </a:lnTo>
                    <a:lnTo>
                      <a:pt x="185" y="226"/>
                    </a:lnTo>
                    <a:lnTo>
                      <a:pt x="195" y="218"/>
                    </a:lnTo>
                    <a:lnTo>
                      <a:pt x="207" y="211"/>
                    </a:lnTo>
                    <a:lnTo>
                      <a:pt x="219" y="207"/>
                    </a:lnTo>
                    <a:lnTo>
                      <a:pt x="234" y="206"/>
                    </a:lnTo>
                    <a:lnTo>
                      <a:pt x="234" y="206"/>
                    </a:lnTo>
                    <a:lnTo>
                      <a:pt x="235" y="206"/>
                    </a:lnTo>
                    <a:lnTo>
                      <a:pt x="236" y="204"/>
                    </a:lnTo>
                    <a:lnTo>
                      <a:pt x="238" y="202"/>
                    </a:lnTo>
                    <a:lnTo>
                      <a:pt x="239" y="200"/>
                    </a:lnTo>
                    <a:lnTo>
                      <a:pt x="239" y="168"/>
                    </a:lnTo>
                    <a:lnTo>
                      <a:pt x="239" y="168"/>
                    </a:lnTo>
                    <a:lnTo>
                      <a:pt x="239" y="160"/>
                    </a:lnTo>
                    <a:lnTo>
                      <a:pt x="240" y="153"/>
                    </a:lnTo>
                    <a:lnTo>
                      <a:pt x="244" y="148"/>
                    </a:lnTo>
                    <a:lnTo>
                      <a:pt x="247" y="143"/>
                    </a:lnTo>
                    <a:lnTo>
                      <a:pt x="252" y="137"/>
                    </a:lnTo>
                    <a:lnTo>
                      <a:pt x="258" y="134"/>
                    </a:lnTo>
                    <a:lnTo>
                      <a:pt x="264" y="132"/>
                    </a:lnTo>
                    <a:lnTo>
                      <a:pt x="271" y="130"/>
                    </a:lnTo>
                    <a:lnTo>
                      <a:pt x="271" y="227"/>
                    </a:lnTo>
                    <a:lnTo>
                      <a:pt x="271" y="227"/>
                    </a:lnTo>
                    <a:lnTo>
                      <a:pt x="270" y="237"/>
                    </a:lnTo>
                    <a:lnTo>
                      <a:pt x="268" y="247"/>
                    </a:lnTo>
                    <a:lnTo>
                      <a:pt x="267" y="257"/>
                    </a:lnTo>
                    <a:lnTo>
                      <a:pt x="263" y="265"/>
                    </a:lnTo>
                    <a:lnTo>
                      <a:pt x="259" y="274"/>
                    </a:lnTo>
                    <a:lnTo>
                      <a:pt x="254" y="282"/>
                    </a:lnTo>
                    <a:lnTo>
                      <a:pt x="248" y="289"/>
                    </a:lnTo>
                    <a:lnTo>
                      <a:pt x="243" y="296"/>
                    </a:lnTo>
                    <a:lnTo>
                      <a:pt x="235" y="302"/>
                    </a:lnTo>
                    <a:lnTo>
                      <a:pt x="228" y="308"/>
                    </a:lnTo>
                    <a:lnTo>
                      <a:pt x="220" y="313"/>
                    </a:lnTo>
                    <a:lnTo>
                      <a:pt x="211" y="317"/>
                    </a:lnTo>
                    <a:lnTo>
                      <a:pt x="203" y="320"/>
                    </a:lnTo>
                    <a:lnTo>
                      <a:pt x="193" y="322"/>
                    </a:lnTo>
                    <a:lnTo>
                      <a:pt x="184" y="324"/>
                    </a:lnTo>
                    <a:lnTo>
                      <a:pt x="173" y="325"/>
                    </a:lnTo>
                    <a:lnTo>
                      <a:pt x="173" y="325"/>
                    </a:lnTo>
                    <a:lnTo>
                      <a:pt x="164" y="324"/>
                    </a:lnTo>
                    <a:lnTo>
                      <a:pt x="154" y="322"/>
                    </a:lnTo>
                    <a:lnTo>
                      <a:pt x="145" y="320"/>
                    </a:lnTo>
                    <a:lnTo>
                      <a:pt x="135" y="317"/>
                    </a:lnTo>
                    <a:lnTo>
                      <a:pt x="127" y="313"/>
                    </a:lnTo>
                    <a:lnTo>
                      <a:pt x="119" y="308"/>
                    </a:lnTo>
                    <a:lnTo>
                      <a:pt x="111" y="302"/>
                    </a:lnTo>
                    <a:lnTo>
                      <a:pt x="105" y="296"/>
                    </a:lnTo>
                    <a:lnTo>
                      <a:pt x="98" y="289"/>
                    </a:lnTo>
                    <a:lnTo>
                      <a:pt x="93" y="282"/>
                    </a:lnTo>
                    <a:lnTo>
                      <a:pt x="87" y="274"/>
                    </a:lnTo>
                    <a:lnTo>
                      <a:pt x="83" y="265"/>
                    </a:lnTo>
                    <a:lnTo>
                      <a:pt x="80" y="257"/>
                    </a:lnTo>
                    <a:lnTo>
                      <a:pt x="78" y="247"/>
                    </a:lnTo>
                    <a:lnTo>
                      <a:pt x="76" y="237"/>
                    </a:lnTo>
                    <a:lnTo>
                      <a:pt x="76" y="227"/>
                    </a:lnTo>
                    <a:lnTo>
                      <a:pt x="170" y="227"/>
                    </a:lnTo>
                    <a:close/>
                    <a:moveTo>
                      <a:pt x="76" y="48"/>
                    </a:moveTo>
                    <a:lnTo>
                      <a:pt x="76" y="48"/>
                    </a:lnTo>
                    <a:lnTo>
                      <a:pt x="78" y="42"/>
                    </a:lnTo>
                    <a:lnTo>
                      <a:pt x="80" y="36"/>
                    </a:lnTo>
                    <a:lnTo>
                      <a:pt x="86" y="34"/>
                    </a:lnTo>
                    <a:lnTo>
                      <a:pt x="93" y="32"/>
                    </a:lnTo>
                    <a:lnTo>
                      <a:pt x="93" y="32"/>
                    </a:lnTo>
                    <a:lnTo>
                      <a:pt x="98" y="34"/>
                    </a:lnTo>
                    <a:lnTo>
                      <a:pt x="103" y="36"/>
                    </a:lnTo>
                    <a:lnTo>
                      <a:pt x="107" y="42"/>
                    </a:lnTo>
                    <a:lnTo>
                      <a:pt x="109" y="48"/>
                    </a:lnTo>
                    <a:lnTo>
                      <a:pt x="109" y="75"/>
                    </a:lnTo>
                    <a:lnTo>
                      <a:pt x="76" y="75"/>
                    </a:lnTo>
                    <a:lnTo>
                      <a:pt x="76" y="48"/>
                    </a:lnTo>
                    <a:close/>
                    <a:moveTo>
                      <a:pt x="48" y="118"/>
                    </a:moveTo>
                    <a:lnTo>
                      <a:pt x="93" y="118"/>
                    </a:lnTo>
                    <a:lnTo>
                      <a:pt x="93" y="118"/>
                    </a:lnTo>
                    <a:lnTo>
                      <a:pt x="94" y="120"/>
                    </a:lnTo>
                    <a:lnTo>
                      <a:pt x="97" y="121"/>
                    </a:lnTo>
                    <a:lnTo>
                      <a:pt x="97" y="122"/>
                    </a:lnTo>
                    <a:lnTo>
                      <a:pt x="98" y="124"/>
                    </a:lnTo>
                    <a:lnTo>
                      <a:pt x="98" y="124"/>
                    </a:lnTo>
                    <a:lnTo>
                      <a:pt x="97" y="126"/>
                    </a:lnTo>
                    <a:lnTo>
                      <a:pt x="97" y="128"/>
                    </a:lnTo>
                    <a:lnTo>
                      <a:pt x="94" y="129"/>
                    </a:lnTo>
                    <a:lnTo>
                      <a:pt x="93" y="129"/>
                    </a:lnTo>
                    <a:lnTo>
                      <a:pt x="48" y="129"/>
                    </a:lnTo>
                    <a:lnTo>
                      <a:pt x="48" y="129"/>
                    </a:lnTo>
                    <a:lnTo>
                      <a:pt x="47" y="129"/>
                    </a:lnTo>
                    <a:lnTo>
                      <a:pt x="45" y="128"/>
                    </a:lnTo>
                    <a:lnTo>
                      <a:pt x="44" y="126"/>
                    </a:lnTo>
                    <a:lnTo>
                      <a:pt x="43" y="124"/>
                    </a:lnTo>
                    <a:lnTo>
                      <a:pt x="43" y="124"/>
                    </a:lnTo>
                    <a:lnTo>
                      <a:pt x="44" y="122"/>
                    </a:lnTo>
                    <a:lnTo>
                      <a:pt x="45" y="121"/>
                    </a:lnTo>
                    <a:lnTo>
                      <a:pt x="47" y="120"/>
                    </a:lnTo>
                    <a:lnTo>
                      <a:pt x="48" y="118"/>
                    </a:lnTo>
                    <a:lnTo>
                      <a:pt x="48"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grpSp>
        <p:nvGrpSpPr>
          <p:cNvPr id="81" name="Group 80">
            <a:extLst>
              <a:ext uri="{FF2B5EF4-FFF2-40B4-BE49-F238E27FC236}">
                <a16:creationId xmlns:a16="http://schemas.microsoft.com/office/drawing/2014/main" id="{A380D5FA-34C1-487C-96D3-43308B174FA4}"/>
              </a:ext>
            </a:extLst>
          </p:cNvPr>
          <p:cNvGrpSpPr/>
          <p:nvPr/>
        </p:nvGrpSpPr>
        <p:grpSpPr>
          <a:xfrm>
            <a:off x="4367089" y="2952097"/>
            <a:ext cx="532736" cy="532736"/>
            <a:chOff x="7320138" y="3413871"/>
            <a:chExt cx="502920" cy="502920"/>
          </a:xfrm>
        </p:grpSpPr>
        <p:sp>
          <p:nvSpPr>
            <p:cNvPr id="82" name="Oval 81">
              <a:extLst>
                <a:ext uri="{FF2B5EF4-FFF2-40B4-BE49-F238E27FC236}">
                  <a16:creationId xmlns:a16="http://schemas.microsoft.com/office/drawing/2014/main" id="{DFE93FCE-A610-44A0-BB65-8AA2BB711538}"/>
                </a:ext>
              </a:extLst>
            </p:cNvPr>
            <p:cNvSpPr/>
            <p:nvPr/>
          </p:nvSpPr>
          <p:spPr>
            <a:xfrm>
              <a:off x="7320138" y="3413871"/>
              <a:ext cx="502920" cy="5029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ea typeface="+mn-ea"/>
                <a:cs typeface="+mn-cs"/>
              </a:endParaRPr>
            </a:p>
          </p:txBody>
        </p:sp>
        <p:grpSp>
          <p:nvGrpSpPr>
            <p:cNvPr id="83" name="Group 82">
              <a:extLst>
                <a:ext uri="{FF2B5EF4-FFF2-40B4-BE49-F238E27FC236}">
                  <a16:creationId xmlns:a16="http://schemas.microsoft.com/office/drawing/2014/main" id="{90C18007-0551-491A-B127-6F89AE1D108D}"/>
                </a:ext>
              </a:extLst>
            </p:cNvPr>
            <p:cNvGrpSpPr>
              <a:grpSpLocks noChangeAspect="1"/>
            </p:cNvGrpSpPr>
            <p:nvPr/>
          </p:nvGrpSpPr>
          <p:grpSpPr>
            <a:xfrm>
              <a:off x="7328315" y="3432352"/>
              <a:ext cx="486567" cy="465958"/>
              <a:chOff x="9350376" y="4999038"/>
              <a:chExt cx="520700" cy="522288"/>
            </a:xfrm>
          </p:grpSpPr>
          <p:sp>
            <p:nvSpPr>
              <p:cNvPr id="84" name="Freeform 84">
                <a:extLst>
                  <a:ext uri="{FF2B5EF4-FFF2-40B4-BE49-F238E27FC236}">
                    <a16:creationId xmlns:a16="http://schemas.microsoft.com/office/drawing/2014/main" id="{E13645ED-C14D-41E7-B67C-60A24377EADB}"/>
                  </a:ext>
                </a:extLst>
              </p:cNvPr>
              <p:cNvSpPr>
                <a:spLocks noEditPoints="1"/>
              </p:cNvSpPr>
              <p:nvPr/>
            </p:nvSpPr>
            <p:spPr bwMode="auto">
              <a:xfrm>
                <a:off x="9350376" y="4999038"/>
                <a:ext cx="520700" cy="522288"/>
              </a:xfrm>
              <a:custGeom>
                <a:avLst/>
                <a:gdLst>
                  <a:gd name="T0" fmla="*/ 312 w 657"/>
                  <a:gd name="T1" fmla="*/ 657 h 658"/>
                  <a:gd name="T2" fmla="*/ 262 w 657"/>
                  <a:gd name="T3" fmla="*/ 652 h 658"/>
                  <a:gd name="T4" fmla="*/ 201 w 657"/>
                  <a:gd name="T5" fmla="*/ 632 h 658"/>
                  <a:gd name="T6" fmla="*/ 120 w 657"/>
                  <a:gd name="T7" fmla="*/ 583 h 658"/>
                  <a:gd name="T8" fmla="*/ 57 w 657"/>
                  <a:gd name="T9" fmla="*/ 513 h 658"/>
                  <a:gd name="T10" fmla="*/ 15 w 657"/>
                  <a:gd name="T11" fmla="*/ 427 h 658"/>
                  <a:gd name="T12" fmla="*/ 5 w 657"/>
                  <a:gd name="T13" fmla="*/ 379 h 658"/>
                  <a:gd name="T14" fmla="*/ 0 w 657"/>
                  <a:gd name="T15" fmla="*/ 329 h 658"/>
                  <a:gd name="T16" fmla="*/ 2 w 657"/>
                  <a:gd name="T17" fmla="*/ 296 h 658"/>
                  <a:gd name="T18" fmla="*/ 10 w 657"/>
                  <a:gd name="T19" fmla="*/ 247 h 658"/>
                  <a:gd name="T20" fmla="*/ 39 w 657"/>
                  <a:gd name="T21" fmla="*/ 172 h 658"/>
                  <a:gd name="T22" fmla="*/ 97 w 657"/>
                  <a:gd name="T23" fmla="*/ 97 h 658"/>
                  <a:gd name="T24" fmla="*/ 172 w 657"/>
                  <a:gd name="T25" fmla="*/ 41 h 658"/>
                  <a:gd name="T26" fmla="*/ 246 w 657"/>
                  <a:gd name="T27" fmla="*/ 11 h 658"/>
                  <a:gd name="T28" fmla="*/ 296 w 657"/>
                  <a:gd name="T29" fmla="*/ 2 h 658"/>
                  <a:gd name="T30" fmla="*/ 330 w 657"/>
                  <a:gd name="T31" fmla="*/ 0 h 658"/>
                  <a:gd name="T32" fmla="*/ 379 w 657"/>
                  <a:gd name="T33" fmla="*/ 4 h 658"/>
                  <a:gd name="T34" fmla="*/ 426 w 657"/>
                  <a:gd name="T35" fmla="*/ 15 h 658"/>
                  <a:gd name="T36" fmla="*/ 512 w 657"/>
                  <a:gd name="T37" fmla="*/ 57 h 658"/>
                  <a:gd name="T38" fmla="*/ 582 w 657"/>
                  <a:gd name="T39" fmla="*/ 120 h 658"/>
                  <a:gd name="T40" fmla="*/ 632 w 657"/>
                  <a:gd name="T41" fmla="*/ 202 h 658"/>
                  <a:gd name="T42" fmla="*/ 651 w 657"/>
                  <a:gd name="T43" fmla="*/ 264 h 658"/>
                  <a:gd name="T44" fmla="*/ 657 w 657"/>
                  <a:gd name="T45" fmla="*/ 312 h 658"/>
                  <a:gd name="T46" fmla="*/ 657 w 657"/>
                  <a:gd name="T47" fmla="*/ 347 h 658"/>
                  <a:gd name="T48" fmla="*/ 651 w 657"/>
                  <a:gd name="T49" fmla="*/ 395 h 658"/>
                  <a:gd name="T50" fmla="*/ 632 w 657"/>
                  <a:gd name="T51" fmla="*/ 457 h 658"/>
                  <a:gd name="T52" fmla="*/ 582 w 657"/>
                  <a:gd name="T53" fmla="*/ 539 h 658"/>
                  <a:gd name="T54" fmla="*/ 512 w 657"/>
                  <a:gd name="T55" fmla="*/ 602 h 658"/>
                  <a:gd name="T56" fmla="*/ 426 w 657"/>
                  <a:gd name="T57" fmla="*/ 644 h 658"/>
                  <a:gd name="T58" fmla="*/ 379 w 657"/>
                  <a:gd name="T59" fmla="*/ 654 h 658"/>
                  <a:gd name="T60" fmla="*/ 330 w 657"/>
                  <a:gd name="T61" fmla="*/ 658 h 658"/>
                  <a:gd name="T62" fmla="*/ 330 w 657"/>
                  <a:gd name="T63" fmla="*/ 38 h 658"/>
                  <a:gd name="T64" fmla="*/ 242 w 657"/>
                  <a:gd name="T65" fmla="*/ 51 h 658"/>
                  <a:gd name="T66" fmla="*/ 166 w 657"/>
                  <a:gd name="T67" fmla="*/ 88 h 658"/>
                  <a:gd name="T68" fmla="*/ 104 w 657"/>
                  <a:gd name="T69" fmla="*/ 144 h 658"/>
                  <a:gd name="T70" fmla="*/ 61 w 657"/>
                  <a:gd name="T71" fmla="*/ 216 h 658"/>
                  <a:gd name="T72" fmla="*/ 39 w 657"/>
                  <a:gd name="T73" fmla="*/ 300 h 658"/>
                  <a:gd name="T74" fmla="*/ 39 w 657"/>
                  <a:gd name="T75" fmla="*/ 359 h 658"/>
                  <a:gd name="T76" fmla="*/ 61 w 657"/>
                  <a:gd name="T77" fmla="*/ 442 h 658"/>
                  <a:gd name="T78" fmla="*/ 104 w 657"/>
                  <a:gd name="T79" fmla="*/ 515 h 658"/>
                  <a:gd name="T80" fmla="*/ 166 w 657"/>
                  <a:gd name="T81" fmla="*/ 571 h 658"/>
                  <a:gd name="T82" fmla="*/ 242 w 657"/>
                  <a:gd name="T83" fmla="*/ 607 h 658"/>
                  <a:gd name="T84" fmla="*/ 330 w 657"/>
                  <a:gd name="T85" fmla="*/ 621 h 658"/>
                  <a:gd name="T86" fmla="*/ 387 w 657"/>
                  <a:gd name="T87" fmla="*/ 614 h 658"/>
                  <a:gd name="T88" fmla="*/ 468 w 657"/>
                  <a:gd name="T89" fmla="*/ 585 h 658"/>
                  <a:gd name="T90" fmla="*/ 535 w 657"/>
                  <a:gd name="T91" fmla="*/ 535 h 658"/>
                  <a:gd name="T92" fmla="*/ 585 w 657"/>
                  <a:gd name="T93" fmla="*/ 468 h 658"/>
                  <a:gd name="T94" fmla="*/ 614 w 657"/>
                  <a:gd name="T95" fmla="*/ 388 h 658"/>
                  <a:gd name="T96" fmla="*/ 620 w 657"/>
                  <a:gd name="T97" fmla="*/ 329 h 658"/>
                  <a:gd name="T98" fmla="*/ 608 w 657"/>
                  <a:gd name="T99" fmla="*/ 243 h 658"/>
                  <a:gd name="T100" fmla="*/ 570 w 657"/>
                  <a:gd name="T101" fmla="*/ 167 h 658"/>
                  <a:gd name="T102" fmla="*/ 514 w 657"/>
                  <a:gd name="T103" fmla="*/ 105 h 658"/>
                  <a:gd name="T104" fmla="*/ 442 w 657"/>
                  <a:gd name="T105" fmla="*/ 61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30" y="658"/>
                    </a:moveTo>
                    <a:lnTo>
                      <a:pt x="330" y="658"/>
                    </a:lnTo>
                    <a:lnTo>
                      <a:pt x="312" y="657"/>
                    </a:lnTo>
                    <a:lnTo>
                      <a:pt x="296" y="656"/>
                    </a:lnTo>
                    <a:lnTo>
                      <a:pt x="279" y="654"/>
                    </a:lnTo>
                    <a:lnTo>
                      <a:pt x="262" y="652"/>
                    </a:lnTo>
                    <a:lnTo>
                      <a:pt x="246" y="648"/>
                    </a:lnTo>
                    <a:lnTo>
                      <a:pt x="232" y="644"/>
                    </a:lnTo>
                    <a:lnTo>
                      <a:pt x="201" y="632"/>
                    </a:lnTo>
                    <a:lnTo>
                      <a:pt x="172" y="618"/>
                    </a:lnTo>
                    <a:lnTo>
                      <a:pt x="146" y="602"/>
                    </a:lnTo>
                    <a:lnTo>
                      <a:pt x="120" y="583"/>
                    </a:lnTo>
                    <a:lnTo>
                      <a:pt x="97" y="562"/>
                    </a:lnTo>
                    <a:lnTo>
                      <a:pt x="76" y="539"/>
                    </a:lnTo>
                    <a:lnTo>
                      <a:pt x="57" y="513"/>
                    </a:lnTo>
                    <a:lnTo>
                      <a:pt x="39" y="486"/>
                    </a:lnTo>
                    <a:lnTo>
                      <a:pt x="26" y="457"/>
                    </a:lnTo>
                    <a:lnTo>
                      <a:pt x="15" y="427"/>
                    </a:lnTo>
                    <a:lnTo>
                      <a:pt x="10" y="411"/>
                    </a:lnTo>
                    <a:lnTo>
                      <a:pt x="7" y="395"/>
                    </a:lnTo>
                    <a:lnTo>
                      <a:pt x="5" y="379"/>
                    </a:lnTo>
                    <a:lnTo>
                      <a:pt x="2" y="363"/>
                    </a:lnTo>
                    <a:lnTo>
                      <a:pt x="0" y="347"/>
                    </a:lnTo>
                    <a:lnTo>
                      <a:pt x="0" y="329"/>
                    </a:lnTo>
                    <a:lnTo>
                      <a:pt x="0" y="329"/>
                    </a:lnTo>
                    <a:lnTo>
                      <a:pt x="0" y="312"/>
                    </a:lnTo>
                    <a:lnTo>
                      <a:pt x="2" y="296"/>
                    </a:lnTo>
                    <a:lnTo>
                      <a:pt x="5" y="280"/>
                    </a:lnTo>
                    <a:lnTo>
                      <a:pt x="7" y="264"/>
                    </a:lnTo>
                    <a:lnTo>
                      <a:pt x="10" y="247"/>
                    </a:lnTo>
                    <a:lnTo>
                      <a:pt x="15" y="231"/>
                    </a:lnTo>
                    <a:lnTo>
                      <a:pt x="26" y="202"/>
                    </a:lnTo>
                    <a:lnTo>
                      <a:pt x="39" y="172"/>
                    </a:lnTo>
                    <a:lnTo>
                      <a:pt x="57" y="145"/>
                    </a:lnTo>
                    <a:lnTo>
                      <a:pt x="76" y="120"/>
                    </a:lnTo>
                    <a:lnTo>
                      <a:pt x="97" y="97"/>
                    </a:lnTo>
                    <a:lnTo>
                      <a:pt x="120" y="75"/>
                    </a:lnTo>
                    <a:lnTo>
                      <a:pt x="146" y="57"/>
                    </a:lnTo>
                    <a:lnTo>
                      <a:pt x="172" y="41"/>
                    </a:lnTo>
                    <a:lnTo>
                      <a:pt x="201" y="26"/>
                    </a:lnTo>
                    <a:lnTo>
                      <a:pt x="232" y="15"/>
                    </a:lnTo>
                    <a:lnTo>
                      <a:pt x="246" y="11"/>
                    </a:lnTo>
                    <a:lnTo>
                      <a:pt x="262" y="7"/>
                    </a:lnTo>
                    <a:lnTo>
                      <a:pt x="279" y="4"/>
                    </a:lnTo>
                    <a:lnTo>
                      <a:pt x="296" y="2"/>
                    </a:lnTo>
                    <a:lnTo>
                      <a:pt x="312" y="0"/>
                    </a:lnTo>
                    <a:lnTo>
                      <a:pt x="330" y="0"/>
                    </a:lnTo>
                    <a:lnTo>
                      <a:pt x="330" y="0"/>
                    </a:lnTo>
                    <a:lnTo>
                      <a:pt x="346" y="0"/>
                    </a:lnTo>
                    <a:lnTo>
                      <a:pt x="362" y="2"/>
                    </a:lnTo>
                    <a:lnTo>
                      <a:pt x="379" y="4"/>
                    </a:lnTo>
                    <a:lnTo>
                      <a:pt x="395" y="7"/>
                    </a:lnTo>
                    <a:lnTo>
                      <a:pt x="411" y="11"/>
                    </a:lnTo>
                    <a:lnTo>
                      <a:pt x="426" y="15"/>
                    </a:lnTo>
                    <a:lnTo>
                      <a:pt x="457" y="26"/>
                    </a:lnTo>
                    <a:lnTo>
                      <a:pt x="485" y="41"/>
                    </a:lnTo>
                    <a:lnTo>
                      <a:pt x="512" y="57"/>
                    </a:lnTo>
                    <a:lnTo>
                      <a:pt x="538" y="75"/>
                    </a:lnTo>
                    <a:lnTo>
                      <a:pt x="561" y="97"/>
                    </a:lnTo>
                    <a:lnTo>
                      <a:pt x="582" y="120"/>
                    </a:lnTo>
                    <a:lnTo>
                      <a:pt x="601" y="145"/>
                    </a:lnTo>
                    <a:lnTo>
                      <a:pt x="618" y="172"/>
                    </a:lnTo>
                    <a:lnTo>
                      <a:pt x="632" y="202"/>
                    </a:lnTo>
                    <a:lnTo>
                      <a:pt x="643" y="231"/>
                    </a:lnTo>
                    <a:lnTo>
                      <a:pt x="648" y="247"/>
                    </a:lnTo>
                    <a:lnTo>
                      <a:pt x="651" y="264"/>
                    </a:lnTo>
                    <a:lnTo>
                      <a:pt x="653" y="280"/>
                    </a:lnTo>
                    <a:lnTo>
                      <a:pt x="656" y="296"/>
                    </a:lnTo>
                    <a:lnTo>
                      <a:pt x="657" y="312"/>
                    </a:lnTo>
                    <a:lnTo>
                      <a:pt x="657" y="329"/>
                    </a:lnTo>
                    <a:lnTo>
                      <a:pt x="657" y="329"/>
                    </a:lnTo>
                    <a:lnTo>
                      <a:pt x="657" y="347"/>
                    </a:lnTo>
                    <a:lnTo>
                      <a:pt x="656" y="363"/>
                    </a:lnTo>
                    <a:lnTo>
                      <a:pt x="653" y="379"/>
                    </a:lnTo>
                    <a:lnTo>
                      <a:pt x="651" y="395"/>
                    </a:lnTo>
                    <a:lnTo>
                      <a:pt x="648" y="411"/>
                    </a:lnTo>
                    <a:lnTo>
                      <a:pt x="643" y="427"/>
                    </a:lnTo>
                    <a:lnTo>
                      <a:pt x="632" y="457"/>
                    </a:lnTo>
                    <a:lnTo>
                      <a:pt x="618" y="486"/>
                    </a:lnTo>
                    <a:lnTo>
                      <a:pt x="601" y="513"/>
                    </a:lnTo>
                    <a:lnTo>
                      <a:pt x="582" y="539"/>
                    </a:lnTo>
                    <a:lnTo>
                      <a:pt x="561" y="562"/>
                    </a:lnTo>
                    <a:lnTo>
                      <a:pt x="538" y="583"/>
                    </a:lnTo>
                    <a:lnTo>
                      <a:pt x="512" y="602"/>
                    </a:lnTo>
                    <a:lnTo>
                      <a:pt x="485" y="618"/>
                    </a:lnTo>
                    <a:lnTo>
                      <a:pt x="457" y="632"/>
                    </a:lnTo>
                    <a:lnTo>
                      <a:pt x="426" y="644"/>
                    </a:lnTo>
                    <a:lnTo>
                      <a:pt x="411" y="648"/>
                    </a:lnTo>
                    <a:lnTo>
                      <a:pt x="395" y="652"/>
                    </a:lnTo>
                    <a:lnTo>
                      <a:pt x="379" y="654"/>
                    </a:lnTo>
                    <a:lnTo>
                      <a:pt x="362" y="656"/>
                    </a:lnTo>
                    <a:lnTo>
                      <a:pt x="346" y="657"/>
                    </a:lnTo>
                    <a:lnTo>
                      <a:pt x="330" y="658"/>
                    </a:lnTo>
                    <a:lnTo>
                      <a:pt x="330" y="658"/>
                    </a:lnTo>
                    <a:close/>
                    <a:moveTo>
                      <a:pt x="330" y="38"/>
                    </a:moveTo>
                    <a:lnTo>
                      <a:pt x="330" y="38"/>
                    </a:lnTo>
                    <a:lnTo>
                      <a:pt x="299" y="39"/>
                    </a:lnTo>
                    <a:lnTo>
                      <a:pt x="270" y="45"/>
                    </a:lnTo>
                    <a:lnTo>
                      <a:pt x="242" y="51"/>
                    </a:lnTo>
                    <a:lnTo>
                      <a:pt x="215" y="61"/>
                    </a:lnTo>
                    <a:lnTo>
                      <a:pt x="190" y="73"/>
                    </a:lnTo>
                    <a:lnTo>
                      <a:pt x="166" y="88"/>
                    </a:lnTo>
                    <a:lnTo>
                      <a:pt x="144" y="105"/>
                    </a:lnTo>
                    <a:lnTo>
                      <a:pt x="123" y="124"/>
                    </a:lnTo>
                    <a:lnTo>
                      <a:pt x="104" y="144"/>
                    </a:lnTo>
                    <a:lnTo>
                      <a:pt x="88" y="167"/>
                    </a:lnTo>
                    <a:lnTo>
                      <a:pt x="73" y="191"/>
                    </a:lnTo>
                    <a:lnTo>
                      <a:pt x="61" y="216"/>
                    </a:lnTo>
                    <a:lnTo>
                      <a:pt x="52" y="243"/>
                    </a:lnTo>
                    <a:lnTo>
                      <a:pt x="43" y="270"/>
                    </a:lnTo>
                    <a:lnTo>
                      <a:pt x="39" y="300"/>
                    </a:lnTo>
                    <a:lnTo>
                      <a:pt x="38" y="329"/>
                    </a:lnTo>
                    <a:lnTo>
                      <a:pt x="38" y="329"/>
                    </a:lnTo>
                    <a:lnTo>
                      <a:pt x="39" y="359"/>
                    </a:lnTo>
                    <a:lnTo>
                      <a:pt x="43" y="388"/>
                    </a:lnTo>
                    <a:lnTo>
                      <a:pt x="52" y="415"/>
                    </a:lnTo>
                    <a:lnTo>
                      <a:pt x="61" y="442"/>
                    </a:lnTo>
                    <a:lnTo>
                      <a:pt x="73" y="468"/>
                    </a:lnTo>
                    <a:lnTo>
                      <a:pt x="88" y="492"/>
                    </a:lnTo>
                    <a:lnTo>
                      <a:pt x="104" y="515"/>
                    </a:lnTo>
                    <a:lnTo>
                      <a:pt x="123" y="535"/>
                    </a:lnTo>
                    <a:lnTo>
                      <a:pt x="144" y="554"/>
                    </a:lnTo>
                    <a:lnTo>
                      <a:pt x="166" y="571"/>
                    </a:lnTo>
                    <a:lnTo>
                      <a:pt x="190" y="585"/>
                    </a:lnTo>
                    <a:lnTo>
                      <a:pt x="215" y="598"/>
                    </a:lnTo>
                    <a:lnTo>
                      <a:pt x="242" y="607"/>
                    </a:lnTo>
                    <a:lnTo>
                      <a:pt x="270" y="614"/>
                    </a:lnTo>
                    <a:lnTo>
                      <a:pt x="299" y="619"/>
                    </a:lnTo>
                    <a:lnTo>
                      <a:pt x="330" y="621"/>
                    </a:lnTo>
                    <a:lnTo>
                      <a:pt x="330" y="621"/>
                    </a:lnTo>
                    <a:lnTo>
                      <a:pt x="359" y="619"/>
                    </a:lnTo>
                    <a:lnTo>
                      <a:pt x="387" y="614"/>
                    </a:lnTo>
                    <a:lnTo>
                      <a:pt x="416" y="607"/>
                    </a:lnTo>
                    <a:lnTo>
                      <a:pt x="442" y="598"/>
                    </a:lnTo>
                    <a:lnTo>
                      <a:pt x="468" y="585"/>
                    </a:lnTo>
                    <a:lnTo>
                      <a:pt x="492" y="571"/>
                    </a:lnTo>
                    <a:lnTo>
                      <a:pt x="514" y="554"/>
                    </a:lnTo>
                    <a:lnTo>
                      <a:pt x="535" y="535"/>
                    </a:lnTo>
                    <a:lnTo>
                      <a:pt x="554" y="515"/>
                    </a:lnTo>
                    <a:lnTo>
                      <a:pt x="570" y="492"/>
                    </a:lnTo>
                    <a:lnTo>
                      <a:pt x="585" y="468"/>
                    </a:lnTo>
                    <a:lnTo>
                      <a:pt x="597" y="442"/>
                    </a:lnTo>
                    <a:lnTo>
                      <a:pt x="608" y="415"/>
                    </a:lnTo>
                    <a:lnTo>
                      <a:pt x="614" y="388"/>
                    </a:lnTo>
                    <a:lnTo>
                      <a:pt x="618" y="359"/>
                    </a:lnTo>
                    <a:lnTo>
                      <a:pt x="620" y="329"/>
                    </a:lnTo>
                    <a:lnTo>
                      <a:pt x="620" y="329"/>
                    </a:lnTo>
                    <a:lnTo>
                      <a:pt x="618" y="300"/>
                    </a:lnTo>
                    <a:lnTo>
                      <a:pt x="614" y="270"/>
                    </a:lnTo>
                    <a:lnTo>
                      <a:pt x="608" y="243"/>
                    </a:lnTo>
                    <a:lnTo>
                      <a:pt x="597" y="216"/>
                    </a:lnTo>
                    <a:lnTo>
                      <a:pt x="585" y="191"/>
                    </a:lnTo>
                    <a:lnTo>
                      <a:pt x="570" y="167"/>
                    </a:lnTo>
                    <a:lnTo>
                      <a:pt x="554" y="144"/>
                    </a:lnTo>
                    <a:lnTo>
                      <a:pt x="535" y="124"/>
                    </a:lnTo>
                    <a:lnTo>
                      <a:pt x="514" y="105"/>
                    </a:lnTo>
                    <a:lnTo>
                      <a:pt x="492" y="88"/>
                    </a:lnTo>
                    <a:lnTo>
                      <a:pt x="468" y="73"/>
                    </a:lnTo>
                    <a:lnTo>
                      <a:pt x="442" y="61"/>
                    </a:lnTo>
                    <a:lnTo>
                      <a:pt x="416" y="51"/>
                    </a:lnTo>
                    <a:lnTo>
                      <a:pt x="387" y="45"/>
                    </a:lnTo>
                    <a:lnTo>
                      <a:pt x="359" y="39"/>
                    </a:lnTo>
                    <a:lnTo>
                      <a:pt x="330" y="38"/>
                    </a:lnTo>
                    <a:lnTo>
                      <a:pt x="330" y="38"/>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85" name="Freeform 315">
                <a:extLst>
                  <a:ext uri="{FF2B5EF4-FFF2-40B4-BE49-F238E27FC236}">
                    <a16:creationId xmlns:a16="http://schemas.microsoft.com/office/drawing/2014/main" id="{32C7E012-B8A6-42CD-8439-42C80D245BFE}"/>
                  </a:ext>
                </a:extLst>
              </p:cNvPr>
              <p:cNvSpPr>
                <a:spLocks/>
              </p:cNvSpPr>
              <p:nvPr/>
            </p:nvSpPr>
            <p:spPr bwMode="auto">
              <a:xfrm>
                <a:off x="9499601" y="5183188"/>
                <a:ext cx="161925" cy="82550"/>
              </a:xfrm>
              <a:custGeom>
                <a:avLst/>
                <a:gdLst>
                  <a:gd name="T0" fmla="*/ 59 w 204"/>
                  <a:gd name="T1" fmla="*/ 0 h 103"/>
                  <a:gd name="T2" fmla="*/ 0 w 204"/>
                  <a:gd name="T3" fmla="*/ 29 h 103"/>
                  <a:gd name="T4" fmla="*/ 147 w 204"/>
                  <a:gd name="T5" fmla="*/ 103 h 103"/>
                  <a:gd name="T6" fmla="*/ 204 w 204"/>
                  <a:gd name="T7" fmla="*/ 75 h 103"/>
                  <a:gd name="T8" fmla="*/ 59 w 204"/>
                  <a:gd name="T9" fmla="*/ 0 h 103"/>
                </a:gdLst>
                <a:ahLst/>
                <a:cxnLst>
                  <a:cxn ang="0">
                    <a:pos x="T0" y="T1"/>
                  </a:cxn>
                  <a:cxn ang="0">
                    <a:pos x="T2" y="T3"/>
                  </a:cxn>
                  <a:cxn ang="0">
                    <a:pos x="T4" y="T5"/>
                  </a:cxn>
                  <a:cxn ang="0">
                    <a:pos x="T6" y="T7"/>
                  </a:cxn>
                  <a:cxn ang="0">
                    <a:pos x="T8" y="T9"/>
                  </a:cxn>
                </a:cxnLst>
                <a:rect l="0" t="0" r="r" b="b"/>
                <a:pathLst>
                  <a:path w="204" h="103">
                    <a:moveTo>
                      <a:pt x="59" y="0"/>
                    </a:moveTo>
                    <a:lnTo>
                      <a:pt x="0" y="29"/>
                    </a:lnTo>
                    <a:lnTo>
                      <a:pt x="147" y="103"/>
                    </a:lnTo>
                    <a:lnTo>
                      <a:pt x="204" y="75"/>
                    </a:lnTo>
                    <a:lnTo>
                      <a:pt x="5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86" name="Freeform 316">
                <a:extLst>
                  <a:ext uri="{FF2B5EF4-FFF2-40B4-BE49-F238E27FC236}">
                    <a16:creationId xmlns:a16="http://schemas.microsoft.com/office/drawing/2014/main" id="{649DA5AC-32E7-492C-BABD-E57D56576EEC}"/>
                  </a:ext>
                </a:extLst>
              </p:cNvPr>
              <p:cNvSpPr>
                <a:spLocks/>
              </p:cNvSpPr>
              <p:nvPr/>
            </p:nvSpPr>
            <p:spPr bwMode="auto">
              <a:xfrm>
                <a:off x="9556751" y="5154613"/>
                <a:ext cx="165100" cy="82550"/>
              </a:xfrm>
              <a:custGeom>
                <a:avLst/>
                <a:gdLst>
                  <a:gd name="T0" fmla="*/ 208 w 208"/>
                  <a:gd name="T1" fmla="*/ 73 h 105"/>
                  <a:gd name="T2" fmla="*/ 62 w 208"/>
                  <a:gd name="T3" fmla="*/ 0 h 105"/>
                  <a:gd name="T4" fmla="*/ 62 w 208"/>
                  <a:gd name="T5" fmla="*/ 0 h 105"/>
                  <a:gd name="T6" fmla="*/ 58 w 208"/>
                  <a:gd name="T7" fmla="*/ 0 h 105"/>
                  <a:gd name="T8" fmla="*/ 0 w 208"/>
                  <a:gd name="T9" fmla="*/ 30 h 105"/>
                  <a:gd name="T10" fmla="*/ 145 w 208"/>
                  <a:gd name="T11" fmla="*/ 105 h 105"/>
                  <a:gd name="T12" fmla="*/ 208 w 208"/>
                  <a:gd name="T13" fmla="*/ 73 h 105"/>
                </a:gdLst>
                <a:ahLst/>
                <a:cxnLst>
                  <a:cxn ang="0">
                    <a:pos x="T0" y="T1"/>
                  </a:cxn>
                  <a:cxn ang="0">
                    <a:pos x="T2" y="T3"/>
                  </a:cxn>
                  <a:cxn ang="0">
                    <a:pos x="T4" y="T5"/>
                  </a:cxn>
                  <a:cxn ang="0">
                    <a:pos x="T6" y="T7"/>
                  </a:cxn>
                  <a:cxn ang="0">
                    <a:pos x="T8" y="T9"/>
                  </a:cxn>
                  <a:cxn ang="0">
                    <a:pos x="T10" y="T11"/>
                  </a:cxn>
                  <a:cxn ang="0">
                    <a:pos x="T12" y="T13"/>
                  </a:cxn>
                </a:cxnLst>
                <a:rect l="0" t="0" r="r" b="b"/>
                <a:pathLst>
                  <a:path w="208" h="105">
                    <a:moveTo>
                      <a:pt x="208" y="73"/>
                    </a:moveTo>
                    <a:lnTo>
                      <a:pt x="62" y="0"/>
                    </a:lnTo>
                    <a:lnTo>
                      <a:pt x="62" y="0"/>
                    </a:lnTo>
                    <a:lnTo>
                      <a:pt x="58" y="0"/>
                    </a:lnTo>
                    <a:lnTo>
                      <a:pt x="0" y="30"/>
                    </a:lnTo>
                    <a:lnTo>
                      <a:pt x="145" y="105"/>
                    </a:lnTo>
                    <a:lnTo>
                      <a:pt x="208" y="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87" name="Freeform 317">
                <a:extLst>
                  <a:ext uri="{FF2B5EF4-FFF2-40B4-BE49-F238E27FC236}">
                    <a16:creationId xmlns:a16="http://schemas.microsoft.com/office/drawing/2014/main" id="{D78E6422-3E17-4571-A64F-B39C793A81DB}"/>
                  </a:ext>
                </a:extLst>
              </p:cNvPr>
              <p:cNvSpPr>
                <a:spLocks/>
              </p:cNvSpPr>
              <p:nvPr/>
            </p:nvSpPr>
            <p:spPr bwMode="auto">
              <a:xfrm>
                <a:off x="9625013" y="5222875"/>
                <a:ext cx="103188" cy="149225"/>
              </a:xfrm>
              <a:custGeom>
                <a:avLst/>
                <a:gdLst>
                  <a:gd name="T0" fmla="*/ 64 w 130"/>
                  <a:gd name="T1" fmla="*/ 32 h 186"/>
                  <a:gd name="T2" fmla="*/ 64 w 130"/>
                  <a:gd name="T3" fmla="*/ 32 h 186"/>
                  <a:gd name="T4" fmla="*/ 63 w 130"/>
                  <a:gd name="T5" fmla="*/ 33 h 186"/>
                  <a:gd name="T6" fmla="*/ 0 w 130"/>
                  <a:gd name="T7" fmla="*/ 65 h 186"/>
                  <a:gd name="T8" fmla="*/ 0 w 130"/>
                  <a:gd name="T9" fmla="*/ 186 h 186"/>
                  <a:gd name="T10" fmla="*/ 128 w 130"/>
                  <a:gd name="T11" fmla="*/ 122 h 186"/>
                  <a:gd name="T12" fmla="*/ 128 w 130"/>
                  <a:gd name="T13" fmla="*/ 122 h 186"/>
                  <a:gd name="T14" fmla="*/ 129 w 130"/>
                  <a:gd name="T15" fmla="*/ 121 h 186"/>
                  <a:gd name="T16" fmla="*/ 130 w 130"/>
                  <a:gd name="T17" fmla="*/ 118 h 186"/>
                  <a:gd name="T18" fmla="*/ 130 w 130"/>
                  <a:gd name="T19" fmla="*/ 0 h 186"/>
                  <a:gd name="T20" fmla="*/ 64 w 130"/>
                  <a:gd name="T21" fmla="*/ 3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0" h="186">
                    <a:moveTo>
                      <a:pt x="64" y="32"/>
                    </a:moveTo>
                    <a:lnTo>
                      <a:pt x="64" y="32"/>
                    </a:lnTo>
                    <a:lnTo>
                      <a:pt x="63" y="33"/>
                    </a:lnTo>
                    <a:lnTo>
                      <a:pt x="0" y="65"/>
                    </a:lnTo>
                    <a:lnTo>
                      <a:pt x="0" y="186"/>
                    </a:lnTo>
                    <a:lnTo>
                      <a:pt x="128" y="122"/>
                    </a:lnTo>
                    <a:lnTo>
                      <a:pt x="128" y="122"/>
                    </a:lnTo>
                    <a:lnTo>
                      <a:pt x="129" y="121"/>
                    </a:lnTo>
                    <a:lnTo>
                      <a:pt x="130" y="118"/>
                    </a:lnTo>
                    <a:lnTo>
                      <a:pt x="130" y="0"/>
                    </a:lnTo>
                    <a:lnTo>
                      <a:pt x="64"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88" name="Freeform 318">
                <a:extLst>
                  <a:ext uri="{FF2B5EF4-FFF2-40B4-BE49-F238E27FC236}">
                    <a16:creationId xmlns:a16="http://schemas.microsoft.com/office/drawing/2014/main" id="{B47695CB-D6F8-4388-8328-AC0AD5E2ADB6}"/>
                  </a:ext>
                </a:extLst>
              </p:cNvPr>
              <p:cNvSpPr>
                <a:spLocks noEditPoints="1"/>
              </p:cNvSpPr>
              <p:nvPr/>
            </p:nvSpPr>
            <p:spPr bwMode="auto">
              <a:xfrm>
                <a:off x="9493251" y="5216525"/>
                <a:ext cx="117475" cy="153988"/>
              </a:xfrm>
              <a:custGeom>
                <a:avLst/>
                <a:gdLst>
                  <a:gd name="T0" fmla="*/ 0 w 150"/>
                  <a:gd name="T1" fmla="*/ 118 h 195"/>
                  <a:gd name="T2" fmla="*/ 0 w 150"/>
                  <a:gd name="T3" fmla="*/ 118 h 195"/>
                  <a:gd name="T4" fmla="*/ 2 w 150"/>
                  <a:gd name="T5" fmla="*/ 121 h 195"/>
                  <a:gd name="T6" fmla="*/ 4 w 150"/>
                  <a:gd name="T7" fmla="*/ 122 h 195"/>
                  <a:gd name="T8" fmla="*/ 150 w 150"/>
                  <a:gd name="T9" fmla="*/ 195 h 195"/>
                  <a:gd name="T10" fmla="*/ 150 w 150"/>
                  <a:gd name="T11" fmla="*/ 74 h 195"/>
                  <a:gd name="T12" fmla="*/ 0 w 150"/>
                  <a:gd name="T13" fmla="*/ 0 h 195"/>
                  <a:gd name="T14" fmla="*/ 0 w 150"/>
                  <a:gd name="T15" fmla="*/ 118 h 195"/>
                  <a:gd name="T16" fmla="*/ 43 w 150"/>
                  <a:gd name="T17" fmla="*/ 65 h 195"/>
                  <a:gd name="T18" fmla="*/ 43 w 150"/>
                  <a:gd name="T19" fmla="*/ 65 h 195"/>
                  <a:gd name="T20" fmla="*/ 43 w 150"/>
                  <a:gd name="T21" fmla="*/ 63 h 195"/>
                  <a:gd name="T22" fmla="*/ 45 w 150"/>
                  <a:gd name="T23" fmla="*/ 61 h 195"/>
                  <a:gd name="T24" fmla="*/ 47 w 150"/>
                  <a:gd name="T25" fmla="*/ 61 h 195"/>
                  <a:gd name="T26" fmla="*/ 49 w 150"/>
                  <a:gd name="T27" fmla="*/ 61 h 195"/>
                  <a:gd name="T28" fmla="*/ 115 w 150"/>
                  <a:gd name="T29" fmla="*/ 93 h 195"/>
                  <a:gd name="T30" fmla="*/ 115 w 150"/>
                  <a:gd name="T31" fmla="*/ 93 h 195"/>
                  <a:gd name="T32" fmla="*/ 116 w 150"/>
                  <a:gd name="T33" fmla="*/ 96 h 195"/>
                  <a:gd name="T34" fmla="*/ 117 w 150"/>
                  <a:gd name="T35" fmla="*/ 97 h 195"/>
                  <a:gd name="T36" fmla="*/ 117 w 150"/>
                  <a:gd name="T37" fmla="*/ 125 h 195"/>
                  <a:gd name="T38" fmla="*/ 117 w 150"/>
                  <a:gd name="T39" fmla="*/ 125 h 195"/>
                  <a:gd name="T40" fmla="*/ 117 w 150"/>
                  <a:gd name="T41" fmla="*/ 128 h 195"/>
                  <a:gd name="T42" fmla="*/ 115 w 150"/>
                  <a:gd name="T43" fmla="*/ 129 h 195"/>
                  <a:gd name="T44" fmla="*/ 113 w 150"/>
                  <a:gd name="T45" fmla="*/ 129 h 195"/>
                  <a:gd name="T46" fmla="*/ 111 w 150"/>
                  <a:gd name="T47" fmla="*/ 129 h 195"/>
                  <a:gd name="T48" fmla="*/ 46 w 150"/>
                  <a:gd name="T49" fmla="*/ 97 h 195"/>
                  <a:gd name="T50" fmla="*/ 46 w 150"/>
                  <a:gd name="T51" fmla="*/ 97 h 195"/>
                  <a:gd name="T52" fmla="*/ 43 w 150"/>
                  <a:gd name="T53" fmla="*/ 94 h 195"/>
                  <a:gd name="T54" fmla="*/ 43 w 150"/>
                  <a:gd name="T55" fmla="*/ 93 h 195"/>
                  <a:gd name="T56" fmla="*/ 43 w 150"/>
                  <a:gd name="T57" fmla="*/ 6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0" h="195">
                    <a:moveTo>
                      <a:pt x="0" y="118"/>
                    </a:moveTo>
                    <a:lnTo>
                      <a:pt x="0" y="118"/>
                    </a:lnTo>
                    <a:lnTo>
                      <a:pt x="2" y="121"/>
                    </a:lnTo>
                    <a:lnTo>
                      <a:pt x="4" y="122"/>
                    </a:lnTo>
                    <a:lnTo>
                      <a:pt x="150" y="195"/>
                    </a:lnTo>
                    <a:lnTo>
                      <a:pt x="150" y="74"/>
                    </a:lnTo>
                    <a:lnTo>
                      <a:pt x="0" y="0"/>
                    </a:lnTo>
                    <a:lnTo>
                      <a:pt x="0" y="118"/>
                    </a:lnTo>
                    <a:close/>
                    <a:moveTo>
                      <a:pt x="43" y="65"/>
                    </a:moveTo>
                    <a:lnTo>
                      <a:pt x="43" y="65"/>
                    </a:lnTo>
                    <a:lnTo>
                      <a:pt x="43" y="63"/>
                    </a:lnTo>
                    <a:lnTo>
                      <a:pt x="45" y="61"/>
                    </a:lnTo>
                    <a:lnTo>
                      <a:pt x="47" y="61"/>
                    </a:lnTo>
                    <a:lnTo>
                      <a:pt x="49" y="61"/>
                    </a:lnTo>
                    <a:lnTo>
                      <a:pt x="115" y="93"/>
                    </a:lnTo>
                    <a:lnTo>
                      <a:pt x="115" y="93"/>
                    </a:lnTo>
                    <a:lnTo>
                      <a:pt x="116" y="96"/>
                    </a:lnTo>
                    <a:lnTo>
                      <a:pt x="117" y="97"/>
                    </a:lnTo>
                    <a:lnTo>
                      <a:pt x="117" y="125"/>
                    </a:lnTo>
                    <a:lnTo>
                      <a:pt x="117" y="125"/>
                    </a:lnTo>
                    <a:lnTo>
                      <a:pt x="117" y="128"/>
                    </a:lnTo>
                    <a:lnTo>
                      <a:pt x="115" y="129"/>
                    </a:lnTo>
                    <a:lnTo>
                      <a:pt x="113" y="129"/>
                    </a:lnTo>
                    <a:lnTo>
                      <a:pt x="111" y="129"/>
                    </a:lnTo>
                    <a:lnTo>
                      <a:pt x="46" y="97"/>
                    </a:lnTo>
                    <a:lnTo>
                      <a:pt x="46" y="97"/>
                    </a:lnTo>
                    <a:lnTo>
                      <a:pt x="43" y="94"/>
                    </a:lnTo>
                    <a:lnTo>
                      <a:pt x="43" y="93"/>
                    </a:lnTo>
                    <a:lnTo>
                      <a:pt x="43"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grpSp>
        <p:nvGrpSpPr>
          <p:cNvPr id="89" name="Group 88">
            <a:extLst>
              <a:ext uri="{FF2B5EF4-FFF2-40B4-BE49-F238E27FC236}">
                <a16:creationId xmlns:a16="http://schemas.microsoft.com/office/drawing/2014/main" id="{7609C094-6CD3-4A8D-AED8-4C45083B7141}"/>
              </a:ext>
            </a:extLst>
          </p:cNvPr>
          <p:cNvGrpSpPr/>
          <p:nvPr/>
        </p:nvGrpSpPr>
        <p:grpSpPr>
          <a:xfrm>
            <a:off x="4945945" y="1806696"/>
            <a:ext cx="532736" cy="532736"/>
            <a:chOff x="7633869" y="3672765"/>
            <a:chExt cx="502920" cy="502920"/>
          </a:xfrm>
        </p:grpSpPr>
        <p:sp>
          <p:nvSpPr>
            <p:cNvPr id="90" name="Oval 89">
              <a:extLst>
                <a:ext uri="{FF2B5EF4-FFF2-40B4-BE49-F238E27FC236}">
                  <a16:creationId xmlns:a16="http://schemas.microsoft.com/office/drawing/2014/main" id="{B6268D87-3289-4E0F-89AE-93EC958BEBBF}"/>
                </a:ext>
              </a:extLst>
            </p:cNvPr>
            <p:cNvSpPr/>
            <p:nvPr/>
          </p:nvSpPr>
          <p:spPr>
            <a:xfrm>
              <a:off x="7633869" y="3672765"/>
              <a:ext cx="502920" cy="5029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ea typeface="+mn-ea"/>
                <a:cs typeface="+mn-cs"/>
              </a:endParaRPr>
            </a:p>
          </p:txBody>
        </p:sp>
        <p:grpSp>
          <p:nvGrpSpPr>
            <p:cNvPr id="91" name="Group 90">
              <a:extLst>
                <a:ext uri="{FF2B5EF4-FFF2-40B4-BE49-F238E27FC236}">
                  <a16:creationId xmlns:a16="http://schemas.microsoft.com/office/drawing/2014/main" id="{43B79CFA-1133-47C1-A90D-365DAC61AB30}"/>
                </a:ext>
              </a:extLst>
            </p:cNvPr>
            <p:cNvGrpSpPr>
              <a:grpSpLocks noChangeAspect="1"/>
            </p:cNvGrpSpPr>
            <p:nvPr/>
          </p:nvGrpSpPr>
          <p:grpSpPr>
            <a:xfrm>
              <a:off x="7640562" y="3690538"/>
              <a:ext cx="489534" cy="467374"/>
              <a:chOff x="10234613" y="824548"/>
              <a:chExt cx="523875" cy="523875"/>
            </a:xfrm>
          </p:grpSpPr>
          <p:sp>
            <p:nvSpPr>
              <p:cNvPr id="92" name="Freeform 16">
                <a:extLst>
                  <a:ext uri="{FF2B5EF4-FFF2-40B4-BE49-F238E27FC236}">
                    <a16:creationId xmlns:a16="http://schemas.microsoft.com/office/drawing/2014/main" id="{7A3266E3-8997-43A0-BF5C-EECEA1106C0F}"/>
                  </a:ext>
                </a:extLst>
              </p:cNvPr>
              <p:cNvSpPr>
                <a:spLocks noEditPoints="1"/>
              </p:cNvSpPr>
              <p:nvPr/>
            </p:nvSpPr>
            <p:spPr bwMode="auto">
              <a:xfrm>
                <a:off x="10234613" y="824548"/>
                <a:ext cx="523875" cy="523875"/>
              </a:xfrm>
              <a:custGeom>
                <a:avLst/>
                <a:gdLst>
                  <a:gd name="T0" fmla="*/ 311 w 658"/>
                  <a:gd name="T1" fmla="*/ 657 h 658"/>
                  <a:gd name="T2" fmla="*/ 262 w 658"/>
                  <a:gd name="T3" fmla="*/ 652 h 658"/>
                  <a:gd name="T4" fmla="*/ 201 w 658"/>
                  <a:gd name="T5" fmla="*/ 631 h 658"/>
                  <a:gd name="T6" fmla="*/ 119 w 658"/>
                  <a:gd name="T7" fmla="*/ 583 h 658"/>
                  <a:gd name="T8" fmla="*/ 56 w 658"/>
                  <a:gd name="T9" fmla="*/ 513 h 658"/>
                  <a:gd name="T10" fmla="*/ 14 w 658"/>
                  <a:gd name="T11" fmla="*/ 427 h 658"/>
                  <a:gd name="T12" fmla="*/ 4 w 658"/>
                  <a:gd name="T13" fmla="*/ 379 h 658"/>
                  <a:gd name="T14" fmla="*/ 0 w 658"/>
                  <a:gd name="T15" fmla="*/ 329 h 658"/>
                  <a:gd name="T16" fmla="*/ 1 w 658"/>
                  <a:gd name="T17" fmla="*/ 295 h 658"/>
                  <a:gd name="T18" fmla="*/ 10 w 658"/>
                  <a:gd name="T19" fmla="*/ 247 h 658"/>
                  <a:gd name="T20" fmla="*/ 40 w 658"/>
                  <a:gd name="T21" fmla="*/ 172 h 658"/>
                  <a:gd name="T22" fmla="*/ 96 w 658"/>
                  <a:gd name="T23" fmla="*/ 96 h 658"/>
                  <a:gd name="T24" fmla="*/ 172 w 658"/>
                  <a:gd name="T25" fmla="*/ 40 h 658"/>
                  <a:gd name="T26" fmla="*/ 247 w 658"/>
                  <a:gd name="T27" fmla="*/ 10 h 658"/>
                  <a:gd name="T28" fmla="*/ 295 w 658"/>
                  <a:gd name="T29" fmla="*/ 1 h 658"/>
                  <a:gd name="T30" fmla="*/ 329 w 658"/>
                  <a:gd name="T31" fmla="*/ 0 h 658"/>
                  <a:gd name="T32" fmla="*/ 379 w 658"/>
                  <a:gd name="T33" fmla="*/ 4 h 658"/>
                  <a:gd name="T34" fmla="*/ 426 w 658"/>
                  <a:gd name="T35" fmla="*/ 14 h 658"/>
                  <a:gd name="T36" fmla="*/ 513 w 658"/>
                  <a:gd name="T37" fmla="*/ 56 h 658"/>
                  <a:gd name="T38" fmla="*/ 583 w 658"/>
                  <a:gd name="T39" fmla="*/ 119 h 658"/>
                  <a:gd name="T40" fmla="*/ 631 w 658"/>
                  <a:gd name="T41" fmla="*/ 201 h 658"/>
                  <a:gd name="T42" fmla="*/ 651 w 658"/>
                  <a:gd name="T43" fmla="*/ 263 h 658"/>
                  <a:gd name="T44" fmla="*/ 657 w 658"/>
                  <a:gd name="T45" fmla="*/ 312 h 658"/>
                  <a:gd name="T46" fmla="*/ 657 w 658"/>
                  <a:gd name="T47" fmla="*/ 345 h 658"/>
                  <a:gd name="T48" fmla="*/ 651 w 658"/>
                  <a:gd name="T49" fmla="*/ 395 h 658"/>
                  <a:gd name="T50" fmla="*/ 631 w 658"/>
                  <a:gd name="T51" fmla="*/ 457 h 658"/>
                  <a:gd name="T52" fmla="*/ 583 w 658"/>
                  <a:gd name="T53" fmla="*/ 537 h 658"/>
                  <a:gd name="T54" fmla="*/ 513 w 658"/>
                  <a:gd name="T55" fmla="*/ 602 h 658"/>
                  <a:gd name="T56" fmla="*/ 426 w 658"/>
                  <a:gd name="T57" fmla="*/ 644 h 658"/>
                  <a:gd name="T58" fmla="*/ 379 w 658"/>
                  <a:gd name="T59" fmla="*/ 654 h 658"/>
                  <a:gd name="T60" fmla="*/ 329 w 658"/>
                  <a:gd name="T61" fmla="*/ 658 h 658"/>
                  <a:gd name="T62" fmla="*/ 329 w 658"/>
                  <a:gd name="T63" fmla="*/ 37 h 658"/>
                  <a:gd name="T64" fmla="*/ 242 w 658"/>
                  <a:gd name="T65" fmla="*/ 51 h 658"/>
                  <a:gd name="T66" fmla="*/ 166 w 658"/>
                  <a:gd name="T67" fmla="*/ 87 h 658"/>
                  <a:gd name="T68" fmla="*/ 104 w 658"/>
                  <a:gd name="T69" fmla="*/ 144 h 658"/>
                  <a:gd name="T70" fmla="*/ 60 w 658"/>
                  <a:gd name="T71" fmla="*/ 216 h 658"/>
                  <a:gd name="T72" fmla="*/ 39 w 658"/>
                  <a:gd name="T73" fmla="*/ 299 h 658"/>
                  <a:gd name="T74" fmla="*/ 39 w 658"/>
                  <a:gd name="T75" fmla="*/ 359 h 658"/>
                  <a:gd name="T76" fmla="*/ 60 w 658"/>
                  <a:gd name="T77" fmla="*/ 442 h 658"/>
                  <a:gd name="T78" fmla="*/ 104 w 658"/>
                  <a:gd name="T79" fmla="*/ 514 h 658"/>
                  <a:gd name="T80" fmla="*/ 166 w 658"/>
                  <a:gd name="T81" fmla="*/ 571 h 658"/>
                  <a:gd name="T82" fmla="*/ 242 w 658"/>
                  <a:gd name="T83" fmla="*/ 607 h 658"/>
                  <a:gd name="T84" fmla="*/ 329 w 658"/>
                  <a:gd name="T85" fmla="*/ 621 h 658"/>
                  <a:gd name="T86" fmla="*/ 387 w 658"/>
                  <a:gd name="T87" fmla="*/ 614 h 658"/>
                  <a:gd name="T88" fmla="*/ 467 w 658"/>
                  <a:gd name="T89" fmla="*/ 584 h 658"/>
                  <a:gd name="T90" fmla="*/ 535 w 658"/>
                  <a:gd name="T91" fmla="*/ 535 h 658"/>
                  <a:gd name="T92" fmla="*/ 584 w 658"/>
                  <a:gd name="T93" fmla="*/ 467 h 658"/>
                  <a:gd name="T94" fmla="*/ 614 w 658"/>
                  <a:gd name="T95" fmla="*/ 388 h 658"/>
                  <a:gd name="T96" fmla="*/ 621 w 658"/>
                  <a:gd name="T97" fmla="*/ 329 h 658"/>
                  <a:gd name="T98" fmla="*/ 607 w 658"/>
                  <a:gd name="T99" fmla="*/ 242 h 658"/>
                  <a:gd name="T100" fmla="*/ 570 w 658"/>
                  <a:gd name="T101" fmla="*/ 166 h 658"/>
                  <a:gd name="T102" fmla="*/ 514 w 658"/>
                  <a:gd name="T103" fmla="*/ 105 h 658"/>
                  <a:gd name="T104" fmla="*/ 442 w 658"/>
                  <a:gd name="T105" fmla="*/ 60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1" y="657"/>
                    </a:lnTo>
                    <a:lnTo>
                      <a:pt x="295" y="656"/>
                    </a:lnTo>
                    <a:lnTo>
                      <a:pt x="279" y="654"/>
                    </a:lnTo>
                    <a:lnTo>
                      <a:pt x="262" y="652"/>
                    </a:lnTo>
                    <a:lnTo>
                      <a:pt x="247" y="648"/>
                    </a:lnTo>
                    <a:lnTo>
                      <a:pt x="231" y="644"/>
                    </a:lnTo>
                    <a:lnTo>
                      <a:pt x="201" y="631"/>
                    </a:lnTo>
                    <a:lnTo>
                      <a:pt x="172" y="618"/>
                    </a:lnTo>
                    <a:lnTo>
                      <a:pt x="145" y="602"/>
                    </a:lnTo>
                    <a:lnTo>
                      <a:pt x="119" y="583"/>
                    </a:lnTo>
                    <a:lnTo>
                      <a:pt x="96" y="562"/>
                    </a:lnTo>
                    <a:lnTo>
                      <a:pt x="75" y="537"/>
                    </a:lnTo>
                    <a:lnTo>
                      <a:pt x="56" y="513"/>
                    </a:lnTo>
                    <a:lnTo>
                      <a:pt x="40" y="485"/>
                    </a:lnTo>
                    <a:lnTo>
                      <a:pt x="25" y="457"/>
                    </a:lnTo>
                    <a:lnTo>
                      <a:pt x="14" y="427"/>
                    </a:lnTo>
                    <a:lnTo>
                      <a:pt x="10" y="411"/>
                    </a:lnTo>
                    <a:lnTo>
                      <a:pt x="6" y="395"/>
                    </a:lnTo>
                    <a:lnTo>
                      <a:pt x="4" y="379"/>
                    </a:lnTo>
                    <a:lnTo>
                      <a:pt x="1" y="363"/>
                    </a:lnTo>
                    <a:lnTo>
                      <a:pt x="0" y="345"/>
                    </a:lnTo>
                    <a:lnTo>
                      <a:pt x="0" y="329"/>
                    </a:lnTo>
                    <a:lnTo>
                      <a:pt x="0" y="329"/>
                    </a:lnTo>
                    <a:lnTo>
                      <a:pt x="0" y="312"/>
                    </a:lnTo>
                    <a:lnTo>
                      <a:pt x="1" y="295"/>
                    </a:lnTo>
                    <a:lnTo>
                      <a:pt x="4" y="279"/>
                    </a:lnTo>
                    <a:lnTo>
                      <a:pt x="6" y="263"/>
                    </a:lnTo>
                    <a:lnTo>
                      <a:pt x="10" y="247"/>
                    </a:lnTo>
                    <a:lnTo>
                      <a:pt x="14" y="231"/>
                    </a:lnTo>
                    <a:lnTo>
                      <a:pt x="25" y="201"/>
                    </a:lnTo>
                    <a:lnTo>
                      <a:pt x="40" y="172"/>
                    </a:lnTo>
                    <a:lnTo>
                      <a:pt x="56" y="145"/>
                    </a:lnTo>
                    <a:lnTo>
                      <a:pt x="75" y="119"/>
                    </a:lnTo>
                    <a:lnTo>
                      <a:pt x="96" y="96"/>
                    </a:lnTo>
                    <a:lnTo>
                      <a:pt x="119" y="75"/>
                    </a:lnTo>
                    <a:lnTo>
                      <a:pt x="145" y="56"/>
                    </a:lnTo>
                    <a:lnTo>
                      <a:pt x="172" y="40"/>
                    </a:lnTo>
                    <a:lnTo>
                      <a:pt x="201" y="25"/>
                    </a:lnTo>
                    <a:lnTo>
                      <a:pt x="231" y="14"/>
                    </a:lnTo>
                    <a:lnTo>
                      <a:pt x="247" y="10"/>
                    </a:lnTo>
                    <a:lnTo>
                      <a:pt x="262" y="6"/>
                    </a:lnTo>
                    <a:lnTo>
                      <a:pt x="279" y="4"/>
                    </a:lnTo>
                    <a:lnTo>
                      <a:pt x="295" y="1"/>
                    </a:lnTo>
                    <a:lnTo>
                      <a:pt x="311" y="0"/>
                    </a:lnTo>
                    <a:lnTo>
                      <a:pt x="329" y="0"/>
                    </a:lnTo>
                    <a:lnTo>
                      <a:pt x="329" y="0"/>
                    </a:lnTo>
                    <a:lnTo>
                      <a:pt x="345" y="0"/>
                    </a:lnTo>
                    <a:lnTo>
                      <a:pt x="363" y="1"/>
                    </a:lnTo>
                    <a:lnTo>
                      <a:pt x="379" y="4"/>
                    </a:lnTo>
                    <a:lnTo>
                      <a:pt x="395" y="6"/>
                    </a:lnTo>
                    <a:lnTo>
                      <a:pt x="411" y="10"/>
                    </a:lnTo>
                    <a:lnTo>
                      <a:pt x="426" y="14"/>
                    </a:lnTo>
                    <a:lnTo>
                      <a:pt x="457" y="25"/>
                    </a:lnTo>
                    <a:lnTo>
                      <a:pt x="485" y="40"/>
                    </a:lnTo>
                    <a:lnTo>
                      <a:pt x="513" y="56"/>
                    </a:lnTo>
                    <a:lnTo>
                      <a:pt x="537" y="75"/>
                    </a:lnTo>
                    <a:lnTo>
                      <a:pt x="561" y="96"/>
                    </a:lnTo>
                    <a:lnTo>
                      <a:pt x="583" y="119"/>
                    </a:lnTo>
                    <a:lnTo>
                      <a:pt x="602" y="145"/>
                    </a:lnTo>
                    <a:lnTo>
                      <a:pt x="618" y="172"/>
                    </a:lnTo>
                    <a:lnTo>
                      <a:pt x="631" y="201"/>
                    </a:lnTo>
                    <a:lnTo>
                      <a:pt x="643" y="231"/>
                    </a:lnTo>
                    <a:lnTo>
                      <a:pt x="647" y="247"/>
                    </a:lnTo>
                    <a:lnTo>
                      <a:pt x="651" y="263"/>
                    </a:lnTo>
                    <a:lnTo>
                      <a:pt x="654" y="279"/>
                    </a:lnTo>
                    <a:lnTo>
                      <a:pt x="656" y="295"/>
                    </a:lnTo>
                    <a:lnTo>
                      <a:pt x="657" y="312"/>
                    </a:lnTo>
                    <a:lnTo>
                      <a:pt x="658" y="329"/>
                    </a:lnTo>
                    <a:lnTo>
                      <a:pt x="658" y="329"/>
                    </a:lnTo>
                    <a:lnTo>
                      <a:pt x="657" y="345"/>
                    </a:lnTo>
                    <a:lnTo>
                      <a:pt x="656" y="363"/>
                    </a:lnTo>
                    <a:lnTo>
                      <a:pt x="654" y="379"/>
                    </a:lnTo>
                    <a:lnTo>
                      <a:pt x="651" y="395"/>
                    </a:lnTo>
                    <a:lnTo>
                      <a:pt x="647" y="411"/>
                    </a:lnTo>
                    <a:lnTo>
                      <a:pt x="643" y="427"/>
                    </a:lnTo>
                    <a:lnTo>
                      <a:pt x="631" y="457"/>
                    </a:lnTo>
                    <a:lnTo>
                      <a:pt x="618" y="485"/>
                    </a:lnTo>
                    <a:lnTo>
                      <a:pt x="602" y="513"/>
                    </a:lnTo>
                    <a:lnTo>
                      <a:pt x="583" y="537"/>
                    </a:lnTo>
                    <a:lnTo>
                      <a:pt x="561" y="562"/>
                    </a:lnTo>
                    <a:lnTo>
                      <a:pt x="537" y="583"/>
                    </a:lnTo>
                    <a:lnTo>
                      <a:pt x="513" y="602"/>
                    </a:lnTo>
                    <a:lnTo>
                      <a:pt x="485" y="618"/>
                    </a:lnTo>
                    <a:lnTo>
                      <a:pt x="457" y="631"/>
                    </a:lnTo>
                    <a:lnTo>
                      <a:pt x="426" y="644"/>
                    </a:lnTo>
                    <a:lnTo>
                      <a:pt x="411" y="648"/>
                    </a:lnTo>
                    <a:lnTo>
                      <a:pt x="395" y="652"/>
                    </a:lnTo>
                    <a:lnTo>
                      <a:pt x="379" y="654"/>
                    </a:lnTo>
                    <a:lnTo>
                      <a:pt x="363" y="656"/>
                    </a:lnTo>
                    <a:lnTo>
                      <a:pt x="345" y="657"/>
                    </a:lnTo>
                    <a:lnTo>
                      <a:pt x="329" y="658"/>
                    </a:lnTo>
                    <a:lnTo>
                      <a:pt x="329" y="658"/>
                    </a:lnTo>
                    <a:close/>
                    <a:moveTo>
                      <a:pt x="329" y="37"/>
                    </a:moveTo>
                    <a:lnTo>
                      <a:pt x="329" y="37"/>
                    </a:lnTo>
                    <a:lnTo>
                      <a:pt x="299" y="39"/>
                    </a:lnTo>
                    <a:lnTo>
                      <a:pt x="270" y="44"/>
                    </a:lnTo>
                    <a:lnTo>
                      <a:pt x="242" y="51"/>
                    </a:lnTo>
                    <a:lnTo>
                      <a:pt x="215" y="60"/>
                    </a:lnTo>
                    <a:lnTo>
                      <a:pt x="191" y="72"/>
                    </a:lnTo>
                    <a:lnTo>
                      <a:pt x="166" y="87"/>
                    </a:lnTo>
                    <a:lnTo>
                      <a:pt x="143" y="105"/>
                    </a:lnTo>
                    <a:lnTo>
                      <a:pt x="123" y="123"/>
                    </a:lnTo>
                    <a:lnTo>
                      <a:pt x="104" y="144"/>
                    </a:lnTo>
                    <a:lnTo>
                      <a:pt x="87" y="166"/>
                    </a:lnTo>
                    <a:lnTo>
                      <a:pt x="72" y="191"/>
                    </a:lnTo>
                    <a:lnTo>
                      <a:pt x="60" y="216"/>
                    </a:lnTo>
                    <a:lnTo>
                      <a:pt x="51" y="242"/>
                    </a:lnTo>
                    <a:lnTo>
                      <a:pt x="43" y="270"/>
                    </a:lnTo>
                    <a:lnTo>
                      <a:pt x="39" y="299"/>
                    </a:lnTo>
                    <a:lnTo>
                      <a:pt x="37" y="329"/>
                    </a:lnTo>
                    <a:lnTo>
                      <a:pt x="37" y="329"/>
                    </a:lnTo>
                    <a:lnTo>
                      <a:pt x="39" y="359"/>
                    </a:lnTo>
                    <a:lnTo>
                      <a:pt x="43" y="388"/>
                    </a:lnTo>
                    <a:lnTo>
                      <a:pt x="51" y="415"/>
                    </a:lnTo>
                    <a:lnTo>
                      <a:pt x="60" y="442"/>
                    </a:lnTo>
                    <a:lnTo>
                      <a:pt x="72" y="467"/>
                    </a:lnTo>
                    <a:lnTo>
                      <a:pt x="87" y="492"/>
                    </a:lnTo>
                    <a:lnTo>
                      <a:pt x="104" y="514"/>
                    </a:lnTo>
                    <a:lnTo>
                      <a:pt x="123" y="535"/>
                    </a:lnTo>
                    <a:lnTo>
                      <a:pt x="143" y="553"/>
                    </a:lnTo>
                    <a:lnTo>
                      <a:pt x="166" y="571"/>
                    </a:lnTo>
                    <a:lnTo>
                      <a:pt x="191" y="584"/>
                    </a:lnTo>
                    <a:lnTo>
                      <a:pt x="215" y="598"/>
                    </a:lnTo>
                    <a:lnTo>
                      <a:pt x="242" y="607"/>
                    </a:lnTo>
                    <a:lnTo>
                      <a:pt x="270" y="614"/>
                    </a:lnTo>
                    <a:lnTo>
                      <a:pt x="299" y="619"/>
                    </a:lnTo>
                    <a:lnTo>
                      <a:pt x="329" y="621"/>
                    </a:lnTo>
                    <a:lnTo>
                      <a:pt x="329" y="621"/>
                    </a:lnTo>
                    <a:lnTo>
                      <a:pt x="359" y="619"/>
                    </a:lnTo>
                    <a:lnTo>
                      <a:pt x="387" y="614"/>
                    </a:lnTo>
                    <a:lnTo>
                      <a:pt x="415" y="607"/>
                    </a:lnTo>
                    <a:lnTo>
                      <a:pt x="442" y="598"/>
                    </a:lnTo>
                    <a:lnTo>
                      <a:pt x="467" y="584"/>
                    </a:lnTo>
                    <a:lnTo>
                      <a:pt x="492" y="571"/>
                    </a:lnTo>
                    <a:lnTo>
                      <a:pt x="514" y="553"/>
                    </a:lnTo>
                    <a:lnTo>
                      <a:pt x="535" y="535"/>
                    </a:lnTo>
                    <a:lnTo>
                      <a:pt x="553" y="514"/>
                    </a:lnTo>
                    <a:lnTo>
                      <a:pt x="570" y="492"/>
                    </a:lnTo>
                    <a:lnTo>
                      <a:pt x="584" y="467"/>
                    </a:lnTo>
                    <a:lnTo>
                      <a:pt x="596" y="442"/>
                    </a:lnTo>
                    <a:lnTo>
                      <a:pt x="607" y="415"/>
                    </a:lnTo>
                    <a:lnTo>
                      <a:pt x="614" y="388"/>
                    </a:lnTo>
                    <a:lnTo>
                      <a:pt x="618" y="359"/>
                    </a:lnTo>
                    <a:lnTo>
                      <a:pt x="621" y="329"/>
                    </a:lnTo>
                    <a:lnTo>
                      <a:pt x="621" y="329"/>
                    </a:lnTo>
                    <a:lnTo>
                      <a:pt x="618" y="299"/>
                    </a:lnTo>
                    <a:lnTo>
                      <a:pt x="614" y="270"/>
                    </a:lnTo>
                    <a:lnTo>
                      <a:pt x="607" y="242"/>
                    </a:lnTo>
                    <a:lnTo>
                      <a:pt x="596" y="216"/>
                    </a:lnTo>
                    <a:lnTo>
                      <a:pt x="584" y="191"/>
                    </a:lnTo>
                    <a:lnTo>
                      <a:pt x="570" y="166"/>
                    </a:lnTo>
                    <a:lnTo>
                      <a:pt x="553" y="144"/>
                    </a:lnTo>
                    <a:lnTo>
                      <a:pt x="535" y="123"/>
                    </a:lnTo>
                    <a:lnTo>
                      <a:pt x="514" y="105"/>
                    </a:lnTo>
                    <a:lnTo>
                      <a:pt x="492" y="87"/>
                    </a:lnTo>
                    <a:lnTo>
                      <a:pt x="467" y="72"/>
                    </a:lnTo>
                    <a:lnTo>
                      <a:pt x="442" y="60"/>
                    </a:lnTo>
                    <a:lnTo>
                      <a:pt x="415" y="51"/>
                    </a:lnTo>
                    <a:lnTo>
                      <a:pt x="387" y="44"/>
                    </a:lnTo>
                    <a:lnTo>
                      <a:pt x="359" y="39"/>
                    </a:lnTo>
                    <a:lnTo>
                      <a:pt x="329" y="37"/>
                    </a:lnTo>
                    <a:lnTo>
                      <a:pt x="329" y="37"/>
                    </a:lnTo>
                    <a:close/>
                  </a:path>
                </a:pathLst>
              </a:custGeom>
              <a:solidFill>
                <a:srgbClr val="787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93" name="Freeform 111">
                <a:extLst>
                  <a:ext uri="{FF2B5EF4-FFF2-40B4-BE49-F238E27FC236}">
                    <a16:creationId xmlns:a16="http://schemas.microsoft.com/office/drawing/2014/main" id="{1A787588-E182-485C-BCAE-981833F22350}"/>
                  </a:ext>
                </a:extLst>
              </p:cNvPr>
              <p:cNvSpPr>
                <a:spLocks/>
              </p:cNvSpPr>
              <p:nvPr/>
            </p:nvSpPr>
            <p:spPr bwMode="auto">
              <a:xfrm>
                <a:off x="10358438" y="948373"/>
                <a:ext cx="274638" cy="273050"/>
              </a:xfrm>
              <a:custGeom>
                <a:avLst/>
                <a:gdLst>
                  <a:gd name="T0" fmla="*/ 333 w 345"/>
                  <a:gd name="T1" fmla="*/ 20 h 342"/>
                  <a:gd name="T2" fmla="*/ 326 w 345"/>
                  <a:gd name="T3" fmla="*/ 25 h 342"/>
                  <a:gd name="T4" fmla="*/ 318 w 345"/>
                  <a:gd name="T5" fmla="*/ 82 h 342"/>
                  <a:gd name="T6" fmla="*/ 295 w 345"/>
                  <a:gd name="T7" fmla="*/ 52 h 342"/>
                  <a:gd name="T8" fmla="*/ 268 w 345"/>
                  <a:gd name="T9" fmla="*/ 29 h 342"/>
                  <a:gd name="T10" fmla="*/ 247 w 345"/>
                  <a:gd name="T11" fmla="*/ 16 h 342"/>
                  <a:gd name="T12" fmla="*/ 198 w 345"/>
                  <a:gd name="T13" fmla="*/ 1 h 342"/>
                  <a:gd name="T14" fmla="*/ 149 w 345"/>
                  <a:gd name="T15" fmla="*/ 1 h 342"/>
                  <a:gd name="T16" fmla="*/ 115 w 345"/>
                  <a:gd name="T17" fmla="*/ 9 h 342"/>
                  <a:gd name="T18" fmla="*/ 71 w 345"/>
                  <a:gd name="T19" fmla="*/ 32 h 342"/>
                  <a:gd name="T20" fmla="*/ 35 w 345"/>
                  <a:gd name="T21" fmla="*/ 67 h 342"/>
                  <a:gd name="T22" fmla="*/ 17 w 345"/>
                  <a:gd name="T23" fmla="*/ 96 h 342"/>
                  <a:gd name="T24" fmla="*/ 2 w 345"/>
                  <a:gd name="T25" fmla="*/ 145 h 342"/>
                  <a:gd name="T26" fmla="*/ 2 w 345"/>
                  <a:gd name="T27" fmla="*/ 194 h 342"/>
                  <a:gd name="T28" fmla="*/ 16 w 345"/>
                  <a:gd name="T29" fmla="*/ 243 h 342"/>
                  <a:gd name="T30" fmla="*/ 43 w 345"/>
                  <a:gd name="T31" fmla="*/ 285 h 342"/>
                  <a:gd name="T32" fmla="*/ 82 w 345"/>
                  <a:gd name="T33" fmla="*/ 317 h 342"/>
                  <a:gd name="T34" fmla="*/ 115 w 345"/>
                  <a:gd name="T35" fmla="*/ 333 h 342"/>
                  <a:gd name="T36" fmla="*/ 172 w 345"/>
                  <a:gd name="T37" fmla="*/ 342 h 342"/>
                  <a:gd name="T38" fmla="*/ 196 w 345"/>
                  <a:gd name="T39" fmla="*/ 341 h 342"/>
                  <a:gd name="T40" fmla="*/ 231 w 345"/>
                  <a:gd name="T41" fmla="*/ 332 h 342"/>
                  <a:gd name="T42" fmla="*/ 263 w 345"/>
                  <a:gd name="T43" fmla="*/ 317 h 342"/>
                  <a:gd name="T44" fmla="*/ 291 w 345"/>
                  <a:gd name="T45" fmla="*/ 294 h 342"/>
                  <a:gd name="T46" fmla="*/ 314 w 345"/>
                  <a:gd name="T47" fmla="*/ 267 h 342"/>
                  <a:gd name="T48" fmla="*/ 326 w 345"/>
                  <a:gd name="T49" fmla="*/ 246 h 342"/>
                  <a:gd name="T50" fmla="*/ 325 w 345"/>
                  <a:gd name="T51" fmla="*/ 235 h 342"/>
                  <a:gd name="T52" fmla="*/ 318 w 345"/>
                  <a:gd name="T53" fmla="*/ 231 h 342"/>
                  <a:gd name="T54" fmla="*/ 310 w 345"/>
                  <a:gd name="T55" fmla="*/ 233 h 342"/>
                  <a:gd name="T56" fmla="*/ 301 w 345"/>
                  <a:gd name="T57" fmla="*/ 251 h 342"/>
                  <a:gd name="T58" fmla="*/ 271 w 345"/>
                  <a:gd name="T59" fmla="*/ 285 h 342"/>
                  <a:gd name="T60" fmla="*/ 235 w 345"/>
                  <a:gd name="T61" fmla="*/ 309 h 342"/>
                  <a:gd name="T62" fmla="*/ 193 w 345"/>
                  <a:gd name="T63" fmla="*/ 321 h 342"/>
                  <a:gd name="T64" fmla="*/ 149 w 345"/>
                  <a:gd name="T65" fmla="*/ 321 h 342"/>
                  <a:gd name="T66" fmla="*/ 106 w 345"/>
                  <a:gd name="T67" fmla="*/ 307 h 342"/>
                  <a:gd name="T68" fmla="*/ 80 w 345"/>
                  <a:gd name="T69" fmla="*/ 291 h 342"/>
                  <a:gd name="T70" fmla="*/ 49 w 345"/>
                  <a:gd name="T71" fmla="*/ 259 h 342"/>
                  <a:gd name="T72" fmla="*/ 29 w 345"/>
                  <a:gd name="T73" fmla="*/ 220 h 342"/>
                  <a:gd name="T74" fmla="*/ 21 w 345"/>
                  <a:gd name="T75" fmla="*/ 178 h 342"/>
                  <a:gd name="T76" fmla="*/ 25 w 345"/>
                  <a:gd name="T77" fmla="*/ 134 h 342"/>
                  <a:gd name="T78" fmla="*/ 36 w 345"/>
                  <a:gd name="T79" fmla="*/ 104 h 342"/>
                  <a:gd name="T80" fmla="*/ 61 w 345"/>
                  <a:gd name="T81" fmla="*/ 67 h 342"/>
                  <a:gd name="T82" fmla="*/ 95 w 345"/>
                  <a:gd name="T83" fmla="*/ 40 h 342"/>
                  <a:gd name="T84" fmla="*/ 135 w 345"/>
                  <a:gd name="T85" fmla="*/ 24 h 342"/>
                  <a:gd name="T86" fmla="*/ 180 w 345"/>
                  <a:gd name="T87" fmla="*/ 20 h 342"/>
                  <a:gd name="T88" fmla="*/ 223 w 345"/>
                  <a:gd name="T89" fmla="*/ 29 h 342"/>
                  <a:gd name="T90" fmla="*/ 248 w 345"/>
                  <a:gd name="T91" fmla="*/ 40 h 342"/>
                  <a:gd name="T92" fmla="*/ 275 w 345"/>
                  <a:gd name="T93" fmla="*/ 60 h 342"/>
                  <a:gd name="T94" fmla="*/ 297 w 345"/>
                  <a:gd name="T95" fmla="*/ 86 h 342"/>
                  <a:gd name="T96" fmla="*/ 248 w 345"/>
                  <a:gd name="T97" fmla="*/ 87 h 342"/>
                  <a:gd name="T98" fmla="*/ 240 w 345"/>
                  <a:gd name="T99" fmla="*/ 90 h 342"/>
                  <a:gd name="T100" fmla="*/ 236 w 345"/>
                  <a:gd name="T101" fmla="*/ 96 h 342"/>
                  <a:gd name="T102" fmla="*/ 239 w 345"/>
                  <a:gd name="T103" fmla="*/ 103 h 342"/>
                  <a:gd name="T104" fmla="*/ 323 w 345"/>
                  <a:gd name="T105" fmla="*/ 118 h 342"/>
                  <a:gd name="T106" fmla="*/ 330 w 345"/>
                  <a:gd name="T107" fmla="*/ 117 h 342"/>
                  <a:gd name="T108" fmla="*/ 334 w 345"/>
                  <a:gd name="T109" fmla="*/ 110 h 342"/>
                  <a:gd name="T110" fmla="*/ 345 w 345"/>
                  <a:gd name="T111" fmla="*/ 28 h 342"/>
                  <a:gd name="T112" fmla="*/ 337 w 345"/>
                  <a:gd name="T113" fmla="*/ 2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5" h="342">
                    <a:moveTo>
                      <a:pt x="337" y="20"/>
                    </a:moveTo>
                    <a:lnTo>
                      <a:pt x="337" y="20"/>
                    </a:lnTo>
                    <a:lnTo>
                      <a:pt x="333" y="20"/>
                    </a:lnTo>
                    <a:lnTo>
                      <a:pt x="329" y="22"/>
                    </a:lnTo>
                    <a:lnTo>
                      <a:pt x="329" y="22"/>
                    </a:lnTo>
                    <a:lnTo>
                      <a:pt x="326" y="25"/>
                    </a:lnTo>
                    <a:lnTo>
                      <a:pt x="325" y="29"/>
                    </a:lnTo>
                    <a:lnTo>
                      <a:pt x="318" y="82"/>
                    </a:lnTo>
                    <a:lnTo>
                      <a:pt x="318" y="82"/>
                    </a:lnTo>
                    <a:lnTo>
                      <a:pt x="311" y="71"/>
                    </a:lnTo>
                    <a:lnTo>
                      <a:pt x="303" y="61"/>
                    </a:lnTo>
                    <a:lnTo>
                      <a:pt x="295" y="52"/>
                    </a:lnTo>
                    <a:lnTo>
                      <a:pt x="287" y="44"/>
                    </a:lnTo>
                    <a:lnTo>
                      <a:pt x="278" y="36"/>
                    </a:lnTo>
                    <a:lnTo>
                      <a:pt x="268" y="29"/>
                    </a:lnTo>
                    <a:lnTo>
                      <a:pt x="258" y="22"/>
                    </a:lnTo>
                    <a:lnTo>
                      <a:pt x="247" y="16"/>
                    </a:lnTo>
                    <a:lnTo>
                      <a:pt x="247" y="16"/>
                    </a:lnTo>
                    <a:lnTo>
                      <a:pt x="231" y="9"/>
                    </a:lnTo>
                    <a:lnTo>
                      <a:pt x="215" y="5"/>
                    </a:lnTo>
                    <a:lnTo>
                      <a:pt x="198" y="1"/>
                    </a:lnTo>
                    <a:lnTo>
                      <a:pt x="181" y="0"/>
                    </a:lnTo>
                    <a:lnTo>
                      <a:pt x="165" y="0"/>
                    </a:lnTo>
                    <a:lnTo>
                      <a:pt x="149" y="1"/>
                    </a:lnTo>
                    <a:lnTo>
                      <a:pt x="131" y="4"/>
                    </a:lnTo>
                    <a:lnTo>
                      <a:pt x="115" y="9"/>
                    </a:lnTo>
                    <a:lnTo>
                      <a:pt x="115" y="9"/>
                    </a:lnTo>
                    <a:lnTo>
                      <a:pt x="99" y="16"/>
                    </a:lnTo>
                    <a:lnTo>
                      <a:pt x="84" y="22"/>
                    </a:lnTo>
                    <a:lnTo>
                      <a:pt x="71" y="32"/>
                    </a:lnTo>
                    <a:lnTo>
                      <a:pt x="57" y="43"/>
                    </a:lnTo>
                    <a:lnTo>
                      <a:pt x="45" y="55"/>
                    </a:lnTo>
                    <a:lnTo>
                      <a:pt x="35" y="67"/>
                    </a:lnTo>
                    <a:lnTo>
                      <a:pt x="25" y="82"/>
                    </a:lnTo>
                    <a:lnTo>
                      <a:pt x="17" y="96"/>
                    </a:lnTo>
                    <a:lnTo>
                      <a:pt x="17" y="96"/>
                    </a:lnTo>
                    <a:lnTo>
                      <a:pt x="10" y="113"/>
                    </a:lnTo>
                    <a:lnTo>
                      <a:pt x="5" y="129"/>
                    </a:lnTo>
                    <a:lnTo>
                      <a:pt x="2" y="145"/>
                    </a:lnTo>
                    <a:lnTo>
                      <a:pt x="0" y="162"/>
                    </a:lnTo>
                    <a:lnTo>
                      <a:pt x="0" y="178"/>
                    </a:lnTo>
                    <a:lnTo>
                      <a:pt x="2" y="194"/>
                    </a:lnTo>
                    <a:lnTo>
                      <a:pt x="5" y="212"/>
                    </a:lnTo>
                    <a:lnTo>
                      <a:pt x="9" y="227"/>
                    </a:lnTo>
                    <a:lnTo>
                      <a:pt x="16" y="243"/>
                    </a:lnTo>
                    <a:lnTo>
                      <a:pt x="24" y="258"/>
                    </a:lnTo>
                    <a:lnTo>
                      <a:pt x="32" y="271"/>
                    </a:lnTo>
                    <a:lnTo>
                      <a:pt x="43" y="285"/>
                    </a:lnTo>
                    <a:lnTo>
                      <a:pt x="55" y="297"/>
                    </a:lnTo>
                    <a:lnTo>
                      <a:pt x="67" y="307"/>
                    </a:lnTo>
                    <a:lnTo>
                      <a:pt x="82" y="317"/>
                    </a:lnTo>
                    <a:lnTo>
                      <a:pt x="96" y="325"/>
                    </a:lnTo>
                    <a:lnTo>
                      <a:pt x="96" y="325"/>
                    </a:lnTo>
                    <a:lnTo>
                      <a:pt x="115" y="333"/>
                    </a:lnTo>
                    <a:lnTo>
                      <a:pt x="133" y="338"/>
                    </a:lnTo>
                    <a:lnTo>
                      <a:pt x="151" y="341"/>
                    </a:lnTo>
                    <a:lnTo>
                      <a:pt x="172" y="342"/>
                    </a:lnTo>
                    <a:lnTo>
                      <a:pt x="172" y="342"/>
                    </a:lnTo>
                    <a:lnTo>
                      <a:pt x="184" y="342"/>
                    </a:lnTo>
                    <a:lnTo>
                      <a:pt x="196" y="341"/>
                    </a:lnTo>
                    <a:lnTo>
                      <a:pt x="208" y="338"/>
                    </a:lnTo>
                    <a:lnTo>
                      <a:pt x="219" y="336"/>
                    </a:lnTo>
                    <a:lnTo>
                      <a:pt x="231" y="332"/>
                    </a:lnTo>
                    <a:lnTo>
                      <a:pt x="241" y="328"/>
                    </a:lnTo>
                    <a:lnTo>
                      <a:pt x="252" y="322"/>
                    </a:lnTo>
                    <a:lnTo>
                      <a:pt x="263" y="317"/>
                    </a:lnTo>
                    <a:lnTo>
                      <a:pt x="272" y="310"/>
                    </a:lnTo>
                    <a:lnTo>
                      <a:pt x="282" y="302"/>
                    </a:lnTo>
                    <a:lnTo>
                      <a:pt x="291" y="294"/>
                    </a:lnTo>
                    <a:lnTo>
                      <a:pt x="299" y="286"/>
                    </a:lnTo>
                    <a:lnTo>
                      <a:pt x="307" y="276"/>
                    </a:lnTo>
                    <a:lnTo>
                      <a:pt x="314" y="267"/>
                    </a:lnTo>
                    <a:lnTo>
                      <a:pt x="321" y="256"/>
                    </a:lnTo>
                    <a:lnTo>
                      <a:pt x="326" y="246"/>
                    </a:lnTo>
                    <a:lnTo>
                      <a:pt x="326" y="246"/>
                    </a:lnTo>
                    <a:lnTo>
                      <a:pt x="327" y="242"/>
                    </a:lnTo>
                    <a:lnTo>
                      <a:pt x="326" y="238"/>
                    </a:lnTo>
                    <a:lnTo>
                      <a:pt x="325" y="235"/>
                    </a:lnTo>
                    <a:lnTo>
                      <a:pt x="321" y="232"/>
                    </a:lnTo>
                    <a:lnTo>
                      <a:pt x="321" y="232"/>
                    </a:lnTo>
                    <a:lnTo>
                      <a:pt x="318" y="231"/>
                    </a:lnTo>
                    <a:lnTo>
                      <a:pt x="314" y="232"/>
                    </a:lnTo>
                    <a:lnTo>
                      <a:pt x="314" y="232"/>
                    </a:lnTo>
                    <a:lnTo>
                      <a:pt x="310" y="233"/>
                    </a:lnTo>
                    <a:lnTo>
                      <a:pt x="307" y="236"/>
                    </a:lnTo>
                    <a:lnTo>
                      <a:pt x="307" y="236"/>
                    </a:lnTo>
                    <a:lnTo>
                      <a:pt x="301" y="251"/>
                    </a:lnTo>
                    <a:lnTo>
                      <a:pt x="291" y="263"/>
                    </a:lnTo>
                    <a:lnTo>
                      <a:pt x="282" y="274"/>
                    </a:lnTo>
                    <a:lnTo>
                      <a:pt x="271" y="285"/>
                    </a:lnTo>
                    <a:lnTo>
                      <a:pt x="260" y="294"/>
                    </a:lnTo>
                    <a:lnTo>
                      <a:pt x="248" y="302"/>
                    </a:lnTo>
                    <a:lnTo>
                      <a:pt x="235" y="309"/>
                    </a:lnTo>
                    <a:lnTo>
                      <a:pt x="221" y="314"/>
                    </a:lnTo>
                    <a:lnTo>
                      <a:pt x="208" y="318"/>
                    </a:lnTo>
                    <a:lnTo>
                      <a:pt x="193" y="321"/>
                    </a:lnTo>
                    <a:lnTo>
                      <a:pt x="178" y="322"/>
                    </a:lnTo>
                    <a:lnTo>
                      <a:pt x="164" y="322"/>
                    </a:lnTo>
                    <a:lnTo>
                      <a:pt x="149" y="321"/>
                    </a:lnTo>
                    <a:lnTo>
                      <a:pt x="134" y="318"/>
                    </a:lnTo>
                    <a:lnTo>
                      <a:pt x="121" y="313"/>
                    </a:lnTo>
                    <a:lnTo>
                      <a:pt x="106" y="307"/>
                    </a:lnTo>
                    <a:lnTo>
                      <a:pt x="106" y="307"/>
                    </a:lnTo>
                    <a:lnTo>
                      <a:pt x="92" y="299"/>
                    </a:lnTo>
                    <a:lnTo>
                      <a:pt x="80" y="291"/>
                    </a:lnTo>
                    <a:lnTo>
                      <a:pt x="68" y="282"/>
                    </a:lnTo>
                    <a:lnTo>
                      <a:pt x="57" y="271"/>
                    </a:lnTo>
                    <a:lnTo>
                      <a:pt x="49" y="259"/>
                    </a:lnTo>
                    <a:lnTo>
                      <a:pt x="41" y="247"/>
                    </a:lnTo>
                    <a:lnTo>
                      <a:pt x="35" y="233"/>
                    </a:lnTo>
                    <a:lnTo>
                      <a:pt x="29" y="220"/>
                    </a:lnTo>
                    <a:lnTo>
                      <a:pt x="25" y="207"/>
                    </a:lnTo>
                    <a:lnTo>
                      <a:pt x="22" y="192"/>
                    </a:lnTo>
                    <a:lnTo>
                      <a:pt x="21" y="178"/>
                    </a:lnTo>
                    <a:lnTo>
                      <a:pt x="21" y="164"/>
                    </a:lnTo>
                    <a:lnTo>
                      <a:pt x="22" y="149"/>
                    </a:lnTo>
                    <a:lnTo>
                      <a:pt x="25" y="134"/>
                    </a:lnTo>
                    <a:lnTo>
                      <a:pt x="29" y="119"/>
                    </a:lnTo>
                    <a:lnTo>
                      <a:pt x="36" y="104"/>
                    </a:lnTo>
                    <a:lnTo>
                      <a:pt x="36" y="104"/>
                    </a:lnTo>
                    <a:lnTo>
                      <a:pt x="43" y="91"/>
                    </a:lnTo>
                    <a:lnTo>
                      <a:pt x="52" y="79"/>
                    </a:lnTo>
                    <a:lnTo>
                      <a:pt x="61" y="67"/>
                    </a:lnTo>
                    <a:lnTo>
                      <a:pt x="72" y="57"/>
                    </a:lnTo>
                    <a:lnTo>
                      <a:pt x="83" y="48"/>
                    </a:lnTo>
                    <a:lnTo>
                      <a:pt x="95" y="40"/>
                    </a:lnTo>
                    <a:lnTo>
                      <a:pt x="108" y="33"/>
                    </a:lnTo>
                    <a:lnTo>
                      <a:pt x="122" y="28"/>
                    </a:lnTo>
                    <a:lnTo>
                      <a:pt x="135" y="24"/>
                    </a:lnTo>
                    <a:lnTo>
                      <a:pt x="150" y="21"/>
                    </a:lnTo>
                    <a:lnTo>
                      <a:pt x="165" y="20"/>
                    </a:lnTo>
                    <a:lnTo>
                      <a:pt x="180" y="20"/>
                    </a:lnTo>
                    <a:lnTo>
                      <a:pt x="194" y="21"/>
                    </a:lnTo>
                    <a:lnTo>
                      <a:pt x="209" y="24"/>
                    </a:lnTo>
                    <a:lnTo>
                      <a:pt x="223" y="29"/>
                    </a:lnTo>
                    <a:lnTo>
                      <a:pt x="237" y="35"/>
                    </a:lnTo>
                    <a:lnTo>
                      <a:pt x="237" y="35"/>
                    </a:lnTo>
                    <a:lnTo>
                      <a:pt x="248" y="40"/>
                    </a:lnTo>
                    <a:lnTo>
                      <a:pt x="258" y="45"/>
                    </a:lnTo>
                    <a:lnTo>
                      <a:pt x="266" y="52"/>
                    </a:lnTo>
                    <a:lnTo>
                      <a:pt x="275" y="60"/>
                    </a:lnTo>
                    <a:lnTo>
                      <a:pt x="282" y="68"/>
                    </a:lnTo>
                    <a:lnTo>
                      <a:pt x="290" y="76"/>
                    </a:lnTo>
                    <a:lnTo>
                      <a:pt x="297" y="86"/>
                    </a:lnTo>
                    <a:lnTo>
                      <a:pt x="302" y="95"/>
                    </a:lnTo>
                    <a:lnTo>
                      <a:pt x="248" y="87"/>
                    </a:lnTo>
                    <a:lnTo>
                      <a:pt x="248" y="87"/>
                    </a:lnTo>
                    <a:lnTo>
                      <a:pt x="244" y="88"/>
                    </a:lnTo>
                    <a:lnTo>
                      <a:pt x="240" y="90"/>
                    </a:lnTo>
                    <a:lnTo>
                      <a:pt x="240" y="90"/>
                    </a:lnTo>
                    <a:lnTo>
                      <a:pt x="237" y="92"/>
                    </a:lnTo>
                    <a:lnTo>
                      <a:pt x="236" y="96"/>
                    </a:lnTo>
                    <a:lnTo>
                      <a:pt x="236" y="96"/>
                    </a:lnTo>
                    <a:lnTo>
                      <a:pt x="236" y="100"/>
                    </a:lnTo>
                    <a:lnTo>
                      <a:pt x="239" y="103"/>
                    </a:lnTo>
                    <a:lnTo>
                      <a:pt x="239" y="103"/>
                    </a:lnTo>
                    <a:lnTo>
                      <a:pt x="241" y="106"/>
                    </a:lnTo>
                    <a:lnTo>
                      <a:pt x="246" y="107"/>
                    </a:lnTo>
                    <a:lnTo>
                      <a:pt x="323" y="118"/>
                    </a:lnTo>
                    <a:lnTo>
                      <a:pt x="323" y="118"/>
                    </a:lnTo>
                    <a:lnTo>
                      <a:pt x="327" y="118"/>
                    </a:lnTo>
                    <a:lnTo>
                      <a:pt x="330" y="117"/>
                    </a:lnTo>
                    <a:lnTo>
                      <a:pt x="330" y="117"/>
                    </a:lnTo>
                    <a:lnTo>
                      <a:pt x="333" y="114"/>
                    </a:lnTo>
                    <a:lnTo>
                      <a:pt x="334" y="110"/>
                    </a:lnTo>
                    <a:lnTo>
                      <a:pt x="345" y="32"/>
                    </a:lnTo>
                    <a:lnTo>
                      <a:pt x="345" y="32"/>
                    </a:lnTo>
                    <a:lnTo>
                      <a:pt x="345" y="28"/>
                    </a:lnTo>
                    <a:lnTo>
                      <a:pt x="344" y="24"/>
                    </a:lnTo>
                    <a:lnTo>
                      <a:pt x="340" y="21"/>
                    </a:lnTo>
                    <a:lnTo>
                      <a:pt x="337" y="20"/>
                    </a:lnTo>
                    <a:lnTo>
                      <a:pt x="337"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sp>
        <p:nvSpPr>
          <p:cNvPr id="94" name="Rectangle 93">
            <a:extLst>
              <a:ext uri="{FF2B5EF4-FFF2-40B4-BE49-F238E27FC236}">
                <a16:creationId xmlns:a16="http://schemas.microsoft.com/office/drawing/2014/main" id="{F2BA3693-8E40-440F-99E1-63F8B08B8A32}"/>
              </a:ext>
            </a:extLst>
          </p:cNvPr>
          <p:cNvSpPr/>
          <p:nvPr/>
        </p:nvSpPr>
        <p:spPr>
          <a:xfrm>
            <a:off x="1129317" y="5246790"/>
            <a:ext cx="9952644" cy="11448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Ins="2743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180" normalizeH="0" baseline="0" noProof="0" dirty="0">
              <a:ln>
                <a:noFill/>
              </a:ln>
              <a:solidFill>
                <a:srgbClr val="000000"/>
              </a:solidFill>
              <a:effectLst/>
              <a:uLnTx/>
              <a:uFillTx/>
              <a:ea typeface="+mn-ea"/>
              <a:cs typeface="+mn-cs"/>
            </a:endParaRPr>
          </a:p>
        </p:txBody>
      </p:sp>
      <p:grpSp>
        <p:nvGrpSpPr>
          <p:cNvPr id="95" name="Group 94">
            <a:extLst>
              <a:ext uri="{FF2B5EF4-FFF2-40B4-BE49-F238E27FC236}">
                <a16:creationId xmlns:a16="http://schemas.microsoft.com/office/drawing/2014/main" id="{5A4DEDC3-B17A-4A40-8BA5-369FF10B6FC3}"/>
              </a:ext>
            </a:extLst>
          </p:cNvPr>
          <p:cNvGrpSpPr/>
          <p:nvPr/>
        </p:nvGrpSpPr>
        <p:grpSpPr>
          <a:xfrm>
            <a:off x="1258637" y="5319316"/>
            <a:ext cx="3264824" cy="876073"/>
            <a:chOff x="1258637" y="5110422"/>
            <a:chExt cx="3264824" cy="876073"/>
          </a:xfrm>
        </p:grpSpPr>
        <p:sp>
          <p:nvSpPr>
            <p:cNvPr id="96" name="Rectangle 95">
              <a:extLst>
                <a:ext uri="{FF2B5EF4-FFF2-40B4-BE49-F238E27FC236}">
                  <a16:creationId xmlns:a16="http://schemas.microsoft.com/office/drawing/2014/main" id="{A76FE6D2-0226-4C61-B904-AC9889BEDDCB}"/>
                </a:ext>
              </a:extLst>
            </p:cNvPr>
            <p:cNvSpPr/>
            <p:nvPr/>
          </p:nvSpPr>
          <p:spPr>
            <a:xfrm>
              <a:off x="1258637" y="5110422"/>
              <a:ext cx="3264824" cy="8760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srgbClr val="000000"/>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srgbClr val="000000"/>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000000"/>
                  </a:solidFill>
                  <a:effectLst/>
                  <a:uLnTx/>
                  <a:uFillTx/>
                  <a:ea typeface="+mn-ea"/>
                  <a:cs typeface="+mn-cs"/>
                </a:rPr>
                <a:t>Physical buy-it-now buttons, cognitive video capabilities, and Alexa technology means consumers can </a:t>
              </a:r>
              <a:r>
                <a:rPr kumimoji="0" lang="en-US" sz="1050" b="1" i="1" u="none" strike="noStrike" kern="1200" cap="none" spc="0" normalizeH="0" baseline="0" noProof="0" dirty="0">
                  <a:ln>
                    <a:noFill/>
                  </a:ln>
                  <a:solidFill>
                    <a:srgbClr val="000000"/>
                  </a:solidFill>
                  <a:effectLst/>
                  <a:uLnTx/>
                  <a:uFillTx/>
                  <a:ea typeface="+mn-ea"/>
                  <a:cs typeface="+mn-cs"/>
                </a:rPr>
                <a:t>shop whenever, wherever, however</a:t>
              </a:r>
              <a:r>
                <a:rPr kumimoji="0" lang="en-US" sz="1050" b="0" i="1" u="none" strike="noStrike" kern="1200" cap="none" spc="0" normalizeH="0" baseline="0" noProof="0" dirty="0">
                  <a:ln>
                    <a:noFill/>
                  </a:ln>
                  <a:solidFill>
                    <a:srgbClr val="000000"/>
                  </a:solidFill>
                  <a:effectLst/>
                  <a:uLnTx/>
                  <a:uFillTx/>
                  <a:ea typeface="+mn-ea"/>
                  <a:cs typeface="+mn-cs"/>
                </a:rPr>
                <a:t>.</a:t>
              </a:r>
            </a:p>
          </p:txBody>
        </p:sp>
        <p:pic>
          <p:nvPicPr>
            <p:cNvPr id="97" name="Picture 14" descr="Image result for amazon logo png">
              <a:extLst>
                <a:ext uri="{FF2B5EF4-FFF2-40B4-BE49-F238E27FC236}">
                  <a16:creationId xmlns:a16="http://schemas.microsoft.com/office/drawing/2014/main" id="{E363E2A4-E0B3-46D8-A9A6-1E0DC88C264E}"/>
                </a:ext>
              </a:extLst>
            </p:cNvPr>
            <p:cNvPicPr>
              <a:picLocks noChangeAspect="1" noChangeArrowheads="1"/>
            </p:cNvPicPr>
            <p:nvPr/>
          </p:nvPicPr>
          <p:blipFill>
            <a:blip r:embed="rId9" cstate="hqprint">
              <a:grayscl/>
              <a:extLst>
                <a:ext uri="{28A0092B-C50C-407E-A947-70E740481C1C}">
                  <a14:useLocalDpi xmlns:a14="http://schemas.microsoft.com/office/drawing/2010/main" val="0"/>
                </a:ext>
              </a:extLst>
            </a:blip>
            <a:srcRect/>
            <a:stretch>
              <a:fillRect/>
            </a:stretch>
          </p:blipFill>
          <p:spPr bwMode="auto">
            <a:xfrm>
              <a:off x="1358873" y="5204091"/>
              <a:ext cx="457200" cy="137398"/>
            </a:xfrm>
            <a:prstGeom prst="rect">
              <a:avLst/>
            </a:prstGeom>
            <a:noFill/>
            <a:extLst>
              <a:ext uri="{909E8E84-426E-40DD-AFC4-6F175D3DCCD1}">
                <a14:hiddenFill xmlns:a14="http://schemas.microsoft.com/office/drawing/2010/main">
                  <a:solidFill>
                    <a:srgbClr val="FFFFFF"/>
                  </a:solidFill>
                </a14:hiddenFill>
              </a:ext>
            </a:extLst>
          </p:spPr>
        </p:pic>
        <p:sp>
          <p:nvSpPr>
            <p:cNvPr id="98" name="Rectangle 97">
              <a:extLst>
                <a:ext uri="{FF2B5EF4-FFF2-40B4-BE49-F238E27FC236}">
                  <a16:creationId xmlns:a16="http://schemas.microsoft.com/office/drawing/2014/main" id="{317D6D0E-08FC-4CA9-ABD5-EBA269AC001F}"/>
                </a:ext>
              </a:extLst>
            </p:cNvPr>
            <p:cNvSpPr/>
            <p:nvPr/>
          </p:nvSpPr>
          <p:spPr>
            <a:xfrm>
              <a:off x="1437592" y="5145832"/>
              <a:ext cx="2026517" cy="253916"/>
            </a:xfrm>
            <a:prstGeom prst="rect">
              <a:avLst/>
            </a:prstGeom>
          </p:spPr>
          <p:txBody>
            <a:bodyPr wrap="none">
              <a:spAutoFit/>
            </a:bodyPr>
            <a:lstStyle/>
            <a:p>
              <a:pPr marL="457200" marR="0" lvl="1" indent="0" algn="l" defTabSz="914400" rtl="0" eaLnBrk="1" fontAlgn="ctr" latinLnBrk="0" hangingPunct="1">
                <a:lnSpc>
                  <a:spcPct val="100000"/>
                </a:lnSpc>
                <a:spcBef>
                  <a:spcPts val="0"/>
                </a:spcBef>
                <a:spcAft>
                  <a:spcPts val="300"/>
                </a:spcAft>
                <a:buClrTx/>
                <a:buSzTx/>
                <a:buFontTx/>
                <a:buNone/>
                <a:tabLst/>
                <a:defRPr/>
              </a:pPr>
              <a:r>
                <a:rPr kumimoji="0" lang="en-US" sz="1000" b="1" i="1" u="none" strike="noStrike" kern="1200" cap="none" spc="0" normalizeH="0" baseline="0" noProof="0" dirty="0">
                  <a:ln>
                    <a:noFill/>
                  </a:ln>
                  <a:solidFill>
                    <a:srgbClr val="000000"/>
                  </a:solidFill>
                  <a:effectLst/>
                  <a:uLnTx/>
                  <a:uFillTx/>
                  <a:ea typeface="+mn-ea"/>
                  <a:cs typeface="+mn-cs"/>
                </a:rPr>
                <a:t>Never run out of stuff</a:t>
              </a:r>
            </a:p>
          </p:txBody>
        </p:sp>
      </p:grpSp>
      <p:grpSp>
        <p:nvGrpSpPr>
          <p:cNvPr id="99" name="Group 98">
            <a:extLst>
              <a:ext uri="{FF2B5EF4-FFF2-40B4-BE49-F238E27FC236}">
                <a16:creationId xmlns:a16="http://schemas.microsoft.com/office/drawing/2014/main" id="{DADD7F4F-7485-476C-BEB5-EC3BF044D18B}"/>
              </a:ext>
            </a:extLst>
          </p:cNvPr>
          <p:cNvGrpSpPr/>
          <p:nvPr/>
        </p:nvGrpSpPr>
        <p:grpSpPr>
          <a:xfrm>
            <a:off x="4538303" y="5319316"/>
            <a:ext cx="3264408" cy="1007001"/>
            <a:chOff x="4611766" y="5110422"/>
            <a:chExt cx="3264408" cy="1007001"/>
          </a:xfrm>
        </p:grpSpPr>
        <p:sp>
          <p:nvSpPr>
            <p:cNvPr id="100" name="Rectangle 99">
              <a:extLst>
                <a:ext uri="{FF2B5EF4-FFF2-40B4-BE49-F238E27FC236}">
                  <a16:creationId xmlns:a16="http://schemas.microsoft.com/office/drawing/2014/main" id="{A25913A5-B1CF-41E6-8376-F75F4710DC43}"/>
                </a:ext>
              </a:extLst>
            </p:cNvPr>
            <p:cNvSpPr/>
            <p:nvPr/>
          </p:nvSpPr>
          <p:spPr>
            <a:xfrm>
              <a:off x="4611766" y="5110422"/>
              <a:ext cx="3264408" cy="1007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srgbClr val="000000"/>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srgbClr val="000000"/>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000000"/>
                  </a:solidFill>
                  <a:effectLst/>
                  <a:uLnTx/>
                  <a:uFillTx/>
                  <a:ea typeface="+mn-ea"/>
                  <a:cs typeface="+mn-cs"/>
                </a:rPr>
                <a:t>By offering Chinese consumers $0.15 headsets to </a:t>
              </a:r>
              <a:r>
                <a:rPr kumimoji="0" lang="en-US" sz="1050" b="1" i="1" u="none" strike="noStrike" kern="1200" cap="none" spc="0" normalizeH="0" baseline="0" noProof="0" dirty="0">
                  <a:ln>
                    <a:noFill/>
                  </a:ln>
                  <a:solidFill>
                    <a:srgbClr val="000000"/>
                  </a:solidFill>
                  <a:effectLst/>
                  <a:uLnTx/>
                  <a:uFillTx/>
                  <a:ea typeface="+mn-ea"/>
                  <a:cs typeface="+mn-cs"/>
                </a:rPr>
                <a:t>virtually shop its flagship store, </a:t>
              </a:r>
              <a:r>
                <a:rPr kumimoji="0" lang="en-US" sz="1050" b="0" i="1" u="none" strike="noStrike" kern="1200" cap="none" spc="0" normalizeH="0" baseline="0" noProof="0" dirty="0">
                  <a:ln>
                    <a:noFill/>
                  </a:ln>
                  <a:solidFill>
                    <a:srgbClr val="000000"/>
                  </a:solidFill>
                  <a:effectLst/>
                  <a:uLnTx/>
                  <a:uFillTx/>
                  <a:ea typeface="+mn-ea"/>
                  <a:cs typeface="+mn-cs"/>
                </a:rPr>
                <a:t>shoppers are transported from their home in Shanghai to NYC’s Herald Square for customized, targeted discounts.</a:t>
              </a:r>
            </a:p>
          </p:txBody>
        </p:sp>
        <p:pic>
          <p:nvPicPr>
            <p:cNvPr id="101" name="Picture 12" descr="Image result for macys logo">
              <a:extLst>
                <a:ext uri="{FF2B5EF4-FFF2-40B4-BE49-F238E27FC236}">
                  <a16:creationId xmlns:a16="http://schemas.microsoft.com/office/drawing/2014/main" id="{A2206701-6674-448C-8B3B-2D98EB440E1E}"/>
                </a:ext>
              </a:extLst>
            </p:cNvPr>
            <p:cNvPicPr>
              <a:picLocks noChangeAspect="1" noChangeArrowheads="1"/>
            </p:cNvPicPr>
            <p:nvPr/>
          </p:nvPicPr>
          <p:blipFill>
            <a:blip r:embed="rId10" cstate="hqprint">
              <a:grayscl/>
              <a:extLst>
                <a:ext uri="{28A0092B-C50C-407E-A947-70E740481C1C}">
                  <a14:useLocalDpi xmlns:a14="http://schemas.microsoft.com/office/drawing/2010/main" val="0"/>
                </a:ext>
              </a:extLst>
            </a:blip>
            <a:srcRect/>
            <a:stretch>
              <a:fillRect/>
            </a:stretch>
          </p:blipFill>
          <p:spPr bwMode="auto">
            <a:xfrm>
              <a:off x="4712005" y="5206938"/>
              <a:ext cx="457200" cy="121861"/>
            </a:xfrm>
            <a:prstGeom prst="rect">
              <a:avLst/>
            </a:prstGeom>
            <a:noFill/>
            <a:extLst>
              <a:ext uri="{909E8E84-426E-40DD-AFC4-6F175D3DCCD1}">
                <a14:hiddenFill xmlns:a14="http://schemas.microsoft.com/office/drawing/2010/main">
                  <a:solidFill>
                    <a:srgbClr val="FFFFFF"/>
                  </a:solidFill>
                </a14:hiddenFill>
              </a:ext>
            </a:extLst>
          </p:spPr>
        </p:pic>
        <p:sp>
          <p:nvSpPr>
            <p:cNvPr id="102" name="Rectangle 101">
              <a:extLst>
                <a:ext uri="{FF2B5EF4-FFF2-40B4-BE49-F238E27FC236}">
                  <a16:creationId xmlns:a16="http://schemas.microsoft.com/office/drawing/2014/main" id="{EB0692B0-281F-45FB-8006-B091B6983118}"/>
                </a:ext>
              </a:extLst>
            </p:cNvPr>
            <p:cNvSpPr/>
            <p:nvPr/>
          </p:nvSpPr>
          <p:spPr>
            <a:xfrm>
              <a:off x="4790723" y="5140910"/>
              <a:ext cx="2658100" cy="246221"/>
            </a:xfrm>
            <a:prstGeom prst="rect">
              <a:avLst/>
            </a:prstGeom>
          </p:spPr>
          <p:txBody>
            <a:bodyPr wrap="none">
              <a:spAutoFit/>
            </a:bodyPr>
            <a:lstStyle/>
            <a:p>
              <a:pPr marL="457200" marR="0" lvl="1" indent="0" algn="l" defTabSz="914400" rtl="0" eaLnBrk="1" fontAlgn="ctr" latinLnBrk="0" hangingPunct="1">
                <a:lnSpc>
                  <a:spcPct val="100000"/>
                </a:lnSpc>
                <a:spcBef>
                  <a:spcPts val="0"/>
                </a:spcBef>
                <a:spcAft>
                  <a:spcPts val="300"/>
                </a:spcAft>
                <a:buClrTx/>
                <a:buSzTx/>
                <a:buFontTx/>
                <a:buNone/>
                <a:tabLst/>
                <a:defRPr/>
              </a:pPr>
              <a:r>
                <a:rPr kumimoji="0" lang="en-US" sz="1000" b="1" i="1" u="none" strike="noStrike" kern="1200" cap="none" spc="0" normalizeH="0" baseline="0" noProof="0" dirty="0">
                  <a:ln>
                    <a:noFill/>
                  </a:ln>
                  <a:solidFill>
                    <a:srgbClr val="000000"/>
                  </a:solidFill>
                  <a:effectLst/>
                  <a:uLnTx/>
                  <a:uFillTx/>
                  <a:ea typeface="+mn-ea"/>
                  <a:cs typeface="+mn-cs"/>
                </a:rPr>
                <a:t>Shop the world…from your couch</a:t>
              </a:r>
            </a:p>
          </p:txBody>
        </p:sp>
      </p:grpSp>
      <p:grpSp>
        <p:nvGrpSpPr>
          <p:cNvPr id="103" name="Group 102">
            <a:extLst>
              <a:ext uri="{FF2B5EF4-FFF2-40B4-BE49-F238E27FC236}">
                <a16:creationId xmlns:a16="http://schemas.microsoft.com/office/drawing/2014/main" id="{76CD2E08-8045-4F93-BB7D-867CCA6A2560}"/>
              </a:ext>
            </a:extLst>
          </p:cNvPr>
          <p:cNvGrpSpPr/>
          <p:nvPr/>
        </p:nvGrpSpPr>
        <p:grpSpPr>
          <a:xfrm>
            <a:off x="7817553" y="5319316"/>
            <a:ext cx="3264408" cy="884570"/>
            <a:chOff x="7977141" y="5110422"/>
            <a:chExt cx="3264408" cy="884570"/>
          </a:xfrm>
        </p:grpSpPr>
        <p:sp>
          <p:nvSpPr>
            <p:cNvPr id="104" name="Rectangle 103">
              <a:extLst>
                <a:ext uri="{FF2B5EF4-FFF2-40B4-BE49-F238E27FC236}">
                  <a16:creationId xmlns:a16="http://schemas.microsoft.com/office/drawing/2014/main" id="{ACC0845E-44E3-46C5-A551-20500B74EAD7}"/>
                </a:ext>
              </a:extLst>
            </p:cNvPr>
            <p:cNvSpPr/>
            <p:nvPr/>
          </p:nvSpPr>
          <p:spPr>
            <a:xfrm>
              <a:off x="7977141" y="5110422"/>
              <a:ext cx="3264408" cy="8845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ctr" latinLnBrk="0" hangingPunct="1">
                <a:lnSpc>
                  <a:spcPct val="100000"/>
                </a:lnSpc>
                <a:spcBef>
                  <a:spcPts val="0"/>
                </a:spcBef>
                <a:spcAft>
                  <a:spcPts val="300"/>
                </a:spcAft>
                <a:buClrTx/>
                <a:buSzTx/>
                <a:buFontTx/>
                <a:buNone/>
                <a:tabLst/>
                <a:defRPr/>
              </a:pPr>
              <a:endParaRPr kumimoji="0" lang="en-US" sz="1050" b="1" i="1" u="none" strike="noStrike" kern="1200" cap="none" spc="0" normalizeH="0" baseline="0" noProof="0" dirty="0">
                <a:ln>
                  <a:noFill/>
                </a:ln>
                <a:solidFill>
                  <a:srgbClr val="000000"/>
                </a:solidFill>
                <a:effectLst/>
                <a:uLnTx/>
                <a:uFillTx/>
                <a:ea typeface="+mn-ea"/>
                <a:cs typeface="+mn-cs"/>
              </a:endParaRPr>
            </a:p>
            <a:p>
              <a:pPr marL="0" marR="0" lvl="0" indent="0" algn="l" defTabSz="914400" rtl="0" eaLnBrk="1" fontAlgn="ctr" latinLnBrk="0" hangingPunct="1">
                <a:lnSpc>
                  <a:spcPct val="100000"/>
                </a:lnSpc>
                <a:spcBef>
                  <a:spcPts val="0"/>
                </a:spcBef>
                <a:spcAft>
                  <a:spcPts val="300"/>
                </a:spcAft>
                <a:buClrTx/>
                <a:buSzTx/>
                <a:buFontTx/>
                <a:buNone/>
                <a:tabLst/>
                <a:defRPr/>
              </a:pPr>
              <a:br>
                <a:rPr kumimoji="0" lang="en-US" sz="1050" b="0" i="1" u="none" strike="noStrike" kern="1200" cap="none" spc="0" normalizeH="0" baseline="0" noProof="0" dirty="0">
                  <a:ln>
                    <a:noFill/>
                  </a:ln>
                  <a:solidFill>
                    <a:srgbClr val="000000"/>
                  </a:solidFill>
                  <a:effectLst/>
                  <a:uLnTx/>
                  <a:uFillTx/>
                  <a:ea typeface="+mn-ea"/>
                  <a:cs typeface="+mn-cs"/>
                </a:rPr>
              </a:br>
              <a:r>
                <a:rPr kumimoji="0" lang="en-US" sz="1050" b="0" i="1" u="none" strike="noStrike" kern="1200" cap="none" spc="0" normalizeH="0" baseline="0" noProof="0" dirty="0">
                  <a:ln>
                    <a:noFill/>
                  </a:ln>
                  <a:solidFill>
                    <a:srgbClr val="000000"/>
                  </a:solidFill>
                  <a:effectLst/>
                  <a:uLnTx/>
                  <a:uFillTx/>
                  <a:ea typeface="+mn-ea"/>
                  <a:cs typeface="+mn-cs"/>
                </a:rPr>
                <a:t>A combination of convenience, gamification, and loyalty has resulted in highly engaged consumers – </a:t>
              </a:r>
              <a:r>
                <a:rPr kumimoji="0" lang="en-US" sz="1050" b="1" i="1" u="none" strike="noStrike" kern="1200" cap="none" spc="0" normalizeH="0" baseline="0" noProof="0" dirty="0">
                  <a:ln>
                    <a:noFill/>
                  </a:ln>
                  <a:solidFill>
                    <a:srgbClr val="000000"/>
                  </a:solidFill>
                  <a:effectLst/>
                  <a:uLnTx/>
                  <a:uFillTx/>
                  <a:ea typeface="+mn-ea"/>
                  <a:cs typeface="+mn-cs"/>
                </a:rPr>
                <a:t>mobile sales represent 30% of US transactions.</a:t>
              </a:r>
              <a:r>
                <a:rPr kumimoji="0" lang="en-US" sz="1050" b="0" i="1" u="none" strike="noStrike" kern="1200" cap="none" spc="0" normalizeH="0" baseline="0" noProof="0" dirty="0">
                  <a:ln>
                    <a:noFill/>
                  </a:ln>
                  <a:solidFill>
                    <a:srgbClr val="000000"/>
                  </a:solidFill>
                  <a:effectLst/>
                  <a:uLnTx/>
                  <a:uFillTx/>
                  <a:ea typeface="+mn-ea"/>
                  <a:cs typeface="+mn-cs"/>
                </a:rPr>
                <a:t> </a:t>
              </a:r>
            </a:p>
          </p:txBody>
        </p:sp>
        <p:pic>
          <p:nvPicPr>
            <p:cNvPr id="105" name="Picture 7" descr="Image result for starbucks logo">
              <a:extLst>
                <a:ext uri="{FF2B5EF4-FFF2-40B4-BE49-F238E27FC236}">
                  <a16:creationId xmlns:a16="http://schemas.microsoft.com/office/drawing/2014/main" id="{B90C2AC3-1F85-47D3-9E42-32583040B9DE}"/>
                </a:ext>
              </a:extLst>
            </p:cNvPr>
            <p:cNvPicPr>
              <a:picLocks noChangeAspect="1" noChangeArrowheads="1"/>
            </p:cNvPicPr>
            <p:nvPr/>
          </p:nvPicPr>
          <p:blipFill>
            <a:blip r:embed="rId11" cstate="hqprint">
              <a:grayscl/>
              <a:extLst>
                <a:ext uri="{28A0092B-C50C-407E-A947-70E740481C1C}">
                  <a14:useLocalDpi xmlns:a14="http://schemas.microsoft.com/office/drawing/2010/main" val="0"/>
                </a:ext>
              </a:extLst>
            </a:blip>
            <a:srcRect/>
            <a:stretch>
              <a:fillRect/>
            </a:stretch>
          </p:blipFill>
          <p:spPr bwMode="auto">
            <a:xfrm>
              <a:off x="8077379" y="5154487"/>
              <a:ext cx="295301" cy="295301"/>
            </a:xfrm>
            <a:prstGeom prst="rect">
              <a:avLst/>
            </a:prstGeom>
            <a:noFill/>
            <a:extLst>
              <a:ext uri="{909E8E84-426E-40DD-AFC4-6F175D3DCCD1}">
                <a14:hiddenFill xmlns:a14="http://schemas.microsoft.com/office/drawing/2010/main">
                  <a:solidFill>
                    <a:srgbClr val="FFFFFF"/>
                  </a:solidFill>
                </a14:hiddenFill>
              </a:ext>
            </a:extLst>
          </p:spPr>
        </p:pic>
        <p:sp>
          <p:nvSpPr>
            <p:cNvPr id="106" name="Rectangle 105">
              <a:extLst>
                <a:ext uri="{FF2B5EF4-FFF2-40B4-BE49-F238E27FC236}">
                  <a16:creationId xmlns:a16="http://schemas.microsoft.com/office/drawing/2014/main" id="{4D60C172-30BC-4CED-8823-ADCC5C83A68A}"/>
                </a:ext>
              </a:extLst>
            </p:cNvPr>
            <p:cNvSpPr/>
            <p:nvPr/>
          </p:nvSpPr>
          <p:spPr>
            <a:xfrm>
              <a:off x="7991040" y="5135326"/>
              <a:ext cx="1630575" cy="246221"/>
            </a:xfrm>
            <a:prstGeom prst="rect">
              <a:avLst/>
            </a:prstGeom>
          </p:spPr>
          <p:txBody>
            <a:bodyPr wrap="none">
              <a:spAutoFit/>
            </a:bodyPr>
            <a:lstStyle/>
            <a:p>
              <a:pPr marL="457200" marR="0" lvl="1" indent="0" algn="l" defTabSz="914400" rtl="0" eaLnBrk="1" fontAlgn="ctr" latinLnBrk="0" hangingPunct="1">
                <a:lnSpc>
                  <a:spcPct val="100000"/>
                </a:lnSpc>
                <a:spcBef>
                  <a:spcPts val="0"/>
                </a:spcBef>
                <a:spcAft>
                  <a:spcPts val="300"/>
                </a:spcAft>
                <a:buClrTx/>
                <a:buSzTx/>
                <a:buFontTx/>
                <a:buNone/>
                <a:tabLst/>
                <a:defRPr/>
              </a:pPr>
              <a:r>
                <a:rPr kumimoji="0" lang="en-US" sz="1000" b="1" i="1" u="none" strike="noStrike" kern="1200" cap="none" spc="0" normalizeH="0" baseline="0" noProof="0" dirty="0">
                  <a:ln>
                    <a:noFill/>
                  </a:ln>
                  <a:solidFill>
                    <a:srgbClr val="000000"/>
                  </a:solidFill>
                  <a:effectLst/>
                  <a:uLnTx/>
                  <a:uFillTx/>
                  <a:ea typeface="+mn-ea"/>
                  <a:cs typeface="+mn-cs"/>
                </a:rPr>
                <a:t>Swipe, scan, sip.</a:t>
              </a:r>
            </a:p>
          </p:txBody>
        </p:sp>
      </p:grpSp>
      <p:sp>
        <p:nvSpPr>
          <p:cNvPr id="107" name="Rectangle 106">
            <a:extLst>
              <a:ext uri="{FF2B5EF4-FFF2-40B4-BE49-F238E27FC236}">
                <a16:creationId xmlns:a16="http://schemas.microsoft.com/office/drawing/2014/main" id="{80DD5AEC-2083-4016-A1E7-48B22BF3A5E0}"/>
              </a:ext>
            </a:extLst>
          </p:cNvPr>
          <p:cNvSpPr/>
          <p:nvPr/>
        </p:nvSpPr>
        <p:spPr>
          <a:xfrm>
            <a:off x="1311605" y="5087382"/>
            <a:ext cx="3431850" cy="21055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050" b="1" i="0" u="none" strike="noStrike" kern="1200" cap="none" spc="300" normalizeH="0" baseline="0" noProof="0" dirty="0">
                <a:ln>
                  <a:noFill/>
                </a:ln>
                <a:solidFill>
                  <a:srgbClr val="000000"/>
                </a:solidFill>
                <a:effectLst/>
                <a:uLnTx/>
                <a:uFillTx/>
                <a:ea typeface="+mn-ea"/>
                <a:cs typeface="+mn-cs"/>
              </a:rPr>
              <a:t>THE DYNAMIC PATH IN ACTION…</a:t>
            </a:r>
            <a:endParaRPr kumimoji="0" lang="en-US" sz="1050" b="0" i="0" u="none" strike="noStrike" kern="1200" cap="none" spc="300" normalizeH="0" baseline="0" noProof="0" dirty="0">
              <a:ln>
                <a:noFill/>
              </a:ln>
              <a:solidFill>
                <a:srgbClr val="000000"/>
              </a:solidFill>
              <a:effectLst/>
              <a:uLnTx/>
              <a:uFillTx/>
              <a:ea typeface="+mn-ea"/>
              <a:cs typeface="+mn-cs"/>
            </a:endParaRPr>
          </a:p>
        </p:txBody>
      </p:sp>
      <p:sp>
        <p:nvSpPr>
          <p:cNvPr id="108" name="Text Placeholder 5">
            <a:extLst>
              <a:ext uri="{FF2B5EF4-FFF2-40B4-BE49-F238E27FC236}">
                <a16:creationId xmlns:a16="http://schemas.microsoft.com/office/drawing/2014/main" id="{8B452365-CF92-405A-AEBA-3C928DAC5F52}"/>
              </a:ext>
            </a:extLst>
          </p:cNvPr>
          <p:cNvSpPr txBox="1">
            <a:spLocks/>
          </p:cNvSpPr>
          <p:nvPr/>
        </p:nvSpPr>
        <p:spPr>
          <a:xfrm>
            <a:off x="5148094" y="2513084"/>
            <a:ext cx="1930843" cy="1192704"/>
          </a:xfrm>
          <a:prstGeom prst="rect">
            <a:avLst/>
          </a:prstGeom>
        </p:spPr>
        <p:txBody>
          <a:bodyPr vert="horz"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The path to purchase th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we have known has fundamentally shifted.  Today, </a:t>
            </a:r>
            <a:r>
              <a:rPr kumimoji="0" lang="en-US" sz="1200" b="1" i="0" u="none" strike="noStrike" kern="1200" cap="none" spc="0" normalizeH="0" baseline="0" noProof="0" dirty="0">
                <a:ln>
                  <a:noFill/>
                </a:ln>
                <a:solidFill>
                  <a:srgbClr val="000000"/>
                </a:solidFill>
                <a:effectLst/>
                <a:uLnTx/>
                <a:uFillTx/>
                <a:ea typeface="+mn-ea"/>
                <a:cs typeface="+mn-cs"/>
              </a:rPr>
              <a:t>every moment is critical </a:t>
            </a:r>
            <a:r>
              <a:rPr kumimoji="0" lang="en-US" sz="1200" b="0" i="0" u="none" strike="noStrike" kern="1200" cap="none" spc="0" normalizeH="0" baseline="0" noProof="0" dirty="0">
                <a:ln>
                  <a:noFill/>
                </a:ln>
                <a:solidFill>
                  <a:srgbClr val="000000"/>
                </a:solidFill>
                <a:effectLst/>
                <a:uLnTx/>
                <a:uFillTx/>
                <a:ea typeface="+mn-ea"/>
                <a:cs typeface="+mn-cs"/>
              </a:rPr>
              <a:t>and the consumer journey can begin, continue and end in a myriad of ways</a:t>
            </a:r>
            <a:endParaRPr kumimoji="0" lang="en-US" sz="1200" b="1" i="0" u="none" strike="noStrike" kern="1200" cap="none" spc="0" normalizeH="0" baseline="0" noProof="0" dirty="0">
              <a:ln>
                <a:noFill/>
              </a:ln>
              <a:solidFill>
                <a:srgbClr val="000000"/>
              </a:solidFill>
              <a:effectLst/>
              <a:uLnTx/>
              <a:uFillTx/>
              <a:ea typeface="+mn-ea"/>
              <a:cs typeface="+mn-cs"/>
            </a:endParaRPr>
          </a:p>
        </p:txBody>
      </p:sp>
    </p:spTree>
    <p:extLst>
      <p:ext uri="{BB962C8B-B14F-4D97-AF65-F5344CB8AC3E}">
        <p14:creationId xmlns:p14="http://schemas.microsoft.com/office/powerpoint/2010/main" val="3863155618"/>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Object 47" hidden="1">
            <a:extLst>
              <a:ext uri="{FF2B5EF4-FFF2-40B4-BE49-F238E27FC236}">
                <a16:creationId xmlns:a16="http://schemas.microsoft.com/office/drawing/2014/main" id="{C4F2AC28-96B8-43B9-A5B0-32567D28D9A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0708" name="think-cell Slide" r:id="rId6" imgW="395" imgH="396" progId="TCLayout.ActiveDocument.1">
                  <p:embed/>
                </p:oleObj>
              </mc:Choice>
              <mc:Fallback>
                <p:oleObj name="think-cell Slide" r:id="rId6" imgW="395" imgH="396" progId="TCLayout.ActiveDocument.1">
                  <p:embed/>
                  <p:pic>
                    <p:nvPicPr>
                      <p:cNvPr id="48" name="Object 47" hidden="1">
                        <a:extLst>
                          <a:ext uri="{FF2B5EF4-FFF2-40B4-BE49-F238E27FC236}">
                            <a16:creationId xmlns:a16="http://schemas.microsoft.com/office/drawing/2014/main" id="{C4F2AC28-96B8-43B9-A5B0-32567D28D9A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7" name="Rectangle 46" hidden="1">
            <a:extLst>
              <a:ext uri="{FF2B5EF4-FFF2-40B4-BE49-F238E27FC236}">
                <a16:creationId xmlns:a16="http://schemas.microsoft.com/office/drawing/2014/main" id="{7B0FDA4A-036C-48C2-9979-D32291DEFB7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04F321A1-18C5-482A-BB76-BB564D8E9FB8}"/>
              </a:ext>
            </a:extLst>
          </p:cNvPr>
          <p:cNvSpPr>
            <a:spLocks noGrp="1"/>
          </p:cNvSpPr>
          <p:nvPr>
            <p:ph type="title"/>
          </p:nvPr>
        </p:nvSpPr>
        <p:spPr/>
        <p:txBody>
          <a:bodyPr/>
          <a:lstStyle/>
          <a:p>
            <a:r>
              <a:rPr lang="en-US" dirty="0"/>
              <a:t>To Enhance OEM’s Interactions with Customers…</a:t>
            </a:r>
          </a:p>
        </p:txBody>
      </p:sp>
      <p:sp>
        <p:nvSpPr>
          <p:cNvPr id="3" name="Text Placeholder 2">
            <a:extLst>
              <a:ext uri="{FF2B5EF4-FFF2-40B4-BE49-F238E27FC236}">
                <a16:creationId xmlns:a16="http://schemas.microsoft.com/office/drawing/2014/main" id="{C384EDDB-12DC-4278-A86B-CD639A8647A7}"/>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B6377933-361E-4A49-84FF-9604FDC75509}"/>
              </a:ext>
            </a:extLst>
          </p:cNvPr>
          <p:cNvSpPr>
            <a:spLocks noGrp="1"/>
          </p:cNvSpPr>
          <p:nvPr>
            <p:ph type="body" sz="quarter" idx="15"/>
          </p:nvPr>
        </p:nvSpPr>
        <p:spPr>
          <a:xfrm>
            <a:off x="914970" y="466344"/>
            <a:ext cx="3609725" cy="210270"/>
          </a:xfrm>
        </p:spPr>
        <p:txBody>
          <a:bodyPr/>
          <a:lstStyle/>
          <a:p>
            <a:r>
              <a:rPr lang="en-US" dirty="0"/>
              <a:t>FRAMEWORKS &amp; CONCEPT ILLUSTRATION</a:t>
            </a:r>
          </a:p>
        </p:txBody>
      </p:sp>
      <p:sp>
        <p:nvSpPr>
          <p:cNvPr id="5" name="Title 2">
            <a:extLst>
              <a:ext uri="{FF2B5EF4-FFF2-40B4-BE49-F238E27FC236}">
                <a16:creationId xmlns:a16="http://schemas.microsoft.com/office/drawing/2014/main" id="{A2E15311-F6AA-48FF-85E4-39537F4C6F3A}"/>
              </a:ext>
            </a:extLst>
          </p:cNvPr>
          <p:cNvSpPr txBox="1">
            <a:spLocks/>
          </p:cNvSpPr>
          <p:nvPr/>
        </p:nvSpPr>
        <p:spPr>
          <a:xfrm>
            <a:off x="501652" y="317500"/>
            <a:ext cx="11180232" cy="698501"/>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grpSp>
        <p:nvGrpSpPr>
          <p:cNvPr id="6" name="Group 5">
            <a:extLst>
              <a:ext uri="{FF2B5EF4-FFF2-40B4-BE49-F238E27FC236}">
                <a16:creationId xmlns:a16="http://schemas.microsoft.com/office/drawing/2014/main" id="{AA0FC8AC-953B-4EC5-82AB-C8AB012D5835}"/>
              </a:ext>
            </a:extLst>
          </p:cNvPr>
          <p:cNvGrpSpPr>
            <a:grpSpLocks/>
          </p:cNvGrpSpPr>
          <p:nvPr/>
        </p:nvGrpSpPr>
        <p:grpSpPr>
          <a:xfrm>
            <a:off x="847311" y="1939879"/>
            <a:ext cx="10497379" cy="4008045"/>
            <a:chOff x="945833" y="1511632"/>
            <a:chExt cx="10497379" cy="4008045"/>
          </a:xfrm>
        </p:grpSpPr>
        <p:sp>
          <p:nvSpPr>
            <p:cNvPr id="7" name="Rectangle 6">
              <a:extLst>
                <a:ext uri="{FF2B5EF4-FFF2-40B4-BE49-F238E27FC236}">
                  <a16:creationId xmlns:a16="http://schemas.microsoft.com/office/drawing/2014/main" id="{31BFA363-4135-44C7-A821-60567C4C460D}"/>
                </a:ext>
              </a:extLst>
            </p:cNvPr>
            <p:cNvSpPr/>
            <p:nvPr/>
          </p:nvSpPr>
          <p:spPr>
            <a:xfrm>
              <a:off x="4272459" y="5119572"/>
              <a:ext cx="3627977" cy="400105"/>
            </a:xfrm>
            <a:prstGeom prst="rect">
              <a:avLst/>
            </a:prstGeom>
            <a:noFill/>
          </p:spPr>
          <p:txBody>
            <a:bodyPr wrap="square" lIns="121917" tIns="60958" rIns="121917" bIns="60958"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chemeClr val="bg1">
                      <a:lumMod val="50000"/>
                    </a:schemeClr>
                  </a:solidFill>
                  <a:effectLst/>
                  <a:uLnTx/>
                  <a:uFillTx/>
                  <a:ea typeface="+mn-ea"/>
                  <a:cs typeface="Open Sans"/>
                </a:rPr>
                <a:t>Unexplored future channels?</a:t>
              </a:r>
            </a:p>
          </p:txBody>
        </p:sp>
        <p:sp>
          <p:nvSpPr>
            <p:cNvPr id="8" name="Arc 7">
              <a:extLst>
                <a:ext uri="{FF2B5EF4-FFF2-40B4-BE49-F238E27FC236}">
                  <a16:creationId xmlns:a16="http://schemas.microsoft.com/office/drawing/2014/main" id="{59C13BE8-050C-43F2-A054-797FD5A16707}"/>
                </a:ext>
              </a:extLst>
            </p:cNvPr>
            <p:cNvSpPr/>
            <p:nvPr/>
          </p:nvSpPr>
          <p:spPr>
            <a:xfrm>
              <a:off x="4438463" y="1614243"/>
              <a:ext cx="3396929" cy="3396929"/>
            </a:xfrm>
            <a:prstGeom prst="arc">
              <a:avLst>
                <a:gd name="adj1" fmla="val 17580675"/>
                <a:gd name="adj2" fmla="val 17566702"/>
              </a:avLst>
            </a:prstGeom>
            <a:ln w="28575" cmpd="sng">
              <a:solidFill>
                <a:schemeClr val="accent4"/>
              </a:solidFill>
              <a:headEnd type="none"/>
              <a:tailEnd type="triangle"/>
            </a:ln>
            <a:effectLst/>
          </p:spPr>
          <p:style>
            <a:lnRef idx="2">
              <a:schemeClr val="accent1"/>
            </a:lnRef>
            <a:fillRef idx="0">
              <a:schemeClr val="accent1"/>
            </a:fillRef>
            <a:effectRef idx="1">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sp>
          <p:nvSpPr>
            <p:cNvPr id="9" name="Arc 8">
              <a:extLst>
                <a:ext uri="{FF2B5EF4-FFF2-40B4-BE49-F238E27FC236}">
                  <a16:creationId xmlns:a16="http://schemas.microsoft.com/office/drawing/2014/main" id="{90ACF8A1-245F-4E42-8655-DBEFE686F5D4}"/>
                </a:ext>
              </a:extLst>
            </p:cNvPr>
            <p:cNvSpPr/>
            <p:nvPr/>
          </p:nvSpPr>
          <p:spPr>
            <a:xfrm>
              <a:off x="4729921" y="1905701"/>
              <a:ext cx="2814012" cy="2814012"/>
            </a:xfrm>
            <a:prstGeom prst="arc">
              <a:avLst>
                <a:gd name="adj1" fmla="val 18638933"/>
                <a:gd name="adj2" fmla="val 18638681"/>
              </a:avLst>
            </a:prstGeom>
            <a:ln w="28575" cmpd="sng">
              <a:solidFill>
                <a:schemeClr val="accent5"/>
              </a:solidFill>
              <a:headEnd type="none"/>
              <a:tailEnd type="triangle"/>
            </a:ln>
            <a:effectLst/>
          </p:spPr>
          <p:style>
            <a:lnRef idx="2">
              <a:schemeClr val="accent1"/>
            </a:lnRef>
            <a:fillRef idx="0">
              <a:schemeClr val="accent1"/>
            </a:fillRef>
            <a:effectRef idx="1">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sp>
          <p:nvSpPr>
            <p:cNvPr id="10" name="Rectangle 9">
              <a:extLst>
                <a:ext uri="{FF2B5EF4-FFF2-40B4-BE49-F238E27FC236}">
                  <a16:creationId xmlns:a16="http://schemas.microsoft.com/office/drawing/2014/main" id="{B0EC0299-5CFF-469B-957F-CC728E6AE84F}"/>
                </a:ext>
              </a:extLst>
            </p:cNvPr>
            <p:cNvSpPr>
              <a:spLocks/>
            </p:cNvSpPr>
            <p:nvPr/>
          </p:nvSpPr>
          <p:spPr>
            <a:xfrm>
              <a:off x="9661576" y="1521258"/>
              <a:ext cx="1781636" cy="430883"/>
            </a:xfrm>
            <a:prstGeom prst="rect">
              <a:avLst/>
            </a:prstGeom>
          </p:spPr>
          <p:txBody>
            <a:bodyPr wrap="none" lIns="121917" tIns="60958" rIns="121917" bIns="60958">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600" normalizeH="0" baseline="0" noProof="0" dirty="0">
                  <a:ln>
                    <a:noFill/>
                  </a:ln>
                  <a:solidFill>
                    <a:srgbClr val="53565A"/>
                  </a:solidFill>
                  <a:effectLst/>
                  <a:uLnTx/>
                  <a:uFillTx/>
                  <a:ea typeface="Chronicle Display Black" charset="0"/>
                  <a:cs typeface="Chronicle Display Black" charset="0"/>
                </a:rPr>
                <a:t>DIGITAL</a:t>
              </a:r>
            </a:p>
          </p:txBody>
        </p:sp>
        <p:cxnSp>
          <p:nvCxnSpPr>
            <p:cNvPr id="11" name="Straight Connector 10">
              <a:extLst>
                <a:ext uri="{FF2B5EF4-FFF2-40B4-BE49-F238E27FC236}">
                  <a16:creationId xmlns:a16="http://schemas.microsoft.com/office/drawing/2014/main" id="{8B671D13-F8CD-4777-AF8F-96C20BA96E48}"/>
                </a:ext>
              </a:extLst>
            </p:cNvPr>
            <p:cNvCxnSpPr/>
            <p:nvPr/>
          </p:nvCxnSpPr>
          <p:spPr>
            <a:xfrm flipH="1" flipV="1">
              <a:off x="6675924" y="1934364"/>
              <a:ext cx="4607772" cy="0"/>
            </a:xfrm>
            <a:prstGeom prst="line">
              <a:avLst/>
            </a:prstGeom>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AA5129B7-3A4A-4BA2-8E4A-93951774A4FE}"/>
                </a:ext>
              </a:extLst>
            </p:cNvPr>
            <p:cNvSpPr/>
            <p:nvPr/>
          </p:nvSpPr>
          <p:spPr>
            <a:xfrm>
              <a:off x="6441421" y="1825490"/>
              <a:ext cx="234503" cy="236036"/>
            </a:xfrm>
            <a:prstGeom prst="ellipse">
              <a:avLst/>
            </a:prstGeom>
            <a:solidFill>
              <a:schemeClr val="bg1"/>
            </a:solidFill>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00" b="0" i="0" u="none" strike="noStrike" kern="1200" cap="none" spc="0" normalizeH="0" baseline="0" noProof="0" dirty="0">
                <a:ln>
                  <a:noFill/>
                </a:ln>
                <a:solidFill>
                  <a:prstClr val="white"/>
                </a:solidFill>
                <a:effectLst/>
                <a:uLnTx/>
                <a:uFillTx/>
                <a:ea typeface="+mn-ea"/>
                <a:cs typeface="+mn-cs"/>
              </a:endParaRPr>
            </a:p>
          </p:txBody>
        </p:sp>
        <p:sp>
          <p:nvSpPr>
            <p:cNvPr id="13" name="Rectangle 12">
              <a:extLst>
                <a:ext uri="{FF2B5EF4-FFF2-40B4-BE49-F238E27FC236}">
                  <a16:creationId xmlns:a16="http://schemas.microsoft.com/office/drawing/2014/main" id="{B540BC7F-1163-4772-94EB-F6A95A657B95}"/>
                </a:ext>
              </a:extLst>
            </p:cNvPr>
            <p:cNvSpPr>
              <a:spLocks/>
            </p:cNvSpPr>
            <p:nvPr/>
          </p:nvSpPr>
          <p:spPr>
            <a:xfrm>
              <a:off x="945833" y="1511632"/>
              <a:ext cx="2708428" cy="430883"/>
            </a:xfrm>
            <a:prstGeom prst="rect">
              <a:avLst/>
            </a:prstGeom>
          </p:spPr>
          <p:txBody>
            <a:bodyPr wrap="none" lIns="121917" tIns="60958" rIns="121917" bIns="60958">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600" normalizeH="0" baseline="0" noProof="0" dirty="0">
                  <a:ln>
                    <a:noFill/>
                  </a:ln>
                  <a:solidFill>
                    <a:srgbClr val="53565A"/>
                  </a:solidFill>
                  <a:effectLst/>
                  <a:uLnTx/>
                  <a:uFillTx/>
                  <a:ea typeface="Chronicle Display Black" charset="0"/>
                  <a:cs typeface="Chronicle Display Black" charset="0"/>
                </a:rPr>
                <a:t>DIRECT MAIL</a:t>
              </a:r>
            </a:p>
          </p:txBody>
        </p:sp>
        <p:sp>
          <p:nvSpPr>
            <p:cNvPr id="14" name="Oval 13">
              <a:extLst>
                <a:ext uri="{FF2B5EF4-FFF2-40B4-BE49-F238E27FC236}">
                  <a16:creationId xmlns:a16="http://schemas.microsoft.com/office/drawing/2014/main" id="{59F76FAD-84FF-4192-B308-F6B04F893EB7}"/>
                </a:ext>
              </a:extLst>
            </p:cNvPr>
            <p:cNvSpPr/>
            <p:nvPr/>
          </p:nvSpPr>
          <p:spPr>
            <a:xfrm>
              <a:off x="5665059" y="1814929"/>
              <a:ext cx="234503" cy="236036"/>
            </a:xfrm>
            <a:prstGeom prst="ellipse">
              <a:avLst/>
            </a:prstGeom>
            <a:solidFill>
              <a:schemeClr val="bg1"/>
            </a:solidFill>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00" b="0" i="0" u="none" strike="noStrike" kern="1200" cap="none" spc="0" normalizeH="0" baseline="0" noProof="0" dirty="0">
                <a:ln>
                  <a:noFill/>
                </a:ln>
                <a:solidFill>
                  <a:prstClr val="white"/>
                </a:solidFill>
                <a:effectLst/>
                <a:uLnTx/>
                <a:uFillTx/>
                <a:ea typeface="+mn-ea"/>
                <a:cs typeface="+mn-cs"/>
              </a:endParaRPr>
            </a:p>
          </p:txBody>
        </p:sp>
        <p:sp>
          <p:nvSpPr>
            <p:cNvPr id="15" name="Oval 14">
              <a:extLst>
                <a:ext uri="{FF2B5EF4-FFF2-40B4-BE49-F238E27FC236}">
                  <a16:creationId xmlns:a16="http://schemas.microsoft.com/office/drawing/2014/main" id="{11747048-573A-49D7-9BA8-820D38FD5DEB}"/>
                </a:ext>
              </a:extLst>
            </p:cNvPr>
            <p:cNvSpPr/>
            <p:nvPr/>
          </p:nvSpPr>
          <p:spPr>
            <a:xfrm>
              <a:off x="5200145" y="2411141"/>
              <a:ext cx="1848048" cy="1848045"/>
            </a:xfrm>
            <a:prstGeom prst="ellipse">
              <a:avLst/>
            </a:prstGeom>
            <a:solidFill>
              <a:schemeClr val="bg1"/>
            </a:solidFill>
            <a:ln w="12700">
              <a:noFill/>
            </a:ln>
            <a:effectLst/>
          </p:spPr>
          <p:style>
            <a:lnRef idx="1">
              <a:schemeClr val="accent1"/>
            </a:lnRef>
            <a:fillRef idx="3">
              <a:schemeClr val="accent1"/>
            </a:fillRef>
            <a:effectRef idx="2">
              <a:schemeClr val="accent1"/>
            </a:effectRef>
            <a:fontRef idx="minor">
              <a:schemeClr val="lt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00" b="0" i="0" u="none" strike="noStrike" kern="1200" cap="none" spc="0" normalizeH="0" baseline="0" noProof="0" dirty="0">
                <a:ln>
                  <a:noFill/>
                </a:ln>
                <a:solidFill>
                  <a:prstClr val="white"/>
                </a:solidFill>
                <a:effectLst/>
                <a:uLnTx/>
                <a:uFillTx/>
                <a:ea typeface="+mn-ea"/>
                <a:cs typeface="+mn-cs"/>
              </a:endParaRPr>
            </a:p>
          </p:txBody>
        </p:sp>
        <p:sp>
          <p:nvSpPr>
            <p:cNvPr id="16" name="Rectangle 15">
              <a:extLst>
                <a:ext uri="{FF2B5EF4-FFF2-40B4-BE49-F238E27FC236}">
                  <a16:creationId xmlns:a16="http://schemas.microsoft.com/office/drawing/2014/main" id="{AF1090D8-BCD2-4621-9B62-328CE73285FF}"/>
                </a:ext>
              </a:extLst>
            </p:cNvPr>
            <p:cNvSpPr/>
            <p:nvPr/>
          </p:nvSpPr>
          <p:spPr>
            <a:xfrm>
              <a:off x="5324595" y="3380464"/>
              <a:ext cx="1579914" cy="738660"/>
            </a:xfrm>
            <a:prstGeom prst="rect">
              <a:avLst/>
            </a:prstGeom>
            <a:noFill/>
          </p:spPr>
          <p:txBody>
            <a:bodyPr wrap="none" lIns="121917" tIns="60958" rIns="121917" bIns="6095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3565A"/>
                  </a:solidFill>
                  <a:effectLst/>
                  <a:uLnTx/>
                  <a:uFillTx/>
                  <a:ea typeface="Chronicle Display Black" charset="0"/>
                  <a:cs typeface="Chronicle Display Black" charset="0"/>
                </a:rPr>
                <a:t>Channels </a:t>
              </a:r>
              <a:br>
                <a:rPr kumimoji="0" lang="en-US" sz="2000" b="1" i="0" u="none" strike="noStrike" kern="1200" cap="none" spc="0" normalizeH="0" baseline="0" noProof="0" dirty="0">
                  <a:ln>
                    <a:noFill/>
                  </a:ln>
                  <a:solidFill>
                    <a:srgbClr val="53565A"/>
                  </a:solidFill>
                  <a:effectLst/>
                  <a:uLnTx/>
                  <a:uFillTx/>
                  <a:ea typeface="Chronicle Display Black" charset="0"/>
                  <a:cs typeface="Chronicle Display Black" charset="0"/>
                </a:rPr>
              </a:br>
              <a:r>
                <a:rPr kumimoji="0" lang="en-US" sz="2000" b="1" i="0" u="none" strike="noStrike" kern="1200" cap="none" spc="0" normalizeH="0" baseline="0" noProof="0" dirty="0">
                  <a:ln>
                    <a:noFill/>
                  </a:ln>
                  <a:solidFill>
                    <a:srgbClr val="53565A"/>
                  </a:solidFill>
                  <a:effectLst/>
                  <a:uLnTx/>
                  <a:uFillTx/>
                  <a:ea typeface="Chronicle Display Black" charset="0"/>
                  <a:cs typeface="Chronicle Display Black" charset="0"/>
                </a:rPr>
                <a:t>Supported</a:t>
              </a:r>
            </a:p>
          </p:txBody>
        </p:sp>
        <p:sp>
          <p:nvSpPr>
            <p:cNvPr id="17" name="Rectangle 16">
              <a:extLst>
                <a:ext uri="{FF2B5EF4-FFF2-40B4-BE49-F238E27FC236}">
                  <a16:creationId xmlns:a16="http://schemas.microsoft.com/office/drawing/2014/main" id="{92C6EDE5-2395-4001-A6E0-F156029AD202}"/>
                </a:ext>
              </a:extLst>
            </p:cNvPr>
            <p:cNvSpPr>
              <a:spLocks/>
            </p:cNvSpPr>
            <p:nvPr/>
          </p:nvSpPr>
          <p:spPr>
            <a:xfrm>
              <a:off x="9767117" y="3557977"/>
              <a:ext cx="1676095" cy="430883"/>
            </a:xfrm>
            <a:prstGeom prst="rect">
              <a:avLst/>
            </a:prstGeom>
          </p:spPr>
          <p:txBody>
            <a:bodyPr wrap="none" lIns="121917" tIns="60958" rIns="121917" bIns="60958">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600" normalizeH="0" baseline="0" noProof="0" dirty="0">
                  <a:ln>
                    <a:noFill/>
                  </a:ln>
                  <a:solidFill>
                    <a:srgbClr val="53565A"/>
                  </a:solidFill>
                  <a:effectLst/>
                  <a:uLnTx/>
                  <a:uFillTx/>
                  <a:ea typeface="Chronicle Display Black" charset="0"/>
                  <a:cs typeface="Chronicle Display Black" charset="0"/>
                </a:rPr>
                <a:t>DEALER</a:t>
              </a:r>
            </a:p>
          </p:txBody>
        </p:sp>
        <p:cxnSp>
          <p:nvCxnSpPr>
            <p:cNvPr id="18" name="Straight Connector 17">
              <a:extLst>
                <a:ext uri="{FF2B5EF4-FFF2-40B4-BE49-F238E27FC236}">
                  <a16:creationId xmlns:a16="http://schemas.microsoft.com/office/drawing/2014/main" id="{FF2EA12C-F8AD-4B3B-9F4A-B1C9566FD2CC}"/>
                </a:ext>
              </a:extLst>
            </p:cNvPr>
            <p:cNvCxnSpPr>
              <a:endCxn id="19" idx="6"/>
            </p:cNvCxnSpPr>
            <p:nvPr/>
          </p:nvCxnSpPr>
          <p:spPr>
            <a:xfrm flipH="1" flipV="1">
              <a:off x="7504199" y="3966083"/>
              <a:ext cx="3779497" cy="0"/>
            </a:xfrm>
            <a:prstGeom prst="line">
              <a:avLst/>
            </a:prstGeom>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D09A5CA0-F702-4A7C-978D-F604EAD8F8E4}"/>
                </a:ext>
              </a:extLst>
            </p:cNvPr>
            <p:cNvSpPr/>
            <p:nvPr/>
          </p:nvSpPr>
          <p:spPr>
            <a:xfrm>
              <a:off x="7269696" y="3848065"/>
              <a:ext cx="234503" cy="236036"/>
            </a:xfrm>
            <a:prstGeom prst="ellipse">
              <a:avLst/>
            </a:prstGeom>
            <a:solidFill>
              <a:schemeClr val="bg1"/>
            </a:solidFill>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00" b="0" i="0" u="none" strike="noStrike" kern="1200" cap="none" spc="0" normalizeH="0" baseline="0" noProof="0" dirty="0">
                <a:ln>
                  <a:noFill/>
                </a:ln>
                <a:solidFill>
                  <a:prstClr val="white"/>
                </a:solidFill>
                <a:effectLst/>
                <a:uLnTx/>
                <a:uFillTx/>
                <a:ea typeface="+mn-ea"/>
                <a:cs typeface="+mn-cs"/>
              </a:endParaRPr>
            </a:p>
          </p:txBody>
        </p:sp>
        <p:sp>
          <p:nvSpPr>
            <p:cNvPr id="20" name="Rectangle 19">
              <a:extLst>
                <a:ext uri="{FF2B5EF4-FFF2-40B4-BE49-F238E27FC236}">
                  <a16:creationId xmlns:a16="http://schemas.microsoft.com/office/drawing/2014/main" id="{C051DFA8-E5FB-4239-8085-534330BF7F2A}"/>
                </a:ext>
              </a:extLst>
            </p:cNvPr>
            <p:cNvSpPr>
              <a:spLocks/>
            </p:cNvSpPr>
            <p:nvPr/>
          </p:nvSpPr>
          <p:spPr>
            <a:xfrm>
              <a:off x="945833" y="3571539"/>
              <a:ext cx="1828380" cy="430883"/>
            </a:xfrm>
            <a:prstGeom prst="rect">
              <a:avLst/>
            </a:prstGeom>
          </p:spPr>
          <p:txBody>
            <a:bodyPr wrap="none" lIns="121917" tIns="60958" rIns="121917" bIns="60958">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600" normalizeH="0" baseline="0" noProof="0" dirty="0">
                  <a:ln>
                    <a:noFill/>
                  </a:ln>
                  <a:solidFill>
                    <a:srgbClr val="53565A"/>
                  </a:solidFill>
                  <a:effectLst/>
                  <a:uLnTx/>
                  <a:uFillTx/>
                  <a:ea typeface="Chronicle Display Black" charset="0"/>
                  <a:cs typeface="Chronicle Display Black" charset="0"/>
                </a:rPr>
                <a:t>VEHICLE</a:t>
              </a:r>
            </a:p>
          </p:txBody>
        </p:sp>
        <p:sp>
          <p:nvSpPr>
            <p:cNvPr id="21" name="Oval 20">
              <a:extLst>
                <a:ext uri="{FF2B5EF4-FFF2-40B4-BE49-F238E27FC236}">
                  <a16:creationId xmlns:a16="http://schemas.microsoft.com/office/drawing/2014/main" id="{AA833F4D-BEC2-4B13-9BB9-CE5E42CBF111}"/>
                </a:ext>
              </a:extLst>
            </p:cNvPr>
            <p:cNvSpPr/>
            <p:nvPr/>
          </p:nvSpPr>
          <p:spPr>
            <a:xfrm>
              <a:off x="4749338" y="3850166"/>
              <a:ext cx="234503" cy="236036"/>
            </a:xfrm>
            <a:prstGeom prst="ellipse">
              <a:avLst/>
            </a:prstGeom>
            <a:solidFill>
              <a:schemeClr val="bg1"/>
            </a:solidFill>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00" b="0" i="0" u="none" strike="noStrike" kern="1200" cap="none" spc="0" normalizeH="0" baseline="0" noProof="0" dirty="0">
                <a:ln>
                  <a:noFill/>
                </a:ln>
                <a:solidFill>
                  <a:prstClr val="white"/>
                </a:solidFill>
                <a:effectLst/>
                <a:uLnTx/>
                <a:uFillTx/>
                <a:ea typeface="+mn-ea"/>
                <a:cs typeface="+mn-cs"/>
              </a:endParaRPr>
            </a:p>
          </p:txBody>
        </p:sp>
        <p:sp>
          <p:nvSpPr>
            <p:cNvPr id="22" name="Rectangle 21">
              <a:extLst>
                <a:ext uri="{FF2B5EF4-FFF2-40B4-BE49-F238E27FC236}">
                  <a16:creationId xmlns:a16="http://schemas.microsoft.com/office/drawing/2014/main" id="{F8A31860-9FCB-4908-978C-88DCB24C3C1D}"/>
                </a:ext>
              </a:extLst>
            </p:cNvPr>
            <p:cNvSpPr>
              <a:spLocks/>
            </p:cNvSpPr>
            <p:nvPr/>
          </p:nvSpPr>
          <p:spPr>
            <a:xfrm>
              <a:off x="8673869" y="4231965"/>
              <a:ext cx="2769342" cy="430883"/>
            </a:xfrm>
            <a:prstGeom prst="rect">
              <a:avLst/>
            </a:prstGeom>
          </p:spPr>
          <p:txBody>
            <a:bodyPr wrap="none" lIns="121917" tIns="60958" rIns="121917" bIns="60958">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600" normalizeH="0" baseline="0" noProof="0" dirty="0">
                  <a:ln>
                    <a:noFill/>
                  </a:ln>
                  <a:solidFill>
                    <a:srgbClr val="53565A"/>
                  </a:solidFill>
                  <a:effectLst/>
                  <a:uLnTx/>
                  <a:uFillTx/>
                  <a:ea typeface="Chronicle Display Black" charset="0"/>
                  <a:cs typeface="Chronicle Display Black" charset="0"/>
                </a:rPr>
                <a:t>EXPERIENCES</a:t>
              </a:r>
            </a:p>
          </p:txBody>
        </p:sp>
        <p:cxnSp>
          <p:nvCxnSpPr>
            <p:cNvPr id="23" name="Straight Connector 22">
              <a:extLst>
                <a:ext uri="{FF2B5EF4-FFF2-40B4-BE49-F238E27FC236}">
                  <a16:creationId xmlns:a16="http://schemas.microsoft.com/office/drawing/2014/main" id="{E1EE7205-0853-4151-9DC5-BD2FE89A7253}"/>
                </a:ext>
              </a:extLst>
            </p:cNvPr>
            <p:cNvCxnSpPr>
              <a:cxnSpLocks/>
            </p:cNvCxnSpPr>
            <p:nvPr/>
          </p:nvCxnSpPr>
          <p:spPr>
            <a:xfrm flipH="1" flipV="1">
              <a:off x="6674112" y="4673208"/>
              <a:ext cx="4609584" cy="0"/>
            </a:xfrm>
            <a:prstGeom prst="line">
              <a:avLst/>
            </a:prstGeom>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6F0ABB24-2EFA-4A4C-98E6-54083A6B7B8D}"/>
                </a:ext>
              </a:extLst>
            </p:cNvPr>
            <p:cNvSpPr>
              <a:spLocks/>
            </p:cNvSpPr>
            <p:nvPr/>
          </p:nvSpPr>
          <p:spPr>
            <a:xfrm>
              <a:off x="6439610" y="4555190"/>
              <a:ext cx="234503" cy="236036"/>
            </a:xfrm>
            <a:prstGeom prst="ellipse">
              <a:avLst/>
            </a:prstGeom>
            <a:solidFill>
              <a:schemeClr val="bg1"/>
            </a:solidFill>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00" b="0" i="0" u="none" strike="noStrike" kern="1200" cap="none" spc="0" normalizeH="0" baseline="0" noProof="0" dirty="0">
                <a:ln>
                  <a:noFill/>
                </a:ln>
                <a:solidFill>
                  <a:prstClr val="white"/>
                </a:solidFill>
                <a:effectLst/>
                <a:uLnTx/>
                <a:uFillTx/>
                <a:ea typeface="+mn-ea"/>
                <a:cs typeface="+mn-cs"/>
              </a:endParaRPr>
            </a:p>
          </p:txBody>
        </p:sp>
        <p:sp>
          <p:nvSpPr>
            <p:cNvPr id="25" name="Rectangle 24">
              <a:extLst>
                <a:ext uri="{FF2B5EF4-FFF2-40B4-BE49-F238E27FC236}">
                  <a16:creationId xmlns:a16="http://schemas.microsoft.com/office/drawing/2014/main" id="{5074C4EB-4421-4F7E-83D4-5513B0881D91}"/>
                </a:ext>
              </a:extLst>
            </p:cNvPr>
            <p:cNvSpPr>
              <a:spLocks/>
            </p:cNvSpPr>
            <p:nvPr/>
          </p:nvSpPr>
          <p:spPr>
            <a:xfrm>
              <a:off x="945833" y="4251437"/>
              <a:ext cx="2790181" cy="430883"/>
            </a:xfrm>
            <a:prstGeom prst="rect">
              <a:avLst/>
            </a:prstGeom>
          </p:spPr>
          <p:txBody>
            <a:bodyPr wrap="none" lIns="121917" tIns="60958" rIns="121917" bIns="60958">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600" normalizeH="0" baseline="0" noProof="0" dirty="0">
                  <a:ln>
                    <a:noFill/>
                  </a:ln>
                  <a:solidFill>
                    <a:srgbClr val="53565A"/>
                  </a:solidFill>
                  <a:effectLst/>
                  <a:uLnTx/>
                  <a:uFillTx/>
                  <a:ea typeface="Chronicle Display Black" charset="0"/>
                  <a:cs typeface="Chronicle Display Black" charset="0"/>
                </a:rPr>
                <a:t>MOBILE APPS</a:t>
              </a:r>
            </a:p>
          </p:txBody>
        </p:sp>
        <p:sp>
          <p:nvSpPr>
            <p:cNvPr id="26" name="Oval 25">
              <a:extLst>
                <a:ext uri="{FF2B5EF4-FFF2-40B4-BE49-F238E27FC236}">
                  <a16:creationId xmlns:a16="http://schemas.microsoft.com/office/drawing/2014/main" id="{D3C98342-3A29-44C7-8595-553A67E9A65F}"/>
                </a:ext>
              </a:extLst>
            </p:cNvPr>
            <p:cNvSpPr>
              <a:spLocks/>
            </p:cNvSpPr>
            <p:nvPr/>
          </p:nvSpPr>
          <p:spPr>
            <a:xfrm>
              <a:off x="5659922" y="4555190"/>
              <a:ext cx="234503" cy="236036"/>
            </a:xfrm>
            <a:prstGeom prst="ellipse">
              <a:avLst/>
            </a:prstGeom>
            <a:solidFill>
              <a:schemeClr val="bg1"/>
            </a:solidFill>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00" b="0" i="0" u="none" strike="noStrike" kern="1200" cap="none" spc="0" normalizeH="0" baseline="0" noProof="0" dirty="0">
                <a:ln>
                  <a:noFill/>
                </a:ln>
                <a:solidFill>
                  <a:prstClr val="white"/>
                </a:solidFill>
                <a:effectLst/>
                <a:uLnTx/>
                <a:uFillTx/>
                <a:ea typeface="+mn-ea"/>
                <a:cs typeface="+mn-cs"/>
              </a:endParaRPr>
            </a:p>
          </p:txBody>
        </p:sp>
        <p:sp>
          <p:nvSpPr>
            <p:cNvPr id="27" name="Freeform 279">
              <a:extLst>
                <a:ext uri="{FF2B5EF4-FFF2-40B4-BE49-F238E27FC236}">
                  <a16:creationId xmlns:a16="http://schemas.microsoft.com/office/drawing/2014/main" id="{3AD3E4BA-8FC1-43AD-A12E-C43A4B55EFB2}"/>
                </a:ext>
              </a:extLst>
            </p:cNvPr>
            <p:cNvSpPr>
              <a:spLocks/>
            </p:cNvSpPr>
            <p:nvPr/>
          </p:nvSpPr>
          <p:spPr bwMode="auto">
            <a:xfrm>
              <a:off x="5998550" y="2863185"/>
              <a:ext cx="481536" cy="468973"/>
            </a:xfrm>
            <a:custGeom>
              <a:avLst/>
              <a:gdLst>
                <a:gd name="T0" fmla="*/ 219 w 230"/>
                <a:gd name="T1" fmla="*/ 0 h 225"/>
                <a:gd name="T2" fmla="*/ 178 w 230"/>
                <a:gd name="T3" fmla="*/ 0 h 225"/>
                <a:gd name="T4" fmla="*/ 178 w 230"/>
                <a:gd name="T5" fmla="*/ 117 h 225"/>
                <a:gd name="T6" fmla="*/ 178 w 230"/>
                <a:gd name="T7" fmla="*/ 117 h 225"/>
                <a:gd name="T8" fmla="*/ 176 w 230"/>
                <a:gd name="T9" fmla="*/ 123 h 225"/>
                <a:gd name="T10" fmla="*/ 174 w 230"/>
                <a:gd name="T11" fmla="*/ 125 h 225"/>
                <a:gd name="T12" fmla="*/ 171 w 230"/>
                <a:gd name="T13" fmla="*/ 128 h 225"/>
                <a:gd name="T14" fmla="*/ 167 w 230"/>
                <a:gd name="T15" fmla="*/ 128 h 225"/>
                <a:gd name="T16" fmla="*/ 50 w 230"/>
                <a:gd name="T17" fmla="*/ 128 h 225"/>
                <a:gd name="T18" fmla="*/ 0 w 230"/>
                <a:gd name="T19" fmla="*/ 171 h 225"/>
                <a:gd name="T20" fmla="*/ 107 w 230"/>
                <a:gd name="T21" fmla="*/ 171 h 225"/>
                <a:gd name="T22" fmla="*/ 179 w 230"/>
                <a:gd name="T23" fmla="*/ 223 h 225"/>
                <a:gd name="T24" fmla="*/ 179 w 230"/>
                <a:gd name="T25" fmla="*/ 223 h 225"/>
                <a:gd name="T26" fmla="*/ 183 w 230"/>
                <a:gd name="T27" fmla="*/ 225 h 225"/>
                <a:gd name="T28" fmla="*/ 183 w 230"/>
                <a:gd name="T29" fmla="*/ 225 h 225"/>
                <a:gd name="T30" fmla="*/ 184 w 230"/>
                <a:gd name="T31" fmla="*/ 225 h 225"/>
                <a:gd name="T32" fmla="*/ 184 w 230"/>
                <a:gd name="T33" fmla="*/ 225 h 225"/>
                <a:gd name="T34" fmla="*/ 187 w 230"/>
                <a:gd name="T35" fmla="*/ 222 h 225"/>
                <a:gd name="T36" fmla="*/ 187 w 230"/>
                <a:gd name="T37" fmla="*/ 219 h 225"/>
                <a:gd name="T38" fmla="*/ 187 w 230"/>
                <a:gd name="T39" fmla="*/ 171 h 225"/>
                <a:gd name="T40" fmla="*/ 219 w 230"/>
                <a:gd name="T41" fmla="*/ 171 h 225"/>
                <a:gd name="T42" fmla="*/ 219 w 230"/>
                <a:gd name="T43" fmla="*/ 171 h 225"/>
                <a:gd name="T44" fmla="*/ 223 w 230"/>
                <a:gd name="T45" fmla="*/ 171 h 225"/>
                <a:gd name="T46" fmla="*/ 227 w 230"/>
                <a:gd name="T47" fmla="*/ 168 h 225"/>
                <a:gd name="T48" fmla="*/ 230 w 230"/>
                <a:gd name="T49" fmla="*/ 164 h 225"/>
                <a:gd name="T50" fmla="*/ 230 w 230"/>
                <a:gd name="T51" fmla="*/ 160 h 225"/>
                <a:gd name="T52" fmla="*/ 230 w 230"/>
                <a:gd name="T53" fmla="*/ 11 h 225"/>
                <a:gd name="T54" fmla="*/ 230 w 230"/>
                <a:gd name="T55" fmla="*/ 11 h 225"/>
                <a:gd name="T56" fmla="*/ 230 w 230"/>
                <a:gd name="T57" fmla="*/ 7 h 225"/>
                <a:gd name="T58" fmla="*/ 227 w 230"/>
                <a:gd name="T59" fmla="*/ 3 h 225"/>
                <a:gd name="T60" fmla="*/ 223 w 230"/>
                <a:gd name="T61" fmla="*/ 2 h 225"/>
                <a:gd name="T62" fmla="*/ 219 w 230"/>
                <a:gd name="T63" fmla="*/ 0 h 225"/>
                <a:gd name="T64" fmla="*/ 219 w 230"/>
                <a:gd name="T65"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0" h="225">
                  <a:moveTo>
                    <a:pt x="219" y="0"/>
                  </a:moveTo>
                  <a:lnTo>
                    <a:pt x="178" y="0"/>
                  </a:lnTo>
                  <a:lnTo>
                    <a:pt x="178" y="117"/>
                  </a:lnTo>
                  <a:lnTo>
                    <a:pt x="178" y="117"/>
                  </a:lnTo>
                  <a:lnTo>
                    <a:pt x="176" y="123"/>
                  </a:lnTo>
                  <a:lnTo>
                    <a:pt x="174" y="125"/>
                  </a:lnTo>
                  <a:lnTo>
                    <a:pt x="171" y="128"/>
                  </a:lnTo>
                  <a:lnTo>
                    <a:pt x="167" y="128"/>
                  </a:lnTo>
                  <a:lnTo>
                    <a:pt x="50" y="128"/>
                  </a:lnTo>
                  <a:lnTo>
                    <a:pt x="0" y="171"/>
                  </a:lnTo>
                  <a:lnTo>
                    <a:pt x="107" y="171"/>
                  </a:lnTo>
                  <a:lnTo>
                    <a:pt x="179" y="223"/>
                  </a:lnTo>
                  <a:lnTo>
                    <a:pt x="179" y="223"/>
                  </a:lnTo>
                  <a:lnTo>
                    <a:pt x="183" y="225"/>
                  </a:lnTo>
                  <a:lnTo>
                    <a:pt x="183" y="225"/>
                  </a:lnTo>
                  <a:lnTo>
                    <a:pt x="184" y="225"/>
                  </a:lnTo>
                  <a:lnTo>
                    <a:pt x="184" y="225"/>
                  </a:lnTo>
                  <a:lnTo>
                    <a:pt x="187" y="222"/>
                  </a:lnTo>
                  <a:lnTo>
                    <a:pt x="187" y="219"/>
                  </a:lnTo>
                  <a:lnTo>
                    <a:pt x="187" y="171"/>
                  </a:lnTo>
                  <a:lnTo>
                    <a:pt x="219" y="171"/>
                  </a:lnTo>
                  <a:lnTo>
                    <a:pt x="219" y="171"/>
                  </a:lnTo>
                  <a:lnTo>
                    <a:pt x="223" y="171"/>
                  </a:lnTo>
                  <a:lnTo>
                    <a:pt x="227" y="168"/>
                  </a:lnTo>
                  <a:lnTo>
                    <a:pt x="230" y="164"/>
                  </a:lnTo>
                  <a:lnTo>
                    <a:pt x="230" y="160"/>
                  </a:lnTo>
                  <a:lnTo>
                    <a:pt x="230" y="11"/>
                  </a:lnTo>
                  <a:lnTo>
                    <a:pt x="230" y="11"/>
                  </a:lnTo>
                  <a:lnTo>
                    <a:pt x="230" y="7"/>
                  </a:lnTo>
                  <a:lnTo>
                    <a:pt x="227" y="3"/>
                  </a:lnTo>
                  <a:lnTo>
                    <a:pt x="223" y="2"/>
                  </a:lnTo>
                  <a:lnTo>
                    <a:pt x="219" y="0"/>
                  </a:lnTo>
                  <a:lnTo>
                    <a:pt x="219"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8" name="Freeform 280">
              <a:extLst>
                <a:ext uri="{FF2B5EF4-FFF2-40B4-BE49-F238E27FC236}">
                  <a16:creationId xmlns:a16="http://schemas.microsoft.com/office/drawing/2014/main" id="{060620E5-E18A-40E1-B667-AB409D0A8F74}"/>
                </a:ext>
              </a:extLst>
            </p:cNvPr>
            <p:cNvSpPr>
              <a:spLocks/>
            </p:cNvSpPr>
            <p:nvPr/>
          </p:nvSpPr>
          <p:spPr bwMode="auto">
            <a:xfrm>
              <a:off x="5768252" y="2695695"/>
              <a:ext cx="556907" cy="561092"/>
            </a:xfrm>
            <a:custGeom>
              <a:avLst/>
              <a:gdLst>
                <a:gd name="T0" fmla="*/ 257 w 268"/>
                <a:gd name="T1" fmla="*/ 192 h 267"/>
                <a:gd name="T2" fmla="*/ 257 w 268"/>
                <a:gd name="T3" fmla="*/ 192 h 267"/>
                <a:gd name="T4" fmla="*/ 261 w 268"/>
                <a:gd name="T5" fmla="*/ 191 h 267"/>
                <a:gd name="T6" fmla="*/ 264 w 268"/>
                <a:gd name="T7" fmla="*/ 189 h 267"/>
                <a:gd name="T8" fmla="*/ 266 w 268"/>
                <a:gd name="T9" fmla="*/ 185 h 267"/>
                <a:gd name="T10" fmla="*/ 268 w 268"/>
                <a:gd name="T11" fmla="*/ 181 h 267"/>
                <a:gd name="T12" fmla="*/ 268 w 268"/>
                <a:gd name="T13" fmla="*/ 10 h 267"/>
                <a:gd name="T14" fmla="*/ 268 w 268"/>
                <a:gd name="T15" fmla="*/ 10 h 267"/>
                <a:gd name="T16" fmla="*/ 266 w 268"/>
                <a:gd name="T17" fmla="*/ 6 h 267"/>
                <a:gd name="T18" fmla="*/ 264 w 268"/>
                <a:gd name="T19" fmla="*/ 2 h 267"/>
                <a:gd name="T20" fmla="*/ 261 w 268"/>
                <a:gd name="T21" fmla="*/ 1 h 267"/>
                <a:gd name="T22" fmla="*/ 257 w 268"/>
                <a:gd name="T23" fmla="*/ 0 h 267"/>
                <a:gd name="T24" fmla="*/ 11 w 268"/>
                <a:gd name="T25" fmla="*/ 0 h 267"/>
                <a:gd name="T26" fmla="*/ 11 w 268"/>
                <a:gd name="T27" fmla="*/ 0 h 267"/>
                <a:gd name="T28" fmla="*/ 7 w 268"/>
                <a:gd name="T29" fmla="*/ 1 h 267"/>
                <a:gd name="T30" fmla="*/ 3 w 268"/>
                <a:gd name="T31" fmla="*/ 2 h 267"/>
                <a:gd name="T32" fmla="*/ 1 w 268"/>
                <a:gd name="T33" fmla="*/ 6 h 267"/>
                <a:gd name="T34" fmla="*/ 0 w 268"/>
                <a:gd name="T35" fmla="*/ 10 h 267"/>
                <a:gd name="T36" fmla="*/ 0 w 268"/>
                <a:gd name="T37" fmla="*/ 181 h 267"/>
                <a:gd name="T38" fmla="*/ 0 w 268"/>
                <a:gd name="T39" fmla="*/ 181 h 267"/>
                <a:gd name="T40" fmla="*/ 1 w 268"/>
                <a:gd name="T41" fmla="*/ 185 h 267"/>
                <a:gd name="T42" fmla="*/ 3 w 268"/>
                <a:gd name="T43" fmla="*/ 189 h 267"/>
                <a:gd name="T44" fmla="*/ 7 w 268"/>
                <a:gd name="T45" fmla="*/ 191 h 267"/>
                <a:gd name="T46" fmla="*/ 11 w 268"/>
                <a:gd name="T47" fmla="*/ 192 h 267"/>
                <a:gd name="T48" fmla="*/ 54 w 268"/>
                <a:gd name="T49" fmla="*/ 192 h 267"/>
                <a:gd name="T50" fmla="*/ 54 w 268"/>
                <a:gd name="T51" fmla="*/ 262 h 267"/>
                <a:gd name="T52" fmla="*/ 54 w 268"/>
                <a:gd name="T53" fmla="*/ 262 h 267"/>
                <a:gd name="T54" fmla="*/ 54 w 268"/>
                <a:gd name="T55" fmla="*/ 264 h 267"/>
                <a:gd name="T56" fmla="*/ 57 w 268"/>
                <a:gd name="T57" fmla="*/ 266 h 267"/>
                <a:gd name="T58" fmla="*/ 57 w 268"/>
                <a:gd name="T59" fmla="*/ 266 h 267"/>
                <a:gd name="T60" fmla="*/ 59 w 268"/>
                <a:gd name="T61" fmla="*/ 267 h 267"/>
                <a:gd name="T62" fmla="*/ 59 w 268"/>
                <a:gd name="T63" fmla="*/ 267 h 267"/>
                <a:gd name="T64" fmla="*/ 62 w 268"/>
                <a:gd name="T65" fmla="*/ 266 h 267"/>
                <a:gd name="T66" fmla="*/ 147 w 268"/>
                <a:gd name="T67" fmla="*/ 192 h 267"/>
                <a:gd name="T68" fmla="*/ 257 w 268"/>
                <a:gd name="T69" fmla="*/ 19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8" h="267">
                  <a:moveTo>
                    <a:pt x="257" y="192"/>
                  </a:moveTo>
                  <a:lnTo>
                    <a:pt x="257" y="192"/>
                  </a:lnTo>
                  <a:lnTo>
                    <a:pt x="261" y="191"/>
                  </a:lnTo>
                  <a:lnTo>
                    <a:pt x="264" y="189"/>
                  </a:lnTo>
                  <a:lnTo>
                    <a:pt x="266" y="185"/>
                  </a:lnTo>
                  <a:lnTo>
                    <a:pt x="268" y="181"/>
                  </a:lnTo>
                  <a:lnTo>
                    <a:pt x="268" y="10"/>
                  </a:lnTo>
                  <a:lnTo>
                    <a:pt x="268" y="10"/>
                  </a:lnTo>
                  <a:lnTo>
                    <a:pt x="266" y="6"/>
                  </a:lnTo>
                  <a:lnTo>
                    <a:pt x="264" y="2"/>
                  </a:lnTo>
                  <a:lnTo>
                    <a:pt x="261" y="1"/>
                  </a:lnTo>
                  <a:lnTo>
                    <a:pt x="257" y="0"/>
                  </a:lnTo>
                  <a:lnTo>
                    <a:pt x="11" y="0"/>
                  </a:lnTo>
                  <a:lnTo>
                    <a:pt x="11" y="0"/>
                  </a:lnTo>
                  <a:lnTo>
                    <a:pt x="7" y="1"/>
                  </a:lnTo>
                  <a:lnTo>
                    <a:pt x="3" y="2"/>
                  </a:lnTo>
                  <a:lnTo>
                    <a:pt x="1" y="6"/>
                  </a:lnTo>
                  <a:lnTo>
                    <a:pt x="0" y="10"/>
                  </a:lnTo>
                  <a:lnTo>
                    <a:pt x="0" y="181"/>
                  </a:lnTo>
                  <a:lnTo>
                    <a:pt x="0" y="181"/>
                  </a:lnTo>
                  <a:lnTo>
                    <a:pt x="1" y="185"/>
                  </a:lnTo>
                  <a:lnTo>
                    <a:pt x="3" y="189"/>
                  </a:lnTo>
                  <a:lnTo>
                    <a:pt x="7" y="191"/>
                  </a:lnTo>
                  <a:lnTo>
                    <a:pt x="11" y="192"/>
                  </a:lnTo>
                  <a:lnTo>
                    <a:pt x="54" y="192"/>
                  </a:lnTo>
                  <a:lnTo>
                    <a:pt x="54" y="262"/>
                  </a:lnTo>
                  <a:lnTo>
                    <a:pt x="54" y="262"/>
                  </a:lnTo>
                  <a:lnTo>
                    <a:pt x="54" y="264"/>
                  </a:lnTo>
                  <a:lnTo>
                    <a:pt x="57" y="266"/>
                  </a:lnTo>
                  <a:lnTo>
                    <a:pt x="57" y="266"/>
                  </a:lnTo>
                  <a:lnTo>
                    <a:pt x="59" y="267"/>
                  </a:lnTo>
                  <a:lnTo>
                    <a:pt x="59" y="267"/>
                  </a:lnTo>
                  <a:lnTo>
                    <a:pt x="62" y="266"/>
                  </a:lnTo>
                  <a:lnTo>
                    <a:pt x="147" y="192"/>
                  </a:lnTo>
                  <a:lnTo>
                    <a:pt x="257" y="19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9" name="Rectangle 28">
              <a:extLst>
                <a:ext uri="{FF2B5EF4-FFF2-40B4-BE49-F238E27FC236}">
                  <a16:creationId xmlns:a16="http://schemas.microsoft.com/office/drawing/2014/main" id="{4EF1361E-7D10-445F-A9C0-1045E62F4D4E}"/>
                </a:ext>
              </a:extLst>
            </p:cNvPr>
            <p:cNvSpPr>
              <a:spLocks/>
            </p:cNvSpPr>
            <p:nvPr/>
          </p:nvSpPr>
          <p:spPr>
            <a:xfrm>
              <a:off x="945833" y="2216481"/>
              <a:ext cx="1422819" cy="430883"/>
            </a:xfrm>
            <a:prstGeom prst="rect">
              <a:avLst/>
            </a:prstGeom>
          </p:spPr>
          <p:txBody>
            <a:bodyPr wrap="none" lIns="121917" tIns="60958" rIns="121917" bIns="60958">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600" normalizeH="0" baseline="0" noProof="0" dirty="0">
                  <a:ln>
                    <a:noFill/>
                  </a:ln>
                  <a:solidFill>
                    <a:srgbClr val="53565A"/>
                  </a:solidFill>
                  <a:effectLst/>
                  <a:uLnTx/>
                  <a:uFillTx/>
                  <a:ea typeface="Chronicle Display Black" charset="0"/>
                  <a:cs typeface="Chronicle Display Black" charset="0"/>
                </a:rPr>
                <a:t>EMAIL</a:t>
              </a:r>
            </a:p>
          </p:txBody>
        </p:sp>
        <p:sp>
          <p:nvSpPr>
            <p:cNvPr id="30" name="Oval 29">
              <a:extLst>
                <a:ext uri="{FF2B5EF4-FFF2-40B4-BE49-F238E27FC236}">
                  <a16:creationId xmlns:a16="http://schemas.microsoft.com/office/drawing/2014/main" id="{C7029BC6-425D-44CB-87CB-461DC4DAA830}"/>
                </a:ext>
              </a:extLst>
            </p:cNvPr>
            <p:cNvSpPr/>
            <p:nvPr/>
          </p:nvSpPr>
          <p:spPr>
            <a:xfrm>
              <a:off x="4821124" y="2502188"/>
              <a:ext cx="234503" cy="236036"/>
            </a:xfrm>
            <a:prstGeom prst="ellipse">
              <a:avLst/>
            </a:prstGeom>
            <a:solidFill>
              <a:schemeClr val="bg1"/>
            </a:solidFill>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00" b="0" i="0" u="none" strike="noStrike" kern="1200" cap="none" spc="0" normalizeH="0" baseline="0" noProof="0" dirty="0">
                <a:ln>
                  <a:noFill/>
                </a:ln>
                <a:solidFill>
                  <a:prstClr val="white"/>
                </a:solidFill>
                <a:effectLst/>
                <a:uLnTx/>
                <a:uFillTx/>
                <a:ea typeface="+mn-ea"/>
                <a:cs typeface="+mn-cs"/>
              </a:endParaRPr>
            </a:p>
          </p:txBody>
        </p:sp>
        <p:sp>
          <p:nvSpPr>
            <p:cNvPr id="31" name="Rectangle 30">
              <a:extLst>
                <a:ext uri="{FF2B5EF4-FFF2-40B4-BE49-F238E27FC236}">
                  <a16:creationId xmlns:a16="http://schemas.microsoft.com/office/drawing/2014/main" id="{88F7FEED-C6C7-4BD0-9EA7-A5FD948780CA}"/>
                </a:ext>
              </a:extLst>
            </p:cNvPr>
            <p:cNvSpPr>
              <a:spLocks/>
            </p:cNvSpPr>
            <p:nvPr/>
          </p:nvSpPr>
          <p:spPr>
            <a:xfrm>
              <a:off x="8899893" y="2207289"/>
              <a:ext cx="2543319" cy="430883"/>
            </a:xfrm>
            <a:prstGeom prst="rect">
              <a:avLst/>
            </a:prstGeom>
          </p:spPr>
          <p:txBody>
            <a:bodyPr wrap="none" lIns="121917" tIns="60958" rIns="121917" bIns="60958">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1" spc="600" dirty="0">
                  <a:solidFill>
                    <a:srgbClr val="53565A"/>
                  </a:solidFill>
                  <a:ea typeface="Chronicle Display Black" charset="0"/>
                  <a:cs typeface="Chronicle Display Black" charset="0"/>
                </a:rPr>
                <a:t>CLIENT</a:t>
              </a:r>
              <a:r>
                <a:rPr kumimoji="0" lang="en-US" sz="2000" b="1" i="0" u="none" strike="noStrike" kern="1200" cap="none" spc="600" normalizeH="0" baseline="0" noProof="0" dirty="0">
                  <a:ln>
                    <a:noFill/>
                  </a:ln>
                  <a:solidFill>
                    <a:srgbClr val="53565A"/>
                  </a:solidFill>
                  <a:effectLst/>
                  <a:uLnTx/>
                  <a:uFillTx/>
                  <a:ea typeface="Chronicle Display Black" charset="0"/>
                  <a:cs typeface="Chronicle Display Black" charset="0"/>
                </a:rPr>
                <a:t> WEB</a:t>
              </a:r>
            </a:p>
          </p:txBody>
        </p:sp>
        <p:cxnSp>
          <p:nvCxnSpPr>
            <p:cNvPr id="32" name="Straight Connector 31">
              <a:extLst>
                <a:ext uri="{FF2B5EF4-FFF2-40B4-BE49-F238E27FC236}">
                  <a16:creationId xmlns:a16="http://schemas.microsoft.com/office/drawing/2014/main" id="{06744FF2-C4D4-4574-82BC-EE7C09854A3E}"/>
                </a:ext>
              </a:extLst>
            </p:cNvPr>
            <p:cNvCxnSpPr/>
            <p:nvPr/>
          </p:nvCxnSpPr>
          <p:spPr>
            <a:xfrm flipH="1" flipV="1">
              <a:off x="7452457" y="2615395"/>
              <a:ext cx="3831239" cy="0"/>
            </a:xfrm>
            <a:prstGeom prst="line">
              <a:avLst/>
            </a:prstGeom>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3" name="Oval 32">
              <a:extLst>
                <a:ext uri="{FF2B5EF4-FFF2-40B4-BE49-F238E27FC236}">
                  <a16:creationId xmlns:a16="http://schemas.microsoft.com/office/drawing/2014/main" id="{576DA8E0-FDBA-4E78-A111-290EFC0E0A6B}"/>
                </a:ext>
              </a:extLst>
            </p:cNvPr>
            <p:cNvSpPr/>
            <p:nvPr/>
          </p:nvSpPr>
          <p:spPr>
            <a:xfrm>
              <a:off x="7217954" y="2497377"/>
              <a:ext cx="234503" cy="236036"/>
            </a:xfrm>
            <a:prstGeom prst="ellipse">
              <a:avLst/>
            </a:prstGeom>
            <a:solidFill>
              <a:schemeClr val="bg1"/>
            </a:solidFill>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00" b="0" i="0" u="none" strike="noStrike" kern="1200" cap="none" spc="0" normalizeH="0" baseline="0" noProof="0" dirty="0">
                <a:ln>
                  <a:noFill/>
                </a:ln>
                <a:solidFill>
                  <a:prstClr val="white"/>
                </a:solidFill>
                <a:effectLst/>
                <a:uLnTx/>
                <a:uFillTx/>
                <a:ea typeface="+mn-ea"/>
                <a:cs typeface="+mn-cs"/>
              </a:endParaRPr>
            </a:p>
          </p:txBody>
        </p:sp>
        <p:sp>
          <p:nvSpPr>
            <p:cNvPr id="34" name="Rectangle 33">
              <a:extLst>
                <a:ext uri="{FF2B5EF4-FFF2-40B4-BE49-F238E27FC236}">
                  <a16:creationId xmlns:a16="http://schemas.microsoft.com/office/drawing/2014/main" id="{8FFB53F7-0CCA-43C6-A465-D70C3B7B7434}"/>
                </a:ext>
              </a:extLst>
            </p:cNvPr>
            <p:cNvSpPr>
              <a:spLocks/>
            </p:cNvSpPr>
            <p:nvPr/>
          </p:nvSpPr>
          <p:spPr>
            <a:xfrm>
              <a:off x="7887693" y="2883988"/>
              <a:ext cx="3555519" cy="430883"/>
            </a:xfrm>
            <a:prstGeom prst="rect">
              <a:avLst/>
            </a:prstGeom>
          </p:spPr>
          <p:txBody>
            <a:bodyPr wrap="none" lIns="121917" tIns="60958" rIns="121917" bIns="60958">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600" normalizeH="0" baseline="0" noProof="0" dirty="0">
                  <a:ln>
                    <a:noFill/>
                  </a:ln>
                  <a:solidFill>
                    <a:srgbClr val="53565A"/>
                  </a:solidFill>
                  <a:effectLst/>
                  <a:uLnTx/>
                  <a:uFillTx/>
                  <a:ea typeface="Chronicle Display Black" charset="0"/>
                  <a:cs typeface="Chronicle Display Black" charset="0"/>
                </a:rPr>
                <a:t>CONTACT CENTER</a:t>
              </a:r>
            </a:p>
          </p:txBody>
        </p:sp>
        <p:cxnSp>
          <p:nvCxnSpPr>
            <p:cNvPr id="35" name="Straight Connector 34">
              <a:extLst>
                <a:ext uri="{FF2B5EF4-FFF2-40B4-BE49-F238E27FC236}">
                  <a16:creationId xmlns:a16="http://schemas.microsoft.com/office/drawing/2014/main" id="{11CEA197-5D4A-47CA-972E-FBEB8A057C55}"/>
                </a:ext>
              </a:extLst>
            </p:cNvPr>
            <p:cNvCxnSpPr>
              <a:endCxn id="36" idx="6"/>
            </p:cNvCxnSpPr>
            <p:nvPr/>
          </p:nvCxnSpPr>
          <p:spPr>
            <a:xfrm flipH="1" flipV="1">
              <a:off x="7651339" y="3292094"/>
              <a:ext cx="3632357" cy="0"/>
            </a:xfrm>
            <a:prstGeom prst="line">
              <a:avLst/>
            </a:prstGeom>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4408DC2E-2C8D-455B-A1D9-991DF3E8F642}"/>
                </a:ext>
              </a:extLst>
            </p:cNvPr>
            <p:cNvSpPr/>
            <p:nvPr/>
          </p:nvSpPr>
          <p:spPr>
            <a:xfrm>
              <a:off x="7416836" y="3174076"/>
              <a:ext cx="234503" cy="236036"/>
            </a:xfrm>
            <a:prstGeom prst="ellipse">
              <a:avLst/>
            </a:prstGeom>
            <a:solidFill>
              <a:schemeClr val="bg1"/>
            </a:solidFill>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00" b="0" i="0" u="none" strike="noStrike" kern="1200" cap="none" spc="0" normalizeH="0" baseline="0" noProof="0" dirty="0">
                <a:ln>
                  <a:noFill/>
                </a:ln>
                <a:solidFill>
                  <a:prstClr val="white"/>
                </a:solidFill>
                <a:effectLst/>
                <a:uLnTx/>
                <a:uFillTx/>
                <a:ea typeface="+mn-ea"/>
                <a:cs typeface="+mn-cs"/>
              </a:endParaRPr>
            </a:p>
          </p:txBody>
        </p:sp>
        <p:sp>
          <p:nvSpPr>
            <p:cNvPr id="37" name="Rectangle 36">
              <a:extLst>
                <a:ext uri="{FF2B5EF4-FFF2-40B4-BE49-F238E27FC236}">
                  <a16:creationId xmlns:a16="http://schemas.microsoft.com/office/drawing/2014/main" id="{9DAB2370-2BA1-4DB7-BEE5-503068B54AE6}"/>
                </a:ext>
              </a:extLst>
            </p:cNvPr>
            <p:cNvSpPr>
              <a:spLocks/>
            </p:cNvSpPr>
            <p:nvPr/>
          </p:nvSpPr>
          <p:spPr>
            <a:xfrm>
              <a:off x="945833" y="2897550"/>
              <a:ext cx="1621592" cy="430883"/>
            </a:xfrm>
            <a:prstGeom prst="rect">
              <a:avLst/>
            </a:prstGeom>
          </p:spPr>
          <p:txBody>
            <a:bodyPr wrap="none" lIns="121917" tIns="60958" rIns="121917" bIns="60958">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600" normalizeH="0" baseline="0" noProof="0" dirty="0">
                  <a:ln>
                    <a:noFill/>
                  </a:ln>
                  <a:solidFill>
                    <a:srgbClr val="53565A"/>
                  </a:solidFill>
                  <a:effectLst/>
                  <a:uLnTx/>
                  <a:uFillTx/>
                  <a:ea typeface="Chronicle Display Black" charset="0"/>
                  <a:cs typeface="Chronicle Display Black" charset="0"/>
                </a:rPr>
                <a:t>SOCIAL</a:t>
              </a:r>
            </a:p>
          </p:txBody>
        </p:sp>
        <p:sp>
          <p:nvSpPr>
            <p:cNvPr id="38" name="Oval 37">
              <a:extLst>
                <a:ext uri="{FF2B5EF4-FFF2-40B4-BE49-F238E27FC236}">
                  <a16:creationId xmlns:a16="http://schemas.microsoft.com/office/drawing/2014/main" id="{693E8D3C-3CC7-48CE-B4C6-C085593160C2}"/>
                </a:ext>
              </a:extLst>
            </p:cNvPr>
            <p:cNvSpPr/>
            <p:nvPr/>
          </p:nvSpPr>
          <p:spPr>
            <a:xfrm>
              <a:off x="4623218" y="3176177"/>
              <a:ext cx="234503" cy="236036"/>
            </a:xfrm>
            <a:prstGeom prst="ellipse">
              <a:avLst/>
            </a:prstGeom>
            <a:solidFill>
              <a:schemeClr val="bg1"/>
            </a:solidFill>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00" b="0" i="0" u="none" strike="noStrike" kern="1200" cap="none" spc="0" normalizeH="0" baseline="0" noProof="0" dirty="0">
                <a:ln>
                  <a:noFill/>
                </a:ln>
                <a:solidFill>
                  <a:prstClr val="white"/>
                </a:solidFill>
                <a:effectLst/>
                <a:uLnTx/>
                <a:uFillTx/>
                <a:ea typeface="+mn-ea"/>
                <a:cs typeface="+mn-cs"/>
              </a:endParaRPr>
            </a:p>
          </p:txBody>
        </p:sp>
        <p:cxnSp>
          <p:nvCxnSpPr>
            <p:cNvPr id="39" name="Straight Connector 38">
              <a:extLst>
                <a:ext uri="{FF2B5EF4-FFF2-40B4-BE49-F238E27FC236}">
                  <a16:creationId xmlns:a16="http://schemas.microsoft.com/office/drawing/2014/main" id="{70A0A5D9-7204-4612-B93C-190F1AC2168D}"/>
                </a:ext>
              </a:extLst>
            </p:cNvPr>
            <p:cNvCxnSpPr/>
            <p:nvPr/>
          </p:nvCxnSpPr>
          <p:spPr>
            <a:xfrm flipH="1">
              <a:off x="1050338" y="1905701"/>
              <a:ext cx="4609585" cy="0"/>
            </a:xfrm>
            <a:prstGeom prst="line">
              <a:avLst/>
            </a:prstGeom>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BC1CBBA-9A65-4FEE-A79D-6F6DA7C87BD8}"/>
                </a:ext>
              </a:extLst>
            </p:cNvPr>
            <p:cNvCxnSpPr/>
            <p:nvPr/>
          </p:nvCxnSpPr>
          <p:spPr>
            <a:xfrm flipH="1">
              <a:off x="1050338" y="2615395"/>
              <a:ext cx="3798240" cy="0"/>
            </a:xfrm>
            <a:prstGeom prst="line">
              <a:avLst/>
            </a:prstGeom>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06BA506-97A4-4E68-818B-39B14FB89F33}"/>
                </a:ext>
              </a:extLst>
            </p:cNvPr>
            <p:cNvCxnSpPr/>
            <p:nvPr/>
          </p:nvCxnSpPr>
          <p:spPr>
            <a:xfrm flipH="1">
              <a:off x="1050338" y="3292094"/>
              <a:ext cx="3572881" cy="0"/>
            </a:xfrm>
            <a:prstGeom prst="line">
              <a:avLst/>
            </a:prstGeom>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867D761-5C45-49DA-82FA-973A591748B8}"/>
                </a:ext>
              </a:extLst>
            </p:cNvPr>
            <p:cNvCxnSpPr/>
            <p:nvPr/>
          </p:nvCxnSpPr>
          <p:spPr>
            <a:xfrm flipH="1">
              <a:off x="1050338" y="3966083"/>
              <a:ext cx="3699001" cy="0"/>
            </a:xfrm>
            <a:prstGeom prst="line">
              <a:avLst/>
            </a:prstGeom>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52D7FBE-6012-42DF-BB53-CB04774CCC81}"/>
                </a:ext>
              </a:extLst>
            </p:cNvPr>
            <p:cNvCxnSpPr>
              <a:cxnSpLocks/>
            </p:cNvCxnSpPr>
            <p:nvPr/>
          </p:nvCxnSpPr>
          <p:spPr>
            <a:xfrm flipH="1" flipV="1">
              <a:off x="1050338" y="4673208"/>
              <a:ext cx="4609584" cy="0"/>
            </a:xfrm>
            <a:prstGeom prst="line">
              <a:avLst/>
            </a:prstGeom>
            <a:ln w="28575"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12575779"/>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7E043F54-9F23-40C7-BBBC-1BD3D4565C8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1732" name="think-cell Slide" r:id="rId6" imgW="395" imgH="396" progId="TCLayout.ActiveDocument.1">
                  <p:embed/>
                </p:oleObj>
              </mc:Choice>
              <mc:Fallback>
                <p:oleObj name="think-cell Slide" r:id="rId6" imgW="395" imgH="396" progId="TCLayout.ActiveDocument.1">
                  <p:embed/>
                  <p:pic>
                    <p:nvPicPr>
                      <p:cNvPr id="38" name="Object 37" hidden="1">
                        <a:extLst>
                          <a:ext uri="{FF2B5EF4-FFF2-40B4-BE49-F238E27FC236}">
                            <a16:creationId xmlns:a16="http://schemas.microsoft.com/office/drawing/2014/main" id="{7E043F54-9F23-40C7-BBBC-1BD3D4565C8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7" name="Rectangle 36" hidden="1">
            <a:extLst>
              <a:ext uri="{FF2B5EF4-FFF2-40B4-BE49-F238E27FC236}">
                <a16:creationId xmlns:a16="http://schemas.microsoft.com/office/drawing/2014/main" id="{650E6F77-49D9-4537-BEE3-96464C2B29A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779E8A18-A1AC-4337-9142-249C6C442685}"/>
              </a:ext>
            </a:extLst>
          </p:cNvPr>
          <p:cNvSpPr>
            <a:spLocks noGrp="1"/>
          </p:cNvSpPr>
          <p:nvPr>
            <p:ph type="title"/>
          </p:nvPr>
        </p:nvSpPr>
        <p:spPr/>
        <p:txBody>
          <a:bodyPr/>
          <a:lstStyle/>
          <a:p>
            <a:r>
              <a:rPr lang="en-US" dirty="0"/>
              <a:t>Society is changing and companies must adapt</a:t>
            </a:r>
          </a:p>
        </p:txBody>
      </p:sp>
      <p:sp>
        <p:nvSpPr>
          <p:cNvPr id="3" name="Text Placeholder 2">
            <a:extLst>
              <a:ext uri="{FF2B5EF4-FFF2-40B4-BE49-F238E27FC236}">
                <a16:creationId xmlns:a16="http://schemas.microsoft.com/office/drawing/2014/main" id="{E40831D8-AD55-4491-9BC1-6AD06571D85E}"/>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56A2B041-6A43-46FC-B94E-8FA410E7AD9D}"/>
              </a:ext>
            </a:extLst>
          </p:cNvPr>
          <p:cNvSpPr>
            <a:spLocks noGrp="1"/>
          </p:cNvSpPr>
          <p:nvPr>
            <p:ph type="body" sz="quarter" idx="15"/>
          </p:nvPr>
        </p:nvSpPr>
        <p:spPr>
          <a:xfrm>
            <a:off x="914971" y="466344"/>
            <a:ext cx="3444360" cy="228600"/>
          </a:xfrm>
        </p:spPr>
        <p:txBody>
          <a:bodyPr/>
          <a:lstStyle/>
          <a:p>
            <a:r>
              <a:rPr lang="en-US" dirty="0"/>
              <a:t>FRAMEWORKS &amp; CONCEPT ILLUSTRATION</a:t>
            </a:r>
          </a:p>
        </p:txBody>
      </p:sp>
      <p:sp>
        <p:nvSpPr>
          <p:cNvPr id="5" name="Title 1">
            <a:extLst>
              <a:ext uri="{FF2B5EF4-FFF2-40B4-BE49-F238E27FC236}">
                <a16:creationId xmlns:a16="http://schemas.microsoft.com/office/drawing/2014/main" id="{054D4C71-32A2-4FB8-9FDD-615C1094830F}"/>
              </a:ext>
            </a:extLst>
          </p:cNvPr>
          <p:cNvSpPr txBox="1">
            <a:spLocks/>
          </p:cNvSpPr>
          <p:nvPr/>
        </p:nvSpPr>
        <p:spPr>
          <a:xfrm>
            <a:off x="914400" y="1467942"/>
            <a:ext cx="10363200"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sp>
        <p:nvSpPr>
          <p:cNvPr id="6" name="Rectangle 5">
            <a:extLst>
              <a:ext uri="{FF2B5EF4-FFF2-40B4-BE49-F238E27FC236}">
                <a16:creationId xmlns:a16="http://schemas.microsoft.com/office/drawing/2014/main" id="{4AABB5FC-27B0-42A7-BE21-0FD1A97F3DBB}"/>
              </a:ext>
            </a:extLst>
          </p:cNvPr>
          <p:cNvSpPr/>
          <p:nvPr/>
        </p:nvSpPr>
        <p:spPr>
          <a:xfrm>
            <a:off x="7923899" y="2070655"/>
            <a:ext cx="2910919" cy="81962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6525" marR="0" lvl="0" indent="-15875" algn="l" defTabSz="914400" rtl="0" eaLnBrk="1" fontAlgn="auto" latinLnBrk="0" hangingPunct="1">
              <a:lnSpc>
                <a:spcPct val="120000"/>
              </a:lnSpc>
              <a:spcBef>
                <a:spcPts val="0"/>
              </a:spcBef>
              <a:spcAft>
                <a:spcPts val="600"/>
              </a:spcAft>
              <a:buClr>
                <a:srgbClr val="000000"/>
              </a:buClr>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Demands</a:t>
            </a:r>
            <a:r>
              <a:rPr kumimoji="0" lang="en-US" sz="1200" b="0" i="0" u="none" strike="noStrike" kern="1200" cap="none" spc="0" normalizeH="0" baseline="0" noProof="0" dirty="0">
                <a:ln>
                  <a:noFill/>
                </a:ln>
                <a:solidFill>
                  <a:srgbClr val="000000"/>
                </a:solidFill>
                <a:effectLst/>
                <a:uLnTx/>
                <a:uFillTx/>
                <a:ea typeface="+mn-ea"/>
                <a:cs typeface="+mn-cs"/>
              </a:rPr>
              <a:t> everything at an </a:t>
            </a:r>
            <a:r>
              <a:rPr kumimoji="0" lang="en-US" sz="1200" b="1" i="0" u="none" strike="noStrike" kern="1200" cap="none" spc="0" normalizeH="0" baseline="0" noProof="0" dirty="0">
                <a:ln>
                  <a:noFill/>
                </a:ln>
                <a:solidFill>
                  <a:srgbClr val="000000"/>
                </a:solidFill>
                <a:effectLst/>
                <a:uLnTx/>
                <a:uFillTx/>
                <a:ea typeface="+mn-ea"/>
                <a:cs typeface="+mn-cs"/>
              </a:rPr>
              <a:t>instant</a:t>
            </a:r>
            <a:r>
              <a:rPr kumimoji="0" lang="en-US" sz="1200" b="0" i="0" u="none" strike="noStrike" kern="1200" cap="none" spc="0" normalizeH="0" baseline="0" noProof="0" dirty="0">
                <a:ln>
                  <a:noFill/>
                </a:ln>
                <a:solidFill>
                  <a:srgbClr val="000000"/>
                </a:solidFill>
                <a:effectLst/>
                <a:uLnTx/>
                <a:uFillTx/>
                <a:ea typeface="+mn-ea"/>
                <a:cs typeface="+mn-cs"/>
              </a:rPr>
              <a:t>.</a:t>
            </a:r>
          </a:p>
        </p:txBody>
      </p:sp>
      <p:sp>
        <p:nvSpPr>
          <p:cNvPr id="7" name="Rectangle 6">
            <a:extLst>
              <a:ext uri="{FF2B5EF4-FFF2-40B4-BE49-F238E27FC236}">
                <a16:creationId xmlns:a16="http://schemas.microsoft.com/office/drawing/2014/main" id="{F3E7C0C9-0793-4CD4-9343-CF533873EB3E}"/>
              </a:ext>
            </a:extLst>
          </p:cNvPr>
          <p:cNvSpPr/>
          <p:nvPr/>
        </p:nvSpPr>
        <p:spPr>
          <a:xfrm>
            <a:off x="8347645" y="2830095"/>
            <a:ext cx="2955525" cy="81962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6525" marR="0" lvl="0" indent="-15875" algn="l" defTabSz="914400" rtl="0" eaLnBrk="1" fontAlgn="auto" latinLnBrk="0" hangingPunct="1">
              <a:lnSpc>
                <a:spcPct val="120000"/>
              </a:lnSpc>
              <a:spcBef>
                <a:spcPts val="0"/>
              </a:spcBef>
              <a:spcAft>
                <a:spcPts val="600"/>
              </a:spcAft>
              <a:buClr>
                <a:srgbClr val="000000"/>
              </a:buClr>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Doesn’t follow traditional customer journey</a:t>
            </a:r>
            <a:r>
              <a:rPr kumimoji="0" lang="en-US" sz="1200" b="0" i="0" u="none" strike="noStrike" kern="1200" cap="none" spc="0" normalizeH="0" baseline="0" noProof="0" dirty="0">
                <a:ln>
                  <a:noFill/>
                </a:ln>
                <a:solidFill>
                  <a:srgbClr val="000000"/>
                </a:solidFill>
                <a:effectLst/>
                <a:uLnTx/>
                <a:uFillTx/>
                <a:ea typeface="+mn-ea"/>
                <a:cs typeface="+mn-cs"/>
              </a:rPr>
              <a:t> or purchase funnel.</a:t>
            </a:r>
          </a:p>
        </p:txBody>
      </p:sp>
      <p:sp>
        <p:nvSpPr>
          <p:cNvPr id="8" name="Rectangle 7">
            <a:extLst>
              <a:ext uri="{FF2B5EF4-FFF2-40B4-BE49-F238E27FC236}">
                <a16:creationId xmlns:a16="http://schemas.microsoft.com/office/drawing/2014/main" id="{6E80F8D0-F0E3-40AC-A9B3-8B9E2DE6DF03}"/>
              </a:ext>
            </a:extLst>
          </p:cNvPr>
          <p:cNvSpPr/>
          <p:nvPr/>
        </p:nvSpPr>
        <p:spPr>
          <a:xfrm>
            <a:off x="8347646" y="3785019"/>
            <a:ext cx="2955524" cy="81962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6525" marR="0" lvl="0" indent="-15875" algn="l" defTabSz="914400" rtl="0" eaLnBrk="1" fontAlgn="auto" latinLnBrk="0" hangingPunct="1">
              <a:lnSpc>
                <a:spcPct val="120000"/>
              </a:lnSpc>
              <a:spcBef>
                <a:spcPts val="0"/>
              </a:spcBef>
              <a:spcAft>
                <a:spcPts val="600"/>
              </a:spcAft>
              <a:buClr>
                <a:srgbClr val="000000"/>
              </a:buClr>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The </a:t>
            </a:r>
            <a:r>
              <a:rPr kumimoji="0" lang="en-US" sz="1200" b="1" i="0" u="none" strike="noStrike" kern="1200" cap="none" spc="0" normalizeH="0" baseline="0" noProof="0" dirty="0">
                <a:ln>
                  <a:noFill/>
                </a:ln>
                <a:solidFill>
                  <a:srgbClr val="000000"/>
                </a:solidFill>
                <a:effectLst/>
                <a:uLnTx/>
                <a:uFillTx/>
                <a:ea typeface="+mn-ea"/>
                <a:cs typeface="+mn-cs"/>
              </a:rPr>
              <a:t>problems marketers </a:t>
            </a:r>
            <a:r>
              <a:rPr kumimoji="0" lang="en-US" sz="1200" b="0" i="0" u="none" strike="noStrike" kern="1200" cap="none" spc="0" normalizeH="0" baseline="0" noProof="0" dirty="0">
                <a:ln>
                  <a:noFill/>
                </a:ln>
                <a:solidFill>
                  <a:srgbClr val="000000"/>
                </a:solidFill>
                <a:effectLst/>
                <a:uLnTx/>
                <a:uFillTx/>
                <a:ea typeface="+mn-ea"/>
                <a:cs typeface="+mn-cs"/>
              </a:rPr>
              <a:t>have had reaching Millennials</a:t>
            </a:r>
            <a:r>
              <a:rPr kumimoji="0" lang="en-US" sz="1200" b="1" i="0" u="none" strike="noStrike" kern="1200" cap="none" spc="0" normalizeH="0" baseline="0" noProof="0" dirty="0">
                <a:ln>
                  <a:noFill/>
                </a:ln>
                <a:solidFill>
                  <a:srgbClr val="000000"/>
                </a:solidFill>
                <a:effectLst/>
                <a:uLnTx/>
                <a:uFillTx/>
                <a:ea typeface="+mn-ea"/>
                <a:cs typeface="+mn-cs"/>
              </a:rPr>
              <a:t> aren’t actually unique to that generation</a:t>
            </a:r>
            <a:r>
              <a:rPr kumimoji="0" lang="en-US" sz="1200" b="0" i="0" u="none" strike="noStrike" kern="1200" cap="none" spc="0" normalizeH="0" baseline="0" noProof="0" dirty="0">
                <a:ln>
                  <a:noFill/>
                </a:ln>
                <a:solidFill>
                  <a:srgbClr val="000000"/>
                </a:solidFill>
                <a:effectLst/>
                <a:uLnTx/>
                <a:uFillTx/>
                <a:ea typeface="+mn-ea"/>
                <a:cs typeface="+mn-cs"/>
              </a:rPr>
              <a:t>.</a:t>
            </a:r>
          </a:p>
        </p:txBody>
      </p:sp>
      <p:sp>
        <p:nvSpPr>
          <p:cNvPr id="9" name="Rectangle 8">
            <a:extLst>
              <a:ext uri="{FF2B5EF4-FFF2-40B4-BE49-F238E27FC236}">
                <a16:creationId xmlns:a16="http://schemas.microsoft.com/office/drawing/2014/main" id="{0C8B6BDD-A138-4BD9-BDF9-07C4F509BD00}"/>
              </a:ext>
            </a:extLst>
          </p:cNvPr>
          <p:cNvSpPr/>
          <p:nvPr/>
        </p:nvSpPr>
        <p:spPr>
          <a:xfrm>
            <a:off x="8108957" y="4680612"/>
            <a:ext cx="3379270" cy="81962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6525" marR="0" lvl="0" indent="-15875" algn="l" defTabSz="914400" rtl="0" eaLnBrk="1" fontAlgn="auto" latinLnBrk="0" hangingPunct="1">
              <a:lnSpc>
                <a:spcPct val="120000"/>
              </a:lnSpc>
              <a:spcBef>
                <a:spcPts val="0"/>
              </a:spcBef>
              <a:spcAft>
                <a:spcPts val="600"/>
              </a:spcAft>
              <a:buClr>
                <a:srgbClr val="000000"/>
              </a:buClr>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This isn’t an exception, this is the </a:t>
            </a:r>
            <a:r>
              <a:rPr kumimoji="0" lang="en-US" sz="1200" b="1" i="0" u="none" strike="noStrike" kern="1200" cap="none" spc="0" normalizeH="0" baseline="0" noProof="0" dirty="0">
                <a:ln>
                  <a:noFill/>
                </a:ln>
                <a:solidFill>
                  <a:srgbClr val="000000"/>
                </a:solidFill>
                <a:effectLst/>
                <a:uLnTx/>
                <a:uFillTx/>
                <a:ea typeface="+mn-ea"/>
                <a:cs typeface="+mn-cs"/>
              </a:rPr>
              <a:t>new norm</a:t>
            </a:r>
            <a:r>
              <a:rPr kumimoji="0" lang="en-US" sz="1200" b="0" i="0" u="none" strike="noStrike" kern="1200" cap="none" spc="0" normalizeH="0" baseline="0" noProof="0" dirty="0">
                <a:ln>
                  <a:noFill/>
                </a:ln>
                <a:solidFill>
                  <a:srgbClr val="000000"/>
                </a:solidFill>
                <a:effectLst/>
                <a:uLnTx/>
                <a:uFillTx/>
                <a:ea typeface="+mn-ea"/>
                <a:cs typeface="+mn-cs"/>
              </a:rPr>
              <a:t>. This is everyone </a:t>
            </a:r>
            <a:r>
              <a:rPr kumimoji="0" lang="en-US" sz="1200" b="1" i="0" u="none" strike="noStrike" kern="1200" cap="none" spc="0" normalizeH="0" baseline="0" noProof="0" dirty="0">
                <a:ln>
                  <a:noFill/>
                </a:ln>
                <a:solidFill>
                  <a:srgbClr val="000000"/>
                </a:solidFill>
                <a:effectLst/>
                <a:uLnTx/>
                <a:uFillTx/>
                <a:ea typeface="+mn-ea"/>
                <a:cs typeface="+mn-cs"/>
              </a:rPr>
              <a:t>going forward</a:t>
            </a:r>
            <a:r>
              <a:rPr kumimoji="0" lang="en-US" sz="1200" b="0" i="0" u="none" strike="noStrike" kern="1200" cap="none" spc="0" normalizeH="0" baseline="0" noProof="0" dirty="0">
                <a:ln>
                  <a:noFill/>
                </a:ln>
                <a:solidFill>
                  <a:srgbClr val="000000"/>
                </a:solidFill>
                <a:effectLst/>
                <a:uLnTx/>
                <a:uFillTx/>
                <a:ea typeface="+mn-ea"/>
                <a:cs typeface="+mn-cs"/>
              </a:rPr>
              <a:t>. </a:t>
            </a:r>
          </a:p>
        </p:txBody>
      </p:sp>
      <p:sp>
        <p:nvSpPr>
          <p:cNvPr id="10" name="Rectangle 9">
            <a:extLst>
              <a:ext uri="{FF2B5EF4-FFF2-40B4-BE49-F238E27FC236}">
                <a16:creationId xmlns:a16="http://schemas.microsoft.com/office/drawing/2014/main" id="{EE2100BC-0010-4BCA-A0F3-B1BB6345FAD1}"/>
              </a:ext>
            </a:extLst>
          </p:cNvPr>
          <p:cNvSpPr/>
          <p:nvPr/>
        </p:nvSpPr>
        <p:spPr>
          <a:xfrm>
            <a:off x="1497025" y="2027731"/>
            <a:ext cx="2658158" cy="81962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113" marR="0" lvl="0" indent="0" algn="r" defTabSz="914400" rtl="0" eaLnBrk="1" fontAlgn="auto" latinLnBrk="0" hangingPunct="1">
              <a:lnSpc>
                <a:spcPct val="120000"/>
              </a:lnSpc>
              <a:spcBef>
                <a:spcPts val="0"/>
              </a:spcBef>
              <a:spcAft>
                <a:spcPts val="600"/>
              </a:spcAft>
              <a:buClr>
                <a:srgbClr val="000000"/>
              </a:buClr>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Dislikes and </a:t>
            </a:r>
            <a:r>
              <a:rPr kumimoji="0" lang="en-US" sz="1200" b="1" i="0" u="none" strike="noStrike" kern="1200" cap="none" spc="0" normalizeH="0" baseline="0" noProof="0" dirty="0">
                <a:ln>
                  <a:noFill/>
                </a:ln>
                <a:solidFill>
                  <a:srgbClr val="000000"/>
                </a:solidFill>
                <a:effectLst/>
                <a:uLnTx/>
                <a:uFillTx/>
                <a:ea typeface="+mn-ea"/>
                <a:cs typeface="+mn-cs"/>
              </a:rPr>
              <a:t>distrusts traditional</a:t>
            </a:r>
            <a:r>
              <a:rPr kumimoji="0" lang="en-US" sz="1200" b="0" i="0" u="none" strike="noStrike" kern="1200" cap="none" spc="0" normalizeH="0" baseline="0" noProof="0" dirty="0">
                <a:ln>
                  <a:noFill/>
                </a:ln>
                <a:solidFill>
                  <a:srgbClr val="000000"/>
                </a:solidFill>
                <a:effectLst/>
                <a:uLnTx/>
                <a:uFillTx/>
                <a:ea typeface="+mn-ea"/>
                <a:cs typeface="+mn-cs"/>
              </a:rPr>
              <a:t> forms of advertising (e.g. anything that interrupts them).</a:t>
            </a:r>
          </a:p>
        </p:txBody>
      </p:sp>
      <p:sp>
        <p:nvSpPr>
          <p:cNvPr id="11" name="Rectangle 10">
            <a:extLst>
              <a:ext uri="{FF2B5EF4-FFF2-40B4-BE49-F238E27FC236}">
                <a16:creationId xmlns:a16="http://schemas.microsoft.com/office/drawing/2014/main" id="{B513A144-9393-4094-9AE5-26DED80CA9FF}"/>
              </a:ext>
            </a:extLst>
          </p:cNvPr>
          <p:cNvSpPr/>
          <p:nvPr/>
        </p:nvSpPr>
        <p:spPr>
          <a:xfrm>
            <a:off x="1045505" y="2785239"/>
            <a:ext cx="2824347" cy="81962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525" marR="0" lvl="0" indent="0" algn="r" defTabSz="914400" rtl="0" eaLnBrk="1" fontAlgn="auto" latinLnBrk="0" hangingPunct="1">
              <a:lnSpc>
                <a:spcPct val="120000"/>
              </a:lnSpc>
              <a:spcBef>
                <a:spcPts val="0"/>
              </a:spcBef>
              <a:spcAft>
                <a:spcPts val="600"/>
              </a:spcAft>
              <a:buClr>
                <a:srgbClr val="000000"/>
              </a:buClr>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Has been </a:t>
            </a:r>
            <a:r>
              <a:rPr kumimoji="0" lang="en-US" sz="1200" b="1" i="0" u="none" strike="noStrike" kern="1200" cap="none" spc="0" normalizeH="0" baseline="0" noProof="0" dirty="0">
                <a:ln>
                  <a:noFill/>
                </a:ln>
                <a:solidFill>
                  <a:srgbClr val="000000"/>
                </a:solidFill>
                <a:effectLst/>
                <a:uLnTx/>
                <a:uFillTx/>
                <a:ea typeface="+mn-ea"/>
                <a:cs typeface="+mn-cs"/>
              </a:rPr>
              <a:t>plugged</a:t>
            </a:r>
            <a:r>
              <a:rPr kumimoji="0" lang="en-US" sz="1200" b="0" i="0" u="none" strike="noStrike" kern="1200" cap="none" spc="0" normalizeH="0" baseline="0" noProof="0" dirty="0">
                <a:ln>
                  <a:noFill/>
                </a:ln>
                <a:solidFill>
                  <a:srgbClr val="000000"/>
                </a:solidFill>
                <a:effectLst/>
                <a:uLnTx/>
                <a:uFillTx/>
                <a:ea typeface="+mn-ea"/>
                <a:cs typeface="+mn-cs"/>
              </a:rPr>
              <a:t> into the world </a:t>
            </a:r>
            <a:br>
              <a:rPr kumimoji="0" lang="en-US" sz="1200" b="0" i="0" u="none" strike="noStrike" kern="1200" cap="none" spc="0" normalizeH="0" baseline="0" noProof="0" dirty="0">
                <a:ln>
                  <a:noFill/>
                </a:ln>
                <a:solidFill>
                  <a:srgbClr val="000000"/>
                </a:solidFill>
                <a:effectLst/>
                <a:uLnTx/>
                <a:uFillTx/>
                <a:ea typeface="+mn-ea"/>
                <a:cs typeface="+mn-cs"/>
              </a:rPr>
            </a:br>
            <a:r>
              <a:rPr kumimoji="0" lang="en-US" sz="1200" b="0" i="0" u="none" strike="noStrike" kern="1200" cap="none" spc="0" normalizeH="0" baseline="0" noProof="0" dirty="0">
                <a:ln>
                  <a:noFill/>
                </a:ln>
                <a:solidFill>
                  <a:srgbClr val="000000"/>
                </a:solidFill>
                <a:effectLst/>
                <a:uLnTx/>
                <a:uFillTx/>
                <a:ea typeface="+mn-ea"/>
                <a:cs typeface="+mn-cs"/>
              </a:rPr>
              <a:t>for as long as they can remember.</a:t>
            </a:r>
          </a:p>
        </p:txBody>
      </p:sp>
      <p:sp>
        <p:nvSpPr>
          <p:cNvPr id="12" name="Rectangle 11">
            <a:extLst>
              <a:ext uri="{FF2B5EF4-FFF2-40B4-BE49-F238E27FC236}">
                <a16:creationId xmlns:a16="http://schemas.microsoft.com/office/drawing/2014/main" id="{2618EAC0-CCC7-45CC-9556-FE77ADDBCF27}"/>
              </a:ext>
            </a:extLst>
          </p:cNvPr>
          <p:cNvSpPr/>
          <p:nvPr/>
        </p:nvSpPr>
        <p:spPr>
          <a:xfrm>
            <a:off x="1110462" y="3542747"/>
            <a:ext cx="2656741" cy="81962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525" marR="0" lvl="0" indent="0" algn="r" defTabSz="914400" rtl="0" eaLnBrk="1" fontAlgn="auto" latinLnBrk="0" hangingPunct="1">
              <a:lnSpc>
                <a:spcPct val="120000"/>
              </a:lnSpc>
              <a:spcBef>
                <a:spcPts val="0"/>
              </a:spcBef>
              <a:spcAft>
                <a:spcPts val="600"/>
              </a:spcAft>
              <a:buClr>
                <a:srgbClr val="000000"/>
              </a:buClr>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Has </a:t>
            </a:r>
            <a:r>
              <a:rPr kumimoji="0" lang="en-US" sz="1200" b="1" i="0" u="none" strike="noStrike" kern="1200" cap="none" spc="0" normalizeH="0" baseline="0" noProof="0" dirty="0">
                <a:ln>
                  <a:noFill/>
                </a:ln>
                <a:solidFill>
                  <a:srgbClr val="000000"/>
                </a:solidFill>
                <a:effectLst/>
                <a:uLnTx/>
                <a:uFillTx/>
                <a:ea typeface="+mn-ea"/>
                <a:cs typeface="+mn-cs"/>
              </a:rPr>
              <a:t>constant access</a:t>
            </a:r>
            <a:r>
              <a:rPr kumimoji="0" lang="en-US" sz="1200" b="0" i="0" u="none" strike="noStrike" kern="1200" cap="none" spc="0" normalizeH="0" baseline="0" noProof="0" dirty="0">
                <a:ln>
                  <a:noFill/>
                </a:ln>
                <a:solidFill>
                  <a:srgbClr val="000000"/>
                </a:solidFill>
                <a:effectLst/>
                <a:uLnTx/>
                <a:uFillTx/>
                <a:ea typeface="+mn-ea"/>
                <a:cs typeface="+mn-cs"/>
              </a:rPr>
              <a:t> to the </a:t>
            </a:r>
            <a:br>
              <a:rPr kumimoji="0" lang="en-US" sz="1200" b="0" i="0" u="none" strike="noStrike" kern="1200" cap="none" spc="0" normalizeH="0" baseline="0" noProof="0" dirty="0">
                <a:ln>
                  <a:noFill/>
                </a:ln>
                <a:solidFill>
                  <a:srgbClr val="000000"/>
                </a:solidFill>
                <a:effectLst/>
                <a:uLnTx/>
                <a:uFillTx/>
                <a:ea typeface="+mn-ea"/>
                <a:cs typeface="+mn-cs"/>
              </a:rPr>
            </a:br>
            <a:r>
              <a:rPr kumimoji="0" lang="en-US" sz="1200" b="0" i="0" u="none" strike="noStrike" kern="1200" cap="none" spc="0" normalizeH="0" baseline="0" noProof="0" dirty="0">
                <a:ln>
                  <a:noFill/>
                </a:ln>
                <a:solidFill>
                  <a:srgbClr val="000000"/>
                </a:solidFill>
                <a:effectLst/>
                <a:uLnTx/>
                <a:uFillTx/>
                <a:ea typeface="+mn-ea"/>
                <a:cs typeface="+mn-cs"/>
              </a:rPr>
              <a:t>entire knowledge of humanity </a:t>
            </a:r>
            <a:br>
              <a:rPr kumimoji="0" lang="en-US" sz="1200" b="0" i="0" u="none" strike="noStrike" kern="1200" cap="none" spc="0" normalizeH="0" baseline="0" noProof="0" dirty="0">
                <a:ln>
                  <a:noFill/>
                </a:ln>
                <a:solidFill>
                  <a:srgbClr val="000000"/>
                </a:solidFill>
                <a:effectLst/>
                <a:uLnTx/>
                <a:uFillTx/>
                <a:ea typeface="+mn-ea"/>
                <a:cs typeface="+mn-cs"/>
              </a:rPr>
            </a:br>
            <a:r>
              <a:rPr kumimoji="0" lang="en-US" sz="1200" b="0" i="0" u="none" strike="noStrike" kern="1200" cap="none" spc="0" normalizeH="0" baseline="0" noProof="0" dirty="0">
                <a:ln>
                  <a:noFill/>
                </a:ln>
                <a:solidFill>
                  <a:srgbClr val="000000"/>
                </a:solidFill>
                <a:effectLst/>
                <a:uLnTx/>
                <a:uFillTx/>
                <a:ea typeface="+mn-ea"/>
                <a:cs typeface="+mn-cs"/>
              </a:rPr>
              <a:t>at their fingertips.</a:t>
            </a:r>
          </a:p>
        </p:txBody>
      </p:sp>
      <p:sp>
        <p:nvSpPr>
          <p:cNvPr id="13" name="Rectangle 12">
            <a:extLst>
              <a:ext uri="{FF2B5EF4-FFF2-40B4-BE49-F238E27FC236}">
                <a16:creationId xmlns:a16="http://schemas.microsoft.com/office/drawing/2014/main" id="{83D6403F-0B94-4AE9-A058-0581272FB004}"/>
              </a:ext>
            </a:extLst>
          </p:cNvPr>
          <p:cNvSpPr/>
          <p:nvPr/>
        </p:nvSpPr>
        <p:spPr>
          <a:xfrm>
            <a:off x="1110462" y="4300255"/>
            <a:ext cx="2788060" cy="81962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6525" marR="0" lvl="0" indent="-17463" algn="r" defTabSz="914400" rtl="0" eaLnBrk="1" fontAlgn="auto" latinLnBrk="0" hangingPunct="1">
              <a:lnSpc>
                <a:spcPct val="120000"/>
              </a:lnSpc>
              <a:spcBef>
                <a:spcPts val="0"/>
              </a:spcBef>
              <a:spcAft>
                <a:spcPts val="600"/>
              </a:spcAft>
              <a:buClr>
                <a:srgbClr val="000000"/>
              </a:buClr>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Is creating and </a:t>
            </a:r>
            <a:r>
              <a:rPr kumimoji="0" lang="en-US" sz="1200" b="1" i="0" u="none" strike="noStrike" kern="1200" cap="none" spc="0" normalizeH="0" baseline="0" noProof="0" dirty="0">
                <a:ln>
                  <a:noFill/>
                </a:ln>
                <a:solidFill>
                  <a:srgbClr val="000000"/>
                </a:solidFill>
                <a:effectLst/>
                <a:uLnTx/>
                <a:uFillTx/>
                <a:ea typeface="+mn-ea"/>
                <a:cs typeface="+mn-cs"/>
              </a:rPr>
              <a:t>consuming media</a:t>
            </a:r>
            <a:r>
              <a:rPr kumimoji="0" lang="en-US" sz="1200" b="0" i="0" u="none" strike="noStrike" kern="1200" cap="none" spc="0" normalizeH="0" baseline="0" noProof="0" dirty="0">
                <a:ln>
                  <a:noFill/>
                </a:ln>
                <a:solidFill>
                  <a:srgbClr val="000000"/>
                </a:solidFill>
                <a:effectLst/>
                <a:uLnTx/>
                <a:uFillTx/>
                <a:ea typeface="+mn-ea"/>
                <a:cs typeface="+mn-cs"/>
              </a:rPr>
              <a:t> during every waking hour.</a:t>
            </a:r>
          </a:p>
        </p:txBody>
      </p:sp>
      <p:sp>
        <p:nvSpPr>
          <p:cNvPr id="14" name="Rectangle 13">
            <a:extLst>
              <a:ext uri="{FF2B5EF4-FFF2-40B4-BE49-F238E27FC236}">
                <a16:creationId xmlns:a16="http://schemas.microsoft.com/office/drawing/2014/main" id="{16C7FD0D-6513-4F19-9FBD-F34902109038}"/>
              </a:ext>
            </a:extLst>
          </p:cNvPr>
          <p:cNvSpPr/>
          <p:nvPr/>
        </p:nvSpPr>
        <p:spPr>
          <a:xfrm>
            <a:off x="1452970" y="5088525"/>
            <a:ext cx="2658158" cy="81962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6525" marR="0" lvl="0" indent="-15875" algn="r" defTabSz="914400" rtl="0" eaLnBrk="1" fontAlgn="auto" latinLnBrk="0" hangingPunct="1">
              <a:lnSpc>
                <a:spcPct val="120000"/>
              </a:lnSpc>
              <a:spcBef>
                <a:spcPts val="0"/>
              </a:spcBef>
              <a:spcAft>
                <a:spcPts val="600"/>
              </a:spcAft>
              <a:buClr>
                <a:srgbClr val="000000"/>
              </a:buClr>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Has </a:t>
            </a:r>
            <a:r>
              <a:rPr kumimoji="0" lang="en-US" sz="1200" b="1" i="0" u="none" strike="noStrike" kern="1200" cap="none" spc="0" normalizeH="0" baseline="0" noProof="0" dirty="0">
                <a:ln>
                  <a:noFill/>
                </a:ln>
                <a:solidFill>
                  <a:srgbClr val="000000"/>
                </a:solidFill>
                <a:effectLst/>
                <a:uLnTx/>
                <a:uFillTx/>
                <a:ea typeface="+mn-ea"/>
                <a:cs typeface="+mn-cs"/>
              </a:rPr>
              <a:t>more control</a:t>
            </a:r>
            <a:r>
              <a:rPr kumimoji="0" lang="en-US" sz="1200" b="0" i="0" u="none" strike="noStrike" kern="1200" cap="none" spc="0" normalizeH="0" baseline="0" noProof="0" dirty="0">
                <a:ln>
                  <a:noFill/>
                </a:ln>
                <a:solidFill>
                  <a:srgbClr val="000000"/>
                </a:solidFill>
                <a:effectLst/>
                <a:uLnTx/>
                <a:uFillTx/>
                <a:ea typeface="+mn-ea"/>
                <a:cs typeface="+mn-cs"/>
              </a:rPr>
              <a:t> over how they spend money than ever before.</a:t>
            </a:r>
          </a:p>
        </p:txBody>
      </p:sp>
      <p:sp>
        <p:nvSpPr>
          <p:cNvPr id="15" name="Freeform 39">
            <a:extLst>
              <a:ext uri="{FF2B5EF4-FFF2-40B4-BE49-F238E27FC236}">
                <a16:creationId xmlns:a16="http://schemas.microsoft.com/office/drawing/2014/main" id="{44C3B135-60FB-42B1-B80D-2E21EBAEEECD}"/>
              </a:ext>
            </a:extLst>
          </p:cNvPr>
          <p:cNvSpPr/>
          <p:nvPr/>
        </p:nvSpPr>
        <p:spPr>
          <a:xfrm>
            <a:off x="4348180" y="2284000"/>
            <a:ext cx="713678" cy="546409"/>
          </a:xfrm>
          <a:custGeom>
            <a:avLst/>
            <a:gdLst>
              <a:gd name="connsiteX0" fmla="*/ 0 w 713678"/>
              <a:gd name="connsiteY0" fmla="*/ 0 h 546409"/>
              <a:gd name="connsiteX1" fmla="*/ 345688 w 713678"/>
              <a:gd name="connsiteY1" fmla="*/ 0 h 546409"/>
              <a:gd name="connsiteX2" fmla="*/ 713678 w 713678"/>
              <a:gd name="connsiteY2" fmla="*/ 546409 h 546409"/>
              <a:gd name="connsiteX3" fmla="*/ 713678 w 713678"/>
              <a:gd name="connsiteY3" fmla="*/ 546409 h 546409"/>
            </a:gdLst>
            <a:ahLst/>
            <a:cxnLst>
              <a:cxn ang="0">
                <a:pos x="connsiteX0" y="connsiteY0"/>
              </a:cxn>
              <a:cxn ang="0">
                <a:pos x="connsiteX1" y="connsiteY1"/>
              </a:cxn>
              <a:cxn ang="0">
                <a:pos x="connsiteX2" y="connsiteY2"/>
              </a:cxn>
              <a:cxn ang="0">
                <a:pos x="connsiteX3" y="connsiteY3"/>
              </a:cxn>
            </a:cxnLst>
            <a:rect l="l" t="t" r="r" b="b"/>
            <a:pathLst>
              <a:path w="713678" h="546409">
                <a:moveTo>
                  <a:pt x="0" y="0"/>
                </a:moveTo>
                <a:lnTo>
                  <a:pt x="345688" y="0"/>
                </a:lnTo>
                <a:lnTo>
                  <a:pt x="713678" y="546409"/>
                </a:lnTo>
                <a:lnTo>
                  <a:pt x="713678" y="546409"/>
                </a:lnTo>
              </a:path>
            </a:pathLst>
          </a:custGeom>
          <a:noFill/>
          <a:ln w="28575">
            <a:solidFill>
              <a:schemeClr val="accent4"/>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16" name="Freeform 40">
            <a:extLst>
              <a:ext uri="{FF2B5EF4-FFF2-40B4-BE49-F238E27FC236}">
                <a16:creationId xmlns:a16="http://schemas.microsoft.com/office/drawing/2014/main" id="{6D768E01-2DBC-462E-8B2C-9DFA16663AFA}"/>
              </a:ext>
            </a:extLst>
          </p:cNvPr>
          <p:cNvSpPr/>
          <p:nvPr/>
        </p:nvSpPr>
        <p:spPr>
          <a:xfrm>
            <a:off x="3980190" y="3131492"/>
            <a:ext cx="959005" cy="167269"/>
          </a:xfrm>
          <a:custGeom>
            <a:avLst/>
            <a:gdLst>
              <a:gd name="connsiteX0" fmla="*/ 0 w 959005"/>
              <a:gd name="connsiteY0" fmla="*/ 0 h 167269"/>
              <a:gd name="connsiteX1" fmla="*/ 635619 w 959005"/>
              <a:gd name="connsiteY1" fmla="*/ 0 h 167269"/>
              <a:gd name="connsiteX2" fmla="*/ 959005 w 959005"/>
              <a:gd name="connsiteY2" fmla="*/ 167269 h 167269"/>
            </a:gdLst>
            <a:ahLst/>
            <a:cxnLst>
              <a:cxn ang="0">
                <a:pos x="connsiteX0" y="connsiteY0"/>
              </a:cxn>
              <a:cxn ang="0">
                <a:pos x="connsiteX1" y="connsiteY1"/>
              </a:cxn>
              <a:cxn ang="0">
                <a:pos x="connsiteX2" y="connsiteY2"/>
              </a:cxn>
            </a:cxnLst>
            <a:rect l="l" t="t" r="r" b="b"/>
            <a:pathLst>
              <a:path w="959005" h="167269">
                <a:moveTo>
                  <a:pt x="0" y="0"/>
                </a:moveTo>
                <a:lnTo>
                  <a:pt x="635619" y="0"/>
                </a:lnTo>
                <a:lnTo>
                  <a:pt x="959005" y="167269"/>
                </a:lnTo>
              </a:path>
            </a:pathLst>
          </a:custGeom>
          <a:noFill/>
          <a:ln w="28575">
            <a:solidFill>
              <a:schemeClr val="accent4"/>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cxnSp>
        <p:nvCxnSpPr>
          <p:cNvPr id="17" name="Straight Connector 16">
            <a:extLst>
              <a:ext uri="{FF2B5EF4-FFF2-40B4-BE49-F238E27FC236}">
                <a16:creationId xmlns:a16="http://schemas.microsoft.com/office/drawing/2014/main" id="{5A4A1AAB-299F-4106-9219-BB5D715E8D4C}"/>
              </a:ext>
            </a:extLst>
          </p:cNvPr>
          <p:cNvCxnSpPr/>
          <p:nvPr/>
        </p:nvCxnSpPr>
        <p:spPr>
          <a:xfrm>
            <a:off x="3898522" y="3880790"/>
            <a:ext cx="1023336" cy="0"/>
          </a:xfrm>
          <a:prstGeom prst="line">
            <a:avLst/>
          </a:prstGeom>
          <a:ln w="28575">
            <a:solidFill>
              <a:schemeClr val="accent4"/>
            </a:solidFill>
            <a:headEnd type="oval"/>
          </a:ln>
        </p:spPr>
        <p:style>
          <a:lnRef idx="1">
            <a:schemeClr val="accent1"/>
          </a:lnRef>
          <a:fillRef idx="0">
            <a:schemeClr val="accent1"/>
          </a:fillRef>
          <a:effectRef idx="0">
            <a:schemeClr val="accent1"/>
          </a:effectRef>
          <a:fontRef idx="minor">
            <a:schemeClr val="tx1"/>
          </a:fontRef>
        </p:style>
      </p:cxnSp>
      <p:sp>
        <p:nvSpPr>
          <p:cNvPr id="18" name="Freeform 42">
            <a:extLst>
              <a:ext uri="{FF2B5EF4-FFF2-40B4-BE49-F238E27FC236}">
                <a16:creationId xmlns:a16="http://schemas.microsoft.com/office/drawing/2014/main" id="{84F555A7-4AC0-4C20-86AD-9926B0BAA905}"/>
              </a:ext>
            </a:extLst>
          </p:cNvPr>
          <p:cNvSpPr/>
          <p:nvPr/>
        </p:nvSpPr>
        <p:spPr>
          <a:xfrm>
            <a:off x="4058248" y="4558848"/>
            <a:ext cx="880947" cy="89210"/>
          </a:xfrm>
          <a:custGeom>
            <a:avLst/>
            <a:gdLst>
              <a:gd name="connsiteX0" fmla="*/ 0 w 880947"/>
              <a:gd name="connsiteY0" fmla="*/ 89210 h 89210"/>
              <a:gd name="connsiteX1" fmla="*/ 579864 w 880947"/>
              <a:gd name="connsiteY1" fmla="*/ 89210 h 89210"/>
              <a:gd name="connsiteX2" fmla="*/ 880947 w 880947"/>
              <a:gd name="connsiteY2" fmla="*/ 0 h 89210"/>
            </a:gdLst>
            <a:ahLst/>
            <a:cxnLst>
              <a:cxn ang="0">
                <a:pos x="connsiteX0" y="connsiteY0"/>
              </a:cxn>
              <a:cxn ang="0">
                <a:pos x="connsiteX1" y="connsiteY1"/>
              </a:cxn>
              <a:cxn ang="0">
                <a:pos x="connsiteX2" y="connsiteY2"/>
              </a:cxn>
            </a:cxnLst>
            <a:rect l="l" t="t" r="r" b="b"/>
            <a:pathLst>
              <a:path w="880947" h="89210">
                <a:moveTo>
                  <a:pt x="0" y="89210"/>
                </a:moveTo>
                <a:lnTo>
                  <a:pt x="579864" y="89210"/>
                </a:lnTo>
                <a:lnTo>
                  <a:pt x="880947" y="0"/>
                </a:lnTo>
              </a:path>
            </a:pathLst>
          </a:custGeom>
          <a:noFill/>
          <a:ln w="28575">
            <a:solidFill>
              <a:schemeClr val="accent4"/>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19" name="Freeform 43">
            <a:extLst>
              <a:ext uri="{FF2B5EF4-FFF2-40B4-BE49-F238E27FC236}">
                <a16:creationId xmlns:a16="http://schemas.microsoft.com/office/drawing/2014/main" id="{3EEC5A64-0E5D-4E14-980E-D51282B12F7F}"/>
              </a:ext>
            </a:extLst>
          </p:cNvPr>
          <p:cNvSpPr/>
          <p:nvPr/>
        </p:nvSpPr>
        <p:spPr>
          <a:xfrm>
            <a:off x="4359331" y="4926839"/>
            <a:ext cx="680225" cy="490653"/>
          </a:xfrm>
          <a:custGeom>
            <a:avLst/>
            <a:gdLst>
              <a:gd name="connsiteX0" fmla="*/ 0 w 680225"/>
              <a:gd name="connsiteY0" fmla="*/ 490653 h 490653"/>
              <a:gd name="connsiteX1" fmla="*/ 379142 w 680225"/>
              <a:gd name="connsiteY1" fmla="*/ 490653 h 490653"/>
              <a:gd name="connsiteX2" fmla="*/ 680225 w 680225"/>
              <a:gd name="connsiteY2" fmla="*/ 0 h 490653"/>
            </a:gdLst>
            <a:ahLst/>
            <a:cxnLst>
              <a:cxn ang="0">
                <a:pos x="connsiteX0" y="connsiteY0"/>
              </a:cxn>
              <a:cxn ang="0">
                <a:pos x="connsiteX1" y="connsiteY1"/>
              </a:cxn>
              <a:cxn ang="0">
                <a:pos x="connsiteX2" y="connsiteY2"/>
              </a:cxn>
            </a:cxnLst>
            <a:rect l="l" t="t" r="r" b="b"/>
            <a:pathLst>
              <a:path w="680225" h="490653">
                <a:moveTo>
                  <a:pt x="0" y="490653"/>
                </a:moveTo>
                <a:lnTo>
                  <a:pt x="379142" y="490653"/>
                </a:lnTo>
                <a:lnTo>
                  <a:pt x="680225" y="0"/>
                </a:lnTo>
              </a:path>
            </a:pathLst>
          </a:custGeom>
          <a:noFill/>
          <a:ln w="28575">
            <a:solidFill>
              <a:schemeClr val="accent4"/>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20" name="Freeform 44">
            <a:extLst>
              <a:ext uri="{FF2B5EF4-FFF2-40B4-BE49-F238E27FC236}">
                <a16:creationId xmlns:a16="http://schemas.microsoft.com/office/drawing/2014/main" id="{7BE67C04-1D33-471E-8F2A-C0888B385CA5}"/>
              </a:ext>
            </a:extLst>
          </p:cNvPr>
          <p:cNvSpPr/>
          <p:nvPr/>
        </p:nvSpPr>
        <p:spPr>
          <a:xfrm>
            <a:off x="7046775" y="2484722"/>
            <a:ext cx="780585" cy="379141"/>
          </a:xfrm>
          <a:custGeom>
            <a:avLst/>
            <a:gdLst>
              <a:gd name="connsiteX0" fmla="*/ 780585 w 780585"/>
              <a:gd name="connsiteY0" fmla="*/ 0 h 379141"/>
              <a:gd name="connsiteX1" fmla="*/ 457200 w 780585"/>
              <a:gd name="connsiteY1" fmla="*/ 0 h 379141"/>
              <a:gd name="connsiteX2" fmla="*/ 0 w 780585"/>
              <a:gd name="connsiteY2" fmla="*/ 379141 h 379141"/>
            </a:gdLst>
            <a:ahLst/>
            <a:cxnLst>
              <a:cxn ang="0">
                <a:pos x="connsiteX0" y="connsiteY0"/>
              </a:cxn>
              <a:cxn ang="0">
                <a:pos x="connsiteX1" y="connsiteY1"/>
              </a:cxn>
              <a:cxn ang="0">
                <a:pos x="connsiteX2" y="connsiteY2"/>
              </a:cxn>
            </a:cxnLst>
            <a:rect l="l" t="t" r="r" b="b"/>
            <a:pathLst>
              <a:path w="780585" h="379141">
                <a:moveTo>
                  <a:pt x="780585" y="0"/>
                </a:moveTo>
                <a:lnTo>
                  <a:pt x="457200" y="0"/>
                </a:lnTo>
                <a:lnTo>
                  <a:pt x="0" y="379141"/>
                </a:lnTo>
              </a:path>
            </a:pathLst>
          </a:custGeom>
          <a:noFill/>
          <a:ln w="28575">
            <a:solidFill>
              <a:schemeClr val="accent4"/>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21" name="Freeform 45">
            <a:extLst>
              <a:ext uri="{FF2B5EF4-FFF2-40B4-BE49-F238E27FC236}">
                <a16:creationId xmlns:a16="http://schemas.microsoft.com/office/drawing/2014/main" id="{0E3F552C-A9E6-4CD5-A860-AF641B875900}"/>
              </a:ext>
            </a:extLst>
          </p:cNvPr>
          <p:cNvSpPr/>
          <p:nvPr/>
        </p:nvSpPr>
        <p:spPr>
          <a:xfrm>
            <a:off x="7102531" y="3142644"/>
            <a:ext cx="1126273" cy="144965"/>
          </a:xfrm>
          <a:custGeom>
            <a:avLst/>
            <a:gdLst>
              <a:gd name="connsiteX0" fmla="*/ 1126273 w 1126273"/>
              <a:gd name="connsiteY0" fmla="*/ 0 h 144965"/>
              <a:gd name="connsiteX1" fmla="*/ 401444 w 1126273"/>
              <a:gd name="connsiteY1" fmla="*/ 0 h 144965"/>
              <a:gd name="connsiteX2" fmla="*/ 0 w 1126273"/>
              <a:gd name="connsiteY2" fmla="*/ 144965 h 144965"/>
            </a:gdLst>
            <a:ahLst/>
            <a:cxnLst>
              <a:cxn ang="0">
                <a:pos x="connsiteX0" y="connsiteY0"/>
              </a:cxn>
              <a:cxn ang="0">
                <a:pos x="connsiteX1" y="connsiteY1"/>
              </a:cxn>
              <a:cxn ang="0">
                <a:pos x="connsiteX2" y="connsiteY2"/>
              </a:cxn>
            </a:cxnLst>
            <a:rect l="l" t="t" r="r" b="b"/>
            <a:pathLst>
              <a:path w="1126273" h="144965">
                <a:moveTo>
                  <a:pt x="1126273" y="0"/>
                </a:moveTo>
                <a:lnTo>
                  <a:pt x="401444" y="0"/>
                </a:lnTo>
                <a:lnTo>
                  <a:pt x="0" y="144965"/>
                </a:lnTo>
              </a:path>
            </a:pathLst>
          </a:custGeom>
          <a:noFill/>
          <a:ln w="28575">
            <a:solidFill>
              <a:schemeClr val="accent4"/>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22" name="Freeform 46">
            <a:extLst>
              <a:ext uri="{FF2B5EF4-FFF2-40B4-BE49-F238E27FC236}">
                <a16:creationId xmlns:a16="http://schemas.microsoft.com/office/drawing/2014/main" id="{0BA5DC09-3E76-486B-B047-785A46493CB4}"/>
              </a:ext>
            </a:extLst>
          </p:cNvPr>
          <p:cNvSpPr/>
          <p:nvPr/>
        </p:nvSpPr>
        <p:spPr>
          <a:xfrm>
            <a:off x="7113682" y="4793024"/>
            <a:ext cx="892098" cy="167268"/>
          </a:xfrm>
          <a:custGeom>
            <a:avLst/>
            <a:gdLst>
              <a:gd name="connsiteX0" fmla="*/ 892098 w 892098"/>
              <a:gd name="connsiteY0" fmla="*/ 167268 h 167268"/>
              <a:gd name="connsiteX1" fmla="*/ 367991 w 892098"/>
              <a:gd name="connsiteY1" fmla="*/ 167268 h 167268"/>
              <a:gd name="connsiteX2" fmla="*/ 0 w 892098"/>
              <a:gd name="connsiteY2" fmla="*/ 0 h 167268"/>
            </a:gdLst>
            <a:ahLst/>
            <a:cxnLst>
              <a:cxn ang="0">
                <a:pos x="connsiteX0" y="connsiteY0"/>
              </a:cxn>
              <a:cxn ang="0">
                <a:pos x="connsiteX1" y="connsiteY1"/>
              </a:cxn>
              <a:cxn ang="0">
                <a:pos x="connsiteX2" y="connsiteY2"/>
              </a:cxn>
            </a:cxnLst>
            <a:rect l="l" t="t" r="r" b="b"/>
            <a:pathLst>
              <a:path w="892098" h="167268">
                <a:moveTo>
                  <a:pt x="892098" y="167268"/>
                </a:moveTo>
                <a:lnTo>
                  <a:pt x="367991" y="167268"/>
                </a:lnTo>
                <a:lnTo>
                  <a:pt x="0" y="0"/>
                </a:lnTo>
              </a:path>
            </a:pathLst>
          </a:custGeom>
          <a:noFill/>
          <a:ln w="28575">
            <a:solidFill>
              <a:schemeClr val="accent4"/>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23" name="Freeform 47">
            <a:extLst>
              <a:ext uri="{FF2B5EF4-FFF2-40B4-BE49-F238E27FC236}">
                <a16:creationId xmlns:a16="http://schemas.microsoft.com/office/drawing/2014/main" id="{6546C9AD-E3F3-4C26-B6C2-5E7AEB037164}"/>
              </a:ext>
            </a:extLst>
          </p:cNvPr>
          <p:cNvSpPr/>
          <p:nvPr/>
        </p:nvSpPr>
        <p:spPr>
          <a:xfrm>
            <a:off x="7303253" y="3945531"/>
            <a:ext cx="1014761" cy="22303"/>
          </a:xfrm>
          <a:custGeom>
            <a:avLst/>
            <a:gdLst>
              <a:gd name="connsiteX0" fmla="*/ 1014761 w 1014761"/>
              <a:gd name="connsiteY0" fmla="*/ 22303 h 22303"/>
              <a:gd name="connsiteX1" fmla="*/ 256478 w 1014761"/>
              <a:gd name="connsiteY1" fmla="*/ 22303 h 22303"/>
              <a:gd name="connsiteX2" fmla="*/ 0 w 1014761"/>
              <a:gd name="connsiteY2" fmla="*/ 0 h 22303"/>
            </a:gdLst>
            <a:ahLst/>
            <a:cxnLst>
              <a:cxn ang="0">
                <a:pos x="connsiteX0" y="connsiteY0"/>
              </a:cxn>
              <a:cxn ang="0">
                <a:pos x="connsiteX1" y="connsiteY1"/>
              </a:cxn>
              <a:cxn ang="0">
                <a:pos x="connsiteX2" y="connsiteY2"/>
              </a:cxn>
            </a:cxnLst>
            <a:rect l="l" t="t" r="r" b="b"/>
            <a:pathLst>
              <a:path w="1014761" h="22303">
                <a:moveTo>
                  <a:pt x="1014761" y="22303"/>
                </a:moveTo>
                <a:lnTo>
                  <a:pt x="256478" y="22303"/>
                </a:lnTo>
                <a:lnTo>
                  <a:pt x="0" y="0"/>
                </a:lnTo>
              </a:path>
            </a:pathLst>
          </a:custGeom>
          <a:noFill/>
          <a:ln w="28575">
            <a:solidFill>
              <a:schemeClr val="accent4"/>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ea typeface="+mn-ea"/>
              <a:cs typeface="+mn-cs"/>
            </a:endParaRPr>
          </a:p>
        </p:txBody>
      </p:sp>
      <p:sp>
        <p:nvSpPr>
          <p:cNvPr id="24" name="Rectangle 23">
            <a:extLst>
              <a:ext uri="{FF2B5EF4-FFF2-40B4-BE49-F238E27FC236}">
                <a16:creationId xmlns:a16="http://schemas.microsoft.com/office/drawing/2014/main" id="{57D9AD61-3F24-4878-B0B9-4410DB601E8F}"/>
              </a:ext>
            </a:extLst>
          </p:cNvPr>
          <p:cNvSpPr/>
          <p:nvPr/>
        </p:nvSpPr>
        <p:spPr>
          <a:xfrm>
            <a:off x="914400" y="1828800"/>
            <a:ext cx="10573827" cy="4234543"/>
          </a:xfrm>
          <a:prstGeom prst="rect">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25" name="Title 1">
            <a:extLst>
              <a:ext uri="{FF2B5EF4-FFF2-40B4-BE49-F238E27FC236}">
                <a16:creationId xmlns:a16="http://schemas.microsoft.com/office/drawing/2014/main" id="{DB1F6C3D-C1AE-4B9F-917A-39CAD9A2565B}"/>
              </a:ext>
            </a:extLst>
          </p:cNvPr>
          <p:cNvSpPr txBox="1">
            <a:spLocks/>
          </p:cNvSpPr>
          <p:nvPr/>
        </p:nvSpPr>
        <p:spPr>
          <a:xfrm>
            <a:off x="8418137" y="5970840"/>
            <a:ext cx="2710697" cy="290375"/>
          </a:xfrm>
          <a:prstGeom prst="rect">
            <a:avLst/>
          </a:prstGeom>
          <a:solidFill>
            <a:schemeClr val="bg1"/>
          </a:solidFill>
        </p:spPr>
        <p:txBody>
          <a:bodyPr vert="horz" lIns="0" tIns="45720" rIns="91440" bIns="0" rtlCol="0" anchor="t" anchorCtr="0">
            <a:noAutofit/>
          </a:bodyPr>
          <a:lstStyle>
            <a:lvl1pPr algn="l" defTabSz="685800" rtl="0" eaLnBrk="1" latinLnBrk="0" hangingPunct="1">
              <a:lnSpc>
                <a:spcPct val="85000"/>
              </a:lnSpc>
              <a:spcBef>
                <a:spcPct val="0"/>
              </a:spcBef>
              <a:buNone/>
              <a:defRPr sz="3600" b="0" i="0" kern="1200" cap="none" spc="-75" baseline="0">
                <a:solidFill>
                  <a:schemeClr val="tx1"/>
                </a:solidFill>
                <a:latin typeface="+mj-lt"/>
                <a:ea typeface="Bebas Neue" charset="0"/>
                <a:cs typeface="Chronicle Display Black"/>
              </a:defRPr>
            </a:lvl1pPr>
          </a:lstStyle>
          <a:p>
            <a:pPr marL="0" marR="0" lvl="0" indent="0" algn="ctr" defTabSz="685800" rtl="0" eaLnBrk="1" fontAlgn="auto" latinLnBrk="0" hangingPunct="1">
              <a:lnSpc>
                <a:spcPct val="85000"/>
              </a:lnSpc>
              <a:spcBef>
                <a:spcPct val="0"/>
              </a:spcBef>
              <a:spcAft>
                <a:spcPts val="0"/>
              </a:spcAft>
              <a:buClrTx/>
              <a:buSzTx/>
              <a:buFontTx/>
              <a:buNone/>
              <a:tabLst/>
              <a:defRPr/>
            </a:pPr>
            <a:r>
              <a:rPr kumimoji="0" lang="en-US" sz="1400" b="0" i="0" u="none" strike="noStrike" kern="1200" cap="none" spc="200" normalizeH="0" baseline="0" noProof="0" dirty="0">
                <a:ln>
                  <a:noFill/>
                </a:ln>
                <a:solidFill>
                  <a:srgbClr val="000000"/>
                </a:solidFill>
                <a:effectLst/>
                <a:uLnTx/>
                <a:uFillTx/>
                <a:latin typeface="+mn-lt"/>
                <a:ea typeface="Nexa Black" charset="0"/>
                <a:cs typeface="Nexa Black" charset="0"/>
              </a:rPr>
              <a:t> </a:t>
            </a:r>
            <a:r>
              <a:rPr kumimoji="0" lang="en-US" sz="1400" b="0" i="0" u="none" strike="noStrike" kern="1200" cap="none" spc="0" normalizeH="0" noProof="0" dirty="0">
                <a:ln>
                  <a:noFill/>
                </a:ln>
                <a:solidFill>
                  <a:srgbClr val="000000"/>
                </a:solidFill>
                <a:effectLst/>
                <a:uLnTx/>
                <a:uFillTx/>
                <a:latin typeface="+mn-lt"/>
                <a:ea typeface="Nexa Black" charset="0"/>
                <a:cs typeface="Nexa Black" charset="0"/>
              </a:rPr>
              <a:t>START WITH THE CUSTOMER</a:t>
            </a:r>
          </a:p>
        </p:txBody>
      </p:sp>
      <p:sp>
        <p:nvSpPr>
          <p:cNvPr id="26" name="Rectangle 25">
            <a:extLst>
              <a:ext uri="{FF2B5EF4-FFF2-40B4-BE49-F238E27FC236}">
                <a16:creationId xmlns:a16="http://schemas.microsoft.com/office/drawing/2014/main" id="{8AEFF5A8-7317-405F-A486-F4C8098BC8AD}"/>
              </a:ext>
            </a:extLst>
          </p:cNvPr>
          <p:cNvSpPr/>
          <p:nvPr/>
        </p:nvSpPr>
        <p:spPr>
          <a:xfrm>
            <a:off x="5009393" y="1896205"/>
            <a:ext cx="2060002" cy="365812"/>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113" marR="0" lvl="0" indent="0" algn="ctr" defTabSz="914400" rtl="0" eaLnBrk="1" fontAlgn="auto" latinLnBrk="0" hangingPunct="1">
              <a:lnSpc>
                <a:spcPct val="120000"/>
              </a:lnSpc>
              <a:spcBef>
                <a:spcPts val="0"/>
              </a:spcBef>
              <a:spcAft>
                <a:spcPts val="600"/>
              </a:spcAft>
              <a:buClr>
                <a:srgbClr val="000000"/>
              </a:buClr>
              <a:buSzTx/>
              <a:buFontTx/>
              <a:buNone/>
              <a:tabLst/>
              <a:defRPr/>
            </a:pPr>
            <a:r>
              <a:rPr kumimoji="0" lang="en-US" sz="1600" b="1" i="0" u="none" strike="noStrike" kern="1200" cap="none" spc="0" normalizeH="0" baseline="0" noProof="0" dirty="0">
                <a:ln>
                  <a:noFill/>
                </a:ln>
                <a:solidFill>
                  <a:srgbClr val="000000"/>
                </a:solidFill>
                <a:effectLst/>
                <a:uLnTx/>
                <a:uFillTx/>
                <a:ea typeface="+mn-ea"/>
                <a:cs typeface="+mn-cs"/>
              </a:rPr>
              <a:t>Today’s customer</a:t>
            </a:r>
          </a:p>
        </p:txBody>
      </p:sp>
      <p:grpSp>
        <p:nvGrpSpPr>
          <p:cNvPr id="27" name="Group 26">
            <a:extLst>
              <a:ext uri="{FF2B5EF4-FFF2-40B4-BE49-F238E27FC236}">
                <a16:creationId xmlns:a16="http://schemas.microsoft.com/office/drawing/2014/main" id="{78DCC17C-5885-4FBB-9E97-411F1166E41B}"/>
              </a:ext>
            </a:extLst>
          </p:cNvPr>
          <p:cNvGrpSpPr>
            <a:grpSpLocks noChangeAspect="1"/>
          </p:cNvGrpSpPr>
          <p:nvPr/>
        </p:nvGrpSpPr>
        <p:grpSpPr>
          <a:xfrm>
            <a:off x="5468696" y="3216653"/>
            <a:ext cx="1271239" cy="1271239"/>
            <a:chOff x="152400" y="1090613"/>
            <a:chExt cx="527050" cy="527050"/>
          </a:xfrm>
          <a:solidFill>
            <a:schemeClr val="accent4"/>
          </a:solidFill>
        </p:grpSpPr>
        <p:sp>
          <p:nvSpPr>
            <p:cNvPr id="28" name="Freeform 56">
              <a:extLst>
                <a:ext uri="{FF2B5EF4-FFF2-40B4-BE49-F238E27FC236}">
                  <a16:creationId xmlns:a16="http://schemas.microsoft.com/office/drawing/2014/main" id="{16375C30-89FE-4D4F-82F9-13A63E8DD27A}"/>
                </a:ext>
              </a:extLst>
            </p:cNvPr>
            <p:cNvSpPr>
              <a:spLocks/>
            </p:cNvSpPr>
            <p:nvPr/>
          </p:nvSpPr>
          <p:spPr bwMode="auto">
            <a:xfrm>
              <a:off x="152400" y="1276350"/>
              <a:ext cx="152400" cy="273050"/>
            </a:xfrm>
            <a:custGeom>
              <a:avLst/>
              <a:gdLst>
                <a:gd name="T0" fmla="*/ 129 w 386"/>
                <a:gd name="T1" fmla="*/ 373 h 686"/>
                <a:gd name="T2" fmla="*/ 129 w 386"/>
                <a:gd name="T3" fmla="*/ 664 h 686"/>
                <a:gd name="T4" fmla="*/ 129 w 386"/>
                <a:gd name="T5" fmla="*/ 664 h 686"/>
                <a:gd name="T6" fmla="*/ 130 w 386"/>
                <a:gd name="T7" fmla="*/ 669 h 686"/>
                <a:gd name="T8" fmla="*/ 131 w 386"/>
                <a:gd name="T9" fmla="*/ 673 h 686"/>
                <a:gd name="T10" fmla="*/ 133 w 386"/>
                <a:gd name="T11" fmla="*/ 676 h 686"/>
                <a:gd name="T12" fmla="*/ 135 w 386"/>
                <a:gd name="T13" fmla="*/ 680 h 686"/>
                <a:gd name="T14" fmla="*/ 138 w 386"/>
                <a:gd name="T15" fmla="*/ 682 h 686"/>
                <a:gd name="T16" fmla="*/ 141 w 386"/>
                <a:gd name="T17" fmla="*/ 684 h 686"/>
                <a:gd name="T18" fmla="*/ 146 w 386"/>
                <a:gd name="T19" fmla="*/ 685 h 686"/>
                <a:gd name="T20" fmla="*/ 150 w 386"/>
                <a:gd name="T21" fmla="*/ 686 h 686"/>
                <a:gd name="T22" fmla="*/ 365 w 386"/>
                <a:gd name="T23" fmla="*/ 686 h 686"/>
                <a:gd name="T24" fmla="*/ 365 w 386"/>
                <a:gd name="T25" fmla="*/ 686 h 686"/>
                <a:gd name="T26" fmla="*/ 369 w 386"/>
                <a:gd name="T27" fmla="*/ 685 h 686"/>
                <a:gd name="T28" fmla="*/ 373 w 386"/>
                <a:gd name="T29" fmla="*/ 684 h 686"/>
                <a:gd name="T30" fmla="*/ 377 w 386"/>
                <a:gd name="T31" fmla="*/ 682 h 686"/>
                <a:gd name="T32" fmla="*/ 380 w 386"/>
                <a:gd name="T33" fmla="*/ 680 h 686"/>
                <a:gd name="T34" fmla="*/ 382 w 386"/>
                <a:gd name="T35" fmla="*/ 676 h 686"/>
                <a:gd name="T36" fmla="*/ 384 w 386"/>
                <a:gd name="T37" fmla="*/ 673 h 686"/>
                <a:gd name="T38" fmla="*/ 386 w 386"/>
                <a:gd name="T39" fmla="*/ 669 h 686"/>
                <a:gd name="T40" fmla="*/ 386 w 386"/>
                <a:gd name="T41" fmla="*/ 664 h 686"/>
                <a:gd name="T42" fmla="*/ 386 w 386"/>
                <a:gd name="T43" fmla="*/ 434 h 686"/>
                <a:gd name="T44" fmla="*/ 362 w 386"/>
                <a:gd name="T45" fmla="*/ 410 h 686"/>
                <a:gd name="T46" fmla="*/ 362 w 386"/>
                <a:gd name="T47" fmla="*/ 410 h 686"/>
                <a:gd name="T48" fmla="*/ 354 w 386"/>
                <a:gd name="T49" fmla="*/ 400 h 686"/>
                <a:gd name="T50" fmla="*/ 348 w 386"/>
                <a:gd name="T51" fmla="*/ 389 h 686"/>
                <a:gd name="T52" fmla="*/ 344 w 386"/>
                <a:gd name="T53" fmla="*/ 377 h 686"/>
                <a:gd name="T54" fmla="*/ 343 w 386"/>
                <a:gd name="T55" fmla="*/ 364 h 686"/>
                <a:gd name="T56" fmla="*/ 343 w 386"/>
                <a:gd name="T57" fmla="*/ 0 h 686"/>
                <a:gd name="T58" fmla="*/ 22 w 386"/>
                <a:gd name="T59" fmla="*/ 0 h 686"/>
                <a:gd name="T60" fmla="*/ 22 w 386"/>
                <a:gd name="T61" fmla="*/ 0 h 686"/>
                <a:gd name="T62" fmla="*/ 17 w 386"/>
                <a:gd name="T63" fmla="*/ 0 h 686"/>
                <a:gd name="T64" fmla="*/ 13 w 386"/>
                <a:gd name="T65" fmla="*/ 2 h 686"/>
                <a:gd name="T66" fmla="*/ 10 w 386"/>
                <a:gd name="T67" fmla="*/ 3 h 686"/>
                <a:gd name="T68" fmla="*/ 6 w 386"/>
                <a:gd name="T69" fmla="*/ 7 h 686"/>
                <a:gd name="T70" fmla="*/ 4 w 386"/>
                <a:gd name="T71" fmla="*/ 10 h 686"/>
                <a:gd name="T72" fmla="*/ 2 w 386"/>
                <a:gd name="T73" fmla="*/ 13 h 686"/>
                <a:gd name="T74" fmla="*/ 1 w 386"/>
                <a:gd name="T75" fmla="*/ 17 h 686"/>
                <a:gd name="T76" fmla="*/ 0 w 386"/>
                <a:gd name="T77" fmla="*/ 22 h 686"/>
                <a:gd name="T78" fmla="*/ 0 w 386"/>
                <a:gd name="T79" fmla="*/ 236 h 686"/>
                <a:gd name="T80" fmla="*/ 0 w 386"/>
                <a:gd name="T81" fmla="*/ 236 h 686"/>
                <a:gd name="T82" fmla="*/ 1 w 386"/>
                <a:gd name="T83" fmla="*/ 240 h 686"/>
                <a:gd name="T84" fmla="*/ 2 w 386"/>
                <a:gd name="T85" fmla="*/ 244 h 686"/>
                <a:gd name="T86" fmla="*/ 4 w 386"/>
                <a:gd name="T87" fmla="*/ 248 h 686"/>
                <a:gd name="T88" fmla="*/ 6 w 386"/>
                <a:gd name="T89" fmla="*/ 251 h 686"/>
                <a:gd name="T90" fmla="*/ 129 w 386"/>
                <a:gd name="T91" fmla="*/ 373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6" h="686">
                  <a:moveTo>
                    <a:pt x="129" y="373"/>
                  </a:moveTo>
                  <a:lnTo>
                    <a:pt x="129" y="664"/>
                  </a:lnTo>
                  <a:lnTo>
                    <a:pt x="129" y="664"/>
                  </a:lnTo>
                  <a:lnTo>
                    <a:pt x="130" y="669"/>
                  </a:lnTo>
                  <a:lnTo>
                    <a:pt x="131" y="673"/>
                  </a:lnTo>
                  <a:lnTo>
                    <a:pt x="133" y="676"/>
                  </a:lnTo>
                  <a:lnTo>
                    <a:pt x="135" y="680"/>
                  </a:lnTo>
                  <a:lnTo>
                    <a:pt x="138" y="682"/>
                  </a:lnTo>
                  <a:lnTo>
                    <a:pt x="141" y="684"/>
                  </a:lnTo>
                  <a:lnTo>
                    <a:pt x="146" y="685"/>
                  </a:lnTo>
                  <a:lnTo>
                    <a:pt x="150" y="686"/>
                  </a:lnTo>
                  <a:lnTo>
                    <a:pt x="365" y="686"/>
                  </a:lnTo>
                  <a:lnTo>
                    <a:pt x="365" y="686"/>
                  </a:lnTo>
                  <a:lnTo>
                    <a:pt x="369" y="685"/>
                  </a:lnTo>
                  <a:lnTo>
                    <a:pt x="373" y="684"/>
                  </a:lnTo>
                  <a:lnTo>
                    <a:pt x="377" y="682"/>
                  </a:lnTo>
                  <a:lnTo>
                    <a:pt x="380" y="680"/>
                  </a:lnTo>
                  <a:lnTo>
                    <a:pt x="382" y="676"/>
                  </a:lnTo>
                  <a:lnTo>
                    <a:pt x="384" y="673"/>
                  </a:lnTo>
                  <a:lnTo>
                    <a:pt x="386" y="669"/>
                  </a:lnTo>
                  <a:lnTo>
                    <a:pt x="386" y="664"/>
                  </a:lnTo>
                  <a:lnTo>
                    <a:pt x="386" y="434"/>
                  </a:lnTo>
                  <a:lnTo>
                    <a:pt x="362" y="410"/>
                  </a:lnTo>
                  <a:lnTo>
                    <a:pt x="362" y="410"/>
                  </a:lnTo>
                  <a:lnTo>
                    <a:pt x="354" y="400"/>
                  </a:lnTo>
                  <a:lnTo>
                    <a:pt x="348" y="389"/>
                  </a:lnTo>
                  <a:lnTo>
                    <a:pt x="344" y="377"/>
                  </a:lnTo>
                  <a:lnTo>
                    <a:pt x="343" y="364"/>
                  </a:lnTo>
                  <a:lnTo>
                    <a:pt x="343" y="0"/>
                  </a:lnTo>
                  <a:lnTo>
                    <a:pt x="22" y="0"/>
                  </a:lnTo>
                  <a:lnTo>
                    <a:pt x="22" y="0"/>
                  </a:lnTo>
                  <a:lnTo>
                    <a:pt x="17" y="0"/>
                  </a:lnTo>
                  <a:lnTo>
                    <a:pt x="13" y="2"/>
                  </a:lnTo>
                  <a:lnTo>
                    <a:pt x="10" y="3"/>
                  </a:lnTo>
                  <a:lnTo>
                    <a:pt x="6" y="7"/>
                  </a:lnTo>
                  <a:lnTo>
                    <a:pt x="4" y="10"/>
                  </a:lnTo>
                  <a:lnTo>
                    <a:pt x="2" y="13"/>
                  </a:lnTo>
                  <a:lnTo>
                    <a:pt x="1" y="17"/>
                  </a:lnTo>
                  <a:lnTo>
                    <a:pt x="0" y="22"/>
                  </a:lnTo>
                  <a:lnTo>
                    <a:pt x="0" y="236"/>
                  </a:lnTo>
                  <a:lnTo>
                    <a:pt x="0" y="236"/>
                  </a:lnTo>
                  <a:lnTo>
                    <a:pt x="1" y="240"/>
                  </a:lnTo>
                  <a:lnTo>
                    <a:pt x="2" y="244"/>
                  </a:lnTo>
                  <a:lnTo>
                    <a:pt x="4" y="248"/>
                  </a:lnTo>
                  <a:lnTo>
                    <a:pt x="6" y="251"/>
                  </a:lnTo>
                  <a:lnTo>
                    <a:pt x="129" y="37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9" name="Freeform 57">
              <a:extLst>
                <a:ext uri="{FF2B5EF4-FFF2-40B4-BE49-F238E27FC236}">
                  <a16:creationId xmlns:a16="http://schemas.microsoft.com/office/drawing/2014/main" id="{946F501B-3548-4DA7-917A-48B506D23401}"/>
                </a:ext>
              </a:extLst>
            </p:cNvPr>
            <p:cNvSpPr>
              <a:spLocks/>
            </p:cNvSpPr>
            <p:nvPr/>
          </p:nvSpPr>
          <p:spPr bwMode="auto">
            <a:xfrm>
              <a:off x="527050" y="1276350"/>
              <a:ext cx="152400" cy="273050"/>
            </a:xfrm>
            <a:custGeom>
              <a:avLst/>
              <a:gdLst>
                <a:gd name="T0" fmla="*/ 364 w 385"/>
                <a:gd name="T1" fmla="*/ 0 h 686"/>
                <a:gd name="T2" fmla="*/ 43 w 385"/>
                <a:gd name="T3" fmla="*/ 0 h 686"/>
                <a:gd name="T4" fmla="*/ 43 w 385"/>
                <a:gd name="T5" fmla="*/ 364 h 686"/>
                <a:gd name="T6" fmla="*/ 43 w 385"/>
                <a:gd name="T7" fmla="*/ 364 h 686"/>
                <a:gd name="T8" fmla="*/ 42 w 385"/>
                <a:gd name="T9" fmla="*/ 377 h 686"/>
                <a:gd name="T10" fmla="*/ 38 w 385"/>
                <a:gd name="T11" fmla="*/ 389 h 686"/>
                <a:gd name="T12" fmla="*/ 32 w 385"/>
                <a:gd name="T13" fmla="*/ 400 h 686"/>
                <a:gd name="T14" fmla="*/ 24 w 385"/>
                <a:gd name="T15" fmla="*/ 410 h 686"/>
                <a:gd name="T16" fmla="*/ 0 w 385"/>
                <a:gd name="T17" fmla="*/ 434 h 686"/>
                <a:gd name="T18" fmla="*/ 0 w 385"/>
                <a:gd name="T19" fmla="*/ 664 h 686"/>
                <a:gd name="T20" fmla="*/ 0 w 385"/>
                <a:gd name="T21" fmla="*/ 664 h 686"/>
                <a:gd name="T22" fmla="*/ 1 w 385"/>
                <a:gd name="T23" fmla="*/ 669 h 686"/>
                <a:gd name="T24" fmla="*/ 2 w 385"/>
                <a:gd name="T25" fmla="*/ 673 h 686"/>
                <a:gd name="T26" fmla="*/ 4 w 385"/>
                <a:gd name="T27" fmla="*/ 676 h 686"/>
                <a:gd name="T28" fmla="*/ 6 w 385"/>
                <a:gd name="T29" fmla="*/ 680 h 686"/>
                <a:gd name="T30" fmla="*/ 9 w 385"/>
                <a:gd name="T31" fmla="*/ 682 h 686"/>
                <a:gd name="T32" fmla="*/ 13 w 385"/>
                <a:gd name="T33" fmla="*/ 684 h 686"/>
                <a:gd name="T34" fmla="*/ 17 w 385"/>
                <a:gd name="T35" fmla="*/ 685 h 686"/>
                <a:gd name="T36" fmla="*/ 21 w 385"/>
                <a:gd name="T37" fmla="*/ 686 h 686"/>
                <a:gd name="T38" fmla="*/ 235 w 385"/>
                <a:gd name="T39" fmla="*/ 686 h 686"/>
                <a:gd name="T40" fmla="*/ 235 w 385"/>
                <a:gd name="T41" fmla="*/ 686 h 686"/>
                <a:gd name="T42" fmla="*/ 239 w 385"/>
                <a:gd name="T43" fmla="*/ 685 h 686"/>
                <a:gd name="T44" fmla="*/ 244 w 385"/>
                <a:gd name="T45" fmla="*/ 684 h 686"/>
                <a:gd name="T46" fmla="*/ 247 w 385"/>
                <a:gd name="T47" fmla="*/ 682 h 686"/>
                <a:gd name="T48" fmla="*/ 250 w 385"/>
                <a:gd name="T49" fmla="*/ 680 h 686"/>
                <a:gd name="T50" fmla="*/ 254 w 385"/>
                <a:gd name="T51" fmla="*/ 676 h 686"/>
                <a:gd name="T52" fmla="*/ 256 w 385"/>
                <a:gd name="T53" fmla="*/ 673 h 686"/>
                <a:gd name="T54" fmla="*/ 257 w 385"/>
                <a:gd name="T55" fmla="*/ 669 h 686"/>
                <a:gd name="T56" fmla="*/ 257 w 385"/>
                <a:gd name="T57" fmla="*/ 664 h 686"/>
                <a:gd name="T58" fmla="*/ 257 w 385"/>
                <a:gd name="T59" fmla="*/ 373 h 686"/>
                <a:gd name="T60" fmla="*/ 379 w 385"/>
                <a:gd name="T61" fmla="*/ 251 h 686"/>
                <a:gd name="T62" fmla="*/ 379 w 385"/>
                <a:gd name="T63" fmla="*/ 251 h 686"/>
                <a:gd name="T64" fmla="*/ 382 w 385"/>
                <a:gd name="T65" fmla="*/ 248 h 686"/>
                <a:gd name="T66" fmla="*/ 384 w 385"/>
                <a:gd name="T67" fmla="*/ 244 h 686"/>
                <a:gd name="T68" fmla="*/ 385 w 385"/>
                <a:gd name="T69" fmla="*/ 240 h 686"/>
                <a:gd name="T70" fmla="*/ 385 w 385"/>
                <a:gd name="T71" fmla="*/ 236 h 686"/>
                <a:gd name="T72" fmla="*/ 385 w 385"/>
                <a:gd name="T73" fmla="*/ 22 h 686"/>
                <a:gd name="T74" fmla="*/ 385 w 385"/>
                <a:gd name="T75" fmla="*/ 22 h 686"/>
                <a:gd name="T76" fmla="*/ 385 w 385"/>
                <a:gd name="T77" fmla="*/ 17 h 686"/>
                <a:gd name="T78" fmla="*/ 384 w 385"/>
                <a:gd name="T79" fmla="*/ 13 h 686"/>
                <a:gd name="T80" fmla="*/ 382 w 385"/>
                <a:gd name="T81" fmla="*/ 10 h 686"/>
                <a:gd name="T82" fmla="*/ 379 w 385"/>
                <a:gd name="T83" fmla="*/ 7 h 686"/>
                <a:gd name="T84" fmla="*/ 376 w 385"/>
                <a:gd name="T85" fmla="*/ 3 h 686"/>
                <a:gd name="T86" fmla="*/ 372 w 385"/>
                <a:gd name="T87" fmla="*/ 2 h 686"/>
                <a:gd name="T88" fmla="*/ 368 w 385"/>
                <a:gd name="T89" fmla="*/ 0 h 686"/>
                <a:gd name="T90" fmla="*/ 364 w 385"/>
                <a:gd name="T91" fmla="*/ 0 h 686"/>
                <a:gd name="T92" fmla="*/ 364 w 385"/>
                <a:gd name="T93"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85" h="686">
                  <a:moveTo>
                    <a:pt x="364" y="0"/>
                  </a:moveTo>
                  <a:lnTo>
                    <a:pt x="43" y="0"/>
                  </a:lnTo>
                  <a:lnTo>
                    <a:pt x="43" y="364"/>
                  </a:lnTo>
                  <a:lnTo>
                    <a:pt x="43" y="364"/>
                  </a:lnTo>
                  <a:lnTo>
                    <a:pt x="42" y="377"/>
                  </a:lnTo>
                  <a:lnTo>
                    <a:pt x="38" y="389"/>
                  </a:lnTo>
                  <a:lnTo>
                    <a:pt x="32" y="400"/>
                  </a:lnTo>
                  <a:lnTo>
                    <a:pt x="24" y="410"/>
                  </a:lnTo>
                  <a:lnTo>
                    <a:pt x="0" y="434"/>
                  </a:lnTo>
                  <a:lnTo>
                    <a:pt x="0" y="664"/>
                  </a:lnTo>
                  <a:lnTo>
                    <a:pt x="0" y="664"/>
                  </a:lnTo>
                  <a:lnTo>
                    <a:pt x="1" y="669"/>
                  </a:lnTo>
                  <a:lnTo>
                    <a:pt x="2" y="673"/>
                  </a:lnTo>
                  <a:lnTo>
                    <a:pt x="4" y="676"/>
                  </a:lnTo>
                  <a:lnTo>
                    <a:pt x="6" y="680"/>
                  </a:lnTo>
                  <a:lnTo>
                    <a:pt x="9" y="682"/>
                  </a:lnTo>
                  <a:lnTo>
                    <a:pt x="13" y="684"/>
                  </a:lnTo>
                  <a:lnTo>
                    <a:pt x="17" y="685"/>
                  </a:lnTo>
                  <a:lnTo>
                    <a:pt x="21" y="686"/>
                  </a:lnTo>
                  <a:lnTo>
                    <a:pt x="235" y="686"/>
                  </a:lnTo>
                  <a:lnTo>
                    <a:pt x="235" y="686"/>
                  </a:lnTo>
                  <a:lnTo>
                    <a:pt x="239" y="685"/>
                  </a:lnTo>
                  <a:lnTo>
                    <a:pt x="244" y="684"/>
                  </a:lnTo>
                  <a:lnTo>
                    <a:pt x="247" y="682"/>
                  </a:lnTo>
                  <a:lnTo>
                    <a:pt x="250" y="680"/>
                  </a:lnTo>
                  <a:lnTo>
                    <a:pt x="254" y="676"/>
                  </a:lnTo>
                  <a:lnTo>
                    <a:pt x="256" y="673"/>
                  </a:lnTo>
                  <a:lnTo>
                    <a:pt x="257" y="669"/>
                  </a:lnTo>
                  <a:lnTo>
                    <a:pt x="257" y="664"/>
                  </a:lnTo>
                  <a:lnTo>
                    <a:pt x="257" y="373"/>
                  </a:lnTo>
                  <a:lnTo>
                    <a:pt x="379" y="251"/>
                  </a:lnTo>
                  <a:lnTo>
                    <a:pt x="379" y="251"/>
                  </a:lnTo>
                  <a:lnTo>
                    <a:pt x="382" y="248"/>
                  </a:lnTo>
                  <a:lnTo>
                    <a:pt x="384" y="244"/>
                  </a:lnTo>
                  <a:lnTo>
                    <a:pt x="385" y="240"/>
                  </a:lnTo>
                  <a:lnTo>
                    <a:pt x="385" y="236"/>
                  </a:lnTo>
                  <a:lnTo>
                    <a:pt x="385" y="22"/>
                  </a:lnTo>
                  <a:lnTo>
                    <a:pt x="385" y="22"/>
                  </a:lnTo>
                  <a:lnTo>
                    <a:pt x="385" y="17"/>
                  </a:lnTo>
                  <a:lnTo>
                    <a:pt x="384" y="13"/>
                  </a:lnTo>
                  <a:lnTo>
                    <a:pt x="382" y="10"/>
                  </a:lnTo>
                  <a:lnTo>
                    <a:pt x="379" y="7"/>
                  </a:lnTo>
                  <a:lnTo>
                    <a:pt x="376" y="3"/>
                  </a:lnTo>
                  <a:lnTo>
                    <a:pt x="372" y="2"/>
                  </a:lnTo>
                  <a:lnTo>
                    <a:pt x="368" y="0"/>
                  </a:lnTo>
                  <a:lnTo>
                    <a:pt x="364" y="0"/>
                  </a:lnTo>
                  <a:lnTo>
                    <a:pt x="36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0" name="Freeform 58">
              <a:extLst>
                <a:ext uri="{FF2B5EF4-FFF2-40B4-BE49-F238E27FC236}">
                  <a16:creationId xmlns:a16="http://schemas.microsoft.com/office/drawing/2014/main" id="{60F77078-ADA1-4F96-B036-E682E40D47F7}"/>
                </a:ext>
              </a:extLst>
            </p:cNvPr>
            <p:cNvSpPr>
              <a:spLocks/>
            </p:cNvSpPr>
            <p:nvPr/>
          </p:nvSpPr>
          <p:spPr bwMode="auto">
            <a:xfrm>
              <a:off x="304800" y="1276350"/>
              <a:ext cx="222250" cy="341313"/>
            </a:xfrm>
            <a:custGeom>
              <a:avLst/>
              <a:gdLst>
                <a:gd name="T0" fmla="*/ 557 w 557"/>
                <a:gd name="T1" fmla="*/ 22 h 858"/>
                <a:gd name="T2" fmla="*/ 557 w 557"/>
                <a:gd name="T3" fmla="*/ 22 h 858"/>
                <a:gd name="T4" fmla="*/ 557 w 557"/>
                <a:gd name="T5" fmla="*/ 17 h 858"/>
                <a:gd name="T6" fmla="*/ 556 w 557"/>
                <a:gd name="T7" fmla="*/ 13 h 858"/>
                <a:gd name="T8" fmla="*/ 554 w 557"/>
                <a:gd name="T9" fmla="*/ 10 h 858"/>
                <a:gd name="T10" fmla="*/ 550 w 557"/>
                <a:gd name="T11" fmla="*/ 7 h 858"/>
                <a:gd name="T12" fmla="*/ 547 w 557"/>
                <a:gd name="T13" fmla="*/ 3 h 858"/>
                <a:gd name="T14" fmla="*/ 544 w 557"/>
                <a:gd name="T15" fmla="*/ 2 h 858"/>
                <a:gd name="T16" fmla="*/ 539 w 557"/>
                <a:gd name="T17" fmla="*/ 0 h 858"/>
                <a:gd name="T18" fmla="*/ 535 w 557"/>
                <a:gd name="T19" fmla="*/ 0 h 858"/>
                <a:gd name="T20" fmla="*/ 21 w 557"/>
                <a:gd name="T21" fmla="*/ 0 h 858"/>
                <a:gd name="T22" fmla="*/ 21 w 557"/>
                <a:gd name="T23" fmla="*/ 0 h 858"/>
                <a:gd name="T24" fmla="*/ 17 w 557"/>
                <a:gd name="T25" fmla="*/ 0 h 858"/>
                <a:gd name="T26" fmla="*/ 12 w 557"/>
                <a:gd name="T27" fmla="*/ 2 h 858"/>
                <a:gd name="T28" fmla="*/ 9 w 557"/>
                <a:gd name="T29" fmla="*/ 3 h 858"/>
                <a:gd name="T30" fmla="*/ 6 w 557"/>
                <a:gd name="T31" fmla="*/ 7 h 858"/>
                <a:gd name="T32" fmla="*/ 4 w 557"/>
                <a:gd name="T33" fmla="*/ 10 h 858"/>
                <a:gd name="T34" fmla="*/ 2 w 557"/>
                <a:gd name="T35" fmla="*/ 13 h 858"/>
                <a:gd name="T36" fmla="*/ 1 w 557"/>
                <a:gd name="T37" fmla="*/ 17 h 858"/>
                <a:gd name="T38" fmla="*/ 0 w 557"/>
                <a:gd name="T39" fmla="*/ 22 h 858"/>
                <a:gd name="T40" fmla="*/ 0 w 557"/>
                <a:gd name="T41" fmla="*/ 364 h 858"/>
                <a:gd name="T42" fmla="*/ 0 w 557"/>
                <a:gd name="T43" fmla="*/ 364 h 858"/>
                <a:gd name="T44" fmla="*/ 1 w 557"/>
                <a:gd name="T45" fmla="*/ 368 h 858"/>
                <a:gd name="T46" fmla="*/ 2 w 557"/>
                <a:gd name="T47" fmla="*/ 373 h 858"/>
                <a:gd name="T48" fmla="*/ 4 w 557"/>
                <a:gd name="T49" fmla="*/ 376 h 858"/>
                <a:gd name="T50" fmla="*/ 6 w 557"/>
                <a:gd name="T51" fmla="*/ 379 h 858"/>
                <a:gd name="T52" fmla="*/ 128 w 557"/>
                <a:gd name="T53" fmla="*/ 502 h 858"/>
                <a:gd name="T54" fmla="*/ 128 w 557"/>
                <a:gd name="T55" fmla="*/ 836 h 858"/>
                <a:gd name="T56" fmla="*/ 128 w 557"/>
                <a:gd name="T57" fmla="*/ 836 h 858"/>
                <a:gd name="T58" fmla="*/ 129 w 557"/>
                <a:gd name="T59" fmla="*/ 840 h 858"/>
                <a:gd name="T60" fmla="*/ 130 w 557"/>
                <a:gd name="T61" fmla="*/ 844 h 858"/>
                <a:gd name="T62" fmla="*/ 132 w 557"/>
                <a:gd name="T63" fmla="*/ 848 h 858"/>
                <a:gd name="T64" fmla="*/ 135 w 557"/>
                <a:gd name="T65" fmla="*/ 851 h 858"/>
                <a:gd name="T66" fmla="*/ 138 w 557"/>
                <a:gd name="T67" fmla="*/ 853 h 858"/>
                <a:gd name="T68" fmla="*/ 142 w 557"/>
                <a:gd name="T69" fmla="*/ 856 h 858"/>
                <a:gd name="T70" fmla="*/ 145 w 557"/>
                <a:gd name="T71" fmla="*/ 857 h 858"/>
                <a:gd name="T72" fmla="*/ 150 w 557"/>
                <a:gd name="T73" fmla="*/ 858 h 858"/>
                <a:gd name="T74" fmla="*/ 407 w 557"/>
                <a:gd name="T75" fmla="*/ 858 h 858"/>
                <a:gd name="T76" fmla="*/ 407 w 557"/>
                <a:gd name="T77" fmla="*/ 858 h 858"/>
                <a:gd name="T78" fmla="*/ 411 w 557"/>
                <a:gd name="T79" fmla="*/ 857 h 858"/>
                <a:gd name="T80" fmla="*/ 415 w 557"/>
                <a:gd name="T81" fmla="*/ 856 h 858"/>
                <a:gd name="T82" fmla="*/ 419 w 557"/>
                <a:gd name="T83" fmla="*/ 853 h 858"/>
                <a:gd name="T84" fmla="*/ 422 w 557"/>
                <a:gd name="T85" fmla="*/ 851 h 858"/>
                <a:gd name="T86" fmla="*/ 425 w 557"/>
                <a:gd name="T87" fmla="*/ 848 h 858"/>
                <a:gd name="T88" fmla="*/ 427 w 557"/>
                <a:gd name="T89" fmla="*/ 844 h 858"/>
                <a:gd name="T90" fmla="*/ 428 w 557"/>
                <a:gd name="T91" fmla="*/ 840 h 858"/>
                <a:gd name="T92" fmla="*/ 428 w 557"/>
                <a:gd name="T93" fmla="*/ 836 h 858"/>
                <a:gd name="T94" fmla="*/ 428 w 557"/>
                <a:gd name="T95" fmla="*/ 502 h 858"/>
                <a:gd name="T96" fmla="*/ 550 w 557"/>
                <a:gd name="T97" fmla="*/ 379 h 858"/>
                <a:gd name="T98" fmla="*/ 550 w 557"/>
                <a:gd name="T99" fmla="*/ 379 h 858"/>
                <a:gd name="T100" fmla="*/ 554 w 557"/>
                <a:gd name="T101" fmla="*/ 376 h 858"/>
                <a:gd name="T102" fmla="*/ 556 w 557"/>
                <a:gd name="T103" fmla="*/ 373 h 858"/>
                <a:gd name="T104" fmla="*/ 557 w 557"/>
                <a:gd name="T105" fmla="*/ 368 h 858"/>
                <a:gd name="T106" fmla="*/ 557 w 557"/>
                <a:gd name="T107" fmla="*/ 364 h 858"/>
                <a:gd name="T108" fmla="*/ 557 w 557"/>
                <a:gd name="T109" fmla="*/ 22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57" h="858">
                  <a:moveTo>
                    <a:pt x="557" y="22"/>
                  </a:moveTo>
                  <a:lnTo>
                    <a:pt x="557" y="22"/>
                  </a:lnTo>
                  <a:lnTo>
                    <a:pt x="557" y="17"/>
                  </a:lnTo>
                  <a:lnTo>
                    <a:pt x="556" y="13"/>
                  </a:lnTo>
                  <a:lnTo>
                    <a:pt x="554" y="10"/>
                  </a:lnTo>
                  <a:lnTo>
                    <a:pt x="550" y="7"/>
                  </a:lnTo>
                  <a:lnTo>
                    <a:pt x="547" y="3"/>
                  </a:lnTo>
                  <a:lnTo>
                    <a:pt x="544" y="2"/>
                  </a:lnTo>
                  <a:lnTo>
                    <a:pt x="539" y="0"/>
                  </a:lnTo>
                  <a:lnTo>
                    <a:pt x="535" y="0"/>
                  </a:lnTo>
                  <a:lnTo>
                    <a:pt x="21" y="0"/>
                  </a:lnTo>
                  <a:lnTo>
                    <a:pt x="21" y="0"/>
                  </a:lnTo>
                  <a:lnTo>
                    <a:pt x="17" y="0"/>
                  </a:lnTo>
                  <a:lnTo>
                    <a:pt x="12" y="2"/>
                  </a:lnTo>
                  <a:lnTo>
                    <a:pt x="9" y="3"/>
                  </a:lnTo>
                  <a:lnTo>
                    <a:pt x="6" y="7"/>
                  </a:lnTo>
                  <a:lnTo>
                    <a:pt x="4" y="10"/>
                  </a:lnTo>
                  <a:lnTo>
                    <a:pt x="2" y="13"/>
                  </a:lnTo>
                  <a:lnTo>
                    <a:pt x="1" y="17"/>
                  </a:lnTo>
                  <a:lnTo>
                    <a:pt x="0" y="22"/>
                  </a:lnTo>
                  <a:lnTo>
                    <a:pt x="0" y="364"/>
                  </a:lnTo>
                  <a:lnTo>
                    <a:pt x="0" y="364"/>
                  </a:lnTo>
                  <a:lnTo>
                    <a:pt x="1" y="368"/>
                  </a:lnTo>
                  <a:lnTo>
                    <a:pt x="2" y="373"/>
                  </a:lnTo>
                  <a:lnTo>
                    <a:pt x="4" y="376"/>
                  </a:lnTo>
                  <a:lnTo>
                    <a:pt x="6" y="379"/>
                  </a:lnTo>
                  <a:lnTo>
                    <a:pt x="128" y="502"/>
                  </a:lnTo>
                  <a:lnTo>
                    <a:pt x="128" y="836"/>
                  </a:lnTo>
                  <a:lnTo>
                    <a:pt x="128" y="836"/>
                  </a:lnTo>
                  <a:lnTo>
                    <a:pt x="129" y="840"/>
                  </a:lnTo>
                  <a:lnTo>
                    <a:pt x="130" y="844"/>
                  </a:lnTo>
                  <a:lnTo>
                    <a:pt x="132" y="848"/>
                  </a:lnTo>
                  <a:lnTo>
                    <a:pt x="135" y="851"/>
                  </a:lnTo>
                  <a:lnTo>
                    <a:pt x="138" y="853"/>
                  </a:lnTo>
                  <a:lnTo>
                    <a:pt x="142" y="856"/>
                  </a:lnTo>
                  <a:lnTo>
                    <a:pt x="145" y="857"/>
                  </a:lnTo>
                  <a:lnTo>
                    <a:pt x="150" y="858"/>
                  </a:lnTo>
                  <a:lnTo>
                    <a:pt x="407" y="858"/>
                  </a:lnTo>
                  <a:lnTo>
                    <a:pt x="407" y="858"/>
                  </a:lnTo>
                  <a:lnTo>
                    <a:pt x="411" y="857"/>
                  </a:lnTo>
                  <a:lnTo>
                    <a:pt x="415" y="856"/>
                  </a:lnTo>
                  <a:lnTo>
                    <a:pt x="419" y="853"/>
                  </a:lnTo>
                  <a:lnTo>
                    <a:pt x="422" y="851"/>
                  </a:lnTo>
                  <a:lnTo>
                    <a:pt x="425" y="848"/>
                  </a:lnTo>
                  <a:lnTo>
                    <a:pt x="427" y="844"/>
                  </a:lnTo>
                  <a:lnTo>
                    <a:pt x="428" y="840"/>
                  </a:lnTo>
                  <a:lnTo>
                    <a:pt x="428" y="836"/>
                  </a:lnTo>
                  <a:lnTo>
                    <a:pt x="428" y="502"/>
                  </a:lnTo>
                  <a:lnTo>
                    <a:pt x="550" y="379"/>
                  </a:lnTo>
                  <a:lnTo>
                    <a:pt x="550" y="379"/>
                  </a:lnTo>
                  <a:lnTo>
                    <a:pt x="554" y="376"/>
                  </a:lnTo>
                  <a:lnTo>
                    <a:pt x="556" y="373"/>
                  </a:lnTo>
                  <a:lnTo>
                    <a:pt x="557" y="368"/>
                  </a:lnTo>
                  <a:lnTo>
                    <a:pt x="557" y="364"/>
                  </a:lnTo>
                  <a:lnTo>
                    <a:pt x="557" y="2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1" name="Freeform 59">
              <a:extLst>
                <a:ext uri="{FF2B5EF4-FFF2-40B4-BE49-F238E27FC236}">
                  <a16:creationId xmlns:a16="http://schemas.microsoft.com/office/drawing/2014/main" id="{2E4E210E-F870-48A4-9E70-2EB3EA76301A}"/>
                </a:ext>
              </a:extLst>
            </p:cNvPr>
            <p:cNvSpPr>
              <a:spLocks/>
            </p:cNvSpPr>
            <p:nvPr/>
          </p:nvSpPr>
          <p:spPr bwMode="auto">
            <a:xfrm>
              <a:off x="527050" y="1123950"/>
              <a:ext cx="119063" cy="119063"/>
            </a:xfrm>
            <a:custGeom>
              <a:avLst/>
              <a:gdLst>
                <a:gd name="T0" fmla="*/ 0 w 300"/>
                <a:gd name="T1" fmla="*/ 150 h 300"/>
                <a:gd name="T2" fmla="*/ 3 w 300"/>
                <a:gd name="T3" fmla="*/ 180 h 300"/>
                <a:gd name="T4" fmla="*/ 12 w 300"/>
                <a:gd name="T5" fmla="*/ 208 h 300"/>
                <a:gd name="T6" fmla="*/ 26 w 300"/>
                <a:gd name="T7" fmla="*/ 233 h 300"/>
                <a:gd name="T8" fmla="*/ 44 w 300"/>
                <a:gd name="T9" fmla="*/ 256 h 300"/>
                <a:gd name="T10" fmla="*/ 66 w 300"/>
                <a:gd name="T11" fmla="*/ 274 h 300"/>
                <a:gd name="T12" fmla="*/ 92 w 300"/>
                <a:gd name="T13" fmla="*/ 288 h 300"/>
                <a:gd name="T14" fmla="*/ 120 w 300"/>
                <a:gd name="T15" fmla="*/ 297 h 300"/>
                <a:gd name="T16" fmla="*/ 150 w 300"/>
                <a:gd name="T17" fmla="*/ 300 h 300"/>
                <a:gd name="T18" fmla="*/ 165 w 300"/>
                <a:gd name="T19" fmla="*/ 299 h 300"/>
                <a:gd name="T20" fmla="*/ 194 w 300"/>
                <a:gd name="T21" fmla="*/ 292 h 300"/>
                <a:gd name="T22" fmla="*/ 221 w 300"/>
                <a:gd name="T23" fmla="*/ 281 h 300"/>
                <a:gd name="T24" fmla="*/ 245 w 300"/>
                <a:gd name="T25" fmla="*/ 265 h 300"/>
                <a:gd name="T26" fmla="*/ 265 w 300"/>
                <a:gd name="T27" fmla="*/ 245 h 300"/>
                <a:gd name="T28" fmla="*/ 282 w 300"/>
                <a:gd name="T29" fmla="*/ 221 h 300"/>
                <a:gd name="T30" fmla="*/ 293 w 300"/>
                <a:gd name="T31" fmla="*/ 194 h 300"/>
                <a:gd name="T32" fmla="*/ 299 w 300"/>
                <a:gd name="T33" fmla="*/ 165 h 300"/>
                <a:gd name="T34" fmla="*/ 300 w 300"/>
                <a:gd name="T35" fmla="*/ 150 h 300"/>
                <a:gd name="T36" fmla="*/ 297 w 300"/>
                <a:gd name="T37" fmla="*/ 119 h 300"/>
                <a:gd name="T38" fmla="*/ 288 w 300"/>
                <a:gd name="T39" fmla="*/ 91 h 300"/>
                <a:gd name="T40" fmla="*/ 274 w 300"/>
                <a:gd name="T41" fmla="*/ 65 h 300"/>
                <a:gd name="T42" fmla="*/ 256 w 300"/>
                <a:gd name="T43" fmla="*/ 44 h 300"/>
                <a:gd name="T44" fmla="*/ 234 w 300"/>
                <a:gd name="T45" fmla="*/ 26 h 300"/>
                <a:gd name="T46" fmla="*/ 208 w 300"/>
                <a:gd name="T47" fmla="*/ 11 h 300"/>
                <a:gd name="T48" fmla="*/ 180 w 300"/>
                <a:gd name="T49" fmla="*/ 3 h 300"/>
                <a:gd name="T50" fmla="*/ 150 w 300"/>
                <a:gd name="T51" fmla="*/ 0 h 300"/>
                <a:gd name="T52" fmla="*/ 135 w 300"/>
                <a:gd name="T53" fmla="*/ 1 h 300"/>
                <a:gd name="T54" fmla="*/ 106 w 300"/>
                <a:gd name="T55" fmla="*/ 6 h 300"/>
                <a:gd name="T56" fmla="*/ 79 w 300"/>
                <a:gd name="T57" fmla="*/ 18 h 300"/>
                <a:gd name="T58" fmla="*/ 55 w 300"/>
                <a:gd name="T59" fmla="*/ 34 h 300"/>
                <a:gd name="T60" fmla="*/ 34 w 300"/>
                <a:gd name="T61" fmla="*/ 55 h 300"/>
                <a:gd name="T62" fmla="*/ 18 w 300"/>
                <a:gd name="T63" fmla="*/ 78 h 300"/>
                <a:gd name="T64" fmla="*/ 6 w 300"/>
                <a:gd name="T65" fmla="*/ 105 h 300"/>
                <a:gd name="T66" fmla="*/ 1 w 300"/>
                <a:gd name="T67" fmla="*/ 135 h 300"/>
                <a:gd name="T68" fmla="*/ 0 w 300"/>
                <a:gd name="T69" fmla="*/ 15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0" y="150"/>
                  </a:moveTo>
                  <a:lnTo>
                    <a:pt x="0" y="150"/>
                  </a:lnTo>
                  <a:lnTo>
                    <a:pt x="1" y="165"/>
                  </a:lnTo>
                  <a:lnTo>
                    <a:pt x="3" y="180"/>
                  </a:lnTo>
                  <a:lnTo>
                    <a:pt x="6" y="194"/>
                  </a:lnTo>
                  <a:lnTo>
                    <a:pt x="12" y="208"/>
                  </a:lnTo>
                  <a:lnTo>
                    <a:pt x="18" y="221"/>
                  </a:lnTo>
                  <a:lnTo>
                    <a:pt x="26" y="233"/>
                  </a:lnTo>
                  <a:lnTo>
                    <a:pt x="34" y="245"/>
                  </a:lnTo>
                  <a:lnTo>
                    <a:pt x="44" y="256"/>
                  </a:lnTo>
                  <a:lnTo>
                    <a:pt x="55" y="265"/>
                  </a:lnTo>
                  <a:lnTo>
                    <a:pt x="66" y="274"/>
                  </a:lnTo>
                  <a:lnTo>
                    <a:pt x="79" y="281"/>
                  </a:lnTo>
                  <a:lnTo>
                    <a:pt x="92" y="288"/>
                  </a:lnTo>
                  <a:lnTo>
                    <a:pt x="106" y="292"/>
                  </a:lnTo>
                  <a:lnTo>
                    <a:pt x="120" y="297"/>
                  </a:lnTo>
                  <a:lnTo>
                    <a:pt x="135" y="299"/>
                  </a:lnTo>
                  <a:lnTo>
                    <a:pt x="150" y="300"/>
                  </a:lnTo>
                  <a:lnTo>
                    <a:pt x="150" y="300"/>
                  </a:lnTo>
                  <a:lnTo>
                    <a:pt x="165" y="299"/>
                  </a:lnTo>
                  <a:lnTo>
                    <a:pt x="180" y="297"/>
                  </a:lnTo>
                  <a:lnTo>
                    <a:pt x="194" y="292"/>
                  </a:lnTo>
                  <a:lnTo>
                    <a:pt x="208" y="288"/>
                  </a:lnTo>
                  <a:lnTo>
                    <a:pt x="221" y="281"/>
                  </a:lnTo>
                  <a:lnTo>
                    <a:pt x="234" y="274"/>
                  </a:lnTo>
                  <a:lnTo>
                    <a:pt x="245" y="265"/>
                  </a:lnTo>
                  <a:lnTo>
                    <a:pt x="256" y="256"/>
                  </a:lnTo>
                  <a:lnTo>
                    <a:pt x="265" y="245"/>
                  </a:lnTo>
                  <a:lnTo>
                    <a:pt x="274" y="233"/>
                  </a:lnTo>
                  <a:lnTo>
                    <a:pt x="282" y="221"/>
                  </a:lnTo>
                  <a:lnTo>
                    <a:pt x="288" y="208"/>
                  </a:lnTo>
                  <a:lnTo>
                    <a:pt x="293" y="194"/>
                  </a:lnTo>
                  <a:lnTo>
                    <a:pt x="297" y="180"/>
                  </a:lnTo>
                  <a:lnTo>
                    <a:pt x="299" y="165"/>
                  </a:lnTo>
                  <a:lnTo>
                    <a:pt x="300" y="150"/>
                  </a:lnTo>
                  <a:lnTo>
                    <a:pt x="300" y="150"/>
                  </a:lnTo>
                  <a:lnTo>
                    <a:pt x="299" y="135"/>
                  </a:lnTo>
                  <a:lnTo>
                    <a:pt x="297" y="119"/>
                  </a:lnTo>
                  <a:lnTo>
                    <a:pt x="293" y="105"/>
                  </a:lnTo>
                  <a:lnTo>
                    <a:pt x="288" y="91"/>
                  </a:lnTo>
                  <a:lnTo>
                    <a:pt x="282" y="78"/>
                  </a:lnTo>
                  <a:lnTo>
                    <a:pt x="274" y="65"/>
                  </a:lnTo>
                  <a:lnTo>
                    <a:pt x="265" y="55"/>
                  </a:lnTo>
                  <a:lnTo>
                    <a:pt x="256" y="44"/>
                  </a:lnTo>
                  <a:lnTo>
                    <a:pt x="245" y="34"/>
                  </a:lnTo>
                  <a:lnTo>
                    <a:pt x="234" y="26"/>
                  </a:lnTo>
                  <a:lnTo>
                    <a:pt x="221" y="18"/>
                  </a:lnTo>
                  <a:lnTo>
                    <a:pt x="208" y="11"/>
                  </a:lnTo>
                  <a:lnTo>
                    <a:pt x="194" y="6"/>
                  </a:lnTo>
                  <a:lnTo>
                    <a:pt x="180" y="3"/>
                  </a:lnTo>
                  <a:lnTo>
                    <a:pt x="165" y="1"/>
                  </a:lnTo>
                  <a:lnTo>
                    <a:pt x="150" y="0"/>
                  </a:lnTo>
                  <a:lnTo>
                    <a:pt x="150" y="0"/>
                  </a:lnTo>
                  <a:lnTo>
                    <a:pt x="135" y="1"/>
                  </a:lnTo>
                  <a:lnTo>
                    <a:pt x="120" y="3"/>
                  </a:lnTo>
                  <a:lnTo>
                    <a:pt x="106" y="6"/>
                  </a:lnTo>
                  <a:lnTo>
                    <a:pt x="92" y="11"/>
                  </a:lnTo>
                  <a:lnTo>
                    <a:pt x="79" y="18"/>
                  </a:lnTo>
                  <a:lnTo>
                    <a:pt x="66" y="26"/>
                  </a:lnTo>
                  <a:lnTo>
                    <a:pt x="55" y="34"/>
                  </a:lnTo>
                  <a:lnTo>
                    <a:pt x="44" y="44"/>
                  </a:lnTo>
                  <a:lnTo>
                    <a:pt x="34" y="55"/>
                  </a:lnTo>
                  <a:lnTo>
                    <a:pt x="26" y="65"/>
                  </a:lnTo>
                  <a:lnTo>
                    <a:pt x="18" y="78"/>
                  </a:lnTo>
                  <a:lnTo>
                    <a:pt x="12" y="91"/>
                  </a:lnTo>
                  <a:lnTo>
                    <a:pt x="6" y="105"/>
                  </a:lnTo>
                  <a:lnTo>
                    <a:pt x="3" y="119"/>
                  </a:lnTo>
                  <a:lnTo>
                    <a:pt x="1" y="135"/>
                  </a:lnTo>
                  <a:lnTo>
                    <a:pt x="0" y="150"/>
                  </a:lnTo>
                  <a:lnTo>
                    <a:pt x="0" y="15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2" name="Freeform 60">
              <a:extLst>
                <a:ext uri="{FF2B5EF4-FFF2-40B4-BE49-F238E27FC236}">
                  <a16:creationId xmlns:a16="http://schemas.microsoft.com/office/drawing/2014/main" id="{2E9A0BCD-7B8B-44CC-80E2-BF37FDBC2033}"/>
                </a:ext>
              </a:extLst>
            </p:cNvPr>
            <p:cNvSpPr>
              <a:spLocks/>
            </p:cNvSpPr>
            <p:nvPr/>
          </p:nvSpPr>
          <p:spPr bwMode="auto">
            <a:xfrm>
              <a:off x="187325" y="1123950"/>
              <a:ext cx="117475" cy="119063"/>
            </a:xfrm>
            <a:custGeom>
              <a:avLst/>
              <a:gdLst>
                <a:gd name="T0" fmla="*/ 149 w 300"/>
                <a:gd name="T1" fmla="*/ 0 h 300"/>
                <a:gd name="T2" fmla="*/ 120 w 300"/>
                <a:gd name="T3" fmla="*/ 3 h 300"/>
                <a:gd name="T4" fmla="*/ 91 w 300"/>
                <a:gd name="T5" fmla="*/ 11 h 300"/>
                <a:gd name="T6" fmla="*/ 66 w 300"/>
                <a:gd name="T7" fmla="*/ 26 h 300"/>
                <a:gd name="T8" fmla="*/ 44 w 300"/>
                <a:gd name="T9" fmla="*/ 44 h 300"/>
                <a:gd name="T10" fmla="*/ 25 w 300"/>
                <a:gd name="T11" fmla="*/ 65 h 300"/>
                <a:gd name="T12" fmla="*/ 12 w 300"/>
                <a:gd name="T13" fmla="*/ 91 h 300"/>
                <a:gd name="T14" fmla="*/ 3 w 300"/>
                <a:gd name="T15" fmla="*/ 119 h 300"/>
                <a:gd name="T16" fmla="*/ 0 w 300"/>
                <a:gd name="T17" fmla="*/ 150 h 300"/>
                <a:gd name="T18" fmla="*/ 0 w 300"/>
                <a:gd name="T19" fmla="*/ 165 h 300"/>
                <a:gd name="T20" fmla="*/ 7 w 300"/>
                <a:gd name="T21" fmla="*/ 194 h 300"/>
                <a:gd name="T22" fmla="*/ 18 w 300"/>
                <a:gd name="T23" fmla="*/ 221 h 300"/>
                <a:gd name="T24" fmla="*/ 34 w 300"/>
                <a:gd name="T25" fmla="*/ 245 h 300"/>
                <a:gd name="T26" fmla="*/ 54 w 300"/>
                <a:gd name="T27" fmla="*/ 265 h 300"/>
                <a:gd name="T28" fmla="*/ 78 w 300"/>
                <a:gd name="T29" fmla="*/ 281 h 300"/>
                <a:gd name="T30" fmla="*/ 105 w 300"/>
                <a:gd name="T31" fmla="*/ 292 h 300"/>
                <a:gd name="T32" fmla="*/ 134 w 300"/>
                <a:gd name="T33" fmla="*/ 299 h 300"/>
                <a:gd name="T34" fmla="*/ 149 w 300"/>
                <a:gd name="T35" fmla="*/ 300 h 300"/>
                <a:gd name="T36" fmla="*/ 180 w 300"/>
                <a:gd name="T37" fmla="*/ 297 h 300"/>
                <a:gd name="T38" fmla="*/ 209 w 300"/>
                <a:gd name="T39" fmla="*/ 288 h 300"/>
                <a:gd name="T40" fmla="*/ 234 w 300"/>
                <a:gd name="T41" fmla="*/ 274 h 300"/>
                <a:gd name="T42" fmla="*/ 256 w 300"/>
                <a:gd name="T43" fmla="*/ 256 h 300"/>
                <a:gd name="T44" fmla="*/ 275 w 300"/>
                <a:gd name="T45" fmla="*/ 233 h 300"/>
                <a:gd name="T46" fmla="*/ 288 w 300"/>
                <a:gd name="T47" fmla="*/ 208 h 300"/>
                <a:gd name="T48" fmla="*/ 297 w 300"/>
                <a:gd name="T49" fmla="*/ 180 h 300"/>
                <a:gd name="T50" fmla="*/ 300 w 300"/>
                <a:gd name="T51" fmla="*/ 150 h 300"/>
                <a:gd name="T52" fmla="*/ 300 w 300"/>
                <a:gd name="T53" fmla="*/ 135 h 300"/>
                <a:gd name="T54" fmla="*/ 293 w 300"/>
                <a:gd name="T55" fmla="*/ 105 h 300"/>
                <a:gd name="T56" fmla="*/ 282 w 300"/>
                <a:gd name="T57" fmla="*/ 78 h 300"/>
                <a:gd name="T58" fmla="*/ 266 w 300"/>
                <a:gd name="T59" fmla="*/ 55 h 300"/>
                <a:gd name="T60" fmla="*/ 246 w 300"/>
                <a:gd name="T61" fmla="*/ 34 h 300"/>
                <a:gd name="T62" fmla="*/ 222 w 300"/>
                <a:gd name="T63" fmla="*/ 18 h 300"/>
                <a:gd name="T64" fmla="*/ 195 w 300"/>
                <a:gd name="T65" fmla="*/ 6 h 300"/>
                <a:gd name="T66" fmla="*/ 166 w 300"/>
                <a:gd name="T67" fmla="*/ 1 h 300"/>
                <a:gd name="T68" fmla="*/ 149 w 300"/>
                <a:gd name="T69"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49" y="0"/>
                  </a:moveTo>
                  <a:lnTo>
                    <a:pt x="149" y="0"/>
                  </a:lnTo>
                  <a:lnTo>
                    <a:pt x="134" y="1"/>
                  </a:lnTo>
                  <a:lnTo>
                    <a:pt x="120" y="3"/>
                  </a:lnTo>
                  <a:lnTo>
                    <a:pt x="105" y="6"/>
                  </a:lnTo>
                  <a:lnTo>
                    <a:pt x="91" y="11"/>
                  </a:lnTo>
                  <a:lnTo>
                    <a:pt x="78" y="18"/>
                  </a:lnTo>
                  <a:lnTo>
                    <a:pt x="66" y="26"/>
                  </a:lnTo>
                  <a:lnTo>
                    <a:pt x="54" y="34"/>
                  </a:lnTo>
                  <a:lnTo>
                    <a:pt x="44" y="44"/>
                  </a:lnTo>
                  <a:lnTo>
                    <a:pt x="34" y="55"/>
                  </a:lnTo>
                  <a:lnTo>
                    <a:pt x="25" y="65"/>
                  </a:lnTo>
                  <a:lnTo>
                    <a:pt x="18" y="78"/>
                  </a:lnTo>
                  <a:lnTo>
                    <a:pt x="12" y="91"/>
                  </a:lnTo>
                  <a:lnTo>
                    <a:pt x="7" y="105"/>
                  </a:lnTo>
                  <a:lnTo>
                    <a:pt x="3" y="119"/>
                  </a:lnTo>
                  <a:lnTo>
                    <a:pt x="0" y="135"/>
                  </a:lnTo>
                  <a:lnTo>
                    <a:pt x="0" y="150"/>
                  </a:lnTo>
                  <a:lnTo>
                    <a:pt x="0" y="150"/>
                  </a:lnTo>
                  <a:lnTo>
                    <a:pt x="0" y="165"/>
                  </a:lnTo>
                  <a:lnTo>
                    <a:pt x="3" y="180"/>
                  </a:lnTo>
                  <a:lnTo>
                    <a:pt x="7" y="194"/>
                  </a:lnTo>
                  <a:lnTo>
                    <a:pt x="12" y="208"/>
                  </a:lnTo>
                  <a:lnTo>
                    <a:pt x="18" y="221"/>
                  </a:lnTo>
                  <a:lnTo>
                    <a:pt x="25" y="233"/>
                  </a:lnTo>
                  <a:lnTo>
                    <a:pt x="34" y="245"/>
                  </a:lnTo>
                  <a:lnTo>
                    <a:pt x="44" y="256"/>
                  </a:lnTo>
                  <a:lnTo>
                    <a:pt x="54" y="265"/>
                  </a:lnTo>
                  <a:lnTo>
                    <a:pt x="66" y="274"/>
                  </a:lnTo>
                  <a:lnTo>
                    <a:pt x="78" y="281"/>
                  </a:lnTo>
                  <a:lnTo>
                    <a:pt x="91" y="288"/>
                  </a:lnTo>
                  <a:lnTo>
                    <a:pt x="105" y="292"/>
                  </a:lnTo>
                  <a:lnTo>
                    <a:pt x="120" y="297"/>
                  </a:lnTo>
                  <a:lnTo>
                    <a:pt x="134" y="299"/>
                  </a:lnTo>
                  <a:lnTo>
                    <a:pt x="149" y="300"/>
                  </a:lnTo>
                  <a:lnTo>
                    <a:pt x="149" y="300"/>
                  </a:lnTo>
                  <a:lnTo>
                    <a:pt x="166" y="299"/>
                  </a:lnTo>
                  <a:lnTo>
                    <a:pt x="180" y="297"/>
                  </a:lnTo>
                  <a:lnTo>
                    <a:pt x="195" y="292"/>
                  </a:lnTo>
                  <a:lnTo>
                    <a:pt x="209" y="288"/>
                  </a:lnTo>
                  <a:lnTo>
                    <a:pt x="222" y="281"/>
                  </a:lnTo>
                  <a:lnTo>
                    <a:pt x="234" y="274"/>
                  </a:lnTo>
                  <a:lnTo>
                    <a:pt x="246" y="265"/>
                  </a:lnTo>
                  <a:lnTo>
                    <a:pt x="256" y="256"/>
                  </a:lnTo>
                  <a:lnTo>
                    <a:pt x="266" y="245"/>
                  </a:lnTo>
                  <a:lnTo>
                    <a:pt x="275" y="233"/>
                  </a:lnTo>
                  <a:lnTo>
                    <a:pt x="282" y="221"/>
                  </a:lnTo>
                  <a:lnTo>
                    <a:pt x="288" y="208"/>
                  </a:lnTo>
                  <a:lnTo>
                    <a:pt x="293" y="194"/>
                  </a:lnTo>
                  <a:lnTo>
                    <a:pt x="297" y="180"/>
                  </a:lnTo>
                  <a:lnTo>
                    <a:pt x="300" y="165"/>
                  </a:lnTo>
                  <a:lnTo>
                    <a:pt x="300" y="150"/>
                  </a:lnTo>
                  <a:lnTo>
                    <a:pt x="300" y="150"/>
                  </a:lnTo>
                  <a:lnTo>
                    <a:pt x="300" y="135"/>
                  </a:lnTo>
                  <a:lnTo>
                    <a:pt x="297" y="119"/>
                  </a:lnTo>
                  <a:lnTo>
                    <a:pt x="293" y="105"/>
                  </a:lnTo>
                  <a:lnTo>
                    <a:pt x="288" y="91"/>
                  </a:lnTo>
                  <a:lnTo>
                    <a:pt x="282" y="78"/>
                  </a:lnTo>
                  <a:lnTo>
                    <a:pt x="275" y="65"/>
                  </a:lnTo>
                  <a:lnTo>
                    <a:pt x="266" y="55"/>
                  </a:lnTo>
                  <a:lnTo>
                    <a:pt x="256" y="44"/>
                  </a:lnTo>
                  <a:lnTo>
                    <a:pt x="246" y="34"/>
                  </a:lnTo>
                  <a:lnTo>
                    <a:pt x="234" y="26"/>
                  </a:lnTo>
                  <a:lnTo>
                    <a:pt x="222" y="18"/>
                  </a:lnTo>
                  <a:lnTo>
                    <a:pt x="209" y="11"/>
                  </a:lnTo>
                  <a:lnTo>
                    <a:pt x="195" y="6"/>
                  </a:lnTo>
                  <a:lnTo>
                    <a:pt x="180" y="3"/>
                  </a:lnTo>
                  <a:lnTo>
                    <a:pt x="166" y="1"/>
                  </a:lnTo>
                  <a:lnTo>
                    <a:pt x="149" y="0"/>
                  </a:lnTo>
                  <a:lnTo>
                    <a:pt x="14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33" name="Freeform 80">
              <a:extLst>
                <a:ext uri="{FF2B5EF4-FFF2-40B4-BE49-F238E27FC236}">
                  <a16:creationId xmlns:a16="http://schemas.microsoft.com/office/drawing/2014/main" id="{D67EB20A-F331-4A49-BE18-7557AA604DD4}"/>
                </a:ext>
              </a:extLst>
            </p:cNvPr>
            <p:cNvSpPr>
              <a:spLocks/>
            </p:cNvSpPr>
            <p:nvPr/>
          </p:nvSpPr>
          <p:spPr bwMode="auto">
            <a:xfrm>
              <a:off x="339725" y="1090613"/>
              <a:ext cx="152400" cy="152400"/>
            </a:xfrm>
            <a:custGeom>
              <a:avLst/>
              <a:gdLst>
                <a:gd name="T0" fmla="*/ 385 w 385"/>
                <a:gd name="T1" fmla="*/ 193 h 386"/>
                <a:gd name="T2" fmla="*/ 381 w 385"/>
                <a:gd name="T3" fmla="*/ 154 h 386"/>
                <a:gd name="T4" fmla="*/ 370 w 385"/>
                <a:gd name="T5" fmla="*/ 118 h 386"/>
                <a:gd name="T6" fmla="*/ 352 w 385"/>
                <a:gd name="T7" fmla="*/ 84 h 386"/>
                <a:gd name="T8" fmla="*/ 328 w 385"/>
                <a:gd name="T9" fmla="*/ 56 h 386"/>
                <a:gd name="T10" fmla="*/ 300 w 385"/>
                <a:gd name="T11" fmla="*/ 33 h 386"/>
                <a:gd name="T12" fmla="*/ 268 w 385"/>
                <a:gd name="T13" fmla="*/ 15 h 386"/>
                <a:gd name="T14" fmla="*/ 231 w 385"/>
                <a:gd name="T15" fmla="*/ 3 h 386"/>
                <a:gd name="T16" fmla="*/ 192 w 385"/>
                <a:gd name="T17" fmla="*/ 0 h 386"/>
                <a:gd name="T18" fmla="*/ 173 w 385"/>
                <a:gd name="T19" fmla="*/ 1 h 386"/>
                <a:gd name="T20" fmla="*/ 135 w 385"/>
                <a:gd name="T21" fmla="*/ 9 h 386"/>
                <a:gd name="T22" fmla="*/ 100 w 385"/>
                <a:gd name="T23" fmla="*/ 23 h 386"/>
                <a:gd name="T24" fmla="*/ 70 w 385"/>
                <a:gd name="T25" fmla="*/ 43 h 386"/>
                <a:gd name="T26" fmla="*/ 44 w 385"/>
                <a:gd name="T27" fmla="*/ 70 h 386"/>
                <a:gd name="T28" fmla="*/ 23 w 385"/>
                <a:gd name="T29" fmla="*/ 101 h 386"/>
                <a:gd name="T30" fmla="*/ 9 w 385"/>
                <a:gd name="T31" fmla="*/ 135 h 386"/>
                <a:gd name="T32" fmla="*/ 1 w 385"/>
                <a:gd name="T33" fmla="*/ 173 h 386"/>
                <a:gd name="T34" fmla="*/ 0 w 385"/>
                <a:gd name="T35" fmla="*/ 193 h 386"/>
                <a:gd name="T36" fmla="*/ 3 w 385"/>
                <a:gd name="T37" fmla="*/ 231 h 386"/>
                <a:gd name="T38" fmla="*/ 15 w 385"/>
                <a:gd name="T39" fmla="*/ 268 h 386"/>
                <a:gd name="T40" fmla="*/ 32 w 385"/>
                <a:gd name="T41" fmla="*/ 301 h 386"/>
                <a:gd name="T42" fmla="*/ 56 w 385"/>
                <a:gd name="T43" fmla="*/ 329 h 386"/>
                <a:gd name="T44" fmla="*/ 85 w 385"/>
                <a:gd name="T45" fmla="*/ 352 h 386"/>
                <a:gd name="T46" fmla="*/ 118 w 385"/>
                <a:gd name="T47" fmla="*/ 371 h 386"/>
                <a:gd name="T48" fmla="*/ 153 w 385"/>
                <a:gd name="T49" fmla="*/ 382 h 386"/>
                <a:gd name="T50" fmla="*/ 192 w 385"/>
                <a:gd name="T51" fmla="*/ 386 h 386"/>
                <a:gd name="T52" fmla="*/ 212 w 385"/>
                <a:gd name="T53" fmla="*/ 385 h 386"/>
                <a:gd name="T54" fmla="*/ 249 w 385"/>
                <a:gd name="T55" fmla="*/ 377 h 386"/>
                <a:gd name="T56" fmla="*/ 284 w 385"/>
                <a:gd name="T57" fmla="*/ 362 h 386"/>
                <a:gd name="T58" fmla="*/ 315 w 385"/>
                <a:gd name="T59" fmla="*/ 342 h 386"/>
                <a:gd name="T60" fmla="*/ 341 w 385"/>
                <a:gd name="T61" fmla="*/ 316 h 386"/>
                <a:gd name="T62" fmla="*/ 362 w 385"/>
                <a:gd name="T63" fmla="*/ 284 h 386"/>
                <a:gd name="T64" fmla="*/ 377 w 385"/>
                <a:gd name="T65" fmla="*/ 250 h 386"/>
                <a:gd name="T66" fmla="*/ 384 w 385"/>
                <a:gd name="T67" fmla="*/ 212 h 386"/>
                <a:gd name="T68" fmla="*/ 385 w 385"/>
                <a:gd name="T69" fmla="*/ 193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5" h="386">
                  <a:moveTo>
                    <a:pt x="385" y="193"/>
                  </a:moveTo>
                  <a:lnTo>
                    <a:pt x="385" y="193"/>
                  </a:lnTo>
                  <a:lnTo>
                    <a:pt x="384" y="173"/>
                  </a:lnTo>
                  <a:lnTo>
                    <a:pt x="381" y="154"/>
                  </a:lnTo>
                  <a:lnTo>
                    <a:pt x="377" y="135"/>
                  </a:lnTo>
                  <a:lnTo>
                    <a:pt x="370" y="118"/>
                  </a:lnTo>
                  <a:lnTo>
                    <a:pt x="362" y="101"/>
                  </a:lnTo>
                  <a:lnTo>
                    <a:pt x="352" y="84"/>
                  </a:lnTo>
                  <a:lnTo>
                    <a:pt x="341" y="70"/>
                  </a:lnTo>
                  <a:lnTo>
                    <a:pt x="328" y="56"/>
                  </a:lnTo>
                  <a:lnTo>
                    <a:pt x="315" y="43"/>
                  </a:lnTo>
                  <a:lnTo>
                    <a:pt x="300" y="33"/>
                  </a:lnTo>
                  <a:lnTo>
                    <a:pt x="284" y="23"/>
                  </a:lnTo>
                  <a:lnTo>
                    <a:pt x="268" y="15"/>
                  </a:lnTo>
                  <a:lnTo>
                    <a:pt x="249" y="9"/>
                  </a:lnTo>
                  <a:lnTo>
                    <a:pt x="231" y="3"/>
                  </a:lnTo>
                  <a:lnTo>
                    <a:pt x="212" y="1"/>
                  </a:lnTo>
                  <a:lnTo>
                    <a:pt x="192" y="0"/>
                  </a:lnTo>
                  <a:lnTo>
                    <a:pt x="192" y="0"/>
                  </a:lnTo>
                  <a:lnTo>
                    <a:pt x="173" y="1"/>
                  </a:lnTo>
                  <a:lnTo>
                    <a:pt x="153" y="3"/>
                  </a:lnTo>
                  <a:lnTo>
                    <a:pt x="135" y="9"/>
                  </a:lnTo>
                  <a:lnTo>
                    <a:pt x="118" y="15"/>
                  </a:lnTo>
                  <a:lnTo>
                    <a:pt x="100" y="23"/>
                  </a:lnTo>
                  <a:lnTo>
                    <a:pt x="85" y="33"/>
                  </a:lnTo>
                  <a:lnTo>
                    <a:pt x="70" y="43"/>
                  </a:lnTo>
                  <a:lnTo>
                    <a:pt x="56" y="56"/>
                  </a:lnTo>
                  <a:lnTo>
                    <a:pt x="44" y="70"/>
                  </a:lnTo>
                  <a:lnTo>
                    <a:pt x="32" y="84"/>
                  </a:lnTo>
                  <a:lnTo>
                    <a:pt x="23" y="101"/>
                  </a:lnTo>
                  <a:lnTo>
                    <a:pt x="15" y="118"/>
                  </a:lnTo>
                  <a:lnTo>
                    <a:pt x="9" y="135"/>
                  </a:lnTo>
                  <a:lnTo>
                    <a:pt x="3" y="154"/>
                  </a:lnTo>
                  <a:lnTo>
                    <a:pt x="1" y="173"/>
                  </a:lnTo>
                  <a:lnTo>
                    <a:pt x="0" y="193"/>
                  </a:lnTo>
                  <a:lnTo>
                    <a:pt x="0" y="193"/>
                  </a:lnTo>
                  <a:lnTo>
                    <a:pt x="1" y="212"/>
                  </a:lnTo>
                  <a:lnTo>
                    <a:pt x="3" y="231"/>
                  </a:lnTo>
                  <a:lnTo>
                    <a:pt x="9" y="250"/>
                  </a:lnTo>
                  <a:lnTo>
                    <a:pt x="15" y="268"/>
                  </a:lnTo>
                  <a:lnTo>
                    <a:pt x="23" y="284"/>
                  </a:lnTo>
                  <a:lnTo>
                    <a:pt x="32" y="301"/>
                  </a:lnTo>
                  <a:lnTo>
                    <a:pt x="44" y="316"/>
                  </a:lnTo>
                  <a:lnTo>
                    <a:pt x="56" y="329"/>
                  </a:lnTo>
                  <a:lnTo>
                    <a:pt x="70" y="342"/>
                  </a:lnTo>
                  <a:lnTo>
                    <a:pt x="85" y="352"/>
                  </a:lnTo>
                  <a:lnTo>
                    <a:pt x="100" y="362"/>
                  </a:lnTo>
                  <a:lnTo>
                    <a:pt x="118" y="371"/>
                  </a:lnTo>
                  <a:lnTo>
                    <a:pt x="135" y="377"/>
                  </a:lnTo>
                  <a:lnTo>
                    <a:pt x="153" y="382"/>
                  </a:lnTo>
                  <a:lnTo>
                    <a:pt x="173" y="385"/>
                  </a:lnTo>
                  <a:lnTo>
                    <a:pt x="192" y="386"/>
                  </a:lnTo>
                  <a:lnTo>
                    <a:pt x="192" y="386"/>
                  </a:lnTo>
                  <a:lnTo>
                    <a:pt x="212" y="385"/>
                  </a:lnTo>
                  <a:lnTo>
                    <a:pt x="231" y="382"/>
                  </a:lnTo>
                  <a:lnTo>
                    <a:pt x="249" y="377"/>
                  </a:lnTo>
                  <a:lnTo>
                    <a:pt x="268" y="371"/>
                  </a:lnTo>
                  <a:lnTo>
                    <a:pt x="284" y="362"/>
                  </a:lnTo>
                  <a:lnTo>
                    <a:pt x="300" y="352"/>
                  </a:lnTo>
                  <a:lnTo>
                    <a:pt x="315" y="342"/>
                  </a:lnTo>
                  <a:lnTo>
                    <a:pt x="328" y="329"/>
                  </a:lnTo>
                  <a:lnTo>
                    <a:pt x="341" y="316"/>
                  </a:lnTo>
                  <a:lnTo>
                    <a:pt x="352" y="301"/>
                  </a:lnTo>
                  <a:lnTo>
                    <a:pt x="362" y="284"/>
                  </a:lnTo>
                  <a:lnTo>
                    <a:pt x="370" y="268"/>
                  </a:lnTo>
                  <a:lnTo>
                    <a:pt x="377" y="250"/>
                  </a:lnTo>
                  <a:lnTo>
                    <a:pt x="381" y="231"/>
                  </a:lnTo>
                  <a:lnTo>
                    <a:pt x="384" y="212"/>
                  </a:lnTo>
                  <a:lnTo>
                    <a:pt x="385" y="193"/>
                  </a:lnTo>
                  <a:lnTo>
                    <a:pt x="385" y="19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spTree>
    <p:extLst>
      <p:ext uri="{BB962C8B-B14F-4D97-AF65-F5344CB8AC3E}">
        <p14:creationId xmlns:p14="http://schemas.microsoft.com/office/powerpoint/2010/main" val="3300604991"/>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9C1CCD5B-9C64-4231-ABD7-220CAC18C66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2756" name="think-cell Slide" r:id="rId6" imgW="395" imgH="396" progId="TCLayout.ActiveDocument.1">
                  <p:embed/>
                </p:oleObj>
              </mc:Choice>
              <mc:Fallback>
                <p:oleObj name="think-cell Slide" r:id="rId6" imgW="395" imgH="396" progId="TCLayout.ActiveDocument.1">
                  <p:embed/>
                  <p:pic>
                    <p:nvPicPr>
                      <p:cNvPr id="38" name="Object 37" hidden="1">
                        <a:extLst>
                          <a:ext uri="{FF2B5EF4-FFF2-40B4-BE49-F238E27FC236}">
                            <a16:creationId xmlns:a16="http://schemas.microsoft.com/office/drawing/2014/main" id="{9C1CCD5B-9C64-4231-ABD7-220CAC18C66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7" name="Rectangle 36" hidden="1">
            <a:extLst>
              <a:ext uri="{FF2B5EF4-FFF2-40B4-BE49-F238E27FC236}">
                <a16:creationId xmlns:a16="http://schemas.microsoft.com/office/drawing/2014/main" id="{3B4512FB-191B-4938-9756-8381D8C20DF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87CDA835-35D7-4849-839B-CF67BB0BC663}"/>
              </a:ext>
            </a:extLst>
          </p:cNvPr>
          <p:cNvSpPr>
            <a:spLocks noGrp="1"/>
          </p:cNvSpPr>
          <p:nvPr>
            <p:ph type="title"/>
          </p:nvPr>
        </p:nvSpPr>
        <p:spPr/>
        <p:txBody>
          <a:bodyPr/>
          <a:lstStyle/>
          <a:p>
            <a:r>
              <a:rPr lang="en-US" dirty="0"/>
              <a:t>Customer Journey Pivot Points</a:t>
            </a:r>
          </a:p>
        </p:txBody>
      </p:sp>
      <p:sp>
        <p:nvSpPr>
          <p:cNvPr id="3" name="Text Placeholder 2">
            <a:extLst>
              <a:ext uri="{FF2B5EF4-FFF2-40B4-BE49-F238E27FC236}">
                <a16:creationId xmlns:a16="http://schemas.microsoft.com/office/drawing/2014/main" id="{DBA15BAC-E513-4CD2-8332-399BA0FF5012}"/>
              </a:ext>
            </a:extLst>
          </p:cNvPr>
          <p:cNvSpPr>
            <a:spLocks noGrp="1"/>
          </p:cNvSpPr>
          <p:nvPr>
            <p:ph type="body" sz="quarter" idx="14"/>
          </p:nvPr>
        </p:nvSpPr>
        <p:spPr>
          <a:xfrm>
            <a:off x="914721" y="1353312"/>
            <a:ext cx="10362880" cy="475488"/>
          </a:xfrm>
        </p:spPr>
        <p:txBody>
          <a:bodyPr/>
          <a:lstStyle/>
          <a:p>
            <a:r>
              <a:rPr lang="en-US" dirty="0"/>
              <a:t>Subtitle</a:t>
            </a:r>
          </a:p>
        </p:txBody>
      </p:sp>
      <p:sp>
        <p:nvSpPr>
          <p:cNvPr id="4" name="Text Placeholder 3">
            <a:extLst>
              <a:ext uri="{FF2B5EF4-FFF2-40B4-BE49-F238E27FC236}">
                <a16:creationId xmlns:a16="http://schemas.microsoft.com/office/drawing/2014/main" id="{5765474F-5BAF-4714-B1A8-B53FB83686D1}"/>
              </a:ext>
            </a:extLst>
          </p:cNvPr>
          <p:cNvSpPr>
            <a:spLocks noGrp="1"/>
          </p:cNvSpPr>
          <p:nvPr>
            <p:ph type="body" sz="quarter" idx="15"/>
          </p:nvPr>
        </p:nvSpPr>
        <p:spPr>
          <a:xfrm>
            <a:off x="914970" y="466343"/>
            <a:ext cx="3520375" cy="246689"/>
          </a:xfrm>
        </p:spPr>
        <p:txBody>
          <a:bodyPr/>
          <a:lstStyle/>
          <a:p>
            <a:r>
              <a:rPr lang="en-US" dirty="0"/>
              <a:t>FRAMEWORKS &amp; CONCEPT ILLUSTRATION</a:t>
            </a:r>
          </a:p>
        </p:txBody>
      </p:sp>
      <p:sp>
        <p:nvSpPr>
          <p:cNvPr id="5" name="Rectangle 4">
            <a:extLst>
              <a:ext uri="{FF2B5EF4-FFF2-40B4-BE49-F238E27FC236}">
                <a16:creationId xmlns:a16="http://schemas.microsoft.com/office/drawing/2014/main" id="{02F5910E-8E12-4BD7-9F9E-9B093CF1B935}"/>
              </a:ext>
            </a:extLst>
          </p:cNvPr>
          <p:cNvSpPr/>
          <p:nvPr/>
        </p:nvSpPr>
        <p:spPr>
          <a:xfrm>
            <a:off x="8641665" y="2456518"/>
            <a:ext cx="2950353" cy="400105"/>
          </a:xfrm>
          <a:prstGeom prst="rect">
            <a:avLst/>
          </a:prstGeom>
        </p:spPr>
        <p:txBody>
          <a:bodyPr wrap="none" lIns="121917" tIns="60958" rIns="121917" bIns="60958">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mj-lt"/>
                <a:ea typeface="+mn-ea"/>
                <a:cs typeface="Knockout-HTF27-JuniorBantamwt"/>
              </a:rPr>
              <a:t>EASY TO DO BUSINESS</a:t>
            </a:r>
          </a:p>
        </p:txBody>
      </p:sp>
      <p:sp>
        <p:nvSpPr>
          <p:cNvPr id="6" name="Rectangle 5">
            <a:extLst>
              <a:ext uri="{FF2B5EF4-FFF2-40B4-BE49-F238E27FC236}">
                <a16:creationId xmlns:a16="http://schemas.microsoft.com/office/drawing/2014/main" id="{CD2B61CA-10C3-4D3A-AE27-6D94397A7D03}"/>
              </a:ext>
            </a:extLst>
          </p:cNvPr>
          <p:cNvSpPr/>
          <p:nvPr/>
        </p:nvSpPr>
        <p:spPr>
          <a:xfrm>
            <a:off x="8948928" y="4373387"/>
            <a:ext cx="2643090" cy="400105"/>
          </a:xfrm>
          <a:prstGeom prst="rect">
            <a:avLst/>
          </a:prstGeom>
        </p:spPr>
        <p:txBody>
          <a:bodyPr wrap="none" lIns="121917" tIns="60958" rIns="121917" bIns="60958">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mj-lt"/>
                <a:ea typeface="+mn-ea"/>
                <a:cs typeface="Knockout-HTF27-JuniorBantamwt"/>
              </a:rPr>
              <a:t>PERSONALIZATION</a:t>
            </a:r>
          </a:p>
        </p:txBody>
      </p:sp>
      <p:sp>
        <p:nvSpPr>
          <p:cNvPr id="7" name="Rectangle 6">
            <a:extLst>
              <a:ext uri="{FF2B5EF4-FFF2-40B4-BE49-F238E27FC236}">
                <a16:creationId xmlns:a16="http://schemas.microsoft.com/office/drawing/2014/main" id="{7CEE3D9D-F7D0-4DA5-AD99-A6CD1A638240}"/>
              </a:ext>
            </a:extLst>
          </p:cNvPr>
          <p:cNvSpPr/>
          <p:nvPr/>
        </p:nvSpPr>
        <p:spPr>
          <a:xfrm>
            <a:off x="589241" y="2035796"/>
            <a:ext cx="2039270" cy="400105"/>
          </a:xfrm>
          <a:prstGeom prst="rect">
            <a:avLst/>
          </a:prstGeom>
        </p:spPr>
        <p:txBody>
          <a:bodyPr wrap="none" lIns="121917" tIns="60958" rIns="121917" bIns="60958">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mj-lt"/>
                <a:ea typeface="+mn-ea"/>
                <a:cs typeface="Knockout-HTF27-JuniorBantamwt"/>
              </a:rPr>
              <a:t>NO SURPRISES</a:t>
            </a:r>
          </a:p>
        </p:txBody>
      </p:sp>
      <p:sp>
        <p:nvSpPr>
          <p:cNvPr id="8" name="Rectangle 7">
            <a:extLst>
              <a:ext uri="{FF2B5EF4-FFF2-40B4-BE49-F238E27FC236}">
                <a16:creationId xmlns:a16="http://schemas.microsoft.com/office/drawing/2014/main" id="{EBE4A860-1332-45A2-8A7E-1E5A9937A313}"/>
              </a:ext>
            </a:extLst>
          </p:cNvPr>
          <p:cNvSpPr/>
          <p:nvPr/>
        </p:nvSpPr>
        <p:spPr>
          <a:xfrm>
            <a:off x="589241" y="3601139"/>
            <a:ext cx="1931933" cy="400105"/>
          </a:xfrm>
          <a:prstGeom prst="rect">
            <a:avLst/>
          </a:prstGeom>
        </p:spPr>
        <p:txBody>
          <a:bodyPr wrap="none" lIns="121917" tIns="60958" rIns="121917" bIns="60958">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mj-lt"/>
                <a:ea typeface="+mn-ea"/>
                <a:cs typeface="Knockout-HTF27-JuniorBantamwt"/>
              </a:rPr>
              <a:t>WOW FACTOR</a:t>
            </a:r>
          </a:p>
        </p:txBody>
      </p:sp>
      <p:sp>
        <p:nvSpPr>
          <p:cNvPr id="9" name="Rectangle 8">
            <a:extLst>
              <a:ext uri="{FF2B5EF4-FFF2-40B4-BE49-F238E27FC236}">
                <a16:creationId xmlns:a16="http://schemas.microsoft.com/office/drawing/2014/main" id="{8C3BA573-7230-4422-A593-A8A11ED67BC0}"/>
              </a:ext>
            </a:extLst>
          </p:cNvPr>
          <p:cNvSpPr/>
          <p:nvPr/>
        </p:nvSpPr>
        <p:spPr>
          <a:xfrm>
            <a:off x="589241" y="5162638"/>
            <a:ext cx="4101822" cy="400105"/>
          </a:xfrm>
          <a:prstGeom prst="rect">
            <a:avLst/>
          </a:prstGeom>
        </p:spPr>
        <p:txBody>
          <a:bodyPr wrap="none" lIns="121917" tIns="60958" rIns="121917" bIns="60958">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mj-lt"/>
                <a:ea typeface="+mn-ea"/>
                <a:cs typeface="Knockout-HTF27-JuniorBantamwt"/>
              </a:rPr>
              <a:t>EFFICIENT ISSUE RESOLUTION</a:t>
            </a:r>
          </a:p>
        </p:txBody>
      </p:sp>
      <p:cxnSp>
        <p:nvCxnSpPr>
          <p:cNvPr id="10" name="Straight Connector 9">
            <a:extLst>
              <a:ext uri="{FF2B5EF4-FFF2-40B4-BE49-F238E27FC236}">
                <a16:creationId xmlns:a16="http://schemas.microsoft.com/office/drawing/2014/main" id="{EE630353-B021-4EC2-8620-48C73EBA056D}"/>
              </a:ext>
            </a:extLst>
          </p:cNvPr>
          <p:cNvCxnSpPr/>
          <p:nvPr/>
        </p:nvCxnSpPr>
        <p:spPr>
          <a:xfrm flipH="1">
            <a:off x="7529973" y="2866341"/>
            <a:ext cx="3931920" cy="1"/>
          </a:xfrm>
          <a:prstGeom prst="line">
            <a:avLst/>
          </a:prstGeom>
          <a:noFill/>
          <a:ln w="19050" cap="flat" cmpd="sng" algn="ctr">
            <a:solidFill>
              <a:schemeClr val="accent1"/>
            </a:solidFill>
            <a:prstDash val="solid"/>
            <a:miter lim="800000"/>
          </a:ln>
          <a:effectLst/>
        </p:spPr>
      </p:cxnSp>
      <p:cxnSp>
        <p:nvCxnSpPr>
          <p:cNvPr id="11" name="Straight Connector 10">
            <a:extLst>
              <a:ext uri="{FF2B5EF4-FFF2-40B4-BE49-F238E27FC236}">
                <a16:creationId xmlns:a16="http://schemas.microsoft.com/office/drawing/2014/main" id="{3B1994F3-4FB2-4AD9-AFAD-383309698FCA}"/>
              </a:ext>
            </a:extLst>
          </p:cNvPr>
          <p:cNvCxnSpPr/>
          <p:nvPr/>
        </p:nvCxnSpPr>
        <p:spPr>
          <a:xfrm flipH="1">
            <a:off x="7529973" y="4775397"/>
            <a:ext cx="3931920" cy="1"/>
          </a:xfrm>
          <a:prstGeom prst="line">
            <a:avLst/>
          </a:prstGeom>
          <a:noFill/>
          <a:ln w="19050" cap="flat" cmpd="sng" algn="ctr">
            <a:solidFill>
              <a:schemeClr val="accent1"/>
            </a:solidFill>
            <a:prstDash val="solid"/>
            <a:miter lim="800000"/>
          </a:ln>
          <a:effectLst/>
        </p:spPr>
      </p:cxnSp>
      <p:sp>
        <p:nvSpPr>
          <p:cNvPr id="12" name="Rectangle 11">
            <a:extLst>
              <a:ext uri="{FF2B5EF4-FFF2-40B4-BE49-F238E27FC236}">
                <a16:creationId xmlns:a16="http://schemas.microsoft.com/office/drawing/2014/main" id="{A3B6EC2E-4D89-4B4F-BADF-44625B457C45}"/>
              </a:ext>
            </a:extLst>
          </p:cNvPr>
          <p:cNvSpPr/>
          <p:nvPr/>
        </p:nvSpPr>
        <p:spPr>
          <a:xfrm>
            <a:off x="606823" y="2496630"/>
            <a:ext cx="4010393" cy="464230"/>
          </a:xfrm>
          <a:prstGeom prst="rect">
            <a:avLst/>
          </a:prstGeom>
        </p:spPr>
        <p:txBody>
          <a:bodyPr wrap="square">
            <a:spAutoFit/>
          </a:bodyPr>
          <a:lstStyle/>
          <a:p>
            <a:pPr marL="91440" marR="0" lvl="1" indent="-91440" algn="l" defTabSz="914400" rtl="0" eaLnBrk="1" fontAlgn="auto" latinLnBrk="0" hangingPunct="1">
              <a:lnSpc>
                <a:spcPts val="1300"/>
              </a:lnSpc>
              <a:spcBef>
                <a:spcPts val="0"/>
              </a:spcBef>
              <a:spcAft>
                <a:spcPts val="300"/>
              </a:spcAft>
              <a:buClr>
                <a:srgbClr val="86F200"/>
              </a:buClr>
              <a:buSzPct val="75000"/>
              <a:buFont typeface="Arial" panose="020B0604020202020204" pitchFamily="34" charset="0"/>
              <a:buChar char="•"/>
              <a:tabLst>
                <a:tab pos="182880" algn="l"/>
              </a:tabLst>
              <a:defRPr/>
            </a:pPr>
            <a:r>
              <a:rPr kumimoji="0" lang="en-US" sz="1050" b="0" i="0" u="none" strike="noStrike" kern="1200" cap="none" spc="0" normalizeH="0" baseline="0" noProof="0" dirty="0">
                <a:ln>
                  <a:noFill/>
                </a:ln>
                <a:solidFill>
                  <a:srgbClr val="3F3F3F"/>
                </a:solidFill>
                <a:effectLst/>
                <a:uLnTx/>
                <a:uFillTx/>
                <a:ea typeface="+mn-ea"/>
                <a:cs typeface="+mn-cs"/>
              </a:rPr>
              <a:t>I clearly understand the company’s value proposition </a:t>
            </a:r>
          </a:p>
          <a:p>
            <a:pPr marL="91440" marR="0" lvl="1" indent="-91440" algn="l" defTabSz="914400" rtl="0" eaLnBrk="1" fontAlgn="auto" latinLnBrk="0" hangingPunct="1">
              <a:lnSpc>
                <a:spcPts val="1300"/>
              </a:lnSpc>
              <a:spcBef>
                <a:spcPts val="0"/>
              </a:spcBef>
              <a:spcAft>
                <a:spcPts val="300"/>
              </a:spcAft>
              <a:buClr>
                <a:srgbClr val="86F200"/>
              </a:buClr>
              <a:buSzPct val="75000"/>
              <a:buFont typeface="Arial" panose="020B0604020202020204" pitchFamily="34" charset="0"/>
              <a:buChar char="•"/>
              <a:tabLst>
                <a:tab pos="182880" algn="l"/>
              </a:tabLst>
              <a:defRPr/>
            </a:pPr>
            <a:r>
              <a:rPr kumimoji="0" lang="en-US" sz="1050" b="0" i="0" u="none" strike="noStrike" kern="1200" cap="none" spc="0" normalizeH="0" baseline="0" noProof="0" dirty="0">
                <a:ln>
                  <a:noFill/>
                </a:ln>
                <a:solidFill>
                  <a:srgbClr val="3F3F3F"/>
                </a:solidFill>
                <a:effectLst/>
                <a:uLnTx/>
                <a:uFillTx/>
                <a:ea typeface="+mn-ea"/>
                <a:cs typeface="+mn-cs"/>
              </a:rPr>
              <a:t>I am never surprised by hidden charges or other fees </a:t>
            </a:r>
          </a:p>
        </p:txBody>
      </p:sp>
      <p:grpSp>
        <p:nvGrpSpPr>
          <p:cNvPr id="13" name="Group 12">
            <a:extLst>
              <a:ext uri="{FF2B5EF4-FFF2-40B4-BE49-F238E27FC236}">
                <a16:creationId xmlns:a16="http://schemas.microsoft.com/office/drawing/2014/main" id="{6603F27E-EC23-4A36-AA75-3FDA6B907B2D}"/>
              </a:ext>
            </a:extLst>
          </p:cNvPr>
          <p:cNvGrpSpPr/>
          <p:nvPr/>
        </p:nvGrpSpPr>
        <p:grpSpPr>
          <a:xfrm>
            <a:off x="685800" y="2441505"/>
            <a:ext cx="4703063" cy="3119833"/>
            <a:chOff x="483731" y="2150934"/>
            <a:chExt cx="4887547" cy="3119833"/>
          </a:xfrm>
        </p:grpSpPr>
        <p:cxnSp>
          <p:nvCxnSpPr>
            <p:cNvPr id="14" name="Straight Connector 13">
              <a:extLst>
                <a:ext uri="{FF2B5EF4-FFF2-40B4-BE49-F238E27FC236}">
                  <a16:creationId xmlns:a16="http://schemas.microsoft.com/office/drawing/2014/main" id="{F80F5131-FF0C-4CFB-A5AF-A936F8303CC0}"/>
                </a:ext>
              </a:extLst>
            </p:cNvPr>
            <p:cNvCxnSpPr/>
            <p:nvPr/>
          </p:nvCxnSpPr>
          <p:spPr>
            <a:xfrm flipH="1">
              <a:off x="483731" y="2150934"/>
              <a:ext cx="4887547" cy="0"/>
            </a:xfrm>
            <a:prstGeom prst="line">
              <a:avLst/>
            </a:prstGeom>
            <a:noFill/>
            <a:ln w="19050" cap="flat" cmpd="sng" algn="ctr">
              <a:solidFill>
                <a:schemeClr val="accent1"/>
              </a:solidFill>
              <a:prstDash val="solid"/>
              <a:miter lim="800000"/>
            </a:ln>
            <a:effectLst/>
          </p:spPr>
        </p:cxnSp>
        <p:cxnSp>
          <p:nvCxnSpPr>
            <p:cNvPr id="15" name="Straight Connector 14">
              <a:extLst>
                <a:ext uri="{FF2B5EF4-FFF2-40B4-BE49-F238E27FC236}">
                  <a16:creationId xmlns:a16="http://schemas.microsoft.com/office/drawing/2014/main" id="{B715F7FC-15BC-4FE1-9512-ADF8C3456200}"/>
                </a:ext>
              </a:extLst>
            </p:cNvPr>
            <p:cNvCxnSpPr/>
            <p:nvPr/>
          </p:nvCxnSpPr>
          <p:spPr>
            <a:xfrm flipH="1">
              <a:off x="483731" y="3706148"/>
              <a:ext cx="3931920" cy="0"/>
            </a:xfrm>
            <a:prstGeom prst="line">
              <a:avLst/>
            </a:prstGeom>
            <a:noFill/>
            <a:ln w="19050" cap="flat" cmpd="sng" algn="ctr">
              <a:solidFill>
                <a:schemeClr val="accent1"/>
              </a:solidFill>
              <a:prstDash val="solid"/>
              <a:miter lim="800000"/>
            </a:ln>
            <a:effectLst/>
          </p:spPr>
        </p:cxnSp>
        <p:cxnSp>
          <p:nvCxnSpPr>
            <p:cNvPr id="16" name="Straight Connector 15">
              <a:extLst>
                <a:ext uri="{FF2B5EF4-FFF2-40B4-BE49-F238E27FC236}">
                  <a16:creationId xmlns:a16="http://schemas.microsoft.com/office/drawing/2014/main" id="{E5367049-CD28-4E9C-BACA-7550C6DD0644}"/>
                </a:ext>
              </a:extLst>
            </p:cNvPr>
            <p:cNvCxnSpPr/>
            <p:nvPr/>
          </p:nvCxnSpPr>
          <p:spPr>
            <a:xfrm flipH="1">
              <a:off x="483731" y="5270767"/>
              <a:ext cx="4887547" cy="0"/>
            </a:xfrm>
            <a:prstGeom prst="line">
              <a:avLst/>
            </a:prstGeom>
            <a:noFill/>
            <a:ln w="19050" cap="flat" cmpd="sng" algn="ctr">
              <a:solidFill>
                <a:schemeClr val="accent1"/>
              </a:solidFill>
              <a:prstDash val="solid"/>
              <a:miter lim="800000"/>
            </a:ln>
            <a:effectLst/>
          </p:spPr>
        </p:cxnSp>
      </p:grpSp>
      <p:sp>
        <p:nvSpPr>
          <p:cNvPr id="17" name="Rectangle 16">
            <a:extLst>
              <a:ext uri="{FF2B5EF4-FFF2-40B4-BE49-F238E27FC236}">
                <a16:creationId xmlns:a16="http://schemas.microsoft.com/office/drawing/2014/main" id="{6FB95C6D-9BA0-4CAD-B430-1935BB41E077}"/>
              </a:ext>
            </a:extLst>
          </p:cNvPr>
          <p:cNvSpPr/>
          <p:nvPr/>
        </p:nvSpPr>
        <p:spPr>
          <a:xfrm>
            <a:off x="606823" y="4051391"/>
            <a:ext cx="3368653" cy="1041311"/>
          </a:xfrm>
          <a:prstGeom prst="rect">
            <a:avLst/>
          </a:prstGeom>
        </p:spPr>
        <p:txBody>
          <a:bodyPr wrap="square">
            <a:spAutoFit/>
          </a:bodyPr>
          <a:lstStyle/>
          <a:p>
            <a:pPr marL="91440" marR="0" lvl="1" indent="-91440" algn="l" defTabSz="914400" rtl="0" eaLnBrk="1" fontAlgn="auto" latinLnBrk="0" hangingPunct="1">
              <a:lnSpc>
                <a:spcPts val="1300"/>
              </a:lnSpc>
              <a:spcBef>
                <a:spcPts val="0"/>
              </a:spcBef>
              <a:spcAft>
                <a:spcPts val="300"/>
              </a:spcAft>
              <a:buClr>
                <a:srgbClr val="86F200"/>
              </a:buClr>
              <a:buSzPct val="75000"/>
              <a:buFont typeface="Arial" panose="020B0604020202020204" pitchFamily="34" charset="0"/>
              <a:buChar char="•"/>
              <a:tabLst>
                <a:tab pos="182880" algn="l"/>
              </a:tabLst>
              <a:defRPr/>
            </a:pPr>
            <a:r>
              <a:rPr kumimoji="0" lang="en-US" sz="1050" b="0" i="0" u="none" strike="noStrike" kern="1200" cap="none" spc="0" normalizeH="0" baseline="0" noProof="0" dirty="0">
                <a:ln>
                  <a:noFill/>
                </a:ln>
                <a:solidFill>
                  <a:srgbClr val="3F3F3F"/>
                </a:solidFill>
                <a:effectLst/>
                <a:uLnTx/>
                <a:uFillTx/>
                <a:ea typeface="+mn-ea"/>
                <a:cs typeface="+mn-cs"/>
              </a:rPr>
              <a:t>There’s a “Wow” factor when I least expect it</a:t>
            </a:r>
          </a:p>
          <a:p>
            <a:pPr marL="91440" marR="0" lvl="1" indent="-91440" algn="l" defTabSz="914400" rtl="0" eaLnBrk="1" fontAlgn="auto" latinLnBrk="0" hangingPunct="1">
              <a:lnSpc>
                <a:spcPts val="1300"/>
              </a:lnSpc>
              <a:spcBef>
                <a:spcPts val="0"/>
              </a:spcBef>
              <a:spcAft>
                <a:spcPts val="300"/>
              </a:spcAft>
              <a:buClr>
                <a:srgbClr val="86F200"/>
              </a:buClr>
              <a:buSzPct val="75000"/>
              <a:buFont typeface="Arial" panose="020B0604020202020204" pitchFamily="34" charset="0"/>
              <a:buChar char="•"/>
              <a:tabLst>
                <a:tab pos="182880" algn="l"/>
              </a:tabLst>
              <a:defRPr/>
            </a:pPr>
            <a:r>
              <a:rPr kumimoji="0" lang="en-US" sz="1050" b="0" i="0" u="none" strike="noStrike" kern="1200" cap="none" spc="0" normalizeH="0" baseline="0" noProof="0" dirty="0">
                <a:ln>
                  <a:noFill/>
                </a:ln>
                <a:solidFill>
                  <a:srgbClr val="3F3F3F"/>
                </a:solidFill>
                <a:effectLst/>
                <a:uLnTx/>
                <a:uFillTx/>
                <a:ea typeface="+mn-ea"/>
                <a:cs typeface="+mn-cs"/>
              </a:rPr>
              <a:t>The company anticipates what I need even when I don’t ask</a:t>
            </a:r>
          </a:p>
          <a:p>
            <a:pPr marL="91440" marR="0" lvl="1" indent="-91440" algn="l" defTabSz="914400" rtl="0" eaLnBrk="1" fontAlgn="auto" latinLnBrk="0" hangingPunct="1">
              <a:lnSpc>
                <a:spcPts val="1300"/>
              </a:lnSpc>
              <a:spcBef>
                <a:spcPts val="0"/>
              </a:spcBef>
              <a:spcAft>
                <a:spcPts val="300"/>
              </a:spcAft>
              <a:buClr>
                <a:srgbClr val="86F200"/>
              </a:buClr>
              <a:buSzPct val="75000"/>
              <a:buFont typeface="Arial" panose="020B0604020202020204" pitchFamily="34" charset="0"/>
              <a:buChar char="•"/>
              <a:tabLst>
                <a:tab pos="182880" algn="l"/>
              </a:tabLst>
              <a:defRPr/>
            </a:pPr>
            <a:r>
              <a:rPr kumimoji="0" lang="en-US" sz="1050" b="0" i="0" u="none" strike="noStrike" kern="1200" cap="none" spc="0" normalizeH="0" baseline="0" noProof="0" dirty="0">
                <a:ln>
                  <a:noFill/>
                </a:ln>
                <a:solidFill>
                  <a:srgbClr val="3F3F3F"/>
                </a:solidFill>
                <a:effectLst/>
                <a:uLnTx/>
                <a:uFillTx/>
                <a:ea typeface="+mn-ea"/>
                <a:cs typeface="+mn-cs"/>
              </a:rPr>
              <a:t>Their team is proactive and stays one step ahead</a:t>
            </a:r>
          </a:p>
          <a:p>
            <a:pPr marL="91440" marR="0" lvl="1" indent="-91440" algn="l" defTabSz="914400" rtl="0" eaLnBrk="1" fontAlgn="auto" latinLnBrk="0" hangingPunct="1">
              <a:lnSpc>
                <a:spcPts val="1300"/>
              </a:lnSpc>
              <a:spcBef>
                <a:spcPts val="0"/>
              </a:spcBef>
              <a:spcAft>
                <a:spcPts val="300"/>
              </a:spcAft>
              <a:buClr>
                <a:srgbClr val="86F200"/>
              </a:buClr>
              <a:buSzPct val="75000"/>
              <a:buFont typeface="Arial" panose="020B0604020202020204" pitchFamily="34" charset="0"/>
              <a:buChar char="•"/>
              <a:tabLst>
                <a:tab pos="182880" algn="l"/>
              </a:tabLst>
              <a:defRPr/>
            </a:pPr>
            <a:r>
              <a:rPr kumimoji="0" lang="en-US" sz="1050" b="0" i="0" u="none" strike="noStrike" kern="1200" cap="none" spc="0" normalizeH="0" baseline="0" noProof="0" dirty="0">
                <a:ln>
                  <a:noFill/>
                </a:ln>
                <a:solidFill>
                  <a:srgbClr val="3F3F3F"/>
                </a:solidFill>
                <a:effectLst/>
                <a:uLnTx/>
                <a:uFillTx/>
                <a:ea typeface="+mn-ea"/>
                <a:cs typeface="+mn-cs"/>
              </a:rPr>
              <a:t>My loyalty and advocacy are valued </a:t>
            </a:r>
          </a:p>
        </p:txBody>
      </p:sp>
      <p:sp>
        <p:nvSpPr>
          <p:cNvPr id="18" name="Rectangle 17">
            <a:extLst>
              <a:ext uri="{FF2B5EF4-FFF2-40B4-BE49-F238E27FC236}">
                <a16:creationId xmlns:a16="http://schemas.microsoft.com/office/drawing/2014/main" id="{243F7415-26F0-4888-9904-912FEDF1B802}"/>
              </a:ext>
            </a:extLst>
          </p:cNvPr>
          <p:cNvSpPr/>
          <p:nvPr/>
        </p:nvSpPr>
        <p:spPr>
          <a:xfrm>
            <a:off x="606823" y="5621951"/>
            <a:ext cx="4065987" cy="630942"/>
          </a:xfrm>
          <a:prstGeom prst="rect">
            <a:avLst/>
          </a:prstGeom>
        </p:spPr>
        <p:txBody>
          <a:bodyPr wrap="square">
            <a:spAutoFit/>
          </a:bodyPr>
          <a:lstStyle/>
          <a:p>
            <a:pPr marL="91440" marR="0" lvl="1" indent="-91440" algn="l" defTabSz="914400" rtl="0" eaLnBrk="1" fontAlgn="auto" latinLnBrk="0" hangingPunct="1">
              <a:lnSpc>
                <a:spcPts val="1300"/>
              </a:lnSpc>
              <a:spcBef>
                <a:spcPts val="0"/>
              </a:spcBef>
              <a:spcAft>
                <a:spcPts val="300"/>
              </a:spcAft>
              <a:buClr>
                <a:srgbClr val="86F200"/>
              </a:buClr>
              <a:buSzPct val="75000"/>
              <a:buFont typeface="Arial" panose="020B0604020202020204" pitchFamily="34" charset="0"/>
              <a:buChar char="•"/>
              <a:tabLst>
                <a:tab pos="182880" algn="l"/>
              </a:tabLst>
              <a:defRPr/>
            </a:pPr>
            <a:r>
              <a:rPr kumimoji="0" lang="en-US" sz="1050" b="0" i="0" u="none" strike="noStrike" kern="1200" cap="none" spc="0" normalizeH="0" baseline="0" noProof="0" dirty="0">
                <a:ln>
                  <a:noFill/>
                </a:ln>
                <a:solidFill>
                  <a:srgbClr val="3F3F3F"/>
                </a:solidFill>
                <a:effectLst/>
                <a:uLnTx/>
                <a:uFillTx/>
                <a:ea typeface="+mn-ea"/>
                <a:cs typeface="+mn-cs"/>
              </a:rPr>
              <a:t>My problems are always solved the first time I get in contact </a:t>
            </a:r>
          </a:p>
          <a:p>
            <a:pPr marL="91440" marR="0" lvl="1" indent="-91440" algn="l" defTabSz="914400" rtl="0" eaLnBrk="1" fontAlgn="auto" latinLnBrk="0" hangingPunct="1">
              <a:lnSpc>
                <a:spcPts val="1300"/>
              </a:lnSpc>
              <a:spcBef>
                <a:spcPts val="0"/>
              </a:spcBef>
              <a:spcAft>
                <a:spcPts val="300"/>
              </a:spcAft>
              <a:buClr>
                <a:srgbClr val="86F200"/>
              </a:buClr>
              <a:buSzPct val="75000"/>
              <a:buFont typeface="Arial" panose="020B0604020202020204" pitchFamily="34" charset="0"/>
              <a:buChar char="•"/>
              <a:tabLst>
                <a:tab pos="182880" algn="l"/>
              </a:tabLst>
              <a:defRPr/>
            </a:pPr>
            <a:r>
              <a:rPr kumimoji="0" lang="en-US" sz="1050" b="0" i="0" u="none" strike="noStrike" kern="1200" cap="none" spc="0" normalizeH="0" baseline="0" noProof="0" dirty="0">
                <a:ln>
                  <a:noFill/>
                </a:ln>
                <a:solidFill>
                  <a:srgbClr val="3F3F3F"/>
                </a:solidFill>
                <a:effectLst/>
                <a:uLnTx/>
                <a:uFillTx/>
                <a:ea typeface="+mn-ea"/>
                <a:cs typeface="+mn-cs"/>
              </a:rPr>
              <a:t>I don’t feel like a ping pong ball among different customer service representatives or departments</a:t>
            </a:r>
          </a:p>
        </p:txBody>
      </p:sp>
      <p:sp>
        <p:nvSpPr>
          <p:cNvPr id="19" name="Rectangle 18">
            <a:extLst>
              <a:ext uri="{FF2B5EF4-FFF2-40B4-BE49-F238E27FC236}">
                <a16:creationId xmlns:a16="http://schemas.microsoft.com/office/drawing/2014/main" id="{237A03FA-947C-419D-9441-1CAD34B3361D}"/>
              </a:ext>
            </a:extLst>
          </p:cNvPr>
          <p:cNvSpPr/>
          <p:nvPr/>
        </p:nvSpPr>
        <p:spPr>
          <a:xfrm>
            <a:off x="8298251" y="4820720"/>
            <a:ext cx="3360896" cy="630942"/>
          </a:xfrm>
          <a:prstGeom prst="rect">
            <a:avLst/>
          </a:prstGeom>
        </p:spPr>
        <p:txBody>
          <a:bodyPr wrap="square">
            <a:spAutoFit/>
          </a:bodyPr>
          <a:lstStyle/>
          <a:p>
            <a:pPr marL="91440" marR="0" lvl="1" indent="-91440" algn="l" defTabSz="914400" rtl="0" eaLnBrk="1" fontAlgn="auto" latinLnBrk="0" hangingPunct="1">
              <a:lnSpc>
                <a:spcPts val="1300"/>
              </a:lnSpc>
              <a:spcBef>
                <a:spcPts val="0"/>
              </a:spcBef>
              <a:spcAft>
                <a:spcPts val="300"/>
              </a:spcAft>
              <a:buClr>
                <a:srgbClr val="86F200"/>
              </a:buClr>
              <a:buSzPct val="75000"/>
              <a:buFont typeface="Arial" panose="020B0604020202020204" pitchFamily="34" charset="0"/>
              <a:buChar char="•"/>
              <a:tabLst>
                <a:tab pos="182880" algn="l"/>
              </a:tabLst>
              <a:defRPr/>
            </a:pPr>
            <a:r>
              <a:rPr kumimoji="0" lang="en-US" sz="1050" b="0" i="0" u="none" strike="noStrike" kern="1200" cap="none" spc="0" normalizeH="0" baseline="0" noProof="0" dirty="0">
                <a:ln>
                  <a:noFill/>
                </a:ln>
                <a:solidFill>
                  <a:srgbClr val="3F3F3F"/>
                </a:solidFill>
                <a:effectLst/>
                <a:uLnTx/>
                <a:uFillTx/>
                <a:ea typeface="+mn-ea"/>
                <a:cs typeface="+mn-cs"/>
              </a:rPr>
              <a:t>I get the information that I want the way I want it</a:t>
            </a:r>
          </a:p>
          <a:p>
            <a:pPr marL="91440" marR="0" lvl="1" indent="-91440" algn="l" defTabSz="914400" rtl="0" eaLnBrk="1" fontAlgn="auto" latinLnBrk="0" hangingPunct="1">
              <a:lnSpc>
                <a:spcPts val="1300"/>
              </a:lnSpc>
              <a:spcBef>
                <a:spcPts val="0"/>
              </a:spcBef>
              <a:spcAft>
                <a:spcPts val="300"/>
              </a:spcAft>
              <a:buClr>
                <a:srgbClr val="86F200"/>
              </a:buClr>
              <a:buSzPct val="75000"/>
              <a:buFont typeface="Arial" panose="020B0604020202020204" pitchFamily="34" charset="0"/>
              <a:buChar char="•"/>
              <a:tabLst>
                <a:tab pos="182880" algn="l"/>
              </a:tabLst>
              <a:defRPr/>
            </a:pPr>
            <a:r>
              <a:rPr kumimoji="0" lang="en-US" sz="1050" b="0" i="0" u="none" strike="noStrike" kern="1200" cap="none" spc="0" normalizeH="0" baseline="0" noProof="0" dirty="0">
                <a:ln>
                  <a:noFill/>
                </a:ln>
                <a:solidFill>
                  <a:srgbClr val="3F3F3F"/>
                </a:solidFill>
                <a:effectLst/>
                <a:uLnTx/>
                <a:uFillTx/>
                <a:ea typeface="+mn-ea"/>
                <a:cs typeface="+mn-cs"/>
              </a:rPr>
              <a:t>The products, services and promotions that I am interested in are tailored to my preferences</a:t>
            </a:r>
          </a:p>
        </p:txBody>
      </p:sp>
      <p:sp>
        <p:nvSpPr>
          <p:cNvPr id="20" name="Rectangle 19">
            <a:extLst>
              <a:ext uri="{FF2B5EF4-FFF2-40B4-BE49-F238E27FC236}">
                <a16:creationId xmlns:a16="http://schemas.microsoft.com/office/drawing/2014/main" id="{414392F7-C8F3-41DC-848D-AA5FD724EC9F}"/>
              </a:ext>
            </a:extLst>
          </p:cNvPr>
          <p:cNvSpPr/>
          <p:nvPr/>
        </p:nvSpPr>
        <p:spPr>
          <a:xfrm>
            <a:off x="8298251" y="2917485"/>
            <a:ext cx="3484018" cy="1169551"/>
          </a:xfrm>
          <a:prstGeom prst="rect">
            <a:avLst/>
          </a:prstGeom>
        </p:spPr>
        <p:txBody>
          <a:bodyPr wrap="square">
            <a:spAutoFit/>
          </a:bodyPr>
          <a:lstStyle/>
          <a:p>
            <a:pPr marL="91440" marR="0" lvl="1" indent="-91440" algn="l" defTabSz="914400" rtl="0" eaLnBrk="1" fontAlgn="auto" latinLnBrk="0" hangingPunct="1">
              <a:lnSpc>
                <a:spcPts val="1300"/>
              </a:lnSpc>
              <a:spcBef>
                <a:spcPts val="0"/>
              </a:spcBef>
              <a:spcAft>
                <a:spcPts val="300"/>
              </a:spcAft>
              <a:buClr>
                <a:srgbClr val="86F200"/>
              </a:buClr>
              <a:buSzPct val="75000"/>
              <a:buFont typeface="Arial" panose="020B0604020202020204" pitchFamily="34" charset="0"/>
              <a:buChar char="•"/>
              <a:tabLst>
                <a:tab pos="182880" algn="l"/>
              </a:tabLst>
              <a:defRPr/>
            </a:pPr>
            <a:r>
              <a:rPr kumimoji="0" lang="en-US" sz="1050" b="0" i="0" u="none" strike="noStrike" kern="1200" cap="none" spc="0" normalizeH="0" baseline="0" noProof="0" dirty="0">
                <a:ln>
                  <a:noFill/>
                </a:ln>
                <a:solidFill>
                  <a:srgbClr val="3F3F3F"/>
                </a:solidFill>
                <a:effectLst/>
                <a:uLnTx/>
                <a:uFillTx/>
                <a:ea typeface="+mn-ea"/>
                <a:cs typeface="+mn-cs"/>
              </a:rPr>
              <a:t>Products and services are easy to use and intuitive</a:t>
            </a:r>
          </a:p>
          <a:p>
            <a:pPr marL="91440" marR="0" lvl="1" indent="-91440" algn="l" defTabSz="914400" rtl="0" eaLnBrk="1" fontAlgn="auto" latinLnBrk="0" hangingPunct="1">
              <a:lnSpc>
                <a:spcPts val="1300"/>
              </a:lnSpc>
              <a:spcBef>
                <a:spcPts val="0"/>
              </a:spcBef>
              <a:spcAft>
                <a:spcPts val="300"/>
              </a:spcAft>
              <a:buClr>
                <a:srgbClr val="86F200"/>
              </a:buClr>
              <a:buSzPct val="75000"/>
              <a:buFont typeface="Arial" panose="020B0604020202020204" pitchFamily="34" charset="0"/>
              <a:buChar char="•"/>
              <a:tabLst>
                <a:tab pos="182880" algn="l"/>
              </a:tabLst>
              <a:defRPr/>
            </a:pPr>
            <a:r>
              <a:rPr kumimoji="0" lang="en-US" sz="1050" b="0" i="0" u="none" strike="noStrike" kern="1200" cap="none" spc="0" normalizeH="0" baseline="0" noProof="0" dirty="0">
                <a:ln>
                  <a:noFill/>
                </a:ln>
                <a:solidFill>
                  <a:srgbClr val="3F3F3F"/>
                </a:solidFill>
                <a:effectLst/>
                <a:uLnTx/>
                <a:uFillTx/>
                <a:ea typeface="+mn-ea"/>
                <a:cs typeface="+mn-cs"/>
              </a:rPr>
              <a:t>Whether I’m connecting service, signing up for a program or getting an outage update, the process is convenient and interactions are hassle-free</a:t>
            </a:r>
          </a:p>
          <a:p>
            <a:pPr marL="91440" marR="0" lvl="1" indent="-91440" algn="l" defTabSz="914400" rtl="0" eaLnBrk="1" fontAlgn="auto" latinLnBrk="0" hangingPunct="1">
              <a:lnSpc>
                <a:spcPts val="1300"/>
              </a:lnSpc>
              <a:spcBef>
                <a:spcPts val="0"/>
              </a:spcBef>
              <a:spcAft>
                <a:spcPts val="300"/>
              </a:spcAft>
              <a:buClr>
                <a:srgbClr val="86F200"/>
              </a:buClr>
              <a:buSzPct val="75000"/>
              <a:buFont typeface="Arial" panose="020B0604020202020204" pitchFamily="34" charset="0"/>
              <a:buChar char="•"/>
              <a:tabLst>
                <a:tab pos="182880" algn="l"/>
              </a:tabLst>
              <a:defRPr/>
            </a:pPr>
            <a:r>
              <a:rPr kumimoji="0" lang="en-US" sz="1050" b="0" i="0" u="none" strike="noStrike" kern="1200" cap="none" spc="0" normalizeH="0" baseline="0" noProof="0" dirty="0">
                <a:ln>
                  <a:noFill/>
                </a:ln>
                <a:solidFill>
                  <a:srgbClr val="3F3F3F"/>
                </a:solidFill>
                <a:effectLst/>
                <a:uLnTx/>
                <a:uFillTx/>
                <a:ea typeface="+mn-ea"/>
                <a:cs typeface="+mn-cs"/>
              </a:rPr>
              <a:t>My bills are accurate and delivered on time using my preferred delivery method, and are easy to pay</a:t>
            </a:r>
          </a:p>
        </p:txBody>
      </p:sp>
      <p:sp>
        <p:nvSpPr>
          <p:cNvPr id="21" name="Down Arrow 77">
            <a:extLst>
              <a:ext uri="{FF2B5EF4-FFF2-40B4-BE49-F238E27FC236}">
                <a16:creationId xmlns:a16="http://schemas.microsoft.com/office/drawing/2014/main" id="{78E56217-AF4A-428E-AD27-FF9BAB409C52}"/>
              </a:ext>
            </a:extLst>
          </p:cNvPr>
          <p:cNvSpPr/>
          <p:nvPr/>
        </p:nvSpPr>
        <p:spPr>
          <a:xfrm rot="10800000">
            <a:off x="5901549" y="2378940"/>
            <a:ext cx="411105" cy="3726780"/>
          </a:xfrm>
          <a:prstGeom prst="downArrow">
            <a:avLst>
              <a:gd name="adj1" fmla="val 66170"/>
              <a:gd name="adj2" fmla="val 42795"/>
            </a:avLst>
          </a:prstGeom>
          <a:solidFill>
            <a:srgbClr val="B4B4B4"/>
          </a:solidFill>
          <a:ln w="6350" cap="flat" cmpd="sng" algn="ctr">
            <a:noFill/>
            <a:prstDash val="solid"/>
            <a:miter lim="800000"/>
          </a:ln>
          <a:effectLst/>
        </p:spPr>
        <p:txBody>
          <a:bodyPr wrap="square" rtlCol="0" anchor="ctr">
            <a:no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ea typeface="+mn-ea"/>
              <a:cs typeface="+mn-cs"/>
            </a:endParaRPr>
          </a:p>
        </p:txBody>
      </p:sp>
      <p:sp>
        <p:nvSpPr>
          <p:cNvPr id="22" name="Arc 21">
            <a:extLst>
              <a:ext uri="{FF2B5EF4-FFF2-40B4-BE49-F238E27FC236}">
                <a16:creationId xmlns:a16="http://schemas.microsoft.com/office/drawing/2014/main" id="{D08AB074-8C76-48A6-A8C3-F740483A1A19}"/>
              </a:ext>
            </a:extLst>
          </p:cNvPr>
          <p:cNvSpPr/>
          <p:nvPr/>
        </p:nvSpPr>
        <p:spPr>
          <a:xfrm>
            <a:off x="4027244" y="1898345"/>
            <a:ext cx="4211482" cy="4211481"/>
          </a:xfrm>
          <a:prstGeom prst="arc">
            <a:avLst>
              <a:gd name="adj1" fmla="val 17580675"/>
              <a:gd name="adj2" fmla="val 14727569"/>
            </a:avLst>
          </a:prstGeom>
          <a:noFill/>
          <a:ln w="12700" cap="flat" cmpd="sng" algn="ctr">
            <a:solidFill>
              <a:srgbClr val="B4B4B4"/>
            </a:solidFill>
            <a:prstDash val="solid"/>
            <a:miter lim="800000"/>
            <a:headEnd type="arrow"/>
            <a:tailEnd type="arrow"/>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ea typeface="+mn-ea"/>
              <a:cs typeface="+mn-cs"/>
            </a:endParaRPr>
          </a:p>
        </p:txBody>
      </p:sp>
      <p:sp>
        <p:nvSpPr>
          <p:cNvPr id="23" name="Arc 22">
            <a:extLst>
              <a:ext uri="{FF2B5EF4-FFF2-40B4-BE49-F238E27FC236}">
                <a16:creationId xmlns:a16="http://schemas.microsoft.com/office/drawing/2014/main" id="{A4AE8739-6BAD-46F2-94AD-C367554916CC}"/>
              </a:ext>
            </a:extLst>
          </p:cNvPr>
          <p:cNvSpPr/>
          <p:nvPr/>
        </p:nvSpPr>
        <p:spPr>
          <a:xfrm>
            <a:off x="4388591" y="2259692"/>
            <a:ext cx="3488787" cy="3488786"/>
          </a:xfrm>
          <a:prstGeom prst="arc">
            <a:avLst>
              <a:gd name="adj1" fmla="val 18638933"/>
              <a:gd name="adj2" fmla="val 18630248"/>
            </a:avLst>
          </a:prstGeom>
          <a:noFill/>
          <a:ln w="12700" cap="flat" cmpd="sng" algn="ctr">
            <a:solidFill>
              <a:srgbClr val="92D400"/>
            </a:solidFill>
            <a:prstDash val="solid"/>
            <a:miter lim="800000"/>
            <a:headEnd type="none"/>
            <a:tailEnd type="none"/>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ea typeface="+mn-ea"/>
              <a:cs typeface="+mn-cs"/>
            </a:endParaRPr>
          </a:p>
        </p:txBody>
      </p:sp>
      <p:sp>
        <p:nvSpPr>
          <p:cNvPr id="24" name="Oval 23">
            <a:extLst>
              <a:ext uri="{FF2B5EF4-FFF2-40B4-BE49-F238E27FC236}">
                <a16:creationId xmlns:a16="http://schemas.microsoft.com/office/drawing/2014/main" id="{C3D90AAB-7F77-469E-94A8-5850FE4CB97D}"/>
              </a:ext>
            </a:extLst>
          </p:cNvPr>
          <p:cNvSpPr/>
          <p:nvPr/>
        </p:nvSpPr>
        <p:spPr>
          <a:xfrm>
            <a:off x="7243861" y="2720023"/>
            <a:ext cx="290735" cy="292636"/>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92D400"/>
                </a:solidFill>
                <a:effectLst/>
                <a:uLnTx/>
                <a:uFillTx/>
                <a:ea typeface="+mn-ea"/>
                <a:cs typeface="+mn-cs"/>
              </a:rPr>
              <a:t>2</a:t>
            </a:r>
          </a:p>
        </p:txBody>
      </p:sp>
      <p:sp>
        <p:nvSpPr>
          <p:cNvPr id="25" name="Oval 24">
            <a:extLst>
              <a:ext uri="{FF2B5EF4-FFF2-40B4-BE49-F238E27FC236}">
                <a16:creationId xmlns:a16="http://schemas.microsoft.com/office/drawing/2014/main" id="{8B21496D-1F18-4FD9-8B84-D8976CDED641}"/>
              </a:ext>
            </a:extLst>
          </p:cNvPr>
          <p:cNvSpPr/>
          <p:nvPr/>
        </p:nvSpPr>
        <p:spPr>
          <a:xfrm>
            <a:off x="7542803" y="4629079"/>
            <a:ext cx="290735" cy="292636"/>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92D400"/>
                </a:solidFill>
                <a:effectLst/>
                <a:uLnTx/>
                <a:uFillTx/>
                <a:ea typeface="+mn-ea"/>
                <a:cs typeface="+mn-cs"/>
              </a:rPr>
              <a:t>3</a:t>
            </a:r>
          </a:p>
        </p:txBody>
      </p:sp>
      <p:sp>
        <p:nvSpPr>
          <p:cNvPr id="26" name="Oval 25">
            <a:extLst>
              <a:ext uri="{FF2B5EF4-FFF2-40B4-BE49-F238E27FC236}">
                <a16:creationId xmlns:a16="http://schemas.microsoft.com/office/drawing/2014/main" id="{4616A2B3-5E75-449C-A961-F73D56A4B8C4}"/>
              </a:ext>
            </a:extLst>
          </p:cNvPr>
          <p:cNvSpPr/>
          <p:nvPr/>
        </p:nvSpPr>
        <p:spPr>
          <a:xfrm>
            <a:off x="5212659" y="2293045"/>
            <a:ext cx="290735" cy="292636"/>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92D400"/>
                </a:solidFill>
                <a:effectLst/>
                <a:uLnTx/>
                <a:uFillTx/>
                <a:ea typeface="+mn-ea"/>
                <a:cs typeface="+mn-cs"/>
              </a:rPr>
              <a:t>1</a:t>
            </a:r>
          </a:p>
        </p:txBody>
      </p:sp>
      <p:sp>
        <p:nvSpPr>
          <p:cNvPr id="27" name="Oval 26">
            <a:extLst>
              <a:ext uri="{FF2B5EF4-FFF2-40B4-BE49-F238E27FC236}">
                <a16:creationId xmlns:a16="http://schemas.microsoft.com/office/drawing/2014/main" id="{064AD8CD-0546-4903-8557-B01DDFE71669}"/>
              </a:ext>
            </a:extLst>
          </p:cNvPr>
          <p:cNvSpPr/>
          <p:nvPr/>
        </p:nvSpPr>
        <p:spPr>
          <a:xfrm>
            <a:off x="4246965" y="3850401"/>
            <a:ext cx="290735" cy="292636"/>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92D400"/>
                </a:solidFill>
                <a:effectLst/>
                <a:uLnTx/>
                <a:uFillTx/>
                <a:ea typeface="+mn-ea"/>
                <a:cs typeface="+mn-cs"/>
              </a:rPr>
              <a:t>5</a:t>
            </a:r>
          </a:p>
        </p:txBody>
      </p:sp>
      <p:sp>
        <p:nvSpPr>
          <p:cNvPr id="28" name="Oval 27">
            <a:extLst>
              <a:ext uri="{FF2B5EF4-FFF2-40B4-BE49-F238E27FC236}">
                <a16:creationId xmlns:a16="http://schemas.microsoft.com/office/drawing/2014/main" id="{AAE03860-DB22-4503-9753-60A1829F6D74}"/>
              </a:ext>
            </a:extLst>
          </p:cNvPr>
          <p:cNvSpPr/>
          <p:nvPr/>
        </p:nvSpPr>
        <p:spPr>
          <a:xfrm>
            <a:off x="5212659" y="5407756"/>
            <a:ext cx="290735" cy="292636"/>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92D400"/>
                </a:solidFill>
                <a:effectLst/>
                <a:uLnTx/>
                <a:uFillTx/>
                <a:ea typeface="+mn-ea"/>
                <a:cs typeface="+mn-cs"/>
              </a:rPr>
              <a:t>4</a:t>
            </a:r>
          </a:p>
        </p:txBody>
      </p:sp>
      <p:sp>
        <p:nvSpPr>
          <p:cNvPr id="30" name="Oval 29">
            <a:extLst>
              <a:ext uri="{FF2B5EF4-FFF2-40B4-BE49-F238E27FC236}">
                <a16:creationId xmlns:a16="http://schemas.microsoft.com/office/drawing/2014/main" id="{7F0635C2-4AA7-46A6-83FE-541D2CEB17F9}"/>
              </a:ext>
            </a:extLst>
          </p:cNvPr>
          <p:cNvSpPr/>
          <p:nvPr/>
        </p:nvSpPr>
        <p:spPr>
          <a:xfrm>
            <a:off x="4973212" y="2904917"/>
            <a:ext cx="2291193" cy="2291189"/>
          </a:xfrm>
          <a:prstGeom prst="ellipse">
            <a:avLst/>
          </a:prstGeom>
          <a:solidFill>
            <a:sysClr val="window" lastClr="FFFFFF"/>
          </a:solidFill>
          <a:ln w="12700" cap="flat" cmpd="sng" algn="ctr">
            <a:no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00" b="0" i="0" u="none" strike="noStrike" kern="0" cap="none" spc="0" normalizeH="0" baseline="0" noProof="0" dirty="0">
              <a:ln>
                <a:noFill/>
              </a:ln>
              <a:solidFill>
                <a:prstClr val="white"/>
              </a:solidFill>
              <a:effectLst/>
              <a:uLnTx/>
              <a:uFillTx/>
              <a:ea typeface="+mn-ea"/>
              <a:cs typeface="+mn-cs"/>
            </a:endParaRPr>
          </a:p>
        </p:txBody>
      </p:sp>
      <p:pic>
        <p:nvPicPr>
          <p:cNvPr id="31" name="Picture 30">
            <a:extLst>
              <a:ext uri="{FF2B5EF4-FFF2-40B4-BE49-F238E27FC236}">
                <a16:creationId xmlns:a16="http://schemas.microsoft.com/office/drawing/2014/main" id="{A9FCF31B-E2F9-4B31-AC53-67A193D041F4}"/>
              </a:ext>
            </a:extLst>
          </p:cNvPr>
          <p:cNvPicPr>
            <a:picLocks noChangeAspect="1"/>
          </p:cNvPicPr>
          <p:nvPr/>
        </p:nvPicPr>
        <p:blipFill>
          <a:blip r:embed="rId8">
            <a:grayscl/>
            <a:extLst>
              <a:ext uri="{28A0092B-C50C-407E-A947-70E740481C1C}">
                <a14:useLocalDpi xmlns:a14="http://schemas.microsoft.com/office/drawing/2010/main" val="0"/>
              </a:ext>
            </a:extLst>
          </a:blip>
          <a:stretch>
            <a:fillRect/>
          </a:stretch>
        </p:blipFill>
        <p:spPr>
          <a:xfrm>
            <a:off x="5288792" y="3229077"/>
            <a:ext cx="1636617" cy="1642864"/>
          </a:xfrm>
          <a:prstGeom prst="rect">
            <a:avLst/>
          </a:prstGeom>
          <a:ln>
            <a:solidFill>
              <a:schemeClr val="accent1"/>
            </a:solidFill>
          </a:ln>
        </p:spPr>
      </p:pic>
      <p:sp>
        <p:nvSpPr>
          <p:cNvPr id="32" name="Title 1">
            <a:extLst>
              <a:ext uri="{FF2B5EF4-FFF2-40B4-BE49-F238E27FC236}">
                <a16:creationId xmlns:a16="http://schemas.microsoft.com/office/drawing/2014/main" id="{031FCE88-1F98-49F8-A9D1-F2D8AB8664B3}"/>
              </a:ext>
            </a:extLst>
          </p:cNvPr>
          <p:cNvSpPr txBox="1">
            <a:spLocks/>
          </p:cNvSpPr>
          <p:nvPr/>
        </p:nvSpPr>
        <p:spPr>
          <a:xfrm>
            <a:off x="914400" y="694944"/>
            <a:ext cx="10363200"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sp>
        <p:nvSpPr>
          <p:cNvPr id="33" name="Rectangle 32">
            <a:extLst>
              <a:ext uri="{FF2B5EF4-FFF2-40B4-BE49-F238E27FC236}">
                <a16:creationId xmlns:a16="http://schemas.microsoft.com/office/drawing/2014/main" id="{6997F136-C102-4149-A7A9-7ED97E95247A}"/>
              </a:ext>
            </a:extLst>
          </p:cNvPr>
          <p:cNvSpPr/>
          <p:nvPr/>
        </p:nvSpPr>
        <p:spPr>
          <a:xfrm>
            <a:off x="4435346" y="1686738"/>
            <a:ext cx="3366923" cy="365812"/>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113" marR="0" lvl="0" indent="0" algn="ctr" defTabSz="914400" rtl="0" eaLnBrk="1" fontAlgn="auto" latinLnBrk="0" hangingPunct="1">
              <a:lnSpc>
                <a:spcPct val="120000"/>
              </a:lnSpc>
              <a:spcBef>
                <a:spcPts val="0"/>
              </a:spcBef>
              <a:spcAft>
                <a:spcPts val="600"/>
              </a:spcAft>
              <a:buClr>
                <a:srgbClr val="000000"/>
              </a:buClr>
              <a:buSzTx/>
              <a:buFontTx/>
              <a:buNone/>
              <a:tabLst/>
              <a:defRPr/>
            </a:pPr>
            <a:r>
              <a:rPr kumimoji="0" lang="en-US" sz="1600" b="1" i="0" u="none" strike="noStrike" kern="1200" cap="none" spc="0" normalizeH="0" baseline="0" noProof="0" dirty="0">
                <a:ln>
                  <a:noFill/>
                </a:ln>
                <a:solidFill>
                  <a:srgbClr val="000000"/>
                </a:solidFill>
                <a:effectLst/>
                <a:uLnTx/>
                <a:uFillTx/>
                <a:ea typeface="+mn-ea"/>
                <a:cs typeface="+mn-cs"/>
              </a:rPr>
              <a:t>An ideal customer experience</a:t>
            </a:r>
          </a:p>
        </p:txBody>
      </p:sp>
    </p:spTree>
    <p:extLst>
      <p:ext uri="{BB962C8B-B14F-4D97-AF65-F5344CB8AC3E}">
        <p14:creationId xmlns:p14="http://schemas.microsoft.com/office/powerpoint/2010/main" val="2188762595"/>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8" name="Object 77" hidden="1">
            <a:extLst>
              <a:ext uri="{FF2B5EF4-FFF2-40B4-BE49-F238E27FC236}">
                <a16:creationId xmlns:a16="http://schemas.microsoft.com/office/drawing/2014/main" id="{5C20BCC7-2EAC-4C32-8C9E-67C49F56137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3780" name="think-cell Slide" r:id="rId6" imgW="395" imgH="396" progId="TCLayout.ActiveDocument.1">
                  <p:embed/>
                </p:oleObj>
              </mc:Choice>
              <mc:Fallback>
                <p:oleObj name="think-cell Slide" r:id="rId6" imgW="395" imgH="396" progId="TCLayout.ActiveDocument.1">
                  <p:embed/>
                  <p:pic>
                    <p:nvPicPr>
                      <p:cNvPr id="78" name="Object 77" hidden="1">
                        <a:extLst>
                          <a:ext uri="{FF2B5EF4-FFF2-40B4-BE49-F238E27FC236}">
                            <a16:creationId xmlns:a16="http://schemas.microsoft.com/office/drawing/2014/main" id="{5C20BCC7-2EAC-4C32-8C9E-67C49F5613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7" name="Rectangle 76" hidden="1">
            <a:extLst>
              <a:ext uri="{FF2B5EF4-FFF2-40B4-BE49-F238E27FC236}">
                <a16:creationId xmlns:a16="http://schemas.microsoft.com/office/drawing/2014/main" id="{595B6F44-885B-4508-81C0-633E888FEAB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010AE4E9-42BC-48BA-8040-A1D9C9FC99C4}"/>
              </a:ext>
            </a:extLst>
          </p:cNvPr>
          <p:cNvSpPr>
            <a:spLocks noGrp="1"/>
          </p:cNvSpPr>
          <p:nvPr>
            <p:ph type="title"/>
          </p:nvPr>
        </p:nvSpPr>
        <p:spPr>
          <a:xfrm>
            <a:off x="914400" y="3325006"/>
            <a:ext cx="3581336" cy="594360"/>
          </a:xfrm>
        </p:spPr>
        <p:txBody>
          <a:bodyPr/>
          <a:lstStyle/>
          <a:p>
            <a:r>
              <a:rPr lang="en-US" dirty="0"/>
              <a:t>The consumer’s path to purchase is no longer linear; every moment is an opportunity to engage …</a:t>
            </a:r>
          </a:p>
        </p:txBody>
      </p:sp>
      <p:sp>
        <p:nvSpPr>
          <p:cNvPr id="3" name="Text Placeholder 2">
            <a:extLst>
              <a:ext uri="{FF2B5EF4-FFF2-40B4-BE49-F238E27FC236}">
                <a16:creationId xmlns:a16="http://schemas.microsoft.com/office/drawing/2014/main" id="{9CC8F12B-AD2D-4FC0-8436-6F9B6546086E}"/>
              </a:ext>
            </a:extLst>
          </p:cNvPr>
          <p:cNvSpPr>
            <a:spLocks noGrp="1"/>
          </p:cNvSpPr>
          <p:nvPr>
            <p:ph type="body" sz="quarter" idx="14"/>
          </p:nvPr>
        </p:nvSpPr>
        <p:spPr>
          <a:xfrm>
            <a:off x="914721" y="4088861"/>
            <a:ext cx="4019429" cy="475488"/>
          </a:xfrm>
        </p:spPr>
        <p:txBody>
          <a:bodyPr/>
          <a:lstStyle/>
          <a:p>
            <a:r>
              <a:rPr lang="en-US" dirty="0"/>
              <a:t>Subtitle</a:t>
            </a:r>
          </a:p>
        </p:txBody>
      </p:sp>
      <p:sp>
        <p:nvSpPr>
          <p:cNvPr id="4" name="Text Placeholder 3">
            <a:extLst>
              <a:ext uri="{FF2B5EF4-FFF2-40B4-BE49-F238E27FC236}">
                <a16:creationId xmlns:a16="http://schemas.microsoft.com/office/drawing/2014/main" id="{6044467E-5A04-427A-BA6D-0FC2EBDE31E9}"/>
              </a:ext>
            </a:extLst>
          </p:cNvPr>
          <p:cNvSpPr>
            <a:spLocks noGrp="1"/>
          </p:cNvSpPr>
          <p:nvPr>
            <p:ph type="body" sz="quarter" idx="15"/>
          </p:nvPr>
        </p:nvSpPr>
        <p:spPr>
          <a:xfrm>
            <a:off x="914970" y="466344"/>
            <a:ext cx="3477919" cy="222002"/>
          </a:xfrm>
        </p:spPr>
        <p:txBody>
          <a:bodyPr/>
          <a:lstStyle/>
          <a:p>
            <a:r>
              <a:rPr lang="en-US" dirty="0"/>
              <a:t>FRAMEWORKS &amp; CONCEPT ILLUSTRATION</a:t>
            </a:r>
          </a:p>
        </p:txBody>
      </p:sp>
      <p:sp>
        <p:nvSpPr>
          <p:cNvPr id="5" name="Title 1">
            <a:extLst>
              <a:ext uri="{FF2B5EF4-FFF2-40B4-BE49-F238E27FC236}">
                <a16:creationId xmlns:a16="http://schemas.microsoft.com/office/drawing/2014/main" id="{D47A53CE-D1D1-450F-AD32-16200966BEAF}"/>
              </a:ext>
            </a:extLst>
          </p:cNvPr>
          <p:cNvSpPr txBox="1">
            <a:spLocks/>
          </p:cNvSpPr>
          <p:nvPr/>
        </p:nvSpPr>
        <p:spPr>
          <a:xfrm>
            <a:off x="914399" y="804672"/>
            <a:ext cx="3478491" cy="19958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grpSp>
        <p:nvGrpSpPr>
          <p:cNvPr id="6" name="Group 5">
            <a:extLst>
              <a:ext uri="{FF2B5EF4-FFF2-40B4-BE49-F238E27FC236}">
                <a16:creationId xmlns:a16="http://schemas.microsoft.com/office/drawing/2014/main" id="{C2A45FEB-9F89-40C1-A993-42FD9907070E}"/>
              </a:ext>
            </a:extLst>
          </p:cNvPr>
          <p:cNvGrpSpPr/>
          <p:nvPr/>
        </p:nvGrpSpPr>
        <p:grpSpPr>
          <a:xfrm>
            <a:off x="4052473" y="1387172"/>
            <a:ext cx="7568682" cy="4430316"/>
            <a:chOff x="4253256" y="1079152"/>
            <a:chExt cx="7568682" cy="4430316"/>
          </a:xfrm>
        </p:grpSpPr>
        <p:graphicFrame>
          <p:nvGraphicFramePr>
            <p:cNvPr id="7" name="Chart 6">
              <a:extLst>
                <a:ext uri="{FF2B5EF4-FFF2-40B4-BE49-F238E27FC236}">
                  <a16:creationId xmlns:a16="http://schemas.microsoft.com/office/drawing/2014/main" id="{0F321273-F948-4F11-B588-1CB276E8DB52}"/>
                </a:ext>
              </a:extLst>
            </p:cNvPr>
            <p:cNvGraphicFramePr/>
            <p:nvPr/>
          </p:nvGraphicFramePr>
          <p:xfrm>
            <a:off x="5017908" y="1079152"/>
            <a:ext cx="6097863" cy="4065242"/>
          </p:xfrm>
          <a:graphic>
            <a:graphicData uri="http://schemas.openxmlformats.org/drawingml/2006/chart">
              <c:chart xmlns:c="http://schemas.openxmlformats.org/drawingml/2006/chart" xmlns:r="http://schemas.openxmlformats.org/officeDocument/2006/relationships" r:id="rId8"/>
            </a:graphicData>
          </a:graphic>
        </p:graphicFrame>
        <p:sp>
          <p:nvSpPr>
            <p:cNvPr id="8" name="Oval 7">
              <a:extLst>
                <a:ext uri="{FF2B5EF4-FFF2-40B4-BE49-F238E27FC236}">
                  <a16:creationId xmlns:a16="http://schemas.microsoft.com/office/drawing/2014/main" id="{3F9B66A9-B54C-4B47-89C0-998ACA3A3EB4}"/>
                </a:ext>
              </a:extLst>
            </p:cNvPr>
            <p:cNvSpPr/>
            <p:nvPr/>
          </p:nvSpPr>
          <p:spPr>
            <a:xfrm>
              <a:off x="6407216" y="1462515"/>
              <a:ext cx="3319248" cy="331924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9" name="Group 8">
              <a:extLst>
                <a:ext uri="{FF2B5EF4-FFF2-40B4-BE49-F238E27FC236}">
                  <a16:creationId xmlns:a16="http://schemas.microsoft.com/office/drawing/2014/main" id="{D9E341A8-DA84-414E-8C3B-9A9027202AAB}"/>
                </a:ext>
              </a:extLst>
            </p:cNvPr>
            <p:cNvGrpSpPr/>
            <p:nvPr/>
          </p:nvGrpSpPr>
          <p:grpSpPr>
            <a:xfrm>
              <a:off x="8764675" y="1351504"/>
              <a:ext cx="763400" cy="765726"/>
              <a:chOff x="5921415" y="-508726"/>
              <a:chExt cx="520701" cy="522288"/>
            </a:xfrm>
          </p:grpSpPr>
          <p:sp>
            <p:nvSpPr>
              <p:cNvPr id="66" name="Oval 65">
                <a:extLst>
                  <a:ext uri="{FF2B5EF4-FFF2-40B4-BE49-F238E27FC236}">
                    <a16:creationId xmlns:a16="http://schemas.microsoft.com/office/drawing/2014/main" id="{C515D6EF-95CE-42A2-A132-9ADB0564665C}"/>
                  </a:ext>
                </a:extLst>
              </p:cNvPr>
              <p:cNvSpPr/>
              <p:nvPr/>
            </p:nvSpPr>
            <p:spPr>
              <a:xfrm>
                <a:off x="5928504" y="-500050"/>
                <a:ext cx="513612" cy="51361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67" name="Group 66">
                <a:extLst>
                  <a:ext uri="{FF2B5EF4-FFF2-40B4-BE49-F238E27FC236}">
                    <a16:creationId xmlns:a16="http://schemas.microsoft.com/office/drawing/2014/main" id="{411DE5BA-7703-4E20-A3B4-07C53CDDBD78}"/>
                  </a:ext>
                </a:extLst>
              </p:cNvPr>
              <p:cNvGrpSpPr>
                <a:grpSpLocks noChangeAspect="1"/>
              </p:cNvGrpSpPr>
              <p:nvPr/>
            </p:nvGrpSpPr>
            <p:grpSpPr>
              <a:xfrm>
                <a:off x="5921415" y="-508726"/>
                <a:ext cx="520700" cy="522288"/>
                <a:chOff x="1427163" y="4175125"/>
                <a:chExt cx="520700" cy="522288"/>
              </a:xfrm>
            </p:grpSpPr>
            <p:sp>
              <p:nvSpPr>
                <p:cNvPr id="68" name="Freeform 37">
                  <a:extLst>
                    <a:ext uri="{FF2B5EF4-FFF2-40B4-BE49-F238E27FC236}">
                      <a16:creationId xmlns:a16="http://schemas.microsoft.com/office/drawing/2014/main" id="{C48F72F9-7A5E-4260-9987-22C73C8EB6F3}"/>
                    </a:ext>
                  </a:extLst>
                </p:cNvPr>
                <p:cNvSpPr>
                  <a:spLocks noEditPoints="1"/>
                </p:cNvSpPr>
                <p:nvPr/>
              </p:nvSpPr>
              <p:spPr bwMode="auto">
                <a:xfrm>
                  <a:off x="1427163" y="4175125"/>
                  <a:ext cx="520700" cy="522288"/>
                </a:xfrm>
                <a:custGeom>
                  <a:avLst/>
                  <a:gdLst>
                    <a:gd name="T0" fmla="*/ 312 w 657"/>
                    <a:gd name="T1" fmla="*/ 657 h 657"/>
                    <a:gd name="T2" fmla="*/ 262 w 657"/>
                    <a:gd name="T3" fmla="*/ 650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9 h 657"/>
                    <a:gd name="T16" fmla="*/ 1 w 657"/>
                    <a:gd name="T17" fmla="*/ 296 h 657"/>
                    <a:gd name="T18" fmla="*/ 11 w 657"/>
                    <a:gd name="T19" fmla="*/ 246 h 657"/>
                    <a:gd name="T20" fmla="*/ 39 w 657"/>
                    <a:gd name="T21" fmla="*/ 172 h 657"/>
                    <a:gd name="T22" fmla="*/ 97 w 657"/>
                    <a:gd name="T23" fmla="*/ 97 h 657"/>
                    <a:gd name="T24" fmla="*/ 172 w 657"/>
                    <a:gd name="T25" fmla="*/ 39 h 657"/>
                    <a:gd name="T26" fmla="*/ 247 w 657"/>
                    <a:gd name="T27" fmla="*/ 10 h 657"/>
                    <a:gd name="T28" fmla="*/ 296 w 657"/>
                    <a:gd name="T29" fmla="*/ 2 h 657"/>
                    <a:gd name="T30" fmla="*/ 329 w 657"/>
                    <a:gd name="T31" fmla="*/ 0 h 657"/>
                    <a:gd name="T32" fmla="*/ 379 w 657"/>
                    <a:gd name="T33" fmla="*/ 4 h 657"/>
                    <a:gd name="T34" fmla="*/ 426 w 657"/>
                    <a:gd name="T35" fmla="*/ 15 h 657"/>
                    <a:gd name="T36" fmla="*/ 512 w 657"/>
                    <a:gd name="T37" fmla="*/ 57 h 657"/>
                    <a:gd name="T38" fmla="*/ 582 w 657"/>
                    <a:gd name="T39" fmla="*/ 120 h 657"/>
                    <a:gd name="T40" fmla="*/ 631 w 657"/>
                    <a:gd name="T41" fmla="*/ 200 h 657"/>
                    <a:gd name="T42" fmla="*/ 650 w 657"/>
                    <a:gd name="T43" fmla="*/ 262 h 657"/>
                    <a:gd name="T44" fmla="*/ 657 w 657"/>
                    <a:gd name="T45" fmla="*/ 312 h 657"/>
                    <a:gd name="T46" fmla="*/ 657 w 657"/>
                    <a:gd name="T47" fmla="*/ 346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9 w 657"/>
                    <a:gd name="T59" fmla="*/ 653 h 657"/>
                    <a:gd name="T60" fmla="*/ 329 w 657"/>
                    <a:gd name="T61" fmla="*/ 657 h 657"/>
                    <a:gd name="T62" fmla="*/ 329 w 657"/>
                    <a:gd name="T63" fmla="*/ 38 h 657"/>
                    <a:gd name="T64" fmla="*/ 242 w 657"/>
                    <a:gd name="T65" fmla="*/ 51 h 657"/>
                    <a:gd name="T66" fmla="*/ 165 w 657"/>
                    <a:gd name="T67" fmla="*/ 88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5 w 657"/>
                    <a:gd name="T81" fmla="*/ 570 h 657"/>
                    <a:gd name="T82" fmla="*/ 242 w 657"/>
                    <a:gd name="T83" fmla="*/ 607 h 657"/>
                    <a:gd name="T84" fmla="*/ 329 w 657"/>
                    <a:gd name="T85" fmla="*/ 620 h 657"/>
                    <a:gd name="T86" fmla="*/ 387 w 657"/>
                    <a:gd name="T87" fmla="*/ 614 h 657"/>
                    <a:gd name="T88" fmla="*/ 468 w 657"/>
                    <a:gd name="T89" fmla="*/ 585 h 657"/>
                    <a:gd name="T90" fmla="*/ 535 w 657"/>
                    <a:gd name="T91" fmla="*/ 535 h 657"/>
                    <a:gd name="T92" fmla="*/ 584 w 657"/>
                    <a:gd name="T93" fmla="*/ 468 h 657"/>
                    <a:gd name="T94" fmla="*/ 614 w 657"/>
                    <a:gd name="T95" fmla="*/ 387 h 657"/>
                    <a:gd name="T96" fmla="*/ 619 w 657"/>
                    <a:gd name="T97" fmla="*/ 329 h 657"/>
                    <a:gd name="T98" fmla="*/ 607 w 657"/>
                    <a:gd name="T99" fmla="*/ 242 h 657"/>
                    <a:gd name="T100" fmla="*/ 570 w 657"/>
                    <a:gd name="T101" fmla="*/ 166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6"/>
                      </a:lnTo>
                      <a:lnTo>
                        <a:pt x="278" y="653"/>
                      </a:lnTo>
                      <a:lnTo>
                        <a:pt x="262" y="650"/>
                      </a:lnTo>
                      <a:lnTo>
                        <a:pt x="247" y="648"/>
                      </a:lnTo>
                      <a:lnTo>
                        <a:pt x="231" y="642"/>
                      </a:lnTo>
                      <a:lnTo>
                        <a:pt x="200" y="632"/>
                      </a:lnTo>
                      <a:lnTo>
                        <a:pt x="172" y="618"/>
                      </a:lnTo>
                      <a:lnTo>
                        <a:pt x="145" y="601"/>
                      </a:lnTo>
                      <a:lnTo>
                        <a:pt x="120" y="582"/>
                      </a:lnTo>
                      <a:lnTo>
                        <a:pt x="97" y="562"/>
                      </a:lnTo>
                      <a:lnTo>
                        <a:pt x="75" y="538"/>
                      </a:lnTo>
                      <a:lnTo>
                        <a:pt x="57" y="512"/>
                      </a:lnTo>
                      <a:lnTo>
                        <a:pt x="39" y="485"/>
                      </a:lnTo>
                      <a:lnTo>
                        <a:pt x="26" y="457"/>
                      </a:lnTo>
                      <a:lnTo>
                        <a:pt x="15" y="426"/>
                      </a:lnTo>
                      <a:lnTo>
                        <a:pt x="11" y="411"/>
                      </a:lnTo>
                      <a:lnTo>
                        <a:pt x="7" y="395"/>
                      </a:lnTo>
                      <a:lnTo>
                        <a:pt x="4" y="379"/>
                      </a:lnTo>
                      <a:lnTo>
                        <a:pt x="1" y="362"/>
                      </a:lnTo>
                      <a:lnTo>
                        <a:pt x="0" y="346"/>
                      </a:lnTo>
                      <a:lnTo>
                        <a:pt x="0" y="329"/>
                      </a:lnTo>
                      <a:lnTo>
                        <a:pt x="0" y="329"/>
                      </a:lnTo>
                      <a:lnTo>
                        <a:pt x="0" y="312"/>
                      </a:lnTo>
                      <a:lnTo>
                        <a:pt x="1" y="296"/>
                      </a:lnTo>
                      <a:lnTo>
                        <a:pt x="4" y="278"/>
                      </a:lnTo>
                      <a:lnTo>
                        <a:pt x="7" y="262"/>
                      </a:lnTo>
                      <a:lnTo>
                        <a:pt x="11" y="246"/>
                      </a:lnTo>
                      <a:lnTo>
                        <a:pt x="15" y="231"/>
                      </a:lnTo>
                      <a:lnTo>
                        <a:pt x="26" y="200"/>
                      </a:lnTo>
                      <a:lnTo>
                        <a:pt x="39" y="172"/>
                      </a:lnTo>
                      <a:lnTo>
                        <a:pt x="57" y="145"/>
                      </a:lnTo>
                      <a:lnTo>
                        <a:pt x="75" y="120"/>
                      </a:lnTo>
                      <a:lnTo>
                        <a:pt x="97" y="97"/>
                      </a:lnTo>
                      <a:lnTo>
                        <a:pt x="120" y="76"/>
                      </a:lnTo>
                      <a:lnTo>
                        <a:pt x="145" y="57"/>
                      </a:lnTo>
                      <a:lnTo>
                        <a:pt x="172" y="39"/>
                      </a:lnTo>
                      <a:lnTo>
                        <a:pt x="200" y="26"/>
                      </a:lnTo>
                      <a:lnTo>
                        <a:pt x="231" y="15"/>
                      </a:lnTo>
                      <a:lnTo>
                        <a:pt x="247" y="10"/>
                      </a:lnTo>
                      <a:lnTo>
                        <a:pt x="262" y="7"/>
                      </a:lnTo>
                      <a:lnTo>
                        <a:pt x="278" y="4"/>
                      </a:lnTo>
                      <a:lnTo>
                        <a:pt x="296" y="2"/>
                      </a:lnTo>
                      <a:lnTo>
                        <a:pt x="312" y="0"/>
                      </a:lnTo>
                      <a:lnTo>
                        <a:pt x="329" y="0"/>
                      </a:lnTo>
                      <a:lnTo>
                        <a:pt x="329" y="0"/>
                      </a:lnTo>
                      <a:lnTo>
                        <a:pt x="345" y="0"/>
                      </a:lnTo>
                      <a:lnTo>
                        <a:pt x="363" y="2"/>
                      </a:lnTo>
                      <a:lnTo>
                        <a:pt x="379" y="4"/>
                      </a:lnTo>
                      <a:lnTo>
                        <a:pt x="395" y="7"/>
                      </a:lnTo>
                      <a:lnTo>
                        <a:pt x="411" y="10"/>
                      </a:lnTo>
                      <a:lnTo>
                        <a:pt x="426" y="15"/>
                      </a:lnTo>
                      <a:lnTo>
                        <a:pt x="457" y="26"/>
                      </a:lnTo>
                      <a:lnTo>
                        <a:pt x="485" y="39"/>
                      </a:lnTo>
                      <a:lnTo>
                        <a:pt x="512" y="57"/>
                      </a:lnTo>
                      <a:lnTo>
                        <a:pt x="537" y="76"/>
                      </a:lnTo>
                      <a:lnTo>
                        <a:pt x="562" y="97"/>
                      </a:lnTo>
                      <a:lnTo>
                        <a:pt x="582" y="120"/>
                      </a:lnTo>
                      <a:lnTo>
                        <a:pt x="602" y="145"/>
                      </a:lnTo>
                      <a:lnTo>
                        <a:pt x="618" y="172"/>
                      </a:lnTo>
                      <a:lnTo>
                        <a:pt x="631" y="200"/>
                      </a:lnTo>
                      <a:lnTo>
                        <a:pt x="642" y="231"/>
                      </a:lnTo>
                      <a:lnTo>
                        <a:pt x="648" y="246"/>
                      </a:lnTo>
                      <a:lnTo>
                        <a:pt x="650" y="262"/>
                      </a:lnTo>
                      <a:lnTo>
                        <a:pt x="654" y="278"/>
                      </a:lnTo>
                      <a:lnTo>
                        <a:pt x="656" y="296"/>
                      </a:lnTo>
                      <a:lnTo>
                        <a:pt x="657" y="312"/>
                      </a:lnTo>
                      <a:lnTo>
                        <a:pt x="657" y="329"/>
                      </a:lnTo>
                      <a:lnTo>
                        <a:pt x="657" y="329"/>
                      </a:lnTo>
                      <a:lnTo>
                        <a:pt x="657" y="346"/>
                      </a:lnTo>
                      <a:lnTo>
                        <a:pt x="656" y="362"/>
                      </a:lnTo>
                      <a:lnTo>
                        <a:pt x="654" y="379"/>
                      </a:lnTo>
                      <a:lnTo>
                        <a:pt x="650" y="395"/>
                      </a:lnTo>
                      <a:lnTo>
                        <a:pt x="648" y="411"/>
                      </a:lnTo>
                      <a:lnTo>
                        <a:pt x="642" y="426"/>
                      </a:lnTo>
                      <a:lnTo>
                        <a:pt x="631" y="457"/>
                      </a:lnTo>
                      <a:lnTo>
                        <a:pt x="618" y="485"/>
                      </a:lnTo>
                      <a:lnTo>
                        <a:pt x="602" y="512"/>
                      </a:lnTo>
                      <a:lnTo>
                        <a:pt x="582" y="538"/>
                      </a:lnTo>
                      <a:lnTo>
                        <a:pt x="562" y="562"/>
                      </a:lnTo>
                      <a:lnTo>
                        <a:pt x="537" y="582"/>
                      </a:lnTo>
                      <a:lnTo>
                        <a:pt x="512" y="601"/>
                      </a:lnTo>
                      <a:lnTo>
                        <a:pt x="485" y="618"/>
                      </a:lnTo>
                      <a:lnTo>
                        <a:pt x="457" y="632"/>
                      </a:lnTo>
                      <a:lnTo>
                        <a:pt x="426" y="642"/>
                      </a:lnTo>
                      <a:lnTo>
                        <a:pt x="411" y="648"/>
                      </a:lnTo>
                      <a:lnTo>
                        <a:pt x="395" y="650"/>
                      </a:lnTo>
                      <a:lnTo>
                        <a:pt x="379" y="653"/>
                      </a:lnTo>
                      <a:lnTo>
                        <a:pt x="363" y="656"/>
                      </a:lnTo>
                      <a:lnTo>
                        <a:pt x="345" y="657"/>
                      </a:lnTo>
                      <a:lnTo>
                        <a:pt x="329" y="657"/>
                      </a:lnTo>
                      <a:lnTo>
                        <a:pt x="329" y="657"/>
                      </a:lnTo>
                      <a:close/>
                      <a:moveTo>
                        <a:pt x="329" y="38"/>
                      </a:moveTo>
                      <a:lnTo>
                        <a:pt x="329" y="38"/>
                      </a:lnTo>
                      <a:lnTo>
                        <a:pt x="298" y="39"/>
                      </a:lnTo>
                      <a:lnTo>
                        <a:pt x="270" y="43"/>
                      </a:lnTo>
                      <a:lnTo>
                        <a:pt x="242" y="51"/>
                      </a:lnTo>
                      <a:lnTo>
                        <a:pt x="215" y="61"/>
                      </a:lnTo>
                      <a:lnTo>
                        <a:pt x="189" y="73"/>
                      </a:lnTo>
                      <a:lnTo>
                        <a:pt x="165" y="88"/>
                      </a:lnTo>
                      <a:lnTo>
                        <a:pt x="144" y="104"/>
                      </a:lnTo>
                      <a:lnTo>
                        <a:pt x="122" y="123"/>
                      </a:lnTo>
                      <a:lnTo>
                        <a:pt x="104" y="144"/>
                      </a:lnTo>
                      <a:lnTo>
                        <a:pt x="87" y="166"/>
                      </a:lnTo>
                      <a:lnTo>
                        <a:pt x="73" y="190"/>
                      </a:lnTo>
                      <a:lnTo>
                        <a:pt x="61" y="215"/>
                      </a:lnTo>
                      <a:lnTo>
                        <a:pt x="51" y="242"/>
                      </a:lnTo>
                      <a:lnTo>
                        <a:pt x="43" y="270"/>
                      </a:lnTo>
                      <a:lnTo>
                        <a:pt x="39" y="298"/>
                      </a:lnTo>
                      <a:lnTo>
                        <a:pt x="38" y="329"/>
                      </a:lnTo>
                      <a:lnTo>
                        <a:pt x="38" y="329"/>
                      </a:lnTo>
                      <a:lnTo>
                        <a:pt x="39" y="359"/>
                      </a:lnTo>
                      <a:lnTo>
                        <a:pt x="43" y="387"/>
                      </a:lnTo>
                      <a:lnTo>
                        <a:pt x="51" y="415"/>
                      </a:lnTo>
                      <a:lnTo>
                        <a:pt x="61" y="442"/>
                      </a:lnTo>
                      <a:lnTo>
                        <a:pt x="73" y="468"/>
                      </a:lnTo>
                      <a:lnTo>
                        <a:pt x="87" y="492"/>
                      </a:lnTo>
                      <a:lnTo>
                        <a:pt x="104" y="513"/>
                      </a:lnTo>
                      <a:lnTo>
                        <a:pt x="122" y="535"/>
                      </a:lnTo>
                      <a:lnTo>
                        <a:pt x="144" y="554"/>
                      </a:lnTo>
                      <a:lnTo>
                        <a:pt x="165" y="570"/>
                      </a:lnTo>
                      <a:lnTo>
                        <a:pt x="189" y="585"/>
                      </a:lnTo>
                      <a:lnTo>
                        <a:pt x="215" y="597"/>
                      </a:lnTo>
                      <a:lnTo>
                        <a:pt x="242" y="607"/>
                      </a:lnTo>
                      <a:lnTo>
                        <a:pt x="270" y="614"/>
                      </a:lnTo>
                      <a:lnTo>
                        <a:pt x="298" y="618"/>
                      </a:lnTo>
                      <a:lnTo>
                        <a:pt x="329" y="620"/>
                      </a:lnTo>
                      <a:lnTo>
                        <a:pt x="329" y="620"/>
                      </a:lnTo>
                      <a:lnTo>
                        <a:pt x="359" y="618"/>
                      </a:lnTo>
                      <a:lnTo>
                        <a:pt x="387" y="614"/>
                      </a:lnTo>
                      <a:lnTo>
                        <a:pt x="415" y="607"/>
                      </a:lnTo>
                      <a:lnTo>
                        <a:pt x="442" y="597"/>
                      </a:lnTo>
                      <a:lnTo>
                        <a:pt x="468" y="585"/>
                      </a:lnTo>
                      <a:lnTo>
                        <a:pt x="492" y="570"/>
                      </a:lnTo>
                      <a:lnTo>
                        <a:pt x="513" y="554"/>
                      </a:lnTo>
                      <a:lnTo>
                        <a:pt x="535" y="535"/>
                      </a:lnTo>
                      <a:lnTo>
                        <a:pt x="553" y="513"/>
                      </a:lnTo>
                      <a:lnTo>
                        <a:pt x="570" y="492"/>
                      </a:lnTo>
                      <a:lnTo>
                        <a:pt x="584" y="468"/>
                      </a:lnTo>
                      <a:lnTo>
                        <a:pt x="596" y="442"/>
                      </a:lnTo>
                      <a:lnTo>
                        <a:pt x="607" y="415"/>
                      </a:lnTo>
                      <a:lnTo>
                        <a:pt x="614" y="387"/>
                      </a:lnTo>
                      <a:lnTo>
                        <a:pt x="618" y="359"/>
                      </a:lnTo>
                      <a:lnTo>
                        <a:pt x="619" y="329"/>
                      </a:lnTo>
                      <a:lnTo>
                        <a:pt x="619" y="329"/>
                      </a:lnTo>
                      <a:lnTo>
                        <a:pt x="618" y="298"/>
                      </a:lnTo>
                      <a:lnTo>
                        <a:pt x="614" y="270"/>
                      </a:lnTo>
                      <a:lnTo>
                        <a:pt x="607" y="242"/>
                      </a:lnTo>
                      <a:lnTo>
                        <a:pt x="596" y="215"/>
                      </a:lnTo>
                      <a:lnTo>
                        <a:pt x="584" y="190"/>
                      </a:lnTo>
                      <a:lnTo>
                        <a:pt x="570" y="166"/>
                      </a:lnTo>
                      <a:lnTo>
                        <a:pt x="553" y="144"/>
                      </a:lnTo>
                      <a:lnTo>
                        <a:pt x="535" y="123"/>
                      </a:lnTo>
                      <a:lnTo>
                        <a:pt x="513" y="104"/>
                      </a:lnTo>
                      <a:lnTo>
                        <a:pt x="492" y="88"/>
                      </a:lnTo>
                      <a:lnTo>
                        <a:pt x="468" y="73"/>
                      </a:lnTo>
                      <a:lnTo>
                        <a:pt x="442" y="61"/>
                      </a:lnTo>
                      <a:lnTo>
                        <a:pt x="415" y="51"/>
                      </a:lnTo>
                      <a:lnTo>
                        <a:pt x="387" y="43"/>
                      </a:lnTo>
                      <a:lnTo>
                        <a:pt x="359" y="39"/>
                      </a:lnTo>
                      <a:lnTo>
                        <a:pt x="329" y="38"/>
                      </a:lnTo>
                      <a:lnTo>
                        <a:pt x="329" y="3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9" name="Freeform 345">
                  <a:extLst>
                    <a:ext uri="{FF2B5EF4-FFF2-40B4-BE49-F238E27FC236}">
                      <a16:creationId xmlns:a16="http://schemas.microsoft.com/office/drawing/2014/main" id="{E53C0DB1-7A8F-461E-86ED-33EE7FCCC730}"/>
                    </a:ext>
                  </a:extLst>
                </p:cNvPr>
                <p:cNvSpPr>
                  <a:spLocks/>
                </p:cNvSpPr>
                <p:nvPr/>
              </p:nvSpPr>
              <p:spPr bwMode="auto">
                <a:xfrm>
                  <a:off x="1646238" y="4533900"/>
                  <a:ext cx="84138" cy="7938"/>
                </a:xfrm>
                <a:custGeom>
                  <a:avLst/>
                  <a:gdLst>
                    <a:gd name="T0" fmla="*/ 103 w 108"/>
                    <a:gd name="T1" fmla="*/ 0 h 9"/>
                    <a:gd name="T2" fmla="*/ 4 w 108"/>
                    <a:gd name="T3" fmla="*/ 0 h 9"/>
                    <a:gd name="T4" fmla="*/ 4 w 108"/>
                    <a:gd name="T5" fmla="*/ 0 h 9"/>
                    <a:gd name="T6" fmla="*/ 2 w 108"/>
                    <a:gd name="T7" fmla="*/ 1 h 9"/>
                    <a:gd name="T8" fmla="*/ 0 w 108"/>
                    <a:gd name="T9" fmla="*/ 4 h 9"/>
                    <a:gd name="T10" fmla="*/ 0 w 108"/>
                    <a:gd name="T11" fmla="*/ 4 h 9"/>
                    <a:gd name="T12" fmla="*/ 2 w 108"/>
                    <a:gd name="T13" fmla="*/ 8 h 9"/>
                    <a:gd name="T14" fmla="*/ 4 w 108"/>
                    <a:gd name="T15" fmla="*/ 9 h 9"/>
                    <a:gd name="T16" fmla="*/ 103 w 108"/>
                    <a:gd name="T17" fmla="*/ 9 h 9"/>
                    <a:gd name="T18" fmla="*/ 103 w 108"/>
                    <a:gd name="T19" fmla="*/ 9 h 9"/>
                    <a:gd name="T20" fmla="*/ 105 w 108"/>
                    <a:gd name="T21" fmla="*/ 8 h 9"/>
                    <a:gd name="T22" fmla="*/ 108 w 108"/>
                    <a:gd name="T23" fmla="*/ 4 h 9"/>
                    <a:gd name="T24" fmla="*/ 108 w 108"/>
                    <a:gd name="T25" fmla="*/ 4 h 9"/>
                    <a:gd name="T26" fmla="*/ 105 w 108"/>
                    <a:gd name="T27" fmla="*/ 1 h 9"/>
                    <a:gd name="T28" fmla="*/ 103 w 108"/>
                    <a:gd name="T29" fmla="*/ 0 h 9"/>
                    <a:gd name="T30" fmla="*/ 103 w 108"/>
                    <a:gd name="T3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9">
                      <a:moveTo>
                        <a:pt x="103" y="0"/>
                      </a:moveTo>
                      <a:lnTo>
                        <a:pt x="4" y="0"/>
                      </a:lnTo>
                      <a:lnTo>
                        <a:pt x="4" y="0"/>
                      </a:lnTo>
                      <a:lnTo>
                        <a:pt x="2" y="1"/>
                      </a:lnTo>
                      <a:lnTo>
                        <a:pt x="0" y="4"/>
                      </a:lnTo>
                      <a:lnTo>
                        <a:pt x="0" y="4"/>
                      </a:lnTo>
                      <a:lnTo>
                        <a:pt x="2" y="8"/>
                      </a:lnTo>
                      <a:lnTo>
                        <a:pt x="4" y="9"/>
                      </a:lnTo>
                      <a:lnTo>
                        <a:pt x="103" y="9"/>
                      </a:lnTo>
                      <a:lnTo>
                        <a:pt x="103" y="9"/>
                      </a:lnTo>
                      <a:lnTo>
                        <a:pt x="105" y="8"/>
                      </a:lnTo>
                      <a:lnTo>
                        <a:pt x="108" y="4"/>
                      </a:lnTo>
                      <a:lnTo>
                        <a:pt x="108" y="4"/>
                      </a:lnTo>
                      <a:lnTo>
                        <a:pt x="105" y="1"/>
                      </a:lnTo>
                      <a:lnTo>
                        <a:pt x="103" y="0"/>
                      </a:lnTo>
                      <a:lnTo>
                        <a:pt x="10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0" name="Freeform 346">
                  <a:extLst>
                    <a:ext uri="{FF2B5EF4-FFF2-40B4-BE49-F238E27FC236}">
                      <a16:creationId xmlns:a16="http://schemas.microsoft.com/office/drawing/2014/main" id="{8BA786B5-0AC0-4E46-9A3F-51BF9AB3C8F9}"/>
                    </a:ext>
                  </a:extLst>
                </p:cNvPr>
                <p:cNvSpPr>
                  <a:spLocks/>
                </p:cNvSpPr>
                <p:nvPr/>
              </p:nvSpPr>
              <p:spPr bwMode="auto">
                <a:xfrm>
                  <a:off x="1668463" y="4554538"/>
                  <a:ext cx="39688" cy="6350"/>
                </a:xfrm>
                <a:custGeom>
                  <a:avLst/>
                  <a:gdLst>
                    <a:gd name="T0" fmla="*/ 44 w 49"/>
                    <a:gd name="T1" fmla="*/ 0 h 10"/>
                    <a:gd name="T2" fmla="*/ 5 w 49"/>
                    <a:gd name="T3" fmla="*/ 0 h 10"/>
                    <a:gd name="T4" fmla="*/ 5 w 49"/>
                    <a:gd name="T5" fmla="*/ 0 h 10"/>
                    <a:gd name="T6" fmla="*/ 2 w 49"/>
                    <a:gd name="T7" fmla="*/ 1 h 10"/>
                    <a:gd name="T8" fmla="*/ 0 w 49"/>
                    <a:gd name="T9" fmla="*/ 6 h 10"/>
                    <a:gd name="T10" fmla="*/ 0 w 49"/>
                    <a:gd name="T11" fmla="*/ 6 h 10"/>
                    <a:gd name="T12" fmla="*/ 2 w 49"/>
                    <a:gd name="T13" fmla="*/ 8 h 10"/>
                    <a:gd name="T14" fmla="*/ 5 w 49"/>
                    <a:gd name="T15" fmla="*/ 10 h 10"/>
                    <a:gd name="T16" fmla="*/ 44 w 49"/>
                    <a:gd name="T17" fmla="*/ 10 h 10"/>
                    <a:gd name="T18" fmla="*/ 44 w 49"/>
                    <a:gd name="T19" fmla="*/ 10 h 10"/>
                    <a:gd name="T20" fmla="*/ 48 w 49"/>
                    <a:gd name="T21" fmla="*/ 8 h 10"/>
                    <a:gd name="T22" fmla="*/ 49 w 49"/>
                    <a:gd name="T23" fmla="*/ 6 h 10"/>
                    <a:gd name="T24" fmla="*/ 49 w 49"/>
                    <a:gd name="T25" fmla="*/ 6 h 10"/>
                    <a:gd name="T26" fmla="*/ 48 w 49"/>
                    <a:gd name="T27" fmla="*/ 1 h 10"/>
                    <a:gd name="T28" fmla="*/ 44 w 49"/>
                    <a:gd name="T29" fmla="*/ 0 h 10"/>
                    <a:gd name="T30" fmla="*/ 44 w 49"/>
                    <a:gd name="T3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9" h="10">
                      <a:moveTo>
                        <a:pt x="44" y="0"/>
                      </a:moveTo>
                      <a:lnTo>
                        <a:pt x="5" y="0"/>
                      </a:lnTo>
                      <a:lnTo>
                        <a:pt x="5" y="0"/>
                      </a:lnTo>
                      <a:lnTo>
                        <a:pt x="2" y="1"/>
                      </a:lnTo>
                      <a:lnTo>
                        <a:pt x="0" y="6"/>
                      </a:lnTo>
                      <a:lnTo>
                        <a:pt x="0" y="6"/>
                      </a:lnTo>
                      <a:lnTo>
                        <a:pt x="2" y="8"/>
                      </a:lnTo>
                      <a:lnTo>
                        <a:pt x="5" y="10"/>
                      </a:lnTo>
                      <a:lnTo>
                        <a:pt x="44" y="10"/>
                      </a:lnTo>
                      <a:lnTo>
                        <a:pt x="44" y="10"/>
                      </a:lnTo>
                      <a:lnTo>
                        <a:pt x="48" y="8"/>
                      </a:lnTo>
                      <a:lnTo>
                        <a:pt x="49" y="6"/>
                      </a:lnTo>
                      <a:lnTo>
                        <a:pt x="49" y="6"/>
                      </a:lnTo>
                      <a:lnTo>
                        <a:pt x="48" y="1"/>
                      </a:lnTo>
                      <a:lnTo>
                        <a:pt x="44" y="0"/>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1" name="Freeform 347">
                  <a:extLst>
                    <a:ext uri="{FF2B5EF4-FFF2-40B4-BE49-F238E27FC236}">
                      <a16:creationId xmlns:a16="http://schemas.microsoft.com/office/drawing/2014/main" id="{6C07E2C4-35C8-44EA-A2EB-FC87FCA7FE65}"/>
                    </a:ext>
                  </a:extLst>
                </p:cNvPr>
                <p:cNvSpPr>
                  <a:spLocks noEditPoints="1"/>
                </p:cNvSpPr>
                <p:nvPr/>
              </p:nvSpPr>
              <p:spPr bwMode="auto">
                <a:xfrm>
                  <a:off x="1598613" y="4316413"/>
                  <a:ext cx="177800" cy="201613"/>
                </a:xfrm>
                <a:custGeom>
                  <a:avLst/>
                  <a:gdLst>
                    <a:gd name="T0" fmla="*/ 113 w 225"/>
                    <a:gd name="T1" fmla="*/ 0 h 252"/>
                    <a:gd name="T2" fmla="*/ 90 w 225"/>
                    <a:gd name="T3" fmla="*/ 1 h 252"/>
                    <a:gd name="T4" fmla="*/ 69 w 225"/>
                    <a:gd name="T5" fmla="*/ 8 h 252"/>
                    <a:gd name="T6" fmla="*/ 50 w 225"/>
                    <a:gd name="T7" fmla="*/ 19 h 252"/>
                    <a:gd name="T8" fmla="*/ 34 w 225"/>
                    <a:gd name="T9" fmla="*/ 32 h 252"/>
                    <a:gd name="T10" fmla="*/ 19 w 225"/>
                    <a:gd name="T11" fmla="*/ 48 h 252"/>
                    <a:gd name="T12" fmla="*/ 10 w 225"/>
                    <a:gd name="T13" fmla="*/ 68 h 252"/>
                    <a:gd name="T14" fmla="*/ 3 w 225"/>
                    <a:gd name="T15" fmla="*/ 89 h 252"/>
                    <a:gd name="T16" fmla="*/ 0 w 225"/>
                    <a:gd name="T17" fmla="*/ 111 h 252"/>
                    <a:gd name="T18" fmla="*/ 2 w 225"/>
                    <a:gd name="T19" fmla="*/ 126 h 252"/>
                    <a:gd name="T20" fmla="*/ 10 w 225"/>
                    <a:gd name="T21" fmla="*/ 156 h 252"/>
                    <a:gd name="T22" fmla="*/ 25 w 225"/>
                    <a:gd name="T23" fmla="*/ 181 h 252"/>
                    <a:gd name="T24" fmla="*/ 46 w 225"/>
                    <a:gd name="T25" fmla="*/ 201 h 252"/>
                    <a:gd name="T26" fmla="*/ 59 w 225"/>
                    <a:gd name="T27" fmla="*/ 248 h 252"/>
                    <a:gd name="T28" fmla="*/ 61 w 225"/>
                    <a:gd name="T29" fmla="*/ 251 h 252"/>
                    <a:gd name="T30" fmla="*/ 162 w 225"/>
                    <a:gd name="T31" fmla="*/ 252 h 252"/>
                    <a:gd name="T32" fmla="*/ 164 w 225"/>
                    <a:gd name="T33" fmla="*/ 251 h 252"/>
                    <a:gd name="T34" fmla="*/ 167 w 225"/>
                    <a:gd name="T35" fmla="*/ 209 h 252"/>
                    <a:gd name="T36" fmla="*/ 179 w 225"/>
                    <a:gd name="T37" fmla="*/ 201 h 252"/>
                    <a:gd name="T38" fmla="*/ 200 w 225"/>
                    <a:gd name="T39" fmla="*/ 181 h 252"/>
                    <a:gd name="T40" fmla="*/ 215 w 225"/>
                    <a:gd name="T41" fmla="*/ 156 h 252"/>
                    <a:gd name="T42" fmla="*/ 223 w 225"/>
                    <a:gd name="T43" fmla="*/ 126 h 252"/>
                    <a:gd name="T44" fmla="*/ 225 w 225"/>
                    <a:gd name="T45" fmla="*/ 111 h 252"/>
                    <a:gd name="T46" fmla="*/ 222 w 225"/>
                    <a:gd name="T47" fmla="*/ 89 h 252"/>
                    <a:gd name="T48" fmla="*/ 215 w 225"/>
                    <a:gd name="T49" fmla="*/ 68 h 252"/>
                    <a:gd name="T50" fmla="*/ 206 w 225"/>
                    <a:gd name="T51" fmla="*/ 48 h 252"/>
                    <a:gd name="T52" fmla="*/ 192 w 225"/>
                    <a:gd name="T53" fmla="*/ 32 h 252"/>
                    <a:gd name="T54" fmla="*/ 175 w 225"/>
                    <a:gd name="T55" fmla="*/ 19 h 252"/>
                    <a:gd name="T56" fmla="*/ 156 w 225"/>
                    <a:gd name="T57" fmla="*/ 8 h 252"/>
                    <a:gd name="T58" fmla="*/ 135 w 225"/>
                    <a:gd name="T59" fmla="*/ 1 h 252"/>
                    <a:gd name="T60" fmla="*/ 113 w 225"/>
                    <a:gd name="T61" fmla="*/ 0 h 252"/>
                    <a:gd name="T62" fmla="*/ 167 w 225"/>
                    <a:gd name="T63" fmla="*/ 136 h 252"/>
                    <a:gd name="T64" fmla="*/ 112 w 225"/>
                    <a:gd name="T65" fmla="*/ 152 h 252"/>
                    <a:gd name="T66" fmla="*/ 58 w 225"/>
                    <a:gd name="T67" fmla="*/ 136 h 252"/>
                    <a:gd name="T68" fmla="*/ 55 w 225"/>
                    <a:gd name="T69" fmla="*/ 133 h 252"/>
                    <a:gd name="T70" fmla="*/ 55 w 225"/>
                    <a:gd name="T71" fmla="*/ 128 h 252"/>
                    <a:gd name="T72" fmla="*/ 58 w 225"/>
                    <a:gd name="T73" fmla="*/ 125 h 252"/>
                    <a:gd name="T74" fmla="*/ 63 w 225"/>
                    <a:gd name="T75" fmla="*/ 122 h 252"/>
                    <a:gd name="T76" fmla="*/ 69 w 225"/>
                    <a:gd name="T77" fmla="*/ 125 h 252"/>
                    <a:gd name="T78" fmla="*/ 106 w 225"/>
                    <a:gd name="T79" fmla="*/ 136 h 252"/>
                    <a:gd name="T80" fmla="*/ 109 w 225"/>
                    <a:gd name="T81" fmla="*/ 134 h 252"/>
                    <a:gd name="T82" fmla="*/ 112 w 225"/>
                    <a:gd name="T83" fmla="*/ 133 h 252"/>
                    <a:gd name="T84" fmla="*/ 119 w 225"/>
                    <a:gd name="T85" fmla="*/ 136 h 252"/>
                    <a:gd name="T86" fmla="*/ 156 w 225"/>
                    <a:gd name="T87" fmla="*/ 125 h 252"/>
                    <a:gd name="T88" fmla="*/ 159 w 225"/>
                    <a:gd name="T89" fmla="*/ 122 h 252"/>
                    <a:gd name="T90" fmla="*/ 164 w 225"/>
                    <a:gd name="T91" fmla="*/ 122 h 252"/>
                    <a:gd name="T92" fmla="*/ 167 w 225"/>
                    <a:gd name="T93" fmla="*/ 125 h 252"/>
                    <a:gd name="T94" fmla="*/ 170 w 225"/>
                    <a:gd name="T95" fmla="*/ 130 h 252"/>
                    <a:gd name="T96" fmla="*/ 167 w 225"/>
                    <a:gd name="T97" fmla="*/ 136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5" h="252">
                      <a:moveTo>
                        <a:pt x="113" y="0"/>
                      </a:moveTo>
                      <a:lnTo>
                        <a:pt x="113" y="0"/>
                      </a:lnTo>
                      <a:lnTo>
                        <a:pt x="101" y="0"/>
                      </a:lnTo>
                      <a:lnTo>
                        <a:pt x="90" y="1"/>
                      </a:lnTo>
                      <a:lnTo>
                        <a:pt x="80" y="4"/>
                      </a:lnTo>
                      <a:lnTo>
                        <a:pt x="69" y="8"/>
                      </a:lnTo>
                      <a:lnTo>
                        <a:pt x="59" y="13"/>
                      </a:lnTo>
                      <a:lnTo>
                        <a:pt x="50" y="19"/>
                      </a:lnTo>
                      <a:lnTo>
                        <a:pt x="42" y="25"/>
                      </a:lnTo>
                      <a:lnTo>
                        <a:pt x="34" y="32"/>
                      </a:lnTo>
                      <a:lnTo>
                        <a:pt x="26" y="40"/>
                      </a:lnTo>
                      <a:lnTo>
                        <a:pt x="19" y="48"/>
                      </a:lnTo>
                      <a:lnTo>
                        <a:pt x="14" y="58"/>
                      </a:lnTo>
                      <a:lnTo>
                        <a:pt x="10" y="68"/>
                      </a:lnTo>
                      <a:lnTo>
                        <a:pt x="6" y="78"/>
                      </a:lnTo>
                      <a:lnTo>
                        <a:pt x="3" y="89"/>
                      </a:lnTo>
                      <a:lnTo>
                        <a:pt x="2" y="101"/>
                      </a:lnTo>
                      <a:lnTo>
                        <a:pt x="0" y="111"/>
                      </a:lnTo>
                      <a:lnTo>
                        <a:pt x="0" y="111"/>
                      </a:lnTo>
                      <a:lnTo>
                        <a:pt x="2" y="126"/>
                      </a:lnTo>
                      <a:lnTo>
                        <a:pt x="4" y="141"/>
                      </a:lnTo>
                      <a:lnTo>
                        <a:pt x="10" y="156"/>
                      </a:lnTo>
                      <a:lnTo>
                        <a:pt x="16" y="169"/>
                      </a:lnTo>
                      <a:lnTo>
                        <a:pt x="25" y="181"/>
                      </a:lnTo>
                      <a:lnTo>
                        <a:pt x="35" y="192"/>
                      </a:lnTo>
                      <a:lnTo>
                        <a:pt x="46" y="201"/>
                      </a:lnTo>
                      <a:lnTo>
                        <a:pt x="59" y="209"/>
                      </a:lnTo>
                      <a:lnTo>
                        <a:pt x="59" y="248"/>
                      </a:lnTo>
                      <a:lnTo>
                        <a:pt x="59" y="248"/>
                      </a:lnTo>
                      <a:lnTo>
                        <a:pt x="61" y="251"/>
                      </a:lnTo>
                      <a:lnTo>
                        <a:pt x="63" y="252"/>
                      </a:lnTo>
                      <a:lnTo>
                        <a:pt x="162" y="252"/>
                      </a:lnTo>
                      <a:lnTo>
                        <a:pt x="162" y="252"/>
                      </a:lnTo>
                      <a:lnTo>
                        <a:pt x="164" y="251"/>
                      </a:lnTo>
                      <a:lnTo>
                        <a:pt x="167" y="248"/>
                      </a:lnTo>
                      <a:lnTo>
                        <a:pt x="167" y="209"/>
                      </a:lnTo>
                      <a:lnTo>
                        <a:pt x="167" y="209"/>
                      </a:lnTo>
                      <a:lnTo>
                        <a:pt x="179" y="201"/>
                      </a:lnTo>
                      <a:lnTo>
                        <a:pt x="191" y="192"/>
                      </a:lnTo>
                      <a:lnTo>
                        <a:pt x="200" y="181"/>
                      </a:lnTo>
                      <a:lnTo>
                        <a:pt x="209" y="169"/>
                      </a:lnTo>
                      <a:lnTo>
                        <a:pt x="215" y="156"/>
                      </a:lnTo>
                      <a:lnTo>
                        <a:pt x="221" y="141"/>
                      </a:lnTo>
                      <a:lnTo>
                        <a:pt x="223" y="126"/>
                      </a:lnTo>
                      <a:lnTo>
                        <a:pt x="225" y="111"/>
                      </a:lnTo>
                      <a:lnTo>
                        <a:pt x="225" y="111"/>
                      </a:lnTo>
                      <a:lnTo>
                        <a:pt x="225" y="101"/>
                      </a:lnTo>
                      <a:lnTo>
                        <a:pt x="222" y="89"/>
                      </a:lnTo>
                      <a:lnTo>
                        <a:pt x="219" y="78"/>
                      </a:lnTo>
                      <a:lnTo>
                        <a:pt x="215" y="68"/>
                      </a:lnTo>
                      <a:lnTo>
                        <a:pt x="211" y="58"/>
                      </a:lnTo>
                      <a:lnTo>
                        <a:pt x="206" y="48"/>
                      </a:lnTo>
                      <a:lnTo>
                        <a:pt x="199" y="40"/>
                      </a:lnTo>
                      <a:lnTo>
                        <a:pt x="192" y="32"/>
                      </a:lnTo>
                      <a:lnTo>
                        <a:pt x="184" y="25"/>
                      </a:lnTo>
                      <a:lnTo>
                        <a:pt x="175" y="19"/>
                      </a:lnTo>
                      <a:lnTo>
                        <a:pt x="166" y="13"/>
                      </a:lnTo>
                      <a:lnTo>
                        <a:pt x="156" y="8"/>
                      </a:lnTo>
                      <a:lnTo>
                        <a:pt x="145" y="4"/>
                      </a:lnTo>
                      <a:lnTo>
                        <a:pt x="135" y="1"/>
                      </a:lnTo>
                      <a:lnTo>
                        <a:pt x="124" y="0"/>
                      </a:lnTo>
                      <a:lnTo>
                        <a:pt x="113" y="0"/>
                      </a:lnTo>
                      <a:lnTo>
                        <a:pt x="113" y="0"/>
                      </a:lnTo>
                      <a:close/>
                      <a:moveTo>
                        <a:pt x="167" y="136"/>
                      </a:moveTo>
                      <a:lnTo>
                        <a:pt x="132" y="172"/>
                      </a:lnTo>
                      <a:lnTo>
                        <a:pt x="112" y="152"/>
                      </a:lnTo>
                      <a:lnTo>
                        <a:pt x="93" y="172"/>
                      </a:lnTo>
                      <a:lnTo>
                        <a:pt x="58" y="136"/>
                      </a:lnTo>
                      <a:lnTo>
                        <a:pt x="58" y="136"/>
                      </a:lnTo>
                      <a:lnTo>
                        <a:pt x="55" y="133"/>
                      </a:lnTo>
                      <a:lnTo>
                        <a:pt x="55" y="130"/>
                      </a:lnTo>
                      <a:lnTo>
                        <a:pt x="55" y="128"/>
                      </a:lnTo>
                      <a:lnTo>
                        <a:pt x="58" y="125"/>
                      </a:lnTo>
                      <a:lnTo>
                        <a:pt x="58" y="125"/>
                      </a:lnTo>
                      <a:lnTo>
                        <a:pt x="61" y="122"/>
                      </a:lnTo>
                      <a:lnTo>
                        <a:pt x="63" y="122"/>
                      </a:lnTo>
                      <a:lnTo>
                        <a:pt x="66" y="122"/>
                      </a:lnTo>
                      <a:lnTo>
                        <a:pt x="69" y="125"/>
                      </a:lnTo>
                      <a:lnTo>
                        <a:pt x="93" y="149"/>
                      </a:lnTo>
                      <a:lnTo>
                        <a:pt x="106" y="136"/>
                      </a:lnTo>
                      <a:lnTo>
                        <a:pt x="106" y="136"/>
                      </a:lnTo>
                      <a:lnTo>
                        <a:pt x="109" y="134"/>
                      </a:lnTo>
                      <a:lnTo>
                        <a:pt x="112" y="133"/>
                      </a:lnTo>
                      <a:lnTo>
                        <a:pt x="112" y="133"/>
                      </a:lnTo>
                      <a:lnTo>
                        <a:pt x="116" y="134"/>
                      </a:lnTo>
                      <a:lnTo>
                        <a:pt x="119" y="136"/>
                      </a:lnTo>
                      <a:lnTo>
                        <a:pt x="132" y="149"/>
                      </a:lnTo>
                      <a:lnTo>
                        <a:pt x="156" y="125"/>
                      </a:lnTo>
                      <a:lnTo>
                        <a:pt x="156" y="125"/>
                      </a:lnTo>
                      <a:lnTo>
                        <a:pt x="159" y="122"/>
                      </a:lnTo>
                      <a:lnTo>
                        <a:pt x="162" y="122"/>
                      </a:lnTo>
                      <a:lnTo>
                        <a:pt x="164" y="122"/>
                      </a:lnTo>
                      <a:lnTo>
                        <a:pt x="167" y="125"/>
                      </a:lnTo>
                      <a:lnTo>
                        <a:pt x="167" y="125"/>
                      </a:lnTo>
                      <a:lnTo>
                        <a:pt x="168" y="128"/>
                      </a:lnTo>
                      <a:lnTo>
                        <a:pt x="170" y="130"/>
                      </a:lnTo>
                      <a:lnTo>
                        <a:pt x="168" y="133"/>
                      </a:lnTo>
                      <a:lnTo>
                        <a:pt x="167" y="136"/>
                      </a:lnTo>
                      <a:lnTo>
                        <a:pt x="167" y="1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10" name="Group 9">
              <a:extLst>
                <a:ext uri="{FF2B5EF4-FFF2-40B4-BE49-F238E27FC236}">
                  <a16:creationId xmlns:a16="http://schemas.microsoft.com/office/drawing/2014/main" id="{EE810B2E-FBC9-4171-B2E9-1FFB0D1D4B11}"/>
                </a:ext>
              </a:extLst>
            </p:cNvPr>
            <p:cNvGrpSpPr/>
            <p:nvPr/>
          </p:nvGrpSpPr>
          <p:grpSpPr>
            <a:xfrm>
              <a:off x="9322662" y="3311184"/>
              <a:ext cx="763400" cy="765726"/>
              <a:chOff x="6407636" y="1198907"/>
              <a:chExt cx="520701" cy="522288"/>
            </a:xfrm>
          </p:grpSpPr>
          <p:grpSp>
            <p:nvGrpSpPr>
              <p:cNvPr id="62" name="Group 61">
                <a:extLst>
                  <a:ext uri="{FF2B5EF4-FFF2-40B4-BE49-F238E27FC236}">
                    <a16:creationId xmlns:a16="http://schemas.microsoft.com/office/drawing/2014/main" id="{37BDA3F5-15E3-4C3E-A06C-B3AB3B46CF82}"/>
                  </a:ext>
                </a:extLst>
              </p:cNvPr>
              <p:cNvGrpSpPr/>
              <p:nvPr/>
            </p:nvGrpSpPr>
            <p:grpSpPr>
              <a:xfrm>
                <a:off x="6407636" y="1198907"/>
                <a:ext cx="520701" cy="522288"/>
                <a:chOff x="5921415" y="-508726"/>
                <a:chExt cx="520701" cy="522288"/>
              </a:xfrm>
            </p:grpSpPr>
            <p:sp>
              <p:nvSpPr>
                <p:cNvPr id="64" name="Oval 63">
                  <a:extLst>
                    <a:ext uri="{FF2B5EF4-FFF2-40B4-BE49-F238E27FC236}">
                      <a16:creationId xmlns:a16="http://schemas.microsoft.com/office/drawing/2014/main" id="{540D176A-9D45-4DBF-82B9-EF96EBAAF2BD}"/>
                    </a:ext>
                  </a:extLst>
                </p:cNvPr>
                <p:cNvSpPr/>
                <p:nvPr/>
              </p:nvSpPr>
              <p:spPr>
                <a:xfrm>
                  <a:off x="5928504" y="-500050"/>
                  <a:ext cx="513612" cy="51361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65" name="Freeform 37">
                  <a:extLst>
                    <a:ext uri="{FF2B5EF4-FFF2-40B4-BE49-F238E27FC236}">
                      <a16:creationId xmlns:a16="http://schemas.microsoft.com/office/drawing/2014/main" id="{146F96C3-EDD6-4B44-9260-A95B5FAFBDBE}"/>
                    </a:ext>
                  </a:extLst>
                </p:cNvPr>
                <p:cNvSpPr>
                  <a:spLocks noEditPoints="1"/>
                </p:cNvSpPr>
                <p:nvPr/>
              </p:nvSpPr>
              <p:spPr bwMode="auto">
                <a:xfrm>
                  <a:off x="5921415" y="-508726"/>
                  <a:ext cx="520700" cy="522288"/>
                </a:xfrm>
                <a:custGeom>
                  <a:avLst/>
                  <a:gdLst>
                    <a:gd name="T0" fmla="*/ 312 w 657"/>
                    <a:gd name="T1" fmla="*/ 657 h 657"/>
                    <a:gd name="T2" fmla="*/ 262 w 657"/>
                    <a:gd name="T3" fmla="*/ 650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9 h 657"/>
                    <a:gd name="T16" fmla="*/ 1 w 657"/>
                    <a:gd name="T17" fmla="*/ 296 h 657"/>
                    <a:gd name="T18" fmla="*/ 11 w 657"/>
                    <a:gd name="T19" fmla="*/ 246 h 657"/>
                    <a:gd name="T20" fmla="*/ 39 w 657"/>
                    <a:gd name="T21" fmla="*/ 172 h 657"/>
                    <a:gd name="T22" fmla="*/ 97 w 657"/>
                    <a:gd name="T23" fmla="*/ 97 h 657"/>
                    <a:gd name="T24" fmla="*/ 172 w 657"/>
                    <a:gd name="T25" fmla="*/ 39 h 657"/>
                    <a:gd name="T26" fmla="*/ 247 w 657"/>
                    <a:gd name="T27" fmla="*/ 10 h 657"/>
                    <a:gd name="T28" fmla="*/ 296 w 657"/>
                    <a:gd name="T29" fmla="*/ 2 h 657"/>
                    <a:gd name="T30" fmla="*/ 329 w 657"/>
                    <a:gd name="T31" fmla="*/ 0 h 657"/>
                    <a:gd name="T32" fmla="*/ 379 w 657"/>
                    <a:gd name="T33" fmla="*/ 4 h 657"/>
                    <a:gd name="T34" fmla="*/ 426 w 657"/>
                    <a:gd name="T35" fmla="*/ 15 h 657"/>
                    <a:gd name="T36" fmla="*/ 512 w 657"/>
                    <a:gd name="T37" fmla="*/ 57 h 657"/>
                    <a:gd name="T38" fmla="*/ 582 w 657"/>
                    <a:gd name="T39" fmla="*/ 120 h 657"/>
                    <a:gd name="T40" fmla="*/ 631 w 657"/>
                    <a:gd name="T41" fmla="*/ 200 h 657"/>
                    <a:gd name="T42" fmla="*/ 650 w 657"/>
                    <a:gd name="T43" fmla="*/ 262 h 657"/>
                    <a:gd name="T44" fmla="*/ 657 w 657"/>
                    <a:gd name="T45" fmla="*/ 312 h 657"/>
                    <a:gd name="T46" fmla="*/ 657 w 657"/>
                    <a:gd name="T47" fmla="*/ 346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9 w 657"/>
                    <a:gd name="T59" fmla="*/ 653 h 657"/>
                    <a:gd name="T60" fmla="*/ 329 w 657"/>
                    <a:gd name="T61" fmla="*/ 657 h 657"/>
                    <a:gd name="T62" fmla="*/ 329 w 657"/>
                    <a:gd name="T63" fmla="*/ 38 h 657"/>
                    <a:gd name="T64" fmla="*/ 242 w 657"/>
                    <a:gd name="T65" fmla="*/ 51 h 657"/>
                    <a:gd name="T66" fmla="*/ 165 w 657"/>
                    <a:gd name="T67" fmla="*/ 88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5 w 657"/>
                    <a:gd name="T81" fmla="*/ 570 h 657"/>
                    <a:gd name="T82" fmla="*/ 242 w 657"/>
                    <a:gd name="T83" fmla="*/ 607 h 657"/>
                    <a:gd name="T84" fmla="*/ 329 w 657"/>
                    <a:gd name="T85" fmla="*/ 620 h 657"/>
                    <a:gd name="T86" fmla="*/ 387 w 657"/>
                    <a:gd name="T87" fmla="*/ 614 h 657"/>
                    <a:gd name="T88" fmla="*/ 468 w 657"/>
                    <a:gd name="T89" fmla="*/ 585 h 657"/>
                    <a:gd name="T90" fmla="*/ 535 w 657"/>
                    <a:gd name="T91" fmla="*/ 535 h 657"/>
                    <a:gd name="T92" fmla="*/ 584 w 657"/>
                    <a:gd name="T93" fmla="*/ 468 h 657"/>
                    <a:gd name="T94" fmla="*/ 614 w 657"/>
                    <a:gd name="T95" fmla="*/ 387 h 657"/>
                    <a:gd name="T96" fmla="*/ 619 w 657"/>
                    <a:gd name="T97" fmla="*/ 329 h 657"/>
                    <a:gd name="T98" fmla="*/ 607 w 657"/>
                    <a:gd name="T99" fmla="*/ 242 h 657"/>
                    <a:gd name="T100" fmla="*/ 570 w 657"/>
                    <a:gd name="T101" fmla="*/ 166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6"/>
                      </a:lnTo>
                      <a:lnTo>
                        <a:pt x="278" y="653"/>
                      </a:lnTo>
                      <a:lnTo>
                        <a:pt x="262" y="650"/>
                      </a:lnTo>
                      <a:lnTo>
                        <a:pt x="247" y="648"/>
                      </a:lnTo>
                      <a:lnTo>
                        <a:pt x="231" y="642"/>
                      </a:lnTo>
                      <a:lnTo>
                        <a:pt x="200" y="632"/>
                      </a:lnTo>
                      <a:lnTo>
                        <a:pt x="172" y="618"/>
                      </a:lnTo>
                      <a:lnTo>
                        <a:pt x="145" y="601"/>
                      </a:lnTo>
                      <a:lnTo>
                        <a:pt x="120" y="582"/>
                      </a:lnTo>
                      <a:lnTo>
                        <a:pt x="97" y="562"/>
                      </a:lnTo>
                      <a:lnTo>
                        <a:pt x="75" y="538"/>
                      </a:lnTo>
                      <a:lnTo>
                        <a:pt x="57" y="512"/>
                      </a:lnTo>
                      <a:lnTo>
                        <a:pt x="39" y="485"/>
                      </a:lnTo>
                      <a:lnTo>
                        <a:pt x="26" y="457"/>
                      </a:lnTo>
                      <a:lnTo>
                        <a:pt x="15" y="426"/>
                      </a:lnTo>
                      <a:lnTo>
                        <a:pt x="11" y="411"/>
                      </a:lnTo>
                      <a:lnTo>
                        <a:pt x="7" y="395"/>
                      </a:lnTo>
                      <a:lnTo>
                        <a:pt x="4" y="379"/>
                      </a:lnTo>
                      <a:lnTo>
                        <a:pt x="1" y="362"/>
                      </a:lnTo>
                      <a:lnTo>
                        <a:pt x="0" y="346"/>
                      </a:lnTo>
                      <a:lnTo>
                        <a:pt x="0" y="329"/>
                      </a:lnTo>
                      <a:lnTo>
                        <a:pt x="0" y="329"/>
                      </a:lnTo>
                      <a:lnTo>
                        <a:pt x="0" y="312"/>
                      </a:lnTo>
                      <a:lnTo>
                        <a:pt x="1" y="296"/>
                      </a:lnTo>
                      <a:lnTo>
                        <a:pt x="4" y="278"/>
                      </a:lnTo>
                      <a:lnTo>
                        <a:pt x="7" y="262"/>
                      </a:lnTo>
                      <a:lnTo>
                        <a:pt x="11" y="246"/>
                      </a:lnTo>
                      <a:lnTo>
                        <a:pt x="15" y="231"/>
                      </a:lnTo>
                      <a:lnTo>
                        <a:pt x="26" y="200"/>
                      </a:lnTo>
                      <a:lnTo>
                        <a:pt x="39" y="172"/>
                      </a:lnTo>
                      <a:lnTo>
                        <a:pt x="57" y="145"/>
                      </a:lnTo>
                      <a:lnTo>
                        <a:pt x="75" y="120"/>
                      </a:lnTo>
                      <a:lnTo>
                        <a:pt x="97" y="97"/>
                      </a:lnTo>
                      <a:lnTo>
                        <a:pt x="120" y="76"/>
                      </a:lnTo>
                      <a:lnTo>
                        <a:pt x="145" y="57"/>
                      </a:lnTo>
                      <a:lnTo>
                        <a:pt x="172" y="39"/>
                      </a:lnTo>
                      <a:lnTo>
                        <a:pt x="200" y="26"/>
                      </a:lnTo>
                      <a:lnTo>
                        <a:pt x="231" y="15"/>
                      </a:lnTo>
                      <a:lnTo>
                        <a:pt x="247" y="10"/>
                      </a:lnTo>
                      <a:lnTo>
                        <a:pt x="262" y="7"/>
                      </a:lnTo>
                      <a:lnTo>
                        <a:pt x="278" y="4"/>
                      </a:lnTo>
                      <a:lnTo>
                        <a:pt x="296" y="2"/>
                      </a:lnTo>
                      <a:lnTo>
                        <a:pt x="312" y="0"/>
                      </a:lnTo>
                      <a:lnTo>
                        <a:pt x="329" y="0"/>
                      </a:lnTo>
                      <a:lnTo>
                        <a:pt x="329" y="0"/>
                      </a:lnTo>
                      <a:lnTo>
                        <a:pt x="345" y="0"/>
                      </a:lnTo>
                      <a:lnTo>
                        <a:pt x="363" y="2"/>
                      </a:lnTo>
                      <a:lnTo>
                        <a:pt x="379" y="4"/>
                      </a:lnTo>
                      <a:lnTo>
                        <a:pt x="395" y="7"/>
                      </a:lnTo>
                      <a:lnTo>
                        <a:pt x="411" y="10"/>
                      </a:lnTo>
                      <a:lnTo>
                        <a:pt x="426" y="15"/>
                      </a:lnTo>
                      <a:lnTo>
                        <a:pt x="457" y="26"/>
                      </a:lnTo>
                      <a:lnTo>
                        <a:pt x="485" y="39"/>
                      </a:lnTo>
                      <a:lnTo>
                        <a:pt x="512" y="57"/>
                      </a:lnTo>
                      <a:lnTo>
                        <a:pt x="537" y="76"/>
                      </a:lnTo>
                      <a:lnTo>
                        <a:pt x="562" y="97"/>
                      </a:lnTo>
                      <a:lnTo>
                        <a:pt x="582" y="120"/>
                      </a:lnTo>
                      <a:lnTo>
                        <a:pt x="602" y="145"/>
                      </a:lnTo>
                      <a:lnTo>
                        <a:pt x="618" y="172"/>
                      </a:lnTo>
                      <a:lnTo>
                        <a:pt x="631" y="200"/>
                      </a:lnTo>
                      <a:lnTo>
                        <a:pt x="642" y="231"/>
                      </a:lnTo>
                      <a:lnTo>
                        <a:pt x="648" y="246"/>
                      </a:lnTo>
                      <a:lnTo>
                        <a:pt x="650" y="262"/>
                      </a:lnTo>
                      <a:lnTo>
                        <a:pt x="654" y="278"/>
                      </a:lnTo>
                      <a:lnTo>
                        <a:pt x="656" y="296"/>
                      </a:lnTo>
                      <a:lnTo>
                        <a:pt x="657" y="312"/>
                      </a:lnTo>
                      <a:lnTo>
                        <a:pt x="657" y="329"/>
                      </a:lnTo>
                      <a:lnTo>
                        <a:pt x="657" y="329"/>
                      </a:lnTo>
                      <a:lnTo>
                        <a:pt x="657" y="346"/>
                      </a:lnTo>
                      <a:lnTo>
                        <a:pt x="656" y="362"/>
                      </a:lnTo>
                      <a:lnTo>
                        <a:pt x="654" y="379"/>
                      </a:lnTo>
                      <a:lnTo>
                        <a:pt x="650" y="395"/>
                      </a:lnTo>
                      <a:lnTo>
                        <a:pt x="648" y="411"/>
                      </a:lnTo>
                      <a:lnTo>
                        <a:pt x="642" y="426"/>
                      </a:lnTo>
                      <a:lnTo>
                        <a:pt x="631" y="457"/>
                      </a:lnTo>
                      <a:lnTo>
                        <a:pt x="618" y="485"/>
                      </a:lnTo>
                      <a:lnTo>
                        <a:pt x="602" y="512"/>
                      </a:lnTo>
                      <a:lnTo>
                        <a:pt x="582" y="538"/>
                      </a:lnTo>
                      <a:lnTo>
                        <a:pt x="562" y="562"/>
                      </a:lnTo>
                      <a:lnTo>
                        <a:pt x="537" y="582"/>
                      </a:lnTo>
                      <a:lnTo>
                        <a:pt x="512" y="601"/>
                      </a:lnTo>
                      <a:lnTo>
                        <a:pt x="485" y="618"/>
                      </a:lnTo>
                      <a:lnTo>
                        <a:pt x="457" y="632"/>
                      </a:lnTo>
                      <a:lnTo>
                        <a:pt x="426" y="642"/>
                      </a:lnTo>
                      <a:lnTo>
                        <a:pt x="411" y="648"/>
                      </a:lnTo>
                      <a:lnTo>
                        <a:pt x="395" y="650"/>
                      </a:lnTo>
                      <a:lnTo>
                        <a:pt x="379" y="653"/>
                      </a:lnTo>
                      <a:lnTo>
                        <a:pt x="363" y="656"/>
                      </a:lnTo>
                      <a:lnTo>
                        <a:pt x="345" y="657"/>
                      </a:lnTo>
                      <a:lnTo>
                        <a:pt x="329" y="657"/>
                      </a:lnTo>
                      <a:lnTo>
                        <a:pt x="329" y="657"/>
                      </a:lnTo>
                      <a:close/>
                      <a:moveTo>
                        <a:pt x="329" y="38"/>
                      </a:moveTo>
                      <a:lnTo>
                        <a:pt x="329" y="38"/>
                      </a:lnTo>
                      <a:lnTo>
                        <a:pt x="298" y="39"/>
                      </a:lnTo>
                      <a:lnTo>
                        <a:pt x="270" y="43"/>
                      </a:lnTo>
                      <a:lnTo>
                        <a:pt x="242" y="51"/>
                      </a:lnTo>
                      <a:lnTo>
                        <a:pt x="215" y="61"/>
                      </a:lnTo>
                      <a:lnTo>
                        <a:pt x="189" y="73"/>
                      </a:lnTo>
                      <a:lnTo>
                        <a:pt x="165" y="88"/>
                      </a:lnTo>
                      <a:lnTo>
                        <a:pt x="144" y="104"/>
                      </a:lnTo>
                      <a:lnTo>
                        <a:pt x="122" y="123"/>
                      </a:lnTo>
                      <a:lnTo>
                        <a:pt x="104" y="144"/>
                      </a:lnTo>
                      <a:lnTo>
                        <a:pt x="87" y="166"/>
                      </a:lnTo>
                      <a:lnTo>
                        <a:pt x="73" y="190"/>
                      </a:lnTo>
                      <a:lnTo>
                        <a:pt x="61" y="215"/>
                      </a:lnTo>
                      <a:lnTo>
                        <a:pt x="51" y="242"/>
                      </a:lnTo>
                      <a:lnTo>
                        <a:pt x="43" y="270"/>
                      </a:lnTo>
                      <a:lnTo>
                        <a:pt x="39" y="298"/>
                      </a:lnTo>
                      <a:lnTo>
                        <a:pt x="38" y="329"/>
                      </a:lnTo>
                      <a:lnTo>
                        <a:pt x="38" y="329"/>
                      </a:lnTo>
                      <a:lnTo>
                        <a:pt x="39" y="359"/>
                      </a:lnTo>
                      <a:lnTo>
                        <a:pt x="43" y="387"/>
                      </a:lnTo>
                      <a:lnTo>
                        <a:pt x="51" y="415"/>
                      </a:lnTo>
                      <a:lnTo>
                        <a:pt x="61" y="442"/>
                      </a:lnTo>
                      <a:lnTo>
                        <a:pt x="73" y="468"/>
                      </a:lnTo>
                      <a:lnTo>
                        <a:pt x="87" y="492"/>
                      </a:lnTo>
                      <a:lnTo>
                        <a:pt x="104" y="513"/>
                      </a:lnTo>
                      <a:lnTo>
                        <a:pt x="122" y="535"/>
                      </a:lnTo>
                      <a:lnTo>
                        <a:pt x="144" y="554"/>
                      </a:lnTo>
                      <a:lnTo>
                        <a:pt x="165" y="570"/>
                      </a:lnTo>
                      <a:lnTo>
                        <a:pt x="189" y="585"/>
                      </a:lnTo>
                      <a:lnTo>
                        <a:pt x="215" y="597"/>
                      </a:lnTo>
                      <a:lnTo>
                        <a:pt x="242" y="607"/>
                      </a:lnTo>
                      <a:lnTo>
                        <a:pt x="270" y="614"/>
                      </a:lnTo>
                      <a:lnTo>
                        <a:pt x="298" y="618"/>
                      </a:lnTo>
                      <a:lnTo>
                        <a:pt x="329" y="620"/>
                      </a:lnTo>
                      <a:lnTo>
                        <a:pt x="329" y="620"/>
                      </a:lnTo>
                      <a:lnTo>
                        <a:pt x="359" y="618"/>
                      </a:lnTo>
                      <a:lnTo>
                        <a:pt x="387" y="614"/>
                      </a:lnTo>
                      <a:lnTo>
                        <a:pt x="415" y="607"/>
                      </a:lnTo>
                      <a:lnTo>
                        <a:pt x="442" y="597"/>
                      </a:lnTo>
                      <a:lnTo>
                        <a:pt x="468" y="585"/>
                      </a:lnTo>
                      <a:lnTo>
                        <a:pt x="492" y="570"/>
                      </a:lnTo>
                      <a:lnTo>
                        <a:pt x="513" y="554"/>
                      </a:lnTo>
                      <a:lnTo>
                        <a:pt x="535" y="535"/>
                      </a:lnTo>
                      <a:lnTo>
                        <a:pt x="553" y="513"/>
                      </a:lnTo>
                      <a:lnTo>
                        <a:pt x="570" y="492"/>
                      </a:lnTo>
                      <a:lnTo>
                        <a:pt x="584" y="468"/>
                      </a:lnTo>
                      <a:lnTo>
                        <a:pt x="596" y="442"/>
                      </a:lnTo>
                      <a:lnTo>
                        <a:pt x="607" y="415"/>
                      </a:lnTo>
                      <a:lnTo>
                        <a:pt x="614" y="387"/>
                      </a:lnTo>
                      <a:lnTo>
                        <a:pt x="618" y="359"/>
                      </a:lnTo>
                      <a:lnTo>
                        <a:pt x="619" y="329"/>
                      </a:lnTo>
                      <a:lnTo>
                        <a:pt x="619" y="329"/>
                      </a:lnTo>
                      <a:lnTo>
                        <a:pt x="618" y="298"/>
                      </a:lnTo>
                      <a:lnTo>
                        <a:pt x="614" y="270"/>
                      </a:lnTo>
                      <a:lnTo>
                        <a:pt x="607" y="242"/>
                      </a:lnTo>
                      <a:lnTo>
                        <a:pt x="596" y="215"/>
                      </a:lnTo>
                      <a:lnTo>
                        <a:pt x="584" y="190"/>
                      </a:lnTo>
                      <a:lnTo>
                        <a:pt x="570" y="166"/>
                      </a:lnTo>
                      <a:lnTo>
                        <a:pt x="553" y="144"/>
                      </a:lnTo>
                      <a:lnTo>
                        <a:pt x="535" y="123"/>
                      </a:lnTo>
                      <a:lnTo>
                        <a:pt x="513" y="104"/>
                      </a:lnTo>
                      <a:lnTo>
                        <a:pt x="492" y="88"/>
                      </a:lnTo>
                      <a:lnTo>
                        <a:pt x="468" y="73"/>
                      </a:lnTo>
                      <a:lnTo>
                        <a:pt x="442" y="61"/>
                      </a:lnTo>
                      <a:lnTo>
                        <a:pt x="415" y="51"/>
                      </a:lnTo>
                      <a:lnTo>
                        <a:pt x="387" y="43"/>
                      </a:lnTo>
                      <a:lnTo>
                        <a:pt x="359" y="39"/>
                      </a:lnTo>
                      <a:lnTo>
                        <a:pt x="329" y="38"/>
                      </a:lnTo>
                      <a:lnTo>
                        <a:pt x="329" y="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63" name="Freeform 89">
                <a:extLst>
                  <a:ext uri="{FF2B5EF4-FFF2-40B4-BE49-F238E27FC236}">
                    <a16:creationId xmlns:a16="http://schemas.microsoft.com/office/drawing/2014/main" id="{1191EBC2-AE73-41A7-99C0-7C2DB35BEDEE}"/>
                  </a:ext>
                </a:extLst>
              </p:cNvPr>
              <p:cNvSpPr>
                <a:spLocks/>
              </p:cNvSpPr>
              <p:nvPr/>
            </p:nvSpPr>
            <p:spPr bwMode="auto">
              <a:xfrm>
                <a:off x="6561135" y="1349047"/>
                <a:ext cx="213702" cy="203720"/>
              </a:xfrm>
              <a:custGeom>
                <a:avLst/>
                <a:gdLst>
                  <a:gd name="T0" fmla="*/ 268 w 287"/>
                  <a:gd name="T1" fmla="*/ 141 h 313"/>
                  <a:gd name="T2" fmla="*/ 255 w 287"/>
                  <a:gd name="T3" fmla="*/ 142 h 313"/>
                  <a:gd name="T4" fmla="*/ 248 w 287"/>
                  <a:gd name="T5" fmla="*/ 146 h 313"/>
                  <a:gd name="T6" fmla="*/ 245 w 287"/>
                  <a:gd name="T7" fmla="*/ 148 h 313"/>
                  <a:gd name="T8" fmla="*/ 243 w 287"/>
                  <a:gd name="T9" fmla="*/ 146 h 313"/>
                  <a:gd name="T10" fmla="*/ 240 w 287"/>
                  <a:gd name="T11" fmla="*/ 138 h 313"/>
                  <a:gd name="T12" fmla="*/ 229 w 287"/>
                  <a:gd name="T13" fmla="*/ 129 h 313"/>
                  <a:gd name="T14" fmla="*/ 222 w 287"/>
                  <a:gd name="T15" fmla="*/ 128 h 313"/>
                  <a:gd name="T16" fmla="*/ 209 w 287"/>
                  <a:gd name="T17" fmla="*/ 130 h 313"/>
                  <a:gd name="T18" fmla="*/ 200 w 287"/>
                  <a:gd name="T19" fmla="*/ 137 h 313"/>
                  <a:gd name="T20" fmla="*/ 197 w 287"/>
                  <a:gd name="T21" fmla="*/ 137 h 313"/>
                  <a:gd name="T22" fmla="*/ 196 w 287"/>
                  <a:gd name="T23" fmla="*/ 136 h 313"/>
                  <a:gd name="T24" fmla="*/ 193 w 287"/>
                  <a:gd name="T25" fmla="*/ 129 h 313"/>
                  <a:gd name="T26" fmla="*/ 182 w 287"/>
                  <a:gd name="T27" fmla="*/ 120 h 313"/>
                  <a:gd name="T28" fmla="*/ 174 w 287"/>
                  <a:gd name="T29" fmla="*/ 117 h 313"/>
                  <a:gd name="T30" fmla="*/ 161 w 287"/>
                  <a:gd name="T31" fmla="*/ 120 h 313"/>
                  <a:gd name="T32" fmla="*/ 151 w 287"/>
                  <a:gd name="T33" fmla="*/ 129 h 313"/>
                  <a:gd name="T34" fmla="*/ 150 w 287"/>
                  <a:gd name="T35" fmla="*/ 130 h 313"/>
                  <a:gd name="T36" fmla="*/ 149 w 287"/>
                  <a:gd name="T37" fmla="*/ 26 h 313"/>
                  <a:gd name="T38" fmla="*/ 149 w 287"/>
                  <a:gd name="T39" fmla="*/ 20 h 313"/>
                  <a:gd name="T40" fmla="*/ 142 w 287"/>
                  <a:gd name="T41" fmla="*/ 8 h 313"/>
                  <a:gd name="T42" fmla="*/ 135 w 287"/>
                  <a:gd name="T43" fmla="*/ 3 h 313"/>
                  <a:gd name="T44" fmla="*/ 127 w 287"/>
                  <a:gd name="T45" fmla="*/ 0 h 313"/>
                  <a:gd name="T46" fmla="*/ 122 w 287"/>
                  <a:gd name="T47" fmla="*/ 0 h 313"/>
                  <a:gd name="T48" fmla="*/ 112 w 287"/>
                  <a:gd name="T49" fmla="*/ 4 h 313"/>
                  <a:gd name="T50" fmla="*/ 106 w 287"/>
                  <a:gd name="T51" fmla="*/ 9 h 313"/>
                  <a:gd name="T52" fmla="*/ 102 w 287"/>
                  <a:gd name="T53" fmla="*/ 19 h 313"/>
                  <a:gd name="T54" fmla="*/ 100 w 287"/>
                  <a:gd name="T55" fmla="*/ 192 h 313"/>
                  <a:gd name="T56" fmla="*/ 100 w 287"/>
                  <a:gd name="T57" fmla="*/ 197 h 313"/>
                  <a:gd name="T58" fmla="*/ 93 w 287"/>
                  <a:gd name="T59" fmla="*/ 204 h 313"/>
                  <a:gd name="T60" fmla="*/ 84 w 287"/>
                  <a:gd name="T61" fmla="*/ 208 h 313"/>
                  <a:gd name="T62" fmla="*/ 75 w 287"/>
                  <a:gd name="T63" fmla="*/ 204 h 313"/>
                  <a:gd name="T64" fmla="*/ 53 w 287"/>
                  <a:gd name="T65" fmla="*/ 173 h 313"/>
                  <a:gd name="T66" fmla="*/ 49 w 287"/>
                  <a:gd name="T67" fmla="*/ 168 h 313"/>
                  <a:gd name="T68" fmla="*/ 40 w 287"/>
                  <a:gd name="T69" fmla="*/ 161 h 313"/>
                  <a:gd name="T70" fmla="*/ 28 w 287"/>
                  <a:gd name="T71" fmla="*/ 157 h 313"/>
                  <a:gd name="T72" fmla="*/ 16 w 287"/>
                  <a:gd name="T73" fmla="*/ 157 h 313"/>
                  <a:gd name="T74" fmla="*/ 9 w 287"/>
                  <a:gd name="T75" fmla="*/ 158 h 313"/>
                  <a:gd name="T76" fmla="*/ 1 w 287"/>
                  <a:gd name="T77" fmla="*/ 168 h 313"/>
                  <a:gd name="T78" fmla="*/ 2 w 287"/>
                  <a:gd name="T79" fmla="*/ 179 h 313"/>
                  <a:gd name="T80" fmla="*/ 255 w 287"/>
                  <a:gd name="T81" fmla="*/ 313 h 313"/>
                  <a:gd name="T82" fmla="*/ 260 w 287"/>
                  <a:gd name="T83" fmla="*/ 302 h 313"/>
                  <a:gd name="T84" fmla="*/ 271 w 287"/>
                  <a:gd name="T85" fmla="*/ 270 h 313"/>
                  <a:gd name="T86" fmla="*/ 281 w 287"/>
                  <a:gd name="T87" fmla="*/ 223 h 313"/>
                  <a:gd name="T88" fmla="*/ 287 w 287"/>
                  <a:gd name="T89" fmla="*/ 165 h 313"/>
                  <a:gd name="T90" fmla="*/ 285 w 287"/>
                  <a:gd name="T91" fmla="*/ 160 h 313"/>
                  <a:gd name="T92" fmla="*/ 280 w 287"/>
                  <a:gd name="T93" fmla="*/ 149 h 313"/>
                  <a:gd name="T94" fmla="*/ 268 w 287"/>
                  <a:gd name="T95" fmla="*/ 141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7" h="313">
                    <a:moveTo>
                      <a:pt x="268" y="141"/>
                    </a:moveTo>
                    <a:lnTo>
                      <a:pt x="268" y="141"/>
                    </a:lnTo>
                    <a:lnTo>
                      <a:pt x="260" y="141"/>
                    </a:lnTo>
                    <a:lnTo>
                      <a:pt x="255" y="142"/>
                    </a:lnTo>
                    <a:lnTo>
                      <a:pt x="251" y="144"/>
                    </a:lnTo>
                    <a:lnTo>
                      <a:pt x="248" y="146"/>
                    </a:lnTo>
                    <a:lnTo>
                      <a:pt x="248" y="146"/>
                    </a:lnTo>
                    <a:lnTo>
                      <a:pt x="245" y="148"/>
                    </a:lnTo>
                    <a:lnTo>
                      <a:pt x="244" y="146"/>
                    </a:lnTo>
                    <a:lnTo>
                      <a:pt x="243" y="146"/>
                    </a:lnTo>
                    <a:lnTo>
                      <a:pt x="243" y="146"/>
                    </a:lnTo>
                    <a:lnTo>
                      <a:pt x="240" y="138"/>
                    </a:lnTo>
                    <a:lnTo>
                      <a:pt x="236" y="133"/>
                    </a:lnTo>
                    <a:lnTo>
                      <a:pt x="229" y="129"/>
                    </a:lnTo>
                    <a:lnTo>
                      <a:pt x="222" y="128"/>
                    </a:lnTo>
                    <a:lnTo>
                      <a:pt x="222" y="128"/>
                    </a:lnTo>
                    <a:lnTo>
                      <a:pt x="214" y="128"/>
                    </a:lnTo>
                    <a:lnTo>
                      <a:pt x="209" y="130"/>
                    </a:lnTo>
                    <a:lnTo>
                      <a:pt x="204" y="133"/>
                    </a:lnTo>
                    <a:lnTo>
                      <a:pt x="200" y="137"/>
                    </a:lnTo>
                    <a:lnTo>
                      <a:pt x="200" y="137"/>
                    </a:lnTo>
                    <a:lnTo>
                      <a:pt x="197" y="137"/>
                    </a:lnTo>
                    <a:lnTo>
                      <a:pt x="196" y="137"/>
                    </a:lnTo>
                    <a:lnTo>
                      <a:pt x="196" y="136"/>
                    </a:lnTo>
                    <a:lnTo>
                      <a:pt x="196" y="136"/>
                    </a:lnTo>
                    <a:lnTo>
                      <a:pt x="193" y="129"/>
                    </a:lnTo>
                    <a:lnTo>
                      <a:pt x="187" y="124"/>
                    </a:lnTo>
                    <a:lnTo>
                      <a:pt x="182" y="120"/>
                    </a:lnTo>
                    <a:lnTo>
                      <a:pt x="174" y="117"/>
                    </a:lnTo>
                    <a:lnTo>
                      <a:pt x="174" y="117"/>
                    </a:lnTo>
                    <a:lnTo>
                      <a:pt x="167" y="117"/>
                    </a:lnTo>
                    <a:lnTo>
                      <a:pt x="161" y="120"/>
                    </a:lnTo>
                    <a:lnTo>
                      <a:pt x="155" y="124"/>
                    </a:lnTo>
                    <a:lnTo>
                      <a:pt x="151" y="129"/>
                    </a:lnTo>
                    <a:lnTo>
                      <a:pt x="151" y="129"/>
                    </a:lnTo>
                    <a:lnTo>
                      <a:pt x="150" y="130"/>
                    </a:lnTo>
                    <a:lnTo>
                      <a:pt x="149" y="129"/>
                    </a:lnTo>
                    <a:lnTo>
                      <a:pt x="149" y="26"/>
                    </a:lnTo>
                    <a:lnTo>
                      <a:pt x="149" y="26"/>
                    </a:lnTo>
                    <a:lnTo>
                      <a:pt x="149" y="20"/>
                    </a:lnTo>
                    <a:lnTo>
                      <a:pt x="147" y="16"/>
                    </a:lnTo>
                    <a:lnTo>
                      <a:pt x="142" y="8"/>
                    </a:lnTo>
                    <a:lnTo>
                      <a:pt x="139" y="5"/>
                    </a:lnTo>
                    <a:lnTo>
                      <a:pt x="135" y="3"/>
                    </a:lnTo>
                    <a:lnTo>
                      <a:pt x="131" y="1"/>
                    </a:lnTo>
                    <a:lnTo>
                      <a:pt x="127" y="0"/>
                    </a:lnTo>
                    <a:lnTo>
                      <a:pt x="127" y="0"/>
                    </a:lnTo>
                    <a:lnTo>
                      <a:pt x="122" y="0"/>
                    </a:lnTo>
                    <a:lnTo>
                      <a:pt x="116" y="1"/>
                    </a:lnTo>
                    <a:lnTo>
                      <a:pt x="112" y="4"/>
                    </a:lnTo>
                    <a:lnTo>
                      <a:pt x="108" y="7"/>
                    </a:lnTo>
                    <a:lnTo>
                      <a:pt x="106" y="9"/>
                    </a:lnTo>
                    <a:lnTo>
                      <a:pt x="103" y="15"/>
                    </a:lnTo>
                    <a:lnTo>
                      <a:pt x="102" y="19"/>
                    </a:lnTo>
                    <a:lnTo>
                      <a:pt x="100" y="24"/>
                    </a:lnTo>
                    <a:lnTo>
                      <a:pt x="100" y="192"/>
                    </a:lnTo>
                    <a:lnTo>
                      <a:pt x="100" y="192"/>
                    </a:lnTo>
                    <a:lnTo>
                      <a:pt x="100" y="197"/>
                    </a:lnTo>
                    <a:lnTo>
                      <a:pt x="98" y="201"/>
                    </a:lnTo>
                    <a:lnTo>
                      <a:pt x="93" y="204"/>
                    </a:lnTo>
                    <a:lnTo>
                      <a:pt x="89" y="207"/>
                    </a:lnTo>
                    <a:lnTo>
                      <a:pt x="84" y="208"/>
                    </a:lnTo>
                    <a:lnTo>
                      <a:pt x="80" y="207"/>
                    </a:lnTo>
                    <a:lnTo>
                      <a:pt x="75" y="204"/>
                    </a:lnTo>
                    <a:lnTo>
                      <a:pt x="72" y="200"/>
                    </a:lnTo>
                    <a:lnTo>
                      <a:pt x="53" y="173"/>
                    </a:lnTo>
                    <a:lnTo>
                      <a:pt x="53" y="173"/>
                    </a:lnTo>
                    <a:lnTo>
                      <a:pt x="49" y="168"/>
                    </a:lnTo>
                    <a:lnTo>
                      <a:pt x="45" y="164"/>
                    </a:lnTo>
                    <a:lnTo>
                      <a:pt x="40" y="161"/>
                    </a:lnTo>
                    <a:lnTo>
                      <a:pt x="34" y="158"/>
                    </a:lnTo>
                    <a:lnTo>
                      <a:pt x="28" y="157"/>
                    </a:lnTo>
                    <a:lnTo>
                      <a:pt x="22" y="157"/>
                    </a:lnTo>
                    <a:lnTo>
                      <a:pt x="16" y="157"/>
                    </a:lnTo>
                    <a:lnTo>
                      <a:pt x="9" y="158"/>
                    </a:lnTo>
                    <a:lnTo>
                      <a:pt x="9" y="158"/>
                    </a:lnTo>
                    <a:lnTo>
                      <a:pt x="5" y="162"/>
                    </a:lnTo>
                    <a:lnTo>
                      <a:pt x="1" y="168"/>
                    </a:lnTo>
                    <a:lnTo>
                      <a:pt x="0" y="173"/>
                    </a:lnTo>
                    <a:lnTo>
                      <a:pt x="2" y="179"/>
                    </a:lnTo>
                    <a:lnTo>
                      <a:pt x="69" y="313"/>
                    </a:lnTo>
                    <a:lnTo>
                      <a:pt x="255" y="313"/>
                    </a:lnTo>
                    <a:lnTo>
                      <a:pt x="255" y="313"/>
                    </a:lnTo>
                    <a:lnTo>
                      <a:pt x="260" y="302"/>
                    </a:lnTo>
                    <a:lnTo>
                      <a:pt x="264" y="289"/>
                    </a:lnTo>
                    <a:lnTo>
                      <a:pt x="271" y="270"/>
                    </a:lnTo>
                    <a:lnTo>
                      <a:pt x="276" y="248"/>
                    </a:lnTo>
                    <a:lnTo>
                      <a:pt x="281" y="223"/>
                    </a:lnTo>
                    <a:lnTo>
                      <a:pt x="285" y="195"/>
                    </a:lnTo>
                    <a:lnTo>
                      <a:pt x="287" y="165"/>
                    </a:lnTo>
                    <a:lnTo>
                      <a:pt x="287" y="165"/>
                    </a:lnTo>
                    <a:lnTo>
                      <a:pt x="285" y="160"/>
                    </a:lnTo>
                    <a:lnTo>
                      <a:pt x="284" y="156"/>
                    </a:lnTo>
                    <a:lnTo>
                      <a:pt x="280" y="149"/>
                    </a:lnTo>
                    <a:lnTo>
                      <a:pt x="275" y="144"/>
                    </a:lnTo>
                    <a:lnTo>
                      <a:pt x="268" y="141"/>
                    </a:lnTo>
                    <a:lnTo>
                      <a:pt x="268"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1" name="Group 10">
              <a:extLst>
                <a:ext uri="{FF2B5EF4-FFF2-40B4-BE49-F238E27FC236}">
                  <a16:creationId xmlns:a16="http://schemas.microsoft.com/office/drawing/2014/main" id="{FD5EFDAF-C935-42DE-81FA-BE1175C2937D}"/>
                </a:ext>
              </a:extLst>
            </p:cNvPr>
            <p:cNvGrpSpPr/>
            <p:nvPr/>
          </p:nvGrpSpPr>
          <p:grpSpPr>
            <a:xfrm>
              <a:off x="7698552" y="4451998"/>
              <a:ext cx="763400" cy="765726"/>
              <a:chOff x="4992413" y="2192994"/>
              <a:chExt cx="520701" cy="522288"/>
            </a:xfrm>
          </p:grpSpPr>
          <p:grpSp>
            <p:nvGrpSpPr>
              <p:cNvPr id="58" name="Group 57">
                <a:extLst>
                  <a:ext uri="{FF2B5EF4-FFF2-40B4-BE49-F238E27FC236}">
                    <a16:creationId xmlns:a16="http://schemas.microsoft.com/office/drawing/2014/main" id="{729ADCC2-ACB3-4E5C-81E7-EAAF637D9F45}"/>
                  </a:ext>
                </a:extLst>
              </p:cNvPr>
              <p:cNvGrpSpPr/>
              <p:nvPr/>
            </p:nvGrpSpPr>
            <p:grpSpPr>
              <a:xfrm>
                <a:off x="4992413" y="2192994"/>
                <a:ext cx="520701" cy="522288"/>
                <a:chOff x="5921415" y="-508726"/>
                <a:chExt cx="520701" cy="522288"/>
              </a:xfrm>
            </p:grpSpPr>
            <p:sp>
              <p:nvSpPr>
                <p:cNvPr id="60" name="Oval 59">
                  <a:extLst>
                    <a:ext uri="{FF2B5EF4-FFF2-40B4-BE49-F238E27FC236}">
                      <a16:creationId xmlns:a16="http://schemas.microsoft.com/office/drawing/2014/main" id="{911E93CA-7E77-48D1-B949-024B1F223527}"/>
                    </a:ext>
                  </a:extLst>
                </p:cNvPr>
                <p:cNvSpPr/>
                <p:nvPr/>
              </p:nvSpPr>
              <p:spPr>
                <a:xfrm>
                  <a:off x="5928504" y="-500050"/>
                  <a:ext cx="513612" cy="51361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61" name="Freeform 37">
                  <a:extLst>
                    <a:ext uri="{FF2B5EF4-FFF2-40B4-BE49-F238E27FC236}">
                      <a16:creationId xmlns:a16="http://schemas.microsoft.com/office/drawing/2014/main" id="{47CF4DF5-72DE-48EA-9B1F-14560EECCC2D}"/>
                    </a:ext>
                  </a:extLst>
                </p:cNvPr>
                <p:cNvSpPr>
                  <a:spLocks noEditPoints="1"/>
                </p:cNvSpPr>
                <p:nvPr/>
              </p:nvSpPr>
              <p:spPr bwMode="auto">
                <a:xfrm>
                  <a:off x="5921415" y="-508726"/>
                  <a:ext cx="520700" cy="522288"/>
                </a:xfrm>
                <a:custGeom>
                  <a:avLst/>
                  <a:gdLst>
                    <a:gd name="T0" fmla="*/ 312 w 657"/>
                    <a:gd name="T1" fmla="*/ 657 h 657"/>
                    <a:gd name="T2" fmla="*/ 262 w 657"/>
                    <a:gd name="T3" fmla="*/ 650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9 h 657"/>
                    <a:gd name="T16" fmla="*/ 1 w 657"/>
                    <a:gd name="T17" fmla="*/ 296 h 657"/>
                    <a:gd name="T18" fmla="*/ 11 w 657"/>
                    <a:gd name="T19" fmla="*/ 246 h 657"/>
                    <a:gd name="T20" fmla="*/ 39 w 657"/>
                    <a:gd name="T21" fmla="*/ 172 h 657"/>
                    <a:gd name="T22" fmla="*/ 97 w 657"/>
                    <a:gd name="T23" fmla="*/ 97 h 657"/>
                    <a:gd name="T24" fmla="*/ 172 w 657"/>
                    <a:gd name="T25" fmla="*/ 39 h 657"/>
                    <a:gd name="T26" fmla="*/ 247 w 657"/>
                    <a:gd name="T27" fmla="*/ 10 h 657"/>
                    <a:gd name="T28" fmla="*/ 296 w 657"/>
                    <a:gd name="T29" fmla="*/ 2 h 657"/>
                    <a:gd name="T30" fmla="*/ 329 w 657"/>
                    <a:gd name="T31" fmla="*/ 0 h 657"/>
                    <a:gd name="T32" fmla="*/ 379 w 657"/>
                    <a:gd name="T33" fmla="*/ 4 h 657"/>
                    <a:gd name="T34" fmla="*/ 426 w 657"/>
                    <a:gd name="T35" fmla="*/ 15 h 657"/>
                    <a:gd name="T36" fmla="*/ 512 w 657"/>
                    <a:gd name="T37" fmla="*/ 57 h 657"/>
                    <a:gd name="T38" fmla="*/ 582 w 657"/>
                    <a:gd name="T39" fmla="*/ 120 h 657"/>
                    <a:gd name="T40" fmla="*/ 631 w 657"/>
                    <a:gd name="T41" fmla="*/ 200 h 657"/>
                    <a:gd name="T42" fmla="*/ 650 w 657"/>
                    <a:gd name="T43" fmla="*/ 262 h 657"/>
                    <a:gd name="T44" fmla="*/ 657 w 657"/>
                    <a:gd name="T45" fmla="*/ 312 h 657"/>
                    <a:gd name="T46" fmla="*/ 657 w 657"/>
                    <a:gd name="T47" fmla="*/ 346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9 w 657"/>
                    <a:gd name="T59" fmla="*/ 653 h 657"/>
                    <a:gd name="T60" fmla="*/ 329 w 657"/>
                    <a:gd name="T61" fmla="*/ 657 h 657"/>
                    <a:gd name="T62" fmla="*/ 329 w 657"/>
                    <a:gd name="T63" fmla="*/ 38 h 657"/>
                    <a:gd name="T64" fmla="*/ 242 w 657"/>
                    <a:gd name="T65" fmla="*/ 51 h 657"/>
                    <a:gd name="T66" fmla="*/ 165 w 657"/>
                    <a:gd name="T67" fmla="*/ 88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5 w 657"/>
                    <a:gd name="T81" fmla="*/ 570 h 657"/>
                    <a:gd name="T82" fmla="*/ 242 w 657"/>
                    <a:gd name="T83" fmla="*/ 607 h 657"/>
                    <a:gd name="T84" fmla="*/ 329 w 657"/>
                    <a:gd name="T85" fmla="*/ 620 h 657"/>
                    <a:gd name="T86" fmla="*/ 387 w 657"/>
                    <a:gd name="T87" fmla="*/ 614 h 657"/>
                    <a:gd name="T88" fmla="*/ 468 w 657"/>
                    <a:gd name="T89" fmla="*/ 585 h 657"/>
                    <a:gd name="T90" fmla="*/ 535 w 657"/>
                    <a:gd name="T91" fmla="*/ 535 h 657"/>
                    <a:gd name="T92" fmla="*/ 584 w 657"/>
                    <a:gd name="T93" fmla="*/ 468 h 657"/>
                    <a:gd name="T94" fmla="*/ 614 w 657"/>
                    <a:gd name="T95" fmla="*/ 387 h 657"/>
                    <a:gd name="T96" fmla="*/ 619 w 657"/>
                    <a:gd name="T97" fmla="*/ 329 h 657"/>
                    <a:gd name="T98" fmla="*/ 607 w 657"/>
                    <a:gd name="T99" fmla="*/ 242 h 657"/>
                    <a:gd name="T100" fmla="*/ 570 w 657"/>
                    <a:gd name="T101" fmla="*/ 166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6"/>
                      </a:lnTo>
                      <a:lnTo>
                        <a:pt x="278" y="653"/>
                      </a:lnTo>
                      <a:lnTo>
                        <a:pt x="262" y="650"/>
                      </a:lnTo>
                      <a:lnTo>
                        <a:pt x="247" y="648"/>
                      </a:lnTo>
                      <a:lnTo>
                        <a:pt x="231" y="642"/>
                      </a:lnTo>
                      <a:lnTo>
                        <a:pt x="200" y="632"/>
                      </a:lnTo>
                      <a:lnTo>
                        <a:pt x="172" y="618"/>
                      </a:lnTo>
                      <a:lnTo>
                        <a:pt x="145" y="601"/>
                      </a:lnTo>
                      <a:lnTo>
                        <a:pt x="120" y="582"/>
                      </a:lnTo>
                      <a:lnTo>
                        <a:pt x="97" y="562"/>
                      </a:lnTo>
                      <a:lnTo>
                        <a:pt x="75" y="538"/>
                      </a:lnTo>
                      <a:lnTo>
                        <a:pt x="57" y="512"/>
                      </a:lnTo>
                      <a:lnTo>
                        <a:pt x="39" y="485"/>
                      </a:lnTo>
                      <a:lnTo>
                        <a:pt x="26" y="457"/>
                      </a:lnTo>
                      <a:lnTo>
                        <a:pt x="15" y="426"/>
                      </a:lnTo>
                      <a:lnTo>
                        <a:pt x="11" y="411"/>
                      </a:lnTo>
                      <a:lnTo>
                        <a:pt x="7" y="395"/>
                      </a:lnTo>
                      <a:lnTo>
                        <a:pt x="4" y="379"/>
                      </a:lnTo>
                      <a:lnTo>
                        <a:pt x="1" y="362"/>
                      </a:lnTo>
                      <a:lnTo>
                        <a:pt x="0" y="346"/>
                      </a:lnTo>
                      <a:lnTo>
                        <a:pt x="0" y="329"/>
                      </a:lnTo>
                      <a:lnTo>
                        <a:pt x="0" y="329"/>
                      </a:lnTo>
                      <a:lnTo>
                        <a:pt x="0" y="312"/>
                      </a:lnTo>
                      <a:lnTo>
                        <a:pt x="1" y="296"/>
                      </a:lnTo>
                      <a:lnTo>
                        <a:pt x="4" y="278"/>
                      </a:lnTo>
                      <a:lnTo>
                        <a:pt x="7" y="262"/>
                      </a:lnTo>
                      <a:lnTo>
                        <a:pt x="11" y="246"/>
                      </a:lnTo>
                      <a:lnTo>
                        <a:pt x="15" y="231"/>
                      </a:lnTo>
                      <a:lnTo>
                        <a:pt x="26" y="200"/>
                      </a:lnTo>
                      <a:lnTo>
                        <a:pt x="39" y="172"/>
                      </a:lnTo>
                      <a:lnTo>
                        <a:pt x="57" y="145"/>
                      </a:lnTo>
                      <a:lnTo>
                        <a:pt x="75" y="120"/>
                      </a:lnTo>
                      <a:lnTo>
                        <a:pt x="97" y="97"/>
                      </a:lnTo>
                      <a:lnTo>
                        <a:pt x="120" y="76"/>
                      </a:lnTo>
                      <a:lnTo>
                        <a:pt x="145" y="57"/>
                      </a:lnTo>
                      <a:lnTo>
                        <a:pt x="172" y="39"/>
                      </a:lnTo>
                      <a:lnTo>
                        <a:pt x="200" y="26"/>
                      </a:lnTo>
                      <a:lnTo>
                        <a:pt x="231" y="15"/>
                      </a:lnTo>
                      <a:lnTo>
                        <a:pt x="247" y="10"/>
                      </a:lnTo>
                      <a:lnTo>
                        <a:pt x="262" y="7"/>
                      </a:lnTo>
                      <a:lnTo>
                        <a:pt x="278" y="4"/>
                      </a:lnTo>
                      <a:lnTo>
                        <a:pt x="296" y="2"/>
                      </a:lnTo>
                      <a:lnTo>
                        <a:pt x="312" y="0"/>
                      </a:lnTo>
                      <a:lnTo>
                        <a:pt x="329" y="0"/>
                      </a:lnTo>
                      <a:lnTo>
                        <a:pt x="329" y="0"/>
                      </a:lnTo>
                      <a:lnTo>
                        <a:pt x="345" y="0"/>
                      </a:lnTo>
                      <a:lnTo>
                        <a:pt x="363" y="2"/>
                      </a:lnTo>
                      <a:lnTo>
                        <a:pt x="379" y="4"/>
                      </a:lnTo>
                      <a:lnTo>
                        <a:pt x="395" y="7"/>
                      </a:lnTo>
                      <a:lnTo>
                        <a:pt x="411" y="10"/>
                      </a:lnTo>
                      <a:lnTo>
                        <a:pt x="426" y="15"/>
                      </a:lnTo>
                      <a:lnTo>
                        <a:pt x="457" y="26"/>
                      </a:lnTo>
                      <a:lnTo>
                        <a:pt x="485" y="39"/>
                      </a:lnTo>
                      <a:lnTo>
                        <a:pt x="512" y="57"/>
                      </a:lnTo>
                      <a:lnTo>
                        <a:pt x="537" y="76"/>
                      </a:lnTo>
                      <a:lnTo>
                        <a:pt x="562" y="97"/>
                      </a:lnTo>
                      <a:lnTo>
                        <a:pt x="582" y="120"/>
                      </a:lnTo>
                      <a:lnTo>
                        <a:pt x="602" y="145"/>
                      </a:lnTo>
                      <a:lnTo>
                        <a:pt x="618" y="172"/>
                      </a:lnTo>
                      <a:lnTo>
                        <a:pt x="631" y="200"/>
                      </a:lnTo>
                      <a:lnTo>
                        <a:pt x="642" y="231"/>
                      </a:lnTo>
                      <a:lnTo>
                        <a:pt x="648" y="246"/>
                      </a:lnTo>
                      <a:lnTo>
                        <a:pt x="650" y="262"/>
                      </a:lnTo>
                      <a:lnTo>
                        <a:pt x="654" y="278"/>
                      </a:lnTo>
                      <a:lnTo>
                        <a:pt x="656" y="296"/>
                      </a:lnTo>
                      <a:lnTo>
                        <a:pt x="657" y="312"/>
                      </a:lnTo>
                      <a:lnTo>
                        <a:pt x="657" y="329"/>
                      </a:lnTo>
                      <a:lnTo>
                        <a:pt x="657" y="329"/>
                      </a:lnTo>
                      <a:lnTo>
                        <a:pt x="657" y="346"/>
                      </a:lnTo>
                      <a:lnTo>
                        <a:pt x="656" y="362"/>
                      </a:lnTo>
                      <a:lnTo>
                        <a:pt x="654" y="379"/>
                      </a:lnTo>
                      <a:lnTo>
                        <a:pt x="650" y="395"/>
                      </a:lnTo>
                      <a:lnTo>
                        <a:pt x="648" y="411"/>
                      </a:lnTo>
                      <a:lnTo>
                        <a:pt x="642" y="426"/>
                      </a:lnTo>
                      <a:lnTo>
                        <a:pt x="631" y="457"/>
                      </a:lnTo>
                      <a:lnTo>
                        <a:pt x="618" y="485"/>
                      </a:lnTo>
                      <a:lnTo>
                        <a:pt x="602" y="512"/>
                      </a:lnTo>
                      <a:lnTo>
                        <a:pt x="582" y="538"/>
                      </a:lnTo>
                      <a:lnTo>
                        <a:pt x="562" y="562"/>
                      </a:lnTo>
                      <a:lnTo>
                        <a:pt x="537" y="582"/>
                      </a:lnTo>
                      <a:lnTo>
                        <a:pt x="512" y="601"/>
                      </a:lnTo>
                      <a:lnTo>
                        <a:pt x="485" y="618"/>
                      </a:lnTo>
                      <a:lnTo>
                        <a:pt x="457" y="632"/>
                      </a:lnTo>
                      <a:lnTo>
                        <a:pt x="426" y="642"/>
                      </a:lnTo>
                      <a:lnTo>
                        <a:pt x="411" y="648"/>
                      </a:lnTo>
                      <a:lnTo>
                        <a:pt x="395" y="650"/>
                      </a:lnTo>
                      <a:lnTo>
                        <a:pt x="379" y="653"/>
                      </a:lnTo>
                      <a:lnTo>
                        <a:pt x="363" y="656"/>
                      </a:lnTo>
                      <a:lnTo>
                        <a:pt x="345" y="657"/>
                      </a:lnTo>
                      <a:lnTo>
                        <a:pt x="329" y="657"/>
                      </a:lnTo>
                      <a:lnTo>
                        <a:pt x="329" y="657"/>
                      </a:lnTo>
                      <a:close/>
                      <a:moveTo>
                        <a:pt x="329" y="38"/>
                      </a:moveTo>
                      <a:lnTo>
                        <a:pt x="329" y="38"/>
                      </a:lnTo>
                      <a:lnTo>
                        <a:pt x="298" y="39"/>
                      </a:lnTo>
                      <a:lnTo>
                        <a:pt x="270" y="43"/>
                      </a:lnTo>
                      <a:lnTo>
                        <a:pt x="242" y="51"/>
                      </a:lnTo>
                      <a:lnTo>
                        <a:pt x="215" y="61"/>
                      </a:lnTo>
                      <a:lnTo>
                        <a:pt x="189" y="73"/>
                      </a:lnTo>
                      <a:lnTo>
                        <a:pt x="165" y="88"/>
                      </a:lnTo>
                      <a:lnTo>
                        <a:pt x="144" y="104"/>
                      </a:lnTo>
                      <a:lnTo>
                        <a:pt x="122" y="123"/>
                      </a:lnTo>
                      <a:lnTo>
                        <a:pt x="104" y="144"/>
                      </a:lnTo>
                      <a:lnTo>
                        <a:pt x="87" y="166"/>
                      </a:lnTo>
                      <a:lnTo>
                        <a:pt x="73" y="190"/>
                      </a:lnTo>
                      <a:lnTo>
                        <a:pt x="61" y="215"/>
                      </a:lnTo>
                      <a:lnTo>
                        <a:pt x="51" y="242"/>
                      </a:lnTo>
                      <a:lnTo>
                        <a:pt x="43" y="270"/>
                      </a:lnTo>
                      <a:lnTo>
                        <a:pt x="39" y="298"/>
                      </a:lnTo>
                      <a:lnTo>
                        <a:pt x="38" y="329"/>
                      </a:lnTo>
                      <a:lnTo>
                        <a:pt x="38" y="329"/>
                      </a:lnTo>
                      <a:lnTo>
                        <a:pt x="39" y="359"/>
                      </a:lnTo>
                      <a:lnTo>
                        <a:pt x="43" y="387"/>
                      </a:lnTo>
                      <a:lnTo>
                        <a:pt x="51" y="415"/>
                      </a:lnTo>
                      <a:lnTo>
                        <a:pt x="61" y="442"/>
                      </a:lnTo>
                      <a:lnTo>
                        <a:pt x="73" y="468"/>
                      </a:lnTo>
                      <a:lnTo>
                        <a:pt x="87" y="492"/>
                      </a:lnTo>
                      <a:lnTo>
                        <a:pt x="104" y="513"/>
                      </a:lnTo>
                      <a:lnTo>
                        <a:pt x="122" y="535"/>
                      </a:lnTo>
                      <a:lnTo>
                        <a:pt x="144" y="554"/>
                      </a:lnTo>
                      <a:lnTo>
                        <a:pt x="165" y="570"/>
                      </a:lnTo>
                      <a:lnTo>
                        <a:pt x="189" y="585"/>
                      </a:lnTo>
                      <a:lnTo>
                        <a:pt x="215" y="597"/>
                      </a:lnTo>
                      <a:lnTo>
                        <a:pt x="242" y="607"/>
                      </a:lnTo>
                      <a:lnTo>
                        <a:pt x="270" y="614"/>
                      </a:lnTo>
                      <a:lnTo>
                        <a:pt x="298" y="618"/>
                      </a:lnTo>
                      <a:lnTo>
                        <a:pt x="329" y="620"/>
                      </a:lnTo>
                      <a:lnTo>
                        <a:pt x="329" y="620"/>
                      </a:lnTo>
                      <a:lnTo>
                        <a:pt x="359" y="618"/>
                      </a:lnTo>
                      <a:lnTo>
                        <a:pt x="387" y="614"/>
                      </a:lnTo>
                      <a:lnTo>
                        <a:pt x="415" y="607"/>
                      </a:lnTo>
                      <a:lnTo>
                        <a:pt x="442" y="597"/>
                      </a:lnTo>
                      <a:lnTo>
                        <a:pt x="468" y="585"/>
                      </a:lnTo>
                      <a:lnTo>
                        <a:pt x="492" y="570"/>
                      </a:lnTo>
                      <a:lnTo>
                        <a:pt x="513" y="554"/>
                      </a:lnTo>
                      <a:lnTo>
                        <a:pt x="535" y="535"/>
                      </a:lnTo>
                      <a:lnTo>
                        <a:pt x="553" y="513"/>
                      </a:lnTo>
                      <a:lnTo>
                        <a:pt x="570" y="492"/>
                      </a:lnTo>
                      <a:lnTo>
                        <a:pt x="584" y="468"/>
                      </a:lnTo>
                      <a:lnTo>
                        <a:pt x="596" y="442"/>
                      </a:lnTo>
                      <a:lnTo>
                        <a:pt x="607" y="415"/>
                      </a:lnTo>
                      <a:lnTo>
                        <a:pt x="614" y="387"/>
                      </a:lnTo>
                      <a:lnTo>
                        <a:pt x="618" y="359"/>
                      </a:lnTo>
                      <a:lnTo>
                        <a:pt x="619" y="329"/>
                      </a:lnTo>
                      <a:lnTo>
                        <a:pt x="619" y="329"/>
                      </a:lnTo>
                      <a:lnTo>
                        <a:pt x="618" y="298"/>
                      </a:lnTo>
                      <a:lnTo>
                        <a:pt x="614" y="270"/>
                      </a:lnTo>
                      <a:lnTo>
                        <a:pt x="607" y="242"/>
                      </a:lnTo>
                      <a:lnTo>
                        <a:pt x="596" y="215"/>
                      </a:lnTo>
                      <a:lnTo>
                        <a:pt x="584" y="190"/>
                      </a:lnTo>
                      <a:lnTo>
                        <a:pt x="570" y="166"/>
                      </a:lnTo>
                      <a:lnTo>
                        <a:pt x="553" y="144"/>
                      </a:lnTo>
                      <a:lnTo>
                        <a:pt x="535" y="123"/>
                      </a:lnTo>
                      <a:lnTo>
                        <a:pt x="513" y="104"/>
                      </a:lnTo>
                      <a:lnTo>
                        <a:pt x="492" y="88"/>
                      </a:lnTo>
                      <a:lnTo>
                        <a:pt x="468" y="73"/>
                      </a:lnTo>
                      <a:lnTo>
                        <a:pt x="442" y="61"/>
                      </a:lnTo>
                      <a:lnTo>
                        <a:pt x="415" y="51"/>
                      </a:lnTo>
                      <a:lnTo>
                        <a:pt x="387" y="43"/>
                      </a:lnTo>
                      <a:lnTo>
                        <a:pt x="359" y="39"/>
                      </a:lnTo>
                      <a:lnTo>
                        <a:pt x="329" y="38"/>
                      </a:lnTo>
                      <a:lnTo>
                        <a:pt x="329" y="3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59" name="Freeform 230">
                <a:extLst>
                  <a:ext uri="{FF2B5EF4-FFF2-40B4-BE49-F238E27FC236}">
                    <a16:creationId xmlns:a16="http://schemas.microsoft.com/office/drawing/2014/main" id="{F0E122D1-A283-442E-A35F-2D1A1F8614BD}"/>
                  </a:ext>
                </a:extLst>
              </p:cNvPr>
              <p:cNvSpPr>
                <a:spLocks noEditPoints="1"/>
              </p:cNvSpPr>
              <p:nvPr/>
            </p:nvSpPr>
            <p:spPr bwMode="auto">
              <a:xfrm>
                <a:off x="5133061" y="2346611"/>
                <a:ext cx="228853" cy="228336"/>
              </a:xfrm>
              <a:custGeom>
                <a:avLst/>
                <a:gdLst>
                  <a:gd name="T0" fmla="*/ 67 w 314"/>
                  <a:gd name="T1" fmla="*/ 249 h 336"/>
                  <a:gd name="T2" fmla="*/ 90 w 314"/>
                  <a:gd name="T3" fmla="*/ 296 h 336"/>
                  <a:gd name="T4" fmla="*/ 131 w 314"/>
                  <a:gd name="T5" fmla="*/ 327 h 336"/>
                  <a:gd name="T6" fmla="*/ 173 w 314"/>
                  <a:gd name="T7" fmla="*/ 336 h 336"/>
                  <a:gd name="T8" fmla="*/ 225 w 314"/>
                  <a:gd name="T9" fmla="*/ 322 h 336"/>
                  <a:gd name="T10" fmla="*/ 263 w 314"/>
                  <a:gd name="T11" fmla="*/ 288 h 336"/>
                  <a:gd name="T12" fmla="*/ 281 w 314"/>
                  <a:gd name="T13" fmla="*/ 238 h 336"/>
                  <a:gd name="T14" fmla="*/ 313 w 314"/>
                  <a:gd name="T15" fmla="*/ 226 h 336"/>
                  <a:gd name="T16" fmla="*/ 314 w 314"/>
                  <a:gd name="T17" fmla="*/ 79 h 336"/>
                  <a:gd name="T18" fmla="*/ 250 w 314"/>
                  <a:gd name="T19" fmla="*/ 38 h 336"/>
                  <a:gd name="T20" fmla="*/ 242 w 314"/>
                  <a:gd name="T21" fmla="*/ 19 h 336"/>
                  <a:gd name="T22" fmla="*/ 221 w 314"/>
                  <a:gd name="T23" fmla="*/ 11 h 336"/>
                  <a:gd name="T24" fmla="*/ 204 w 314"/>
                  <a:gd name="T25" fmla="*/ 18 h 336"/>
                  <a:gd name="T26" fmla="*/ 178 w 314"/>
                  <a:gd name="T27" fmla="*/ 0 h 336"/>
                  <a:gd name="T28" fmla="*/ 153 w 314"/>
                  <a:gd name="T29" fmla="*/ 18 h 336"/>
                  <a:gd name="T30" fmla="*/ 135 w 314"/>
                  <a:gd name="T31" fmla="*/ 11 h 336"/>
                  <a:gd name="T32" fmla="*/ 110 w 314"/>
                  <a:gd name="T33" fmla="*/ 28 h 336"/>
                  <a:gd name="T34" fmla="*/ 93 w 314"/>
                  <a:gd name="T35" fmla="*/ 22 h 336"/>
                  <a:gd name="T36" fmla="*/ 70 w 314"/>
                  <a:gd name="T37" fmla="*/ 34 h 336"/>
                  <a:gd name="T38" fmla="*/ 5 w 314"/>
                  <a:gd name="T39" fmla="*/ 75 h 336"/>
                  <a:gd name="T40" fmla="*/ 0 w 314"/>
                  <a:gd name="T41" fmla="*/ 81 h 336"/>
                  <a:gd name="T42" fmla="*/ 4 w 314"/>
                  <a:gd name="T43" fmla="*/ 227 h 336"/>
                  <a:gd name="T44" fmla="*/ 207 w 314"/>
                  <a:gd name="T45" fmla="*/ 31 h 336"/>
                  <a:gd name="T46" fmla="*/ 228 w 314"/>
                  <a:gd name="T47" fmla="*/ 23 h 336"/>
                  <a:gd name="T48" fmla="*/ 205 w 314"/>
                  <a:gd name="T49" fmla="*/ 75 h 336"/>
                  <a:gd name="T50" fmla="*/ 164 w 314"/>
                  <a:gd name="T51" fmla="*/ 20 h 336"/>
                  <a:gd name="T52" fmla="*/ 185 w 314"/>
                  <a:gd name="T53" fmla="*/ 12 h 336"/>
                  <a:gd name="T54" fmla="*/ 195 w 314"/>
                  <a:gd name="T55" fmla="*/ 75 h 336"/>
                  <a:gd name="T56" fmla="*/ 164 w 314"/>
                  <a:gd name="T57" fmla="*/ 120 h 336"/>
                  <a:gd name="T58" fmla="*/ 187 w 314"/>
                  <a:gd name="T59" fmla="*/ 138 h 336"/>
                  <a:gd name="T60" fmla="*/ 187 w 314"/>
                  <a:gd name="T61" fmla="*/ 164 h 336"/>
                  <a:gd name="T62" fmla="*/ 164 w 314"/>
                  <a:gd name="T63" fmla="*/ 183 h 336"/>
                  <a:gd name="T64" fmla="*/ 140 w 314"/>
                  <a:gd name="T65" fmla="*/ 179 h 336"/>
                  <a:gd name="T66" fmla="*/ 125 w 314"/>
                  <a:gd name="T67" fmla="*/ 152 h 336"/>
                  <a:gd name="T68" fmla="*/ 134 w 314"/>
                  <a:gd name="T69" fmla="*/ 128 h 336"/>
                  <a:gd name="T70" fmla="*/ 157 w 314"/>
                  <a:gd name="T71" fmla="*/ 118 h 336"/>
                  <a:gd name="T72" fmla="*/ 123 w 314"/>
                  <a:gd name="T73" fmla="*/ 26 h 336"/>
                  <a:gd name="T74" fmla="*/ 148 w 314"/>
                  <a:gd name="T75" fmla="*/ 26 h 336"/>
                  <a:gd name="T76" fmla="*/ 119 w 314"/>
                  <a:gd name="T77" fmla="*/ 48 h 336"/>
                  <a:gd name="T78" fmla="*/ 164 w 314"/>
                  <a:gd name="T79" fmla="*/ 247 h 336"/>
                  <a:gd name="T80" fmla="*/ 166 w 314"/>
                  <a:gd name="T81" fmla="*/ 259 h 336"/>
                  <a:gd name="T82" fmla="*/ 173 w 314"/>
                  <a:gd name="T83" fmla="*/ 257 h 336"/>
                  <a:gd name="T84" fmla="*/ 180 w 314"/>
                  <a:gd name="T85" fmla="*/ 233 h 336"/>
                  <a:gd name="T86" fmla="*/ 195 w 314"/>
                  <a:gd name="T87" fmla="*/ 218 h 336"/>
                  <a:gd name="T88" fmla="*/ 235 w 314"/>
                  <a:gd name="T89" fmla="*/ 206 h 336"/>
                  <a:gd name="T90" fmla="*/ 239 w 314"/>
                  <a:gd name="T91" fmla="*/ 168 h 336"/>
                  <a:gd name="T92" fmla="*/ 252 w 314"/>
                  <a:gd name="T93" fmla="*/ 137 h 336"/>
                  <a:gd name="T94" fmla="*/ 271 w 314"/>
                  <a:gd name="T95" fmla="*/ 227 h 336"/>
                  <a:gd name="T96" fmla="*/ 259 w 314"/>
                  <a:gd name="T97" fmla="*/ 274 h 336"/>
                  <a:gd name="T98" fmla="*/ 228 w 314"/>
                  <a:gd name="T99" fmla="*/ 308 h 336"/>
                  <a:gd name="T100" fmla="*/ 184 w 314"/>
                  <a:gd name="T101" fmla="*/ 324 h 336"/>
                  <a:gd name="T102" fmla="*/ 145 w 314"/>
                  <a:gd name="T103" fmla="*/ 320 h 336"/>
                  <a:gd name="T104" fmla="*/ 105 w 314"/>
                  <a:gd name="T105" fmla="*/ 296 h 336"/>
                  <a:gd name="T106" fmla="*/ 80 w 314"/>
                  <a:gd name="T107" fmla="*/ 257 h 336"/>
                  <a:gd name="T108" fmla="*/ 76 w 314"/>
                  <a:gd name="T109" fmla="*/ 48 h 336"/>
                  <a:gd name="T110" fmla="*/ 93 w 314"/>
                  <a:gd name="T111" fmla="*/ 32 h 336"/>
                  <a:gd name="T112" fmla="*/ 109 w 314"/>
                  <a:gd name="T113" fmla="*/ 48 h 336"/>
                  <a:gd name="T114" fmla="*/ 93 w 314"/>
                  <a:gd name="T115" fmla="*/ 118 h 336"/>
                  <a:gd name="T116" fmla="*/ 98 w 314"/>
                  <a:gd name="T117" fmla="*/ 124 h 336"/>
                  <a:gd name="T118" fmla="*/ 93 w 314"/>
                  <a:gd name="T119" fmla="*/ 129 h 336"/>
                  <a:gd name="T120" fmla="*/ 44 w 314"/>
                  <a:gd name="T121" fmla="*/ 126 h 336"/>
                  <a:gd name="T122" fmla="*/ 47 w 314"/>
                  <a:gd name="T123" fmla="*/ 12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4" h="336">
                    <a:moveTo>
                      <a:pt x="5" y="227"/>
                    </a:moveTo>
                    <a:lnTo>
                      <a:pt x="66" y="227"/>
                    </a:lnTo>
                    <a:lnTo>
                      <a:pt x="66" y="227"/>
                    </a:lnTo>
                    <a:lnTo>
                      <a:pt x="66" y="238"/>
                    </a:lnTo>
                    <a:lnTo>
                      <a:pt x="67" y="249"/>
                    </a:lnTo>
                    <a:lnTo>
                      <a:pt x="70" y="259"/>
                    </a:lnTo>
                    <a:lnTo>
                      <a:pt x="74" y="269"/>
                    </a:lnTo>
                    <a:lnTo>
                      <a:pt x="78" y="278"/>
                    </a:lnTo>
                    <a:lnTo>
                      <a:pt x="83" y="288"/>
                    </a:lnTo>
                    <a:lnTo>
                      <a:pt x="90" y="296"/>
                    </a:lnTo>
                    <a:lnTo>
                      <a:pt x="97" y="304"/>
                    </a:lnTo>
                    <a:lnTo>
                      <a:pt x="105" y="310"/>
                    </a:lnTo>
                    <a:lnTo>
                      <a:pt x="113" y="317"/>
                    </a:lnTo>
                    <a:lnTo>
                      <a:pt x="122" y="322"/>
                    </a:lnTo>
                    <a:lnTo>
                      <a:pt x="131" y="327"/>
                    </a:lnTo>
                    <a:lnTo>
                      <a:pt x="141" y="331"/>
                    </a:lnTo>
                    <a:lnTo>
                      <a:pt x="152" y="333"/>
                    </a:lnTo>
                    <a:lnTo>
                      <a:pt x="162" y="335"/>
                    </a:lnTo>
                    <a:lnTo>
                      <a:pt x="173" y="336"/>
                    </a:lnTo>
                    <a:lnTo>
                      <a:pt x="173" y="336"/>
                    </a:lnTo>
                    <a:lnTo>
                      <a:pt x="184" y="335"/>
                    </a:lnTo>
                    <a:lnTo>
                      <a:pt x="195" y="333"/>
                    </a:lnTo>
                    <a:lnTo>
                      <a:pt x="205" y="331"/>
                    </a:lnTo>
                    <a:lnTo>
                      <a:pt x="216" y="327"/>
                    </a:lnTo>
                    <a:lnTo>
                      <a:pt x="225" y="322"/>
                    </a:lnTo>
                    <a:lnTo>
                      <a:pt x="234" y="317"/>
                    </a:lnTo>
                    <a:lnTo>
                      <a:pt x="242" y="310"/>
                    </a:lnTo>
                    <a:lnTo>
                      <a:pt x="250" y="304"/>
                    </a:lnTo>
                    <a:lnTo>
                      <a:pt x="256" y="296"/>
                    </a:lnTo>
                    <a:lnTo>
                      <a:pt x="263" y="288"/>
                    </a:lnTo>
                    <a:lnTo>
                      <a:pt x="268" y="278"/>
                    </a:lnTo>
                    <a:lnTo>
                      <a:pt x="274" y="269"/>
                    </a:lnTo>
                    <a:lnTo>
                      <a:pt x="277" y="259"/>
                    </a:lnTo>
                    <a:lnTo>
                      <a:pt x="279" y="249"/>
                    </a:lnTo>
                    <a:lnTo>
                      <a:pt x="281" y="238"/>
                    </a:lnTo>
                    <a:lnTo>
                      <a:pt x="282" y="227"/>
                    </a:lnTo>
                    <a:lnTo>
                      <a:pt x="309" y="227"/>
                    </a:lnTo>
                    <a:lnTo>
                      <a:pt x="309" y="227"/>
                    </a:lnTo>
                    <a:lnTo>
                      <a:pt x="311" y="227"/>
                    </a:lnTo>
                    <a:lnTo>
                      <a:pt x="313" y="226"/>
                    </a:lnTo>
                    <a:lnTo>
                      <a:pt x="314" y="224"/>
                    </a:lnTo>
                    <a:lnTo>
                      <a:pt x="314" y="222"/>
                    </a:lnTo>
                    <a:lnTo>
                      <a:pt x="314" y="81"/>
                    </a:lnTo>
                    <a:lnTo>
                      <a:pt x="314" y="81"/>
                    </a:lnTo>
                    <a:lnTo>
                      <a:pt x="314" y="79"/>
                    </a:lnTo>
                    <a:lnTo>
                      <a:pt x="313" y="77"/>
                    </a:lnTo>
                    <a:lnTo>
                      <a:pt x="311" y="75"/>
                    </a:lnTo>
                    <a:lnTo>
                      <a:pt x="309" y="75"/>
                    </a:lnTo>
                    <a:lnTo>
                      <a:pt x="250" y="75"/>
                    </a:lnTo>
                    <a:lnTo>
                      <a:pt x="250" y="38"/>
                    </a:lnTo>
                    <a:lnTo>
                      <a:pt x="250" y="38"/>
                    </a:lnTo>
                    <a:lnTo>
                      <a:pt x="248" y="32"/>
                    </a:lnTo>
                    <a:lnTo>
                      <a:pt x="247" y="27"/>
                    </a:lnTo>
                    <a:lnTo>
                      <a:pt x="244" y="23"/>
                    </a:lnTo>
                    <a:lnTo>
                      <a:pt x="242" y="19"/>
                    </a:lnTo>
                    <a:lnTo>
                      <a:pt x="238" y="15"/>
                    </a:lnTo>
                    <a:lnTo>
                      <a:pt x="232" y="12"/>
                    </a:lnTo>
                    <a:lnTo>
                      <a:pt x="228" y="11"/>
                    </a:lnTo>
                    <a:lnTo>
                      <a:pt x="221" y="11"/>
                    </a:lnTo>
                    <a:lnTo>
                      <a:pt x="221" y="11"/>
                    </a:lnTo>
                    <a:lnTo>
                      <a:pt x="217" y="11"/>
                    </a:lnTo>
                    <a:lnTo>
                      <a:pt x="212" y="12"/>
                    </a:lnTo>
                    <a:lnTo>
                      <a:pt x="208" y="15"/>
                    </a:lnTo>
                    <a:lnTo>
                      <a:pt x="204" y="18"/>
                    </a:lnTo>
                    <a:lnTo>
                      <a:pt x="204" y="18"/>
                    </a:lnTo>
                    <a:lnTo>
                      <a:pt x="200" y="11"/>
                    </a:lnTo>
                    <a:lnTo>
                      <a:pt x="195" y="4"/>
                    </a:lnTo>
                    <a:lnTo>
                      <a:pt x="187" y="1"/>
                    </a:lnTo>
                    <a:lnTo>
                      <a:pt x="178" y="0"/>
                    </a:lnTo>
                    <a:lnTo>
                      <a:pt x="178" y="0"/>
                    </a:lnTo>
                    <a:lnTo>
                      <a:pt x="170" y="1"/>
                    </a:lnTo>
                    <a:lnTo>
                      <a:pt x="164" y="4"/>
                    </a:lnTo>
                    <a:lnTo>
                      <a:pt x="157" y="11"/>
                    </a:lnTo>
                    <a:lnTo>
                      <a:pt x="153" y="18"/>
                    </a:lnTo>
                    <a:lnTo>
                      <a:pt x="153" y="18"/>
                    </a:lnTo>
                    <a:lnTo>
                      <a:pt x="150" y="15"/>
                    </a:lnTo>
                    <a:lnTo>
                      <a:pt x="145" y="12"/>
                    </a:lnTo>
                    <a:lnTo>
                      <a:pt x="141" y="11"/>
                    </a:lnTo>
                    <a:lnTo>
                      <a:pt x="135" y="11"/>
                    </a:lnTo>
                    <a:lnTo>
                      <a:pt x="135" y="11"/>
                    </a:lnTo>
                    <a:lnTo>
                      <a:pt x="127" y="12"/>
                    </a:lnTo>
                    <a:lnTo>
                      <a:pt x="119" y="15"/>
                    </a:lnTo>
                    <a:lnTo>
                      <a:pt x="114" y="22"/>
                    </a:lnTo>
                    <a:lnTo>
                      <a:pt x="110" y="28"/>
                    </a:lnTo>
                    <a:lnTo>
                      <a:pt x="110" y="28"/>
                    </a:lnTo>
                    <a:lnTo>
                      <a:pt x="106" y="26"/>
                    </a:lnTo>
                    <a:lnTo>
                      <a:pt x="102" y="23"/>
                    </a:lnTo>
                    <a:lnTo>
                      <a:pt x="97" y="22"/>
                    </a:lnTo>
                    <a:lnTo>
                      <a:pt x="93" y="22"/>
                    </a:lnTo>
                    <a:lnTo>
                      <a:pt x="93" y="22"/>
                    </a:lnTo>
                    <a:lnTo>
                      <a:pt x="87" y="22"/>
                    </a:lnTo>
                    <a:lnTo>
                      <a:pt x="82" y="23"/>
                    </a:lnTo>
                    <a:lnTo>
                      <a:pt x="76" y="26"/>
                    </a:lnTo>
                    <a:lnTo>
                      <a:pt x="72" y="30"/>
                    </a:lnTo>
                    <a:lnTo>
                      <a:pt x="70" y="34"/>
                    </a:lnTo>
                    <a:lnTo>
                      <a:pt x="67" y="38"/>
                    </a:lnTo>
                    <a:lnTo>
                      <a:pt x="66" y="43"/>
                    </a:lnTo>
                    <a:lnTo>
                      <a:pt x="66" y="48"/>
                    </a:lnTo>
                    <a:lnTo>
                      <a:pt x="66" y="75"/>
                    </a:lnTo>
                    <a:lnTo>
                      <a:pt x="5" y="75"/>
                    </a:lnTo>
                    <a:lnTo>
                      <a:pt x="5" y="75"/>
                    </a:lnTo>
                    <a:lnTo>
                      <a:pt x="4" y="75"/>
                    </a:lnTo>
                    <a:lnTo>
                      <a:pt x="1" y="77"/>
                    </a:lnTo>
                    <a:lnTo>
                      <a:pt x="1" y="79"/>
                    </a:lnTo>
                    <a:lnTo>
                      <a:pt x="0" y="81"/>
                    </a:lnTo>
                    <a:lnTo>
                      <a:pt x="0" y="222"/>
                    </a:lnTo>
                    <a:lnTo>
                      <a:pt x="0" y="222"/>
                    </a:lnTo>
                    <a:lnTo>
                      <a:pt x="1" y="224"/>
                    </a:lnTo>
                    <a:lnTo>
                      <a:pt x="1" y="226"/>
                    </a:lnTo>
                    <a:lnTo>
                      <a:pt x="4" y="227"/>
                    </a:lnTo>
                    <a:lnTo>
                      <a:pt x="5" y="227"/>
                    </a:lnTo>
                    <a:lnTo>
                      <a:pt x="5" y="227"/>
                    </a:lnTo>
                    <a:close/>
                    <a:moveTo>
                      <a:pt x="205" y="38"/>
                    </a:moveTo>
                    <a:lnTo>
                      <a:pt x="205" y="38"/>
                    </a:lnTo>
                    <a:lnTo>
                      <a:pt x="207" y="31"/>
                    </a:lnTo>
                    <a:lnTo>
                      <a:pt x="211" y="26"/>
                    </a:lnTo>
                    <a:lnTo>
                      <a:pt x="216" y="23"/>
                    </a:lnTo>
                    <a:lnTo>
                      <a:pt x="221" y="22"/>
                    </a:lnTo>
                    <a:lnTo>
                      <a:pt x="221" y="22"/>
                    </a:lnTo>
                    <a:lnTo>
                      <a:pt x="228" y="23"/>
                    </a:lnTo>
                    <a:lnTo>
                      <a:pt x="234" y="26"/>
                    </a:lnTo>
                    <a:lnTo>
                      <a:pt x="238" y="31"/>
                    </a:lnTo>
                    <a:lnTo>
                      <a:pt x="239" y="38"/>
                    </a:lnTo>
                    <a:lnTo>
                      <a:pt x="239" y="75"/>
                    </a:lnTo>
                    <a:lnTo>
                      <a:pt x="205" y="75"/>
                    </a:lnTo>
                    <a:lnTo>
                      <a:pt x="205" y="38"/>
                    </a:lnTo>
                    <a:close/>
                    <a:moveTo>
                      <a:pt x="162" y="38"/>
                    </a:moveTo>
                    <a:lnTo>
                      <a:pt x="162" y="27"/>
                    </a:lnTo>
                    <a:lnTo>
                      <a:pt x="162" y="27"/>
                    </a:lnTo>
                    <a:lnTo>
                      <a:pt x="164" y="20"/>
                    </a:lnTo>
                    <a:lnTo>
                      <a:pt x="168" y="15"/>
                    </a:lnTo>
                    <a:lnTo>
                      <a:pt x="173" y="12"/>
                    </a:lnTo>
                    <a:lnTo>
                      <a:pt x="178" y="11"/>
                    </a:lnTo>
                    <a:lnTo>
                      <a:pt x="178" y="11"/>
                    </a:lnTo>
                    <a:lnTo>
                      <a:pt x="185" y="12"/>
                    </a:lnTo>
                    <a:lnTo>
                      <a:pt x="191" y="15"/>
                    </a:lnTo>
                    <a:lnTo>
                      <a:pt x="193" y="20"/>
                    </a:lnTo>
                    <a:lnTo>
                      <a:pt x="195" y="27"/>
                    </a:lnTo>
                    <a:lnTo>
                      <a:pt x="195" y="38"/>
                    </a:lnTo>
                    <a:lnTo>
                      <a:pt x="195" y="75"/>
                    </a:lnTo>
                    <a:lnTo>
                      <a:pt x="162" y="75"/>
                    </a:lnTo>
                    <a:lnTo>
                      <a:pt x="162" y="38"/>
                    </a:lnTo>
                    <a:close/>
                    <a:moveTo>
                      <a:pt x="157" y="118"/>
                    </a:moveTo>
                    <a:lnTo>
                      <a:pt x="157" y="118"/>
                    </a:lnTo>
                    <a:lnTo>
                      <a:pt x="164" y="120"/>
                    </a:lnTo>
                    <a:lnTo>
                      <a:pt x="170" y="121"/>
                    </a:lnTo>
                    <a:lnTo>
                      <a:pt x="176" y="124"/>
                    </a:lnTo>
                    <a:lnTo>
                      <a:pt x="180" y="128"/>
                    </a:lnTo>
                    <a:lnTo>
                      <a:pt x="184" y="133"/>
                    </a:lnTo>
                    <a:lnTo>
                      <a:pt x="187" y="138"/>
                    </a:lnTo>
                    <a:lnTo>
                      <a:pt x="189" y="145"/>
                    </a:lnTo>
                    <a:lnTo>
                      <a:pt x="189" y="152"/>
                    </a:lnTo>
                    <a:lnTo>
                      <a:pt x="189" y="152"/>
                    </a:lnTo>
                    <a:lnTo>
                      <a:pt x="189" y="157"/>
                    </a:lnTo>
                    <a:lnTo>
                      <a:pt x="187" y="164"/>
                    </a:lnTo>
                    <a:lnTo>
                      <a:pt x="184" y="169"/>
                    </a:lnTo>
                    <a:lnTo>
                      <a:pt x="180" y="175"/>
                    </a:lnTo>
                    <a:lnTo>
                      <a:pt x="176" y="179"/>
                    </a:lnTo>
                    <a:lnTo>
                      <a:pt x="170" y="181"/>
                    </a:lnTo>
                    <a:lnTo>
                      <a:pt x="164" y="183"/>
                    </a:lnTo>
                    <a:lnTo>
                      <a:pt x="157" y="184"/>
                    </a:lnTo>
                    <a:lnTo>
                      <a:pt x="157" y="184"/>
                    </a:lnTo>
                    <a:lnTo>
                      <a:pt x="150" y="183"/>
                    </a:lnTo>
                    <a:lnTo>
                      <a:pt x="145" y="181"/>
                    </a:lnTo>
                    <a:lnTo>
                      <a:pt x="140" y="179"/>
                    </a:lnTo>
                    <a:lnTo>
                      <a:pt x="134" y="175"/>
                    </a:lnTo>
                    <a:lnTo>
                      <a:pt x="130" y="169"/>
                    </a:lnTo>
                    <a:lnTo>
                      <a:pt x="127" y="164"/>
                    </a:lnTo>
                    <a:lnTo>
                      <a:pt x="125" y="157"/>
                    </a:lnTo>
                    <a:lnTo>
                      <a:pt x="125" y="152"/>
                    </a:lnTo>
                    <a:lnTo>
                      <a:pt x="125" y="152"/>
                    </a:lnTo>
                    <a:lnTo>
                      <a:pt x="125" y="145"/>
                    </a:lnTo>
                    <a:lnTo>
                      <a:pt x="127" y="138"/>
                    </a:lnTo>
                    <a:lnTo>
                      <a:pt x="130" y="133"/>
                    </a:lnTo>
                    <a:lnTo>
                      <a:pt x="134" y="128"/>
                    </a:lnTo>
                    <a:lnTo>
                      <a:pt x="140" y="124"/>
                    </a:lnTo>
                    <a:lnTo>
                      <a:pt x="145" y="121"/>
                    </a:lnTo>
                    <a:lnTo>
                      <a:pt x="150" y="120"/>
                    </a:lnTo>
                    <a:lnTo>
                      <a:pt x="157" y="118"/>
                    </a:lnTo>
                    <a:lnTo>
                      <a:pt x="157" y="118"/>
                    </a:lnTo>
                    <a:close/>
                    <a:moveTo>
                      <a:pt x="119" y="48"/>
                    </a:moveTo>
                    <a:lnTo>
                      <a:pt x="119" y="38"/>
                    </a:lnTo>
                    <a:lnTo>
                      <a:pt x="119" y="38"/>
                    </a:lnTo>
                    <a:lnTo>
                      <a:pt x="121" y="31"/>
                    </a:lnTo>
                    <a:lnTo>
                      <a:pt x="123" y="26"/>
                    </a:lnTo>
                    <a:lnTo>
                      <a:pt x="129" y="23"/>
                    </a:lnTo>
                    <a:lnTo>
                      <a:pt x="135" y="22"/>
                    </a:lnTo>
                    <a:lnTo>
                      <a:pt x="135" y="22"/>
                    </a:lnTo>
                    <a:lnTo>
                      <a:pt x="142" y="23"/>
                    </a:lnTo>
                    <a:lnTo>
                      <a:pt x="148" y="26"/>
                    </a:lnTo>
                    <a:lnTo>
                      <a:pt x="150" y="31"/>
                    </a:lnTo>
                    <a:lnTo>
                      <a:pt x="152" y="38"/>
                    </a:lnTo>
                    <a:lnTo>
                      <a:pt x="152" y="75"/>
                    </a:lnTo>
                    <a:lnTo>
                      <a:pt x="119" y="75"/>
                    </a:lnTo>
                    <a:lnTo>
                      <a:pt x="119" y="48"/>
                    </a:lnTo>
                    <a:close/>
                    <a:moveTo>
                      <a:pt x="170" y="227"/>
                    </a:moveTo>
                    <a:lnTo>
                      <a:pt x="170" y="227"/>
                    </a:lnTo>
                    <a:lnTo>
                      <a:pt x="168" y="234"/>
                    </a:lnTo>
                    <a:lnTo>
                      <a:pt x="165" y="241"/>
                    </a:lnTo>
                    <a:lnTo>
                      <a:pt x="164" y="247"/>
                    </a:lnTo>
                    <a:lnTo>
                      <a:pt x="162" y="254"/>
                    </a:lnTo>
                    <a:lnTo>
                      <a:pt x="162" y="254"/>
                    </a:lnTo>
                    <a:lnTo>
                      <a:pt x="162" y="257"/>
                    </a:lnTo>
                    <a:lnTo>
                      <a:pt x="164" y="258"/>
                    </a:lnTo>
                    <a:lnTo>
                      <a:pt x="166" y="259"/>
                    </a:lnTo>
                    <a:lnTo>
                      <a:pt x="168" y="259"/>
                    </a:lnTo>
                    <a:lnTo>
                      <a:pt x="168" y="259"/>
                    </a:lnTo>
                    <a:lnTo>
                      <a:pt x="170" y="259"/>
                    </a:lnTo>
                    <a:lnTo>
                      <a:pt x="172" y="258"/>
                    </a:lnTo>
                    <a:lnTo>
                      <a:pt x="173" y="257"/>
                    </a:lnTo>
                    <a:lnTo>
                      <a:pt x="173" y="254"/>
                    </a:lnTo>
                    <a:lnTo>
                      <a:pt x="173" y="254"/>
                    </a:lnTo>
                    <a:lnTo>
                      <a:pt x="174" y="246"/>
                    </a:lnTo>
                    <a:lnTo>
                      <a:pt x="177" y="239"/>
                    </a:lnTo>
                    <a:lnTo>
                      <a:pt x="180" y="233"/>
                    </a:lnTo>
                    <a:lnTo>
                      <a:pt x="185" y="226"/>
                    </a:lnTo>
                    <a:lnTo>
                      <a:pt x="185" y="226"/>
                    </a:lnTo>
                    <a:lnTo>
                      <a:pt x="185" y="226"/>
                    </a:lnTo>
                    <a:lnTo>
                      <a:pt x="185" y="226"/>
                    </a:lnTo>
                    <a:lnTo>
                      <a:pt x="195" y="218"/>
                    </a:lnTo>
                    <a:lnTo>
                      <a:pt x="207" y="211"/>
                    </a:lnTo>
                    <a:lnTo>
                      <a:pt x="219" y="207"/>
                    </a:lnTo>
                    <a:lnTo>
                      <a:pt x="234" y="206"/>
                    </a:lnTo>
                    <a:lnTo>
                      <a:pt x="234" y="206"/>
                    </a:lnTo>
                    <a:lnTo>
                      <a:pt x="235" y="206"/>
                    </a:lnTo>
                    <a:lnTo>
                      <a:pt x="236" y="204"/>
                    </a:lnTo>
                    <a:lnTo>
                      <a:pt x="238" y="202"/>
                    </a:lnTo>
                    <a:lnTo>
                      <a:pt x="239" y="200"/>
                    </a:lnTo>
                    <a:lnTo>
                      <a:pt x="239" y="168"/>
                    </a:lnTo>
                    <a:lnTo>
                      <a:pt x="239" y="168"/>
                    </a:lnTo>
                    <a:lnTo>
                      <a:pt x="239" y="160"/>
                    </a:lnTo>
                    <a:lnTo>
                      <a:pt x="240" y="153"/>
                    </a:lnTo>
                    <a:lnTo>
                      <a:pt x="244" y="148"/>
                    </a:lnTo>
                    <a:lnTo>
                      <a:pt x="247" y="143"/>
                    </a:lnTo>
                    <a:lnTo>
                      <a:pt x="252" y="137"/>
                    </a:lnTo>
                    <a:lnTo>
                      <a:pt x="258" y="134"/>
                    </a:lnTo>
                    <a:lnTo>
                      <a:pt x="264" y="132"/>
                    </a:lnTo>
                    <a:lnTo>
                      <a:pt x="271" y="130"/>
                    </a:lnTo>
                    <a:lnTo>
                      <a:pt x="271" y="227"/>
                    </a:lnTo>
                    <a:lnTo>
                      <a:pt x="271" y="227"/>
                    </a:lnTo>
                    <a:lnTo>
                      <a:pt x="270" y="237"/>
                    </a:lnTo>
                    <a:lnTo>
                      <a:pt x="268" y="247"/>
                    </a:lnTo>
                    <a:lnTo>
                      <a:pt x="267" y="257"/>
                    </a:lnTo>
                    <a:lnTo>
                      <a:pt x="263" y="265"/>
                    </a:lnTo>
                    <a:lnTo>
                      <a:pt x="259" y="274"/>
                    </a:lnTo>
                    <a:lnTo>
                      <a:pt x="254" y="282"/>
                    </a:lnTo>
                    <a:lnTo>
                      <a:pt x="248" y="289"/>
                    </a:lnTo>
                    <a:lnTo>
                      <a:pt x="243" y="296"/>
                    </a:lnTo>
                    <a:lnTo>
                      <a:pt x="235" y="302"/>
                    </a:lnTo>
                    <a:lnTo>
                      <a:pt x="228" y="308"/>
                    </a:lnTo>
                    <a:lnTo>
                      <a:pt x="220" y="313"/>
                    </a:lnTo>
                    <a:lnTo>
                      <a:pt x="211" y="317"/>
                    </a:lnTo>
                    <a:lnTo>
                      <a:pt x="203" y="320"/>
                    </a:lnTo>
                    <a:lnTo>
                      <a:pt x="193" y="322"/>
                    </a:lnTo>
                    <a:lnTo>
                      <a:pt x="184" y="324"/>
                    </a:lnTo>
                    <a:lnTo>
                      <a:pt x="173" y="325"/>
                    </a:lnTo>
                    <a:lnTo>
                      <a:pt x="173" y="325"/>
                    </a:lnTo>
                    <a:lnTo>
                      <a:pt x="164" y="324"/>
                    </a:lnTo>
                    <a:lnTo>
                      <a:pt x="154" y="322"/>
                    </a:lnTo>
                    <a:lnTo>
                      <a:pt x="145" y="320"/>
                    </a:lnTo>
                    <a:lnTo>
                      <a:pt x="135" y="317"/>
                    </a:lnTo>
                    <a:lnTo>
                      <a:pt x="127" y="313"/>
                    </a:lnTo>
                    <a:lnTo>
                      <a:pt x="119" y="308"/>
                    </a:lnTo>
                    <a:lnTo>
                      <a:pt x="111" y="302"/>
                    </a:lnTo>
                    <a:lnTo>
                      <a:pt x="105" y="296"/>
                    </a:lnTo>
                    <a:lnTo>
                      <a:pt x="98" y="289"/>
                    </a:lnTo>
                    <a:lnTo>
                      <a:pt x="93" y="282"/>
                    </a:lnTo>
                    <a:lnTo>
                      <a:pt x="87" y="274"/>
                    </a:lnTo>
                    <a:lnTo>
                      <a:pt x="83" y="265"/>
                    </a:lnTo>
                    <a:lnTo>
                      <a:pt x="80" y="257"/>
                    </a:lnTo>
                    <a:lnTo>
                      <a:pt x="78" y="247"/>
                    </a:lnTo>
                    <a:lnTo>
                      <a:pt x="76" y="237"/>
                    </a:lnTo>
                    <a:lnTo>
                      <a:pt x="76" y="227"/>
                    </a:lnTo>
                    <a:lnTo>
                      <a:pt x="170" y="227"/>
                    </a:lnTo>
                    <a:close/>
                    <a:moveTo>
                      <a:pt x="76" y="48"/>
                    </a:moveTo>
                    <a:lnTo>
                      <a:pt x="76" y="48"/>
                    </a:lnTo>
                    <a:lnTo>
                      <a:pt x="78" y="42"/>
                    </a:lnTo>
                    <a:lnTo>
                      <a:pt x="80" y="36"/>
                    </a:lnTo>
                    <a:lnTo>
                      <a:pt x="86" y="34"/>
                    </a:lnTo>
                    <a:lnTo>
                      <a:pt x="93" y="32"/>
                    </a:lnTo>
                    <a:lnTo>
                      <a:pt x="93" y="32"/>
                    </a:lnTo>
                    <a:lnTo>
                      <a:pt x="98" y="34"/>
                    </a:lnTo>
                    <a:lnTo>
                      <a:pt x="103" y="36"/>
                    </a:lnTo>
                    <a:lnTo>
                      <a:pt x="107" y="42"/>
                    </a:lnTo>
                    <a:lnTo>
                      <a:pt x="109" y="48"/>
                    </a:lnTo>
                    <a:lnTo>
                      <a:pt x="109" y="75"/>
                    </a:lnTo>
                    <a:lnTo>
                      <a:pt x="76" y="75"/>
                    </a:lnTo>
                    <a:lnTo>
                      <a:pt x="76" y="48"/>
                    </a:lnTo>
                    <a:close/>
                    <a:moveTo>
                      <a:pt x="48" y="118"/>
                    </a:moveTo>
                    <a:lnTo>
                      <a:pt x="93" y="118"/>
                    </a:lnTo>
                    <a:lnTo>
                      <a:pt x="93" y="118"/>
                    </a:lnTo>
                    <a:lnTo>
                      <a:pt x="94" y="120"/>
                    </a:lnTo>
                    <a:lnTo>
                      <a:pt x="97" y="121"/>
                    </a:lnTo>
                    <a:lnTo>
                      <a:pt x="97" y="122"/>
                    </a:lnTo>
                    <a:lnTo>
                      <a:pt x="98" y="124"/>
                    </a:lnTo>
                    <a:lnTo>
                      <a:pt x="98" y="124"/>
                    </a:lnTo>
                    <a:lnTo>
                      <a:pt x="97" y="126"/>
                    </a:lnTo>
                    <a:lnTo>
                      <a:pt x="97" y="128"/>
                    </a:lnTo>
                    <a:lnTo>
                      <a:pt x="94" y="129"/>
                    </a:lnTo>
                    <a:lnTo>
                      <a:pt x="93" y="129"/>
                    </a:lnTo>
                    <a:lnTo>
                      <a:pt x="48" y="129"/>
                    </a:lnTo>
                    <a:lnTo>
                      <a:pt x="48" y="129"/>
                    </a:lnTo>
                    <a:lnTo>
                      <a:pt x="47" y="129"/>
                    </a:lnTo>
                    <a:lnTo>
                      <a:pt x="45" y="128"/>
                    </a:lnTo>
                    <a:lnTo>
                      <a:pt x="44" y="126"/>
                    </a:lnTo>
                    <a:lnTo>
                      <a:pt x="43" y="124"/>
                    </a:lnTo>
                    <a:lnTo>
                      <a:pt x="43" y="124"/>
                    </a:lnTo>
                    <a:lnTo>
                      <a:pt x="44" y="122"/>
                    </a:lnTo>
                    <a:lnTo>
                      <a:pt x="45" y="121"/>
                    </a:lnTo>
                    <a:lnTo>
                      <a:pt x="47" y="120"/>
                    </a:lnTo>
                    <a:lnTo>
                      <a:pt x="48" y="118"/>
                    </a:lnTo>
                    <a:lnTo>
                      <a:pt x="48"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2" name="Group 11">
              <a:extLst>
                <a:ext uri="{FF2B5EF4-FFF2-40B4-BE49-F238E27FC236}">
                  <a16:creationId xmlns:a16="http://schemas.microsoft.com/office/drawing/2014/main" id="{AA90884D-F6E2-4BB7-A333-10AFD5B85FAC}"/>
                </a:ext>
              </a:extLst>
            </p:cNvPr>
            <p:cNvGrpSpPr/>
            <p:nvPr/>
          </p:nvGrpSpPr>
          <p:grpSpPr>
            <a:xfrm>
              <a:off x="6629307" y="1361461"/>
              <a:ext cx="763400" cy="765726"/>
              <a:chOff x="4060691" y="-500050"/>
              <a:chExt cx="520701" cy="522288"/>
            </a:xfrm>
          </p:grpSpPr>
          <p:grpSp>
            <p:nvGrpSpPr>
              <p:cNvPr id="54" name="Group 53">
                <a:extLst>
                  <a:ext uri="{FF2B5EF4-FFF2-40B4-BE49-F238E27FC236}">
                    <a16:creationId xmlns:a16="http://schemas.microsoft.com/office/drawing/2014/main" id="{C8FB3CA2-1B94-443E-B4A4-3922DCF740C4}"/>
                  </a:ext>
                </a:extLst>
              </p:cNvPr>
              <p:cNvGrpSpPr/>
              <p:nvPr/>
            </p:nvGrpSpPr>
            <p:grpSpPr>
              <a:xfrm>
                <a:off x="4060691" y="-500050"/>
                <a:ext cx="520701" cy="522288"/>
                <a:chOff x="5921415" y="-508726"/>
                <a:chExt cx="520701" cy="522288"/>
              </a:xfrm>
            </p:grpSpPr>
            <p:sp>
              <p:nvSpPr>
                <p:cNvPr id="56" name="Oval 55">
                  <a:extLst>
                    <a:ext uri="{FF2B5EF4-FFF2-40B4-BE49-F238E27FC236}">
                      <a16:creationId xmlns:a16="http://schemas.microsoft.com/office/drawing/2014/main" id="{3C29A8BA-33BE-46D0-9803-DC065222B649}"/>
                    </a:ext>
                  </a:extLst>
                </p:cNvPr>
                <p:cNvSpPr/>
                <p:nvPr/>
              </p:nvSpPr>
              <p:spPr>
                <a:xfrm>
                  <a:off x="5928504" y="-500050"/>
                  <a:ext cx="513612" cy="51361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57" name="Freeform 37">
                  <a:extLst>
                    <a:ext uri="{FF2B5EF4-FFF2-40B4-BE49-F238E27FC236}">
                      <a16:creationId xmlns:a16="http://schemas.microsoft.com/office/drawing/2014/main" id="{4F75B0C4-79F0-4648-8F86-2A7F69759D2F}"/>
                    </a:ext>
                  </a:extLst>
                </p:cNvPr>
                <p:cNvSpPr>
                  <a:spLocks noEditPoints="1"/>
                </p:cNvSpPr>
                <p:nvPr/>
              </p:nvSpPr>
              <p:spPr bwMode="auto">
                <a:xfrm>
                  <a:off x="5921415" y="-508726"/>
                  <a:ext cx="520700" cy="522288"/>
                </a:xfrm>
                <a:custGeom>
                  <a:avLst/>
                  <a:gdLst>
                    <a:gd name="T0" fmla="*/ 312 w 657"/>
                    <a:gd name="T1" fmla="*/ 657 h 657"/>
                    <a:gd name="T2" fmla="*/ 262 w 657"/>
                    <a:gd name="T3" fmla="*/ 650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9 h 657"/>
                    <a:gd name="T16" fmla="*/ 1 w 657"/>
                    <a:gd name="T17" fmla="*/ 296 h 657"/>
                    <a:gd name="T18" fmla="*/ 11 w 657"/>
                    <a:gd name="T19" fmla="*/ 246 h 657"/>
                    <a:gd name="T20" fmla="*/ 39 w 657"/>
                    <a:gd name="T21" fmla="*/ 172 h 657"/>
                    <a:gd name="T22" fmla="*/ 97 w 657"/>
                    <a:gd name="T23" fmla="*/ 97 h 657"/>
                    <a:gd name="T24" fmla="*/ 172 w 657"/>
                    <a:gd name="T25" fmla="*/ 39 h 657"/>
                    <a:gd name="T26" fmla="*/ 247 w 657"/>
                    <a:gd name="T27" fmla="*/ 10 h 657"/>
                    <a:gd name="T28" fmla="*/ 296 w 657"/>
                    <a:gd name="T29" fmla="*/ 2 h 657"/>
                    <a:gd name="T30" fmla="*/ 329 w 657"/>
                    <a:gd name="T31" fmla="*/ 0 h 657"/>
                    <a:gd name="T32" fmla="*/ 379 w 657"/>
                    <a:gd name="T33" fmla="*/ 4 h 657"/>
                    <a:gd name="T34" fmla="*/ 426 w 657"/>
                    <a:gd name="T35" fmla="*/ 15 h 657"/>
                    <a:gd name="T36" fmla="*/ 512 w 657"/>
                    <a:gd name="T37" fmla="*/ 57 h 657"/>
                    <a:gd name="T38" fmla="*/ 582 w 657"/>
                    <a:gd name="T39" fmla="*/ 120 h 657"/>
                    <a:gd name="T40" fmla="*/ 631 w 657"/>
                    <a:gd name="T41" fmla="*/ 200 h 657"/>
                    <a:gd name="T42" fmla="*/ 650 w 657"/>
                    <a:gd name="T43" fmla="*/ 262 h 657"/>
                    <a:gd name="T44" fmla="*/ 657 w 657"/>
                    <a:gd name="T45" fmla="*/ 312 h 657"/>
                    <a:gd name="T46" fmla="*/ 657 w 657"/>
                    <a:gd name="T47" fmla="*/ 346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9 w 657"/>
                    <a:gd name="T59" fmla="*/ 653 h 657"/>
                    <a:gd name="T60" fmla="*/ 329 w 657"/>
                    <a:gd name="T61" fmla="*/ 657 h 657"/>
                    <a:gd name="T62" fmla="*/ 329 w 657"/>
                    <a:gd name="T63" fmla="*/ 38 h 657"/>
                    <a:gd name="T64" fmla="*/ 242 w 657"/>
                    <a:gd name="T65" fmla="*/ 51 h 657"/>
                    <a:gd name="T66" fmla="*/ 165 w 657"/>
                    <a:gd name="T67" fmla="*/ 88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5 w 657"/>
                    <a:gd name="T81" fmla="*/ 570 h 657"/>
                    <a:gd name="T82" fmla="*/ 242 w 657"/>
                    <a:gd name="T83" fmla="*/ 607 h 657"/>
                    <a:gd name="T84" fmla="*/ 329 w 657"/>
                    <a:gd name="T85" fmla="*/ 620 h 657"/>
                    <a:gd name="T86" fmla="*/ 387 w 657"/>
                    <a:gd name="T87" fmla="*/ 614 h 657"/>
                    <a:gd name="T88" fmla="*/ 468 w 657"/>
                    <a:gd name="T89" fmla="*/ 585 h 657"/>
                    <a:gd name="T90" fmla="*/ 535 w 657"/>
                    <a:gd name="T91" fmla="*/ 535 h 657"/>
                    <a:gd name="T92" fmla="*/ 584 w 657"/>
                    <a:gd name="T93" fmla="*/ 468 h 657"/>
                    <a:gd name="T94" fmla="*/ 614 w 657"/>
                    <a:gd name="T95" fmla="*/ 387 h 657"/>
                    <a:gd name="T96" fmla="*/ 619 w 657"/>
                    <a:gd name="T97" fmla="*/ 329 h 657"/>
                    <a:gd name="T98" fmla="*/ 607 w 657"/>
                    <a:gd name="T99" fmla="*/ 242 h 657"/>
                    <a:gd name="T100" fmla="*/ 570 w 657"/>
                    <a:gd name="T101" fmla="*/ 166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6"/>
                      </a:lnTo>
                      <a:lnTo>
                        <a:pt x="278" y="653"/>
                      </a:lnTo>
                      <a:lnTo>
                        <a:pt x="262" y="650"/>
                      </a:lnTo>
                      <a:lnTo>
                        <a:pt x="247" y="648"/>
                      </a:lnTo>
                      <a:lnTo>
                        <a:pt x="231" y="642"/>
                      </a:lnTo>
                      <a:lnTo>
                        <a:pt x="200" y="632"/>
                      </a:lnTo>
                      <a:lnTo>
                        <a:pt x="172" y="618"/>
                      </a:lnTo>
                      <a:lnTo>
                        <a:pt x="145" y="601"/>
                      </a:lnTo>
                      <a:lnTo>
                        <a:pt x="120" y="582"/>
                      </a:lnTo>
                      <a:lnTo>
                        <a:pt x="97" y="562"/>
                      </a:lnTo>
                      <a:lnTo>
                        <a:pt x="75" y="538"/>
                      </a:lnTo>
                      <a:lnTo>
                        <a:pt x="57" y="512"/>
                      </a:lnTo>
                      <a:lnTo>
                        <a:pt x="39" y="485"/>
                      </a:lnTo>
                      <a:lnTo>
                        <a:pt x="26" y="457"/>
                      </a:lnTo>
                      <a:lnTo>
                        <a:pt x="15" y="426"/>
                      </a:lnTo>
                      <a:lnTo>
                        <a:pt x="11" y="411"/>
                      </a:lnTo>
                      <a:lnTo>
                        <a:pt x="7" y="395"/>
                      </a:lnTo>
                      <a:lnTo>
                        <a:pt x="4" y="379"/>
                      </a:lnTo>
                      <a:lnTo>
                        <a:pt x="1" y="362"/>
                      </a:lnTo>
                      <a:lnTo>
                        <a:pt x="0" y="346"/>
                      </a:lnTo>
                      <a:lnTo>
                        <a:pt x="0" y="329"/>
                      </a:lnTo>
                      <a:lnTo>
                        <a:pt x="0" y="329"/>
                      </a:lnTo>
                      <a:lnTo>
                        <a:pt x="0" y="312"/>
                      </a:lnTo>
                      <a:lnTo>
                        <a:pt x="1" y="296"/>
                      </a:lnTo>
                      <a:lnTo>
                        <a:pt x="4" y="278"/>
                      </a:lnTo>
                      <a:lnTo>
                        <a:pt x="7" y="262"/>
                      </a:lnTo>
                      <a:lnTo>
                        <a:pt x="11" y="246"/>
                      </a:lnTo>
                      <a:lnTo>
                        <a:pt x="15" y="231"/>
                      </a:lnTo>
                      <a:lnTo>
                        <a:pt x="26" y="200"/>
                      </a:lnTo>
                      <a:lnTo>
                        <a:pt x="39" y="172"/>
                      </a:lnTo>
                      <a:lnTo>
                        <a:pt x="57" y="145"/>
                      </a:lnTo>
                      <a:lnTo>
                        <a:pt x="75" y="120"/>
                      </a:lnTo>
                      <a:lnTo>
                        <a:pt x="97" y="97"/>
                      </a:lnTo>
                      <a:lnTo>
                        <a:pt x="120" y="76"/>
                      </a:lnTo>
                      <a:lnTo>
                        <a:pt x="145" y="57"/>
                      </a:lnTo>
                      <a:lnTo>
                        <a:pt x="172" y="39"/>
                      </a:lnTo>
                      <a:lnTo>
                        <a:pt x="200" y="26"/>
                      </a:lnTo>
                      <a:lnTo>
                        <a:pt x="231" y="15"/>
                      </a:lnTo>
                      <a:lnTo>
                        <a:pt x="247" y="10"/>
                      </a:lnTo>
                      <a:lnTo>
                        <a:pt x="262" y="7"/>
                      </a:lnTo>
                      <a:lnTo>
                        <a:pt x="278" y="4"/>
                      </a:lnTo>
                      <a:lnTo>
                        <a:pt x="296" y="2"/>
                      </a:lnTo>
                      <a:lnTo>
                        <a:pt x="312" y="0"/>
                      </a:lnTo>
                      <a:lnTo>
                        <a:pt x="329" y="0"/>
                      </a:lnTo>
                      <a:lnTo>
                        <a:pt x="329" y="0"/>
                      </a:lnTo>
                      <a:lnTo>
                        <a:pt x="345" y="0"/>
                      </a:lnTo>
                      <a:lnTo>
                        <a:pt x="363" y="2"/>
                      </a:lnTo>
                      <a:lnTo>
                        <a:pt x="379" y="4"/>
                      </a:lnTo>
                      <a:lnTo>
                        <a:pt x="395" y="7"/>
                      </a:lnTo>
                      <a:lnTo>
                        <a:pt x="411" y="10"/>
                      </a:lnTo>
                      <a:lnTo>
                        <a:pt x="426" y="15"/>
                      </a:lnTo>
                      <a:lnTo>
                        <a:pt x="457" y="26"/>
                      </a:lnTo>
                      <a:lnTo>
                        <a:pt x="485" y="39"/>
                      </a:lnTo>
                      <a:lnTo>
                        <a:pt x="512" y="57"/>
                      </a:lnTo>
                      <a:lnTo>
                        <a:pt x="537" y="76"/>
                      </a:lnTo>
                      <a:lnTo>
                        <a:pt x="562" y="97"/>
                      </a:lnTo>
                      <a:lnTo>
                        <a:pt x="582" y="120"/>
                      </a:lnTo>
                      <a:lnTo>
                        <a:pt x="602" y="145"/>
                      </a:lnTo>
                      <a:lnTo>
                        <a:pt x="618" y="172"/>
                      </a:lnTo>
                      <a:lnTo>
                        <a:pt x="631" y="200"/>
                      </a:lnTo>
                      <a:lnTo>
                        <a:pt x="642" y="231"/>
                      </a:lnTo>
                      <a:lnTo>
                        <a:pt x="648" y="246"/>
                      </a:lnTo>
                      <a:lnTo>
                        <a:pt x="650" y="262"/>
                      </a:lnTo>
                      <a:lnTo>
                        <a:pt x="654" y="278"/>
                      </a:lnTo>
                      <a:lnTo>
                        <a:pt x="656" y="296"/>
                      </a:lnTo>
                      <a:lnTo>
                        <a:pt x="657" y="312"/>
                      </a:lnTo>
                      <a:lnTo>
                        <a:pt x="657" y="329"/>
                      </a:lnTo>
                      <a:lnTo>
                        <a:pt x="657" y="329"/>
                      </a:lnTo>
                      <a:lnTo>
                        <a:pt x="657" y="346"/>
                      </a:lnTo>
                      <a:lnTo>
                        <a:pt x="656" y="362"/>
                      </a:lnTo>
                      <a:lnTo>
                        <a:pt x="654" y="379"/>
                      </a:lnTo>
                      <a:lnTo>
                        <a:pt x="650" y="395"/>
                      </a:lnTo>
                      <a:lnTo>
                        <a:pt x="648" y="411"/>
                      </a:lnTo>
                      <a:lnTo>
                        <a:pt x="642" y="426"/>
                      </a:lnTo>
                      <a:lnTo>
                        <a:pt x="631" y="457"/>
                      </a:lnTo>
                      <a:lnTo>
                        <a:pt x="618" y="485"/>
                      </a:lnTo>
                      <a:lnTo>
                        <a:pt x="602" y="512"/>
                      </a:lnTo>
                      <a:lnTo>
                        <a:pt x="582" y="538"/>
                      </a:lnTo>
                      <a:lnTo>
                        <a:pt x="562" y="562"/>
                      </a:lnTo>
                      <a:lnTo>
                        <a:pt x="537" y="582"/>
                      </a:lnTo>
                      <a:lnTo>
                        <a:pt x="512" y="601"/>
                      </a:lnTo>
                      <a:lnTo>
                        <a:pt x="485" y="618"/>
                      </a:lnTo>
                      <a:lnTo>
                        <a:pt x="457" y="632"/>
                      </a:lnTo>
                      <a:lnTo>
                        <a:pt x="426" y="642"/>
                      </a:lnTo>
                      <a:lnTo>
                        <a:pt x="411" y="648"/>
                      </a:lnTo>
                      <a:lnTo>
                        <a:pt x="395" y="650"/>
                      </a:lnTo>
                      <a:lnTo>
                        <a:pt x="379" y="653"/>
                      </a:lnTo>
                      <a:lnTo>
                        <a:pt x="363" y="656"/>
                      </a:lnTo>
                      <a:lnTo>
                        <a:pt x="345" y="657"/>
                      </a:lnTo>
                      <a:lnTo>
                        <a:pt x="329" y="657"/>
                      </a:lnTo>
                      <a:lnTo>
                        <a:pt x="329" y="657"/>
                      </a:lnTo>
                      <a:close/>
                      <a:moveTo>
                        <a:pt x="329" y="38"/>
                      </a:moveTo>
                      <a:lnTo>
                        <a:pt x="329" y="38"/>
                      </a:lnTo>
                      <a:lnTo>
                        <a:pt x="298" y="39"/>
                      </a:lnTo>
                      <a:lnTo>
                        <a:pt x="270" y="43"/>
                      </a:lnTo>
                      <a:lnTo>
                        <a:pt x="242" y="51"/>
                      </a:lnTo>
                      <a:lnTo>
                        <a:pt x="215" y="61"/>
                      </a:lnTo>
                      <a:lnTo>
                        <a:pt x="189" y="73"/>
                      </a:lnTo>
                      <a:lnTo>
                        <a:pt x="165" y="88"/>
                      </a:lnTo>
                      <a:lnTo>
                        <a:pt x="144" y="104"/>
                      </a:lnTo>
                      <a:lnTo>
                        <a:pt x="122" y="123"/>
                      </a:lnTo>
                      <a:lnTo>
                        <a:pt x="104" y="144"/>
                      </a:lnTo>
                      <a:lnTo>
                        <a:pt x="87" y="166"/>
                      </a:lnTo>
                      <a:lnTo>
                        <a:pt x="73" y="190"/>
                      </a:lnTo>
                      <a:lnTo>
                        <a:pt x="61" y="215"/>
                      </a:lnTo>
                      <a:lnTo>
                        <a:pt x="51" y="242"/>
                      </a:lnTo>
                      <a:lnTo>
                        <a:pt x="43" y="270"/>
                      </a:lnTo>
                      <a:lnTo>
                        <a:pt x="39" y="298"/>
                      </a:lnTo>
                      <a:lnTo>
                        <a:pt x="38" y="329"/>
                      </a:lnTo>
                      <a:lnTo>
                        <a:pt x="38" y="329"/>
                      </a:lnTo>
                      <a:lnTo>
                        <a:pt x="39" y="359"/>
                      </a:lnTo>
                      <a:lnTo>
                        <a:pt x="43" y="387"/>
                      </a:lnTo>
                      <a:lnTo>
                        <a:pt x="51" y="415"/>
                      </a:lnTo>
                      <a:lnTo>
                        <a:pt x="61" y="442"/>
                      </a:lnTo>
                      <a:lnTo>
                        <a:pt x="73" y="468"/>
                      </a:lnTo>
                      <a:lnTo>
                        <a:pt x="87" y="492"/>
                      </a:lnTo>
                      <a:lnTo>
                        <a:pt x="104" y="513"/>
                      </a:lnTo>
                      <a:lnTo>
                        <a:pt x="122" y="535"/>
                      </a:lnTo>
                      <a:lnTo>
                        <a:pt x="144" y="554"/>
                      </a:lnTo>
                      <a:lnTo>
                        <a:pt x="165" y="570"/>
                      </a:lnTo>
                      <a:lnTo>
                        <a:pt x="189" y="585"/>
                      </a:lnTo>
                      <a:lnTo>
                        <a:pt x="215" y="597"/>
                      </a:lnTo>
                      <a:lnTo>
                        <a:pt x="242" y="607"/>
                      </a:lnTo>
                      <a:lnTo>
                        <a:pt x="270" y="614"/>
                      </a:lnTo>
                      <a:lnTo>
                        <a:pt x="298" y="618"/>
                      </a:lnTo>
                      <a:lnTo>
                        <a:pt x="329" y="620"/>
                      </a:lnTo>
                      <a:lnTo>
                        <a:pt x="329" y="620"/>
                      </a:lnTo>
                      <a:lnTo>
                        <a:pt x="359" y="618"/>
                      </a:lnTo>
                      <a:lnTo>
                        <a:pt x="387" y="614"/>
                      </a:lnTo>
                      <a:lnTo>
                        <a:pt x="415" y="607"/>
                      </a:lnTo>
                      <a:lnTo>
                        <a:pt x="442" y="597"/>
                      </a:lnTo>
                      <a:lnTo>
                        <a:pt x="468" y="585"/>
                      </a:lnTo>
                      <a:lnTo>
                        <a:pt x="492" y="570"/>
                      </a:lnTo>
                      <a:lnTo>
                        <a:pt x="513" y="554"/>
                      </a:lnTo>
                      <a:lnTo>
                        <a:pt x="535" y="535"/>
                      </a:lnTo>
                      <a:lnTo>
                        <a:pt x="553" y="513"/>
                      </a:lnTo>
                      <a:lnTo>
                        <a:pt x="570" y="492"/>
                      </a:lnTo>
                      <a:lnTo>
                        <a:pt x="584" y="468"/>
                      </a:lnTo>
                      <a:lnTo>
                        <a:pt x="596" y="442"/>
                      </a:lnTo>
                      <a:lnTo>
                        <a:pt x="607" y="415"/>
                      </a:lnTo>
                      <a:lnTo>
                        <a:pt x="614" y="387"/>
                      </a:lnTo>
                      <a:lnTo>
                        <a:pt x="618" y="359"/>
                      </a:lnTo>
                      <a:lnTo>
                        <a:pt x="619" y="329"/>
                      </a:lnTo>
                      <a:lnTo>
                        <a:pt x="619" y="329"/>
                      </a:lnTo>
                      <a:lnTo>
                        <a:pt x="618" y="298"/>
                      </a:lnTo>
                      <a:lnTo>
                        <a:pt x="614" y="270"/>
                      </a:lnTo>
                      <a:lnTo>
                        <a:pt x="607" y="242"/>
                      </a:lnTo>
                      <a:lnTo>
                        <a:pt x="596" y="215"/>
                      </a:lnTo>
                      <a:lnTo>
                        <a:pt x="584" y="190"/>
                      </a:lnTo>
                      <a:lnTo>
                        <a:pt x="570" y="166"/>
                      </a:lnTo>
                      <a:lnTo>
                        <a:pt x="553" y="144"/>
                      </a:lnTo>
                      <a:lnTo>
                        <a:pt x="535" y="123"/>
                      </a:lnTo>
                      <a:lnTo>
                        <a:pt x="513" y="104"/>
                      </a:lnTo>
                      <a:lnTo>
                        <a:pt x="492" y="88"/>
                      </a:lnTo>
                      <a:lnTo>
                        <a:pt x="468" y="73"/>
                      </a:lnTo>
                      <a:lnTo>
                        <a:pt x="442" y="61"/>
                      </a:lnTo>
                      <a:lnTo>
                        <a:pt x="415" y="51"/>
                      </a:lnTo>
                      <a:lnTo>
                        <a:pt x="387" y="43"/>
                      </a:lnTo>
                      <a:lnTo>
                        <a:pt x="359" y="39"/>
                      </a:lnTo>
                      <a:lnTo>
                        <a:pt x="329" y="38"/>
                      </a:lnTo>
                      <a:lnTo>
                        <a:pt x="329" y="38"/>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55" name="Freeform 111">
                <a:extLst>
                  <a:ext uri="{FF2B5EF4-FFF2-40B4-BE49-F238E27FC236}">
                    <a16:creationId xmlns:a16="http://schemas.microsoft.com/office/drawing/2014/main" id="{319648C7-39AC-4326-83C8-578AA07FBCD8}"/>
                  </a:ext>
                </a:extLst>
              </p:cNvPr>
              <p:cNvSpPr>
                <a:spLocks/>
              </p:cNvSpPr>
              <p:nvPr/>
            </p:nvSpPr>
            <p:spPr bwMode="auto">
              <a:xfrm>
                <a:off x="4214419" y="-340313"/>
                <a:ext cx="202134" cy="188002"/>
              </a:xfrm>
              <a:custGeom>
                <a:avLst/>
                <a:gdLst>
                  <a:gd name="T0" fmla="*/ 333 w 345"/>
                  <a:gd name="T1" fmla="*/ 20 h 342"/>
                  <a:gd name="T2" fmla="*/ 326 w 345"/>
                  <a:gd name="T3" fmla="*/ 25 h 342"/>
                  <a:gd name="T4" fmla="*/ 318 w 345"/>
                  <a:gd name="T5" fmla="*/ 82 h 342"/>
                  <a:gd name="T6" fmla="*/ 295 w 345"/>
                  <a:gd name="T7" fmla="*/ 52 h 342"/>
                  <a:gd name="T8" fmla="*/ 268 w 345"/>
                  <a:gd name="T9" fmla="*/ 29 h 342"/>
                  <a:gd name="T10" fmla="*/ 247 w 345"/>
                  <a:gd name="T11" fmla="*/ 16 h 342"/>
                  <a:gd name="T12" fmla="*/ 198 w 345"/>
                  <a:gd name="T13" fmla="*/ 1 h 342"/>
                  <a:gd name="T14" fmla="*/ 149 w 345"/>
                  <a:gd name="T15" fmla="*/ 1 h 342"/>
                  <a:gd name="T16" fmla="*/ 115 w 345"/>
                  <a:gd name="T17" fmla="*/ 9 h 342"/>
                  <a:gd name="T18" fmla="*/ 71 w 345"/>
                  <a:gd name="T19" fmla="*/ 32 h 342"/>
                  <a:gd name="T20" fmla="*/ 35 w 345"/>
                  <a:gd name="T21" fmla="*/ 67 h 342"/>
                  <a:gd name="T22" fmla="*/ 17 w 345"/>
                  <a:gd name="T23" fmla="*/ 96 h 342"/>
                  <a:gd name="T24" fmla="*/ 2 w 345"/>
                  <a:gd name="T25" fmla="*/ 145 h 342"/>
                  <a:gd name="T26" fmla="*/ 2 w 345"/>
                  <a:gd name="T27" fmla="*/ 194 h 342"/>
                  <a:gd name="T28" fmla="*/ 16 w 345"/>
                  <a:gd name="T29" fmla="*/ 243 h 342"/>
                  <a:gd name="T30" fmla="*/ 43 w 345"/>
                  <a:gd name="T31" fmla="*/ 285 h 342"/>
                  <a:gd name="T32" fmla="*/ 82 w 345"/>
                  <a:gd name="T33" fmla="*/ 317 h 342"/>
                  <a:gd name="T34" fmla="*/ 115 w 345"/>
                  <a:gd name="T35" fmla="*/ 333 h 342"/>
                  <a:gd name="T36" fmla="*/ 172 w 345"/>
                  <a:gd name="T37" fmla="*/ 342 h 342"/>
                  <a:gd name="T38" fmla="*/ 196 w 345"/>
                  <a:gd name="T39" fmla="*/ 341 h 342"/>
                  <a:gd name="T40" fmla="*/ 231 w 345"/>
                  <a:gd name="T41" fmla="*/ 332 h 342"/>
                  <a:gd name="T42" fmla="*/ 263 w 345"/>
                  <a:gd name="T43" fmla="*/ 317 h 342"/>
                  <a:gd name="T44" fmla="*/ 291 w 345"/>
                  <a:gd name="T45" fmla="*/ 294 h 342"/>
                  <a:gd name="T46" fmla="*/ 314 w 345"/>
                  <a:gd name="T47" fmla="*/ 267 h 342"/>
                  <a:gd name="T48" fmla="*/ 326 w 345"/>
                  <a:gd name="T49" fmla="*/ 246 h 342"/>
                  <a:gd name="T50" fmla="*/ 325 w 345"/>
                  <a:gd name="T51" fmla="*/ 235 h 342"/>
                  <a:gd name="T52" fmla="*/ 318 w 345"/>
                  <a:gd name="T53" fmla="*/ 231 h 342"/>
                  <a:gd name="T54" fmla="*/ 310 w 345"/>
                  <a:gd name="T55" fmla="*/ 233 h 342"/>
                  <a:gd name="T56" fmla="*/ 301 w 345"/>
                  <a:gd name="T57" fmla="*/ 251 h 342"/>
                  <a:gd name="T58" fmla="*/ 271 w 345"/>
                  <a:gd name="T59" fmla="*/ 285 h 342"/>
                  <a:gd name="T60" fmla="*/ 235 w 345"/>
                  <a:gd name="T61" fmla="*/ 309 h 342"/>
                  <a:gd name="T62" fmla="*/ 193 w 345"/>
                  <a:gd name="T63" fmla="*/ 321 h 342"/>
                  <a:gd name="T64" fmla="*/ 149 w 345"/>
                  <a:gd name="T65" fmla="*/ 321 h 342"/>
                  <a:gd name="T66" fmla="*/ 106 w 345"/>
                  <a:gd name="T67" fmla="*/ 307 h 342"/>
                  <a:gd name="T68" fmla="*/ 80 w 345"/>
                  <a:gd name="T69" fmla="*/ 291 h 342"/>
                  <a:gd name="T70" fmla="*/ 49 w 345"/>
                  <a:gd name="T71" fmla="*/ 259 h 342"/>
                  <a:gd name="T72" fmla="*/ 29 w 345"/>
                  <a:gd name="T73" fmla="*/ 220 h 342"/>
                  <a:gd name="T74" fmla="*/ 21 w 345"/>
                  <a:gd name="T75" fmla="*/ 178 h 342"/>
                  <a:gd name="T76" fmla="*/ 25 w 345"/>
                  <a:gd name="T77" fmla="*/ 134 h 342"/>
                  <a:gd name="T78" fmla="*/ 36 w 345"/>
                  <a:gd name="T79" fmla="*/ 104 h 342"/>
                  <a:gd name="T80" fmla="*/ 61 w 345"/>
                  <a:gd name="T81" fmla="*/ 67 h 342"/>
                  <a:gd name="T82" fmla="*/ 95 w 345"/>
                  <a:gd name="T83" fmla="*/ 40 h 342"/>
                  <a:gd name="T84" fmla="*/ 135 w 345"/>
                  <a:gd name="T85" fmla="*/ 24 h 342"/>
                  <a:gd name="T86" fmla="*/ 180 w 345"/>
                  <a:gd name="T87" fmla="*/ 20 h 342"/>
                  <a:gd name="T88" fmla="*/ 223 w 345"/>
                  <a:gd name="T89" fmla="*/ 29 h 342"/>
                  <a:gd name="T90" fmla="*/ 248 w 345"/>
                  <a:gd name="T91" fmla="*/ 40 h 342"/>
                  <a:gd name="T92" fmla="*/ 275 w 345"/>
                  <a:gd name="T93" fmla="*/ 60 h 342"/>
                  <a:gd name="T94" fmla="*/ 297 w 345"/>
                  <a:gd name="T95" fmla="*/ 86 h 342"/>
                  <a:gd name="T96" fmla="*/ 248 w 345"/>
                  <a:gd name="T97" fmla="*/ 87 h 342"/>
                  <a:gd name="T98" fmla="*/ 240 w 345"/>
                  <a:gd name="T99" fmla="*/ 90 h 342"/>
                  <a:gd name="T100" fmla="*/ 236 w 345"/>
                  <a:gd name="T101" fmla="*/ 96 h 342"/>
                  <a:gd name="T102" fmla="*/ 239 w 345"/>
                  <a:gd name="T103" fmla="*/ 103 h 342"/>
                  <a:gd name="T104" fmla="*/ 323 w 345"/>
                  <a:gd name="T105" fmla="*/ 118 h 342"/>
                  <a:gd name="T106" fmla="*/ 330 w 345"/>
                  <a:gd name="T107" fmla="*/ 117 h 342"/>
                  <a:gd name="T108" fmla="*/ 334 w 345"/>
                  <a:gd name="T109" fmla="*/ 110 h 342"/>
                  <a:gd name="T110" fmla="*/ 345 w 345"/>
                  <a:gd name="T111" fmla="*/ 28 h 342"/>
                  <a:gd name="T112" fmla="*/ 337 w 345"/>
                  <a:gd name="T113" fmla="*/ 2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5" h="342">
                    <a:moveTo>
                      <a:pt x="337" y="20"/>
                    </a:moveTo>
                    <a:lnTo>
                      <a:pt x="337" y="20"/>
                    </a:lnTo>
                    <a:lnTo>
                      <a:pt x="333" y="20"/>
                    </a:lnTo>
                    <a:lnTo>
                      <a:pt x="329" y="22"/>
                    </a:lnTo>
                    <a:lnTo>
                      <a:pt x="329" y="22"/>
                    </a:lnTo>
                    <a:lnTo>
                      <a:pt x="326" y="25"/>
                    </a:lnTo>
                    <a:lnTo>
                      <a:pt x="325" y="29"/>
                    </a:lnTo>
                    <a:lnTo>
                      <a:pt x="318" y="82"/>
                    </a:lnTo>
                    <a:lnTo>
                      <a:pt x="318" y="82"/>
                    </a:lnTo>
                    <a:lnTo>
                      <a:pt x="311" y="71"/>
                    </a:lnTo>
                    <a:lnTo>
                      <a:pt x="303" y="61"/>
                    </a:lnTo>
                    <a:lnTo>
                      <a:pt x="295" y="52"/>
                    </a:lnTo>
                    <a:lnTo>
                      <a:pt x="287" y="44"/>
                    </a:lnTo>
                    <a:lnTo>
                      <a:pt x="278" y="36"/>
                    </a:lnTo>
                    <a:lnTo>
                      <a:pt x="268" y="29"/>
                    </a:lnTo>
                    <a:lnTo>
                      <a:pt x="258" y="22"/>
                    </a:lnTo>
                    <a:lnTo>
                      <a:pt x="247" y="16"/>
                    </a:lnTo>
                    <a:lnTo>
                      <a:pt x="247" y="16"/>
                    </a:lnTo>
                    <a:lnTo>
                      <a:pt x="231" y="9"/>
                    </a:lnTo>
                    <a:lnTo>
                      <a:pt x="215" y="5"/>
                    </a:lnTo>
                    <a:lnTo>
                      <a:pt x="198" y="1"/>
                    </a:lnTo>
                    <a:lnTo>
                      <a:pt x="181" y="0"/>
                    </a:lnTo>
                    <a:lnTo>
                      <a:pt x="165" y="0"/>
                    </a:lnTo>
                    <a:lnTo>
                      <a:pt x="149" y="1"/>
                    </a:lnTo>
                    <a:lnTo>
                      <a:pt x="131" y="4"/>
                    </a:lnTo>
                    <a:lnTo>
                      <a:pt x="115" y="9"/>
                    </a:lnTo>
                    <a:lnTo>
                      <a:pt x="115" y="9"/>
                    </a:lnTo>
                    <a:lnTo>
                      <a:pt x="99" y="16"/>
                    </a:lnTo>
                    <a:lnTo>
                      <a:pt x="84" y="22"/>
                    </a:lnTo>
                    <a:lnTo>
                      <a:pt x="71" y="32"/>
                    </a:lnTo>
                    <a:lnTo>
                      <a:pt x="57" y="43"/>
                    </a:lnTo>
                    <a:lnTo>
                      <a:pt x="45" y="55"/>
                    </a:lnTo>
                    <a:lnTo>
                      <a:pt x="35" y="67"/>
                    </a:lnTo>
                    <a:lnTo>
                      <a:pt x="25" y="82"/>
                    </a:lnTo>
                    <a:lnTo>
                      <a:pt x="17" y="96"/>
                    </a:lnTo>
                    <a:lnTo>
                      <a:pt x="17" y="96"/>
                    </a:lnTo>
                    <a:lnTo>
                      <a:pt x="10" y="113"/>
                    </a:lnTo>
                    <a:lnTo>
                      <a:pt x="5" y="129"/>
                    </a:lnTo>
                    <a:lnTo>
                      <a:pt x="2" y="145"/>
                    </a:lnTo>
                    <a:lnTo>
                      <a:pt x="0" y="162"/>
                    </a:lnTo>
                    <a:lnTo>
                      <a:pt x="0" y="178"/>
                    </a:lnTo>
                    <a:lnTo>
                      <a:pt x="2" y="194"/>
                    </a:lnTo>
                    <a:lnTo>
                      <a:pt x="5" y="212"/>
                    </a:lnTo>
                    <a:lnTo>
                      <a:pt x="9" y="227"/>
                    </a:lnTo>
                    <a:lnTo>
                      <a:pt x="16" y="243"/>
                    </a:lnTo>
                    <a:lnTo>
                      <a:pt x="24" y="258"/>
                    </a:lnTo>
                    <a:lnTo>
                      <a:pt x="32" y="271"/>
                    </a:lnTo>
                    <a:lnTo>
                      <a:pt x="43" y="285"/>
                    </a:lnTo>
                    <a:lnTo>
                      <a:pt x="55" y="297"/>
                    </a:lnTo>
                    <a:lnTo>
                      <a:pt x="67" y="307"/>
                    </a:lnTo>
                    <a:lnTo>
                      <a:pt x="82" y="317"/>
                    </a:lnTo>
                    <a:lnTo>
                      <a:pt x="96" y="325"/>
                    </a:lnTo>
                    <a:lnTo>
                      <a:pt x="96" y="325"/>
                    </a:lnTo>
                    <a:lnTo>
                      <a:pt x="115" y="333"/>
                    </a:lnTo>
                    <a:lnTo>
                      <a:pt x="133" y="338"/>
                    </a:lnTo>
                    <a:lnTo>
                      <a:pt x="151" y="341"/>
                    </a:lnTo>
                    <a:lnTo>
                      <a:pt x="172" y="342"/>
                    </a:lnTo>
                    <a:lnTo>
                      <a:pt x="172" y="342"/>
                    </a:lnTo>
                    <a:lnTo>
                      <a:pt x="184" y="342"/>
                    </a:lnTo>
                    <a:lnTo>
                      <a:pt x="196" y="341"/>
                    </a:lnTo>
                    <a:lnTo>
                      <a:pt x="208" y="338"/>
                    </a:lnTo>
                    <a:lnTo>
                      <a:pt x="219" y="336"/>
                    </a:lnTo>
                    <a:lnTo>
                      <a:pt x="231" y="332"/>
                    </a:lnTo>
                    <a:lnTo>
                      <a:pt x="241" y="328"/>
                    </a:lnTo>
                    <a:lnTo>
                      <a:pt x="252" y="322"/>
                    </a:lnTo>
                    <a:lnTo>
                      <a:pt x="263" y="317"/>
                    </a:lnTo>
                    <a:lnTo>
                      <a:pt x="272" y="310"/>
                    </a:lnTo>
                    <a:lnTo>
                      <a:pt x="282" y="302"/>
                    </a:lnTo>
                    <a:lnTo>
                      <a:pt x="291" y="294"/>
                    </a:lnTo>
                    <a:lnTo>
                      <a:pt x="299" y="286"/>
                    </a:lnTo>
                    <a:lnTo>
                      <a:pt x="307" y="276"/>
                    </a:lnTo>
                    <a:lnTo>
                      <a:pt x="314" y="267"/>
                    </a:lnTo>
                    <a:lnTo>
                      <a:pt x="321" y="256"/>
                    </a:lnTo>
                    <a:lnTo>
                      <a:pt x="326" y="246"/>
                    </a:lnTo>
                    <a:lnTo>
                      <a:pt x="326" y="246"/>
                    </a:lnTo>
                    <a:lnTo>
                      <a:pt x="327" y="242"/>
                    </a:lnTo>
                    <a:lnTo>
                      <a:pt x="326" y="238"/>
                    </a:lnTo>
                    <a:lnTo>
                      <a:pt x="325" y="235"/>
                    </a:lnTo>
                    <a:lnTo>
                      <a:pt x="321" y="232"/>
                    </a:lnTo>
                    <a:lnTo>
                      <a:pt x="321" y="232"/>
                    </a:lnTo>
                    <a:lnTo>
                      <a:pt x="318" y="231"/>
                    </a:lnTo>
                    <a:lnTo>
                      <a:pt x="314" y="232"/>
                    </a:lnTo>
                    <a:lnTo>
                      <a:pt x="314" y="232"/>
                    </a:lnTo>
                    <a:lnTo>
                      <a:pt x="310" y="233"/>
                    </a:lnTo>
                    <a:lnTo>
                      <a:pt x="307" y="236"/>
                    </a:lnTo>
                    <a:lnTo>
                      <a:pt x="307" y="236"/>
                    </a:lnTo>
                    <a:lnTo>
                      <a:pt x="301" y="251"/>
                    </a:lnTo>
                    <a:lnTo>
                      <a:pt x="291" y="263"/>
                    </a:lnTo>
                    <a:lnTo>
                      <a:pt x="282" y="274"/>
                    </a:lnTo>
                    <a:lnTo>
                      <a:pt x="271" y="285"/>
                    </a:lnTo>
                    <a:lnTo>
                      <a:pt x="260" y="294"/>
                    </a:lnTo>
                    <a:lnTo>
                      <a:pt x="248" y="302"/>
                    </a:lnTo>
                    <a:lnTo>
                      <a:pt x="235" y="309"/>
                    </a:lnTo>
                    <a:lnTo>
                      <a:pt x="221" y="314"/>
                    </a:lnTo>
                    <a:lnTo>
                      <a:pt x="208" y="318"/>
                    </a:lnTo>
                    <a:lnTo>
                      <a:pt x="193" y="321"/>
                    </a:lnTo>
                    <a:lnTo>
                      <a:pt x="178" y="322"/>
                    </a:lnTo>
                    <a:lnTo>
                      <a:pt x="164" y="322"/>
                    </a:lnTo>
                    <a:lnTo>
                      <a:pt x="149" y="321"/>
                    </a:lnTo>
                    <a:lnTo>
                      <a:pt x="134" y="318"/>
                    </a:lnTo>
                    <a:lnTo>
                      <a:pt x="121" y="313"/>
                    </a:lnTo>
                    <a:lnTo>
                      <a:pt x="106" y="307"/>
                    </a:lnTo>
                    <a:lnTo>
                      <a:pt x="106" y="307"/>
                    </a:lnTo>
                    <a:lnTo>
                      <a:pt x="92" y="299"/>
                    </a:lnTo>
                    <a:lnTo>
                      <a:pt x="80" y="291"/>
                    </a:lnTo>
                    <a:lnTo>
                      <a:pt x="68" y="282"/>
                    </a:lnTo>
                    <a:lnTo>
                      <a:pt x="57" y="271"/>
                    </a:lnTo>
                    <a:lnTo>
                      <a:pt x="49" y="259"/>
                    </a:lnTo>
                    <a:lnTo>
                      <a:pt x="41" y="247"/>
                    </a:lnTo>
                    <a:lnTo>
                      <a:pt x="35" y="233"/>
                    </a:lnTo>
                    <a:lnTo>
                      <a:pt x="29" y="220"/>
                    </a:lnTo>
                    <a:lnTo>
                      <a:pt x="25" y="207"/>
                    </a:lnTo>
                    <a:lnTo>
                      <a:pt x="22" y="192"/>
                    </a:lnTo>
                    <a:lnTo>
                      <a:pt x="21" y="178"/>
                    </a:lnTo>
                    <a:lnTo>
                      <a:pt x="21" y="164"/>
                    </a:lnTo>
                    <a:lnTo>
                      <a:pt x="22" y="149"/>
                    </a:lnTo>
                    <a:lnTo>
                      <a:pt x="25" y="134"/>
                    </a:lnTo>
                    <a:lnTo>
                      <a:pt x="29" y="119"/>
                    </a:lnTo>
                    <a:lnTo>
                      <a:pt x="36" y="104"/>
                    </a:lnTo>
                    <a:lnTo>
                      <a:pt x="36" y="104"/>
                    </a:lnTo>
                    <a:lnTo>
                      <a:pt x="43" y="91"/>
                    </a:lnTo>
                    <a:lnTo>
                      <a:pt x="52" y="79"/>
                    </a:lnTo>
                    <a:lnTo>
                      <a:pt x="61" y="67"/>
                    </a:lnTo>
                    <a:lnTo>
                      <a:pt x="72" y="57"/>
                    </a:lnTo>
                    <a:lnTo>
                      <a:pt x="83" y="48"/>
                    </a:lnTo>
                    <a:lnTo>
                      <a:pt x="95" y="40"/>
                    </a:lnTo>
                    <a:lnTo>
                      <a:pt x="108" y="33"/>
                    </a:lnTo>
                    <a:lnTo>
                      <a:pt x="122" y="28"/>
                    </a:lnTo>
                    <a:lnTo>
                      <a:pt x="135" y="24"/>
                    </a:lnTo>
                    <a:lnTo>
                      <a:pt x="150" y="21"/>
                    </a:lnTo>
                    <a:lnTo>
                      <a:pt x="165" y="20"/>
                    </a:lnTo>
                    <a:lnTo>
                      <a:pt x="180" y="20"/>
                    </a:lnTo>
                    <a:lnTo>
                      <a:pt x="194" y="21"/>
                    </a:lnTo>
                    <a:lnTo>
                      <a:pt x="209" y="24"/>
                    </a:lnTo>
                    <a:lnTo>
                      <a:pt x="223" y="29"/>
                    </a:lnTo>
                    <a:lnTo>
                      <a:pt x="237" y="35"/>
                    </a:lnTo>
                    <a:lnTo>
                      <a:pt x="237" y="35"/>
                    </a:lnTo>
                    <a:lnTo>
                      <a:pt x="248" y="40"/>
                    </a:lnTo>
                    <a:lnTo>
                      <a:pt x="258" y="45"/>
                    </a:lnTo>
                    <a:lnTo>
                      <a:pt x="266" y="52"/>
                    </a:lnTo>
                    <a:lnTo>
                      <a:pt x="275" y="60"/>
                    </a:lnTo>
                    <a:lnTo>
                      <a:pt x="282" y="68"/>
                    </a:lnTo>
                    <a:lnTo>
                      <a:pt x="290" y="76"/>
                    </a:lnTo>
                    <a:lnTo>
                      <a:pt x="297" y="86"/>
                    </a:lnTo>
                    <a:lnTo>
                      <a:pt x="302" y="95"/>
                    </a:lnTo>
                    <a:lnTo>
                      <a:pt x="248" y="87"/>
                    </a:lnTo>
                    <a:lnTo>
                      <a:pt x="248" y="87"/>
                    </a:lnTo>
                    <a:lnTo>
                      <a:pt x="244" y="88"/>
                    </a:lnTo>
                    <a:lnTo>
                      <a:pt x="240" y="90"/>
                    </a:lnTo>
                    <a:lnTo>
                      <a:pt x="240" y="90"/>
                    </a:lnTo>
                    <a:lnTo>
                      <a:pt x="237" y="92"/>
                    </a:lnTo>
                    <a:lnTo>
                      <a:pt x="236" y="96"/>
                    </a:lnTo>
                    <a:lnTo>
                      <a:pt x="236" y="96"/>
                    </a:lnTo>
                    <a:lnTo>
                      <a:pt x="236" y="100"/>
                    </a:lnTo>
                    <a:lnTo>
                      <a:pt x="239" y="103"/>
                    </a:lnTo>
                    <a:lnTo>
                      <a:pt x="239" y="103"/>
                    </a:lnTo>
                    <a:lnTo>
                      <a:pt x="241" y="106"/>
                    </a:lnTo>
                    <a:lnTo>
                      <a:pt x="246" y="107"/>
                    </a:lnTo>
                    <a:lnTo>
                      <a:pt x="323" y="118"/>
                    </a:lnTo>
                    <a:lnTo>
                      <a:pt x="323" y="118"/>
                    </a:lnTo>
                    <a:lnTo>
                      <a:pt x="327" y="118"/>
                    </a:lnTo>
                    <a:lnTo>
                      <a:pt x="330" y="117"/>
                    </a:lnTo>
                    <a:lnTo>
                      <a:pt x="330" y="117"/>
                    </a:lnTo>
                    <a:lnTo>
                      <a:pt x="333" y="114"/>
                    </a:lnTo>
                    <a:lnTo>
                      <a:pt x="334" y="110"/>
                    </a:lnTo>
                    <a:lnTo>
                      <a:pt x="345" y="32"/>
                    </a:lnTo>
                    <a:lnTo>
                      <a:pt x="345" y="32"/>
                    </a:lnTo>
                    <a:lnTo>
                      <a:pt x="345" y="28"/>
                    </a:lnTo>
                    <a:lnTo>
                      <a:pt x="344" y="24"/>
                    </a:lnTo>
                    <a:lnTo>
                      <a:pt x="340" y="21"/>
                    </a:lnTo>
                    <a:lnTo>
                      <a:pt x="337" y="20"/>
                    </a:lnTo>
                    <a:lnTo>
                      <a:pt x="337"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3" name="Group 12">
              <a:extLst>
                <a:ext uri="{FF2B5EF4-FFF2-40B4-BE49-F238E27FC236}">
                  <a16:creationId xmlns:a16="http://schemas.microsoft.com/office/drawing/2014/main" id="{C2ED3D2E-EE39-41F1-BB26-C2AB1D246313}"/>
                </a:ext>
              </a:extLst>
            </p:cNvPr>
            <p:cNvGrpSpPr/>
            <p:nvPr/>
          </p:nvGrpSpPr>
          <p:grpSpPr>
            <a:xfrm>
              <a:off x="6031752" y="3311184"/>
              <a:ext cx="763400" cy="765726"/>
              <a:chOff x="3539991" y="1198907"/>
              <a:chExt cx="520701" cy="522288"/>
            </a:xfrm>
          </p:grpSpPr>
          <p:grpSp>
            <p:nvGrpSpPr>
              <p:cNvPr id="46" name="Group 45">
                <a:extLst>
                  <a:ext uri="{FF2B5EF4-FFF2-40B4-BE49-F238E27FC236}">
                    <a16:creationId xmlns:a16="http://schemas.microsoft.com/office/drawing/2014/main" id="{76F899C2-9B9C-4351-BF8F-22B85A3C1FC5}"/>
                  </a:ext>
                </a:extLst>
              </p:cNvPr>
              <p:cNvGrpSpPr/>
              <p:nvPr/>
            </p:nvGrpSpPr>
            <p:grpSpPr>
              <a:xfrm>
                <a:off x="3539991" y="1198907"/>
                <a:ext cx="520701" cy="522288"/>
                <a:chOff x="5921415" y="-508726"/>
                <a:chExt cx="520701" cy="522288"/>
              </a:xfrm>
            </p:grpSpPr>
            <p:sp>
              <p:nvSpPr>
                <p:cNvPr id="52" name="Oval 51">
                  <a:extLst>
                    <a:ext uri="{FF2B5EF4-FFF2-40B4-BE49-F238E27FC236}">
                      <a16:creationId xmlns:a16="http://schemas.microsoft.com/office/drawing/2014/main" id="{D84A95D7-D818-4A35-BE4B-9105C8CABC89}"/>
                    </a:ext>
                  </a:extLst>
                </p:cNvPr>
                <p:cNvSpPr/>
                <p:nvPr/>
              </p:nvSpPr>
              <p:spPr>
                <a:xfrm>
                  <a:off x="5928504" y="-500050"/>
                  <a:ext cx="513612" cy="51361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53" name="Freeform 37">
                  <a:extLst>
                    <a:ext uri="{FF2B5EF4-FFF2-40B4-BE49-F238E27FC236}">
                      <a16:creationId xmlns:a16="http://schemas.microsoft.com/office/drawing/2014/main" id="{262786CD-8EB8-4E6F-A4CA-C9B8FB0C1924}"/>
                    </a:ext>
                  </a:extLst>
                </p:cNvPr>
                <p:cNvSpPr>
                  <a:spLocks noEditPoints="1"/>
                </p:cNvSpPr>
                <p:nvPr/>
              </p:nvSpPr>
              <p:spPr bwMode="auto">
                <a:xfrm>
                  <a:off x="5921415" y="-508726"/>
                  <a:ext cx="520700" cy="522288"/>
                </a:xfrm>
                <a:custGeom>
                  <a:avLst/>
                  <a:gdLst>
                    <a:gd name="T0" fmla="*/ 312 w 657"/>
                    <a:gd name="T1" fmla="*/ 657 h 657"/>
                    <a:gd name="T2" fmla="*/ 262 w 657"/>
                    <a:gd name="T3" fmla="*/ 650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9 h 657"/>
                    <a:gd name="T16" fmla="*/ 1 w 657"/>
                    <a:gd name="T17" fmla="*/ 296 h 657"/>
                    <a:gd name="T18" fmla="*/ 11 w 657"/>
                    <a:gd name="T19" fmla="*/ 246 h 657"/>
                    <a:gd name="T20" fmla="*/ 39 w 657"/>
                    <a:gd name="T21" fmla="*/ 172 h 657"/>
                    <a:gd name="T22" fmla="*/ 97 w 657"/>
                    <a:gd name="T23" fmla="*/ 97 h 657"/>
                    <a:gd name="T24" fmla="*/ 172 w 657"/>
                    <a:gd name="T25" fmla="*/ 39 h 657"/>
                    <a:gd name="T26" fmla="*/ 247 w 657"/>
                    <a:gd name="T27" fmla="*/ 10 h 657"/>
                    <a:gd name="T28" fmla="*/ 296 w 657"/>
                    <a:gd name="T29" fmla="*/ 2 h 657"/>
                    <a:gd name="T30" fmla="*/ 329 w 657"/>
                    <a:gd name="T31" fmla="*/ 0 h 657"/>
                    <a:gd name="T32" fmla="*/ 379 w 657"/>
                    <a:gd name="T33" fmla="*/ 4 h 657"/>
                    <a:gd name="T34" fmla="*/ 426 w 657"/>
                    <a:gd name="T35" fmla="*/ 15 h 657"/>
                    <a:gd name="T36" fmla="*/ 512 w 657"/>
                    <a:gd name="T37" fmla="*/ 57 h 657"/>
                    <a:gd name="T38" fmla="*/ 582 w 657"/>
                    <a:gd name="T39" fmla="*/ 120 h 657"/>
                    <a:gd name="T40" fmla="*/ 631 w 657"/>
                    <a:gd name="T41" fmla="*/ 200 h 657"/>
                    <a:gd name="T42" fmla="*/ 650 w 657"/>
                    <a:gd name="T43" fmla="*/ 262 h 657"/>
                    <a:gd name="T44" fmla="*/ 657 w 657"/>
                    <a:gd name="T45" fmla="*/ 312 h 657"/>
                    <a:gd name="T46" fmla="*/ 657 w 657"/>
                    <a:gd name="T47" fmla="*/ 346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9 w 657"/>
                    <a:gd name="T59" fmla="*/ 653 h 657"/>
                    <a:gd name="T60" fmla="*/ 329 w 657"/>
                    <a:gd name="T61" fmla="*/ 657 h 657"/>
                    <a:gd name="T62" fmla="*/ 329 w 657"/>
                    <a:gd name="T63" fmla="*/ 38 h 657"/>
                    <a:gd name="T64" fmla="*/ 242 w 657"/>
                    <a:gd name="T65" fmla="*/ 51 h 657"/>
                    <a:gd name="T66" fmla="*/ 165 w 657"/>
                    <a:gd name="T67" fmla="*/ 88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5 w 657"/>
                    <a:gd name="T81" fmla="*/ 570 h 657"/>
                    <a:gd name="T82" fmla="*/ 242 w 657"/>
                    <a:gd name="T83" fmla="*/ 607 h 657"/>
                    <a:gd name="T84" fmla="*/ 329 w 657"/>
                    <a:gd name="T85" fmla="*/ 620 h 657"/>
                    <a:gd name="T86" fmla="*/ 387 w 657"/>
                    <a:gd name="T87" fmla="*/ 614 h 657"/>
                    <a:gd name="T88" fmla="*/ 468 w 657"/>
                    <a:gd name="T89" fmla="*/ 585 h 657"/>
                    <a:gd name="T90" fmla="*/ 535 w 657"/>
                    <a:gd name="T91" fmla="*/ 535 h 657"/>
                    <a:gd name="T92" fmla="*/ 584 w 657"/>
                    <a:gd name="T93" fmla="*/ 468 h 657"/>
                    <a:gd name="T94" fmla="*/ 614 w 657"/>
                    <a:gd name="T95" fmla="*/ 387 h 657"/>
                    <a:gd name="T96" fmla="*/ 619 w 657"/>
                    <a:gd name="T97" fmla="*/ 329 h 657"/>
                    <a:gd name="T98" fmla="*/ 607 w 657"/>
                    <a:gd name="T99" fmla="*/ 242 h 657"/>
                    <a:gd name="T100" fmla="*/ 570 w 657"/>
                    <a:gd name="T101" fmla="*/ 166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6"/>
                      </a:lnTo>
                      <a:lnTo>
                        <a:pt x="278" y="653"/>
                      </a:lnTo>
                      <a:lnTo>
                        <a:pt x="262" y="650"/>
                      </a:lnTo>
                      <a:lnTo>
                        <a:pt x="247" y="648"/>
                      </a:lnTo>
                      <a:lnTo>
                        <a:pt x="231" y="642"/>
                      </a:lnTo>
                      <a:lnTo>
                        <a:pt x="200" y="632"/>
                      </a:lnTo>
                      <a:lnTo>
                        <a:pt x="172" y="618"/>
                      </a:lnTo>
                      <a:lnTo>
                        <a:pt x="145" y="601"/>
                      </a:lnTo>
                      <a:lnTo>
                        <a:pt x="120" y="582"/>
                      </a:lnTo>
                      <a:lnTo>
                        <a:pt x="97" y="562"/>
                      </a:lnTo>
                      <a:lnTo>
                        <a:pt x="75" y="538"/>
                      </a:lnTo>
                      <a:lnTo>
                        <a:pt x="57" y="512"/>
                      </a:lnTo>
                      <a:lnTo>
                        <a:pt x="39" y="485"/>
                      </a:lnTo>
                      <a:lnTo>
                        <a:pt x="26" y="457"/>
                      </a:lnTo>
                      <a:lnTo>
                        <a:pt x="15" y="426"/>
                      </a:lnTo>
                      <a:lnTo>
                        <a:pt x="11" y="411"/>
                      </a:lnTo>
                      <a:lnTo>
                        <a:pt x="7" y="395"/>
                      </a:lnTo>
                      <a:lnTo>
                        <a:pt x="4" y="379"/>
                      </a:lnTo>
                      <a:lnTo>
                        <a:pt x="1" y="362"/>
                      </a:lnTo>
                      <a:lnTo>
                        <a:pt x="0" y="346"/>
                      </a:lnTo>
                      <a:lnTo>
                        <a:pt x="0" y="329"/>
                      </a:lnTo>
                      <a:lnTo>
                        <a:pt x="0" y="329"/>
                      </a:lnTo>
                      <a:lnTo>
                        <a:pt x="0" y="312"/>
                      </a:lnTo>
                      <a:lnTo>
                        <a:pt x="1" y="296"/>
                      </a:lnTo>
                      <a:lnTo>
                        <a:pt x="4" y="278"/>
                      </a:lnTo>
                      <a:lnTo>
                        <a:pt x="7" y="262"/>
                      </a:lnTo>
                      <a:lnTo>
                        <a:pt x="11" y="246"/>
                      </a:lnTo>
                      <a:lnTo>
                        <a:pt x="15" y="231"/>
                      </a:lnTo>
                      <a:lnTo>
                        <a:pt x="26" y="200"/>
                      </a:lnTo>
                      <a:lnTo>
                        <a:pt x="39" y="172"/>
                      </a:lnTo>
                      <a:lnTo>
                        <a:pt x="57" y="145"/>
                      </a:lnTo>
                      <a:lnTo>
                        <a:pt x="75" y="120"/>
                      </a:lnTo>
                      <a:lnTo>
                        <a:pt x="97" y="97"/>
                      </a:lnTo>
                      <a:lnTo>
                        <a:pt x="120" y="76"/>
                      </a:lnTo>
                      <a:lnTo>
                        <a:pt x="145" y="57"/>
                      </a:lnTo>
                      <a:lnTo>
                        <a:pt x="172" y="39"/>
                      </a:lnTo>
                      <a:lnTo>
                        <a:pt x="200" y="26"/>
                      </a:lnTo>
                      <a:lnTo>
                        <a:pt x="231" y="15"/>
                      </a:lnTo>
                      <a:lnTo>
                        <a:pt x="247" y="10"/>
                      </a:lnTo>
                      <a:lnTo>
                        <a:pt x="262" y="7"/>
                      </a:lnTo>
                      <a:lnTo>
                        <a:pt x="278" y="4"/>
                      </a:lnTo>
                      <a:lnTo>
                        <a:pt x="296" y="2"/>
                      </a:lnTo>
                      <a:lnTo>
                        <a:pt x="312" y="0"/>
                      </a:lnTo>
                      <a:lnTo>
                        <a:pt x="329" y="0"/>
                      </a:lnTo>
                      <a:lnTo>
                        <a:pt x="329" y="0"/>
                      </a:lnTo>
                      <a:lnTo>
                        <a:pt x="345" y="0"/>
                      </a:lnTo>
                      <a:lnTo>
                        <a:pt x="363" y="2"/>
                      </a:lnTo>
                      <a:lnTo>
                        <a:pt x="379" y="4"/>
                      </a:lnTo>
                      <a:lnTo>
                        <a:pt x="395" y="7"/>
                      </a:lnTo>
                      <a:lnTo>
                        <a:pt x="411" y="10"/>
                      </a:lnTo>
                      <a:lnTo>
                        <a:pt x="426" y="15"/>
                      </a:lnTo>
                      <a:lnTo>
                        <a:pt x="457" y="26"/>
                      </a:lnTo>
                      <a:lnTo>
                        <a:pt x="485" y="39"/>
                      </a:lnTo>
                      <a:lnTo>
                        <a:pt x="512" y="57"/>
                      </a:lnTo>
                      <a:lnTo>
                        <a:pt x="537" y="76"/>
                      </a:lnTo>
                      <a:lnTo>
                        <a:pt x="562" y="97"/>
                      </a:lnTo>
                      <a:lnTo>
                        <a:pt x="582" y="120"/>
                      </a:lnTo>
                      <a:lnTo>
                        <a:pt x="602" y="145"/>
                      </a:lnTo>
                      <a:lnTo>
                        <a:pt x="618" y="172"/>
                      </a:lnTo>
                      <a:lnTo>
                        <a:pt x="631" y="200"/>
                      </a:lnTo>
                      <a:lnTo>
                        <a:pt x="642" y="231"/>
                      </a:lnTo>
                      <a:lnTo>
                        <a:pt x="648" y="246"/>
                      </a:lnTo>
                      <a:lnTo>
                        <a:pt x="650" y="262"/>
                      </a:lnTo>
                      <a:lnTo>
                        <a:pt x="654" y="278"/>
                      </a:lnTo>
                      <a:lnTo>
                        <a:pt x="656" y="296"/>
                      </a:lnTo>
                      <a:lnTo>
                        <a:pt x="657" y="312"/>
                      </a:lnTo>
                      <a:lnTo>
                        <a:pt x="657" y="329"/>
                      </a:lnTo>
                      <a:lnTo>
                        <a:pt x="657" y="329"/>
                      </a:lnTo>
                      <a:lnTo>
                        <a:pt x="657" y="346"/>
                      </a:lnTo>
                      <a:lnTo>
                        <a:pt x="656" y="362"/>
                      </a:lnTo>
                      <a:lnTo>
                        <a:pt x="654" y="379"/>
                      </a:lnTo>
                      <a:lnTo>
                        <a:pt x="650" y="395"/>
                      </a:lnTo>
                      <a:lnTo>
                        <a:pt x="648" y="411"/>
                      </a:lnTo>
                      <a:lnTo>
                        <a:pt x="642" y="426"/>
                      </a:lnTo>
                      <a:lnTo>
                        <a:pt x="631" y="457"/>
                      </a:lnTo>
                      <a:lnTo>
                        <a:pt x="618" y="485"/>
                      </a:lnTo>
                      <a:lnTo>
                        <a:pt x="602" y="512"/>
                      </a:lnTo>
                      <a:lnTo>
                        <a:pt x="582" y="538"/>
                      </a:lnTo>
                      <a:lnTo>
                        <a:pt x="562" y="562"/>
                      </a:lnTo>
                      <a:lnTo>
                        <a:pt x="537" y="582"/>
                      </a:lnTo>
                      <a:lnTo>
                        <a:pt x="512" y="601"/>
                      </a:lnTo>
                      <a:lnTo>
                        <a:pt x="485" y="618"/>
                      </a:lnTo>
                      <a:lnTo>
                        <a:pt x="457" y="632"/>
                      </a:lnTo>
                      <a:lnTo>
                        <a:pt x="426" y="642"/>
                      </a:lnTo>
                      <a:lnTo>
                        <a:pt x="411" y="648"/>
                      </a:lnTo>
                      <a:lnTo>
                        <a:pt x="395" y="650"/>
                      </a:lnTo>
                      <a:lnTo>
                        <a:pt x="379" y="653"/>
                      </a:lnTo>
                      <a:lnTo>
                        <a:pt x="363" y="656"/>
                      </a:lnTo>
                      <a:lnTo>
                        <a:pt x="345" y="657"/>
                      </a:lnTo>
                      <a:lnTo>
                        <a:pt x="329" y="657"/>
                      </a:lnTo>
                      <a:lnTo>
                        <a:pt x="329" y="657"/>
                      </a:lnTo>
                      <a:close/>
                      <a:moveTo>
                        <a:pt x="329" y="38"/>
                      </a:moveTo>
                      <a:lnTo>
                        <a:pt x="329" y="38"/>
                      </a:lnTo>
                      <a:lnTo>
                        <a:pt x="298" y="39"/>
                      </a:lnTo>
                      <a:lnTo>
                        <a:pt x="270" y="43"/>
                      </a:lnTo>
                      <a:lnTo>
                        <a:pt x="242" y="51"/>
                      </a:lnTo>
                      <a:lnTo>
                        <a:pt x="215" y="61"/>
                      </a:lnTo>
                      <a:lnTo>
                        <a:pt x="189" y="73"/>
                      </a:lnTo>
                      <a:lnTo>
                        <a:pt x="165" y="88"/>
                      </a:lnTo>
                      <a:lnTo>
                        <a:pt x="144" y="104"/>
                      </a:lnTo>
                      <a:lnTo>
                        <a:pt x="122" y="123"/>
                      </a:lnTo>
                      <a:lnTo>
                        <a:pt x="104" y="144"/>
                      </a:lnTo>
                      <a:lnTo>
                        <a:pt x="87" y="166"/>
                      </a:lnTo>
                      <a:lnTo>
                        <a:pt x="73" y="190"/>
                      </a:lnTo>
                      <a:lnTo>
                        <a:pt x="61" y="215"/>
                      </a:lnTo>
                      <a:lnTo>
                        <a:pt x="51" y="242"/>
                      </a:lnTo>
                      <a:lnTo>
                        <a:pt x="43" y="270"/>
                      </a:lnTo>
                      <a:lnTo>
                        <a:pt x="39" y="298"/>
                      </a:lnTo>
                      <a:lnTo>
                        <a:pt x="38" y="329"/>
                      </a:lnTo>
                      <a:lnTo>
                        <a:pt x="38" y="329"/>
                      </a:lnTo>
                      <a:lnTo>
                        <a:pt x="39" y="359"/>
                      </a:lnTo>
                      <a:lnTo>
                        <a:pt x="43" y="387"/>
                      </a:lnTo>
                      <a:lnTo>
                        <a:pt x="51" y="415"/>
                      </a:lnTo>
                      <a:lnTo>
                        <a:pt x="61" y="442"/>
                      </a:lnTo>
                      <a:lnTo>
                        <a:pt x="73" y="468"/>
                      </a:lnTo>
                      <a:lnTo>
                        <a:pt x="87" y="492"/>
                      </a:lnTo>
                      <a:lnTo>
                        <a:pt x="104" y="513"/>
                      </a:lnTo>
                      <a:lnTo>
                        <a:pt x="122" y="535"/>
                      </a:lnTo>
                      <a:lnTo>
                        <a:pt x="144" y="554"/>
                      </a:lnTo>
                      <a:lnTo>
                        <a:pt x="165" y="570"/>
                      </a:lnTo>
                      <a:lnTo>
                        <a:pt x="189" y="585"/>
                      </a:lnTo>
                      <a:lnTo>
                        <a:pt x="215" y="597"/>
                      </a:lnTo>
                      <a:lnTo>
                        <a:pt x="242" y="607"/>
                      </a:lnTo>
                      <a:lnTo>
                        <a:pt x="270" y="614"/>
                      </a:lnTo>
                      <a:lnTo>
                        <a:pt x="298" y="618"/>
                      </a:lnTo>
                      <a:lnTo>
                        <a:pt x="329" y="620"/>
                      </a:lnTo>
                      <a:lnTo>
                        <a:pt x="329" y="620"/>
                      </a:lnTo>
                      <a:lnTo>
                        <a:pt x="359" y="618"/>
                      </a:lnTo>
                      <a:lnTo>
                        <a:pt x="387" y="614"/>
                      </a:lnTo>
                      <a:lnTo>
                        <a:pt x="415" y="607"/>
                      </a:lnTo>
                      <a:lnTo>
                        <a:pt x="442" y="597"/>
                      </a:lnTo>
                      <a:lnTo>
                        <a:pt x="468" y="585"/>
                      </a:lnTo>
                      <a:lnTo>
                        <a:pt x="492" y="570"/>
                      </a:lnTo>
                      <a:lnTo>
                        <a:pt x="513" y="554"/>
                      </a:lnTo>
                      <a:lnTo>
                        <a:pt x="535" y="535"/>
                      </a:lnTo>
                      <a:lnTo>
                        <a:pt x="553" y="513"/>
                      </a:lnTo>
                      <a:lnTo>
                        <a:pt x="570" y="492"/>
                      </a:lnTo>
                      <a:lnTo>
                        <a:pt x="584" y="468"/>
                      </a:lnTo>
                      <a:lnTo>
                        <a:pt x="596" y="442"/>
                      </a:lnTo>
                      <a:lnTo>
                        <a:pt x="607" y="415"/>
                      </a:lnTo>
                      <a:lnTo>
                        <a:pt x="614" y="387"/>
                      </a:lnTo>
                      <a:lnTo>
                        <a:pt x="618" y="359"/>
                      </a:lnTo>
                      <a:lnTo>
                        <a:pt x="619" y="329"/>
                      </a:lnTo>
                      <a:lnTo>
                        <a:pt x="619" y="329"/>
                      </a:lnTo>
                      <a:lnTo>
                        <a:pt x="618" y="298"/>
                      </a:lnTo>
                      <a:lnTo>
                        <a:pt x="614" y="270"/>
                      </a:lnTo>
                      <a:lnTo>
                        <a:pt x="607" y="242"/>
                      </a:lnTo>
                      <a:lnTo>
                        <a:pt x="596" y="215"/>
                      </a:lnTo>
                      <a:lnTo>
                        <a:pt x="584" y="190"/>
                      </a:lnTo>
                      <a:lnTo>
                        <a:pt x="570" y="166"/>
                      </a:lnTo>
                      <a:lnTo>
                        <a:pt x="553" y="144"/>
                      </a:lnTo>
                      <a:lnTo>
                        <a:pt x="535" y="123"/>
                      </a:lnTo>
                      <a:lnTo>
                        <a:pt x="513" y="104"/>
                      </a:lnTo>
                      <a:lnTo>
                        <a:pt x="492" y="88"/>
                      </a:lnTo>
                      <a:lnTo>
                        <a:pt x="468" y="73"/>
                      </a:lnTo>
                      <a:lnTo>
                        <a:pt x="442" y="61"/>
                      </a:lnTo>
                      <a:lnTo>
                        <a:pt x="415" y="51"/>
                      </a:lnTo>
                      <a:lnTo>
                        <a:pt x="387" y="43"/>
                      </a:lnTo>
                      <a:lnTo>
                        <a:pt x="359" y="39"/>
                      </a:lnTo>
                      <a:lnTo>
                        <a:pt x="329" y="38"/>
                      </a:lnTo>
                      <a:lnTo>
                        <a:pt x="329" y="38"/>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47" name="Group 46">
                <a:extLst>
                  <a:ext uri="{FF2B5EF4-FFF2-40B4-BE49-F238E27FC236}">
                    <a16:creationId xmlns:a16="http://schemas.microsoft.com/office/drawing/2014/main" id="{EAD495F8-BEC5-44C1-81F0-FBE6E2CE6F9A}"/>
                  </a:ext>
                </a:extLst>
              </p:cNvPr>
              <p:cNvGrpSpPr>
                <a:grpSpLocks/>
              </p:cNvGrpSpPr>
              <p:nvPr/>
            </p:nvGrpSpPr>
            <p:grpSpPr>
              <a:xfrm>
                <a:off x="3675423" y="1358191"/>
                <a:ext cx="215022" cy="185636"/>
                <a:chOff x="9493251" y="5154613"/>
                <a:chExt cx="234950" cy="217487"/>
              </a:xfrm>
            </p:grpSpPr>
            <p:sp>
              <p:nvSpPr>
                <p:cNvPr id="48" name="Freeform 315">
                  <a:extLst>
                    <a:ext uri="{FF2B5EF4-FFF2-40B4-BE49-F238E27FC236}">
                      <a16:creationId xmlns:a16="http://schemas.microsoft.com/office/drawing/2014/main" id="{F30C17B6-D76A-47CD-B56F-75D729836159}"/>
                    </a:ext>
                  </a:extLst>
                </p:cNvPr>
                <p:cNvSpPr>
                  <a:spLocks/>
                </p:cNvSpPr>
                <p:nvPr/>
              </p:nvSpPr>
              <p:spPr bwMode="auto">
                <a:xfrm>
                  <a:off x="9499601" y="5183188"/>
                  <a:ext cx="161925" cy="82550"/>
                </a:xfrm>
                <a:custGeom>
                  <a:avLst/>
                  <a:gdLst>
                    <a:gd name="T0" fmla="*/ 59 w 204"/>
                    <a:gd name="T1" fmla="*/ 0 h 103"/>
                    <a:gd name="T2" fmla="*/ 0 w 204"/>
                    <a:gd name="T3" fmla="*/ 29 h 103"/>
                    <a:gd name="T4" fmla="*/ 147 w 204"/>
                    <a:gd name="T5" fmla="*/ 103 h 103"/>
                    <a:gd name="T6" fmla="*/ 204 w 204"/>
                    <a:gd name="T7" fmla="*/ 75 h 103"/>
                    <a:gd name="T8" fmla="*/ 59 w 204"/>
                    <a:gd name="T9" fmla="*/ 0 h 103"/>
                  </a:gdLst>
                  <a:ahLst/>
                  <a:cxnLst>
                    <a:cxn ang="0">
                      <a:pos x="T0" y="T1"/>
                    </a:cxn>
                    <a:cxn ang="0">
                      <a:pos x="T2" y="T3"/>
                    </a:cxn>
                    <a:cxn ang="0">
                      <a:pos x="T4" y="T5"/>
                    </a:cxn>
                    <a:cxn ang="0">
                      <a:pos x="T6" y="T7"/>
                    </a:cxn>
                    <a:cxn ang="0">
                      <a:pos x="T8" y="T9"/>
                    </a:cxn>
                  </a:cxnLst>
                  <a:rect l="0" t="0" r="r" b="b"/>
                  <a:pathLst>
                    <a:path w="204" h="103">
                      <a:moveTo>
                        <a:pt x="59" y="0"/>
                      </a:moveTo>
                      <a:lnTo>
                        <a:pt x="0" y="29"/>
                      </a:lnTo>
                      <a:lnTo>
                        <a:pt x="147" y="103"/>
                      </a:lnTo>
                      <a:lnTo>
                        <a:pt x="204" y="75"/>
                      </a:lnTo>
                      <a:lnTo>
                        <a:pt x="5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9" name="Freeform 316">
                  <a:extLst>
                    <a:ext uri="{FF2B5EF4-FFF2-40B4-BE49-F238E27FC236}">
                      <a16:creationId xmlns:a16="http://schemas.microsoft.com/office/drawing/2014/main" id="{411D0ACD-1898-4C12-A694-1613C2B018E5}"/>
                    </a:ext>
                  </a:extLst>
                </p:cNvPr>
                <p:cNvSpPr>
                  <a:spLocks/>
                </p:cNvSpPr>
                <p:nvPr/>
              </p:nvSpPr>
              <p:spPr bwMode="auto">
                <a:xfrm>
                  <a:off x="9556751" y="5154613"/>
                  <a:ext cx="165100" cy="82550"/>
                </a:xfrm>
                <a:custGeom>
                  <a:avLst/>
                  <a:gdLst>
                    <a:gd name="T0" fmla="*/ 208 w 208"/>
                    <a:gd name="T1" fmla="*/ 73 h 105"/>
                    <a:gd name="T2" fmla="*/ 62 w 208"/>
                    <a:gd name="T3" fmla="*/ 0 h 105"/>
                    <a:gd name="T4" fmla="*/ 62 w 208"/>
                    <a:gd name="T5" fmla="*/ 0 h 105"/>
                    <a:gd name="T6" fmla="*/ 58 w 208"/>
                    <a:gd name="T7" fmla="*/ 0 h 105"/>
                    <a:gd name="T8" fmla="*/ 0 w 208"/>
                    <a:gd name="T9" fmla="*/ 30 h 105"/>
                    <a:gd name="T10" fmla="*/ 145 w 208"/>
                    <a:gd name="T11" fmla="*/ 105 h 105"/>
                    <a:gd name="T12" fmla="*/ 208 w 208"/>
                    <a:gd name="T13" fmla="*/ 73 h 105"/>
                  </a:gdLst>
                  <a:ahLst/>
                  <a:cxnLst>
                    <a:cxn ang="0">
                      <a:pos x="T0" y="T1"/>
                    </a:cxn>
                    <a:cxn ang="0">
                      <a:pos x="T2" y="T3"/>
                    </a:cxn>
                    <a:cxn ang="0">
                      <a:pos x="T4" y="T5"/>
                    </a:cxn>
                    <a:cxn ang="0">
                      <a:pos x="T6" y="T7"/>
                    </a:cxn>
                    <a:cxn ang="0">
                      <a:pos x="T8" y="T9"/>
                    </a:cxn>
                    <a:cxn ang="0">
                      <a:pos x="T10" y="T11"/>
                    </a:cxn>
                    <a:cxn ang="0">
                      <a:pos x="T12" y="T13"/>
                    </a:cxn>
                  </a:cxnLst>
                  <a:rect l="0" t="0" r="r" b="b"/>
                  <a:pathLst>
                    <a:path w="208" h="105">
                      <a:moveTo>
                        <a:pt x="208" y="73"/>
                      </a:moveTo>
                      <a:lnTo>
                        <a:pt x="62" y="0"/>
                      </a:lnTo>
                      <a:lnTo>
                        <a:pt x="62" y="0"/>
                      </a:lnTo>
                      <a:lnTo>
                        <a:pt x="58" y="0"/>
                      </a:lnTo>
                      <a:lnTo>
                        <a:pt x="0" y="30"/>
                      </a:lnTo>
                      <a:lnTo>
                        <a:pt x="145" y="105"/>
                      </a:lnTo>
                      <a:lnTo>
                        <a:pt x="208" y="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0" name="Freeform 317">
                  <a:extLst>
                    <a:ext uri="{FF2B5EF4-FFF2-40B4-BE49-F238E27FC236}">
                      <a16:creationId xmlns:a16="http://schemas.microsoft.com/office/drawing/2014/main" id="{2E33A8B0-8F7E-4671-94BC-ED2A259441F2}"/>
                    </a:ext>
                  </a:extLst>
                </p:cNvPr>
                <p:cNvSpPr>
                  <a:spLocks/>
                </p:cNvSpPr>
                <p:nvPr/>
              </p:nvSpPr>
              <p:spPr bwMode="auto">
                <a:xfrm>
                  <a:off x="9625013" y="5222875"/>
                  <a:ext cx="103188" cy="149225"/>
                </a:xfrm>
                <a:custGeom>
                  <a:avLst/>
                  <a:gdLst>
                    <a:gd name="T0" fmla="*/ 64 w 130"/>
                    <a:gd name="T1" fmla="*/ 32 h 186"/>
                    <a:gd name="T2" fmla="*/ 64 w 130"/>
                    <a:gd name="T3" fmla="*/ 32 h 186"/>
                    <a:gd name="T4" fmla="*/ 63 w 130"/>
                    <a:gd name="T5" fmla="*/ 33 h 186"/>
                    <a:gd name="T6" fmla="*/ 0 w 130"/>
                    <a:gd name="T7" fmla="*/ 65 h 186"/>
                    <a:gd name="T8" fmla="*/ 0 w 130"/>
                    <a:gd name="T9" fmla="*/ 186 h 186"/>
                    <a:gd name="T10" fmla="*/ 128 w 130"/>
                    <a:gd name="T11" fmla="*/ 122 h 186"/>
                    <a:gd name="T12" fmla="*/ 128 w 130"/>
                    <a:gd name="T13" fmla="*/ 122 h 186"/>
                    <a:gd name="T14" fmla="*/ 129 w 130"/>
                    <a:gd name="T15" fmla="*/ 121 h 186"/>
                    <a:gd name="T16" fmla="*/ 130 w 130"/>
                    <a:gd name="T17" fmla="*/ 118 h 186"/>
                    <a:gd name="T18" fmla="*/ 130 w 130"/>
                    <a:gd name="T19" fmla="*/ 0 h 186"/>
                    <a:gd name="T20" fmla="*/ 64 w 130"/>
                    <a:gd name="T21" fmla="*/ 3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0" h="186">
                      <a:moveTo>
                        <a:pt x="64" y="32"/>
                      </a:moveTo>
                      <a:lnTo>
                        <a:pt x="64" y="32"/>
                      </a:lnTo>
                      <a:lnTo>
                        <a:pt x="63" y="33"/>
                      </a:lnTo>
                      <a:lnTo>
                        <a:pt x="0" y="65"/>
                      </a:lnTo>
                      <a:lnTo>
                        <a:pt x="0" y="186"/>
                      </a:lnTo>
                      <a:lnTo>
                        <a:pt x="128" y="122"/>
                      </a:lnTo>
                      <a:lnTo>
                        <a:pt x="128" y="122"/>
                      </a:lnTo>
                      <a:lnTo>
                        <a:pt x="129" y="121"/>
                      </a:lnTo>
                      <a:lnTo>
                        <a:pt x="130" y="118"/>
                      </a:lnTo>
                      <a:lnTo>
                        <a:pt x="130" y="0"/>
                      </a:lnTo>
                      <a:lnTo>
                        <a:pt x="64"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1" name="Freeform 318">
                  <a:extLst>
                    <a:ext uri="{FF2B5EF4-FFF2-40B4-BE49-F238E27FC236}">
                      <a16:creationId xmlns:a16="http://schemas.microsoft.com/office/drawing/2014/main" id="{2E60843F-F7E4-475C-9245-C7355866237D}"/>
                    </a:ext>
                  </a:extLst>
                </p:cNvPr>
                <p:cNvSpPr>
                  <a:spLocks noEditPoints="1"/>
                </p:cNvSpPr>
                <p:nvPr/>
              </p:nvSpPr>
              <p:spPr bwMode="auto">
                <a:xfrm>
                  <a:off x="9493251" y="5216525"/>
                  <a:ext cx="117475" cy="153988"/>
                </a:xfrm>
                <a:custGeom>
                  <a:avLst/>
                  <a:gdLst>
                    <a:gd name="T0" fmla="*/ 0 w 150"/>
                    <a:gd name="T1" fmla="*/ 118 h 195"/>
                    <a:gd name="T2" fmla="*/ 0 w 150"/>
                    <a:gd name="T3" fmla="*/ 118 h 195"/>
                    <a:gd name="T4" fmla="*/ 2 w 150"/>
                    <a:gd name="T5" fmla="*/ 121 h 195"/>
                    <a:gd name="T6" fmla="*/ 4 w 150"/>
                    <a:gd name="T7" fmla="*/ 122 h 195"/>
                    <a:gd name="T8" fmla="*/ 150 w 150"/>
                    <a:gd name="T9" fmla="*/ 195 h 195"/>
                    <a:gd name="T10" fmla="*/ 150 w 150"/>
                    <a:gd name="T11" fmla="*/ 74 h 195"/>
                    <a:gd name="T12" fmla="*/ 0 w 150"/>
                    <a:gd name="T13" fmla="*/ 0 h 195"/>
                    <a:gd name="T14" fmla="*/ 0 w 150"/>
                    <a:gd name="T15" fmla="*/ 118 h 195"/>
                    <a:gd name="T16" fmla="*/ 43 w 150"/>
                    <a:gd name="T17" fmla="*/ 65 h 195"/>
                    <a:gd name="T18" fmla="*/ 43 w 150"/>
                    <a:gd name="T19" fmla="*/ 65 h 195"/>
                    <a:gd name="T20" fmla="*/ 43 w 150"/>
                    <a:gd name="T21" fmla="*/ 63 h 195"/>
                    <a:gd name="T22" fmla="*/ 45 w 150"/>
                    <a:gd name="T23" fmla="*/ 61 h 195"/>
                    <a:gd name="T24" fmla="*/ 47 w 150"/>
                    <a:gd name="T25" fmla="*/ 61 h 195"/>
                    <a:gd name="T26" fmla="*/ 49 w 150"/>
                    <a:gd name="T27" fmla="*/ 61 h 195"/>
                    <a:gd name="T28" fmla="*/ 115 w 150"/>
                    <a:gd name="T29" fmla="*/ 93 h 195"/>
                    <a:gd name="T30" fmla="*/ 115 w 150"/>
                    <a:gd name="T31" fmla="*/ 93 h 195"/>
                    <a:gd name="T32" fmla="*/ 116 w 150"/>
                    <a:gd name="T33" fmla="*/ 96 h 195"/>
                    <a:gd name="T34" fmla="*/ 117 w 150"/>
                    <a:gd name="T35" fmla="*/ 97 h 195"/>
                    <a:gd name="T36" fmla="*/ 117 w 150"/>
                    <a:gd name="T37" fmla="*/ 125 h 195"/>
                    <a:gd name="T38" fmla="*/ 117 w 150"/>
                    <a:gd name="T39" fmla="*/ 125 h 195"/>
                    <a:gd name="T40" fmla="*/ 117 w 150"/>
                    <a:gd name="T41" fmla="*/ 128 h 195"/>
                    <a:gd name="T42" fmla="*/ 115 w 150"/>
                    <a:gd name="T43" fmla="*/ 129 h 195"/>
                    <a:gd name="T44" fmla="*/ 113 w 150"/>
                    <a:gd name="T45" fmla="*/ 129 h 195"/>
                    <a:gd name="T46" fmla="*/ 111 w 150"/>
                    <a:gd name="T47" fmla="*/ 129 h 195"/>
                    <a:gd name="T48" fmla="*/ 46 w 150"/>
                    <a:gd name="T49" fmla="*/ 97 h 195"/>
                    <a:gd name="T50" fmla="*/ 46 w 150"/>
                    <a:gd name="T51" fmla="*/ 97 h 195"/>
                    <a:gd name="T52" fmla="*/ 43 w 150"/>
                    <a:gd name="T53" fmla="*/ 94 h 195"/>
                    <a:gd name="T54" fmla="*/ 43 w 150"/>
                    <a:gd name="T55" fmla="*/ 93 h 195"/>
                    <a:gd name="T56" fmla="*/ 43 w 150"/>
                    <a:gd name="T57" fmla="*/ 6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0" h="195">
                      <a:moveTo>
                        <a:pt x="0" y="118"/>
                      </a:moveTo>
                      <a:lnTo>
                        <a:pt x="0" y="118"/>
                      </a:lnTo>
                      <a:lnTo>
                        <a:pt x="2" y="121"/>
                      </a:lnTo>
                      <a:lnTo>
                        <a:pt x="4" y="122"/>
                      </a:lnTo>
                      <a:lnTo>
                        <a:pt x="150" y="195"/>
                      </a:lnTo>
                      <a:lnTo>
                        <a:pt x="150" y="74"/>
                      </a:lnTo>
                      <a:lnTo>
                        <a:pt x="0" y="0"/>
                      </a:lnTo>
                      <a:lnTo>
                        <a:pt x="0" y="118"/>
                      </a:lnTo>
                      <a:close/>
                      <a:moveTo>
                        <a:pt x="43" y="65"/>
                      </a:moveTo>
                      <a:lnTo>
                        <a:pt x="43" y="65"/>
                      </a:lnTo>
                      <a:lnTo>
                        <a:pt x="43" y="63"/>
                      </a:lnTo>
                      <a:lnTo>
                        <a:pt x="45" y="61"/>
                      </a:lnTo>
                      <a:lnTo>
                        <a:pt x="47" y="61"/>
                      </a:lnTo>
                      <a:lnTo>
                        <a:pt x="49" y="61"/>
                      </a:lnTo>
                      <a:lnTo>
                        <a:pt x="115" y="93"/>
                      </a:lnTo>
                      <a:lnTo>
                        <a:pt x="115" y="93"/>
                      </a:lnTo>
                      <a:lnTo>
                        <a:pt x="116" y="96"/>
                      </a:lnTo>
                      <a:lnTo>
                        <a:pt x="117" y="97"/>
                      </a:lnTo>
                      <a:lnTo>
                        <a:pt x="117" y="125"/>
                      </a:lnTo>
                      <a:lnTo>
                        <a:pt x="117" y="125"/>
                      </a:lnTo>
                      <a:lnTo>
                        <a:pt x="117" y="128"/>
                      </a:lnTo>
                      <a:lnTo>
                        <a:pt x="115" y="129"/>
                      </a:lnTo>
                      <a:lnTo>
                        <a:pt x="113" y="129"/>
                      </a:lnTo>
                      <a:lnTo>
                        <a:pt x="111" y="129"/>
                      </a:lnTo>
                      <a:lnTo>
                        <a:pt x="46" y="97"/>
                      </a:lnTo>
                      <a:lnTo>
                        <a:pt x="46" y="97"/>
                      </a:lnTo>
                      <a:lnTo>
                        <a:pt x="43" y="94"/>
                      </a:lnTo>
                      <a:lnTo>
                        <a:pt x="43" y="93"/>
                      </a:lnTo>
                      <a:lnTo>
                        <a:pt x="43"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a:ea typeface="+mn-ea"/>
                    <a:cs typeface="+mn-cs"/>
                  </a:endParaRPr>
                </a:p>
              </p:txBody>
            </p:sp>
          </p:grpSp>
        </p:grpSp>
        <p:sp>
          <p:nvSpPr>
            <p:cNvPr id="14" name="Freeform 5">
              <a:extLst>
                <a:ext uri="{FF2B5EF4-FFF2-40B4-BE49-F238E27FC236}">
                  <a16:creationId xmlns:a16="http://schemas.microsoft.com/office/drawing/2014/main" id="{C4874EE2-E223-463A-87BF-217F92ADFCCD}"/>
                </a:ext>
              </a:extLst>
            </p:cNvPr>
            <p:cNvSpPr>
              <a:spLocks noEditPoints="1"/>
            </p:cNvSpPr>
            <p:nvPr/>
          </p:nvSpPr>
          <p:spPr bwMode="auto">
            <a:xfrm>
              <a:off x="7118408" y="1794140"/>
              <a:ext cx="1936069" cy="2338970"/>
            </a:xfrm>
            <a:custGeom>
              <a:avLst/>
              <a:gdLst>
                <a:gd name="T0" fmla="*/ 1114 w 1114"/>
                <a:gd name="T1" fmla="*/ 1366 h 1366"/>
                <a:gd name="T2" fmla="*/ 0 w 1114"/>
                <a:gd name="T3" fmla="*/ 1366 h 1366"/>
                <a:gd name="T4" fmla="*/ 0 w 1114"/>
                <a:gd name="T5" fmla="*/ 1364 h 1366"/>
                <a:gd name="T6" fmla="*/ 556 w 1114"/>
                <a:gd name="T7" fmla="*/ 0 h 1366"/>
                <a:gd name="T8" fmla="*/ 558 w 1114"/>
                <a:gd name="T9" fmla="*/ 4 h 1366"/>
                <a:gd name="T10" fmla="*/ 1114 w 1114"/>
                <a:gd name="T11" fmla="*/ 1366 h 1366"/>
                <a:gd name="T12" fmla="*/ 4 w 1114"/>
                <a:gd name="T13" fmla="*/ 1364 h 1366"/>
                <a:gd name="T14" fmla="*/ 1110 w 1114"/>
                <a:gd name="T15" fmla="*/ 1364 h 1366"/>
                <a:gd name="T16" fmla="*/ 556 w 1114"/>
                <a:gd name="T17" fmla="*/ 8 h 1366"/>
                <a:gd name="T18" fmla="*/ 4 w 1114"/>
                <a:gd name="T19" fmla="*/ 1364 h 1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4" h="1366">
                  <a:moveTo>
                    <a:pt x="1114" y="1366"/>
                  </a:moveTo>
                  <a:lnTo>
                    <a:pt x="0" y="1366"/>
                  </a:lnTo>
                  <a:lnTo>
                    <a:pt x="0" y="1364"/>
                  </a:lnTo>
                  <a:lnTo>
                    <a:pt x="556" y="0"/>
                  </a:lnTo>
                  <a:lnTo>
                    <a:pt x="558" y="4"/>
                  </a:lnTo>
                  <a:lnTo>
                    <a:pt x="1114" y="1366"/>
                  </a:lnTo>
                  <a:close/>
                  <a:moveTo>
                    <a:pt x="4" y="1364"/>
                  </a:moveTo>
                  <a:lnTo>
                    <a:pt x="1110" y="1364"/>
                  </a:lnTo>
                  <a:lnTo>
                    <a:pt x="556" y="8"/>
                  </a:lnTo>
                  <a:lnTo>
                    <a:pt x="4" y="1364"/>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5" name="Freeform 6">
              <a:extLst>
                <a:ext uri="{FF2B5EF4-FFF2-40B4-BE49-F238E27FC236}">
                  <a16:creationId xmlns:a16="http://schemas.microsoft.com/office/drawing/2014/main" id="{90DFAD29-208F-48B2-9457-9C4730F7C1DD}"/>
                </a:ext>
              </a:extLst>
            </p:cNvPr>
            <p:cNvSpPr>
              <a:spLocks noEditPoints="1"/>
            </p:cNvSpPr>
            <p:nvPr/>
          </p:nvSpPr>
          <p:spPr bwMode="auto">
            <a:xfrm>
              <a:off x="7118408" y="2205085"/>
              <a:ext cx="1939545" cy="2338970"/>
            </a:xfrm>
            <a:custGeom>
              <a:avLst/>
              <a:gdLst>
                <a:gd name="T0" fmla="*/ 558 w 1116"/>
                <a:gd name="T1" fmla="*/ 1366 h 1366"/>
                <a:gd name="T2" fmla="*/ 556 w 1116"/>
                <a:gd name="T3" fmla="*/ 1362 h 1366"/>
                <a:gd name="T4" fmla="*/ 0 w 1116"/>
                <a:gd name="T5" fmla="*/ 0 h 1366"/>
                <a:gd name="T6" fmla="*/ 1116 w 1116"/>
                <a:gd name="T7" fmla="*/ 0 h 1366"/>
                <a:gd name="T8" fmla="*/ 1116 w 1116"/>
                <a:gd name="T9" fmla="*/ 2 h 1366"/>
                <a:gd name="T10" fmla="*/ 558 w 1116"/>
                <a:gd name="T11" fmla="*/ 1366 h 1366"/>
                <a:gd name="T12" fmla="*/ 4 w 1116"/>
                <a:gd name="T13" fmla="*/ 2 h 1366"/>
                <a:gd name="T14" fmla="*/ 558 w 1116"/>
                <a:gd name="T15" fmla="*/ 1358 h 1366"/>
                <a:gd name="T16" fmla="*/ 1112 w 1116"/>
                <a:gd name="T17" fmla="*/ 2 h 1366"/>
                <a:gd name="T18" fmla="*/ 4 w 1116"/>
                <a:gd name="T19" fmla="*/ 2 h 1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6" h="1366">
                  <a:moveTo>
                    <a:pt x="558" y="1366"/>
                  </a:moveTo>
                  <a:lnTo>
                    <a:pt x="556" y="1362"/>
                  </a:lnTo>
                  <a:lnTo>
                    <a:pt x="0" y="0"/>
                  </a:lnTo>
                  <a:lnTo>
                    <a:pt x="1116" y="0"/>
                  </a:lnTo>
                  <a:lnTo>
                    <a:pt x="1116" y="2"/>
                  </a:lnTo>
                  <a:lnTo>
                    <a:pt x="558" y="1366"/>
                  </a:lnTo>
                  <a:close/>
                  <a:moveTo>
                    <a:pt x="4" y="2"/>
                  </a:moveTo>
                  <a:lnTo>
                    <a:pt x="558" y="1358"/>
                  </a:lnTo>
                  <a:lnTo>
                    <a:pt x="1112" y="2"/>
                  </a:lnTo>
                  <a:lnTo>
                    <a:pt x="4" y="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6" name="Freeform 7">
              <a:extLst>
                <a:ext uri="{FF2B5EF4-FFF2-40B4-BE49-F238E27FC236}">
                  <a16:creationId xmlns:a16="http://schemas.microsoft.com/office/drawing/2014/main" id="{DD7E034C-432B-4184-A01C-C820012E8795}"/>
                </a:ext>
              </a:extLst>
            </p:cNvPr>
            <p:cNvSpPr>
              <a:spLocks noEditPoints="1"/>
            </p:cNvSpPr>
            <p:nvPr/>
          </p:nvSpPr>
          <p:spPr bwMode="auto">
            <a:xfrm>
              <a:off x="6809054" y="2650277"/>
              <a:ext cx="2565203" cy="1065036"/>
            </a:xfrm>
            <a:custGeom>
              <a:avLst/>
              <a:gdLst>
                <a:gd name="T0" fmla="*/ 1476 w 1476"/>
                <a:gd name="T1" fmla="*/ 622 h 622"/>
                <a:gd name="T2" fmla="*/ 0 w 1476"/>
                <a:gd name="T3" fmla="*/ 622 h 622"/>
                <a:gd name="T4" fmla="*/ 0 w 1476"/>
                <a:gd name="T5" fmla="*/ 0 h 622"/>
                <a:gd name="T6" fmla="*/ 1476 w 1476"/>
                <a:gd name="T7" fmla="*/ 0 h 622"/>
                <a:gd name="T8" fmla="*/ 1476 w 1476"/>
                <a:gd name="T9" fmla="*/ 622 h 622"/>
                <a:gd name="T10" fmla="*/ 2 w 1476"/>
                <a:gd name="T11" fmla="*/ 620 h 622"/>
                <a:gd name="T12" fmla="*/ 1474 w 1476"/>
                <a:gd name="T13" fmla="*/ 620 h 622"/>
                <a:gd name="T14" fmla="*/ 1474 w 1476"/>
                <a:gd name="T15" fmla="*/ 4 h 622"/>
                <a:gd name="T16" fmla="*/ 2 w 1476"/>
                <a:gd name="T17" fmla="*/ 4 h 622"/>
                <a:gd name="T18" fmla="*/ 2 w 1476"/>
                <a:gd name="T19" fmla="*/ 620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6" h="622">
                  <a:moveTo>
                    <a:pt x="1476" y="622"/>
                  </a:moveTo>
                  <a:lnTo>
                    <a:pt x="0" y="622"/>
                  </a:lnTo>
                  <a:lnTo>
                    <a:pt x="0" y="0"/>
                  </a:lnTo>
                  <a:lnTo>
                    <a:pt x="1476" y="0"/>
                  </a:lnTo>
                  <a:lnTo>
                    <a:pt x="1476" y="622"/>
                  </a:lnTo>
                  <a:close/>
                  <a:moveTo>
                    <a:pt x="2" y="620"/>
                  </a:moveTo>
                  <a:lnTo>
                    <a:pt x="1474" y="620"/>
                  </a:lnTo>
                  <a:lnTo>
                    <a:pt x="1474" y="4"/>
                  </a:lnTo>
                  <a:lnTo>
                    <a:pt x="2" y="4"/>
                  </a:lnTo>
                  <a:lnTo>
                    <a:pt x="2" y="620"/>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 name="Freeform 8">
              <a:extLst>
                <a:ext uri="{FF2B5EF4-FFF2-40B4-BE49-F238E27FC236}">
                  <a16:creationId xmlns:a16="http://schemas.microsoft.com/office/drawing/2014/main" id="{9B78EB65-B645-4029-8767-228CC9D74AD4}"/>
                </a:ext>
              </a:extLst>
            </p:cNvPr>
            <p:cNvSpPr>
              <a:spLocks noEditPoints="1"/>
            </p:cNvSpPr>
            <p:nvPr/>
          </p:nvSpPr>
          <p:spPr bwMode="auto">
            <a:xfrm>
              <a:off x="7549419" y="1917424"/>
              <a:ext cx="1081001" cy="2530744"/>
            </a:xfrm>
            <a:custGeom>
              <a:avLst/>
              <a:gdLst>
                <a:gd name="T0" fmla="*/ 622 w 622"/>
                <a:gd name="T1" fmla="*/ 1478 h 1478"/>
                <a:gd name="T2" fmla="*/ 0 w 622"/>
                <a:gd name="T3" fmla="*/ 1478 h 1478"/>
                <a:gd name="T4" fmla="*/ 0 w 622"/>
                <a:gd name="T5" fmla="*/ 0 h 1478"/>
                <a:gd name="T6" fmla="*/ 622 w 622"/>
                <a:gd name="T7" fmla="*/ 0 h 1478"/>
                <a:gd name="T8" fmla="*/ 622 w 622"/>
                <a:gd name="T9" fmla="*/ 1478 h 1478"/>
                <a:gd name="T10" fmla="*/ 4 w 622"/>
                <a:gd name="T11" fmla="*/ 1476 h 1478"/>
                <a:gd name="T12" fmla="*/ 620 w 622"/>
                <a:gd name="T13" fmla="*/ 1476 h 1478"/>
                <a:gd name="T14" fmla="*/ 620 w 622"/>
                <a:gd name="T15" fmla="*/ 4 h 1478"/>
                <a:gd name="T16" fmla="*/ 4 w 622"/>
                <a:gd name="T17" fmla="*/ 4 h 1478"/>
                <a:gd name="T18" fmla="*/ 4 w 622"/>
                <a:gd name="T19" fmla="*/ 1476 h 1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1478">
                  <a:moveTo>
                    <a:pt x="622" y="1478"/>
                  </a:moveTo>
                  <a:lnTo>
                    <a:pt x="0" y="1478"/>
                  </a:lnTo>
                  <a:lnTo>
                    <a:pt x="0" y="0"/>
                  </a:lnTo>
                  <a:lnTo>
                    <a:pt x="622" y="0"/>
                  </a:lnTo>
                  <a:lnTo>
                    <a:pt x="622" y="1478"/>
                  </a:lnTo>
                  <a:close/>
                  <a:moveTo>
                    <a:pt x="4" y="1476"/>
                  </a:moveTo>
                  <a:lnTo>
                    <a:pt x="620" y="1476"/>
                  </a:lnTo>
                  <a:lnTo>
                    <a:pt x="620" y="4"/>
                  </a:lnTo>
                  <a:lnTo>
                    <a:pt x="4" y="4"/>
                  </a:lnTo>
                  <a:lnTo>
                    <a:pt x="4" y="1476"/>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8" name="Freeform 9">
              <a:extLst>
                <a:ext uri="{FF2B5EF4-FFF2-40B4-BE49-F238E27FC236}">
                  <a16:creationId xmlns:a16="http://schemas.microsoft.com/office/drawing/2014/main" id="{B370DBF6-4D2E-4AA1-BCE2-A75DFDB51CF6}"/>
                </a:ext>
              </a:extLst>
            </p:cNvPr>
            <p:cNvSpPr>
              <a:spLocks/>
            </p:cNvSpPr>
            <p:nvPr/>
          </p:nvSpPr>
          <p:spPr bwMode="auto">
            <a:xfrm>
              <a:off x="6809054" y="2650277"/>
              <a:ext cx="2565203" cy="1065036"/>
            </a:xfrm>
            <a:custGeom>
              <a:avLst/>
              <a:gdLst>
                <a:gd name="T0" fmla="*/ 1474 w 1476"/>
                <a:gd name="T1" fmla="*/ 622 h 622"/>
                <a:gd name="T2" fmla="*/ 0 w 1476"/>
                <a:gd name="T3" fmla="*/ 2 h 622"/>
                <a:gd name="T4" fmla="*/ 0 w 1476"/>
                <a:gd name="T5" fmla="*/ 0 h 622"/>
                <a:gd name="T6" fmla="*/ 1476 w 1476"/>
                <a:gd name="T7" fmla="*/ 620 h 622"/>
                <a:gd name="T8" fmla="*/ 1474 w 1476"/>
                <a:gd name="T9" fmla="*/ 622 h 622"/>
              </a:gdLst>
              <a:ahLst/>
              <a:cxnLst>
                <a:cxn ang="0">
                  <a:pos x="T0" y="T1"/>
                </a:cxn>
                <a:cxn ang="0">
                  <a:pos x="T2" y="T3"/>
                </a:cxn>
                <a:cxn ang="0">
                  <a:pos x="T4" y="T5"/>
                </a:cxn>
                <a:cxn ang="0">
                  <a:pos x="T6" y="T7"/>
                </a:cxn>
                <a:cxn ang="0">
                  <a:pos x="T8" y="T9"/>
                </a:cxn>
              </a:cxnLst>
              <a:rect l="0" t="0" r="r" b="b"/>
              <a:pathLst>
                <a:path w="1476" h="622">
                  <a:moveTo>
                    <a:pt x="1474" y="622"/>
                  </a:moveTo>
                  <a:lnTo>
                    <a:pt x="0" y="2"/>
                  </a:lnTo>
                  <a:lnTo>
                    <a:pt x="0" y="0"/>
                  </a:lnTo>
                  <a:lnTo>
                    <a:pt x="1476" y="620"/>
                  </a:lnTo>
                  <a:lnTo>
                    <a:pt x="1474" y="62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9" name="Freeform 10">
              <a:extLst>
                <a:ext uri="{FF2B5EF4-FFF2-40B4-BE49-F238E27FC236}">
                  <a16:creationId xmlns:a16="http://schemas.microsoft.com/office/drawing/2014/main" id="{02D6B9B6-4576-44A4-BD2A-D379F2CE4BD1}"/>
                </a:ext>
              </a:extLst>
            </p:cNvPr>
            <p:cNvSpPr>
              <a:spLocks/>
            </p:cNvSpPr>
            <p:nvPr/>
          </p:nvSpPr>
          <p:spPr bwMode="auto">
            <a:xfrm>
              <a:off x="7135788" y="2205085"/>
              <a:ext cx="2335796" cy="975999"/>
            </a:xfrm>
            <a:custGeom>
              <a:avLst/>
              <a:gdLst>
                <a:gd name="T0" fmla="*/ 1342 w 1344"/>
                <a:gd name="T1" fmla="*/ 570 h 570"/>
                <a:gd name="T2" fmla="*/ 0 w 1344"/>
                <a:gd name="T3" fmla="*/ 2 h 570"/>
                <a:gd name="T4" fmla="*/ 0 w 1344"/>
                <a:gd name="T5" fmla="*/ 0 h 570"/>
                <a:gd name="T6" fmla="*/ 1344 w 1344"/>
                <a:gd name="T7" fmla="*/ 568 h 570"/>
                <a:gd name="T8" fmla="*/ 1342 w 1344"/>
                <a:gd name="T9" fmla="*/ 570 h 570"/>
              </a:gdLst>
              <a:ahLst/>
              <a:cxnLst>
                <a:cxn ang="0">
                  <a:pos x="T0" y="T1"/>
                </a:cxn>
                <a:cxn ang="0">
                  <a:pos x="T2" y="T3"/>
                </a:cxn>
                <a:cxn ang="0">
                  <a:pos x="T4" y="T5"/>
                </a:cxn>
                <a:cxn ang="0">
                  <a:pos x="T6" y="T7"/>
                </a:cxn>
                <a:cxn ang="0">
                  <a:pos x="T8" y="T9"/>
                </a:cxn>
              </a:cxnLst>
              <a:rect l="0" t="0" r="r" b="b"/>
              <a:pathLst>
                <a:path w="1344" h="570">
                  <a:moveTo>
                    <a:pt x="1342" y="570"/>
                  </a:moveTo>
                  <a:lnTo>
                    <a:pt x="0" y="2"/>
                  </a:lnTo>
                  <a:lnTo>
                    <a:pt x="0" y="0"/>
                  </a:lnTo>
                  <a:lnTo>
                    <a:pt x="1344" y="568"/>
                  </a:lnTo>
                  <a:lnTo>
                    <a:pt x="1342" y="570"/>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0" name="Freeform 11">
              <a:extLst>
                <a:ext uri="{FF2B5EF4-FFF2-40B4-BE49-F238E27FC236}">
                  <a16:creationId xmlns:a16="http://schemas.microsoft.com/office/drawing/2014/main" id="{C584B522-B880-4ACE-95D5-034E2B8FB1EC}"/>
                </a:ext>
              </a:extLst>
            </p:cNvPr>
            <p:cNvSpPr>
              <a:spLocks/>
            </p:cNvSpPr>
            <p:nvPr/>
          </p:nvSpPr>
          <p:spPr bwMode="auto">
            <a:xfrm>
              <a:off x="6687399" y="3153686"/>
              <a:ext cx="2367078" cy="979422"/>
            </a:xfrm>
            <a:custGeom>
              <a:avLst/>
              <a:gdLst>
                <a:gd name="T0" fmla="*/ 1360 w 1362"/>
                <a:gd name="T1" fmla="*/ 572 h 572"/>
                <a:gd name="T2" fmla="*/ 0 w 1362"/>
                <a:gd name="T3" fmla="*/ 2 h 572"/>
                <a:gd name="T4" fmla="*/ 2 w 1362"/>
                <a:gd name="T5" fmla="*/ 0 h 572"/>
                <a:gd name="T6" fmla="*/ 1362 w 1362"/>
                <a:gd name="T7" fmla="*/ 570 h 572"/>
                <a:gd name="T8" fmla="*/ 1360 w 1362"/>
                <a:gd name="T9" fmla="*/ 572 h 572"/>
              </a:gdLst>
              <a:ahLst/>
              <a:cxnLst>
                <a:cxn ang="0">
                  <a:pos x="T0" y="T1"/>
                </a:cxn>
                <a:cxn ang="0">
                  <a:pos x="T2" y="T3"/>
                </a:cxn>
                <a:cxn ang="0">
                  <a:pos x="T4" y="T5"/>
                </a:cxn>
                <a:cxn ang="0">
                  <a:pos x="T6" y="T7"/>
                </a:cxn>
                <a:cxn ang="0">
                  <a:pos x="T8" y="T9"/>
                </a:cxn>
              </a:cxnLst>
              <a:rect l="0" t="0" r="r" b="b"/>
              <a:pathLst>
                <a:path w="1362" h="572">
                  <a:moveTo>
                    <a:pt x="1360" y="572"/>
                  </a:moveTo>
                  <a:lnTo>
                    <a:pt x="0" y="2"/>
                  </a:lnTo>
                  <a:lnTo>
                    <a:pt x="2" y="0"/>
                  </a:lnTo>
                  <a:lnTo>
                    <a:pt x="1362" y="570"/>
                  </a:lnTo>
                  <a:lnTo>
                    <a:pt x="1360" y="57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1" name="Freeform 12">
              <a:extLst>
                <a:ext uri="{FF2B5EF4-FFF2-40B4-BE49-F238E27FC236}">
                  <a16:creationId xmlns:a16="http://schemas.microsoft.com/office/drawing/2014/main" id="{9B08ACA7-4606-49F7-97C8-EF2339C61827}"/>
                </a:ext>
              </a:extLst>
            </p:cNvPr>
            <p:cNvSpPr>
              <a:spLocks/>
            </p:cNvSpPr>
            <p:nvPr/>
          </p:nvSpPr>
          <p:spPr bwMode="auto">
            <a:xfrm>
              <a:off x="6788199" y="2650277"/>
              <a:ext cx="2586060" cy="1065036"/>
            </a:xfrm>
            <a:custGeom>
              <a:avLst/>
              <a:gdLst>
                <a:gd name="T0" fmla="*/ 0 w 1488"/>
                <a:gd name="T1" fmla="*/ 622 h 622"/>
                <a:gd name="T2" fmla="*/ 0 w 1488"/>
                <a:gd name="T3" fmla="*/ 620 h 622"/>
                <a:gd name="T4" fmla="*/ 1486 w 1488"/>
                <a:gd name="T5" fmla="*/ 0 h 622"/>
                <a:gd name="T6" fmla="*/ 1488 w 1488"/>
                <a:gd name="T7" fmla="*/ 2 h 622"/>
                <a:gd name="T8" fmla="*/ 0 w 1488"/>
                <a:gd name="T9" fmla="*/ 622 h 622"/>
              </a:gdLst>
              <a:ahLst/>
              <a:cxnLst>
                <a:cxn ang="0">
                  <a:pos x="T0" y="T1"/>
                </a:cxn>
                <a:cxn ang="0">
                  <a:pos x="T2" y="T3"/>
                </a:cxn>
                <a:cxn ang="0">
                  <a:pos x="T4" y="T5"/>
                </a:cxn>
                <a:cxn ang="0">
                  <a:pos x="T6" y="T7"/>
                </a:cxn>
                <a:cxn ang="0">
                  <a:pos x="T8" y="T9"/>
                </a:cxn>
              </a:cxnLst>
              <a:rect l="0" t="0" r="r" b="b"/>
              <a:pathLst>
                <a:path w="1488" h="622">
                  <a:moveTo>
                    <a:pt x="0" y="622"/>
                  </a:moveTo>
                  <a:lnTo>
                    <a:pt x="0" y="620"/>
                  </a:lnTo>
                  <a:lnTo>
                    <a:pt x="1486" y="0"/>
                  </a:lnTo>
                  <a:lnTo>
                    <a:pt x="1488" y="2"/>
                  </a:lnTo>
                  <a:lnTo>
                    <a:pt x="0" y="62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2" name="Freeform 13">
              <a:extLst>
                <a:ext uri="{FF2B5EF4-FFF2-40B4-BE49-F238E27FC236}">
                  <a16:creationId xmlns:a16="http://schemas.microsoft.com/office/drawing/2014/main" id="{C5BF4FF4-CFA2-4EA3-9133-7EAFE7762CDD}"/>
                </a:ext>
              </a:extLst>
            </p:cNvPr>
            <p:cNvSpPr>
              <a:spLocks/>
            </p:cNvSpPr>
            <p:nvPr/>
          </p:nvSpPr>
          <p:spPr bwMode="auto">
            <a:xfrm>
              <a:off x="6690874" y="2205085"/>
              <a:ext cx="2363603" cy="952025"/>
            </a:xfrm>
            <a:custGeom>
              <a:avLst/>
              <a:gdLst>
                <a:gd name="T0" fmla="*/ 0 w 1360"/>
                <a:gd name="T1" fmla="*/ 556 h 556"/>
                <a:gd name="T2" fmla="*/ 0 w 1360"/>
                <a:gd name="T3" fmla="*/ 554 h 556"/>
                <a:gd name="T4" fmla="*/ 1360 w 1360"/>
                <a:gd name="T5" fmla="*/ 0 h 556"/>
                <a:gd name="T6" fmla="*/ 1360 w 1360"/>
                <a:gd name="T7" fmla="*/ 2 h 556"/>
                <a:gd name="T8" fmla="*/ 0 w 1360"/>
                <a:gd name="T9" fmla="*/ 556 h 556"/>
              </a:gdLst>
              <a:ahLst/>
              <a:cxnLst>
                <a:cxn ang="0">
                  <a:pos x="T0" y="T1"/>
                </a:cxn>
                <a:cxn ang="0">
                  <a:pos x="T2" y="T3"/>
                </a:cxn>
                <a:cxn ang="0">
                  <a:pos x="T4" y="T5"/>
                </a:cxn>
                <a:cxn ang="0">
                  <a:pos x="T6" y="T7"/>
                </a:cxn>
                <a:cxn ang="0">
                  <a:pos x="T8" y="T9"/>
                </a:cxn>
              </a:cxnLst>
              <a:rect l="0" t="0" r="r" b="b"/>
              <a:pathLst>
                <a:path w="1360" h="556">
                  <a:moveTo>
                    <a:pt x="0" y="556"/>
                  </a:moveTo>
                  <a:lnTo>
                    <a:pt x="0" y="554"/>
                  </a:lnTo>
                  <a:lnTo>
                    <a:pt x="1360" y="0"/>
                  </a:lnTo>
                  <a:lnTo>
                    <a:pt x="1360" y="2"/>
                  </a:lnTo>
                  <a:lnTo>
                    <a:pt x="0" y="556"/>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3" name="Freeform 14">
              <a:extLst>
                <a:ext uri="{FF2B5EF4-FFF2-40B4-BE49-F238E27FC236}">
                  <a16:creationId xmlns:a16="http://schemas.microsoft.com/office/drawing/2014/main" id="{F6551FD8-0178-49CD-8A78-30B53B315F24}"/>
                </a:ext>
              </a:extLst>
            </p:cNvPr>
            <p:cNvSpPr>
              <a:spLocks/>
            </p:cNvSpPr>
            <p:nvPr/>
          </p:nvSpPr>
          <p:spPr bwMode="auto">
            <a:xfrm>
              <a:off x="7118408" y="3177659"/>
              <a:ext cx="2353175" cy="955449"/>
            </a:xfrm>
            <a:custGeom>
              <a:avLst/>
              <a:gdLst>
                <a:gd name="T0" fmla="*/ 2 w 1354"/>
                <a:gd name="T1" fmla="*/ 558 h 558"/>
                <a:gd name="T2" fmla="*/ 0 w 1354"/>
                <a:gd name="T3" fmla="*/ 556 h 558"/>
                <a:gd name="T4" fmla="*/ 1352 w 1354"/>
                <a:gd name="T5" fmla="*/ 0 h 558"/>
                <a:gd name="T6" fmla="*/ 1354 w 1354"/>
                <a:gd name="T7" fmla="*/ 4 h 558"/>
                <a:gd name="T8" fmla="*/ 2 w 1354"/>
                <a:gd name="T9" fmla="*/ 558 h 558"/>
              </a:gdLst>
              <a:ahLst/>
              <a:cxnLst>
                <a:cxn ang="0">
                  <a:pos x="T0" y="T1"/>
                </a:cxn>
                <a:cxn ang="0">
                  <a:pos x="T2" y="T3"/>
                </a:cxn>
                <a:cxn ang="0">
                  <a:pos x="T4" y="T5"/>
                </a:cxn>
                <a:cxn ang="0">
                  <a:pos x="T6" y="T7"/>
                </a:cxn>
                <a:cxn ang="0">
                  <a:pos x="T8" y="T9"/>
                </a:cxn>
              </a:cxnLst>
              <a:rect l="0" t="0" r="r" b="b"/>
              <a:pathLst>
                <a:path w="1354" h="558">
                  <a:moveTo>
                    <a:pt x="2" y="558"/>
                  </a:moveTo>
                  <a:lnTo>
                    <a:pt x="0" y="556"/>
                  </a:lnTo>
                  <a:lnTo>
                    <a:pt x="1352" y="0"/>
                  </a:lnTo>
                  <a:lnTo>
                    <a:pt x="1354" y="4"/>
                  </a:lnTo>
                  <a:lnTo>
                    <a:pt x="2" y="558"/>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4" name="Freeform 15">
              <a:extLst>
                <a:ext uri="{FF2B5EF4-FFF2-40B4-BE49-F238E27FC236}">
                  <a16:creationId xmlns:a16="http://schemas.microsoft.com/office/drawing/2014/main" id="{A579D129-9CE9-4414-A59F-3931800E6E84}"/>
                </a:ext>
              </a:extLst>
            </p:cNvPr>
            <p:cNvSpPr>
              <a:spLocks/>
            </p:cNvSpPr>
            <p:nvPr/>
          </p:nvSpPr>
          <p:spPr bwMode="auto">
            <a:xfrm>
              <a:off x="7549419" y="1920848"/>
              <a:ext cx="1081001" cy="2527320"/>
            </a:xfrm>
            <a:custGeom>
              <a:avLst/>
              <a:gdLst>
                <a:gd name="T0" fmla="*/ 620 w 622"/>
                <a:gd name="T1" fmla="*/ 1476 h 1476"/>
                <a:gd name="T2" fmla="*/ 0 w 622"/>
                <a:gd name="T3" fmla="*/ 0 h 1476"/>
                <a:gd name="T4" fmla="*/ 4 w 622"/>
                <a:gd name="T5" fmla="*/ 0 h 1476"/>
                <a:gd name="T6" fmla="*/ 622 w 622"/>
                <a:gd name="T7" fmla="*/ 1474 h 1476"/>
                <a:gd name="T8" fmla="*/ 620 w 622"/>
                <a:gd name="T9" fmla="*/ 1476 h 1476"/>
              </a:gdLst>
              <a:ahLst/>
              <a:cxnLst>
                <a:cxn ang="0">
                  <a:pos x="T0" y="T1"/>
                </a:cxn>
                <a:cxn ang="0">
                  <a:pos x="T2" y="T3"/>
                </a:cxn>
                <a:cxn ang="0">
                  <a:pos x="T4" y="T5"/>
                </a:cxn>
                <a:cxn ang="0">
                  <a:pos x="T6" y="T7"/>
                </a:cxn>
                <a:cxn ang="0">
                  <a:pos x="T8" y="T9"/>
                </a:cxn>
              </a:cxnLst>
              <a:rect l="0" t="0" r="r" b="b"/>
              <a:pathLst>
                <a:path w="622" h="1476">
                  <a:moveTo>
                    <a:pt x="620" y="1476"/>
                  </a:moveTo>
                  <a:lnTo>
                    <a:pt x="0" y="0"/>
                  </a:lnTo>
                  <a:lnTo>
                    <a:pt x="4" y="0"/>
                  </a:lnTo>
                  <a:lnTo>
                    <a:pt x="622" y="1474"/>
                  </a:lnTo>
                  <a:lnTo>
                    <a:pt x="620" y="1476"/>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5" name="Freeform 16">
              <a:extLst>
                <a:ext uri="{FF2B5EF4-FFF2-40B4-BE49-F238E27FC236}">
                  <a16:creationId xmlns:a16="http://schemas.microsoft.com/office/drawing/2014/main" id="{0FE269D2-9136-4316-9B72-A09695C0B432}"/>
                </a:ext>
              </a:extLst>
            </p:cNvPr>
            <p:cNvSpPr>
              <a:spLocks/>
            </p:cNvSpPr>
            <p:nvPr/>
          </p:nvSpPr>
          <p:spPr bwMode="auto">
            <a:xfrm>
              <a:off x="7549419" y="1920848"/>
              <a:ext cx="1081001" cy="2527320"/>
            </a:xfrm>
            <a:custGeom>
              <a:avLst/>
              <a:gdLst>
                <a:gd name="T0" fmla="*/ 4 w 622"/>
                <a:gd name="T1" fmla="*/ 1476 h 1476"/>
                <a:gd name="T2" fmla="*/ 0 w 622"/>
                <a:gd name="T3" fmla="*/ 1474 h 1476"/>
                <a:gd name="T4" fmla="*/ 620 w 622"/>
                <a:gd name="T5" fmla="*/ 0 h 1476"/>
                <a:gd name="T6" fmla="*/ 622 w 622"/>
                <a:gd name="T7" fmla="*/ 0 h 1476"/>
                <a:gd name="T8" fmla="*/ 4 w 622"/>
                <a:gd name="T9" fmla="*/ 1476 h 1476"/>
              </a:gdLst>
              <a:ahLst/>
              <a:cxnLst>
                <a:cxn ang="0">
                  <a:pos x="T0" y="T1"/>
                </a:cxn>
                <a:cxn ang="0">
                  <a:pos x="T2" y="T3"/>
                </a:cxn>
                <a:cxn ang="0">
                  <a:pos x="T4" y="T5"/>
                </a:cxn>
                <a:cxn ang="0">
                  <a:pos x="T6" y="T7"/>
                </a:cxn>
                <a:cxn ang="0">
                  <a:pos x="T8" y="T9"/>
                </a:cxn>
              </a:cxnLst>
              <a:rect l="0" t="0" r="r" b="b"/>
              <a:pathLst>
                <a:path w="622" h="1476">
                  <a:moveTo>
                    <a:pt x="4" y="1476"/>
                  </a:moveTo>
                  <a:lnTo>
                    <a:pt x="0" y="1474"/>
                  </a:lnTo>
                  <a:lnTo>
                    <a:pt x="620" y="0"/>
                  </a:lnTo>
                  <a:lnTo>
                    <a:pt x="622" y="0"/>
                  </a:lnTo>
                  <a:lnTo>
                    <a:pt x="4" y="1476"/>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6" name="Freeform 17">
              <a:extLst>
                <a:ext uri="{FF2B5EF4-FFF2-40B4-BE49-F238E27FC236}">
                  <a16:creationId xmlns:a16="http://schemas.microsoft.com/office/drawing/2014/main" id="{B2B20711-7DFC-4511-864B-C87D4BFDA833}"/>
                </a:ext>
              </a:extLst>
            </p:cNvPr>
            <p:cNvSpPr>
              <a:spLocks/>
            </p:cNvSpPr>
            <p:nvPr/>
          </p:nvSpPr>
          <p:spPr bwMode="auto">
            <a:xfrm>
              <a:off x="6788199" y="2636580"/>
              <a:ext cx="38235" cy="37670"/>
            </a:xfrm>
            <a:custGeom>
              <a:avLst/>
              <a:gdLst>
                <a:gd name="T0" fmla="*/ 22 w 22"/>
                <a:gd name="T1" fmla="*/ 10 h 22"/>
                <a:gd name="T2" fmla="*/ 22 w 22"/>
                <a:gd name="T3" fmla="*/ 10 h 22"/>
                <a:gd name="T4" fmla="*/ 20 w 22"/>
                <a:gd name="T5" fmla="*/ 6 h 22"/>
                <a:gd name="T6" fmla="*/ 18 w 22"/>
                <a:gd name="T7" fmla="*/ 2 h 22"/>
                <a:gd name="T8" fmla="*/ 14 w 22"/>
                <a:gd name="T9" fmla="*/ 0 h 22"/>
                <a:gd name="T10" fmla="*/ 10 w 22"/>
                <a:gd name="T11" fmla="*/ 0 h 22"/>
                <a:gd name="T12" fmla="*/ 10 w 22"/>
                <a:gd name="T13" fmla="*/ 0 h 22"/>
                <a:gd name="T14" fmla="*/ 6 w 22"/>
                <a:gd name="T15" fmla="*/ 0 h 22"/>
                <a:gd name="T16" fmla="*/ 2 w 22"/>
                <a:gd name="T17" fmla="*/ 2 h 22"/>
                <a:gd name="T18" fmla="*/ 0 w 22"/>
                <a:gd name="T19" fmla="*/ 6 h 22"/>
                <a:gd name="T20" fmla="*/ 0 w 22"/>
                <a:gd name="T21" fmla="*/ 10 h 22"/>
                <a:gd name="T22" fmla="*/ 0 w 22"/>
                <a:gd name="T23" fmla="*/ 10 h 22"/>
                <a:gd name="T24" fmla="*/ 0 w 22"/>
                <a:gd name="T25" fmla="*/ 16 h 22"/>
                <a:gd name="T26" fmla="*/ 2 w 22"/>
                <a:gd name="T27" fmla="*/ 18 h 22"/>
                <a:gd name="T28" fmla="*/ 6 w 22"/>
                <a:gd name="T29" fmla="*/ 22 h 22"/>
                <a:gd name="T30" fmla="*/ 10 w 22"/>
                <a:gd name="T31" fmla="*/ 22 h 22"/>
                <a:gd name="T32" fmla="*/ 10 w 22"/>
                <a:gd name="T33" fmla="*/ 22 h 22"/>
                <a:gd name="T34" fmla="*/ 14 w 22"/>
                <a:gd name="T35" fmla="*/ 22 h 22"/>
                <a:gd name="T36" fmla="*/ 18 w 22"/>
                <a:gd name="T37" fmla="*/ 18 h 22"/>
                <a:gd name="T38" fmla="*/ 20 w 22"/>
                <a:gd name="T39" fmla="*/ 16 h 22"/>
                <a:gd name="T40" fmla="*/ 22 w 22"/>
                <a:gd name="T41" fmla="*/ 10 h 22"/>
                <a:gd name="T42" fmla="*/ 22 w 22"/>
                <a:gd name="T4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0"/>
                  </a:moveTo>
                  <a:lnTo>
                    <a:pt x="22" y="10"/>
                  </a:lnTo>
                  <a:lnTo>
                    <a:pt x="20" y="6"/>
                  </a:lnTo>
                  <a:lnTo>
                    <a:pt x="18" y="2"/>
                  </a:lnTo>
                  <a:lnTo>
                    <a:pt x="14" y="0"/>
                  </a:lnTo>
                  <a:lnTo>
                    <a:pt x="10" y="0"/>
                  </a:lnTo>
                  <a:lnTo>
                    <a:pt x="10" y="0"/>
                  </a:lnTo>
                  <a:lnTo>
                    <a:pt x="6" y="0"/>
                  </a:lnTo>
                  <a:lnTo>
                    <a:pt x="2" y="2"/>
                  </a:lnTo>
                  <a:lnTo>
                    <a:pt x="0" y="6"/>
                  </a:lnTo>
                  <a:lnTo>
                    <a:pt x="0" y="10"/>
                  </a:lnTo>
                  <a:lnTo>
                    <a:pt x="0" y="10"/>
                  </a:lnTo>
                  <a:lnTo>
                    <a:pt x="0" y="16"/>
                  </a:lnTo>
                  <a:lnTo>
                    <a:pt x="2" y="18"/>
                  </a:lnTo>
                  <a:lnTo>
                    <a:pt x="6" y="22"/>
                  </a:lnTo>
                  <a:lnTo>
                    <a:pt x="10" y="22"/>
                  </a:lnTo>
                  <a:lnTo>
                    <a:pt x="10" y="22"/>
                  </a:lnTo>
                  <a:lnTo>
                    <a:pt x="14" y="22"/>
                  </a:lnTo>
                  <a:lnTo>
                    <a:pt x="18" y="18"/>
                  </a:lnTo>
                  <a:lnTo>
                    <a:pt x="20" y="16"/>
                  </a:lnTo>
                  <a:lnTo>
                    <a:pt x="22" y="10"/>
                  </a:lnTo>
                  <a:lnTo>
                    <a:pt x="22" y="10"/>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7" name="Freeform 18">
              <a:extLst>
                <a:ext uri="{FF2B5EF4-FFF2-40B4-BE49-F238E27FC236}">
                  <a16:creationId xmlns:a16="http://schemas.microsoft.com/office/drawing/2014/main" id="{523DD3BB-DE8C-4222-88F3-F4168918999B}"/>
                </a:ext>
              </a:extLst>
            </p:cNvPr>
            <p:cNvSpPr>
              <a:spLocks/>
            </p:cNvSpPr>
            <p:nvPr/>
          </p:nvSpPr>
          <p:spPr bwMode="auto">
            <a:xfrm>
              <a:off x="7101029" y="2187962"/>
              <a:ext cx="38235" cy="37670"/>
            </a:xfrm>
            <a:custGeom>
              <a:avLst/>
              <a:gdLst>
                <a:gd name="T0" fmla="*/ 22 w 22"/>
                <a:gd name="T1" fmla="*/ 12 h 22"/>
                <a:gd name="T2" fmla="*/ 22 w 22"/>
                <a:gd name="T3" fmla="*/ 12 h 22"/>
                <a:gd name="T4" fmla="*/ 22 w 22"/>
                <a:gd name="T5" fmla="*/ 6 h 22"/>
                <a:gd name="T6" fmla="*/ 18 w 22"/>
                <a:gd name="T7" fmla="*/ 4 h 22"/>
                <a:gd name="T8" fmla="*/ 16 w 22"/>
                <a:gd name="T9" fmla="*/ 0 h 22"/>
                <a:gd name="T10" fmla="*/ 12 w 22"/>
                <a:gd name="T11" fmla="*/ 0 h 22"/>
                <a:gd name="T12" fmla="*/ 12 w 22"/>
                <a:gd name="T13" fmla="*/ 0 h 22"/>
                <a:gd name="T14" fmla="*/ 6 w 22"/>
                <a:gd name="T15" fmla="*/ 0 h 22"/>
                <a:gd name="T16" fmla="*/ 4 w 22"/>
                <a:gd name="T17" fmla="*/ 4 h 22"/>
                <a:gd name="T18" fmla="*/ 0 w 22"/>
                <a:gd name="T19" fmla="*/ 6 h 22"/>
                <a:gd name="T20" fmla="*/ 0 w 22"/>
                <a:gd name="T21" fmla="*/ 12 h 22"/>
                <a:gd name="T22" fmla="*/ 0 w 22"/>
                <a:gd name="T23" fmla="*/ 12 h 22"/>
                <a:gd name="T24" fmla="*/ 0 w 22"/>
                <a:gd name="T25" fmla="*/ 16 h 22"/>
                <a:gd name="T26" fmla="*/ 4 w 22"/>
                <a:gd name="T27" fmla="*/ 20 h 22"/>
                <a:gd name="T28" fmla="*/ 6 w 22"/>
                <a:gd name="T29" fmla="*/ 22 h 22"/>
                <a:gd name="T30" fmla="*/ 12 w 22"/>
                <a:gd name="T31" fmla="*/ 22 h 22"/>
                <a:gd name="T32" fmla="*/ 12 w 22"/>
                <a:gd name="T33" fmla="*/ 22 h 22"/>
                <a:gd name="T34" fmla="*/ 16 w 22"/>
                <a:gd name="T35" fmla="*/ 22 h 22"/>
                <a:gd name="T36" fmla="*/ 18 w 22"/>
                <a:gd name="T37" fmla="*/ 20 h 22"/>
                <a:gd name="T38" fmla="*/ 22 w 22"/>
                <a:gd name="T39" fmla="*/ 16 h 22"/>
                <a:gd name="T40" fmla="*/ 22 w 22"/>
                <a:gd name="T41" fmla="*/ 12 h 22"/>
                <a:gd name="T42" fmla="*/ 22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2"/>
                  </a:moveTo>
                  <a:lnTo>
                    <a:pt x="22" y="12"/>
                  </a:lnTo>
                  <a:lnTo>
                    <a:pt x="22" y="6"/>
                  </a:lnTo>
                  <a:lnTo>
                    <a:pt x="18" y="4"/>
                  </a:lnTo>
                  <a:lnTo>
                    <a:pt x="16" y="0"/>
                  </a:lnTo>
                  <a:lnTo>
                    <a:pt x="12" y="0"/>
                  </a:lnTo>
                  <a:lnTo>
                    <a:pt x="12" y="0"/>
                  </a:lnTo>
                  <a:lnTo>
                    <a:pt x="6" y="0"/>
                  </a:lnTo>
                  <a:lnTo>
                    <a:pt x="4" y="4"/>
                  </a:lnTo>
                  <a:lnTo>
                    <a:pt x="0" y="6"/>
                  </a:lnTo>
                  <a:lnTo>
                    <a:pt x="0" y="12"/>
                  </a:lnTo>
                  <a:lnTo>
                    <a:pt x="0" y="12"/>
                  </a:lnTo>
                  <a:lnTo>
                    <a:pt x="0" y="16"/>
                  </a:lnTo>
                  <a:lnTo>
                    <a:pt x="4" y="20"/>
                  </a:lnTo>
                  <a:lnTo>
                    <a:pt x="6" y="22"/>
                  </a:lnTo>
                  <a:lnTo>
                    <a:pt x="12" y="22"/>
                  </a:lnTo>
                  <a:lnTo>
                    <a:pt x="12" y="22"/>
                  </a:lnTo>
                  <a:lnTo>
                    <a:pt x="16" y="22"/>
                  </a:lnTo>
                  <a:lnTo>
                    <a:pt x="18" y="20"/>
                  </a:lnTo>
                  <a:lnTo>
                    <a:pt x="22" y="16"/>
                  </a:lnTo>
                  <a:lnTo>
                    <a:pt x="22" y="12"/>
                  </a:lnTo>
                  <a:lnTo>
                    <a:pt x="22" y="1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8" name="Freeform 19">
              <a:extLst>
                <a:ext uri="{FF2B5EF4-FFF2-40B4-BE49-F238E27FC236}">
                  <a16:creationId xmlns:a16="http://schemas.microsoft.com/office/drawing/2014/main" id="{A263164E-7881-4B0A-884D-76BB9E8519D7}"/>
                </a:ext>
              </a:extLst>
            </p:cNvPr>
            <p:cNvSpPr>
              <a:spLocks/>
            </p:cNvSpPr>
            <p:nvPr/>
          </p:nvSpPr>
          <p:spPr bwMode="auto">
            <a:xfrm>
              <a:off x="7532039" y="1903724"/>
              <a:ext cx="38235" cy="37670"/>
            </a:xfrm>
            <a:custGeom>
              <a:avLst/>
              <a:gdLst>
                <a:gd name="T0" fmla="*/ 22 w 22"/>
                <a:gd name="T1" fmla="*/ 10 h 22"/>
                <a:gd name="T2" fmla="*/ 22 w 22"/>
                <a:gd name="T3" fmla="*/ 10 h 22"/>
                <a:gd name="T4" fmla="*/ 22 w 22"/>
                <a:gd name="T5" fmla="*/ 6 h 22"/>
                <a:gd name="T6" fmla="*/ 20 w 22"/>
                <a:gd name="T7" fmla="*/ 2 h 22"/>
                <a:gd name="T8" fmla="*/ 16 w 22"/>
                <a:gd name="T9" fmla="*/ 0 h 22"/>
                <a:gd name="T10" fmla="*/ 12 w 22"/>
                <a:gd name="T11" fmla="*/ 0 h 22"/>
                <a:gd name="T12" fmla="*/ 12 w 22"/>
                <a:gd name="T13" fmla="*/ 0 h 22"/>
                <a:gd name="T14" fmla="*/ 8 w 22"/>
                <a:gd name="T15" fmla="*/ 0 h 22"/>
                <a:gd name="T16" fmla="*/ 4 w 22"/>
                <a:gd name="T17" fmla="*/ 2 h 22"/>
                <a:gd name="T18" fmla="*/ 2 w 22"/>
                <a:gd name="T19" fmla="*/ 6 h 22"/>
                <a:gd name="T20" fmla="*/ 0 w 22"/>
                <a:gd name="T21" fmla="*/ 10 h 22"/>
                <a:gd name="T22" fmla="*/ 0 w 22"/>
                <a:gd name="T23" fmla="*/ 10 h 22"/>
                <a:gd name="T24" fmla="*/ 2 w 22"/>
                <a:gd name="T25" fmla="*/ 14 h 22"/>
                <a:gd name="T26" fmla="*/ 4 w 22"/>
                <a:gd name="T27" fmla="*/ 18 h 22"/>
                <a:gd name="T28" fmla="*/ 8 w 22"/>
                <a:gd name="T29" fmla="*/ 20 h 22"/>
                <a:gd name="T30" fmla="*/ 12 w 22"/>
                <a:gd name="T31" fmla="*/ 22 h 22"/>
                <a:gd name="T32" fmla="*/ 12 w 22"/>
                <a:gd name="T33" fmla="*/ 22 h 22"/>
                <a:gd name="T34" fmla="*/ 16 w 22"/>
                <a:gd name="T35" fmla="*/ 20 h 22"/>
                <a:gd name="T36" fmla="*/ 20 w 22"/>
                <a:gd name="T37" fmla="*/ 18 h 22"/>
                <a:gd name="T38" fmla="*/ 22 w 22"/>
                <a:gd name="T39" fmla="*/ 14 h 22"/>
                <a:gd name="T40" fmla="*/ 22 w 22"/>
                <a:gd name="T41" fmla="*/ 10 h 22"/>
                <a:gd name="T42" fmla="*/ 22 w 22"/>
                <a:gd name="T4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0"/>
                  </a:moveTo>
                  <a:lnTo>
                    <a:pt x="22" y="10"/>
                  </a:lnTo>
                  <a:lnTo>
                    <a:pt x="22" y="6"/>
                  </a:lnTo>
                  <a:lnTo>
                    <a:pt x="20" y="2"/>
                  </a:lnTo>
                  <a:lnTo>
                    <a:pt x="16" y="0"/>
                  </a:lnTo>
                  <a:lnTo>
                    <a:pt x="12" y="0"/>
                  </a:lnTo>
                  <a:lnTo>
                    <a:pt x="12" y="0"/>
                  </a:lnTo>
                  <a:lnTo>
                    <a:pt x="8" y="0"/>
                  </a:lnTo>
                  <a:lnTo>
                    <a:pt x="4" y="2"/>
                  </a:lnTo>
                  <a:lnTo>
                    <a:pt x="2" y="6"/>
                  </a:lnTo>
                  <a:lnTo>
                    <a:pt x="0" y="10"/>
                  </a:lnTo>
                  <a:lnTo>
                    <a:pt x="0" y="10"/>
                  </a:lnTo>
                  <a:lnTo>
                    <a:pt x="2" y="14"/>
                  </a:lnTo>
                  <a:lnTo>
                    <a:pt x="4" y="18"/>
                  </a:lnTo>
                  <a:lnTo>
                    <a:pt x="8" y="20"/>
                  </a:lnTo>
                  <a:lnTo>
                    <a:pt x="12" y="22"/>
                  </a:lnTo>
                  <a:lnTo>
                    <a:pt x="12" y="22"/>
                  </a:lnTo>
                  <a:lnTo>
                    <a:pt x="16" y="20"/>
                  </a:lnTo>
                  <a:lnTo>
                    <a:pt x="20" y="18"/>
                  </a:lnTo>
                  <a:lnTo>
                    <a:pt x="22" y="14"/>
                  </a:lnTo>
                  <a:lnTo>
                    <a:pt x="22" y="10"/>
                  </a:lnTo>
                  <a:lnTo>
                    <a:pt x="22" y="10"/>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9" name="Freeform 20">
              <a:extLst>
                <a:ext uri="{FF2B5EF4-FFF2-40B4-BE49-F238E27FC236}">
                  <a16:creationId xmlns:a16="http://schemas.microsoft.com/office/drawing/2014/main" id="{F8628B71-B4A1-46F4-9B48-4755989F5CB0}"/>
                </a:ext>
              </a:extLst>
            </p:cNvPr>
            <p:cNvSpPr>
              <a:spLocks/>
            </p:cNvSpPr>
            <p:nvPr/>
          </p:nvSpPr>
          <p:spPr bwMode="auto">
            <a:xfrm>
              <a:off x="8067325" y="1783865"/>
              <a:ext cx="38235" cy="37670"/>
            </a:xfrm>
            <a:custGeom>
              <a:avLst/>
              <a:gdLst>
                <a:gd name="T0" fmla="*/ 22 w 22"/>
                <a:gd name="T1" fmla="*/ 10 h 22"/>
                <a:gd name="T2" fmla="*/ 22 w 22"/>
                <a:gd name="T3" fmla="*/ 10 h 22"/>
                <a:gd name="T4" fmla="*/ 22 w 22"/>
                <a:gd name="T5" fmla="*/ 6 h 22"/>
                <a:gd name="T6" fmla="*/ 20 w 22"/>
                <a:gd name="T7" fmla="*/ 2 h 22"/>
                <a:gd name="T8" fmla="*/ 16 w 22"/>
                <a:gd name="T9" fmla="*/ 0 h 22"/>
                <a:gd name="T10" fmla="*/ 12 w 22"/>
                <a:gd name="T11" fmla="*/ 0 h 22"/>
                <a:gd name="T12" fmla="*/ 12 w 22"/>
                <a:gd name="T13" fmla="*/ 0 h 22"/>
                <a:gd name="T14" fmla="*/ 6 w 22"/>
                <a:gd name="T15" fmla="*/ 0 h 22"/>
                <a:gd name="T16" fmla="*/ 4 w 22"/>
                <a:gd name="T17" fmla="*/ 2 h 22"/>
                <a:gd name="T18" fmla="*/ 0 w 22"/>
                <a:gd name="T19" fmla="*/ 6 h 22"/>
                <a:gd name="T20" fmla="*/ 0 w 22"/>
                <a:gd name="T21" fmla="*/ 10 h 22"/>
                <a:gd name="T22" fmla="*/ 0 w 22"/>
                <a:gd name="T23" fmla="*/ 10 h 22"/>
                <a:gd name="T24" fmla="*/ 0 w 22"/>
                <a:gd name="T25" fmla="*/ 14 h 22"/>
                <a:gd name="T26" fmla="*/ 4 w 22"/>
                <a:gd name="T27" fmla="*/ 18 h 22"/>
                <a:gd name="T28" fmla="*/ 6 w 22"/>
                <a:gd name="T29" fmla="*/ 20 h 22"/>
                <a:gd name="T30" fmla="*/ 12 w 22"/>
                <a:gd name="T31" fmla="*/ 22 h 22"/>
                <a:gd name="T32" fmla="*/ 12 w 22"/>
                <a:gd name="T33" fmla="*/ 22 h 22"/>
                <a:gd name="T34" fmla="*/ 16 w 22"/>
                <a:gd name="T35" fmla="*/ 20 h 22"/>
                <a:gd name="T36" fmla="*/ 20 w 22"/>
                <a:gd name="T37" fmla="*/ 18 h 22"/>
                <a:gd name="T38" fmla="*/ 22 w 22"/>
                <a:gd name="T39" fmla="*/ 14 h 22"/>
                <a:gd name="T40" fmla="*/ 22 w 22"/>
                <a:gd name="T41" fmla="*/ 10 h 22"/>
                <a:gd name="T42" fmla="*/ 22 w 22"/>
                <a:gd name="T4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0"/>
                  </a:moveTo>
                  <a:lnTo>
                    <a:pt x="22" y="10"/>
                  </a:lnTo>
                  <a:lnTo>
                    <a:pt x="22" y="6"/>
                  </a:lnTo>
                  <a:lnTo>
                    <a:pt x="20" y="2"/>
                  </a:lnTo>
                  <a:lnTo>
                    <a:pt x="16" y="0"/>
                  </a:lnTo>
                  <a:lnTo>
                    <a:pt x="12" y="0"/>
                  </a:lnTo>
                  <a:lnTo>
                    <a:pt x="12" y="0"/>
                  </a:lnTo>
                  <a:lnTo>
                    <a:pt x="6" y="0"/>
                  </a:lnTo>
                  <a:lnTo>
                    <a:pt x="4" y="2"/>
                  </a:lnTo>
                  <a:lnTo>
                    <a:pt x="0" y="6"/>
                  </a:lnTo>
                  <a:lnTo>
                    <a:pt x="0" y="10"/>
                  </a:lnTo>
                  <a:lnTo>
                    <a:pt x="0" y="10"/>
                  </a:lnTo>
                  <a:lnTo>
                    <a:pt x="0" y="14"/>
                  </a:lnTo>
                  <a:lnTo>
                    <a:pt x="4" y="18"/>
                  </a:lnTo>
                  <a:lnTo>
                    <a:pt x="6" y="20"/>
                  </a:lnTo>
                  <a:lnTo>
                    <a:pt x="12" y="22"/>
                  </a:lnTo>
                  <a:lnTo>
                    <a:pt x="12" y="22"/>
                  </a:lnTo>
                  <a:lnTo>
                    <a:pt x="16" y="20"/>
                  </a:lnTo>
                  <a:lnTo>
                    <a:pt x="20" y="18"/>
                  </a:lnTo>
                  <a:lnTo>
                    <a:pt x="22" y="14"/>
                  </a:lnTo>
                  <a:lnTo>
                    <a:pt x="22" y="10"/>
                  </a:lnTo>
                  <a:lnTo>
                    <a:pt x="22" y="10"/>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0" name="Freeform 21">
              <a:extLst>
                <a:ext uri="{FF2B5EF4-FFF2-40B4-BE49-F238E27FC236}">
                  <a16:creationId xmlns:a16="http://schemas.microsoft.com/office/drawing/2014/main" id="{2999ECDA-1BB8-4149-BCD5-617080F0A2F6}"/>
                </a:ext>
              </a:extLst>
            </p:cNvPr>
            <p:cNvSpPr>
              <a:spLocks/>
            </p:cNvSpPr>
            <p:nvPr/>
          </p:nvSpPr>
          <p:spPr bwMode="auto">
            <a:xfrm>
              <a:off x="8067325" y="4516658"/>
              <a:ext cx="38235" cy="41094"/>
            </a:xfrm>
            <a:custGeom>
              <a:avLst/>
              <a:gdLst>
                <a:gd name="T0" fmla="*/ 22 w 22"/>
                <a:gd name="T1" fmla="*/ 12 h 24"/>
                <a:gd name="T2" fmla="*/ 22 w 22"/>
                <a:gd name="T3" fmla="*/ 12 h 24"/>
                <a:gd name="T4" fmla="*/ 22 w 22"/>
                <a:gd name="T5" fmla="*/ 8 h 24"/>
                <a:gd name="T6" fmla="*/ 18 w 22"/>
                <a:gd name="T7" fmla="*/ 4 h 24"/>
                <a:gd name="T8" fmla="*/ 16 w 22"/>
                <a:gd name="T9" fmla="*/ 2 h 24"/>
                <a:gd name="T10" fmla="*/ 10 w 22"/>
                <a:gd name="T11" fmla="*/ 0 h 24"/>
                <a:gd name="T12" fmla="*/ 10 w 22"/>
                <a:gd name="T13" fmla="*/ 0 h 24"/>
                <a:gd name="T14" fmla="*/ 6 w 22"/>
                <a:gd name="T15" fmla="*/ 2 h 24"/>
                <a:gd name="T16" fmla="*/ 2 w 22"/>
                <a:gd name="T17" fmla="*/ 4 h 24"/>
                <a:gd name="T18" fmla="*/ 0 w 22"/>
                <a:gd name="T19" fmla="*/ 8 h 24"/>
                <a:gd name="T20" fmla="*/ 0 w 22"/>
                <a:gd name="T21" fmla="*/ 12 h 24"/>
                <a:gd name="T22" fmla="*/ 0 w 22"/>
                <a:gd name="T23" fmla="*/ 12 h 24"/>
                <a:gd name="T24" fmla="*/ 0 w 22"/>
                <a:gd name="T25" fmla="*/ 16 h 24"/>
                <a:gd name="T26" fmla="*/ 2 w 22"/>
                <a:gd name="T27" fmla="*/ 20 h 24"/>
                <a:gd name="T28" fmla="*/ 6 w 22"/>
                <a:gd name="T29" fmla="*/ 22 h 24"/>
                <a:gd name="T30" fmla="*/ 10 w 22"/>
                <a:gd name="T31" fmla="*/ 24 h 24"/>
                <a:gd name="T32" fmla="*/ 10 w 22"/>
                <a:gd name="T33" fmla="*/ 24 h 24"/>
                <a:gd name="T34" fmla="*/ 16 w 22"/>
                <a:gd name="T35" fmla="*/ 22 h 24"/>
                <a:gd name="T36" fmla="*/ 18 w 22"/>
                <a:gd name="T37" fmla="*/ 20 h 24"/>
                <a:gd name="T38" fmla="*/ 22 w 22"/>
                <a:gd name="T39" fmla="*/ 16 h 24"/>
                <a:gd name="T40" fmla="*/ 22 w 22"/>
                <a:gd name="T41" fmla="*/ 12 h 24"/>
                <a:gd name="T42" fmla="*/ 22 w 22"/>
                <a:gd name="T4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4">
                  <a:moveTo>
                    <a:pt x="22" y="12"/>
                  </a:moveTo>
                  <a:lnTo>
                    <a:pt x="22" y="12"/>
                  </a:lnTo>
                  <a:lnTo>
                    <a:pt x="22" y="8"/>
                  </a:lnTo>
                  <a:lnTo>
                    <a:pt x="18" y="4"/>
                  </a:lnTo>
                  <a:lnTo>
                    <a:pt x="16" y="2"/>
                  </a:lnTo>
                  <a:lnTo>
                    <a:pt x="10" y="0"/>
                  </a:lnTo>
                  <a:lnTo>
                    <a:pt x="10" y="0"/>
                  </a:lnTo>
                  <a:lnTo>
                    <a:pt x="6" y="2"/>
                  </a:lnTo>
                  <a:lnTo>
                    <a:pt x="2" y="4"/>
                  </a:lnTo>
                  <a:lnTo>
                    <a:pt x="0" y="8"/>
                  </a:lnTo>
                  <a:lnTo>
                    <a:pt x="0" y="12"/>
                  </a:lnTo>
                  <a:lnTo>
                    <a:pt x="0" y="12"/>
                  </a:lnTo>
                  <a:lnTo>
                    <a:pt x="0" y="16"/>
                  </a:lnTo>
                  <a:lnTo>
                    <a:pt x="2" y="20"/>
                  </a:lnTo>
                  <a:lnTo>
                    <a:pt x="6" y="22"/>
                  </a:lnTo>
                  <a:lnTo>
                    <a:pt x="10" y="24"/>
                  </a:lnTo>
                  <a:lnTo>
                    <a:pt x="10" y="24"/>
                  </a:lnTo>
                  <a:lnTo>
                    <a:pt x="16" y="22"/>
                  </a:lnTo>
                  <a:lnTo>
                    <a:pt x="18" y="20"/>
                  </a:lnTo>
                  <a:lnTo>
                    <a:pt x="22" y="16"/>
                  </a:lnTo>
                  <a:lnTo>
                    <a:pt x="22" y="12"/>
                  </a:lnTo>
                  <a:lnTo>
                    <a:pt x="22" y="1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1" name="Freeform 22">
              <a:extLst>
                <a:ext uri="{FF2B5EF4-FFF2-40B4-BE49-F238E27FC236}">
                  <a16:creationId xmlns:a16="http://schemas.microsoft.com/office/drawing/2014/main" id="{F383542D-91DF-489A-9732-F9BC8AA0278A}"/>
                </a:ext>
              </a:extLst>
            </p:cNvPr>
            <p:cNvSpPr>
              <a:spLocks/>
            </p:cNvSpPr>
            <p:nvPr/>
          </p:nvSpPr>
          <p:spPr bwMode="auto">
            <a:xfrm>
              <a:off x="7532039" y="4427620"/>
              <a:ext cx="38235" cy="37670"/>
            </a:xfrm>
            <a:custGeom>
              <a:avLst/>
              <a:gdLst>
                <a:gd name="T0" fmla="*/ 22 w 22"/>
                <a:gd name="T1" fmla="*/ 10 h 22"/>
                <a:gd name="T2" fmla="*/ 22 w 22"/>
                <a:gd name="T3" fmla="*/ 10 h 22"/>
                <a:gd name="T4" fmla="*/ 22 w 22"/>
                <a:gd name="T5" fmla="*/ 6 h 22"/>
                <a:gd name="T6" fmla="*/ 20 w 22"/>
                <a:gd name="T7" fmla="*/ 2 h 22"/>
                <a:gd name="T8" fmla="*/ 16 w 22"/>
                <a:gd name="T9" fmla="*/ 0 h 22"/>
                <a:gd name="T10" fmla="*/ 12 w 22"/>
                <a:gd name="T11" fmla="*/ 0 h 22"/>
                <a:gd name="T12" fmla="*/ 12 w 22"/>
                <a:gd name="T13" fmla="*/ 0 h 22"/>
                <a:gd name="T14" fmla="*/ 8 w 22"/>
                <a:gd name="T15" fmla="*/ 0 h 22"/>
                <a:gd name="T16" fmla="*/ 4 w 22"/>
                <a:gd name="T17" fmla="*/ 2 h 22"/>
                <a:gd name="T18" fmla="*/ 2 w 22"/>
                <a:gd name="T19" fmla="*/ 6 h 22"/>
                <a:gd name="T20" fmla="*/ 0 w 22"/>
                <a:gd name="T21" fmla="*/ 10 h 22"/>
                <a:gd name="T22" fmla="*/ 0 w 22"/>
                <a:gd name="T23" fmla="*/ 10 h 22"/>
                <a:gd name="T24" fmla="*/ 2 w 22"/>
                <a:gd name="T25" fmla="*/ 14 h 22"/>
                <a:gd name="T26" fmla="*/ 4 w 22"/>
                <a:gd name="T27" fmla="*/ 18 h 22"/>
                <a:gd name="T28" fmla="*/ 8 w 22"/>
                <a:gd name="T29" fmla="*/ 20 h 22"/>
                <a:gd name="T30" fmla="*/ 12 w 22"/>
                <a:gd name="T31" fmla="*/ 22 h 22"/>
                <a:gd name="T32" fmla="*/ 12 w 22"/>
                <a:gd name="T33" fmla="*/ 22 h 22"/>
                <a:gd name="T34" fmla="*/ 16 w 22"/>
                <a:gd name="T35" fmla="*/ 20 h 22"/>
                <a:gd name="T36" fmla="*/ 20 w 22"/>
                <a:gd name="T37" fmla="*/ 18 h 22"/>
                <a:gd name="T38" fmla="*/ 22 w 22"/>
                <a:gd name="T39" fmla="*/ 14 h 22"/>
                <a:gd name="T40" fmla="*/ 22 w 22"/>
                <a:gd name="T41" fmla="*/ 10 h 22"/>
                <a:gd name="T42" fmla="*/ 22 w 22"/>
                <a:gd name="T4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0"/>
                  </a:moveTo>
                  <a:lnTo>
                    <a:pt x="22" y="10"/>
                  </a:lnTo>
                  <a:lnTo>
                    <a:pt x="22" y="6"/>
                  </a:lnTo>
                  <a:lnTo>
                    <a:pt x="20" y="2"/>
                  </a:lnTo>
                  <a:lnTo>
                    <a:pt x="16" y="0"/>
                  </a:lnTo>
                  <a:lnTo>
                    <a:pt x="12" y="0"/>
                  </a:lnTo>
                  <a:lnTo>
                    <a:pt x="12" y="0"/>
                  </a:lnTo>
                  <a:lnTo>
                    <a:pt x="8" y="0"/>
                  </a:lnTo>
                  <a:lnTo>
                    <a:pt x="4" y="2"/>
                  </a:lnTo>
                  <a:lnTo>
                    <a:pt x="2" y="6"/>
                  </a:lnTo>
                  <a:lnTo>
                    <a:pt x="0" y="10"/>
                  </a:lnTo>
                  <a:lnTo>
                    <a:pt x="0" y="10"/>
                  </a:lnTo>
                  <a:lnTo>
                    <a:pt x="2" y="14"/>
                  </a:lnTo>
                  <a:lnTo>
                    <a:pt x="4" y="18"/>
                  </a:lnTo>
                  <a:lnTo>
                    <a:pt x="8" y="20"/>
                  </a:lnTo>
                  <a:lnTo>
                    <a:pt x="12" y="22"/>
                  </a:lnTo>
                  <a:lnTo>
                    <a:pt x="12" y="22"/>
                  </a:lnTo>
                  <a:lnTo>
                    <a:pt x="16" y="20"/>
                  </a:lnTo>
                  <a:lnTo>
                    <a:pt x="20" y="18"/>
                  </a:lnTo>
                  <a:lnTo>
                    <a:pt x="22" y="14"/>
                  </a:lnTo>
                  <a:lnTo>
                    <a:pt x="22" y="10"/>
                  </a:lnTo>
                  <a:lnTo>
                    <a:pt x="22" y="10"/>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2" name="Freeform 23">
              <a:extLst>
                <a:ext uri="{FF2B5EF4-FFF2-40B4-BE49-F238E27FC236}">
                  <a16:creationId xmlns:a16="http://schemas.microsoft.com/office/drawing/2014/main" id="{8D867BE0-4B75-4A6B-8E53-891D2A0AC862}"/>
                </a:ext>
              </a:extLst>
            </p:cNvPr>
            <p:cNvSpPr>
              <a:spLocks/>
            </p:cNvSpPr>
            <p:nvPr/>
          </p:nvSpPr>
          <p:spPr bwMode="auto">
            <a:xfrm>
              <a:off x="7101029" y="4112561"/>
              <a:ext cx="38235" cy="37670"/>
            </a:xfrm>
            <a:custGeom>
              <a:avLst/>
              <a:gdLst>
                <a:gd name="T0" fmla="*/ 22 w 22"/>
                <a:gd name="T1" fmla="*/ 12 h 22"/>
                <a:gd name="T2" fmla="*/ 22 w 22"/>
                <a:gd name="T3" fmla="*/ 12 h 22"/>
                <a:gd name="T4" fmla="*/ 22 w 22"/>
                <a:gd name="T5" fmla="*/ 8 h 22"/>
                <a:gd name="T6" fmla="*/ 18 w 22"/>
                <a:gd name="T7" fmla="*/ 4 h 22"/>
                <a:gd name="T8" fmla="*/ 16 w 22"/>
                <a:gd name="T9" fmla="*/ 2 h 22"/>
                <a:gd name="T10" fmla="*/ 12 w 22"/>
                <a:gd name="T11" fmla="*/ 0 h 22"/>
                <a:gd name="T12" fmla="*/ 12 w 22"/>
                <a:gd name="T13" fmla="*/ 0 h 22"/>
                <a:gd name="T14" fmla="*/ 6 w 22"/>
                <a:gd name="T15" fmla="*/ 2 h 22"/>
                <a:gd name="T16" fmla="*/ 4 w 22"/>
                <a:gd name="T17" fmla="*/ 4 h 22"/>
                <a:gd name="T18" fmla="*/ 0 w 22"/>
                <a:gd name="T19" fmla="*/ 8 h 22"/>
                <a:gd name="T20" fmla="*/ 0 w 22"/>
                <a:gd name="T21" fmla="*/ 12 h 22"/>
                <a:gd name="T22" fmla="*/ 0 w 22"/>
                <a:gd name="T23" fmla="*/ 12 h 22"/>
                <a:gd name="T24" fmla="*/ 0 w 22"/>
                <a:gd name="T25" fmla="*/ 16 h 22"/>
                <a:gd name="T26" fmla="*/ 4 w 22"/>
                <a:gd name="T27" fmla="*/ 20 h 22"/>
                <a:gd name="T28" fmla="*/ 6 w 22"/>
                <a:gd name="T29" fmla="*/ 22 h 22"/>
                <a:gd name="T30" fmla="*/ 12 w 22"/>
                <a:gd name="T31" fmla="*/ 22 h 22"/>
                <a:gd name="T32" fmla="*/ 12 w 22"/>
                <a:gd name="T33" fmla="*/ 22 h 22"/>
                <a:gd name="T34" fmla="*/ 16 w 22"/>
                <a:gd name="T35" fmla="*/ 22 h 22"/>
                <a:gd name="T36" fmla="*/ 18 w 22"/>
                <a:gd name="T37" fmla="*/ 20 h 22"/>
                <a:gd name="T38" fmla="*/ 22 w 22"/>
                <a:gd name="T39" fmla="*/ 16 h 22"/>
                <a:gd name="T40" fmla="*/ 22 w 22"/>
                <a:gd name="T41" fmla="*/ 12 h 22"/>
                <a:gd name="T42" fmla="*/ 22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2"/>
                  </a:moveTo>
                  <a:lnTo>
                    <a:pt x="22" y="12"/>
                  </a:lnTo>
                  <a:lnTo>
                    <a:pt x="22" y="8"/>
                  </a:lnTo>
                  <a:lnTo>
                    <a:pt x="18" y="4"/>
                  </a:lnTo>
                  <a:lnTo>
                    <a:pt x="16" y="2"/>
                  </a:lnTo>
                  <a:lnTo>
                    <a:pt x="12" y="0"/>
                  </a:lnTo>
                  <a:lnTo>
                    <a:pt x="12" y="0"/>
                  </a:lnTo>
                  <a:lnTo>
                    <a:pt x="6" y="2"/>
                  </a:lnTo>
                  <a:lnTo>
                    <a:pt x="4" y="4"/>
                  </a:lnTo>
                  <a:lnTo>
                    <a:pt x="0" y="8"/>
                  </a:lnTo>
                  <a:lnTo>
                    <a:pt x="0" y="12"/>
                  </a:lnTo>
                  <a:lnTo>
                    <a:pt x="0" y="12"/>
                  </a:lnTo>
                  <a:lnTo>
                    <a:pt x="0" y="16"/>
                  </a:lnTo>
                  <a:lnTo>
                    <a:pt x="4" y="20"/>
                  </a:lnTo>
                  <a:lnTo>
                    <a:pt x="6" y="22"/>
                  </a:lnTo>
                  <a:lnTo>
                    <a:pt x="12" y="22"/>
                  </a:lnTo>
                  <a:lnTo>
                    <a:pt x="12" y="22"/>
                  </a:lnTo>
                  <a:lnTo>
                    <a:pt x="16" y="22"/>
                  </a:lnTo>
                  <a:lnTo>
                    <a:pt x="18" y="20"/>
                  </a:lnTo>
                  <a:lnTo>
                    <a:pt x="22" y="16"/>
                  </a:lnTo>
                  <a:lnTo>
                    <a:pt x="22" y="12"/>
                  </a:lnTo>
                  <a:lnTo>
                    <a:pt x="22" y="1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3" name="Freeform 24">
              <a:extLst>
                <a:ext uri="{FF2B5EF4-FFF2-40B4-BE49-F238E27FC236}">
                  <a16:creationId xmlns:a16="http://schemas.microsoft.com/office/drawing/2014/main" id="{0EDB4F5A-D688-4C96-9E97-F3DE1BDF8BF2}"/>
                </a:ext>
              </a:extLst>
            </p:cNvPr>
            <p:cNvSpPr>
              <a:spLocks/>
            </p:cNvSpPr>
            <p:nvPr/>
          </p:nvSpPr>
          <p:spPr bwMode="auto">
            <a:xfrm>
              <a:off x="6676971" y="3136564"/>
              <a:ext cx="38235" cy="37670"/>
            </a:xfrm>
            <a:custGeom>
              <a:avLst/>
              <a:gdLst>
                <a:gd name="T0" fmla="*/ 22 w 22"/>
                <a:gd name="T1" fmla="*/ 12 h 22"/>
                <a:gd name="T2" fmla="*/ 22 w 22"/>
                <a:gd name="T3" fmla="*/ 12 h 22"/>
                <a:gd name="T4" fmla="*/ 22 w 22"/>
                <a:gd name="T5" fmla="*/ 8 h 22"/>
                <a:gd name="T6" fmla="*/ 20 w 22"/>
                <a:gd name="T7" fmla="*/ 4 h 22"/>
                <a:gd name="T8" fmla="*/ 16 w 22"/>
                <a:gd name="T9" fmla="*/ 2 h 22"/>
                <a:gd name="T10" fmla="*/ 12 w 22"/>
                <a:gd name="T11" fmla="*/ 0 h 22"/>
                <a:gd name="T12" fmla="*/ 12 w 22"/>
                <a:gd name="T13" fmla="*/ 0 h 22"/>
                <a:gd name="T14" fmla="*/ 8 w 22"/>
                <a:gd name="T15" fmla="*/ 2 h 22"/>
                <a:gd name="T16" fmla="*/ 4 w 22"/>
                <a:gd name="T17" fmla="*/ 4 h 22"/>
                <a:gd name="T18" fmla="*/ 2 w 22"/>
                <a:gd name="T19" fmla="*/ 8 h 22"/>
                <a:gd name="T20" fmla="*/ 0 w 22"/>
                <a:gd name="T21" fmla="*/ 12 h 22"/>
                <a:gd name="T22" fmla="*/ 0 w 22"/>
                <a:gd name="T23" fmla="*/ 12 h 22"/>
                <a:gd name="T24" fmla="*/ 2 w 22"/>
                <a:gd name="T25" fmla="*/ 16 h 22"/>
                <a:gd name="T26" fmla="*/ 4 w 22"/>
                <a:gd name="T27" fmla="*/ 20 h 22"/>
                <a:gd name="T28" fmla="*/ 8 w 22"/>
                <a:gd name="T29" fmla="*/ 22 h 22"/>
                <a:gd name="T30" fmla="*/ 12 w 22"/>
                <a:gd name="T31" fmla="*/ 22 h 22"/>
                <a:gd name="T32" fmla="*/ 12 w 22"/>
                <a:gd name="T33" fmla="*/ 22 h 22"/>
                <a:gd name="T34" fmla="*/ 16 w 22"/>
                <a:gd name="T35" fmla="*/ 22 h 22"/>
                <a:gd name="T36" fmla="*/ 20 w 22"/>
                <a:gd name="T37" fmla="*/ 20 h 22"/>
                <a:gd name="T38" fmla="*/ 22 w 22"/>
                <a:gd name="T39" fmla="*/ 16 h 22"/>
                <a:gd name="T40" fmla="*/ 22 w 22"/>
                <a:gd name="T41" fmla="*/ 12 h 22"/>
                <a:gd name="T42" fmla="*/ 22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2"/>
                  </a:moveTo>
                  <a:lnTo>
                    <a:pt x="22" y="12"/>
                  </a:lnTo>
                  <a:lnTo>
                    <a:pt x="22" y="8"/>
                  </a:lnTo>
                  <a:lnTo>
                    <a:pt x="20" y="4"/>
                  </a:lnTo>
                  <a:lnTo>
                    <a:pt x="16" y="2"/>
                  </a:lnTo>
                  <a:lnTo>
                    <a:pt x="12" y="0"/>
                  </a:lnTo>
                  <a:lnTo>
                    <a:pt x="12" y="0"/>
                  </a:lnTo>
                  <a:lnTo>
                    <a:pt x="8" y="2"/>
                  </a:lnTo>
                  <a:lnTo>
                    <a:pt x="4" y="4"/>
                  </a:lnTo>
                  <a:lnTo>
                    <a:pt x="2" y="8"/>
                  </a:lnTo>
                  <a:lnTo>
                    <a:pt x="0" y="12"/>
                  </a:lnTo>
                  <a:lnTo>
                    <a:pt x="0" y="12"/>
                  </a:lnTo>
                  <a:lnTo>
                    <a:pt x="2" y="16"/>
                  </a:lnTo>
                  <a:lnTo>
                    <a:pt x="4" y="20"/>
                  </a:lnTo>
                  <a:lnTo>
                    <a:pt x="8" y="22"/>
                  </a:lnTo>
                  <a:lnTo>
                    <a:pt x="12" y="22"/>
                  </a:lnTo>
                  <a:lnTo>
                    <a:pt x="12" y="22"/>
                  </a:lnTo>
                  <a:lnTo>
                    <a:pt x="16" y="22"/>
                  </a:lnTo>
                  <a:lnTo>
                    <a:pt x="20" y="20"/>
                  </a:lnTo>
                  <a:lnTo>
                    <a:pt x="22" y="16"/>
                  </a:lnTo>
                  <a:lnTo>
                    <a:pt x="22" y="12"/>
                  </a:lnTo>
                  <a:lnTo>
                    <a:pt x="22" y="1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4" name="Freeform 25">
              <a:extLst>
                <a:ext uri="{FF2B5EF4-FFF2-40B4-BE49-F238E27FC236}">
                  <a16:creationId xmlns:a16="http://schemas.microsoft.com/office/drawing/2014/main" id="{8F8A24D1-E251-43C2-A7B8-FF5419E55B7C}"/>
                </a:ext>
              </a:extLst>
            </p:cNvPr>
            <p:cNvSpPr>
              <a:spLocks/>
            </p:cNvSpPr>
            <p:nvPr/>
          </p:nvSpPr>
          <p:spPr bwMode="auto">
            <a:xfrm>
              <a:off x="6784722" y="3691341"/>
              <a:ext cx="38235" cy="37670"/>
            </a:xfrm>
            <a:custGeom>
              <a:avLst/>
              <a:gdLst>
                <a:gd name="T0" fmla="*/ 22 w 22"/>
                <a:gd name="T1" fmla="*/ 12 h 22"/>
                <a:gd name="T2" fmla="*/ 22 w 22"/>
                <a:gd name="T3" fmla="*/ 12 h 22"/>
                <a:gd name="T4" fmla="*/ 22 w 22"/>
                <a:gd name="T5" fmla="*/ 8 h 22"/>
                <a:gd name="T6" fmla="*/ 20 w 22"/>
                <a:gd name="T7" fmla="*/ 4 h 22"/>
                <a:gd name="T8" fmla="*/ 16 w 22"/>
                <a:gd name="T9" fmla="*/ 2 h 22"/>
                <a:gd name="T10" fmla="*/ 12 w 22"/>
                <a:gd name="T11" fmla="*/ 0 h 22"/>
                <a:gd name="T12" fmla="*/ 12 w 22"/>
                <a:gd name="T13" fmla="*/ 0 h 22"/>
                <a:gd name="T14" fmla="*/ 8 w 22"/>
                <a:gd name="T15" fmla="*/ 2 h 22"/>
                <a:gd name="T16" fmla="*/ 4 w 22"/>
                <a:gd name="T17" fmla="*/ 4 h 22"/>
                <a:gd name="T18" fmla="*/ 2 w 22"/>
                <a:gd name="T19" fmla="*/ 8 h 22"/>
                <a:gd name="T20" fmla="*/ 0 w 22"/>
                <a:gd name="T21" fmla="*/ 12 h 22"/>
                <a:gd name="T22" fmla="*/ 0 w 22"/>
                <a:gd name="T23" fmla="*/ 12 h 22"/>
                <a:gd name="T24" fmla="*/ 2 w 22"/>
                <a:gd name="T25" fmla="*/ 16 h 22"/>
                <a:gd name="T26" fmla="*/ 4 w 22"/>
                <a:gd name="T27" fmla="*/ 20 h 22"/>
                <a:gd name="T28" fmla="*/ 8 w 22"/>
                <a:gd name="T29" fmla="*/ 22 h 22"/>
                <a:gd name="T30" fmla="*/ 12 w 22"/>
                <a:gd name="T31" fmla="*/ 22 h 22"/>
                <a:gd name="T32" fmla="*/ 12 w 22"/>
                <a:gd name="T33" fmla="*/ 22 h 22"/>
                <a:gd name="T34" fmla="*/ 16 w 22"/>
                <a:gd name="T35" fmla="*/ 22 h 22"/>
                <a:gd name="T36" fmla="*/ 20 w 22"/>
                <a:gd name="T37" fmla="*/ 20 h 22"/>
                <a:gd name="T38" fmla="*/ 22 w 22"/>
                <a:gd name="T39" fmla="*/ 16 h 22"/>
                <a:gd name="T40" fmla="*/ 22 w 22"/>
                <a:gd name="T41" fmla="*/ 12 h 22"/>
                <a:gd name="T42" fmla="*/ 22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2"/>
                  </a:moveTo>
                  <a:lnTo>
                    <a:pt x="22" y="12"/>
                  </a:lnTo>
                  <a:lnTo>
                    <a:pt x="22" y="8"/>
                  </a:lnTo>
                  <a:lnTo>
                    <a:pt x="20" y="4"/>
                  </a:lnTo>
                  <a:lnTo>
                    <a:pt x="16" y="2"/>
                  </a:lnTo>
                  <a:lnTo>
                    <a:pt x="12" y="0"/>
                  </a:lnTo>
                  <a:lnTo>
                    <a:pt x="12" y="0"/>
                  </a:lnTo>
                  <a:lnTo>
                    <a:pt x="8" y="2"/>
                  </a:lnTo>
                  <a:lnTo>
                    <a:pt x="4" y="4"/>
                  </a:lnTo>
                  <a:lnTo>
                    <a:pt x="2" y="8"/>
                  </a:lnTo>
                  <a:lnTo>
                    <a:pt x="0" y="12"/>
                  </a:lnTo>
                  <a:lnTo>
                    <a:pt x="0" y="12"/>
                  </a:lnTo>
                  <a:lnTo>
                    <a:pt x="2" y="16"/>
                  </a:lnTo>
                  <a:lnTo>
                    <a:pt x="4" y="20"/>
                  </a:lnTo>
                  <a:lnTo>
                    <a:pt x="8" y="22"/>
                  </a:lnTo>
                  <a:lnTo>
                    <a:pt x="12" y="22"/>
                  </a:lnTo>
                  <a:lnTo>
                    <a:pt x="12" y="22"/>
                  </a:lnTo>
                  <a:lnTo>
                    <a:pt x="16" y="22"/>
                  </a:lnTo>
                  <a:lnTo>
                    <a:pt x="20" y="20"/>
                  </a:lnTo>
                  <a:lnTo>
                    <a:pt x="22" y="16"/>
                  </a:lnTo>
                  <a:lnTo>
                    <a:pt x="22" y="12"/>
                  </a:lnTo>
                  <a:lnTo>
                    <a:pt x="22" y="1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5" name="Freeform 26">
              <a:extLst>
                <a:ext uri="{FF2B5EF4-FFF2-40B4-BE49-F238E27FC236}">
                  <a16:creationId xmlns:a16="http://schemas.microsoft.com/office/drawing/2014/main" id="{9DAF92AE-1353-46A1-BACB-C3E433C703CD}"/>
                </a:ext>
              </a:extLst>
            </p:cNvPr>
            <p:cNvSpPr>
              <a:spLocks/>
            </p:cNvSpPr>
            <p:nvPr/>
          </p:nvSpPr>
          <p:spPr bwMode="auto">
            <a:xfrm>
              <a:off x="9346451" y="2636580"/>
              <a:ext cx="38235" cy="37670"/>
            </a:xfrm>
            <a:custGeom>
              <a:avLst/>
              <a:gdLst>
                <a:gd name="T0" fmla="*/ 0 w 22"/>
                <a:gd name="T1" fmla="*/ 10 h 22"/>
                <a:gd name="T2" fmla="*/ 0 w 22"/>
                <a:gd name="T3" fmla="*/ 10 h 22"/>
                <a:gd name="T4" fmla="*/ 0 w 22"/>
                <a:gd name="T5" fmla="*/ 6 h 22"/>
                <a:gd name="T6" fmla="*/ 2 w 22"/>
                <a:gd name="T7" fmla="*/ 2 h 22"/>
                <a:gd name="T8" fmla="*/ 6 w 22"/>
                <a:gd name="T9" fmla="*/ 0 h 22"/>
                <a:gd name="T10" fmla="*/ 10 w 22"/>
                <a:gd name="T11" fmla="*/ 0 h 22"/>
                <a:gd name="T12" fmla="*/ 10 w 22"/>
                <a:gd name="T13" fmla="*/ 0 h 22"/>
                <a:gd name="T14" fmla="*/ 14 w 22"/>
                <a:gd name="T15" fmla="*/ 0 h 22"/>
                <a:gd name="T16" fmla="*/ 18 w 22"/>
                <a:gd name="T17" fmla="*/ 2 h 22"/>
                <a:gd name="T18" fmla="*/ 20 w 22"/>
                <a:gd name="T19" fmla="*/ 6 h 22"/>
                <a:gd name="T20" fmla="*/ 22 w 22"/>
                <a:gd name="T21" fmla="*/ 10 h 22"/>
                <a:gd name="T22" fmla="*/ 22 w 22"/>
                <a:gd name="T23" fmla="*/ 10 h 22"/>
                <a:gd name="T24" fmla="*/ 20 w 22"/>
                <a:gd name="T25" fmla="*/ 16 h 22"/>
                <a:gd name="T26" fmla="*/ 18 w 22"/>
                <a:gd name="T27" fmla="*/ 18 h 22"/>
                <a:gd name="T28" fmla="*/ 14 w 22"/>
                <a:gd name="T29" fmla="*/ 22 h 22"/>
                <a:gd name="T30" fmla="*/ 10 w 22"/>
                <a:gd name="T31" fmla="*/ 22 h 22"/>
                <a:gd name="T32" fmla="*/ 10 w 22"/>
                <a:gd name="T33" fmla="*/ 22 h 22"/>
                <a:gd name="T34" fmla="*/ 6 w 22"/>
                <a:gd name="T35" fmla="*/ 22 h 22"/>
                <a:gd name="T36" fmla="*/ 2 w 22"/>
                <a:gd name="T37" fmla="*/ 18 h 22"/>
                <a:gd name="T38" fmla="*/ 0 w 22"/>
                <a:gd name="T39" fmla="*/ 16 h 22"/>
                <a:gd name="T40" fmla="*/ 0 w 22"/>
                <a:gd name="T41" fmla="*/ 10 h 22"/>
                <a:gd name="T42" fmla="*/ 0 w 22"/>
                <a:gd name="T4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0" y="10"/>
                  </a:moveTo>
                  <a:lnTo>
                    <a:pt x="0" y="10"/>
                  </a:lnTo>
                  <a:lnTo>
                    <a:pt x="0" y="6"/>
                  </a:lnTo>
                  <a:lnTo>
                    <a:pt x="2" y="2"/>
                  </a:lnTo>
                  <a:lnTo>
                    <a:pt x="6" y="0"/>
                  </a:lnTo>
                  <a:lnTo>
                    <a:pt x="10" y="0"/>
                  </a:lnTo>
                  <a:lnTo>
                    <a:pt x="10" y="0"/>
                  </a:lnTo>
                  <a:lnTo>
                    <a:pt x="14" y="0"/>
                  </a:lnTo>
                  <a:lnTo>
                    <a:pt x="18" y="2"/>
                  </a:lnTo>
                  <a:lnTo>
                    <a:pt x="20" y="6"/>
                  </a:lnTo>
                  <a:lnTo>
                    <a:pt x="22" y="10"/>
                  </a:lnTo>
                  <a:lnTo>
                    <a:pt x="22" y="10"/>
                  </a:lnTo>
                  <a:lnTo>
                    <a:pt x="20" y="16"/>
                  </a:lnTo>
                  <a:lnTo>
                    <a:pt x="18" y="18"/>
                  </a:lnTo>
                  <a:lnTo>
                    <a:pt x="14" y="22"/>
                  </a:lnTo>
                  <a:lnTo>
                    <a:pt x="10" y="22"/>
                  </a:lnTo>
                  <a:lnTo>
                    <a:pt x="10" y="22"/>
                  </a:lnTo>
                  <a:lnTo>
                    <a:pt x="6" y="22"/>
                  </a:lnTo>
                  <a:lnTo>
                    <a:pt x="2" y="18"/>
                  </a:lnTo>
                  <a:lnTo>
                    <a:pt x="0" y="16"/>
                  </a:lnTo>
                  <a:lnTo>
                    <a:pt x="0" y="10"/>
                  </a:lnTo>
                  <a:lnTo>
                    <a:pt x="0" y="10"/>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6" name="Freeform 27">
              <a:extLst>
                <a:ext uri="{FF2B5EF4-FFF2-40B4-BE49-F238E27FC236}">
                  <a16:creationId xmlns:a16="http://schemas.microsoft.com/office/drawing/2014/main" id="{8DC9B89B-ECE9-4909-8CD0-05349F54B7D8}"/>
                </a:ext>
              </a:extLst>
            </p:cNvPr>
            <p:cNvSpPr>
              <a:spLocks/>
            </p:cNvSpPr>
            <p:nvPr/>
          </p:nvSpPr>
          <p:spPr bwMode="auto">
            <a:xfrm>
              <a:off x="9030145" y="2187962"/>
              <a:ext cx="38235" cy="37670"/>
            </a:xfrm>
            <a:custGeom>
              <a:avLst/>
              <a:gdLst>
                <a:gd name="T0" fmla="*/ 0 w 22"/>
                <a:gd name="T1" fmla="*/ 12 h 22"/>
                <a:gd name="T2" fmla="*/ 0 w 22"/>
                <a:gd name="T3" fmla="*/ 12 h 22"/>
                <a:gd name="T4" fmla="*/ 2 w 22"/>
                <a:gd name="T5" fmla="*/ 6 h 22"/>
                <a:gd name="T6" fmla="*/ 4 w 22"/>
                <a:gd name="T7" fmla="*/ 4 h 22"/>
                <a:gd name="T8" fmla="*/ 8 w 22"/>
                <a:gd name="T9" fmla="*/ 0 h 22"/>
                <a:gd name="T10" fmla="*/ 12 w 22"/>
                <a:gd name="T11" fmla="*/ 0 h 22"/>
                <a:gd name="T12" fmla="*/ 12 w 22"/>
                <a:gd name="T13" fmla="*/ 0 h 22"/>
                <a:gd name="T14" fmla="*/ 16 w 22"/>
                <a:gd name="T15" fmla="*/ 0 h 22"/>
                <a:gd name="T16" fmla="*/ 20 w 22"/>
                <a:gd name="T17" fmla="*/ 4 h 22"/>
                <a:gd name="T18" fmla="*/ 22 w 22"/>
                <a:gd name="T19" fmla="*/ 6 h 22"/>
                <a:gd name="T20" fmla="*/ 22 w 22"/>
                <a:gd name="T21" fmla="*/ 12 h 22"/>
                <a:gd name="T22" fmla="*/ 22 w 22"/>
                <a:gd name="T23" fmla="*/ 12 h 22"/>
                <a:gd name="T24" fmla="*/ 22 w 22"/>
                <a:gd name="T25" fmla="*/ 16 h 22"/>
                <a:gd name="T26" fmla="*/ 20 w 22"/>
                <a:gd name="T27" fmla="*/ 20 h 22"/>
                <a:gd name="T28" fmla="*/ 16 w 22"/>
                <a:gd name="T29" fmla="*/ 22 h 22"/>
                <a:gd name="T30" fmla="*/ 12 w 22"/>
                <a:gd name="T31" fmla="*/ 22 h 22"/>
                <a:gd name="T32" fmla="*/ 12 w 22"/>
                <a:gd name="T33" fmla="*/ 22 h 22"/>
                <a:gd name="T34" fmla="*/ 8 w 22"/>
                <a:gd name="T35" fmla="*/ 22 h 22"/>
                <a:gd name="T36" fmla="*/ 4 w 22"/>
                <a:gd name="T37" fmla="*/ 20 h 22"/>
                <a:gd name="T38" fmla="*/ 2 w 22"/>
                <a:gd name="T39" fmla="*/ 16 h 22"/>
                <a:gd name="T40" fmla="*/ 0 w 22"/>
                <a:gd name="T41" fmla="*/ 12 h 22"/>
                <a:gd name="T42" fmla="*/ 0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0" y="12"/>
                  </a:moveTo>
                  <a:lnTo>
                    <a:pt x="0" y="12"/>
                  </a:lnTo>
                  <a:lnTo>
                    <a:pt x="2" y="6"/>
                  </a:lnTo>
                  <a:lnTo>
                    <a:pt x="4" y="4"/>
                  </a:lnTo>
                  <a:lnTo>
                    <a:pt x="8" y="0"/>
                  </a:lnTo>
                  <a:lnTo>
                    <a:pt x="12" y="0"/>
                  </a:lnTo>
                  <a:lnTo>
                    <a:pt x="12" y="0"/>
                  </a:lnTo>
                  <a:lnTo>
                    <a:pt x="16" y="0"/>
                  </a:lnTo>
                  <a:lnTo>
                    <a:pt x="20" y="4"/>
                  </a:lnTo>
                  <a:lnTo>
                    <a:pt x="22" y="6"/>
                  </a:lnTo>
                  <a:lnTo>
                    <a:pt x="22" y="12"/>
                  </a:lnTo>
                  <a:lnTo>
                    <a:pt x="22" y="12"/>
                  </a:lnTo>
                  <a:lnTo>
                    <a:pt x="22" y="16"/>
                  </a:lnTo>
                  <a:lnTo>
                    <a:pt x="20" y="20"/>
                  </a:lnTo>
                  <a:lnTo>
                    <a:pt x="16" y="22"/>
                  </a:lnTo>
                  <a:lnTo>
                    <a:pt x="12" y="22"/>
                  </a:lnTo>
                  <a:lnTo>
                    <a:pt x="12" y="22"/>
                  </a:lnTo>
                  <a:lnTo>
                    <a:pt x="8" y="22"/>
                  </a:lnTo>
                  <a:lnTo>
                    <a:pt x="4" y="20"/>
                  </a:lnTo>
                  <a:lnTo>
                    <a:pt x="2" y="16"/>
                  </a:lnTo>
                  <a:lnTo>
                    <a:pt x="0" y="12"/>
                  </a:lnTo>
                  <a:lnTo>
                    <a:pt x="0" y="1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7" name="Freeform 28">
              <a:extLst>
                <a:ext uri="{FF2B5EF4-FFF2-40B4-BE49-F238E27FC236}">
                  <a16:creationId xmlns:a16="http://schemas.microsoft.com/office/drawing/2014/main" id="{FA3C089E-EE4F-4A53-8FA5-F00FD3623C83}"/>
                </a:ext>
              </a:extLst>
            </p:cNvPr>
            <p:cNvSpPr>
              <a:spLocks/>
            </p:cNvSpPr>
            <p:nvPr/>
          </p:nvSpPr>
          <p:spPr bwMode="auto">
            <a:xfrm>
              <a:off x="8609563" y="1907150"/>
              <a:ext cx="38235" cy="37670"/>
            </a:xfrm>
            <a:custGeom>
              <a:avLst/>
              <a:gdLst>
                <a:gd name="T0" fmla="*/ 0 w 22"/>
                <a:gd name="T1" fmla="*/ 12 h 22"/>
                <a:gd name="T2" fmla="*/ 0 w 22"/>
                <a:gd name="T3" fmla="*/ 12 h 22"/>
                <a:gd name="T4" fmla="*/ 2 w 22"/>
                <a:gd name="T5" fmla="*/ 6 h 22"/>
                <a:gd name="T6" fmla="*/ 4 w 22"/>
                <a:gd name="T7" fmla="*/ 4 h 22"/>
                <a:gd name="T8" fmla="*/ 6 w 22"/>
                <a:gd name="T9" fmla="*/ 0 h 22"/>
                <a:gd name="T10" fmla="*/ 12 w 22"/>
                <a:gd name="T11" fmla="*/ 0 h 22"/>
                <a:gd name="T12" fmla="*/ 12 w 22"/>
                <a:gd name="T13" fmla="*/ 0 h 22"/>
                <a:gd name="T14" fmla="*/ 16 w 22"/>
                <a:gd name="T15" fmla="*/ 0 h 22"/>
                <a:gd name="T16" fmla="*/ 20 w 22"/>
                <a:gd name="T17" fmla="*/ 4 h 22"/>
                <a:gd name="T18" fmla="*/ 22 w 22"/>
                <a:gd name="T19" fmla="*/ 6 h 22"/>
                <a:gd name="T20" fmla="*/ 22 w 22"/>
                <a:gd name="T21" fmla="*/ 12 h 22"/>
                <a:gd name="T22" fmla="*/ 22 w 22"/>
                <a:gd name="T23" fmla="*/ 12 h 22"/>
                <a:gd name="T24" fmla="*/ 22 w 22"/>
                <a:gd name="T25" fmla="*/ 16 h 22"/>
                <a:gd name="T26" fmla="*/ 20 w 22"/>
                <a:gd name="T27" fmla="*/ 18 h 22"/>
                <a:gd name="T28" fmla="*/ 16 w 22"/>
                <a:gd name="T29" fmla="*/ 22 h 22"/>
                <a:gd name="T30" fmla="*/ 12 w 22"/>
                <a:gd name="T31" fmla="*/ 22 h 22"/>
                <a:gd name="T32" fmla="*/ 12 w 22"/>
                <a:gd name="T33" fmla="*/ 22 h 22"/>
                <a:gd name="T34" fmla="*/ 6 w 22"/>
                <a:gd name="T35" fmla="*/ 22 h 22"/>
                <a:gd name="T36" fmla="*/ 4 w 22"/>
                <a:gd name="T37" fmla="*/ 18 h 22"/>
                <a:gd name="T38" fmla="*/ 2 w 22"/>
                <a:gd name="T39" fmla="*/ 16 h 22"/>
                <a:gd name="T40" fmla="*/ 0 w 22"/>
                <a:gd name="T41" fmla="*/ 12 h 22"/>
                <a:gd name="T42" fmla="*/ 0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0" y="12"/>
                  </a:moveTo>
                  <a:lnTo>
                    <a:pt x="0" y="12"/>
                  </a:lnTo>
                  <a:lnTo>
                    <a:pt x="2" y="6"/>
                  </a:lnTo>
                  <a:lnTo>
                    <a:pt x="4" y="4"/>
                  </a:lnTo>
                  <a:lnTo>
                    <a:pt x="6" y="0"/>
                  </a:lnTo>
                  <a:lnTo>
                    <a:pt x="12" y="0"/>
                  </a:lnTo>
                  <a:lnTo>
                    <a:pt x="12" y="0"/>
                  </a:lnTo>
                  <a:lnTo>
                    <a:pt x="16" y="0"/>
                  </a:lnTo>
                  <a:lnTo>
                    <a:pt x="20" y="4"/>
                  </a:lnTo>
                  <a:lnTo>
                    <a:pt x="22" y="6"/>
                  </a:lnTo>
                  <a:lnTo>
                    <a:pt x="22" y="12"/>
                  </a:lnTo>
                  <a:lnTo>
                    <a:pt x="22" y="12"/>
                  </a:lnTo>
                  <a:lnTo>
                    <a:pt x="22" y="16"/>
                  </a:lnTo>
                  <a:lnTo>
                    <a:pt x="20" y="18"/>
                  </a:lnTo>
                  <a:lnTo>
                    <a:pt x="16" y="22"/>
                  </a:lnTo>
                  <a:lnTo>
                    <a:pt x="12" y="22"/>
                  </a:lnTo>
                  <a:lnTo>
                    <a:pt x="12" y="22"/>
                  </a:lnTo>
                  <a:lnTo>
                    <a:pt x="6" y="22"/>
                  </a:lnTo>
                  <a:lnTo>
                    <a:pt x="4" y="18"/>
                  </a:lnTo>
                  <a:lnTo>
                    <a:pt x="2" y="16"/>
                  </a:lnTo>
                  <a:lnTo>
                    <a:pt x="0" y="12"/>
                  </a:lnTo>
                  <a:lnTo>
                    <a:pt x="0" y="1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8" name="Freeform 29">
              <a:extLst>
                <a:ext uri="{FF2B5EF4-FFF2-40B4-BE49-F238E27FC236}">
                  <a16:creationId xmlns:a16="http://schemas.microsoft.com/office/drawing/2014/main" id="{0A1052D9-2941-4069-8BA2-3B50FF36E3B1}"/>
                </a:ext>
              </a:extLst>
            </p:cNvPr>
            <p:cNvSpPr>
              <a:spLocks/>
            </p:cNvSpPr>
            <p:nvPr/>
          </p:nvSpPr>
          <p:spPr bwMode="auto">
            <a:xfrm>
              <a:off x="8609563" y="4427620"/>
              <a:ext cx="38235" cy="37670"/>
            </a:xfrm>
            <a:custGeom>
              <a:avLst/>
              <a:gdLst>
                <a:gd name="T0" fmla="*/ 0 w 22"/>
                <a:gd name="T1" fmla="*/ 10 h 22"/>
                <a:gd name="T2" fmla="*/ 0 w 22"/>
                <a:gd name="T3" fmla="*/ 10 h 22"/>
                <a:gd name="T4" fmla="*/ 2 w 22"/>
                <a:gd name="T5" fmla="*/ 6 h 22"/>
                <a:gd name="T6" fmla="*/ 4 w 22"/>
                <a:gd name="T7" fmla="*/ 2 h 22"/>
                <a:gd name="T8" fmla="*/ 6 w 22"/>
                <a:gd name="T9" fmla="*/ 0 h 22"/>
                <a:gd name="T10" fmla="*/ 12 w 22"/>
                <a:gd name="T11" fmla="*/ 0 h 22"/>
                <a:gd name="T12" fmla="*/ 12 w 22"/>
                <a:gd name="T13" fmla="*/ 0 h 22"/>
                <a:gd name="T14" fmla="*/ 16 w 22"/>
                <a:gd name="T15" fmla="*/ 0 h 22"/>
                <a:gd name="T16" fmla="*/ 20 w 22"/>
                <a:gd name="T17" fmla="*/ 2 h 22"/>
                <a:gd name="T18" fmla="*/ 22 w 22"/>
                <a:gd name="T19" fmla="*/ 6 h 22"/>
                <a:gd name="T20" fmla="*/ 22 w 22"/>
                <a:gd name="T21" fmla="*/ 10 h 22"/>
                <a:gd name="T22" fmla="*/ 22 w 22"/>
                <a:gd name="T23" fmla="*/ 10 h 22"/>
                <a:gd name="T24" fmla="*/ 22 w 22"/>
                <a:gd name="T25" fmla="*/ 14 h 22"/>
                <a:gd name="T26" fmla="*/ 20 w 22"/>
                <a:gd name="T27" fmla="*/ 18 h 22"/>
                <a:gd name="T28" fmla="*/ 16 w 22"/>
                <a:gd name="T29" fmla="*/ 20 h 22"/>
                <a:gd name="T30" fmla="*/ 12 w 22"/>
                <a:gd name="T31" fmla="*/ 22 h 22"/>
                <a:gd name="T32" fmla="*/ 12 w 22"/>
                <a:gd name="T33" fmla="*/ 22 h 22"/>
                <a:gd name="T34" fmla="*/ 6 w 22"/>
                <a:gd name="T35" fmla="*/ 20 h 22"/>
                <a:gd name="T36" fmla="*/ 4 w 22"/>
                <a:gd name="T37" fmla="*/ 18 h 22"/>
                <a:gd name="T38" fmla="*/ 2 w 22"/>
                <a:gd name="T39" fmla="*/ 14 h 22"/>
                <a:gd name="T40" fmla="*/ 0 w 22"/>
                <a:gd name="T41" fmla="*/ 10 h 22"/>
                <a:gd name="T42" fmla="*/ 0 w 22"/>
                <a:gd name="T43"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0" y="10"/>
                  </a:moveTo>
                  <a:lnTo>
                    <a:pt x="0" y="10"/>
                  </a:lnTo>
                  <a:lnTo>
                    <a:pt x="2" y="6"/>
                  </a:lnTo>
                  <a:lnTo>
                    <a:pt x="4" y="2"/>
                  </a:lnTo>
                  <a:lnTo>
                    <a:pt x="6" y="0"/>
                  </a:lnTo>
                  <a:lnTo>
                    <a:pt x="12" y="0"/>
                  </a:lnTo>
                  <a:lnTo>
                    <a:pt x="12" y="0"/>
                  </a:lnTo>
                  <a:lnTo>
                    <a:pt x="16" y="0"/>
                  </a:lnTo>
                  <a:lnTo>
                    <a:pt x="20" y="2"/>
                  </a:lnTo>
                  <a:lnTo>
                    <a:pt x="22" y="6"/>
                  </a:lnTo>
                  <a:lnTo>
                    <a:pt x="22" y="10"/>
                  </a:lnTo>
                  <a:lnTo>
                    <a:pt x="22" y="10"/>
                  </a:lnTo>
                  <a:lnTo>
                    <a:pt x="22" y="14"/>
                  </a:lnTo>
                  <a:lnTo>
                    <a:pt x="20" y="18"/>
                  </a:lnTo>
                  <a:lnTo>
                    <a:pt x="16" y="20"/>
                  </a:lnTo>
                  <a:lnTo>
                    <a:pt x="12" y="22"/>
                  </a:lnTo>
                  <a:lnTo>
                    <a:pt x="12" y="22"/>
                  </a:lnTo>
                  <a:lnTo>
                    <a:pt x="6" y="20"/>
                  </a:lnTo>
                  <a:lnTo>
                    <a:pt x="4" y="18"/>
                  </a:lnTo>
                  <a:lnTo>
                    <a:pt x="2" y="14"/>
                  </a:lnTo>
                  <a:lnTo>
                    <a:pt x="0" y="10"/>
                  </a:lnTo>
                  <a:lnTo>
                    <a:pt x="0" y="10"/>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9" name="Freeform 31">
              <a:extLst>
                <a:ext uri="{FF2B5EF4-FFF2-40B4-BE49-F238E27FC236}">
                  <a16:creationId xmlns:a16="http://schemas.microsoft.com/office/drawing/2014/main" id="{409E2915-8E85-4CD7-94B2-ED1EBDEFD155}"/>
                </a:ext>
              </a:extLst>
            </p:cNvPr>
            <p:cNvSpPr>
              <a:spLocks/>
            </p:cNvSpPr>
            <p:nvPr/>
          </p:nvSpPr>
          <p:spPr bwMode="auto">
            <a:xfrm>
              <a:off x="9443776" y="3157111"/>
              <a:ext cx="38235" cy="41094"/>
            </a:xfrm>
            <a:custGeom>
              <a:avLst/>
              <a:gdLst>
                <a:gd name="T0" fmla="*/ 0 w 22"/>
                <a:gd name="T1" fmla="*/ 12 h 24"/>
                <a:gd name="T2" fmla="*/ 0 w 22"/>
                <a:gd name="T3" fmla="*/ 12 h 24"/>
                <a:gd name="T4" fmla="*/ 0 w 22"/>
                <a:gd name="T5" fmla="*/ 8 h 24"/>
                <a:gd name="T6" fmla="*/ 2 w 22"/>
                <a:gd name="T7" fmla="*/ 4 h 24"/>
                <a:gd name="T8" fmla="*/ 6 w 22"/>
                <a:gd name="T9" fmla="*/ 2 h 24"/>
                <a:gd name="T10" fmla="*/ 10 w 22"/>
                <a:gd name="T11" fmla="*/ 0 h 24"/>
                <a:gd name="T12" fmla="*/ 10 w 22"/>
                <a:gd name="T13" fmla="*/ 0 h 24"/>
                <a:gd name="T14" fmla="*/ 16 w 22"/>
                <a:gd name="T15" fmla="*/ 2 h 24"/>
                <a:gd name="T16" fmla="*/ 18 w 22"/>
                <a:gd name="T17" fmla="*/ 4 h 24"/>
                <a:gd name="T18" fmla="*/ 22 w 22"/>
                <a:gd name="T19" fmla="*/ 8 h 24"/>
                <a:gd name="T20" fmla="*/ 22 w 22"/>
                <a:gd name="T21" fmla="*/ 12 h 24"/>
                <a:gd name="T22" fmla="*/ 22 w 22"/>
                <a:gd name="T23" fmla="*/ 12 h 24"/>
                <a:gd name="T24" fmla="*/ 22 w 22"/>
                <a:gd name="T25" fmla="*/ 16 h 24"/>
                <a:gd name="T26" fmla="*/ 18 w 22"/>
                <a:gd name="T27" fmla="*/ 20 h 24"/>
                <a:gd name="T28" fmla="*/ 16 w 22"/>
                <a:gd name="T29" fmla="*/ 22 h 24"/>
                <a:gd name="T30" fmla="*/ 10 w 22"/>
                <a:gd name="T31" fmla="*/ 24 h 24"/>
                <a:gd name="T32" fmla="*/ 10 w 22"/>
                <a:gd name="T33" fmla="*/ 24 h 24"/>
                <a:gd name="T34" fmla="*/ 6 w 22"/>
                <a:gd name="T35" fmla="*/ 22 h 24"/>
                <a:gd name="T36" fmla="*/ 2 w 22"/>
                <a:gd name="T37" fmla="*/ 20 h 24"/>
                <a:gd name="T38" fmla="*/ 0 w 22"/>
                <a:gd name="T39" fmla="*/ 16 h 24"/>
                <a:gd name="T40" fmla="*/ 0 w 22"/>
                <a:gd name="T41" fmla="*/ 12 h 24"/>
                <a:gd name="T42" fmla="*/ 0 w 22"/>
                <a:gd name="T4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4">
                  <a:moveTo>
                    <a:pt x="0" y="12"/>
                  </a:moveTo>
                  <a:lnTo>
                    <a:pt x="0" y="12"/>
                  </a:lnTo>
                  <a:lnTo>
                    <a:pt x="0" y="8"/>
                  </a:lnTo>
                  <a:lnTo>
                    <a:pt x="2" y="4"/>
                  </a:lnTo>
                  <a:lnTo>
                    <a:pt x="6" y="2"/>
                  </a:lnTo>
                  <a:lnTo>
                    <a:pt x="10" y="0"/>
                  </a:lnTo>
                  <a:lnTo>
                    <a:pt x="10" y="0"/>
                  </a:lnTo>
                  <a:lnTo>
                    <a:pt x="16" y="2"/>
                  </a:lnTo>
                  <a:lnTo>
                    <a:pt x="18" y="4"/>
                  </a:lnTo>
                  <a:lnTo>
                    <a:pt x="22" y="8"/>
                  </a:lnTo>
                  <a:lnTo>
                    <a:pt x="22" y="12"/>
                  </a:lnTo>
                  <a:lnTo>
                    <a:pt x="22" y="12"/>
                  </a:lnTo>
                  <a:lnTo>
                    <a:pt x="22" y="16"/>
                  </a:lnTo>
                  <a:lnTo>
                    <a:pt x="18" y="20"/>
                  </a:lnTo>
                  <a:lnTo>
                    <a:pt x="16" y="22"/>
                  </a:lnTo>
                  <a:lnTo>
                    <a:pt x="10" y="24"/>
                  </a:lnTo>
                  <a:lnTo>
                    <a:pt x="10" y="24"/>
                  </a:lnTo>
                  <a:lnTo>
                    <a:pt x="6" y="22"/>
                  </a:lnTo>
                  <a:lnTo>
                    <a:pt x="2" y="20"/>
                  </a:lnTo>
                  <a:lnTo>
                    <a:pt x="0" y="16"/>
                  </a:lnTo>
                  <a:lnTo>
                    <a:pt x="0" y="12"/>
                  </a:lnTo>
                  <a:lnTo>
                    <a:pt x="0" y="12"/>
                  </a:lnTo>
                  <a:close/>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0" name="Oval 39">
              <a:extLst>
                <a:ext uri="{FF2B5EF4-FFF2-40B4-BE49-F238E27FC236}">
                  <a16:creationId xmlns:a16="http://schemas.microsoft.com/office/drawing/2014/main" id="{71A0E84E-F988-43B3-8459-4A0ACBD68A1E}"/>
                </a:ext>
              </a:extLst>
            </p:cNvPr>
            <p:cNvSpPr/>
            <p:nvPr/>
          </p:nvSpPr>
          <p:spPr>
            <a:xfrm>
              <a:off x="6921457" y="1897402"/>
              <a:ext cx="2400239" cy="2601272"/>
            </a:xfrm>
            <a:prstGeom prst="ellipse">
              <a:avLst/>
            </a:prstGeom>
            <a:solidFill>
              <a:schemeClr val="bg1">
                <a:alpha val="80000"/>
              </a:schemeClr>
            </a:solidFill>
            <a:ln>
              <a:solidFill>
                <a:schemeClr val="tx2"/>
              </a:solidFill>
            </a:ln>
            <a:effectLst>
              <a:softEdge rad="3683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1" name="Rectangle 40">
              <a:extLst>
                <a:ext uri="{FF2B5EF4-FFF2-40B4-BE49-F238E27FC236}">
                  <a16:creationId xmlns:a16="http://schemas.microsoft.com/office/drawing/2014/main" id="{CFAA0916-F229-49AA-99BB-069F29B2F77C}"/>
                </a:ext>
              </a:extLst>
            </p:cNvPr>
            <p:cNvSpPr/>
            <p:nvPr/>
          </p:nvSpPr>
          <p:spPr>
            <a:xfrm>
              <a:off x="9368845" y="1620624"/>
              <a:ext cx="2241835" cy="215444"/>
            </a:xfrm>
            <a:prstGeom prst="rect">
              <a:avLst/>
            </a:prstGeom>
          </p:spPr>
          <p:txBody>
            <a:bodyPr wrap="square" lIns="274320" tIns="0" rIns="0" bIns="0" anchor="ctr">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GET INSPIRED</a:t>
              </a:r>
            </a:p>
          </p:txBody>
        </p:sp>
        <p:sp>
          <p:nvSpPr>
            <p:cNvPr id="42" name="Rectangle 41">
              <a:extLst>
                <a:ext uri="{FF2B5EF4-FFF2-40B4-BE49-F238E27FC236}">
                  <a16:creationId xmlns:a16="http://schemas.microsoft.com/office/drawing/2014/main" id="{888163AB-FD2C-4D98-A054-E95B254F51A1}"/>
                </a:ext>
              </a:extLst>
            </p:cNvPr>
            <p:cNvSpPr/>
            <p:nvPr/>
          </p:nvSpPr>
          <p:spPr>
            <a:xfrm>
              <a:off x="9810222" y="3403303"/>
              <a:ext cx="2011716" cy="646331"/>
            </a:xfrm>
            <a:prstGeom prst="rect">
              <a:avLst/>
            </a:prstGeom>
          </p:spPr>
          <p:txBody>
            <a:bodyPr wrap="square" lIns="365760" tIns="0" rIns="0" bIns="0" anchor="ctr">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SEARCH, </a:t>
              </a:r>
              <a:br>
                <a:rPr kumimoji="0" lang="en-US" sz="1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ELECT &amp; VALIDATE</a:t>
              </a:r>
            </a:p>
          </p:txBody>
        </p:sp>
        <p:sp>
          <p:nvSpPr>
            <p:cNvPr id="43" name="Rectangle 42">
              <a:extLst>
                <a:ext uri="{FF2B5EF4-FFF2-40B4-BE49-F238E27FC236}">
                  <a16:creationId xmlns:a16="http://schemas.microsoft.com/office/drawing/2014/main" id="{B676339D-5B2D-4059-918F-8E41DC554BF6}"/>
                </a:ext>
              </a:extLst>
            </p:cNvPr>
            <p:cNvSpPr/>
            <p:nvPr/>
          </p:nvSpPr>
          <p:spPr>
            <a:xfrm>
              <a:off x="7396910" y="5017025"/>
              <a:ext cx="1413428" cy="492443"/>
            </a:xfrm>
            <a:prstGeom prst="rect">
              <a:avLst/>
            </a:prstGeom>
          </p:spPr>
          <p:txBody>
            <a:bodyPr wrap="square" lIns="0" tIns="274320" rIns="0" bIns="0" anchor="ctr">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URCHASE</a:t>
              </a:r>
            </a:p>
          </p:txBody>
        </p:sp>
        <p:sp>
          <p:nvSpPr>
            <p:cNvPr id="44" name="Rectangle 43">
              <a:extLst>
                <a:ext uri="{FF2B5EF4-FFF2-40B4-BE49-F238E27FC236}">
                  <a16:creationId xmlns:a16="http://schemas.microsoft.com/office/drawing/2014/main" id="{A3D45507-6168-428E-9EAA-A8D917F7B1A6}"/>
                </a:ext>
              </a:extLst>
            </p:cNvPr>
            <p:cNvSpPr/>
            <p:nvPr/>
          </p:nvSpPr>
          <p:spPr>
            <a:xfrm>
              <a:off x="4915062" y="1496802"/>
              <a:ext cx="1842089" cy="430887"/>
            </a:xfrm>
            <a:prstGeom prst="rect">
              <a:avLst/>
            </a:prstGeom>
          </p:spPr>
          <p:txBody>
            <a:bodyPr wrap="square" lIns="274320" tIns="0" rIns="274320" bIns="0" anchor="ctr">
              <a:spAutoFit/>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HARE &amp;</a:t>
              </a:r>
            </a:p>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NGAGE</a:t>
              </a:r>
            </a:p>
          </p:txBody>
        </p:sp>
        <p:sp>
          <p:nvSpPr>
            <p:cNvPr id="45" name="Rectangle 44">
              <a:extLst>
                <a:ext uri="{FF2B5EF4-FFF2-40B4-BE49-F238E27FC236}">
                  <a16:creationId xmlns:a16="http://schemas.microsoft.com/office/drawing/2014/main" id="{5B764F54-0E8F-4596-90DE-2FFBE3E5258B}"/>
                </a:ext>
              </a:extLst>
            </p:cNvPr>
            <p:cNvSpPr/>
            <p:nvPr/>
          </p:nvSpPr>
          <p:spPr>
            <a:xfrm>
              <a:off x="4253256" y="3587596"/>
              <a:ext cx="1935173" cy="215444"/>
            </a:xfrm>
            <a:prstGeom prst="rect">
              <a:avLst/>
            </a:prstGeom>
          </p:spPr>
          <p:txBody>
            <a:bodyPr wrap="square" lIns="0" tIns="0" rIns="274320" bIns="0" anchor="ctr">
              <a:spAutoFit/>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CEIVE</a:t>
              </a:r>
            </a:p>
          </p:txBody>
        </p:sp>
      </p:grpSp>
      <p:sp>
        <p:nvSpPr>
          <p:cNvPr id="72" name="TextBox 71">
            <a:extLst>
              <a:ext uri="{FF2B5EF4-FFF2-40B4-BE49-F238E27FC236}">
                <a16:creationId xmlns:a16="http://schemas.microsoft.com/office/drawing/2014/main" id="{B906CEE8-79EF-4EEF-A289-42A1626C9258}"/>
              </a:ext>
            </a:extLst>
          </p:cNvPr>
          <p:cNvSpPr txBox="1"/>
          <p:nvPr/>
        </p:nvSpPr>
        <p:spPr>
          <a:xfrm>
            <a:off x="814549" y="6186202"/>
            <a:ext cx="3188693"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Open Sans"/>
                <a:ea typeface="+mn-ea"/>
                <a:cs typeface="+mn-cs"/>
              </a:rPr>
              <a:t>Source: Deloitte Consulting LLP</a:t>
            </a:r>
            <a:r>
              <a:rPr kumimoji="0" lang="en-US" sz="800" b="1" i="1" u="none" strike="noStrike" kern="1200" cap="none" spc="0" normalizeH="0" baseline="0" noProof="0" dirty="0">
                <a:ln>
                  <a:noFill/>
                </a:ln>
                <a:solidFill>
                  <a:srgbClr val="000000"/>
                </a:solidFill>
                <a:effectLst/>
                <a:uLnTx/>
                <a:uFillTx/>
                <a:latin typeface="Open Sans"/>
                <a:ea typeface="+mn-ea"/>
                <a:cs typeface="+mn-cs"/>
              </a:rPr>
              <a:t>. Grocery Digital Divide</a:t>
            </a:r>
            <a:r>
              <a:rPr kumimoji="0" lang="en-US" sz="800" b="1" i="0" u="none" strike="noStrike" kern="1200" cap="none" spc="0" normalizeH="0" baseline="0" noProof="0" dirty="0">
                <a:ln>
                  <a:noFill/>
                </a:ln>
                <a:solidFill>
                  <a:srgbClr val="000000"/>
                </a:solidFill>
                <a:effectLst/>
                <a:uLnTx/>
                <a:uFillTx/>
                <a:latin typeface="Open Sans"/>
                <a:ea typeface="+mn-ea"/>
                <a:cs typeface="+mn-cs"/>
              </a:rPr>
              <a:t>. 2018.</a:t>
            </a:r>
          </a:p>
        </p:txBody>
      </p:sp>
      <p:pic>
        <p:nvPicPr>
          <p:cNvPr id="73" name="Picture 72">
            <a:extLst>
              <a:ext uri="{FF2B5EF4-FFF2-40B4-BE49-F238E27FC236}">
                <a16:creationId xmlns:a16="http://schemas.microsoft.com/office/drawing/2014/main" id="{98B8F716-8F22-405F-8D10-6AF68F60EF5E}"/>
              </a:ext>
            </a:extLst>
          </p:cNvPr>
          <p:cNvPicPr>
            <a:picLocks noChangeAspect="1"/>
          </p:cNvPicPr>
          <p:nvPr/>
        </p:nvPicPr>
        <p:blipFill rotWithShape="1">
          <a:blip r:embed="rId9" cstate="hqprint">
            <a:extLst>
              <a:ext uri="{28A0092B-C50C-407E-A947-70E740481C1C}">
                <a14:useLocalDpi xmlns:a14="http://schemas.microsoft.com/office/drawing/2010/main" val="0"/>
              </a:ext>
            </a:extLst>
          </a:blip>
          <a:srcRect/>
          <a:stretch/>
        </p:blipFill>
        <p:spPr>
          <a:xfrm>
            <a:off x="7294905" y="2816155"/>
            <a:ext cx="1186759" cy="1145810"/>
          </a:xfrm>
          <a:prstGeom prst="ellipse">
            <a:avLst/>
          </a:prstGeom>
        </p:spPr>
      </p:pic>
    </p:spTree>
    <p:extLst>
      <p:ext uri="{BB962C8B-B14F-4D97-AF65-F5344CB8AC3E}">
        <p14:creationId xmlns:p14="http://schemas.microsoft.com/office/powerpoint/2010/main" val="3350515548"/>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6" name="Object 85" hidden="1">
            <a:extLst>
              <a:ext uri="{FF2B5EF4-FFF2-40B4-BE49-F238E27FC236}">
                <a16:creationId xmlns:a16="http://schemas.microsoft.com/office/drawing/2014/main" id="{56DFE20B-748F-4EB2-A12F-3D27D6A3216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04" name="think-cell Slide" r:id="rId6" imgW="395" imgH="396" progId="TCLayout.ActiveDocument.1">
                  <p:embed/>
                </p:oleObj>
              </mc:Choice>
              <mc:Fallback>
                <p:oleObj name="think-cell Slide" r:id="rId6" imgW="395" imgH="396" progId="TCLayout.ActiveDocument.1">
                  <p:embed/>
                  <p:pic>
                    <p:nvPicPr>
                      <p:cNvPr id="86" name="Object 85" hidden="1">
                        <a:extLst>
                          <a:ext uri="{FF2B5EF4-FFF2-40B4-BE49-F238E27FC236}">
                            <a16:creationId xmlns:a16="http://schemas.microsoft.com/office/drawing/2014/main" id="{56DFE20B-748F-4EB2-A12F-3D27D6A3216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5" name="Rectangle 84" hidden="1">
            <a:extLst>
              <a:ext uri="{FF2B5EF4-FFF2-40B4-BE49-F238E27FC236}">
                <a16:creationId xmlns:a16="http://schemas.microsoft.com/office/drawing/2014/main" id="{3D12885B-4DBE-430A-8DE2-E865F65FA73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7FBD6E89-C930-4BD6-A5C3-E6560D0C2A8A}"/>
              </a:ext>
            </a:extLst>
          </p:cNvPr>
          <p:cNvSpPr>
            <a:spLocks noGrp="1"/>
          </p:cNvSpPr>
          <p:nvPr>
            <p:ph type="title"/>
          </p:nvPr>
        </p:nvSpPr>
        <p:spPr/>
        <p:txBody>
          <a:bodyPr/>
          <a:lstStyle/>
          <a:p>
            <a:r>
              <a:rPr lang="en-US" dirty="0"/>
              <a:t>Our Asset  Portfolio will evolve with the market… </a:t>
            </a:r>
          </a:p>
        </p:txBody>
      </p:sp>
      <p:sp>
        <p:nvSpPr>
          <p:cNvPr id="3" name="Text Placeholder 2">
            <a:extLst>
              <a:ext uri="{FF2B5EF4-FFF2-40B4-BE49-F238E27FC236}">
                <a16:creationId xmlns:a16="http://schemas.microsoft.com/office/drawing/2014/main" id="{AD37EC36-E957-4DF7-8798-E7B94BBAEC11}"/>
              </a:ext>
            </a:extLst>
          </p:cNvPr>
          <p:cNvSpPr>
            <a:spLocks noGrp="1"/>
          </p:cNvSpPr>
          <p:nvPr>
            <p:ph type="body" sz="quarter" idx="14"/>
          </p:nvPr>
        </p:nvSpPr>
        <p:spPr>
          <a:xfrm>
            <a:off x="914721" y="1353312"/>
            <a:ext cx="10362880" cy="475488"/>
          </a:xfrm>
        </p:spPr>
        <p:txBody>
          <a:bodyPr/>
          <a:lstStyle/>
          <a:p>
            <a:r>
              <a:rPr lang="en-US" dirty="0"/>
              <a:t>Subtitle</a:t>
            </a:r>
          </a:p>
        </p:txBody>
      </p:sp>
      <p:sp>
        <p:nvSpPr>
          <p:cNvPr id="4" name="Text Placeholder 3">
            <a:extLst>
              <a:ext uri="{FF2B5EF4-FFF2-40B4-BE49-F238E27FC236}">
                <a16:creationId xmlns:a16="http://schemas.microsoft.com/office/drawing/2014/main" id="{9400FEC2-46CB-4220-901C-3BD54093562E}"/>
              </a:ext>
            </a:extLst>
          </p:cNvPr>
          <p:cNvSpPr>
            <a:spLocks noGrp="1"/>
          </p:cNvSpPr>
          <p:nvPr>
            <p:ph type="body" sz="quarter" idx="15"/>
          </p:nvPr>
        </p:nvSpPr>
        <p:spPr>
          <a:xfrm>
            <a:off x="914970" y="466344"/>
            <a:ext cx="3725583" cy="143430"/>
          </a:xfrm>
        </p:spPr>
        <p:txBody>
          <a:bodyPr/>
          <a:lstStyle/>
          <a:p>
            <a:r>
              <a:rPr lang="en-US" dirty="0"/>
              <a:t>FRAMEWORKS &amp; CONCEPT ILLUSTRATION</a:t>
            </a:r>
          </a:p>
        </p:txBody>
      </p:sp>
      <p:cxnSp>
        <p:nvCxnSpPr>
          <p:cNvPr id="6" name="Straight Connector 5">
            <a:extLst>
              <a:ext uri="{FF2B5EF4-FFF2-40B4-BE49-F238E27FC236}">
                <a16:creationId xmlns:a16="http://schemas.microsoft.com/office/drawing/2014/main" id="{B1191046-9B74-4D1E-806A-60D0B0B85AEB}"/>
              </a:ext>
            </a:extLst>
          </p:cNvPr>
          <p:cNvCxnSpPr>
            <a:cxnSpLocks/>
            <a:endCxn id="39" idx="14"/>
          </p:cNvCxnSpPr>
          <p:nvPr/>
        </p:nvCxnSpPr>
        <p:spPr>
          <a:xfrm>
            <a:off x="7672602" y="1616386"/>
            <a:ext cx="808648" cy="1145365"/>
          </a:xfrm>
          <a:prstGeom prst="line">
            <a:avLst/>
          </a:prstGeom>
          <a:noFill/>
          <a:ln w="28575" cap="rnd">
            <a:solidFill>
              <a:schemeClr val="bg1">
                <a:lumMod val="75000"/>
              </a:schemeClr>
            </a:solidFill>
            <a:prstDash val="sysDot"/>
            <a:round/>
            <a:headEnd/>
            <a:tailEnd/>
          </a:ln>
          <a:extLst>
            <a:ext uri="{909E8E84-426E-40DD-AFC4-6F175D3DCCD1}">
              <a14:hiddenFill xmlns:a14="http://schemas.microsoft.com/office/drawing/2010/main">
                <a:solidFill>
                  <a:srgbClr val="FFFFFF"/>
                </a:solidFill>
              </a14:hiddenFill>
            </a:ext>
          </a:extLst>
        </p:spPr>
      </p:cxnSp>
      <p:sp>
        <p:nvSpPr>
          <p:cNvPr id="7" name="Title 1">
            <a:extLst>
              <a:ext uri="{FF2B5EF4-FFF2-40B4-BE49-F238E27FC236}">
                <a16:creationId xmlns:a16="http://schemas.microsoft.com/office/drawing/2014/main" id="{52069B5B-9C54-49DB-9EA1-27807C51747B}"/>
              </a:ext>
            </a:extLst>
          </p:cNvPr>
          <p:cNvSpPr txBox="1">
            <a:spLocks/>
          </p:cNvSpPr>
          <p:nvPr/>
        </p:nvSpPr>
        <p:spPr>
          <a:xfrm>
            <a:off x="914400" y="804672"/>
            <a:ext cx="2937170" cy="199339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sp>
        <p:nvSpPr>
          <p:cNvPr id="8" name="Text Placeholder 2">
            <a:extLst>
              <a:ext uri="{FF2B5EF4-FFF2-40B4-BE49-F238E27FC236}">
                <a16:creationId xmlns:a16="http://schemas.microsoft.com/office/drawing/2014/main" id="{4FA9593A-A426-416A-96B6-32AA335D3E41}"/>
              </a:ext>
            </a:extLst>
          </p:cNvPr>
          <p:cNvSpPr txBox="1">
            <a:spLocks/>
          </p:cNvSpPr>
          <p:nvPr/>
        </p:nvSpPr>
        <p:spPr>
          <a:xfrm>
            <a:off x="791249" y="2718484"/>
            <a:ext cx="3336929" cy="1771849"/>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t>We must draw differentiated Assets and Innovative new ideas from across our Offering and Industry Partners to create a comprehensive portfolio of Accelerators, Solutions, and Products which will allow C&amp;M to realize our AIO ambitions </a:t>
            </a:r>
          </a:p>
        </p:txBody>
      </p:sp>
      <p:sp>
        <p:nvSpPr>
          <p:cNvPr id="9" name="Rectangle 8">
            <a:extLst>
              <a:ext uri="{FF2B5EF4-FFF2-40B4-BE49-F238E27FC236}">
                <a16:creationId xmlns:a16="http://schemas.microsoft.com/office/drawing/2014/main" id="{9C624E51-E92A-4F3F-8AB2-F2D5CB46657C}"/>
              </a:ext>
            </a:extLst>
          </p:cNvPr>
          <p:cNvSpPr/>
          <p:nvPr/>
        </p:nvSpPr>
        <p:spPr>
          <a:xfrm>
            <a:off x="4144350" y="1604377"/>
            <a:ext cx="3486468" cy="4787279"/>
          </a:xfrm>
          <a:prstGeom prst="rect">
            <a:avLst/>
          </a:prstGeom>
          <a:noFill/>
          <a:ln w="28575" cap="rnd">
            <a:solidFill>
              <a:schemeClr val="tx1"/>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cxnSp>
        <p:nvCxnSpPr>
          <p:cNvPr id="10" name="Straight Connector 9">
            <a:extLst>
              <a:ext uri="{FF2B5EF4-FFF2-40B4-BE49-F238E27FC236}">
                <a16:creationId xmlns:a16="http://schemas.microsoft.com/office/drawing/2014/main" id="{679093F2-5159-446A-BEC7-AC9A795FF008}"/>
              </a:ext>
            </a:extLst>
          </p:cNvPr>
          <p:cNvCxnSpPr/>
          <p:nvPr/>
        </p:nvCxnSpPr>
        <p:spPr>
          <a:xfrm>
            <a:off x="4410311" y="3738940"/>
            <a:ext cx="3060857" cy="0"/>
          </a:xfrm>
          <a:prstGeom prst="line">
            <a:avLst/>
          </a:prstGeom>
          <a:noFill/>
          <a:ln w="28575" cap="rnd">
            <a:solidFill>
              <a:schemeClr val="tx1"/>
            </a:solidFill>
            <a:prstDash val="sysDot"/>
            <a:round/>
            <a:headEnd/>
            <a:tailEnd/>
          </a:ln>
          <a:extLst>
            <a:ext uri="{909E8E84-426E-40DD-AFC4-6F175D3DCCD1}">
              <a14:hiddenFill xmlns:a14="http://schemas.microsoft.com/office/drawing/2010/main">
                <a:solidFill>
                  <a:srgbClr val="FFFFFF"/>
                </a:solidFill>
              </a14:hiddenFill>
            </a:ext>
          </a:extLst>
        </p:spPr>
      </p:cxnSp>
      <p:grpSp>
        <p:nvGrpSpPr>
          <p:cNvPr id="11" name="Group 10">
            <a:extLst>
              <a:ext uri="{FF2B5EF4-FFF2-40B4-BE49-F238E27FC236}">
                <a16:creationId xmlns:a16="http://schemas.microsoft.com/office/drawing/2014/main" id="{503F6442-63A4-403D-ACF4-2BB147E1334F}"/>
              </a:ext>
            </a:extLst>
          </p:cNvPr>
          <p:cNvGrpSpPr/>
          <p:nvPr/>
        </p:nvGrpSpPr>
        <p:grpSpPr>
          <a:xfrm>
            <a:off x="4616681" y="2028059"/>
            <a:ext cx="474914" cy="684057"/>
            <a:chOff x="4131820" y="873146"/>
            <a:chExt cx="474914" cy="684057"/>
          </a:xfrm>
        </p:grpSpPr>
        <p:pic>
          <p:nvPicPr>
            <p:cNvPr id="12" name="Picture 11">
              <a:extLst>
                <a:ext uri="{FF2B5EF4-FFF2-40B4-BE49-F238E27FC236}">
                  <a16:creationId xmlns:a16="http://schemas.microsoft.com/office/drawing/2014/main" id="{E07328F2-D1F9-41D3-AA4E-41C66347334F}"/>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4155693" y="873146"/>
              <a:ext cx="427168" cy="416399"/>
            </a:xfrm>
            <a:prstGeom prst="rect">
              <a:avLst/>
            </a:prstGeom>
          </p:spPr>
        </p:pic>
        <p:sp>
          <p:nvSpPr>
            <p:cNvPr id="13" name="TextBox 12">
              <a:extLst>
                <a:ext uri="{FF2B5EF4-FFF2-40B4-BE49-F238E27FC236}">
                  <a16:creationId xmlns:a16="http://schemas.microsoft.com/office/drawing/2014/main" id="{C4CB9DE0-BCC6-4F3B-8298-70C9CE7DB2C7}"/>
                </a:ext>
              </a:extLst>
            </p:cNvPr>
            <p:cNvSpPr txBox="1"/>
            <p:nvPr/>
          </p:nvSpPr>
          <p:spPr>
            <a:xfrm>
              <a:off x="4131820" y="1303287"/>
              <a:ext cx="474914" cy="25391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a:ea typeface="+mn-ea"/>
                  <a:cs typeface="+mn-cs"/>
                </a:rPr>
                <a:t>XSP</a:t>
              </a:r>
            </a:p>
          </p:txBody>
        </p:sp>
      </p:grpSp>
      <p:pic>
        <p:nvPicPr>
          <p:cNvPr id="14" name="Picture 13">
            <a:extLst>
              <a:ext uri="{FF2B5EF4-FFF2-40B4-BE49-F238E27FC236}">
                <a16:creationId xmlns:a16="http://schemas.microsoft.com/office/drawing/2014/main" id="{0A80144D-D10E-4971-8145-74755D2AC7B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303307" y="2045558"/>
            <a:ext cx="656737" cy="486318"/>
          </a:xfrm>
          <a:prstGeom prst="rect">
            <a:avLst/>
          </a:prstGeom>
        </p:spPr>
      </p:pic>
      <p:sp>
        <p:nvSpPr>
          <p:cNvPr id="15" name="Rounded Rectangle 6">
            <a:extLst>
              <a:ext uri="{FF2B5EF4-FFF2-40B4-BE49-F238E27FC236}">
                <a16:creationId xmlns:a16="http://schemas.microsoft.com/office/drawing/2014/main" id="{5A0DB387-9FB7-44C0-B58F-3722A558BFA6}"/>
              </a:ext>
            </a:extLst>
          </p:cNvPr>
          <p:cNvSpPr/>
          <p:nvPr/>
        </p:nvSpPr>
        <p:spPr>
          <a:xfrm>
            <a:off x="6171756" y="2132078"/>
            <a:ext cx="945519" cy="313277"/>
          </a:xfrm>
          <a:prstGeom prst="roundRect">
            <a:avLst/>
          </a:prstGeom>
          <a:solidFill>
            <a:srgbClr val="3F3F3F"/>
          </a:solidFill>
          <a:ln>
            <a:noFill/>
          </a:ln>
          <a:effectLst>
            <a:outerShdw blurRad="50800" dist="38100" dir="5400000" algn="t" rotWithShape="0">
              <a:prstClr val="black">
                <a:alpha val="40000"/>
              </a:prstClr>
            </a:outerShdw>
          </a:effectLst>
        </p:spPr>
        <p:txBody>
          <a:bodyPr wrap="square" lIns="91440" tIns="18288" rIns="91440" bIns="18288">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w="0"/>
                <a:gradFill>
                  <a:gsLst>
                    <a:gs pos="0">
                      <a:srgbClr val="92D400">
                        <a:lumMod val="50000"/>
                      </a:srgbClr>
                    </a:gs>
                    <a:gs pos="50000">
                      <a:srgbClr val="92D400"/>
                    </a:gs>
                    <a:gs pos="100000">
                      <a:srgbClr val="92D400">
                        <a:lumMod val="60000"/>
                        <a:lumOff val="40000"/>
                      </a:srgbClr>
                    </a:gs>
                  </a:gsLst>
                  <a:lin ang="5400000"/>
                </a:gradFill>
                <a:effectLst>
                  <a:reflection blurRad="6350" stA="53000" endA="300" endPos="35500" dir="5400000" sy="-90000" algn="bl" rotWithShape="0"/>
                </a:effectLst>
                <a:uLnTx/>
                <a:uFillTx/>
                <a:latin typeface="Open Sans" panose="020B0606030504020204" pitchFamily="34" charset="0"/>
                <a:ea typeface="Open Sans" panose="020B0606030504020204" pitchFamily="34" charset="0"/>
                <a:cs typeface="Open Sans" panose="020B0606030504020204" pitchFamily="34" charset="0"/>
              </a:rPr>
              <a:t>Sky</a:t>
            </a:r>
            <a:r>
              <a:rPr kumimoji="0" lang="en-US" sz="1600" b="0" i="0" u="none" strike="noStrike" kern="1200" cap="none" spc="0" normalizeH="0" baseline="0" noProof="0" dirty="0">
                <a:ln w="0"/>
                <a:solidFill>
                  <a:srgbClr val="00A1DE"/>
                </a:solidFill>
                <a:effectLst>
                  <a:reflection blurRad="6350" stA="53000" endA="300" endPos="35500" dir="5400000" sy="-90000" algn="bl" rotWithShape="0"/>
                </a:effectLst>
                <a:uLnTx/>
                <a:uFillTx/>
                <a:latin typeface="Open Sans" panose="020B0606030504020204" pitchFamily="34" charset="0"/>
                <a:ea typeface="Open Sans" panose="020B0606030504020204" pitchFamily="34" charset="0"/>
                <a:cs typeface="Open Sans" panose="020B0606030504020204" pitchFamily="34" charset="0"/>
              </a:rPr>
              <a:t>BOX</a:t>
            </a:r>
            <a:endParaRPr kumimoji="0" lang="en-US" sz="2800" b="0" i="0" u="none" strike="noStrike" kern="1200" cap="none" spc="0" normalizeH="0" baseline="0" noProof="0" dirty="0">
              <a:ln w="0"/>
              <a:solidFill>
                <a:srgbClr val="00A1DE"/>
              </a:solidFill>
              <a:effectLst>
                <a:reflection blurRad="6350" stA="53000" endA="300" endPos="35500" dir="5400000" sy="-90000" algn="bl" rotWithShape="0"/>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6" name="Picture 15">
            <a:extLst>
              <a:ext uri="{FF2B5EF4-FFF2-40B4-BE49-F238E27FC236}">
                <a16:creationId xmlns:a16="http://schemas.microsoft.com/office/drawing/2014/main" id="{5E886E72-3D8B-4E01-8A01-96FEA3BBCB0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289576" y="2705901"/>
            <a:ext cx="889416" cy="198149"/>
          </a:xfrm>
          <a:prstGeom prst="rect">
            <a:avLst/>
          </a:prstGeom>
        </p:spPr>
      </p:pic>
      <p:pic>
        <p:nvPicPr>
          <p:cNvPr id="17" name="Picture 16">
            <a:extLst>
              <a:ext uri="{FF2B5EF4-FFF2-40B4-BE49-F238E27FC236}">
                <a16:creationId xmlns:a16="http://schemas.microsoft.com/office/drawing/2014/main" id="{4B7B698B-44E6-4BD7-9613-C0D82B06428B}"/>
              </a:ext>
            </a:extLst>
          </p:cNvPr>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4914480" y="2699979"/>
            <a:ext cx="1140516" cy="470302"/>
          </a:xfrm>
          <a:prstGeom prst="rect">
            <a:avLst/>
          </a:prstGeom>
        </p:spPr>
      </p:pic>
      <p:pic>
        <p:nvPicPr>
          <p:cNvPr id="18" name="Picture 17">
            <a:extLst>
              <a:ext uri="{FF2B5EF4-FFF2-40B4-BE49-F238E27FC236}">
                <a16:creationId xmlns:a16="http://schemas.microsoft.com/office/drawing/2014/main" id="{FD971C38-60EA-4732-A299-B6059CB9A7D0}"/>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538677" y="3281663"/>
            <a:ext cx="1304925" cy="285750"/>
          </a:xfrm>
          <a:prstGeom prst="rect">
            <a:avLst/>
          </a:prstGeom>
        </p:spPr>
      </p:pic>
      <p:pic>
        <p:nvPicPr>
          <p:cNvPr id="19" name="Picture 18">
            <a:extLst>
              <a:ext uri="{FF2B5EF4-FFF2-40B4-BE49-F238E27FC236}">
                <a16:creationId xmlns:a16="http://schemas.microsoft.com/office/drawing/2014/main" id="{4D0E9ED3-C391-4F2C-9066-B13102C75642}"/>
              </a:ext>
            </a:extLst>
          </p:cNvPr>
          <p:cNvPicPr>
            <a:picLocks noChangeAspect="1"/>
          </p:cNvPicPr>
          <p:nvPr/>
        </p:nvPicPr>
        <p:blipFill>
          <a:blip r:embed="rId13" cstate="hqprint">
            <a:extLst>
              <a:ext uri="{28A0092B-C50C-407E-A947-70E740481C1C}">
                <a14:useLocalDpi xmlns:a14="http://schemas.microsoft.com/office/drawing/2010/main" val="0"/>
              </a:ext>
            </a:extLst>
          </a:blip>
          <a:stretch>
            <a:fillRect/>
          </a:stretch>
        </p:blipFill>
        <p:spPr>
          <a:xfrm>
            <a:off x="6264638" y="2960301"/>
            <a:ext cx="688508" cy="692875"/>
          </a:xfrm>
          <a:prstGeom prst="rect">
            <a:avLst/>
          </a:prstGeom>
        </p:spPr>
      </p:pic>
      <p:sp>
        <p:nvSpPr>
          <p:cNvPr id="20" name="Rectangle 19">
            <a:extLst>
              <a:ext uri="{FF2B5EF4-FFF2-40B4-BE49-F238E27FC236}">
                <a16:creationId xmlns:a16="http://schemas.microsoft.com/office/drawing/2014/main" id="{FB125665-D754-45A5-B96A-D6F275166B18}"/>
              </a:ext>
            </a:extLst>
          </p:cNvPr>
          <p:cNvSpPr/>
          <p:nvPr/>
        </p:nvSpPr>
        <p:spPr>
          <a:xfrm>
            <a:off x="4433941" y="1665576"/>
            <a:ext cx="3013596" cy="1419535"/>
          </a:xfrm>
          <a:prstGeom prst="rect">
            <a:avLst/>
          </a:prstGeom>
          <a:noFill/>
          <a:ln w="34925" cap="sq">
            <a:noFill/>
            <a:miter lim="800000"/>
          </a:ln>
        </p:spPr>
        <p:txBody>
          <a:bodyPr wrap="square" lIns="0" tIns="0" rIns="0" bIns="91440">
            <a:no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1" i="0" u="none" strike="noStrike" kern="1200" cap="none" spc="300" normalizeH="0" baseline="0" noProof="0" dirty="0">
                <a:ln>
                  <a:noFill/>
                </a:ln>
                <a:solidFill>
                  <a:srgbClr val="000000"/>
                </a:solidFill>
                <a:effectLst/>
                <a:uLnTx/>
                <a:uFillTx/>
                <a:latin typeface="Open Sans"/>
                <a:ea typeface="+mn-ea"/>
                <a:cs typeface="Open Sans"/>
              </a:rPr>
              <a:t>A FEW EXAMPLES</a:t>
            </a:r>
          </a:p>
        </p:txBody>
      </p:sp>
      <p:grpSp>
        <p:nvGrpSpPr>
          <p:cNvPr id="21" name="Group 20">
            <a:extLst>
              <a:ext uri="{FF2B5EF4-FFF2-40B4-BE49-F238E27FC236}">
                <a16:creationId xmlns:a16="http://schemas.microsoft.com/office/drawing/2014/main" id="{07E23AF4-FCF7-4B68-AEE3-2F8FE7D860C8}"/>
              </a:ext>
            </a:extLst>
          </p:cNvPr>
          <p:cNvGrpSpPr/>
          <p:nvPr/>
        </p:nvGrpSpPr>
        <p:grpSpPr>
          <a:xfrm>
            <a:off x="7646990" y="1747255"/>
            <a:ext cx="4212944" cy="4644401"/>
            <a:chOff x="7277603" y="1681705"/>
            <a:chExt cx="4212944" cy="4644401"/>
          </a:xfrm>
        </p:grpSpPr>
        <p:cxnSp>
          <p:nvCxnSpPr>
            <p:cNvPr id="22" name="Straight Connector 21">
              <a:extLst>
                <a:ext uri="{FF2B5EF4-FFF2-40B4-BE49-F238E27FC236}">
                  <a16:creationId xmlns:a16="http://schemas.microsoft.com/office/drawing/2014/main" id="{45525FCC-27AC-48A3-AC1C-226E9FD17F51}"/>
                </a:ext>
              </a:extLst>
            </p:cNvPr>
            <p:cNvCxnSpPr>
              <a:cxnSpLocks/>
              <a:endCxn id="30" idx="22"/>
            </p:cNvCxnSpPr>
            <p:nvPr/>
          </p:nvCxnSpPr>
          <p:spPr>
            <a:xfrm flipV="1">
              <a:off x="7277603" y="5009802"/>
              <a:ext cx="1552271" cy="1316304"/>
            </a:xfrm>
            <a:prstGeom prst="line">
              <a:avLst/>
            </a:prstGeom>
            <a:noFill/>
            <a:ln w="28575" cap="rnd">
              <a:solidFill>
                <a:schemeClr val="bg1">
                  <a:lumMod val="75000"/>
                </a:schemeClr>
              </a:solidFill>
              <a:prstDash val="sysDot"/>
              <a:round/>
              <a:headEnd/>
              <a:tailEnd/>
            </a:ln>
            <a:extLst>
              <a:ext uri="{909E8E84-426E-40DD-AFC4-6F175D3DCCD1}">
                <a14:hiddenFill xmlns:a14="http://schemas.microsoft.com/office/drawing/2010/main">
                  <a:solidFill>
                    <a:srgbClr val="FFFFFF"/>
                  </a:solidFill>
                </a14:hiddenFill>
              </a:ext>
            </a:extLst>
          </p:spPr>
        </p:cxnSp>
        <p:pic>
          <p:nvPicPr>
            <p:cNvPr id="23" name="Picture 35" descr="Image result for TECHNOLOGY ICON">
              <a:extLst>
                <a:ext uri="{FF2B5EF4-FFF2-40B4-BE49-F238E27FC236}">
                  <a16:creationId xmlns:a16="http://schemas.microsoft.com/office/drawing/2014/main" id="{87C13873-B903-4417-8C25-BD29CDB1A60D}"/>
                </a:ext>
              </a:extLst>
            </p:cNvPr>
            <p:cNvPicPr>
              <a:picLocks noChangeAspect="1" noChangeArrowheads="1"/>
            </p:cNvPicPr>
            <p:nvPr/>
          </p:nvPicPr>
          <p:blipFill>
            <a:blip r:embed="rId14" cstate="print">
              <a:biLevel thresh="75000"/>
              <a:extLst>
                <a:ext uri="{BEBA8EAE-BF5A-486C-A8C5-ECC9F3942E4B}">
                  <a14:imgProps xmlns:a14="http://schemas.microsoft.com/office/drawing/2010/main">
                    <a14:imgLayer r:embed="rId15">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a:off x="9264825" y="2677838"/>
              <a:ext cx="820928" cy="843661"/>
            </a:xfrm>
            <a:prstGeom prst="rect">
              <a:avLst/>
            </a:prstGeom>
            <a:noFill/>
            <a:extLst>
              <a:ext uri="{909E8E84-426E-40DD-AFC4-6F175D3DCCD1}">
                <a14:hiddenFill xmlns:a14="http://schemas.microsoft.com/office/drawing/2010/main">
                  <a:solidFill>
                    <a:srgbClr val="FFFFFF"/>
                  </a:solidFill>
                </a14:hiddenFill>
              </a:ext>
            </a:extLst>
          </p:spPr>
        </p:pic>
        <p:sp>
          <p:nvSpPr>
            <p:cNvPr id="24" name="Freeform 55">
              <a:extLst>
                <a:ext uri="{FF2B5EF4-FFF2-40B4-BE49-F238E27FC236}">
                  <a16:creationId xmlns:a16="http://schemas.microsoft.com/office/drawing/2014/main" id="{0426796C-3A82-459E-892A-5AB259C79893}"/>
                </a:ext>
              </a:extLst>
            </p:cNvPr>
            <p:cNvSpPr>
              <a:spLocks/>
            </p:cNvSpPr>
            <p:nvPr/>
          </p:nvSpPr>
          <p:spPr bwMode="auto">
            <a:xfrm>
              <a:off x="9060472" y="2508185"/>
              <a:ext cx="1168771" cy="1682464"/>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25" name="Group 24">
              <a:extLst>
                <a:ext uri="{FF2B5EF4-FFF2-40B4-BE49-F238E27FC236}">
                  <a16:creationId xmlns:a16="http://schemas.microsoft.com/office/drawing/2014/main" id="{84C2B67D-02E1-4FB4-838A-D742401EF9E4}"/>
                </a:ext>
              </a:extLst>
            </p:cNvPr>
            <p:cNvGrpSpPr/>
            <p:nvPr/>
          </p:nvGrpSpPr>
          <p:grpSpPr>
            <a:xfrm>
              <a:off x="9312269" y="2646875"/>
              <a:ext cx="777610" cy="1331698"/>
              <a:chOff x="7651751" y="2178051"/>
              <a:chExt cx="1833563" cy="3140075"/>
            </a:xfrm>
          </p:grpSpPr>
          <p:sp>
            <p:nvSpPr>
              <p:cNvPr id="46" name="Rectangle 45">
                <a:extLst>
                  <a:ext uri="{FF2B5EF4-FFF2-40B4-BE49-F238E27FC236}">
                    <a16:creationId xmlns:a16="http://schemas.microsoft.com/office/drawing/2014/main" id="{706966C9-D818-40AE-8E00-32428FFB5B2F}"/>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7" name="Rectangle 46">
                <a:extLst>
                  <a:ext uri="{FF2B5EF4-FFF2-40B4-BE49-F238E27FC236}">
                    <a16:creationId xmlns:a16="http://schemas.microsoft.com/office/drawing/2014/main" id="{75623271-E3CA-47EE-AD22-A60B8C0B79B1}"/>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8" name="Rectangle 47">
                <a:extLst>
                  <a:ext uri="{FF2B5EF4-FFF2-40B4-BE49-F238E27FC236}">
                    <a16:creationId xmlns:a16="http://schemas.microsoft.com/office/drawing/2014/main" id="{AEBDB126-0513-41CA-B48C-436A867582DF}"/>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9" name="Rectangle 48">
                <a:extLst>
                  <a:ext uri="{FF2B5EF4-FFF2-40B4-BE49-F238E27FC236}">
                    <a16:creationId xmlns:a16="http://schemas.microsoft.com/office/drawing/2014/main" id="{8F8AEDFA-1E12-48A1-845F-18EA2F1B9BE4}"/>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0" name="Rectangle 49">
                <a:extLst>
                  <a:ext uri="{FF2B5EF4-FFF2-40B4-BE49-F238E27FC236}">
                    <a16:creationId xmlns:a16="http://schemas.microsoft.com/office/drawing/2014/main" id="{C2B0DC14-E907-4B3C-9C25-3357E176505F}"/>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1" name="Rectangle 50">
                <a:extLst>
                  <a:ext uri="{FF2B5EF4-FFF2-40B4-BE49-F238E27FC236}">
                    <a16:creationId xmlns:a16="http://schemas.microsoft.com/office/drawing/2014/main" id="{4159DD46-5900-4A02-8F2B-0DAAF097381F}"/>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2" name="Rectangle 51">
                <a:extLst>
                  <a:ext uri="{FF2B5EF4-FFF2-40B4-BE49-F238E27FC236}">
                    <a16:creationId xmlns:a16="http://schemas.microsoft.com/office/drawing/2014/main" id="{96BF9F7F-6DA4-4D1D-B233-0598C7B3E117}"/>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3" name="Rectangle 52">
                <a:extLst>
                  <a:ext uri="{FF2B5EF4-FFF2-40B4-BE49-F238E27FC236}">
                    <a16:creationId xmlns:a16="http://schemas.microsoft.com/office/drawing/2014/main" id="{C0B18946-A625-4B80-8736-539FDC31F978}"/>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4" name="Rectangle 53">
                <a:extLst>
                  <a:ext uri="{FF2B5EF4-FFF2-40B4-BE49-F238E27FC236}">
                    <a16:creationId xmlns:a16="http://schemas.microsoft.com/office/drawing/2014/main" id="{9445E293-24A1-44D4-8491-7112B36BA1FE}"/>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5" name="Rectangle 54">
                <a:extLst>
                  <a:ext uri="{FF2B5EF4-FFF2-40B4-BE49-F238E27FC236}">
                    <a16:creationId xmlns:a16="http://schemas.microsoft.com/office/drawing/2014/main" id="{68E2387A-1279-4BA4-B236-2168CD71616E}"/>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6" name="Freeform 78">
                <a:extLst>
                  <a:ext uri="{FF2B5EF4-FFF2-40B4-BE49-F238E27FC236}">
                    <a16:creationId xmlns:a16="http://schemas.microsoft.com/office/drawing/2014/main" id="{67934892-E68A-44EA-8859-CF502A45A4FC}"/>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7" name="Freeform 79">
                <a:extLst>
                  <a:ext uri="{FF2B5EF4-FFF2-40B4-BE49-F238E27FC236}">
                    <a16:creationId xmlns:a16="http://schemas.microsoft.com/office/drawing/2014/main" id="{A61C23AE-C17B-460C-859C-EDA2D52F3A6A}"/>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8" name="Freeform 80">
                <a:extLst>
                  <a:ext uri="{FF2B5EF4-FFF2-40B4-BE49-F238E27FC236}">
                    <a16:creationId xmlns:a16="http://schemas.microsoft.com/office/drawing/2014/main" id="{403E34BB-E3DC-47A9-B20A-7F3EE5676D87}"/>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9" name="Freeform 81">
                <a:extLst>
                  <a:ext uri="{FF2B5EF4-FFF2-40B4-BE49-F238E27FC236}">
                    <a16:creationId xmlns:a16="http://schemas.microsoft.com/office/drawing/2014/main" id="{CBB52ACD-40C9-4AFC-B7FE-74B5991FFE7A}"/>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0" name="Freeform 82">
                <a:extLst>
                  <a:ext uri="{FF2B5EF4-FFF2-40B4-BE49-F238E27FC236}">
                    <a16:creationId xmlns:a16="http://schemas.microsoft.com/office/drawing/2014/main" id="{B4925ABA-373B-4BE4-BFD9-FEB51C46AAB4}"/>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1" name="Freeform 83">
                <a:extLst>
                  <a:ext uri="{FF2B5EF4-FFF2-40B4-BE49-F238E27FC236}">
                    <a16:creationId xmlns:a16="http://schemas.microsoft.com/office/drawing/2014/main" id="{814E0771-70B3-4739-8742-3E63DD0B39AB}"/>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2" name="Freeform 84">
                <a:extLst>
                  <a:ext uri="{FF2B5EF4-FFF2-40B4-BE49-F238E27FC236}">
                    <a16:creationId xmlns:a16="http://schemas.microsoft.com/office/drawing/2014/main" id="{19D374A8-3148-4AA6-A527-5975A12E0A22}"/>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3" name="Freeform 85">
                <a:extLst>
                  <a:ext uri="{FF2B5EF4-FFF2-40B4-BE49-F238E27FC236}">
                    <a16:creationId xmlns:a16="http://schemas.microsoft.com/office/drawing/2014/main" id="{1CBD68A7-5C84-420A-9107-62AC7E0EBBB1}"/>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4" name="Freeform 86">
                <a:extLst>
                  <a:ext uri="{FF2B5EF4-FFF2-40B4-BE49-F238E27FC236}">
                    <a16:creationId xmlns:a16="http://schemas.microsoft.com/office/drawing/2014/main" id="{7703004A-C9DE-4AA6-991A-67ACD6CF661E}"/>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5" name="Freeform 87">
                <a:extLst>
                  <a:ext uri="{FF2B5EF4-FFF2-40B4-BE49-F238E27FC236}">
                    <a16:creationId xmlns:a16="http://schemas.microsoft.com/office/drawing/2014/main" id="{94AF39A7-3AB5-4195-AF99-EF418B4EB382}"/>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6" name="Freeform 88">
                <a:extLst>
                  <a:ext uri="{FF2B5EF4-FFF2-40B4-BE49-F238E27FC236}">
                    <a16:creationId xmlns:a16="http://schemas.microsoft.com/office/drawing/2014/main" id="{2A72C2A8-80DA-4006-9C07-AFCE364E6C27}"/>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7" name="Freeform 89">
                <a:extLst>
                  <a:ext uri="{FF2B5EF4-FFF2-40B4-BE49-F238E27FC236}">
                    <a16:creationId xmlns:a16="http://schemas.microsoft.com/office/drawing/2014/main" id="{E62FF02C-500A-45CD-A5AA-830F762F37D4}"/>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8" name="Freeform 90">
                <a:extLst>
                  <a:ext uri="{FF2B5EF4-FFF2-40B4-BE49-F238E27FC236}">
                    <a16:creationId xmlns:a16="http://schemas.microsoft.com/office/drawing/2014/main" id="{9A10CB39-B2E2-4316-AE4B-54BD0C81C3E1}"/>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9" name="Freeform 91">
                <a:extLst>
                  <a:ext uri="{FF2B5EF4-FFF2-40B4-BE49-F238E27FC236}">
                    <a16:creationId xmlns:a16="http://schemas.microsoft.com/office/drawing/2014/main" id="{6BC96B69-21BB-4C82-972F-2D2A939DBE3A}"/>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0" name="Freeform 92">
                <a:extLst>
                  <a:ext uri="{FF2B5EF4-FFF2-40B4-BE49-F238E27FC236}">
                    <a16:creationId xmlns:a16="http://schemas.microsoft.com/office/drawing/2014/main" id="{407DB6D0-B43F-412C-B108-32A3CC60327A}"/>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1" name="Freeform 93">
                <a:extLst>
                  <a:ext uri="{FF2B5EF4-FFF2-40B4-BE49-F238E27FC236}">
                    <a16:creationId xmlns:a16="http://schemas.microsoft.com/office/drawing/2014/main" id="{213AE204-767A-422C-A625-151EC9E327DA}"/>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2" name="Freeform 94">
                <a:extLst>
                  <a:ext uri="{FF2B5EF4-FFF2-40B4-BE49-F238E27FC236}">
                    <a16:creationId xmlns:a16="http://schemas.microsoft.com/office/drawing/2014/main" id="{4F9122AA-1D88-47D8-B472-F77753FFC89F}"/>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3" name="Freeform 95">
                <a:extLst>
                  <a:ext uri="{FF2B5EF4-FFF2-40B4-BE49-F238E27FC236}">
                    <a16:creationId xmlns:a16="http://schemas.microsoft.com/office/drawing/2014/main" id="{2E3ED8A6-4D37-4940-9D93-76720C603FB3}"/>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4" name="Freeform 96">
                <a:extLst>
                  <a:ext uri="{FF2B5EF4-FFF2-40B4-BE49-F238E27FC236}">
                    <a16:creationId xmlns:a16="http://schemas.microsoft.com/office/drawing/2014/main" id="{7D4E774A-D472-43D8-AFD1-A522FFB70C1D}"/>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5" name="Freeform 97">
                <a:extLst>
                  <a:ext uri="{FF2B5EF4-FFF2-40B4-BE49-F238E27FC236}">
                    <a16:creationId xmlns:a16="http://schemas.microsoft.com/office/drawing/2014/main" id="{0BECA47E-3CF2-4683-95F3-E8E22D311502}"/>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6" name="Freeform 98">
                <a:extLst>
                  <a:ext uri="{FF2B5EF4-FFF2-40B4-BE49-F238E27FC236}">
                    <a16:creationId xmlns:a16="http://schemas.microsoft.com/office/drawing/2014/main" id="{ABC8D846-A1D7-4907-B7C6-49374E87D9A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7" name="Freeform 99">
                <a:extLst>
                  <a:ext uri="{FF2B5EF4-FFF2-40B4-BE49-F238E27FC236}">
                    <a16:creationId xmlns:a16="http://schemas.microsoft.com/office/drawing/2014/main" id="{9698BFFE-9D45-49FA-BA47-D5770529C8F2}"/>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8" name="Freeform 100">
                <a:extLst>
                  <a:ext uri="{FF2B5EF4-FFF2-40B4-BE49-F238E27FC236}">
                    <a16:creationId xmlns:a16="http://schemas.microsoft.com/office/drawing/2014/main" id="{18D6A186-A823-4CA7-922C-2211C5AC6F61}"/>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9" name="Freeform 101">
                <a:extLst>
                  <a:ext uri="{FF2B5EF4-FFF2-40B4-BE49-F238E27FC236}">
                    <a16:creationId xmlns:a16="http://schemas.microsoft.com/office/drawing/2014/main" id="{41A3AD3B-A0A0-4DE6-A9E1-16401AEB3F6F}"/>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26" name="Rectangle 25">
              <a:extLst>
                <a:ext uri="{FF2B5EF4-FFF2-40B4-BE49-F238E27FC236}">
                  <a16:creationId xmlns:a16="http://schemas.microsoft.com/office/drawing/2014/main" id="{87CAF105-10BF-4F52-8BC7-2846A4B4AEAD}"/>
                </a:ext>
              </a:extLst>
            </p:cNvPr>
            <p:cNvSpPr/>
            <p:nvPr/>
          </p:nvSpPr>
          <p:spPr>
            <a:xfrm>
              <a:off x="9015239" y="3947791"/>
              <a:ext cx="1476883" cy="535531"/>
            </a:xfrm>
            <a:prstGeom prst="rect">
              <a:avLst/>
            </a:prstGeom>
            <a:solidFill>
              <a:schemeClr val="bg1"/>
            </a:solidFill>
          </p:spPr>
          <p:txBody>
            <a:bodyPr>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charset="0"/>
                  <a:ea typeface="Open Sans" charset="0"/>
                  <a:cs typeface="Open Sans" charset="0"/>
                </a:rPr>
                <a:t>CUSTOMER &amp; MARKETING ASSETS</a:t>
              </a:r>
            </a:p>
          </p:txBody>
        </p:sp>
        <p:sp>
          <p:nvSpPr>
            <p:cNvPr id="27" name="Freeform 8">
              <a:extLst>
                <a:ext uri="{FF2B5EF4-FFF2-40B4-BE49-F238E27FC236}">
                  <a16:creationId xmlns:a16="http://schemas.microsoft.com/office/drawing/2014/main" id="{B9C9533F-4132-4FD1-9EEC-AE7804C78905}"/>
                </a:ext>
              </a:extLst>
            </p:cNvPr>
            <p:cNvSpPr>
              <a:spLocks noChangeAspect="1"/>
            </p:cNvSpPr>
            <p:nvPr/>
          </p:nvSpPr>
          <p:spPr bwMode="auto">
            <a:xfrm>
              <a:off x="7984987" y="1687610"/>
              <a:ext cx="3505560" cy="3505560"/>
            </a:xfrm>
            <a:custGeom>
              <a:avLst/>
              <a:gdLst>
                <a:gd name="T0" fmla="*/ 2202 w 2204"/>
                <a:gd name="T1" fmla="*/ 1142 h 2204"/>
                <a:gd name="T2" fmla="*/ 2192 w 2204"/>
                <a:gd name="T3" fmla="*/ 1264 h 2204"/>
                <a:gd name="T4" fmla="*/ 2168 w 2204"/>
                <a:gd name="T5" fmla="*/ 1380 h 2204"/>
                <a:gd name="T6" fmla="*/ 2132 w 2204"/>
                <a:gd name="T7" fmla="*/ 1492 h 2204"/>
                <a:gd name="T8" fmla="*/ 2086 w 2204"/>
                <a:gd name="T9" fmla="*/ 1598 h 2204"/>
                <a:gd name="T10" fmla="*/ 2028 w 2204"/>
                <a:gd name="T11" fmla="*/ 1698 h 2204"/>
                <a:gd name="T12" fmla="*/ 1948 w 2204"/>
                <a:gd name="T13" fmla="*/ 1808 h 2204"/>
                <a:gd name="T14" fmla="*/ 1804 w 2204"/>
                <a:gd name="T15" fmla="*/ 1950 h 2204"/>
                <a:gd name="T16" fmla="*/ 1636 w 2204"/>
                <a:gd name="T17" fmla="*/ 2064 h 2204"/>
                <a:gd name="T18" fmla="*/ 1450 w 2204"/>
                <a:gd name="T19" fmla="*/ 2148 h 2204"/>
                <a:gd name="T20" fmla="*/ 1244 w 2204"/>
                <a:gd name="T21" fmla="*/ 2194 h 2204"/>
                <a:gd name="T22" fmla="*/ 1102 w 2204"/>
                <a:gd name="T23" fmla="*/ 2204 h 2204"/>
                <a:gd name="T24" fmla="*/ 888 w 2204"/>
                <a:gd name="T25" fmla="*/ 2184 h 2204"/>
                <a:gd name="T26" fmla="*/ 688 w 2204"/>
                <a:gd name="T27" fmla="*/ 2124 h 2204"/>
                <a:gd name="T28" fmla="*/ 508 w 2204"/>
                <a:gd name="T29" fmla="*/ 2030 h 2204"/>
                <a:gd name="T30" fmla="*/ 348 w 2204"/>
                <a:gd name="T31" fmla="*/ 1906 h 2204"/>
                <a:gd name="T32" fmla="*/ 212 w 2204"/>
                <a:gd name="T33" fmla="*/ 1754 h 2204"/>
                <a:gd name="T34" fmla="*/ 154 w 2204"/>
                <a:gd name="T35" fmla="*/ 1666 h 2204"/>
                <a:gd name="T36" fmla="*/ 100 w 2204"/>
                <a:gd name="T37" fmla="*/ 1564 h 2204"/>
                <a:gd name="T38" fmla="*/ 56 w 2204"/>
                <a:gd name="T39" fmla="*/ 1456 h 2204"/>
                <a:gd name="T40" fmla="*/ 26 w 2204"/>
                <a:gd name="T41" fmla="*/ 1342 h 2204"/>
                <a:gd name="T42" fmla="*/ 6 w 2204"/>
                <a:gd name="T43" fmla="*/ 1224 h 2204"/>
                <a:gd name="T44" fmla="*/ 0 w 2204"/>
                <a:gd name="T45" fmla="*/ 1102 h 2204"/>
                <a:gd name="T46" fmla="*/ 4 w 2204"/>
                <a:gd name="T47" fmla="*/ 988 h 2204"/>
                <a:gd name="T48" fmla="*/ 34 w 2204"/>
                <a:gd name="T49" fmla="*/ 826 h 2204"/>
                <a:gd name="T50" fmla="*/ 86 w 2204"/>
                <a:gd name="T51" fmla="*/ 672 h 2204"/>
                <a:gd name="T52" fmla="*/ 158 w 2204"/>
                <a:gd name="T53" fmla="*/ 530 h 2204"/>
                <a:gd name="T54" fmla="*/ 250 w 2204"/>
                <a:gd name="T55" fmla="*/ 400 h 2204"/>
                <a:gd name="T56" fmla="*/ 360 w 2204"/>
                <a:gd name="T57" fmla="*/ 286 h 2204"/>
                <a:gd name="T58" fmla="*/ 486 w 2204"/>
                <a:gd name="T59" fmla="*/ 188 h 2204"/>
                <a:gd name="T60" fmla="*/ 624 w 2204"/>
                <a:gd name="T61" fmla="*/ 108 h 2204"/>
                <a:gd name="T62" fmla="*/ 774 w 2204"/>
                <a:gd name="T63" fmla="*/ 48 h 2204"/>
                <a:gd name="T64" fmla="*/ 934 w 2204"/>
                <a:gd name="T65" fmla="*/ 12 h 2204"/>
                <a:gd name="T66" fmla="*/ 1102 w 2204"/>
                <a:gd name="T67" fmla="*/ 0 h 2204"/>
                <a:gd name="T68" fmla="*/ 1214 w 2204"/>
                <a:gd name="T69" fmla="*/ 6 h 2204"/>
                <a:gd name="T70" fmla="*/ 1376 w 2204"/>
                <a:gd name="T71" fmla="*/ 34 h 2204"/>
                <a:gd name="T72" fmla="*/ 1530 w 2204"/>
                <a:gd name="T73" fmla="*/ 86 h 2204"/>
                <a:gd name="T74" fmla="*/ 1672 w 2204"/>
                <a:gd name="T75" fmla="*/ 158 h 2204"/>
                <a:gd name="T76" fmla="*/ 1802 w 2204"/>
                <a:gd name="T77" fmla="*/ 252 h 2204"/>
                <a:gd name="T78" fmla="*/ 1918 w 2204"/>
                <a:gd name="T79" fmla="*/ 360 h 2204"/>
                <a:gd name="T80" fmla="*/ 2016 w 2204"/>
                <a:gd name="T81" fmla="*/ 486 h 2204"/>
                <a:gd name="T82" fmla="*/ 2094 w 2204"/>
                <a:gd name="T83" fmla="*/ 624 h 2204"/>
                <a:gd name="T84" fmla="*/ 2154 w 2204"/>
                <a:gd name="T85" fmla="*/ 774 h 2204"/>
                <a:gd name="T86" fmla="*/ 2190 w 2204"/>
                <a:gd name="T87" fmla="*/ 934 h 2204"/>
                <a:gd name="T88" fmla="*/ 2204 w 2204"/>
                <a:gd name="T89" fmla="*/ 110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04" h="2204">
                  <a:moveTo>
                    <a:pt x="2204" y="1102"/>
                  </a:moveTo>
                  <a:lnTo>
                    <a:pt x="2204" y="1102"/>
                  </a:lnTo>
                  <a:lnTo>
                    <a:pt x="2202" y="1142"/>
                  </a:lnTo>
                  <a:lnTo>
                    <a:pt x="2200" y="1184"/>
                  </a:lnTo>
                  <a:lnTo>
                    <a:pt x="2196" y="1224"/>
                  </a:lnTo>
                  <a:lnTo>
                    <a:pt x="2192" y="1264"/>
                  </a:lnTo>
                  <a:lnTo>
                    <a:pt x="2186" y="1302"/>
                  </a:lnTo>
                  <a:lnTo>
                    <a:pt x="2178" y="1342"/>
                  </a:lnTo>
                  <a:lnTo>
                    <a:pt x="2168" y="1380"/>
                  </a:lnTo>
                  <a:lnTo>
                    <a:pt x="2158" y="1418"/>
                  </a:lnTo>
                  <a:lnTo>
                    <a:pt x="2146" y="1456"/>
                  </a:lnTo>
                  <a:lnTo>
                    <a:pt x="2132" y="1492"/>
                  </a:lnTo>
                  <a:lnTo>
                    <a:pt x="2118" y="1528"/>
                  </a:lnTo>
                  <a:lnTo>
                    <a:pt x="2102" y="1564"/>
                  </a:lnTo>
                  <a:lnTo>
                    <a:pt x="2086" y="1598"/>
                  </a:lnTo>
                  <a:lnTo>
                    <a:pt x="2068" y="1632"/>
                  </a:lnTo>
                  <a:lnTo>
                    <a:pt x="2048" y="1666"/>
                  </a:lnTo>
                  <a:lnTo>
                    <a:pt x="2028" y="1698"/>
                  </a:lnTo>
                  <a:lnTo>
                    <a:pt x="2028" y="1698"/>
                  </a:lnTo>
                  <a:lnTo>
                    <a:pt x="1990" y="1754"/>
                  </a:lnTo>
                  <a:lnTo>
                    <a:pt x="1948" y="1808"/>
                  </a:lnTo>
                  <a:lnTo>
                    <a:pt x="1904" y="1858"/>
                  </a:lnTo>
                  <a:lnTo>
                    <a:pt x="1856" y="1906"/>
                  </a:lnTo>
                  <a:lnTo>
                    <a:pt x="1804" y="1950"/>
                  </a:lnTo>
                  <a:lnTo>
                    <a:pt x="1752" y="1992"/>
                  </a:lnTo>
                  <a:lnTo>
                    <a:pt x="1696" y="2030"/>
                  </a:lnTo>
                  <a:lnTo>
                    <a:pt x="1636" y="2064"/>
                  </a:lnTo>
                  <a:lnTo>
                    <a:pt x="1576" y="2096"/>
                  </a:lnTo>
                  <a:lnTo>
                    <a:pt x="1514" y="2124"/>
                  </a:lnTo>
                  <a:lnTo>
                    <a:pt x="1450" y="2148"/>
                  </a:lnTo>
                  <a:lnTo>
                    <a:pt x="1382" y="2168"/>
                  </a:lnTo>
                  <a:lnTo>
                    <a:pt x="1314" y="2184"/>
                  </a:lnTo>
                  <a:lnTo>
                    <a:pt x="1244" y="2194"/>
                  </a:lnTo>
                  <a:lnTo>
                    <a:pt x="1174" y="2202"/>
                  </a:lnTo>
                  <a:lnTo>
                    <a:pt x="1102" y="2204"/>
                  </a:lnTo>
                  <a:lnTo>
                    <a:pt x="1102" y="2204"/>
                  </a:lnTo>
                  <a:lnTo>
                    <a:pt x="1028" y="2202"/>
                  </a:lnTo>
                  <a:lnTo>
                    <a:pt x="958" y="2194"/>
                  </a:lnTo>
                  <a:lnTo>
                    <a:pt x="888" y="2184"/>
                  </a:lnTo>
                  <a:lnTo>
                    <a:pt x="820" y="2168"/>
                  </a:lnTo>
                  <a:lnTo>
                    <a:pt x="754" y="2148"/>
                  </a:lnTo>
                  <a:lnTo>
                    <a:pt x="688" y="2124"/>
                  </a:lnTo>
                  <a:lnTo>
                    <a:pt x="626" y="2096"/>
                  </a:lnTo>
                  <a:lnTo>
                    <a:pt x="566" y="2064"/>
                  </a:lnTo>
                  <a:lnTo>
                    <a:pt x="508" y="2030"/>
                  </a:lnTo>
                  <a:lnTo>
                    <a:pt x="452" y="1992"/>
                  </a:lnTo>
                  <a:lnTo>
                    <a:pt x="398" y="1950"/>
                  </a:lnTo>
                  <a:lnTo>
                    <a:pt x="348" y="1906"/>
                  </a:lnTo>
                  <a:lnTo>
                    <a:pt x="300" y="1858"/>
                  </a:lnTo>
                  <a:lnTo>
                    <a:pt x="254" y="1808"/>
                  </a:lnTo>
                  <a:lnTo>
                    <a:pt x="212" y="1754"/>
                  </a:lnTo>
                  <a:lnTo>
                    <a:pt x="174" y="1698"/>
                  </a:lnTo>
                  <a:lnTo>
                    <a:pt x="174" y="1698"/>
                  </a:lnTo>
                  <a:lnTo>
                    <a:pt x="154" y="1666"/>
                  </a:lnTo>
                  <a:lnTo>
                    <a:pt x="134" y="1632"/>
                  </a:lnTo>
                  <a:lnTo>
                    <a:pt x="116" y="1598"/>
                  </a:lnTo>
                  <a:lnTo>
                    <a:pt x="100" y="1564"/>
                  </a:lnTo>
                  <a:lnTo>
                    <a:pt x="84" y="1528"/>
                  </a:lnTo>
                  <a:lnTo>
                    <a:pt x="70" y="1492"/>
                  </a:lnTo>
                  <a:lnTo>
                    <a:pt x="56" y="1456"/>
                  </a:lnTo>
                  <a:lnTo>
                    <a:pt x="46" y="1418"/>
                  </a:lnTo>
                  <a:lnTo>
                    <a:pt x="34" y="1380"/>
                  </a:lnTo>
                  <a:lnTo>
                    <a:pt x="26" y="1342"/>
                  </a:lnTo>
                  <a:lnTo>
                    <a:pt x="18" y="1302"/>
                  </a:lnTo>
                  <a:lnTo>
                    <a:pt x="10" y="1264"/>
                  </a:lnTo>
                  <a:lnTo>
                    <a:pt x="6" y="1224"/>
                  </a:lnTo>
                  <a:lnTo>
                    <a:pt x="2" y="1184"/>
                  </a:lnTo>
                  <a:lnTo>
                    <a:pt x="0" y="1142"/>
                  </a:lnTo>
                  <a:lnTo>
                    <a:pt x="0" y="1102"/>
                  </a:lnTo>
                  <a:lnTo>
                    <a:pt x="0" y="1102"/>
                  </a:lnTo>
                  <a:lnTo>
                    <a:pt x="0" y="1044"/>
                  </a:lnTo>
                  <a:lnTo>
                    <a:pt x="4" y="988"/>
                  </a:lnTo>
                  <a:lnTo>
                    <a:pt x="12" y="934"/>
                  </a:lnTo>
                  <a:lnTo>
                    <a:pt x="22" y="880"/>
                  </a:lnTo>
                  <a:lnTo>
                    <a:pt x="34" y="826"/>
                  </a:lnTo>
                  <a:lnTo>
                    <a:pt x="48" y="774"/>
                  </a:lnTo>
                  <a:lnTo>
                    <a:pt x="66" y="722"/>
                  </a:lnTo>
                  <a:lnTo>
                    <a:pt x="86" y="672"/>
                  </a:lnTo>
                  <a:lnTo>
                    <a:pt x="108" y="624"/>
                  </a:lnTo>
                  <a:lnTo>
                    <a:pt x="132" y="576"/>
                  </a:lnTo>
                  <a:lnTo>
                    <a:pt x="158" y="530"/>
                  </a:lnTo>
                  <a:lnTo>
                    <a:pt x="188" y="486"/>
                  </a:lnTo>
                  <a:lnTo>
                    <a:pt x="218" y="442"/>
                  </a:lnTo>
                  <a:lnTo>
                    <a:pt x="250" y="400"/>
                  </a:lnTo>
                  <a:lnTo>
                    <a:pt x="286" y="360"/>
                  </a:lnTo>
                  <a:lnTo>
                    <a:pt x="322" y="322"/>
                  </a:lnTo>
                  <a:lnTo>
                    <a:pt x="360" y="286"/>
                  </a:lnTo>
                  <a:lnTo>
                    <a:pt x="400" y="252"/>
                  </a:lnTo>
                  <a:lnTo>
                    <a:pt x="442" y="218"/>
                  </a:lnTo>
                  <a:lnTo>
                    <a:pt x="486" y="188"/>
                  </a:lnTo>
                  <a:lnTo>
                    <a:pt x="530" y="158"/>
                  </a:lnTo>
                  <a:lnTo>
                    <a:pt x="576" y="132"/>
                  </a:lnTo>
                  <a:lnTo>
                    <a:pt x="624" y="108"/>
                  </a:lnTo>
                  <a:lnTo>
                    <a:pt x="672" y="86"/>
                  </a:lnTo>
                  <a:lnTo>
                    <a:pt x="722" y="66"/>
                  </a:lnTo>
                  <a:lnTo>
                    <a:pt x="774" y="48"/>
                  </a:lnTo>
                  <a:lnTo>
                    <a:pt x="826" y="34"/>
                  </a:lnTo>
                  <a:lnTo>
                    <a:pt x="880" y="22"/>
                  </a:lnTo>
                  <a:lnTo>
                    <a:pt x="934" y="12"/>
                  </a:lnTo>
                  <a:lnTo>
                    <a:pt x="988" y="6"/>
                  </a:lnTo>
                  <a:lnTo>
                    <a:pt x="1044" y="0"/>
                  </a:lnTo>
                  <a:lnTo>
                    <a:pt x="1102" y="0"/>
                  </a:lnTo>
                  <a:lnTo>
                    <a:pt x="1102" y="0"/>
                  </a:lnTo>
                  <a:lnTo>
                    <a:pt x="1158" y="0"/>
                  </a:lnTo>
                  <a:lnTo>
                    <a:pt x="1214" y="6"/>
                  </a:lnTo>
                  <a:lnTo>
                    <a:pt x="1270" y="12"/>
                  </a:lnTo>
                  <a:lnTo>
                    <a:pt x="1324" y="22"/>
                  </a:lnTo>
                  <a:lnTo>
                    <a:pt x="1376" y="34"/>
                  </a:lnTo>
                  <a:lnTo>
                    <a:pt x="1428" y="48"/>
                  </a:lnTo>
                  <a:lnTo>
                    <a:pt x="1480" y="66"/>
                  </a:lnTo>
                  <a:lnTo>
                    <a:pt x="1530" y="86"/>
                  </a:lnTo>
                  <a:lnTo>
                    <a:pt x="1580" y="108"/>
                  </a:lnTo>
                  <a:lnTo>
                    <a:pt x="1626" y="132"/>
                  </a:lnTo>
                  <a:lnTo>
                    <a:pt x="1672" y="158"/>
                  </a:lnTo>
                  <a:lnTo>
                    <a:pt x="1718" y="188"/>
                  </a:lnTo>
                  <a:lnTo>
                    <a:pt x="1760" y="218"/>
                  </a:lnTo>
                  <a:lnTo>
                    <a:pt x="1802" y="252"/>
                  </a:lnTo>
                  <a:lnTo>
                    <a:pt x="1842" y="286"/>
                  </a:lnTo>
                  <a:lnTo>
                    <a:pt x="1880" y="322"/>
                  </a:lnTo>
                  <a:lnTo>
                    <a:pt x="1918" y="360"/>
                  </a:lnTo>
                  <a:lnTo>
                    <a:pt x="1952" y="400"/>
                  </a:lnTo>
                  <a:lnTo>
                    <a:pt x="1984" y="442"/>
                  </a:lnTo>
                  <a:lnTo>
                    <a:pt x="2016" y="486"/>
                  </a:lnTo>
                  <a:lnTo>
                    <a:pt x="2044" y="530"/>
                  </a:lnTo>
                  <a:lnTo>
                    <a:pt x="2070" y="576"/>
                  </a:lnTo>
                  <a:lnTo>
                    <a:pt x="2094" y="624"/>
                  </a:lnTo>
                  <a:lnTo>
                    <a:pt x="2116" y="672"/>
                  </a:lnTo>
                  <a:lnTo>
                    <a:pt x="2136" y="722"/>
                  </a:lnTo>
                  <a:lnTo>
                    <a:pt x="2154" y="774"/>
                  </a:lnTo>
                  <a:lnTo>
                    <a:pt x="2168" y="826"/>
                  </a:lnTo>
                  <a:lnTo>
                    <a:pt x="2180" y="880"/>
                  </a:lnTo>
                  <a:lnTo>
                    <a:pt x="2190" y="934"/>
                  </a:lnTo>
                  <a:lnTo>
                    <a:pt x="2198" y="988"/>
                  </a:lnTo>
                  <a:lnTo>
                    <a:pt x="2202" y="1044"/>
                  </a:lnTo>
                  <a:lnTo>
                    <a:pt x="2204" y="1102"/>
                  </a:lnTo>
                  <a:lnTo>
                    <a:pt x="2204" y="1102"/>
                  </a:lnTo>
                  <a:close/>
                </a:path>
              </a:pathLst>
            </a:custGeom>
            <a:noFill/>
            <a:ln w="44450" cap="rnd">
              <a:solidFill>
                <a:schemeClr val="bg1">
                  <a:lumMod val="95000"/>
                </a:scheme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8" name="Freeform 8">
              <a:extLst>
                <a:ext uri="{FF2B5EF4-FFF2-40B4-BE49-F238E27FC236}">
                  <a16:creationId xmlns:a16="http://schemas.microsoft.com/office/drawing/2014/main" id="{2AC35FC1-EDC6-45B2-AC18-3E57086A1E83}"/>
                </a:ext>
              </a:extLst>
            </p:cNvPr>
            <p:cNvSpPr>
              <a:spLocks noChangeAspect="1"/>
            </p:cNvSpPr>
            <p:nvPr/>
          </p:nvSpPr>
          <p:spPr bwMode="auto">
            <a:xfrm>
              <a:off x="8351987" y="2066943"/>
              <a:ext cx="2746894" cy="2746894"/>
            </a:xfrm>
            <a:custGeom>
              <a:avLst/>
              <a:gdLst>
                <a:gd name="T0" fmla="*/ 2202 w 2204"/>
                <a:gd name="T1" fmla="*/ 1142 h 2204"/>
                <a:gd name="T2" fmla="*/ 2192 w 2204"/>
                <a:gd name="T3" fmla="*/ 1264 h 2204"/>
                <a:gd name="T4" fmla="*/ 2168 w 2204"/>
                <a:gd name="T5" fmla="*/ 1380 h 2204"/>
                <a:gd name="T6" fmla="*/ 2132 w 2204"/>
                <a:gd name="T7" fmla="*/ 1492 h 2204"/>
                <a:gd name="T8" fmla="*/ 2086 w 2204"/>
                <a:gd name="T9" fmla="*/ 1598 h 2204"/>
                <a:gd name="T10" fmla="*/ 2028 w 2204"/>
                <a:gd name="T11" fmla="*/ 1698 h 2204"/>
                <a:gd name="T12" fmla="*/ 1948 w 2204"/>
                <a:gd name="T13" fmla="*/ 1808 h 2204"/>
                <a:gd name="T14" fmla="*/ 1804 w 2204"/>
                <a:gd name="T15" fmla="*/ 1950 h 2204"/>
                <a:gd name="T16" fmla="*/ 1636 w 2204"/>
                <a:gd name="T17" fmla="*/ 2064 h 2204"/>
                <a:gd name="T18" fmla="*/ 1450 w 2204"/>
                <a:gd name="T19" fmla="*/ 2148 h 2204"/>
                <a:gd name="T20" fmla="*/ 1244 w 2204"/>
                <a:gd name="T21" fmla="*/ 2194 h 2204"/>
                <a:gd name="T22" fmla="*/ 1102 w 2204"/>
                <a:gd name="T23" fmla="*/ 2204 h 2204"/>
                <a:gd name="T24" fmla="*/ 888 w 2204"/>
                <a:gd name="T25" fmla="*/ 2184 h 2204"/>
                <a:gd name="T26" fmla="*/ 688 w 2204"/>
                <a:gd name="T27" fmla="*/ 2124 h 2204"/>
                <a:gd name="T28" fmla="*/ 508 w 2204"/>
                <a:gd name="T29" fmla="*/ 2030 h 2204"/>
                <a:gd name="T30" fmla="*/ 348 w 2204"/>
                <a:gd name="T31" fmla="*/ 1906 h 2204"/>
                <a:gd name="T32" fmla="*/ 212 w 2204"/>
                <a:gd name="T33" fmla="*/ 1754 h 2204"/>
                <a:gd name="T34" fmla="*/ 154 w 2204"/>
                <a:gd name="T35" fmla="*/ 1666 h 2204"/>
                <a:gd name="T36" fmla="*/ 100 w 2204"/>
                <a:gd name="T37" fmla="*/ 1564 h 2204"/>
                <a:gd name="T38" fmla="*/ 56 w 2204"/>
                <a:gd name="T39" fmla="*/ 1456 h 2204"/>
                <a:gd name="T40" fmla="*/ 26 w 2204"/>
                <a:gd name="T41" fmla="*/ 1342 h 2204"/>
                <a:gd name="T42" fmla="*/ 6 w 2204"/>
                <a:gd name="T43" fmla="*/ 1224 h 2204"/>
                <a:gd name="T44" fmla="*/ 0 w 2204"/>
                <a:gd name="T45" fmla="*/ 1102 h 2204"/>
                <a:gd name="T46" fmla="*/ 4 w 2204"/>
                <a:gd name="T47" fmla="*/ 988 h 2204"/>
                <a:gd name="T48" fmla="*/ 34 w 2204"/>
                <a:gd name="T49" fmla="*/ 826 h 2204"/>
                <a:gd name="T50" fmla="*/ 86 w 2204"/>
                <a:gd name="T51" fmla="*/ 672 h 2204"/>
                <a:gd name="T52" fmla="*/ 158 w 2204"/>
                <a:gd name="T53" fmla="*/ 530 h 2204"/>
                <a:gd name="T54" fmla="*/ 250 w 2204"/>
                <a:gd name="T55" fmla="*/ 400 h 2204"/>
                <a:gd name="T56" fmla="*/ 360 w 2204"/>
                <a:gd name="T57" fmla="*/ 286 h 2204"/>
                <a:gd name="T58" fmla="*/ 486 w 2204"/>
                <a:gd name="T59" fmla="*/ 188 h 2204"/>
                <a:gd name="T60" fmla="*/ 624 w 2204"/>
                <a:gd name="T61" fmla="*/ 108 h 2204"/>
                <a:gd name="T62" fmla="*/ 774 w 2204"/>
                <a:gd name="T63" fmla="*/ 48 h 2204"/>
                <a:gd name="T64" fmla="*/ 934 w 2204"/>
                <a:gd name="T65" fmla="*/ 12 h 2204"/>
                <a:gd name="T66" fmla="*/ 1102 w 2204"/>
                <a:gd name="T67" fmla="*/ 0 h 2204"/>
                <a:gd name="T68" fmla="*/ 1214 w 2204"/>
                <a:gd name="T69" fmla="*/ 6 h 2204"/>
                <a:gd name="T70" fmla="*/ 1376 w 2204"/>
                <a:gd name="T71" fmla="*/ 34 h 2204"/>
                <a:gd name="T72" fmla="*/ 1530 w 2204"/>
                <a:gd name="T73" fmla="*/ 86 h 2204"/>
                <a:gd name="T74" fmla="*/ 1672 w 2204"/>
                <a:gd name="T75" fmla="*/ 158 h 2204"/>
                <a:gd name="T76" fmla="*/ 1802 w 2204"/>
                <a:gd name="T77" fmla="*/ 252 h 2204"/>
                <a:gd name="T78" fmla="*/ 1918 w 2204"/>
                <a:gd name="T79" fmla="*/ 360 h 2204"/>
                <a:gd name="T80" fmla="*/ 2016 w 2204"/>
                <a:gd name="T81" fmla="*/ 486 h 2204"/>
                <a:gd name="T82" fmla="*/ 2094 w 2204"/>
                <a:gd name="T83" fmla="*/ 624 h 2204"/>
                <a:gd name="T84" fmla="*/ 2154 w 2204"/>
                <a:gd name="T85" fmla="*/ 774 h 2204"/>
                <a:gd name="T86" fmla="*/ 2190 w 2204"/>
                <a:gd name="T87" fmla="*/ 934 h 2204"/>
                <a:gd name="T88" fmla="*/ 2204 w 2204"/>
                <a:gd name="T89" fmla="*/ 110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04" h="2204">
                  <a:moveTo>
                    <a:pt x="2204" y="1102"/>
                  </a:moveTo>
                  <a:lnTo>
                    <a:pt x="2204" y="1102"/>
                  </a:lnTo>
                  <a:lnTo>
                    <a:pt x="2202" y="1142"/>
                  </a:lnTo>
                  <a:lnTo>
                    <a:pt x="2200" y="1184"/>
                  </a:lnTo>
                  <a:lnTo>
                    <a:pt x="2196" y="1224"/>
                  </a:lnTo>
                  <a:lnTo>
                    <a:pt x="2192" y="1264"/>
                  </a:lnTo>
                  <a:lnTo>
                    <a:pt x="2186" y="1302"/>
                  </a:lnTo>
                  <a:lnTo>
                    <a:pt x="2178" y="1342"/>
                  </a:lnTo>
                  <a:lnTo>
                    <a:pt x="2168" y="1380"/>
                  </a:lnTo>
                  <a:lnTo>
                    <a:pt x="2158" y="1418"/>
                  </a:lnTo>
                  <a:lnTo>
                    <a:pt x="2146" y="1456"/>
                  </a:lnTo>
                  <a:lnTo>
                    <a:pt x="2132" y="1492"/>
                  </a:lnTo>
                  <a:lnTo>
                    <a:pt x="2118" y="1528"/>
                  </a:lnTo>
                  <a:lnTo>
                    <a:pt x="2102" y="1564"/>
                  </a:lnTo>
                  <a:lnTo>
                    <a:pt x="2086" y="1598"/>
                  </a:lnTo>
                  <a:lnTo>
                    <a:pt x="2068" y="1632"/>
                  </a:lnTo>
                  <a:lnTo>
                    <a:pt x="2048" y="1666"/>
                  </a:lnTo>
                  <a:lnTo>
                    <a:pt x="2028" y="1698"/>
                  </a:lnTo>
                  <a:lnTo>
                    <a:pt x="2028" y="1698"/>
                  </a:lnTo>
                  <a:lnTo>
                    <a:pt x="1990" y="1754"/>
                  </a:lnTo>
                  <a:lnTo>
                    <a:pt x="1948" y="1808"/>
                  </a:lnTo>
                  <a:lnTo>
                    <a:pt x="1904" y="1858"/>
                  </a:lnTo>
                  <a:lnTo>
                    <a:pt x="1856" y="1906"/>
                  </a:lnTo>
                  <a:lnTo>
                    <a:pt x="1804" y="1950"/>
                  </a:lnTo>
                  <a:lnTo>
                    <a:pt x="1752" y="1992"/>
                  </a:lnTo>
                  <a:lnTo>
                    <a:pt x="1696" y="2030"/>
                  </a:lnTo>
                  <a:lnTo>
                    <a:pt x="1636" y="2064"/>
                  </a:lnTo>
                  <a:lnTo>
                    <a:pt x="1576" y="2096"/>
                  </a:lnTo>
                  <a:lnTo>
                    <a:pt x="1514" y="2124"/>
                  </a:lnTo>
                  <a:lnTo>
                    <a:pt x="1450" y="2148"/>
                  </a:lnTo>
                  <a:lnTo>
                    <a:pt x="1382" y="2168"/>
                  </a:lnTo>
                  <a:lnTo>
                    <a:pt x="1314" y="2184"/>
                  </a:lnTo>
                  <a:lnTo>
                    <a:pt x="1244" y="2194"/>
                  </a:lnTo>
                  <a:lnTo>
                    <a:pt x="1174" y="2202"/>
                  </a:lnTo>
                  <a:lnTo>
                    <a:pt x="1102" y="2204"/>
                  </a:lnTo>
                  <a:lnTo>
                    <a:pt x="1102" y="2204"/>
                  </a:lnTo>
                  <a:lnTo>
                    <a:pt x="1028" y="2202"/>
                  </a:lnTo>
                  <a:lnTo>
                    <a:pt x="958" y="2194"/>
                  </a:lnTo>
                  <a:lnTo>
                    <a:pt x="888" y="2184"/>
                  </a:lnTo>
                  <a:lnTo>
                    <a:pt x="820" y="2168"/>
                  </a:lnTo>
                  <a:lnTo>
                    <a:pt x="754" y="2148"/>
                  </a:lnTo>
                  <a:lnTo>
                    <a:pt x="688" y="2124"/>
                  </a:lnTo>
                  <a:lnTo>
                    <a:pt x="626" y="2096"/>
                  </a:lnTo>
                  <a:lnTo>
                    <a:pt x="566" y="2064"/>
                  </a:lnTo>
                  <a:lnTo>
                    <a:pt x="508" y="2030"/>
                  </a:lnTo>
                  <a:lnTo>
                    <a:pt x="452" y="1992"/>
                  </a:lnTo>
                  <a:lnTo>
                    <a:pt x="398" y="1950"/>
                  </a:lnTo>
                  <a:lnTo>
                    <a:pt x="348" y="1906"/>
                  </a:lnTo>
                  <a:lnTo>
                    <a:pt x="300" y="1858"/>
                  </a:lnTo>
                  <a:lnTo>
                    <a:pt x="254" y="1808"/>
                  </a:lnTo>
                  <a:lnTo>
                    <a:pt x="212" y="1754"/>
                  </a:lnTo>
                  <a:lnTo>
                    <a:pt x="174" y="1698"/>
                  </a:lnTo>
                  <a:lnTo>
                    <a:pt x="174" y="1698"/>
                  </a:lnTo>
                  <a:lnTo>
                    <a:pt x="154" y="1666"/>
                  </a:lnTo>
                  <a:lnTo>
                    <a:pt x="134" y="1632"/>
                  </a:lnTo>
                  <a:lnTo>
                    <a:pt x="116" y="1598"/>
                  </a:lnTo>
                  <a:lnTo>
                    <a:pt x="100" y="1564"/>
                  </a:lnTo>
                  <a:lnTo>
                    <a:pt x="84" y="1528"/>
                  </a:lnTo>
                  <a:lnTo>
                    <a:pt x="70" y="1492"/>
                  </a:lnTo>
                  <a:lnTo>
                    <a:pt x="56" y="1456"/>
                  </a:lnTo>
                  <a:lnTo>
                    <a:pt x="46" y="1418"/>
                  </a:lnTo>
                  <a:lnTo>
                    <a:pt x="34" y="1380"/>
                  </a:lnTo>
                  <a:lnTo>
                    <a:pt x="26" y="1342"/>
                  </a:lnTo>
                  <a:lnTo>
                    <a:pt x="18" y="1302"/>
                  </a:lnTo>
                  <a:lnTo>
                    <a:pt x="10" y="1264"/>
                  </a:lnTo>
                  <a:lnTo>
                    <a:pt x="6" y="1224"/>
                  </a:lnTo>
                  <a:lnTo>
                    <a:pt x="2" y="1184"/>
                  </a:lnTo>
                  <a:lnTo>
                    <a:pt x="0" y="1142"/>
                  </a:lnTo>
                  <a:lnTo>
                    <a:pt x="0" y="1102"/>
                  </a:lnTo>
                  <a:lnTo>
                    <a:pt x="0" y="1102"/>
                  </a:lnTo>
                  <a:lnTo>
                    <a:pt x="0" y="1044"/>
                  </a:lnTo>
                  <a:lnTo>
                    <a:pt x="4" y="988"/>
                  </a:lnTo>
                  <a:lnTo>
                    <a:pt x="12" y="934"/>
                  </a:lnTo>
                  <a:lnTo>
                    <a:pt x="22" y="880"/>
                  </a:lnTo>
                  <a:lnTo>
                    <a:pt x="34" y="826"/>
                  </a:lnTo>
                  <a:lnTo>
                    <a:pt x="48" y="774"/>
                  </a:lnTo>
                  <a:lnTo>
                    <a:pt x="66" y="722"/>
                  </a:lnTo>
                  <a:lnTo>
                    <a:pt x="86" y="672"/>
                  </a:lnTo>
                  <a:lnTo>
                    <a:pt x="108" y="624"/>
                  </a:lnTo>
                  <a:lnTo>
                    <a:pt x="132" y="576"/>
                  </a:lnTo>
                  <a:lnTo>
                    <a:pt x="158" y="530"/>
                  </a:lnTo>
                  <a:lnTo>
                    <a:pt x="188" y="486"/>
                  </a:lnTo>
                  <a:lnTo>
                    <a:pt x="218" y="442"/>
                  </a:lnTo>
                  <a:lnTo>
                    <a:pt x="250" y="400"/>
                  </a:lnTo>
                  <a:lnTo>
                    <a:pt x="286" y="360"/>
                  </a:lnTo>
                  <a:lnTo>
                    <a:pt x="322" y="322"/>
                  </a:lnTo>
                  <a:lnTo>
                    <a:pt x="360" y="286"/>
                  </a:lnTo>
                  <a:lnTo>
                    <a:pt x="400" y="252"/>
                  </a:lnTo>
                  <a:lnTo>
                    <a:pt x="442" y="218"/>
                  </a:lnTo>
                  <a:lnTo>
                    <a:pt x="486" y="188"/>
                  </a:lnTo>
                  <a:lnTo>
                    <a:pt x="530" y="158"/>
                  </a:lnTo>
                  <a:lnTo>
                    <a:pt x="576" y="132"/>
                  </a:lnTo>
                  <a:lnTo>
                    <a:pt x="624" y="108"/>
                  </a:lnTo>
                  <a:lnTo>
                    <a:pt x="672" y="86"/>
                  </a:lnTo>
                  <a:lnTo>
                    <a:pt x="722" y="66"/>
                  </a:lnTo>
                  <a:lnTo>
                    <a:pt x="774" y="48"/>
                  </a:lnTo>
                  <a:lnTo>
                    <a:pt x="826" y="34"/>
                  </a:lnTo>
                  <a:lnTo>
                    <a:pt x="880" y="22"/>
                  </a:lnTo>
                  <a:lnTo>
                    <a:pt x="934" y="12"/>
                  </a:lnTo>
                  <a:lnTo>
                    <a:pt x="988" y="6"/>
                  </a:lnTo>
                  <a:lnTo>
                    <a:pt x="1044" y="0"/>
                  </a:lnTo>
                  <a:lnTo>
                    <a:pt x="1102" y="0"/>
                  </a:lnTo>
                  <a:lnTo>
                    <a:pt x="1102" y="0"/>
                  </a:lnTo>
                  <a:lnTo>
                    <a:pt x="1158" y="0"/>
                  </a:lnTo>
                  <a:lnTo>
                    <a:pt x="1214" y="6"/>
                  </a:lnTo>
                  <a:lnTo>
                    <a:pt x="1270" y="12"/>
                  </a:lnTo>
                  <a:lnTo>
                    <a:pt x="1324" y="22"/>
                  </a:lnTo>
                  <a:lnTo>
                    <a:pt x="1376" y="34"/>
                  </a:lnTo>
                  <a:lnTo>
                    <a:pt x="1428" y="48"/>
                  </a:lnTo>
                  <a:lnTo>
                    <a:pt x="1480" y="66"/>
                  </a:lnTo>
                  <a:lnTo>
                    <a:pt x="1530" y="86"/>
                  </a:lnTo>
                  <a:lnTo>
                    <a:pt x="1580" y="108"/>
                  </a:lnTo>
                  <a:lnTo>
                    <a:pt x="1626" y="132"/>
                  </a:lnTo>
                  <a:lnTo>
                    <a:pt x="1672" y="158"/>
                  </a:lnTo>
                  <a:lnTo>
                    <a:pt x="1718" y="188"/>
                  </a:lnTo>
                  <a:lnTo>
                    <a:pt x="1760" y="218"/>
                  </a:lnTo>
                  <a:lnTo>
                    <a:pt x="1802" y="252"/>
                  </a:lnTo>
                  <a:lnTo>
                    <a:pt x="1842" y="286"/>
                  </a:lnTo>
                  <a:lnTo>
                    <a:pt x="1880" y="322"/>
                  </a:lnTo>
                  <a:lnTo>
                    <a:pt x="1918" y="360"/>
                  </a:lnTo>
                  <a:lnTo>
                    <a:pt x="1952" y="400"/>
                  </a:lnTo>
                  <a:lnTo>
                    <a:pt x="1984" y="442"/>
                  </a:lnTo>
                  <a:lnTo>
                    <a:pt x="2016" y="486"/>
                  </a:lnTo>
                  <a:lnTo>
                    <a:pt x="2044" y="530"/>
                  </a:lnTo>
                  <a:lnTo>
                    <a:pt x="2070" y="576"/>
                  </a:lnTo>
                  <a:lnTo>
                    <a:pt x="2094" y="624"/>
                  </a:lnTo>
                  <a:lnTo>
                    <a:pt x="2116" y="672"/>
                  </a:lnTo>
                  <a:lnTo>
                    <a:pt x="2136" y="722"/>
                  </a:lnTo>
                  <a:lnTo>
                    <a:pt x="2154" y="774"/>
                  </a:lnTo>
                  <a:lnTo>
                    <a:pt x="2168" y="826"/>
                  </a:lnTo>
                  <a:lnTo>
                    <a:pt x="2180" y="880"/>
                  </a:lnTo>
                  <a:lnTo>
                    <a:pt x="2190" y="934"/>
                  </a:lnTo>
                  <a:lnTo>
                    <a:pt x="2198" y="988"/>
                  </a:lnTo>
                  <a:lnTo>
                    <a:pt x="2202" y="1044"/>
                  </a:lnTo>
                  <a:lnTo>
                    <a:pt x="2204" y="1102"/>
                  </a:lnTo>
                  <a:lnTo>
                    <a:pt x="2204" y="1102"/>
                  </a:lnTo>
                  <a:close/>
                </a:path>
              </a:pathLst>
            </a:custGeom>
            <a:noFill/>
            <a:ln w="44450" cap="rnd">
              <a:solidFill>
                <a:schemeClr val="bg1">
                  <a:lumMod val="65000"/>
                </a:schemeClr>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9" name="Freeform 11">
              <a:extLst>
                <a:ext uri="{FF2B5EF4-FFF2-40B4-BE49-F238E27FC236}">
                  <a16:creationId xmlns:a16="http://schemas.microsoft.com/office/drawing/2014/main" id="{DBF6A664-A342-4606-8A0D-CEFFEADD4546}"/>
                </a:ext>
              </a:extLst>
            </p:cNvPr>
            <p:cNvSpPr>
              <a:spLocks noChangeAspect="1"/>
            </p:cNvSpPr>
            <p:nvPr/>
          </p:nvSpPr>
          <p:spPr bwMode="auto">
            <a:xfrm>
              <a:off x="9374470" y="1681705"/>
              <a:ext cx="701928" cy="699186"/>
            </a:xfrm>
            <a:custGeom>
              <a:avLst/>
              <a:gdLst>
                <a:gd name="T0" fmla="*/ 512 w 512"/>
                <a:gd name="T1" fmla="*/ 256 h 510"/>
                <a:gd name="T2" fmla="*/ 508 w 512"/>
                <a:gd name="T3" fmla="*/ 204 h 510"/>
                <a:gd name="T4" fmla="*/ 492 w 512"/>
                <a:gd name="T5" fmla="*/ 156 h 510"/>
                <a:gd name="T6" fmla="*/ 468 w 512"/>
                <a:gd name="T7" fmla="*/ 112 h 510"/>
                <a:gd name="T8" fmla="*/ 438 w 512"/>
                <a:gd name="T9" fmla="*/ 74 h 510"/>
                <a:gd name="T10" fmla="*/ 400 w 512"/>
                <a:gd name="T11" fmla="*/ 44 h 510"/>
                <a:gd name="T12" fmla="*/ 356 w 512"/>
                <a:gd name="T13" fmla="*/ 20 h 510"/>
                <a:gd name="T14" fmla="*/ 308 w 512"/>
                <a:gd name="T15" fmla="*/ 4 h 510"/>
                <a:gd name="T16" fmla="*/ 256 w 512"/>
                <a:gd name="T17" fmla="*/ 0 h 510"/>
                <a:gd name="T18" fmla="*/ 230 w 512"/>
                <a:gd name="T19" fmla="*/ 0 h 510"/>
                <a:gd name="T20" fmla="*/ 180 w 512"/>
                <a:gd name="T21" fmla="*/ 10 h 510"/>
                <a:gd name="T22" fmla="*/ 134 w 512"/>
                <a:gd name="T23" fmla="*/ 30 h 510"/>
                <a:gd name="T24" fmla="*/ 94 w 512"/>
                <a:gd name="T25" fmla="*/ 58 h 510"/>
                <a:gd name="T26" fmla="*/ 60 w 512"/>
                <a:gd name="T27" fmla="*/ 92 h 510"/>
                <a:gd name="T28" fmla="*/ 32 w 512"/>
                <a:gd name="T29" fmla="*/ 134 h 510"/>
                <a:gd name="T30" fmla="*/ 12 w 512"/>
                <a:gd name="T31" fmla="*/ 180 h 510"/>
                <a:gd name="T32" fmla="*/ 2 w 512"/>
                <a:gd name="T33" fmla="*/ 230 h 510"/>
                <a:gd name="T34" fmla="*/ 0 w 512"/>
                <a:gd name="T35" fmla="*/ 256 h 510"/>
                <a:gd name="T36" fmla="*/ 6 w 512"/>
                <a:gd name="T37" fmla="*/ 306 h 510"/>
                <a:gd name="T38" fmla="*/ 20 w 512"/>
                <a:gd name="T39" fmla="*/ 354 h 510"/>
                <a:gd name="T40" fmla="*/ 44 w 512"/>
                <a:gd name="T41" fmla="*/ 398 h 510"/>
                <a:gd name="T42" fmla="*/ 76 w 512"/>
                <a:gd name="T43" fmla="*/ 436 h 510"/>
                <a:gd name="T44" fmla="*/ 114 w 512"/>
                <a:gd name="T45" fmla="*/ 468 h 510"/>
                <a:gd name="T46" fmla="*/ 156 w 512"/>
                <a:gd name="T47" fmla="*/ 490 h 510"/>
                <a:gd name="T48" fmla="*/ 204 w 512"/>
                <a:gd name="T49" fmla="*/ 506 h 510"/>
                <a:gd name="T50" fmla="*/ 256 w 512"/>
                <a:gd name="T51" fmla="*/ 510 h 510"/>
                <a:gd name="T52" fmla="*/ 282 w 512"/>
                <a:gd name="T53" fmla="*/ 510 h 510"/>
                <a:gd name="T54" fmla="*/ 332 w 512"/>
                <a:gd name="T55" fmla="*/ 500 h 510"/>
                <a:gd name="T56" fmla="*/ 378 w 512"/>
                <a:gd name="T57" fmla="*/ 480 h 510"/>
                <a:gd name="T58" fmla="*/ 420 w 512"/>
                <a:gd name="T59" fmla="*/ 452 h 510"/>
                <a:gd name="T60" fmla="*/ 454 w 512"/>
                <a:gd name="T61" fmla="*/ 418 h 510"/>
                <a:gd name="T62" fmla="*/ 482 w 512"/>
                <a:gd name="T63" fmla="*/ 378 h 510"/>
                <a:gd name="T64" fmla="*/ 500 w 512"/>
                <a:gd name="T65" fmla="*/ 332 h 510"/>
                <a:gd name="T66" fmla="*/ 512 w 512"/>
                <a:gd name="T67" fmla="*/ 282 h 510"/>
                <a:gd name="T68" fmla="*/ 512 w 512"/>
                <a:gd name="T69" fmla="*/ 256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0">
                  <a:moveTo>
                    <a:pt x="512" y="256"/>
                  </a:moveTo>
                  <a:lnTo>
                    <a:pt x="512" y="256"/>
                  </a:lnTo>
                  <a:lnTo>
                    <a:pt x="512" y="230"/>
                  </a:lnTo>
                  <a:lnTo>
                    <a:pt x="508" y="204"/>
                  </a:lnTo>
                  <a:lnTo>
                    <a:pt x="500" y="180"/>
                  </a:lnTo>
                  <a:lnTo>
                    <a:pt x="492" y="156"/>
                  </a:lnTo>
                  <a:lnTo>
                    <a:pt x="482" y="134"/>
                  </a:lnTo>
                  <a:lnTo>
                    <a:pt x="468" y="112"/>
                  </a:lnTo>
                  <a:lnTo>
                    <a:pt x="454" y="92"/>
                  </a:lnTo>
                  <a:lnTo>
                    <a:pt x="438" y="74"/>
                  </a:lnTo>
                  <a:lnTo>
                    <a:pt x="420" y="58"/>
                  </a:lnTo>
                  <a:lnTo>
                    <a:pt x="400" y="44"/>
                  </a:lnTo>
                  <a:lnTo>
                    <a:pt x="378" y="30"/>
                  </a:lnTo>
                  <a:lnTo>
                    <a:pt x="356" y="20"/>
                  </a:lnTo>
                  <a:lnTo>
                    <a:pt x="332" y="10"/>
                  </a:lnTo>
                  <a:lnTo>
                    <a:pt x="308" y="4"/>
                  </a:lnTo>
                  <a:lnTo>
                    <a:pt x="282" y="0"/>
                  </a:lnTo>
                  <a:lnTo>
                    <a:pt x="256" y="0"/>
                  </a:lnTo>
                  <a:lnTo>
                    <a:pt x="256" y="0"/>
                  </a:lnTo>
                  <a:lnTo>
                    <a:pt x="230" y="0"/>
                  </a:lnTo>
                  <a:lnTo>
                    <a:pt x="204" y="4"/>
                  </a:lnTo>
                  <a:lnTo>
                    <a:pt x="180" y="10"/>
                  </a:lnTo>
                  <a:lnTo>
                    <a:pt x="156" y="20"/>
                  </a:lnTo>
                  <a:lnTo>
                    <a:pt x="134" y="30"/>
                  </a:lnTo>
                  <a:lnTo>
                    <a:pt x="114" y="44"/>
                  </a:lnTo>
                  <a:lnTo>
                    <a:pt x="94" y="58"/>
                  </a:lnTo>
                  <a:lnTo>
                    <a:pt x="76" y="74"/>
                  </a:lnTo>
                  <a:lnTo>
                    <a:pt x="60" y="92"/>
                  </a:lnTo>
                  <a:lnTo>
                    <a:pt x="44" y="112"/>
                  </a:lnTo>
                  <a:lnTo>
                    <a:pt x="32" y="134"/>
                  </a:lnTo>
                  <a:lnTo>
                    <a:pt x="20" y="156"/>
                  </a:lnTo>
                  <a:lnTo>
                    <a:pt x="12" y="180"/>
                  </a:lnTo>
                  <a:lnTo>
                    <a:pt x="6" y="204"/>
                  </a:lnTo>
                  <a:lnTo>
                    <a:pt x="2" y="230"/>
                  </a:lnTo>
                  <a:lnTo>
                    <a:pt x="0" y="256"/>
                  </a:lnTo>
                  <a:lnTo>
                    <a:pt x="0" y="256"/>
                  </a:lnTo>
                  <a:lnTo>
                    <a:pt x="2" y="282"/>
                  </a:lnTo>
                  <a:lnTo>
                    <a:pt x="6" y="306"/>
                  </a:lnTo>
                  <a:lnTo>
                    <a:pt x="12" y="332"/>
                  </a:lnTo>
                  <a:lnTo>
                    <a:pt x="20" y="354"/>
                  </a:lnTo>
                  <a:lnTo>
                    <a:pt x="32" y="378"/>
                  </a:lnTo>
                  <a:lnTo>
                    <a:pt x="44" y="398"/>
                  </a:lnTo>
                  <a:lnTo>
                    <a:pt x="60" y="418"/>
                  </a:lnTo>
                  <a:lnTo>
                    <a:pt x="76" y="436"/>
                  </a:lnTo>
                  <a:lnTo>
                    <a:pt x="94" y="452"/>
                  </a:lnTo>
                  <a:lnTo>
                    <a:pt x="114" y="468"/>
                  </a:lnTo>
                  <a:lnTo>
                    <a:pt x="134" y="480"/>
                  </a:lnTo>
                  <a:lnTo>
                    <a:pt x="156" y="490"/>
                  </a:lnTo>
                  <a:lnTo>
                    <a:pt x="180" y="500"/>
                  </a:lnTo>
                  <a:lnTo>
                    <a:pt x="204" y="506"/>
                  </a:lnTo>
                  <a:lnTo>
                    <a:pt x="230" y="510"/>
                  </a:lnTo>
                  <a:lnTo>
                    <a:pt x="256" y="510"/>
                  </a:lnTo>
                  <a:lnTo>
                    <a:pt x="256" y="510"/>
                  </a:lnTo>
                  <a:lnTo>
                    <a:pt x="282" y="510"/>
                  </a:lnTo>
                  <a:lnTo>
                    <a:pt x="308" y="506"/>
                  </a:lnTo>
                  <a:lnTo>
                    <a:pt x="332" y="500"/>
                  </a:lnTo>
                  <a:lnTo>
                    <a:pt x="356" y="490"/>
                  </a:lnTo>
                  <a:lnTo>
                    <a:pt x="378" y="480"/>
                  </a:lnTo>
                  <a:lnTo>
                    <a:pt x="400" y="468"/>
                  </a:lnTo>
                  <a:lnTo>
                    <a:pt x="420" y="452"/>
                  </a:lnTo>
                  <a:lnTo>
                    <a:pt x="438" y="436"/>
                  </a:lnTo>
                  <a:lnTo>
                    <a:pt x="454" y="418"/>
                  </a:lnTo>
                  <a:lnTo>
                    <a:pt x="468" y="398"/>
                  </a:lnTo>
                  <a:lnTo>
                    <a:pt x="482" y="378"/>
                  </a:lnTo>
                  <a:lnTo>
                    <a:pt x="492" y="354"/>
                  </a:lnTo>
                  <a:lnTo>
                    <a:pt x="500" y="332"/>
                  </a:lnTo>
                  <a:lnTo>
                    <a:pt x="508" y="306"/>
                  </a:lnTo>
                  <a:lnTo>
                    <a:pt x="512" y="282"/>
                  </a:lnTo>
                  <a:lnTo>
                    <a:pt x="512" y="256"/>
                  </a:lnTo>
                  <a:lnTo>
                    <a:pt x="512" y="256"/>
                  </a:lnTo>
                  <a:close/>
                </a:path>
              </a:pathLst>
            </a:cu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30" name="Freeform 9">
              <a:extLst>
                <a:ext uri="{FF2B5EF4-FFF2-40B4-BE49-F238E27FC236}">
                  <a16:creationId xmlns:a16="http://schemas.microsoft.com/office/drawing/2014/main" id="{58092AFC-EDFE-4F3A-B206-41DCB5B44F8E}"/>
                </a:ext>
              </a:extLst>
            </p:cNvPr>
            <p:cNvSpPr>
              <a:spLocks noChangeAspect="1"/>
            </p:cNvSpPr>
            <p:nvPr/>
          </p:nvSpPr>
          <p:spPr bwMode="auto">
            <a:xfrm>
              <a:off x="8673585" y="4368196"/>
              <a:ext cx="701928" cy="699186"/>
            </a:xfrm>
            <a:custGeom>
              <a:avLst/>
              <a:gdLst>
                <a:gd name="T0" fmla="*/ 512 w 512"/>
                <a:gd name="T1" fmla="*/ 256 h 510"/>
                <a:gd name="T2" fmla="*/ 508 w 512"/>
                <a:gd name="T3" fmla="*/ 204 h 510"/>
                <a:gd name="T4" fmla="*/ 492 w 512"/>
                <a:gd name="T5" fmla="*/ 156 h 510"/>
                <a:gd name="T6" fmla="*/ 468 w 512"/>
                <a:gd name="T7" fmla="*/ 112 h 510"/>
                <a:gd name="T8" fmla="*/ 438 w 512"/>
                <a:gd name="T9" fmla="*/ 74 h 510"/>
                <a:gd name="T10" fmla="*/ 400 w 512"/>
                <a:gd name="T11" fmla="*/ 44 h 510"/>
                <a:gd name="T12" fmla="*/ 356 w 512"/>
                <a:gd name="T13" fmla="*/ 20 h 510"/>
                <a:gd name="T14" fmla="*/ 308 w 512"/>
                <a:gd name="T15" fmla="*/ 4 h 510"/>
                <a:gd name="T16" fmla="*/ 256 w 512"/>
                <a:gd name="T17" fmla="*/ 0 h 510"/>
                <a:gd name="T18" fmla="*/ 230 w 512"/>
                <a:gd name="T19" fmla="*/ 0 h 510"/>
                <a:gd name="T20" fmla="*/ 180 w 512"/>
                <a:gd name="T21" fmla="*/ 10 h 510"/>
                <a:gd name="T22" fmla="*/ 134 w 512"/>
                <a:gd name="T23" fmla="*/ 30 h 510"/>
                <a:gd name="T24" fmla="*/ 94 w 512"/>
                <a:gd name="T25" fmla="*/ 58 h 510"/>
                <a:gd name="T26" fmla="*/ 60 w 512"/>
                <a:gd name="T27" fmla="*/ 92 h 510"/>
                <a:gd name="T28" fmla="*/ 32 w 512"/>
                <a:gd name="T29" fmla="*/ 134 h 510"/>
                <a:gd name="T30" fmla="*/ 12 w 512"/>
                <a:gd name="T31" fmla="*/ 180 h 510"/>
                <a:gd name="T32" fmla="*/ 2 w 512"/>
                <a:gd name="T33" fmla="*/ 230 h 510"/>
                <a:gd name="T34" fmla="*/ 0 w 512"/>
                <a:gd name="T35" fmla="*/ 256 h 510"/>
                <a:gd name="T36" fmla="*/ 6 w 512"/>
                <a:gd name="T37" fmla="*/ 306 h 510"/>
                <a:gd name="T38" fmla="*/ 20 w 512"/>
                <a:gd name="T39" fmla="*/ 354 h 510"/>
                <a:gd name="T40" fmla="*/ 44 w 512"/>
                <a:gd name="T41" fmla="*/ 398 h 510"/>
                <a:gd name="T42" fmla="*/ 76 w 512"/>
                <a:gd name="T43" fmla="*/ 436 h 510"/>
                <a:gd name="T44" fmla="*/ 114 w 512"/>
                <a:gd name="T45" fmla="*/ 468 h 510"/>
                <a:gd name="T46" fmla="*/ 158 w 512"/>
                <a:gd name="T47" fmla="*/ 490 h 510"/>
                <a:gd name="T48" fmla="*/ 206 w 512"/>
                <a:gd name="T49" fmla="*/ 506 h 510"/>
                <a:gd name="T50" fmla="*/ 256 w 512"/>
                <a:gd name="T51" fmla="*/ 510 h 510"/>
                <a:gd name="T52" fmla="*/ 282 w 512"/>
                <a:gd name="T53" fmla="*/ 510 h 510"/>
                <a:gd name="T54" fmla="*/ 332 w 512"/>
                <a:gd name="T55" fmla="*/ 500 h 510"/>
                <a:gd name="T56" fmla="*/ 378 w 512"/>
                <a:gd name="T57" fmla="*/ 480 h 510"/>
                <a:gd name="T58" fmla="*/ 420 w 512"/>
                <a:gd name="T59" fmla="*/ 452 h 510"/>
                <a:gd name="T60" fmla="*/ 454 w 512"/>
                <a:gd name="T61" fmla="*/ 418 h 510"/>
                <a:gd name="T62" fmla="*/ 482 w 512"/>
                <a:gd name="T63" fmla="*/ 378 h 510"/>
                <a:gd name="T64" fmla="*/ 500 w 512"/>
                <a:gd name="T65" fmla="*/ 332 h 510"/>
                <a:gd name="T66" fmla="*/ 512 w 512"/>
                <a:gd name="T67" fmla="*/ 282 h 510"/>
                <a:gd name="T68" fmla="*/ 512 w 512"/>
                <a:gd name="T69" fmla="*/ 256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0">
                  <a:moveTo>
                    <a:pt x="512" y="256"/>
                  </a:moveTo>
                  <a:lnTo>
                    <a:pt x="512" y="256"/>
                  </a:lnTo>
                  <a:lnTo>
                    <a:pt x="512" y="230"/>
                  </a:lnTo>
                  <a:lnTo>
                    <a:pt x="508" y="204"/>
                  </a:lnTo>
                  <a:lnTo>
                    <a:pt x="500" y="180"/>
                  </a:lnTo>
                  <a:lnTo>
                    <a:pt x="492" y="156"/>
                  </a:lnTo>
                  <a:lnTo>
                    <a:pt x="482" y="134"/>
                  </a:lnTo>
                  <a:lnTo>
                    <a:pt x="468" y="112"/>
                  </a:lnTo>
                  <a:lnTo>
                    <a:pt x="454" y="92"/>
                  </a:lnTo>
                  <a:lnTo>
                    <a:pt x="438" y="74"/>
                  </a:lnTo>
                  <a:lnTo>
                    <a:pt x="420" y="58"/>
                  </a:lnTo>
                  <a:lnTo>
                    <a:pt x="400" y="44"/>
                  </a:lnTo>
                  <a:lnTo>
                    <a:pt x="378" y="30"/>
                  </a:lnTo>
                  <a:lnTo>
                    <a:pt x="356" y="20"/>
                  </a:lnTo>
                  <a:lnTo>
                    <a:pt x="332" y="10"/>
                  </a:lnTo>
                  <a:lnTo>
                    <a:pt x="308" y="4"/>
                  </a:lnTo>
                  <a:lnTo>
                    <a:pt x="282" y="0"/>
                  </a:lnTo>
                  <a:lnTo>
                    <a:pt x="256" y="0"/>
                  </a:lnTo>
                  <a:lnTo>
                    <a:pt x="256" y="0"/>
                  </a:lnTo>
                  <a:lnTo>
                    <a:pt x="230" y="0"/>
                  </a:lnTo>
                  <a:lnTo>
                    <a:pt x="206" y="4"/>
                  </a:lnTo>
                  <a:lnTo>
                    <a:pt x="180" y="10"/>
                  </a:lnTo>
                  <a:lnTo>
                    <a:pt x="158" y="20"/>
                  </a:lnTo>
                  <a:lnTo>
                    <a:pt x="134" y="30"/>
                  </a:lnTo>
                  <a:lnTo>
                    <a:pt x="114" y="44"/>
                  </a:lnTo>
                  <a:lnTo>
                    <a:pt x="94" y="58"/>
                  </a:lnTo>
                  <a:lnTo>
                    <a:pt x="76" y="74"/>
                  </a:lnTo>
                  <a:lnTo>
                    <a:pt x="60" y="92"/>
                  </a:lnTo>
                  <a:lnTo>
                    <a:pt x="44" y="112"/>
                  </a:lnTo>
                  <a:lnTo>
                    <a:pt x="32" y="134"/>
                  </a:lnTo>
                  <a:lnTo>
                    <a:pt x="20" y="156"/>
                  </a:lnTo>
                  <a:lnTo>
                    <a:pt x="12" y="180"/>
                  </a:lnTo>
                  <a:lnTo>
                    <a:pt x="6" y="204"/>
                  </a:lnTo>
                  <a:lnTo>
                    <a:pt x="2" y="230"/>
                  </a:lnTo>
                  <a:lnTo>
                    <a:pt x="0" y="256"/>
                  </a:lnTo>
                  <a:lnTo>
                    <a:pt x="0" y="256"/>
                  </a:lnTo>
                  <a:lnTo>
                    <a:pt x="2" y="282"/>
                  </a:lnTo>
                  <a:lnTo>
                    <a:pt x="6" y="306"/>
                  </a:lnTo>
                  <a:lnTo>
                    <a:pt x="12" y="332"/>
                  </a:lnTo>
                  <a:lnTo>
                    <a:pt x="20" y="354"/>
                  </a:lnTo>
                  <a:lnTo>
                    <a:pt x="32" y="378"/>
                  </a:lnTo>
                  <a:lnTo>
                    <a:pt x="44" y="398"/>
                  </a:lnTo>
                  <a:lnTo>
                    <a:pt x="60" y="418"/>
                  </a:lnTo>
                  <a:lnTo>
                    <a:pt x="76" y="436"/>
                  </a:lnTo>
                  <a:lnTo>
                    <a:pt x="94" y="452"/>
                  </a:lnTo>
                  <a:lnTo>
                    <a:pt x="114" y="468"/>
                  </a:lnTo>
                  <a:lnTo>
                    <a:pt x="134" y="480"/>
                  </a:lnTo>
                  <a:lnTo>
                    <a:pt x="158" y="490"/>
                  </a:lnTo>
                  <a:lnTo>
                    <a:pt x="180" y="500"/>
                  </a:lnTo>
                  <a:lnTo>
                    <a:pt x="206" y="506"/>
                  </a:lnTo>
                  <a:lnTo>
                    <a:pt x="230" y="510"/>
                  </a:lnTo>
                  <a:lnTo>
                    <a:pt x="256" y="510"/>
                  </a:lnTo>
                  <a:lnTo>
                    <a:pt x="256" y="510"/>
                  </a:lnTo>
                  <a:lnTo>
                    <a:pt x="282" y="510"/>
                  </a:lnTo>
                  <a:lnTo>
                    <a:pt x="308" y="506"/>
                  </a:lnTo>
                  <a:lnTo>
                    <a:pt x="332" y="500"/>
                  </a:lnTo>
                  <a:lnTo>
                    <a:pt x="356" y="490"/>
                  </a:lnTo>
                  <a:lnTo>
                    <a:pt x="378" y="480"/>
                  </a:lnTo>
                  <a:lnTo>
                    <a:pt x="400" y="468"/>
                  </a:lnTo>
                  <a:lnTo>
                    <a:pt x="420" y="452"/>
                  </a:lnTo>
                  <a:lnTo>
                    <a:pt x="438" y="436"/>
                  </a:lnTo>
                  <a:lnTo>
                    <a:pt x="454" y="418"/>
                  </a:lnTo>
                  <a:lnTo>
                    <a:pt x="468" y="398"/>
                  </a:lnTo>
                  <a:lnTo>
                    <a:pt x="482" y="378"/>
                  </a:lnTo>
                  <a:lnTo>
                    <a:pt x="492" y="354"/>
                  </a:lnTo>
                  <a:lnTo>
                    <a:pt x="500" y="332"/>
                  </a:lnTo>
                  <a:lnTo>
                    <a:pt x="508" y="306"/>
                  </a:lnTo>
                  <a:lnTo>
                    <a:pt x="512" y="282"/>
                  </a:lnTo>
                  <a:lnTo>
                    <a:pt x="512" y="256"/>
                  </a:lnTo>
                  <a:lnTo>
                    <a:pt x="512" y="256"/>
                  </a:lnTo>
                  <a:close/>
                </a:path>
              </a:pathLst>
            </a:cu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pic>
          <p:nvPicPr>
            <p:cNvPr id="31" name="Picture 30">
              <a:extLst>
                <a:ext uri="{FF2B5EF4-FFF2-40B4-BE49-F238E27FC236}">
                  <a16:creationId xmlns:a16="http://schemas.microsoft.com/office/drawing/2014/main" id="{6EC72661-0A28-4E4A-8F02-A6E8F6F8D6BA}"/>
                </a:ext>
              </a:extLst>
            </p:cNvPr>
            <p:cNvPicPr>
              <a:picLocks noChangeAspect="1"/>
            </p:cNvPicPr>
            <p:nvPr/>
          </p:nvPicPr>
          <p:blipFill rotWithShape="1">
            <a:blip r:embed="rId16" cstate="email">
              <a:extLst>
                <a:ext uri="{BEBA8EAE-BF5A-486C-A8C5-ECC9F3942E4B}">
                  <a14:imgProps xmlns:a14="http://schemas.microsoft.com/office/drawing/2010/main">
                    <a14:imgLayer r:embed="rId17">
                      <a14:imgEffect>
                        <a14:saturation sat="0"/>
                      </a14:imgEffect>
                      <a14:imgEffect>
                        <a14:brightnessContrast bright="-100000"/>
                      </a14:imgEffect>
                    </a14:imgLayer>
                  </a14:imgProps>
                </a:ext>
                <a:ext uri="{28A0092B-C50C-407E-A947-70E740481C1C}">
                  <a14:useLocalDpi xmlns:a14="http://schemas.microsoft.com/office/drawing/2010/main" val="0"/>
                </a:ext>
              </a:extLst>
            </a:blip>
            <a:srcRect/>
            <a:stretch/>
          </p:blipFill>
          <p:spPr>
            <a:xfrm>
              <a:off x="8773747" y="4492948"/>
              <a:ext cx="517579" cy="449682"/>
            </a:xfrm>
            <a:prstGeom prst="rect">
              <a:avLst/>
            </a:prstGeom>
          </p:spPr>
        </p:pic>
        <p:sp>
          <p:nvSpPr>
            <p:cNvPr id="32" name="Freeform 10">
              <a:extLst>
                <a:ext uri="{FF2B5EF4-FFF2-40B4-BE49-F238E27FC236}">
                  <a16:creationId xmlns:a16="http://schemas.microsoft.com/office/drawing/2014/main" id="{C6BDCFB4-79E7-4588-98BF-3BC8F58C531A}"/>
                </a:ext>
              </a:extLst>
            </p:cNvPr>
            <p:cNvSpPr>
              <a:spLocks noChangeAspect="1"/>
            </p:cNvSpPr>
            <p:nvPr/>
          </p:nvSpPr>
          <p:spPr bwMode="auto">
            <a:xfrm>
              <a:off x="10075067" y="4368196"/>
              <a:ext cx="699188" cy="715938"/>
            </a:xfrm>
            <a:custGeom>
              <a:avLst/>
              <a:gdLst>
                <a:gd name="T0" fmla="*/ 510 w 510"/>
                <a:gd name="T1" fmla="*/ 256 h 510"/>
                <a:gd name="T2" fmla="*/ 506 w 510"/>
                <a:gd name="T3" fmla="*/ 204 h 510"/>
                <a:gd name="T4" fmla="*/ 490 w 510"/>
                <a:gd name="T5" fmla="*/ 156 h 510"/>
                <a:gd name="T6" fmla="*/ 468 w 510"/>
                <a:gd name="T7" fmla="*/ 112 h 510"/>
                <a:gd name="T8" fmla="*/ 436 w 510"/>
                <a:gd name="T9" fmla="*/ 74 h 510"/>
                <a:gd name="T10" fmla="*/ 398 w 510"/>
                <a:gd name="T11" fmla="*/ 44 h 510"/>
                <a:gd name="T12" fmla="*/ 354 w 510"/>
                <a:gd name="T13" fmla="*/ 20 h 510"/>
                <a:gd name="T14" fmla="*/ 306 w 510"/>
                <a:gd name="T15" fmla="*/ 4 h 510"/>
                <a:gd name="T16" fmla="*/ 256 w 510"/>
                <a:gd name="T17" fmla="*/ 0 h 510"/>
                <a:gd name="T18" fmla="*/ 228 w 510"/>
                <a:gd name="T19" fmla="*/ 0 h 510"/>
                <a:gd name="T20" fmla="*/ 180 w 510"/>
                <a:gd name="T21" fmla="*/ 10 h 510"/>
                <a:gd name="T22" fmla="*/ 134 w 510"/>
                <a:gd name="T23" fmla="*/ 30 h 510"/>
                <a:gd name="T24" fmla="*/ 92 w 510"/>
                <a:gd name="T25" fmla="*/ 58 h 510"/>
                <a:gd name="T26" fmla="*/ 58 w 510"/>
                <a:gd name="T27" fmla="*/ 92 h 510"/>
                <a:gd name="T28" fmla="*/ 30 w 510"/>
                <a:gd name="T29" fmla="*/ 134 h 510"/>
                <a:gd name="T30" fmla="*/ 10 w 510"/>
                <a:gd name="T31" fmla="*/ 180 h 510"/>
                <a:gd name="T32" fmla="*/ 0 w 510"/>
                <a:gd name="T33" fmla="*/ 230 h 510"/>
                <a:gd name="T34" fmla="*/ 0 w 510"/>
                <a:gd name="T35" fmla="*/ 256 h 510"/>
                <a:gd name="T36" fmla="*/ 4 w 510"/>
                <a:gd name="T37" fmla="*/ 306 h 510"/>
                <a:gd name="T38" fmla="*/ 20 w 510"/>
                <a:gd name="T39" fmla="*/ 354 h 510"/>
                <a:gd name="T40" fmla="*/ 42 w 510"/>
                <a:gd name="T41" fmla="*/ 398 h 510"/>
                <a:gd name="T42" fmla="*/ 74 w 510"/>
                <a:gd name="T43" fmla="*/ 436 h 510"/>
                <a:gd name="T44" fmla="*/ 112 w 510"/>
                <a:gd name="T45" fmla="*/ 468 h 510"/>
                <a:gd name="T46" fmla="*/ 156 w 510"/>
                <a:gd name="T47" fmla="*/ 490 h 510"/>
                <a:gd name="T48" fmla="*/ 204 w 510"/>
                <a:gd name="T49" fmla="*/ 506 h 510"/>
                <a:gd name="T50" fmla="*/ 256 w 510"/>
                <a:gd name="T51" fmla="*/ 510 h 510"/>
                <a:gd name="T52" fmla="*/ 282 w 510"/>
                <a:gd name="T53" fmla="*/ 510 h 510"/>
                <a:gd name="T54" fmla="*/ 332 w 510"/>
                <a:gd name="T55" fmla="*/ 500 h 510"/>
                <a:gd name="T56" fmla="*/ 378 w 510"/>
                <a:gd name="T57" fmla="*/ 480 h 510"/>
                <a:gd name="T58" fmla="*/ 418 w 510"/>
                <a:gd name="T59" fmla="*/ 452 h 510"/>
                <a:gd name="T60" fmla="*/ 452 w 510"/>
                <a:gd name="T61" fmla="*/ 418 h 510"/>
                <a:gd name="T62" fmla="*/ 480 w 510"/>
                <a:gd name="T63" fmla="*/ 378 h 510"/>
                <a:gd name="T64" fmla="*/ 500 w 510"/>
                <a:gd name="T65" fmla="*/ 332 h 510"/>
                <a:gd name="T66" fmla="*/ 510 w 510"/>
                <a:gd name="T67" fmla="*/ 282 h 510"/>
                <a:gd name="T68" fmla="*/ 510 w 510"/>
                <a:gd name="T69" fmla="*/ 256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0" h="510">
                  <a:moveTo>
                    <a:pt x="510" y="256"/>
                  </a:moveTo>
                  <a:lnTo>
                    <a:pt x="510" y="256"/>
                  </a:lnTo>
                  <a:lnTo>
                    <a:pt x="510" y="230"/>
                  </a:lnTo>
                  <a:lnTo>
                    <a:pt x="506" y="204"/>
                  </a:lnTo>
                  <a:lnTo>
                    <a:pt x="500" y="180"/>
                  </a:lnTo>
                  <a:lnTo>
                    <a:pt x="490" y="156"/>
                  </a:lnTo>
                  <a:lnTo>
                    <a:pt x="480" y="134"/>
                  </a:lnTo>
                  <a:lnTo>
                    <a:pt x="468" y="112"/>
                  </a:lnTo>
                  <a:lnTo>
                    <a:pt x="452" y="92"/>
                  </a:lnTo>
                  <a:lnTo>
                    <a:pt x="436" y="74"/>
                  </a:lnTo>
                  <a:lnTo>
                    <a:pt x="418" y="58"/>
                  </a:lnTo>
                  <a:lnTo>
                    <a:pt x="398" y="44"/>
                  </a:lnTo>
                  <a:lnTo>
                    <a:pt x="378" y="30"/>
                  </a:lnTo>
                  <a:lnTo>
                    <a:pt x="354" y="20"/>
                  </a:lnTo>
                  <a:lnTo>
                    <a:pt x="332" y="10"/>
                  </a:lnTo>
                  <a:lnTo>
                    <a:pt x="306" y="4"/>
                  </a:lnTo>
                  <a:lnTo>
                    <a:pt x="282" y="0"/>
                  </a:lnTo>
                  <a:lnTo>
                    <a:pt x="256" y="0"/>
                  </a:lnTo>
                  <a:lnTo>
                    <a:pt x="256" y="0"/>
                  </a:lnTo>
                  <a:lnTo>
                    <a:pt x="228" y="0"/>
                  </a:lnTo>
                  <a:lnTo>
                    <a:pt x="204" y="4"/>
                  </a:lnTo>
                  <a:lnTo>
                    <a:pt x="180" y="10"/>
                  </a:lnTo>
                  <a:lnTo>
                    <a:pt x="156" y="20"/>
                  </a:lnTo>
                  <a:lnTo>
                    <a:pt x="134" y="30"/>
                  </a:lnTo>
                  <a:lnTo>
                    <a:pt x="112" y="44"/>
                  </a:lnTo>
                  <a:lnTo>
                    <a:pt x="92" y="58"/>
                  </a:lnTo>
                  <a:lnTo>
                    <a:pt x="74" y="74"/>
                  </a:lnTo>
                  <a:lnTo>
                    <a:pt x="58" y="92"/>
                  </a:lnTo>
                  <a:lnTo>
                    <a:pt x="42" y="112"/>
                  </a:lnTo>
                  <a:lnTo>
                    <a:pt x="30" y="134"/>
                  </a:lnTo>
                  <a:lnTo>
                    <a:pt x="20" y="156"/>
                  </a:lnTo>
                  <a:lnTo>
                    <a:pt x="10" y="180"/>
                  </a:lnTo>
                  <a:lnTo>
                    <a:pt x="4" y="204"/>
                  </a:lnTo>
                  <a:lnTo>
                    <a:pt x="0" y="230"/>
                  </a:lnTo>
                  <a:lnTo>
                    <a:pt x="0" y="256"/>
                  </a:lnTo>
                  <a:lnTo>
                    <a:pt x="0" y="256"/>
                  </a:lnTo>
                  <a:lnTo>
                    <a:pt x="0" y="282"/>
                  </a:lnTo>
                  <a:lnTo>
                    <a:pt x="4" y="306"/>
                  </a:lnTo>
                  <a:lnTo>
                    <a:pt x="10" y="332"/>
                  </a:lnTo>
                  <a:lnTo>
                    <a:pt x="20" y="354"/>
                  </a:lnTo>
                  <a:lnTo>
                    <a:pt x="30" y="378"/>
                  </a:lnTo>
                  <a:lnTo>
                    <a:pt x="42" y="398"/>
                  </a:lnTo>
                  <a:lnTo>
                    <a:pt x="58" y="418"/>
                  </a:lnTo>
                  <a:lnTo>
                    <a:pt x="74" y="436"/>
                  </a:lnTo>
                  <a:lnTo>
                    <a:pt x="92" y="452"/>
                  </a:lnTo>
                  <a:lnTo>
                    <a:pt x="112" y="468"/>
                  </a:lnTo>
                  <a:lnTo>
                    <a:pt x="134" y="480"/>
                  </a:lnTo>
                  <a:lnTo>
                    <a:pt x="156" y="490"/>
                  </a:lnTo>
                  <a:lnTo>
                    <a:pt x="180" y="500"/>
                  </a:lnTo>
                  <a:lnTo>
                    <a:pt x="204" y="506"/>
                  </a:lnTo>
                  <a:lnTo>
                    <a:pt x="228" y="510"/>
                  </a:lnTo>
                  <a:lnTo>
                    <a:pt x="256" y="510"/>
                  </a:lnTo>
                  <a:lnTo>
                    <a:pt x="256" y="510"/>
                  </a:lnTo>
                  <a:lnTo>
                    <a:pt x="282" y="510"/>
                  </a:lnTo>
                  <a:lnTo>
                    <a:pt x="306" y="506"/>
                  </a:lnTo>
                  <a:lnTo>
                    <a:pt x="332" y="500"/>
                  </a:lnTo>
                  <a:lnTo>
                    <a:pt x="354" y="490"/>
                  </a:lnTo>
                  <a:lnTo>
                    <a:pt x="378" y="480"/>
                  </a:lnTo>
                  <a:lnTo>
                    <a:pt x="398" y="468"/>
                  </a:lnTo>
                  <a:lnTo>
                    <a:pt x="418" y="452"/>
                  </a:lnTo>
                  <a:lnTo>
                    <a:pt x="436" y="436"/>
                  </a:lnTo>
                  <a:lnTo>
                    <a:pt x="452" y="418"/>
                  </a:lnTo>
                  <a:lnTo>
                    <a:pt x="468" y="398"/>
                  </a:lnTo>
                  <a:lnTo>
                    <a:pt x="480" y="378"/>
                  </a:lnTo>
                  <a:lnTo>
                    <a:pt x="490" y="354"/>
                  </a:lnTo>
                  <a:lnTo>
                    <a:pt x="500" y="332"/>
                  </a:lnTo>
                  <a:lnTo>
                    <a:pt x="506" y="306"/>
                  </a:lnTo>
                  <a:lnTo>
                    <a:pt x="510" y="282"/>
                  </a:lnTo>
                  <a:lnTo>
                    <a:pt x="510" y="256"/>
                  </a:lnTo>
                  <a:lnTo>
                    <a:pt x="510" y="256"/>
                  </a:lnTo>
                  <a:close/>
                </a:path>
              </a:pathLst>
            </a:cu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33" name="Freeform 209">
              <a:extLst>
                <a:ext uri="{FF2B5EF4-FFF2-40B4-BE49-F238E27FC236}">
                  <a16:creationId xmlns:a16="http://schemas.microsoft.com/office/drawing/2014/main" id="{45F31B85-CACB-4ACA-8FD0-366AA93C1146}"/>
                </a:ext>
              </a:extLst>
            </p:cNvPr>
            <p:cNvSpPr>
              <a:spLocks noEditPoints="1"/>
            </p:cNvSpPr>
            <p:nvPr/>
          </p:nvSpPr>
          <p:spPr bwMode="auto">
            <a:xfrm>
              <a:off x="9551397" y="1845225"/>
              <a:ext cx="363666" cy="363667"/>
            </a:xfrm>
            <a:custGeom>
              <a:avLst/>
              <a:gdLst>
                <a:gd name="T0" fmla="*/ 140 w 237"/>
                <a:gd name="T1" fmla="*/ 33 h 236"/>
                <a:gd name="T2" fmla="*/ 161 w 237"/>
                <a:gd name="T3" fmla="*/ 33 h 236"/>
                <a:gd name="T4" fmla="*/ 218 w 237"/>
                <a:gd name="T5" fmla="*/ 4 h 236"/>
                <a:gd name="T6" fmla="*/ 233 w 237"/>
                <a:gd name="T7" fmla="*/ 20 h 236"/>
                <a:gd name="T8" fmla="*/ 204 w 237"/>
                <a:gd name="T9" fmla="*/ 76 h 236"/>
                <a:gd name="T10" fmla="*/ 204 w 237"/>
                <a:gd name="T11" fmla="*/ 97 h 236"/>
                <a:gd name="T12" fmla="*/ 147 w 237"/>
                <a:gd name="T13" fmla="*/ 97 h 236"/>
                <a:gd name="T14" fmla="*/ 97 w 237"/>
                <a:gd name="T15" fmla="*/ 147 h 236"/>
                <a:gd name="T16" fmla="*/ 33 w 237"/>
                <a:gd name="T17" fmla="*/ 140 h 236"/>
                <a:gd name="T18" fmla="*/ 33 w 237"/>
                <a:gd name="T19" fmla="*/ 161 h 236"/>
                <a:gd name="T20" fmla="*/ 4 w 237"/>
                <a:gd name="T21" fmla="*/ 218 h 236"/>
                <a:gd name="T22" fmla="*/ 12 w 237"/>
                <a:gd name="T23" fmla="*/ 236 h 236"/>
                <a:gd name="T24" fmla="*/ 76 w 237"/>
                <a:gd name="T25" fmla="*/ 176 h 236"/>
                <a:gd name="T26" fmla="*/ 87 w 237"/>
                <a:gd name="T27" fmla="*/ 215 h 236"/>
                <a:gd name="T28" fmla="*/ 97 w 237"/>
                <a:gd name="T29" fmla="*/ 151 h 236"/>
                <a:gd name="T30" fmla="*/ 97 w 237"/>
                <a:gd name="T31" fmla="*/ 147 h 236"/>
                <a:gd name="T32" fmla="*/ 204 w 237"/>
                <a:gd name="T33" fmla="*/ 161 h 236"/>
                <a:gd name="T34" fmla="*/ 204 w 237"/>
                <a:gd name="T35" fmla="*/ 140 h 236"/>
                <a:gd name="T36" fmla="*/ 141 w 237"/>
                <a:gd name="T37" fmla="*/ 147 h 236"/>
                <a:gd name="T38" fmla="*/ 140 w 237"/>
                <a:gd name="T39" fmla="*/ 151 h 236"/>
                <a:gd name="T40" fmla="*/ 151 w 237"/>
                <a:gd name="T41" fmla="*/ 215 h 236"/>
                <a:gd name="T42" fmla="*/ 161 w 237"/>
                <a:gd name="T43" fmla="*/ 176 h 236"/>
                <a:gd name="T44" fmla="*/ 225 w 237"/>
                <a:gd name="T45" fmla="*/ 236 h 236"/>
                <a:gd name="T46" fmla="*/ 233 w 237"/>
                <a:gd name="T47" fmla="*/ 218 h 236"/>
                <a:gd name="T48" fmla="*/ 87 w 237"/>
                <a:gd name="T49" fmla="*/ 23 h 236"/>
                <a:gd name="T50" fmla="*/ 76 w 237"/>
                <a:gd name="T51" fmla="*/ 61 h 236"/>
                <a:gd name="T52" fmla="*/ 4 w 237"/>
                <a:gd name="T53" fmla="*/ 4 h 236"/>
                <a:gd name="T54" fmla="*/ 61 w 237"/>
                <a:gd name="T55" fmla="*/ 76 h 236"/>
                <a:gd name="T56" fmla="*/ 23 w 237"/>
                <a:gd name="T57" fmla="*/ 87 h 236"/>
                <a:gd name="T58" fmla="*/ 87 w 237"/>
                <a:gd name="T59" fmla="*/ 97 h 236"/>
                <a:gd name="T60" fmla="*/ 97 w 237"/>
                <a:gd name="T61" fmla="*/ 87 h 236"/>
                <a:gd name="T62" fmla="*/ 87 w 237"/>
                <a:gd name="T63" fmla="*/ 2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7" h="236">
                  <a:moveTo>
                    <a:pt x="140" y="87"/>
                  </a:moveTo>
                  <a:cubicBezTo>
                    <a:pt x="140" y="33"/>
                    <a:pt x="140" y="33"/>
                    <a:pt x="140" y="33"/>
                  </a:cubicBezTo>
                  <a:cubicBezTo>
                    <a:pt x="140" y="27"/>
                    <a:pt x="145" y="23"/>
                    <a:pt x="151" y="23"/>
                  </a:cubicBezTo>
                  <a:cubicBezTo>
                    <a:pt x="157" y="23"/>
                    <a:pt x="161" y="27"/>
                    <a:pt x="161" y="33"/>
                  </a:cubicBezTo>
                  <a:cubicBezTo>
                    <a:pt x="161" y="61"/>
                    <a:pt x="161" y="61"/>
                    <a:pt x="161" y="61"/>
                  </a:cubicBezTo>
                  <a:cubicBezTo>
                    <a:pt x="218" y="4"/>
                    <a:pt x="218" y="4"/>
                    <a:pt x="218" y="4"/>
                  </a:cubicBezTo>
                  <a:cubicBezTo>
                    <a:pt x="222" y="0"/>
                    <a:pt x="229" y="0"/>
                    <a:pt x="233" y="4"/>
                  </a:cubicBezTo>
                  <a:cubicBezTo>
                    <a:pt x="237" y="9"/>
                    <a:pt x="237" y="15"/>
                    <a:pt x="233" y="20"/>
                  </a:cubicBezTo>
                  <a:cubicBezTo>
                    <a:pt x="176" y="76"/>
                    <a:pt x="176" y="76"/>
                    <a:pt x="176" y="76"/>
                  </a:cubicBezTo>
                  <a:cubicBezTo>
                    <a:pt x="204" y="76"/>
                    <a:pt x="204" y="76"/>
                    <a:pt x="204" y="76"/>
                  </a:cubicBezTo>
                  <a:cubicBezTo>
                    <a:pt x="210" y="76"/>
                    <a:pt x="215" y="81"/>
                    <a:pt x="215" y="87"/>
                  </a:cubicBezTo>
                  <a:cubicBezTo>
                    <a:pt x="215" y="93"/>
                    <a:pt x="210" y="97"/>
                    <a:pt x="204" y="97"/>
                  </a:cubicBezTo>
                  <a:cubicBezTo>
                    <a:pt x="151" y="97"/>
                    <a:pt x="151" y="97"/>
                    <a:pt x="151" y="97"/>
                  </a:cubicBezTo>
                  <a:cubicBezTo>
                    <a:pt x="149" y="97"/>
                    <a:pt x="148" y="97"/>
                    <a:pt x="147" y="97"/>
                  </a:cubicBezTo>
                  <a:cubicBezTo>
                    <a:pt x="143" y="95"/>
                    <a:pt x="140" y="91"/>
                    <a:pt x="140" y="87"/>
                  </a:cubicBezTo>
                  <a:close/>
                  <a:moveTo>
                    <a:pt x="97" y="147"/>
                  </a:moveTo>
                  <a:cubicBezTo>
                    <a:pt x="95" y="143"/>
                    <a:pt x="91" y="140"/>
                    <a:pt x="87" y="140"/>
                  </a:cubicBezTo>
                  <a:cubicBezTo>
                    <a:pt x="33" y="140"/>
                    <a:pt x="33" y="140"/>
                    <a:pt x="33" y="140"/>
                  </a:cubicBezTo>
                  <a:cubicBezTo>
                    <a:pt x="27" y="140"/>
                    <a:pt x="23" y="145"/>
                    <a:pt x="23" y="151"/>
                  </a:cubicBezTo>
                  <a:cubicBezTo>
                    <a:pt x="23" y="157"/>
                    <a:pt x="27" y="161"/>
                    <a:pt x="33" y="161"/>
                  </a:cubicBezTo>
                  <a:cubicBezTo>
                    <a:pt x="61" y="161"/>
                    <a:pt x="61" y="161"/>
                    <a:pt x="61" y="161"/>
                  </a:cubicBezTo>
                  <a:cubicBezTo>
                    <a:pt x="4" y="218"/>
                    <a:pt x="4" y="218"/>
                    <a:pt x="4" y="218"/>
                  </a:cubicBezTo>
                  <a:cubicBezTo>
                    <a:pt x="0" y="222"/>
                    <a:pt x="0" y="229"/>
                    <a:pt x="4" y="233"/>
                  </a:cubicBezTo>
                  <a:cubicBezTo>
                    <a:pt x="7" y="235"/>
                    <a:pt x="9" y="236"/>
                    <a:pt x="12" y="236"/>
                  </a:cubicBezTo>
                  <a:cubicBezTo>
                    <a:pt x="15" y="236"/>
                    <a:pt x="17" y="235"/>
                    <a:pt x="20" y="233"/>
                  </a:cubicBezTo>
                  <a:cubicBezTo>
                    <a:pt x="76" y="176"/>
                    <a:pt x="76" y="176"/>
                    <a:pt x="76" y="176"/>
                  </a:cubicBezTo>
                  <a:cubicBezTo>
                    <a:pt x="76" y="204"/>
                    <a:pt x="76" y="204"/>
                    <a:pt x="76" y="204"/>
                  </a:cubicBezTo>
                  <a:cubicBezTo>
                    <a:pt x="76" y="210"/>
                    <a:pt x="81" y="215"/>
                    <a:pt x="87" y="215"/>
                  </a:cubicBezTo>
                  <a:cubicBezTo>
                    <a:pt x="93" y="215"/>
                    <a:pt x="97" y="210"/>
                    <a:pt x="97" y="204"/>
                  </a:cubicBezTo>
                  <a:cubicBezTo>
                    <a:pt x="97" y="151"/>
                    <a:pt x="97" y="151"/>
                    <a:pt x="97" y="151"/>
                  </a:cubicBezTo>
                  <a:cubicBezTo>
                    <a:pt x="97" y="151"/>
                    <a:pt x="97" y="151"/>
                    <a:pt x="97" y="151"/>
                  </a:cubicBezTo>
                  <a:cubicBezTo>
                    <a:pt x="97" y="149"/>
                    <a:pt x="97" y="148"/>
                    <a:pt x="97" y="147"/>
                  </a:cubicBezTo>
                  <a:close/>
                  <a:moveTo>
                    <a:pt x="176" y="161"/>
                  </a:moveTo>
                  <a:cubicBezTo>
                    <a:pt x="204" y="161"/>
                    <a:pt x="204" y="161"/>
                    <a:pt x="204" y="161"/>
                  </a:cubicBezTo>
                  <a:cubicBezTo>
                    <a:pt x="210" y="161"/>
                    <a:pt x="215" y="157"/>
                    <a:pt x="215" y="151"/>
                  </a:cubicBezTo>
                  <a:cubicBezTo>
                    <a:pt x="215" y="145"/>
                    <a:pt x="210" y="140"/>
                    <a:pt x="204" y="140"/>
                  </a:cubicBezTo>
                  <a:cubicBezTo>
                    <a:pt x="151" y="140"/>
                    <a:pt x="151" y="140"/>
                    <a:pt x="151" y="140"/>
                  </a:cubicBezTo>
                  <a:cubicBezTo>
                    <a:pt x="146" y="140"/>
                    <a:pt x="142" y="143"/>
                    <a:pt x="141" y="147"/>
                  </a:cubicBezTo>
                  <a:cubicBezTo>
                    <a:pt x="140" y="148"/>
                    <a:pt x="140" y="149"/>
                    <a:pt x="140" y="151"/>
                  </a:cubicBezTo>
                  <a:cubicBezTo>
                    <a:pt x="140" y="151"/>
                    <a:pt x="140" y="151"/>
                    <a:pt x="140" y="151"/>
                  </a:cubicBezTo>
                  <a:cubicBezTo>
                    <a:pt x="140" y="204"/>
                    <a:pt x="140" y="204"/>
                    <a:pt x="140" y="204"/>
                  </a:cubicBezTo>
                  <a:cubicBezTo>
                    <a:pt x="140" y="210"/>
                    <a:pt x="145" y="215"/>
                    <a:pt x="151" y="215"/>
                  </a:cubicBezTo>
                  <a:cubicBezTo>
                    <a:pt x="157" y="215"/>
                    <a:pt x="161" y="210"/>
                    <a:pt x="161" y="204"/>
                  </a:cubicBezTo>
                  <a:cubicBezTo>
                    <a:pt x="161" y="176"/>
                    <a:pt x="161" y="176"/>
                    <a:pt x="161" y="176"/>
                  </a:cubicBezTo>
                  <a:cubicBezTo>
                    <a:pt x="218" y="233"/>
                    <a:pt x="218" y="233"/>
                    <a:pt x="218" y="233"/>
                  </a:cubicBezTo>
                  <a:cubicBezTo>
                    <a:pt x="220" y="235"/>
                    <a:pt x="223" y="236"/>
                    <a:pt x="225" y="236"/>
                  </a:cubicBezTo>
                  <a:cubicBezTo>
                    <a:pt x="228" y="236"/>
                    <a:pt x="231" y="235"/>
                    <a:pt x="233" y="233"/>
                  </a:cubicBezTo>
                  <a:cubicBezTo>
                    <a:pt x="237" y="229"/>
                    <a:pt x="237" y="222"/>
                    <a:pt x="233" y="218"/>
                  </a:cubicBezTo>
                  <a:lnTo>
                    <a:pt x="176" y="161"/>
                  </a:lnTo>
                  <a:close/>
                  <a:moveTo>
                    <a:pt x="87" y="23"/>
                  </a:moveTo>
                  <a:cubicBezTo>
                    <a:pt x="81" y="23"/>
                    <a:pt x="76" y="27"/>
                    <a:pt x="76" y="33"/>
                  </a:cubicBezTo>
                  <a:cubicBezTo>
                    <a:pt x="76" y="61"/>
                    <a:pt x="76" y="61"/>
                    <a:pt x="76" y="61"/>
                  </a:cubicBezTo>
                  <a:cubicBezTo>
                    <a:pt x="20" y="4"/>
                    <a:pt x="20" y="4"/>
                    <a:pt x="20" y="4"/>
                  </a:cubicBezTo>
                  <a:cubicBezTo>
                    <a:pt x="15" y="0"/>
                    <a:pt x="9" y="0"/>
                    <a:pt x="4" y="4"/>
                  </a:cubicBezTo>
                  <a:cubicBezTo>
                    <a:pt x="0" y="9"/>
                    <a:pt x="0" y="15"/>
                    <a:pt x="4" y="20"/>
                  </a:cubicBezTo>
                  <a:cubicBezTo>
                    <a:pt x="61" y="76"/>
                    <a:pt x="61" y="76"/>
                    <a:pt x="61" y="76"/>
                  </a:cubicBezTo>
                  <a:cubicBezTo>
                    <a:pt x="33" y="76"/>
                    <a:pt x="33" y="76"/>
                    <a:pt x="33" y="76"/>
                  </a:cubicBezTo>
                  <a:cubicBezTo>
                    <a:pt x="27" y="76"/>
                    <a:pt x="23" y="81"/>
                    <a:pt x="23" y="87"/>
                  </a:cubicBezTo>
                  <a:cubicBezTo>
                    <a:pt x="23" y="93"/>
                    <a:pt x="27" y="97"/>
                    <a:pt x="33" y="97"/>
                  </a:cubicBezTo>
                  <a:cubicBezTo>
                    <a:pt x="87" y="97"/>
                    <a:pt x="87" y="97"/>
                    <a:pt x="87" y="97"/>
                  </a:cubicBezTo>
                  <a:cubicBezTo>
                    <a:pt x="88" y="97"/>
                    <a:pt x="89" y="97"/>
                    <a:pt x="91" y="97"/>
                  </a:cubicBezTo>
                  <a:cubicBezTo>
                    <a:pt x="95" y="95"/>
                    <a:pt x="97" y="91"/>
                    <a:pt x="97" y="87"/>
                  </a:cubicBezTo>
                  <a:cubicBezTo>
                    <a:pt x="97" y="33"/>
                    <a:pt x="97" y="33"/>
                    <a:pt x="97" y="33"/>
                  </a:cubicBezTo>
                  <a:cubicBezTo>
                    <a:pt x="97" y="27"/>
                    <a:pt x="93" y="23"/>
                    <a:pt x="87" y="23"/>
                  </a:cubicBezTo>
                  <a:close/>
                </a:path>
              </a:pathLst>
            </a:custGeom>
            <a:solidFill>
              <a:schemeClr val="tx1">
                <a:lumMod val="75000"/>
                <a:lumOff val="2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34" name="Group 33">
              <a:extLst>
                <a:ext uri="{FF2B5EF4-FFF2-40B4-BE49-F238E27FC236}">
                  <a16:creationId xmlns:a16="http://schemas.microsoft.com/office/drawing/2014/main" id="{53C6C342-D4A8-4FFD-98E2-E10214DF2A2D}"/>
                </a:ext>
              </a:extLst>
            </p:cNvPr>
            <p:cNvGrpSpPr/>
            <p:nvPr/>
          </p:nvGrpSpPr>
          <p:grpSpPr>
            <a:xfrm>
              <a:off x="10261600" y="4508500"/>
              <a:ext cx="338640" cy="429483"/>
              <a:chOff x="13250360" y="1840180"/>
              <a:chExt cx="191696" cy="243120"/>
            </a:xfrm>
            <a:solidFill>
              <a:schemeClr val="tx1">
                <a:lumMod val="75000"/>
                <a:lumOff val="25000"/>
              </a:schemeClr>
            </a:solidFill>
          </p:grpSpPr>
          <p:sp>
            <p:nvSpPr>
              <p:cNvPr id="44" name="Freeform 677">
                <a:extLst>
                  <a:ext uri="{FF2B5EF4-FFF2-40B4-BE49-F238E27FC236}">
                    <a16:creationId xmlns:a16="http://schemas.microsoft.com/office/drawing/2014/main" id="{99585772-030A-4ECC-835D-8260F38F1149}"/>
                  </a:ext>
                </a:extLst>
              </p:cNvPr>
              <p:cNvSpPr>
                <a:spLocks noEditPoints="1"/>
              </p:cNvSpPr>
              <p:nvPr/>
            </p:nvSpPr>
            <p:spPr bwMode="auto">
              <a:xfrm>
                <a:off x="13250360" y="1840180"/>
                <a:ext cx="191696" cy="243120"/>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5" name="Freeform 678">
                <a:extLst>
                  <a:ext uri="{FF2B5EF4-FFF2-40B4-BE49-F238E27FC236}">
                    <a16:creationId xmlns:a16="http://schemas.microsoft.com/office/drawing/2014/main" id="{D1ED4E9B-C7AB-426C-B40C-6DE3318C2896}"/>
                  </a:ext>
                </a:extLst>
              </p:cNvPr>
              <p:cNvSpPr>
                <a:spLocks noEditPoints="1"/>
              </p:cNvSpPr>
              <p:nvPr/>
            </p:nvSpPr>
            <p:spPr bwMode="auto">
              <a:xfrm>
                <a:off x="13303609" y="1890107"/>
                <a:ext cx="84015" cy="77060"/>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35" name="Group 34">
              <a:extLst>
                <a:ext uri="{FF2B5EF4-FFF2-40B4-BE49-F238E27FC236}">
                  <a16:creationId xmlns:a16="http://schemas.microsoft.com/office/drawing/2014/main" id="{1FEBCD7C-7EFC-4820-A64F-11F1A42664F4}"/>
                </a:ext>
              </a:extLst>
            </p:cNvPr>
            <p:cNvGrpSpPr/>
            <p:nvPr/>
          </p:nvGrpSpPr>
          <p:grpSpPr>
            <a:xfrm>
              <a:off x="8067992" y="2512493"/>
              <a:ext cx="701928" cy="699186"/>
              <a:chOff x="4334192" y="2512493"/>
              <a:chExt cx="701928" cy="699186"/>
            </a:xfrm>
          </p:grpSpPr>
          <p:sp>
            <p:nvSpPr>
              <p:cNvPr id="39" name="Freeform 9">
                <a:extLst>
                  <a:ext uri="{FF2B5EF4-FFF2-40B4-BE49-F238E27FC236}">
                    <a16:creationId xmlns:a16="http://schemas.microsoft.com/office/drawing/2014/main" id="{EC5344A4-1B5C-448F-915D-79CBDB13044F}"/>
                  </a:ext>
                </a:extLst>
              </p:cNvPr>
              <p:cNvSpPr>
                <a:spLocks noChangeAspect="1"/>
              </p:cNvSpPr>
              <p:nvPr/>
            </p:nvSpPr>
            <p:spPr bwMode="auto">
              <a:xfrm>
                <a:off x="4334192" y="2512493"/>
                <a:ext cx="701928" cy="699186"/>
              </a:xfrm>
              <a:custGeom>
                <a:avLst/>
                <a:gdLst>
                  <a:gd name="T0" fmla="*/ 512 w 512"/>
                  <a:gd name="T1" fmla="*/ 256 h 510"/>
                  <a:gd name="T2" fmla="*/ 508 w 512"/>
                  <a:gd name="T3" fmla="*/ 204 h 510"/>
                  <a:gd name="T4" fmla="*/ 492 w 512"/>
                  <a:gd name="T5" fmla="*/ 156 h 510"/>
                  <a:gd name="T6" fmla="*/ 468 w 512"/>
                  <a:gd name="T7" fmla="*/ 112 h 510"/>
                  <a:gd name="T8" fmla="*/ 438 w 512"/>
                  <a:gd name="T9" fmla="*/ 74 h 510"/>
                  <a:gd name="T10" fmla="*/ 400 w 512"/>
                  <a:gd name="T11" fmla="*/ 44 h 510"/>
                  <a:gd name="T12" fmla="*/ 356 w 512"/>
                  <a:gd name="T13" fmla="*/ 20 h 510"/>
                  <a:gd name="T14" fmla="*/ 308 w 512"/>
                  <a:gd name="T15" fmla="*/ 4 h 510"/>
                  <a:gd name="T16" fmla="*/ 256 w 512"/>
                  <a:gd name="T17" fmla="*/ 0 h 510"/>
                  <a:gd name="T18" fmla="*/ 230 w 512"/>
                  <a:gd name="T19" fmla="*/ 0 h 510"/>
                  <a:gd name="T20" fmla="*/ 180 w 512"/>
                  <a:gd name="T21" fmla="*/ 10 h 510"/>
                  <a:gd name="T22" fmla="*/ 134 w 512"/>
                  <a:gd name="T23" fmla="*/ 30 h 510"/>
                  <a:gd name="T24" fmla="*/ 94 w 512"/>
                  <a:gd name="T25" fmla="*/ 58 h 510"/>
                  <a:gd name="T26" fmla="*/ 60 w 512"/>
                  <a:gd name="T27" fmla="*/ 92 h 510"/>
                  <a:gd name="T28" fmla="*/ 32 w 512"/>
                  <a:gd name="T29" fmla="*/ 134 h 510"/>
                  <a:gd name="T30" fmla="*/ 12 w 512"/>
                  <a:gd name="T31" fmla="*/ 180 h 510"/>
                  <a:gd name="T32" fmla="*/ 2 w 512"/>
                  <a:gd name="T33" fmla="*/ 230 h 510"/>
                  <a:gd name="T34" fmla="*/ 0 w 512"/>
                  <a:gd name="T35" fmla="*/ 256 h 510"/>
                  <a:gd name="T36" fmla="*/ 6 w 512"/>
                  <a:gd name="T37" fmla="*/ 306 h 510"/>
                  <a:gd name="T38" fmla="*/ 20 w 512"/>
                  <a:gd name="T39" fmla="*/ 354 h 510"/>
                  <a:gd name="T40" fmla="*/ 44 w 512"/>
                  <a:gd name="T41" fmla="*/ 398 h 510"/>
                  <a:gd name="T42" fmla="*/ 76 w 512"/>
                  <a:gd name="T43" fmla="*/ 436 h 510"/>
                  <a:gd name="T44" fmla="*/ 114 w 512"/>
                  <a:gd name="T45" fmla="*/ 468 h 510"/>
                  <a:gd name="T46" fmla="*/ 158 w 512"/>
                  <a:gd name="T47" fmla="*/ 490 h 510"/>
                  <a:gd name="T48" fmla="*/ 206 w 512"/>
                  <a:gd name="T49" fmla="*/ 506 h 510"/>
                  <a:gd name="T50" fmla="*/ 256 w 512"/>
                  <a:gd name="T51" fmla="*/ 510 h 510"/>
                  <a:gd name="T52" fmla="*/ 282 w 512"/>
                  <a:gd name="T53" fmla="*/ 510 h 510"/>
                  <a:gd name="T54" fmla="*/ 332 w 512"/>
                  <a:gd name="T55" fmla="*/ 500 h 510"/>
                  <a:gd name="T56" fmla="*/ 378 w 512"/>
                  <a:gd name="T57" fmla="*/ 480 h 510"/>
                  <a:gd name="T58" fmla="*/ 420 w 512"/>
                  <a:gd name="T59" fmla="*/ 452 h 510"/>
                  <a:gd name="T60" fmla="*/ 454 w 512"/>
                  <a:gd name="T61" fmla="*/ 418 h 510"/>
                  <a:gd name="T62" fmla="*/ 482 w 512"/>
                  <a:gd name="T63" fmla="*/ 378 h 510"/>
                  <a:gd name="T64" fmla="*/ 500 w 512"/>
                  <a:gd name="T65" fmla="*/ 332 h 510"/>
                  <a:gd name="T66" fmla="*/ 512 w 512"/>
                  <a:gd name="T67" fmla="*/ 282 h 510"/>
                  <a:gd name="T68" fmla="*/ 512 w 512"/>
                  <a:gd name="T69" fmla="*/ 256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0">
                    <a:moveTo>
                      <a:pt x="512" y="256"/>
                    </a:moveTo>
                    <a:lnTo>
                      <a:pt x="512" y="256"/>
                    </a:lnTo>
                    <a:lnTo>
                      <a:pt x="512" y="230"/>
                    </a:lnTo>
                    <a:lnTo>
                      <a:pt x="508" y="204"/>
                    </a:lnTo>
                    <a:lnTo>
                      <a:pt x="500" y="180"/>
                    </a:lnTo>
                    <a:lnTo>
                      <a:pt x="492" y="156"/>
                    </a:lnTo>
                    <a:lnTo>
                      <a:pt x="482" y="134"/>
                    </a:lnTo>
                    <a:lnTo>
                      <a:pt x="468" y="112"/>
                    </a:lnTo>
                    <a:lnTo>
                      <a:pt x="454" y="92"/>
                    </a:lnTo>
                    <a:lnTo>
                      <a:pt x="438" y="74"/>
                    </a:lnTo>
                    <a:lnTo>
                      <a:pt x="420" y="58"/>
                    </a:lnTo>
                    <a:lnTo>
                      <a:pt x="400" y="44"/>
                    </a:lnTo>
                    <a:lnTo>
                      <a:pt x="378" y="30"/>
                    </a:lnTo>
                    <a:lnTo>
                      <a:pt x="356" y="20"/>
                    </a:lnTo>
                    <a:lnTo>
                      <a:pt x="332" y="10"/>
                    </a:lnTo>
                    <a:lnTo>
                      <a:pt x="308" y="4"/>
                    </a:lnTo>
                    <a:lnTo>
                      <a:pt x="282" y="0"/>
                    </a:lnTo>
                    <a:lnTo>
                      <a:pt x="256" y="0"/>
                    </a:lnTo>
                    <a:lnTo>
                      <a:pt x="256" y="0"/>
                    </a:lnTo>
                    <a:lnTo>
                      <a:pt x="230" y="0"/>
                    </a:lnTo>
                    <a:lnTo>
                      <a:pt x="206" y="4"/>
                    </a:lnTo>
                    <a:lnTo>
                      <a:pt x="180" y="10"/>
                    </a:lnTo>
                    <a:lnTo>
                      <a:pt x="158" y="20"/>
                    </a:lnTo>
                    <a:lnTo>
                      <a:pt x="134" y="30"/>
                    </a:lnTo>
                    <a:lnTo>
                      <a:pt x="114" y="44"/>
                    </a:lnTo>
                    <a:lnTo>
                      <a:pt x="94" y="58"/>
                    </a:lnTo>
                    <a:lnTo>
                      <a:pt x="76" y="74"/>
                    </a:lnTo>
                    <a:lnTo>
                      <a:pt x="60" y="92"/>
                    </a:lnTo>
                    <a:lnTo>
                      <a:pt x="44" y="112"/>
                    </a:lnTo>
                    <a:lnTo>
                      <a:pt x="32" y="134"/>
                    </a:lnTo>
                    <a:lnTo>
                      <a:pt x="20" y="156"/>
                    </a:lnTo>
                    <a:lnTo>
                      <a:pt x="12" y="180"/>
                    </a:lnTo>
                    <a:lnTo>
                      <a:pt x="6" y="204"/>
                    </a:lnTo>
                    <a:lnTo>
                      <a:pt x="2" y="230"/>
                    </a:lnTo>
                    <a:lnTo>
                      <a:pt x="0" y="256"/>
                    </a:lnTo>
                    <a:lnTo>
                      <a:pt x="0" y="256"/>
                    </a:lnTo>
                    <a:lnTo>
                      <a:pt x="2" y="282"/>
                    </a:lnTo>
                    <a:lnTo>
                      <a:pt x="6" y="306"/>
                    </a:lnTo>
                    <a:lnTo>
                      <a:pt x="12" y="332"/>
                    </a:lnTo>
                    <a:lnTo>
                      <a:pt x="20" y="354"/>
                    </a:lnTo>
                    <a:lnTo>
                      <a:pt x="32" y="378"/>
                    </a:lnTo>
                    <a:lnTo>
                      <a:pt x="44" y="398"/>
                    </a:lnTo>
                    <a:lnTo>
                      <a:pt x="60" y="418"/>
                    </a:lnTo>
                    <a:lnTo>
                      <a:pt x="76" y="436"/>
                    </a:lnTo>
                    <a:lnTo>
                      <a:pt x="94" y="452"/>
                    </a:lnTo>
                    <a:lnTo>
                      <a:pt x="114" y="468"/>
                    </a:lnTo>
                    <a:lnTo>
                      <a:pt x="134" y="480"/>
                    </a:lnTo>
                    <a:lnTo>
                      <a:pt x="158" y="490"/>
                    </a:lnTo>
                    <a:lnTo>
                      <a:pt x="180" y="500"/>
                    </a:lnTo>
                    <a:lnTo>
                      <a:pt x="206" y="506"/>
                    </a:lnTo>
                    <a:lnTo>
                      <a:pt x="230" y="510"/>
                    </a:lnTo>
                    <a:lnTo>
                      <a:pt x="256" y="510"/>
                    </a:lnTo>
                    <a:lnTo>
                      <a:pt x="256" y="510"/>
                    </a:lnTo>
                    <a:lnTo>
                      <a:pt x="282" y="510"/>
                    </a:lnTo>
                    <a:lnTo>
                      <a:pt x="308" y="506"/>
                    </a:lnTo>
                    <a:lnTo>
                      <a:pt x="332" y="500"/>
                    </a:lnTo>
                    <a:lnTo>
                      <a:pt x="356" y="490"/>
                    </a:lnTo>
                    <a:lnTo>
                      <a:pt x="378" y="480"/>
                    </a:lnTo>
                    <a:lnTo>
                      <a:pt x="400" y="468"/>
                    </a:lnTo>
                    <a:lnTo>
                      <a:pt x="420" y="452"/>
                    </a:lnTo>
                    <a:lnTo>
                      <a:pt x="438" y="436"/>
                    </a:lnTo>
                    <a:lnTo>
                      <a:pt x="454" y="418"/>
                    </a:lnTo>
                    <a:lnTo>
                      <a:pt x="468" y="398"/>
                    </a:lnTo>
                    <a:lnTo>
                      <a:pt x="482" y="378"/>
                    </a:lnTo>
                    <a:lnTo>
                      <a:pt x="492" y="354"/>
                    </a:lnTo>
                    <a:lnTo>
                      <a:pt x="500" y="332"/>
                    </a:lnTo>
                    <a:lnTo>
                      <a:pt x="508" y="306"/>
                    </a:lnTo>
                    <a:lnTo>
                      <a:pt x="512" y="282"/>
                    </a:lnTo>
                    <a:lnTo>
                      <a:pt x="512" y="256"/>
                    </a:lnTo>
                    <a:lnTo>
                      <a:pt x="512" y="256"/>
                    </a:lnTo>
                    <a:close/>
                  </a:path>
                </a:pathLst>
              </a:cu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40" name="Group 39">
                <a:extLst>
                  <a:ext uri="{FF2B5EF4-FFF2-40B4-BE49-F238E27FC236}">
                    <a16:creationId xmlns:a16="http://schemas.microsoft.com/office/drawing/2014/main" id="{DA378C74-2973-47EB-AAC2-11ACE10CB0DE}"/>
                  </a:ext>
                </a:extLst>
              </p:cNvPr>
              <p:cNvGrpSpPr/>
              <p:nvPr/>
            </p:nvGrpSpPr>
            <p:grpSpPr>
              <a:xfrm>
                <a:off x="4493308" y="2659659"/>
                <a:ext cx="397389" cy="372428"/>
                <a:chOff x="4429808" y="2583459"/>
                <a:chExt cx="397389" cy="372428"/>
              </a:xfrm>
              <a:solidFill>
                <a:schemeClr val="tx1">
                  <a:lumMod val="75000"/>
                  <a:lumOff val="25000"/>
                </a:schemeClr>
              </a:solidFill>
            </p:grpSpPr>
            <p:sp>
              <p:nvSpPr>
                <p:cNvPr id="41" name="Freeform 5">
                  <a:extLst>
                    <a:ext uri="{FF2B5EF4-FFF2-40B4-BE49-F238E27FC236}">
                      <a16:creationId xmlns:a16="http://schemas.microsoft.com/office/drawing/2014/main" id="{43705F3D-7119-455F-9308-DFA96A5C12D7}"/>
                    </a:ext>
                  </a:extLst>
                </p:cNvPr>
                <p:cNvSpPr>
                  <a:spLocks noEditPoints="1"/>
                </p:cNvSpPr>
                <p:nvPr/>
              </p:nvSpPr>
              <p:spPr bwMode="auto">
                <a:xfrm>
                  <a:off x="4504794" y="2583459"/>
                  <a:ext cx="247472" cy="247474"/>
                </a:xfrm>
                <a:custGeom>
                  <a:avLst/>
                  <a:gdLst>
                    <a:gd name="T0" fmla="*/ 2304 w 5598"/>
                    <a:gd name="T1" fmla="*/ 5553 h 5597"/>
                    <a:gd name="T2" fmla="*/ 1711 w 5598"/>
                    <a:gd name="T3" fmla="*/ 5376 h 5597"/>
                    <a:gd name="T4" fmla="*/ 1180 w 5598"/>
                    <a:gd name="T5" fmla="*/ 5079 h 5597"/>
                    <a:gd name="T6" fmla="*/ 729 w 5598"/>
                    <a:gd name="T7" fmla="*/ 4678 h 5597"/>
                    <a:gd name="T8" fmla="*/ 372 w 5598"/>
                    <a:gd name="T9" fmla="*/ 4190 h 5597"/>
                    <a:gd name="T10" fmla="*/ 127 w 5598"/>
                    <a:gd name="T11" fmla="*/ 3629 h 5597"/>
                    <a:gd name="T12" fmla="*/ 9 w 5598"/>
                    <a:gd name="T13" fmla="*/ 3012 h 5597"/>
                    <a:gd name="T14" fmla="*/ 23 w 5598"/>
                    <a:gd name="T15" fmla="*/ 2441 h 5597"/>
                    <a:gd name="T16" fmla="*/ 171 w 5598"/>
                    <a:gd name="T17" fmla="*/ 1837 h 5597"/>
                    <a:gd name="T18" fmla="*/ 443 w 5598"/>
                    <a:gd name="T19" fmla="*/ 1290 h 5597"/>
                    <a:gd name="T20" fmla="*/ 822 w 5598"/>
                    <a:gd name="T21" fmla="*/ 820 h 5597"/>
                    <a:gd name="T22" fmla="*/ 1292 w 5598"/>
                    <a:gd name="T23" fmla="*/ 441 h 5597"/>
                    <a:gd name="T24" fmla="*/ 1838 w 5598"/>
                    <a:gd name="T25" fmla="*/ 169 h 5597"/>
                    <a:gd name="T26" fmla="*/ 2443 w 5598"/>
                    <a:gd name="T27" fmla="*/ 22 h 5597"/>
                    <a:gd name="T28" fmla="*/ 3014 w 5598"/>
                    <a:gd name="T29" fmla="*/ 8 h 5597"/>
                    <a:gd name="T30" fmla="*/ 3630 w 5598"/>
                    <a:gd name="T31" fmla="*/ 125 h 5597"/>
                    <a:gd name="T32" fmla="*/ 4191 w 5598"/>
                    <a:gd name="T33" fmla="*/ 370 h 5597"/>
                    <a:gd name="T34" fmla="*/ 4680 w 5598"/>
                    <a:gd name="T35" fmla="*/ 728 h 5597"/>
                    <a:gd name="T36" fmla="*/ 5081 w 5598"/>
                    <a:gd name="T37" fmla="*/ 1179 h 5597"/>
                    <a:gd name="T38" fmla="*/ 5378 w 5598"/>
                    <a:gd name="T39" fmla="*/ 1709 h 5597"/>
                    <a:gd name="T40" fmla="*/ 5554 w 5598"/>
                    <a:gd name="T41" fmla="*/ 2303 h 5597"/>
                    <a:gd name="T42" fmla="*/ 5597 w 5598"/>
                    <a:gd name="T43" fmla="*/ 2870 h 5597"/>
                    <a:gd name="T44" fmla="*/ 5510 w 5598"/>
                    <a:gd name="T45" fmla="*/ 3496 h 5597"/>
                    <a:gd name="T46" fmla="*/ 5291 w 5598"/>
                    <a:gd name="T47" fmla="*/ 4070 h 5597"/>
                    <a:gd name="T48" fmla="*/ 4958 w 5598"/>
                    <a:gd name="T49" fmla="*/ 4576 h 5597"/>
                    <a:gd name="T50" fmla="*/ 4526 w 5598"/>
                    <a:gd name="T51" fmla="*/ 4999 h 5597"/>
                    <a:gd name="T52" fmla="*/ 4012 w 5598"/>
                    <a:gd name="T53" fmla="*/ 5320 h 5597"/>
                    <a:gd name="T54" fmla="*/ 3430 w 5598"/>
                    <a:gd name="T55" fmla="*/ 5524 h 5597"/>
                    <a:gd name="T56" fmla="*/ 2800 w 5598"/>
                    <a:gd name="T57" fmla="*/ 5597 h 5597"/>
                    <a:gd name="T58" fmla="*/ 2452 w 5598"/>
                    <a:gd name="T59" fmla="*/ 537 h 5597"/>
                    <a:gd name="T60" fmla="*/ 1962 w 5598"/>
                    <a:gd name="T61" fmla="*/ 670 h 5597"/>
                    <a:gd name="T62" fmla="*/ 1522 w 5598"/>
                    <a:gd name="T63" fmla="*/ 903 h 5597"/>
                    <a:gd name="T64" fmla="*/ 1144 w 5598"/>
                    <a:gd name="T65" fmla="*/ 1221 h 5597"/>
                    <a:gd name="T66" fmla="*/ 844 w 5598"/>
                    <a:gd name="T67" fmla="*/ 1613 h 5597"/>
                    <a:gd name="T68" fmla="*/ 633 w 5598"/>
                    <a:gd name="T69" fmla="*/ 2065 h 5597"/>
                    <a:gd name="T70" fmla="*/ 524 w 5598"/>
                    <a:gd name="T71" fmla="*/ 2564 h 5597"/>
                    <a:gd name="T72" fmla="*/ 524 w 5598"/>
                    <a:gd name="T73" fmla="*/ 3031 h 5597"/>
                    <a:gd name="T74" fmla="*/ 633 w 5598"/>
                    <a:gd name="T75" fmla="*/ 3531 h 5597"/>
                    <a:gd name="T76" fmla="*/ 844 w 5598"/>
                    <a:gd name="T77" fmla="*/ 3982 h 5597"/>
                    <a:gd name="T78" fmla="*/ 1144 w 5598"/>
                    <a:gd name="T79" fmla="*/ 4375 h 5597"/>
                    <a:gd name="T80" fmla="*/ 1522 w 5598"/>
                    <a:gd name="T81" fmla="*/ 4694 h 5597"/>
                    <a:gd name="T82" fmla="*/ 1962 w 5598"/>
                    <a:gd name="T83" fmla="*/ 4926 h 5597"/>
                    <a:gd name="T84" fmla="*/ 2452 w 5598"/>
                    <a:gd name="T85" fmla="*/ 5058 h 5597"/>
                    <a:gd name="T86" fmla="*/ 2917 w 5598"/>
                    <a:gd name="T87" fmla="*/ 5081 h 5597"/>
                    <a:gd name="T88" fmla="*/ 3425 w 5598"/>
                    <a:gd name="T89" fmla="*/ 4998 h 5597"/>
                    <a:gd name="T90" fmla="*/ 3888 w 5598"/>
                    <a:gd name="T91" fmla="*/ 4808 h 5597"/>
                    <a:gd name="T92" fmla="*/ 4296 w 5598"/>
                    <a:gd name="T93" fmla="*/ 4526 h 5597"/>
                    <a:gd name="T94" fmla="*/ 4632 w 5598"/>
                    <a:gd name="T95" fmla="*/ 4165 h 5597"/>
                    <a:gd name="T96" fmla="*/ 4884 w 5598"/>
                    <a:gd name="T97" fmla="*/ 3738 h 5597"/>
                    <a:gd name="T98" fmla="*/ 5039 w 5598"/>
                    <a:gd name="T99" fmla="*/ 3259 h 5597"/>
                    <a:gd name="T100" fmla="*/ 5086 w 5598"/>
                    <a:gd name="T101" fmla="*/ 2798 h 5597"/>
                    <a:gd name="T102" fmla="*/ 5028 w 5598"/>
                    <a:gd name="T103" fmla="*/ 2282 h 5597"/>
                    <a:gd name="T104" fmla="*/ 4860 w 5598"/>
                    <a:gd name="T105" fmla="*/ 1808 h 5597"/>
                    <a:gd name="T106" fmla="*/ 4598 w 5598"/>
                    <a:gd name="T107" fmla="*/ 1387 h 5597"/>
                    <a:gd name="T108" fmla="*/ 4254 w 5598"/>
                    <a:gd name="T109" fmla="*/ 1033 h 5597"/>
                    <a:gd name="T110" fmla="*/ 3840 w 5598"/>
                    <a:gd name="T111" fmla="*/ 761 h 5597"/>
                    <a:gd name="T112" fmla="*/ 3371 w 5598"/>
                    <a:gd name="T113" fmla="*/ 583 h 5597"/>
                    <a:gd name="T114" fmla="*/ 2858 w 5598"/>
                    <a:gd name="T115" fmla="*/ 512 h 5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98" h="5597">
                      <a:moveTo>
                        <a:pt x="2800" y="5597"/>
                      </a:moveTo>
                      <a:lnTo>
                        <a:pt x="2800" y="5597"/>
                      </a:lnTo>
                      <a:lnTo>
                        <a:pt x="2727" y="5596"/>
                      </a:lnTo>
                      <a:lnTo>
                        <a:pt x="2656" y="5593"/>
                      </a:lnTo>
                      <a:lnTo>
                        <a:pt x="2585" y="5588"/>
                      </a:lnTo>
                      <a:lnTo>
                        <a:pt x="2514" y="5582"/>
                      </a:lnTo>
                      <a:lnTo>
                        <a:pt x="2443" y="5574"/>
                      </a:lnTo>
                      <a:lnTo>
                        <a:pt x="2373" y="5564"/>
                      </a:lnTo>
                      <a:lnTo>
                        <a:pt x="2304" y="5553"/>
                      </a:lnTo>
                      <a:lnTo>
                        <a:pt x="2236" y="5539"/>
                      </a:lnTo>
                      <a:lnTo>
                        <a:pt x="2168" y="5524"/>
                      </a:lnTo>
                      <a:lnTo>
                        <a:pt x="2101" y="5508"/>
                      </a:lnTo>
                      <a:lnTo>
                        <a:pt x="2034" y="5490"/>
                      </a:lnTo>
                      <a:lnTo>
                        <a:pt x="1968" y="5470"/>
                      </a:lnTo>
                      <a:lnTo>
                        <a:pt x="1903" y="5449"/>
                      </a:lnTo>
                      <a:lnTo>
                        <a:pt x="1838" y="5426"/>
                      </a:lnTo>
                      <a:lnTo>
                        <a:pt x="1774" y="5402"/>
                      </a:lnTo>
                      <a:lnTo>
                        <a:pt x="1711" y="5376"/>
                      </a:lnTo>
                      <a:lnTo>
                        <a:pt x="1648" y="5348"/>
                      </a:lnTo>
                      <a:lnTo>
                        <a:pt x="1588" y="5320"/>
                      </a:lnTo>
                      <a:lnTo>
                        <a:pt x="1527" y="5290"/>
                      </a:lnTo>
                      <a:lnTo>
                        <a:pt x="1466" y="5258"/>
                      </a:lnTo>
                      <a:lnTo>
                        <a:pt x="1407" y="5225"/>
                      </a:lnTo>
                      <a:lnTo>
                        <a:pt x="1350" y="5190"/>
                      </a:lnTo>
                      <a:lnTo>
                        <a:pt x="1292" y="5155"/>
                      </a:lnTo>
                      <a:lnTo>
                        <a:pt x="1236" y="5118"/>
                      </a:lnTo>
                      <a:lnTo>
                        <a:pt x="1180" y="5079"/>
                      </a:lnTo>
                      <a:lnTo>
                        <a:pt x="1126" y="5039"/>
                      </a:lnTo>
                      <a:lnTo>
                        <a:pt x="1072" y="4999"/>
                      </a:lnTo>
                      <a:lnTo>
                        <a:pt x="1020" y="4957"/>
                      </a:lnTo>
                      <a:lnTo>
                        <a:pt x="969" y="4913"/>
                      </a:lnTo>
                      <a:lnTo>
                        <a:pt x="919" y="4869"/>
                      </a:lnTo>
                      <a:lnTo>
                        <a:pt x="870" y="4823"/>
                      </a:lnTo>
                      <a:lnTo>
                        <a:pt x="822" y="4775"/>
                      </a:lnTo>
                      <a:lnTo>
                        <a:pt x="775" y="4727"/>
                      </a:lnTo>
                      <a:lnTo>
                        <a:pt x="729" y="4678"/>
                      </a:lnTo>
                      <a:lnTo>
                        <a:pt x="685" y="4628"/>
                      </a:lnTo>
                      <a:lnTo>
                        <a:pt x="641" y="4576"/>
                      </a:lnTo>
                      <a:lnTo>
                        <a:pt x="599" y="4524"/>
                      </a:lnTo>
                      <a:lnTo>
                        <a:pt x="558" y="4472"/>
                      </a:lnTo>
                      <a:lnTo>
                        <a:pt x="518" y="4417"/>
                      </a:lnTo>
                      <a:lnTo>
                        <a:pt x="479" y="4362"/>
                      </a:lnTo>
                      <a:lnTo>
                        <a:pt x="443" y="4305"/>
                      </a:lnTo>
                      <a:lnTo>
                        <a:pt x="407" y="4247"/>
                      </a:lnTo>
                      <a:lnTo>
                        <a:pt x="372" y="4190"/>
                      </a:lnTo>
                      <a:lnTo>
                        <a:pt x="339" y="4130"/>
                      </a:lnTo>
                      <a:lnTo>
                        <a:pt x="307" y="4070"/>
                      </a:lnTo>
                      <a:lnTo>
                        <a:pt x="277" y="4010"/>
                      </a:lnTo>
                      <a:lnTo>
                        <a:pt x="249" y="3949"/>
                      </a:lnTo>
                      <a:lnTo>
                        <a:pt x="221" y="3886"/>
                      </a:lnTo>
                      <a:lnTo>
                        <a:pt x="195" y="3823"/>
                      </a:lnTo>
                      <a:lnTo>
                        <a:pt x="171" y="3759"/>
                      </a:lnTo>
                      <a:lnTo>
                        <a:pt x="148" y="3694"/>
                      </a:lnTo>
                      <a:lnTo>
                        <a:pt x="127" y="3629"/>
                      </a:lnTo>
                      <a:lnTo>
                        <a:pt x="107" y="3563"/>
                      </a:lnTo>
                      <a:lnTo>
                        <a:pt x="89" y="3496"/>
                      </a:lnTo>
                      <a:lnTo>
                        <a:pt x="73" y="3429"/>
                      </a:lnTo>
                      <a:lnTo>
                        <a:pt x="58" y="3361"/>
                      </a:lnTo>
                      <a:lnTo>
                        <a:pt x="44" y="3292"/>
                      </a:lnTo>
                      <a:lnTo>
                        <a:pt x="33" y="3223"/>
                      </a:lnTo>
                      <a:lnTo>
                        <a:pt x="23" y="3154"/>
                      </a:lnTo>
                      <a:lnTo>
                        <a:pt x="15" y="3084"/>
                      </a:lnTo>
                      <a:lnTo>
                        <a:pt x="9" y="3012"/>
                      </a:lnTo>
                      <a:lnTo>
                        <a:pt x="5" y="2941"/>
                      </a:lnTo>
                      <a:lnTo>
                        <a:pt x="1" y="2870"/>
                      </a:lnTo>
                      <a:lnTo>
                        <a:pt x="0" y="2798"/>
                      </a:lnTo>
                      <a:lnTo>
                        <a:pt x="0" y="2798"/>
                      </a:lnTo>
                      <a:lnTo>
                        <a:pt x="1" y="2725"/>
                      </a:lnTo>
                      <a:lnTo>
                        <a:pt x="5" y="2654"/>
                      </a:lnTo>
                      <a:lnTo>
                        <a:pt x="9" y="2583"/>
                      </a:lnTo>
                      <a:lnTo>
                        <a:pt x="15" y="2512"/>
                      </a:lnTo>
                      <a:lnTo>
                        <a:pt x="23" y="2441"/>
                      </a:lnTo>
                      <a:lnTo>
                        <a:pt x="33" y="2372"/>
                      </a:lnTo>
                      <a:lnTo>
                        <a:pt x="44" y="2303"/>
                      </a:lnTo>
                      <a:lnTo>
                        <a:pt x="58" y="2234"/>
                      </a:lnTo>
                      <a:lnTo>
                        <a:pt x="73" y="2167"/>
                      </a:lnTo>
                      <a:lnTo>
                        <a:pt x="89" y="2099"/>
                      </a:lnTo>
                      <a:lnTo>
                        <a:pt x="107" y="2033"/>
                      </a:lnTo>
                      <a:lnTo>
                        <a:pt x="127" y="1967"/>
                      </a:lnTo>
                      <a:lnTo>
                        <a:pt x="148" y="1901"/>
                      </a:lnTo>
                      <a:lnTo>
                        <a:pt x="171" y="1837"/>
                      </a:lnTo>
                      <a:lnTo>
                        <a:pt x="195" y="1773"/>
                      </a:lnTo>
                      <a:lnTo>
                        <a:pt x="221" y="1709"/>
                      </a:lnTo>
                      <a:lnTo>
                        <a:pt x="249" y="1647"/>
                      </a:lnTo>
                      <a:lnTo>
                        <a:pt x="277" y="1586"/>
                      </a:lnTo>
                      <a:lnTo>
                        <a:pt x="307" y="1525"/>
                      </a:lnTo>
                      <a:lnTo>
                        <a:pt x="339" y="1465"/>
                      </a:lnTo>
                      <a:lnTo>
                        <a:pt x="372" y="1406"/>
                      </a:lnTo>
                      <a:lnTo>
                        <a:pt x="407" y="1348"/>
                      </a:lnTo>
                      <a:lnTo>
                        <a:pt x="443" y="1290"/>
                      </a:lnTo>
                      <a:lnTo>
                        <a:pt x="479" y="1235"/>
                      </a:lnTo>
                      <a:lnTo>
                        <a:pt x="518" y="1179"/>
                      </a:lnTo>
                      <a:lnTo>
                        <a:pt x="558" y="1125"/>
                      </a:lnTo>
                      <a:lnTo>
                        <a:pt x="599" y="1071"/>
                      </a:lnTo>
                      <a:lnTo>
                        <a:pt x="641" y="1019"/>
                      </a:lnTo>
                      <a:lnTo>
                        <a:pt x="685" y="967"/>
                      </a:lnTo>
                      <a:lnTo>
                        <a:pt x="729" y="917"/>
                      </a:lnTo>
                      <a:lnTo>
                        <a:pt x="775" y="868"/>
                      </a:lnTo>
                      <a:lnTo>
                        <a:pt x="822" y="820"/>
                      </a:lnTo>
                      <a:lnTo>
                        <a:pt x="870" y="773"/>
                      </a:lnTo>
                      <a:lnTo>
                        <a:pt x="919" y="728"/>
                      </a:lnTo>
                      <a:lnTo>
                        <a:pt x="969" y="683"/>
                      </a:lnTo>
                      <a:lnTo>
                        <a:pt x="1020" y="640"/>
                      </a:lnTo>
                      <a:lnTo>
                        <a:pt x="1072" y="597"/>
                      </a:lnTo>
                      <a:lnTo>
                        <a:pt x="1126" y="556"/>
                      </a:lnTo>
                      <a:lnTo>
                        <a:pt x="1180" y="516"/>
                      </a:lnTo>
                      <a:lnTo>
                        <a:pt x="1236" y="478"/>
                      </a:lnTo>
                      <a:lnTo>
                        <a:pt x="1292" y="441"/>
                      </a:lnTo>
                      <a:lnTo>
                        <a:pt x="1350" y="405"/>
                      </a:lnTo>
                      <a:lnTo>
                        <a:pt x="1407" y="370"/>
                      </a:lnTo>
                      <a:lnTo>
                        <a:pt x="1466" y="338"/>
                      </a:lnTo>
                      <a:lnTo>
                        <a:pt x="1527" y="306"/>
                      </a:lnTo>
                      <a:lnTo>
                        <a:pt x="1588" y="276"/>
                      </a:lnTo>
                      <a:lnTo>
                        <a:pt x="1648" y="247"/>
                      </a:lnTo>
                      <a:lnTo>
                        <a:pt x="1711" y="220"/>
                      </a:lnTo>
                      <a:lnTo>
                        <a:pt x="1774" y="193"/>
                      </a:lnTo>
                      <a:lnTo>
                        <a:pt x="1838" y="169"/>
                      </a:lnTo>
                      <a:lnTo>
                        <a:pt x="1903" y="146"/>
                      </a:lnTo>
                      <a:lnTo>
                        <a:pt x="1968" y="125"/>
                      </a:lnTo>
                      <a:lnTo>
                        <a:pt x="2034" y="105"/>
                      </a:lnTo>
                      <a:lnTo>
                        <a:pt x="2101" y="88"/>
                      </a:lnTo>
                      <a:lnTo>
                        <a:pt x="2168" y="71"/>
                      </a:lnTo>
                      <a:lnTo>
                        <a:pt x="2236" y="56"/>
                      </a:lnTo>
                      <a:lnTo>
                        <a:pt x="2304" y="44"/>
                      </a:lnTo>
                      <a:lnTo>
                        <a:pt x="2373" y="32"/>
                      </a:lnTo>
                      <a:lnTo>
                        <a:pt x="2443" y="22"/>
                      </a:lnTo>
                      <a:lnTo>
                        <a:pt x="2514" y="14"/>
                      </a:lnTo>
                      <a:lnTo>
                        <a:pt x="2585" y="8"/>
                      </a:lnTo>
                      <a:lnTo>
                        <a:pt x="2656" y="3"/>
                      </a:lnTo>
                      <a:lnTo>
                        <a:pt x="2727" y="1"/>
                      </a:lnTo>
                      <a:lnTo>
                        <a:pt x="2800" y="0"/>
                      </a:lnTo>
                      <a:lnTo>
                        <a:pt x="2800" y="0"/>
                      </a:lnTo>
                      <a:lnTo>
                        <a:pt x="2872" y="1"/>
                      </a:lnTo>
                      <a:lnTo>
                        <a:pt x="2943" y="3"/>
                      </a:lnTo>
                      <a:lnTo>
                        <a:pt x="3014" y="8"/>
                      </a:lnTo>
                      <a:lnTo>
                        <a:pt x="3086" y="14"/>
                      </a:lnTo>
                      <a:lnTo>
                        <a:pt x="3156" y="22"/>
                      </a:lnTo>
                      <a:lnTo>
                        <a:pt x="3225" y="32"/>
                      </a:lnTo>
                      <a:lnTo>
                        <a:pt x="3294" y="44"/>
                      </a:lnTo>
                      <a:lnTo>
                        <a:pt x="3362" y="56"/>
                      </a:lnTo>
                      <a:lnTo>
                        <a:pt x="3430" y="71"/>
                      </a:lnTo>
                      <a:lnTo>
                        <a:pt x="3498" y="88"/>
                      </a:lnTo>
                      <a:lnTo>
                        <a:pt x="3564" y="105"/>
                      </a:lnTo>
                      <a:lnTo>
                        <a:pt x="3630" y="125"/>
                      </a:lnTo>
                      <a:lnTo>
                        <a:pt x="3696" y="146"/>
                      </a:lnTo>
                      <a:lnTo>
                        <a:pt x="3760" y="169"/>
                      </a:lnTo>
                      <a:lnTo>
                        <a:pt x="3824" y="193"/>
                      </a:lnTo>
                      <a:lnTo>
                        <a:pt x="3888" y="220"/>
                      </a:lnTo>
                      <a:lnTo>
                        <a:pt x="3950" y="247"/>
                      </a:lnTo>
                      <a:lnTo>
                        <a:pt x="4012" y="276"/>
                      </a:lnTo>
                      <a:lnTo>
                        <a:pt x="4072" y="306"/>
                      </a:lnTo>
                      <a:lnTo>
                        <a:pt x="4132" y="338"/>
                      </a:lnTo>
                      <a:lnTo>
                        <a:pt x="4191" y="370"/>
                      </a:lnTo>
                      <a:lnTo>
                        <a:pt x="4249" y="405"/>
                      </a:lnTo>
                      <a:lnTo>
                        <a:pt x="4307" y="441"/>
                      </a:lnTo>
                      <a:lnTo>
                        <a:pt x="4363" y="478"/>
                      </a:lnTo>
                      <a:lnTo>
                        <a:pt x="4418" y="516"/>
                      </a:lnTo>
                      <a:lnTo>
                        <a:pt x="4473" y="556"/>
                      </a:lnTo>
                      <a:lnTo>
                        <a:pt x="4526" y="597"/>
                      </a:lnTo>
                      <a:lnTo>
                        <a:pt x="4578" y="640"/>
                      </a:lnTo>
                      <a:lnTo>
                        <a:pt x="4630" y="683"/>
                      </a:lnTo>
                      <a:lnTo>
                        <a:pt x="4680" y="728"/>
                      </a:lnTo>
                      <a:lnTo>
                        <a:pt x="4729" y="773"/>
                      </a:lnTo>
                      <a:lnTo>
                        <a:pt x="4777" y="820"/>
                      </a:lnTo>
                      <a:lnTo>
                        <a:pt x="4825" y="868"/>
                      </a:lnTo>
                      <a:lnTo>
                        <a:pt x="4870" y="917"/>
                      </a:lnTo>
                      <a:lnTo>
                        <a:pt x="4915" y="967"/>
                      </a:lnTo>
                      <a:lnTo>
                        <a:pt x="4958" y="1019"/>
                      </a:lnTo>
                      <a:lnTo>
                        <a:pt x="5001" y="1071"/>
                      </a:lnTo>
                      <a:lnTo>
                        <a:pt x="5041" y="1125"/>
                      </a:lnTo>
                      <a:lnTo>
                        <a:pt x="5081" y="1179"/>
                      </a:lnTo>
                      <a:lnTo>
                        <a:pt x="5119" y="1235"/>
                      </a:lnTo>
                      <a:lnTo>
                        <a:pt x="5157" y="1290"/>
                      </a:lnTo>
                      <a:lnTo>
                        <a:pt x="5192" y="1348"/>
                      </a:lnTo>
                      <a:lnTo>
                        <a:pt x="5227" y="1406"/>
                      </a:lnTo>
                      <a:lnTo>
                        <a:pt x="5259" y="1465"/>
                      </a:lnTo>
                      <a:lnTo>
                        <a:pt x="5291" y="1525"/>
                      </a:lnTo>
                      <a:lnTo>
                        <a:pt x="5321" y="1586"/>
                      </a:lnTo>
                      <a:lnTo>
                        <a:pt x="5350" y="1647"/>
                      </a:lnTo>
                      <a:lnTo>
                        <a:pt x="5378" y="1709"/>
                      </a:lnTo>
                      <a:lnTo>
                        <a:pt x="5404" y="1773"/>
                      </a:lnTo>
                      <a:lnTo>
                        <a:pt x="5428" y="1837"/>
                      </a:lnTo>
                      <a:lnTo>
                        <a:pt x="5451" y="1901"/>
                      </a:lnTo>
                      <a:lnTo>
                        <a:pt x="5472" y="1967"/>
                      </a:lnTo>
                      <a:lnTo>
                        <a:pt x="5492" y="2033"/>
                      </a:lnTo>
                      <a:lnTo>
                        <a:pt x="5510" y="2099"/>
                      </a:lnTo>
                      <a:lnTo>
                        <a:pt x="5526" y="2167"/>
                      </a:lnTo>
                      <a:lnTo>
                        <a:pt x="5541" y="2234"/>
                      </a:lnTo>
                      <a:lnTo>
                        <a:pt x="5554" y="2303"/>
                      </a:lnTo>
                      <a:lnTo>
                        <a:pt x="5565" y="2372"/>
                      </a:lnTo>
                      <a:lnTo>
                        <a:pt x="5576" y="2441"/>
                      </a:lnTo>
                      <a:lnTo>
                        <a:pt x="5583" y="2512"/>
                      </a:lnTo>
                      <a:lnTo>
                        <a:pt x="5589" y="2583"/>
                      </a:lnTo>
                      <a:lnTo>
                        <a:pt x="5595" y="2654"/>
                      </a:lnTo>
                      <a:lnTo>
                        <a:pt x="5597" y="2725"/>
                      </a:lnTo>
                      <a:lnTo>
                        <a:pt x="5598" y="2798"/>
                      </a:lnTo>
                      <a:lnTo>
                        <a:pt x="5598" y="2798"/>
                      </a:lnTo>
                      <a:lnTo>
                        <a:pt x="5597" y="2870"/>
                      </a:lnTo>
                      <a:lnTo>
                        <a:pt x="5595" y="2941"/>
                      </a:lnTo>
                      <a:lnTo>
                        <a:pt x="5589" y="3012"/>
                      </a:lnTo>
                      <a:lnTo>
                        <a:pt x="5583" y="3084"/>
                      </a:lnTo>
                      <a:lnTo>
                        <a:pt x="5576" y="3154"/>
                      </a:lnTo>
                      <a:lnTo>
                        <a:pt x="5565" y="3223"/>
                      </a:lnTo>
                      <a:lnTo>
                        <a:pt x="5554" y="3292"/>
                      </a:lnTo>
                      <a:lnTo>
                        <a:pt x="5541" y="3361"/>
                      </a:lnTo>
                      <a:lnTo>
                        <a:pt x="5526" y="3429"/>
                      </a:lnTo>
                      <a:lnTo>
                        <a:pt x="5510" y="3496"/>
                      </a:lnTo>
                      <a:lnTo>
                        <a:pt x="5492" y="3563"/>
                      </a:lnTo>
                      <a:lnTo>
                        <a:pt x="5472" y="3629"/>
                      </a:lnTo>
                      <a:lnTo>
                        <a:pt x="5451" y="3694"/>
                      </a:lnTo>
                      <a:lnTo>
                        <a:pt x="5428" y="3759"/>
                      </a:lnTo>
                      <a:lnTo>
                        <a:pt x="5404" y="3823"/>
                      </a:lnTo>
                      <a:lnTo>
                        <a:pt x="5378" y="3886"/>
                      </a:lnTo>
                      <a:lnTo>
                        <a:pt x="5350" y="3949"/>
                      </a:lnTo>
                      <a:lnTo>
                        <a:pt x="5321" y="4010"/>
                      </a:lnTo>
                      <a:lnTo>
                        <a:pt x="5291" y="4070"/>
                      </a:lnTo>
                      <a:lnTo>
                        <a:pt x="5259" y="4130"/>
                      </a:lnTo>
                      <a:lnTo>
                        <a:pt x="5227" y="4190"/>
                      </a:lnTo>
                      <a:lnTo>
                        <a:pt x="5192" y="4247"/>
                      </a:lnTo>
                      <a:lnTo>
                        <a:pt x="5157" y="4305"/>
                      </a:lnTo>
                      <a:lnTo>
                        <a:pt x="5119" y="4362"/>
                      </a:lnTo>
                      <a:lnTo>
                        <a:pt x="5081" y="4417"/>
                      </a:lnTo>
                      <a:lnTo>
                        <a:pt x="5041" y="4472"/>
                      </a:lnTo>
                      <a:lnTo>
                        <a:pt x="5001" y="4524"/>
                      </a:lnTo>
                      <a:lnTo>
                        <a:pt x="4958" y="4576"/>
                      </a:lnTo>
                      <a:lnTo>
                        <a:pt x="4915" y="4628"/>
                      </a:lnTo>
                      <a:lnTo>
                        <a:pt x="4870" y="4678"/>
                      </a:lnTo>
                      <a:lnTo>
                        <a:pt x="4825" y="4727"/>
                      </a:lnTo>
                      <a:lnTo>
                        <a:pt x="4777" y="4775"/>
                      </a:lnTo>
                      <a:lnTo>
                        <a:pt x="4729" y="4823"/>
                      </a:lnTo>
                      <a:lnTo>
                        <a:pt x="4680" y="4869"/>
                      </a:lnTo>
                      <a:lnTo>
                        <a:pt x="4630" y="4913"/>
                      </a:lnTo>
                      <a:lnTo>
                        <a:pt x="4578" y="4957"/>
                      </a:lnTo>
                      <a:lnTo>
                        <a:pt x="4526" y="4999"/>
                      </a:lnTo>
                      <a:lnTo>
                        <a:pt x="4473" y="5039"/>
                      </a:lnTo>
                      <a:lnTo>
                        <a:pt x="4418" y="5079"/>
                      </a:lnTo>
                      <a:lnTo>
                        <a:pt x="4363" y="5118"/>
                      </a:lnTo>
                      <a:lnTo>
                        <a:pt x="4307" y="5155"/>
                      </a:lnTo>
                      <a:lnTo>
                        <a:pt x="4249" y="5190"/>
                      </a:lnTo>
                      <a:lnTo>
                        <a:pt x="4191" y="5225"/>
                      </a:lnTo>
                      <a:lnTo>
                        <a:pt x="4132" y="5258"/>
                      </a:lnTo>
                      <a:lnTo>
                        <a:pt x="4072" y="5290"/>
                      </a:lnTo>
                      <a:lnTo>
                        <a:pt x="4012" y="5320"/>
                      </a:lnTo>
                      <a:lnTo>
                        <a:pt x="3950" y="5348"/>
                      </a:lnTo>
                      <a:lnTo>
                        <a:pt x="3888" y="5376"/>
                      </a:lnTo>
                      <a:lnTo>
                        <a:pt x="3824" y="5402"/>
                      </a:lnTo>
                      <a:lnTo>
                        <a:pt x="3760" y="5426"/>
                      </a:lnTo>
                      <a:lnTo>
                        <a:pt x="3696" y="5449"/>
                      </a:lnTo>
                      <a:lnTo>
                        <a:pt x="3630" y="5470"/>
                      </a:lnTo>
                      <a:lnTo>
                        <a:pt x="3564" y="5490"/>
                      </a:lnTo>
                      <a:lnTo>
                        <a:pt x="3498" y="5508"/>
                      </a:lnTo>
                      <a:lnTo>
                        <a:pt x="3430" y="5524"/>
                      </a:lnTo>
                      <a:lnTo>
                        <a:pt x="3362" y="5539"/>
                      </a:lnTo>
                      <a:lnTo>
                        <a:pt x="3294" y="5553"/>
                      </a:lnTo>
                      <a:lnTo>
                        <a:pt x="3225" y="5564"/>
                      </a:lnTo>
                      <a:lnTo>
                        <a:pt x="3156" y="5574"/>
                      </a:lnTo>
                      <a:lnTo>
                        <a:pt x="3086" y="5582"/>
                      </a:lnTo>
                      <a:lnTo>
                        <a:pt x="3014" y="5588"/>
                      </a:lnTo>
                      <a:lnTo>
                        <a:pt x="2943" y="5593"/>
                      </a:lnTo>
                      <a:lnTo>
                        <a:pt x="2872" y="5596"/>
                      </a:lnTo>
                      <a:lnTo>
                        <a:pt x="2800" y="5597"/>
                      </a:lnTo>
                      <a:lnTo>
                        <a:pt x="2800" y="5597"/>
                      </a:lnTo>
                      <a:close/>
                      <a:moveTo>
                        <a:pt x="2800" y="511"/>
                      </a:moveTo>
                      <a:lnTo>
                        <a:pt x="2800" y="511"/>
                      </a:lnTo>
                      <a:lnTo>
                        <a:pt x="2741" y="512"/>
                      </a:lnTo>
                      <a:lnTo>
                        <a:pt x="2682" y="514"/>
                      </a:lnTo>
                      <a:lnTo>
                        <a:pt x="2624" y="518"/>
                      </a:lnTo>
                      <a:lnTo>
                        <a:pt x="2566" y="522"/>
                      </a:lnTo>
                      <a:lnTo>
                        <a:pt x="2508" y="530"/>
                      </a:lnTo>
                      <a:lnTo>
                        <a:pt x="2452" y="537"/>
                      </a:lnTo>
                      <a:lnTo>
                        <a:pt x="2395" y="546"/>
                      </a:lnTo>
                      <a:lnTo>
                        <a:pt x="2339" y="558"/>
                      </a:lnTo>
                      <a:lnTo>
                        <a:pt x="2283" y="569"/>
                      </a:lnTo>
                      <a:lnTo>
                        <a:pt x="2229" y="583"/>
                      </a:lnTo>
                      <a:lnTo>
                        <a:pt x="2174" y="598"/>
                      </a:lnTo>
                      <a:lnTo>
                        <a:pt x="2120" y="613"/>
                      </a:lnTo>
                      <a:lnTo>
                        <a:pt x="2066" y="631"/>
                      </a:lnTo>
                      <a:lnTo>
                        <a:pt x="2014" y="650"/>
                      </a:lnTo>
                      <a:lnTo>
                        <a:pt x="1962" y="670"/>
                      </a:lnTo>
                      <a:lnTo>
                        <a:pt x="1910" y="691"/>
                      </a:lnTo>
                      <a:lnTo>
                        <a:pt x="1859" y="713"/>
                      </a:lnTo>
                      <a:lnTo>
                        <a:pt x="1809" y="737"/>
                      </a:lnTo>
                      <a:lnTo>
                        <a:pt x="1759" y="761"/>
                      </a:lnTo>
                      <a:lnTo>
                        <a:pt x="1710" y="787"/>
                      </a:lnTo>
                      <a:lnTo>
                        <a:pt x="1662" y="815"/>
                      </a:lnTo>
                      <a:lnTo>
                        <a:pt x="1615" y="843"/>
                      </a:lnTo>
                      <a:lnTo>
                        <a:pt x="1568" y="872"/>
                      </a:lnTo>
                      <a:lnTo>
                        <a:pt x="1522" y="903"/>
                      </a:lnTo>
                      <a:lnTo>
                        <a:pt x="1476" y="933"/>
                      </a:lnTo>
                      <a:lnTo>
                        <a:pt x="1431" y="965"/>
                      </a:lnTo>
                      <a:lnTo>
                        <a:pt x="1388" y="999"/>
                      </a:lnTo>
                      <a:lnTo>
                        <a:pt x="1346" y="1033"/>
                      </a:lnTo>
                      <a:lnTo>
                        <a:pt x="1304" y="1069"/>
                      </a:lnTo>
                      <a:lnTo>
                        <a:pt x="1263" y="1106"/>
                      </a:lnTo>
                      <a:lnTo>
                        <a:pt x="1222" y="1143"/>
                      </a:lnTo>
                      <a:lnTo>
                        <a:pt x="1183" y="1181"/>
                      </a:lnTo>
                      <a:lnTo>
                        <a:pt x="1144" y="1221"/>
                      </a:lnTo>
                      <a:lnTo>
                        <a:pt x="1108" y="1261"/>
                      </a:lnTo>
                      <a:lnTo>
                        <a:pt x="1071" y="1302"/>
                      </a:lnTo>
                      <a:lnTo>
                        <a:pt x="1035" y="1344"/>
                      </a:lnTo>
                      <a:lnTo>
                        <a:pt x="1001" y="1387"/>
                      </a:lnTo>
                      <a:lnTo>
                        <a:pt x="967" y="1431"/>
                      </a:lnTo>
                      <a:lnTo>
                        <a:pt x="935" y="1475"/>
                      </a:lnTo>
                      <a:lnTo>
                        <a:pt x="903" y="1520"/>
                      </a:lnTo>
                      <a:lnTo>
                        <a:pt x="873" y="1566"/>
                      </a:lnTo>
                      <a:lnTo>
                        <a:pt x="844" y="1613"/>
                      </a:lnTo>
                      <a:lnTo>
                        <a:pt x="815" y="1660"/>
                      </a:lnTo>
                      <a:lnTo>
                        <a:pt x="789" y="1708"/>
                      </a:lnTo>
                      <a:lnTo>
                        <a:pt x="763" y="1757"/>
                      </a:lnTo>
                      <a:lnTo>
                        <a:pt x="738" y="1808"/>
                      </a:lnTo>
                      <a:lnTo>
                        <a:pt x="715" y="1858"/>
                      </a:lnTo>
                      <a:lnTo>
                        <a:pt x="693" y="1908"/>
                      </a:lnTo>
                      <a:lnTo>
                        <a:pt x="671" y="1961"/>
                      </a:lnTo>
                      <a:lnTo>
                        <a:pt x="651" y="2012"/>
                      </a:lnTo>
                      <a:lnTo>
                        <a:pt x="633" y="2065"/>
                      </a:lnTo>
                      <a:lnTo>
                        <a:pt x="615" y="2119"/>
                      </a:lnTo>
                      <a:lnTo>
                        <a:pt x="600" y="2172"/>
                      </a:lnTo>
                      <a:lnTo>
                        <a:pt x="585" y="2227"/>
                      </a:lnTo>
                      <a:lnTo>
                        <a:pt x="571" y="2282"/>
                      </a:lnTo>
                      <a:lnTo>
                        <a:pt x="559" y="2338"/>
                      </a:lnTo>
                      <a:lnTo>
                        <a:pt x="548" y="2393"/>
                      </a:lnTo>
                      <a:lnTo>
                        <a:pt x="539" y="2450"/>
                      </a:lnTo>
                      <a:lnTo>
                        <a:pt x="531" y="2507"/>
                      </a:lnTo>
                      <a:lnTo>
                        <a:pt x="524" y="2564"/>
                      </a:lnTo>
                      <a:lnTo>
                        <a:pt x="519" y="2622"/>
                      </a:lnTo>
                      <a:lnTo>
                        <a:pt x="516" y="2680"/>
                      </a:lnTo>
                      <a:lnTo>
                        <a:pt x="513" y="2739"/>
                      </a:lnTo>
                      <a:lnTo>
                        <a:pt x="513" y="2798"/>
                      </a:lnTo>
                      <a:lnTo>
                        <a:pt x="513" y="2798"/>
                      </a:lnTo>
                      <a:lnTo>
                        <a:pt x="513" y="2856"/>
                      </a:lnTo>
                      <a:lnTo>
                        <a:pt x="516" y="2915"/>
                      </a:lnTo>
                      <a:lnTo>
                        <a:pt x="519" y="2974"/>
                      </a:lnTo>
                      <a:lnTo>
                        <a:pt x="524" y="3031"/>
                      </a:lnTo>
                      <a:lnTo>
                        <a:pt x="531" y="3089"/>
                      </a:lnTo>
                      <a:lnTo>
                        <a:pt x="539" y="3145"/>
                      </a:lnTo>
                      <a:lnTo>
                        <a:pt x="548" y="3202"/>
                      </a:lnTo>
                      <a:lnTo>
                        <a:pt x="559" y="3259"/>
                      </a:lnTo>
                      <a:lnTo>
                        <a:pt x="571" y="3314"/>
                      </a:lnTo>
                      <a:lnTo>
                        <a:pt x="585" y="3369"/>
                      </a:lnTo>
                      <a:lnTo>
                        <a:pt x="600" y="3423"/>
                      </a:lnTo>
                      <a:lnTo>
                        <a:pt x="615" y="3477"/>
                      </a:lnTo>
                      <a:lnTo>
                        <a:pt x="633" y="3531"/>
                      </a:lnTo>
                      <a:lnTo>
                        <a:pt x="651" y="3583"/>
                      </a:lnTo>
                      <a:lnTo>
                        <a:pt x="671" y="3636"/>
                      </a:lnTo>
                      <a:lnTo>
                        <a:pt x="693" y="3687"/>
                      </a:lnTo>
                      <a:lnTo>
                        <a:pt x="715" y="3738"/>
                      </a:lnTo>
                      <a:lnTo>
                        <a:pt x="738" y="3789"/>
                      </a:lnTo>
                      <a:lnTo>
                        <a:pt x="763" y="3838"/>
                      </a:lnTo>
                      <a:lnTo>
                        <a:pt x="789" y="3887"/>
                      </a:lnTo>
                      <a:lnTo>
                        <a:pt x="815" y="3935"/>
                      </a:lnTo>
                      <a:lnTo>
                        <a:pt x="844" y="3982"/>
                      </a:lnTo>
                      <a:lnTo>
                        <a:pt x="873" y="4030"/>
                      </a:lnTo>
                      <a:lnTo>
                        <a:pt x="903" y="4076"/>
                      </a:lnTo>
                      <a:lnTo>
                        <a:pt x="935" y="4121"/>
                      </a:lnTo>
                      <a:lnTo>
                        <a:pt x="967" y="4165"/>
                      </a:lnTo>
                      <a:lnTo>
                        <a:pt x="1001" y="4209"/>
                      </a:lnTo>
                      <a:lnTo>
                        <a:pt x="1035" y="4252"/>
                      </a:lnTo>
                      <a:lnTo>
                        <a:pt x="1071" y="4294"/>
                      </a:lnTo>
                      <a:lnTo>
                        <a:pt x="1108" y="4334"/>
                      </a:lnTo>
                      <a:lnTo>
                        <a:pt x="1144" y="4375"/>
                      </a:lnTo>
                      <a:lnTo>
                        <a:pt x="1183" y="4414"/>
                      </a:lnTo>
                      <a:lnTo>
                        <a:pt x="1222" y="4453"/>
                      </a:lnTo>
                      <a:lnTo>
                        <a:pt x="1263" y="4489"/>
                      </a:lnTo>
                      <a:lnTo>
                        <a:pt x="1304" y="4526"/>
                      </a:lnTo>
                      <a:lnTo>
                        <a:pt x="1346" y="4562"/>
                      </a:lnTo>
                      <a:lnTo>
                        <a:pt x="1388" y="4596"/>
                      </a:lnTo>
                      <a:lnTo>
                        <a:pt x="1431" y="4630"/>
                      </a:lnTo>
                      <a:lnTo>
                        <a:pt x="1476" y="4662"/>
                      </a:lnTo>
                      <a:lnTo>
                        <a:pt x="1522" y="4694"/>
                      </a:lnTo>
                      <a:lnTo>
                        <a:pt x="1568" y="4724"/>
                      </a:lnTo>
                      <a:lnTo>
                        <a:pt x="1615" y="4753"/>
                      </a:lnTo>
                      <a:lnTo>
                        <a:pt x="1662" y="4782"/>
                      </a:lnTo>
                      <a:lnTo>
                        <a:pt x="1710" y="4808"/>
                      </a:lnTo>
                      <a:lnTo>
                        <a:pt x="1759" y="4834"/>
                      </a:lnTo>
                      <a:lnTo>
                        <a:pt x="1809" y="4859"/>
                      </a:lnTo>
                      <a:lnTo>
                        <a:pt x="1859" y="4882"/>
                      </a:lnTo>
                      <a:lnTo>
                        <a:pt x="1910" y="4904"/>
                      </a:lnTo>
                      <a:lnTo>
                        <a:pt x="1962" y="4926"/>
                      </a:lnTo>
                      <a:lnTo>
                        <a:pt x="2014" y="4946"/>
                      </a:lnTo>
                      <a:lnTo>
                        <a:pt x="2066" y="4964"/>
                      </a:lnTo>
                      <a:lnTo>
                        <a:pt x="2120" y="4982"/>
                      </a:lnTo>
                      <a:lnTo>
                        <a:pt x="2174" y="4998"/>
                      </a:lnTo>
                      <a:lnTo>
                        <a:pt x="2229" y="5012"/>
                      </a:lnTo>
                      <a:lnTo>
                        <a:pt x="2283" y="5026"/>
                      </a:lnTo>
                      <a:lnTo>
                        <a:pt x="2339" y="5038"/>
                      </a:lnTo>
                      <a:lnTo>
                        <a:pt x="2395" y="5049"/>
                      </a:lnTo>
                      <a:lnTo>
                        <a:pt x="2452" y="5058"/>
                      </a:lnTo>
                      <a:lnTo>
                        <a:pt x="2508" y="5067"/>
                      </a:lnTo>
                      <a:lnTo>
                        <a:pt x="2566" y="5073"/>
                      </a:lnTo>
                      <a:lnTo>
                        <a:pt x="2624" y="5078"/>
                      </a:lnTo>
                      <a:lnTo>
                        <a:pt x="2682" y="5081"/>
                      </a:lnTo>
                      <a:lnTo>
                        <a:pt x="2741" y="5083"/>
                      </a:lnTo>
                      <a:lnTo>
                        <a:pt x="2800" y="5084"/>
                      </a:lnTo>
                      <a:lnTo>
                        <a:pt x="2800" y="5084"/>
                      </a:lnTo>
                      <a:lnTo>
                        <a:pt x="2858" y="5083"/>
                      </a:lnTo>
                      <a:lnTo>
                        <a:pt x="2917" y="5081"/>
                      </a:lnTo>
                      <a:lnTo>
                        <a:pt x="2975" y="5078"/>
                      </a:lnTo>
                      <a:lnTo>
                        <a:pt x="3033" y="5073"/>
                      </a:lnTo>
                      <a:lnTo>
                        <a:pt x="3090" y="5067"/>
                      </a:lnTo>
                      <a:lnTo>
                        <a:pt x="3147" y="5058"/>
                      </a:lnTo>
                      <a:lnTo>
                        <a:pt x="3204" y="5049"/>
                      </a:lnTo>
                      <a:lnTo>
                        <a:pt x="3259" y="5038"/>
                      </a:lnTo>
                      <a:lnTo>
                        <a:pt x="3315" y="5026"/>
                      </a:lnTo>
                      <a:lnTo>
                        <a:pt x="3371" y="5012"/>
                      </a:lnTo>
                      <a:lnTo>
                        <a:pt x="3425" y="4998"/>
                      </a:lnTo>
                      <a:lnTo>
                        <a:pt x="3478" y="4982"/>
                      </a:lnTo>
                      <a:lnTo>
                        <a:pt x="3532" y="4964"/>
                      </a:lnTo>
                      <a:lnTo>
                        <a:pt x="3585" y="4946"/>
                      </a:lnTo>
                      <a:lnTo>
                        <a:pt x="3637" y="4926"/>
                      </a:lnTo>
                      <a:lnTo>
                        <a:pt x="3689" y="4904"/>
                      </a:lnTo>
                      <a:lnTo>
                        <a:pt x="3739" y="4882"/>
                      </a:lnTo>
                      <a:lnTo>
                        <a:pt x="3790" y="4859"/>
                      </a:lnTo>
                      <a:lnTo>
                        <a:pt x="3840" y="4834"/>
                      </a:lnTo>
                      <a:lnTo>
                        <a:pt x="3888" y="4808"/>
                      </a:lnTo>
                      <a:lnTo>
                        <a:pt x="3937" y="4782"/>
                      </a:lnTo>
                      <a:lnTo>
                        <a:pt x="3984" y="4753"/>
                      </a:lnTo>
                      <a:lnTo>
                        <a:pt x="4032" y="4724"/>
                      </a:lnTo>
                      <a:lnTo>
                        <a:pt x="4077" y="4694"/>
                      </a:lnTo>
                      <a:lnTo>
                        <a:pt x="4123" y="4662"/>
                      </a:lnTo>
                      <a:lnTo>
                        <a:pt x="4167" y="4630"/>
                      </a:lnTo>
                      <a:lnTo>
                        <a:pt x="4211" y="4596"/>
                      </a:lnTo>
                      <a:lnTo>
                        <a:pt x="4254" y="4562"/>
                      </a:lnTo>
                      <a:lnTo>
                        <a:pt x="4296" y="4526"/>
                      </a:lnTo>
                      <a:lnTo>
                        <a:pt x="4336" y="4489"/>
                      </a:lnTo>
                      <a:lnTo>
                        <a:pt x="4376" y="4453"/>
                      </a:lnTo>
                      <a:lnTo>
                        <a:pt x="4416" y="4414"/>
                      </a:lnTo>
                      <a:lnTo>
                        <a:pt x="4454" y="4375"/>
                      </a:lnTo>
                      <a:lnTo>
                        <a:pt x="4491" y="4334"/>
                      </a:lnTo>
                      <a:lnTo>
                        <a:pt x="4528" y="4294"/>
                      </a:lnTo>
                      <a:lnTo>
                        <a:pt x="4564" y="4252"/>
                      </a:lnTo>
                      <a:lnTo>
                        <a:pt x="4598" y="4209"/>
                      </a:lnTo>
                      <a:lnTo>
                        <a:pt x="4632" y="4165"/>
                      </a:lnTo>
                      <a:lnTo>
                        <a:pt x="4663" y="4121"/>
                      </a:lnTo>
                      <a:lnTo>
                        <a:pt x="4695" y="4076"/>
                      </a:lnTo>
                      <a:lnTo>
                        <a:pt x="4725" y="4030"/>
                      </a:lnTo>
                      <a:lnTo>
                        <a:pt x="4754" y="3982"/>
                      </a:lnTo>
                      <a:lnTo>
                        <a:pt x="4783" y="3935"/>
                      </a:lnTo>
                      <a:lnTo>
                        <a:pt x="4810" y="3887"/>
                      </a:lnTo>
                      <a:lnTo>
                        <a:pt x="4836" y="3838"/>
                      </a:lnTo>
                      <a:lnTo>
                        <a:pt x="4860" y="3789"/>
                      </a:lnTo>
                      <a:lnTo>
                        <a:pt x="4884" y="3738"/>
                      </a:lnTo>
                      <a:lnTo>
                        <a:pt x="4906" y="3687"/>
                      </a:lnTo>
                      <a:lnTo>
                        <a:pt x="4927" y="3636"/>
                      </a:lnTo>
                      <a:lnTo>
                        <a:pt x="4947" y="3583"/>
                      </a:lnTo>
                      <a:lnTo>
                        <a:pt x="4966" y="3531"/>
                      </a:lnTo>
                      <a:lnTo>
                        <a:pt x="4983" y="3477"/>
                      </a:lnTo>
                      <a:lnTo>
                        <a:pt x="4999" y="3423"/>
                      </a:lnTo>
                      <a:lnTo>
                        <a:pt x="5014" y="3369"/>
                      </a:lnTo>
                      <a:lnTo>
                        <a:pt x="5028" y="3314"/>
                      </a:lnTo>
                      <a:lnTo>
                        <a:pt x="5039" y="3259"/>
                      </a:lnTo>
                      <a:lnTo>
                        <a:pt x="5051" y="3202"/>
                      </a:lnTo>
                      <a:lnTo>
                        <a:pt x="5060" y="3145"/>
                      </a:lnTo>
                      <a:lnTo>
                        <a:pt x="5068" y="3089"/>
                      </a:lnTo>
                      <a:lnTo>
                        <a:pt x="5074" y="3031"/>
                      </a:lnTo>
                      <a:lnTo>
                        <a:pt x="5079" y="2974"/>
                      </a:lnTo>
                      <a:lnTo>
                        <a:pt x="5083" y="2915"/>
                      </a:lnTo>
                      <a:lnTo>
                        <a:pt x="5085" y="2856"/>
                      </a:lnTo>
                      <a:lnTo>
                        <a:pt x="5086" y="2798"/>
                      </a:lnTo>
                      <a:lnTo>
                        <a:pt x="5086" y="2798"/>
                      </a:lnTo>
                      <a:lnTo>
                        <a:pt x="5085" y="2739"/>
                      </a:lnTo>
                      <a:lnTo>
                        <a:pt x="5083" y="2680"/>
                      </a:lnTo>
                      <a:lnTo>
                        <a:pt x="5079" y="2622"/>
                      </a:lnTo>
                      <a:lnTo>
                        <a:pt x="5074" y="2564"/>
                      </a:lnTo>
                      <a:lnTo>
                        <a:pt x="5068" y="2507"/>
                      </a:lnTo>
                      <a:lnTo>
                        <a:pt x="5060" y="2450"/>
                      </a:lnTo>
                      <a:lnTo>
                        <a:pt x="5051" y="2393"/>
                      </a:lnTo>
                      <a:lnTo>
                        <a:pt x="5039" y="2338"/>
                      </a:lnTo>
                      <a:lnTo>
                        <a:pt x="5028" y="2282"/>
                      </a:lnTo>
                      <a:lnTo>
                        <a:pt x="5014" y="2227"/>
                      </a:lnTo>
                      <a:lnTo>
                        <a:pt x="4999" y="2172"/>
                      </a:lnTo>
                      <a:lnTo>
                        <a:pt x="4983" y="2119"/>
                      </a:lnTo>
                      <a:lnTo>
                        <a:pt x="4966" y="2065"/>
                      </a:lnTo>
                      <a:lnTo>
                        <a:pt x="4947" y="2012"/>
                      </a:lnTo>
                      <a:lnTo>
                        <a:pt x="4927" y="1961"/>
                      </a:lnTo>
                      <a:lnTo>
                        <a:pt x="4906" y="1908"/>
                      </a:lnTo>
                      <a:lnTo>
                        <a:pt x="4884" y="1858"/>
                      </a:lnTo>
                      <a:lnTo>
                        <a:pt x="4860" y="1808"/>
                      </a:lnTo>
                      <a:lnTo>
                        <a:pt x="4836" y="1757"/>
                      </a:lnTo>
                      <a:lnTo>
                        <a:pt x="4810" y="1708"/>
                      </a:lnTo>
                      <a:lnTo>
                        <a:pt x="4783" y="1660"/>
                      </a:lnTo>
                      <a:lnTo>
                        <a:pt x="4754" y="1613"/>
                      </a:lnTo>
                      <a:lnTo>
                        <a:pt x="4725" y="1566"/>
                      </a:lnTo>
                      <a:lnTo>
                        <a:pt x="4695" y="1520"/>
                      </a:lnTo>
                      <a:lnTo>
                        <a:pt x="4663" y="1475"/>
                      </a:lnTo>
                      <a:lnTo>
                        <a:pt x="4632" y="1431"/>
                      </a:lnTo>
                      <a:lnTo>
                        <a:pt x="4598" y="1387"/>
                      </a:lnTo>
                      <a:lnTo>
                        <a:pt x="4564" y="1344"/>
                      </a:lnTo>
                      <a:lnTo>
                        <a:pt x="4528" y="1302"/>
                      </a:lnTo>
                      <a:lnTo>
                        <a:pt x="4491" y="1261"/>
                      </a:lnTo>
                      <a:lnTo>
                        <a:pt x="4454" y="1221"/>
                      </a:lnTo>
                      <a:lnTo>
                        <a:pt x="4416" y="1181"/>
                      </a:lnTo>
                      <a:lnTo>
                        <a:pt x="4376" y="1143"/>
                      </a:lnTo>
                      <a:lnTo>
                        <a:pt x="4336" y="1106"/>
                      </a:lnTo>
                      <a:lnTo>
                        <a:pt x="4296" y="1069"/>
                      </a:lnTo>
                      <a:lnTo>
                        <a:pt x="4254" y="1033"/>
                      </a:lnTo>
                      <a:lnTo>
                        <a:pt x="4211" y="999"/>
                      </a:lnTo>
                      <a:lnTo>
                        <a:pt x="4167" y="965"/>
                      </a:lnTo>
                      <a:lnTo>
                        <a:pt x="4123" y="933"/>
                      </a:lnTo>
                      <a:lnTo>
                        <a:pt x="4077" y="903"/>
                      </a:lnTo>
                      <a:lnTo>
                        <a:pt x="4032" y="872"/>
                      </a:lnTo>
                      <a:lnTo>
                        <a:pt x="3984" y="843"/>
                      </a:lnTo>
                      <a:lnTo>
                        <a:pt x="3937" y="815"/>
                      </a:lnTo>
                      <a:lnTo>
                        <a:pt x="3888" y="787"/>
                      </a:lnTo>
                      <a:lnTo>
                        <a:pt x="3840" y="761"/>
                      </a:lnTo>
                      <a:lnTo>
                        <a:pt x="3790" y="737"/>
                      </a:lnTo>
                      <a:lnTo>
                        <a:pt x="3739" y="713"/>
                      </a:lnTo>
                      <a:lnTo>
                        <a:pt x="3689" y="691"/>
                      </a:lnTo>
                      <a:lnTo>
                        <a:pt x="3637" y="670"/>
                      </a:lnTo>
                      <a:lnTo>
                        <a:pt x="3585" y="650"/>
                      </a:lnTo>
                      <a:lnTo>
                        <a:pt x="3532" y="631"/>
                      </a:lnTo>
                      <a:lnTo>
                        <a:pt x="3478" y="613"/>
                      </a:lnTo>
                      <a:lnTo>
                        <a:pt x="3425" y="598"/>
                      </a:lnTo>
                      <a:lnTo>
                        <a:pt x="3371" y="583"/>
                      </a:lnTo>
                      <a:lnTo>
                        <a:pt x="3315" y="569"/>
                      </a:lnTo>
                      <a:lnTo>
                        <a:pt x="3259" y="558"/>
                      </a:lnTo>
                      <a:lnTo>
                        <a:pt x="3204" y="546"/>
                      </a:lnTo>
                      <a:lnTo>
                        <a:pt x="3147" y="537"/>
                      </a:lnTo>
                      <a:lnTo>
                        <a:pt x="3090" y="530"/>
                      </a:lnTo>
                      <a:lnTo>
                        <a:pt x="3033" y="522"/>
                      </a:lnTo>
                      <a:lnTo>
                        <a:pt x="2975" y="518"/>
                      </a:lnTo>
                      <a:lnTo>
                        <a:pt x="2917" y="514"/>
                      </a:lnTo>
                      <a:lnTo>
                        <a:pt x="2858" y="512"/>
                      </a:lnTo>
                      <a:lnTo>
                        <a:pt x="2800" y="511"/>
                      </a:lnTo>
                      <a:lnTo>
                        <a:pt x="2800" y="5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2" name="Freeform 6">
                  <a:extLst>
                    <a:ext uri="{FF2B5EF4-FFF2-40B4-BE49-F238E27FC236}">
                      <a16:creationId xmlns:a16="http://schemas.microsoft.com/office/drawing/2014/main" id="{E738F705-49EB-413B-ADF8-49E3AE71C31C}"/>
                    </a:ext>
                  </a:extLst>
                </p:cNvPr>
                <p:cNvSpPr>
                  <a:spLocks noEditPoints="1"/>
                </p:cNvSpPr>
                <p:nvPr/>
              </p:nvSpPr>
              <p:spPr bwMode="auto">
                <a:xfrm>
                  <a:off x="4429808" y="2708406"/>
                  <a:ext cx="247472" cy="247474"/>
                </a:xfrm>
                <a:custGeom>
                  <a:avLst/>
                  <a:gdLst>
                    <a:gd name="T0" fmla="*/ 2304 w 5598"/>
                    <a:gd name="T1" fmla="*/ 5553 h 5596"/>
                    <a:gd name="T2" fmla="*/ 1711 w 5598"/>
                    <a:gd name="T3" fmla="*/ 5376 h 5596"/>
                    <a:gd name="T4" fmla="*/ 1180 w 5598"/>
                    <a:gd name="T5" fmla="*/ 5080 h 5596"/>
                    <a:gd name="T6" fmla="*/ 729 w 5598"/>
                    <a:gd name="T7" fmla="*/ 4678 h 5596"/>
                    <a:gd name="T8" fmla="*/ 372 w 5598"/>
                    <a:gd name="T9" fmla="*/ 4190 h 5596"/>
                    <a:gd name="T10" fmla="*/ 127 w 5598"/>
                    <a:gd name="T11" fmla="*/ 3630 h 5596"/>
                    <a:gd name="T12" fmla="*/ 9 w 5598"/>
                    <a:gd name="T13" fmla="*/ 3013 h 5596"/>
                    <a:gd name="T14" fmla="*/ 24 w 5598"/>
                    <a:gd name="T15" fmla="*/ 2442 h 5596"/>
                    <a:gd name="T16" fmla="*/ 171 w 5598"/>
                    <a:gd name="T17" fmla="*/ 1837 h 5596"/>
                    <a:gd name="T18" fmla="*/ 443 w 5598"/>
                    <a:gd name="T19" fmla="*/ 1290 h 5596"/>
                    <a:gd name="T20" fmla="*/ 822 w 5598"/>
                    <a:gd name="T21" fmla="*/ 820 h 5596"/>
                    <a:gd name="T22" fmla="*/ 1292 w 5598"/>
                    <a:gd name="T23" fmla="*/ 441 h 5596"/>
                    <a:gd name="T24" fmla="*/ 1838 w 5598"/>
                    <a:gd name="T25" fmla="*/ 170 h 5596"/>
                    <a:gd name="T26" fmla="*/ 2443 w 5598"/>
                    <a:gd name="T27" fmla="*/ 22 h 5596"/>
                    <a:gd name="T28" fmla="*/ 3014 w 5598"/>
                    <a:gd name="T29" fmla="*/ 8 h 5596"/>
                    <a:gd name="T30" fmla="*/ 3630 w 5598"/>
                    <a:gd name="T31" fmla="*/ 126 h 5596"/>
                    <a:gd name="T32" fmla="*/ 4191 w 5598"/>
                    <a:gd name="T33" fmla="*/ 371 h 5596"/>
                    <a:gd name="T34" fmla="*/ 4680 w 5598"/>
                    <a:gd name="T35" fmla="*/ 728 h 5596"/>
                    <a:gd name="T36" fmla="*/ 5081 w 5598"/>
                    <a:gd name="T37" fmla="*/ 1179 h 5596"/>
                    <a:gd name="T38" fmla="*/ 5378 w 5598"/>
                    <a:gd name="T39" fmla="*/ 1709 h 5596"/>
                    <a:gd name="T40" fmla="*/ 5554 w 5598"/>
                    <a:gd name="T41" fmla="*/ 2303 h 5596"/>
                    <a:gd name="T42" fmla="*/ 5597 w 5598"/>
                    <a:gd name="T43" fmla="*/ 2870 h 5596"/>
                    <a:gd name="T44" fmla="*/ 5510 w 5598"/>
                    <a:gd name="T45" fmla="*/ 3497 h 5596"/>
                    <a:gd name="T46" fmla="*/ 5291 w 5598"/>
                    <a:gd name="T47" fmla="*/ 4071 h 5596"/>
                    <a:gd name="T48" fmla="*/ 4958 w 5598"/>
                    <a:gd name="T49" fmla="*/ 4577 h 5596"/>
                    <a:gd name="T50" fmla="*/ 4526 w 5598"/>
                    <a:gd name="T51" fmla="*/ 4999 h 5596"/>
                    <a:gd name="T52" fmla="*/ 4012 w 5598"/>
                    <a:gd name="T53" fmla="*/ 5320 h 5596"/>
                    <a:gd name="T54" fmla="*/ 3430 w 5598"/>
                    <a:gd name="T55" fmla="*/ 5525 h 5596"/>
                    <a:gd name="T56" fmla="*/ 2800 w 5598"/>
                    <a:gd name="T57" fmla="*/ 5596 h 5596"/>
                    <a:gd name="T58" fmla="*/ 2452 w 5598"/>
                    <a:gd name="T59" fmla="*/ 537 h 5596"/>
                    <a:gd name="T60" fmla="*/ 1962 w 5598"/>
                    <a:gd name="T61" fmla="*/ 670 h 5596"/>
                    <a:gd name="T62" fmla="*/ 1522 w 5598"/>
                    <a:gd name="T63" fmla="*/ 902 h 5596"/>
                    <a:gd name="T64" fmla="*/ 1144 w 5598"/>
                    <a:gd name="T65" fmla="*/ 1221 h 5596"/>
                    <a:gd name="T66" fmla="*/ 844 w 5598"/>
                    <a:gd name="T67" fmla="*/ 1613 h 5596"/>
                    <a:gd name="T68" fmla="*/ 633 w 5598"/>
                    <a:gd name="T69" fmla="*/ 2066 h 5596"/>
                    <a:gd name="T70" fmla="*/ 524 w 5598"/>
                    <a:gd name="T71" fmla="*/ 2564 h 5596"/>
                    <a:gd name="T72" fmla="*/ 524 w 5598"/>
                    <a:gd name="T73" fmla="*/ 3032 h 5596"/>
                    <a:gd name="T74" fmla="*/ 633 w 5598"/>
                    <a:gd name="T75" fmla="*/ 3530 h 5596"/>
                    <a:gd name="T76" fmla="*/ 844 w 5598"/>
                    <a:gd name="T77" fmla="*/ 3983 h 5596"/>
                    <a:gd name="T78" fmla="*/ 1144 w 5598"/>
                    <a:gd name="T79" fmla="*/ 4375 h 5596"/>
                    <a:gd name="T80" fmla="*/ 1522 w 5598"/>
                    <a:gd name="T81" fmla="*/ 4694 h 5596"/>
                    <a:gd name="T82" fmla="*/ 1962 w 5598"/>
                    <a:gd name="T83" fmla="*/ 4926 h 5596"/>
                    <a:gd name="T84" fmla="*/ 2452 w 5598"/>
                    <a:gd name="T85" fmla="*/ 5059 h 5596"/>
                    <a:gd name="T86" fmla="*/ 2917 w 5598"/>
                    <a:gd name="T87" fmla="*/ 5082 h 5596"/>
                    <a:gd name="T88" fmla="*/ 3425 w 5598"/>
                    <a:gd name="T89" fmla="*/ 4998 h 5596"/>
                    <a:gd name="T90" fmla="*/ 3888 w 5598"/>
                    <a:gd name="T91" fmla="*/ 4808 h 5596"/>
                    <a:gd name="T92" fmla="*/ 4294 w 5598"/>
                    <a:gd name="T93" fmla="*/ 4526 h 5596"/>
                    <a:gd name="T94" fmla="*/ 4631 w 5598"/>
                    <a:gd name="T95" fmla="*/ 4165 h 5596"/>
                    <a:gd name="T96" fmla="*/ 4884 w 5598"/>
                    <a:gd name="T97" fmla="*/ 3739 h 5596"/>
                    <a:gd name="T98" fmla="*/ 5039 w 5598"/>
                    <a:gd name="T99" fmla="*/ 3258 h 5596"/>
                    <a:gd name="T100" fmla="*/ 5086 w 5598"/>
                    <a:gd name="T101" fmla="*/ 2798 h 5596"/>
                    <a:gd name="T102" fmla="*/ 5028 w 5598"/>
                    <a:gd name="T103" fmla="*/ 2283 h 5596"/>
                    <a:gd name="T104" fmla="*/ 4860 w 5598"/>
                    <a:gd name="T105" fmla="*/ 1808 h 5596"/>
                    <a:gd name="T106" fmla="*/ 4597 w 5598"/>
                    <a:gd name="T107" fmla="*/ 1387 h 5596"/>
                    <a:gd name="T108" fmla="*/ 4253 w 5598"/>
                    <a:gd name="T109" fmla="*/ 1034 h 5596"/>
                    <a:gd name="T110" fmla="*/ 3840 w 5598"/>
                    <a:gd name="T111" fmla="*/ 761 h 5596"/>
                    <a:gd name="T112" fmla="*/ 3371 w 5598"/>
                    <a:gd name="T113" fmla="*/ 583 h 5596"/>
                    <a:gd name="T114" fmla="*/ 2858 w 5598"/>
                    <a:gd name="T115" fmla="*/ 512 h 5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98" h="5596">
                      <a:moveTo>
                        <a:pt x="2800" y="5596"/>
                      </a:moveTo>
                      <a:lnTo>
                        <a:pt x="2800" y="5596"/>
                      </a:lnTo>
                      <a:lnTo>
                        <a:pt x="2727" y="5596"/>
                      </a:lnTo>
                      <a:lnTo>
                        <a:pt x="2655" y="5593"/>
                      </a:lnTo>
                      <a:lnTo>
                        <a:pt x="2584" y="5589"/>
                      </a:lnTo>
                      <a:lnTo>
                        <a:pt x="2514" y="5582"/>
                      </a:lnTo>
                      <a:lnTo>
                        <a:pt x="2443" y="5574"/>
                      </a:lnTo>
                      <a:lnTo>
                        <a:pt x="2373" y="5565"/>
                      </a:lnTo>
                      <a:lnTo>
                        <a:pt x="2304" y="5553"/>
                      </a:lnTo>
                      <a:lnTo>
                        <a:pt x="2236" y="5539"/>
                      </a:lnTo>
                      <a:lnTo>
                        <a:pt x="2168" y="5525"/>
                      </a:lnTo>
                      <a:lnTo>
                        <a:pt x="2101" y="5508"/>
                      </a:lnTo>
                      <a:lnTo>
                        <a:pt x="2034" y="5490"/>
                      </a:lnTo>
                      <a:lnTo>
                        <a:pt x="1968" y="5470"/>
                      </a:lnTo>
                      <a:lnTo>
                        <a:pt x="1903" y="5449"/>
                      </a:lnTo>
                      <a:lnTo>
                        <a:pt x="1838" y="5426"/>
                      </a:lnTo>
                      <a:lnTo>
                        <a:pt x="1774" y="5402"/>
                      </a:lnTo>
                      <a:lnTo>
                        <a:pt x="1711" y="5376"/>
                      </a:lnTo>
                      <a:lnTo>
                        <a:pt x="1648" y="5349"/>
                      </a:lnTo>
                      <a:lnTo>
                        <a:pt x="1588" y="5320"/>
                      </a:lnTo>
                      <a:lnTo>
                        <a:pt x="1527" y="5290"/>
                      </a:lnTo>
                      <a:lnTo>
                        <a:pt x="1466" y="5259"/>
                      </a:lnTo>
                      <a:lnTo>
                        <a:pt x="1407" y="5225"/>
                      </a:lnTo>
                      <a:lnTo>
                        <a:pt x="1349" y="5191"/>
                      </a:lnTo>
                      <a:lnTo>
                        <a:pt x="1292" y="5155"/>
                      </a:lnTo>
                      <a:lnTo>
                        <a:pt x="1236" y="5118"/>
                      </a:lnTo>
                      <a:lnTo>
                        <a:pt x="1180" y="5080"/>
                      </a:lnTo>
                      <a:lnTo>
                        <a:pt x="1126" y="5040"/>
                      </a:lnTo>
                      <a:lnTo>
                        <a:pt x="1072" y="4999"/>
                      </a:lnTo>
                      <a:lnTo>
                        <a:pt x="1020" y="4957"/>
                      </a:lnTo>
                      <a:lnTo>
                        <a:pt x="968" y="4913"/>
                      </a:lnTo>
                      <a:lnTo>
                        <a:pt x="918" y="4869"/>
                      </a:lnTo>
                      <a:lnTo>
                        <a:pt x="869" y="4823"/>
                      </a:lnTo>
                      <a:lnTo>
                        <a:pt x="822" y="4776"/>
                      </a:lnTo>
                      <a:lnTo>
                        <a:pt x="775" y="4728"/>
                      </a:lnTo>
                      <a:lnTo>
                        <a:pt x="729" y="4678"/>
                      </a:lnTo>
                      <a:lnTo>
                        <a:pt x="683" y="4628"/>
                      </a:lnTo>
                      <a:lnTo>
                        <a:pt x="641" y="4577"/>
                      </a:lnTo>
                      <a:lnTo>
                        <a:pt x="599" y="4524"/>
                      </a:lnTo>
                      <a:lnTo>
                        <a:pt x="558" y="4471"/>
                      </a:lnTo>
                      <a:lnTo>
                        <a:pt x="518" y="4416"/>
                      </a:lnTo>
                      <a:lnTo>
                        <a:pt x="479" y="4362"/>
                      </a:lnTo>
                      <a:lnTo>
                        <a:pt x="443" y="4305"/>
                      </a:lnTo>
                      <a:lnTo>
                        <a:pt x="407" y="4248"/>
                      </a:lnTo>
                      <a:lnTo>
                        <a:pt x="372" y="4190"/>
                      </a:lnTo>
                      <a:lnTo>
                        <a:pt x="339" y="4130"/>
                      </a:lnTo>
                      <a:lnTo>
                        <a:pt x="307" y="4071"/>
                      </a:lnTo>
                      <a:lnTo>
                        <a:pt x="277" y="4010"/>
                      </a:lnTo>
                      <a:lnTo>
                        <a:pt x="249" y="3948"/>
                      </a:lnTo>
                      <a:lnTo>
                        <a:pt x="222" y="3886"/>
                      </a:lnTo>
                      <a:lnTo>
                        <a:pt x="195" y="3823"/>
                      </a:lnTo>
                      <a:lnTo>
                        <a:pt x="171" y="3760"/>
                      </a:lnTo>
                      <a:lnTo>
                        <a:pt x="148" y="3695"/>
                      </a:lnTo>
                      <a:lnTo>
                        <a:pt x="127" y="3630"/>
                      </a:lnTo>
                      <a:lnTo>
                        <a:pt x="107" y="3564"/>
                      </a:lnTo>
                      <a:lnTo>
                        <a:pt x="90" y="3497"/>
                      </a:lnTo>
                      <a:lnTo>
                        <a:pt x="73" y="3430"/>
                      </a:lnTo>
                      <a:lnTo>
                        <a:pt x="58" y="3362"/>
                      </a:lnTo>
                      <a:lnTo>
                        <a:pt x="44" y="3292"/>
                      </a:lnTo>
                      <a:lnTo>
                        <a:pt x="33" y="3223"/>
                      </a:lnTo>
                      <a:lnTo>
                        <a:pt x="24" y="3154"/>
                      </a:lnTo>
                      <a:lnTo>
                        <a:pt x="15" y="3084"/>
                      </a:lnTo>
                      <a:lnTo>
                        <a:pt x="9" y="3013"/>
                      </a:lnTo>
                      <a:lnTo>
                        <a:pt x="5" y="2941"/>
                      </a:lnTo>
                      <a:lnTo>
                        <a:pt x="2" y="2870"/>
                      </a:lnTo>
                      <a:lnTo>
                        <a:pt x="0" y="2798"/>
                      </a:lnTo>
                      <a:lnTo>
                        <a:pt x="0" y="2798"/>
                      </a:lnTo>
                      <a:lnTo>
                        <a:pt x="2" y="2726"/>
                      </a:lnTo>
                      <a:lnTo>
                        <a:pt x="5" y="2654"/>
                      </a:lnTo>
                      <a:lnTo>
                        <a:pt x="9" y="2583"/>
                      </a:lnTo>
                      <a:lnTo>
                        <a:pt x="15" y="2512"/>
                      </a:lnTo>
                      <a:lnTo>
                        <a:pt x="24" y="2442"/>
                      </a:lnTo>
                      <a:lnTo>
                        <a:pt x="33" y="2373"/>
                      </a:lnTo>
                      <a:lnTo>
                        <a:pt x="44" y="2303"/>
                      </a:lnTo>
                      <a:lnTo>
                        <a:pt x="58" y="2234"/>
                      </a:lnTo>
                      <a:lnTo>
                        <a:pt x="73" y="2167"/>
                      </a:lnTo>
                      <a:lnTo>
                        <a:pt x="90" y="2099"/>
                      </a:lnTo>
                      <a:lnTo>
                        <a:pt x="107" y="2033"/>
                      </a:lnTo>
                      <a:lnTo>
                        <a:pt x="127" y="1967"/>
                      </a:lnTo>
                      <a:lnTo>
                        <a:pt x="148" y="1901"/>
                      </a:lnTo>
                      <a:lnTo>
                        <a:pt x="171" y="1837"/>
                      </a:lnTo>
                      <a:lnTo>
                        <a:pt x="195" y="1773"/>
                      </a:lnTo>
                      <a:lnTo>
                        <a:pt x="222" y="1709"/>
                      </a:lnTo>
                      <a:lnTo>
                        <a:pt x="249" y="1648"/>
                      </a:lnTo>
                      <a:lnTo>
                        <a:pt x="277" y="1586"/>
                      </a:lnTo>
                      <a:lnTo>
                        <a:pt x="307" y="1525"/>
                      </a:lnTo>
                      <a:lnTo>
                        <a:pt x="339" y="1465"/>
                      </a:lnTo>
                      <a:lnTo>
                        <a:pt x="372" y="1406"/>
                      </a:lnTo>
                      <a:lnTo>
                        <a:pt x="407" y="1348"/>
                      </a:lnTo>
                      <a:lnTo>
                        <a:pt x="443" y="1290"/>
                      </a:lnTo>
                      <a:lnTo>
                        <a:pt x="479" y="1235"/>
                      </a:lnTo>
                      <a:lnTo>
                        <a:pt x="518" y="1179"/>
                      </a:lnTo>
                      <a:lnTo>
                        <a:pt x="558" y="1125"/>
                      </a:lnTo>
                      <a:lnTo>
                        <a:pt x="599" y="1072"/>
                      </a:lnTo>
                      <a:lnTo>
                        <a:pt x="641" y="1019"/>
                      </a:lnTo>
                      <a:lnTo>
                        <a:pt x="683" y="968"/>
                      </a:lnTo>
                      <a:lnTo>
                        <a:pt x="729" y="918"/>
                      </a:lnTo>
                      <a:lnTo>
                        <a:pt x="775" y="868"/>
                      </a:lnTo>
                      <a:lnTo>
                        <a:pt x="822" y="820"/>
                      </a:lnTo>
                      <a:lnTo>
                        <a:pt x="869" y="773"/>
                      </a:lnTo>
                      <a:lnTo>
                        <a:pt x="918" y="728"/>
                      </a:lnTo>
                      <a:lnTo>
                        <a:pt x="968" y="683"/>
                      </a:lnTo>
                      <a:lnTo>
                        <a:pt x="1020" y="639"/>
                      </a:lnTo>
                      <a:lnTo>
                        <a:pt x="1072" y="597"/>
                      </a:lnTo>
                      <a:lnTo>
                        <a:pt x="1126" y="556"/>
                      </a:lnTo>
                      <a:lnTo>
                        <a:pt x="1180" y="516"/>
                      </a:lnTo>
                      <a:lnTo>
                        <a:pt x="1236" y="479"/>
                      </a:lnTo>
                      <a:lnTo>
                        <a:pt x="1292" y="441"/>
                      </a:lnTo>
                      <a:lnTo>
                        <a:pt x="1349" y="405"/>
                      </a:lnTo>
                      <a:lnTo>
                        <a:pt x="1407" y="371"/>
                      </a:lnTo>
                      <a:lnTo>
                        <a:pt x="1466" y="338"/>
                      </a:lnTo>
                      <a:lnTo>
                        <a:pt x="1527" y="306"/>
                      </a:lnTo>
                      <a:lnTo>
                        <a:pt x="1588" y="276"/>
                      </a:lnTo>
                      <a:lnTo>
                        <a:pt x="1648" y="247"/>
                      </a:lnTo>
                      <a:lnTo>
                        <a:pt x="1711" y="220"/>
                      </a:lnTo>
                      <a:lnTo>
                        <a:pt x="1774" y="194"/>
                      </a:lnTo>
                      <a:lnTo>
                        <a:pt x="1838" y="170"/>
                      </a:lnTo>
                      <a:lnTo>
                        <a:pt x="1903" y="147"/>
                      </a:lnTo>
                      <a:lnTo>
                        <a:pt x="1968" y="126"/>
                      </a:lnTo>
                      <a:lnTo>
                        <a:pt x="2034" y="106"/>
                      </a:lnTo>
                      <a:lnTo>
                        <a:pt x="2101" y="88"/>
                      </a:lnTo>
                      <a:lnTo>
                        <a:pt x="2168" y="71"/>
                      </a:lnTo>
                      <a:lnTo>
                        <a:pt x="2236" y="56"/>
                      </a:lnTo>
                      <a:lnTo>
                        <a:pt x="2304" y="44"/>
                      </a:lnTo>
                      <a:lnTo>
                        <a:pt x="2373" y="32"/>
                      </a:lnTo>
                      <a:lnTo>
                        <a:pt x="2443" y="22"/>
                      </a:lnTo>
                      <a:lnTo>
                        <a:pt x="2514" y="15"/>
                      </a:lnTo>
                      <a:lnTo>
                        <a:pt x="2584" y="8"/>
                      </a:lnTo>
                      <a:lnTo>
                        <a:pt x="2655" y="3"/>
                      </a:lnTo>
                      <a:lnTo>
                        <a:pt x="2727" y="1"/>
                      </a:lnTo>
                      <a:lnTo>
                        <a:pt x="2800" y="0"/>
                      </a:lnTo>
                      <a:lnTo>
                        <a:pt x="2800" y="0"/>
                      </a:lnTo>
                      <a:lnTo>
                        <a:pt x="2871" y="1"/>
                      </a:lnTo>
                      <a:lnTo>
                        <a:pt x="2943" y="3"/>
                      </a:lnTo>
                      <a:lnTo>
                        <a:pt x="3014" y="8"/>
                      </a:lnTo>
                      <a:lnTo>
                        <a:pt x="3085" y="15"/>
                      </a:lnTo>
                      <a:lnTo>
                        <a:pt x="3155" y="22"/>
                      </a:lnTo>
                      <a:lnTo>
                        <a:pt x="3225" y="32"/>
                      </a:lnTo>
                      <a:lnTo>
                        <a:pt x="3294" y="44"/>
                      </a:lnTo>
                      <a:lnTo>
                        <a:pt x="3362" y="56"/>
                      </a:lnTo>
                      <a:lnTo>
                        <a:pt x="3430" y="71"/>
                      </a:lnTo>
                      <a:lnTo>
                        <a:pt x="3497" y="88"/>
                      </a:lnTo>
                      <a:lnTo>
                        <a:pt x="3564" y="106"/>
                      </a:lnTo>
                      <a:lnTo>
                        <a:pt x="3630" y="126"/>
                      </a:lnTo>
                      <a:lnTo>
                        <a:pt x="3696" y="147"/>
                      </a:lnTo>
                      <a:lnTo>
                        <a:pt x="3760" y="170"/>
                      </a:lnTo>
                      <a:lnTo>
                        <a:pt x="3824" y="194"/>
                      </a:lnTo>
                      <a:lnTo>
                        <a:pt x="3887" y="220"/>
                      </a:lnTo>
                      <a:lnTo>
                        <a:pt x="3950" y="247"/>
                      </a:lnTo>
                      <a:lnTo>
                        <a:pt x="4012" y="276"/>
                      </a:lnTo>
                      <a:lnTo>
                        <a:pt x="4072" y="306"/>
                      </a:lnTo>
                      <a:lnTo>
                        <a:pt x="4132" y="338"/>
                      </a:lnTo>
                      <a:lnTo>
                        <a:pt x="4191" y="371"/>
                      </a:lnTo>
                      <a:lnTo>
                        <a:pt x="4249" y="405"/>
                      </a:lnTo>
                      <a:lnTo>
                        <a:pt x="4306" y="441"/>
                      </a:lnTo>
                      <a:lnTo>
                        <a:pt x="4363" y="479"/>
                      </a:lnTo>
                      <a:lnTo>
                        <a:pt x="4418" y="516"/>
                      </a:lnTo>
                      <a:lnTo>
                        <a:pt x="4473" y="556"/>
                      </a:lnTo>
                      <a:lnTo>
                        <a:pt x="4526" y="597"/>
                      </a:lnTo>
                      <a:lnTo>
                        <a:pt x="4578" y="639"/>
                      </a:lnTo>
                      <a:lnTo>
                        <a:pt x="4630" y="683"/>
                      </a:lnTo>
                      <a:lnTo>
                        <a:pt x="4680" y="728"/>
                      </a:lnTo>
                      <a:lnTo>
                        <a:pt x="4729" y="773"/>
                      </a:lnTo>
                      <a:lnTo>
                        <a:pt x="4777" y="820"/>
                      </a:lnTo>
                      <a:lnTo>
                        <a:pt x="4825" y="868"/>
                      </a:lnTo>
                      <a:lnTo>
                        <a:pt x="4870" y="918"/>
                      </a:lnTo>
                      <a:lnTo>
                        <a:pt x="4915" y="968"/>
                      </a:lnTo>
                      <a:lnTo>
                        <a:pt x="4958" y="1019"/>
                      </a:lnTo>
                      <a:lnTo>
                        <a:pt x="5001" y="1072"/>
                      </a:lnTo>
                      <a:lnTo>
                        <a:pt x="5041" y="1125"/>
                      </a:lnTo>
                      <a:lnTo>
                        <a:pt x="5081" y="1179"/>
                      </a:lnTo>
                      <a:lnTo>
                        <a:pt x="5119" y="1235"/>
                      </a:lnTo>
                      <a:lnTo>
                        <a:pt x="5157" y="1290"/>
                      </a:lnTo>
                      <a:lnTo>
                        <a:pt x="5192" y="1348"/>
                      </a:lnTo>
                      <a:lnTo>
                        <a:pt x="5227" y="1406"/>
                      </a:lnTo>
                      <a:lnTo>
                        <a:pt x="5259" y="1465"/>
                      </a:lnTo>
                      <a:lnTo>
                        <a:pt x="5291" y="1525"/>
                      </a:lnTo>
                      <a:lnTo>
                        <a:pt x="5321" y="1586"/>
                      </a:lnTo>
                      <a:lnTo>
                        <a:pt x="5350" y="1648"/>
                      </a:lnTo>
                      <a:lnTo>
                        <a:pt x="5378" y="1709"/>
                      </a:lnTo>
                      <a:lnTo>
                        <a:pt x="5403" y="1773"/>
                      </a:lnTo>
                      <a:lnTo>
                        <a:pt x="5428" y="1837"/>
                      </a:lnTo>
                      <a:lnTo>
                        <a:pt x="5450" y="1901"/>
                      </a:lnTo>
                      <a:lnTo>
                        <a:pt x="5472" y="1967"/>
                      </a:lnTo>
                      <a:lnTo>
                        <a:pt x="5492" y="2033"/>
                      </a:lnTo>
                      <a:lnTo>
                        <a:pt x="5510" y="2099"/>
                      </a:lnTo>
                      <a:lnTo>
                        <a:pt x="5525" y="2167"/>
                      </a:lnTo>
                      <a:lnTo>
                        <a:pt x="5541" y="2234"/>
                      </a:lnTo>
                      <a:lnTo>
                        <a:pt x="5554" y="2303"/>
                      </a:lnTo>
                      <a:lnTo>
                        <a:pt x="5565" y="2373"/>
                      </a:lnTo>
                      <a:lnTo>
                        <a:pt x="5576" y="2442"/>
                      </a:lnTo>
                      <a:lnTo>
                        <a:pt x="5583" y="2512"/>
                      </a:lnTo>
                      <a:lnTo>
                        <a:pt x="5589" y="2583"/>
                      </a:lnTo>
                      <a:lnTo>
                        <a:pt x="5595" y="2654"/>
                      </a:lnTo>
                      <a:lnTo>
                        <a:pt x="5597" y="2726"/>
                      </a:lnTo>
                      <a:lnTo>
                        <a:pt x="5598" y="2798"/>
                      </a:lnTo>
                      <a:lnTo>
                        <a:pt x="5598" y="2798"/>
                      </a:lnTo>
                      <a:lnTo>
                        <a:pt x="5597" y="2870"/>
                      </a:lnTo>
                      <a:lnTo>
                        <a:pt x="5595" y="2941"/>
                      </a:lnTo>
                      <a:lnTo>
                        <a:pt x="5589" y="3013"/>
                      </a:lnTo>
                      <a:lnTo>
                        <a:pt x="5583" y="3084"/>
                      </a:lnTo>
                      <a:lnTo>
                        <a:pt x="5576" y="3154"/>
                      </a:lnTo>
                      <a:lnTo>
                        <a:pt x="5565" y="3223"/>
                      </a:lnTo>
                      <a:lnTo>
                        <a:pt x="5554" y="3292"/>
                      </a:lnTo>
                      <a:lnTo>
                        <a:pt x="5541" y="3362"/>
                      </a:lnTo>
                      <a:lnTo>
                        <a:pt x="5525" y="3430"/>
                      </a:lnTo>
                      <a:lnTo>
                        <a:pt x="5510" y="3497"/>
                      </a:lnTo>
                      <a:lnTo>
                        <a:pt x="5492" y="3564"/>
                      </a:lnTo>
                      <a:lnTo>
                        <a:pt x="5472" y="3630"/>
                      </a:lnTo>
                      <a:lnTo>
                        <a:pt x="5450" y="3695"/>
                      </a:lnTo>
                      <a:lnTo>
                        <a:pt x="5428" y="3760"/>
                      </a:lnTo>
                      <a:lnTo>
                        <a:pt x="5403" y="3823"/>
                      </a:lnTo>
                      <a:lnTo>
                        <a:pt x="5378" y="3886"/>
                      </a:lnTo>
                      <a:lnTo>
                        <a:pt x="5350" y="3948"/>
                      </a:lnTo>
                      <a:lnTo>
                        <a:pt x="5321" y="4010"/>
                      </a:lnTo>
                      <a:lnTo>
                        <a:pt x="5291" y="4071"/>
                      </a:lnTo>
                      <a:lnTo>
                        <a:pt x="5259" y="4130"/>
                      </a:lnTo>
                      <a:lnTo>
                        <a:pt x="5227" y="4190"/>
                      </a:lnTo>
                      <a:lnTo>
                        <a:pt x="5192" y="4248"/>
                      </a:lnTo>
                      <a:lnTo>
                        <a:pt x="5157" y="4305"/>
                      </a:lnTo>
                      <a:lnTo>
                        <a:pt x="5119" y="4362"/>
                      </a:lnTo>
                      <a:lnTo>
                        <a:pt x="5081" y="4416"/>
                      </a:lnTo>
                      <a:lnTo>
                        <a:pt x="5041" y="4471"/>
                      </a:lnTo>
                      <a:lnTo>
                        <a:pt x="5001" y="4524"/>
                      </a:lnTo>
                      <a:lnTo>
                        <a:pt x="4958" y="4577"/>
                      </a:lnTo>
                      <a:lnTo>
                        <a:pt x="4915" y="4628"/>
                      </a:lnTo>
                      <a:lnTo>
                        <a:pt x="4870" y="4678"/>
                      </a:lnTo>
                      <a:lnTo>
                        <a:pt x="4825" y="4728"/>
                      </a:lnTo>
                      <a:lnTo>
                        <a:pt x="4777" y="4776"/>
                      </a:lnTo>
                      <a:lnTo>
                        <a:pt x="4729" y="4823"/>
                      </a:lnTo>
                      <a:lnTo>
                        <a:pt x="4680" y="4869"/>
                      </a:lnTo>
                      <a:lnTo>
                        <a:pt x="4630" y="4913"/>
                      </a:lnTo>
                      <a:lnTo>
                        <a:pt x="4578" y="4957"/>
                      </a:lnTo>
                      <a:lnTo>
                        <a:pt x="4526" y="4999"/>
                      </a:lnTo>
                      <a:lnTo>
                        <a:pt x="4473" y="5040"/>
                      </a:lnTo>
                      <a:lnTo>
                        <a:pt x="4418" y="5080"/>
                      </a:lnTo>
                      <a:lnTo>
                        <a:pt x="4363" y="5118"/>
                      </a:lnTo>
                      <a:lnTo>
                        <a:pt x="4306" y="5155"/>
                      </a:lnTo>
                      <a:lnTo>
                        <a:pt x="4249" y="5191"/>
                      </a:lnTo>
                      <a:lnTo>
                        <a:pt x="4191" y="5225"/>
                      </a:lnTo>
                      <a:lnTo>
                        <a:pt x="4132" y="5259"/>
                      </a:lnTo>
                      <a:lnTo>
                        <a:pt x="4072" y="5290"/>
                      </a:lnTo>
                      <a:lnTo>
                        <a:pt x="4012" y="5320"/>
                      </a:lnTo>
                      <a:lnTo>
                        <a:pt x="3950" y="5349"/>
                      </a:lnTo>
                      <a:lnTo>
                        <a:pt x="3887" y="5376"/>
                      </a:lnTo>
                      <a:lnTo>
                        <a:pt x="3824" y="5402"/>
                      </a:lnTo>
                      <a:lnTo>
                        <a:pt x="3760" y="5426"/>
                      </a:lnTo>
                      <a:lnTo>
                        <a:pt x="3696" y="5449"/>
                      </a:lnTo>
                      <a:lnTo>
                        <a:pt x="3630" y="5470"/>
                      </a:lnTo>
                      <a:lnTo>
                        <a:pt x="3564" y="5490"/>
                      </a:lnTo>
                      <a:lnTo>
                        <a:pt x="3497" y="5508"/>
                      </a:lnTo>
                      <a:lnTo>
                        <a:pt x="3430" y="5525"/>
                      </a:lnTo>
                      <a:lnTo>
                        <a:pt x="3362" y="5539"/>
                      </a:lnTo>
                      <a:lnTo>
                        <a:pt x="3294" y="5553"/>
                      </a:lnTo>
                      <a:lnTo>
                        <a:pt x="3225" y="5565"/>
                      </a:lnTo>
                      <a:lnTo>
                        <a:pt x="3155" y="5574"/>
                      </a:lnTo>
                      <a:lnTo>
                        <a:pt x="3085" y="5582"/>
                      </a:lnTo>
                      <a:lnTo>
                        <a:pt x="3014" y="5589"/>
                      </a:lnTo>
                      <a:lnTo>
                        <a:pt x="2943" y="5593"/>
                      </a:lnTo>
                      <a:lnTo>
                        <a:pt x="2871" y="5596"/>
                      </a:lnTo>
                      <a:lnTo>
                        <a:pt x="2800" y="5596"/>
                      </a:lnTo>
                      <a:lnTo>
                        <a:pt x="2800" y="5596"/>
                      </a:lnTo>
                      <a:close/>
                      <a:moveTo>
                        <a:pt x="2800" y="511"/>
                      </a:moveTo>
                      <a:lnTo>
                        <a:pt x="2800" y="511"/>
                      </a:lnTo>
                      <a:lnTo>
                        <a:pt x="2740" y="512"/>
                      </a:lnTo>
                      <a:lnTo>
                        <a:pt x="2681" y="514"/>
                      </a:lnTo>
                      <a:lnTo>
                        <a:pt x="2624" y="517"/>
                      </a:lnTo>
                      <a:lnTo>
                        <a:pt x="2566" y="523"/>
                      </a:lnTo>
                      <a:lnTo>
                        <a:pt x="2508" y="530"/>
                      </a:lnTo>
                      <a:lnTo>
                        <a:pt x="2452" y="537"/>
                      </a:lnTo>
                      <a:lnTo>
                        <a:pt x="2395" y="547"/>
                      </a:lnTo>
                      <a:lnTo>
                        <a:pt x="2339" y="557"/>
                      </a:lnTo>
                      <a:lnTo>
                        <a:pt x="2283" y="570"/>
                      </a:lnTo>
                      <a:lnTo>
                        <a:pt x="2229" y="583"/>
                      </a:lnTo>
                      <a:lnTo>
                        <a:pt x="2174" y="598"/>
                      </a:lnTo>
                      <a:lnTo>
                        <a:pt x="2120" y="614"/>
                      </a:lnTo>
                      <a:lnTo>
                        <a:pt x="2066" y="632"/>
                      </a:lnTo>
                      <a:lnTo>
                        <a:pt x="2014" y="650"/>
                      </a:lnTo>
                      <a:lnTo>
                        <a:pt x="1962" y="670"/>
                      </a:lnTo>
                      <a:lnTo>
                        <a:pt x="1910" y="691"/>
                      </a:lnTo>
                      <a:lnTo>
                        <a:pt x="1859" y="713"/>
                      </a:lnTo>
                      <a:lnTo>
                        <a:pt x="1809" y="737"/>
                      </a:lnTo>
                      <a:lnTo>
                        <a:pt x="1759" y="761"/>
                      </a:lnTo>
                      <a:lnTo>
                        <a:pt x="1710" y="788"/>
                      </a:lnTo>
                      <a:lnTo>
                        <a:pt x="1662" y="815"/>
                      </a:lnTo>
                      <a:lnTo>
                        <a:pt x="1615" y="843"/>
                      </a:lnTo>
                      <a:lnTo>
                        <a:pt x="1568" y="871"/>
                      </a:lnTo>
                      <a:lnTo>
                        <a:pt x="1522" y="902"/>
                      </a:lnTo>
                      <a:lnTo>
                        <a:pt x="1477" y="933"/>
                      </a:lnTo>
                      <a:lnTo>
                        <a:pt x="1431" y="966"/>
                      </a:lnTo>
                      <a:lnTo>
                        <a:pt x="1389" y="999"/>
                      </a:lnTo>
                      <a:lnTo>
                        <a:pt x="1346" y="1034"/>
                      </a:lnTo>
                      <a:lnTo>
                        <a:pt x="1304" y="1069"/>
                      </a:lnTo>
                      <a:lnTo>
                        <a:pt x="1263" y="1106"/>
                      </a:lnTo>
                      <a:lnTo>
                        <a:pt x="1222" y="1144"/>
                      </a:lnTo>
                      <a:lnTo>
                        <a:pt x="1183" y="1182"/>
                      </a:lnTo>
                      <a:lnTo>
                        <a:pt x="1144" y="1221"/>
                      </a:lnTo>
                      <a:lnTo>
                        <a:pt x="1107" y="1261"/>
                      </a:lnTo>
                      <a:lnTo>
                        <a:pt x="1071" y="1302"/>
                      </a:lnTo>
                      <a:lnTo>
                        <a:pt x="1035" y="1344"/>
                      </a:lnTo>
                      <a:lnTo>
                        <a:pt x="1001" y="1387"/>
                      </a:lnTo>
                      <a:lnTo>
                        <a:pt x="967" y="1431"/>
                      </a:lnTo>
                      <a:lnTo>
                        <a:pt x="935" y="1475"/>
                      </a:lnTo>
                      <a:lnTo>
                        <a:pt x="903" y="1520"/>
                      </a:lnTo>
                      <a:lnTo>
                        <a:pt x="873" y="1566"/>
                      </a:lnTo>
                      <a:lnTo>
                        <a:pt x="844" y="1613"/>
                      </a:lnTo>
                      <a:lnTo>
                        <a:pt x="815" y="1660"/>
                      </a:lnTo>
                      <a:lnTo>
                        <a:pt x="788" y="1708"/>
                      </a:lnTo>
                      <a:lnTo>
                        <a:pt x="763" y="1758"/>
                      </a:lnTo>
                      <a:lnTo>
                        <a:pt x="738" y="1808"/>
                      </a:lnTo>
                      <a:lnTo>
                        <a:pt x="715" y="1858"/>
                      </a:lnTo>
                      <a:lnTo>
                        <a:pt x="692" y="1909"/>
                      </a:lnTo>
                      <a:lnTo>
                        <a:pt x="671" y="1960"/>
                      </a:lnTo>
                      <a:lnTo>
                        <a:pt x="651" y="2012"/>
                      </a:lnTo>
                      <a:lnTo>
                        <a:pt x="633" y="2066"/>
                      </a:lnTo>
                      <a:lnTo>
                        <a:pt x="615" y="2119"/>
                      </a:lnTo>
                      <a:lnTo>
                        <a:pt x="600" y="2173"/>
                      </a:lnTo>
                      <a:lnTo>
                        <a:pt x="584" y="2227"/>
                      </a:lnTo>
                      <a:lnTo>
                        <a:pt x="571" y="2283"/>
                      </a:lnTo>
                      <a:lnTo>
                        <a:pt x="559" y="2338"/>
                      </a:lnTo>
                      <a:lnTo>
                        <a:pt x="548" y="2394"/>
                      </a:lnTo>
                      <a:lnTo>
                        <a:pt x="539" y="2450"/>
                      </a:lnTo>
                      <a:lnTo>
                        <a:pt x="531" y="2507"/>
                      </a:lnTo>
                      <a:lnTo>
                        <a:pt x="524" y="2564"/>
                      </a:lnTo>
                      <a:lnTo>
                        <a:pt x="519" y="2622"/>
                      </a:lnTo>
                      <a:lnTo>
                        <a:pt x="515" y="2681"/>
                      </a:lnTo>
                      <a:lnTo>
                        <a:pt x="513" y="2739"/>
                      </a:lnTo>
                      <a:lnTo>
                        <a:pt x="513" y="2798"/>
                      </a:lnTo>
                      <a:lnTo>
                        <a:pt x="513" y="2798"/>
                      </a:lnTo>
                      <a:lnTo>
                        <a:pt x="513" y="2857"/>
                      </a:lnTo>
                      <a:lnTo>
                        <a:pt x="515" y="2915"/>
                      </a:lnTo>
                      <a:lnTo>
                        <a:pt x="519" y="2974"/>
                      </a:lnTo>
                      <a:lnTo>
                        <a:pt x="524" y="3032"/>
                      </a:lnTo>
                      <a:lnTo>
                        <a:pt x="531" y="3089"/>
                      </a:lnTo>
                      <a:lnTo>
                        <a:pt x="539" y="3146"/>
                      </a:lnTo>
                      <a:lnTo>
                        <a:pt x="548" y="3202"/>
                      </a:lnTo>
                      <a:lnTo>
                        <a:pt x="559" y="3258"/>
                      </a:lnTo>
                      <a:lnTo>
                        <a:pt x="571" y="3313"/>
                      </a:lnTo>
                      <a:lnTo>
                        <a:pt x="584" y="3369"/>
                      </a:lnTo>
                      <a:lnTo>
                        <a:pt x="600" y="3423"/>
                      </a:lnTo>
                      <a:lnTo>
                        <a:pt x="615" y="3478"/>
                      </a:lnTo>
                      <a:lnTo>
                        <a:pt x="633" y="3530"/>
                      </a:lnTo>
                      <a:lnTo>
                        <a:pt x="651" y="3584"/>
                      </a:lnTo>
                      <a:lnTo>
                        <a:pt x="671" y="3636"/>
                      </a:lnTo>
                      <a:lnTo>
                        <a:pt x="692" y="3687"/>
                      </a:lnTo>
                      <a:lnTo>
                        <a:pt x="715" y="3739"/>
                      </a:lnTo>
                      <a:lnTo>
                        <a:pt x="738" y="3789"/>
                      </a:lnTo>
                      <a:lnTo>
                        <a:pt x="763" y="3838"/>
                      </a:lnTo>
                      <a:lnTo>
                        <a:pt x="788" y="3887"/>
                      </a:lnTo>
                      <a:lnTo>
                        <a:pt x="815" y="3936"/>
                      </a:lnTo>
                      <a:lnTo>
                        <a:pt x="844" y="3983"/>
                      </a:lnTo>
                      <a:lnTo>
                        <a:pt x="873" y="4030"/>
                      </a:lnTo>
                      <a:lnTo>
                        <a:pt x="903" y="4076"/>
                      </a:lnTo>
                      <a:lnTo>
                        <a:pt x="935" y="4121"/>
                      </a:lnTo>
                      <a:lnTo>
                        <a:pt x="967" y="4165"/>
                      </a:lnTo>
                      <a:lnTo>
                        <a:pt x="1001" y="4209"/>
                      </a:lnTo>
                      <a:lnTo>
                        <a:pt x="1035" y="4252"/>
                      </a:lnTo>
                      <a:lnTo>
                        <a:pt x="1071" y="4294"/>
                      </a:lnTo>
                      <a:lnTo>
                        <a:pt x="1107" y="4335"/>
                      </a:lnTo>
                      <a:lnTo>
                        <a:pt x="1144" y="4375"/>
                      </a:lnTo>
                      <a:lnTo>
                        <a:pt x="1183" y="4414"/>
                      </a:lnTo>
                      <a:lnTo>
                        <a:pt x="1222" y="4453"/>
                      </a:lnTo>
                      <a:lnTo>
                        <a:pt x="1263" y="4490"/>
                      </a:lnTo>
                      <a:lnTo>
                        <a:pt x="1304" y="4526"/>
                      </a:lnTo>
                      <a:lnTo>
                        <a:pt x="1346" y="4562"/>
                      </a:lnTo>
                      <a:lnTo>
                        <a:pt x="1389" y="4597"/>
                      </a:lnTo>
                      <a:lnTo>
                        <a:pt x="1431" y="4630"/>
                      </a:lnTo>
                      <a:lnTo>
                        <a:pt x="1477" y="4663"/>
                      </a:lnTo>
                      <a:lnTo>
                        <a:pt x="1522" y="4694"/>
                      </a:lnTo>
                      <a:lnTo>
                        <a:pt x="1568" y="4724"/>
                      </a:lnTo>
                      <a:lnTo>
                        <a:pt x="1615" y="4754"/>
                      </a:lnTo>
                      <a:lnTo>
                        <a:pt x="1662" y="4781"/>
                      </a:lnTo>
                      <a:lnTo>
                        <a:pt x="1710" y="4808"/>
                      </a:lnTo>
                      <a:lnTo>
                        <a:pt x="1759" y="4834"/>
                      </a:lnTo>
                      <a:lnTo>
                        <a:pt x="1809" y="4860"/>
                      </a:lnTo>
                      <a:lnTo>
                        <a:pt x="1859" y="4883"/>
                      </a:lnTo>
                      <a:lnTo>
                        <a:pt x="1910" y="4905"/>
                      </a:lnTo>
                      <a:lnTo>
                        <a:pt x="1962" y="4926"/>
                      </a:lnTo>
                      <a:lnTo>
                        <a:pt x="2014" y="4945"/>
                      </a:lnTo>
                      <a:lnTo>
                        <a:pt x="2066" y="4964"/>
                      </a:lnTo>
                      <a:lnTo>
                        <a:pt x="2120" y="4982"/>
                      </a:lnTo>
                      <a:lnTo>
                        <a:pt x="2174" y="4998"/>
                      </a:lnTo>
                      <a:lnTo>
                        <a:pt x="2229" y="5012"/>
                      </a:lnTo>
                      <a:lnTo>
                        <a:pt x="2283" y="5026"/>
                      </a:lnTo>
                      <a:lnTo>
                        <a:pt x="2339" y="5039"/>
                      </a:lnTo>
                      <a:lnTo>
                        <a:pt x="2395" y="5049"/>
                      </a:lnTo>
                      <a:lnTo>
                        <a:pt x="2452" y="5059"/>
                      </a:lnTo>
                      <a:lnTo>
                        <a:pt x="2508" y="5067"/>
                      </a:lnTo>
                      <a:lnTo>
                        <a:pt x="2566" y="5073"/>
                      </a:lnTo>
                      <a:lnTo>
                        <a:pt x="2624" y="5078"/>
                      </a:lnTo>
                      <a:lnTo>
                        <a:pt x="2681" y="5082"/>
                      </a:lnTo>
                      <a:lnTo>
                        <a:pt x="2740" y="5084"/>
                      </a:lnTo>
                      <a:lnTo>
                        <a:pt x="2800" y="5085"/>
                      </a:lnTo>
                      <a:lnTo>
                        <a:pt x="2800" y="5085"/>
                      </a:lnTo>
                      <a:lnTo>
                        <a:pt x="2858" y="5084"/>
                      </a:lnTo>
                      <a:lnTo>
                        <a:pt x="2917" y="5082"/>
                      </a:lnTo>
                      <a:lnTo>
                        <a:pt x="2975" y="5078"/>
                      </a:lnTo>
                      <a:lnTo>
                        <a:pt x="3033" y="5073"/>
                      </a:lnTo>
                      <a:lnTo>
                        <a:pt x="3090" y="5067"/>
                      </a:lnTo>
                      <a:lnTo>
                        <a:pt x="3147" y="5059"/>
                      </a:lnTo>
                      <a:lnTo>
                        <a:pt x="3204" y="5049"/>
                      </a:lnTo>
                      <a:lnTo>
                        <a:pt x="3259" y="5039"/>
                      </a:lnTo>
                      <a:lnTo>
                        <a:pt x="3315" y="5026"/>
                      </a:lnTo>
                      <a:lnTo>
                        <a:pt x="3371" y="5012"/>
                      </a:lnTo>
                      <a:lnTo>
                        <a:pt x="3425" y="4998"/>
                      </a:lnTo>
                      <a:lnTo>
                        <a:pt x="3478" y="4982"/>
                      </a:lnTo>
                      <a:lnTo>
                        <a:pt x="3532" y="4964"/>
                      </a:lnTo>
                      <a:lnTo>
                        <a:pt x="3584" y="4945"/>
                      </a:lnTo>
                      <a:lnTo>
                        <a:pt x="3637" y="4926"/>
                      </a:lnTo>
                      <a:lnTo>
                        <a:pt x="3689" y="4905"/>
                      </a:lnTo>
                      <a:lnTo>
                        <a:pt x="3739" y="4883"/>
                      </a:lnTo>
                      <a:lnTo>
                        <a:pt x="3790" y="4860"/>
                      </a:lnTo>
                      <a:lnTo>
                        <a:pt x="3840" y="4834"/>
                      </a:lnTo>
                      <a:lnTo>
                        <a:pt x="3888" y="4808"/>
                      </a:lnTo>
                      <a:lnTo>
                        <a:pt x="3936" y="4781"/>
                      </a:lnTo>
                      <a:lnTo>
                        <a:pt x="3984" y="4754"/>
                      </a:lnTo>
                      <a:lnTo>
                        <a:pt x="4030" y="4724"/>
                      </a:lnTo>
                      <a:lnTo>
                        <a:pt x="4077" y="4694"/>
                      </a:lnTo>
                      <a:lnTo>
                        <a:pt x="4123" y="4663"/>
                      </a:lnTo>
                      <a:lnTo>
                        <a:pt x="4167" y="4630"/>
                      </a:lnTo>
                      <a:lnTo>
                        <a:pt x="4211" y="4597"/>
                      </a:lnTo>
                      <a:lnTo>
                        <a:pt x="4253" y="4562"/>
                      </a:lnTo>
                      <a:lnTo>
                        <a:pt x="4294" y="4526"/>
                      </a:lnTo>
                      <a:lnTo>
                        <a:pt x="4336" y="4490"/>
                      </a:lnTo>
                      <a:lnTo>
                        <a:pt x="4376" y="4453"/>
                      </a:lnTo>
                      <a:lnTo>
                        <a:pt x="4416" y="4414"/>
                      </a:lnTo>
                      <a:lnTo>
                        <a:pt x="4454" y="4375"/>
                      </a:lnTo>
                      <a:lnTo>
                        <a:pt x="4491" y="4335"/>
                      </a:lnTo>
                      <a:lnTo>
                        <a:pt x="4528" y="4294"/>
                      </a:lnTo>
                      <a:lnTo>
                        <a:pt x="4564" y="4252"/>
                      </a:lnTo>
                      <a:lnTo>
                        <a:pt x="4597" y="4209"/>
                      </a:lnTo>
                      <a:lnTo>
                        <a:pt x="4631" y="4165"/>
                      </a:lnTo>
                      <a:lnTo>
                        <a:pt x="4663" y="4121"/>
                      </a:lnTo>
                      <a:lnTo>
                        <a:pt x="4695" y="4076"/>
                      </a:lnTo>
                      <a:lnTo>
                        <a:pt x="4725" y="4030"/>
                      </a:lnTo>
                      <a:lnTo>
                        <a:pt x="4754" y="3983"/>
                      </a:lnTo>
                      <a:lnTo>
                        <a:pt x="4783" y="3936"/>
                      </a:lnTo>
                      <a:lnTo>
                        <a:pt x="4810" y="3887"/>
                      </a:lnTo>
                      <a:lnTo>
                        <a:pt x="4835" y="3838"/>
                      </a:lnTo>
                      <a:lnTo>
                        <a:pt x="4860" y="3789"/>
                      </a:lnTo>
                      <a:lnTo>
                        <a:pt x="4884" y="3739"/>
                      </a:lnTo>
                      <a:lnTo>
                        <a:pt x="4906" y="3687"/>
                      </a:lnTo>
                      <a:lnTo>
                        <a:pt x="4927" y="3636"/>
                      </a:lnTo>
                      <a:lnTo>
                        <a:pt x="4947" y="3584"/>
                      </a:lnTo>
                      <a:lnTo>
                        <a:pt x="4966" y="3530"/>
                      </a:lnTo>
                      <a:lnTo>
                        <a:pt x="4983" y="3478"/>
                      </a:lnTo>
                      <a:lnTo>
                        <a:pt x="5000" y="3423"/>
                      </a:lnTo>
                      <a:lnTo>
                        <a:pt x="5014" y="3369"/>
                      </a:lnTo>
                      <a:lnTo>
                        <a:pt x="5028" y="3313"/>
                      </a:lnTo>
                      <a:lnTo>
                        <a:pt x="5039" y="3258"/>
                      </a:lnTo>
                      <a:lnTo>
                        <a:pt x="5050" y="3202"/>
                      </a:lnTo>
                      <a:lnTo>
                        <a:pt x="5059" y="3146"/>
                      </a:lnTo>
                      <a:lnTo>
                        <a:pt x="5068" y="3089"/>
                      </a:lnTo>
                      <a:lnTo>
                        <a:pt x="5074" y="3032"/>
                      </a:lnTo>
                      <a:lnTo>
                        <a:pt x="5079" y="2974"/>
                      </a:lnTo>
                      <a:lnTo>
                        <a:pt x="5083" y="2915"/>
                      </a:lnTo>
                      <a:lnTo>
                        <a:pt x="5085" y="2857"/>
                      </a:lnTo>
                      <a:lnTo>
                        <a:pt x="5086" y="2798"/>
                      </a:lnTo>
                      <a:lnTo>
                        <a:pt x="5086" y="2798"/>
                      </a:lnTo>
                      <a:lnTo>
                        <a:pt x="5085" y="2739"/>
                      </a:lnTo>
                      <a:lnTo>
                        <a:pt x="5083" y="2681"/>
                      </a:lnTo>
                      <a:lnTo>
                        <a:pt x="5079" y="2622"/>
                      </a:lnTo>
                      <a:lnTo>
                        <a:pt x="5074" y="2564"/>
                      </a:lnTo>
                      <a:lnTo>
                        <a:pt x="5068" y="2507"/>
                      </a:lnTo>
                      <a:lnTo>
                        <a:pt x="5059" y="2450"/>
                      </a:lnTo>
                      <a:lnTo>
                        <a:pt x="5050" y="2394"/>
                      </a:lnTo>
                      <a:lnTo>
                        <a:pt x="5039" y="2338"/>
                      </a:lnTo>
                      <a:lnTo>
                        <a:pt x="5028" y="2283"/>
                      </a:lnTo>
                      <a:lnTo>
                        <a:pt x="5014" y="2227"/>
                      </a:lnTo>
                      <a:lnTo>
                        <a:pt x="5000" y="2173"/>
                      </a:lnTo>
                      <a:lnTo>
                        <a:pt x="4983" y="2119"/>
                      </a:lnTo>
                      <a:lnTo>
                        <a:pt x="4966" y="2066"/>
                      </a:lnTo>
                      <a:lnTo>
                        <a:pt x="4947" y="2012"/>
                      </a:lnTo>
                      <a:lnTo>
                        <a:pt x="4927" y="1960"/>
                      </a:lnTo>
                      <a:lnTo>
                        <a:pt x="4906" y="1909"/>
                      </a:lnTo>
                      <a:lnTo>
                        <a:pt x="4884" y="1858"/>
                      </a:lnTo>
                      <a:lnTo>
                        <a:pt x="4860" y="1808"/>
                      </a:lnTo>
                      <a:lnTo>
                        <a:pt x="4835" y="1758"/>
                      </a:lnTo>
                      <a:lnTo>
                        <a:pt x="4810" y="1708"/>
                      </a:lnTo>
                      <a:lnTo>
                        <a:pt x="4783" y="1660"/>
                      </a:lnTo>
                      <a:lnTo>
                        <a:pt x="4754" y="1613"/>
                      </a:lnTo>
                      <a:lnTo>
                        <a:pt x="4725" y="1566"/>
                      </a:lnTo>
                      <a:lnTo>
                        <a:pt x="4695" y="1520"/>
                      </a:lnTo>
                      <a:lnTo>
                        <a:pt x="4663" y="1475"/>
                      </a:lnTo>
                      <a:lnTo>
                        <a:pt x="4631" y="1431"/>
                      </a:lnTo>
                      <a:lnTo>
                        <a:pt x="4597" y="1387"/>
                      </a:lnTo>
                      <a:lnTo>
                        <a:pt x="4564" y="1344"/>
                      </a:lnTo>
                      <a:lnTo>
                        <a:pt x="4528" y="1302"/>
                      </a:lnTo>
                      <a:lnTo>
                        <a:pt x="4491" y="1261"/>
                      </a:lnTo>
                      <a:lnTo>
                        <a:pt x="4454" y="1221"/>
                      </a:lnTo>
                      <a:lnTo>
                        <a:pt x="4416" y="1182"/>
                      </a:lnTo>
                      <a:lnTo>
                        <a:pt x="4376" y="1144"/>
                      </a:lnTo>
                      <a:lnTo>
                        <a:pt x="4336" y="1106"/>
                      </a:lnTo>
                      <a:lnTo>
                        <a:pt x="4294" y="1069"/>
                      </a:lnTo>
                      <a:lnTo>
                        <a:pt x="4253" y="1034"/>
                      </a:lnTo>
                      <a:lnTo>
                        <a:pt x="4211" y="999"/>
                      </a:lnTo>
                      <a:lnTo>
                        <a:pt x="4167" y="966"/>
                      </a:lnTo>
                      <a:lnTo>
                        <a:pt x="4123" y="933"/>
                      </a:lnTo>
                      <a:lnTo>
                        <a:pt x="4077" y="902"/>
                      </a:lnTo>
                      <a:lnTo>
                        <a:pt x="4030" y="871"/>
                      </a:lnTo>
                      <a:lnTo>
                        <a:pt x="3984" y="843"/>
                      </a:lnTo>
                      <a:lnTo>
                        <a:pt x="3936" y="815"/>
                      </a:lnTo>
                      <a:lnTo>
                        <a:pt x="3888" y="788"/>
                      </a:lnTo>
                      <a:lnTo>
                        <a:pt x="3840" y="761"/>
                      </a:lnTo>
                      <a:lnTo>
                        <a:pt x="3790" y="737"/>
                      </a:lnTo>
                      <a:lnTo>
                        <a:pt x="3739" y="713"/>
                      </a:lnTo>
                      <a:lnTo>
                        <a:pt x="3689" y="691"/>
                      </a:lnTo>
                      <a:lnTo>
                        <a:pt x="3637" y="670"/>
                      </a:lnTo>
                      <a:lnTo>
                        <a:pt x="3584" y="650"/>
                      </a:lnTo>
                      <a:lnTo>
                        <a:pt x="3532" y="632"/>
                      </a:lnTo>
                      <a:lnTo>
                        <a:pt x="3478" y="614"/>
                      </a:lnTo>
                      <a:lnTo>
                        <a:pt x="3425" y="598"/>
                      </a:lnTo>
                      <a:lnTo>
                        <a:pt x="3371" y="583"/>
                      </a:lnTo>
                      <a:lnTo>
                        <a:pt x="3315" y="570"/>
                      </a:lnTo>
                      <a:lnTo>
                        <a:pt x="3259" y="557"/>
                      </a:lnTo>
                      <a:lnTo>
                        <a:pt x="3204" y="547"/>
                      </a:lnTo>
                      <a:lnTo>
                        <a:pt x="3147" y="537"/>
                      </a:lnTo>
                      <a:lnTo>
                        <a:pt x="3090" y="530"/>
                      </a:lnTo>
                      <a:lnTo>
                        <a:pt x="3033" y="523"/>
                      </a:lnTo>
                      <a:lnTo>
                        <a:pt x="2975" y="517"/>
                      </a:lnTo>
                      <a:lnTo>
                        <a:pt x="2917" y="514"/>
                      </a:lnTo>
                      <a:lnTo>
                        <a:pt x="2858" y="512"/>
                      </a:lnTo>
                      <a:lnTo>
                        <a:pt x="2800" y="511"/>
                      </a:lnTo>
                      <a:lnTo>
                        <a:pt x="2800" y="5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3" name="Freeform 7">
                  <a:extLst>
                    <a:ext uri="{FF2B5EF4-FFF2-40B4-BE49-F238E27FC236}">
                      <a16:creationId xmlns:a16="http://schemas.microsoft.com/office/drawing/2014/main" id="{16BC4430-2F1C-45C3-A300-F504EAFE7ABC}"/>
                    </a:ext>
                  </a:extLst>
                </p:cNvPr>
                <p:cNvSpPr>
                  <a:spLocks noEditPoints="1"/>
                </p:cNvSpPr>
                <p:nvPr/>
              </p:nvSpPr>
              <p:spPr bwMode="auto">
                <a:xfrm>
                  <a:off x="4579725" y="2708413"/>
                  <a:ext cx="247472" cy="247474"/>
                </a:xfrm>
                <a:custGeom>
                  <a:avLst/>
                  <a:gdLst>
                    <a:gd name="T0" fmla="*/ 2304 w 5597"/>
                    <a:gd name="T1" fmla="*/ 5553 h 5596"/>
                    <a:gd name="T2" fmla="*/ 1710 w 5597"/>
                    <a:gd name="T3" fmla="*/ 5376 h 5596"/>
                    <a:gd name="T4" fmla="*/ 1179 w 5597"/>
                    <a:gd name="T5" fmla="*/ 5080 h 5596"/>
                    <a:gd name="T6" fmla="*/ 727 w 5597"/>
                    <a:gd name="T7" fmla="*/ 4678 h 5596"/>
                    <a:gd name="T8" fmla="*/ 371 w 5597"/>
                    <a:gd name="T9" fmla="*/ 4190 h 5596"/>
                    <a:gd name="T10" fmla="*/ 126 w 5597"/>
                    <a:gd name="T11" fmla="*/ 3630 h 5596"/>
                    <a:gd name="T12" fmla="*/ 8 w 5597"/>
                    <a:gd name="T13" fmla="*/ 3013 h 5596"/>
                    <a:gd name="T14" fmla="*/ 22 w 5597"/>
                    <a:gd name="T15" fmla="*/ 2442 h 5596"/>
                    <a:gd name="T16" fmla="*/ 170 w 5597"/>
                    <a:gd name="T17" fmla="*/ 1837 h 5596"/>
                    <a:gd name="T18" fmla="*/ 442 w 5597"/>
                    <a:gd name="T19" fmla="*/ 1290 h 5596"/>
                    <a:gd name="T20" fmla="*/ 821 w 5597"/>
                    <a:gd name="T21" fmla="*/ 820 h 5596"/>
                    <a:gd name="T22" fmla="*/ 1291 w 5597"/>
                    <a:gd name="T23" fmla="*/ 441 h 5596"/>
                    <a:gd name="T24" fmla="*/ 1837 w 5597"/>
                    <a:gd name="T25" fmla="*/ 170 h 5596"/>
                    <a:gd name="T26" fmla="*/ 2442 w 5597"/>
                    <a:gd name="T27" fmla="*/ 22 h 5596"/>
                    <a:gd name="T28" fmla="*/ 3013 w 5597"/>
                    <a:gd name="T29" fmla="*/ 8 h 5596"/>
                    <a:gd name="T30" fmla="*/ 3629 w 5597"/>
                    <a:gd name="T31" fmla="*/ 126 h 5596"/>
                    <a:gd name="T32" fmla="*/ 4191 w 5597"/>
                    <a:gd name="T33" fmla="*/ 371 h 5596"/>
                    <a:gd name="T34" fmla="*/ 4679 w 5597"/>
                    <a:gd name="T35" fmla="*/ 728 h 5596"/>
                    <a:gd name="T36" fmla="*/ 5080 w 5597"/>
                    <a:gd name="T37" fmla="*/ 1179 h 5596"/>
                    <a:gd name="T38" fmla="*/ 5377 w 5597"/>
                    <a:gd name="T39" fmla="*/ 1709 h 5596"/>
                    <a:gd name="T40" fmla="*/ 5553 w 5597"/>
                    <a:gd name="T41" fmla="*/ 2303 h 5596"/>
                    <a:gd name="T42" fmla="*/ 5596 w 5597"/>
                    <a:gd name="T43" fmla="*/ 2870 h 5596"/>
                    <a:gd name="T44" fmla="*/ 5509 w 5597"/>
                    <a:gd name="T45" fmla="*/ 3497 h 5596"/>
                    <a:gd name="T46" fmla="*/ 5291 w 5597"/>
                    <a:gd name="T47" fmla="*/ 4071 h 5596"/>
                    <a:gd name="T48" fmla="*/ 4957 w 5597"/>
                    <a:gd name="T49" fmla="*/ 4577 h 5596"/>
                    <a:gd name="T50" fmla="*/ 4525 w 5597"/>
                    <a:gd name="T51" fmla="*/ 4999 h 5596"/>
                    <a:gd name="T52" fmla="*/ 4011 w 5597"/>
                    <a:gd name="T53" fmla="*/ 5320 h 5596"/>
                    <a:gd name="T54" fmla="*/ 3429 w 5597"/>
                    <a:gd name="T55" fmla="*/ 5525 h 5596"/>
                    <a:gd name="T56" fmla="*/ 2799 w 5597"/>
                    <a:gd name="T57" fmla="*/ 5596 h 5596"/>
                    <a:gd name="T58" fmla="*/ 2451 w 5597"/>
                    <a:gd name="T59" fmla="*/ 537 h 5596"/>
                    <a:gd name="T60" fmla="*/ 1960 w 5597"/>
                    <a:gd name="T61" fmla="*/ 670 h 5596"/>
                    <a:gd name="T62" fmla="*/ 1521 w 5597"/>
                    <a:gd name="T63" fmla="*/ 902 h 5596"/>
                    <a:gd name="T64" fmla="*/ 1143 w 5597"/>
                    <a:gd name="T65" fmla="*/ 1221 h 5596"/>
                    <a:gd name="T66" fmla="*/ 843 w 5597"/>
                    <a:gd name="T67" fmla="*/ 1613 h 5596"/>
                    <a:gd name="T68" fmla="*/ 632 w 5597"/>
                    <a:gd name="T69" fmla="*/ 2066 h 5596"/>
                    <a:gd name="T70" fmla="*/ 523 w 5597"/>
                    <a:gd name="T71" fmla="*/ 2564 h 5596"/>
                    <a:gd name="T72" fmla="*/ 523 w 5597"/>
                    <a:gd name="T73" fmla="*/ 3032 h 5596"/>
                    <a:gd name="T74" fmla="*/ 632 w 5597"/>
                    <a:gd name="T75" fmla="*/ 3530 h 5596"/>
                    <a:gd name="T76" fmla="*/ 843 w 5597"/>
                    <a:gd name="T77" fmla="*/ 3983 h 5596"/>
                    <a:gd name="T78" fmla="*/ 1143 w 5597"/>
                    <a:gd name="T79" fmla="*/ 4375 h 5596"/>
                    <a:gd name="T80" fmla="*/ 1521 w 5597"/>
                    <a:gd name="T81" fmla="*/ 4694 h 5596"/>
                    <a:gd name="T82" fmla="*/ 1960 w 5597"/>
                    <a:gd name="T83" fmla="*/ 4926 h 5596"/>
                    <a:gd name="T84" fmla="*/ 2451 w 5597"/>
                    <a:gd name="T85" fmla="*/ 5059 h 5596"/>
                    <a:gd name="T86" fmla="*/ 2916 w 5597"/>
                    <a:gd name="T87" fmla="*/ 5082 h 5596"/>
                    <a:gd name="T88" fmla="*/ 3424 w 5597"/>
                    <a:gd name="T89" fmla="*/ 4998 h 5596"/>
                    <a:gd name="T90" fmla="*/ 3888 w 5597"/>
                    <a:gd name="T91" fmla="*/ 4808 h 5596"/>
                    <a:gd name="T92" fmla="*/ 4294 w 5597"/>
                    <a:gd name="T93" fmla="*/ 4526 h 5596"/>
                    <a:gd name="T94" fmla="*/ 4631 w 5597"/>
                    <a:gd name="T95" fmla="*/ 4165 h 5596"/>
                    <a:gd name="T96" fmla="*/ 4883 w 5597"/>
                    <a:gd name="T97" fmla="*/ 3739 h 5596"/>
                    <a:gd name="T98" fmla="*/ 5038 w 5597"/>
                    <a:gd name="T99" fmla="*/ 3258 h 5596"/>
                    <a:gd name="T100" fmla="*/ 5085 w 5597"/>
                    <a:gd name="T101" fmla="*/ 2798 h 5596"/>
                    <a:gd name="T102" fmla="*/ 5027 w 5597"/>
                    <a:gd name="T103" fmla="*/ 2283 h 5596"/>
                    <a:gd name="T104" fmla="*/ 4859 w 5597"/>
                    <a:gd name="T105" fmla="*/ 1808 h 5596"/>
                    <a:gd name="T106" fmla="*/ 4597 w 5597"/>
                    <a:gd name="T107" fmla="*/ 1387 h 5596"/>
                    <a:gd name="T108" fmla="*/ 4253 w 5597"/>
                    <a:gd name="T109" fmla="*/ 1034 h 5596"/>
                    <a:gd name="T110" fmla="*/ 3839 w 5597"/>
                    <a:gd name="T111" fmla="*/ 761 h 5596"/>
                    <a:gd name="T112" fmla="*/ 3369 w 5597"/>
                    <a:gd name="T113" fmla="*/ 583 h 5596"/>
                    <a:gd name="T114" fmla="*/ 2857 w 5597"/>
                    <a:gd name="T115" fmla="*/ 512 h 5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97" h="5596">
                      <a:moveTo>
                        <a:pt x="2799" y="5596"/>
                      </a:moveTo>
                      <a:lnTo>
                        <a:pt x="2799" y="5596"/>
                      </a:lnTo>
                      <a:lnTo>
                        <a:pt x="2726" y="5596"/>
                      </a:lnTo>
                      <a:lnTo>
                        <a:pt x="2655" y="5593"/>
                      </a:lnTo>
                      <a:lnTo>
                        <a:pt x="2584" y="5589"/>
                      </a:lnTo>
                      <a:lnTo>
                        <a:pt x="2513" y="5582"/>
                      </a:lnTo>
                      <a:lnTo>
                        <a:pt x="2442" y="5574"/>
                      </a:lnTo>
                      <a:lnTo>
                        <a:pt x="2373" y="5565"/>
                      </a:lnTo>
                      <a:lnTo>
                        <a:pt x="2304" y="5553"/>
                      </a:lnTo>
                      <a:lnTo>
                        <a:pt x="2235" y="5539"/>
                      </a:lnTo>
                      <a:lnTo>
                        <a:pt x="2167" y="5525"/>
                      </a:lnTo>
                      <a:lnTo>
                        <a:pt x="2100" y="5508"/>
                      </a:lnTo>
                      <a:lnTo>
                        <a:pt x="2033" y="5490"/>
                      </a:lnTo>
                      <a:lnTo>
                        <a:pt x="1967" y="5470"/>
                      </a:lnTo>
                      <a:lnTo>
                        <a:pt x="1902" y="5449"/>
                      </a:lnTo>
                      <a:lnTo>
                        <a:pt x="1837" y="5426"/>
                      </a:lnTo>
                      <a:lnTo>
                        <a:pt x="1773" y="5402"/>
                      </a:lnTo>
                      <a:lnTo>
                        <a:pt x="1710" y="5376"/>
                      </a:lnTo>
                      <a:lnTo>
                        <a:pt x="1648" y="5349"/>
                      </a:lnTo>
                      <a:lnTo>
                        <a:pt x="1587" y="5320"/>
                      </a:lnTo>
                      <a:lnTo>
                        <a:pt x="1526" y="5290"/>
                      </a:lnTo>
                      <a:lnTo>
                        <a:pt x="1466" y="5259"/>
                      </a:lnTo>
                      <a:lnTo>
                        <a:pt x="1406" y="5225"/>
                      </a:lnTo>
                      <a:lnTo>
                        <a:pt x="1349" y="5191"/>
                      </a:lnTo>
                      <a:lnTo>
                        <a:pt x="1291" y="5155"/>
                      </a:lnTo>
                      <a:lnTo>
                        <a:pt x="1235" y="5118"/>
                      </a:lnTo>
                      <a:lnTo>
                        <a:pt x="1179" y="5080"/>
                      </a:lnTo>
                      <a:lnTo>
                        <a:pt x="1126" y="5040"/>
                      </a:lnTo>
                      <a:lnTo>
                        <a:pt x="1072" y="4999"/>
                      </a:lnTo>
                      <a:lnTo>
                        <a:pt x="1020" y="4957"/>
                      </a:lnTo>
                      <a:lnTo>
                        <a:pt x="968" y="4913"/>
                      </a:lnTo>
                      <a:lnTo>
                        <a:pt x="918" y="4869"/>
                      </a:lnTo>
                      <a:lnTo>
                        <a:pt x="869" y="4823"/>
                      </a:lnTo>
                      <a:lnTo>
                        <a:pt x="821" y="4776"/>
                      </a:lnTo>
                      <a:lnTo>
                        <a:pt x="774" y="4728"/>
                      </a:lnTo>
                      <a:lnTo>
                        <a:pt x="727" y="4678"/>
                      </a:lnTo>
                      <a:lnTo>
                        <a:pt x="683" y="4628"/>
                      </a:lnTo>
                      <a:lnTo>
                        <a:pt x="639" y="4577"/>
                      </a:lnTo>
                      <a:lnTo>
                        <a:pt x="598" y="4524"/>
                      </a:lnTo>
                      <a:lnTo>
                        <a:pt x="557" y="4471"/>
                      </a:lnTo>
                      <a:lnTo>
                        <a:pt x="517" y="4416"/>
                      </a:lnTo>
                      <a:lnTo>
                        <a:pt x="478" y="4362"/>
                      </a:lnTo>
                      <a:lnTo>
                        <a:pt x="442" y="4305"/>
                      </a:lnTo>
                      <a:lnTo>
                        <a:pt x="406" y="4248"/>
                      </a:lnTo>
                      <a:lnTo>
                        <a:pt x="371" y="4190"/>
                      </a:lnTo>
                      <a:lnTo>
                        <a:pt x="338" y="4130"/>
                      </a:lnTo>
                      <a:lnTo>
                        <a:pt x="306" y="4071"/>
                      </a:lnTo>
                      <a:lnTo>
                        <a:pt x="276" y="4010"/>
                      </a:lnTo>
                      <a:lnTo>
                        <a:pt x="248" y="3948"/>
                      </a:lnTo>
                      <a:lnTo>
                        <a:pt x="220" y="3886"/>
                      </a:lnTo>
                      <a:lnTo>
                        <a:pt x="194" y="3823"/>
                      </a:lnTo>
                      <a:lnTo>
                        <a:pt x="170" y="3760"/>
                      </a:lnTo>
                      <a:lnTo>
                        <a:pt x="147" y="3695"/>
                      </a:lnTo>
                      <a:lnTo>
                        <a:pt x="126" y="3630"/>
                      </a:lnTo>
                      <a:lnTo>
                        <a:pt x="106" y="3564"/>
                      </a:lnTo>
                      <a:lnTo>
                        <a:pt x="88" y="3497"/>
                      </a:lnTo>
                      <a:lnTo>
                        <a:pt x="72" y="3430"/>
                      </a:lnTo>
                      <a:lnTo>
                        <a:pt x="57" y="3362"/>
                      </a:lnTo>
                      <a:lnTo>
                        <a:pt x="43" y="3292"/>
                      </a:lnTo>
                      <a:lnTo>
                        <a:pt x="32" y="3223"/>
                      </a:lnTo>
                      <a:lnTo>
                        <a:pt x="22" y="3154"/>
                      </a:lnTo>
                      <a:lnTo>
                        <a:pt x="14" y="3084"/>
                      </a:lnTo>
                      <a:lnTo>
                        <a:pt x="8" y="3013"/>
                      </a:lnTo>
                      <a:lnTo>
                        <a:pt x="4" y="2941"/>
                      </a:lnTo>
                      <a:lnTo>
                        <a:pt x="0" y="2870"/>
                      </a:lnTo>
                      <a:lnTo>
                        <a:pt x="0" y="2798"/>
                      </a:lnTo>
                      <a:lnTo>
                        <a:pt x="0" y="2798"/>
                      </a:lnTo>
                      <a:lnTo>
                        <a:pt x="0" y="2726"/>
                      </a:lnTo>
                      <a:lnTo>
                        <a:pt x="4" y="2654"/>
                      </a:lnTo>
                      <a:lnTo>
                        <a:pt x="8" y="2583"/>
                      </a:lnTo>
                      <a:lnTo>
                        <a:pt x="14" y="2512"/>
                      </a:lnTo>
                      <a:lnTo>
                        <a:pt x="22" y="2442"/>
                      </a:lnTo>
                      <a:lnTo>
                        <a:pt x="32" y="2373"/>
                      </a:lnTo>
                      <a:lnTo>
                        <a:pt x="43" y="2303"/>
                      </a:lnTo>
                      <a:lnTo>
                        <a:pt x="57" y="2234"/>
                      </a:lnTo>
                      <a:lnTo>
                        <a:pt x="72" y="2167"/>
                      </a:lnTo>
                      <a:lnTo>
                        <a:pt x="88" y="2099"/>
                      </a:lnTo>
                      <a:lnTo>
                        <a:pt x="106" y="2033"/>
                      </a:lnTo>
                      <a:lnTo>
                        <a:pt x="126" y="1967"/>
                      </a:lnTo>
                      <a:lnTo>
                        <a:pt x="147" y="1901"/>
                      </a:lnTo>
                      <a:lnTo>
                        <a:pt x="170" y="1837"/>
                      </a:lnTo>
                      <a:lnTo>
                        <a:pt x="194" y="1773"/>
                      </a:lnTo>
                      <a:lnTo>
                        <a:pt x="220" y="1709"/>
                      </a:lnTo>
                      <a:lnTo>
                        <a:pt x="248" y="1648"/>
                      </a:lnTo>
                      <a:lnTo>
                        <a:pt x="276" y="1586"/>
                      </a:lnTo>
                      <a:lnTo>
                        <a:pt x="306" y="1525"/>
                      </a:lnTo>
                      <a:lnTo>
                        <a:pt x="338" y="1465"/>
                      </a:lnTo>
                      <a:lnTo>
                        <a:pt x="371" y="1406"/>
                      </a:lnTo>
                      <a:lnTo>
                        <a:pt x="406" y="1348"/>
                      </a:lnTo>
                      <a:lnTo>
                        <a:pt x="442" y="1290"/>
                      </a:lnTo>
                      <a:lnTo>
                        <a:pt x="478" y="1235"/>
                      </a:lnTo>
                      <a:lnTo>
                        <a:pt x="517" y="1179"/>
                      </a:lnTo>
                      <a:lnTo>
                        <a:pt x="557" y="1125"/>
                      </a:lnTo>
                      <a:lnTo>
                        <a:pt x="598" y="1072"/>
                      </a:lnTo>
                      <a:lnTo>
                        <a:pt x="639" y="1019"/>
                      </a:lnTo>
                      <a:lnTo>
                        <a:pt x="683" y="968"/>
                      </a:lnTo>
                      <a:lnTo>
                        <a:pt x="727" y="918"/>
                      </a:lnTo>
                      <a:lnTo>
                        <a:pt x="774" y="868"/>
                      </a:lnTo>
                      <a:lnTo>
                        <a:pt x="821" y="820"/>
                      </a:lnTo>
                      <a:lnTo>
                        <a:pt x="869" y="773"/>
                      </a:lnTo>
                      <a:lnTo>
                        <a:pt x="918" y="728"/>
                      </a:lnTo>
                      <a:lnTo>
                        <a:pt x="968" y="683"/>
                      </a:lnTo>
                      <a:lnTo>
                        <a:pt x="1020" y="639"/>
                      </a:lnTo>
                      <a:lnTo>
                        <a:pt x="1072" y="597"/>
                      </a:lnTo>
                      <a:lnTo>
                        <a:pt x="1126" y="556"/>
                      </a:lnTo>
                      <a:lnTo>
                        <a:pt x="1179" y="516"/>
                      </a:lnTo>
                      <a:lnTo>
                        <a:pt x="1235" y="479"/>
                      </a:lnTo>
                      <a:lnTo>
                        <a:pt x="1291" y="441"/>
                      </a:lnTo>
                      <a:lnTo>
                        <a:pt x="1349" y="405"/>
                      </a:lnTo>
                      <a:lnTo>
                        <a:pt x="1406" y="371"/>
                      </a:lnTo>
                      <a:lnTo>
                        <a:pt x="1466" y="338"/>
                      </a:lnTo>
                      <a:lnTo>
                        <a:pt x="1526" y="306"/>
                      </a:lnTo>
                      <a:lnTo>
                        <a:pt x="1587" y="276"/>
                      </a:lnTo>
                      <a:lnTo>
                        <a:pt x="1648" y="247"/>
                      </a:lnTo>
                      <a:lnTo>
                        <a:pt x="1710" y="220"/>
                      </a:lnTo>
                      <a:lnTo>
                        <a:pt x="1773" y="194"/>
                      </a:lnTo>
                      <a:lnTo>
                        <a:pt x="1837" y="170"/>
                      </a:lnTo>
                      <a:lnTo>
                        <a:pt x="1902" y="147"/>
                      </a:lnTo>
                      <a:lnTo>
                        <a:pt x="1967" y="126"/>
                      </a:lnTo>
                      <a:lnTo>
                        <a:pt x="2033" y="106"/>
                      </a:lnTo>
                      <a:lnTo>
                        <a:pt x="2100" y="88"/>
                      </a:lnTo>
                      <a:lnTo>
                        <a:pt x="2167" y="71"/>
                      </a:lnTo>
                      <a:lnTo>
                        <a:pt x="2235" y="56"/>
                      </a:lnTo>
                      <a:lnTo>
                        <a:pt x="2304" y="44"/>
                      </a:lnTo>
                      <a:lnTo>
                        <a:pt x="2373" y="32"/>
                      </a:lnTo>
                      <a:lnTo>
                        <a:pt x="2442" y="22"/>
                      </a:lnTo>
                      <a:lnTo>
                        <a:pt x="2513" y="15"/>
                      </a:lnTo>
                      <a:lnTo>
                        <a:pt x="2584" y="8"/>
                      </a:lnTo>
                      <a:lnTo>
                        <a:pt x="2655" y="3"/>
                      </a:lnTo>
                      <a:lnTo>
                        <a:pt x="2726" y="1"/>
                      </a:lnTo>
                      <a:lnTo>
                        <a:pt x="2799" y="0"/>
                      </a:lnTo>
                      <a:lnTo>
                        <a:pt x="2799" y="0"/>
                      </a:lnTo>
                      <a:lnTo>
                        <a:pt x="2871" y="1"/>
                      </a:lnTo>
                      <a:lnTo>
                        <a:pt x="2942" y="3"/>
                      </a:lnTo>
                      <a:lnTo>
                        <a:pt x="3013" y="8"/>
                      </a:lnTo>
                      <a:lnTo>
                        <a:pt x="3085" y="15"/>
                      </a:lnTo>
                      <a:lnTo>
                        <a:pt x="3155" y="22"/>
                      </a:lnTo>
                      <a:lnTo>
                        <a:pt x="3224" y="32"/>
                      </a:lnTo>
                      <a:lnTo>
                        <a:pt x="3293" y="44"/>
                      </a:lnTo>
                      <a:lnTo>
                        <a:pt x="3362" y="56"/>
                      </a:lnTo>
                      <a:lnTo>
                        <a:pt x="3429" y="71"/>
                      </a:lnTo>
                      <a:lnTo>
                        <a:pt x="3497" y="88"/>
                      </a:lnTo>
                      <a:lnTo>
                        <a:pt x="3563" y="106"/>
                      </a:lnTo>
                      <a:lnTo>
                        <a:pt x="3629" y="126"/>
                      </a:lnTo>
                      <a:lnTo>
                        <a:pt x="3695" y="147"/>
                      </a:lnTo>
                      <a:lnTo>
                        <a:pt x="3759" y="170"/>
                      </a:lnTo>
                      <a:lnTo>
                        <a:pt x="3823" y="194"/>
                      </a:lnTo>
                      <a:lnTo>
                        <a:pt x="3887" y="220"/>
                      </a:lnTo>
                      <a:lnTo>
                        <a:pt x="3949" y="247"/>
                      </a:lnTo>
                      <a:lnTo>
                        <a:pt x="4011" y="276"/>
                      </a:lnTo>
                      <a:lnTo>
                        <a:pt x="4071" y="306"/>
                      </a:lnTo>
                      <a:lnTo>
                        <a:pt x="4131" y="338"/>
                      </a:lnTo>
                      <a:lnTo>
                        <a:pt x="4191" y="371"/>
                      </a:lnTo>
                      <a:lnTo>
                        <a:pt x="4248" y="405"/>
                      </a:lnTo>
                      <a:lnTo>
                        <a:pt x="4306" y="441"/>
                      </a:lnTo>
                      <a:lnTo>
                        <a:pt x="4362" y="479"/>
                      </a:lnTo>
                      <a:lnTo>
                        <a:pt x="4417" y="516"/>
                      </a:lnTo>
                      <a:lnTo>
                        <a:pt x="4472" y="556"/>
                      </a:lnTo>
                      <a:lnTo>
                        <a:pt x="4525" y="597"/>
                      </a:lnTo>
                      <a:lnTo>
                        <a:pt x="4577" y="639"/>
                      </a:lnTo>
                      <a:lnTo>
                        <a:pt x="4629" y="683"/>
                      </a:lnTo>
                      <a:lnTo>
                        <a:pt x="4679" y="728"/>
                      </a:lnTo>
                      <a:lnTo>
                        <a:pt x="4728" y="773"/>
                      </a:lnTo>
                      <a:lnTo>
                        <a:pt x="4776" y="820"/>
                      </a:lnTo>
                      <a:lnTo>
                        <a:pt x="4824" y="868"/>
                      </a:lnTo>
                      <a:lnTo>
                        <a:pt x="4869" y="918"/>
                      </a:lnTo>
                      <a:lnTo>
                        <a:pt x="4914" y="968"/>
                      </a:lnTo>
                      <a:lnTo>
                        <a:pt x="4957" y="1019"/>
                      </a:lnTo>
                      <a:lnTo>
                        <a:pt x="5000" y="1072"/>
                      </a:lnTo>
                      <a:lnTo>
                        <a:pt x="5040" y="1125"/>
                      </a:lnTo>
                      <a:lnTo>
                        <a:pt x="5080" y="1179"/>
                      </a:lnTo>
                      <a:lnTo>
                        <a:pt x="5118" y="1235"/>
                      </a:lnTo>
                      <a:lnTo>
                        <a:pt x="5156" y="1290"/>
                      </a:lnTo>
                      <a:lnTo>
                        <a:pt x="5191" y="1348"/>
                      </a:lnTo>
                      <a:lnTo>
                        <a:pt x="5226" y="1406"/>
                      </a:lnTo>
                      <a:lnTo>
                        <a:pt x="5258" y="1465"/>
                      </a:lnTo>
                      <a:lnTo>
                        <a:pt x="5291" y="1525"/>
                      </a:lnTo>
                      <a:lnTo>
                        <a:pt x="5320" y="1586"/>
                      </a:lnTo>
                      <a:lnTo>
                        <a:pt x="5349" y="1648"/>
                      </a:lnTo>
                      <a:lnTo>
                        <a:pt x="5377" y="1709"/>
                      </a:lnTo>
                      <a:lnTo>
                        <a:pt x="5403" y="1773"/>
                      </a:lnTo>
                      <a:lnTo>
                        <a:pt x="5427" y="1837"/>
                      </a:lnTo>
                      <a:lnTo>
                        <a:pt x="5450" y="1901"/>
                      </a:lnTo>
                      <a:lnTo>
                        <a:pt x="5471" y="1967"/>
                      </a:lnTo>
                      <a:lnTo>
                        <a:pt x="5491" y="2033"/>
                      </a:lnTo>
                      <a:lnTo>
                        <a:pt x="5509" y="2099"/>
                      </a:lnTo>
                      <a:lnTo>
                        <a:pt x="5525" y="2167"/>
                      </a:lnTo>
                      <a:lnTo>
                        <a:pt x="5540" y="2234"/>
                      </a:lnTo>
                      <a:lnTo>
                        <a:pt x="5553" y="2303"/>
                      </a:lnTo>
                      <a:lnTo>
                        <a:pt x="5564" y="2373"/>
                      </a:lnTo>
                      <a:lnTo>
                        <a:pt x="5575" y="2442"/>
                      </a:lnTo>
                      <a:lnTo>
                        <a:pt x="5582" y="2512"/>
                      </a:lnTo>
                      <a:lnTo>
                        <a:pt x="5588" y="2583"/>
                      </a:lnTo>
                      <a:lnTo>
                        <a:pt x="5593" y="2654"/>
                      </a:lnTo>
                      <a:lnTo>
                        <a:pt x="5596" y="2726"/>
                      </a:lnTo>
                      <a:lnTo>
                        <a:pt x="5597" y="2798"/>
                      </a:lnTo>
                      <a:lnTo>
                        <a:pt x="5597" y="2798"/>
                      </a:lnTo>
                      <a:lnTo>
                        <a:pt x="5596" y="2870"/>
                      </a:lnTo>
                      <a:lnTo>
                        <a:pt x="5593" y="2941"/>
                      </a:lnTo>
                      <a:lnTo>
                        <a:pt x="5588" y="3013"/>
                      </a:lnTo>
                      <a:lnTo>
                        <a:pt x="5582" y="3084"/>
                      </a:lnTo>
                      <a:lnTo>
                        <a:pt x="5575" y="3154"/>
                      </a:lnTo>
                      <a:lnTo>
                        <a:pt x="5564" y="3223"/>
                      </a:lnTo>
                      <a:lnTo>
                        <a:pt x="5553" y="3292"/>
                      </a:lnTo>
                      <a:lnTo>
                        <a:pt x="5540" y="3362"/>
                      </a:lnTo>
                      <a:lnTo>
                        <a:pt x="5525" y="3430"/>
                      </a:lnTo>
                      <a:lnTo>
                        <a:pt x="5509" y="3497"/>
                      </a:lnTo>
                      <a:lnTo>
                        <a:pt x="5491" y="3564"/>
                      </a:lnTo>
                      <a:lnTo>
                        <a:pt x="5471" y="3630"/>
                      </a:lnTo>
                      <a:lnTo>
                        <a:pt x="5450" y="3695"/>
                      </a:lnTo>
                      <a:lnTo>
                        <a:pt x="5427" y="3760"/>
                      </a:lnTo>
                      <a:lnTo>
                        <a:pt x="5403" y="3823"/>
                      </a:lnTo>
                      <a:lnTo>
                        <a:pt x="5377" y="3886"/>
                      </a:lnTo>
                      <a:lnTo>
                        <a:pt x="5349" y="3948"/>
                      </a:lnTo>
                      <a:lnTo>
                        <a:pt x="5320" y="4010"/>
                      </a:lnTo>
                      <a:lnTo>
                        <a:pt x="5291" y="4071"/>
                      </a:lnTo>
                      <a:lnTo>
                        <a:pt x="5258" y="4130"/>
                      </a:lnTo>
                      <a:lnTo>
                        <a:pt x="5226" y="4190"/>
                      </a:lnTo>
                      <a:lnTo>
                        <a:pt x="5191" y="4248"/>
                      </a:lnTo>
                      <a:lnTo>
                        <a:pt x="5156" y="4305"/>
                      </a:lnTo>
                      <a:lnTo>
                        <a:pt x="5118" y="4362"/>
                      </a:lnTo>
                      <a:lnTo>
                        <a:pt x="5080" y="4416"/>
                      </a:lnTo>
                      <a:lnTo>
                        <a:pt x="5040" y="4471"/>
                      </a:lnTo>
                      <a:lnTo>
                        <a:pt x="5000" y="4524"/>
                      </a:lnTo>
                      <a:lnTo>
                        <a:pt x="4957" y="4577"/>
                      </a:lnTo>
                      <a:lnTo>
                        <a:pt x="4914" y="4628"/>
                      </a:lnTo>
                      <a:lnTo>
                        <a:pt x="4869" y="4678"/>
                      </a:lnTo>
                      <a:lnTo>
                        <a:pt x="4824" y="4728"/>
                      </a:lnTo>
                      <a:lnTo>
                        <a:pt x="4776" y="4776"/>
                      </a:lnTo>
                      <a:lnTo>
                        <a:pt x="4728" y="4823"/>
                      </a:lnTo>
                      <a:lnTo>
                        <a:pt x="4679" y="4869"/>
                      </a:lnTo>
                      <a:lnTo>
                        <a:pt x="4629" y="4913"/>
                      </a:lnTo>
                      <a:lnTo>
                        <a:pt x="4577" y="4957"/>
                      </a:lnTo>
                      <a:lnTo>
                        <a:pt x="4525" y="4999"/>
                      </a:lnTo>
                      <a:lnTo>
                        <a:pt x="4472" y="5040"/>
                      </a:lnTo>
                      <a:lnTo>
                        <a:pt x="4417" y="5080"/>
                      </a:lnTo>
                      <a:lnTo>
                        <a:pt x="4362" y="5118"/>
                      </a:lnTo>
                      <a:lnTo>
                        <a:pt x="4306" y="5155"/>
                      </a:lnTo>
                      <a:lnTo>
                        <a:pt x="4248" y="5191"/>
                      </a:lnTo>
                      <a:lnTo>
                        <a:pt x="4191" y="5225"/>
                      </a:lnTo>
                      <a:lnTo>
                        <a:pt x="4131" y="5259"/>
                      </a:lnTo>
                      <a:lnTo>
                        <a:pt x="4071" y="5290"/>
                      </a:lnTo>
                      <a:lnTo>
                        <a:pt x="4011" y="5320"/>
                      </a:lnTo>
                      <a:lnTo>
                        <a:pt x="3949" y="5349"/>
                      </a:lnTo>
                      <a:lnTo>
                        <a:pt x="3887" y="5376"/>
                      </a:lnTo>
                      <a:lnTo>
                        <a:pt x="3823" y="5402"/>
                      </a:lnTo>
                      <a:lnTo>
                        <a:pt x="3759" y="5426"/>
                      </a:lnTo>
                      <a:lnTo>
                        <a:pt x="3695" y="5449"/>
                      </a:lnTo>
                      <a:lnTo>
                        <a:pt x="3629" y="5470"/>
                      </a:lnTo>
                      <a:lnTo>
                        <a:pt x="3563" y="5490"/>
                      </a:lnTo>
                      <a:lnTo>
                        <a:pt x="3497" y="5508"/>
                      </a:lnTo>
                      <a:lnTo>
                        <a:pt x="3429" y="5525"/>
                      </a:lnTo>
                      <a:lnTo>
                        <a:pt x="3362" y="5539"/>
                      </a:lnTo>
                      <a:lnTo>
                        <a:pt x="3293" y="5553"/>
                      </a:lnTo>
                      <a:lnTo>
                        <a:pt x="3224" y="5565"/>
                      </a:lnTo>
                      <a:lnTo>
                        <a:pt x="3155" y="5574"/>
                      </a:lnTo>
                      <a:lnTo>
                        <a:pt x="3085" y="5582"/>
                      </a:lnTo>
                      <a:lnTo>
                        <a:pt x="3013" y="5589"/>
                      </a:lnTo>
                      <a:lnTo>
                        <a:pt x="2942" y="5593"/>
                      </a:lnTo>
                      <a:lnTo>
                        <a:pt x="2871" y="5596"/>
                      </a:lnTo>
                      <a:lnTo>
                        <a:pt x="2799" y="5596"/>
                      </a:lnTo>
                      <a:lnTo>
                        <a:pt x="2799" y="5596"/>
                      </a:lnTo>
                      <a:close/>
                      <a:moveTo>
                        <a:pt x="2799" y="511"/>
                      </a:moveTo>
                      <a:lnTo>
                        <a:pt x="2799" y="511"/>
                      </a:lnTo>
                      <a:lnTo>
                        <a:pt x="2740" y="512"/>
                      </a:lnTo>
                      <a:lnTo>
                        <a:pt x="2681" y="514"/>
                      </a:lnTo>
                      <a:lnTo>
                        <a:pt x="2623" y="517"/>
                      </a:lnTo>
                      <a:lnTo>
                        <a:pt x="2565" y="523"/>
                      </a:lnTo>
                      <a:lnTo>
                        <a:pt x="2507" y="530"/>
                      </a:lnTo>
                      <a:lnTo>
                        <a:pt x="2451" y="537"/>
                      </a:lnTo>
                      <a:lnTo>
                        <a:pt x="2394" y="547"/>
                      </a:lnTo>
                      <a:lnTo>
                        <a:pt x="2338" y="557"/>
                      </a:lnTo>
                      <a:lnTo>
                        <a:pt x="2282" y="570"/>
                      </a:lnTo>
                      <a:lnTo>
                        <a:pt x="2228" y="583"/>
                      </a:lnTo>
                      <a:lnTo>
                        <a:pt x="2173" y="598"/>
                      </a:lnTo>
                      <a:lnTo>
                        <a:pt x="2119" y="614"/>
                      </a:lnTo>
                      <a:lnTo>
                        <a:pt x="2065" y="632"/>
                      </a:lnTo>
                      <a:lnTo>
                        <a:pt x="2013" y="650"/>
                      </a:lnTo>
                      <a:lnTo>
                        <a:pt x="1960" y="670"/>
                      </a:lnTo>
                      <a:lnTo>
                        <a:pt x="1909" y="691"/>
                      </a:lnTo>
                      <a:lnTo>
                        <a:pt x="1858" y="713"/>
                      </a:lnTo>
                      <a:lnTo>
                        <a:pt x="1808" y="737"/>
                      </a:lnTo>
                      <a:lnTo>
                        <a:pt x="1758" y="761"/>
                      </a:lnTo>
                      <a:lnTo>
                        <a:pt x="1709" y="788"/>
                      </a:lnTo>
                      <a:lnTo>
                        <a:pt x="1661" y="815"/>
                      </a:lnTo>
                      <a:lnTo>
                        <a:pt x="1614" y="843"/>
                      </a:lnTo>
                      <a:lnTo>
                        <a:pt x="1567" y="871"/>
                      </a:lnTo>
                      <a:lnTo>
                        <a:pt x="1521" y="902"/>
                      </a:lnTo>
                      <a:lnTo>
                        <a:pt x="1475" y="933"/>
                      </a:lnTo>
                      <a:lnTo>
                        <a:pt x="1431" y="966"/>
                      </a:lnTo>
                      <a:lnTo>
                        <a:pt x="1387" y="999"/>
                      </a:lnTo>
                      <a:lnTo>
                        <a:pt x="1345" y="1034"/>
                      </a:lnTo>
                      <a:lnTo>
                        <a:pt x="1303" y="1069"/>
                      </a:lnTo>
                      <a:lnTo>
                        <a:pt x="1262" y="1106"/>
                      </a:lnTo>
                      <a:lnTo>
                        <a:pt x="1221" y="1144"/>
                      </a:lnTo>
                      <a:lnTo>
                        <a:pt x="1182" y="1182"/>
                      </a:lnTo>
                      <a:lnTo>
                        <a:pt x="1143" y="1221"/>
                      </a:lnTo>
                      <a:lnTo>
                        <a:pt x="1107" y="1261"/>
                      </a:lnTo>
                      <a:lnTo>
                        <a:pt x="1070" y="1302"/>
                      </a:lnTo>
                      <a:lnTo>
                        <a:pt x="1034" y="1344"/>
                      </a:lnTo>
                      <a:lnTo>
                        <a:pt x="1000" y="1387"/>
                      </a:lnTo>
                      <a:lnTo>
                        <a:pt x="966" y="1431"/>
                      </a:lnTo>
                      <a:lnTo>
                        <a:pt x="934" y="1475"/>
                      </a:lnTo>
                      <a:lnTo>
                        <a:pt x="902" y="1520"/>
                      </a:lnTo>
                      <a:lnTo>
                        <a:pt x="872" y="1566"/>
                      </a:lnTo>
                      <a:lnTo>
                        <a:pt x="843" y="1613"/>
                      </a:lnTo>
                      <a:lnTo>
                        <a:pt x="815" y="1660"/>
                      </a:lnTo>
                      <a:lnTo>
                        <a:pt x="788" y="1708"/>
                      </a:lnTo>
                      <a:lnTo>
                        <a:pt x="762" y="1758"/>
                      </a:lnTo>
                      <a:lnTo>
                        <a:pt x="737" y="1808"/>
                      </a:lnTo>
                      <a:lnTo>
                        <a:pt x="714" y="1858"/>
                      </a:lnTo>
                      <a:lnTo>
                        <a:pt x="692" y="1909"/>
                      </a:lnTo>
                      <a:lnTo>
                        <a:pt x="671" y="1960"/>
                      </a:lnTo>
                      <a:lnTo>
                        <a:pt x="651" y="2012"/>
                      </a:lnTo>
                      <a:lnTo>
                        <a:pt x="632" y="2066"/>
                      </a:lnTo>
                      <a:lnTo>
                        <a:pt x="614" y="2119"/>
                      </a:lnTo>
                      <a:lnTo>
                        <a:pt x="599" y="2173"/>
                      </a:lnTo>
                      <a:lnTo>
                        <a:pt x="584" y="2227"/>
                      </a:lnTo>
                      <a:lnTo>
                        <a:pt x="570" y="2283"/>
                      </a:lnTo>
                      <a:lnTo>
                        <a:pt x="558" y="2338"/>
                      </a:lnTo>
                      <a:lnTo>
                        <a:pt x="547" y="2394"/>
                      </a:lnTo>
                      <a:lnTo>
                        <a:pt x="538" y="2450"/>
                      </a:lnTo>
                      <a:lnTo>
                        <a:pt x="530" y="2507"/>
                      </a:lnTo>
                      <a:lnTo>
                        <a:pt x="523" y="2564"/>
                      </a:lnTo>
                      <a:lnTo>
                        <a:pt x="518" y="2622"/>
                      </a:lnTo>
                      <a:lnTo>
                        <a:pt x="515" y="2681"/>
                      </a:lnTo>
                      <a:lnTo>
                        <a:pt x="513" y="2739"/>
                      </a:lnTo>
                      <a:lnTo>
                        <a:pt x="512" y="2798"/>
                      </a:lnTo>
                      <a:lnTo>
                        <a:pt x="512" y="2798"/>
                      </a:lnTo>
                      <a:lnTo>
                        <a:pt x="513" y="2857"/>
                      </a:lnTo>
                      <a:lnTo>
                        <a:pt x="515" y="2915"/>
                      </a:lnTo>
                      <a:lnTo>
                        <a:pt x="518" y="2974"/>
                      </a:lnTo>
                      <a:lnTo>
                        <a:pt x="523" y="3032"/>
                      </a:lnTo>
                      <a:lnTo>
                        <a:pt x="530" y="3089"/>
                      </a:lnTo>
                      <a:lnTo>
                        <a:pt x="538" y="3146"/>
                      </a:lnTo>
                      <a:lnTo>
                        <a:pt x="547" y="3202"/>
                      </a:lnTo>
                      <a:lnTo>
                        <a:pt x="558" y="3258"/>
                      </a:lnTo>
                      <a:lnTo>
                        <a:pt x="570" y="3313"/>
                      </a:lnTo>
                      <a:lnTo>
                        <a:pt x="584" y="3369"/>
                      </a:lnTo>
                      <a:lnTo>
                        <a:pt x="599" y="3423"/>
                      </a:lnTo>
                      <a:lnTo>
                        <a:pt x="614" y="3478"/>
                      </a:lnTo>
                      <a:lnTo>
                        <a:pt x="632" y="3530"/>
                      </a:lnTo>
                      <a:lnTo>
                        <a:pt x="651" y="3584"/>
                      </a:lnTo>
                      <a:lnTo>
                        <a:pt x="671" y="3636"/>
                      </a:lnTo>
                      <a:lnTo>
                        <a:pt x="692" y="3687"/>
                      </a:lnTo>
                      <a:lnTo>
                        <a:pt x="714" y="3739"/>
                      </a:lnTo>
                      <a:lnTo>
                        <a:pt x="737" y="3789"/>
                      </a:lnTo>
                      <a:lnTo>
                        <a:pt x="762" y="3838"/>
                      </a:lnTo>
                      <a:lnTo>
                        <a:pt x="788" y="3887"/>
                      </a:lnTo>
                      <a:lnTo>
                        <a:pt x="815" y="3936"/>
                      </a:lnTo>
                      <a:lnTo>
                        <a:pt x="843" y="3983"/>
                      </a:lnTo>
                      <a:lnTo>
                        <a:pt x="872" y="4030"/>
                      </a:lnTo>
                      <a:lnTo>
                        <a:pt x="902" y="4076"/>
                      </a:lnTo>
                      <a:lnTo>
                        <a:pt x="934" y="4121"/>
                      </a:lnTo>
                      <a:lnTo>
                        <a:pt x="966" y="4165"/>
                      </a:lnTo>
                      <a:lnTo>
                        <a:pt x="1000" y="4209"/>
                      </a:lnTo>
                      <a:lnTo>
                        <a:pt x="1034" y="4252"/>
                      </a:lnTo>
                      <a:lnTo>
                        <a:pt x="1070" y="4294"/>
                      </a:lnTo>
                      <a:lnTo>
                        <a:pt x="1107" y="4335"/>
                      </a:lnTo>
                      <a:lnTo>
                        <a:pt x="1143" y="4375"/>
                      </a:lnTo>
                      <a:lnTo>
                        <a:pt x="1182" y="4414"/>
                      </a:lnTo>
                      <a:lnTo>
                        <a:pt x="1221" y="4453"/>
                      </a:lnTo>
                      <a:lnTo>
                        <a:pt x="1262" y="4490"/>
                      </a:lnTo>
                      <a:lnTo>
                        <a:pt x="1303" y="4526"/>
                      </a:lnTo>
                      <a:lnTo>
                        <a:pt x="1345" y="4562"/>
                      </a:lnTo>
                      <a:lnTo>
                        <a:pt x="1387" y="4597"/>
                      </a:lnTo>
                      <a:lnTo>
                        <a:pt x="1431" y="4630"/>
                      </a:lnTo>
                      <a:lnTo>
                        <a:pt x="1475" y="4663"/>
                      </a:lnTo>
                      <a:lnTo>
                        <a:pt x="1521" y="4694"/>
                      </a:lnTo>
                      <a:lnTo>
                        <a:pt x="1567" y="4724"/>
                      </a:lnTo>
                      <a:lnTo>
                        <a:pt x="1614" y="4754"/>
                      </a:lnTo>
                      <a:lnTo>
                        <a:pt x="1661" y="4781"/>
                      </a:lnTo>
                      <a:lnTo>
                        <a:pt x="1709" y="4808"/>
                      </a:lnTo>
                      <a:lnTo>
                        <a:pt x="1758" y="4834"/>
                      </a:lnTo>
                      <a:lnTo>
                        <a:pt x="1808" y="4860"/>
                      </a:lnTo>
                      <a:lnTo>
                        <a:pt x="1858" y="4883"/>
                      </a:lnTo>
                      <a:lnTo>
                        <a:pt x="1909" y="4905"/>
                      </a:lnTo>
                      <a:lnTo>
                        <a:pt x="1960" y="4926"/>
                      </a:lnTo>
                      <a:lnTo>
                        <a:pt x="2013" y="4945"/>
                      </a:lnTo>
                      <a:lnTo>
                        <a:pt x="2065" y="4964"/>
                      </a:lnTo>
                      <a:lnTo>
                        <a:pt x="2119" y="4982"/>
                      </a:lnTo>
                      <a:lnTo>
                        <a:pt x="2173" y="4998"/>
                      </a:lnTo>
                      <a:lnTo>
                        <a:pt x="2228" y="5012"/>
                      </a:lnTo>
                      <a:lnTo>
                        <a:pt x="2282" y="5026"/>
                      </a:lnTo>
                      <a:lnTo>
                        <a:pt x="2338" y="5039"/>
                      </a:lnTo>
                      <a:lnTo>
                        <a:pt x="2394" y="5049"/>
                      </a:lnTo>
                      <a:lnTo>
                        <a:pt x="2451" y="5059"/>
                      </a:lnTo>
                      <a:lnTo>
                        <a:pt x="2507" y="5067"/>
                      </a:lnTo>
                      <a:lnTo>
                        <a:pt x="2565" y="5073"/>
                      </a:lnTo>
                      <a:lnTo>
                        <a:pt x="2623" y="5078"/>
                      </a:lnTo>
                      <a:lnTo>
                        <a:pt x="2681" y="5082"/>
                      </a:lnTo>
                      <a:lnTo>
                        <a:pt x="2740" y="5084"/>
                      </a:lnTo>
                      <a:lnTo>
                        <a:pt x="2799" y="5085"/>
                      </a:lnTo>
                      <a:lnTo>
                        <a:pt x="2799" y="5085"/>
                      </a:lnTo>
                      <a:lnTo>
                        <a:pt x="2857" y="5084"/>
                      </a:lnTo>
                      <a:lnTo>
                        <a:pt x="2916" y="5082"/>
                      </a:lnTo>
                      <a:lnTo>
                        <a:pt x="2975" y="5078"/>
                      </a:lnTo>
                      <a:lnTo>
                        <a:pt x="3032" y="5073"/>
                      </a:lnTo>
                      <a:lnTo>
                        <a:pt x="3090" y="5067"/>
                      </a:lnTo>
                      <a:lnTo>
                        <a:pt x="3146" y="5059"/>
                      </a:lnTo>
                      <a:lnTo>
                        <a:pt x="3203" y="5049"/>
                      </a:lnTo>
                      <a:lnTo>
                        <a:pt x="3258" y="5039"/>
                      </a:lnTo>
                      <a:lnTo>
                        <a:pt x="3314" y="5026"/>
                      </a:lnTo>
                      <a:lnTo>
                        <a:pt x="3369" y="5012"/>
                      </a:lnTo>
                      <a:lnTo>
                        <a:pt x="3424" y="4998"/>
                      </a:lnTo>
                      <a:lnTo>
                        <a:pt x="3477" y="4982"/>
                      </a:lnTo>
                      <a:lnTo>
                        <a:pt x="3531" y="4964"/>
                      </a:lnTo>
                      <a:lnTo>
                        <a:pt x="3584" y="4945"/>
                      </a:lnTo>
                      <a:lnTo>
                        <a:pt x="3637" y="4926"/>
                      </a:lnTo>
                      <a:lnTo>
                        <a:pt x="3688" y="4905"/>
                      </a:lnTo>
                      <a:lnTo>
                        <a:pt x="3738" y="4883"/>
                      </a:lnTo>
                      <a:lnTo>
                        <a:pt x="3789" y="4860"/>
                      </a:lnTo>
                      <a:lnTo>
                        <a:pt x="3839" y="4834"/>
                      </a:lnTo>
                      <a:lnTo>
                        <a:pt x="3888" y="4808"/>
                      </a:lnTo>
                      <a:lnTo>
                        <a:pt x="3936" y="4781"/>
                      </a:lnTo>
                      <a:lnTo>
                        <a:pt x="3983" y="4754"/>
                      </a:lnTo>
                      <a:lnTo>
                        <a:pt x="4030" y="4724"/>
                      </a:lnTo>
                      <a:lnTo>
                        <a:pt x="4077" y="4694"/>
                      </a:lnTo>
                      <a:lnTo>
                        <a:pt x="4122" y="4663"/>
                      </a:lnTo>
                      <a:lnTo>
                        <a:pt x="4166" y="4630"/>
                      </a:lnTo>
                      <a:lnTo>
                        <a:pt x="4210" y="4597"/>
                      </a:lnTo>
                      <a:lnTo>
                        <a:pt x="4253" y="4562"/>
                      </a:lnTo>
                      <a:lnTo>
                        <a:pt x="4294" y="4526"/>
                      </a:lnTo>
                      <a:lnTo>
                        <a:pt x="4335" y="4490"/>
                      </a:lnTo>
                      <a:lnTo>
                        <a:pt x="4375" y="4453"/>
                      </a:lnTo>
                      <a:lnTo>
                        <a:pt x="4415" y="4414"/>
                      </a:lnTo>
                      <a:lnTo>
                        <a:pt x="4453" y="4375"/>
                      </a:lnTo>
                      <a:lnTo>
                        <a:pt x="4490" y="4335"/>
                      </a:lnTo>
                      <a:lnTo>
                        <a:pt x="4527" y="4294"/>
                      </a:lnTo>
                      <a:lnTo>
                        <a:pt x="4563" y="4252"/>
                      </a:lnTo>
                      <a:lnTo>
                        <a:pt x="4597" y="4209"/>
                      </a:lnTo>
                      <a:lnTo>
                        <a:pt x="4631" y="4165"/>
                      </a:lnTo>
                      <a:lnTo>
                        <a:pt x="4663" y="4121"/>
                      </a:lnTo>
                      <a:lnTo>
                        <a:pt x="4695" y="4076"/>
                      </a:lnTo>
                      <a:lnTo>
                        <a:pt x="4725" y="4030"/>
                      </a:lnTo>
                      <a:lnTo>
                        <a:pt x="4753" y="3983"/>
                      </a:lnTo>
                      <a:lnTo>
                        <a:pt x="4782" y="3936"/>
                      </a:lnTo>
                      <a:lnTo>
                        <a:pt x="4809" y="3887"/>
                      </a:lnTo>
                      <a:lnTo>
                        <a:pt x="4835" y="3838"/>
                      </a:lnTo>
                      <a:lnTo>
                        <a:pt x="4859" y="3789"/>
                      </a:lnTo>
                      <a:lnTo>
                        <a:pt x="4883" y="3739"/>
                      </a:lnTo>
                      <a:lnTo>
                        <a:pt x="4905" y="3687"/>
                      </a:lnTo>
                      <a:lnTo>
                        <a:pt x="4926" y="3636"/>
                      </a:lnTo>
                      <a:lnTo>
                        <a:pt x="4946" y="3584"/>
                      </a:lnTo>
                      <a:lnTo>
                        <a:pt x="4965" y="3530"/>
                      </a:lnTo>
                      <a:lnTo>
                        <a:pt x="4983" y="3478"/>
                      </a:lnTo>
                      <a:lnTo>
                        <a:pt x="4998" y="3423"/>
                      </a:lnTo>
                      <a:lnTo>
                        <a:pt x="5013" y="3369"/>
                      </a:lnTo>
                      <a:lnTo>
                        <a:pt x="5027" y="3313"/>
                      </a:lnTo>
                      <a:lnTo>
                        <a:pt x="5038" y="3258"/>
                      </a:lnTo>
                      <a:lnTo>
                        <a:pt x="5050" y="3202"/>
                      </a:lnTo>
                      <a:lnTo>
                        <a:pt x="5059" y="3146"/>
                      </a:lnTo>
                      <a:lnTo>
                        <a:pt x="5067" y="3089"/>
                      </a:lnTo>
                      <a:lnTo>
                        <a:pt x="5074" y="3032"/>
                      </a:lnTo>
                      <a:lnTo>
                        <a:pt x="5079" y="2974"/>
                      </a:lnTo>
                      <a:lnTo>
                        <a:pt x="5082" y="2915"/>
                      </a:lnTo>
                      <a:lnTo>
                        <a:pt x="5084" y="2857"/>
                      </a:lnTo>
                      <a:lnTo>
                        <a:pt x="5085" y="2798"/>
                      </a:lnTo>
                      <a:lnTo>
                        <a:pt x="5085" y="2798"/>
                      </a:lnTo>
                      <a:lnTo>
                        <a:pt x="5084" y="2739"/>
                      </a:lnTo>
                      <a:lnTo>
                        <a:pt x="5082" y="2681"/>
                      </a:lnTo>
                      <a:lnTo>
                        <a:pt x="5079" y="2622"/>
                      </a:lnTo>
                      <a:lnTo>
                        <a:pt x="5074" y="2564"/>
                      </a:lnTo>
                      <a:lnTo>
                        <a:pt x="5067" y="2507"/>
                      </a:lnTo>
                      <a:lnTo>
                        <a:pt x="5059" y="2450"/>
                      </a:lnTo>
                      <a:lnTo>
                        <a:pt x="5050" y="2394"/>
                      </a:lnTo>
                      <a:lnTo>
                        <a:pt x="5038" y="2338"/>
                      </a:lnTo>
                      <a:lnTo>
                        <a:pt x="5027" y="2283"/>
                      </a:lnTo>
                      <a:lnTo>
                        <a:pt x="5013" y="2227"/>
                      </a:lnTo>
                      <a:lnTo>
                        <a:pt x="4998" y="2173"/>
                      </a:lnTo>
                      <a:lnTo>
                        <a:pt x="4983" y="2119"/>
                      </a:lnTo>
                      <a:lnTo>
                        <a:pt x="4965" y="2066"/>
                      </a:lnTo>
                      <a:lnTo>
                        <a:pt x="4946" y="2012"/>
                      </a:lnTo>
                      <a:lnTo>
                        <a:pt x="4926" y="1960"/>
                      </a:lnTo>
                      <a:lnTo>
                        <a:pt x="4905" y="1909"/>
                      </a:lnTo>
                      <a:lnTo>
                        <a:pt x="4883" y="1858"/>
                      </a:lnTo>
                      <a:lnTo>
                        <a:pt x="4859" y="1808"/>
                      </a:lnTo>
                      <a:lnTo>
                        <a:pt x="4835" y="1758"/>
                      </a:lnTo>
                      <a:lnTo>
                        <a:pt x="4809" y="1708"/>
                      </a:lnTo>
                      <a:lnTo>
                        <a:pt x="4782" y="1660"/>
                      </a:lnTo>
                      <a:lnTo>
                        <a:pt x="4753" y="1613"/>
                      </a:lnTo>
                      <a:lnTo>
                        <a:pt x="4725" y="1566"/>
                      </a:lnTo>
                      <a:lnTo>
                        <a:pt x="4695" y="1520"/>
                      </a:lnTo>
                      <a:lnTo>
                        <a:pt x="4663" y="1475"/>
                      </a:lnTo>
                      <a:lnTo>
                        <a:pt x="4631" y="1431"/>
                      </a:lnTo>
                      <a:lnTo>
                        <a:pt x="4597" y="1387"/>
                      </a:lnTo>
                      <a:lnTo>
                        <a:pt x="4563" y="1344"/>
                      </a:lnTo>
                      <a:lnTo>
                        <a:pt x="4527" y="1302"/>
                      </a:lnTo>
                      <a:lnTo>
                        <a:pt x="4490" y="1261"/>
                      </a:lnTo>
                      <a:lnTo>
                        <a:pt x="4453" y="1221"/>
                      </a:lnTo>
                      <a:lnTo>
                        <a:pt x="4415" y="1182"/>
                      </a:lnTo>
                      <a:lnTo>
                        <a:pt x="4375" y="1144"/>
                      </a:lnTo>
                      <a:lnTo>
                        <a:pt x="4335" y="1106"/>
                      </a:lnTo>
                      <a:lnTo>
                        <a:pt x="4294" y="1069"/>
                      </a:lnTo>
                      <a:lnTo>
                        <a:pt x="4253" y="1034"/>
                      </a:lnTo>
                      <a:lnTo>
                        <a:pt x="4210" y="999"/>
                      </a:lnTo>
                      <a:lnTo>
                        <a:pt x="4166" y="966"/>
                      </a:lnTo>
                      <a:lnTo>
                        <a:pt x="4122" y="933"/>
                      </a:lnTo>
                      <a:lnTo>
                        <a:pt x="4077" y="902"/>
                      </a:lnTo>
                      <a:lnTo>
                        <a:pt x="4030" y="871"/>
                      </a:lnTo>
                      <a:lnTo>
                        <a:pt x="3983" y="843"/>
                      </a:lnTo>
                      <a:lnTo>
                        <a:pt x="3936" y="815"/>
                      </a:lnTo>
                      <a:lnTo>
                        <a:pt x="3888" y="788"/>
                      </a:lnTo>
                      <a:lnTo>
                        <a:pt x="3839" y="761"/>
                      </a:lnTo>
                      <a:lnTo>
                        <a:pt x="3789" y="737"/>
                      </a:lnTo>
                      <a:lnTo>
                        <a:pt x="3738" y="713"/>
                      </a:lnTo>
                      <a:lnTo>
                        <a:pt x="3688" y="691"/>
                      </a:lnTo>
                      <a:lnTo>
                        <a:pt x="3637" y="670"/>
                      </a:lnTo>
                      <a:lnTo>
                        <a:pt x="3584" y="650"/>
                      </a:lnTo>
                      <a:lnTo>
                        <a:pt x="3531" y="632"/>
                      </a:lnTo>
                      <a:lnTo>
                        <a:pt x="3477" y="614"/>
                      </a:lnTo>
                      <a:lnTo>
                        <a:pt x="3424" y="598"/>
                      </a:lnTo>
                      <a:lnTo>
                        <a:pt x="3369" y="583"/>
                      </a:lnTo>
                      <a:lnTo>
                        <a:pt x="3314" y="570"/>
                      </a:lnTo>
                      <a:lnTo>
                        <a:pt x="3258" y="557"/>
                      </a:lnTo>
                      <a:lnTo>
                        <a:pt x="3203" y="547"/>
                      </a:lnTo>
                      <a:lnTo>
                        <a:pt x="3146" y="537"/>
                      </a:lnTo>
                      <a:lnTo>
                        <a:pt x="3090" y="530"/>
                      </a:lnTo>
                      <a:lnTo>
                        <a:pt x="3032" y="523"/>
                      </a:lnTo>
                      <a:lnTo>
                        <a:pt x="2975" y="517"/>
                      </a:lnTo>
                      <a:lnTo>
                        <a:pt x="2916" y="514"/>
                      </a:lnTo>
                      <a:lnTo>
                        <a:pt x="2857" y="512"/>
                      </a:lnTo>
                      <a:lnTo>
                        <a:pt x="2799" y="511"/>
                      </a:lnTo>
                      <a:lnTo>
                        <a:pt x="2799" y="5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36" name="Group 35">
              <a:extLst>
                <a:ext uri="{FF2B5EF4-FFF2-40B4-BE49-F238E27FC236}">
                  <a16:creationId xmlns:a16="http://schemas.microsoft.com/office/drawing/2014/main" id="{1EA6B127-CBAC-44FC-A718-D63127AB45E5}"/>
                </a:ext>
              </a:extLst>
            </p:cNvPr>
            <p:cNvGrpSpPr/>
            <p:nvPr/>
          </p:nvGrpSpPr>
          <p:grpSpPr>
            <a:xfrm>
              <a:off x="10572498" y="2512493"/>
              <a:ext cx="699188" cy="715938"/>
              <a:chOff x="6940298" y="2512493"/>
              <a:chExt cx="699188" cy="715938"/>
            </a:xfrm>
          </p:grpSpPr>
          <p:sp>
            <p:nvSpPr>
              <p:cNvPr id="37" name="Freeform 10">
                <a:extLst>
                  <a:ext uri="{FF2B5EF4-FFF2-40B4-BE49-F238E27FC236}">
                    <a16:creationId xmlns:a16="http://schemas.microsoft.com/office/drawing/2014/main" id="{E3D63299-B14F-4EF6-99F5-0D1771CD95E9}"/>
                  </a:ext>
                </a:extLst>
              </p:cNvPr>
              <p:cNvSpPr>
                <a:spLocks noChangeAspect="1"/>
              </p:cNvSpPr>
              <p:nvPr/>
            </p:nvSpPr>
            <p:spPr bwMode="auto">
              <a:xfrm>
                <a:off x="6940298" y="2512493"/>
                <a:ext cx="699188" cy="715938"/>
              </a:xfrm>
              <a:custGeom>
                <a:avLst/>
                <a:gdLst>
                  <a:gd name="T0" fmla="*/ 510 w 510"/>
                  <a:gd name="T1" fmla="*/ 256 h 510"/>
                  <a:gd name="T2" fmla="*/ 506 w 510"/>
                  <a:gd name="T3" fmla="*/ 204 h 510"/>
                  <a:gd name="T4" fmla="*/ 490 w 510"/>
                  <a:gd name="T5" fmla="*/ 156 h 510"/>
                  <a:gd name="T6" fmla="*/ 468 w 510"/>
                  <a:gd name="T7" fmla="*/ 112 h 510"/>
                  <a:gd name="T8" fmla="*/ 436 w 510"/>
                  <a:gd name="T9" fmla="*/ 74 h 510"/>
                  <a:gd name="T10" fmla="*/ 398 w 510"/>
                  <a:gd name="T11" fmla="*/ 44 h 510"/>
                  <a:gd name="T12" fmla="*/ 354 w 510"/>
                  <a:gd name="T13" fmla="*/ 20 h 510"/>
                  <a:gd name="T14" fmla="*/ 306 w 510"/>
                  <a:gd name="T15" fmla="*/ 4 h 510"/>
                  <a:gd name="T16" fmla="*/ 256 w 510"/>
                  <a:gd name="T17" fmla="*/ 0 h 510"/>
                  <a:gd name="T18" fmla="*/ 228 w 510"/>
                  <a:gd name="T19" fmla="*/ 0 h 510"/>
                  <a:gd name="T20" fmla="*/ 180 w 510"/>
                  <a:gd name="T21" fmla="*/ 10 h 510"/>
                  <a:gd name="T22" fmla="*/ 134 w 510"/>
                  <a:gd name="T23" fmla="*/ 30 h 510"/>
                  <a:gd name="T24" fmla="*/ 92 w 510"/>
                  <a:gd name="T25" fmla="*/ 58 h 510"/>
                  <a:gd name="T26" fmla="*/ 58 w 510"/>
                  <a:gd name="T27" fmla="*/ 92 h 510"/>
                  <a:gd name="T28" fmla="*/ 30 w 510"/>
                  <a:gd name="T29" fmla="*/ 134 h 510"/>
                  <a:gd name="T30" fmla="*/ 10 w 510"/>
                  <a:gd name="T31" fmla="*/ 180 h 510"/>
                  <a:gd name="T32" fmla="*/ 0 w 510"/>
                  <a:gd name="T33" fmla="*/ 230 h 510"/>
                  <a:gd name="T34" fmla="*/ 0 w 510"/>
                  <a:gd name="T35" fmla="*/ 256 h 510"/>
                  <a:gd name="T36" fmla="*/ 4 w 510"/>
                  <a:gd name="T37" fmla="*/ 306 h 510"/>
                  <a:gd name="T38" fmla="*/ 20 w 510"/>
                  <a:gd name="T39" fmla="*/ 354 h 510"/>
                  <a:gd name="T40" fmla="*/ 42 w 510"/>
                  <a:gd name="T41" fmla="*/ 398 h 510"/>
                  <a:gd name="T42" fmla="*/ 74 w 510"/>
                  <a:gd name="T43" fmla="*/ 436 h 510"/>
                  <a:gd name="T44" fmla="*/ 112 w 510"/>
                  <a:gd name="T45" fmla="*/ 468 h 510"/>
                  <a:gd name="T46" fmla="*/ 156 w 510"/>
                  <a:gd name="T47" fmla="*/ 490 h 510"/>
                  <a:gd name="T48" fmla="*/ 204 w 510"/>
                  <a:gd name="T49" fmla="*/ 506 h 510"/>
                  <a:gd name="T50" fmla="*/ 256 w 510"/>
                  <a:gd name="T51" fmla="*/ 510 h 510"/>
                  <a:gd name="T52" fmla="*/ 282 w 510"/>
                  <a:gd name="T53" fmla="*/ 510 h 510"/>
                  <a:gd name="T54" fmla="*/ 332 w 510"/>
                  <a:gd name="T55" fmla="*/ 500 h 510"/>
                  <a:gd name="T56" fmla="*/ 378 w 510"/>
                  <a:gd name="T57" fmla="*/ 480 h 510"/>
                  <a:gd name="T58" fmla="*/ 418 w 510"/>
                  <a:gd name="T59" fmla="*/ 452 h 510"/>
                  <a:gd name="T60" fmla="*/ 452 w 510"/>
                  <a:gd name="T61" fmla="*/ 418 h 510"/>
                  <a:gd name="T62" fmla="*/ 480 w 510"/>
                  <a:gd name="T63" fmla="*/ 378 h 510"/>
                  <a:gd name="T64" fmla="*/ 500 w 510"/>
                  <a:gd name="T65" fmla="*/ 332 h 510"/>
                  <a:gd name="T66" fmla="*/ 510 w 510"/>
                  <a:gd name="T67" fmla="*/ 282 h 510"/>
                  <a:gd name="T68" fmla="*/ 510 w 510"/>
                  <a:gd name="T69" fmla="*/ 256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0" h="510">
                    <a:moveTo>
                      <a:pt x="510" y="256"/>
                    </a:moveTo>
                    <a:lnTo>
                      <a:pt x="510" y="256"/>
                    </a:lnTo>
                    <a:lnTo>
                      <a:pt x="510" y="230"/>
                    </a:lnTo>
                    <a:lnTo>
                      <a:pt x="506" y="204"/>
                    </a:lnTo>
                    <a:lnTo>
                      <a:pt x="500" y="180"/>
                    </a:lnTo>
                    <a:lnTo>
                      <a:pt x="490" y="156"/>
                    </a:lnTo>
                    <a:lnTo>
                      <a:pt x="480" y="134"/>
                    </a:lnTo>
                    <a:lnTo>
                      <a:pt x="468" y="112"/>
                    </a:lnTo>
                    <a:lnTo>
                      <a:pt x="452" y="92"/>
                    </a:lnTo>
                    <a:lnTo>
                      <a:pt x="436" y="74"/>
                    </a:lnTo>
                    <a:lnTo>
                      <a:pt x="418" y="58"/>
                    </a:lnTo>
                    <a:lnTo>
                      <a:pt x="398" y="44"/>
                    </a:lnTo>
                    <a:lnTo>
                      <a:pt x="378" y="30"/>
                    </a:lnTo>
                    <a:lnTo>
                      <a:pt x="354" y="20"/>
                    </a:lnTo>
                    <a:lnTo>
                      <a:pt x="332" y="10"/>
                    </a:lnTo>
                    <a:lnTo>
                      <a:pt x="306" y="4"/>
                    </a:lnTo>
                    <a:lnTo>
                      <a:pt x="282" y="0"/>
                    </a:lnTo>
                    <a:lnTo>
                      <a:pt x="256" y="0"/>
                    </a:lnTo>
                    <a:lnTo>
                      <a:pt x="256" y="0"/>
                    </a:lnTo>
                    <a:lnTo>
                      <a:pt x="228" y="0"/>
                    </a:lnTo>
                    <a:lnTo>
                      <a:pt x="204" y="4"/>
                    </a:lnTo>
                    <a:lnTo>
                      <a:pt x="180" y="10"/>
                    </a:lnTo>
                    <a:lnTo>
                      <a:pt x="156" y="20"/>
                    </a:lnTo>
                    <a:lnTo>
                      <a:pt x="134" y="30"/>
                    </a:lnTo>
                    <a:lnTo>
                      <a:pt x="112" y="44"/>
                    </a:lnTo>
                    <a:lnTo>
                      <a:pt x="92" y="58"/>
                    </a:lnTo>
                    <a:lnTo>
                      <a:pt x="74" y="74"/>
                    </a:lnTo>
                    <a:lnTo>
                      <a:pt x="58" y="92"/>
                    </a:lnTo>
                    <a:lnTo>
                      <a:pt x="42" y="112"/>
                    </a:lnTo>
                    <a:lnTo>
                      <a:pt x="30" y="134"/>
                    </a:lnTo>
                    <a:lnTo>
                      <a:pt x="20" y="156"/>
                    </a:lnTo>
                    <a:lnTo>
                      <a:pt x="10" y="180"/>
                    </a:lnTo>
                    <a:lnTo>
                      <a:pt x="4" y="204"/>
                    </a:lnTo>
                    <a:lnTo>
                      <a:pt x="0" y="230"/>
                    </a:lnTo>
                    <a:lnTo>
                      <a:pt x="0" y="256"/>
                    </a:lnTo>
                    <a:lnTo>
                      <a:pt x="0" y="256"/>
                    </a:lnTo>
                    <a:lnTo>
                      <a:pt x="0" y="282"/>
                    </a:lnTo>
                    <a:lnTo>
                      <a:pt x="4" y="306"/>
                    </a:lnTo>
                    <a:lnTo>
                      <a:pt x="10" y="332"/>
                    </a:lnTo>
                    <a:lnTo>
                      <a:pt x="20" y="354"/>
                    </a:lnTo>
                    <a:lnTo>
                      <a:pt x="30" y="378"/>
                    </a:lnTo>
                    <a:lnTo>
                      <a:pt x="42" y="398"/>
                    </a:lnTo>
                    <a:lnTo>
                      <a:pt x="58" y="418"/>
                    </a:lnTo>
                    <a:lnTo>
                      <a:pt x="74" y="436"/>
                    </a:lnTo>
                    <a:lnTo>
                      <a:pt x="92" y="452"/>
                    </a:lnTo>
                    <a:lnTo>
                      <a:pt x="112" y="468"/>
                    </a:lnTo>
                    <a:lnTo>
                      <a:pt x="134" y="480"/>
                    </a:lnTo>
                    <a:lnTo>
                      <a:pt x="156" y="490"/>
                    </a:lnTo>
                    <a:lnTo>
                      <a:pt x="180" y="500"/>
                    </a:lnTo>
                    <a:lnTo>
                      <a:pt x="204" y="506"/>
                    </a:lnTo>
                    <a:lnTo>
                      <a:pt x="228" y="510"/>
                    </a:lnTo>
                    <a:lnTo>
                      <a:pt x="256" y="510"/>
                    </a:lnTo>
                    <a:lnTo>
                      <a:pt x="256" y="510"/>
                    </a:lnTo>
                    <a:lnTo>
                      <a:pt x="282" y="510"/>
                    </a:lnTo>
                    <a:lnTo>
                      <a:pt x="306" y="506"/>
                    </a:lnTo>
                    <a:lnTo>
                      <a:pt x="332" y="500"/>
                    </a:lnTo>
                    <a:lnTo>
                      <a:pt x="354" y="490"/>
                    </a:lnTo>
                    <a:lnTo>
                      <a:pt x="378" y="480"/>
                    </a:lnTo>
                    <a:lnTo>
                      <a:pt x="398" y="468"/>
                    </a:lnTo>
                    <a:lnTo>
                      <a:pt x="418" y="452"/>
                    </a:lnTo>
                    <a:lnTo>
                      <a:pt x="436" y="436"/>
                    </a:lnTo>
                    <a:lnTo>
                      <a:pt x="452" y="418"/>
                    </a:lnTo>
                    <a:lnTo>
                      <a:pt x="468" y="398"/>
                    </a:lnTo>
                    <a:lnTo>
                      <a:pt x="480" y="378"/>
                    </a:lnTo>
                    <a:lnTo>
                      <a:pt x="490" y="354"/>
                    </a:lnTo>
                    <a:lnTo>
                      <a:pt x="500" y="332"/>
                    </a:lnTo>
                    <a:lnTo>
                      <a:pt x="506" y="306"/>
                    </a:lnTo>
                    <a:lnTo>
                      <a:pt x="510" y="282"/>
                    </a:lnTo>
                    <a:lnTo>
                      <a:pt x="510" y="256"/>
                    </a:lnTo>
                    <a:lnTo>
                      <a:pt x="510" y="256"/>
                    </a:lnTo>
                    <a:close/>
                  </a:path>
                </a:pathLst>
              </a:cu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38" name="Freeform 936">
                <a:extLst>
                  <a:ext uri="{FF2B5EF4-FFF2-40B4-BE49-F238E27FC236}">
                    <a16:creationId xmlns:a16="http://schemas.microsoft.com/office/drawing/2014/main" id="{895D8804-C90E-4846-BD06-A57034DB62F1}"/>
                  </a:ext>
                </a:extLst>
              </p:cNvPr>
              <p:cNvSpPr>
                <a:spLocks noEditPoints="1"/>
              </p:cNvSpPr>
              <p:nvPr/>
            </p:nvSpPr>
            <p:spPr bwMode="auto">
              <a:xfrm>
                <a:off x="7045675" y="2618405"/>
                <a:ext cx="468239" cy="438132"/>
              </a:xfrm>
              <a:custGeom>
                <a:avLst/>
                <a:gdLst>
                  <a:gd name="T0" fmla="*/ 320 w 321"/>
                  <a:gd name="T1" fmla="*/ 221 h 320"/>
                  <a:gd name="T2" fmla="*/ 278 w 321"/>
                  <a:gd name="T3" fmla="*/ 50 h 320"/>
                  <a:gd name="T4" fmla="*/ 277 w 321"/>
                  <a:gd name="T5" fmla="*/ 50 h 320"/>
                  <a:gd name="T6" fmla="*/ 277 w 321"/>
                  <a:gd name="T7" fmla="*/ 48 h 320"/>
                  <a:gd name="T8" fmla="*/ 275 w 321"/>
                  <a:gd name="T9" fmla="*/ 46 h 320"/>
                  <a:gd name="T10" fmla="*/ 274 w 321"/>
                  <a:gd name="T11" fmla="*/ 45 h 320"/>
                  <a:gd name="T12" fmla="*/ 272 w 321"/>
                  <a:gd name="T13" fmla="*/ 44 h 320"/>
                  <a:gd name="T14" fmla="*/ 271 w 321"/>
                  <a:gd name="T15" fmla="*/ 43 h 320"/>
                  <a:gd name="T16" fmla="*/ 268 w 321"/>
                  <a:gd name="T17" fmla="*/ 42 h 320"/>
                  <a:gd name="T18" fmla="*/ 267 w 321"/>
                  <a:gd name="T19" fmla="*/ 42 h 320"/>
                  <a:gd name="T20" fmla="*/ 267 w 321"/>
                  <a:gd name="T21" fmla="*/ 42 h 320"/>
                  <a:gd name="T22" fmla="*/ 171 w 321"/>
                  <a:gd name="T23" fmla="*/ 42 h 320"/>
                  <a:gd name="T24" fmla="*/ 171 w 321"/>
                  <a:gd name="T25" fmla="*/ 10 h 320"/>
                  <a:gd name="T26" fmla="*/ 161 w 321"/>
                  <a:gd name="T27" fmla="*/ 0 h 320"/>
                  <a:gd name="T28" fmla="*/ 150 w 321"/>
                  <a:gd name="T29" fmla="*/ 10 h 320"/>
                  <a:gd name="T30" fmla="*/ 150 w 321"/>
                  <a:gd name="T31" fmla="*/ 42 h 320"/>
                  <a:gd name="T32" fmla="*/ 65 w 321"/>
                  <a:gd name="T33" fmla="*/ 42 h 320"/>
                  <a:gd name="T34" fmla="*/ 64 w 321"/>
                  <a:gd name="T35" fmla="*/ 42 h 320"/>
                  <a:gd name="T36" fmla="*/ 61 w 321"/>
                  <a:gd name="T37" fmla="*/ 43 h 320"/>
                  <a:gd name="T38" fmla="*/ 60 w 321"/>
                  <a:gd name="T39" fmla="*/ 44 h 320"/>
                  <a:gd name="T40" fmla="*/ 58 w 321"/>
                  <a:gd name="T41" fmla="*/ 45 h 320"/>
                  <a:gd name="T42" fmla="*/ 57 w 321"/>
                  <a:gd name="T43" fmla="*/ 46 h 320"/>
                  <a:gd name="T44" fmla="*/ 55 w 321"/>
                  <a:gd name="T45" fmla="*/ 48 h 320"/>
                  <a:gd name="T46" fmla="*/ 55 w 321"/>
                  <a:gd name="T47" fmla="*/ 49 h 320"/>
                  <a:gd name="T48" fmla="*/ 54 w 321"/>
                  <a:gd name="T49" fmla="*/ 50 h 320"/>
                  <a:gd name="T50" fmla="*/ 1 w 321"/>
                  <a:gd name="T51" fmla="*/ 220 h 320"/>
                  <a:gd name="T52" fmla="*/ 3 w 321"/>
                  <a:gd name="T53" fmla="*/ 230 h 320"/>
                  <a:gd name="T54" fmla="*/ 11 w 321"/>
                  <a:gd name="T55" fmla="*/ 234 h 320"/>
                  <a:gd name="T56" fmla="*/ 107 w 321"/>
                  <a:gd name="T57" fmla="*/ 234 h 320"/>
                  <a:gd name="T58" fmla="*/ 116 w 321"/>
                  <a:gd name="T59" fmla="*/ 230 h 320"/>
                  <a:gd name="T60" fmla="*/ 118 w 321"/>
                  <a:gd name="T61" fmla="*/ 221 h 320"/>
                  <a:gd name="T62" fmla="*/ 78 w 321"/>
                  <a:gd name="T63" fmla="*/ 64 h 320"/>
                  <a:gd name="T64" fmla="*/ 150 w 321"/>
                  <a:gd name="T65" fmla="*/ 64 h 320"/>
                  <a:gd name="T66" fmla="*/ 150 w 321"/>
                  <a:gd name="T67" fmla="*/ 298 h 320"/>
                  <a:gd name="T68" fmla="*/ 97 w 321"/>
                  <a:gd name="T69" fmla="*/ 298 h 320"/>
                  <a:gd name="T70" fmla="*/ 86 w 321"/>
                  <a:gd name="T71" fmla="*/ 309 h 320"/>
                  <a:gd name="T72" fmla="*/ 97 w 321"/>
                  <a:gd name="T73" fmla="*/ 320 h 320"/>
                  <a:gd name="T74" fmla="*/ 225 w 321"/>
                  <a:gd name="T75" fmla="*/ 320 h 320"/>
                  <a:gd name="T76" fmla="*/ 235 w 321"/>
                  <a:gd name="T77" fmla="*/ 309 h 320"/>
                  <a:gd name="T78" fmla="*/ 225 w 321"/>
                  <a:gd name="T79" fmla="*/ 298 h 320"/>
                  <a:gd name="T80" fmla="*/ 171 w 321"/>
                  <a:gd name="T81" fmla="*/ 298 h 320"/>
                  <a:gd name="T82" fmla="*/ 171 w 321"/>
                  <a:gd name="T83" fmla="*/ 64 h 320"/>
                  <a:gd name="T84" fmla="*/ 253 w 321"/>
                  <a:gd name="T85" fmla="*/ 64 h 320"/>
                  <a:gd name="T86" fmla="*/ 204 w 321"/>
                  <a:gd name="T87" fmla="*/ 220 h 320"/>
                  <a:gd name="T88" fmla="*/ 205 w 321"/>
                  <a:gd name="T89" fmla="*/ 230 h 320"/>
                  <a:gd name="T90" fmla="*/ 214 w 321"/>
                  <a:gd name="T91" fmla="*/ 234 h 320"/>
                  <a:gd name="T92" fmla="*/ 310 w 321"/>
                  <a:gd name="T93" fmla="*/ 234 h 320"/>
                  <a:gd name="T94" fmla="*/ 318 w 321"/>
                  <a:gd name="T95" fmla="*/ 230 h 320"/>
                  <a:gd name="T96" fmla="*/ 320 w 321"/>
                  <a:gd name="T97" fmla="*/ 221 h 320"/>
                  <a:gd name="T98" fmla="*/ 26 w 321"/>
                  <a:gd name="T99" fmla="*/ 213 h 320"/>
                  <a:gd name="T100" fmla="*/ 64 w 321"/>
                  <a:gd name="T101" fmla="*/ 92 h 320"/>
                  <a:gd name="T102" fmla="*/ 94 w 321"/>
                  <a:gd name="T103" fmla="*/ 213 h 320"/>
                  <a:gd name="T104" fmla="*/ 26 w 321"/>
                  <a:gd name="T105" fmla="*/ 213 h 320"/>
                  <a:gd name="T106" fmla="*/ 229 w 321"/>
                  <a:gd name="T107" fmla="*/ 213 h 320"/>
                  <a:gd name="T108" fmla="*/ 266 w 321"/>
                  <a:gd name="T109" fmla="*/ 92 h 320"/>
                  <a:gd name="T110" fmla="*/ 296 w 321"/>
                  <a:gd name="T111" fmla="*/ 213 h 320"/>
                  <a:gd name="T112" fmla="*/ 229 w 321"/>
                  <a:gd name="T113" fmla="*/ 21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1" h="320">
                    <a:moveTo>
                      <a:pt x="320" y="221"/>
                    </a:moveTo>
                    <a:cubicBezTo>
                      <a:pt x="278" y="50"/>
                      <a:pt x="278" y="50"/>
                      <a:pt x="278" y="50"/>
                    </a:cubicBezTo>
                    <a:cubicBezTo>
                      <a:pt x="278" y="50"/>
                      <a:pt x="277" y="50"/>
                      <a:pt x="277" y="50"/>
                    </a:cubicBezTo>
                    <a:cubicBezTo>
                      <a:pt x="277" y="49"/>
                      <a:pt x="277" y="49"/>
                      <a:pt x="277" y="48"/>
                    </a:cubicBezTo>
                    <a:cubicBezTo>
                      <a:pt x="276" y="47"/>
                      <a:pt x="276" y="47"/>
                      <a:pt x="275" y="46"/>
                    </a:cubicBezTo>
                    <a:cubicBezTo>
                      <a:pt x="275" y="46"/>
                      <a:pt x="275" y="45"/>
                      <a:pt x="274" y="45"/>
                    </a:cubicBezTo>
                    <a:cubicBezTo>
                      <a:pt x="274" y="45"/>
                      <a:pt x="273" y="44"/>
                      <a:pt x="272" y="44"/>
                    </a:cubicBezTo>
                    <a:cubicBezTo>
                      <a:pt x="272" y="43"/>
                      <a:pt x="272" y="43"/>
                      <a:pt x="271" y="43"/>
                    </a:cubicBezTo>
                    <a:cubicBezTo>
                      <a:pt x="270" y="43"/>
                      <a:pt x="269" y="42"/>
                      <a:pt x="268" y="42"/>
                    </a:cubicBezTo>
                    <a:cubicBezTo>
                      <a:pt x="268" y="42"/>
                      <a:pt x="268" y="42"/>
                      <a:pt x="267" y="42"/>
                    </a:cubicBezTo>
                    <a:cubicBezTo>
                      <a:pt x="267" y="42"/>
                      <a:pt x="267" y="42"/>
                      <a:pt x="267" y="42"/>
                    </a:cubicBezTo>
                    <a:cubicBezTo>
                      <a:pt x="171" y="42"/>
                      <a:pt x="171" y="42"/>
                      <a:pt x="171" y="42"/>
                    </a:cubicBezTo>
                    <a:cubicBezTo>
                      <a:pt x="171" y="10"/>
                      <a:pt x="171" y="10"/>
                      <a:pt x="171" y="10"/>
                    </a:cubicBezTo>
                    <a:cubicBezTo>
                      <a:pt x="171" y="4"/>
                      <a:pt x="167" y="0"/>
                      <a:pt x="161" y="0"/>
                    </a:cubicBezTo>
                    <a:cubicBezTo>
                      <a:pt x="155" y="0"/>
                      <a:pt x="150" y="4"/>
                      <a:pt x="150" y="10"/>
                    </a:cubicBezTo>
                    <a:cubicBezTo>
                      <a:pt x="150" y="42"/>
                      <a:pt x="150" y="42"/>
                      <a:pt x="150" y="42"/>
                    </a:cubicBezTo>
                    <a:cubicBezTo>
                      <a:pt x="65" y="42"/>
                      <a:pt x="65" y="42"/>
                      <a:pt x="65" y="42"/>
                    </a:cubicBezTo>
                    <a:cubicBezTo>
                      <a:pt x="64" y="42"/>
                      <a:pt x="64" y="42"/>
                      <a:pt x="64" y="42"/>
                    </a:cubicBezTo>
                    <a:cubicBezTo>
                      <a:pt x="63" y="43"/>
                      <a:pt x="62" y="43"/>
                      <a:pt x="61" y="43"/>
                    </a:cubicBezTo>
                    <a:cubicBezTo>
                      <a:pt x="61" y="43"/>
                      <a:pt x="60" y="43"/>
                      <a:pt x="60" y="44"/>
                    </a:cubicBezTo>
                    <a:cubicBezTo>
                      <a:pt x="59" y="44"/>
                      <a:pt x="58" y="45"/>
                      <a:pt x="58" y="45"/>
                    </a:cubicBezTo>
                    <a:cubicBezTo>
                      <a:pt x="57" y="45"/>
                      <a:pt x="57" y="46"/>
                      <a:pt x="57" y="46"/>
                    </a:cubicBezTo>
                    <a:cubicBezTo>
                      <a:pt x="56" y="47"/>
                      <a:pt x="56" y="47"/>
                      <a:pt x="55" y="48"/>
                    </a:cubicBezTo>
                    <a:cubicBezTo>
                      <a:pt x="55" y="49"/>
                      <a:pt x="55" y="49"/>
                      <a:pt x="55" y="49"/>
                    </a:cubicBezTo>
                    <a:cubicBezTo>
                      <a:pt x="55" y="49"/>
                      <a:pt x="55" y="50"/>
                      <a:pt x="54" y="50"/>
                    </a:cubicBezTo>
                    <a:cubicBezTo>
                      <a:pt x="1" y="220"/>
                      <a:pt x="1" y="220"/>
                      <a:pt x="1" y="220"/>
                    </a:cubicBezTo>
                    <a:cubicBezTo>
                      <a:pt x="0" y="224"/>
                      <a:pt x="1" y="227"/>
                      <a:pt x="3" y="230"/>
                    </a:cubicBezTo>
                    <a:cubicBezTo>
                      <a:pt x="5" y="233"/>
                      <a:pt x="8" y="234"/>
                      <a:pt x="11" y="234"/>
                    </a:cubicBezTo>
                    <a:cubicBezTo>
                      <a:pt x="107" y="234"/>
                      <a:pt x="107" y="234"/>
                      <a:pt x="107" y="234"/>
                    </a:cubicBezTo>
                    <a:cubicBezTo>
                      <a:pt x="111" y="234"/>
                      <a:pt x="114" y="233"/>
                      <a:pt x="116" y="230"/>
                    </a:cubicBezTo>
                    <a:cubicBezTo>
                      <a:pt x="118" y="228"/>
                      <a:pt x="118" y="224"/>
                      <a:pt x="118" y="221"/>
                    </a:cubicBezTo>
                    <a:cubicBezTo>
                      <a:pt x="78" y="64"/>
                      <a:pt x="78" y="64"/>
                      <a:pt x="78" y="64"/>
                    </a:cubicBezTo>
                    <a:cubicBezTo>
                      <a:pt x="150" y="64"/>
                      <a:pt x="150" y="64"/>
                      <a:pt x="150" y="64"/>
                    </a:cubicBezTo>
                    <a:cubicBezTo>
                      <a:pt x="150" y="298"/>
                      <a:pt x="150" y="298"/>
                      <a:pt x="150" y="298"/>
                    </a:cubicBezTo>
                    <a:cubicBezTo>
                      <a:pt x="97" y="298"/>
                      <a:pt x="97" y="298"/>
                      <a:pt x="97" y="298"/>
                    </a:cubicBezTo>
                    <a:cubicBezTo>
                      <a:pt x="91" y="298"/>
                      <a:pt x="86" y="303"/>
                      <a:pt x="86" y="309"/>
                    </a:cubicBezTo>
                    <a:cubicBezTo>
                      <a:pt x="86" y="315"/>
                      <a:pt x="91" y="320"/>
                      <a:pt x="97" y="320"/>
                    </a:cubicBezTo>
                    <a:cubicBezTo>
                      <a:pt x="225" y="320"/>
                      <a:pt x="225" y="320"/>
                      <a:pt x="225" y="320"/>
                    </a:cubicBezTo>
                    <a:cubicBezTo>
                      <a:pt x="231" y="320"/>
                      <a:pt x="235" y="315"/>
                      <a:pt x="235" y="309"/>
                    </a:cubicBezTo>
                    <a:cubicBezTo>
                      <a:pt x="235" y="303"/>
                      <a:pt x="231" y="298"/>
                      <a:pt x="225" y="298"/>
                    </a:cubicBezTo>
                    <a:cubicBezTo>
                      <a:pt x="171" y="298"/>
                      <a:pt x="171" y="298"/>
                      <a:pt x="171" y="298"/>
                    </a:cubicBezTo>
                    <a:cubicBezTo>
                      <a:pt x="171" y="64"/>
                      <a:pt x="171" y="64"/>
                      <a:pt x="171" y="64"/>
                    </a:cubicBezTo>
                    <a:cubicBezTo>
                      <a:pt x="253" y="64"/>
                      <a:pt x="253" y="64"/>
                      <a:pt x="253" y="64"/>
                    </a:cubicBezTo>
                    <a:cubicBezTo>
                      <a:pt x="204" y="220"/>
                      <a:pt x="204" y="220"/>
                      <a:pt x="204" y="220"/>
                    </a:cubicBezTo>
                    <a:cubicBezTo>
                      <a:pt x="203" y="224"/>
                      <a:pt x="203" y="227"/>
                      <a:pt x="205" y="230"/>
                    </a:cubicBezTo>
                    <a:cubicBezTo>
                      <a:pt x="207" y="233"/>
                      <a:pt x="211" y="234"/>
                      <a:pt x="214" y="234"/>
                    </a:cubicBezTo>
                    <a:cubicBezTo>
                      <a:pt x="310" y="234"/>
                      <a:pt x="310" y="234"/>
                      <a:pt x="310" y="234"/>
                    </a:cubicBezTo>
                    <a:cubicBezTo>
                      <a:pt x="313" y="234"/>
                      <a:pt x="316" y="233"/>
                      <a:pt x="318" y="230"/>
                    </a:cubicBezTo>
                    <a:cubicBezTo>
                      <a:pt x="320" y="228"/>
                      <a:pt x="321" y="224"/>
                      <a:pt x="320" y="221"/>
                    </a:cubicBezTo>
                    <a:close/>
                    <a:moveTo>
                      <a:pt x="26" y="213"/>
                    </a:moveTo>
                    <a:cubicBezTo>
                      <a:pt x="64" y="92"/>
                      <a:pt x="64" y="92"/>
                      <a:pt x="64" y="92"/>
                    </a:cubicBezTo>
                    <a:cubicBezTo>
                      <a:pt x="94" y="213"/>
                      <a:pt x="94" y="213"/>
                      <a:pt x="94" y="213"/>
                    </a:cubicBezTo>
                    <a:lnTo>
                      <a:pt x="26" y="213"/>
                    </a:lnTo>
                    <a:close/>
                    <a:moveTo>
                      <a:pt x="229" y="213"/>
                    </a:moveTo>
                    <a:cubicBezTo>
                      <a:pt x="266" y="92"/>
                      <a:pt x="266" y="92"/>
                      <a:pt x="266" y="92"/>
                    </a:cubicBezTo>
                    <a:cubicBezTo>
                      <a:pt x="296" y="213"/>
                      <a:pt x="296" y="213"/>
                      <a:pt x="296" y="213"/>
                    </a:cubicBezTo>
                    <a:lnTo>
                      <a:pt x="229" y="213"/>
                    </a:lnTo>
                    <a:close/>
                  </a:path>
                </a:pathLst>
              </a:custGeom>
              <a:solidFill>
                <a:schemeClr val="tx1">
                  <a:lumMod val="75000"/>
                  <a:lumOff val="2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p:txBody>
          </p:sp>
        </p:grpSp>
      </p:grpSp>
      <p:graphicFrame>
        <p:nvGraphicFramePr>
          <p:cNvPr id="80" name="Table 79">
            <a:extLst>
              <a:ext uri="{FF2B5EF4-FFF2-40B4-BE49-F238E27FC236}">
                <a16:creationId xmlns:a16="http://schemas.microsoft.com/office/drawing/2014/main" id="{56EDB1FC-B2AB-46C7-9C3B-EC9947787640}"/>
              </a:ext>
            </a:extLst>
          </p:cNvPr>
          <p:cNvGraphicFramePr>
            <a:graphicFrameLocks noGrp="1"/>
          </p:cNvGraphicFramePr>
          <p:nvPr/>
        </p:nvGraphicFramePr>
        <p:xfrm>
          <a:off x="4374823" y="3865358"/>
          <a:ext cx="3110264" cy="1383236"/>
        </p:xfrm>
        <a:graphic>
          <a:graphicData uri="http://schemas.openxmlformats.org/drawingml/2006/table">
            <a:tbl>
              <a:tblPr firstRow="1" bandRow="1">
                <a:tableStyleId>{5C22544A-7EE6-4342-B048-85BDC9FD1C3A}</a:tableStyleId>
              </a:tblPr>
              <a:tblGrid>
                <a:gridCol w="2590796">
                  <a:extLst>
                    <a:ext uri="{9D8B030D-6E8A-4147-A177-3AD203B41FA5}">
                      <a16:colId xmlns:a16="http://schemas.microsoft.com/office/drawing/2014/main" val="522300892"/>
                    </a:ext>
                  </a:extLst>
                </a:gridCol>
                <a:gridCol w="519468">
                  <a:extLst>
                    <a:ext uri="{9D8B030D-6E8A-4147-A177-3AD203B41FA5}">
                      <a16:colId xmlns:a16="http://schemas.microsoft.com/office/drawing/2014/main" val="1329668959"/>
                    </a:ext>
                  </a:extLst>
                </a:gridCol>
              </a:tblGrid>
              <a:tr h="220092">
                <a:tc gridSpan="2">
                  <a:txBody>
                    <a:bodyPr/>
                    <a:lstStyle/>
                    <a:p>
                      <a:pPr algn="ctr"/>
                      <a:r>
                        <a:rPr lang="en-US" sz="1200" dirty="0">
                          <a:solidFill>
                            <a:schemeClr val="tx1"/>
                          </a:solidFill>
                        </a:rPr>
                        <a:t>ASSETS BY OFFERING</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dirty="0"/>
                    </a:p>
                  </a:txBody>
                  <a:tcPr/>
                </a:tc>
                <a:extLst>
                  <a:ext uri="{0D108BD9-81ED-4DB2-BD59-A6C34878D82A}">
                    <a16:rowId xmlns:a16="http://schemas.microsoft.com/office/drawing/2014/main" val="32670382"/>
                  </a:ext>
                </a:extLst>
              </a:tr>
              <a:tr h="277229">
                <a:tc>
                  <a:txBody>
                    <a:bodyPr/>
                    <a:lstStyle/>
                    <a:p>
                      <a:r>
                        <a:rPr lang="en-US" sz="1050" dirty="0"/>
                        <a:t>Advertising Marketing &amp; Commerce</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100" b="1" dirty="0"/>
                        <a:t>23</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8600367"/>
                  </a:ext>
                </a:extLst>
              </a:tr>
              <a:tr h="277229">
                <a:tc>
                  <a:txBody>
                    <a:bodyPr/>
                    <a:lstStyle/>
                    <a:p>
                      <a:r>
                        <a:rPr lang="en-US" sz="1050" dirty="0"/>
                        <a:t>Commercial Excellence &amp; Experienc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b="1" dirty="0"/>
                        <a:t>36</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82333449"/>
                  </a:ext>
                </a:extLst>
              </a:tr>
              <a:tr h="2772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t>Customer Strategy &amp; Applied Desig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b="1" dirty="0"/>
                        <a:t>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44975536"/>
                  </a:ext>
                </a:extLst>
              </a:tr>
              <a:tr h="2772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t>Human Services Transformatio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b="1" dirty="0"/>
                        <a:t>1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00287614"/>
                  </a:ext>
                </a:extLst>
              </a:tr>
            </a:tbl>
          </a:graphicData>
        </a:graphic>
      </p:graphicFrame>
      <p:graphicFrame>
        <p:nvGraphicFramePr>
          <p:cNvPr id="81" name="Table 80">
            <a:extLst>
              <a:ext uri="{FF2B5EF4-FFF2-40B4-BE49-F238E27FC236}">
                <a16:creationId xmlns:a16="http://schemas.microsoft.com/office/drawing/2014/main" id="{D560F882-AA6E-40E3-891D-7172B7A5DA39}"/>
              </a:ext>
            </a:extLst>
          </p:cNvPr>
          <p:cNvGraphicFramePr>
            <a:graphicFrameLocks noGrp="1"/>
          </p:cNvGraphicFramePr>
          <p:nvPr/>
        </p:nvGraphicFramePr>
        <p:xfrm>
          <a:off x="4374823" y="5307173"/>
          <a:ext cx="3110264" cy="1028700"/>
        </p:xfrm>
        <a:graphic>
          <a:graphicData uri="http://schemas.openxmlformats.org/drawingml/2006/table">
            <a:tbl>
              <a:tblPr firstRow="1" bandRow="1">
                <a:tableStyleId>{5C22544A-7EE6-4342-B048-85BDC9FD1C3A}</a:tableStyleId>
              </a:tblPr>
              <a:tblGrid>
                <a:gridCol w="2590796">
                  <a:extLst>
                    <a:ext uri="{9D8B030D-6E8A-4147-A177-3AD203B41FA5}">
                      <a16:colId xmlns:a16="http://schemas.microsoft.com/office/drawing/2014/main" val="522300892"/>
                    </a:ext>
                  </a:extLst>
                </a:gridCol>
                <a:gridCol w="519468">
                  <a:extLst>
                    <a:ext uri="{9D8B030D-6E8A-4147-A177-3AD203B41FA5}">
                      <a16:colId xmlns:a16="http://schemas.microsoft.com/office/drawing/2014/main" val="1329668959"/>
                    </a:ext>
                  </a:extLst>
                </a:gridCol>
              </a:tblGrid>
              <a:tr h="186841">
                <a:tc gridSpan="2">
                  <a:txBody>
                    <a:bodyPr/>
                    <a:lstStyle/>
                    <a:p>
                      <a:pPr algn="ctr"/>
                      <a:r>
                        <a:rPr lang="en-US" sz="1200" dirty="0">
                          <a:solidFill>
                            <a:schemeClr val="tx1"/>
                          </a:solidFill>
                        </a:rPr>
                        <a:t>ASSETS BY INDUSTRY</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dirty="0"/>
                    </a:p>
                  </a:txBody>
                  <a:tcPr/>
                </a:tc>
                <a:extLst>
                  <a:ext uri="{0D108BD9-81ED-4DB2-BD59-A6C34878D82A}">
                    <a16:rowId xmlns:a16="http://schemas.microsoft.com/office/drawing/2014/main" val="32670382"/>
                  </a:ext>
                </a:extLst>
              </a:tr>
              <a:tr h="172987">
                <a:tc>
                  <a:txBody>
                    <a:bodyPr/>
                    <a:lstStyle/>
                    <a:p>
                      <a:r>
                        <a:rPr lang="en-US" sz="1050" dirty="0"/>
                        <a:t>Consumer</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050" b="1" dirty="0"/>
                        <a:t>14</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8600367"/>
                  </a:ext>
                </a:extLst>
              </a:tr>
              <a:tr h="172987">
                <a:tc>
                  <a:txBody>
                    <a:bodyPr/>
                    <a:lstStyle/>
                    <a:p>
                      <a:r>
                        <a:rPr lang="en-US" sz="1050" dirty="0"/>
                        <a:t>Energy, Resources &amp; Industrial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b="1" dirty="0"/>
                        <a:t>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82333449"/>
                  </a:ext>
                </a:extLst>
              </a:tr>
              <a:tr h="1729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t>Financial Service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b="1" dirty="0"/>
                        <a:t>7</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44975536"/>
                  </a:ext>
                </a:extLst>
              </a:tr>
            </a:tbl>
          </a:graphicData>
        </a:graphic>
      </p:graphicFrame>
    </p:spTree>
    <p:extLst>
      <p:ext uri="{BB962C8B-B14F-4D97-AF65-F5344CB8AC3E}">
        <p14:creationId xmlns:p14="http://schemas.microsoft.com/office/powerpoint/2010/main" val="643304909"/>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160909B4-7710-428D-8287-BD561F6986E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828" name="think-cell Slide" r:id="rId6" imgW="395" imgH="396" progId="TCLayout.ActiveDocument.1">
                  <p:embed/>
                </p:oleObj>
              </mc:Choice>
              <mc:Fallback>
                <p:oleObj name="think-cell Slide" r:id="rId6" imgW="395" imgH="396" progId="TCLayout.ActiveDocument.1">
                  <p:embed/>
                  <p:pic>
                    <p:nvPicPr>
                      <p:cNvPr id="24" name="Object 23" hidden="1">
                        <a:extLst>
                          <a:ext uri="{FF2B5EF4-FFF2-40B4-BE49-F238E27FC236}">
                            <a16:creationId xmlns:a16="http://schemas.microsoft.com/office/drawing/2014/main" id="{160909B4-7710-428D-8287-BD561F6986E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E395EF67-7E75-495A-9E0D-7FB2AA5BD4D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pic>
        <p:nvPicPr>
          <p:cNvPr id="5" name="Picture 4">
            <a:extLst>
              <a:ext uri="{FF2B5EF4-FFF2-40B4-BE49-F238E27FC236}">
                <a16:creationId xmlns:a16="http://schemas.microsoft.com/office/drawing/2014/main" id="{8EEF4D5A-3E7C-4978-BB86-F009B90716E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63895" y="1547671"/>
            <a:ext cx="3835400" cy="3530600"/>
          </a:xfrm>
          <a:prstGeom prst="rect">
            <a:avLst/>
          </a:prstGeom>
        </p:spPr>
      </p:pic>
      <p:sp>
        <p:nvSpPr>
          <p:cNvPr id="6" name="Rectangle 5">
            <a:extLst>
              <a:ext uri="{FF2B5EF4-FFF2-40B4-BE49-F238E27FC236}">
                <a16:creationId xmlns:a16="http://schemas.microsoft.com/office/drawing/2014/main" id="{3D157E23-538F-4AC7-9C2D-C461222268C4}"/>
              </a:ext>
            </a:extLst>
          </p:cNvPr>
          <p:cNvSpPr/>
          <p:nvPr/>
        </p:nvSpPr>
        <p:spPr>
          <a:xfrm>
            <a:off x="1" y="0"/>
            <a:ext cx="3404558" cy="6858000"/>
          </a:xfrm>
          <a:prstGeom prst="rect">
            <a:avLst/>
          </a:prstGeom>
          <a:solidFill>
            <a:srgbClr val="F7DE39"/>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2743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p:txBody>
      </p:sp>
      <p:sp>
        <p:nvSpPr>
          <p:cNvPr id="7" name="Title 1">
            <a:extLst>
              <a:ext uri="{FF2B5EF4-FFF2-40B4-BE49-F238E27FC236}">
                <a16:creationId xmlns:a16="http://schemas.microsoft.com/office/drawing/2014/main" id="{838A57F6-221F-4A3A-B74B-113523FFEE83}"/>
              </a:ext>
            </a:extLst>
          </p:cNvPr>
          <p:cNvSpPr txBox="1">
            <a:spLocks/>
          </p:cNvSpPr>
          <p:nvPr/>
        </p:nvSpPr>
        <p:spPr>
          <a:xfrm>
            <a:off x="395514" y="815753"/>
            <a:ext cx="2701647" cy="110891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latin typeface="Montserrat" panose="00000500000000000000" pitchFamily="2" charset="0"/>
              <a:ea typeface="Montserrat SemiBold" charset="0"/>
              <a:cs typeface="Montserrat SemiBold" charset="0"/>
            </a:endParaRPr>
          </a:p>
        </p:txBody>
      </p:sp>
      <p:sp>
        <p:nvSpPr>
          <p:cNvPr id="9" name="Oval 8">
            <a:extLst>
              <a:ext uri="{FF2B5EF4-FFF2-40B4-BE49-F238E27FC236}">
                <a16:creationId xmlns:a16="http://schemas.microsoft.com/office/drawing/2014/main" id="{115E2A57-75C6-4EF7-B9A5-045C12BCDE49}"/>
              </a:ext>
            </a:extLst>
          </p:cNvPr>
          <p:cNvSpPr/>
          <p:nvPr/>
        </p:nvSpPr>
        <p:spPr>
          <a:xfrm>
            <a:off x="6855841" y="2319232"/>
            <a:ext cx="1924665" cy="1924665"/>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9175"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prstClr val="black"/>
                </a:solidFill>
                <a:effectLst/>
                <a:uLnTx/>
                <a:uFillTx/>
                <a:ea typeface="+mn-ea"/>
                <a:cs typeface="+mn-cs"/>
              </a:rPr>
              <a:t>Strong Specialty Foodservice Opportunity for Client</a:t>
            </a:r>
          </a:p>
        </p:txBody>
      </p:sp>
      <p:sp>
        <p:nvSpPr>
          <p:cNvPr id="10" name="Text Placeholder 5">
            <a:extLst>
              <a:ext uri="{FF2B5EF4-FFF2-40B4-BE49-F238E27FC236}">
                <a16:creationId xmlns:a16="http://schemas.microsoft.com/office/drawing/2014/main" id="{4964F973-5CAE-49F4-880E-D45EE09CF489}"/>
              </a:ext>
            </a:extLst>
          </p:cNvPr>
          <p:cNvSpPr txBox="1">
            <a:spLocks/>
          </p:cNvSpPr>
          <p:nvPr/>
        </p:nvSpPr>
        <p:spPr>
          <a:xfrm>
            <a:off x="3648077" y="4401900"/>
            <a:ext cx="2463991" cy="110799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1" indent="0" algn="l" defTabSz="957263" rtl="0" eaLnBrk="1" fontAlgn="base" latinLnBrk="0" hangingPunct="1">
              <a:lnSpc>
                <a:spcPct val="100000"/>
              </a:lnSpc>
              <a:spcBef>
                <a:spcPts val="0"/>
              </a:spcBef>
              <a:spcAft>
                <a:spcPts val="600"/>
              </a:spcAft>
              <a:buClrTx/>
              <a:buSzPct val="100000"/>
              <a:buFont typeface="Arial" charset="0"/>
              <a:buNone/>
              <a:tabLst/>
              <a:defRPr/>
            </a:pPr>
            <a:r>
              <a:rPr kumimoji="0" lang="en-US" sz="1200" b="1" i="0" u="none" strike="noStrike" kern="1200" cap="none" spc="0" normalizeH="0" baseline="0" noProof="0" dirty="0">
                <a:ln>
                  <a:noFill/>
                </a:ln>
                <a:solidFill>
                  <a:prstClr val="black"/>
                </a:solidFill>
                <a:effectLst/>
                <a:uLnTx/>
                <a:uFillTx/>
                <a:ea typeface="+mj-ea"/>
                <a:cs typeface="+mj-cs"/>
              </a:rPr>
              <a:t>Ability to enter retail long-term</a:t>
            </a:r>
          </a:p>
          <a:p>
            <a:pPr marL="0" marR="0" lvl="1" indent="0" algn="l" defTabSz="957263" rtl="0" eaLnBrk="1" fontAlgn="base" latinLnBrk="0" hangingPunct="1">
              <a:lnSpc>
                <a:spcPct val="100000"/>
              </a:lnSpc>
              <a:spcBef>
                <a:spcPts val="0"/>
              </a:spcBef>
              <a:spcAft>
                <a:spcPts val="600"/>
              </a:spcAft>
              <a:buClrTx/>
              <a:buSzPct val="100000"/>
              <a:buFont typeface="Arial" charset="0"/>
              <a:buNone/>
              <a:tabLst/>
              <a:defRPr/>
            </a:pPr>
            <a:r>
              <a:rPr kumimoji="0" lang="en-US" sz="1100" b="0" i="0" u="none" strike="noStrike" kern="1200" cap="none" spc="0" normalizeH="0" baseline="0" noProof="0" dirty="0">
                <a:ln>
                  <a:noFill/>
                </a:ln>
                <a:solidFill>
                  <a:srgbClr val="000000"/>
                </a:solidFill>
                <a:effectLst/>
                <a:uLnTx/>
                <a:uFillTx/>
                <a:ea typeface="Montserrat Light" charset="0"/>
                <a:cs typeface="Montserrat Light" charset="0"/>
              </a:rPr>
              <a:t>Expansion from foodservice into retail would likely be an easier process, as Client could use its chef clientele to establish ethos with foodies and amateur chefs.</a:t>
            </a:r>
            <a:endParaRPr kumimoji="0" lang="en-US" sz="1100" b="0" i="0" u="none" strike="noStrike" kern="1200" cap="none" spc="0" normalizeH="0" baseline="0" noProof="0" dirty="0">
              <a:ln>
                <a:noFill/>
              </a:ln>
              <a:solidFill>
                <a:srgbClr val="ED5304"/>
              </a:solidFill>
              <a:effectLst/>
              <a:uLnTx/>
              <a:uFillTx/>
              <a:ea typeface="Montserrat Light" charset="0"/>
              <a:cs typeface="Montserrat Light" charset="0"/>
            </a:endParaRPr>
          </a:p>
        </p:txBody>
      </p:sp>
      <p:sp>
        <p:nvSpPr>
          <p:cNvPr id="11" name="Text Placeholder 5">
            <a:extLst>
              <a:ext uri="{FF2B5EF4-FFF2-40B4-BE49-F238E27FC236}">
                <a16:creationId xmlns:a16="http://schemas.microsoft.com/office/drawing/2014/main" id="{0E7B3FAE-1A7D-43DB-BF4E-9F832CB6CD2E}"/>
              </a:ext>
            </a:extLst>
          </p:cNvPr>
          <p:cNvSpPr txBox="1">
            <a:spLocks/>
          </p:cNvSpPr>
          <p:nvPr/>
        </p:nvSpPr>
        <p:spPr>
          <a:xfrm>
            <a:off x="3662021" y="1920983"/>
            <a:ext cx="2687244" cy="1277273"/>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1" indent="0" algn="l" defTabSz="957263" rtl="0" eaLnBrk="1" fontAlgn="base" latinLnBrk="0" hangingPunct="1">
              <a:lnSpc>
                <a:spcPct val="100000"/>
              </a:lnSpc>
              <a:spcBef>
                <a:spcPts val="0"/>
              </a:spcBef>
              <a:spcAft>
                <a:spcPts val="600"/>
              </a:spcAft>
              <a:buClrTx/>
              <a:buSzPct val="100000"/>
              <a:buFont typeface="Arial" charset="0"/>
              <a:buNone/>
              <a:tabLst/>
              <a:defRPr/>
            </a:pPr>
            <a:r>
              <a:rPr kumimoji="0" lang="en-US" sz="1200" b="1" i="0" u="none" strike="noStrike" kern="1200" cap="none" spc="0" normalizeH="0" baseline="0" noProof="0" dirty="0">
                <a:ln>
                  <a:noFill/>
                </a:ln>
                <a:solidFill>
                  <a:prstClr val="black"/>
                </a:solidFill>
                <a:effectLst/>
                <a:uLnTx/>
                <a:uFillTx/>
                <a:ea typeface="+mj-ea"/>
                <a:cs typeface="+mj-cs"/>
              </a:rPr>
              <a:t>Considerable growth potential</a:t>
            </a:r>
          </a:p>
          <a:p>
            <a:pPr marL="0" marR="0" lvl="1" indent="0" algn="l" defTabSz="957263" rtl="0" eaLnBrk="1" fontAlgn="base" latinLnBrk="0" hangingPunct="1">
              <a:lnSpc>
                <a:spcPct val="100000"/>
              </a:lnSpc>
              <a:spcBef>
                <a:spcPts val="0"/>
              </a:spcBef>
              <a:spcAft>
                <a:spcPts val="600"/>
              </a:spcAft>
              <a:buClrTx/>
              <a:buSzPct val="100000"/>
              <a:buFont typeface="Arial" charset="0"/>
              <a:buNone/>
              <a:tabLst/>
              <a:defRPr/>
            </a:pPr>
            <a:r>
              <a:rPr kumimoji="0" lang="en-US" sz="1100" b="0" i="0" u="none" strike="noStrike" kern="1200" cap="none" spc="0" normalizeH="0" baseline="0" noProof="0" dirty="0">
                <a:ln>
                  <a:noFill/>
                </a:ln>
                <a:solidFill>
                  <a:srgbClr val="000000"/>
                </a:solidFill>
                <a:effectLst/>
                <a:uLnTx/>
                <a:uFillTx/>
                <a:ea typeface="Montserrat Light" charset="0"/>
                <a:cs typeface="Montserrat Light" charset="0"/>
              </a:rPr>
              <a:t>The specialty foodservice market has grown on pace with the specialty retail market since 2011, and anticipated increases in disposable income and urbanization should drive increased demand for specialty away from home. </a:t>
            </a:r>
            <a:endParaRPr kumimoji="0" lang="en-US" sz="1100" b="0" i="0" u="none" strike="noStrike" kern="1200" cap="none" spc="0" normalizeH="0" baseline="0" noProof="0" dirty="0">
              <a:ln>
                <a:noFill/>
              </a:ln>
              <a:solidFill>
                <a:srgbClr val="ED5304"/>
              </a:solidFill>
              <a:effectLst/>
              <a:uLnTx/>
              <a:uFillTx/>
              <a:ea typeface="Montserrat Light" charset="0"/>
              <a:cs typeface="Montserrat Light" charset="0"/>
            </a:endParaRPr>
          </a:p>
        </p:txBody>
      </p:sp>
      <p:sp>
        <p:nvSpPr>
          <p:cNvPr id="12" name="Text Placeholder 5">
            <a:extLst>
              <a:ext uri="{FF2B5EF4-FFF2-40B4-BE49-F238E27FC236}">
                <a16:creationId xmlns:a16="http://schemas.microsoft.com/office/drawing/2014/main" id="{1F78CB42-298D-4C04-97D1-9DF991C14F3F}"/>
              </a:ext>
            </a:extLst>
          </p:cNvPr>
          <p:cNvSpPr txBox="1">
            <a:spLocks/>
          </p:cNvSpPr>
          <p:nvPr/>
        </p:nvSpPr>
        <p:spPr>
          <a:xfrm>
            <a:off x="9436378" y="4385451"/>
            <a:ext cx="2463991" cy="1461939"/>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600"/>
              </a:spcAft>
              <a:buSzPct val="100000"/>
              <a:buNone/>
              <a:defRPr/>
            </a:pPr>
            <a:r>
              <a:rPr kumimoji="0" lang="en-US" sz="1200" b="1" i="0" u="none" strike="noStrike" kern="1200" cap="none" spc="0" normalizeH="0" baseline="0" noProof="0" dirty="0">
                <a:ln>
                  <a:noFill/>
                </a:ln>
                <a:solidFill>
                  <a:prstClr val="black"/>
                </a:solidFill>
                <a:effectLst/>
                <a:uLnTx/>
                <a:uFillTx/>
                <a:ea typeface="+mj-ea"/>
                <a:cs typeface="+mj-cs"/>
              </a:rPr>
              <a:t>Ability to eventually </a:t>
            </a:r>
            <a:br>
              <a:rPr kumimoji="0" lang="en-US" sz="1200" b="1" i="0" u="none" strike="noStrike" kern="1200" cap="none" spc="0" normalizeH="0" baseline="0" noProof="0" dirty="0">
                <a:ln>
                  <a:noFill/>
                </a:ln>
                <a:solidFill>
                  <a:prstClr val="black"/>
                </a:solidFill>
                <a:effectLst/>
                <a:uLnTx/>
                <a:uFillTx/>
                <a:ea typeface="+mj-ea"/>
                <a:cs typeface="+mj-cs"/>
              </a:rPr>
            </a:br>
            <a:r>
              <a:rPr kumimoji="0" lang="en-US" sz="1200" b="1" i="0" u="none" strike="noStrike" kern="1200" cap="none" spc="0" normalizeH="0" baseline="0" noProof="0" dirty="0">
                <a:ln>
                  <a:noFill/>
                </a:ln>
                <a:solidFill>
                  <a:prstClr val="black"/>
                </a:solidFill>
                <a:effectLst/>
                <a:uLnTx/>
                <a:uFillTx/>
                <a:ea typeface="+mj-ea"/>
                <a:cs typeface="+mj-cs"/>
              </a:rPr>
              <a:t>leverage </a:t>
            </a:r>
            <a:r>
              <a:rPr lang="en-US" sz="1200" b="1" dirty="0">
                <a:solidFill>
                  <a:prstClr val="black"/>
                </a:solidFill>
              </a:rPr>
              <a:t>brand</a:t>
            </a:r>
            <a:endParaRPr kumimoji="0" lang="en-US" sz="1200" b="1" i="0" u="none" strike="noStrike" kern="1200" cap="none" spc="0" normalizeH="0" baseline="0" noProof="0" dirty="0">
              <a:ln>
                <a:noFill/>
              </a:ln>
              <a:solidFill>
                <a:prstClr val="black"/>
              </a:solidFill>
              <a:effectLst/>
              <a:uLnTx/>
              <a:uFillTx/>
              <a:ea typeface="+mj-ea"/>
              <a:cs typeface="+mj-cs"/>
            </a:endParaRPr>
          </a:p>
          <a:p>
            <a:pPr marL="0" marR="0" lvl="1" indent="0" algn="l" defTabSz="957263" rtl="0" eaLnBrk="1" fontAlgn="base" latinLnBrk="0" hangingPunct="1">
              <a:lnSpc>
                <a:spcPct val="100000"/>
              </a:lnSpc>
              <a:spcBef>
                <a:spcPts val="0"/>
              </a:spcBef>
              <a:spcAft>
                <a:spcPts val="600"/>
              </a:spcAft>
              <a:buClrTx/>
              <a:buSzPct val="100000"/>
              <a:buFont typeface="Arial" charset="0"/>
              <a:buNone/>
              <a:tabLst/>
              <a:defRPr/>
            </a:pPr>
            <a:r>
              <a:rPr kumimoji="0" lang="en-US" sz="1100" b="0" i="0" u="none" strike="noStrike" kern="1200" cap="none" spc="0" normalizeH="0" baseline="0" noProof="0" dirty="0">
                <a:ln>
                  <a:noFill/>
                </a:ln>
                <a:solidFill>
                  <a:srgbClr val="000000"/>
                </a:solidFill>
                <a:effectLst/>
                <a:uLnTx/>
                <a:uFillTx/>
                <a:ea typeface="Montserrat Light" charset="0"/>
                <a:cs typeface="Montserrat Light" charset="0"/>
              </a:rPr>
              <a:t>Client relationships with and experience serving operators is a clear differentiator and advantage when establishing a foodservice-oriented marketplace (as opposed to retail).</a:t>
            </a:r>
            <a:endParaRPr kumimoji="0" lang="en-US" sz="1100" b="0" i="0" u="none" strike="noStrike" kern="1200" cap="none" spc="0" normalizeH="0" baseline="0" noProof="0" dirty="0">
              <a:ln>
                <a:noFill/>
              </a:ln>
              <a:solidFill>
                <a:srgbClr val="ED5304"/>
              </a:solidFill>
              <a:effectLst/>
              <a:uLnTx/>
              <a:uFillTx/>
              <a:ea typeface="Montserrat Light" charset="0"/>
              <a:cs typeface="Montserrat Light" charset="0"/>
            </a:endParaRPr>
          </a:p>
        </p:txBody>
      </p:sp>
      <p:sp>
        <p:nvSpPr>
          <p:cNvPr id="13" name="Text Placeholder 5">
            <a:extLst>
              <a:ext uri="{FF2B5EF4-FFF2-40B4-BE49-F238E27FC236}">
                <a16:creationId xmlns:a16="http://schemas.microsoft.com/office/drawing/2014/main" id="{CF1834C3-6D9D-45E3-9532-FE170C2F728C}"/>
              </a:ext>
            </a:extLst>
          </p:cNvPr>
          <p:cNvSpPr txBox="1">
            <a:spLocks/>
          </p:cNvSpPr>
          <p:nvPr/>
        </p:nvSpPr>
        <p:spPr>
          <a:xfrm>
            <a:off x="9436378" y="1920983"/>
            <a:ext cx="2463991" cy="1277273"/>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1" indent="0" algn="l" defTabSz="957263" rtl="0" eaLnBrk="1" fontAlgn="base" latinLnBrk="0" hangingPunct="1">
              <a:lnSpc>
                <a:spcPct val="100000"/>
              </a:lnSpc>
              <a:spcBef>
                <a:spcPts val="0"/>
              </a:spcBef>
              <a:spcAft>
                <a:spcPts val="600"/>
              </a:spcAft>
              <a:buClrTx/>
              <a:buSzPct val="100000"/>
              <a:buFont typeface="Arial" charset="0"/>
              <a:buNone/>
              <a:tabLst/>
              <a:defRPr/>
            </a:pPr>
            <a:r>
              <a:rPr kumimoji="0" lang="en-US" sz="1200" b="1" i="0" u="none" strike="noStrike" kern="1200" cap="none" spc="0" normalizeH="0" baseline="0" noProof="0" dirty="0">
                <a:ln>
                  <a:noFill/>
                </a:ln>
                <a:solidFill>
                  <a:prstClr val="black"/>
                </a:solidFill>
                <a:effectLst/>
                <a:uLnTx/>
                <a:uFillTx/>
                <a:ea typeface="+mj-ea"/>
                <a:cs typeface="+mj-cs"/>
              </a:rPr>
              <a:t>No clear marketplace leader</a:t>
            </a:r>
          </a:p>
          <a:p>
            <a:pPr marL="0" marR="0" lvl="1" indent="0" algn="l" defTabSz="957263" rtl="0" eaLnBrk="1" fontAlgn="base" latinLnBrk="0" hangingPunct="1">
              <a:lnSpc>
                <a:spcPct val="100000"/>
              </a:lnSpc>
              <a:spcBef>
                <a:spcPts val="0"/>
              </a:spcBef>
              <a:spcAft>
                <a:spcPts val="600"/>
              </a:spcAft>
              <a:buClrTx/>
              <a:buSzPct val="100000"/>
              <a:buFont typeface="Arial" charset="0"/>
              <a:buNone/>
              <a:tabLst/>
              <a:defRPr/>
            </a:pPr>
            <a:r>
              <a:rPr kumimoji="0" lang="en-US" sz="1100" b="0" i="0" u="none" strike="noStrike" kern="1200" cap="none" spc="0" normalizeH="0" baseline="0" noProof="0" dirty="0">
                <a:ln>
                  <a:noFill/>
                </a:ln>
                <a:solidFill>
                  <a:srgbClr val="000000"/>
                </a:solidFill>
                <a:effectLst/>
                <a:uLnTx/>
                <a:uFillTx/>
                <a:ea typeface="Montserrat Light" charset="0"/>
                <a:cs typeface="Montserrat Light" charset="0"/>
              </a:rPr>
              <a:t>No marketplace is currently winning the foodservice space, whereas Amazon and a number of retail-oriented specialty marketplaces increase barriers to entry with end consumers.</a:t>
            </a:r>
            <a:endParaRPr kumimoji="0" lang="en-US" sz="1100" b="0" i="0" u="none" strike="noStrike" kern="1200" cap="none" spc="0" normalizeH="0" baseline="0" noProof="0" dirty="0">
              <a:ln>
                <a:noFill/>
              </a:ln>
              <a:solidFill>
                <a:srgbClr val="ED5304"/>
              </a:solidFill>
              <a:effectLst/>
              <a:uLnTx/>
              <a:uFillTx/>
              <a:ea typeface="Montserrat Light" charset="0"/>
              <a:cs typeface="Montserrat Light" charset="0"/>
            </a:endParaRPr>
          </a:p>
        </p:txBody>
      </p:sp>
      <p:sp>
        <p:nvSpPr>
          <p:cNvPr id="14" name="Text Placeholder 5">
            <a:extLst>
              <a:ext uri="{FF2B5EF4-FFF2-40B4-BE49-F238E27FC236}">
                <a16:creationId xmlns:a16="http://schemas.microsoft.com/office/drawing/2014/main" id="{76AE2B6F-229F-47CA-8B94-702C73992037}"/>
              </a:ext>
            </a:extLst>
          </p:cNvPr>
          <p:cNvSpPr txBox="1">
            <a:spLocks/>
          </p:cNvSpPr>
          <p:nvPr/>
        </p:nvSpPr>
        <p:spPr>
          <a:xfrm>
            <a:off x="6610561" y="4881110"/>
            <a:ext cx="2463991" cy="1277273"/>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1" indent="0" algn="l" defTabSz="957263" rtl="0" eaLnBrk="1" fontAlgn="base" latinLnBrk="0" hangingPunct="1">
              <a:lnSpc>
                <a:spcPct val="100000"/>
              </a:lnSpc>
              <a:spcBef>
                <a:spcPts val="0"/>
              </a:spcBef>
              <a:spcAft>
                <a:spcPts val="600"/>
              </a:spcAft>
              <a:buClrTx/>
              <a:buSzPct val="100000"/>
              <a:buFont typeface="Arial" charset="0"/>
              <a:buNone/>
              <a:tabLst/>
              <a:defRPr/>
            </a:pPr>
            <a:r>
              <a:rPr kumimoji="0" lang="en-US" sz="1200" b="1" i="0" u="none" strike="noStrike" kern="1200" cap="none" spc="0" normalizeH="0" baseline="0" noProof="0" dirty="0">
                <a:ln>
                  <a:noFill/>
                </a:ln>
                <a:solidFill>
                  <a:prstClr val="black"/>
                </a:solidFill>
                <a:effectLst/>
                <a:uLnTx/>
                <a:uFillTx/>
                <a:ea typeface="+mj-ea"/>
                <a:cs typeface="+mj-cs"/>
              </a:rPr>
              <a:t>Collection of operator insights</a:t>
            </a:r>
          </a:p>
          <a:p>
            <a:pPr marL="0" marR="0" lvl="1" indent="0" algn="l" defTabSz="957263" rtl="0" eaLnBrk="1" fontAlgn="base" latinLnBrk="0" hangingPunct="1">
              <a:lnSpc>
                <a:spcPct val="100000"/>
              </a:lnSpc>
              <a:spcBef>
                <a:spcPts val="0"/>
              </a:spcBef>
              <a:spcAft>
                <a:spcPts val="600"/>
              </a:spcAft>
              <a:buClrTx/>
              <a:buSzPct val="100000"/>
              <a:buFont typeface="Arial" charset="0"/>
              <a:buNone/>
              <a:tabLst/>
              <a:defRPr/>
            </a:pPr>
            <a:r>
              <a:rPr kumimoji="0" lang="en-US" sz="1100" b="0" i="0" u="none" strike="noStrike" kern="1200" cap="none" spc="0" normalizeH="0" baseline="0" noProof="0" dirty="0">
                <a:ln>
                  <a:noFill/>
                </a:ln>
                <a:solidFill>
                  <a:srgbClr val="000000"/>
                </a:solidFill>
                <a:effectLst/>
                <a:uLnTx/>
                <a:uFillTx/>
                <a:ea typeface="Montserrat Light" charset="0"/>
                <a:cs typeface="Montserrat Light" charset="0"/>
              </a:rPr>
              <a:t>Selling specialty to operators would increase face-time and familiarity with a Client-owned brand, and allow for collection of insights that could allow Client to work with additional operators in the future.</a:t>
            </a:r>
            <a:endParaRPr kumimoji="0" lang="en-US" sz="1100" b="0" i="0" u="none" strike="noStrike" kern="1200" cap="none" spc="0" normalizeH="0" baseline="0" noProof="0" dirty="0">
              <a:ln>
                <a:noFill/>
              </a:ln>
              <a:solidFill>
                <a:srgbClr val="ED5304"/>
              </a:solidFill>
              <a:effectLst/>
              <a:uLnTx/>
              <a:uFillTx/>
              <a:ea typeface="Montserrat Light" charset="0"/>
              <a:cs typeface="Montserrat Light" charset="0"/>
            </a:endParaRPr>
          </a:p>
        </p:txBody>
      </p:sp>
      <p:sp>
        <p:nvSpPr>
          <p:cNvPr id="15" name="Text Placeholder 5">
            <a:extLst>
              <a:ext uri="{FF2B5EF4-FFF2-40B4-BE49-F238E27FC236}">
                <a16:creationId xmlns:a16="http://schemas.microsoft.com/office/drawing/2014/main" id="{EBF2E79E-3003-43A7-BD9B-C859701608C7}"/>
              </a:ext>
            </a:extLst>
          </p:cNvPr>
          <p:cNvSpPr txBox="1">
            <a:spLocks/>
          </p:cNvSpPr>
          <p:nvPr/>
        </p:nvSpPr>
        <p:spPr>
          <a:xfrm>
            <a:off x="6610560" y="938372"/>
            <a:ext cx="2463991" cy="938719"/>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1" indent="0" algn="l" defTabSz="957263" rtl="0" eaLnBrk="1" fontAlgn="base" latinLnBrk="0" hangingPunct="1">
              <a:lnSpc>
                <a:spcPct val="100000"/>
              </a:lnSpc>
              <a:spcBef>
                <a:spcPts val="0"/>
              </a:spcBef>
              <a:spcAft>
                <a:spcPts val="600"/>
              </a:spcAft>
              <a:buClrTx/>
              <a:buSzPct val="100000"/>
              <a:buFont typeface="Arial" charset="0"/>
              <a:buNone/>
              <a:tabLst/>
              <a:defRPr/>
            </a:pPr>
            <a:r>
              <a:rPr kumimoji="0" lang="en-US" sz="1200" b="1" i="0" u="none" strike="noStrike" kern="1200" cap="none" spc="0" normalizeH="0" baseline="0" noProof="0" dirty="0">
                <a:ln>
                  <a:noFill/>
                </a:ln>
                <a:solidFill>
                  <a:prstClr val="black"/>
                </a:solidFill>
                <a:effectLst/>
                <a:uLnTx/>
                <a:uFillTx/>
                <a:ea typeface="+mj-ea"/>
                <a:cs typeface="+mj-cs"/>
              </a:rPr>
              <a:t>Limited options for operators</a:t>
            </a:r>
          </a:p>
          <a:p>
            <a:pPr marL="0" marR="0" lvl="1" indent="0" algn="l" defTabSz="957263" rtl="0" eaLnBrk="1" fontAlgn="base" latinLnBrk="0" hangingPunct="1">
              <a:lnSpc>
                <a:spcPct val="100000"/>
              </a:lnSpc>
              <a:spcBef>
                <a:spcPts val="0"/>
              </a:spcBef>
              <a:spcAft>
                <a:spcPts val="600"/>
              </a:spcAft>
              <a:buClrTx/>
              <a:buSzPct val="100000"/>
              <a:buFont typeface="Arial" charset="0"/>
              <a:buNone/>
              <a:tabLst/>
              <a:defRPr/>
            </a:pPr>
            <a:r>
              <a:rPr kumimoji="0" lang="en-US" sz="1100" b="0" i="0" u="none" strike="noStrike" kern="1200" cap="none" spc="0" normalizeH="0" baseline="0" noProof="0" dirty="0">
                <a:ln>
                  <a:noFill/>
                </a:ln>
                <a:solidFill>
                  <a:srgbClr val="000000"/>
                </a:solidFill>
                <a:effectLst/>
                <a:uLnTx/>
                <a:uFillTx/>
                <a:ea typeface="Montserrat Light" charset="0"/>
                <a:cs typeface="Montserrat Light" charset="0"/>
              </a:rPr>
              <a:t>Today, operators have few avenues to purchase specialty products online at wholesale prices or at high volumes.</a:t>
            </a:r>
            <a:endParaRPr kumimoji="0" lang="en-US" sz="1100" b="0" i="0" u="none" strike="noStrike" kern="1200" cap="none" spc="0" normalizeH="0" baseline="0" noProof="0" dirty="0">
              <a:ln>
                <a:noFill/>
              </a:ln>
              <a:solidFill>
                <a:srgbClr val="ED5304"/>
              </a:solidFill>
              <a:effectLst/>
              <a:uLnTx/>
              <a:uFillTx/>
              <a:ea typeface="Montserrat Light" charset="0"/>
              <a:cs typeface="Montserrat Light" charset="0"/>
            </a:endParaRPr>
          </a:p>
        </p:txBody>
      </p:sp>
      <p:sp>
        <p:nvSpPr>
          <p:cNvPr id="2" name="Title 1">
            <a:extLst>
              <a:ext uri="{FF2B5EF4-FFF2-40B4-BE49-F238E27FC236}">
                <a16:creationId xmlns:a16="http://schemas.microsoft.com/office/drawing/2014/main" id="{995A906B-FF6E-4ADE-8B71-73838FE6509D}"/>
              </a:ext>
            </a:extLst>
          </p:cNvPr>
          <p:cNvSpPr>
            <a:spLocks noGrp="1"/>
          </p:cNvSpPr>
          <p:nvPr>
            <p:ph type="title"/>
          </p:nvPr>
        </p:nvSpPr>
        <p:spPr>
          <a:xfrm>
            <a:off x="225665" y="2402512"/>
            <a:ext cx="3544478" cy="795743"/>
          </a:xfrm>
        </p:spPr>
        <p:txBody>
          <a:bodyPr/>
          <a:lstStyle/>
          <a:p>
            <a:r>
              <a:rPr lang="en-US" dirty="0">
                <a:ea typeface="Montserrat SemiBold" charset="0"/>
                <a:cs typeface="Montserrat SemiBold" charset="0"/>
              </a:rPr>
              <a:t>Foodservice </a:t>
            </a:r>
            <a:br>
              <a:rPr lang="en-US" dirty="0">
                <a:ea typeface="Montserrat SemiBold" charset="0"/>
                <a:cs typeface="Montserrat SemiBold" charset="0"/>
              </a:rPr>
            </a:br>
            <a:r>
              <a:rPr lang="en-US" dirty="0">
                <a:ea typeface="Montserrat SemiBold" charset="0"/>
                <a:cs typeface="Montserrat SemiBold" charset="0"/>
              </a:rPr>
              <a:t>is the best entry point for a specialty marketplace</a:t>
            </a:r>
            <a:endParaRPr lang="en-US" dirty="0"/>
          </a:p>
        </p:txBody>
      </p:sp>
      <p:sp>
        <p:nvSpPr>
          <p:cNvPr id="4" name="Text Placeholder 3">
            <a:extLst>
              <a:ext uri="{FF2B5EF4-FFF2-40B4-BE49-F238E27FC236}">
                <a16:creationId xmlns:a16="http://schemas.microsoft.com/office/drawing/2014/main" id="{E3A4400F-4697-43E8-826B-601F5877D11C}"/>
              </a:ext>
            </a:extLst>
          </p:cNvPr>
          <p:cNvSpPr>
            <a:spLocks noGrp="1"/>
          </p:cNvSpPr>
          <p:nvPr>
            <p:ph type="body" sz="quarter" idx="15"/>
          </p:nvPr>
        </p:nvSpPr>
        <p:spPr>
          <a:xfrm>
            <a:off x="221780" y="333864"/>
            <a:ext cx="3182779" cy="148026"/>
          </a:xfrm>
        </p:spPr>
        <p:txBody>
          <a:bodyPr/>
          <a:lstStyle/>
          <a:p>
            <a:r>
              <a:rPr lang="en-US" dirty="0"/>
              <a:t>FRAMEWORKS &amp; CONCEPT ILLUSTRATION</a:t>
            </a:r>
          </a:p>
        </p:txBody>
      </p:sp>
    </p:spTree>
    <p:extLst>
      <p:ext uri="{BB962C8B-B14F-4D97-AF65-F5344CB8AC3E}">
        <p14:creationId xmlns:p14="http://schemas.microsoft.com/office/powerpoint/2010/main" val="21250750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D9A2C4E6-7887-4149-8F01-36A195D17F0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0" name="think-cell Slide" r:id="rId6" imgW="395" imgH="396" progId="TCLayout.ActiveDocument.1">
                  <p:embed/>
                </p:oleObj>
              </mc:Choice>
              <mc:Fallback>
                <p:oleObj name="think-cell Slide" r:id="rId6" imgW="395" imgH="396" progId="TCLayout.ActiveDocument.1">
                  <p:embed/>
                  <p:pic>
                    <p:nvPicPr>
                      <p:cNvPr id="22" name="Object 21" hidden="1">
                        <a:extLst>
                          <a:ext uri="{FF2B5EF4-FFF2-40B4-BE49-F238E27FC236}">
                            <a16:creationId xmlns:a16="http://schemas.microsoft.com/office/drawing/2014/main" id="{D9A2C4E6-7887-4149-8F01-36A195D17F0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B073FB92-F961-4775-A2DF-08DB2219616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a:sym typeface="Chronicle Display Black"/>
            </a:endParaRPr>
          </a:p>
        </p:txBody>
      </p:sp>
      <p:cxnSp>
        <p:nvCxnSpPr>
          <p:cNvPr id="2" name="Straight Connector 1">
            <a:extLst>
              <a:ext uri="{FF2B5EF4-FFF2-40B4-BE49-F238E27FC236}">
                <a16:creationId xmlns:a16="http://schemas.microsoft.com/office/drawing/2014/main" id="{D7E54ECD-B1A4-4DA7-899B-24ABADCF765E}"/>
              </a:ext>
            </a:extLst>
          </p:cNvPr>
          <p:cNvCxnSpPr>
            <a:cxnSpLocks/>
          </p:cNvCxnSpPr>
          <p:nvPr/>
        </p:nvCxnSpPr>
        <p:spPr>
          <a:xfrm flipH="1">
            <a:off x="6207925" y="3146655"/>
            <a:ext cx="788298"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1FC6EBB2-2F0D-4E1F-8FFF-E3A26611CF9E}"/>
              </a:ext>
            </a:extLst>
          </p:cNvPr>
          <p:cNvCxnSpPr>
            <a:cxnSpLocks/>
          </p:cNvCxnSpPr>
          <p:nvPr/>
        </p:nvCxnSpPr>
        <p:spPr>
          <a:xfrm flipH="1">
            <a:off x="7154222" y="3146655"/>
            <a:ext cx="1219757"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9FFA6006-528A-4907-9B6E-0E26BD91B195}"/>
              </a:ext>
            </a:extLst>
          </p:cNvPr>
          <p:cNvCxnSpPr>
            <a:cxnSpLocks/>
          </p:cNvCxnSpPr>
          <p:nvPr/>
        </p:nvCxnSpPr>
        <p:spPr>
          <a:xfrm flipH="1">
            <a:off x="3890026" y="3630713"/>
            <a:ext cx="937155"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D2F38552-4CA0-45C9-887D-F3ABFA5913C9}"/>
              </a:ext>
            </a:extLst>
          </p:cNvPr>
          <p:cNvCxnSpPr>
            <a:cxnSpLocks/>
          </p:cNvCxnSpPr>
          <p:nvPr/>
        </p:nvCxnSpPr>
        <p:spPr>
          <a:xfrm flipH="1">
            <a:off x="5501886" y="3630713"/>
            <a:ext cx="1075377"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7" name="Text Placeholder 2">
            <a:extLst>
              <a:ext uri="{FF2B5EF4-FFF2-40B4-BE49-F238E27FC236}">
                <a16:creationId xmlns:a16="http://schemas.microsoft.com/office/drawing/2014/main" id="{0DC6721C-3B7E-4A49-B884-706E695E23B5}"/>
              </a:ext>
            </a:extLst>
          </p:cNvPr>
          <p:cNvSpPr txBox="1">
            <a:spLocks/>
          </p:cNvSpPr>
          <p:nvPr/>
        </p:nvSpPr>
        <p:spPr>
          <a:xfrm>
            <a:off x="3662184" y="2325233"/>
            <a:ext cx="4968469" cy="802975"/>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400" dirty="0"/>
              <a:t>“Together with our Marketplace Leaders, we will sense, develop, deliver, and sustain a portfolio of market-differentiated Assets at scale for our clients”  </a:t>
            </a:r>
            <a:endParaRPr lang="en-US" dirty="0"/>
          </a:p>
        </p:txBody>
      </p:sp>
      <p:cxnSp>
        <p:nvCxnSpPr>
          <p:cNvPr id="8" name="Straight Connector 7">
            <a:extLst>
              <a:ext uri="{FF2B5EF4-FFF2-40B4-BE49-F238E27FC236}">
                <a16:creationId xmlns:a16="http://schemas.microsoft.com/office/drawing/2014/main" id="{76F5FBB8-6335-43BF-B698-28C9AE339D91}"/>
              </a:ext>
            </a:extLst>
          </p:cNvPr>
          <p:cNvCxnSpPr>
            <a:cxnSpLocks/>
          </p:cNvCxnSpPr>
          <p:nvPr/>
        </p:nvCxnSpPr>
        <p:spPr>
          <a:xfrm flipH="1">
            <a:off x="3090672" y="3568932"/>
            <a:ext cx="740664" cy="0"/>
          </a:xfrm>
          <a:prstGeom prst="line">
            <a:avLst/>
          </a:prstGeom>
          <a:ln w="9525">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AE3899-8250-4424-B739-4974302C6104}"/>
              </a:ext>
            </a:extLst>
          </p:cNvPr>
          <p:cNvCxnSpPr>
            <a:cxnSpLocks/>
          </p:cNvCxnSpPr>
          <p:nvPr/>
        </p:nvCxnSpPr>
        <p:spPr>
          <a:xfrm flipV="1">
            <a:off x="6577263" y="1085184"/>
            <a:ext cx="0" cy="1850519"/>
          </a:xfrm>
          <a:prstGeom prst="line">
            <a:avLst/>
          </a:prstGeom>
          <a:ln w="9525">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E268CE6-8852-400D-80CC-B43CE49EBF13}"/>
              </a:ext>
            </a:extLst>
          </p:cNvPr>
          <p:cNvCxnSpPr>
            <a:cxnSpLocks/>
          </p:cNvCxnSpPr>
          <p:nvPr/>
        </p:nvCxnSpPr>
        <p:spPr>
          <a:xfrm flipV="1">
            <a:off x="8373979" y="3080082"/>
            <a:ext cx="779165" cy="1"/>
          </a:xfrm>
          <a:prstGeom prst="line">
            <a:avLst/>
          </a:prstGeom>
          <a:ln w="9525">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DE0707BA-B885-45C3-8B57-71C316936773}"/>
              </a:ext>
            </a:extLst>
          </p:cNvPr>
          <p:cNvCxnSpPr>
            <a:cxnSpLocks/>
          </p:cNvCxnSpPr>
          <p:nvPr/>
        </p:nvCxnSpPr>
        <p:spPr>
          <a:xfrm>
            <a:off x="5662863" y="3705724"/>
            <a:ext cx="0" cy="2155580"/>
          </a:xfrm>
          <a:prstGeom prst="line">
            <a:avLst/>
          </a:prstGeom>
          <a:ln w="9525">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5E6B7BA1-4A10-4A95-928B-2C832527DDBF}"/>
              </a:ext>
            </a:extLst>
          </p:cNvPr>
          <p:cNvSpPr txBox="1"/>
          <p:nvPr/>
        </p:nvSpPr>
        <p:spPr>
          <a:xfrm>
            <a:off x="6721642" y="1034733"/>
            <a:ext cx="3529263" cy="76944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mn-ea"/>
                <a:cs typeface="+mn-cs"/>
              </a:rPr>
              <a:t>Market &amp; Technology Sensing</a:t>
            </a:r>
          </a:p>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mn-ea"/>
                <a:cs typeface="+mn-cs"/>
              </a:rPr>
              <a:t>New Opportunity Due Diligence</a:t>
            </a:r>
          </a:p>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mn-ea"/>
                <a:cs typeface="+mn-cs"/>
              </a:rPr>
              <a:t>POC Design &amp; Development</a:t>
            </a:r>
          </a:p>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mn-ea"/>
                <a:cs typeface="+mn-cs"/>
              </a:rPr>
              <a:t>Business Model Generation</a:t>
            </a:r>
          </a:p>
        </p:txBody>
      </p:sp>
      <p:sp>
        <p:nvSpPr>
          <p:cNvPr id="13" name="TextBox 12">
            <a:extLst>
              <a:ext uri="{FF2B5EF4-FFF2-40B4-BE49-F238E27FC236}">
                <a16:creationId xmlns:a16="http://schemas.microsoft.com/office/drawing/2014/main" id="{C5AB0F84-EC86-4C31-9C5B-5ED4E653EDD8}"/>
              </a:ext>
            </a:extLst>
          </p:cNvPr>
          <p:cNvSpPr txBox="1"/>
          <p:nvPr/>
        </p:nvSpPr>
        <p:spPr>
          <a:xfrm>
            <a:off x="5775157" y="5174258"/>
            <a:ext cx="3529263" cy="93871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mn-ea"/>
                <a:cs typeface="+mn-cs"/>
              </a:rPr>
              <a:t>Network Prioritization &amp; Funding</a:t>
            </a:r>
          </a:p>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mn-ea"/>
                <a:cs typeface="+mn-cs"/>
              </a:rPr>
              <a:t>Sales Activation &amp; Support</a:t>
            </a:r>
          </a:p>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mn-ea"/>
                <a:cs typeface="+mn-cs"/>
              </a:rPr>
              <a:t>Solution Literacy &amp; Training</a:t>
            </a:r>
          </a:p>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mn-ea"/>
                <a:cs typeface="+mn-cs"/>
              </a:rPr>
              <a:t>Solution Enhancement &amp; Maintenance</a:t>
            </a:r>
          </a:p>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endParaRPr kumimoji="0" lang="en-US" sz="1100" b="0" i="0" u="none" strike="noStrike" kern="1200" cap="none" spc="0" normalizeH="0" baseline="0" noProof="0" dirty="0">
              <a:ln>
                <a:noFill/>
              </a:ln>
              <a:solidFill>
                <a:srgbClr val="000000"/>
              </a:solidFill>
              <a:effectLst/>
              <a:uLnTx/>
              <a:uFillTx/>
              <a:ea typeface="+mn-ea"/>
              <a:cs typeface="+mn-cs"/>
            </a:endParaRPr>
          </a:p>
        </p:txBody>
      </p:sp>
      <p:sp>
        <p:nvSpPr>
          <p:cNvPr id="14" name="TextBox 13">
            <a:extLst>
              <a:ext uri="{FF2B5EF4-FFF2-40B4-BE49-F238E27FC236}">
                <a16:creationId xmlns:a16="http://schemas.microsoft.com/office/drawing/2014/main" id="{F709AAEC-F540-4C21-A1BF-3E0B48EABABE}"/>
              </a:ext>
            </a:extLst>
          </p:cNvPr>
          <p:cNvSpPr txBox="1"/>
          <p:nvPr/>
        </p:nvSpPr>
        <p:spPr>
          <a:xfrm>
            <a:off x="9234559" y="2685771"/>
            <a:ext cx="2597777" cy="112338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mn-ea"/>
                <a:cs typeface="+mn-cs"/>
              </a:rPr>
              <a:t>Incubation Standardization </a:t>
            </a:r>
          </a:p>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mn-ea"/>
                <a:cs typeface="+mn-cs"/>
              </a:rPr>
              <a:t>Engineering &amp; Design Support</a:t>
            </a:r>
          </a:p>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mn-ea"/>
                <a:cs typeface="+mn-cs"/>
              </a:rPr>
              <a:t>G2M &amp; Monetization Strategy</a:t>
            </a:r>
          </a:p>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mn-ea"/>
                <a:cs typeface="+mn-cs"/>
              </a:rPr>
              <a:t>Early Market Testing</a:t>
            </a:r>
          </a:p>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endParaRPr kumimoji="0" lang="en-US" sz="1100" b="0" i="0" u="none" strike="noStrike" kern="1200" cap="none" spc="0" normalizeH="0" baseline="0" noProof="0" dirty="0">
              <a:ln>
                <a:noFill/>
              </a:ln>
              <a:solidFill>
                <a:srgbClr val="000000"/>
              </a:solidFill>
              <a:effectLst/>
              <a:uLnTx/>
              <a:uFillTx/>
              <a:ea typeface="+mn-ea"/>
              <a:cs typeface="+mn-cs"/>
            </a:endParaRPr>
          </a:p>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endParaRPr kumimoji="0" lang="en-US" sz="1200" b="0" i="0" u="none" strike="noStrike" kern="1200" cap="none" spc="0" normalizeH="0" baseline="0" noProof="0" dirty="0">
              <a:ln>
                <a:noFill/>
              </a:ln>
              <a:solidFill>
                <a:srgbClr val="000000"/>
              </a:solidFill>
              <a:effectLst/>
              <a:uLnTx/>
              <a:uFillTx/>
              <a:ea typeface="+mn-ea"/>
              <a:cs typeface="+mn-cs"/>
            </a:endParaRPr>
          </a:p>
        </p:txBody>
      </p:sp>
      <p:sp>
        <p:nvSpPr>
          <p:cNvPr id="15" name="TextBox 14">
            <a:extLst>
              <a:ext uri="{FF2B5EF4-FFF2-40B4-BE49-F238E27FC236}">
                <a16:creationId xmlns:a16="http://schemas.microsoft.com/office/drawing/2014/main" id="{295C2152-7316-4669-BD1C-933312F5E804}"/>
              </a:ext>
            </a:extLst>
          </p:cNvPr>
          <p:cNvSpPr txBox="1"/>
          <p:nvPr/>
        </p:nvSpPr>
        <p:spPr>
          <a:xfrm>
            <a:off x="618114" y="3146655"/>
            <a:ext cx="2722814" cy="76944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mn-ea"/>
                <a:cs typeface="+mn-cs"/>
              </a:rPr>
              <a:t>Quality Control &amp; Governance</a:t>
            </a:r>
          </a:p>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mn-ea"/>
                <a:cs typeface="+mn-cs"/>
              </a:rPr>
              <a:t>Sales Planning &amp; Market Making</a:t>
            </a:r>
          </a:p>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mn-ea"/>
                <a:cs typeface="+mn-cs"/>
              </a:rPr>
              <a:t>External Asset Marketing</a:t>
            </a:r>
          </a:p>
          <a:p>
            <a:pPr marL="285750" marR="0" lvl="0" indent="-285750" algn="l" defTabSz="914400" rtl="0" eaLnBrk="1" fontAlgn="auto" latinLnBrk="0" hangingPunct="1">
              <a:lnSpc>
                <a:spcPct val="100000"/>
              </a:lnSpc>
              <a:spcBef>
                <a:spcPts val="0"/>
              </a:spcBef>
              <a:spcAft>
                <a:spcPts val="0"/>
              </a:spcAft>
              <a:buClr>
                <a:srgbClr val="FDD300">
                  <a:lumMod val="60000"/>
                  <a:lumOff val="40000"/>
                </a:srgbClr>
              </a:buClr>
              <a:buSzTx/>
              <a:buFont typeface="Open Sans" panose="020B0606030504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mn-ea"/>
                <a:cs typeface="+mn-cs"/>
              </a:rPr>
              <a:t>Opportunity &amp; Sales Tracking</a:t>
            </a:r>
          </a:p>
        </p:txBody>
      </p:sp>
      <p:sp>
        <p:nvSpPr>
          <p:cNvPr id="20" name="Title 19">
            <a:extLst>
              <a:ext uri="{FF2B5EF4-FFF2-40B4-BE49-F238E27FC236}">
                <a16:creationId xmlns:a16="http://schemas.microsoft.com/office/drawing/2014/main" id="{FD5F8340-FE75-4B84-9CBD-A9A4B266CA4F}"/>
              </a:ext>
            </a:extLst>
          </p:cNvPr>
          <p:cNvSpPr>
            <a:spLocks noGrp="1"/>
          </p:cNvSpPr>
          <p:nvPr>
            <p:ph type="title"/>
          </p:nvPr>
        </p:nvSpPr>
        <p:spPr/>
        <p:txBody>
          <a:bodyPr/>
          <a:lstStyle/>
          <a:p>
            <a:r>
              <a:rPr lang="en-US" dirty="0"/>
              <a:t>Our Mandate</a:t>
            </a:r>
          </a:p>
        </p:txBody>
      </p:sp>
      <p:sp>
        <p:nvSpPr>
          <p:cNvPr id="21" name="Text Placeholder 20">
            <a:extLst>
              <a:ext uri="{FF2B5EF4-FFF2-40B4-BE49-F238E27FC236}">
                <a16:creationId xmlns:a16="http://schemas.microsoft.com/office/drawing/2014/main" id="{795AD16B-F39B-418A-9AF8-22C1E02F6549}"/>
              </a:ext>
            </a:extLst>
          </p:cNvPr>
          <p:cNvSpPr>
            <a:spLocks noGrp="1"/>
          </p:cNvSpPr>
          <p:nvPr>
            <p:ph type="body" sz="quarter" idx="15"/>
          </p:nvPr>
        </p:nvSpPr>
        <p:spPr/>
        <p:txBody>
          <a:bodyPr/>
          <a:lstStyle/>
          <a:p>
            <a:r>
              <a:rPr lang="en-US" dirty="0"/>
              <a:t>Statement</a:t>
            </a:r>
          </a:p>
        </p:txBody>
      </p:sp>
    </p:spTree>
    <p:extLst>
      <p:ext uri="{BB962C8B-B14F-4D97-AF65-F5344CB8AC3E}">
        <p14:creationId xmlns:p14="http://schemas.microsoft.com/office/powerpoint/2010/main" val="2119805483"/>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Object 47" hidden="1">
            <a:extLst>
              <a:ext uri="{FF2B5EF4-FFF2-40B4-BE49-F238E27FC236}">
                <a16:creationId xmlns:a16="http://schemas.microsoft.com/office/drawing/2014/main" id="{84A443C8-991B-4877-A31B-363B2B91037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852" name="think-cell Slide" r:id="rId6" imgW="395" imgH="396" progId="TCLayout.ActiveDocument.1">
                  <p:embed/>
                </p:oleObj>
              </mc:Choice>
              <mc:Fallback>
                <p:oleObj name="think-cell Slide" r:id="rId6" imgW="395" imgH="396" progId="TCLayout.ActiveDocument.1">
                  <p:embed/>
                  <p:pic>
                    <p:nvPicPr>
                      <p:cNvPr id="48" name="Object 47" hidden="1">
                        <a:extLst>
                          <a:ext uri="{FF2B5EF4-FFF2-40B4-BE49-F238E27FC236}">
                            <a16:creationId xmlns:a16="http://schemas.microsoft.com/office/drawing/2014/main" id="{84A443C8-991B-4877-A31B-363B2B91037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9" name="Rectangle 48" hidden="1">
            <a:extLst>
              <a:ext uri="{FF2B5EF4-FFF2-40B4-BE49-F238E27FC236}">
                <a16:creationId xmlns:a16="http://schemas.microsoft.com/office/drawing/2014/main" id="{6223C12D-2D1E-4E4C-9EDE-80C55BD2D3F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2" name="Text Placeholder 11">
            <a:extLst>
              <a:ext uri="{FF2B5EF4-FFF2-40B4-BE49-F238E27FC236}">
                <a16:creationId xmlns:a16="http://schemas.microsoft.com/office/drawing/2014/main" id="{D156D3AE-5DC1-422C-BD8C-B328374C4719}"/>
              </a:ext>
            </a:extLst>
          </p:cNvPr>
          <p:cNvSpPr txBox="1">
            <a:spLocks/>
          </p:cNvSpPr>
          <p:nvPr/>
        </p:nvSpPr>
        <p:spPr>
          <a:xfrm>
            <a:off x="914400" y="1929384"/>
            <a:ext cx="3355975" cy="4376394"/>
          </a:xfrm>
          <a:prstGeom prst="rect">
            <a:avLst/>
          </a:prstGeom>
        </p:spPr>
        <p:txBody>
          <a:bodyPr vert="horz" lIns="0" tIns="0" rIns="0" bIns="0" rtlCol="0">
            <a:noAutofit/>
          </a:bodyPr>
          <a:lstStyle>
            <a:lvl1pPr marL="0" indent="0" algn="l" defTabSz="914400" rtl="0" eaLnBrk="1" latinLnBrk="0" hangingPunct="1">
              <a:lnSpc>
                <a:spcPct val="130000"/>
              </a:lnSpc>
              <a:spcBef>
                <a:spcPts val="1000"/>
              </a:spcBef>
              <a:buClr>
                <a:schemeClr val="accent5"/>
              </a:buClr>
              <a:buSzPct val="75000"/>
              <a:buFont typeface="Arial" panose="020B0604020202020204" pitchFamily="34" charset="0"/>
              <a:buNone/>
              <a:defRPr sz="1200" kern="1200" spc="-30" baseline="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30000"/>
              </a:lnSpc>
              <a:spcBef>
                <a:spcPts val="1000"/>
              </a:spcBef>
              <a:spcAft>
                <a:spcPts val="0"/>
              </a:spcAft>
              <a:buClr>
                <a:srgbClr val="787878"/>
              </a:buClr>
              <a:buSzPct val="75000"/>
              <a:buFont typeface="Arial" panose="020B0604020202020204" pitchFamily="34" charset="0"/>
              <a:buNone/>
              <a:tabLst/>
              <a:defRPr/>
            </a:pPr>
            <a:r>
              <a:rPr kumimoji="0" lang="en-US" sz="1400" b="0" i="0" u="none" strike="noStrike" kern="1200" cap="none" spc="-30" normalizeH="0" baseline="0" noProof="0" dirty="0">
                <a:ln>
                  <a:noFill/>
                </a:ln>
                <a:solidFill>
                  <a:srgbClr val="000000"/>
                </a:solidFill>
                <a:effectLst/>
                <a:uLnTx/>
                <a:uFillTx/>
                <a:ea typeface="Times New Roman" panose="02020603050405020304" pitchFamily="18" charset="0"/>
                <a:cs typeface="Open Sans" charset="0"/>
              </a:rPr>
              <a:t>Once aligned on a prioritized set of customers, we double-clicked on the broader characteristics, behavior,  preferences, and moments of influence to understand how to create a differentiated advantage with these customers. We brought together the best of Deloitte—from our human-centered designers to our digital engagement experts in Deloitte Digital to our industry experts—to design a set of personalized solutions that would ease these customers’ pain points, delight them in their moments of joy, and create such a sticky experience that it would be difficult for them to fly any other carrier. </a:t>
            </a:r>
            <a:endParaRPr kumimoji="0" lang="en-US" sz="1400" b="0" i="0" u="none" strike="noStrike" kern="1200" cap="none" spc="-30" normalizeH="0" baseline="0" noProof="0" dirty="0">
              <a:ln>
                <a:noFill/>
              </a:ln>
              <a:solidFill>
                <a:srgbClr val="000000"/>
              </a:solidFill>
              <a:effectLst/>
              <a:uLnTx/>
              <a:uFillTx/>
              <a:ea typeface="Calibri" panose="020F0502020204030204" pitchFamily="34" charset="0"/>
              <a:cs typeface="Open Sans" charset="0"/>
            </a:endParaRPr>
          </a:p>
        </p:txBody>
      </p:sp>
      <p:sp>
        <p:nvSpPr>
          <p:cNvPr id="2" name="Title 1">
            <a:extLst>
              <a:ext uri="{FF2B5EF4-FFF2-40B4-BE49-F238E27FC236}">
                <a16:creationId xmlns:a16="http://schemas.microsoft.com/office/drawing/2014/main" id="{1878B33A-5311-4AC9-87FB-78A32B7A9FC5}"/>
              </a:ext>
            </a:extLst>
          </p:cNvPr>
          <p:cNvSpPr>
            <a:spLocks noGrp="1"/>
          </p:cNvSpPr>
          <p:nvPr>
            <p:ph type="title"/>
          </p:nvPr>
        </p:nvSpPr>
        <p:spPr/>
        <p:txBody>
          <a:bodyPr/>
          <a:lstStyle/>
          <a:p>
            <a:r>
              <a:rPr lang="en-US" dirty="0">
                <a:solidFill>
                  <a:schemeClr val="tx2"/>
                </a:solidFill>
              </a:rPr>
              <a:t>How to Win</a:t>
            </a:r>
            <a:endParaRPr lang="en-US" dirty="0"/>
          </a:p>
        </p:txBody>
      </p:sp>
      <p:sp>
        <p:nvSpPr>
          <p:cNvPr id="4" name="Text Placeholder 3">
            <a:extLst>
              <a:ext uri="{FF2B5EF4-FFF2-40B4-BE49-F238E27FC236}">
                <a16:creationId xmlns:a16="http://schemas.microsoft.com/office/drawing/2014/main" id="{7EC9F964-92F5-4F7A-AAB9-129BAB790BE4}"/>
              </a:ext>
            </a:extLst>
          </p:cNvPr>
          <p:cNvSpPr>
            <a:spLocks noGrp="1"/>
          </p:cNvSpPr>
          <p:nvPr>
            <p:ph type="body" sz="quarter" idx="15"/>
          </p:nvPr>
        </p:nvSpPr>
        <p:spPr>
          <a:xfrm>
            <a:off x="914970" y="466344"/>
            <a:ext cx="3770151" cy="274320"/>
          </a:xfrm>
        </p:spPr>
        <p:txBody>
          <a:bodyPr/>
          <a:lstStyle/>
          <a:p>
            <a:r>
              <a:rPr lang="en-US" dirty="0"/>
              <a:t>FRAMEWORKS &amp; CONCEPT ILLUSTRATION</a:t>
            </a:r>
          </a:p>
        </p:txBody>
      </p:sp>
      <p:sp>
        <p:nvSpPr>
          <p:cNvPr id="5" name="Rectangle 4">
            <a:extLst>
              <a:ext uri="{FF2B5EF4-FFF2-40B4-BE49-F238E27FC236}">
                <a16:creationId xmlns:a16="http://schemas.microsoft.com/office/drawing/2014/main" id="{D744EAD8-9F45-4B51-8710-67BC6A48F9C4}"/>
              </a:ext>
            </a:extLst>
          </p:cNvPr>
          <p:cNvSpPr/>
          <p:nvPr/>
        </p:nvSpPr>
        <p:spPr>
          <a:xfrm>
            <a:off x="8390964" y="2159034"/>
            <a:ext cx="2985247" cy="2601225"/>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6" name="Rectangle 5">
            <a:extLst>
              <a:ext uri="{FF2B5EF4-FFF2-40B4-BE49-F238E27FC236}">
                <a16:creationId xmlns:a16="http://schemas.microsoft.com/office/drawing/2014/main" id="{9E4E4F1E-465D-427C-B9A0-94773A6C8C94}"/>
              </a:ext>
            </a:extLst>
          </p:cNvPr>
          <p:cNvSpPr/>
          <p:nvPr/>
        </p:nvSpPr>
        <p:spPr>
          <a:xfrm>
            <a:off x="7204616" y="4096904"/>
            <a:ext cx="1386680" cy="430885"/>
          </a:xfrm>
          <a:prstGeom prst="rect">
            <a:avLst/>
          </a:prstGeom>
        </p:spPr>
        <p:txBody>
          <a:bodyPr wrap="square" lIns="121917" tIns="60959" rIns="121917" bIns="60959" anchor="ctr" anchorCtr="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000" b="1" i="0" u="none" strike="noStrike" kern="100" cap="none" spc="67" normalizeH="0" baseline="0" noProof="0" dirty="0">
                <a:ln>
                  <a:noFill/>
                </a:ln>
                <a:solidFill>
                  <a:srgbClr val="000000"/>
                </a:solidFill>
                <a:effectLst/>
                <a:uLnTx/>
                <a:uFillTx/>
                <a:ea typeface="Open Sans" charset="0"/>
                <a:cs typeface="Open Sans" charset="0"/>
              </a:rPr>
              <a:t>MY TRIP TRACKER</a:t>
            </a:r>
          </a:p>
        </p:txBody>
      </p:sp>
      <p:sp>
        <p:nvSpPr>
          <p:cNvPr id="7" name="Rectangle 6">
            <a:extLst>
              <a:ext uri="{FF2B5EF4-FFF2-40B4-BE49-F238E27FC236}">
                <a16:creationId xmlns:a16="http://schemas.microsoft.com/office/drawing/2014/main" id="{941C51A6-360C-4D6F-AC81-7A7967FE672F}"/>
              </a:ext>
            </a:extLst>
          </p:cNvPr>
          <p:cNvSpPr/>
          <p:nvPr/>
        </p:nvSpPr>
        <p:spPr>
          <a:xfrm>
            <a:off x="7204615" y="5841969"/>
            <a:ext cx="1711801" cy="430885"/>
          </a:xfrm>
          <a:prstGeom prst="rect">
            <a:avLst/>
          </a:prstGeom>
        </p:spPr>
        <p:txBody>
          <a:bodyPr wrap="square" lIns="121917" tIns="60959" rIns="121917" bIns="60959" anchor="ctr" anchorCtr="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000" b="1" i="0" u="none" strike="noStrike" kern="100" cap="none" spc="67" normalizeH="0" baseline="0" noProof="0" dirty="0">
                <a:ln>
                  <a:noFill/>
                </a:ln>
                <a:solidFill>
                  <a:srgbClr val="000000"/>
                </a:solidFill>
                <a:effectLst/>
                <a:uLnTx/>
                <a:uFillTx/>
                <a:ea typeface="Open Sans" charset="0"/>
                <a:cs typeface="Open Sans" charset="0"/>
              </a:rPr>
              <a:t>PROACTIVE CUSTOMER SERVICE</a:t>
            </a:r>
          </a:p>
        </p:txBody>
      </p:sp>
      <p:sp>
        <p:nvSpPr>
          <p:cNvPr id="8" name="Rectangle 7">
            <a:extLst>
              <a:ext uri="{FF2B5EF4-FFF2-40B4-BE49-F238E27FC236}">
                <a16:creationId xmlns:a16="http://schemas.microsoft.com/office/drawing/2014/main" id="{CFCD37B2-807B-44F3-BAA2-B561101C413F}"/>
              </a:ext>
            </a:extLst>
          </p:cNvPr>
          <p:cNvSpPr/>
          <p:nvPr/>
        </p:nvSpPr>
        <p:spPr>
          <a:xfrm>
            <a:off x="7204616" y="5023934"/>
            <a:ext cx="1562970" cy="276997"/>
          </a:xfrm>
          <a:prstGeom prst="rect">
            <a:avLst/>
          </a:prstGeom>
        </p:spPr>
        <p:txBody>
          <a:bodyPr wrap="square" lIns="121917" tIns="60959" rIns="121917" bIns="60959" anchor="ctr" anchorCtr="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000" b="1" i="0" u="none" strike="noStrike" kern="100" cap="none" spc="67" normalizeH="0" baseline="0" noProof="0" dirty="0">
                <a:ln>
                  <a:noFill/>
                </a:ln>
                <a:solidFill>
                  <a:srgbClr val="000000"/>
                </a:solidFill>
                <a:effectLst/>
                <a:uLnTx/>
                <a:uFillTx/>
                <a:ea typeface="Open Sans" charset="0"/>
                <a:cs typeface="Open Sans" charset="0"/>
              </a:rPr>
              <a:t>MY TRANSFER</a:t>
            </a:r>
          </a:p>
        </p:txBody>
      </p:sp>
      <p:sp>
        <p:nvSpPr>
          <p:cNvPr id="9" name="Rectangle 8">
            <a:extLst>
              <a:ext uri="{FF2B5EF4-FFF2-40B4-BE49-F238E27FC236}">
                <a16:creationId xmlns:a16="http://schemas.microsoft.com/office/drawing/2014/main" id="{48EBA7CA-3747-426E-A723-11B90B996A5A}"/>
              </a:ext>
            </a:extLst>
          </p:cNvPr>
          <p:cNvSpPr/>
          <p:nvPr/>
        </p:nvSpPr>
        <p:spPr>
          <a:xfrm>
            <a:off x="7204615" y="1434305"/>
            <a:ext cx="1762601" cy="430885"/>
          </a:xfrm>
          <a:prstGeom prst="rect">
            <a:avLst/>
          </a:prstGeom>
        </p:spPr>
        <p:txBody>
          <a:bodyPr wrap="square" lIns="121917" tIns="60959" rIns="121917" bIns="60959" anchor="ctr" anchorCtr="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000" b="1" i="0" u="none" strike="noStrike" kern="100" cap="none" spc="67" normalizeH="0" baseline="0" noProof="0" dirty="0">
                <a:ln>
                  <a:noFill/>
                </a:ln>
                <a:solidFill>
                  <a:srgbClr val="000000"/>
                </a:solidFill>
                <a:effectLst/>
                <a:uLnTx/>
                <a:uFillTx/>
                <a:latin typeface="Open Sans" charset="0"/>
                <a:ea typeface="Open Sans" charset="0"/>
                <a:cs typeface="Open Sans" charset="0"/>
              </a:rPr>
              <a:t>DESTINATION INTERFACE</a:t>
            </a:r>
          </a:p>
        </p:txBody>
      </p:sp>
      <p:sp>
        <p:nvSpPr>
          <p:cNvPr id="10" name="Rectangle 9">
            <a:extLst>
              <a:ext uri="{FF2B5EF4-FFF2-40B4-BE49-F238E27FC236}">
                <a16:creationId xmlns:a16="http://schemas.microsoft.com/office/drawing/2014/main" id="{24DBAB9E-4BC2-4F95-8B11-2D0FB6BA1D23}"/>
              </a:ext>
            </a:extLst>
          </p:cNvPr>
          <p:cNvSpPr/>
          <p:nvPr/>
        </p:nvSpPr>
        <p:spPr>
          <a:xfrm>
            <a:off x="7184295" y="3217281"/>
            <a:ext cx="1562971" cy="430885"/>
          </a:xfrm>
          <a:prstGeom prst="rect">
            <a:avLst/>
          </a:prstGeom>
        </p:spPr>
        <p:txBody>
          <a:bodyPr wrap="square" lIns="121917" tIns="60959" rIns="121917" bIns="60959" anchor="ctr" anchorCtr="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000" b="1" i="0" u="none" strike="noStrike" kern="100" cap="none" spc="67" normalizeH="0" baseline="0" noProof="0" dirty="0">
                <a:ln>
                  <a:noFill/>
                </a:ln>
                <a:solidFill>
                  <a:srgbClr val="000000"/>
                </a:solidFill>
                <a:effectLst/>
                <a:uLnTx/>
                <a:uFillTx/>
                <a:ea typeface="Open Sans" charset="0"/>
                <a:cs typeface="Open Sans" charset="0"/>
              </a:rPr>
              <a:t>PRE-FLIGHT PREVIEW</a:t>
            </a:r>
          </a:p>
        </p:txBody>
      </p:sp>
      <p:sp>
        <p:nvSpPr>
          <p:cNvPr id="11" name="Rectangle 10">
            <a:extLst>
              <a:ext uri="{FF2B5EF4-FFF2-40B4-BE49-F238E27FC236}">
                <a16:creationId xmlns:a16="http://schemas.microsoft.com/office/drawing/2014/main" id="{F944CF39-C310-4A6E-A450-A5A9A308E435}"/>
              </a:ext>
            </a:extLst>
          </p:cNvPr>
          <p:cNvSpPr/>
          <p:nvPr/>
        </p:nvSpPr>
        <p:spPr>
          <a:xfrm>
            <a:off x="6446442" y="2964516"/>
            <a:ext cx="247993" cy="237404"/>
          </a:xfrm>
          <a:prstGeom prst="rect">
            <a:avLst/>
          </a:prstGeom>
          <a:noFill/>
        </p:spPr>
        <p:txBody>
          <a:bodyPr wrap="square" lIns="0" rIns="0" anchor="ctr" anchorCtr="1">
            <a:no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dirty="0">
              <a:ln>
                <a:noFill/>
              </a:ln>
              <a:solidFill>
                <a:srgbClr val="FFFFFF"/>
              </a:solidFill>
              <a:effectLst/>
              <a:uLnTx/>
              <a:uFillTx/>
              <a:ea typeface="+mn-ea"/>
              <a:cs typeface="+mn-cs"/>
            </a:endParaRPr>
          </a:p>
        </p:txBody>
      </p:sp>
      <p:sp>
        <p:nvSpPr>
          <p:cNvPr id="12" name="Rectangle 11">
            <a:extLst>
              <a:ext uri="{FF2B5EF4-FFF2-40B4-BE49-F238E27FC236}">
                <a16:creationId xmlns:a16="http://schemas.microsoft.com/office/drawing/2014/main" id="{89026D64-90E4-41B5-A17F-35F3931386DD}"/>
              </a:ext>
            </a:extLst>
          </p:cNvPr>
          <p:cNvSpPr/>
          <p:nvPr/>
        </p:nvSpPr>
        <p:spPr>
          <a:xfrm>
            <a:off x="7204615" y="558205"/>
            <a:ext cx="1527905" cy="430885"/>
          </a:xfrm>
          <a:prstGeom prst="rect">
            <a:avLst/>
          </a:prstGeom>
        </p:spPr>
        <p:txBody>
          <a:bodyPr wrap="square" lIns="121917" tIns="60959" rIns="121917" bIns="60959" anchor="ctr" anchorCtr="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000" b="1" i="0" u="none" strike="noStrike" kern="100" cap="none" spc="67" normalizeH="0" baseline="0" noProof="0" dirty="0">
                <a:ln>
                  <a:noFill/>
                </a:ln>
                <a:solidFill>
                  <a:srgbClr val="000000"/>
                </a:solidFill>
                <a:effectLst/>
                <a:uLnTx/>
                <a:uFillTx/>
                <a:latin typeface="Open Sans" charset="0"/>
                <a:ea typeface="Open Sans" charset="0"/>
                <a:cs typeface="Open Sans" charset="0"/>
              </a:rPr>
              <a:t>FIND THEM WHERE THEY ARE</a:t>
            </a:r>
          </a:p>
        </p:txBody>
      </p:sp>
      <p:pic>
        <p:nvPicPr>
          <p:cNvPr id="13" name="Picture 12" descr="MyLayover2.png">
            <a:extLst>
              <a:ext uri="{FF2B5EF4-FFF2-40B4-BE49-F238E27FC236}">
                <a16:creationId xmlns:a16="http://schemas.microsoft.com/office/drawing/2014/main" id="{70CB381A-C9A0-4ED5-A3E4-E31B483F140C}"/>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4976537" y="4814704"/>
            <a:ext cx="2110682" cy="757483"/>
          </a:xfrm>
          <a:prstGeom prst="rect">
            <a:avLst/>
          </a:prstGeom>
        </p:spPr>
      </p:pic>
      <p:pic>
        <p:nvPicPr>
          <p:cNvPr id="14" name="Picture 13" descr="InspirationInterface1.png">
            <a:extLst>
              <a:ext uri="{FF2B5EF4-FFF2-40B4-BE49-F238E27FC236}">
                <a16:creationId xmlns:a16="http://schemas.microsoft.com/office/drawing/2014/main" id="{5E979D82-D9BC-47F8-BEBB-E05992DB24BC}"/>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4976537" y="1286958"/>
            <a:ext cx="2110682" cy="756758"/>
          </a:xfrm>
          <a:prstGeom prst="rect">
            <a:avLst/>
          </a:prstGeom>
        </p:spPr>
      </p:pic>
      <p:pic>
        <p:nvPicPr>
          <p:cNvPr id="15" name="Picture 14" descr="PreflightDash1.png">
            <a:extLst>
              <a:ext uri="{FF2B5EF4-FFF2-40B4-BE49-F238E27FC236}">
                <a16:creationId xmlns:a16="http://schemas.microsoft.com/office/drawing/2014/main" id="{7EBF156B-EC51-4BA6-B36A-8184342795C8}"/>
              </a:ext>
            </a:extLst>
          </p:cNvPr>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4976537" y="3048463"/>
            <a:ext cx="2110682" cy="759330"/>
          </a:xfrm>
          <a:prstGeom prst="rect">
            <a:avLst/>
          </a:prstGeom>
        </p:spPr>
      </p:pic>
      <p:pic>
        <p:nvPicPr>
          <p:cNvPr id="16" name="Picture 15" descr="TripTracker1.png">
            <a:extLst>
              <a:ext uri="{FF2B5EF4-FFF2-40B4-BE49-F238E27FC236}">
                <a16:creationId xmlns:a16="http://schemas.microsoft.com/office/drawing/2014/main" id="{5728B2B0-56B7-40AC-A567-AF47ADA00C2B}"/>
              </a:ext>
            </a:extLst>
          </p:cNvPr>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4976537" y="3930296"/>
            <a:ext cx="2110682" cy="761906"/>
          </a:xfrm>
          <a:prstGeom prst="rect">
            <a:avLst/>
          </a:prstGeom>
        </p:spPr>
      </p:pic>
      <p:pic>
        <p:nvPicPr>
          <p:cNvPr id="17" name="Picture 16" descr="ProactiveCust1.png">
            <a:extLst>
              <a:ext uri="{FF2B5EF4-FFF2-40B4-BE49-F238E27FC236}">
                <a16:creationId xmlns:a16="http://schemas.microsoft.com/office/drawing/2014/main" id="{EE58CC4E-7F3B-4526-8488-40508C27281F}"/>
              </a:ext>
            </a:extLst>
          </p:cNvPr>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4976537" y="5694688"/>
            <a:ext cx="2110682" cy="760976"/>
          </a:xfrm>
          <a:prstGeom prst="rect">
            <a:avLst/>
          </a:prstGeom>
        </p:spPr>
      </p:pic>
      <p:pic>
        <p:nvPicPr>
          <p:cNvPr id="18" name="Picture 17" descr="DestinationOffers.png">
            <a:extLst>
              <a:ext uri="{FF2B5EF4-FFF2-40B4-BE49-F238E27FC236}">
                <a16:creationId xmlns:a16="http://schemas.microsoft.com/office/drawing/2014/main" id="{13C0FF89-3281-40C7-82CE-E986D25E491C}"/>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4976537" y="402336"/>
            <a:ext cx="2110682" cy="762119"/>
          </a:xfrm>
          <a:prstGeom prst="rect">
            <a:avLst/>
          </a:prstGeom>
        </p:spPr>
      </p:pic>
      <p:pic>
        <p:nvPicPr>
          <p:cNvPr id="19" name="Picture 18" descr="BYOExperience2.png">
            <a:extLst>
              <a:ext uri="{FF2B5EF4-FFF2-40B4-BE49-F238E27FC236}">
                <a16:creationId xmlns:a16="http://schemas.microsoft.com/office/drawing/2014/main" id="{2CDCD9A5-8EBB-4CAF-907A-7C7DA4DFD225}"/>
              </a:ext>
            </a:extLst>
          </p:cNvPr>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4976537" y="2166218"/>
            <a:ext cx="2110682" cy="759742"/>
          </a:xfrm>
          <a:prstGeom prst="rect">
            <a:avLst/>
          </a:prstGeom>
        </p:spPr>
      </p:pic>
      <p:sp>
        <p:nvSpPr>
          <p:cNvPr id="20" name="Rectangle 19">
            <a:extLst>
              <a:ext uri="{FF2B5EF4-FFF2-40B4-BE49-F238E27FC236}">
                <a16:creationId xmlns:a16="http://schemas.microsoft.com/office/drawing/2014/main" id="{187D4F51-BD0E-4534-B701-CAD0EA220791}"/>
              </a:ext>
            </a:extLst>
          </p:cNvPr>
          <p:cNvSpPr/>
          <p:nvPr/>
        </p:nvSpPr>
        <p:spPr>
          <a:xfrm>
            <a:off x="8555816" y="2958442"/>
            <a:ext cx="2739713" cy="1631214"/>
          </a:xfrm>
          <a:prstGeom prst="rect">
            <a:avLst/>
          </a:prstGeom>
        </p:spPr>
        <p:txBody>
          <a:bodyPr wrap="square" lIns="121917" tIns="60959" rIns="121917" bIns="60959">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mn-cs"/>
              </a:rPr>
              <a:t>During booking, customers are presented with curated baskets of products and services that can be added to their flight to enhance their travel experience – all with simple, transparent pricing</a:t>
            </a:r>
          </a:p>
        </p:txBody>
      </p:sp>
      <p:sp>
        <p:nvSpPr>
          <p:cNvPr id="21" name="Title 3">
            <a:extLst>
              <a:ext uri="{FF2B5EF4-FFF2-40B4-BE49-F238E27FC236}">
                <a16:creationId xmlns:a16="http://schemas.microsoft.com/office/drawing/2014/main" id="{67B94972-DFED-445F-A969-53CB66356845}"/>
              </a:ext>
            </a:extLst>
          </p:cNvPr>
          <p:cNvSpPr txBox="1">
            <a:spLocks/>
          </p:cNvSpPr>
          <p:nvPr/>
        </p:nvSpPr>
        <p:spPr>
          <a:xfrm>
            <a:off x="914400" y="804672"/>
            <a:ext cx="3347390" cy="19958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sp>
        <p:nvSpPr>
          <p:cNvPr id="23" name="Rectangle 22">
            <a:extLst>
              <a:ext uri="{FF2B5EF4-FFF2-40B4-BE49-F238E27FC236}">
                <a16:creationId xmlns:a16="http://schemas.microsoft.com/office/drawing/2014/main" id="{978B9271-A71C-485D-B15B-A2A7D717DA0C}"/>
              </a:ext>
            </a:extLst>
          </p:cNvPr>
          <p:cNvSpPr/>
          <p:nvPr/>
        </p:nvSpPr>
        <p:spPr>
          <a:xfrm>
            <a:off x="4980181" y="404038"/>
            <a:ext cx="2089407" cy="738962"/>
          </a:xfrm>
          <a:prstGeom prst="rect">
            <a:avLst/>
          </a:prstGeom>
          <a:no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4" name="Rectangle 23">
            <a:extLst>
              <a:ext uri="{FF2B5EF4-FFF2-40B4-BE49-F238E27FC236}">
                <a16:creationId xmlns:a16="http://schemas.microsoft.com/office/drawing/2014/main" id="{E20BB525-3DC5-4A6F-84F5-4F6A66A5EBC8}"/>
              </a:ext>
            </a:extLst>
          </p:cNvPr>
          <p:cNvSpPr/>
          <p:nvPr/>
        </p:nvSpPr>
        <p:spPr>
          <a:xfrm>
            <a:off x="4980181" y="1291856"/>
            <a:ext cx="2089407" cy="738962"/>
          </a:xfrm>
          <a:prstGeom prst="rect">
            <a:avLst/>
          </a:prstGeom>
          <a:no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8CD07293-3C98-444E-9101-2CDA7CBBEA01}"/>
              </a:ext>
            </a:extLst>
          </p:cNvPr>
          <p:cNvSpPr/>
          <p:nvPr/>
        </p:nvSpPr>
        <p:spPr>
          <a:xfrm>
            <a:off x="4980181" y="2169042"/>
            <a:ext cx="2089407" cy="738962"/>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26" name="Rectangle 25">
            <a:extLst>
              <a:ext uri="{FF2B5EF4-FFF2-40B4-BE49-F238E27FC236}">
                <a16:creationId xmlns:a16="http://schemas.microsoft.com/office/drawing/2014/main" id="{9C2C6CA6-1130-462E-A11D-62A3ADF4E41F}"/>
              </a:ext>
            </a:extLst>
          </p:cNvPr>
          <p:cNvSpPr/>
          <p:nvPr/>
        </p:nvSpPr>
        <p:spPr>
          <a:xfrm>
            <a:off x="4980181" y="3056860"/>
            <a:ext cx="2089407" cy="738962"/>
          </a:xfrm>
          <a:prstGeom prst="rect">
            <a:avLst/>
          </a:prstGeom>
          <a:no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27" name="Rectangle 26">
            <a:extLst>
              <a:ext uri="{FF2B5EF4-FFF2-40B4-BE49-F238E27FC236}">
                <a16:creationId xmlns:a16="http://schemas.microsoft.com/office/drawing/2014/main" id="{F3C568A1-F310-4A5F-8F94-F95FF22FED5E}"/>
              </a:ext>
            </a:extLst>
          </p:cNvPr>
          <p:cNvSpPr/>
          <p:nvPr/>
        </p:nvSpPr>
        <p:spPr>
          <a:xfrm>
            <a:off x="4980181" y="3934047"/>
            <a:ext cx="2089407" cy="738962"/>
          </a:xfrm>
          <a:prstGeom prst="rect">
            <a:avLst/>
          </a:prstGeom>
          <a:no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28" name="Rectangle 27">
            <a:extLst>
              <a:ext uri="{FF2B5EF4-FFF2-40B4-BE49-F238E27FC236}">
                <a16:creationId xmlns:a16="http://schemas.microsoft.com/office/drawing/2014/main" id="{8CA27665-876F-4CDE-843A-2E59790B1555}"/>
              </a:ext>
            </a:extLst>
          </p:cNvPr>
          <p:cNvSpPr/>
          <p:nvPr/>
        </p:nvSpPr>
        <p:spPr>
          <a:xfrm>
            <a:off x="4980181" y="4821865"/>
            <a:ext cx="2089407" cy="738962"/>
          </a:xfrm>
          <a:prstGeom prst="rect">
            <a:avLst/>
          </a:prstGeom>
          <a:no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29" name="Rectangle 28">
            <a:extLst>
              <a:ext uri="{FF2B5EF4-FFF2-40B4-BE49-F238E27FC236}">
                <a16:creationId xmlns:a16="http://schemas.microsoft.com/office/drawing/2014/main" id="{FE93233E-D23D-4932-A542-334AE1FB92F4}"/>
              </a:ext>
            </a:extLst>
          </p:cNvPr>
          <p:cNvSpPr/>
          <p:nvPr/>
        </p:nvSpPr>
        <p:spPr>
          <a:xfrm>
            <a:off x="4980181" y="5699051"/>
            <a:ext cx="2089407" cy="738962"/>
          </a:xfrm>
          <a:prstGeom prst="rect">
            <a:avLst/>
          </a:prstGeom>
          <a:no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06BB11D-8CEC-4DB4-AE03-D37366BDA062}"/>
              </a:ext>
            </a:extLst>
          </p:cNvPr>
          <p:cNvSpPr/>
          <p:nvPr/>
        </p:nvSpPr>
        <p:spPr>
          <a:xfrm>
            <a:off x="8552689" y="2373406"/>
            <a:ext cx="1949464" cy="553996"/>
          </a:xfrm>
          <a:prstGeom prst="rect">
            <a:avLst/>
          </a:prstGeom>
        </p:spPr>
        <p:txBody>
          <a:bodyPr wrap="square" lIns="121917" tIns="60959" rIns="121917" bIns="60959">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00" cap="none" spc="67" normalizeH="0" baseline="0" noProof="0" dirty="0">
                <a:ln>
                  <a:noFill/>
                </a:ln>
                <a:solidFill>
                  <a:srgbClr val="000000"/>
                </a:solidFill>
                <a:effectLst/>
                <a:uLnTx/>
                <a:uFillTx/>
                <a:ea typeface="Open Sans" charset="0"/>
                <a:cs typeface="Open Sans" charset="0"/>
              </a:rPr>
              <a:t>BUILD YOUR OWN EXPERIENCE</a:t>
            </a:r>
          </a:p>
        </p:txBody>
      </p:sp>
      <p:cxnSp>
        <p:nvCxnSpPr>
          <p:cNvPr id="31" name="Straight Connector 30">
            <a:extLst>
              <a:ext uri="{FF2B5EF4-FFF2-40B4-BE49-F238E27FC236}">
                <a16:creationId xmlns:a16="http://schemas.microsoft.com/office/drawing/2014/main" id="{E0FFC230-9D07-44A2-86E4-61578F6EE15E}"/>
              </a:ext>
            </a:extLst>
          </p:cNvPr>
          <p:cNvCxnSpPr/>
          <p:nvPr/>
        </p:nvCxnSpPr>
        <p:spPr>
          <a:xfrm>
            <a:off x="7071360" y="2519680"/>
            <a:ext cx="1171687"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2" name="Group 31">
            <a:extLst>
              <a:ext uri="{FF2B5EF4-FFF2-40B4-BE49-F238E27FC236}">
                <a16:creationId xmlns:a16="http://schemas.microsoft.com/office/drawing/2014/main" id="{D3D93BE2-85F8-4F41-BFE0-0262A55E6ACE}"/>
              </a:ext>
            </a:extLst>
          </p:cNvPr>
          <p:cNvGrpSpPr/>
          <p:nvPr/>
        </p:nvGrpSpPr>
        <p:grpSpPr>
          <a:xfrm>
            <a:off x="6914896" y="625856"/>
            <a:ext cx="308864" cy="5575808"/>
            <a:chOff x="7219696" y="625856"/>
            <a:chExt cx="308864" cy="5575808"/>
          </a:xfrm>
        </p:grpSpPr>
        <p:sp>
          <p:nvSpPr>
            <p:cNvPr id="33" name="Oval 32">
              <a:extLst>
                <a:ext uri="{FF2B5EF4-FFF2-40B4-BE49-F238E27FC236}">
                  <a16:creationId xmlns:a16="http://schemas.microsoft.com/office/drawing/2014/main" id="{9B22E173-CFEE-44A6-ADD3-0A0E92842983}"/>
                </a:ext>
              </a:extLst>
            </p:cNvPr>
            <p:cNvSpPr/>
            <p:nvPr/>
          </p:nvSpPr>
          <p:spPr>
            <a:xfrm>
              <a:off x="7219696" y="625856"/>
              <a:ext cx="308864" cy="308864"/>
            </a:xfrm>
            <a:prstGeom prst="ellipse">
              <a:avLst/>
            </a:prstGeom>
            <a:solidFill>
              <a:schemeClr val="bg1"/>
            </a:solid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A</a:t>
              </a:r>
            </a:p>
          </p:txBody>
        </p:sp>
        <p:sp>
          <p:nvSpPr>
            <p:cNvPr id="34" name="Oval 33">
              <a:extLst>
                <a:ext uri="{FF2B5EF4-FFF2-40B4-BE49-F238E27FC236}">
                  <a16:creationId xmlns:a16="http://schemas.microsoft.com/office/drawing/2014/main" id="{5BADB3CC-BD98-4965-A5C8-1FCD3436708D}"/>
                </a:ext>
              </a:extLst>
            </p:cNvPr>
            <p:cNvSpPr/>
            <p:nvPr/>
          </p:nvSpPr>
          <p:spPr>
            <a:xfrm>
              <a:off x="7219696" y="1503680"/>
              <a:ext cx="308864" cy="308864"/>
            </a:xfrm>
            <a:prstGeom prst="ellipse">
              <a:avLst/>
            </a:prstGeom>
            <a:solidFill>
              <a:schemeClr val="bg1"/>
            </a:solid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B</a:t>
              </a:r>
            </a:p>
          </p:txBody>
        </p:sp>
        <p:sp>
          <p:nvSpPr>
            <p:cNvPr id="35" name="Oval 34">
              <a:extLst>
                <a:ext uri="{FF2B5EF4-FFF2-40B4-BE49-F238E27FC236}">
                  <a16:creationId xmlns:a16="http://schemas.microsoft.com/office/drawing/2014/main" id="{C4C67E56-51DB-4D23-BE3F-E780AE17B6A0}"/>
                </a:ext>
              </a:extLst>
            </p:cNvPr>
            <p:cNvSpPr/>
            <p:nvPr/>
          </p:nvSpPr>
          <p:spPr>
            <a:xfrm>
              <a:off x="7219696" y="3259328"/>
              <a:ext cx="308864" cy="308864"/>
            </a:xfrm>
            <a:prstGeom prst="ellipse">
              <a:avLst/>
            </a:prstGeom>
            <a:solidFill>
              <a:schemeClr val="bg1"/>
            </a:solid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D</a:t>
              </a:r>
            </a:p>
          </p:txBody>
        </p:sp>
        <p:sp>
          <p:nvSpPr>
            <p:cNvPr id="36" name="Oval 35">
              <a:extLst>
                <a:ext uri="{FF2B5EF4-FFF2-40B4-BE49-F238E27FC236}">
                  <a16:creationId xmlns:a16="http://schemas.microsoft.com/office/drawing/2014/main" id="{8BFA3F26-5655-4FC6-B3AF-335F0D0CD481}"/>
                </a:ext>
              </a:extLst>
            </p:cNvPr>
            <p:cNvSpPr/>
            <p:nvPr/>
          </p:nvSpPr>
          <p:spPr>
            <a:xfrm>
              <a:off x="7219696" y="4137152"/>
              <a:ext cx="308864" cy="308864"/>
            </a:xfrm>
            <a:prstGeom prst="ellipse">
              <a:avLst/>
            </a:prstGeom>
            <a:solidFill>
              <a:schemeClr val="bg1"/>
            </a:solid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E</a:t>
              </a:r>
            </a:p>
          </p:txBody>
        </p:sp>
        <p:sp>
          <p:nvSpPr>
            <p:cNvPr id="37" name="Oval 36">
              <a:extLst>
                <a:ext uri="{FF2B5EF4-FFF2-40B4-BE49-F238E27FC236}">
                  <a16:creationId xmlns:a16="http://schemas.microsoft.com/office/drawing/2014/main" id="{B0F9EE2C-FFE8-4B6B-97BD-08DC7AEB4988}"/>
                </a:ext>
              </a:extLst>
            </p:cNvPr>
            <p:cNvSpPr/>
            <p:nvPr/>
          </p:nvSpPr>
          <p:spPr>
            <a:xfrm>
              <a:off x="7219696" y="5014976"/>
              <a:ext cx="308864" cy="308864"/>
            </a:xfrm>
            <a:prstGeom prst="ellipse">
              <a:avLst/>
            </a:prstGeom>
            <a:solidFill>
              <a:schemeClr val="bg1"/>
            </a:solid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F</a:t>
              </a:r>
            </a:p>
          </p:txBody>
        </p:sp>
        <p:sp>
          <p:nvSpPr>
            <p:cNvPr id="38" name="Oval 37">
              <a:extLst>
                <a:ext uri="{FF2B5EF4-FFF2-40B4-BE49-F238E27FC236}">
                  <a16:creationId xmlns:a16="http://schemas.microsoft.com/office/drawing/2014/main" id="{A1A43ECE-6F09-416C-8E30-41601B2E89DE}"/>
                </a:ext>
              </a:extLst>
            </p:cNvPr>
            <p:cNvSpPr/>
            <p:nvPr/>
          </p:nvSpPr>
          <p:spPr>
            <a:xfrm>
              <a:off x="7219696" y="5892800"/>
              <a:ext cx="308864" cy="308864"/>
            </a:xfrm>
            <a:prstGeom prst="ellipse">
              <a:avLst/>
            </a:prstGeom>
            <a:solidFill>
              <a:schemeClr val="bg1"/>
            </a:solid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G</a:t>
              </a:r>
            </a:p>
          </p:txBody>
        </p:sp>
      </p:grpSp>
      <p:sp>
        <p:nvSpPr>
          <p:cNvPr id="39" name="Oval 38">
            <a:extLst>
              <a:ext uri="{FF2B5EF4-FFF2-40B4-BE49-F238E27FC236}">
                <a16:creationId xmlns:a16="http://schemas.microsoft.com/office/drawing/2014/main" id="{43F5C900-82C7-4F24-98FB-CD89A671494E}"/>
              </a:ext>
            </a:extLst>
          </p:cNvPr>
          <p:cNvSpPr/>
          <p:nvPr/>
        </p:nvSpPr>
        <p:spPr>
          <a:xfrm>
            <a:off x="8223096" y="2381504"/>
            <a:ext cx="308864" cy="308864"/>
          </a:xfrm>
          <a:prstGeom prst="ellipse">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C</a:t>
            </a:r>
          </a:p>
        </p:txBody>
      </p:sp>
    </p:spTree>
    <p:extLst>
      <p:ext uri="{BB962C8B-B14F-4D97-AF65-F5344CB8AC3E}">
        <p14:creationId xmlns:p14="http://schemas.microsoft.com/office/powerpoint/2010/main" val="2446433327"/>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8" name="Object 157" hidden="1">
            <a:extLst>
              <a:ext uri="{FF2B5EF4-FFF2-40B4-BE49-F238E27FC236}">
                <a16:creationId xmlns:a16="http://schemas.microsoft.com/office/drawing/2014/main" id="{837308C7-A3B3-43F4-B2BA-7062CAB3F1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876" name="think-cell Slide" r:id="rId5" imgW="395" imgH="396" progId="TCLayout.ActiveDocument.1">
                  <p:embed/>
                </p:oleObj>
              </mc:Choice>
              <mc:Fallback>
                <p:oleObj name="think-cell Slide" r:id="rId5" imgW="395" imgH="396" progId="TCLayout.ActiveDocument.1">
                  <p:embed/>
                  <p:pic>
                    <p:nvPicPr>
                      <p:cNvPr id="158" name="Object 157" hidden="1">
                        <a:extLst>
                          <a:ext uri="{FF2B5EF4-FFF2-40B4-BE49-F238E27FC236}">
                            <a16:creationId xmlns:a16="http://schemas.microsoft.com/office/drawing/2014/main" id="{837308C7-A3B3-43F4-B2BA-7062CAB3F12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8021915E-E207-4C28-95CE-EBCA8FF2031C}"/>
              </a:ext>
            </a:extLst>
          </p:cNvPr>
          <p:cNvSpPr>
            <a:spLocks noGrp="1"/>
          </p:cNvSpPr>
          <p:nvPr>
            <p:ph type="body" sz="quarter" idx="14"/>
          </p:nvPr>
        </p:nvSpPr>
        <p:spPr/>
        <p:txBody>
          <a:bodyPr/>
          <a:lstStyle/>
          <a:p>
            <a:r>
              <a:rPr lang="en-US" sz="1100" dirty="0"/>
              <a:t>Our interviewees come from diverse U.S. locations and backgrounds</a:t>
            </a:r>
          </a:p>
        </p:txBody>
      </p:sp>
      <p:sp>
        <p:nvSpPr>
          <p:cNvPr id="4" name="Text Placeholder 3">
            <a:extLst>
              <a:ext uri="{FF2B5EF4-FFF2-40B4-BE49-F238E27FC236}">
                <a16:creationId xmlns:a16="http://schemas.microsoft.com/office/drawing/2014/main" id="{3423A46C-9751-411F-A0EB-C4A20DEED950}"/>
              </a:ext>
            </a:extLst>
          </p:cNvPr>
          <p:cNvSpPr>
            <a:spLocks noGrp="1"/>
          </p:cNvSpPr>
          <p:nvPr>
            <p:ph type="body" sz="quarter" idx="15"/>
          </p:nvPr>
        </p:nvSpPr>
        <p:spPr>
          <a:xfrm>
            <a:off x="914970" y="466344"/>
            <a:ext cx="3632717" cy="211870"/>
          </a:xfrm>
        </p:spPr>
        <p:txBody>
          <a:bodyPr/>
          <a:lstStyle/>
          <a:p>
            <a:r>
              <a:rPr lang="en-US" dirty="0"/>
              <a:t>FRAMEWORKS &amp; CONCEPT ILLUSTRATION</a:t>
            </a:r>
          </a:p>
        </p:txBody>
      </p:sp>
      <p:sp>
        <p:nvSpPr>
          <p:cNvPr id="5" name="TextBox 4">
            <a:extLst>
              <a:ext uri="{FF2B5EF4-FFF2-40B4-BE49-F238E27FC236}">
                <a16:creationId xmlns:a16="http://schemas.microsoft.com/office/drawing/2014/main" id="{2E59F9F0-2C7A-43CF-A9EB-2A0D4617442C}"/>
              </a:ext>
            </a:extLst>
          </p:cNvPr>
          <p:cNvSpPr txBox="1"/>
          <p:nvPr/>
        </p:nvSpPr>
        <p:spPr>
          <a:xfrm>
            <a:off x="6926463" y="5625160"/>
            <a:ext cx="129425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Tampa, FL</a:t>
            </a:r>
          </a:p>
        </p:txBody>
      </p:sp>
      <p:sp>
        <p:nvSpPr>
          <p:cNvPr id="6" name="Text Placeholder 2">
            <a:extLst>
              <a:ext uri="{FF2B5EF4-FFF2-40B4-BE49-F238E27FC236}">
                <a16:creationId xmlns:a16="http://schemas.microsoft.com/office/drawing/2014/main" id="{B3D62CC8-7324-4C72-BBFC-2DD48B69CD8C}"/>
              </a:ext>
            </a:extLst>
          </p:cNvPr>
          <p:cNvSpPr txBox="1">
            <a:spLocks/>
          </p:cNvSpPr>
          <p:nvPr/>
        </p:nvSpPr>
        <p:spPr>
          <a:xfrm>
            <a:off x="914721" y="1353312"/>
            <a:ext cx="10362880" cy="475488"/>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12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400" dirty="0"/>
          </a:p>
        </p:txBody>
      </p:sp>
      <p:grpSp>
        <p:nvGrpSpPr>
          <p:cNvPr id="9" name="States">
            <a:extLst>
              <a:ext uri="{FF2B5EF4-FFF2-40B4-BE49-F238E27FC236}">
                <a16:creationId xmlns:a16="http://schemas.microsoft.com/office/drawing/2014/main" id="{D849CFD6-1459-4B0E-9493-2A006E9A3F38}"/>
              </a:ext>
            </a:extLst>
          </p:cNvPr>
          <p:cNvGrpSpPr/>
          <p:nvPr/>
        </p:nvGrpSpPr>
        <p:grpSpPr>
          <a:xfrm>
            <a:off x="2682606" y="2165099"/>
            <a:ext cx="6515260" cy="4085613"/>
            <a:chOff x="1609720" y="1588926"/>
            <a:chExt cx="7157612" cy="4444142"/>
          </a:xfrm>
          <a:solidFill>
            <a:schemeClr val="accent5">
              <a:lumMod val="40000"/>
              <a:lumOff val="60000"/>
            </a:schemeClr>
          </a:solidFill>
        </p:grpSpPr>
        <p:sp>
          <p:nvSpPr>
            <p:cNvPr id="10" name="Freeform 6">
              <a:extLst>
                <a:ext uri="{FF2B5EF4-FFF2-40B4-BE49-F238E27FC236}">
                  <a16:creationId xmlns:a16="http://schemas.microsoft.com/office/drawing/2014/main" id="{213D0BF6-6EB2-442E-9C2D-4EC9A03F0B83}"/>
                </a:ext>
              </a:extLst>
            </p:cNvPr>
            <p:cNvSpPr>
              <a:spLocks noEditPoints="1"/>
            </p:cNvSpPr>
            <p:nvPr/>
          </p:nvSpPr>
          <p:spPr bwMode="gray">
            <a:xfrm>
              <a:off x="1944654" y="1588926"/>
              <a:ext cx="919460" cy="668259"/>
            </a:xfrm>
            <a:custGeom>
              <a:avLst/>
              <a:gdLst/>
              <a:ahLst/>
              <a:cxnLst>
                <a:cxn ang="0">
                  <a:pos x="166" y="92"/>
                </a:cxn>
                <a:cxn ang="0">
                  <a:pos x="171" y="63"/>
                </a:cxn>
                <a:cxn ang="0">
                  <a:pos x="180" y="60"/>
                </a:cxn>
                <a:cxn ang="0">
                  <a:pos x="185" y="29"/>
                </a:cxn>
                <a:cxn ang="0">
                  <a:pos x="175" y="0"/>
                </a:cxn>
                <a:cxn ang="0">
                  <a:pos x="571" y="101"/>
                </a:cxn>
                <a:cxn ang="0">
                  <a:pos x="530" y="282"/>
                </a:cxn>
                <a:cxn ang="0">
                  <a:pos x="508" y="376"/>
                </a:cxn>
                <a:cxn ang="0">
                  <a:pos x="513" y="398"/>
                </a:cxn>
                <a:cxn ang="0">
                  <a:pos x="469" y="405"/>
                </a:cxn>
                <a:cxn ang="0">
                  <a:pos x="354" y="383"/>
                </a:cxn>
                <a:cxn ang="0">
                  <a:pos x="324" y="380"/>
                </a:cxn>
                <a:cxn ang="0">
                  <a:pos x="293" y="381"/>
                </a:cxn>
                <a:cxn ang="0">
                  <a:pos x="264" y="386"/>
                </a:cxn>
                <a:cxn ang="0">
                  <a:pos x="233" y="376"/>
                </a:cxn>
                <a:cxn ang="0">
                  <a:pos x="207" y="380"/>
                </a:cxn>
                <a:cxn ang="0">
                  <a:pos x="190" y="380"/>
                </a:cxn>
                <a:cxn ang="0">
                  <a:pos x="182" y="368"/>
                </a:cxn>
                <a:cxn ang="0">
                  <a:pos x="154" y="361"/>
                </a:cxn>
                <a:cxn ang="0">
                  <a:pos x="132" y="361"/>
                </a:cxn>
                <a:cxn ang="0">
                  <a:pos x="103" y="359"/>
                </a:cxn>
                <a:cxn ang="0">
                  <a:pos x="76" y="342"/>
                </a:cxn>
                <a:cxn ang="0">
                  <a:pos x="81" y="320"/>
                </a:cxn>
                <a:cxn ang="0">
                  <a:pos x="74" y="291"/>
                </a:cxn>
                <a:cxn ang="0">
                  <a:pos x="55" y="282"/>
                </a:cxn>
                <a:cxn ang="0">
                  <a:pos x="14" y="258"/>
                </a:cxn>
                <a:cxn ang="0">
                  <a:pos x="9" y="241"/>
                </a:cxn>
                <a:cxn ang="0">
                  <a:pos x="24" y="212"/>
                </a:cxn>
                <a:cxn ang="0">
                  <a:pos x="14" y="197"/>
                </a:cxn>
                <a:cxn ang="0">
                  <a:pos x="23" y="188"/>
                </a:cxn>
                <a:cxn ang="0">
                  <a:pos x="16" y="181"/>
                </a:cxn>
                <a:cxn ang="0">
                  <a:pos x="23" y="104"/>
                </a:cxn>
                <a:cxn ang="0">
                  <a:pos x="23" y="22"/>
                </a:cxn>
                <a:cxn ang="0">
                  <a:pos x="137" y="89"/>
                </a:cxn>
                <a:cxn ang="0">
                  <a:pos x="151" y="111"/>
                </a:cxn>
                <a:cxn ang="0">
                  <a:pos x="134" y="116"/>
                </a:cxn>
                <a:cxn ang="0">
                  <a:pos x="110" y="163"/>
                </a:cxn>
                <a:cxn ang="0">
                  <a:pos x="124" y="139"/>
                </a:cxn>
                <a:cxn ang="0">
                  <a:pos x="159" y="115"/>
                </a:cxn>
                <a:cxn ang="0">
                  <a:pos x="147" y="154"/>
                </a:cxn>
                <a:cxn ang="0">
                  <a:pos x="139" y="180"/>
                </a:cxn>
                <a:cxn ang="0">
                  <a:pos x="137" y="166"/>
                </a:cxn>
                <a:cxn ang="0">
                  <a:pos x="122" y="186"/>
                </a:cxn>
                <a:cxn ang="0">
                  <a:pos x="98" y="174"/>
                </a:cxn>
                <a:cxn ang="0">
                  <a:pos x="122" y="197"/>
                </a:cxn>
                <a:cxn ang="0">
                  <a:pos x="147" y="185"/>
                </a:cxn>
                <a:cxn ang="0">
                  <a:pos x="159" y="173"/>
                </a:cxn>
                <a:cxn ang="0">
                  <a:pos x="177" y="116"/>
                </a:cxn>
                <a:cxn ang="0">
                  <a:pos x="144" y="51"/>
                </a:cxn>
                <a:cxn ang="0">
                  <a:pos x="141" y="33"/>
                </a:cxn>
                <a:cxn ang="0">
                  <a:pos x="142" y="46"/>
                </a:cxn>
                <a:cxn ang="0">
                  <a:pos x="171" y="74"/>
                </a:cxn>
                <a:cxn ang="0">
                  <a:pos x="163" y="98"/>
                </a:cxn>
                <a:cxn ang="0">
                  <a:pos x="166" y="116"/>
                </a:cxn>
                <a:cxn ang="0">
                  <a:pos x="153" y="79"/>
                </a:cxn>
              </a:cxnLst>
              <a:rect l="0" t="0" r="r" b="b"/>
              <a:pathLst>
                <a:path w="571" h="415">
                  <a:moveTo>
                    <a:pt x="178" y="86"/>
                  </a:moveTo>
                  <a:lnTo>
                    <a:pt x="173" y="84"/>
                  </a:lnTo>
                  <a:lnTo>
                    <a:pt x="171" y="94"/>
                  </a:lnTo>
                  <a:lnTo>
                    <a:pt x="175" y="103"/>
                  </a:lnTo>
                  <a:lnTo>
                    <a:pt x="166" y="92"/>
                  </a:lnTo>
                  <a:lnTo>
                    <a:pt x="168" y="84"/>
                  </a:lnTo>
                  <a:lnTo>
                    <a:pt x="171" y="80"/>
                  </a:lnTo>
                  <a:lnTo>
                    <a:pt x="178" y="84"/>
                  </a:lnTo>
                  <a:lnTo>
                    <a:pt x="182" y="79"/>
                  </a:lnTo>
                  <a:lnTo>
                    <a:pt x="171" y="63"/>
                  </a:lnTo>
                  <a:lnTo>
                    <a:pt x="165" y="62"/>
                  </a:lnTo>
                  <a:lnTo>
                    <a:pt x="165" y="53"/>
                  </a:lnTo>
                  <a:lnTo>
                    <a:pt x="171" y="51"/>
                  </a:lnTo>
                  <a:lnTo>
                    <a:pt x="177" y="60"/>
                  </a:lnTo>
                  <a:lnTo>
                    <a:pt x="180" y="60"/>
                  </a:lnTo>
                  <a:lnTo>
                    <a:pt x="180" y="50"/>
                  </a:lnTo>
                  <a:lnTo>
                    <a:pt x="187" y="46"/>
                  </a:lnTo>
                  <a:lnTo>
                    <a:pt x="183" y="41"/>
                  </a:lnTo>
                  <a:lnTo>
                    <a:pt x="183" y="34"/>
                  </a:lnTo>
                  <a:lnTo>
                    <a:pt x="185" y="29"/>
                  </a:lnTo>
                  <a:lnTo>
                    <a:pt x="173" y="21"/>
                  </a:lnTo>
                  <a:lnTo>
                    <a:pt x="173" y="9"/>
                  </a:lnTo>
                  <a:lnTo>
                    <a:pt x="170" y="4"/>
                  </a:lnTo>
                  <a:lnTo>
                    <a:pt x="175" y="5"/>
                  </a:lnTo>
                  <a:lnTo>
                    <a:pt x="175" y="0"/>
                  </a:lnTo>
                  <a:lnTo>
                    <a:pt x="306" y="36"/>
                  </a:lnTo>
                  <a:lnTo>
                    <a:pt x="445" y="72"/>
                  </a:lnTo>
                  <a:lnTo>
                    <a:pt x="491" y="82"/>
                  </a:lnTo>
                  <a:lnTo>
                    <a:pt x="544" y="94"/>
                  </a:lnTo>
                  <a:lnTo>
                    <a:pt x="571" y="101"/>
                  </a:lnTo>
                  <a:lnTo>
                    <a:pt x="568" y="118"/>
                  </a:lnTo>
                  <a:lnTo>
                    <a:pt x="549" y="200"/>
                  </a:lnTo>
                  <a:lnTo>
                    <a:pt x="547" y="209"/>
                  </a:lnTo>
                  <a:lnTo>
                    <a:pt x="532" y="272"/>
                  </a:lnTo>
                  <a:lnTo>
                    <a:pt x="530" y="282"/>
                  </a:lnTo>
                  <a:lnTo>
                    <a:pt x="527" y="296"/>
                  </a:lnTo>
                  <a:lnTo>
                    <a:pt x="513" y="357"/>
                  </a:lnTo>
                  <a:lnTo>
                    <a:pt x="512" y="368"/>
                  </a:lnTo>
                  <a:lnTo>
                    <a:pt x="510" y="373"/>
                  </a:lnTo>
                  <a:lnTo>
                    <a:pt x="508" y="376"/>
                  </a:lnTo>
                  <a:lnTo>
                    <a:pt x="510" y="378"/>
                  </a:lnTo>
                  <a:lnTo>
                    <a:pt x="512" y="381"/>
                  </a:lnTo>
                  <a:lnTo>
                    <a:pt x="512" y="388"/>
                  </a:lnTo>
                  <a:lnTo>
                    <a:pt x="512" y="393"/>
                  </a:lnTo>
                  <a:lnTo>
                    <a:pt x="513" y="398"/>
                  </a:lnTo>
                  <a:lnTo>
                    <a:pt x="508" y="403"/>
                  </a:lnTo>
                  <a:lnTo>
                    <a:pt x="506" y="405"/>
                  </a:lnTo>
                  <a:lnTo>
                    <a:pt x="508" y="407"/>
                  </a:lnTo>
                  <a:lnTo>
                    <a:pt x="510" y="415"/>
                  </a:lnTo>
                  <a:lnTo>
                    <a:pt x="469" y="405"/>
                  </a:lnTo>
                  <a:lnTo>
                    <a:pt x="460" y="403"/>
                  </a:lnTo>
                  <a:lnTo>
                    <a:pt x="433" y="397"/>
                  </a:lnTo>
                  <a:lnTo>
                    <a:pt x="431" y="397"/>
                  </a:lnTo>
                  <a:lnTo>
                    <a:pt x="359" y="380"/>
                  </a:lnTo>
                  <a:lnTo>
                    <a:pt x="354" y="383"/>
                  </a:lnTo>
                  <a:lnTo>
                    <a:pt x="346" y="385"/>
                  </a:lnTo>
                  <a:lnTo>
                    <a:pt x="344" y="385"/>
                  </a:lnTo>
                  <a:lnTo>
                    <a:pt x="334" y="381"/>
                  </a:lnTo>
                  <a:lnTo>
                    <a:pt x="329" y="381"/>
                  </a:lnTo>
                  <a:lnTo>
                    <a:pt x="324" y="380"/>
                  </a:lnTo>
                  <a:lnTo>
                    <a:pt x="318" y="381"/>
                  </a:lnTo>
                  <a:lnTo>
                    <a:pt x="313" y="378"/>
                  </a:lnTo>
                  <a:lnTo>
                    <a:pt x="310" y="378"/>
                  </a:lnTo>
                  <a:lnTo>
                    <a:pt x="305" y="383"/>
                  </a:lnTo>
                  <a:lnTo>
                    <a:pt x="293" y="381"/>
                  </a:lnTo>
                  <a:lnTo>
                    <a:pt x="291" y="381"/>
                  </a:lnTo>
                  <a:lnTo>
                    <a:pt x="281" y="381"/>
                  </a:lnTo>
                  <a:lnTo>
                    <a:pt x="276" y="383"/>
                  </a:lnTo>
                  <a:lnTo>
                    <a:pt x="269" y="383"/>
                  </a:lnTo>
                  <a:lnTo>
                    <a:pt x="264" y="386"/>
                  </a:lnTo>
                  <a:lnTo>
                    <a:pt x="257" y="385"/>
                  </a:lnTo>
                  <a:lnTo>
                    <a:pt x="245" y="385"/>
                  </a:lnTo>
                  <a:lnTo>
                    <a:pt x="241" y="383"/>
                  </a:lnTo>
                  <a:lnTo>
                    <a:pt x="238" y="378"/>
                  </a:lnTo>
                  <a:lnTo>
                    <a:pt x="233" y="376"/>
                  </a:lnTo>
                  <a:lnTo>
                    <a:pt x="231" y="376"/>
                  </a:lnTo>
                  <a:lnTo>
                    <a:pt x="228" y="378"/>
                  </a:lnTo>
                  <a:lnTo>
                    <a:pt x="214" y="380"/>
                  </a:lnTo>
                  <a:lnTo>
                    <a:pt x="211" y="381"/>
                  </a:lnTo>
                  <a:lnTo>
                    <a:pt x="207" y="380"/>
                  </a:lnTo>
                  <a:lnTo>
                    <a:pt x="206" y="380"/>
                  </a:lnTo>
                  <a:lnTo>
                    <a:pt x="202" y="378"/>
                  </a:lnTo>
                  <a:lnTo>
                    <a:pt x="199" y="378"/>
                  </a:lnTo>
                  <a:lnTo>
                    <a:pt x="194" y="380"/>
                  </a:lnTo>
                  <a:lnTo>
                    <a:pt x="190" y="380"/>
                  </a:lnTo>
                  <a:lnTo>
                    <a:pt x="188" y="378"/>
                  </a:lnTo>
                  <a:lnTo>
                    <a:pt x="188" y="373"/>
                  </a:lnTo>
                  <a:lnTo>
                    <a:pt x="188" y="373"/>
                  </a:lnTo>
                  <a:lnTo>
                    <a:pt x="185" y="369"/>
                  </a:lnTo>
                  <a:lnTo>
                    <a:pt x="182" y="368"/>
                  </a:lnTo>
                  <a:lnTo>
                    <a:pt x="178" y="366"/>
                  </a:lnTo>
                  <a:lnTo>
                    <a:pt x="175" y="366"/>
                  </a:lnTo>
                  <a:lnTo>
                    <a:pt x="173" y="364"/>
                  </a:lnTo>
                  <a:lnTo>
                    <a:pt x="168" y="361"/>
                  </a:lnTo>
                  <a:lnTo>
                    <a:pt x="154" y="361"/>
                  </a:lnTo>
                  <a:lnTo>
                    <a:pt x="149" y="359"/>
                  </a:lnTo>
                  <a:lnTo>
                    <a:pt x="146" y="357"/>
                  </a:lnTo>
                  <a:lnTo>
                    <a:pt x="141" y="357"/>
                  </a:lnTo>
                  <a:lnTo>
                    <a:pt x="136" y="361"/>
                  </a:lnTo>
                  <a:lnTo>
                    <a:pt x="132" y="361"/>
                  </a:lnTo>
                  <a:lnTo>
                    <a:pt x="130" y="361"/>
                  </a:lnTo>
                  <a:lnTo>
                    <a:pt x="124" y="362"/>
                  </a:lnTo>
                  <a:lnTo>
                    <a:pt x="110" y="364"/>
                  </a:lnTo>
                  <a:lnTo>
                    <a:pt x="106" y="362"/>
                  </a:lnTo>
                  <a:lnTo>
                    <a:pt x="103" y="359"/>
                  </a:lnTo>
                  <a:lnTo>
                    <a:pt x="96" y="357"/>
                  </a:lnTo>
                  <a:lnTo>
                    <a:pt x="89" y="352"/>
                  </a:lnTo>
                  <a:lnTo>
                    <a:pt x="83" y="349"/>
                  </a:lnTo>
                  <a:lnTo>
                    <a:pt x="81" y="345"/>
                  </a:lnTo>
                  <a:lnTo>
                    <a:pt x="76" y="342"/>
                  </a:lnTo>
                  <a:lnTo>
                    <a:pt x="77" y="335"/>
                  </a:lnTo>
                  <a:lnTo>
                    <a:pt x="79" y="332"/>
                  </a:lnTo>
                  <a:lnTo>
                    <a:pt x="79" y="327"/>
                  </a:lnTo>
                  <a:lnTo>
                    <a:pt x="81" y="321"/>
                  </a:lnTo>
                  <a:lnTo>
                    <a:pt x="81" y="320"/>
                  </a:lnTo>
                  <a:lnTo>
                    <a:pt x="81" y="315"/>
                  </a:lnTo>
                  <a:lnTo>
                    <a:pt x="81" y="311"/>
                  </a:lnTo>
                  <a:lnTo>
                    <a:pt x="79" y="301"/>
                  </a:lnTo>
                  <a:lnTo>
                    <a:pt x="79" y="296"/>
                  </a:lnTo>
                  <a:lnTo>
                    <a:pt x="74" y="291"/>
                  </a:lnTo>
                  <a:lnTo>
                    <a:pt x="71" y="284"/>
                  </a:lnTo>
                  <a:lnTo>
                    <a:pt x="65" y="280"/>
                  </a:lnTo>
                  <a:lnTo>
                    <a:pt x="62" y="279"/>
                  </a:lnTo>
                  <a:lnTo>
                    <a:pt x="59" y="280"/>
                  </a:lnTo>
                  <a:lnTo>
                    <a:pt x="55" y="282"/>
                  </a:lnTo>
                  <a:lnTo>
                    <a:pt x="52" y="280"/>
                  </a:lnTo>
                  <a:lnTo>
                    <a:pt x="43" y="263"/>
                  </a:lnTo>
                  <a:lnTo>
                    <a:pt x="33" y="262"/>
                  </a:lnTo>
                  <a:lnTo>
                    <a:pt x="26" y="257"/>
                  </a:lnTo>
                  <a:lnTo>
                    <a:pt x="14" y="258"/>
                  </a:lnTo>
                  <a:lnTo>
                    <a:pt x="7" y="248"/>
                  </a:lnTo>
                  <a:lnTo>
                    <a:pt x="0" y="251"/>
                  </a:lnTo>
                  <a:lnTo>
                    <a:pt x="12" y="214"/>
                  </a:lnTo>
                  <a:lnTo>
                    <a:pt x="14" y="221"/>
                  </a:lnTo>
                  <a:lnTo>
                    <a:pt x="9" y="241"/>
                  </a:lnTo>
                  <a:lnTo>
                    <a:pt x="21" y="243"/>
                  </a:lnTo>
                  <a:lnTo>
                    <a:pt x="18" y="233"/>
                  </a:lnTo>
                  <a:lnTo>
                    <a:pt x="21" y="231"/>
                  </a:lnTo>
                  <a:lnTo>
                    <a:pt x="19" y="217"/>
                  </a:lnTo>
                  <a:lnTo>
                    <a:pt x="24" y="212"/>
                  </a:lnTo>
                  <a:lnTo>
                    <a:pt x="31" y="210"/>
                  </a:lnTo>
                  <a:lnTo>
                    <a:pt x="28" y="207"/>
                  </a:lnTo>
                  <a:lnTo>
                    <a:pt x="18" y="205"/>
                  </a:lnTo>
                  <a:lnTo>
                    <a:pt x="14" y="204"/>
                  </a:lnTo>
                  <a:lnTo>
                    <a:pt x="14" y="197"/>
                  </a:lnTo>
                  <a:lnTo>
                    <a:pt x="16" y="185"/>
                  </a:lnTo>
                  <a:lnTo>
                    <a:pt x="18" y="185"/>
                  </a:lnTo>
                  <a:lnTo>
                    <a:pt x="18" y="188"/>
                  </a:lnTo>
                  <a:lnTo>
                    <a:pt x="21" y="195"/>
                  </a:lnTo>
                  <a:lnTo>
                    <a:pt x="23" y="188"/>
                  </a:lnTo>
                  <a:lnTo>
                    <a:pt x="42" y="186"/>
                  </a:lnTo>
                  <a:lnTo>
                    <a:pt x="28" y="180"/>
                  </a:lnTo>
                  <a:lnTo>
                    <a:pt x="28" y="174"/>
                  </a:lnTo>
                  <a:lnTo>
                    <a:pt x="23" y="171"/>
                  </a:lnTo>
                  <a:lnTo>
                    <a:pt x="16" y="181"/>
                  </a:lnTo>
                  <a:lnTo>
                    <a:pt x="21" y="157"/>
                  </a:lnTo>
                  <a:lnTo>
                    <a:pt x="21" y="145"/>
                  </a:lnTo>
                  <a:lnTo>
                    <a:pt x="18" y="135"/>
                  </a:lnTo>
                  <a:lnTo>
                    <a:pt x="21" y="116"/>
                  </a:lnTo>
                  <a:lnTo>
                    <a:pt x="23" y="104"/>
                  </a:lnTo>
                  <a:lnTo>
                    <a:pt x="19" y="86"/>
                  </a:lnTo>
                  <a:lnTo>
                    <a:pt x="14" y="75"/>
                  </a:lnTo>
                  <a:lnTo>
                    <a:pt x="14" y="45"/>
                  </a:lnTo>
                  <a:lnTo>
                    <a:pt x="18" y="38"/>
                  </a:lnTo>
                  <a:lnTo>
                    <a:pt x="23" y="22"/>
                  </a:lnTo>
                  <a:lnTo>
                    <a:pt x="31" y="28"/>
                  </a:lnTo>
                  <a:lnTo>
                    <a:pt x="65" y="60"/>
                  </a:lnTo>
                  <a:lnTo>
                    <a:pt x="105" y="77"/>
                  </a:lnTo>
                  <a:lnTo>
                    <a:pt x="125" y="79"/>
                  </a:lnTo>
                  <a:lnTo>
                    <a:pt x="137" y="89"/>
                  </a:lnTo>
                  <a:lnTo>
                    <a:pt x="137" y="91"/>
                  </a:lnTo>
                  <a:lnTo>
                    <a:pt x="144" y="86"/>
                  </a:lnTo>
                  <a:lnTo>
                    <a:pt x="149" y="87"/>
                  </a:lnTo>
                  <a:lnTo>
                    <a:pt x="146" y="92"/>
                  </a:lnTo>
                  <a:lnTo>
                    <a:pt x="151" y="111"/>
                  </a:lnTo>
                  <a:lnTo>
                    <a:pt x="149" y="118"/>
                  </a:lnTo>
                  <a:lnTo>
                    <a:pt x="141" y="121"/>
                  </a:lnTo>
                  <a:lnTo>
                    <a:pt x="137" y="121"/>
                  </a:lnTo>
                  <a:lnTo>
                    <a:pt x="139" y="115"/>
                  </a:lnTo>
                  <a:lnTo>
                    <a:pt x="134" y="116"/>
                  </a:lnTo>
                  <a:lnTo>
                    <a:pt x="127" y="132"/>
                  </a:lnTo>
                  <a:lnTo>
                    <a:pt x="118" y="137"/>
                  </a:lnTo>
                  <a:lnTo>
                    <a:pt x="105" y="151"/>
                  </a:lnTo>
                  <a:lnTo>
                    <a:pt x="100" y="161"/>
                  </a:lnTo>
                  <a:lnTo>
                    <a:pt x="110" y="163"/>
                  </a:lnTo>
                  <a:lnTo>
                    <a:pt x="124" y="157"/>
                  </a:lnTo>
                  <a:lnTo>
                    <a:pt x="108" y="163"/>
                  </a:lnTo>
                  <a:lnTo>
                    <a:pt x="103" y="159"/>
                  </a:lnTo>
                  <a:lnTo>
                    <a:pt x="113" y="145"/>
                  </a:lnTo>
                  <a:lnTo>
                    <a:pt x="124" y="139"/>
                  </a:lnTo>
                  <a:lnTo>
                    <a:pt x="137" y="137"/>
                  </a:lnTo>
                  <a:lnTo>
                    <a:pt x="141" y="127"/>
                  </a:lnTo>
                  <a:lnTo>
                    <a:pt x="153" y="120"/>
                  </a:lnTo>
                  <a:lnTo>
                    <a:pt x="154" y="111"/>
                  </a:lnTo>
                  <a:lnTo>
                    <a:pt x="159" y="115"/>
                  </a:lnTo>
                  <a:lnTo>
                    <a:pt x="159" y="132"/>
                  </a:lnTo>
                  <a:lnTo>
                    <a:pt x="147" y="135"/>
                  </a:lnTo>
                  <a:lnTo>
                    <a:pt x="146" y="149"/>
                  </a:lnTo>
                  <a:lnTo>
                    <a:pt x="147" y="149"/>
                  </a:lnTo>
                  <a:lnTo>
                    <a:pt x="147" y="154"/>
                  </a:lnTo>
                  <a:lnTo>
                    <a:pt x="149" y="157"/>
                  </a:lnTo>
                  <a:lnTo>
                    <a:pt x="142" y="168"/>
                  </a:lnTo>
                  <a:lnTo>
                    <a:pt x="142" y="169"/>
                  </a:lnTo>
                  <a:lnTo>
                    <a:pt x="139" y="173"/>
                  </a:lnTo>
                  <a:lnTo>
                    <a:pt x="139" y="180"/>
                  </a:lnTo>
                  <a:lnTo>
                    <a:pt x="137" y="181"/>
                  </a:lnTo>
                  <a:lnTo>
                    <a:pt x="136" y="176"/>
                  </a:lnTo>
                  <a:lnTo>
                    <a:pt x="136" y="180"/>
                  </a:lnTo>
                  <a:lnTo>
                    <a:pt x="129" y="174"/>
                  </a:lnTo>
                  <a:lnTo>
                    <a:pt x="137" y="166"/>
                  </a:lnTo>
                  <a:lnTo>
                    <a:pt x="137" y="166"/>
                  </a:lnTo>
                  <a:lnTo>
                    <a:pt x="127" y="169"/>
                  </a:lnTo>
                  <a:lnTo>
                    <a:pt x="124" y="176"/>
                  </a:lnTo>
                  <a:lnTo>
                    <a:pt x="125" y="181"/>
                  </a:lnTo>
                  <a:lnTo>
                    <a:pt x="122" y="186"/>
                  </a:lnTo>
                  <a:lnTo>
                    <a:pt x="118" y="178"/>
                  </a:lnTo>
                  <a:lnTo>
                    <a:pt x="125" y="169"/>
                  </a:lnTo>
                  <a:lnTo>
                    <a:pt x="124" y="166"/>
                  </a:lnTo>
                  <a:lnTo>
                    <a:pt x="117" y="171"/>
                  </a:lnTo>
                  <a:lnTo>
                    <a:pt x="98" y="174"/>
                  </a:lnTo>
                  <a:lnTo>
                    <a:pt x="96" y="188"/>
                  </a:lnTo>
                  <a:lnTo>
                    <a:pt x="100" y="188"/>
                  </a:lnTo>
                  <a:lnTo>
                    <a:pt x="106" y="195"/>
                  </a:lnTo>
                  <a:lnTo>
                    <a:pt x="118" y="190"/>
                  </a:lnTo>
                  <a:lnTo>
                    <a:pt x="122" y="197"/>
                  </a:lnTo>
                  <a:lnTo>
                    <a:pt x="124" y="195"/>
                  </a:lnTo>
                  <a:lnTo>
                    <a:pt x="134" y="188"/>
                  </a:lnTo>
                  <a:lnTo>
                    <a:pt x="141" y="180"/>
                  </a:lnTo>
                  <a:lnTo>
                    <a:pt x="141" y="176"/>
                  </a:lnTo>
                  <a:lnTo>
                    <a:pt x="147" y="185"/>
                  </a:lnTo>
                  <a:lnTo>
                    <a:pt x="151" y="183"/>
                  </a:lnTo>
                  <a:lnTo>
                    <a:pt x="147" y="180"/>
                  </a:lnTo>
                  <a:lnTo>
                    <a:pt x="149" y="178"/>
                  </a:lnTo>
                  <a:lnTo>
                    <a:pt x="158" y="178"/>
                  </a:lnTo>
                  <a:lnTo>
                    <a:pt x="159" y="173"/>
                  </a:lnTo>
                  <a:lnTo>
                    <a:pt x="158" y="159"/>
                  </a:lnTo>
                  <a:lnTo>
                    <a:pt x="161" y="151"/>
                  </a:lnTo>
                  <a:lnTo>
                    <a:pt x="159" y="142"/>
                  </a:lnTo>
                  <a:lnTo>
                    <a:pt x="165" y="132"/>
                  </a:lnTo>
                  <a:lnTo>
                    <a:pt x="177" y="116"/>
                  </a:lnTo>
                  <a:lnTo>
                    <a:pt x="182" y="115"/>
                  </a:lnTo>
                  <a:lnTo>
                    <a:pt x="183" y="111"/>
                  </a:lnTo>
                  <a:lnTo>
                    <a:pt x="177" y="96"/>
                  </a:lnTo>
                  <a:lnTo>
                    <a:pt x="178" y="86"/>
                  </a:lnTo>
                  <a:close/>
                  <a:moveTo>
                    <a:pt x="144" y="51"/>
                  </a:moveTo>
                  <a:lnTo>
                    <a:pt x="137" y="46"/>
                  </a:lnTo>
                  <a:lnTo>
                    <a:pt x="134" y="39"/>
                  </a:lnTo>
                  <a:lnTo>
                    <a:pt x="134" y="36"/>
                  </a:lnTo>
                  <a:lnTo>
                    <a:pt x="137" y="31"/>
                  </a:lnTo>
                  <a:lnTo>
                    <a:pt x="141" y="33"/>
                  </a:lnTo>
                  <a:lnTo>
                    <a:pt x="146" y="39"/>
                  </a:lnTo>
                  <a:lnTo>
                    <a:pt x="144" y="43"/>
                  </a:lnTo>
                  <a:lnTo>
                    <a:pt x="147" y="43"/>
                  </a:lnTo>
                  <a:lnTo>
                    <a:pt x="142" y="45"/>
                  </a:lnTo>
                  <a:lnTo>
                    <a:pt x="142" y="46"/>
                  </a:lnTo>
                  <a:lnTo>
                    <a:pt x="144" y="51"/>
                  </a:lnTo>
                  <a:close/>
                  <a:moveTo>
                    <a:pt x="156" y="74"/>
                  </a:moveTo>
                  <a:lnTo>
                    <a:pt x="165" y="63"/>
                  </a:lnTo>
                  <a:lnTo>
                    <a:pt x="168" y="63"/>
                  </a:lnTo>
                  <a:lnTo>
                    <a:pt x="171" y="74"/>
                  </a:lnTo>
                  <a:lnTo>
                    <a:pt x="170" y="77"/>
                  </a:lnTo>
                  <a:lnTo>
                    <a:pt x="165" y="74"/>
                  </a:lnTo>
                  <a:lnTo>
                    <a:pt x="154" y="79"/>
                  </a:lnTo>
                  <a:lnTo>
                    <a:pt x="163" y="84"/>
                  </a:lnTo>
                  <a:lnTo>
                    <a:pt x="163" y="98"/>
                  </a:lnTo>
                  <a:lnTo>
                    <a:pt x="166" y="98"/>
                  </a:lnTo>
                  <a:lnTo>
                    <a:pt x="173" y="106"/>
                  </a:lnTo>
                  <a:lnTo>
                    <a:pt x="173" y="113"/>
                  </a:lnTo>
                  <a:lnTo>
                    <a:pt x="170" y="118"/>
                  </a:lnTo>
                  <a:lnTo>
                    <a:pt x="166" y="116"/>
                  </a:lnTo>
                  <a:lnTo>
                    <a:pt x="166" y="108"/>
                  </a:lnTo>
                  <a:lnTo>
                    <a:pt x="159" y="110"/>
                  </a:lnTo>
                  <a:lnTo>
                    <a:pt x="158" y="101"/>
                  </a:lnTo>
                  <a:lnTo>
                    <a:pt x="156" y="84"/>
                  </a:lnTo>
                  <a:lnTo>
                    <a:pt x="153" y="79"/>
                  </a:lnTo>
                  <a:lnTo>
                    <a:pt x="156" y="74"/>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11" name="Freeform 7">
              <a:extLst>
                <a:ext uri="{FF2B5EF4-FFF2-40B4-BE49-F238E27FC236}">
                  <a16:creationId xmlns:a16="http://schemas.microsoft.com/office/drawing/2014/main" id="{9A0D0211-F812-4E7E-8CC7-B4F5C93AA347}"/>
                </a:ext>
              </a:extLst>
            </p:cNvPr>
            <p:cNvSpPr>
              <a:spLocks/>
            </p:cNvSpPr>
            <p:nvPr/>
          </p:nvSpPr>
          <p:spPr bwMode="gray">
            <a:xfrm>
              <a:off x="2938186" y="1775716"/>
              <a:ext cx="1400927" cy="888864"/>
            </a:xfrm>
            <a:custGeom>
              <a:avLst/>
              <a:gdLst/>
              <a:ahLst/>
              <a:cxnLst>
                <a:cxn ang="0">
                  <a:pos x="269" y="520"/>
                </a:cxn>
                <a:cxn ang="0">
                  <a:pos x="269" y="530"/>
                </a:cxn>
                <a:cxn ang="0">
                  <a:pos x="257" y="528"/>
                </a:cxn>
                <a:cxn ang="0">
                  <a:pos x="241" y="530"/>
                </a:cxn>
                <a:cxn ang="0">
                  <a:pos x="224" y="525"/>
                </a:cxn>
                <a:cxn ang="0">
                  <a:pos x="211" y="522"/>
                </a:cxn>
                <a:cxn ang="0">
                  <a:pos x="200" y="525"/>
                </a:cxn>
                <a:cxn ang="0">
                  <a:pos x="185" y="523"/>
                </a:cxn>
                <a:cxn ang="0">
                  <a:pos x="166" y="523"/>
                </a:cxn>
                <a:cxn ang="0">
                  <a:pos x="159" y="530"/>
                </a:cxn>
                <a:cxn ang="0">
                  <a:pos x="151" y="520"/>
                </a:cxn>
                <a:cxn ang="0">
                  <a:pos x="147" y="506"/>
                </a:cxn>
                <a:cxn ang="0">
                  <a:pos x="146" y="489"/>
                </a:cxn>
                <a:cxn ang="0">
                  <a:pos x="132" y="481"/>
                </a:cxn>
                <a:cxn ang="0">
                  <a:pos x="124" y="462"/>
                </a:cxn>
                <a:cxn ang="0">
                  <a:pos x="129" y="452"/>
                </a:cxn>
                <a:cxn ang="0">
                  <a:pos x="122" y="443"/>
                </a:cxn>
                <a:cxn ang="0">
                  <a:pos x="117" y="431"/>
                </a:cxn>
                <a:cxn ang="0">
                  <a:pos x="112" y="409"/>
                </a:cxn>
                <a:cxn ang="0">
                  <a:pos x="110" y="397"/>
                </a:cxn>
                <a:cxn ang="0">
                  <a:pos x="106" y="383"/>
                </a:cxn>
                <a:cxn ang="0">
                  <a:pos x="100" y="376"/>
                </a:cxn>
                <a:cxn ang="0">
                  <a:pos x="93" y="385"/>
                </a:cxn>
                <a:cxn ang="0">
                  <a:pos x="79" y="388"/>
                </a:cxn>
                <a:cxn ang="0">
                  <a:pos x="69" y="392"/>
                </a:cxn>
                <a:cxn ang="0">
                  <a:pos x="59" y="381"/>
                </a:cxn>
                <a:cxn ang="0">
                  <a:pos x="62" y="369"/>
                </a:cxn>
                <a:cxn ang="0">
                  <a:pos x="65" y="356"/>
                </a:cxn>
                <a:cxn ang="0">
                  <a:pos x="76" y="351"/>
                </a:cxn>
                <a:cxn ang="0">
                  <a:pos x="71" y="337"/>
                </a:cxn>
                <a:cxn ang="0">
                  <a:pos x="74" y="325"/>
                </a:cxn>
                <a:cxn ang="0">
                  <a:pos x="77" y="320"/>
                </a:cxn>
                <a:cxn ang="0">
                  <a:pos x="84" y="296"/>
                </a:cxn>
                <a:cxn ang="0">
                  <a:pos x="91" y="284"/>
                </a:cxn>
                <a:cxn ang="0">
                  <a:pos x="88" y="269"/>
                </a:cxn>
                <a:cxn ang="0">
                  <a:pos x="74" y="264"/>
                </a:cxn>
                <a:cxn ang="0">
                  <a:pos x="64" y="258"/>
                </a:cxn>
                <a:cxn ang="0">
                  <a:pos x="57" y="246"/>
                </a:cxn>
                <a:cxn ang="0">
                  <a:pos x="53" y="228"/>
                </a:cxn>
                <a:cxn ang="0">
                  <a:pos x="45" y="212"/>
                </a:cxn>
                <a:cxn ang="0">
                  <a:pos x="35" y="192"/>
                </a:cxn>
                <a:cxn ang="0">
                  <a:pos x="21" y="182"/>
                </a:cxn>
                <a:cxn ang="0">
                  <a:pos x="9" y="168"/>
                </a:cxn>
                <a:cxn ang="0">
                  <a:pos x="16" y="163"/>
                </a:cxn>
                <a:cxn ang="0">
                  <a:pos x="16" y="146"/>
                </a:cxn>
                <a:cxn ang="0">
                  <a:pos x="11" y="127"/>
                </a:cxn>
                <a:cxn ang="0">
                  <a:pos x="2" y="108"/>
                </a:cxn>
                <a:cxn ang="0">
                  <a:pos x="115" y="19"/>
                </a:cxn>
                <a:cxn ang="0">
                  <a:pos x="484" y="82"/>
                </a:cxn>
                <a:cxn ang="0">
                  <a:pos x="870" y="127"/>
                </a:cxn>
                <a:cxn ang="0">
                  <a:pos x="855" y="303"/>
                </a:cxn>
                <a:cxn ang="0">
                  <a:pos x="843" y="457"/>
                </a:cxn>
                <a:cxn ang="0">
                  <a:pos x="756" y="546"/>
                </a:cxn>
                <a:cxn ang="0">
                  <a:pos x="489" y="515"/>
                </a:cxn>
                <a:cxn ang="0">
                  <a:pos x="306" y="487"/>
                </a:cxn>
                <a:cxn ang="0">
                  <a:pos x="293" y="537"/>
                </a:cxn>
                <a:cxn ang="0">
                  <a:pos x="288" y="525"/>
                </a:cxn>
                <a:cxn ang="0">
                  <a:pos x="282" y="515"/>
                </a:cxn>
                <a:cxn ang="0">
                  <a:pos x="276" y="515"/>
                </a:cxn>
              </a:cxnLst>
              <a:rect l="0" t="0" r="r" b="b"/>
              <a:pathLst>
                <a:path w="870" h="552">
                  <a:moveTo>
                    <a:pt x="271" y="513"/>
                  </a:moveTo>
                  <a:lnTo>
                    <a:pt x="269" y="515"/>
                  </a:lnTo>
                  <a:lnTo>
                    <a:pt x="271" y="516"/>
                  </a:lnTo>
                  <a:lnTo>
                    <a:pt x="271" y="520"/>
                  </a:lnTo>
                  <a:lnTo>
                    <a:pt x="269" y="520"/>
                  </a:lnTo>
                  <a:lnTo>
                    <a:pt x="267" y="520"/>
                  </a:lnTo>
                  <a:lnTo>
                    <a:pt x="267" y="523"/>
                  </a:lnTo>
                  <a:lnTo>
                    <a:pt x="265" y="525"/>
                  </a:lnTo>
                  <a:lnTo>
                    <a:pt x="265" y="530"/>
                  </a:lnTo>
                  <a:lnTo>
                    <a:pt x="269" y="530"/>
                  </a:lnTo>
                  <a:lnTo>
                    <a:pt x="269" y="532"/>
                  </a:lnTo>
                  <a:lnTo>
                    <a:pt x="267" y="532"/>
                  </a:lnTo>
                  <a:lnTo>
                    <a:pt x="265" y="532"/>
                  </a:lnTo>
                  <a:lnTo>
                    <a:pt x="260" y="528"/>
                  </a:lnTo>
                  <a:lnTo>
                    <a:pt x="257" y="528"/>
                  </a:lnTo>
                  <a:lnTo>
                    <a:pt x="252" y="527"/>
                  </a:lnTo>
                  <a:lnTo>
                    <a:pt x="248" y="528"/>
                  </a:lnTo>
                  <a:lnTo>
                    <a:pt x="245" y="530"/>
                  </a:lnTo>
                  <a:lnTo>
                    <a:pt x="243" y="528"/>
                  </a:lnTo>
                  <a:lnTo>
                    <a:pt x="241" y="530"/>
                  </a:lnTo>
                  <a:lnTo>
                    <a:pt x="238" y="525"/>
                  </a:lnTo>
                  <a:lnTo>
                    <a:pt x="233" y="523"/>
                  </a:lnTo>
                  <a:lnTo>
                    <a:pt x="229" y="525"/>
                  </a:lnTo>
                  <a:lnTo>
                    <a:pt x="226" y="525"/>
                  </a:lnTo>
                  <a:lnTo>
                    <a:pt x="224" y="525"/>
                  </a:lnTo>
                  <a:lnTo>
                    <a:pt x="223" y="525"/>
                  </a:lnTo>
                  <a:lnTo>
                    <a:pt x="219" y="525"/>
                  </a:lnTo>
                  <a:lnTo>
                    <a:pt x="218" y="523"/>
                  </a:lnTo>
                  <a:lnTo>
                    <a:pt x="212" y="523"/>
                  </a:lnTo>
                  <a:lnTo>
                    <a:pt x="211" y="522"/>
                  </a:lnTo>
                  <a:lnTo>
                    <a:pt x="211" y="520"/>
                  </a:lnTo>
                  <a:lnTo>
                    <a:pt x="209" y="518"/>
                  </a:lnTo>
                  <a:lnTo>
                    <a:pt x="206" y="520"/>
                  </a:lnTo>
                  <a:lnTo>
                    <a:pt x="202" y="522"/>
                  </a:lnTo>
                  <a:lnTo>
                    <a:pt x="200" y="525"/>
                  </a:lnTo>
                  <a:lnTo>
                    <a:pt x="199" y="528"/>
                  </a:lnTo>
                  <a:lnTo>
                    <a:pt x="194" y="528"/>
                  </a:lnTo>
                  <a:lnTo>
                    <a:pt x="192" y="525"/>
                  </a:lnTo>
                  <a:lnTo>
                    <a:pt x="188" y="527"/>
                  </a:lnTo>
                  <a:lnTo>
                    <a:pt x="185" y="523"/>
                  </a:lnTo>
                  <a:lnTo>
                    <a:pt x="177" y="522"/>
                  </a:lnTo>
                  <a:lnTo>
                    <a:pt x="173" y="520"/>
                  </a:lnTo>
                  <a:lnTo>
                    <a:pt x="171" y="520"/>
                  </a:lnTo>
                  <a:lnTo>
                    <a:pt x="168" y="522"/>
                  </a:lnTo>
                  <a:lnTo>
                    <a:pt x="166" y="523"/>
                  </a:lnTo>
                  <a:lnTo>
                    <a:pt x="163" y="527"/>
                  </a:lnTo>
                  <a:lnTo>
                    <a:pt x="163" y="528"/>
                  </a:lnTo>
                  <a:lnTo>
                    <a:pt x="163" y="532"/>
                  </a:lnTo>
                  <a:lnTo>
                    <a:pt x="161" y="534"/>
                  </a:lnTo>
                  <a:lnTo>
                    <a:pt x="159" y="530"/>
                  </a:lnTo>
                  <a:lnTo>
                    <a:pt x="158" y="528"/>
                  </a:lnTo>
                  <a:lnTo>
                    <a:pt x="154" y="527"/>
                  </a:lnTo>
                  <a:lnTo>
                    <a:pt x="151" y="522"/>
                  </a:lnTo>
                  <a:lnTo>
                    <a:pt x="149" y="522"/>
                  </a:lnTo>
                  <a:lnTo>
                    <a:pt x="151" y="520"/>
                  </a:lnTo>
                  <a:lnTo>
                    <a:pt x="149" y="516"/>
                  </a:lnTo>
                  <a:lnTo>
                    <a:pt x="151" y="515"/>
                  </a:lnTo>
                  <a:lnTo>
                    <a:pt x="149" y="511"/>
                  </a:lnTo>
                  <a:lnTo>
                    <a:pt x="149" y="510"/>
                  </a:lnTo>
                  <a:lnTo>
                    <a:pt x="147" y="506"/>
                  </a:lnTo>
                  <a:lnTo>
                    <a:pt x="149" y="501"/>
                  </a:lnTo>
                  <a:lnTo>
                    <a:pt x="149" y="496"/>
                  </a:lnTo>
                  <a:lnTo>
                    <a:pt x="147" y="493"/>
                  </a:lnTo>
                  <a:lnTo>
                    <a:pt x="147" y="491"/>
                  </a:lnTo>
                  <a:lnTo>
                    <a:pt x="146" y="489"/>
                  </a:lnTo>
                  <a:lnTo>
                    <a:pt x="146" y="486"/>
                  </a:lnTo>
                  <a:lnTo>
                    <a:pt x="139" y="479"/>
                  </a:lnTo>
                  <a:lnTo>
                    <a:pt x="139" y="479"/>
                  </a:lnTo>
                  <a:lnTo>
                    <a:pt x="134" y="481"/>
                  </a:lnTo>
                  <a:lnTo>
                    <a:pt x="132" y="481"/>
                  </a:lnTo>
                  <a:lnTo>
                    <a:pt x="130" y="477"/>
                  </a:lnTo>
                  <a:lnTo>
                    <a:pt x="127" y="474"/>
                  </a:lnTo>
                  <a:lnTo>
                    <a:pt x="125" y="472"/>
                  </a:lnTo>
                  <a:lnTo>
                    <a:pt x="122" y="463"/>
                  </a:lnTo>
                  <a:lnTo>
                    <a:pt x="124" y="462"/>
                  </a:lnTo>
                  <a:lnTo>
                    <a:pt x="125" y="462"/>
                  </a:lnTo>
                  <a:lnTo>
                    <a:pt x="127" y="462"/>
                  </a:lnTo>
                  <a:lnTo>
                    <a:pt x="129" y="457"/>
                  </a:lnTo>
                  <a:lnTo>
                    <a:pt x="127" y="453"/>
                  </a:lnTo>
                  <a:lnTo>
                    <a:pt x="129" y="452"/>
                  </a:lnTo>
                  <a:lnTo>
                    <a:pt x="125" y="450"/>
                  </a:lnTo>
                  <a:lnTo>
                    <a:pt x="125" y="448"/>
                  </a:lnTo>
                  <a:lnTo>
                    <a:pt x="124" y="446"/>
                  </a:lnTo>
                  <a:lnTo>
                    <a:pt x="125" y="445"/>
                  </a:lnTo>
                  <a:lnTo>
                    <a:pt x="122" y="443"/>
                  </a:lnTo>
                  <a:lnTo>
                    <a:pt x="120" y="443"/>
                  </a:lnTo>
                  <a:lnTo>
                    <a:pt x="122" y="441"/>
                  </a:lnTo>
                  <a:lnTo>
                    <a:pt x="120" y="438"/>
                  </a:lnTo>
                  <a:lnTo>
                    <a:pt x="120" y="434"/>
                  </a:lnTo>
                  <a:lnTo>
                    <a:pt x="117" y="431"/>
                  </a:lnTo>
                  <a:lnTo>
                    <a:pt x="115" y="426"/>
                  </a:lnTo>
                  <a:lnTo>
                    <a:pt x="115" y="424"/>
                  </a:lnTo>
                  <a:lnTo>
                    <a:pt x="112" y="419"/>
                  </a:lnTo>
                  <a:lnTo>
                    <a:pt x="113" y="412"/>
                  </a:lnTo>
                  <a:lnTo>
                    <a:pt x="112" y="409"/>
                  </a:lnTo>
                  <a:lnTo>
                    <a:pt x="112" y="405"/>
                  </a:lnTo>
                  <a:lnTo>
                    <a:pt x="113" y="402"/>
                  </a:lnTo>
                  <a:lnTo>
                    <a:pt x="113" y="399"/>
                  </a:lnTo>
                  <a:lnTo>
                    <a:pt x="113" y="397"/>
                  </a:lnTo>
                  <a:lnTo>
                    <a:pt x="110" y="397"/>
                  </a:lnTo>
                  <a:lnTo>
                    <a:pt x="113" y="390"/>
                  </a:lnTo>
                  <a:lnTo>
                    <a:pt x="112" y="388"/>
                  </a:lnTo>
                  <a:lnTo>
                    <a:pt x="110" y="387"/>
                  </a:lnTo>
                  <a:lnTo>
                    <a:pt x="106" y="385"/>
                  </a:lnTo>
                  <a:lnTo>
                    <a:pt x="106" y="383"/>
                  </a:lnTo>
                  <a:lnTo>
                    <a:pt x="105" y="381"/>
                  </a:lnTo>
                  <a:lnTo>
                    <a:pt x="105" y="380"/>
                  </a:lnTo>
                  <a:lnTo>
                    <a:pt x="103" y="378"/>
                  </a:lnTo>
                  <a:lnTo>
                    <a:pt x="103" y="376"/>
                  </a:lnTo>
                  <a:lnTo>
                    <a:pt x="100" y="376"/>
                  </a:lnTo>
                  <a:lnTo>
                    <a:pt x="98" y="378"/>
                  </a:lnTo>
                  <a:lnTo>
                    <a:pt x="98" y="380"/>
                  </a:lnTo>
                  <a:lnTo>
                    <a:pt x="98" y="381"/>
                  </a:lnTo>
                  <a:lnTo>
                    <a:pt x="94" y="381"/>
                  </a:lnTo>
                  <a:lnTo>
                    <a:pt x="93" y="385"/>
                  </a:lnTo>
                  <a:lnTo>
                    <a:pt x="89" y="387"/>
                  </a:lnTo>
                  <a:lnTo>
                    <a:pt x="88" y="388"/>
                  </a:lnTo>
                  <a:lnTo>
                    <a:pt x="84" y="388"/>
                  </a:lnTo>
                  <a:lnTo>
                    <a:pt x="83" y="390"/>
                  </a:lnTo>
                  <a:lnTo>
                    <a:pt x="79" y="388"/>
                  </a:lnTo>
                  <a:lnTo>
                    <a:pt x="77" y="392"/>
                  </a:lnTo>
                  <a:lnTo>
                    <a:pt x="77" y="393"/>
                  </a:lnTo>
                  <a:lnTo>
                    <a:pt x="72" y="395"/>
                  </a:lnTo>
                  <a:lnTo>
                    <a:pt x="71" y="395"/>
                  </a:lnTo>
                  <a:lnTo>
                    <a:pt x="69" y="392"/>
                  </a:lnTo>
                  <a:lnTo>
                    <a:pt x="65" y="390"/>
                  </a:lnTo>
                  <a:lnTo>
                    <a:pt x="65" y="387"/>
                  </a:lnTo>
                  <a:lnTo>
                    <a:pt x="64" y="385"/>
                  </a:lnTo>
                  <a:lnTo>
                    <a:pt x="60" y="383"/>
                  </a:lnTo>
                  <a:lnTo>
                    <a:pt x="59" y="381"/>
                  </a:lnTo>
                  <a:lnTo>
                    <a:pt x="55" y="383"/>
                  </a:lnTo>
                  <a:lnTo>
                    <a:pt x="59" y="378"/>
                  </a:lnTo>
                  <a:lnTo>
                    <a:pt x="57" y="375"/>
                  </a:lnTo>
                  <a:lnTo>
                    <a:pt x="62" y="373"/>
                  </a:lnTo>
                  <a:lnTo>
                    <a:pt x="62" y="369"/>
                  </a:lnTo>
                  <a:lnTo>
                    <a:pt x="64" y="368"/>
                  </a:lnTo>
                  <a:lnTo>
                    <a:pt x="62" y="364"/>
                  </a:lnTo>
                  <a:lnTo>
                    <a:pt x="62" y="363"/>
                  </a:lnTo>
                  <a:lnTo>
                    <a:pt x="60" y="361"/>
                  </a:lnTo>
                  <a:lnTo>
                    <a:pt x="65" y="356"/>
                  </a:lnTo>
                  <a:lnTo>
                    <a:pt x="67" y="352"/>
                  </a:lnTo>
                  <a:lnTo>
                    <a:pt x="69" y="354"/>
                  </a:lnTo>
                  <a:lnTo>
                    <a:pt x="71" y="352"/>
                  </a:lnTo>
                  <a:lnTo>
                    <a:pt x="74" y="354"/>
                  </a:lnTo>
                  <a:lnTo>
                    <a:pt x="76" y="351"/>
                  </a:lnTo>
                  <a:lnTo>
                    <a:pt x="74" y="347"/>
                  </a:lnTo>
                  <a:lnTo>
                    <a:pt x="74" y="346"/>
                  </a:lnTo>
                  <a:lnTo>
                    <a:pt x="76" y="342"/>
                  </a:lnTo>
                  <a:lnTo>
                    <a:pt x="76" y="340"/>
                  </a:lnTo>
                  <a:lnTo>
                    <a:pt x="71" y="337"/>
                  </a:lnTo>
                  <a:lnTo>
                    <a:pt x="72" y="335"/>
                  </a:lnTo>
                  <a:lnTo>
                    <a:pt x="71" y="334"/>
                  </a:lnTo>
                  <a:lnTo>
                    <a:pt x="74" y="332"/>
                  </a:lnTo>
                  <a:lnTo>
                    <a:pt x="74" y="328"/>
                  </a:lnTo>
                  <a:lnTo>
                    <a:pt x="74" y="325"/>
                  </a:lnTo>
                  <a:lnTo>
                    <a:pt x="72" y="323"/>
                  </a:lnTo>
                  <a:lnTo>
                    <a:pt x="71" y="322"/>
                  </a:lnTo>
                  <a:lnTo>
                    <a:pt x="72" y="320"/>
                  </a:lnTo>
                  <a:lnTo>
                    <a:pt x="76" y="320"/>
                  </a:lnTo>
                  <a:lnTo>
                    <a:pt x="77" y="320"/>
                  </a:lnTo>
                  <a:lnTo>
                    <a:pt x="79" y="313"/>
                  </a:lnTo>
                  <a:lnTo>
                    <a:pt x="77" y="311"/>
                  </a:lnTo>
                  <a:lnTo>
                    <a:pt x="77" y="310"/>
                  </a:lnTo>
                  <a:lnTo>
                    <a:pt x="81" y="308"/>
                  </a:lnTo>
                  <a:lnTo>
                    <a:pt x="84" y="296"/>
                  </a:lnTo>
                  <a:lnTo>
                    <a:pt x="86" y="296"/>
                  </a:lnTo>
                  <a:lnTo>
                    <a:pt x="88" y="293"/>
                  </a:lnTo>
                  <a:lnTo>
                    <a:pt x="86" y="286"/>
                  </a:lnTo>
                  <a:lnTo>
                    <a:pt x="91" y="286"/>
                  </a:lnTo>
                  <a:lnTo>
                    <a:pt x="91" y="284"/>
                  </a:lnTo>
                  <a:lnTo>
                    <a:pt x="93" y="277"/>
                  </a:lnTo>
                  <a:lnTo>
                    <a:pt x="96" y="274"/>
                  </a:lnTo>
                  <a:lnTo>
                    <a:pt x="96" y="270"/>
                  </a:lnTo>
                  <a:lnTo>
                    <a:pt x="93" y="269"/>
                  </a:lnTo>
                  <a:lnTo>
                    <a:pt x="88" y="269"/>
                  </a:lnTo>
                  <a:lnTo>
                    <a:pt x="84" y="270"/>
                  </a:lnTo>
                  <a:lnTo>
                    <a:pt x="81" y="269"/>
                  </a:lnTo>
                  <a:lnTo>
                    <a:pt x="74" y="269"/>
                  </a:lnTo>
                  <a:lnTo>
                    <a:pt x="72" y="265"/>
                  </a:lnTo>
                  <a:lnTo>
                    <a:pt x="74" y="264"/>
                  </a:lnTo>
                  <a:lnTo>
                    <a:pt x="76" y="262"/>
                  </a:lnTo>
                  <a:lnTo>
                    <a:pt x="72" y="257"/>
                  </a:lnTo>
                  <a:lnTo>
                    <a:pt x="71" y="257"/>
                  </a:lnTo>
                  <a:lnTo>
                    <a:pt x="65" y="260"/>
                  </a:lnTo>
                  <a:lnTo>
                    <a:pt x="64" y="258"/>
                  </a:lnTo>
                  <a:lnTo>
                    <a:pt x="65" y="253"/>
                  </a:lnTo>
                  <a:lnTo>
                    <a:pt x="64" y="252"/>
                  </a:lnTo>
                  <a:lnTo>
                    <a:pt x="62" y="250"/>
                  </a:lnTo>
                  <a:lnTo>
                    <a:pt x="60" y="248"/>
                  </a:lnTo>
                  <a:lnTo>
                    <a:pt x="57" y="246"/>
                  </a:lnTo>
                  <a:lnTo>
                    <a:pt x="55" y="240"/>
                  </a:lnTo>
                  <a:lnTo>
                    <a:pt x="57" y="236"/>
                  </a:lnTo>
                  <a:lnTo>
                    <a:pt x="59" y="234"/>
                  </a:lnTo>
                  <a:lnTo>
                    <a:pt x="55" y="233"/>
                  </a:lnTo>
                  <a:lnTo>
                    <a:pt x="53" y="228"/>
                  </a:lnTo>
                  <a:lnTo>
                    <a:pt x="52" y="228"/>
                  </a:lnTo>
                  <a:lnTo>
                    <a:pt x="50" y="226"/>
                  </a:lnTo>
                  <a:lnTo>
                    <a:pt x="48" y="221"/>
                  </a:lnTo>
                  <a:lnTo>
                    <a:pt x="47" y="216"/>
                  </a:lnTo>
                  <a:lnTo>
                    <a:pt x="45" y="212"/>
                  </a:lnTo>
                  <a:lnTo>
                    <a:pt x="43" y="211"/>
                  </a:lnTo>
                  <a:lnTo>
                    <a:pt x="43" y="209"/>
                  </a:lnTo>
                  <a:lnTo>
                    <a:pt x="36" y="200"/>
                  </a:lnTo>
                  <a:lnTo>
                    <a:pt x="36" y="193"/>
                  </a:lnTo>
                  <a:lnTo>
                    <a:pt x="35" y="192"/>
                  </a:lnTo>
                  <a:lnTo>
                    <a:pt x="31" y="190"/>
                  </a:lnTo>
                  <a:lnTo>
                    <a:pt x="30" y="188"/>
                  </a:lnTo>
                  <a:lnTo>
                    <a:pt x="24" y="187"/>
                  </a:lnTo>
                  <a:lnTo>
                    <a:pt x="23" y="187"/>
                  </a:lnTo>
                  <a:lnTo>
                    <a:pt x="21" y="182"/>
                  </a:lnTo>
                  <a:lnTo>
                    <a:pt x="19" y="176"/>
                  </a:lnTo>
                  <a:lnTo>
                    <a:pt x="16" y="175"/>
                  </a:lnTo>
                  <a:lnTo>
                    <a:pt x="16" y="173"/>
                  </a:lnTo>
                  <a:lnTo>
                    <a:pt x="9" y="170"/>
                  </a:lnTo>
                  <a:lnTo>
                    <a:pt x="9" y="168"/>
                  </a:lnTo>
                  <a:lnTo>
                    <a:pt x="11" y="166"/>
                  </a:lnTo>
                  <a:lnTo>
                    <a:pt x="18" y="168"/>
                  </a:lnTo>
                  <a:lnTo>
                    <a:pt x="18" y="166"/>
                  </a:lnTo>
                  <a:lnTo>
                    <a:pt x="19" y="164"/>
                  </a:lnTo>
                  <a:lnTo>
                    <a:pt x="16" y="163"/>
                  </a:lnTo>
                  <a:lnTo>
                    <a:pt x="16" y="159"/>
                  </a:lnTo>
                  <a:lnTo>
                    <a:pt x="12" y="158"/>
                  </a:lnTo>
                  <a:lnTo>
                    <a:pt x="18" y="152"/>
                  </a:lnTo>
                  <a:lnTo>
                    <a:pt x="18" y="149"/>
                  </a:lnTo>
                  <a:lnTo>
                    <a:pt x="16" y="146"/>
                  </a:lnTo>
                  <a:lnTo>
                    <a:pt x="18" y="141"/>
                  </a:lnTo>
                  <a:lnTo>
                    <a:pt x="14" y="139"/>
                  </a:lnTo>
                  <a:lnTo>
                    <a:pt x="14" y="135"/>
                  </a:lnTo>
                  <a:lnTo>
                    <a:pt x="11" y="132"/>
                  </a:lnTo>
                  <a:lnTo>
                    <a:pt x="11" y="127"/>
                  </a:lnTo>
                  <a:lnTo>
                    <a:pt x="11" y="125"/>
                  </a:lnTo>
                  <a:lnTo>
                    <a:pt x="7" y="123"/>
                  </a:lnTo>
                  <a:lnTo>
                    <a:pt x="6" y="120"/>
                  </a:lnTo>
                  <a:lnTo>
                    <a:pt x="2" y="113"/>
                  </a:lnTo>
                  <a:lnTo>
                    <a:pt x="2" y="108"/>
                  </a:lnTo>
                  <a:lnTo>
                    <a:pt x="0" y="106"/>
                  </a:lnTo>
                  <a:lnTo>
                    <a:pt x="6" y="82"/>
                  </a:lnTo>
                  <a:lnTo>
                    <a:pt x="12" y="52"/>
                  </a:lnTo>
                  <a:lnTo>
                    <a:pt x="23" y="0"/>
                  </a:lnTo>
                  <a:lnTo>
                    <a:pt x="115" y="19"/>
                  </a:lnTo>
                  <a:lnTo>
                    <a:pt x="163" y="29"/>
                  </a:lnTo>
                  <a:lnTo>
                    <a:pt x="294" y="53"/>
                  </a:lnTo>
                  <a:lnTo>
                    <a:pt x="358" y="64"/>
                  </a:lnTo>
                  <a:lnTo>
                    <a:pt x="395" y="69"/>
                  </a:lnTo>
                  <a:lnTo>
                    <a:pt x="484" y="82"/>
                  </a:lnTo>
                  <a:lnTo>
                    <a:pt x="571" y="94"/>
                  </a:lnTo>
                  <a:lnTo>
                    <a:pt x="648" y="105"/>
                  </a:lnTo>
                  <a:lnTo>
                    <a:pt x="723" y="113"/>
                  </a:lnTo>
                  <a:lnTo>
                    <a:pt x="799" y="120"/>
                  </a:lnTo>
                  <a:lnTo>
                    <a:pt x="870" y="127"/>
                  </a:lnTo>
                  <a:lnTo>
                    <a:pt x="867" y="164"/>
                  </a:lnTo>
                  <a:lnTo>
                    <a:pt x="865" y="192"/>
                  </a:lnTo>
                  <a:lnTo>
                    <a:pt x="862" y="233"/>
                  </a:lnTo>
                  <a:lnTo>
                    <a:pt x="857" y="296"/>
                  </a:lnTo>
                  <a:lnTo>
                    <a:pt x="855" y="303"/>
                  </a:lnTo>
                  <a:lnTo>
                    <a:pt x="850" y="376"/>
                  </a:lnTo>
                  <a:lnTo>
                    <a:pt x="848" y="387"/>
                  </a:lnTo>
                  <a:lnTo>
                    <a:pt x="846" y="416"/>
                  </a:lnTo>
                  <a:lnTo>
                    <a:pt x="843" y="452"/>
                  </a:lnTo>
                  <a:lnTo>
                    <a:pt x="843" y="457"/>
                  </a:lnTo>
                  <a:lnTo>
                    <a:pt x="836" y="528"/>
                  </a:lnTo>
                  <a:lnTo>
                    <a:pt x="835" y="552"/>
                  </a:lnTo>
                  <a:lnTo>
                    <a:pt x="833" y="552"/>
                  </a:lnTo>
                  <a:lnTo>
                    <a:pt x="759" y="546"/>
                  </a:lnTo>
                  <a:lnTo>
                    <a:pt x="756" y="546"/>
                  </a:lnTo>
                  <a:lnTo>
                    <a:pt x="686" y="539"/>
                  </a:lnTo>
                  <a:lnTo>
                    <a:pt x="667" y="535"/>
                  </a:lnTo>
                  <a:lnTo>
                    <a:pt x="544" y="522"/>
                  </a:lnTo>
                  <a:lnTo>
                    <a:pt x="517" y="518"/>
                  </a:lnTo>
                  <a:lnTo>
                    <a:pt x="489" y="515"/>
                  </a:lnTo>
                  <a:lnTo>
                    <a:pt x="400" y="501"/>
                  </a:lnTo>
                  <a:lnTo>
                    <a:pt x="387" y="499"/>
                  </a:lnTo>
                  <a:lnTo>
                    <a:pt x="356" y="496"/>
                  </a:lnTo>
                  <a:lnTo>
                    <a:pt x="353" y="496"/>
                  </a:lnTo>
                  <a:lnTo>
                    <a:pt x="306" y="487"/>
                  </a:lnTo>
                  <a:lnTo>
                    <a:pt x="301" y="523"/>
                  </a:lnTo>
                  <a:lnTo>
                    <a:pt x="298" y="544"/>
                  </a:lnTo>
                  <a:lnTo>
                    <a:pt x="294" y="542"/>
                  </a:lnTo>
                  <a:lnTo>
                    <a:pt x="293" y="539"/>
                  </a:lnTo>
                  <a:lnTo>
                    <a:pt x="293" y="537"/>
                  </a:lnTo>
                  <a:lnTo>
                    <a:pt x="291" y="534"/>
                  </a:lnTo>
                  <a:lnTo>
                    <a:pt x="289" y="532"/>
                  </a:lnTo>
                  <a:lnTo>
                    <a:pt x="288" y="530"/>
                  </a:lnTo>
                  <a:lnTo>
                    <a:pt x="286" y="527"/>
                  </a:lnTo>
                  <a:lnTo>
                    <a:pt x="288" y="525"/>
                  </a:lnTo>
                  <a:lnTo>
                    <a:pt x="288" y="525"/>
                  </a:lnTo>
                  <a:lnTo>
                    <a:pt x="284" y="523"/>
                  </a:lnTo>
                  <a:lnTo>
                    <a:pt x="284" y="520"/>
                  </a:lnTo>
                  <a:lnTo>
                    <a:pt x="282" y="518"/>
                  </a:lnTo>
                  <a:lnTo>
                    <a:pt x="282" y="515"/>
                  </a:lnTo>
                  <a:lnTo>
                    <a:pt x="282" y="513"/>
                  </a:lnTo>
                  <a:lnTo>
                    <a:pt x="279" y="513"/>
                  </a:lnTo>
                  <a:lnTo>
                    <a:pt x="279" y="510"/>
                  </a:lnTo>
                  <a:lnTo>
                    <a:pt x="277" y="511"/>
                  </a:lnTo>
                  <a:lnTo>
                    <a:pt x="276" y="515"/>
                  </a:lnTo>
                  <a:lnTo>
                    <a:pt x="272" y="513"/>
                  </a:lnTo>
                  <a:lnTo>
                    <a:pt x="271" y="513"/>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12" name="Freeform 8">
              <a:extLst>
                <a:ext uri="{FF2B5EF4-FFF2-40B4-BE49-F238E27FC236}">
                  <a16:creationId xmlns:a16="http://schemas.microsoft.com/office/drawing/2014/main" id="{D2F1B514-CB57-4014-A7D3-F60E8E4934F8}"/>
                </a:ext>
              </a:extLst>
            </p:cNvPr>
            <p:cNvSpPr>
              <a:spLocks noEditPoints="1"/>
            </p:cNvSpPr>
            <p:nvPr/>
          </p:nvSpPr>
          <p:spPr bwMode="gray">
            <a:xfrm>
              <a:off x="8261710" y="1838335"/>
              <a:ext cx="505622" cy="787418"/>
            </a:xfrm>
            <a:custGeom>
              <a:avLst/>
              <a:gdLst/>
              <a:ahLst/>
              <a:cxnLst>
                <a:cxn ang="0">
                  <a:pos x="140" y="402"/>
                </a:cxn>
                <a:cxn ang="0">
                  <a:pos x="133" y="395"/>
                </a:cxn>
                <a:cxn ang="0">
                  <a:pos x="126" y="405"/>
                </a:cxn>
                <a:cxn ang="0">
                  <a:pos x="120" y="398"/>
                </a:cxn>
                <a:cxn ang="0">
                  <a:pos x="113" y="431"/>
                </a:cxn>
                <a:cxn ang="0">
                  <a:pos x="102" y="458"/>
                </a:cxn>
                <a:cxn ang="0">
                  <a:pos x="82" y="489"/>
                </a:cxn>
                <a:cxn ang="0">
                  <a:pos x="70" y="475"/>
                </a:cxn>
                <a:cxn ang="0">
                  <a:pos x="61" y="465"/>
                </a:cxn>
                <a:cxn ang="0">
                  <a:pos x="60" y="451"/>
                </a:cxn>
                <a:cxn ang="0">
                  <a:pos x="58" y="446"/>
                </a:cxn>
                <a:cxn ang="0">
                  <a:pos x="34" y="373"/>
                </a:cxn>
                <a:cxn ang="0">
                  <a:pos x="8" y="263"/>
                </a:cxn>
                <a:cxn ang="0">
                  <a:pos x="19" y="258"/>
                </a:cxn>
                <a:cxn ang="0">
                  <a:pos x="31" y="251"/>
                </a:cxn>
                <a:cxn ang="0">
                  <a:pos x="39" y="212"/>
                </a:cxn>
                <a:cxn ang="0">
                  <a:pos x="43" y="186"/>
                </a:cxn>
                <a:cxn ang="0">
                  <a:pos x="36" y="174"/>
                </a:cxn>
                <a:cxn ang="0">
                  <a:pos x="36" y="144"/>
                </a:cxn>
                <a:cxn ang="0">
                  <a:pos x="41" y="104"/>
                </a:cxn>
                <a:cxn ang="0">
                  <a:pos x="90" y="26"/>
                </a:cxn>
                <a:cxn ang="0">
                  <a:pos x="137" y="10"/>
                </a:cxn>
                <a:cxn ang="0">
                  <a:pos x="184" y="21"/>
                </a:cxn>
                <a:cxn ang="0">
                  <a:pos x="222" y="142"/>
                </a:cxn>
                <a:cxn ang="0">
                  <a:pos x="227" y="162"/>
                </a:cxn>
                <a:cxn ang="0">
                  <a:pos x="243" y="166"/>
                </a:cxn>
                <a:cxn ang="0">
                  <a:pos x="255" y="174"/>
                </a:cxn>
                <a:cxn ang="0">
                  <a:pos x="268" y="203"/>
                </a:cxn>
                <a:cxn ang="0">
                  <a:pos x="290" y="202"/>
                </a:cxn>
                <a:cxn ang="0">
                  <a:pos x="299" y="226"/>
                </a:cxn>
                <a:cxn ang="0">
                  <a:pos x="304" y="253"/>
                </a:cxn>
                <a:cxn ang="0">
                  <a:pos x="278" y="267"/>
                </a:cxn>
                <a:cxn ang="0">
                  <a:pos x="260" y="280"/>
                </a:cxn>
                <a:cxn ang="0">
                  <a:pos x="253" y="286"/>
                </a:cxn>
                <a:cxn ang="0">
                  <a:pos x="248" y="301"/>
                </a:cxn>
                <a:cxn ang="0">
                  <a:pos x="225" y="303"/>
                </a:cxn>
                <a:cxn ang="0">
                  <a:pos x="217" y="320"/>
                </a:cxn>
                <a:cxn ang="0">
                  <a:pos x="195" y="323"/>
                </a:cxn>
                <a:cxn ang="0">
                  <a:pos x="193" y="297"/>
                </a:cxn>
                <a:cxn ang="0">
                  <a:pos x="183" y="294"/>
                </a:cxn>
                <a:cxn ang="0">
                  <a:pos x="181" y="315"/>
                </a:cxn>
                <a:cxn ang="0">
                  <a:pos x="184" y="356"/>
                </a:cxn>
                <a:cxn ang="0">
                  <a:pos x="166" y="366"/>
                </a:cxn>
                <a:cxn ang="0">
                  <a:pos x="152" y="390"/>
                </a:cxn>
                <a:cxn ang="0">
                  <a:pos x="145" y="369"/>
                </a:cxn>
                <a:cxn ang="0">
                  <a:pos x="143" y="398"/>
                </a:cxn>
                <a:cxn ang="0">
                  <a:pos x="131" y="374"/>
                </a:cxn>
                <a:cxn ang="0">
                  <a:pos x="225" y="308"/>
                </a:cxn>
                <a:cxn ang="0">
                  <a:pos x="234" y="299"/>
                </a:cxn>
                <a:cxn ang="0">
                  <a:pos x="234" y="323"/>
                </a:cxn>
              </a:cxnLst>
              <a:rect l="0" t="0" r="r" b="b"/>
              <a:pathLst>
                <a:path w="314" h="489">
                  <a:moveTo>
                    <a:pt x="131" y="369"/>
                  </a:moveTo>
                  <a:lnTo>
                    <a:pt x="128" y="380"/>
                  </a:lnTo>
                  <a:lnTo>
                    <a:pt x="140" y="402"/>
                  </a:lnTo>
                  <a:lnTo>
                    <a:pt x="138" y="407"/>
                  </a:lnTo>
                  <a:lnTo>
                    <a:pt x="137" y="405"/>
                  </a:lnTo>
                  <a:lnTo>
                    <a:pt x="133" y="395"/>
                  </a:lnTo>
                  <a:lnTo>
                    <a:pt x="130" y="391"/>
                  </a:lnTo>
                  <a:lnTo>
                    <a:pt x="131" y="402"/>
                  </a:lnTo>
                  <a:lnTo>
                    <a:pt x="126" y="405"/>
                  </a:lnTo>
                  <a:lnTo>
                    <a:pt x="123" y="403"/>
                  </a:lnTo>
                  <a:lnTo>
                    <a:pt x="123" y="397"/>
                  </a:lnTo>
                  <a:lnTo>
                    <a:pt x="120" y="398"/>
                  </a:lnTo>
                  <a:lnTo>
                    <a:pt x="113" y="407"/>
                  </a:lnTo>
                  <a:lnTo>
                    <a:pt x="109" y="419"/>
                  </a:lnTo>
                  <a:lnTo>
                    <a:pt x="113" y="431"/>
                  </a:lnTo>
                  <a:lnTo>
                    <a:pt x="106" y="438"/>
                  </a:lnTo>
                  <a:lnTo>
                    <a:pt x="106" y="448"/>
                  </a:lnTo>
                  <a:lnTo>
                    <a:pt x="102" y="458"/>
                  </a:lnTo>
                  <a:lnTo>
                    <a:pt x="96" y="462"/>
                  </a:lnTo>
                  <a:lnTo>
                    <a:pt x="94" y="489"/>
                  </a:lnTo>
                  <a:lnTo>
                    <a:pt x="82" y="489"/>
                  </a:lnTo>
                  <a:lnTo>
                    <a:pt x="80" y="485"/>
                  </a:lnTo>
                  <a:lnTo>
                    <a:pt x="78" y="477"/>
                  </a:lnTo>
                  <a:lnTo>
                    <a:pt x="70" y="475"/>
                  </a:lnTo>
                  <a:lnTo>
                    <a:pt x="70" y="474"/>
                  </a:lnTo>
                  <a:lnTo>
                    <a:pt x="63" y="467"/>
                  </a:lnTo>
                  <a:lnTo>
                    <a:pt x="61" y="465"/>
                  </a:lnTo>
                  <a:lnTo>
                    <a:pt x="61" y="460"/>
                  </a:lnTo>
                  <a:lnTo>
                    <a:pt x="60" y="456"/>
                  </a:lnTo>
                  <a:lnTo>
                    <a:pt x="60" y="451"/>
                  </a:lnTo>
                  <a:lnTo>
                    <a:pt x="60" y="450"/>
                  </a:lnTo>
                  <a:lnTo>
                    <a:pt x="60" y="448"/>
                  </a:lnTo>
                  <a:lnTo>
                    <a:pt x="58" y="446"/>
                  </a:lnTo>
                  <a:lnTo>
                    <a:pt x="56" y="446"/>
                  </a:lnTo>
                  <a:lnTo>
                    <a:pt x="49" y="424"/>
                  </a:lnTo>
                  <a:lnTo>
                    <a:pt x="34" y="373"/>
                  </a:lnTo>
                  <a:lnTo>
                    <a:pt x="22" y="333"/>
                  </a:lnTo>
                  <a:lnTo>
                    <a:pt x="0" y="268"/>
                  </a:lnTo>
                  <a:lnTo>
                    <a:pt x="8" y="263"/>
                  </a:lnTo>
                  <a:lnTo>
                    <a:pt x="19" y="272"/>
                  </a:lnTo>
                  <a:lnTo>
                    <a:pt x="19" y="267"/>
                  </a:lnTo>
                  <a:lnTo>
                    <a:pt x="19" y="258"/>
                  </a:lnTo>
                  <a:lnTo>
                    <a:pt x="17" y="255"/>
                  </a:lnTo>
                  <a:lnTo>
                    <a:pt x="19" y="250"/>
                  </a:lnTo>
                  <a:lnTo>
                    <a:pt x="31" y="251"/>
                  </a:lnTo>
                  <a:lnTo>
                    <a:pt x="22" y="239"/>
                  </a:lnTo>
                  <a:lnTo>
                    <a:pt x="29" y="221"/>
                  </a:lnTo>
                  <a:lnTo>
                    <a:pt x="39" y="212"/>
                  </a:lnTo>
                  <a:lnTo>
                    <a:pt x="36" y="205"/>
                  </a:lnTo>
                  <a:lnTo>
                    <a:pt x="44" y="190"/>
                  </a:lnTo>
                  <a:lnTo>
                    <a:pt x="43" y="186"/>
                  </a:lnTo>
                  <a:lnTo>
                    <a:pt x="37" y="185"/>
                  </a:lnTo>
                  <a:lnTo>
                    <a:pt x="37" y="174"/>
                  </a:lnTo>
                  <a:lnTo>
                    <a:pt x="36" y="174"/>
                  </a:lnTo>
                  <a:lnTo>
                    <a:pt x="39" y="166"/>
                  </a:lnTo>
                  <a:lnTo>
                    <a:pt x="34" y="161"/>
                  </a:lnTo>
                  <a:lnTo>
                    <a:pt x="36" y="144"/>
                  </a:lnTo>
                  <a:lnTo>
                    <a:pt x="44" y="132"/>
                  </a:lnTo>
                  <a:lnTo>
                    <a:pt x="43" y="116"/>
                  </a:lnTo>
                  <a:lnTo>
                    <a:pt x="41" y="104"/>
                  </a:lnTo>
                  <a:lnTo>
                    <a:pt x="72" y="10"/>
                  </a:lnTo>
                  <a:lnTo>
                    <a:pt x="85" y="10"/>
                  </a:lnTo>
                  <a:lnTo>
                    <a:pt x="90" y="26"/>
                  </a:lnTo>
                  <a:lnTo>
                    <a:pt x="104" y="31"/>
                  </a:lnTo>
                  <a:lnTo>
                    <a:pt x="126" y="12"/>
                  </a:lnTo>
                  <a:lnTo>
                    <a:pt x="137" y="10"/>
                  </a:lnTo>
                  <a:lnTo>
                    <a:pt x="138" y="2"/>
                  </a:lnTo>
                  <a:lnTo>
                    <a:pt x="145" y="0"/>
                  </a:lnTo>
                  <a:lnTo>
                    <a:pt x="184" y="21"/>
                  </a:lnTo>
                  <a:lnTo>
                    <a:pt x="220" y="133"/>
                  </a:lnTo>
                  <a:lnTo>
                    <a:pt x="224" y="137"/>
                  </a:lnTo>
                  <a:lnTo>
                    <a:pt x="222" y="142"/>
                  </a:lnTo>
                  <a:lnTo>
                    <a:pt x="225" y="145"/>
                  </a:lnTo>
                  <a:lnTo>
                    <a:pt x="224" y="151"/>
                  </a:lnTo>
                  <a:lnTo>
                    <a:pt x="227" y="162"/>
                  </a:lnTo>
                  <a:lnTo>
                    <a:pt x="232" y="162"/>
                  </a:lnTo>
                  <a:lnTo>
                    <a:pt x="234" y="159"/>
                  </a:lnTo>
                  <a:lnTo>
                    <a:pt x="243" y="166"/>
                  </a:lnTo>
                  <a:lnTo>
                    <a:pt x="256" y="162"/>
                  </a:lnTo>
                  <a:lnTo>
                    <a:pt x="261" y="171"/>
                  </a:lnTo>
                  <a:lnTo>
                    <a:pt x="255" y="174"/>
                  </a:lnTo>
                  <a:lnTo>
                    <a:pt x="265" y="185"/>
                  </a:lnTo>
                  <a:lnTo>
                    <a:pt x="263" y="195"/>
                  </a:lnTo>
                  <a:lnTo>
                    <a:pt x="268" y="203"/>
                  </a:lnTo>
                  <a:lnTo>
                    <a:pt x="278" y="209"/>
                  </a:lnTo>
                  <a:lnTo>
                    <a:pt x="282" y="200"/>
                  </a:lnTo>
                  <a:lnTo>
                    <a:pt x="290" y="202"/>
                  </a:lnTo>
                  <a:lnTo>
                    <a:pt x="292" y="203"/>
                  </a:lnTo>
                  <a:lnTo>
                    <a:pt x="304" y="219"/>
                  </a:lnTo>
                  <a:lnTo>
                    <a:pt x="299" y="226"/>
                  </a:lnTo>
                  <a:lnTo>
                    <a:pt x="314" y="231"/>
                  </a:lnTo>
                  <a:lnTo>
                    <a:pt x="313" y="236"/>
                  </a:lnTo>
                  <a:lnTo>
                    <a:pt x="304" y="253"/>
                  </a:lnTo>
                  <a:lnTo>
                    <a:pt x="296" y="256"/>
                  </a:lnTo>
                  <a:lnTo>
                    <a:pt x="289" y="253"/>
                  </a:lnTo>
                  <a:lnTo>
                    <a:pt x="278" y="267"/>
                  </a:lnTo>
                  <a:lnTo>
                    <a:pt x="277" y="275"/>
                  </a:lnTo>
                  <a:lnTo>
                    <a:pt x="261" y="277"/>
                  </a:lnTo>
                  <a:lnTo>
                    <a:pt x="260" y="280"/>
                  </a:lnTo>
                  <a:lnTo>
                    <a:pt x="258" y="289"/>
                  </a:lnTo>
                  <a:lnTo>
                    <a:pt x="253" y="289"/>
                  </a:lnTo>
                  <a:lnTo>
                    <a:pt x="253" y="286"/>
                  </a:lnTo>
                  <a:lnTo>
                    <a:pt x="251" y="289"/>
                  </a:lnTo>
                  <a:lnTo>
                    <a:pt x="253" y="299"/>
                  </a:lnTo>
                  <a:lnTo>
                    <a:pt x="248" y="301"/>
                  </a:lnTo>
                  <a:lnTo>
                    <a:pt x="241" y="292"/>
                  </a:lnTo>
                  <a:lnTo>
                    <a:pt x="232" y="294"/>
                  </a:lnTo>
                  <a:lnTo>
                    <a:pt x="225" y="303"/>
                  </a:lnTo>
                  <a:lnTo>
                    <a:pt x="219" y="301"/>
                  </a:lnTo>
                  <a:lnTo>
                    <a:pt x="212" y="309"/>
                  </a:lnTo>
                  <a:lnTo>
                    <a:pt x="217" y="320"/>
                  </a:lnTo>
                  <a:lnTo>
                    <a:pt x="217" y="325"/>
                  </a:lnTo>
                  <a:lnTo>
                    <a:pt x="200" y="320"/>
                  </a:lnTo>
                  <a:lnTo>
                    <a:pt x="195" y="323"/>
                  </a:lnTo>
                  <a:lnTo>
                    <a:pt x="193" y="315"/>
                  </a:lnTo>
                  <a:lnTo>
                    <a:pt x="195" y="303"/>
                  </a:lnTo>
                  <a:lnTo>
                    <a:pt x="193" y="297"/>
                  </a:lnTo>
                  <a:lnTo>
                    <a:pt x="186" y="294"/>
                  </a:lnTo>
                  <a:lnTo>
                    <a:pt x="184" y="289"/>
                  </a:lnTo>
                  <a:lnTo>
                    <a:pt x="183" y="294"/>
                  </a:lnTo>
                  <a:lnTo>
                    <a:pt x="188" y="297"/>
                  </a:lnTo>
                  <a:lnTo>
                    <a:pt x="191" y="306"/>
                  </a:lnTo>
                  <a:lnTo>
                    <a:pt x="181" y="315"/>
                  </a:lnTo>
                  <a:lnTo>
                    <a:pt x="184" y="332"/>
                  </a:lnTo>
                  <a:lnTo>
                    <a:pt x="183" y="335"/>
                  </a:lnTo>
                  <a:lnTo>
                    <a:pt x="184" y="356"/>
                  </a:lnTo>
                  <a:lnTo>
                    <a:pt x="178" y="371"/>
                  </a:lnTo>
                  <a:lnTo>
                    <a:pt x="171" y="373"/>
                  </a:lnTo>
                  <a:lnTo>
                    <a:pt x="166" y="366"/>
                  </a:lnTo>
                  <a:lnTo>
                    <a:pt x="162" y="366"/>
                  </a:lnTo>
                  <a:lnTo>
                    <a:pt x="159" y="383"/>
                  </a:lnTo>
                  <a:lnTo>
                    <a:pt x="152" y="390"/>
                  </a:lnTo>
                  <a:lnTo>
                    <a:pt x="147" y="390"/>
                  </a:lnTo>
                  <a:lnTo>
                    <a:pt x="143" y="376"/>
                  </a:lnTo>
                  <a:lnTo>
                    <a:pt x="145" y="369"/>
                  </a:lnTo>
                  <a:lnTo>
                    <a:pt x="140" y="383"/>
                  </a:lnTo>
                  <a:lnTo>
                    <a:pt x="140" y="388"/>
                  </a:lnTo>
                  <a:lnTo>
                    <a:pt x="143" y="398"/>
                  </a:lnTo>
                  <a:lnTo>
                    <a:pt x="143" y="402"/>
                  </a:lnTo>
                  <a:lnTo>
                    <a:pt x="140" y="398"/>
                  </a:lnTo>
                  <a:lnTo>
                    <a:pt x="131" y="374"/>
                  </a:lnTo>
                  <a:lnTo>
                    <a:pt x="133" y="373"/>
                  </a:lnTo>
                  <a:lnTo>
                    <a:pt x="131" y="369"/>
                  </a:lnTo>
                  <a:close/>
                  <a:moveTo>
                    <a:pt x="225" y="308"/>
                  </a:moveTo>
                  <a:lnTo>
                    <a:pt x="227" y="306"/>
                  </a:lnTo>
                  <a:lnTo>
                    <a:pt x="225" y="303"/>
                  </a:lnTo>
                  <a:lnTo>
                    <a:pt x="234" y="299"/>
                  </a:lnTo>
                  <a:lnTo>
                    <a:pt x="243" y="308"/>
                  </a:lnTo>
                  <a:lnTo>
                    <a:pt x="234" y="315"/>
                  </a:lnTo>
                  <a:lnTo>
                    <a:pt x="234" y="323"/>
                  </a:lnTo>
                  <a:lnTo>
                    <a:pt x="227" y="320"/>
                  </a:lnTo>
                  <a:lnTo>
                    <a:pt x="225" y="308"/>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13" name="Freeform 9">
              <a:extLst>
                <a:ext uri="{FF2B5EF4-FFF2-40B4-BE49-F238E27FC236}">
                  <a16:creationId xmlns:a16="http://schemas.microsoft.com/office/drawing/2014/main" id="{5B823001-3F3A-42E6-BCEC-E310DA348325}"/>
                </a:ext>
              </a:extLst>
            </p:cNvPr>
            <p:cNvSpPr>
              <a:spLocks/>
            </p:cNvSpPr>
            <p:nvPr/>
          </p:nvSpPr>
          <p:spPr bwMode="gray">
            <a:xfrm>
              <a:off x="4295636" y="1992920"/>
              <a:ext cx="903357" cy="563592"/>
            </a:xfrm>
            <a:custGeom>
              <a:avLst/>
              <a:gdLst/>
              <a:ahLst/>
              <a:cxnLst>
                <a:cxn ang="0">
                  <a:pos x="323" y="343"/>
                </a:cxn>
                <a:cxn ang="0">
                  <a:pos x="152" y="335"/>
                </a:cxn>
                <a:cxn ang="0">
                  <a:pos x="0" y="325"/>
                </a:cxn>
                <a:cxn ang="0">
                  <a:pos x="7" y="249"/>
                </a:cxn>
                <a:cxn ang="0">
                  <a:pos x="19" y="106"/>
                </a:cxn>
                <a:cxn ang="0">
                  <a:pos x="27" y="0"/>
                </a:cxn>
                <a:cxn ang="0">
                  <a:pos x="209" y="12"/>
                </a:cxn>
                <a:cxn ang="0">
                  <a:pos x="388" y="20"/>
                </a:cxn>
                <a:cxn ang="0">
                  <a:pos x="514" y="31"/>
                </a:cxn>
                <a:cxn ang="0">
                  <a:pos x="518" y="43"/>
                </a:cxn>
                <a:cxn ang="0">
                  <a:pos x="520" y="46"/>
                </a:cxn>
                <a:cxn ang="0">
                  <a:pos x="521" y="51"/>
                </a:cxn>
                <a:cxn ang="0">
                  <a:pos x="521" y="56"/>
                </a:cxn>
                <a:cxn ang="0">
                  <a:pos x="521" y="63"/>
                </a:cxn>
                <a:cxn ang="0">
                  <a:pos x="520" y="66"/>
                </a:cxn>
                <a:cxn ang="0">
                  <a:pos x="518" y="70"/>
                </a:cxn>
                <a:cxn ang="0">
                  <a:pos x="518" y="72"/>
                </a:cxn>
                <a:cxn ang="0">
                  <a:pos x="520" y="75"/>
                </a:cxn>
                <a:cxn ang="0">
                  <a:pos x="521" y="85"/>
                </a:cxn>
                <a:cxn ang="0">
                  <a:pos x="521" y="87"/>
                </a:cxn>
                <a:cxn ang="0">
                  <a:pos x="520" y="90"/>
                </a:cxn>
                <a:cxn ang="0">
                  <a:pos x="520" y="96"/>
                </a:cxn>
                <a:cxn ang="0">
                  <a:pos x="521" y="97"/>
                </a:cxn>
                <a:cxn ang="0">
                  <a:pos x="521" y="99"/>
                </a:cxn>
                <a:cxn ang="0">
                  <a:pos x="521" y="102"/>
                </a:cxn>
                <a:cxn ang="0">
                  <a:pos x="520" y="106"/>
                </a:cxn>
                <a:cxn ang="0">
                  <a:pos x="520" y="109"/>
                </a:cxn>
                <a:cxn ang="0">
                  <a:pos x="521" y="113"/>
                </a:cxn>
                <a:cxn ang="0">
                  <a:pos x="521" y="118"/>
                </a:cxn>
                <a:cxn ang="0">
                  <a:pos x="525" y="125"/>
                </a:cxn>
                <a:cxn ang="0">
                  <a:pos x="528" y="143"/>
                </a:cxn>
                <a:cxn ang="0">
                  <a:pos x="530" y="150"/>
                </a:cxn>
                <a:cxn ang="0">
                  <a:pos x="535" y="160"/>
                </a:cxn>
                <a:cxn ang="0">
                  <a:pos x="540" y="172"/>
                </a:cxn>
                <a:cxn ang="0">
                  <a:pos x="538" y="181"/>
                </a:cxn>
                <a:cxn ang="0">
                  <a:pos x="538" y="190"/>
                </a:cxn>
                <a:cxn ang="0">
                  <a:pos x="540" y="195"/>
                </a:cxn>
                <a:cxn ang="0">
                  <a:pos x="540" y="203"/>
                </a:cxn>
                <a:cxn ang="0">
                  <a:pos x="540" y="210"/>
                </a:cxn>
                <a:cxn ang="0">
                  <a:pos x="542" y="227"/>
                </a:cxn>
                <a:cxn ang="0">
                  <a:pos x="540" y="236"/>
                </a:cxn>
                <a:cxn ang="0">
                  <a:pos x="544" y="239"/>
                </a:cxn>
                <a:cxn ang="0">
                  <a:pos x="544" y="244"/>
                </a:cxn>
                <a:cxn ang="0">
                  <a:pos x="545" y="251"/>
                </a:cxn>
                <a:cxn ang="0">
                  <a:pos x="544" y="261"/>
                </a:cxn>
                <a:cxn ang="0">
                  <a:pos x="544" y="277"/>
                </a:cxn>
                <a:cxn ang="0">
                  <a:pos x="547" y="280"/>
                </a:cxn>
                <a:cxn ang="0">
                  <a:pos x="549" y="297"/>
                </a:cxn>
                <a:cxn ang="0">
                  <a:pos x="556" y="306"/>
                </a:cxn>
                <a:cxn ang="0">
                  <a:pos x="559" y="321"/>
                </a:cxn>
                <a:cxn ang="0">
                  <a:pos x="561" y="333"/>
                </a:cxn>
                <a:cxn ang="0">
                  <a:pos x="559" y="350"/>
                </a:cxn>
                <a:cxn ang="0">
                  <a:pos x="451" y="348"/>
                </a:cxn>
              </a:cxnLst>
              <a:rect l="0" t="0" r="r" b="b"/>
              <a:pathLst>
                <a:path w="561" h="350">
                  <a:moveTo>
                    <a:pt x="398" y="347"/>
                  </a:moveTo>
                  <a:lnTo>
                    <a:pt x="376" y="347"/>
                  </a:lnTo>
                  <a:lnTo>
                    <a:pt x="323" y="343"/>
                  </a:lnTo>
                  <a:lnTo>
                    <a:pt x="311" y="343"/>
                  </a:lnTo>
                  <a:lnTo>
                    <a:pt x="263" y="342"/>
                  </a:lnTo>
                  <a:lnTo>
                    <a:pt x="152" y="335"/>
                  </a:lnTo>
                  <a:lnTo>
                    <a:pt x="82" y="331"/>
                  </a:lnTo>
                  <a:lnTo>
                    <a:pt x="79" y="330"/>
                  </a:lnTo>
                  <a:lnTo>
                    <a:pt x="0" y="325"/>
                  </a:lnTo>
                  <a:lnTo>
                    <a:pt x="3" y="289"/>
                  </a:lnTo>
                  <a:lnTo>
                    <a:pt x="5" y="260"/>
                  </a:lnTo>
                  <a:lnTo>
                    <a:pt x="7" y="249"/>
                  </a:lnTo>
                  <a:lnTo>
                    <a:pt x="12" y="176"/>
                  </a:lnTo>
                  <a:lnTo>
                    <a:pt x="14" y="169"/>
                  </a:lnTo>
                  <a:lnTo>
                    <a:pt x="19" y="106"/>
                  </a:lnTo>
                  <a:lnTo>
                    <a:pt x="22" y="65"/>
                  </a:lnTo>
                  <a:lnTo>
                    <a:pt x="24" y="37"/>
                  </a:lnTo>
                  <a:lnTo>
                    <a:pt x="27" y="0"/>
                  </a:lnTo>
                  <a:lnTo>
                    <a:pt x="106" y="7"/>
                  </a:lnTo>
                  <a:lnTo>
                    <a:pt x="173" y="10"/>
                  </a:lnTo>
                  <a:lnTo>
                    <a:pt x="209" y="12"/>
                  </a:lnTo>
                  <a:lnTo>
                    <a:pt x="303" y="17"/>
                  </a:lnTo>
                  <a:lnTo>
                    <a:pt x="349" y="19"/>
                  </a:lnTo>
                  <a:lnTo>
                    <a:pt x="388" y="20"/>
                  </a:lnTo>
                  <a:lnTo>
                    <a:pt x="463" y="22"/>
                  </a:lnTo>
                  <a:lnTo>
                    <a:pt x="514" y="24"/>
                  </a:lnTo>
                  <a:lnTo>
                    <a:pt x="514" y="31"/>
                  </a:lnTo>
                  <a:lnTo>
                    <a:pt x="518" y="37"/>
                  </a:lnTo>
                  <a:lnTo>
                    <a:pt x="518" y="41"/>
                  </a:lnTo>
                  <a:lnTo>
                    <a:pt x="518" y="43"/>
                  </a:lnTo>
                  <a:lnTo>
                    <a:pt x="518" y="44"/>
                  </a:lnTo>
                  <a:lnTo>
                    <a:pt x="518" y="44"/>
                  </a:lnTo>
                  <a:lnTo>
                    <a:pt x="520" y="46"/>
                  </a:lnTo>
                  <a:lnTo>
                    <a:pt x="520" y="49"/>
                  </a:lnTo>
                  <a:lnTo>
                    <a:pt x="520" y="49"/>
                  </a:lnTo>
                  <a:lnTo>
                    <a:pt x="521" y="51"/>
                  </a:lnTo>
                  <a:lnTo>
                    <a:pt x="521" y="53"/>
                  </a:lnTo>
                  <a:lnTo>
                    <a:pt x="523" y="55"/>
                  </a:lnTo>
                  <a:lnTo>
                    <a:pt x="521" y="56"/>
                  </a:lnTo>
                  <a:lnTo>
                    <a:pt x="523" y="58"/>
                  </a:lnTo>
                  <a:lnTo>
                    <a:pt x="523" y="63"/>
                  </a:lnTo>
                  <a:lnTo>
                    <a:pt x="521" y="63"/>
                  </a:lnTo>
                  <a:lnTo>
                    <a:pt x="521" y="63"/>
                  </a:lnTo>
                  <a:lnTo>
                    <a:pt x="520" y="65"/>
                  </a:lnTo>
                  <a:lnTo>
                    <a:pt x="520" y="66"/>
                  </a:lnTo>
                  <a:lnTo>
                    <a:pt x="518" y="68"/>
                  </a:lnTo>
                  <a:lnTo>
                    <a:pt x="520" y="68"/>
                  </a:lnTo>
                  <a:lnTo>
                    <a:pt x="518" y="70"/>
                  </a:lnTo>
                  <a:lnTo>
                    <a:pt x="520" y="72"/>
                  </a:lnTo>
                  <a:lnTo>
                    <a:pt x="518" y="72"/>
                  </a:lnTo>
                  <a:lnTo>
                    <a:pt x="518" y="72"/>
                  </a:lnTo>
                  <a:lnTo>
                    <a:pt x="520" y="73"/>
                  </a:lnTo>
                  <a:lnTo>
                    <a:pt x="520" y="75"/>
                  </a:lnTo>
                  <a:lnTo>
                    <a:pt x="520" y="75"/>
                  </a:lnTo>
                  <a:lnTo>
                    <a:pt x="520" y="84"/>
                  </a:lnTo>
                  <a:lnTo>
                    <a:pt x="521" y="84"/>
                  </a:lnTo>
                  <a:lnTo>
                    <a:pt x="521" y="85"/>
                  </a:lnTo>
                  <a:lnTo>
                    <a:pt x="520" y="85"/>
                  </a:lnTo>
                  <a:lnTo>
                    <a:pt x="520" y="85"/>
                  </a:lnTo>
                  <a:lnTo>
                    <a:pt x="521" y="87"/>
                  </a:lnTo>
                  <a:lnTo>
                    <a:pt x="518" y="89"/>
                  </a:lnTo>
                  <a:lnTo>
                    <a:pt x="520" y="89"/>
                  </a:lnTo>
                  <a:lnTo>
                    <a:pt x="520" y="90"/>
                  </a:lnTo>
                  <a:lnTo>
                    <a:pt x="520" y="90"/>
                  </a:lnTo>
                  <a:lnTo>
                    <a:pt x="520" y="90"/>
                  </a:lnTo>
                  <a:lnTo>
                    <a:pt x="520" y="96"/>
                  </a:lnTo>
                  <a:lnTo>
                    <a:pt x="521" y="96"/>
                  </a:lnTo>
                  <a:lnTo>
                    <a:pt x="520" y="97"/>
                  </a:lnTo>
                  <a:lnTo>
                    <a:pt x="521" y="97"/>
                  </a:lnTo>
                  <a:lnTo>
                    <a:pt x="521" y="99"/>
                  </a:lnTo>
                  <a:lnTo>
                    <a:pt x="520" y="99"/>
                  </a:lnTo>
                  <a:lnTo>
                    <a:pt x="521" y="99"/>
                  </a:lnTo>
                  <a:lnTo>
                    <a:pt x="521" y="101"/>
                  </a:lnTo>
                  <a:lnTo>
                    <a:pt x="520" y="101"/>
                  </a:lnTo>
                  <a:lnTo>
                    <a:pt x="521" y="102"/>
                  </a:lnTo>
                  <a:lnTo>
                    <a:pt x="520" y="104"/>
                  </a:lnTo>
                  <a:lnTo>
                    <a:pt x="521" y="106"/>
                  </a:lnTo>
                  <a:lnTo>
                    <a:pt x="520" y="106"/>
                  </a:lnTo>
                  <a:lnTo>
                    <a:pt x="521" y="107"/>
                  </a:lnTo>
                  <a:lnTo>
                    <a:pt x="520" y="107"/>
                  </a:lnTo>
                  <a:lnTo>
                    <a:pt x="520" y="109"/>
                  </a:lnTo>
                  <a:lnTo>
                    <a:pt x="520" y="111"/>
                  </a:lnTo>
                  <a:lnTo>
                    <a:pt x="520" y="113"/>
                  </a:lnTo>
                  <a:lnTo>
                    <a:pt x="521" y="113"/>
                  </a:lnTo>
                  <a:lnTo>
                    <a:pt x="520" y="114"/>
                  </a:lnTo>
                  <a:lnTo>
                    <a:pt x="521" y="114"/>
                  </a:lnTo>
                  <a:lnTo>
                    <a:pt x="521" y="118"/>
                  </a:lnTo>
                  <a:lnTo>
                    <a:pt x="523" y="119"/>
                  </a:lnTo>
                  <a:lnTo>
                    <a:pt x="523" y="123"/>
                  </a:lnTo>
                  <a:lnTo>
                    <a:pt x="525" y="125"/>
                  </a:lnTo>
                  <a:lnTo>
                    <a:pt x="526" y="135"/>
                  </a:lnTo>
                  <a:lnTo>
                    <a:pt x="528" y="138"/>
                  </a:lnTo>
                  <a:lnTo>
                    <a:pt x="528" y="143"/>
                  </a:lnTo>
                  <a:lnTo>
                    <a:pt x="530" y="143"/>
                  </a:lnTo>
                  <a:lnTo>
                    <a:pt x="532" y="149"/>
                  </a:lnTo>
                  <a:lnTo>
                    <a:pt x="530" y="150"/>
                  </a:lnTo>
                  <a:lnTo>
                    <a:pt x="532" y="152"/>
                  </a:lnTo>
                  <a:lnTo>
                    <a:pt x="533" y="155"/>
                  </a:lnTo>
                  <a:lnTo>
                    <a:pt x="535" y="160"/>
                  </a:lnTo>
                  <a:lnTo>
                    <a:pt x="537" y="164"/>
                  </a:lnTo>
                  <a:lnTo>
                    <a:pt x="538" y="171"/>
                  </a:lnTo>
                  <a:lnTo>
                    <a:pt x="540" y="172"/>
                  </a:lnTo>
                  <a:lnTo>
                    <a:pt x="538" y="176"/>
                  </a:lnTo>
                  <a:lnTo>
                    <a:pt x="540" y="178"/>
                  </a:lnTo>
                  <a:lnTo>
                    <a:pt x="538" y="181"/>
                  </a:lnTo>
                  <a:lnTo>
                    <a:pt x="540" y="183"/>
                  </a:lnTo>
                  <a:lnTo>
                    <a:pt x="538" y="188"/>
                  </a:lnTo>
                  <a:lnTo>
                    <a:pt x="538" y="190"/>
                  </a:lnTo>
                  <a:lnTo>
                    <a:pt x="538" y="193"/>
                  </a:lnTo>
                  <a:lnTo>
                    <a:pt x="540" y="193"/>
                  </a:lnTo>
                  <a:lnTo>
                    <a:pt x="540" y="195"/>
                  </a:lnTo>
                  <a:lnTo>
                    <a:pt x="540" y="198"/>
                  </a:lnTo>
                  <a:lnTo>
                    <a:pt x="540" y="200"/>
                  </a:lnTo>
                  <a:lnTo>
                    <a:pt x="540" y="203"/>
                  </a:lnTo>
                  <a:lnTo>
                    <a:pt x="540" y="205"/>
                  </a:lnTo>
                  <a:lnTo>
                    <a:pt x="540" y="208"/>
                  </a:lnTo>
                  <a:lnTo>
                    <a:pt x="540" y="210"/>
                  </a:lnTo>
                  <a:lnTo>
                    <a:pt x="542" y="219"/>
                  </a:lnTo>
                  <a:lnTo>
                    <a:pt x="540" y="220"/>
                  </a:lnTo>
                  <a:lnTo>
                    <a:pt x="542" y="227"/>
                  </a:lnTo>
                  <a:lnTo>
                    <a:pt x="542" y="227"/>
                  </a:lnTo>
                  <a:lnTo>
                    <a:pt x="542" y="232"/>
                  </a:lnTo>
                  <a:lnTo>
                    <a:pt x="540" y="236"/>
                  </a:lnTo>
                  <a:lnTo>
                    <a:pt x="542" y="236"/>
                  </a:lnTo>
                  <a:lnTo>
                    <a:pt x="542" y="239"/>
                  </a:lnTo>
                  <a:lnTo>
                    <a:pt x="544" y="239"/>
                  </a:lnTo>
                  <a:lnTo>
                    <a:pt x="544" y="241"/>
                  </a:lnTo>
                  <a:lnTo>
                    <a:pt x="544" y="242"/>
                  </a:lnTo>
                  <a:lnTo>
                    <a:pt x="544" y="244"/>
                  </a:lnTo>
                  <a:lnTo>
                    <a:pt x="545" y="242"/>
                  </a:lnTo>
                  <a:lnTo>
                    <a:pt x="545" y="244"/>
                  </a:lnTo>
                  <a:lnTo>
                    <a:pt x="545" y="251"/>
                  </a:lnTo>
                  <a:lnTo>
                    <a:pt x="545" y="253"/>
                  </a:lnTo>
                  <a:lnTo>
                    <a:pt x="544" y="256"/>
                  </a:lnTo>
                  <a:lnTo>
                    <a:pt x="544" y="261"/>
                  </a:lnTo>
                  <a:lnTo>
                    <a:pt x="544" y="268"/>
                  </a:lnTo>
                  <a:lnTo>
                    <a:pt x="544" y="270"/>
                  </a:lnTo>
                  <a:lnTo>
                    <a:pt x="544" y="277"/>
                  </a:lnTo>
                  <a:lnTo>
                    <a:pt x="544" y="277"/>
                  </a:lnTo>
                  <a:lnTo>
                    <a:pt x="545" y="278"/>
                  </a:lnTo>
                  <a:lnTo>
                    <a:pt x="547" y="280"/>
                  </a:lnTo>
                  <a:lnTo>
                    <a:pt x="547" y="290"/>
                  </a:lnTo>
                  <a:lnTo>
                    <a:pt x="549" y="294"/>
                  </a:lnTo>
                  <a:lnTo>
                    <a:pt x="549" y="297"/>
                  </a:lnTo>
                  <a:lnTo>
                    <a:pt x="550" y="299"/>
                  </a:lnTo>
                  <a:lnTo>
                    <a:pt x="554" y="304"/>
                  </a:lnTo>
                  <a:lnTo>
                    <a:pt x="556" y="306"/>
                  </a:lnTo>
                  <a:lnTo>
                    <a:pt x="557" y="307"/>
                  </a:lnTo>
                  <a:lnTo>
                    <a:pt x="557" y="318"/>
                  </a:lnTo>
                  <a:lnTo>
                    <a:pt x="559" y="321"/>
                  </a:lnTo>
                  <a:lnTo>
                    <a:pt x="557" y="323"/>
                  </a:lnTo>
                  <a:lnTo>
                    <a:pt x="559" y="325"/>
                  </a:lnTo>
                  <a:lnTo>
                    <a:pt x="561" y="333"/>
                  </a:lnTo>
                  <a:lnTo>
                    <a:pt x="559" y="342"/>
                  </a:lnTo>
                  <a:lnTo>
                    <a:pt x="561" y="348"/>
                  </a:lnTo>
                  <a:lnTo>
                    <a:pt x="559" y="350"/>
                  </a:lnTo>
                  <a:lnTo>
                    <a:pt x="509" y="350"/>
                  </a:lnTo>
                  <a:lnTo>
                    <a:pt x="453" y="350"/>
                  </a:lnTo>
                  <a:lnTo>
                    <a:pt x="451" y="348"/>
                  </a:lnTo>
                  <a:lnTo>
                    <a:pt x="398" y="347"/>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14" name="Freeform 10">
              <a:extLst>
                <a:ext uri="{FF2B5EF4-FFF2-40B4-BE49-F238E27FC236}">
                  <a16:creationId xmlns:a16="http://schemas.microsoft.com/office/drawing/2014/main" id="{D611838F-B197-44D4-A9EC-6CFDBC121014}"/>
                </a:ext>
              </a:extLst>
            </p:cNvPr>
            <p:cNvSpPr>
              <a:spLocks/>
            </p:cNvSpPr>
            <p:nvPr/>
          </p:nvSpPr>
          <p:spPr bwMode="gray">
            <a:xfrm>
              <a:off x="4252159" y="2516255"/>
              <a:ext cx="956495" cy="637664"/>
            </a:xfrm>
            <a:custGeom>
              <a:avLst/>
              <a:gdLst/>
              <a:ahLst/>
              <a:cxnLst>
                <a:cxn ang="0">
                  <a:pos x="42" y="317"/>
                </a:cxn>
                <a:cxn ang="0">
                  <a:pos x="5" y="259"/>
                </a:cxn>
                <a:cxn ang="0">
                  <a:pos x="10" y="188"/>
                </a:cxn>
                <a:cxn ang="0">
                  <a:pos x="19" y="100"/>
                </a:cxn>
                <a:cxn ang="0">
                  <a:pos x="27" y="0"/>
                </a:cxn>
                <a:cxn ang="0">
                  <a:pos x="179" y="10"/>
                </a:cxn>
                <a:cxn ang="0">
                  <a:pos x="350" y="18"/>
                </a:cxn>
                <a:cxn ang="0">
                  <a:pos x="478" y="23"/>
                </a:cxn>
                <a:cxn ang="0">
                  <a:pos x="586" y="25"/>
                </a:cxn>
                <a:cxn ang="0">
                  <a:pos x="579" y="46"/>
                </a:cxn>
                <a:cxn ang="0">
                  <a:pos x="565" y="63"/>
                </a:cxn>
                <a:cxn ang="0">
                  <a:pos x="577" y="82"/>
                </a:cxn>
                <a:cxn ang="0">
                  <a:pos x="593" y="90"/>
                </a:cxn>
                <a:cxn ang="0">
                  <a:pos x="594" y="128"/>
                </a:cxn>
                <a:cxn ang="0">
                  <a:pos x="594" y="176"/>
                </a:cxn>
                <a:cxn ang="0">
                  <a:pos x="593" y="287"/>
                </a:cxn>
                <a:cxn ang="0">
                  <a:pos x="583" y="293"/>
                </a:cxn>
                <a:cxn ang="0">
                  <a:pos x="588" y="302"/>
                </a:cxn>
                <a:cxn ang="0">
                  <a:pos x="584" y="312"/>
                </a:cxn>
                <a:cxn ang="0">
                  <a:pos x="586" y="316"/>
                </a:cxn>
                <a:cxn ang="0">
                  <a:pos x="594" y="328"/>
                </a:cxn>
                <a:cxn ang="0">
                  <a:pos x="591" y="334"/>
                </a:cxn>
                <a:cxn ang="0">
                  <a:pos x="588" y="341"/>
                </a:cxn>
                <a:cxn ang="0">
                  <a:pos x="588" y="352"/>
                </a:cxn>
                <a:cxn ang="0">
                  <a:pos x="583" y="358"/>
                </a:cxn>
                <a:cxn ang="0">
                  <a:pos x="579" y="367"/>
                </a:cxn>
                <a:cxn ang="0">
                  <a:pos x="586" y="377"/>
                </a:cxn>
                <a:cxn ang="0">
                  <a:pos x="589" y="386"/>
                </a:cxn>
                <a:cxn ang="0">
                  <a:pos x="594" y="396"/>
                </a:cxn>
                <a:cxn ang="0">
                  <a:pos x="583" y="393"/>
                </a:cxn>
                <a:cxn ang="0">
                  <a:pos x="579" y="389"/>
                </a:cxn>
                <a:cxn ang="0">
                  <a:pos x="574" y="379"/>
                </a:cxn>
                <a:cxn ang="0">
                  <a:pos x="565" y="375"/>
                </a:cxn>
                <a:cxn ang="0">
                  <a:pos x="557" y="369"/>
                </a:cxn>
                <a:cxn ang="0">
                  <a:pos x="553" y="367"/>
                </a:cxn>
                <a:cxn ang="0">
                  <a:pos x="540" y="365"/>
                </a:cxn>
                <a:cxn ang="0">
                  <a:pos x="533" y="357"/>
                </a:cxn>
                <a:cxn ang="0">
                  <a:pos x="526" y="355"/>
                </a:cxn>
                <a:cxn ang="0">
                  <a:pos x="512" y="355"/>
                </a:cxn>
                <a:cxn ang="0">
                  <a:pos x="500" y="355"/>
                </a:cxn>
                <a:cxn ang="0">
                  <a:pos x="490" y="357"/>
                </a:cxn>
                <a:cxn ang="0">
                  <a:pos x="482" y="355"/>
                </a:cxn>
                <a:cxn ang="0">
                  <a:pos x="475" y="364"/>
                </a:cxn>
                <a:cxn ang="0">
                  <a:pos x="463" y="360"/>
                </a:cxn>
                <a:cxn ang="0">
                  <a:pos x="459" y="357"/>
                </a:cxn>
                <a:cxn ang="0">
                  <a:pos x="437" y="345"/>
                </a:cxn>
                <a:cxn ang="0">
                  <a:pos x="353" y="336"/>
                </a:cxn>
                <a:cxn ang="0">
                  <a:pos x="154" y="326"/>
                </a:cxn>
              </a:cxnLst>
              <a:rect l="0" t="0" r="r" b="b"/>
              <a:pathLst>
                <a:path w="594" h="396">
                  <a:moveTo>
                    <a:pt x="99" y="323"/>
                  </a:moveTo>
                  <a:lnTo>
                    <a:pt x="82" y="321"/>
                  </a:lnTo>
                  <a:lnTo>
                    <a:pt x="42" y="317"/>
                  </a:lnTo>
                  <a:lnTo>
                    <a:pt x="0" y="314"/>
                  </a:lnTo>
                  <a:lnTo>
                    <a:pt x="3" y="263"/>
                  </a:lnTo>
                  <a:lnTo>
                    <a:pt x="5" y="259"/>
                  </a:lnTo>
                  <a:lnTo>
                    <a:pt x="7" y="222"/>
                  </a:lnTo>
                  <a:lnTo>
                    <a:pt x="10" y="191"/>
                  </a:lnTo>
                  <a:lnTo>
                    <a:pt x="10" y="188"/>
                  </a:lnTo>
                  <a:lnTo>
                    <a:pt x="13" y="145"/>
                  </a:lnTo>
                  <a:lnTo>
                    <a:pt x="17" y="100"/>
                  </a:lnTo>
                  <a:lnTo>
                    <a:pt x="19" y="100"/>
                  </a:lnTo>
                  <a:lnTo>
                    <a:pt x="20" y="76"/>
                  </a:lnTo>
                  <a:lnTo>
                    <a:pt x="27" y="5"/>
                  </a:lnTo>
                  <a:lnTo>
                    <a:pt x="27" y="0"/>
                  </a:lnTo>
                  <a:lnTo>
                    <a:pt x="106" y="5"/>
                  </a:lnTo>
                  <a:lnTo>
                    <a:pt x="109" y="6"/>
                  </a:lnTo>
                  <a:lnTo>
                    <a:pt x="179" y="10"/>
                  </a:lnTo>
                  <a:lnTo>
                    <a:pt x="290" y="17"/>
                  </a:lnTo>
                  <a:lnTo>
                    <a:pt x="338" y="18"/>
                  </a:lnTo>
                  <a:lnTo>
                    <a:pt x="350" y="18"/>
                  </a:lnTo>
                  <a:lnTo>
                    <a:pt x="403" y="22"/>
                  </a:lnTo>
                  <a:lnTo>
                    <a:pt x="425" y="22"/>
                  </a:lnTo>
                  <a:lnTo>
                    <a:pt x="478" y="23"/>
                  </a:lnTo>
                  <a:lnTo>
                    <a:pt x="480" y="25"/>
                  </a:lnTo>
                  <a:lnTo>
                    <a:pt x="536" y="25"/>
                  </a:lnTo>
                  <a:lnTo>
                    <a:pt x="586" y="25"/>
                  </a:lnTo>
                  <a:lnTo>
                    <a:pt x="584" y="37"/>
                  </a:lnTo>
                  <a:lnTo>
                    <a:pt x="584" y="39"/>
                  </a:lnTo>
                  <a:lnTo>
                    <a:pt x="579" y="46"/>
                  </a:lnTo>
                  <a:lnTo>
                    <a:pt x="565" y="56"/>
                  </a:lnTo>
                  <a:lnTo>
                    <a:pt x="564" y="59"/>
                  </a:lnTo>
                  <a:lnTo>
                    <a:pt x="565" y="63"/>
                  </a:lnTo>
                  <a:lnTo>
                    <a:pt x="571" y="70"/>
                  </a:lnTo>
                  <a:lnTo>
                    <a:pt x="574" y="76"/>
                  </a:lnTo>
                  <a:lnTo>
                    <a:pt x="577" y="82"/>
                  </a:lnTo>
                  <a:lnTo>
                    <a:pt x="583" y="83"/>
                  </a:lnTo>
                  <a:lnTo>
                    <a:pt x="589" y="85"/>
                  </a:lnTo>
                  <a:lnTo>
                    <a:pt x="593" y="90"/>
                  </a:lnTo>
                  <a:lnTo>
                    <a:pt x="594" y="94"/>
                  </a:lnTo>
                  <a:lnTo>
                    <a:pt x="594" y="95"/>
                  </a:lnTo>
                  <a:lnTo>
                    <a:pt x="594" y="128"/>
                  </a:lnTo>
                  <a:lnTo>
                    <a:pt x="594" y="146"/>
                  </a:lnTo>
                  <a:lnTo>
                    <a:pt x="594" y="165"/>
                  </a:lnTo>
                  <a:lnTo>
                    <a:pt x="594" y="176"/>
                  </a:lnTo>
                  <a:lnTo>
                    <a:pt x="594" y="211"/>
                  </a:lnTo>
                  <a:lnTo>
                    <a:pt x="594" y="249"/>
                  </a:lnTo>
                  <a:lnTo>
                    <a:pt x="593" y="287"/>
                  </a:lnTo>
                  <a:lnTo>
                    <a:pt x="583" y="287"/>
                  </a:lnTo>
                  <a:lnTo>
                    <a:pt x="584" y="288"/>
                  </a:lnTo>
                  <a:lnTo>
                    <a:pt x="583" y="293"/>
                  </a:lnTo>
                  <a:lnTo>
                    <a:pt x="586" y="297"/>
                  </a:lnTo>
                  <a:lnTo>
                    <a:pt x="588" y="299"/>
                  </a:lnTo>
                  <a:lnTo>
                    <a:pt x="588" y="302"/>
                  </a:lnTo>
                  <a:lnTo>
                    <a:pt x="588" y="307"/>
                  </a:lnTo>
                  <a:lnTo>
                    <a:pt x="584" y="309"/>
                  </a:lnTo>
                  <a:lnTo>
                    <a:pt x="584" y="312"/>
                  </a:lnTo>
                  <a:lnTo>
                    <a:pt x="586" y="314"/>
                  </a:lnTo>
                  <a:lnTo>
                    <a:pt x="584" y="314"/>
                  </a:lnTo>
                  <a:lnTo>
                    <a:pt x="586" y="316"/>
                  </a:lnTo>
                  <a:lnTo>
                    <a:pt x="591" y="317"/>
                  </a:lnTo>
                  <a:lnTo>
                    <a:pt x="593" y="317"/>
                  </a:lnTo>
                  <a:lnTo>
                    <a:pt x="594" y="328"/>
                  </a:lnTo>
                  <a:lnTo>
                    <a:pt x="593" y="331"/>
                  </a:lnTo>
                  <a:lnTo>
                    <a:pt x="593" y="333"/>
                  </a:lnTo>
                  <a:lnTo>
                    <a:pt x="591" y="334"/>
                  </a:lnTo>
                  <a:lnTo>
                    <a:pt x="588" y="334"/>
                  </a:lnTo>
                  <a:lnTo>
                    <a:pt x="589" y="340"/>
                  </a:lnTo>
                  <a:lnTo>
                    <a:pt x="588" y="341"/>
                  </a:lnTo>
                  <a:lnTo>
                    <a:pt x="589" y="346"/>
                  </a:lnTo>
                  <a:lnTo>
                    <a:pt x="586" y="350"/>
                  </a:lnTo>
                  <a:lnTo>
                    <a:pt x="588" y="352"/>
                  </a:lnTo>
                  <a:lnTo>
                    <a:pt x="586" y="357"/>
                  </a:lnTo>
                  <a:lnTo>
                    <a:pt x="584" y="358"/>
                  </a:lnTo>
                  <a:lnTo>
                    <a:pt x="583" y="358"/>
                  </a:lnTo>
                  <a:lnTo>
                    <a:pt x="583" y="362"/>
                  </a:lnTo>
                  <a:lnTo>
                    <a:pt x="579" y="365"/>
                  </a:lnTo>
                  <a:lnTo>
                    <a:pt x="579" y="367"/>
                  </a:lnTo>
                  <a:lnTo>
                    <a:pt x="579" y="372"/>
                  </a:lnTo>
                  <a:lnTo>
                    <a:pt x="584" y="375"/>
                  </a:lnTo>
                  <a:lnTo>
                    <a:pt x="586" y="377"/>
                  </a:lnTo>
                  <a:lnTo>
                    <a:pt x="589" y="381"/>
                  </a:lnTo>
                  <a:lnTo>
                    <a:pt x="591" y="386"/>
                  </a:lnTo>
                  <a:lnTo>
                    <a:pt x="589" y="386"/>
                  </a:lnTo>
                  <a:lnTo>
                    <a:pt x="591" y="387"/>
                  </a:lnTo>
                  <a:lnTo>
                    <a:pt x="591" y="393"/>
                  </a:lnTo>
                  <a:lnTo>
                    <a:pt x="594" y="396"/>
                  </a:lnTo>
                  <a:lnTo>
                    <a:pt x="589" y="396"/>
                  </a:lnTo>
                  <a:lnTo>
                    <a:pt x="586" y="393"/>
                  </a:lnTo>
                  <a:lnTo>
                    <a:pt x="583" y="393"/>
                  </a:lnTo>
                  <a:lnTo>
                    <a:pt x="581" y="394"/>
                  </a:lnTo>
                  <a:lnTo>
                    <a:pt x="579" y="393"/>
                  </a:lnTo>
                  <a:lnTo>
                    <a:pt x="579" y="389"/>
                  </a:lnTo>
                  <a:lnTo>
                    <a:pt x="572" y="382"/>
                  </a:lnTo>
                  <a:lnTo>
                    <a:pt x="572" y="381"/>
                  </a:lnTo>
                  <a:lnTo>
                    <a:pt x="574" y="379"/>
                  </a:lnTo>
                  <a:lnTo>
                    <a:pt x="574" y="377"/>
                  </a:lnTo>
                  <a:lnTo>
                    <a:pt x="572" y="375"/>
                  </a:lnTo>
                  <a:lnTo>
                    <a:pt x="565" y="375"/>
                  </a:lnTo>
                  <a:lnTo>
                    <a:pt x="565" y="375"/>
                  </a:lnTo>
                  <a:lnTo>
                    <a:pt x="565" y="372"/>
                  </a:lnTo>
                  <a:lnTo>
                    <a:pt x="557" y="369"/>
                  </a:lnTo>
                  <a:lnTo>
                    <a:pt x="553" y="370"/>
                  </a:lnTo>
                  <a:lnTo>
                    <a:pt x="552" y="370"/>
                  </a:lnTo>
                  <a:lnTo>
                    <a:pt x="553" y="367"/>
                  </a:lnTo>
                  <a:lnTo>
                    <a:pt x="552" y="367"/>
                  </a:lnTo>
                  <a:lnTo>
                    <a:pt x="550" y="367"/>
                  </a:lnTo>
                  <a:lnTo>
                    <a:pt x="540" y="365"/>
                  </a:lnTo>
                  <a:lnTo>
                    <a:pt x="538" y="362"/>
                  </a:lnTo>
                  <a:lnTo>
                    <a:pt x="535" y="360"/>
                  </a:lnTo>
                  <a:lnTo>
                    <a:pt x="533" y="357"/>
                  </a:lnTo>
                  <a:lnTo>
                    <a:pt x="531" y="357"/>
                  </a:lnTo>
                  <a:lnTo>
                    <a:pt x="530" y="357"/>
                  </a:lnTo>
                  <a:lnTo>
                    <a:pt x="526" y="355"/>
                  </a:lnTo>
                  <a:lnTo>
                    <a:pt x="519" y="353"/>
                  </a:lnTo>
                  <a:lnTo>
                    <a:pt x="514" y="357"/>
                  </a:lnTo>
                  <a:lnTo>
                    <a:pt x="512" y="355"/>
                  </a:lnTo>
                  <a:lnTo>
                    <a:pt x="511" y="355"/>
                  </a:lnTo>
                  <a:lnTo>
                    <a:pt x="506" y="357"/>
                  </a:lnTo>
                  <a:lnTo>
                    <a:pt x="500" y="355"/>
                  </a:lnTo>
                  <a:lnTo>
                    <a:pt x="497" y="357"/>
                  </a:lnTo>
                  <a:lnTo>
                    <a:pt x="494" y="355"/>
                  </a:lnTo>
                  <a:lnTo>
                    <a:pt x="490" y="357"/>
                  </a:lnTo>
                  <a:lnTo>
                    <a:pt x="489" y="355"/>
                  </a:lnTo>
                  <a:lnTo>
                    <a:pt x="487" y="353"/>
                  </a:lnTo>
                  <a:lnTo>
                    <a:pt x="482" y="355"/>
                  </a:lnTo>
                  <a:lnTo>
                    <a:pt x="480" y="357"/>
                  </a:lnTo>
                  <a:lnTo>
                    <a:pt x="478" y="362"/>
                  </a:lnTo>
                  <a:lnTo>
                    <a:pt x="475" y="364"/>
                  </a:lnTo>
                  <a:lnTo>
                    <a:pt x="473" y="364"/>
                  </a:lnTo>
                  <a:lnTo>
                    <a:pt x="470" y="364"/>
                  </a:lnTo>
                  <a:lnTo>
                    <a:pt x="463" y="360"/>
                  </a:lnTo>
                  <a:lnTo>
                    <a:pt x="463" y="358"/>
                  </a:lnTo>
                  <a:lnTo>
                    <a:pt x="461" y="357"/>
                  </a:lnTo>
                  <a:lnTo>
                    <a:pt x="459" y="357"/>
                  </a:lnTo>
                  <a:lnTo>
                    <a:pt x="447" y="352"/>
                  </a:lnTo>
                  <a:lnTo>
                    <a:pt x="442" y="346"/>
                  </a:lnTo>
                  <a:lnTo>
                    <a:pt x="437" y="345"/>
                  </a:lnTo>
                  <a:lnTo>
                    <a:pt x="434" y="340"/>
                  </a:lnTo>
                  <a:lnTo>
                    <a:pt x="374" y="338"/>
                  </a:lnTo>
                  <a:lnTo>
                    <a:pt x="353" y="336"/>
                  </a:lnTo>
                  <a:lnTo>
                    <a:pt x="301" y="334"/>
                  </a:lnTo>
                  <a:lnTo>
                    <a:pt x="220" y="331"/>
                  </a:lnTo>
                  <a:lnTo>
                    <a:pt x="154" y="326"/>
                  </a:lnTo>
                  <a:lnTo>
                    <a:pt x="99" y="323"/>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15" name="Freeform 11">
              <a:extLst>
                <a:ext uri="{FF2B5EF4-FFF2-40B4-BE49-F238E27FC236}">
                  <a16:creationId xmlns:a16="http://schemas.microsoft.com/office/drawing/2014/main" id="{0303E4DD-E6B4-4CF8-9FB7-A6B79F999BC9}"/>
                </a:ext>
              </a:extLst>
            </p:cNvPr>
            <p:cNvSpPr>
              <a:spLocks/>
            </p:cNvSpPr>
            <p:nvPr/>
          </p:nvSpPr>
          <p:spPr bwMode="gray">
            <a:xfrm>
              <a:off x="3324649" y="2572614"/>
              <a:ext cx="954885" cy="795469"/>
            </a:xfrm>
            <a:custGeom>
              <a:avLst/>
              <a:gdLst/>
              <a:ahLst/>
              <a:cxnLst>
                <a:cxn ang="0">
                  <a:pos x="564" y="419"/>
                </a:cxn>
                <a:cxn ang="0">
                  <a:pos x="562" y="433"/>
                </a:cxn>
                <a:cxn ang="0">
                  <a:pos x="562" y="452"/>
                </a:cxn>
                <a:cxn ang="0">
                  <a:pos x="559" y="494"/>
                </a:cxn>
                <a:cxn ang="0">
                  <a:pos x="487" y="487"/>
                </a:cxn>
                <a:cxn ang="0">
                  <a:pos x="459" y="486"/>
                </a:cxn>
                <a:cxn ang="0">
                  <a:pos x="386" y="477"/>
                </a:cxn>
                <a:cxn ang="0">
                  <a:pos x="376" y="475"/>
                </a:cxn>
                <a:cxn ang="0">
                  <a:pos x="333" y="472"/>
                </a:cxn>
                <a:cxn ang="0">
                  <a:pos x="297" y="467"/>
                </a:cxn>
                <a:cxn ang="0">
                  <a:pos x="249" y="460"/>
                </a:cxn>
                <a:cxn ang="0">
                  <a:pos x="159" y="450"/>
                </a:cxn>
                <a:cxn ang="0">
                  <a:pos x="82" y="438"/>
                </a:cxn>
                <a:cxn ang="0">
                  <a:pos x="77" y="438"/>
                </a:cxn>
                <a:cxn ang="0">
                  <a:pos x="0" y="426"/>
                </a:cxn>
                <a:cxn ang="0">
                  <a:pos x="3" y="399"/>
                </a:cxn>
                <a:cxn ang="0">
                  <a:pos x="8" y="364"/>
                </a:cxn>
                <a:cxn ang="0">
                  <a:pos x="17" y="320"/>
                </a:cxn>
                <a:cxn ang="0">
                  <a:pos x="25" y="265"/>
                </a:cxn>
                <a:cxn ang="0">
                  <a:pos x="34" y="211"/>
                </a:cxn>
                <a:cxn ang="0">
                  <a:pos x="37" y="182"/>
                </a:cxn>
                <a:cxn ang="0">
                  <a:pos x="42" y="158"/>
                </a:cxn>
                <a:cxn ang="0">
                  <a:pos x="49" y="108"/>
                </a:cxn>
                <a:cxn ang="0">
                  <a:pos x="58" y="57"/>
                </a:cxn>
                <a:cxn ang="0">
                  <a:pos x="61" y="36"/>
                </a:cxn>
                <a:cxn ang="0">
                  <a:pos x="66" y="0"/>
                </a:cxn>
                <a:cxn ang="0">
                  <a:pos x="113" y="9"/>
                </a:cxn>
                <a:cxn ang="0">
                  <a:pos x="116" y="9"/>
                </a:cxn>
                <a:cxn ang="0">
                  <a:pos x="147" y="12"/>
                </a:cxn>
                <a:cxn ang="0">
                  <a:pos x="160" y="14"/>
                </a:cxn>
                <a:cxn ang="0">
                  <a:pos x="249" y="28"/>
                </a:cxn>
                <a:cxn ang="0">
                  <a:pos x="277" y="31"/>
                </a:cxn>
                <a:cxn ang="0">
                  <a:pos x="304" y="35"/>
                </a:cxn>
                <a:cxn ang="0">
                  <a:pos x="427" y="48"/>
                </a:cxn>
                <a:cxn ang="0">
                  <a:pos x="446" y="52"/>
                </a:cxn>
                <a:cxn ang="0">
                  <a:pos x="516" y="59"/>
                </a:cxn>
                <a:cxn ang="0">
                  <a:pos x="519" y="59"/>
                </a:cxn>
                <a:cxn ang="0">
                  <a:pos x="593" y="65"/>
                </a:cxn>
                <a:cxn ang="0">
                  <a:pos x="589" y="110"/>
                </a:cxn>
                <a:cxn ang="0">
                  <a:pos x="586" y="153"/>
                </a:cxn>
                <a:cxn ang="0">
                  <a:pos x="586" y="156"/>
                </a:cxn>
                <a:cxn ang="0">
                  <a:pos x="583" y="187"/>
                </a:cxn>
                <a:cxn ang="0">
                  <a:pos x="581" y="224"/>
                </a:cxn>
                <a:cxn ang="0">
                  <a:pos x="579" y="228"/>
                </a:cxn>
                <a:cxn ang="0">
                  <a:pos x="576" y="279"/>
                </a:cxn>
                <a:cxn ang="0">
                  <a:pos x="572" y="320"/>
                </a:cxn>
                <a:cxn ang="0">
                  <a:pos x="567" y="387"/>
                </a:cxn>
                <a:cxn ang="0">
                  <a:pos x="564" y="419"/>
                </a:cxn>
              </a:cxnLst>
              <a:rect l="0" t="0" r="r" b="b"/>
              <a:pathLst>
                <a:path w="593" h="494">
                  <a:moveTo>
                    <a:pt x="564" y="419"/>
                  </a:moveTo>
                  <a:lnTo>
                    <a:pt x="562" y="433"/>
                  </a:lnTo>
                  <a:lnTo>
                    <a:pt x="562" y="452"/>
                  </a:lnTo>
                  <a:lnTo>
                    <a:pt x="559" y="494"/>
                  </a:lnTo>
                  <a:lnTo>
                    <a:pt x="487" y="487"/>
                  </a:lnTo>
                  <a:lnTo>
                    <a:pt x="459" y="486"/>
                  </a:lnTo>
                  <a:lnTo>
                    <a:pt x="386" y="477"/>
                  </a:lnTo>
                  <a:lnTo>
                    <a:pt x="376" y="475"/>
                  </a:lnTo>
                  <a:lnTo>
                    <a:pt x="333" y="472"/>
                  </a:lnTo>
                  <a:lnTo>
                    <a:pt x="297" y="467"/>
                  </a:lnTo>
                  <a:lnTo>
                    <a:pt x="249" y="460"/>
                  </a:lnTo>
                  <a:lnTo>
                    <a:pt x="159" y="450"/>
                  </a:lnTo>
                  <a:lnTo>
                    <a:pt x="82" y="438"/>
                  </a:lnTo>
                  <a:lnTo>
                    <a:pt x="77" y="438"/>
                  </a:lnTo>
                  <a:lnTo>
                    <a:pt x="0" y="426"/>
                  </a:lnTo>
                  <a:lnTo>
                    <a:pt x="3" y="399"/>
                  </a:lnTo>
                  <a:lnTo>
                    <a:pt x="8" y="364"/>
                  </a:lnTo>
                  <a:lnTo>
                    <a:pt x="17" y="320"/>
                  </a:lnTo>
                  <a:lnTo>
                    <a:pt x="25" y="265"/>
                  </a:lnTo>
                  <a:lnTo>
                    <a:pt x="34" y="211"/>
                  </a:lnTo>
                  <a:lnTo>
                    <a:pt x="37" y="182"/>
                  </a:lnTo>
                  <a:lnTo>
                    <a:pt x="42" y="158"/>
                  </a:lnTo>
                  <a:lnTo>
                    <a:pt x="49" y="108"/>
                  </a:lnTo>
                  <a:lnTo>
                    <a:pt x="58" y="57"/>
                  </a:lnTo>
                  <a:lnTo>
                    <a:pt x="61" y="36"/>
                  </a:lnTo>
                  <a:lnTo>
                    <a:pt x="66" y="0"/>
                  </a:lnTo>
                  <a:lnTo>
                    <a:pt x="113" y="9"/>
                  </a:lnTo>
                  <a:lnTo>
                    <a:pt x="116" y="9"/>
                  </a:lnTo>
                  <a:lnTo>
                    <a:pt x="147" y="12"/>
                  </a:lnTo>
                  <a:lnTo>
                    <a:pt x="160" y="14"/>
                  </a:lnTo>
                  <a:lnTo>
                    <a:pt x="249" y="28"/>
                  </a:lnTo>
                  <a:lnTo>
                    <a:pt x="277" y="31"/>
                  </a:lnTo>
                  <a:lnTo>
                    <a:pt x="304" y="35"/>
                  </a:lnTo>
                  <a:lnTo>
                    <a:pt x="427" y="48"/>
                  </a:lnTo>
                  <a:lnTo>
                    <a:pt x="446" y="52"/>
                  </a:lnTo>
                  <a:lnTo>
                    <a:pt x="516" y="59"/>
                  </a:lnTo>
                  <a:lnTo>
                    <a:pt x="519" y="59"/>
                  </a:lnTo>
                  <a:lnTo>
                    <a:pt x="593" y="65"/>
                  </a:lnTo>
                  <a:lnTo>
                    <a:pt x="589" y="110"/>
                  </a:lnTo>
                  <a:lnTo>
                    <a:pt x="586" y="153"/>
                  </a:lnTo>
                  <a:lnTo>
                    <a:pt x="586" y="156"/>
                  </a:lnTo>
                  <a:lnTo>
                    <a:pt x="583" y="187"/>
                  </a:lnTo>
                  <a:lnTo>
                    <a:pt x="581" y="224"/>
                  </a:lnTo>
                  <a:lnTo>
                    <a:pt x="579" y="228"/>
                  </a:lnTo>
                  <a:lnTo>
                    <a:pt x="576" y="279"/>
                  </a:lnTo>
                  <a:lnTo>
                    <a:pt x="572" y="320"/>
                  </a:lnTo>
                  <a:lnTo>
                    <a:pt x="567" y="387"/>
                  </a:lnTo>
                  <a:lnTo>
                    <a:pt x="564" y="419"/>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16" name="Freeform 12">
              <a:extLst>
                <a:ext uri="{FF2B5EF4-FFF2-40B4-BE49-F238E27FC236}">
                  <a16:creationId xmlns:a16="http://schemas.microsoft.com/office/drawing/2014/main" id="{72FB1C43-9C0A-4763-9DDF-D23372511B83}"/>
                </a:ext>
              </a:extLst>
            </p:cNvPr>
            <p:cNvSpPr>
              <a:spLocks noEditPoints="1"/>
            </p:cNvSpPr>
            <p:nvPr/>
          </p:nvSpPr>
          <p:spPr bwMode="gray">
            <a:xfrm>
              <a:off x="5641815" y="2366501"/>
              <a:ext cx="721397" cy="764875"/>
            </a:xfrm>
            <a:custGeom>
              <a:avLst/>
              <a:gdLst/>
              <a:ahLst/>
              <a:cxnLst>
                <a:cxn ang="0">
                  <a:pos x="378" y="228"/>
                </a:cxn>
                <a:cxn ang="0">
                  <a:pos x="379" y="243"/>
                </a:cxn>
                <a:cxn ang="0">
                  <a:pos x="403" y="209"/>
                </a:cxn>
                <a:cxn ang="0">
                  <a:pos x="427" y="210"/>
                </a:cxn>
                <a:cxn ang="0">
                  <a:pos x="408" y="287"/>
                </a:cxn>
                <a:cxn ang="0">
                  <a:pos x="396" y="368"/>
                </a:cxn>
                <a:cxn ang="0">
                  <a:pos x="407" y="422"/>
                </a:cxn>
                <a:cxn ang="0">
                  <a:pos x="372" y="463"/>
                </a:cxn>
                <a:cxn ang="0">
                  <a:pos x="285" y="470"/>
                </a:cxn>
                <a:cxn ang="0">
                  <a:pos x="190" y="472"/>
                </a:cxn>
                <a:cxn ang="0">
                  <a:pos x="167" y="458"/>
                </a:cxn>
                <a:cxn ang="0">
                  <a:pos x="150" y="438"/>
                </a:cxn>
                <a:cxn ang="0">
                  <a:pos x="143" y="409"/>
                </a:cxn>
                <a:cxn ang="0">
                  <a:pos x="140" y="385"/>
                </a:cxn>
                <a:cxn ang="0">
                  <a:pos x="135" y="359"/>
                </a:cxn>
                <a:cxn ang="0">
                  <a:pos x="123" y="323"/>
                </a:cxn>
                <a:cxn ang="0">
                  <a:pos x="101" y="311"/>
                </a:cxn>
                <a:cxn ang="0">
                  <a:pos x="78" y="286"/>
                </a:cxn>
                <a:cxn ang="0">
                  <a:pos x="53" y="272"/>
                </a:cxn>
                <a:cxn ang="0">
                  <a:pos x="25" y="257"/>
                </a:cxn>
                <a:cxn ang="0">
                  <a:pos x="12" y="229"/>
                </a:cxn>
                <a:cxn ang="0">
                  <a:pos x="12" y="212"/>
                </a:cxn>
                <a:cxn ang="0">
                  <a:pos x="12" y="192"/>
                </a:cxn>
                <a:cxn ang="0">
                  <a:pos x="19" y="168"/>
                </a:cxn>
                <a:cxn ang="0">
                  <a:pos x="5" y="154"/>
                </a:cxn>
                <a:cxn ang="0">
                  <a:pos x="8" y="134"/>
                </a:cxn>
                <a:cxn ang="0">
                  <a:pos x="24" y="111"/>
                </a:cxn>
                <a:cxn ang="0">
                  <a:pos x="39" y="104"/>
                </a:cxn>
                <a:cxn ang="0">
                  <a:pos x="41" y="36"/>
                </a:cxn>
                <a:cxn ang="0">
                  <a:pos x="94" y="22"/>
                </a:cxn>
                <a:cxn ang="0">
                  <a:pos x="155" y="31"/>
                </a:cxn>
                <a:cxn ang="0">
                  <a:pos x="188" y="41"/>
                </a:cxn>
                <a:cxn ang="0">
                  <a:pos x="200" y="52"/>
                </a:cxn>
                <a:cxn ang="0">
                  <a:pos x="280" y="77"/>
                </a:cxn>
                <a:cxn ang="0">
                  <a:pos x="306" y="87"/>
                </a:cxn>
                <a:cxn ang="0">
                  <a:pos x="316" y="91"/>
                </a:cxn>
                <a:cxn ang="0">
                  <a:pos x="325" y="87"/>
                </a:cxn>
                <a:cxn ang="0">
                  <a:pos x="337" y="89"/>
                </a:cxn>
                <a:cxn ang="0">
                  <a:pos x="350" y="93"/>
                </a:cxn>
                <a:cxn ang="0">
                  <a:pos x="360" y="99"/>
                </a:cxn>
                <a:cxn ang="0">
                  <a:pos x="366" y="108"/>
                </a:cxn>
                <a:cxn ang="0">
                  <a:pos x="381" y="116"/>
                </a:cxn>
                <a:cxn ang="0">
                  <a:pos x="384" y="127"/>
                </a:cxn>
                <a:cxn ang="0">
                  <a:pos x="384" y="139"/>
                </a:cxn>
                <a:cxn ang="0">
                  <a:pos x="379" y="154"/>
                </a:cxn>
                <a:cxn ang="0">
                  <a:pos x="388" y="154"/>
                </a:cxn>
                <a:cxn ang="0">
                  <a:pos x="393" y="164"/>
                </a:cxn>
                <a:cxn ang="0">
                  <a:pos x="396" y="176"/>
                </a:cxn>
                <a:cxn ang="0">
                  <a:pos x="391" y="195"/>
                </a:cxn>
                <a:cxn ang="0">
                  <a:pos x="442" y="159"/>
                </a:cxn>
                <a:cxn ang="0">
                  <a:pos x="441" y="181"/>
                </a:cxn>
                <a:cxn ang="0">
                  <a:pos x="427" y="210"/>
                </a:cxn>
                <a:cxn ang="0">
                  <a:pos x="429" y="169"/>
                </a:cxn>
              </a:cxnLst>
              <a:rect l="0" t="0" r="r" b="b"/>
              <a:pathLst>
                <a:path w="448" h="475">
                  <a:moveTo>
                    <a:pt x="391" y="195"/>
                  </a:moveTo>
                  <a:lnTo>
                    <a:pt x="386" y="200"/>
                  </a:lnTo>
                  <a:lnTo>
                    <a:pt x="386" y="205"/>
                  </a:lnTo>
                  <a:lnTo>
                    <a:pt x="376" y="222"/>
                  </a:lnTo>
                  <a:lnTo>
                    <a:pt x="378" y="228"/>
                  </a:lnTo>
                  <a:lnTo>
                    <a:pt x="374" y="231"/>
                  </a:lnTo>
                  <a:lnTo>
                    <a:pt x="378" y="236"/>
                  </a:lnTo>
                  <a:lnTo>
                    <a:pt x="376" y="234"/>
                  </a:lnTo>
                  <a:lnTo>
                    <a:pt x="374" y="239"/>
                  </a:lnTo>
                  <a:lnTo>
                    <a:pt x="379" y="243"/>
                  </a:lnTo>
                  <a:lnTo>
                    <a:pt x="383" y="241"/>
                  </a:lnTo>
                  <a:lnTo>
                    <a:pt x="386" y="233"/>
                  </a:lnTo>
                  <a:lnTo>
                    <a:pt x="393" y="229"/>
                  </a:lnTo>
                  <a:lnTo>
                    <a:pt x="396" y="224"/>
                  </a:lnTo>
                  <a:lnTo>
                    <a:pt x="403" y="209"/>
                  </a:lnTo>
                  <a:lnTo>
                    <a:pt x="408" y="205"/>
                  </a:lnTo>
                  <a:lnTo>
                    <a:pt x="408" y="209"/>
                  </a:lnTo>
                  <a:lnTo>
                    <a:pt x="417" y="200"/>
                  </a:lnTo>
                  <a:lnTo>
                    <a:pt x="422" y="209"/>
                  </a:lnTo>
                  <a:lnTo>
                    <a:pt x="427" y="210"/>
                  </a:lnTo>
                  <a:lnTo>
                    <a:pt x="424" y="224"/>
                  </a:lnTo>
                  <a:lnTo>
                    <a:pt x="417" y="239"/>
                  </a:lnTo>
                  <a:lnTo>
                    <a:pt x="413" y="262"/>
                  </a:lnTo>
                  <a:lnTo>
                    <a:pt x="417" y="279"/>
                  </a:lnTo>
                  <a:lnTo>
                    <a:pt x="408" y="287"/>
                  </a:lnTo>
                  <a:lnTo>
                    <a:pt x="403" y="310"/>
                  </a:lnTo>
                  <a:lnTo>
                    <a:pt x="408" y="333"/>
                  </a:lnTo>
                  <a:lnTo>
                    <a:pt x="401" y="347"/>
                  </a:lnTo>
                  <a:lnTo>
                    <a:pt x="401" y="357"/>
                  </a:lnTo>
                  <a:lnTo>
                    <a:pt x="396" y="368"/>
                  </a:lnTo>
                  <a:lnTo>
                    <a:pt x="398" y="385"/>
                  </a:lnTo>
                  <a:lnTo>
                    <a:pt x="401" y="398"/>
                  </a:lnTo>
                  <a:lnTo>
                    <a:pt x="398" y="404"/>
                  </a:lnTo>
                  <a:lnTo>
                    <a:pt x="403" y="410"/>
                  </a:lnTo>
                  <a:lnTo>
                    <a:pt x="407" y="422"/>
                  </a:lnTo>
                  <a:lnTo>
                    <a:pt x="412" y="429"/>
                  </a:lnTo>
                  <a:lnTo>
                    <a:pt x="410" y="441"/>
                  </a:lnTo>
                  <a:lnTo>
                    <a:pt x="412" y="462"/>
                  </a:lnTo>
                  <a:lnTo>
                    <a:pt x="379" y="463"/>
                  </a:lnTo>
                  <a:lnTo>
                    <a:pt x="372" y="463"/>
                  </a:lnTo>
                  <a:lnTo>
                    <a:pt x="340" y="467"/>
                  </a:lnTo>
                  <a:lnTo>
                    <a:pt x="335" y="467"/>
                  </a:lnTo>
                  <a:lnTo>
                    <a:pt x="321" y="468"/>
                  </a:lnTo>
                  <a:lnTo>
                    <a:pt x="289" y="470"/>
                  </a:lnTo>
                  <a:lnTo>
                    <a:pt x="285" y="470"/>
                  </a:lnTo>
                  <a:lnTo>
                    <a:pt x="251" y="472"/>
                  </a:lnTo>
                  <a:lnTo>
                    <a:pt x="244" y="472"/>
                  </a:lnTo>
                  <a:lnTo>
                    <a:pt x="205" y="474"/>
                  </a:lnTo>
                  <a:lnTo>
                    <a:pt x="188" y="475"/>
                  </a:lnTo>
                  <a:lnTo>
                    <a:pt x="190" y="472"/>
                  </a:lnTo>
                  <a:lnTo>
                    <a:pt x="188" y="470"/>
                  </a:lnTo>
                  <a:lnTo>
                    <a:pt x="186" y="468"/>
                  </a:lnTo>
                  <a:lnTo>
                    <a:pt x="183" y="462"/>
                  </a:lnTo>
                  <a:lnTo>
                    <a:pt x="179" y="460"/>
                  </a:lnTo>
                  <a:lnTo>
                    <a:pt x="167" y="458"/>
                  </a:lnTo>
                  <a:lnTo>
                    <a:pt x="166" y="457"/>
                  </a:lnTo>
                  <a:lnTo>
                    <a:pt x="159" y="455"/>
                  </a:lnTo>
                  <a:lnTo>
                    <a:pt x="154" y="451"/>
                  </a:lnTo>
                  <a:lnTo>
                    <a:pt x="152" y="446"/>
                  </a:lnTo>
                  <a:lnTo>
                    <a:pt x="150" y="438"/>
                  </a:lnTo>
                  <a:lnTo>
                    <a:pt x="147" y="433"/>
                  </a:lnTo>
                  <a:lnTo>
                    <a:pt x="145" y="424"/>
                  </a:lnTo>
                  <a:lnTo>
                    <a:pt x="143" y="416"/>
                  </a:lnTo>
                  <a:lnTo>
                    <a:pt x="143" y="416"/>
                  </a:lnTo>
                  <a:lnTo>
                    <a:pt x="143" y="409"/>
                  </a:lnTo>
                  <a:lnTo>
                    <a:pt x="150" y="397"/>
                  </a:lnTo>
                  <a:lnTo>
                    <a:pt x="150" y="393"/>
                  </a:lnTo>
                  <a:lnTo>
                    <a:pt x="149" y="390"/>
                  </a:lnTo>
                  <a:lnTo>
                    <a:pt x="142" y="386"/>
                  </a:lnTo>
                  <a:lnTo>
                    <a:pt x="140" y="385"/>
                  </a:lnTo>
                  <a:lnTo>
                    <a:pt x="138" y="378"/>
                  </a:lnTo>
                  <a:lnTo>
                    <a:pt x="137" y="374"/>
                  </a:lnTo>
                  <a:lnTo>
                    <a:pt x="137" y="371"/>
                  </a:lnTo>
                  <a:lnTo>
                    <a:pt x="135" y="366"/>
                  </a:lnTo>
                  <a:lnTo>
                    <a:pt x="135" y="359"/>
                  </a:lnTo>
                  <a:lnTo>
                    <a:pt x="133" y="352"/>
                  </a:lnTo>
                  <a:lnTo>
                    <a:pt x="133" y="347"/>
                  </a:lnTo>
                  <a:lnTo>
                    <a:pt x="133" y="340"/>
                  </a:lnTo>
                  <a:lnTo>
                    <a:pt x="130" y="333"/>
                  </a:lnTo>
                  <a:lnTo>
                    <a:pt x="123" y="323"/>
                  </a:lnTo>
                  <a:lnTo>
                    <a:pt x="118" y="320"/>
                  </a:lnTo>
                  <a:lnTo>
                    <a:pt x="111" y="315"/>
                  </a:lnTo>
                  <a:lnTo>
                    <a:pt x="107" y="315"/>
                  </a:lnTo>
                  <a:lnTo>
                    <a:pt x="104" y="313"/>
                  </a:lnTo>
                  <a:lnTo>
                    <a:pt x="101" y="311"/>
                  </a:lnTo>
                  <a:lnTo>
                    <a:pt x="92" y="304"/>
                  </a:lnTo>
                  <a:lnTo>
                    <a:pt x="85" y="299"/>
                  </a:lnTo>
                  <a:lnTo>
                    <a:pt x="82" y="291"/>
                  </a:lnTo>
                  <a:lnTo>
                    <a:pt x="78" y="289"/>
                  </a:lnTo>
                  <a:lnTo>
                    <a:pt x="78" y="286"/>
                  </a:lnTo>
                  <a:lnTo>
                    <a:pt x="77" y="282"/>
                  </a:lnTo>
                  <a:lnTo>
                    <a:pt x="75" y="281"/>
                  </a:lnTo>
                  <a:lnTo>
                    <a:pt x="65" y="275"/>
                  </a:lnTo>
                  <a:lnTo>
                    <a:pt x="56" y="274"/>
                  </a:lnTo>
                  <a:lnTo>
                    <a:pt x="53" y="272"/>
                  </a:lnTo>
                  <a:lnTo>
                    <a:pt x="49" y="267"/>
                  </a:lnTo>
                  <a:lnTo>
                    <a:pt x="48" y="262"/>
                  </a:lnTo>
                  <a:lnTo>
                    <a:pt x="46" y="262"/>
                  </a:lnTo>
                  <a:lnTo>
                    <a:pt x="32" y="260"/>
                  </a:lnTo>
                  <a:lnTo>
                    <a:pt x="25" y="257"/>
                  </a:lnTo>
                  <a:lnTo>
                    <a:pt x="24" y="253"/>
                  </a:lnTo>
                  <a:lnTo>
                    <a:pt x="15" y="245"/>
                  </a:lnTo>
                  <a:lnTo>
                    <a:pt x="10" y="241"/>
                  </a:lnTo>
                  <a:lnTo>
                    <a:pt x="12" y="233"/>
                  </a:lnTo>
                  <a:lnTo>
                    <a:pt x="12" y="229"/>
                  </a:lnTo>
                  <a:lnTo>
                    <a:pt x="12" y="226"/>
                  </a:lnTo>
                  <a:lnTo>
                    <a:pt x="12" y="224"/>
                  </a:lnTo>
                  <a:lnTo>
                    <a:pt x="13" y="221"/>
                  </a:lnTo>
                  <a:lnTo>
                    <a:pt x="12" y="214"/>
                  </a:lnTo>
                  <a:lnTo>
                    <a:pt x="12" y="212"/>
                  </a:lnTo>
                  <a:lnTo>
                    <a:pt x="8" y="207"/>
                  </a:lnTo>
                  <a:lnTo>
                    <a:pt x="12" y="202"/>
                  </a:lnTo>
                  <a:lnTo>
                    <a:pt x="12" y="197"/>
                  </a:lnTo>
                  <a:lnTo>
                    <a:pt x="12" y="195"/>
                  </a:lnTo>
                  <a:lnTo>
                    <a:pt x="12" y="192"/>
                  </a:lnTo>
                  <a:lnTo>
                    <a:pt x="12" y="183"/>
                  </a:lnTo>
                  <a:lnTo>
                    <a:pt x="15" y="180"/>
                  </a:lnTo>
                  <a:lnTo>
                    <a:pt x="17" y="175"/>
                  </a:lnTo>
                  <a:lnTo>
                    <a:pt x="19" y="171"/>
                  </a:lnTo>
                  <a:lnTo>
                    <a:pt x="19" y="168"/>
                  </a:lnTo>
                  <a:lnTo>
                    <a:pt x="19" y="166"/>
                  </a:lnTo>
                  <a:lnTo>
                    <a:pt x="15" y="164"/>
                  </a:lnTo>
                  <a:lnTo>
                    <a:pt x="12" y="156"/>
                  </a:lnTo>
                  <a:lnTo>
                    <a:pt x="10" y="154"/>
                  </a:lnTo>
                  <a:lnTo>
                    <a:pt x="5" y="154"/>
                  </a:lnTo>
                  <a:lnTo>
                    <a:pt x="2" y="152"/>
                  </a:lnTo>
                  <a:lnTo>
                    <a:pt x="0" y="146"/>
                  </a:lnTo>
                  <a:lnTo>
                    <a:pt x="2" y="139"/>
                  </a:lnTo>
                  <a:lnTo>
                    <a:pt x="3" y="137"/>
                  </a:lnTo>
                  <a:lnTo>
                    <a:pt x="8" y="134"/>
                  </a:lnTo>
                  <a:lnTo>
                    <a:pt x="10" y="125"/>
                  </a:lnTo>
                  <a:lnTo>
                    <a:pt x="10" y="123"/>
                  </a:lnTo>
                  <a:lnTo>
                    <a:pt x="12" y="118"/>
                  </a:lnTo>
                  <a:lnTo>
                    <a:pt x="15" y="116"/>
                  </a:lnTo>
                  <a:lnTo>
                    <a:pt x="24" y="111"/>
                  </a:lnTo>
                  <a:lnTo>
                    <a:pt x="25" y="108"/>
                  </a:lnTo>
                  <a:lnTo>
                    <a:pt x="31" y="108"/>
                  </a:lnTo>
                  <a:lnTo>
                    <a:pt x="34" y="104"/>
                  </a:lnTo>
                  <a:lnTo>
                    <a:pt x="37" y="104"/>
                  </a:lnTo>
                  <a:lnTo>
                    <a:pt x="39" y="104"/>
                  </a:lnTo>
                  <a:lnTo>
                    <a:pt x="41" y="99"/>
                  </a:lnTo>
                  <a:lnTo>
                    <a:pt x="43" y="98"/>
                  </a:lnTo>
                  <a:lnTo>
                    <a:pt x="43" y="89"/>
                  </a:lnTo>
                  <a:lnTo>
                    <a:pt x="43" y="62"/>
                  </a:lnTo>
                  <a:lnTo>
                    <a:pt x="41" y="36"/>
                  </a:lnTo>
                  <a:lnTo>
                    <a:pt x="46" y="36"/>
                  </a:lnTo>
                  <a:lnTo>
                    <a:pt x="55" y="26"/>
                  </a:lnTo>
                  <a:lnTo>
                    <a:pt x="61" y="33"/>
                  </a:lnTo>
                  <a:lnTo>
                    <a:pt x="68" y="33"/>
                  </a:lnTo>
                  <a:lnTo>
                    <a:pt x="94" y="22"/>
                  </a:lnTo>
                  <a:lnTo>
                    <a:pt x="145" y="0"/>
                  </a:lnTo>
                  <a:lnTo>
                    <a:pt x="152" y="2"/>
                  </a:lnTo>
                  <a:lnTo>
                    <a:pt x="152" y="7"/>
                  </a:lnTo>
                  <a:lnTo>
                    <a:pt x="142" y="40"/>
                  </a:lnTo>
                  <a:lnTo>
                    <a:pt x="155" y="31"/>
                  </a:lnTo>
                  <a:lnTo>
                    <a:pt x="171" y="38"/>
                  </a:lnTo>
                  <a:lnTo>
                    <a:pt x="181" y="38"/>
                  </a:lnTo>
                  <a:lnTo>
                    <a:pt x="183" y="41"/>
                  </a:lnTo>
                  <a:lnTo>
                    <a:pt x="188" y="40"/>
                  </a:lnTo>
                  <a:lnTo>
                    <a:pt x="188" y="41"/>
                  </a:lnTo>
                  <a:lnTo>
                    <a:pt x="188" y="43"/>
                  </a:lnTo>
                  <a:lnTo>
                    <a:pt x="191" y="43"/>
                  </a:lnTo>
                  <a:lnTo>
                    <a:pt x="191" y="45"/>
                  </a:lnTo>
                  <a:lnTo>
                    <a:pt x="195" y="45"/>
                  </a:lnTo>
                  <a:lnTo>
                    <a:pt x="200" y="52"/>
                  </a:lnTo>
                  <a:lnTo>
                    <a:pt x="201" y="57"/>
                  </a:lnTo>
                  <a:lnTo>
                    <a:pt x="203" y="58"/>
                  </a:lnTo>
                  <a:lnTo>
                    <a:pt x="203" y="62"/>
                  </a:lnTo>
                  <a:lnTo>
                    <a:pt x="219" y="65"/>
                  </a:lnTo>
                  <a:lnTo>
                    <a:pt x="280" y="77"/>
                  </a:lnTo>
                  <a:lnTo>
                    <a:pt x="289" y="81"/>
                  </a:lnTo>
                  <a:lnTo>
                    <a:pt x="294" y="84"/>
                  </a:lnTo>
                  <a:lnTo>
                    <a:pt x="304" y="87"/>
                  </a:lnTo>
                  <a:lnTo>
                    <a:pt x="304" y="87"/>
                  </a:lnTo>
                  <a:lnTo>
                    <a:pt x="306" y="87"/>
                  </a:lnTo>
                  <a:lnTo>
                    <a:pt x="306" y="89"/>
                  </a:lnTo>
                  <a:lnTo>
                    <a:pt x="309" y="87"/>
                  </a:lnTo>
                  <a:lnTo>
                    <a:pt x="311" y="89"/>
                  </a:lnTo>
                  <a:lnTo>
                    <a:pt x="313" y="87"/>
                  </a:lnTo>
                  <a:lnTo>
                    <a:pt x="316" y="91"/>
                  </a:lnTo>
                  <a:lnTo>
                    <a:pt x="318" y="91"/>
                  </a:lnTo>
                  <a:lnTo>
                    <a:pt x="319" y="87"/>
                  </a:lnTo>
                  <a:lnTo>
                    <a:pt x="321" y="89"/>
                  </a:lnTo>
                  <a:lnTo>
                    <a:pt x="323" y="87"/>
                  </a:lnTo>
                  <a:lnTo>
                    <a:pt x="325" y="87"/>
                  </a:lnTo>
                  <a:lnTo>
                    <a:pt x="326" y="87"/>
                  </a:lnTo>
                  <a:lnTo>
                    <a:pt x="328" y="89"/>
                  </a:lnTo>
                  <a:lnTo>
                    <a:pt x="330" y="89"/>
                  </a:lnTo>
                  <a:lnTo>
                    <a:pt x="333" y="91"/>
                  </a:lnTo>
                  <a:lnTo>
                    <a:pt x="337" y="89"/>
                  </a:lnTo>
                  <a:lnTo>
                    <a:pt x="340" y="93"/>
                  </a:lnTo>
                  <a:lnTo>
                    <a:pt x="342" y="93"/>
                  </a:lnTo>
                  <a:lnTo>
                    <a:pt x="345" y="91"/>
                  </a:lnTo>
                  <a:lnTo>
                    <a:pt x="348" y="93"/>
                  </a:lnTo>
                  <a:lnTo>
                    <a:pt x="350" y="93"/>
                  </a:lnTo>
                  <a:lnTo>
                    <a:pt x="354" y="94"/>
                  </a:lnTo>
                  <a:lnTo>
                    <a:pt x="355" y="94"/>
                  </a:lnTo>
                  <a:lnTo>
                    <a:pt x="357" y="96"/>
                  </a:lnTo>
                  <a:lnTo>
                    <a:pt x="357" y="98"/>
                  </a:lnTo>
                  <a:lnTo>
                    <a:pt x="360" y="99"/>
                  </a:lnTo>
                  <a:lnTo>
                    <a:pt x="355" y="104"/>
                  </a:lnTo>
                  <a:lnTo>
                    <a:pt x="355" y="106"/>
                  </a:lnTo>
                  <a:lnTo>
                    <a:pt x="359" y="110"/>
                  </a:lnTo>
                  <a:lnTo>
                    <a:pt x="362" y="110"/>
                  </a:lnTo>
                  <a:lnTo>
                    <a:pt x="366" y="108"/>
                  </a:lnTo>
                  <a:lnTo>
                    <a:pt x="367" y="111"/>
                  </a:lnTo>
                  <a:lnTo>
                    <a:pt x="376" y="111"/>
                  </a:lnTo>
                  <a:lnTo>
                    <a:pt x="378" y="115"/>
                  </a:lnTo>
                  <a:lnTo>
                    <a:pt x="381" y="116"/>
                  </a:lnTo>
                  <a:lnTo>
                    <a:pt x="381" y="116"/>
                  </a:lnTo>
                  <a:lnTo>
                    <a:pt x="383" y="118"/>
                  </a:lnTo>
                  <a:lnTo>
                    <a:pt x="383" y="120"/>
                  </a:lnTo>
                  <a:lnTo>
                    <a:pt x="381" y="122"/>
                  </a:lnTo>
                  <a:lnTo>
                    <a:pt x="381" y="122"/>
                  </a:lnTo>
                  <a:lnTo>
                    <a:pt x="384" y="127"/>
                  </a:lnTo>
                  <a:lnTo>
                    <a:pt x="384" y="127"/>
                  </a:lnTo>
                  <a:lnTo>
                    <a:pt x="383" y="130"/>
                  </a:lnTo>
                  <a:lnTo>
                    <a:pt x="381" y="132"/>
                  </a:lnTo>
                  <a:lnTo>
                    <a:pt x="383" y="134"/>
                  </a:lnTo>
                  <a:lnTo>
                    <a:pt x="384" y="139"/>
                  </a:lnTo>
                  <a:lnTo>
                    <a:pt x="383" y="142"/>
                  </a:lnTo>
                  <a:lnTo>
                    <a:pt x="379" y="144"/>
                  </a:lnTo>
                  <a:lnTo>
                    <a:pt x="381" y="149"/>
                  </a:lnTo>
                  <a:lnTo>
                    <a:pt x="378" y="154"/>
                  </a:lnTo>
                  <a:lnTo>
                    <a:pt x="379" y="154"/>
                  </a:lnTo>
                  <a:lnTo>
                    <a:pt x="379" y="152"/>
                  </a:lnTo>
                  <a:lnTo>
                    <a:pt x="379" y="152"/>
                  </a:lnTo>
                  <a:lnTo>
                    <a:pt x="381" y="156"/>
                  </a:lnTo>
                  <a:lnTo>
                    <a:pt x="383" y="154"/>
                  </a:lnTo>
                  <a:lnTo>
                    <a:pt x="388" y="154"/>
                  </a:lnTo>
                  <a:lnTo>
                    <a:pt x="393" y="149"/>
                  </a:lnTo>
                  <a:lnTo>
                    <a:pt x="396" y="152"/>
                  </a:lnTo>
                  <a:lnTo>
                    <a:pt x="396" y="154"/>
                  </a:lnTo>
                  <a:lnTo>
                    <a:pt x="393" y="163"/>
                  </a:lnTo>
                  <a:lnTo>
                    <a:pt x="393" y="164"/>
                  </a:lnTo>
                  <a:lnTo>
                    <a:pt x="391" y="166"/>
                  </a:lnTo>
                  <a:lnTo>
                    <a:pt x="391" y="169"/>
                  </a:lnTo>
                  <a:lnTo>
                    <a:pt x="391" y="169"/>
                  </a:lnTo>
                  <a:lnTo>
                    <a:pt x="391" y="173"/>
                  </a:lnTo>
                  <a:lnTo>
                    <a:pt x="396" y="176"/>
                  </a:lnTo>
                  <a:lnTo>
                    <a:pt x="396" y="180"/>
                  </a:lnTo>
                  <a:lnTo>
                    <a:pt x="403" y="180"/>
                  </a:lnTo>
                  <a:lnTo>
                    <a:pt x="401" y="185"/>
                  </a:lnTo>
                  <a:lnTo>
                    <a:pt x="401" y="192"/>
                  </a:lnTo>
                  <a:lnTo>
                    <a:pt x="391" y="195"/>
                  </a:lnTo>
                  <a:close/>
                  <a:moveTo>
                    <a:pt x="442" y="156"/>
                  </a:moveTo>
                  <a:lnTo>
                    <a:pt x="446" y="154"/>
                  </a:lnTo>
                  <a:lnTo>
                    <a:pt x="448" y="161"/>
                  </a:lnTo>
                  <a:lnTo>
                    <a:pt x="446" y="163"/>
                  </a:lnTo>
                  <a:lnTo>
                    <a:pt x="442" y="159"/>
                  </a:lnTo>
                  <a:lnTo>
                    <a:pt x="444" y="171"/>
                  </a:lnTo>
                  <a:lnTo>
                    <a:pt x="441" y="171"/>
                  </a:lnTo>
                  <a:lnTo>
                    <a:pt x="444" y="176"/>
                  </a:lnTo>
                  <a:lnTo>
                    <a:pt x="441" y="176"/>
                  </a:lnTo>
                  <a:lnTo>
                    <a:pt x="441" y="181"/>
                  </a:lnTo>
                  <a:lnTo>
                    <a:pt x="439" y="180"/>
                  </a:lnTo>
                  <a:lnTo>
                    <a:pt x="436" y="190"/>
                  </a:lnTo>
                  <a:lnTo>
                    <a:pt x="436" y="195"/>
                  </a:lnTo>
                  <a:lnTo>
                    <a:pt x="434" y="202"/>
                  </a:lnTo>
                  <a:lnTo>
                    <a:pt x="427" y="210"/>
                  </a:lnTo>
                  <a:lnTo>
                    <a:pt x="422" y="207"/>
                  </a:lnTo>
                  <a:lnTo>
                    <a:pt x="419" y="198"/>
                  </a:lnTo>
                  <a:lnTo>
                    <a:pt x="422" y="187"/>
                  </a:lnTo>
                  <a:lnTo>
                    <a:pt x="427" y="183"/>
                  </a:lnTo>
                  <a:lnTo>
                    <a:pt x="429" y="169"/>
                  </a:lnTo>
                  <a:lnTo>
                    <a:pt x="434" y="171"/>
                  </a:lnTo>
                  <a:lnTo>
                    <a:pt x="441" y="156"/>
                  </a:lnTo>
                  <a:lnTo>
                    <a:pt x="442" y="156"/>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17" name="Freeform 13">
              <a:extLst>
                <a:ext uri="{FF2B5EF4-FFF2-40B4-BE49-F238E27FC236}">
                  <a16:creationId xmlns:a16="http://schemas.microsoft.com/office/drawing/2014/main" id="{38BF2062-4047-4F3A-8957-BF73AC15CBEB}"/>
                </a:ext>
              </a:extLst>
            </p:cNvPr>
            <p:cNvSpPr>
              <a:spLocks/>
            </p:cNvSpPr>
            <p:nvPr/>
          </p:nvSpPr>
          <p:spPr bwMode="gray">
            <a:xfrm>
              <a:off x="2600031" y="1764263"/>
              <a:ext cx="818013" cy="1323635"/>
            </a:xfrm>
            <a:custGeom>
              <a:avLst/>
              <a:gdLst/>
              <a:ahLst/>
              <a:cxnLst>
                <a:cxn ang="0">
                  <a:pos x="45" y="537"/>
                </a:cxn>
                <a:cxn ang="0">
                  <a:pos x="55" y="521"/>
                </a:cxn>
                <a:cxn ang="0">
                  <a:pos x="57" y="501"/>
                </a:cxn>
                <a:cxn ang="0">
                  <a:pos x="48" y="492"/>
                </a:cxn>
                <a:cxn ang="0">
                  <a:pos x="43" y="484"/>
                </a:cxn>
                <a:cxn ang="0">
                  <a:pos x="52" y="463"/>
                </a:cxn>
                <a:cxn ang="0">
                  <a:pos x="72" y="441"/>
                </a:cxn>
                <a:cxn ang="0">
                  <a:pos x="86" y="422"/>
                </a:cxn>
                <a:cxn ang="0">
                  <a:pos x="91" y="414"/>
                </a:cxn>
                <a:cxn ang="0">
                  <a:pos x="116" y="376"/>
                </a:cxn>
                <a:cxn ang="0">
                  <a:pos x="123" y="347"/>
                </a:cxn>
                <a:cxn ang="0">
                  <a:pos x="105" y="316"/>
                </a:cxn>
                <a:cxn ang="0">
                  <a:pos x="105" y="292"/>
                </a:cxn>
                <a:cxn ang="0">
                  <a:pos x="105" y="267"/>
                </a:cxn>
                <a:cxn ang="0">
                  <a:pos x="142" y="99"/>
                </a:cxn>
                <a:cxn ang="0">
                  <a:pos x="210" y="121"/>
                </a:cxn>
                <a:cxn ang="0">
                  <a:pos x="221" y="142"/>
                </a:cxn>
                <a:cxn ang="0">
                  <a:pos x="228" y="164"/>
                </a:cxn>
                <a:cxn ang="0">
                  <a:pos x="228" y="181"/>
                </a:cxn>
                <a:cxn ang="0">
                  <a:pos x="226" y="190"/>
                </a:cxn>
                <a:cxn ang="0">
                  <a:pos x="241" y="205"/>
                </a:cxn>
                <a:cxn ang="0">
                  <a:pos x="255" y="227"/>
                </a:cxn>
                <a:cxn ang="0">
                  <a:pos x="265" y="248"/>
                </a:cxn>
                <a:cxn ang="0">
                  <a:pos x="272" y="265"/>
                </a:cxn>
                <a:cxn ang="0">
                  <a:pos x="282" y="272"/>
                </a:cxn>
                <a:cxn ang="0">
                  <a:pos x="294" y="285"/>
                </a:cxn>
                <a:cxn ang="0">
                  <a:pos x="301" y="299"/>
                </a:cxn>
                <a:cxn ang="0">
                  <a:pos x="291" y="323"/>
                </a:cxn>
                <a:cxn ang="0">
                  <a:pos x="282" y="335"/>
                </a:cxn>
                <a:cxn ang="0">
                  <a:pos x="281" y="349"/>
                </a:cxn>
                <a:cxn ang="0">
                  <a:pos x="284" y="362"/>
                </a:cxn>
                <a:cxn ang="0">
                  <a:pos x="275" y="371"/>
                </a:cxn>
                <a:cxn ang="0">
                  <a:pos x="272" y="388"/>
                </a:cxn>
                <a:cxn ang="0">
                  <a:pos x="274" y="400"/>
                </a:cxn>
                <a:cxn ang="0">
                  <a:pos x="287" y="408"/>
                </a:cxn>
                <a:cxn ang="0">
                  <a:pos x="299" y="402"/>
                </a:cxn>
                <a:cxn ang="0">
                  <a:pos x="310" y="391"/>
                </a:cxn>
                <a:cxn ang="0">
                  <a:pos x="316" y="400"/>
                </a:cxn>
                <a:cxn ang="0">
                  <a:pos x="323" y="414"/>
                </a:cxn>
                <a:cxn ang="0">
                  <a:pos x="325" y="439"/>
                </a:cxn>
                <a:cxn ang="0">
                  <a:pos x="330" y="458"/>
                </a:cxn>
                <a:cxn ang="0">
                  <a:pos x="339" y="467"/>
                </a:cxn>
                <a:cxn ang="0">
                  <a:pos x="332" y="478"/>
                </a:cxn>
                <a:cxn ang="0">
                  <a:pos x="349" y="494"/>
                </a:cxn>
                <a:cxn ang="0">
                  <a:pos x="359" y="511"/>
                </a:cxn>
                <a:cxn ang="0">
                  <a:pos x="359" y="531"/>
                </a:cxn>
                <a:cxn ang="0">
                  <a:pos x="369" y="545"/>
                </a:cxn>
                <a:cxn ang="0">
                  <a:pos x="378" y="537"/>
                </a:cxn>
                <a:cxn ang="0">
                  <a:pos x="402" y="540"/>
                </a:cxn>
                <a:cxn ang="0">
                  <a:pos x="419" y="533"/>
                </a:cxn>
                <a:cxn ang="0">
                  <a:pos x="433" y="540"/>
                </a:cxn>
                <a:cxn ang="0">
                  <a:pos x="451" y="545"/>
                </a:cxn>
                <a:cxn ang="0">
                  <a:pos x="470" y="543"/>
                </a:cxn>
                <a:cxn ang="0">
                  <a:pos x="475" y="540"/>
                </a:cxn>
                <a:cxn ang="0">
                  <a:pos x="479" y="530"/>
                </a:cxn>
                <a:cxn ang="0">
                  <a:pos x="489" y="528"/>
                </a:cxn>
                <a:cxn ang="0">
                  <a:pos x="498" y="540"/>
                </a:cxn>
                <a:cxn ang="0">
                  <a:pos x="503" y="552"/>
                </a:cxn>
                <a:cxn ang="0">
                  <a:pos x="487" y="684"/>
                </a:cxn>
                <a:cxn ang="0">
                  <a:pos x="380" y="807"/>
                </a:cxn>
                <a:cxn ang="0">
                  <a:pos x="4" y="733"/>
                </a:cxn>
              </a:cxnLst>
              <a:rect l="0" t="0" r="r" b="b"/>
              <a:pathLst>
                <a:path w="508" h="822">
                  <a:moveTo>
                    <a:pt x="40" y="555"/>
                  </a:moveTo>
                  <a:lnTo>
                    <a:pt x="43" y="547"/>
                  </a:lnTo>
                  <a:lnTo>
                    <a:pt x="43" y="542"/>
                  </a:lnTo>
                  <a:lnTo>
                    <a:pt x="43" y="540"/>
                  </a:lnTo>
                  <a:lnTo>
                    <a:pt x="45" y="538"/>
                  </a:lnTo>
                  <a:lnTo>
                    <a:pt x="45" y="537"/>
                  </a:lnTo>
                  <a:lnTo>
                    <a:pt x="48" y="537"/>
                  </a:lnTo>
                  <a:lnTo>
                    <a:pt x="48" y="535"/>
                  </a:lnTo>
                  <a:lnTo>
                    <a:pt x="50" y="533"/>
                  </a:lnTo>
                  <a:lnTo>
                    <a:pt x="52" y="530"/>
                  </a:lnTo>
                  <a:lnTo>
                    <a:pt x="52" y="526"/>
                  </a:lnTo>
                  <a:lnTo>
                    <a:pt x="55" y="521"/>
                  </a:lnTo>
                  <a:lnTo>
                    <a:pt x="53" y="514"/>
                  </a:lnTo>
                  <a:lnTo>
                    <a:pt x="55" y="513"/>
                  </a:lnTo>
                  <a:lnTo>
                    <a:pt x="57" y="513"/>
                  </a:lnTo>
                  <a:lnTo>
                    <a:pt x="60" y="508"/>
                  </a:lnTo>
                  <a:lnTo>
                    <a:pt x="60" y="504"/>
                  </a:lnTo>
                  <a:lnTo>
                    <a:pt x="57" y="501"/>
                  </a:lnTo>
                  <a:lnTo>
                    <a:pt x="57" y="499"/>
                  </a:lnTo>
                  <a:lnTo>
                    <a:pt x="57" y="496"/>
                  </a:lnTo>
                  <a:lnTo>
                    <a:pt x="53" y="496"/>
                  </a:lnTo>
                  <a:lnTo>
                    <a:pt x="52" y="497"/>
                  </a:lnTo>
                  <a:lnTo>
                    <a:pt x="50" y="496"/>
                  </a:lnTo>
                  <a:lnTo>
                    <a:pt x="48" y="492"/>
                  </a:lnTo>
                  <a:lnTo>
                    <a:pt x="48" y="492"/>
                  </a:lnTo>
                  <a:lnTo>
                    <a:pt x="45" y="494"/>
                  </a:lnTo>
                  <a:lnTo>
                    <a:pt x="43" y="492"/>
                  </a:lnTo>
                  <a:lnTo>
                    <a:pt x="41" y="489"/>
                  </a:lnTo>
                  <a:lnTo>
                    <a:pt x="41" y="487"/>
                  </a:lnTo>
                  <a:lnTo>
                    <a:pt x="43" y="484"/>
                  </a:lnTo>
                  <a:lnTo>
                    <a:pt x="41" y="477"/>
                  </a:lnTo>
                  <a:lnTo>
                    <a:pt x="43" y="473"/>
                  </a:lnTo>
                  <a:lnTo>
                    <a:pt x="45" y="468"/>
                  </a:lnTo>
                  <a:lnTo>
                    <a:pt x="46" y="468"/>
                  </a:lnTo>
                  <a:lnTo>
                    <a:pt x="48" y="465"/>
                  </a:lnTo>
                  <a:lnTo>
                    <a:pt x="52" y="463"/>
                  </a:lnTo>
                  <a:lnTo>
                    <a:pt x="52" y="461"/>
                  </a:lnTo>
                  <a:lnTo>
                    <a:pt x="53" y="460"/>
                  </a:lnTo>
                  <a:lnTo>
                    <a:pt x="60" y="448"/>
                  </a:lnTo>
                  <a:lnTo>
                    <a:pt x="62" y="448"/>
                  </a:lnTo>
                  <a:lnTo>
                    <a:pt x="65" y="443"/>
                  </a:lnTo>
                  <a:lnTo>
                    <a:pt x="72" y="441"/>
                  </a:lnTo>
                  <a:lnTo>
                    <a:pt x="75" y="436"/>
                  </a:lnTo>
                  <a:lnTo>
                    <a:pt x="77" y="434"/>
                  </a:lnTo>
                  <a:lnTo>
                    <a:pt x="81" y="432"/>
                  </a:lnTo>
                  <a:lnTo>
                    <a:pt x="84" y="429"/>
                  </a:lnTo>
                  <a:lnTo>
                    <a:pt x="84" y="424"/>
                  </a:lnTo>
                  <a:lnTo>
                    <a:pt x="86" y="422"/>
                  </a:lnTo>
                  <a:lnTo>
                    <a:pt x="84" y="422"/>
                  </a:lnTo>
                  <a:lnTo>
                    <a:pt x="84" y="422"/>
                  </a:lnTo>
                  <a:lnTo>
                    <a:pt x="84" y="420"/>
                  </a:lnTo>
                  <a:lnTo>
                    <a:pt x="84" y="417"/>
                  </a:lnTo>
                  <a:lnTo>
                    <a:pt x="89" y="415"/>
                  </a:lnTo>
                  <a:lnTo>
                    <a:pt x="91" y="414"/>
                  </a:lnTo>
                  <a:lnTo>
                    <a:pt x="93" y="410"/>
                  </a:lnTo>
                  <a:lnTo>
                    <a:pt x="94" y="410"/>
                  </a:lnTo>
                  <a:lnTo>
                    <a:pt x="96" y="407"/>
                  </a:lnTo>
                  <a:lnTo>
                    <a:pt x="103" y="395"/>
                  </a:lnTo>
                  <a:lnTo>
                    <a:pt x="106" y="388"/>
                  </a:lnTo>
                  <a:lnTo>
                    <a:pt x="116" y="376"/>
                  </a:lnTo>
                  <a:lnTo>
                    <a:pt x="118" y="373"/>
                  </a:lnTo>
                  <a:lnTo>
                    <a:pt x="125" y="366"/>
                  </a:lnTo>
                  <a:lnTo>
                    <a:pt x="127" y="362"/>
                  </a:lnTo>
                  <a:lnTo>
                    <a:pt x="125" y="355"/>
                  </a:lnTo>
                  <a:lnTo>
                    <a:pt x="125" y="350"/>
                  </a:lnTo>
                  <a:lnTo>
                    <a:pt x="123" y="347"/>
                  </a:lnTo>
                  <a:lnTo>
                    <a:pt x="116" y="342"/>
                  </a:lnTo>
                  <a:lnTo>
                    <a:pt x="115" y="337"/>
                  </a:lnTo>
                  <a:lnTo>
                    <a:pt x="110" y="335"/>
                  </a:lnTo>
                  <a:lnTo>
                    <a:pt x="108" y="332"/>
                  </a:lnTo>
                  <a:lnTo>
                    <a:pt x="105" y="325"/>
                  </a:lnTo>
                  <a:lnTo>
                    <a:pt x="105" y="316"/>
                  </a:lnTo>
                  <a:lnTo>
                    <a:pt x="103" y="314"/>
                  </a:lnTo>
                  <a:lnTo>
                    <a:pt x="101" y="306"/>
                  </a:lnTo>
                  <a:lnTo>
                    <a:pt x="99" y="304"/>
                  </a:lnTo>
                  <a:lnTo>
                    <a:pt x="101" y="302"/>
                  </a:lnTo>
                  <a:lnTo>
                    <a:pt x="106" y="297"/>
                  </a:lnTo>
                  <a:lnTo>
                    <a:pt x="105" y="292"/>
                  </a:lnTo>
                  <a:lnTo>
                    <a:pt x="105" y="287"/>
                  </a:lnTo>
                  <a:lnTo>
                    <a:pt x="105" y="280"/>
                  </a:lnTo>
                  <a:lnTo>
                    <a:pt x="103" y="277"/>
                  </a:lnTo>
                  <a:lnTo>
                    <a:pt x="101" y="275"/>
                  </a:lnTo>
                  <a:lnTo>
                    <a:pt x="103" y="272"/>
                  </a:lnTo>
                  <a:lnTo>
                    <a:pt x="105" y="267"/>
                  </a:lnTo>
                  <a:lnTo>
                    <a:pt x="106" y="256"/>
                  </a:lnTo>
                  <a:lnTo>
                    <a:pt x="120" y="195"/>
                  </a:lnTo>
                  <a:lnTo>
                    <a:pt x="123" y="181"/>
                  </a:lnTo>
                  <a:lnTo>
                    <a:pt x="125" y="171"/>
                  </a:lnTo>
                  <a:lnTo>
                    <a:pt x="140" y="108"/>
                  </a:lnTo>
                  <a:lnTo>
                    <a:pt x="142" y="99"/>
                  </a:lnTo>
                  <a:lnTo>
                    <a:pt x="161" y="17"/>
                  </a:lnTo>
                  <a:lnTo>
                    <a:pt x="164" y="0"/>
                  </a:lnTo>
                  <a:lnTo>
                    <a:pt x="233" y="15"/>
                  </a:lnTo>
                  <a:lnTo>
                    <a:pt x="222" y="67"/>
                  </a:lnTo>
                  <a:lnTo>
                    <a:pt x="216" y="97"/>
                  </a:lnTo>
                  <a:lnTo>
                    <a:pt x="210" y="121"/>
                  </a:lnTo>
                  <a:lnTo>
                    <a:pt x="212" y="123"/>
                  </a:lnTo>
                  <a:lnTo>
                    <a:pt x="212" y="128"/>
                  </a:lnTo>
                  <a:lnTo>
                    <a:pt x="216" y="135"/>
                  </a:lnTo>
                  <a:lnTo>
                    <a:pt x="217" y="138"/>
                  </a:lnTo>
                  <a:lnTo>
                    <a:pt x="221" y="140"/>
                  </a:lnTo>
                  <a:lnTo>
                    <a:pt x="221" y="142"/>
                  </a:lnTo>
                  <a:lnTo>
                    <a:pt x="221" y="147"/>
                  </a:lnTo>
                  <a:lnTo>
                    <a:pt x="224" y="150"/>
                  </a:lnTo>
                  <a:lnTo>
                    <a:pt x="224" y="154"/>
                  </a:lnTo>
                  <a:lnTo>
                    <a:pt x="228" y="156"/>
                  </a:lnTo>
                  <a:lnTo>
                    <a:pt x="226" y="161"/>
                  </a:lnTo>
                  <a:lnTo>
                    <a:pt x="228" y="164"/>
                  </a:lnTo>
                  <a:lnTo>
                    <a:pt x="228" y="167"/>
                  </a:lnTo>
                  <a:lnTo>
                    <a:pt x="222" y="173"/>
                  </a:lnTo>
                  <a:lnTo>
                    <a:pt x="226" y="174"/>
                  </a:lnTo>
                  <a:lnTo>
                    <a:pt x="226" y="178"/>
                  </a:lnTo>
                  <a:lnTo>
                    <a:pt x="229" y="179"/>
                  </a:lnTo>
                  <a:lnTo>
                    <a:pt x="228" y="181"/>
                  </a:lnTo>
                  <a:lnTo>
                    <a:pt x="228" y="183"/>
                  </a:lnTo>
                  <a:lnTo>
                    <a:pt x="221" y="181"/>
                  </a:lnTo>
                  <a:lnTo>
                    <a:pt x="219" y="183"/>
                  </a:lnTo>
                  <a:lnTo>
                    <a:pt x="219" y="185"/>
                  </a:lnTo>
                  <a:lnTo>
                    <a:pt x="226" y="188"/>
                  </a:lnTo>
                  <a:lnTo>
                    <a:pt x="226" y="190"/>
                  </a:lnTo>
                  <a:lnTo>
                    <a:pt x="229" y="191"/>
                  </a:lnTo>
                  <a:lnTo>
                    <a:pt x="231" y="197"/>
                  </a:lnTo>
                  <a:lnTo>
                    <a:pt x="233" y="202"/>
                  </a:lnTo>
                  <a:lnTo>
                    <a:pt x="234" y="202"/>
                  </a:lnTo>
                  <a:lnTo>
                    <a:pt x="240" y="203"/>
                  </a:lnTo>
                  <a:lnTo>
                    <a:pt x="241" y="205"/>
                  </a:lnTo>
                  <a:lnTo>
                    <a:pt x="245" y="207"/>
                  </a:lnTo>
                  <a:lnTo>
                    <a:pt x="246" y="208"/>
                  </a:lnTo>
                  <a:lnTo>
                    <a:pt x="246" y="215"/>
                  </a:lnTo>
                  <a:lnTo>
                    <a:pt x="253" y="224"/>
                  </a:lnTo>
                  <a:lnTo>
                    <a:pt x="253" y="226"/>
                  </a:lnTo>
                  <a:lnTo>
                    <a:pt x="255" y="227"/>
                  </a:lnTo>
                  <a:lnTo>
                    <a:pt x="257" y="231"/>
                  </a:lnTo>
                  <a:lnTo>
                    <a:pt x="258" y="236"/>
                  </a:lnTo>
                  <a:lnTo>
                    <a:pt x="260" y="241"/>
                  </a:lnTo>
                  <a:lnTo>
                    <a:pt x="262" y="243"/>
                  </a:lnTo>
                  <a:lnTo>
                    <a:pt x="263" y="243"/>
                  </a:lnTo>
                  <a:lnTo>
                    <a:pt x="265" y="248"/>
                  </a:lnTo>
                  <a:lnTo>
                    <a:pt x="269" y="249"/>
                  </a:lnTo>
                  <a:lnTo>
                    <a:pt x="267" y="251"/>
                  </a:lnTo>
                  <a:lnTo>
                    <a:pt x="265" y="255"/>
                  </a:lnTo>
                  <a:lnTo>
                    <a:pt x="267" y="261"/>
                  </a:lnTo>
                  <a:lnTo>
                    <a:pt x="270" y="263"/>
                  </a:lnTo>
                  <a:lnTo>
                    <a:pt x="272" y="265"/>
                  </a:lnTo>
                  <a:lnTo>
                    <a:pt x="274" y="267"/>
                  </a:lnTo>
                  <a:lnTo>
                    <a:pt x="275" y="268"/>
                  </a:lnTo>
                  <a:lnTo>
                    <a:pt x="274" y="273"/>
                  </a:lnTo>
                  <a:lnTo>
                    <a:pt x="275" y="275"/>
                  </a:lnTo>
                  <a:lnTo>
                    <a:pt x="281" y="272"/>
                  </a:lnTo>
                  <a:lnTo>
                    <a:pt x="282" y="272"/>
                  </a:lnTo>
                  <a:lnTo>
                    <a:pt x="286" y="277"/>
                  </a:lnTo>
                  <a:lnTo>
                    <a:pt x="284" y="279"/>
                  </a:lnTo>
                  <a:lnTo>
                    <a:pt x="282" y="280"/>
                  </a:lnTo>
                  <a:lnTo>
                    <a:pt x="284" y="284"/>
                  </a:lnTo>
                  <a:lnTo>
                    <a:pt x="291" y="284"/>
                  </a:lnTo>
                  <a:lnTo>
                    <a:pt x="294" y="285"/>
                  </a:lnTo>
                  <a:lnTo>
                    <a:pt x="298" y="284"/>
                  </a:lnTo>
                  <a:lnTo>
                    <a:pt x="303" y="284"/>
                  </a:lnTo>
                  <a:lnTo>
                    <a:pt x="306" y="285"/>
                  </a:lnTo>
                  <a:lnTo>
                    <a:pt x="306" y="289"/>
                  </a:lnTo>
                  <a:lnTo>
                    <a:pt x="303" y="292"/>
                  </a:lnTo>
                  <a:lnTo>
                    <a:pt x="301" y="299"/>
                  </a:lnTo>
                  <a:lnTo>
                    <a:pt x="301" y="301"/>
                  </a:lnTo>
                  <a:lnTo>
                    <a:pt x="296" y="301"/>
                  </a:lnTo>
                  <a:lnTo>
                    <a:pt x="298" y="308"/>
                  </a:lnTo>
                  <a:lnTo>
                    <a:pt x="296" y="311"/>
                  </a:lnTo>
                  <a:lnTo>
                    <a:pt x="294" y="311"/>
                  </a:lnTo>
                  <a:lnTo>
                    <a:pt x="291" y="323"/>
                  </a:lnTo>
                  <a:lnTo>
                    <a:pt x="287" y="325"/>
                  </a:lnTo>
                  <a:lnTo>
                    <a:pt x="287" y="326"/>
                  </a:lnTo>
                  <a:lnTo>
                    <a:pt x="289" y="328"/>
                  </a:lnTo>
                  <a:lnTo>
                    <a:pt x="287" y="335"/>
                  </a:lnTo>
                  <a:lnTo>
                    <a:pt x="286" y="335"/>
                  </a:lnTo>
                  <a:lnTo>
                    <a:pt x="282" y="335"/>
                  </a:lnTo>
                  <a:lnTo>
                    <a:pt x="281" y="337"/>
                  </a:lnTo>
                  <a:lnTo>
                    <a:pt x="282" y="338"/>
                  </a:lnTo>
                  <a:lnTo>
                    <a:pt x="284" y="340"/>
                  </a:lnTo>
                  <a:lnTo>
                    <a:pt x="284" y="343"/>
                  </a:lnTo>
                  <a:lnTo>
                    <a:pt x="284" y="347"/>
                  </a:lnTo>
                  <a:lnTo>
                    <a:pt x="281" y="349"/>
                  </a:lnTo>
                  <a:lnTo>
                    <a:pt x="282" y="350"/>
                  </a:lnTo>
                  <a:lnTo>
                    <a:pt x="281" y="352"/>
                  </a:lnTo>
                  <a:lnTo>
                    <a:pt x="286" y="355"/>
                  </a:lnTo>
                  <a:lnTo>
                    <a:pt x="286" y="357"/>
                  </a:lnTo>
                  <a:lnTo>
                    <a:pt x="284" y="361"/>
                  </a:lnTo>
                  <a:lnTo>
                    <a:pt x="284" y="362"/>
                  </a:lnTo>
                  <a:lnTo>
                    <a:pt x="286" y="366"/>
                  </a:lnTo>
                  <a:lnTo>
                    <a:pt x="284" y="369"/>
                  </a:lnTo>
                  <a:lnTo>
                    <a:pt x="281" y="367"/>
                  </a:lnTo>
                  <a:lnTo>
                    <a:pt x="279" y="369"/>
                  </a:lnTo>
                  <a:lnTo>
                    <a:pt x="277" y="367"/>
                  </a:lnTo>
                  <a:lnTo>
                    <a:pt x="275" y="371"/>
                  </a:lnTo>
                  <a:lnTo>
                    <a:pt x="270" y="376"/>
                  </a:lnTo>
                  <a:lnTo>
                    <a:pt x="272" y="378"/>
                  </a:lnTo>
                  <a:lnTo>
                    <a:pt x="272" y="379"/>
                  </a:lnTo>
                  <a:lnTo>
                    <a:pt x="274" y="383"/>
                  </a:lnTo>
                  <a:lnTo>
                    <a:pt x="272" y="384"/>
                  </a:lnTo>
                  <a:lnTo>
                    <a:pt x="272" y="388"/>
                  </a:lnTo>
                  <a:lnTo>
                    <a:pt x="267" y="390"/>
                  </a:lnTo>
                  <a:lnTo>
                    <a:pt x="269" y="393"/>
                  </a:lnTo>
                  <a:lnTo>
                    <a:pt x="265" y="398"/>
                  </a:lnTo>
                  <a:lnTo>
                    <a:pt x="269" y="396"/>
                  </a:lnTo>
                  <a:lnTo>
                    <a:pt x="270" y="398"/>
                  </a:lnTo>
                  <a:lnTo>
                    <a:pt x="274" y="400"/>
                  </a:lnTo>
                  <a:lnTo>
                    <a:pt x="275" y="402"/>
                  </a:lnTo>
                  <a:lnTo>
                    <a:pt x="275" y="405"/>
                  </a:lnTo>
                  <a:lnTo>
                    <a:pt x="279" y="407"/>
                  </a:lnTo>
                  <a:lnTo>
                    <a:pt x="281" y="410"/>
                  </a:lnTo>
                  <a:lnTo>
                    <a:pt x="282" y="410"/>
                  </a:lnTo>
                  <a:lnTo>
                    <a:pt x="287" y="408"/>
                  </a:lnTo>
                  <a:lnTo>
                    <a:pt x="287" y="407"/>
                  </a:lnTo>
                  <a:lnTo>
                    <a:pt x="289" y="403"/>
                  </a:lnTo>
                  <a:lnTo>
                    <a:pt x="293" y="405"/>
                  </a:lnTo>
                  <a:lnTo>
                    <a:pt x="294" y="403"/>
                  </a:lnTo>
                  <a:lnTo>
                    <a:pt x="298" y="403"/>
                  </a:lnTo>
                  <a:lnTo>
                    <a:pt x="299" y="402"/>
                  </a:lnTo>
                  <a:lnTo>
                    <a:pt x="303" y="400"/>
                  </a:lnTo>
                  <a:lnTo>
                    <a:pt x="304" y="396"/>
                  </a:lnTo>
                  <a:lnTo>
                    <a:pt x="308" y="396"/>
                  </a:lnTo>
                  <a:lnTo>
                    <a:pt x="308" y="395"/>
                  </a:lnTo>
                  <a:lnTo>
                    <a:pt x="308" y="393"/>
                  </a:lnTo>
                  <a:lnTo>
                    <a:pt x="310" y="391"/>
                  </a:lnTo>
                  <a:lnTo>
                    <a:pt x="313" y="391"/>
                  </a:lnTo>
                  <a:lnTo>
                    <a:pt x="313" y="393"/>
                  </a:lnTo>
                  <a:lnTo>
                    <a:pt x="315" y="395"/>
                  </a:lnTo>
                  <a:lnTo>
                    <a:pt x="315" y="396"/>
                  </a:lnTo>
                  <a:lnTo>
                    <a:pt x="316" y="398"/>
                  </a:lnTo>
                  <a:lnTo>
                    <a:pt x="316" y="400"/>
                  </a:lnTo>
                  <a:lnTo>
                    <a:pt x="320" y="402"/>
                  </a:lnTo>
                  <a:lnTo>
                    <a:pt x="322" y="403"/>
                  </a:lnTo>
                  <a:lnTo>
                    <a:pt x="323" y="405"/>
                  </a:lnTo>
                  <a:lnTo>
                    <a:pt x="320" y="412"/>
                  </a:lnTo>
                  <a:lnTo>
                    <a:pt x="323" y="412"/>
                  </a:lnTo>
                  <a:lnTo>
                    <a:pt x="323" y="414"/>
                  </a:lnTo>
                  <a:lnTo>
                    <a:pt x="323" y="417"/>
                  </a:lnTo>
                  <a:lnTo>
                    <a:pt x="322" y="420"/>
                  </a:lnTo>
                  <a:lnTo>
                    <a:pt x="322" y="424"/>
                  </a:lnTo>
                  <a:lnTo>
                    <a:pt x="323" y="427"/>
                  </a:lnTo>
                  <a:lnTo>
                    <a:pt x="322" y="434"/>
                  </a:lnTo>
                  <a:lnTo>
                    <a:pt x="325" y="439"/>
                  </a:lnTo>
                  <a:lnTo>
                    <a:pt x="325" y="441"/>
                  </a:lnTo>
                  <a:lnTo>
                    <a:pt x="327" y="446"/>
                  </a:lnTo>
                  <a:lnTo>
                    <a:pt x="330" y="449"/>
                  </a:lnTo>
                  <a:lnTo>
                    <a:pt x="330" y="453"/>
                  </a:lnTo>
                  <a:lnTo>
                    <a:pt x="332" y="456"/>
                  </a:lnTo>
                  <a:lnTo>
                    <a:pt x="330" y="458"/>
                  </a:lnTo>
                  <a:lnTo>
                    <a:pt x="332" y="458"/>
                  </a:lnTo>
                  <a:lnTo>
                    <a:pt x="335" y="460"/>
                  </a:lnTo>
                  <a:lnTo>
                    <a:pt x="334" y="461"/>
                  </a:lnTo>
                  <a:lnTo>
                    <a:pt x="335" y="463"/>
                  </a:lnTo>
                  <a:lnTo>
                    <a:pt x="335" y="465"/>
                  </a:lnTo>
                  <a:lnTo>
                    <a:pt x="339" y="467"/>
                  </a:lnTo>
                  <a:lnTo>
                    <a:pt x="337" y="468"/>
                  </a:lnTo>
                  <a:lnTo>
                    <a:pt x="339" y="472"/>
                  </a:lnTo>
                  <a:lnTo>
                    <a:pt x="337" y="477"/>
                  </a:lnTo>
                  <a:lnTo>
                    <a:pt x="335" y="477"/>
                  </a:lnTo>
                  <a:lnTo>
                    <a:pt x="334" y="477"/>
                  </a:lnTo>
                  <a:lnTo>
                    <a:pt x="332" y="478"/>
                  </a:lnTo>
                  <a:lnTo>
                    <a:pt x="335" y="487"/>
                  </a:lnTo>
                  <a:lnTo>
                    <a:pt x="337" y="489"/>
                  </a:lnTo>
                  <a:lnTo>
                    <a:pt x="340" y="492"/>
                  </a:lnTo>
                  <a:lnTo>
                    <a:pt x="342" y="496"/>
                  </a:lnTo>
                  <a:lnTo>
                    <a:pt x="344" y="496"/>
                  </a:lnTo>
                  <a:lnTo>
                    <a:pt x="349" y="494"/>
                  </a:lnTo>
                  <a:lnTo>
                    <a:pt x="349" y="494"/>
                  </a:lnTo>
                  <a:lnTo>
                    <a:pt x="356" y="501"/>
                  </a:lnTo>
                  <a:lnTo>
                    <a:pt x="356" y="504"/>
                  </a:lnTo>
                  <a:lnTo>
                    <a:pt x="357" y="506"/>
                  </a:lnTo>
                  <a:lnTo>
                    <a:pt x="357" y="508"/>
                  </a:lnTo>
                  <a:lnTo>
                    <a:pt x="359" y="511"/>
                  </a:lnTo>
                  <a:lnTo>
                    <a:pt x="359" y="516"/>
                  </a:lnTo>
                  <a:lnTo>
                    <a:pt x="357" y="521"/>
                  </a:lnTo>
                  <a:lnTo>
                    <a:pt x="359" y="525"/>
                  </a:lnTo>
                  <a:lnTo>
                    <a:pt x="359" y="526"/>
                  </a:lnTo>
                  <a:lnTo>
                    <a:pt x="361" y="530"/>
                  </a:lnTo>
                  <a:lnTo>
                    <a:pt x="359" y="531"/>
                  </a:lnTo>
                  <a:lnTo>
                    <a:pt x="361" y="535"/>
                  </a:lnTo>
                  <a:lnTo>
                    <a:pt x="359" y="537"/>
                  </a:lnTo>
                  <a:lnTo>
                    <a:pt x="361" y="537"/>
                  </a:lnTo>
                  <a:lnTo>
                    <a:pt x="364" y="542"/>
                  </a:lnTo>
                  <a:lnTo>
                    <a:pt x="368" y="543"/>
                  </a:lnTo>
                  <a:lnTo>
                    <a:pt x="369" y="545"/>
                  </a:lnTo>
                  <a:lnTo>
                    <a:pt x="371" y="549"/>
                  </a:lnTo>
                  <a:lnTo>
                    <a:pt x="373" y="547"/>
                  </a:lnTo>
                  <a:lnTo>
                    <a:pt x="373" y="543"/>
                  </a:lnTo>
                  <a:lnTo>
                    <a:pt x="373" y="542"/>
                  </a:lnTo>
                  <a:lnTo>
                    <a:pt x="376" y="538"/>
                  </a:lnTo>
                  <a:lnTo>
                    <a:pt x="378" y="537"/>
                  </a:lnTo>
                  <a:lnTo>
                    <a:pt x="381" y="535"/>
                  </a:lnTo>
                  <a:lnTo>
                    <a:pt x="383" y="535"/>
                  </a:lnTo>
                  <a:lnTo>
                    <a:pt x="387" y="537"/>
                  </a:lnTo>
                  <a:lnTo>
                    <a:pt x="395" y="538"/>
                  </a:lnTo>
                  <a:lnTo>
                    <a:pt x="398" y="542"/>
                  </a:lnTo>
                  <a:lnTo>
                    <a:pt x="402" y="540"/>
                  </a:lnTo>
                  <a:lnTo>
                    <a:pt x="404" y="543"/>
                  </a:lnTo>
                  <a:lnTo>
                    <a:pt x="409" y="543"/>
                  </a:lnTo>
                  <a:lnTo>
                    <a:pt x="410" y="540"/>
                  </a:lnTo>
                  <a:lnTo>
                    <a:pt x="412" y="537"/>
                  </a:lnTo>
                  <a:lnTo>
                    <a:pt x="416" y="535"/>
                  </a:lnTo>
                  <a:lnTo>
                    <a:pt x="419" y="533"/>
                  </a:lnTo>
                  <a:lnTo>
                    <a:pt x="421" y="535"/>
                  </a:lnTo>
                  <a:lnTo>
                    <a:pt x="421" y="537"/>
                  </a:lnTo>
                  <a:lnTo>
                    <a:pt x="422" y="538"/>
                  </a:lnTo>
                  <a:lnTo>
                    <a:pt x="428" y="538"/>
                  </a:lnTo>
                  <a:lnTo>
                    <a:pt x="429" y="540"/>
                  </a:lnTo>
                  <a:lnTo>
                    <a:pt x="433" y="540"/>
                  </a:lnTo>
                  <a:lnTo>
                    <a:pt x="434" y="540"/>
                  </a:lnTo>
                  <a:lnTo>
                    <a:pt x="436" y="540"/>
                  </a:lnTo>
                  <a:lnTo>
                    <a:pt x="439" y="540"/>
                  </a:lnTo>
                  <a:lnTo>
                    <a:pt x="443" y="538"/>
                  </a:lnTo>
                  <a:lnTo>
                    <a:pt x="448" y="540"/>
                  </a:lnTo>
                  <a:lnTo>
                    <a:pt x="451" y="545"/>
                  </a:lnTo>
                  <a:lnTo>
                    <a:pt x="453" y="543"/>
                  </a:lnTo>
                  <a:lnTo>
                    <a:pt x="455" y="545"/>
                  </a:lnTo>
                  <a:lnTo>
                    <a:pt x="458" y="543"/>
                  </a:lnTo>
                  <a:lnTo>
                    <a:pt x="462" y="542"/>
                  </a:lnTo>
                  <a:lnTo>
                    <a:pt x="467" y="543"/>
                  </a:lnTo>
                  <a:lnTo>
                    <a:pt x="470" y="543"/>
                  </a:lnTo>
                  <a:lnTo>
                    <a:pt x="475" y="547"/>
                  </a:lnTo>
                  <a:lnTo>
                    <a:pt x="477" y="547"/>
                  </a:lnTo>
                  <a:lnTo>
                    <a:pt x="479" y="547"/>
                  </a:lnTo>
                  <a:lnTo>
                    <a:pt x="479" y="545"/>
                  </a:lnTo>
                  <a:lnTo>
                    <a:pt x="475" y="545"/>
                  </a:lnTo>
                  <a:lnTo>
                    <a:pt x="475" y="540"/>
                  </a:lnTo>
                  <a:lnTo>
                    <a:pt x="477" y="538"/>
                  </a:lnTo>
                  <a:lnTo>
                    <a:pt x="477" y="535"/>
                  </a:lnTo>
                  <a:lnTo>
                    <a:pt x="479" y="535"/>
                  </a:lnTo>
                  <a:lnTo>
                    <a:pt x="481" y="535"/>
                  </a:lnTo>
                  <a:lnTo>
                    <a:pt x="481" y="531"/>
                  </a:lnTo>
                  <a:lnTo>
                    <a:pt x="479" y="530"/>
                  </a:lnTo>
                  <a:lnTo>
                    <a:pt x="481" y="528"/>
                  </a:lnTo>
                  <a:lnTo>
                    <a:pt x="482" y="528"/>
                  </a:lnTo>
                  <a:lnTo>
                    <a:pt x="486" y="530"/>
                  </a:lnTo>
                  <a:lnTo>
                    <a:pt x="487" y="526"/>
                  </a:lnTo>
                  <a:lnTo>
                    <a:pt x="489" y="525"/>
                  </a:lnTo>
                  <a:lnTo>
                    <a:pt x="489" y="528"/>
                  </a:lnTo>
                  <a:lnTo>
                    <a:pt x="492" y="528"/>
                  </a:lnTo>
                  <a:lnTo>
                    <a:pt x="492" y="530"/>
                  </a:lnTo>
                  <a:lnTo>
                    <a:pt x="492" y="533"/>
                  </a:lnTo>
                  <a:lnTo>
                    <a:pt x="494" y="535"/>
                  </a:lnTo>
                  <a:lnTo>
                    <a:pt x="494" y="538"/>
                  </a:lnTo>
                  <a:lnTo>
                    <a:pt x="498" y="540"/>
                  </a:lnTo>
                  <a:lnTo>
                    <a:pt x="498" y="540"/>
                  </a:lnTo>
                  <a:lnTo>
                    <a:pt x="496" y="542"/>
                  </a:lnTo>
                  <a:lnTo>
                    <a:pt x="498" y="545"/>
                  </a:lnTo>
                  <a:lnTo>
                    <a:pt x="499" y="547"/>
                  </a:lnTo>
                  <a:lnTo>
                    <a:pt x="501" y="549"/>
                  </a:lnTo>
                  <a:lnTo>
                    <a:pt x="503" y="552"/>
                  </a:lnTo>
                  <a:lnTo>
                    <a:pt x="503" y="554"/>
                  </a:lnTo>
                  <a:lnTo>
                    <a:pt x="504" y="557"/>
                  </a:lnTo>
                  <a:lnTo>
                    <a:pt x="508" y="559"/>
                  </a:lnTo>
                  <a:lnTo>
                    <a:pt x="499" y="610"/>
                  </a:lnTo>
                  <a:lnTo>
                    <a:pt x="492" y="660"/>
                  </a:lnTo>
                  <a:lnTo>
                    <a:pt x="487" y="684"/>
                  </a:lnTo>
                  <a:lnTo>
                    <a:pt x="484" y="713"/>
                  </a:lnTo>
                  <a:lnTo>
                    <a:pt x="475" y="767"/>
                  </a:lnTo>
                  <a:lnTo>
                    <a:pt x="467" y="822"/>
                  </a:lnTo>
                  <a:lnTo>
                    <a:pt x="431" y="815"/>
                  </a:lnTo>
                  <a:lnTo>
                    <a:pt x="383" y="807"/>
                  </a:lnTo>
                  <a:lnTo>
                    <a:pt x="380" y="807"/>
                  </a:lnTo>
                  <a:lnTo>
                    <a:pt x="315" y="795"/>
                  </a:lnTo>
                  <a:lnTo>
                    <a:pt x="233" y="781"/>
                  </a:lnTo>
                  <a:lnTo>
                    <a:pt x="214" y="778"/>
                  </a:lnTo>
                  <a:lnTo>
                    <a:pt x="156" y="766"/>
                  </a:lnTo>
                  <a:lnTo>
                    <a:pt x="84" y="750"/>
                  </a:lnTo>
                  <a:lnTo>
                    <a:pt x="4" y="733"/>
                  </a:lnTo>
                  <a:lnTo>
                    <a:pt x="0" y="733"/>
                  </a:lnTo>
                  <a:lnTo>
                    <a:pt x="40" y="555"/>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18" name="Freeform 14">
              <a:extLst>
                <a:ext uri="{FF2B5EF4-FFF2-40B4-BE49-F238E27FC236}">
                  <a16:creationId xmlns:a16="http://schemas.microsoft.com/office/drawing/2014/main" id="{1E91D695-06FB-4E07-A407-9F60C59DCAF3}"/>
                </a:ext>
              </a:extLst>
            </p:cNvPr>
            <p:cNvSpPr>
              <a:spLocks/>
            </p:cNvSpPr>
            <p:nvPr/>
          </p:nvSpPr>
          <p:spPr bwMode="gray">
            <a:xfrm>
              <a:off x="8008900" y="2334296"/>
              <a:ext cx="233488" cy="431550"/>
            </a:xfrm>
            <a:custGeom>
              <a:avLst/>
              <a:gdLst/>
              <a:ahLst/>
              <a:cxnLst>
                <a:cxn ang="0">
                  <a:pos x="59" y="263"/>
                </a:cxn>
                <a:cxn ang="0">
                  <a:pos x="49" y="210"/>
                </a:cxn>
                <a:cxn ang="0">
                  <a:pos x="41" y="183"/>
                </a:cxn>
                <a:cxn ang="0">
                  <a:pos x="37" y="177"/>
                </a:cxn>
                <a:cxn ang="0">
                  <a:pos x="30" y="184"/>
                </a:cxn>
                <a:cxn ang="0">
                  <a:pos x="30" y="164"/>
                </a:cxn>
                <a:cxn ang="0">
                  <a:pos x="25" y="152"/>
                </a:cxn>
                <a:cxn ang="0">
                  <a:pos x="20" y="138"/>
                </a:cxn>
                <a:cxn ang="0">
                  <a:pos x="18" y="130"/>
                </a:cxn>
                <a:cxn ang="0">
                  <a:pos x="18" y="118"/>
                </a:cxn>
                <a:cxn ang="0">
                  <a:pos x="18" y="95"/>
                </a:cxn>
                <a:cxn ang="0">
                  <a:pos x="12" y="82"/>
                </a:cxn>
                <a:cxn ang="0">
                  <a:pos x="6" y="73"/>
                </a:cxn>
                <a:cxn ang="0">
                  <a:pos x="5" y="65"/>
                </a:cxn>
                <a:cxn ang="0">
                  <a:pos x="1" y="51"/>
                </a:cxn>
                <a:cxn ang="0">
                  <a:pos x="0" y="34"/>
                </a:cxn>
                <a:cxn ang="0">
                  <a:pos x="106" y="7"/>
                </a:cxn>
                <a:cxn ang="0">
                  <a:pos x="136" y="7"/>
                </a:cxn>
                <a:cxn ang="0">
                  <a:pos x="135" y="25"/>
                </a:cxn>
                <a:cxn ang="0">
                  <a:pos x="138" y="37"/>
                </a:cxn>
                <a:cxn ang="0">
                  <a:pos x="145" y="44"/>
                </a:cxn>
                <a:cxn ang="0">
                  <a:pos x="143" y="51"/>
                </a:cxn>
                <a:cxn ang="0">
                  <a:pos x="140" y="58"/>
                </a:cxn>
                <a:cxn ang="0">
                  <a:pos x="138" y="63"/>
                </a:cxn>
                <a:cxn ang="0">
                  <a:pos x="130" y="73"/>
                </a:cxn>
                <a:cxn ang="0">
                  <a:pos x="121" y="78"/>
                </a:cxn>
                <a:cxn ang="0">
                  <a:pos x="114" y="87"/>
                </a:cxn>
                <a:cxn ang="0">
                  <a:pos x="118" y="99"/>
                </a:cxn>
                <a:cxn ang="0">
                  <a:pos x="121" y="104"/>
                </a:cxn>
                <a:cxn ang="0">
                  <a:pos x="119" y="114"/>
                </a:cxn>
                <a:cxn ang="0">
                  <a:pos x="119" y="119"/>
                </a:cxn>
                <a:cxn ang="0">
                  <a:pos x="116" y="130"/>
                </a:cxn>
                <a:cxn ang="0">
                  <a:pos x="116" y="143"/>
                </a:cxn>
                <a:cxn ang="0">
                  <a:pos x="111" y="162"/>
                </a:cxn>
                <a:cxn ang="0">
                  <a:pos x="111" y="174"/>
                </a:cxn>
                <a:cxn ang="0">
                  <a:pos x="112" y="189"/>
                </a:cxn>
                <a:cxn ang="0">
                  <a:pos x="114" y="201"/>
                </a:cxn>
                <a:cxn ang="0">
                  <a:pos x="118" y="218"/>
                </a:cxn>
                <a:cxn ang="0">
                  <a:pos x="118" y="230"/>
                </a:cxn>
                <a:cxn ang="0">
                  <a:pos x="116" y="237"/>
                </a:cxn>
                <a:cxn ang="0">
                  <a:pos x="119" y="249"/>
                </a:cxn>
                <a:cxn ang="0">
                  <a:pos x="124" y="253"/>
                </a:cxn>
                <a:cxn ang="0">
                  <a:pos x="82" y="265"/>
                </a:cxn>
              </a:cxnLst>
              <a:rect l="0" t="0" r="r" b="b"/>
              <a:pathLst>
                <a:path w="145" h="268">
                  <a:moveTo>
                    <a:pt x="63" y="268"/>
                  </a:moveTo>
                  <a:lnTo>
                    <a:pt x="63" y="268"/>
                  </a:lnTo>
                  <a:lnTo>
                    <a:pt x="59" y="263"/>
                  </a:lnTo>
                  <a:lnTo>
                    <a:pt x="59" y="259"/>
                  </a:lnTo>
                  <a:lnTo>
                    <a:pt x="58" y="249"/>
                  </a:lnTo>
                  <a:lnTo>
                    <a:pt x="49" y="210"/>
                  </a:lnTo>
                  <a:lnTo>
                    <a:pt x="46" y="188"/>
                  </a:lnTo>
                  <a:lnTo>
                    <a:pt x="42" y="183"/>
                  </a:lnTo>
                  <a:lnTo>
                    <a:pt x="41" y="183"/>
                  </a:lnTo>
                  <a:lnTo>
                    <a:pt x="41" y="181"/>
                  </a:lnTo>
                  <a:lnTo>
                    <a:pt x="39" y="177"/>
                  </a:lnTo>
                  <a:lnTo>
                    <a:pt x="37" y="177"/>
                  </a:lnTo>
                  <a:lnTo>
                    <a:pt x="34" y="179"/>
                  </a:lnTo>
                  <a:lnTo>
                    <a:pt x="32" y="184"/>
                  </a:lnTo>
                  <a:lnTo>
                    <a:pt x="30" y="184"/>
                  </a:lnTo>
                  <a:lnTo>
                    <a:pt x="29" y="179"/>
                  </a:lnTo>
                  <a:lnTo>
                    <a:pt x="30" y="169"/>
                  </a:lnTo>
                  <a:lnTo>
                    <a:pt x="30" y="164"/>
                  </a:lnTo>
                  <a:lnTo>
                    <a:pt x="30" y="162"/>
                  </a:lnTo>
                  <a:lnTo>
                    <a:pt x="27" y="160"/>
                  </a:lnTo>
                  <a:lnTo>
                    <a:pt x="25" y="152"/>
                  </a:lnTo>
                  <a:lnTo>
                    <a:pt x="24" y="148"/>
                  </a:lnTo>
                  <a:lnTo>
                    <a:pt x="20" y="142"/>
                  </a:lnTo>
                  <a:lnTo>
                    <a:pt x="20" y="138"/>
                  </a:lnTo>
                  <a:lnTo>
                    <a:pt x="17" y="136"/>
                  </a:lnTo>
                  <a:lnTo>
                    <a:pt x="17" y="135"/>
                  </a:lnTo>
                  <a:lnTo>
                    <a:pt x="18" y="130"/>
                  </a:lnTo>
                  <a:lnTo>
                    <a:pt x="17" y="126"/>
                  </a:lnTo>
                  <a:lnTo>
                    <a:pt x="18" y="121"/>
                  </a:lnTo>
                  <a:lnTo>
                    <a:pt x="18" y="118"/>
                  </a:lnTo>
                  <a:lnTo>
                    <a:pt x="22" y="111"/>
                  </a:lnTo>
                  <a:lnTo>
                    <a:pt x="17" y="101"/>
                  </a:lnTo>
                  <a:lnTo>
                    <a:pt x="18" y="95"/>
                  </a:lnTo>
                  <a:lnTo>
                    <a:pt x="18" y="92"/>
                  </a:lnTo>
                  <a:lnTo>
                    <a:pt x="12" y="82"/>
                  </a:lnTo>
                  <a:lnTo>
                    <a:pt x="12" y="82"/>
                  </a:lnTo>
                  <a:lnTo>
                    <a:pt x="8" y="78"/>
                  </a:lnTo>
                  <a:lnTo>
                    <a:pt x="6" y="75"/>
                  </a:lnTo>
                  <a:lnTo>
                    <a:pt x="6" y="73"/>
                  </a:lnTo>
                  <a:lnTo>
                    <a:pt x="6" y="70"/>
                  </a:lnTo>
                  <a:lnTo>
                    <a:pt x="6" y="68"/>
                  </a:lnTo>
                  <a:lnTo>
                    <a:pt x="5" y="65"/>
                  </a:lnTo>
                  <a:lnTo>
                    <a:pt x="6" y="54"/>
                  </a:lnTo>
                  <a:lnTo>
                    <a:pt x="3" y="54"/>
                  </a:lnTo>
                  <a:lnTo>
                    <a:pt x="1" y="51"/>
                  </a:lnTo>
                  <a:lnTo>
                    <a:pt x="1" y="41"/>
                  </a:lnTo>
                  <a:lnTo>
                    <a:pt x="0" y="37"/>
                  </a:lnTo>
                  <a:lnTo>
                    <a:pt x="0" y="34"/>
                  </a:lnTo>
                  <a:lnTo>
                    <a:pt x="12" y="30"/>
                  </a:lnTo>
                  <a:lnTo>
                    <a:pt x="58" y="20"/>
                  </a:lnTo>
                  <a:lnTo>
                    <a:pt x="106" y="7"/>
                  </a:lnTo>
                  <a:lnTo>
                    <a:pt x="135" y="0"/>
                  </a:lnTo>
                  <a:lnTo>
                    <a:pt x="133" y="3"/>
                  </a:lnTo>
                  <a:lnTo>
                    <a:pt x="136" y="7"/>
                  </a:lnTo>
                  <a:lnTo>
                    <a:pt x="138" y="10"/>
                  </a:lnTo>
                  <a:lnTo>
                    <a:pt x="135" y="20"/>
                  </a:lnTo>
                  <a:lnTo>
                    <a:pt x="135" y="25"/>
                  </a:lnTo>
                  <a:lnTo>
                    <a:pt x="133" y="29"/>
                  </a:lnTo>
                  <a:lnTo>
                    <a:pt x="136" y="36"/>
                  </a:lnTo>
                  <a:lnTo>
                    <a:pt x="138" y="37"/>
                  </a:lnTo>
                  <a:lnTo>
                    <a:pt x="140" y="39"/>
                  </a:lnTo>
                  <a:lnTo>
                    <a:pt x="143" y="42"/>
                  </a:lnTo>
                  <a:lnTo>
                    <a:pt x="145" y="44"/>
                  </a:lnTo>
                  <a:lnTo>
                    <a:pt x="141" y="49"/>
                  </a:lnTo>
                  <a:lnTo>
                    <a:pt x="141" y="49"/>
                  </a:lnTo>
                  <a:lnTo>
                    <a:pt x="143" y="51"/>
                  </a:lnTo>
                  <a:lnTo>
                    <a:pt x="143" y="54"/>
                  </a:lnTo>
                  <a:lnTo>
                    <a:pt x="141" y="56"/>
                  </a:lnTo>
                  <a:lnTo>
                    <a:pt x="140" y="58"/>
                  </a:lnTo>
                  <a:lnTo>
                    <a:pt x="140" y="58"/>
                  </a:lnTo>
                  <a:lnTo>
                    <a:pt x="140" y="61"/>
                  </a:lnTo>
                  <a:lnTo>
                    <a:pt x="138" y="63"/>
                  </a:lnTo>
                  <a:lnTo>
                    <a:pt x="133" y="68"/>
                  </a:lnTo>
                  <a:lnTo>
                    <a:pt x="130" y="70"/>
                  </a:lnTo>
                  <a:lnTo>
                    <a:pt x="130" y="73"/>
                  </a:lnTo>
                  <a:lnTo>
                    <a:pt x="130" y="75"/>
                  </a:lnTo>
                  <a:lnTo>
                    <a:pt x="123" y="77"/>
                  </a:lnTo>
                  <a:lnTo>
                    <a:pt x="121" y="78"/>
                  </a:lnTo>
                  <a:lnTo>
                    <a:pt x="118" y="80"/>
                  </a:lnTo>
                  <a:lnTo>
                    <a:pt x="114" y="83"/>
                  </a:lnTo>
                  <a:lnTo>
                    <a:pt x="114" y="87"/>
                  </a:lnTo>
                  <a:lnTo>
                    <a:pt x="116" y="90"/>
                  </a:lnTo>
                  <a:lnTo>
                    <a:pt x="116" y="95"/>
                  </a:lnTo>
                  <a:lnTo>
                    <a:pt x="118" y="99"/>
                  </a:lnTo>
                  <a:lnTo>
                    <a:pt x="119" y="102"/>
                  </a:lnTo>
                  <a:lnTo>
                    <a:pt x="119" y="104"/>
                  </a:lnTo>
                  <a:lnTo>
                    <a:pt x="121" y="104"/>
                  </a:lnTo>
                  <a:lnTo>
                    <a:pt x="121" y="106"/>
                  </a:lnTo>
                  <a:lnTo>
                    <a:pt x="119" y="113"/>
                  </a:lnTo>
                  <a:lnTo>
                    <a:pt x="119" y="114"/>
                  </a:lnTo>
                  <a:lnTo>
                    <a:pt x="118" y="118"/>
                  </a:lnTo>
                  <a:lnTo>
                    <a:pt x="118" y="118"/>
                  </a:lnTo>
                  <a:lnTo>
                    <a:pt x="119" y="119"/>
                  </a:lnTo>
                  <a:lnTo>
                    <a:pt x="119" y="123"/>
                  </a:lnTo>
                  <a:lnTo>
                    <a:pt x="119" y="126"/>
                  </a:lnTo>
                  <a:lnTo>
                    <a:pt x="116" y="130"/>
                  </a:lnTo>
                  <a:lnTo>
                    <a:pt x="118" y="138"/>
                  </a:lnTo>
                  <a:lnTo>
                    <a:pt x="116" y="142"/>
                  </a:lnTo>
                  <a:lnTo>
                    <a:pt x="116" y="143"/>
                  </a:lnTo>
                  <a:lnTo>
                    <a:pt x="114" y="147"/>
                  </a:lnTo>
                  <a:lnTo>
                    <a:pt x="111" y="152"/>
                  </a:lnTo>
                  <a:lnTo>
                    <a:pt x="111" y="162"/>
                  </a:lnTo>
                  <a:lnTo>
                    <a:pt x="109" y="166"/>
                  </a:lnTo>
                  <a:lnTo>
                    <a:pt x="109" y="172"/>
                  </a:lnTo>
                  <a:lnTo>
                    <a:pt x="111" y="174"/>
                  </a:lnTo>
                  <a:lnTo>
                    <a:pt x="112" y="183"/>
                  </a:lnTo>
                  <a:lnTo>
                    <a:pt x="111" y="186"/>
                  </a:lnTo>
                  <a:lnTo>
                    <a:pt x="112" y="189"/>
                  </a:lnTo>
                  <a:lnTo>
                    <a:pt x="112" y="193"/>
                  </a:lnTo>
                  <a:lnTo>
                    <a:pt x="114" y="193"/>
                  </a:lnTo>
                  <a:lnTo>
                    <a:pt x="114" y="201"/>
                  </a:lnTo>
                  <a:lnTo>
                    <a:pt x="114" y="210"/>
                  </a:lnTo>
                  <a:lnTo>
                    <a:pt x="116" y="215"/>
                  </a:lnTo>
                  <a:lnTo>
                    <a:pt x="118" y="218"/>
                  </a:lnTo>
                  <a:lnTo>
                    <a:pt x="116" y="222"/>
                  </a:lnTo>
                  <a:lnTo>
                    <a:pt x="118" y="227"/>
                  </a:lnTo>
                  <a:lnTo>
                    <a:pt x="118" y="230"/>
                  </a:lnTo>
                  <a:lnTo>
                    <a:pt x="116" y="232"/>
                  </a:lnTo>
                  <a:lnTo>
                    <a:pt x="114" y="234"/>
                  </a:lnTo>
                  <a:lnTo>
                    <a:pt x="116" y="237"/>
                  </a:lnTo>
                  <a:lnTo>
                    <a:pt x="114" y="242"/>
                  </a:lnTo>
                  <a:lnTo>
                    <a:pt x="118" y="249"/>
                  </a:lnTo>
                  <a:lnTo>
                    <a:pt x="119" y="249"/>
                  </a:lnTo>
                  <a:lnTo>
                    <a:pt x="121" y="253"/>
                  </a:lnTo>
                  <a:lnTo>
                    <a:pt x="123" y="253"/>
                  </a:lnTo>
                  <a:lnTo>
                    <a:pt x="124" y="253"/>
                  </a:lnTo>
                  <a:lnTo>
                    <a:pt x="126" y="256"/>
                  </a:lnTo>
                  <a:lnTo>
                    <a:pt x="90" y="263"/>
                  </a:lnTo>
                  <a:lnTo>
                    <a:pt x="82" y="265"/>
                  </a:lnTo>
                  <a:lnTo>
                    <a:pt x="63" y="268"/>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19" name="Freeform 15">
              <a:extLst>
                <a:ext uri="{FF2B5EF4-FFF2-40B4-BE49-F238E27FC236}">
                  <a16:creationId xmlns:a16="http://schemas.microsoft.com/office/drawing/2014/main" id="{CC326DA2-B5A1-46AF-894B-A7894E402AA1}"/>
                </a:ext>
              </a:extLst>
            </p:cNvPr>
            <p:cNvSpPr>
              <a:spLocks/>
            </p:cNvSpPr>
            <p:nvPr/>
          </p:nvSpPr>
          <p:spPr bwMode="gray">
            <a:xfrm>
              <a:off x="5123311" y="1967156"/>
              <a:ext cx="898527" cy="1011243"/>
            </a:xfrm>
            <a:custGeom>
              <a:avLst/>
              <a:gdLst/>
              <a:ahLst/>
              <a:cxnLst>
                <a:cxn ang="0">
                  <a:pos x="318" y="624"/>
                </a:cxn>
                <a:cxn ang="0">
                  <a:pos x="224" y="626"/>
                </a:cxn>
                <a:cxn ang="0">
                  <a:pos x="129" y="628"/>
                </a:cxn>
                <a:cxn ang="0">
                  <a:pos x="53" y="552"/>
                </a:cxn>
                <a:cxn ang="0">
                  <a:pos x="53" y="436"/>
                </a:cxn>
                <a:cxn ang="0">
                  <a:pos x="36" y="423"/>
                </a:cxn>
                <a:cxn ang="0">
                  <a:pos x="24" y="397"/>
                </a:cxn>
                <a:cxn ang="0">
                  <a:pos x="47" y="364"/>
                </a:cxn>
                <a:cxn ang="0">
                  <a:pos x="45" y="337"/>
                </a:cxn>
                <a:cxn ang="0">
                  <a:pos x="36" y="315"/>
                </a:cxn>
                <a:cxn ang="0">
                  <a:pos x="31" y="294"/>
                </a:cxn>
                <a:cxn ang="0">
                  <a:pos x="30" y="277"/>
                </a:cxn>
                <a:cxn ang="0">
                  <a:pos x="31" y="258"/>
                </a:cxn>
                <a:cxn ang="0">
                  <a:pos x="28" y="255"/>
                </a:cxn>
                <a:cxn ang="0">
                  <a:pos x="28" y="243"/>
                </a:cxn>
                <a:cxn ang="0">
                  <a:pos x="26" y="221"/>
                </a:cxn>
                <a:cxn ang="0">
                  <a:pos x="26" y="209"/>
                </a:cxn>
                <a:cxn ang="0">
                  <a:pos x="24" y="197"/>
                </a:cxn>
                <a:cxn ang="0">
                  <a:pos x="23" y="180"/>
                </a:cxn>
                <a:cxn ang="0">
                  <a:pos x="18" y="165"/>
                </a:cxn>
                <a:cxn ang="0">
                  <a:pos x="11" y="141"/>
                </a:cxn>
                <a:cxn ang="0">
                  <a:pos x="6" y="130"/>
                </a:cxn>
                <a:cxn ang="0">
                  <a:pos x="6" y="123"/>
                </a:cxn>
                <a:cxn ang="0">
                  <a:pos x="7" y="118"/>
                </a:cxn>
                <a:cxn ang="0">
                  <a:pos x="7" y="115"/>
                </a:cxn>
                <a:cxn ang="0">
                  <a:pos x="6" y="106"/>
                </a:cxn>
                <a:cxn ang="0">
                  <a:pos x="7" y="103"/>
                </a:cxn>
                <a:cxn ang="0">
                  <a:pos x="6" y="100"/>
                </a:cxn>
                <a:cxn ang="0">
                  <a:pos x="4" y="88"/>
                </a:cxn>
                <a:cxn ang="0">
                  <a:pos x="6" y="82"/>
                </a:cxn>
                <a:cxn ang="0">
                  <a:pos x="9" y="74"/>
                </a:cxn>
                <a:cxn ang="0">
                  <a:pos x="6" y="65"/>
                </a:cxn>
                <a:cxn ang="0">
                  <a:pos x="4" y="59"/>
                </a:cxn>
                <a:cxn ang="0">
                  <a:pos x="59" y="40"/>
                </a:cxn>
                <a:cxn ang="0">
                  <a:pos x="182" y="52"/>
                </a:cxn>
                <a:cxn ang="0">
                  <a:pos x="214" y="76"/>
                </a:cxn>
                <a:cxn ang="0">
                  <a:pos x="271" y="86"/>
                </a:cxn>
                <a:cxn ang="0">
                  <a:pos x="324" y="84"/>
                </a:cxn>
                <a:cxn ang="0">
                  <a:pos x="341" y="94"/>
                </a:cxn>
                <a:cxn ang="0">
                  <a:pos x="354" y="110"/>
                </a:cxn>
                <a:cxn ang="0">
                  <a:pos x="392" y="117"/>
                </a:cxn>
                <a:cxn ang="0">
                  <a:pos x="433" y="129"/>
                </a:cxn>
                <a:cxn ang="0">
                  <a:pos x="482" y="125"/>
                </a:cxn>
                <a:cxn ang="0">
                  <a:pos x="541" y="129"/>
                </a:cxn>
                <a:cxn ang="0">
                  <a:pos x="488" y="166"/>
                </a:cxn>
                <a:cxn ang="0">
                  <a:pos x="368" y="282"/>
                </a:cxn>
                <a:cxn ang="0">
                  <a:pos x="365" y="346"/>
                </a:cxn>
                <a:cxn ang="0">
                  <a:pos x="353" y="356"/>
                </a:cxn>
                <a:cxn ang="0">
                  <a:pos x="332" y="371"/>
                </a:cxn>
                <a:cxn ang="0">
                  <a:pos x="322" y="394"/>
                </a:cxn>
                <a:cxn ang="0">
                  <a:pos x="337" y="412"/>
                </a:cxn>
                <a:cxn ang="0">
                  <a:pos x="337" y="428"/>
                </a:cxn>
                <a:cxn ang="0">
                  <a:pos x="334" y="450"/>
                </a:cxn>
                <a:cxn ang="0">
                  <a:pos x="334" y="472"/>
                </a:cxn>
                <a:cxn ang="0">
                  <a:pos x="337" y="493"/>
                </a:cxn>
                <a:cxn ang="0">
                  <a:pos x="370" y="510"/>
                </a:cxn>
                <a:cxn ang="0">
                  <a:pos x="397" y="529"/>
                </a:cxn>
                <a:cxn ang="0">
                  <a:pos x="407" y="547"/>
                </a:cxn>
                <a:cxn ang="0">
                  <a:pos x="433" y="563"/>
                </a:cxn>
                <a:cxn ang="0">
                  <a:pos x="455" y="595"/>
                </a:cxn>
                <a:cxn ang="0">
                  <a:pos x="428" y="619"/>
                </a:cxn>
              </a:cxnLst>
              <a:rect l="0" t="0" r="r" b="b"/>
              <a:pathLst>
                <a:path w="558" h="628">
                  <a:moveTo>
                    <a:pt x="419" y="621"/>
                  </a:moveTo>
                  <a:lnTo>
                    <a:pt x="392" y="621"/>
                  </a:lnTo>
                  <a:lnTo>
                    <a:pt x="363" y="622"/>
                  </a:lnTo>
                  <a:lnTo>
                    <a:pt x="354" y="622"/>
                  </a:lnTo>
                  <a:lnTo>
                    <a:pt x="318" y="624"/>
                  </a:lnTo>
                  <a:lnTo>
                    <a:pt x="317" y="624"/>
                  </a:lnTo>
                  <a:lnTo>
                    <a:pt x="283" y="626"/>
                  </a:lnTo>
                  <a:lnTo>
                    <a:pt x="271" y="626"/>
                  </a:lnTo>
                  <a:lnTo>
                    <a:pt x="245" y="626"/>
                  </a:lnTo>
                  <a:lnTo>
                    <a:pt x="224" y="626"/>
                  </a:lnTo>
                  <a:lnTo>
                    <a:pt x="207" y="628"/>
                  </a:lnTo>
                  <a:lnTo>
                    <a:pt x="177" y="628"/>
                  </a:lnTo>
                  <a:lnTo>
                    <a:pt x="171" y="628"/>
                  </a:lnTo>
                  <a:lnTo>
                    <a:pt x="136" y="628"/>
                  </a:lnTo>
                  <a:lnTo>
                    <a:pt x="129" y="628"/>
                  </a:lnTo>
                  <a:lnTo>
                    <a:pt x="98" y="628"/>
                  </a:lnTo>
                  <a:lnTo>
                    <a:pt x="83" y="628"/>
                  </a:lnTo>
                  <a:lnTo>
                    <a:pt x="52" y="628"/>
                  </a:lnTo>
                  <a:lnTo>
                    <a:pt x="53" y="590"/>
                  </a:lnTo>
                  <a:lnTo>
                    <a:pt x="53" y="552"/>
                  </a:lnTo>
                  <a:lnTo>
                    <a:pt x="53" y="517"/>
                  </a:lnTo>
                  <a:lnTo>
                    <a:pt x="53" y="506"/>
                  </a:lnTo>
                  <a:lnTo>
                    <a:pt x="53" y="487"/>
                  </a:lnTo>
                  <a:lnTo>
                    <a:pt x="53" y="469"/>
                  </a:lnTo>
                  <a:lnTo>
                    <a:pt x="53" y="436"/>
                  </a:lnTo>
                  <a:lnTo>
                    <a:pt x="53" y="435"/>
                  </a:lnTo>
                  <a:lnTo>
                    <a:pt x="52" y="431"/>
                  </a:lnTo>
                  <a:lnTo>
                    <a:pt x="48" y="426"/>
                  </a:lnTo>
                  <a:lnTo>
                    <a:pt x="42" y="424"/>
                  </a:lnTo>
                  <a:lnTo>
                    <a:pt x="36" y="423"/>
                  </a:lnTo>
                  <a:lnTo>
                    <a:pt x="33" y="417"/>
                  </a:lnTo>
                  <a:lnTo>
                    <a:pt x="30" y="411"/>
                  </a:lnTo>
                  <a:lnTo>
                    <a:pt x="24" y="404"/>
                  </a:lnTo>
                  <a:lnTo>
                    <a:pt x="23" y="400"/>
                  </a:lnTo>
                  <a:lnTo>
                    <a:pt x="24" y="397"/>
                  </a:lnTo>
                  <a:lnTo>
                    <a:pt x="38" y="387"/>
                  </a:lnTo>
                  <a:lnTo>
                    <a:pt x="43" y="380"/>
                  </a:lnTo>
                  <a:lnTo>
                    <a:pt x="43" y="378"/>
                  </a:lnTo>
                  <a:lnTo>
                    <a:pt x="45" y="366"/>
                  </a:lnTo>
                  <a:lnTo>
                    <a:pt x="47" y="364"/>
                  </a:lnTo>
                  <a:lnTo>
                    <a:pt x="45" y="358"/>
                  </a:lnTo>
                  <a:lnTo>
                    <a:pt x="47" y="349"/>
                  </a:lnTo>
                  <a:lnTo>
                    <a:pt x="45" y="341"/>
                  </a:lnTo>
                  <a:lnTo>
                    <a:pt x="43" y="339"/>
                  </a:lnTo>
                  <a:lnTo>
                    <a:pt x="45" y="337"/>
                  </a:lnTo>
                  <a:lnTo>
                    <a:pt x="43" y="334"/>
                  </a:lnTo>
                  <a:lnTo>
                    <a:pt x="43" y="323"/>
                  </a:lnTo>
                  <a:lnTo>
                    <a:pt x="42" y="322"/>
                  </a:lnTo>
                  <a:lnTo>
                    <a:pt x="40" y="320"/>
                  </a:lnTo>
                  <a:lnTo>
                    <a:pt x="36" y="315"/>
                  </a:lnTo>
                  <a:lnTo>
                    <a:pt x="35" y="313"/>
                  </a:lnTo>
                  <a:lnTo>
                    <a:pt x="35" y="310"/>
                  </a:lnTo>
                  <a:lnTo>
                    <a:pt x="33" y="306"/>
                  </a:lnTo>
                  <a:lnTo>
                    <a:pt x="33" y="296"/>
                  </a:lnTo>
                  <a:lnTo>
                    <a:pt x="31" y="294"/>
                  </a:lnTo>
                  <a:lnTo>
                    <a:pt x="30" y="293"/>
                  </a:lnTo>
                  <a:lnTo>
                    <a:pt x="30" y="293"/>
                  </a:lnTo>
                  <a:lnTo>
                    <a:pt x="30" y="286"/>
                  </a:lnTo>
                  <a:lnTo>
                    <a:pt x="30" y="284"/>
                  </a:lnTo>
                  <a:lnTo>
                    <a:pt x="30" y="277"/>
                  </a:lnTo>
                  <a:lnTo>
                    <a:pt x="30" y="272"/>
                  </a:lnTo>
                  <a:lnTo>
                    <a:pt x="31" y="269"/>
                  </a:lnTo>
                  <a:lnTo>
                    <a:pt x="31" y="267"/>
                  </a:lnTo>
                  <a:lnTo>
                    <a:pt x="31" y="260"/>
                  </a:lnTo>
                  <a:lnTo>
                    <a:pt x="31" y="258"/>
                  </a:lnTo>
                  <a:lnTo>
                    <a:pt x="30" y="260"/>
                  </a:lnTo>
                  <a:lnTo>
                    <a:pt x="30" y="258"/>
                  </a:lnTo>
                  <a:lnTo>
                    <a:pt x="30" y="257"/>
                  </a:lnTo>
                  <a:lnTo>
                    <a:pt x="30" y="255"/>
                  </a:lnTo>
                  <a:lnTo>
                    <a:pt x="28" y="255"/>
                  </a:lnTo>
                  <a:lnTo>
                    <a:pt x="28" y="252"/>
                  </a:lnTo>
                  <a:lnTo>
                    <a:pt x="26" y="252"/>
                  </a:lnTo>
                  <a:lnTo>
                    <a:pt x="28" y="248"/>
                  </a:lnTo>
                  <a:lnTo>
                    <a:pt x="28" y="243"/>
                  </a:lnTo>
                  <a:lnTo>
                    <a:pt x="28" y="243"/>
                  </a:lnTo>
                  <a:lnTo>
                    <a:pt x="26" y="236"/>
                  </a:lnTo>
                  <a:lnTo>
                    <a:pt x="28" y="235"/>
                  </a:lnTo>
                  <a:lnTo>
                    <a:pt x="26" y="226"/>
                  </a:lnTo>
                  <a:lnTo>
                    <a:pt x="26" y="224"/>
                  </a:lnTo>
                  <a:lnTo>
                    <a:pt x="26" y="221"/>
                  </a:lnTo>
                  <a:lnTo>
                    <a:pt x="26" y="219"/>
                  </a:lnTo>
                  <a:lnTo>
                    <a:pt x="26" y="216"/>
                  </a:lnTo>
                  <a:lnTo>
                    <a:pt x="26" y="214"/>
                  </a:lnTo>
                  <a:lnTo>
                    <a:pt x="26" y="211"/>
                  </a:lnTo>
                  <a:lnTo>
                    <a:pt x="26" y="209"/>
                  </a:lnTo>
                  <a:lnTo>
                    <a:pt x="24" y="209"/>
                  </a:lnTo>
                  <a:lnTo>
                    <a:pt x="24" y="206"/>
                  </a:lnTo>
                  <a:lnTo>
                    <a:pt x="24" y="204"/>
                  </a:lnTo>
                  <a:lnTo>
                    <a:pt x="26" y="199"/>
                  </a:lnTo>
                  <a:lnTo>
                    <a:pt x="24" y="197"/>
                  </a:lnTo>
                  <a:lnTo>
                    <a:pt x="26" y="194"/>
                  </a:lnTo>
                  <a:lnTo>
                    <a:pt x="24" y="192"/>
                  </a:lnTo>
                  <a:lnTo>
                    <a:pt x="26" y="188"/>
                  </a:lnTo>
                  <a:lnTo>
                    <a:pt x="24" y="187"/>
                  </a:lnTo>
                  <a:lnTo>
                    <a:pt x="23" y="180"/>
                  </a:lnTo>
                  <a:lnTo>
                    <a:pt x="21" y="176"/>
                  </a:lnTo>
                  <a:lnTo>
                    <a:pt x="19" y="171"/>
                  </a:lnTo>
                  <a:lnTo>
                    <a:pt x="18" y="168"/>
                  </a:lnTo>
                  <a:lnTo>
                    <a:pt x="16" y="166"/>
                  </a:lnTo>
                  <a:lnTo>
                    <a:pt x="18" y="165"/>
                  </a:lnTo>
                  <a:lnTo>
                    <a:pt x="16" y="159"/>
                  </a:lnTo>
                  <a:lnTo>
                    <a:pt x="14" y="159"/>
                  </a:lnTo>
                  <a:lnTo>
                    <a:pt x="14" y="154"/>
                  </a:lnTo>
                  <a:lnTo>
                    <a:pt x="12" y="151"/>
                  </a:lnTo>
                  <a:lnTo>
                    <a:pt x="11" y="141"/>
                  </a:lnTo>
                  <a:lnTo>
                    <a:pt x="9" y="139"/>
                  </a:lnTo>
                  <a:lnTo>
                    <a:pt x="9" y="135"/>
                  </a:lnTo>
                  <a:lnTo>
                    <a:pt x="7" y="134"/>
                  </a:lnTo>
                  <a:lnTo>
                    <a:pt x="7" y="130"/>
                  </a:lnTo>
                  <a:lnTo>
                    <a:pt x="6" y="130"/>
                  </a:lnTo>
                  <a:lnTo>
                    <a:pt x="7" y="129"/>
                  </a:lnTo>
                  <a:lnTo>
                    <a:pt x="6" y="129"/>
                  </a:lnTo>
                  <a:lnTo>
                    <a:pt x="6" y="127"/>
                  </a:lnTo>
                  <a:lnTo>
                    <a:pt x="6" y="125"/>
                  </a:lnTo>
                  <a:lnTo>
                    <a:pt x="6" y="123"/>
                  </a:lnTo>
                  <a:lnTo>
                    <a:pt x="7" y="123"/>
                  </a:lnTo>
                  <a:lnTo>
                    <a:pt x="6" y="122"/>
                  </a:lnTo>
                  <a:lnTo>
                    <a:pt x="7" y="122"/>
                  </a:lnTo>
                  <a:lnTo>
                    <a:pt x="6" y="120"/>
                  </a:lnTo>
                  <a:lnTo>
                    <a:pt x="7" y="118"/>
                  </a:lnTo>
                  <a:lnTo>
                    <a:pt x="6" y="117"/>
                  </a:lnTo>
                  <a:lnTo>
                    <a:pt x="7" y="117"/>
                  </a:lnTo>
                  <a:lnTo>
                    <a:pt x="7" y="115"/>
                  </a:lnTo>
                  <a:lnTo>
                    <a:pt x="6" y="115"/>
                  </a:lnTo>
                  <a:lnTo>
                    <a:pt x="7" y="115"/>
                  </a:lnTo>
                  <a:lnTo>
                    <a:pt x="7" y="113"/>
                  </a:lnTo>
                  <a:lnTo>
                    <a:pt x="6" y="113"/>
                  </a:lnTo>
                  <a:lnTo>
                    <a:pt x="7" y="112"/>
                  </a:lnTo>
                  <a:lnTo>
                    <a:pt x="6" y="112"/>
                  </a:lnTo>
                  <a:lnTo>
                    <a:pt x="6" y="106"/>
                  </a:lnTo>
                  <a:lnTo>
                    <a:pt x="6" y="106"/>
                  </a:lnTo>
                  <a:lnTo>
                    <a:pt x="6" y="106"/>
                  </a:lnTo>
                  <a:lnTo>
                    <a:pt x="6" y="105"/>
                  </a:lnTo>
                  <a:lnTo>
                    <a:pt x="4" y="105"/>
                  </a:lnTo>
                  <a:lnTo>
                    <a:pt x="7" y="103"/>
                  </a:lnTo>
                  <a:lnTo>
                    <a:pt x="6" y="101"/>
                  </a:lnTo>
                  <a:lnTo>
                    <a:pt x="6" y="101"/>
                  </a:lnTo>
                  <a:lnTo>
                    <a:pt x="7" y="101"/>
                  </a:lnTo>
                  <a:lnTo>
                    <a:pt x="7" y="100"/>
                  </a:lnTo>
                  <a:lnTo>
                    <a:pt x="6" y="100"/>
                  </a:lnTo>
                  <a:lnTo>
                    <a:pt x="6" y="91"/>
                  </a:lnTo>
                  <a:lnTo>
                    <a:pt x="6" y="91"/>
                  </a:lnTo>
                  <a:lnTo>
                    <a:pt x="6" y="89"/>
                  </a:lnTo>
                  <a:lnTo>
                    <a:pt x="4" y="88"/>
                  </a:lnTo>
                  <a:lnTo>
                    <a:pt x="4" y="88"/>
                  </a:lnTo>
                  <a:lnTo>
                    <a:pt x="6" y="88"/>
                  </a:lnTo>
                  <a:lnTo>
                    <a:pt x="4" y="86"/>
                  </a:lnTo>
                  <a:lnTo>
                    <a:pt x="6" y="84"/>
                  </a:lnTo>
                  <a:lnTo>
                    <a:pt x="4" y="84"/>
                  </a:lnTo>
                  <a:lnTo>
                    <a:pt x="6" y="82"/>
                  </a:lnTo>
                  <a:lnTo>
                    <a:pt x="6" y="81"/>
                  </a:lnTo>
                  <a:lnTo>
                    <a:pt x="7" y="79"/>
                  </a:lnTo>
                  <a:lnTo>
                    <a:pt x="7" y="79"/>
                  </a:lnTo>
                  <a:lnTo>
                    <a:pt x="9" y="79"/>
                  </a:lnTo>
                  <a:lnTo>
                    <a:pt x="9" y="74"/>
                  </a:lnTo>
                  <a:lnTo>
                    <a:pt x="7" y="72"/>
                  </a:lnTo>
                  <a:lnTo>
                    <a:pt x="9" y="71"/>
                  </a:lnTo>
                  <a:lnTo>
                    <a:pt x="7" y="69"/>
                  </a:lnTo>
                  <a:lnTo>
                    <a:pt x="7" y="67"/>
                  </a:lnTo>
                  <a:lnTo>
                    <a:pt x="6" y="65"/>
                  </a:lnTo>
                  <a:lnTo>
                    <a:pt x="6" y="65"/>
                  </a:lnTo>
                  <a:lnTo>
                    <a:pt x="6" y="62"/>
                  </a:lnTo>
                  <a:lnTo>
                    <a:pt x="4" y="60"/>
                  </a:lnTo>
                  <a:lnTo>
                    <a:pt x="4" y="60"/>
                  </a:lnTo>
                  <a:lnTo>
                    <a:pt x="4" y="59"/>
                  </a:lnTo>
                  <a:lnTo>
                    <a:pt x="4" y="57"/>
                  </a:lnTo>
                  <a:lnTo>
                    <a:pt x="4" y="53"/>
                  </a:lnTo>
                  <a:lnTo>
                    <a:pt x="0" y="47"/>
                  </a:lnTo>
                  <a:lnTo>
                    <a:pt x="0" y="40"/>
                  </a:lnTo>
                  <a:lnTo>
                    <a:pt x="59" y="40"/>
                  </a:lnTo>
                  <a:lnTo>
                    <a:pt x="139" y="40"/>
                  </a:lnTo>
                  <a:lnTo>
                    <a:pt x="147" y="40"/>
                  </a:lnTo>
                  <a:lnTo>
                    <a:pt x="147" y="0"/>
                  </a:lnTo>
                  <a:lnTo>
                    <a:pt x="171" y="4"/>
                  </a:lnTo>
                  <a:lnTo>
                    <a:pt x="182" y="52"/>
                  </a:lnTo>
                  <a:lnTo>
                    <a:pt x="182" y="64"/>
                  </a:lnTo>
                  <a:lnTo>
                    <a:pt x="190" y="69"/>
                  </a:lnTo>
                  <a:lnTo>
                    <a:pt x="200" y="71"/>
                  </a:lnTo>
                  <a:lnTo>
                    <a:pt x="211" y="71"/>
                  </a:lnTo>
                  <a:lnTo>
                    <a:pt x="214" y="76"/>
                  </a:lnTo>
                  <a:lnTo>
                    <a:pt x="243" y="77"/>
                  </a:lnTo>
                  <a:lnTo>
                    <a:pt x="245" y="89"/>
                  </a:lnTo>
                  <a:lnTo>
                    <a:pt x="248" y="89"/>
                  </a:lnTo>
                  <a:lnTo>
                    <a:pt x="267" y="88"/>
                  </a:lnTo>
                  <a:lnTo>
                    <a:pt x="271" y="86"/>
                  </a:lnTo>
                  <a:lnTo>
                    <a:pt x="271" y="81"/>
                  </a:lnTo>
                  <a:lnTo>
                    <a:pt x="281" y="76"/>
                  </a:lnTo>
                  <a:lnTo>
                    <a:pt x="296" y="76"/>
                  </a:lnTo>
                  <a:lnTo>
                    <a:pt x="306" y="76"/>
                  </a:lnTo>
                  <a:lnTo>
                    <a:pt x="324" y="84"/>
                  </a:lnTo>
                  <a:lnTo>
                    <a:pt x="329" y="84"/>
                  </a:lnTo>
                  <a:lnTo>
                    <a:pt x="330" y="88"/>
                  </a:lnTo>
                  <a:lnTo>
                    <a:pt x="325" y="89"/>
                  </a:lnTo>
                  <a:lnTo>
                    <a:pt x="325" y="93"/>
                  </a:lnTo>
                  <a:lnTo>
                    <a:pt x="341" y="94"/>
                  </a:lnTo>
                  <a:lnTo>
                    <a:pt x="344" y="98"/>
                  </a:lnTo>
                  <a:lnTo>
                    <a:pt x="342" y="103"/>
                  </a:lnTo>
                  <a:lnTo>
                    <a:pt x="351" y="118"/>
                  </a:lnTo>
                  <a:lnTo>
                    <a:pt x="358" y="115"/>
                  </a:lnTo>
                  <a:lnTo>
                    <a:pt x="354" y="110"/>
                  </a:lnTo>
                  <a:lnTo>
                    <a:pt x="356" y="103"/>
                  </a:lnTo>
                  <a:lnTo>
                    <a:pt x="368" y="101"/>
                  </a:lnTo>
                  <a:lnTo>
                    <a:pt x="373" y="103"/>
                  </a:lnTo>
                  <a:lnTo>
                    <a:pt x="378" y="113"/>
                  </a:lnTo>
                  <a:lnTo>
                    <a:pt x="392" y="117"/>
                  </a:lnTo>
                  <a:lnTo>
                    <a:pt x="399" y="118"/>
                  </a:lnTo>
                  <a:lnTo>
                    <a:pt x="399" y="127"/>
                  </a:lnTo>
                  <a:lnTo>
                    <a:pt x="409" y="127"/>
                  </a:lnTo>
                  <a:lnTo>
                    <a:pt x="409" y="134"/>
                  </a:lnTo>
                  <a:lnTo>
                    <a:pt x="433" y="129"/>
                  </a:lnTo>
                  <a:lnTo>
                    <a:pt x="448" y="117"/>
                  </a:lnTo>
                  <a:lnTo>
                    <a:pt x="459" y="110"/>
                  </a:lnTo>
                  <a:lnTo>
                    <a:pt x="469" y="127"/>
                  </a:lnTo>
                  <a:lnTo>
                    <a:pt x="481" y="122"/>
                  </a:lnTo>
                  <a:lnTo>
                    <a:pt x="482" y="125"/>
                  </a:lnTo>
                  <a:lnTo>
                    <a:pt x="512" y="122"/>
                  </a:lnTo>
                  <a:lnTo>
                    <a:pt x="520" y="123"/>
                  </a:lnTo>
                  <a:lnTo>
                    <a:pt x="523" y="130"/>
                  </a:lnTo>
                  <a:lnTo>
                    <a:pt x="530" y="132"/>
                  </a:lnTo>
                  <a:lnTo>
                    <a:pt x="541" y="129"/>
                  </a:lnTo>
                  <a:lnTo>
                    <a:pt x="558" y="130"/>
                  </a:lnTo>
                  <a:lnTo>
                    <a:pt x="551" y="132"/>
                  </a:lnTo>
                  <a:lnTo>
                    <a:pt x="549" y="135"/>
                  </a:lnTo>
                  <a:lnTo>
                    <a:pt x="523" y="151"/>
                  </a:lnTo>
                  <a:lnTo>
                    <a:pt x="488" y="166"/>
                  </a:lnTo>
                  <a:lnTo>
                    <a:pt x="452" y="194"/>
                  </a:lnTo>
                  <a:lnTo>
                    <a:pt x="421" y="231"/>
                  </a:lnTo>
                  <a:lnTo>
                    <a:pt x="397" y="253"/>
                  </a:lnTo>
                  <a:lnTo>
                    <a:pt x="377" y="269"/>
                  </a:lnTo>
                  <a:lnTo>
                    <a:pt x="368" y="282"/>
                  </a:lnTo>
                  <a:lnTo>
                    <a:pt x="361" y="282"/>
                  </a:lnTo>
                  <a:lnTo>
                    <a:pt x="363" y="284"/>
                  </a:lnTo>
                  <a:lnTo>
                    <a:pt x="365" y="310"/>
                  </a:lnTo>
                  <a:lnTo>
                    <a:pt x="365" y="337"/>
                  </a:lnTo>
                  <a:lnTo>
                    <a:pt x="365" y="346"/>
                  </a:lnTo>
                  <a:lnTo>
                    <a:pt x="363" y="347"/>
                  </a:lnTo>
                  <a:lnTo>
                    <a:pt x="361" y="352"/>
                  </a:lnTo>
                  <a:lnTo>
                    <a:pt x="359" y="352"/>
                  </a:lnTo>
                  <a:lnTo>
                    <a:pt x="356" y="352"/>
                  </a:lnTo>
                  <a:lnTo>
                    <a:pt x="353" y="356"/>
                  </a:lnTo>
                  <a:lnTo>
                    <a:pt x="347" y="356"/>
                  </a:lnTo>
                  <a:lnTo>
                    <a:pt x="346" y="359"/>
                  </a:lnTo>
                  <a:lnTo>
                    <a:pt x="337" y="364"/>
                  </a:lnTo>
                  <a:lnTo>
                    <a:pt x="334" y="366"/>
                  </a:lnTo>
                  <a:lnTo>
                    <a:pt x="332" y="371"/>
                  </a:lnTo>
                  <a:lnTo>
                    <a:pt x="332" y="373"/>
                  </a:lnTo>
                  <a:lnTo>
                    <a:pt x="330" y="382"/>
                  </a:lnTo>
                  <a:lnTo>
                    <a:pt x="325" y="385"/>
                  </a:lnTo>
                  <a:lnTo>
                    <a:pt x="324" y="387"/>
                  </a:lnTo>
                  <a:lnTo>
                    <a:pt x="322" y="394"/>
                  </a:lnTo>
                  <a:lnTo>
                    <a:pt x="324" y="400"/>
                  </a:lnTo>
                  <a:lnTo>
                    <a:pt x="327" y="402"/>
                  </a:lnTo>
                  <a:lnTo>
                    <a:pt x="332" y="402"/>
                  </a:lnTo>
                  <a:lnTo>
                    <a:pt x="334" y="404"/>
                  </a:lnTo>
                  <a:lnTo>
                    <a:pt x="337" y="412"/>
                  </a:lnTo>
                  <a:lnTo>
                    <a:pt x="341" y="414"/>
                  </a:lnTo>
                  <a:lnTo>
                    <a:pt x="341" y="416"/>
                  </a:lnTo>
                  <a:lnTo>
                    <a:pt x="341" y="419"/>
                  </a:lnTo>
                  <a:lnTo>
                    <a:pt x="339" y="423"/>
                  </a:lnTo>
                  <a:lnTo>
                    <a:pt x="337" y="428"/>
                  </a:lnTo>
                  <a:lnTo>
                    <a:pt x="334" y="431"/>
                  </a:lnTo>
                  <a:lnTo>
                    <a:pt x="334" y="440"/>
                  </a:lnTo>
                  <a:lnTo>
                    <a:pt x="334" y="443"/>
                  </a:lnTo>
                  <a:lnTo>
                    <a:pt x="334" y="445"/>
                  </a:lnTo>
                  <a:lnTo>
                    <a:pt x="334" y="450"/>
                  </a:lnTo>
                  <a:lnTo>
                    <a:pt x="330" y="455"/>
                  </a:lnTo>
                  <a:lnTo>
                    <a:pt x="334" y="460"/>
                  </a:lnTo>
                  <a:lnTo>
                    <a:pt x="334" y="462"/>
                  </a:lnTo>
                  <a:lnTo>
                    <a:pt x="335" y="469"/>
                  </a:lnTo>
                  <a:lnTo>
                    <a:pt x="334" y="472"/>
                  </a:lnTo>
                  <a:lnTo>
                    <a:pt x="334" y="474"/>
                  </a:lnTo>
                  <a:lnTo>
                    <a:pt x="334" y="477"/>
                  </a:lnTo>
                  <a:lnTo>
                    <a:pt x="334" y="481"/>
                  </a:lnTo>
                  <a:lnTo>
                    <a:pt x="332" y="489"/>
                  </a:lnTo>
                  <a:lnTo>
                    <a:pt x="337" y="493"/>
                  </a:lnTo>
                  <a:lnTo>
                    <a:pt x="346" y="501"/>
                  </a:lnTo>
                  <a:lnTo>
                    <a:pt x="347" y="505"/>
                  </a:lnTo>
                  <a:lnTo>
                    <a:pt x="354" y="508"/>
                  </a:lnTo>
                  <a:lnTo>
                    <a:pt x="368" y="510"/>
                  </a:lnTo>
                  <a:lnTo>
                    <a:pt x="370" y="510"/>
                  </a:lnTo>
                  <a:lnTo>
                    <a:pt x="371" y="515"/>
                  </a:lnTo>
                  <a:lnTo>
                    <a:pt x="375" y="520"/>
                  </a:lnTo>
                  <a:lnTo>
                    <a:pt x="378" y="522"/>
                  </a:lnTo>
                  <a:lnTo>
                    <a:pt x="387" y="523"/>
                  </a:lnTo>
                  <a:lnTo>
                    <a:pt x="397" y="529"/>
                  </a:lnTo>
                  <a:lnTo>
                    <a:pt x="399" y="530"/>
                  </a:lnTo>
                  <a:lnTo>
                    <a:pt x="400" y="534"/>
                  </a:lnTo>
                  <a:lnTo>
                    <a:pt x="400" y="537"/>
                  </a:lnTo>
                  <a:lnTo>
                    <a:pt x="404" y="539"/>
                  </a:lnTo>
                  <a:lnTo>
                    <a:pt x="407" y="547"/>
                  </a:lnTo>
                  <a:lnTo>
                    <a:pt x="414" y="552"/>
                  </a:lnTo>
                  <a:lnTo>
                    <a:pt x="423" y="559"/>
                  </a:lnTo>
                  <a:lnTo>
                    <a:pt x="426" y="561"/>
                  </a:lnTo>
                  <a:lnTo>
                    <a:pt x="429" y="563"/>
                  </a:lnTo>
                  <a:lnTo>
                    <a:pt x="433" y="563"/>
                  </a:lnTo>
                  <a:lnTo>
                    <a:pt x="440" y="568"/>
                  </a:lnTo>
                  <a:lnTo>
                    <a:pt x="445" y="571"/>
                  </a:lnTo>
                  <a:lnTo>
                    <a:pt x="452" y="581"/>
                  </a:lnTo>
                  <a:lnTo>
                    <a:pt x="455" y="588"/>
                  </a:lnTo>
                  <a:lnTo>
                    <a:pt x="455" y="595"/>
                  </a:lnTo>
                  <a:lnTo>
                    <a:pt x="455" y="600"/>
                  </a:lnTo>
                  <a:lnTo>
                    <a:pt x="457" y="607"/>
                  </a:lnTo>
                  <a:lnTo>
                    <a:pt x="457" y="614"/>
                  </a:lnTo>
                  <a:lnTo>
                    <a:pt x="459" y="619"/>
                  </a:lnTo>
                  <a:lnTo>
                    <a:pt x="428" y="619"/>
                  </a:lnTo>
                  <a:lnTo>
                    <a:pt x="419" y="621"/>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20" name="Freeform 16">
              <a:extLst>
                <a:ext uri="{FF2B5EF4-FFF2-40B4-BE49-F238E27FC236}">
                  <a16:creationId xmlns:a16="http://schemas.microsoft.com/office/drawing/2014/main" id="{866E6A42-D888-4E6B-A10B-A61944360332}"/>
                </a:ext>
              </a:extLst>
            </p:cNvPr>
            <p:cNvSpPr>
              <a:spLocks/>
            </p:cNvSpPr>
            <p:nvPr/>
          </p:nvSpPr>
          <p:spPr bwMode="gray">
            <a:xfrm>
              <a:off x="1699895" y="2020295"/>
              <a:ext cx="1104639" cy="924290"/>
            </a:xfrm>
            <a:custGeom>
              <a:avLst/>
              <a:gdLst/>
              <a:ahLst/>
              <a:cxnLst>
                <a:cxn ang="0">
                  <a:pos x="62" y="443"/>
                </a:cxn>
                <a:cxn ang="0">
                  <a:pos x="0" y="396"/>
                </a:cxn>
                <a:cxn ang="0">
                  <a:pos x="9" y="333"/>
                </a:cxn>
                <a:cxn ang="0">
                  <a:pos x="50" y="275"/>
                </a:cxn>
                <a:cxn ang="0">
                  <a:pos x="105" y="155"/>
                </a:cxn>
                <a:cxn ang="0">
                  <a:pos x="135" y="73"/>
                </a:cxn>
                <a:cxn ang="0">
                  <a:pos x="139" y="65"/>
                </a:cxn>
                <a:cxn ang="0">
                  <a:pos x="147" y="26"/>
                </a:cxn>
                <a:cxn ang="0">
                  <a:pos x="170" y="10"/>
                </a:cxn>
                <a:cxn ang="0">
                  <a:pos x="178" y="10"/>
                </a:cxn>
                <a:cxn ang="0">
                  <a:pos x="207" y="22"/>
                </a:cxn>
                <a:cxn ang="0">
                  <a:pos x="223" y="24"/>
                </a:cxn>
                <a:cxn ang="0">
                  <a:pos x="233" y="51"/>
                </a:cxn>
                <a:cxn ang="0">
                  <a:pos x="231" y="67"/>
                </a:cxn>
                <a:cxn ang="0">
                  <a:pos x="233" y="85"/>
                </a:cxn>
                <a:cxn ang="0">
                  <a:pos x="255" y="99"/>
                </a:cxn>
                <a:cxn ang="0">
                  <a:pos x="282" y="101"/>
                </a:cxn>
                <a:cxn ang="0">
                  <a:pos x="298" y="97"/>
                </a:cxn>
                <a:cxn ang="0">
                  <a:pos x="325" y="104"/>
                </a:cxn>
                <a:cxn ang="0">
                  <a:pos x="337" y="109"/>
                </a:cxn>
                <a:cxn ang="0">
                  <a:pos x="342" y="120"/>
                </a:cxn>
                <a:cxn ang="0">
                  <a:pos x="358" y="120"/>
                </a:cxn>
                <a:cxn ang="0">
                  <a:pos x="380" y="118"/>
                </a:cxn>
                <a:cxn ang="0">
                  <a:pos x="393" y="123"/>
                </a:cxn>
                <a:cxn ang="0">
                  <a:pos x="421" y="123"/>
                </a:cxn>
                <a:cxn ang="0">
                  <a:pos x="445" y="121"/>
                </a:cxn>
                <a:cxn ang="0">
                  <a:pos x="470" y="121"/>
                </a:cxn>
                <a:cxn ang="0">
                  <a:pos x="496" y="125"/>
                </a:cxn>
                <a:cxn ang="0">
                  <a:pos x="583" y="137"/>
                </a:cxn>
                <a:cxn ang="0">
                  <a:pos x="662" y="155"/>
                </a:cxn>
                <a:cxn ang="0">
                  <a:pos x="669" y="176"/>
                </a:cxn>
                <a:cxn ang="0">
                  <a:pos x="684" y="191"/>
                </a:cxn>
                <a:cxn ang="0">
                  <a:pos x="677" y="214"/>
                </a:cxn>
                <a:cxn ang="0">
                  <a:pos x="655" y="248"/>
                </a:cxn>
                <a:cxn ang="0">
                  <a:pos x="648" y="256"/>
                </a:cxn>
                <a:cxn ang="0">
                  <a:pos x="643" y="263"/>
                </a:cxn>
                <a:cxn ang="0">
                  <a:pos x="640" y="273"/>
                </a:cxn>
                <a:cxn ang="0">
                  <a:pos x="624" y="284"/>
                </a:cxn>
                <a:cxn ang="0">
                  <a:pos x="611" y="302"/>
                </a:cxn>
                <a:cxn ang="0">
                  <a:pos x="604" y="309"/>
                </a:cxn>
                <a:cxn ang="0">
                  <a:pos x="600" y="328"/>
                </a:cxn>
                <a:cxn ang="0">
                  <a:pos x="607" y="333"/>
                </a:cxn>
                <a:cxn ang="0">
                  <a:pos x="612" y="337"/>
                </a:cxn>
                <a:cxn ang="0">
                  <a:pos x="619" y="345"/>
                </a:cxn>
                <a:cxn ang="0">
                  <a:pos x="612" y="355"/>
                </a:cxn>
                <a:cxn ang="0">
                  <a:pos x="609" y="374"/>
                </a:cxn>
                <a:cxn ang="0">
                  <a:pos x="604" y="379"/>
                </a:cxn>
                <a:cxn ang="0">
                  <a:pos x="599" y="396"/>
                </a:cxn>
                <a:cxn ang="0">
                  <a:pos x="380" y="531"/>
                </a:cxn>
              </a:cxnLst>
              <a:rect l="0" t="0" r="r" b="b"/>
              <a:pathLst>
                <a:path w="686" h="574">
                  <a:moveTo>
                    <a:pt x="219" y="489"/>
                  </a:moveTo>
                  <a:lnTo>
                    <a:pt x="156" y="470"/>
                  </a:lnTo>
                  <a:lnTo>
                    <a:pt x="84" y="449"/>
                  </a:lnTo>
                  <a:lnTo>
                    <a:pt x="62" y="443"/>
                  </a:lnTo>
                  <a:lnTo>
                    <a:pt x="38" y="436"/>
                  </a:lnTo>
                  <a:lnTo>
                    <a:pt x="9" y="427"/>
                  </a:lnTo>
                  <a:lnTo>
                    <a:pt x="0" y="413"/>
                  </a:lnTo>
                  <a:lnTo>
                    <a:pt x="0" y="396"/>
                  </a:lnTo>
                  <a:lnTo>
                    <a:pt x="6" y="378"/>
                  </a:lnTo>
                  <a:lnTo>
                    <a:pt x="12" y="366"/>
                  </a:lnTo>
                  <a:lnTo>
                    <a:pt x="14" y="359"/>
                  </a:lnTo>
                  <a:lnTo>
                    <a:pt x="9" y="333"/>
                  </a:lnTo>
                  <a:lnTo>
                    <a:pt x="19" y="321"/>
                  </a:lnTo>
                  <a:lnTo>
                    <a:pt x="36" y="292"/>
                  </a:lnTo>
                  <a:lnTo>
                    <a:pt x="35" y="289"/>
                  </a:lnTo>
                  <a:lnTo>
                    <a:pt x="50" y="275"/>
                  </a:lnTo>
                  <a:lnTo>
                    <a:pt x="58" y="261"/>
                  </a:lnTo>
                  <a:lnTo>
                    <a:pt x="70" y="237"/>
                  </a:lnTo>
                  <a:lnTo>
                    <a:pt x="88" y="195"/>
                  </a:lnTo>
                  <a:lnTo>
                    <a:pt x="105" y="155"/>
                  </a:lnTo>
                  <a:lnTo>
                    <a:pt x="108" y="140"/>
                  </a:lnTo>
                  <a:lnTo>
                    <a:pt x="118" y="120"/>
                  </a:lnTo>
                  <a:lnTo>
                    <a:pt x="130" y="94"/>
                  </a:lnTo>
                  <a:lnTo>
                    <a:pt x="135" y="73"/>
                  </a:lnTo>
                  <a:lnTo>
                    <a:pt x="139" y="72"/>
                  </a:lnTo>
                  <a:lnTo>
                    <a:pt x="141" y="77"/>
                  </a:lnTo>
                  <a:lnTo>
                    <a:pt x="144" y="75"/>
                  </a:lnTo>
                  <a:lnTo>
                    <a:pt x="139" y="65"/>
                  </a:lnTo>
                  <a:lnTo>
                    <a:pt x="146" y="51"/>
                  </a:lnTo>
                  <a:lnTo>
                    <a:pt x="144" y="44"/>
                  </a:lnTo>
                  <a:lnTo>
                    <a:pt x="149" y="34"/>
                  </a:lnTo>
                  <a:lnTo>
                    <a:pt x="147" y="26"/>
                  </a:lnTo>
                  <a:lnTo>
                    <a:pt x="156" y="20"/>
                  </a:lnTo>
                  <a:lnTo>
                    <a:pt x="158" y="0"/>
                  </a:lnTo>
                  <a:lnTo>
                    <a:pt x="168" y="14"/>
                  </a:lnTo>
                  <a:lnTo>
                    <a:pt x="170" y="10"/>
                  </a:lnTo>
                  <a:lnTo>
                    <a:pt x="168" y="5"/>
                  </a:lnTo>
                  <a:lnTo>
                    <a:pt x="173" y="3"/>
                  </a:lnTo>
                  <a:lnTo>
                    <a:pt x="175" y="8"/>
                  </a:lnTo>
                  <a:lnTo>
                    <a:pt x="178" y="10"/>
                  </a:lnTo>
                  <a:lnTo>
                    <a:pt x="192" y="7"/>
                  </a:lnTo>
                  <a:lnTo>
                    <a:pt x="200" y="19"/>
                  </a:lnTo>
                  <a:lnTo>
                    <a:pt x="204" y="20"/>
                  </a:lnTo>
                  <a:lnTo>
                    <a:pt x="207" y="22"/>
                  </a:lnTo>
                  <a:lnTo>
                    <a:pt x="211" y="20"/>
                  </a:lnTo>
                  <a:lnTo>
                    <a:pt x="214" y="19"/>
                  </a:lnTo>
                  <a:lnTo>
                    <a:pt x="217" y="20"/>
                  </a:lnTo>
                  <a:lnTo>
                    <a:pt x="223" y="24"/>
                  </a:lnTo>
                  <a:lnTo>
                    <a:pt x="226" y="31"/>
                  </a:lnTo>
                  <a:lnTo>
                    <a:pt x="231" y="36"/>
                  </a:lnTo>
                  <a:lnTo>
                    <a:pt x="231" y="41"/>
                  </a:lnTo>
                  <a:lnTo>
                    <a:pt x="233" y="51"/>
                  </a:lnTo>
                  <a:lnTo>
                    <a:pt x="233" y="55"/>
                  </a:lnTo>
                  <a:lnTo>
                    <a:pt x="233" y="60"/>
                  </a:lnTo>
                  <a:lnTo>
                    <a:pt x="233" y="61"/>
                  </a:lnTo>
                  <a:lnTo>
                    <a:pt x="231" y="67"/>
                  </a:lnTo>
                  <a:lnTo>
                    <a:pt x="231" y="72"/>
                  </a:lnTo>
                  <a:lnTo>
                    <a:pt x="229" y="75"/>
                  </a:lnTo>
                  <a:lnTo>
                    <a:pt x="228" y="82"/>
                  </a:lnTo>
                  <a:lnTo>
                    <a:pt x="233" y="85"/>
                  </a:lnTo>
                  <a:lnTo>
                    <a:pt x="235" y="89"/>
                  </a:lnTo>
                  <a:lnTo>
                    <a:pt x="241" y="92"/>
                  </a:lnTo>
                  <a:lnTo>
                    <a:pt x="248" y="97"/>
                  </a:lnTo>
                  <a:lnTo>
                    <a:pt x="255" y="99"/>
                  </a:lnTo>
                  <a:lnTo>
                    <a:pt x="258" y="102"/>
                  </a:lnTo>
                  <a:lnTo>
                    <a:pt x="262" y="104"/>
                  </a:lnTo>
                  <a:lnTo>
                    <a:pt x="276" y="102"/>
                  </a:lnTo>
                  <a:lnTo>
                    <a:pt x="282" y="101"/>
                  </a:lnTo>
                  <a:lnTo>
                    <a:pt x="284" y="101"/>
                  </a:lnTo>
                  <a:lnTo>
                    <a:pt x="288" y="101"/>
                  </a:lnTo>
                  <a:lnTo>
                    <a:pt x="293" y="97"/>
                  </a:lnTo>
                  <a:lnTo>
                    <a:pt x="298" y="97"/>
                  </a:lnTo>
                  <a:lnTo>
                    <a:pt x="301" y="99"/>
                  </a:lnTo>
                  <a:lnTo>
                    <a:pt x="306" y="101"/>
                  </a:lnTo>
                  <a:lnTo>
                    <a:pt x="320" y="101"/>
                  </a:lnTo>
                  <a:lnTo>
                    <a:pt x="325" y="104"/>
                  </a:lnTo>
                  <a:lnTo>
                    <a:pt x="327" y="106"/>
                  </a:lnTo>
                  <a:lnTo>
                    <a:pt x="330" y="106"/>
                  </a:lnTo>
                  <a:lnTo>
                    <a:pt x="334" y="108"/>
                  </a:lnTo>
                  <a:lnTo>
                    <a:pt x="337" y="109"/>
                  </a:lnTo>
                  <a:lnTo>
                    <a:pt x="340" y="113"/>
                  </a:lnTo>
                  <a:lnTo>
                    <a:pt x="340" y="113"/>
                  </a:lnTo>
                  <a:lnTo>
                    <a:pt x="340" y="118"/>
                  </a:lnTo>
                  <a:lnTo>
                    <a:pt x="342" y="120"/>
                  </a:lnTo>
                  <a:lnTo>
                    <a:pt x="346" y="120"/>
                  </a:lnTo>
                  <a:lnTo>
                    <a:pt x="351" y="118"/>
                  </a:lnTo>
                  <a:lnTo>
                    <a:pt x="354" y="118"/>
                  </a:lnTo>
                  <a:lnTo>
                    <a:pt x="358" y="120"/>
                  </a:lnTo>
                  <a:lnTo>
                    <a:pt x="359" y="120"/>
                  </a:lnTo>
                  <a:lnTo>
                    <a:pt x="363" y="121"/>
                  </a:lnTo>
                  <a:lnTo>
                    <a:pt x="366" y="120"/>
                  </a:lnTo>
                  <a:lnTo>
                    <a:pt x="380" y="118"/>
                  </a:lnTo>
                  <a:lnTo>
                    <a:pt x="383" y="116"/>
                  </a:lnTo>
                  <a:lnTo>
                    <a:pt x="385" y="116"/>
                  </a:lnTo>
                  <a:lnTo>
                    <a:pt x="390" y="118"/>
                  </a:lnTo>
                  <a:lnTo>
                    <a:pt x="393" y="123"/>
                  </a:lnTo>
                  <a:lnTo>
                    <a:pt x="397" y="125"/>
                  </a:lnTo>
                  <a:lnTo>
                    <a:pt x="409" y="125"/>
                  </a:lnTo>
                  <a:lnTo>
                    <a:pt x="416" y="126"/>
                  </a:lnTo>
                  <a:lnTo>
                    <a:pt x="421" y="123"/>
                  </a:lnTo>
                  <a:lnTo>
                    <a:pt x="428" y="123"/>
                  </a:lnTo>
                  <a:lnTo>
                    <a:pt x="433" y="121"/>
                  </a:lnTo>
                  <a:lnTo>
                    <a:pt x="443" y="121"/>
                  </a:lnTo>
                  <a:lnTo>
                    <a:pt x="445" y="121"/>
                  </a:lnTo>
                  <a:lnTo>
                    <a:pt x="457" y="123"/>
                  </a:lnTo>
                  <a:lnTo>
                    <a:pt x="462" y="118"/>
                  </a:lnTo>
                  <a:lnTo>
                    <a:pt x="465" y="118"/>
                  </a:lnTo>
                  <a:lnTo>
                    <a:pt x="470" y="121"/>
                  </a:lnTo>
                  <a:lnTo>
                    <a:pt x="476" y="120"/>
                  </a:lnTo>
                  <a:lnTo>
                    <a:pt x="481" y="121"/>
                  </a:lnTo>
                  <a:lnTo>
                    <a:pt x="486" y="121"/>
                  </a:lnTo>
                  <a:lnTo>
                    <a:pt x="496" y="125"/>
                  </a:lnTo>
                  <a:lnTo>
                    <a:pt x="498" y="125"/>
                  </a:lnTo>
                  <a:lnTo>
                    <a:pt x="506" y="123"/>
                  </a:lnTo>
                  <a:lnTo>
                    <a:pt x="511" y="120"/>
                  </a:lnTo>
                  <a:lnTo>
                    <a:pt x="583" y="137"/>
                  </a:lnTo>
                  <a:lnTo>
                    <a:pt x="585" y="137"/>
                  </a:lnTo>
                  <a:lnTo>
                    <a:pt x="612" y="143"/>
                  </a:lnTo>
                  <a:lnTo>
                    <a:pt x="621" y="145"/>
                  </a:lnTo>
                  <a:lnTo>
                    <a:pt x="662" y="155"/>
                  </a:lnTo>
                  <a:lnTo>
                    <a:pt x="664" y="157"/>
                  </a:lnTo>
                  <a:lnTo>
                    <a:pt x="664" y="166"/>
                  </a:lnTo>
                  <a:lnTo>
                    <a:pt x="667" y="173"/>
                  </a:lnTo>
                  <a:lnTo>
                    <a:pt x="669" y="176"/>
                  </a:lnTo>
                  <a:lnTo>
                    <a:pt x="674" y="178"/>
                  </a:lnTo>
                  <a:lnTo>
                    <a:pt x="675" y="183"/>
                  </a:lnTo>
                  <a:lnTo>
                    <a:pt x="682" y="188"/>
                  </a:lnTo>
                  <a:lnTo>
                    <a:pt x="684" y="191"/>
                  </a:lnTo>
                  <a:lnTo>
                    <a:pt x="684" y="196"/>
                  </a:lnTo>
                  <a:lnTo>
                    <a:pt x="686" y="203"/>
                  </a:lnTo>
                  <a:lnTo>
                    <a:pt x="684" y="207"/>
                  </a:lnTo>
                  <a:lnTo>
                    <a:pt x="677" y="214"/>
                  </a:lnTo>
                  <a:lnTo>
                    <a:pt x="675" y="217"/>
                  </a:lnTo>
                  <a:lnTo>
                    <a:pt x="665" y="229"/>
                  </a:lnTo>
                  <a:lnTo>
                    <a:pt x="662" y="236"/>
                  </a:lnTo>
                  <a:lnTo>
                    <a:pt x="655" y="248"/>
                  </a:lnTo>
                  <a:lnTo>
                    <a:pt x="653" y="251"/>
                  </a:lnTo>
                  <a:lnTo>
                    <a:pt x="652" y="251"/>
                  </a:lnTo>
                  <a:lnTo>
                    <a:pt x="650" y="255"/>
                  </a:lnTo>
                  <a:lnTo>
                    <a:pt x="648" y="256"/>
                  </a:lnTo>
                  <a:lnTo>
                    <a:pt x="643" y="258"/>
                  </a:lnTo>
                  <a:lnTo>
                    <a:pt x="643" y="261"/>
                  </a:lnTo>
                  <a:lnTo>
                    <a:pt x="643" y="263"/>
                  </a:lnTo>
                  <a:lnTo>
                    <a:pt x="643" y="263"/>
                  </a:lnTo>
                  <a:lnTo>
                    <a:pt x="645" y="263"/>
                  </a:lnTo>
                  <a:lnTo>
                    <a:pt x="643" y="265"/>
                  </a:lnTo>
                  <a:lnTo>
                    <a:pt x="643" y="270"/>
                  </a:lnTo>
                  <a:lnTo>
                    <a:pt x="640" y="273"/>
                  </a:lnTo>
                  <a:lnTo>
                    <a:pt x="636" y="275"/>
                  </a:lnTo>
                  <a:lnTo>
                    <a:pt x="634" y="277"/>
                  </a:lnTo>
                  <a:lnTo>
                    <a:pt x="631" y="282"/>
                  </a:lnTo>
                  <a:lnTo>
                    <a:pt x="624" y="284"/>
                  </a:lnTo>
                  <a:lnTo>
                    <a:pt x="621" y="289"/>
                  </a:lnTo>
                  <a:lnTo>
                    <a:pt x="619" y="289"/>
                  </a:lnTo>
                  <a:lnTo>
                    <a:pt x="612" y="301"/>
                  </a:lnTo>
                  <a:lnTo>
                    <a:pt x="611" y="302"/>
                  </a:lnTo>
                  <a:lnTo>
                    <a:pt x="611" y="304"/>
                  </a:lnTo>
                  <a:lnTo>
                    <a:pt x="607" y="306"/>
                  </a:lnTo>
                  <a:lnTo>
                    <a:pt x="605" y="309"/>
                  </a:lnTo>
                  <a:lnTo>
                    <a:pt x="604" y="309"/>
                  </a:lnTo>
                  <a:lnTo>
                    <a:pt x="602" y="314"/>
                  </a:lnTo>
                  <a:lnTo>
                    <a:pt x="600" y="318"/>
                  </a:lnTo>
                  <a:lnTo>
                    <a:pt x="602" y="325"/>
                  </a:lnTo>
                  <a:lnTo>
                    <a:pt x="600" y="328"/>
                  </a:lnTo>
                  <a:lnTo>
                    <a:pt x="600" y="330"/>
                  </a:lnTo>
                  <a:lnTo>
                    <a:pt x="602" y="333"/>
                  </a:lnTo>
                  <a:lnTo>
                    <a:pt x="604" y="335"/>
                  </a:lnTo>
                  <a:lnTo>
                    <a:pt x="607" y="333"/>
                  </a:lnTo>
                  <a:lnTo>
                    <a:pt x="607" y="333"/>
                  </a:lnTo>
                  <a:lnTo>
                    <a:pt x="609" y="337"/>
                  </a:lnTo>
                  <a:lnTo>
                    <a:pt x="611" y="338"/>
                  </a:lnTo>
                  <a:lnTo>
                    <a:pt x="612" y="337"/>
                  </a:lnTo>
                  <a:lnTo>
                    <a:pt x="616" y="337"/>
                  </a:lnTo>
                  <a:lnTo>
                    <a:pt x="616" y="340"/>
                  </a:lnTo>
                  <a:lnTo>
                    <a:pt x="616" y="342"/>
                  </a:lnTo>
                  <a:lnTo>
                    <a:pt x="619" y="345"/>
                  </a:lnTo>
                  <a:lnTo>
                    <a:pt x="619" y="349"/>
                  </a:lnTo>
                  <a:lnTo>
                    <a:pt x="616" y="354"/>
                  </a:lnTo>
                  <a:lnTo>
                    <a:pt x="614" y="354"/>
                  </a:lnTo>
                  <a:lnTo>
                    <a:pt x="612" y="355"/>
                  </a:lnTo>
                  <a:lnTo>
                    <a:pt x="614" y="362"/>
                  </a:lnTo>
                  <a:lnTo>
                    <a:pt x="611" y="367"/>
                  </a:lnTo>
                  <a:lnTo>
                    <a:pt x="611" y="371"/>
                  </a:lnTo>
                  <a:lnTo>
                    <a:pt x="609" y="374"/>
                  </a:lnTo>
                  <a:lnTo>
                    <a:pt x="607" y="376"/>
                  </a:lnTo>
                  <a:lnTo>
                    <a:pt x="607" y="378"/>
                  </a:lnTo>
                  <a:lnTo>
                    <a:pt x="604" y="378"/>
                  </a:lnTo>
                  <a:lnTo>
                    <a:pt x="604" y="379"/>
                  </a:lnTo>
                  <a:lnTo>
                    <a:pt x="602" y="381"/>
                  </a:lnTo>
                  <a:lnTo>
                    <a:pt x="602" y="383"/>
                  </a:lnTo>
                  <a:lnTo>
                    <a:pt x="602" y="388"/>
                  </a:lnTo>
                  <a:lnTo>
                    <a:pt x="599" y="396"/>
                  </a:lnTo>
                  <a:lnTo>
                    <a:pt x="559" y="574"/>
                  </a:lnTo>
                  <a:lnTo>
                    <a:pt x="470" y="552"/>
                  </a:lnTo>
                  <a:lnTo>
                    <a:pt x="383" y="531"/>
                  </a:lnTo>
                  <a:lnTo>
                    <a:pt x="380" y="531"/>
                  </a:lnTo>
                  <a:lnTo>
                    <a:pt x="330" y="518"/>
                  </a:lnTo>
                  <a:lnTo>
                    <a:pt x="264" y="501"/>
                  </a:lnTo>
                  <a:lnTo>
                    <a:pt x="219" y="489"/>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21" name="Freeform 17">
              <a:extLst>
                <a:ext uri="{FF2B5EF4-FFF2-40B4-BE49-F238E27FC236}">
                  <a16:creationId xmlns:a16="http://schemas.microsoft.com/office/drawing/2014/main" id="{BBE021AD-5D83-4928-840C-A1E1F6435066}"/>
                </a:ext>
              </a:extLst>
            </p:cNvPr>
            <p:cNvSpPr>
              <a:spLocks/>
            </p:cNvSpPr>
            <p:nvPr/>
          </p:nvSpPr>
          <p:spPr bwMode="gray">
            <a:xfrm>
              <a:off x="8184418" y="2269886"/>
              <a:ext cx="220606" cy="476638"/>
            </a:xfrm>
            <a:custGeom>
              <a:avLst/>
              <a:gdLst/>
              <a:ahLst/>
              <a:cxnLst>
                <a:cxn ang="0">
                  <a:pos x="17" y="296"/>
                </a:cxn>
                <a:cxn ang="0">
                  <a:pos x="14" y="293"/>
                </a:cxn>
                <a:cxn ang="0">
                  <a:pos x="10" y="289"/>
                </a:cxn>
                <a:cxn ang="0">
                  <a:pos x="5" y="282"/>
                </a:cxn>
                <a:cxn ang="0">
                  <a:pos x="5" y="274"/>
                </a:cxn>
                <a:cxn ang="0">
                  <a:pos x="9" y="270"/>
                </a:cxn>
                <a:cxn ang="0">
                  <a:pos x="7" y="262"/>
                </a:cxn>
                <a:cxn ang="0">
                  <a:pos x="7" y="255"/>
                </a:cxn>
                <a:cxn ang="0">
                  <a:pos x="5" y="241"/>
                </a:cxn>
                <a:cxn ang="0">
                  <a:pos x="3" y="233"/>
                </a:cxn>
                <a:cxn ang="0">
                  <a:pos x="2" y="226"/>
                </a:cxn>
                <a:cxn ang="0">
                  <a:pos x="2" y="214"/>
                </a:cxn>
                <a:cxn ang="0">
                  <a:pos x="0" y="206"/>
                </a:cxn>
                <a:cxn ang="0">
                  <a:pos x="2" y="192"/>
                </a:cxn>
                <a:cxn ang="0">
                  <a:pos x="7" y="183"/>
                </a:cxn>
                <a:cxn ang="0">
                  <a:pos x="9" y="178"/>
                </a:cxn>
                <a:cxn ang="0">
                  <a:pos x="10" y="166"/>
                </a:cxn>
                <a:cxn ang="0">
                  <a:pos x="10" y="159"/>
                </a:cxn>
                <a:cxn ang="0">
                  <a:pos x="9" y="158"/>
                </a:cxn>
                <a:cxn ang="0">
                  <a:pos x="10" y="153"/>
                </a:cxn>
                <a:cxn ang="0">
                  <a:pos x="12" y="144"/>
                </a:cxn>
                <a:cxn ang="0">
                  <a:pos x="10" y="142"/>
                </a:cxn>
                <a:cxn ang="0">
                  <a:pos x="7" y="135"/>
                </a:cxn>
                <a:cxn ang="0">
                  <a:pos x="5" y="127"/>
                </a:cxn>
                <a:cxn ang="0">
                  <a:pos x="9" y="120"/>
                </a:cxn>
                <a:cxn ang="0">
                  <a:pos x="14" y="117"/>
                </a:cxn>
                <a:cxn ang="0">
                  <a:pos x="21" y="113"/>
                </a:cxn>
                <a:cxn ang="0">
                  <a:pos x="24" y="108"/>
                </a:cxn>
                <a:cxn ang="0">
                  <a:pos x="31" y="101"/>
                </a:cxn>
                <a:cxn ang="0">
                  <a:pos x="31" y="98"/>
                </a:cxn>
                <a:cxn ang="0">
                  <a:pos x="34" y="94"/>
                </a:cxn>
                <a:cxn ang="0">
                  <a:pos x="32" y="89"/>
                </a:cxn>
                <a:cxn ang="0">
                  <a:pos x="36" y="84"/>
                </a:cxn>
                <a:cxn ang="0">
                  <a:pos x="31" y="79"/>
                </a:cxn>
                <a:cxn ang="0">
                  <a:pos x="27" y="76"/>
                </a:cxn>
                <a:cxn ang="0">
                  <a:pos x="26" y="65"/>
                </a:cxn>
                <a:cxn ang="0">
                  <a:pos x="29" y="50"/>
                </a:cxn>
                <a:cxn ang="0">
                  <a:pos x="24" y="43"/>
                </a:cxn>
                <a:cxn ang="0">
                  <a:pos x="24" y="35"/>
                </a:cxn>
                <a:cxn ang="0">
                  <a:pos x="27" y="18"/>
                </a:cxn>
                <a:cxn ang="0">
                  <a:pos x="29" y="14"/>
                </a:cxn>
                <a:cxn ang="0">
                  <a:pos x="46" y="9"/>
                </a:cxn>
                <a:cxn ang="0">
                  <a:pos x="70" y="65"/>
                </a:cxn>
                <a:cxn ang="0">
                  <a:pos x="97" y="156"/>
                </a:cxn>
                <a:cxn ang="0">
                  <a:pos x="106" y="178"/>
                </a:cxn>
                <a:cxn ang="0">
                  <a:pos x="108" y="182"/>
                </a:cxn>
                <a:cxn ang="0">
                  <a:pos x="108" y="188"/>
                </a:cxn>
                <a:cxn ang="0">
                  <a:pos x="109" y="197"/>
                </a:cxn>
                <a:cxn ang="0">
                  <a:pos x="118" y="206"/>
                </a:cxn>
                <a:cxn ang="0">
                  <a:pos x="126" y="209"/>
                </a:cxn>
                <a:cxn ang="0">
                  <a:pos x="130" y="221"/>
                </a:cxn>
                <a:cxn ang="0">
                  <a:pos x="126" y="224"/>
                </a:cxn>
                <a:cxn ang="0">
                  <a:pos x="126" y="229"/>
                </a:cxn>
                <a:cxn ang="0">
                  <a:pos x="137" y="226"/>
                </a:cxn>
                <a:cxn ang="0">
                  <a:pos x="135" y="250"/>
                </a:cxn>
                <a:cxn ang="0">
                  <a:pos x="128" y="248"/>
                </a:cxn>
                <a:cxn ang="0">
                  <a:pos x="120" y="260"/>
                </a:cxn>
                <a:cxn ang="0">
                  <a:pos x="111" y="262"/>
                </a:cxn>
                <a:cxn ang="0">
                  <a:pos x="108" y="269"/>
                </a:cxn>
                <a:cxn ang="0">
                  <a:pos x="106" y="276"/>
                </a:cxn>
                <a:cxn ang="0">
                  <a:pos x="56" y="288"/>
                </a:cxn>
              </a:cxnLst>
              <a:rect l="0" t="0" r="r" b="b"/>
              <a:pathLst>
                <a:path w="137" h="296">
                  <a:moveTo>
                    <a:pt x="29" y="293"/>
                  </a:moveTo>
                  <a:lnTo>
                    <a:pt x="17" y="296"/>
                  </a:lnTo>
                  <a:lnTo>
                    <a:pt x="15" y="293"/>
                  </a:lnTo>
                  <a:lnTo>
                    <a:pt x="14" y="293"/>
                  </a:lnTo>
                  <a:lnTo>
                    <a:pt x="12" y="293"/>
                  </a:lnTo>
                  <a:lnTo>
                    <a:pt x="10" y="289"/>
                  </a:lnTo>
                  <a:lnTo>
                    <a:pt x="9" y="289"/>
                  </a:lnTo>
                  <a:lnTo>
                    <a:pt x="5" y="282"/>
                  </a:lnTo>
                  <a:lnTo>
                    <a:pt x="7" y="277"/>
                  </a:lnTo>
                  <a:lnTo>
                    <a:pt x="5" y="274"/>
                  </a:lnTo>
                  <a:lnTo>
                    <a:pt x="7" y="272"/>
                  </a:lnTo>
                  <a:lnTo>
                    <a:pt x="9" y="270"/>
                  </a:lnTo>
                  <a:lnTo>
                    <a:pt x="9" y="267"/>
                  </a:lnTo>
                  <a:lnTo>
                    <a:pt x="7" y="262"/>
                  </a:lnTo>
                  <a:lnTo>
                    <a:pt x="9" y="258"/>
                  </a:lnTo>
                  <a:lnTo>
                    <a:pt x="7" y="255"/>
                  </a:lnTo>
                  <a:lnTo>
                    <a:pt x="5" y="250"/>
                  </a:lnTo>
                  <a:lnTo>
                    <a:pt x="5" y="241"/>
                  </a:lnTo>
                  <a:lnTo>
                    <a:pt x="5" y="233"/>
                  </a:lnTo>
                  <a:lnTo>
                    <a:pt x="3" y="233"/>
                  </a:lnTo>
                  <a:lnTo>
                    <a:pt x="3" y="229"/>
                  </a:lnTo>
                  <a:lnTo>
                    <a:pt x="2" y="226"/>
                  </a:lnTo>
                  <a:lnTo>
                    <a:pt x="3" y="223"/>
                  </a:lnTo>
                  <a:lnTo>
                    <a:pt x="2" y="214"/>
                  </a:lnTo>
                  <a:lnTo>
                    <a:pt x="0" y="212"/>
                  </a:lnTo>
                  <a:lnTo>
                    <a:pt x="0" y="206"/>
                  </a:lnTo>
                  <a:lnTo>
                    <a:pt x="2" y="202"/>
                  </a:lnTo>
                  <a:lnTo>
                    <a:pt x="2" y="192"/>
                  </a:lnTo>
                  <a:lnTo>
                    <a:pt x="5" y="187"/>
                  </a:lnTo>
                  <a:lnTo>
                    <a:pt x="7" y="183"/>
                  </a:lnTo>
                  <a:lnTo>
                    <a:pt x="7" y="182"/>
                  </a:lnTo>
                  <a:lnTo>
                    <a:pt x="9" y="178"/>
                  </a:lnTo>
                  <a:lnTo>
                    <a:pt x="7" y="170"/>
                  </a:lnTo>
                  <a:lnTo>
                    <a:pt x="10" y="166"/>
                  </a:lnTo>
                  <a:lnTo>
                    <a:pt x="10" y="163"/>
                  </a:lnTo>
                  <a:lnTo>
                    <a:pt x="10" y="159"/>
                  </a:lnTo>
                  <a:lnTo>
                    <a:pt x="9" y="158"/>
                  </a:lnTo>
                  <a:lnTo>
                    <a:pt x="9" y="158"/>
                  </a:lnTo>
                  <a:lnTo>
                    <a:pt x="10" y="154"/>
                  </a:lnTo>
                  <a:lnTo>
                    <a:pt x="10" y="153"/>
                  </a:lnTo>
                  <a:lnTo>
                    <a:pt x="12" y="146"/>
                  </a:lnTo>
                  <a:lnTo>
                    <a:pt x="12" y="144"/>
                  </a:lnTo>
                  <a:lnTo>
                    <a:pt x="10" y="144"/>
                  </a:lnTo>
                  <a:lnTo>
                    <a:pt x="10" y="142"/>
                  </a:lnTo>
                  <a:lnTo>
                    <a:pt x="9" y="139"/>
                  </a:lnTo>
                  <a:lnTo>
                    <a:pt x="7" y="135"/>
                  </a:lnTo>
                  <a:lnTo>
                    <a:pt x="7" y="130"/>
                  </a:lnTo>
                  <a:lnTo>
                    <a:pt x="5" y="127"/>
                  </a:lnTo>
                  <a:lnTo>
                    <a:pt x="5" y="123"/>
                  </a:lnTo>
                  <a:lnTo>
                    <a:pt x="9" y="120"/>
                  </a:lnTo>
                  <a:lnTo>
                    <a:pt x="12" y="118"/>
                  </a:lnTo>
                  <a:lnTo>
                    <a:pt x="14" y="117"/>
                  </a:lnTo>
                  <a:lnTo>
                    <a:pt x="21" y="115"/>
                  </a:lnTo>
                  <a:lnTo>
                    <a:pt x="21" y="113"/>
                  </a:lnTo>
                  <a:lnTo>
                    <a:pt x="21" y="110"/>
                  </a:lnTo>
                  <a:lnTo>
                    <a:pt x="24" y="108"/>
                  </a:lnTo>
                  <a:lnTo>
                    <a:pt x="29" y="103"/>
                  </a:lnTo>
                  <a:lnTo>
                    <a:pt x="31" y="101"/>
                  </a:lnTo>
                  <a:lnTo>
                    <a:pt x="31" y="98"/>
                  </a:lnTo>
                  <a:lnTo>
                    <a:pt x="31" y="98"/>
                  </a:lnTo>
                  <a:lnTo>
                    <a:pt x="32" y="96"/>
                  </a:lnTo>
                  <a:lnTo>
                    <a:pt x="34" y="94"/>
                  </a:lnTo>
                  <a:lnTo>
                    <a:pt x="34" y="91"/>
                  </a:lnTo>
                  <a:lnTo>
                    <a:pt x="32" y="89"/>
                  </a:lnTo>
                  <a:lnTo>
                    <a:pt x="32" y="89"/>
                  </a:lnTo>
                  <a:lnTo>
                    <a:pt x="36" y="84"/>
                  </a:lnTo>
                  <a:lnTo>
                    <a:pt x="34" y="82"/>
                  </a:lnTo>
                  <a:lnTo>
                    <a:pt x="31" y="79"/>
                  </a:lnTo>
                  <a:lnTo>
                    <a:pt x="29" y="77"/>
                  </a:lnTo>
                  <a:lnTo>
                    <a:pt x="27" y="76"/>
                  </a:lnTo>
                  <a:lnTo>
                    <a:pt x="24" y="69"/>
                  </a:lnTo>
                  <a:lnTo>
                    <a:pt x="26" y="65"/>
                  </a:lnTo>
                  <a:lnTo>
                    <a:pt x="26" y="60"/>
                  </a:lnTo>
                  <a:lnTo>
                    <a:pt x="29" y="50"/>
                  </a:lnTo>
                  <a:lnTo>
                    <a:pt x="27" y="47"/>
                  </a:lnTo>
                  <a:lnTo>
                    <a:pt x="24" y="43"/>
                  </a:lnTo>
                  <a:lnTo>
                    <a:pt x="26" y="40"/>
                  </a:lnTo>
                  <a:lnTo>
                    <a:pt x="24" y="35"/>
                  </a:lnTo>
                  <a:lnTo>
                    <a:pt x="29" y="26"/>
                  </a:lnTo>
                  <a:lnTo>
                    <a:pt x="27" y="18"/>
                  </a:lnTo>
                  <a:lnTo>
                    <a:pt x="24" y="14"/>
                  </a:lnTo>
                  <a:lnTo>
                    <a:pt x="29" y="14"/>
                  </a:lnTo>
                  <a:lnTo>
                    <a:pt x="34" y="6"/>
                  </a:lnTo>
                  <a:lnTo>
                    <a:pt x="46" y="9"/>
                  </a:lnTo>
                  <a:lnTo>
                    <a:pt x="48" y="0"/>
                  </a:lnTo>
                  <a:lnTo>
                    <a:pt x="70" y="65"/>
                  </a:lnTo>
                  <a:lnTo>
                    <a:pt x="82" y="105"/>
                  </a:lnTo>
                  <a:lnTo>
                    <a:pt x="97" y="156"/>
                  </a:lnTo>
                  <a:lnTo>
                    <a:pt x="104" y="178"/>
                  </a:lnTo>
                  <a:lnTo>
                    <a:pt x="106" y="178"/>
                  </a:lnTo>
                  <a:lnTo>
                    <a:pt x="108" y="180"/>
                  </a:lnTo>
                  <a:lnTo>
                    <a:pt x="108" y="182"/>
                  </a:lnTo>
                  <a:lnTo>
                    <a:pt x="108" y="183"/>
                  </a:lnTo>
                  <a:lnTo>
                    <a:pt x="108" y="188"/>
                  </a:lnTo>
                  <a:lnTo>
                    <a:pt x="109" y="192"/>
                  </a:lnTo>
                  <a:lnTo>
                    <a:pt x="109" y="197"/>
                  </a:lnTo>
                  <a:lnTo>
                    <a:pt x="111" y="199"/>
                  </a:lnTo>
                  <a:lnTo>
                    <a:pt x="118" y="206"/>
                  </a:lnTo>
                  <a:lnTo>
                    <a:pt x="118" y="207"/>
                  </a:lnTo>
                  <a:lnTo>
                    <a:pt x="126" y="209"/>
                  </a:lnTo>
                  <a:lnTo>
                    <a:pt x="128" y="217"/>
                  </a:lnTo>
                  <a:lnTo>
                    <a:pt x="130" y="221"/>
                  </a:lnTo>
                  <a:lnTo>
                    <a:pt x="125" y="223"/>
                  </a:lnTo>
                  <a:lnTo>
                    <a:pt x="126" y="224"/>
                  </a:lnTo>
                  <a:lnTo>
                    <a:pt x="125" y="228"/>
                  </a:lnTo>
                  <a:lnTo>
                    <a:pt x="126" y="229"/>
                  </a:lnTo>
                  <a:lnTo>
                    <a:pt x="132" y="224"/>
                  </a:lnTo>
                  <a:lnTo>
                    <a:pt x="137" y="226"/>
                  </a:lnTo>
                  <a:lnTo>
                    <a:pt x="137" y="248"/>
                  </a:lnTo>
                  <a:lnTo>
                    <a:pt x="135" y="250"/>
                  </a:lnTo>
                  <a:lnTo>
                    <a:pt x="130" y="248"/>
                  </a:lnTo>
                  <a:lnTo>
                    <a:pt x="128" y="248"/>
                  </a:lnTo>
                  <a:lnTo>
                    <a:pt x="121" y="253"/>
                  </a:lnTo>
                  <a:lnTo>
                    <a:pt x="120" y="260"/>
                  </a:lnTo>
                  <a:lnTo>
                    <a:pt x="115" y="260"/>
                  </a:lnTo>
                  <a:lnTo>
                    <a:pt x="111" y="262"/>
                  </a:lnTo>
                  <a:lnTo>
                    <a:pt x="113" y="269"/>
                  </a:lnTo>
                  <a:lnTo>
                    <a:pt x="108" y="269"/>
                  </a:lnTo>
                  <a:lnTo>
                    <a:pt x="108" y="272"/>
                  </a:lnTo>
                  <a:lnTo>
                    <a:pt x="106" y="276"/>
                  </a:lnTo>
                  <a:lnTo>
                    <a:pt x="60" y="288"/>
                  </a:lnTo>
                  <a:lnTo>
                    <a:pt x="56" y="288"/>
                  </a:lnTo>
                  <a:lnTo>
                    <a:pt x="29" y="293"/>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22" name="Freeform 18">
              <a:extLst>
                <a:ext uri="{FF2B5EF4-FFF2-40B4-BE49-F238E27FC236}">
                  <a16:creationId xmlns:a16="http://schemas.microsoft.com/office/drawing/2014/main" id="{38BD300E-42D6-4DD2-88F3-5EE44EE7FCDA}"/>
                </a:ext>
              </a:extLst>
            </p:cNvPr>
            <p:cNvSpPr>
              <a:spLocks/>
            </p:cNvSpPr>
            <p:nvPr/>
          </p:nvSpPr>
          <p:spPr bwMode="gray">
            <a:xfrm>
              <a:off x="5184501" y="2963908"/>
              <a:ext cx="829285" cy="542659"/>
            </a:xfrm>
            <a:custGeom>
              <a:avLst/>
              <a:gdLst/>
              <a:ahLst/>
              <a:cxnLst>
                <a:cxn ang="0">
                  <a:pos x="436" y="308"/>
                </a:cxn>
                <a:cxn ang="0">
                  <a:pos x="421" y="318"/>
                </a:cxn>
                <a:cxn ang="0">
                  <a:pos x="426" y="333"/>
                </a:cxn>
                <a:cxn ang="0">
                  <a:pos x="417" y="335"/>
                </a:cxn>
                <a:cxn ang="0">
                  <a:pos x="412" y="332"/>
                </a:cxn>
                <a:cxn ang="0">
                  <a:pos x="407" y="326"/>
                </a:cxn>
                <a:cxn ang="0">
                  <a:pos x="398" y="316"/>
                </a:cxn>
                <a:cxn ang="0">
                  <a:pos x="357" y="315"/>
                </a:cxn>
                <a:cxn ang="0">
                  <a:pos x="284" y="320"/>
                </a:cxn>
                <a:cxn ang="0">
                  <a:pos x="210" y="323"/>
                </a:cxn>
                <a:cxn ang="0">
                  <a:pos x="137" y="323"/>
                </a:cxn>
                <a:cxn ang="0">
                  <a:pos x="70" y="320"/>
                </a:cxn>
                <a:cxn ang="0">
                  <a:pos x="62" y="294"/>
                </a:cxn>
                <a:cxn ang="0">
                  <a:pos x="62" y="279"/>
                </a:cxn>
                <a:cxn ang="0">
                  <a:pos x="60" y="260"/>
                </a:cxn>
                <a:cxn ang="0">
                  <a:pos x="57" y="256"/>
                </a:cxn>
                <a:cxn ang="0">
                  <a:pos x="58" y="248"/>
                </a:cxn>
                <a:cxn ang="0">
                  <a:pos x="55" y="229"/>
                </a:cxn>
                <a:cxn ang="0">
                  <a:pos x="50" y="224"/>
                </a:cxn>
                <a:cxn ang="0">
                  <a:pos x="43" y="221"/>
                </a:cxn>
                <a:cxn ang="0">
                  <a:pos x="43" y="207"/>
                </a:cxn>
                <a:cxn ang="0">
                  <a:pos x="41" y="200"/>
                </a:cxn>
                <a:cxn ang="0">
                  <a:pos x="38" y="181"/>
                </a:cxn>
                <a:cxn ang="0">
                  <a:pos x="34" y="171"/>
                </a:cxn>
                <a:cxn ang="0">
                  <a:pos x="27" y="157"/>
                </a:cxn>
                <a:cxn ang="0">
                  <a:pos x="24" y="142"/>
                </a:cxn>
                <a:cxn ang="0">
                  <a:pos x="17" y="133"/>
                </a:cxn>
                <a:cxn ang="0">
                  <a:pos x="19" y="120"/>
                </a:cxn>
                <a:cxn ang="0">
                  <a:pos x="10" y="108"/>
                </a:cxn>
                <a:cxn ang="0">
                  <a:pos x="5" y="97"/>
                </a:cxn>
                <a:cxn ang="0">
                  <a:pos x="4" y="84"/>
                </a:cxn>
                <a:cxn ang="0">
                  <a:pos x="9" y="74"/>
                </a:cxn>
                <a:cxn ang="0">
                  <a:pos x="10" y="62"/>
                </a:cxn>
                <a:cxn ang="0">
                  <a:pos x="14" y="53"/>
                </a:cxn>
                <a:cxn ang="0">
                  <a:pos x="7" y="38"/>
                </a:cxn>
                <a:cxn ang="0">
                  <a:pos x="5" y="31"/>
                </a:cxn>
                <a:cxn ang="0">
                  <a:pos x="7" y="19"/>
                </a:cxn>
                <a:cxn ang="0">
                  <a:pos x="14" y="9"/>
                </a:cxn>
                <a:cxn ang="0">
                  <a:pos x="98" y="9"/>
                </a:cxn>
                <a:cxn ang="0">
                  <a:pos x="186" y="7"/>
                </a:cxn>
                <a:cxn ang="0">
                  <a:pos x="279" y="5"/>
                </a:cxn>
                <a:cxn ang="0">
                  <a:pos x="354" y="2"/>
                </a:cxn>
                <a:cxn ang="0">
                  <a:pos x="421" y="3"/>
                </a:cxn>
                <a:cxn ang="0">
                  <a:pos x="433" y="19"/>
                </a:cxn>
                <a:cxn ang="0">
                  <a:pos x="427" y="45"/>
                </a:cxn>
                <a:cxn ang="0">
                  <a:pos x="434" y="67"/>
                </a:cxn>
                <a:cxn ang="0">
                  <a:pos x="450" y="86"/>
                </a:cxn>
                <a:cxn ang="0">
                  <a:pos x="470" y="97"/>
                </a:cxn>
                <a:cxn ang="0">
                  <a:pos x="470" y="106"/>
                </a:cxn>
                <a:cxn ang="0">
                  <a:pos x="484" y="116"/>
                </a:cxn>
                <a:cxn ang="0">
                  <a:pos x="492" y="132"/>
                </a:cxn>
                <a:cxn ang="0">
                  <a:pos x="509" y="144"/>
                </a:cxn>
                <a:cxn ang="0">
                  <a:pos x="513" y="152"/>
                </a:cxn>
                <a:cxn ang="0">
                  <a:pos x="506" y="180"/>
                </a:cxn>
                <a:cxn ang="0">
                  <a:pos x="501" y="200"/>
                </a:cxn>
                <a:cxn ang="0">
                  <a:pos x="492" y="209"/>
                </a:cxn>
                <a:cxn ang="0">
                  <a:pos x="474" y="217"/>
                </a:cxn>
                <a:cxn ang="0">
                  <a:pos x="450" y="221"/>
                </a:cxn>
                <a:cxn ang="0">
                  <a:pos x="443" y="239"/>
                </a:cxn>
                <a:cxn ang="0">
                  <a:pos x="451" y="251"/>
                </a:cxn>
                <a:cxn ang="0">
                  <a:pos x="453" y="275"/>
                </a:cxn>
                <a:cxn ang="0">
                  <a:pos x="444" y="301"/>
                </a:cxn>
              </a:cxnLst>
              <a:rect l="0" t="0" r="r" b="b"/>
              <a:pathLst>
                <a:path w="515" h="337">
                  <a:moveTo>
                    <a:pt x="444" y="301"/>
                  </a:moveTo>
                  <a:lnTo>
                    <a:pt x="443" y="303"/>
                  </a:lnTo>
                  <a:lnTo>
                    <a:pt x="441" y="306"/>
                  </a:lnTo>
                  <a:lnTo>
                    <a:pt x="436" y="308"/>
                  </a:lnTo>
                  <a:lnTo>
                    <a:pt x="433" y="308"/>
                  </a:lnTo>
                  <a:lnTo>
                    <a:pt x="424" y="313"/>
                  </a:lnTo>
                  <a:lnTo>
                    <a:pt x="421" y="316"/>
                  </a:lnTo>
                  <a:lnTo>
                    <a:pt x="421" y="318"/>
                  </a:lnTo>
                  <a:lnTo>
                    <a:pt x="424" y="320"/>
                  </a:lnTo>
                  <a:lnTo>
                    <a:pt x="424" y="323"/>
                  </a:lnTo>
                  <a:lnTo>
                    <a:pt x="424" y="328"/>
                  </a:lnTo>
                  <a:lnTo>
                    <a:pt x="426" y="333"/>
                  </a:lnTo>
                  <a:lnTo>
                    <a:pt x="424" y="335"/>
                  </a:lnTo>
                  <a:lnTo>
                    <a:pt x="422" y="335"/>
                  </a:lnTo>
                  <a:lnTo>
                    <a:pt x="419" y="337"/>
                  </a:lnTo>
                  <a:lnTo>
                    <a:pt x="417" y="335"/>
                  </a:lnTo>
                  <a:lnTo>
                    <a:pt x="415" y="335"/>
                  </a:lnTo>
                  <a:lnTo>
                    <a:pt x="415" y="333"/>
                  </a:lnTo>
                  <a:lnTo>
                    <a:pt x="412" y="333"/>
                  </a:lnTo>
                  <a:lnTo>
                    <a:pt x="412" y="332"/>
                  </a:lnTo>
                  <a:lnTo>
                    <a:pt x="412" y="330"/>
                  </a:lnTo>
                  <a:lnTo>
                    <a:pt x="412" y="328"/>
                  </a:lnTo>
                  <a:lnTo>
                    <a:pt x="409" y="328"/>
                  </a:lnTo>
                  <a:lnTo>
                    <a:pt x="407" y="326"/>
                  </a:lnTo>
                  <a:lnTo>
                    <a:pt x="405" y="323"/>
                  </a:lnTo>
                  <a:lnTo>
                    <a:pt x="405" y="321"/>
                  </a:lnTo>
                  <a:lnTo>
                    <a:pt x="398" y="320"/>
                  </a:lnTo>
                  <a:lnTo>
                    <a:pt x="398" y="316"/>
                  </a:lnTo>
                  <a:lnTo>
                    <a:pt x="397" y="315"/>
                  </a:lnTo>
                  <a:lnTo>
                    <a:pt x="395" y="313"/>
                  </a:lnTo>
                  <a:lnTo>
                    <a:pt x="378" y="313"/>
                  </a:lnTo>
                  <a:lnTo>
                    <a:pt x="357" y="315"/>
                  </a:lnTo>
                  <a:lnTo>
                    <a:pt x="344" y="316"/>
                  </a:lnTo>
                  <a:lnTo>
                    <a:pt x="321" y="318"/>
                  </a:lnTo>
                  <a:lnTo>
                    <a:pt x="316" y="318"/>
                  </a:lnTo>
                  <a:lnTo>
                    <a:pt x="284" y="320"/>
                  </a:lnTo>
                  <a:lnTo>
                    <a:pt x="263" y="321"/>
                  </a:lnTo>
                  <a:lnTo>
                    <a:pt x="248" y="321"/>
                  </a:lnTo>
                  <a:lnTo>
                    <a:pt x="229" y="321"/>
                  </a:lnTo>
                  <a:lnTo>
                    <a:pt x="210" y="323"/>
                  </a:lnTo>
                  <a:lnTo>
                    <a:pt x="193" y="323"/>
                  </a:lnTo>
                  <a:lnTo>
                    <a:pt x="173" y="323"/>
                  </a:lnTo>
                  <a:lnTo>
                    <a:pt x="161" y="323"/>
                  </a:lnTo>
                  <a:lnTo>
                    <a:pt x="137" y="323"/>
                  </a:lnTo>
                  <a:lnTo>
                    <a:pt x="113" y="323"/>
                  </a:lnTo>
                  <a:lnTo>
                    <a:pt x="99" y="323"/>
                  </a:lnTo>
                  <a:lnTo>
                    <a:pt x="68" y="323"/>
                  </a:lnTo>
                  <a:lnTo>
                    <a:pt x="70" y="320"/>
                  </a:lnTo>
                  <a:lnTo>
                    <a:pt x="68" y="316"/>
                  </a:lnTo>
                  <a:lnTo>
                    <a:pt x="60" y="308"/>
                  </a:lnTo>
                  <a:lnTo>
                    <a:pt x="62" y="301"/>
                  </a:lnTo>
                  <a:lnTo>
                    <a:pt x="62" y="294"/>
                  </a:lnTo>
                  <a:lnTo>
                    <a:pt x="63" y="292"/>
                  </a:lnTo>
                  <a:lnTo>
                    <a:pt x="63" y="289"/>
                  </a:lnTo>
                  <a:lnTo>
                    <a:pt x="63" y="280"/>
                  </a:lnTo>
                  <a:lnTo>
                    <a:pt x="62" y="279"/>
                  </a:lnTo>
                  <a:lnTo>
                    <a:pt x="62" y="275"/>
                  </a:lnTo>
                  <a:lnTo>
                    <a:pt x="60" y="272"/>
                  </a:lnTo>
                  <a:lnTo>
                    <a:pt x="62" y="267"/>
                  </a:lnTo>
                  <a:lnTo>
                    <a:pt x="60" y="260"/>
                  </a:lnTo>
                  <a:lnTo>
                    <a:pt x="62" y="260"/>
                  </a:lnTo>
                  <a:lnTo>
                    <a:pt x="62" y="258"/>
                  </a:lnTo>
                  <a:lnTo>
                    <a:pt x="57" y="258"/>
                  </a:lnTo>
                  <a:lnTo>
                    <a:pt x="57" y="256"/>
                  </a:lnTo>
                  <a:lnTo>
                    <a:pt x="57" y="255"/>
                  </a:lnTo>
                  <a:lnTo>
                    <a:pt x="55" y="246"/>
                  </a:lnTo>
                  <a:lnTo>
                    <a:pt x="57" y="244"/>
                  </a:lnTo>
                  <a:lnTo>
                    <a:pt x="58" y="248"/>
                  </a:lnTo>
                  <a:lnTo>
                    <a:pt x="58" y="246"/>
                  </a:lnTo>
                  <a:lnTo>
                    <a:pt x="55" y="241"/>
                  </a:lnTo>
                  <a:lnTo>
                    <a:pt x="55" y="236"/>
                  </a:lnTo>
                  <a:lnTo>
                    <a:pt x="55" y="229"/>
                  </a:lnTo>
                  <a:lnTo>
                    <a:pt x="53" y="227"/>
                  </a:lnTo>
                  <a:lnTo>
                    <a:pt x="50" y="226"/>
                  </a:lnTo>
                  <a:lnTo>
                    <a:pt x="50" y="226"/>
                  </a:lnTo>
                  <a:lnTo>
                    <a:pt x="50" y="224"/>
                  </a:lnTo>
                  <a:lnTo>
                    <a:pt x="50" y="221"/>
                  </a:lnTo>
                  <a:lnTo>
                    <a:pt x="50" y="221"/>
                  </a:lnTo>
                  <a:lnTo>
                    <a:pt x="46" y="222"/>
                  </a:lnTo>
                  <a:lnTo>
                    <a:pt x="43" y="221"/>
                  </a:lnTo>
                  <a:lnTo>
                    <a:pt x="43" y="217"/>
                  </a:lnTo>
                  <a:lnTo>
                    <a:pt x="43" y="215"/>
                  </a:lnTo>
                  <a:lnTo>
                    <a:pt x="41" y="214"/>
                  </a:lnTo>
                  <a:lnTo>
                    <a:pt x="43" y="207"/>
                  </a:lnTo>
                  <a:lnTo>
                    <a:pt x="41" y="205"/>
                  </a:lnTo>
                  <a:lnTo>
                    <a:pt x="39" y="203"/>
                  </a:lnTo>
                  <a:lnTo>
                    <a:pt x="43" y="202"/>
                  </a:lnTo>
                  <a:lnTo>
                    <a:pt x="41" y="200"/>
                  </a:lnTo>
                  <a:lnTo>
                    <a:pt x="43" y="197"/>
                  </a:lnTo>
                  <a:lnTo>
                    <a:pt x="45" y="193"/>
                  </a:lnTo>
                  <a:lnTo>
                    <a:pt x="39" y="185"/>
                  </a:lnTo>
                  <a:lnTo>
                    <a:pt x="38" y="181"/>
                  </a:lnTo>
                  <a:lnTo>
                    <a:pt x="38" y="178"/>
                  </a:lnTo>
                  <a:lnTo>
                    <a:pt x="38" y="174"/>
                  </a:lnTo>
                  <a:lnTo>
                    <a:pt x="36" y="173"/>
                  </a:lnTo>
                  <a:lnTo>
                    <a:pt x="34" y="171"/>
                  </a:lnTo>
                  <a:lnTo>
                    <a:pt x="31" y="171"/>
                  </a:lnTo>
                  <a:lnTo>
                    <a:pt x="31" y="168"/>
                  </a:lnTo>
                  <a:lnTo>
                    <a:pt x="29" y="166"/>
                  </a:lnTo>
                  <a:lnTo>
                    <a:pt x="27" y="157"/>
                  </a:lnTo>
                  <a:lnTo>
                    <a:pt x="22" y="152"/>
                  </a:lnTo>
                  <a:lnTo>
                    <a:pt x="21" y="147"/>
                  </a:lnTo>
                  <a:lnTo>
                    <a:pt x="24" y="145"/>
                  </a:lnTo>
                  <a:lnTo>
                    <a:pt x="24" y="142"/>
                  </a:lnTo>
                  <a:lnTo>
                    <a:pt x="22" y="140"/>
                  </a:lnTo>
                  <a:lnTo>
                    <a:pt x="21" y="139"/>
                  </a:lnTo>
                  <a:lnTo>
                    <a:pt x="19" y="135"/>
                  </a:lnTo>
                  <a:lnTo>
                    <a:pt x="17" y="133"/>
                  </a:lnTo>
                  <a:lnTo>
                    <a:pt x="17" y="130"/>
                  </a:lnTo>
                  <a:lnTo>
                    <a:pt x="17" y="125"/>
                  </a:lnTo>
                  <a:lnTo>
                    <a:pt x="19" y="123"/>
                  </a:lnTo>
                  <a:lnTo>
                    <a:pt x="19" y="120"/>
                  </a:lnTo>
                  <a:lnTo>
                    <a:pt x="15" y="118"/>
                  </a:lnTo>
                  <a:lnTo>
                    <a:pt x="12" y="115"/>
                  </a:lnTo>
                  <a:lnTo>
                    <a:pt x="12" y="109"/>
                  </a:lnTo>
                  <a:lnTo>
                    <a:pt x="10" y="108"/>
                  </a:lnTo>
                  <a:lnTo>
                    <a:pt x="12" y="108"/>
                  </a:lnTo>
                  <a:lnTo>
                    <a:pt x="10" y="103"/>
                  </a:lnTo>
                  <a:lnTo>
                    <a:pt x="7" y="99"/>
                  </a:lnTo>
                  <a:lnTo>
                    <a:pt x="5" y="97"/>
                  </a:lnTo>
                  <a:lnTo>
                    <a:pt x="0" y="94"/>
                  </a:lnTo>
                  <a:lnTo>
                    <a:pt x="0" y="89"/>
                  </a:lnTo>
                  <a:lnTo>
                    <a:pt x="0" y="87"/>
                  </a:lnTo>
                  <a:lnTo>
                    <a:pt x="4" y="84"/>
                  </a:lnTo>
                  <a:lnTo>
                    <a:pt x="4" y="80"/>
                  </a:lnTo>
                  <a:lnTo>
                    <a:pt x="5" y="80"/>
                  </a:lnTo>
                  <a:lnTo>
                    <a:pt x="7" y="79"/>
                  </a:lnTo>
                  <a:lnTo>
                    <a:pt x="9" y="74"/>
                  </a:lnTo>
                  <a:lnTo>
                    <a:pt x="7" y="72"/>
                  </a:lnTo>
                  <a:lnTo>
                    <a:pt x="10" y="68"/>
                  </a:lnTo>
                  <a:lnTo>
                    <a:pt x="9" y="63"/>
                  </a:lnTo>
                  <a:lnTo>
                    <a:pt x="10" y="62"/>
                  </a:lnTo>
                  <a:lnTo>
                    <a:pt x="9" y="56"/>
                  </a:lnTo>
                  <a:lnTo>
                    <a:pt x="12" y="56"/>
                  </a:lnTo>
                  <a:lnTo>
                    <a:pt x="14" y="55"/>
                  </a:lnTo>
                  <a:lnTo>
                    <a:pt x="14" y="53"/>
                  </a:lnTo>
                  <a:lnTo>
                    <a:pt x="15" y="50"/>
                  </a:lnTo>
                  <a:lnTo>
                    <a:pt x="14" y="39"/>
                  </a:lnTo>
                  <a:lnTo>
                    <a:pt x="12" y="39"/>
                  </a:lnTo>
                  <a:lnTo>
                    <a:pt x="7" y="38"/>
                  </a:lnTo>
                  <a:lnTo>
                    <a:pt x="5" y="36"/>
                  </a:lnTo>
                  <a:lnTo>
                    <a:pt x="7" y="36"/>
                  </a:lnTo>
                  <a:lnTo>
                    <a:pt x="5" y="34"/>
                  </a:lnTo>
                  <a:lnTo>
                    <a:pt x="5" y="31"/>
                  </a:lnTo>
                  <a:lnTo>
                    <a:pt x="9" y="29"/>
                  </a:lnTo>
                  <a:lnTo>
                    <a:pt x="9" y="24"/>
                  </a:lnTo>
                  <a:lnTo>
                    <a:pt x="9" y="21"/>
                  </a:lnTo>
                  <a:lnTo>
                    <a:pt x="7" y="19"/>
                  </a:lnTo>
                  <a:lnTo>
                    <a:pt x="4" y="15"/>
                  </a:lnTo>
                  <a:lnTo>
                    <a:pt x="5" y="10"/>
                  </a:lnTo>
                  <a:lnTo>
                    <a:pt x="4" y="9"/>
                  </a:lnTo>
                  <a:lnTo>
                    <a:pt x="14" y="9"/>
                  </a:lnTo>
                  <a:lnTo>
                    <a:pt x="45" y="9"/>
                  </a:lnTo>
                  <a:lnTo>
                    <a:pt x="60" y="9"/>
                  </a:lnTo>
                  <a:lnTo>
                    <a:pt x="91" y="9"/>
                  </a:lnTo>
                  <a:lnTo>
                    <a:pt x="98" y="9"/>
                  </a:lnTo>
                  <a:lnTo>
                    <a:pt x="133" y="9"/>
                  </a:lnTo>
                  <a:lnTo>
                    <a:pt x="139" y="9"/>
                  </a:lnTo>
                  <a:lnTo>
                    <a:pt x="169" y="9"/>
                  </a:lnTo>
                  <a:lnTo>
                    <a:pt x="186" y="7"/>
                  </a:lnTo>
                  <a:lnTo>
                    <a:pt x="207" y="7"/>
                  </a:lnTo>
                  <a:lnTo>
                    <a:pt x="233" y="7"/>
                  </a:lnTo>
                  <a:lnTo>
                    <a:pt x="245" y="7"/>
                  </a:lnTo>
                  <a:lnTo>
                    <a:pt x="279" y="5"/>
                  </a:lnTo>
                  <a:lnTo>
                    <a:pt x="280" y="5"/>
                  </a:lnTo>
                  <a:lnTo>
                    <a:pt x="316" y="3"/>
                  </a:lnTo>
                  <a:lnTo>
                    <a:pt x="325" y="3"/>
                  </a:lnTo>
                  <a:lnTo>
                    <a:pt x="354" y="2"/>
                  </a:lnTo>
                  <a:lnTo>
                    <a:pt x="381" y="2"/>
                  </a:lnTo>
                  <a:lnTo>
                    <a:pt x="390" y="0"/>
                  </a:lnTo>
                  <a:lnTo>
                    <a:pt x="421" y="0"/>
                  </a:lnTo>
                  <a:lnTo>
                    <a:pt x="421" y="3"/>
                  </a:lnTo>
                  <a:lnTo>
                    <a:pt x="422" y="7"/>
                  </a:lnTo>
                  <a:lnTo>
                    <a:pt x="424" y="14"/>
                  </a:lnTo>
                  <a:lnTo>
                    <a:pt x="426" y="15"/>
                  </a:lnTo>
                  <a:lnTo>
                    <a:pt x="433" y="19"/>
                  </a:lnTo>
                  <a:lnTo>
                    <a:pt x="434" y="22"/>
                  </a:lnTo>
                  <a:lnTo>
                    <a:pt x="434" y="26"/>
                  </a:lnTo>
                  <a:lnTo>
                    <a:pt x="427" y="38"/>
                  </a:lnTo>
                  <a:lnTo>
                    <a:pt x="427" y="45"/>
                  </a:lnTo>
                  <a:lnTo>
                    <a:pt x="427" y="45"/>
                  </a:lnTo>
                  <a:lnTo>
                    <a:pt x="429" y="53"/>
                  </a:lnTo>
                  <a:lnTo>
                    <a:pt x="431" y="62"/>
                  </a:lnTo>
                  <a:lnTo>
                    <a:pt x="434" y="67"/>
                  </a:lnTo>
                  <a:lnTo>
                    <a:pt x="436" y="75"/>
                  </a:lnTo>
                  <a:lnTo>
                    <a:pt x="438" y="80"/>
                  </a:lnTo>
                  <a:lnTo>
                    <a:pt x="443" y="84"/>
                  </a:lnTo>
                  <a:lnTo>
                    <a:pt x="450" y="86"/>
                  </a:lnTo>
                  <a:lnTo>
                    <a:pt x="451" y="87"/>
                  </a:lnTo>
                  <a:lnTo>
                    <a:pt x="463" y="89"/>
                  </a:lnTo>
                  <a:lnTo>
                    <a:pt x="467" y="91"/>
                  </a:lnTo>
                  <a:lnTo>
                    <a:pt x="470" y="97"/>
                  </a:lnTo>
                  <a:lnTo>
                    <a:pt x="472" y="99"/>
                  </a:lnTo>
                  <a:lnTo>
                    <a:pt x="474" y="101"/>
                  </a:lnTo>
                  <a:lnTo>
                    <a:pt x="472" y="104"/>
                  </a:lnTo>
                  <a:lnTo>
                    <a:pt x="470" y="106"/>
                  </a:lnTo>
                  <a:lnTo>
                    <a:pt x="472" y="108"/>
                  </a:lnTo>
                  <a:lnTo>
                    <a:pt x="475" y="109"/>
                  </a:lnTo>
                  <a:lnTo>
                    <a:pt x="479" y="113"/>
                  </a:lnTo>
                  <a:lnTo>
                    <a:pt x="484" y="116"/>
                  </a:lnTo>
                  <a:lnTo>
                    <a:pt x="489" y="118"/>
                  </a:lnTo>
                  <a:lnTo>
                    <a:pt x="489" y="121"/>
                  </a:lnTo>
                  <a:lnTo>
                    <a:pt x="491" y="128"/>
                  </a:lnTo>
                  <a:lnTo>
                    <a:pt x="492" y="132"/>
                  </a:lnTo>
                  <a:lnTo>
                    <a:pt x="496" y="135"/>
                  </a:lnTo>
                  <a:lnTo>
                    <a:pt x="499" y="135"/>
                  </a:lnTo>
                  <a:lnTo>
                    <a:pt x="506" y="139"/>
                  </a:lnTo>
                  <a:lnTo>
                    <a:pt x="509" y="144"/>
                  </a:lnTo>
                  <a:lnTo>
                    <a:pt x="511" y="144"/>
                  </a:lnTo>
                  <a:lnTo>
                    <a:pt x="511" y="145"/>
                  </a:lnTo>
                  <a:lnTo>
                    <a:pt x="511" y="150"/>
                  </a:lnTo>
                  <a:lnTo>
                    <a:pt x="513" y="152"/>
                  </a:lnTo>
                  <a:lnTo>
                    <a:pt x="515" y="157"/>
                  </a:lnTo>
                  <a:lnTo>
                    <a:pt x="515" y="164"/>
                  </a:lnTo>
                  <a:lnTo>
                    <a:pt x="511" y="178"/>
                  </a:lnTo>
                  <a:lnTo>
                    <a:pt x="506" y="180"/>
                  </a:lnTo>
                  <a:lnTo>
                    <a:pt x="503" y="183"/>
                  </a:lnTo>
                  <a:lnTo>
                    <a:pt x="501" y="186"/>
                  </a:lnTo>
                  <a:lnTo>
                    <a:pt x="501" y="195"/>
                  </a:lnTo>
                  <a:lnTo>
                    <a:pt x="501" y="200"/>
                  </a:lnTo>
                  <a:lnTo>
                    <a:pt x="501" y="202"/>
                  </a:lnTo>
                  <a:lnTo>
                    <a:pt x="494" y="203"/>
                  </a:lnTo>
                  <a:lnTo>
                    <a:pt x="494" y="207"/>
                  </a:lnTo>
                  <a:lnTo>
                    <a:pt x="492" y="209"/>
                  </a:lnTo>
                  <a:lnTo>
                    <a:pt x="485" y="209"/>
                  </a:lnTo>
                  <a:lnTo>
                    <a:pt x="480" y="210"/>
                  </a:lnTo>
                  <a:lnTo>
                    <a:pt x="477" y="217"/>
                  </a:lnTo>
                  <a:lnTo>
                    <a:pt x="474" y="217"/>
                  </a:lnTo>
                  <a:lnTo>
                    <a:pt x="467" y="219"/>
                  </a:lnTo>
                  <a:lnTo>
                    <a:pt x="462" y="219"/>
                  </a:lnTo>
                  <a:lnTo>
                    <a:pt x="453" y="222"/>
                  </a:lnTo>
                  <a:lnTo>
                    <a:pt x="450" y="221"/>
                  </a:lnTo>
                  <a:lnTo>
                    <a:pt x="448" y="222"/>
                  </a:lnTo>
                  <a:lnTo>
                    <a:pt x="444" y="224"/>
                  </a:lnTo>
                  <a:lnTo>
                    <a:pt x="444" y="232"/>
                  </a:lnTo>
                  <a:lnTo>
                    <a:pt x="443" y="239"/>
                  </a:lnTo>
                  <a:lnTo>
                    <a:pt x="443" y="243"/>
                  </a:lnTo>
                  <a:lnTo>
                    <a:pt x="446" y="250"/>
                  </a:lnTo>
                  <a:lnTo>
                    <a:pt x="450" y="250"/>
                  </a:lnTo>
                  <a:lnTo>
                    <a:pt x="451" y="251"/>
                  </a:lnTo>
                  <a:lnTo>
                    <a:pt x="455" y="256"/>
                  </a:lnTo>
                  <a:lnTo>
                    <a:pt x="455" y="260"/>
                  </a:lnTo>
                  <a:lnTo>
                    <a:pt x="455" y="274"/>
                  </a:lnTo>
                  <a:lnTo>
                    <a:pt x="453" y="275"/>
                  </a:lnTo>
                  <a:lnTo>
                    <a:pt x="448" y="280"/>
                  </a:lnTo>
                  <a:lnTo>
                    <a:pt x="446" y="285"/>
                  </a:lnTo>
                  <a:lnTo>
                    <a:pt x="446" y="294"/>
                  </a:lnTo>
                  <a:lnTo>
                    <a:pt x="444" y="301"/>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23" name="Freeform 19">
              <a:extLst>
                <a:ext uri="{FF2B5EF4-FFF2-40B4-BE49-F238E27FC236}">
                  <a16:creationId xmlns:a16="http://schemas.microsoft.com/office/drawing/2014/main" id="{4C3073A3-4098-4A08-9510-0746D0F9497B}"/>
                </a:ext>
              </a:extLst>
            </p:cNvPr>
            <p:cNvSpPr>
              <a:spLocks noEditPoints="1"/>
            </p:cNvSpPr>
            <p:nvPr/>
          </p:nvSpPr>
          <p:spPr bwMode="gray">
            <a:xfrm>
              <a:off x="8110346" y="2669231"/>
              <a:ext cx="473417" cy="262473"/>
            </a:xfrm>
            <a:custGeom>
              <a:avLst/>
              <a:gdLst/>
              <a:ahLst/>
              <a:cxnLst>
                <a:cxn ang="0">
                  <a:pos x="172" y="123"/>
                </a:cxn>
                <a:cxn ang="0">
                  <a:pos x="171" y="116"/>
                </a:cxn>
                <a:cxn ang="0">
                  <a:pos x="171" y="111"/>
                </a:cxn>
                <a:cxn ang="0">
                  <a:pos x="164" y="104"/>
                </a:cxn>
                <a:cxn ang="0">
                  <a:pos x="155" y="103"/>
                </a:cxn>
                <a:cxn ang="0">
                  <a:pos x="131" y="108"/>
                </a:cxn>
                <a:cxn ang="0">
                  <a:pos x="106" y="115"/>
                </a:cxn>
                <a:cxn ang="0">
                  <a:pos x="72" y="122"/>
                </a:cxn>
                <a:cxn ang="0">
                  <a:pos x="70" y="123"/>
                </a:cxn>
                <a:cxn ang="0">
                  <a:pos x="58" y="125"/>
                </a:cxn>
                <a:cxn ang="0">
                  <a:pos x="53" y="130"/>
                </a:cxn>
                <a:cxn ang="0">
                  <a:pos x="37" y="130"/>
                </a:cxn>
                <a:cxn ang="0">
                  <a:pos x="2" y="139"/>
                </a:cxn>
                <a:cxn ang="0">
                  <a:pos x="0" y="87"/>
                </a:cxn>
                <a:cxn ang="0">
                  <a:pos x="19" y="57"/>
                </a:cxn>
                <a:cxn ang="0">
                  <a:pos x="63" y="48"/>
                </a:cxn>
                <a:cxn ang="0">
                  <a:pos x="102" y="40"/>
                </a:cxn>
                <a:cxn ang="0">
                  <a:pos x="152" y="28"/>
                </a:cxn>
                <a:cxn ang="0">
                  <a:pos x="154" y="21"/>
                </a:cxn>
                <a:cxn ang="0">
                  <a:pos x="157" y="14"/>
                </a:cxn>
                <a:cxn ang="0">
                  <a:pos x="166" y="12"/>
                </a:cxn>
                <a:cxn ang="0">
                  <a:pos x="174" y="0"/>
                </a:cxn>
                <a:cxn ang="0">
                  <a:pos x="181" y="2"/>
                </a:cxn>
                <a:cxn ang="0">
                  <a:pos x="195" y="19"/>
                </a:cxn>
                <a:cxn ang="0">
                  <a:pos x="205" y="26"/>
                </a:cxn>
                <a:cxn ang="0">
                  <a:pos x="190" y="45"/>
                </a:cxn>
                <a:cxn ang="0">
                  <a:pos x="183" y="65"/>
                </a:cxn>
                <a:cxn ang="0">
                  <a:pos x="195" y="63"/>
                </a:cxn>
                <a:cxn ang="0">
                  <a:pos x="203" y="63"/>
                </a:cxn>
                <a:cxn ang="0">
                  <a:pos x="224" y="89"/>
                </a:cxn>
                <a:cxn ang="0">
                  <a:pos x="234" y="104"/>
                </a:cxn>
                <a:cxn ang="0">
                  <a:pos x="256" y="108"/>
                </a:cxn>
                <a:cxn ang="0">
                  <a:pos x="263" y="108"/>
                </a:cxn>
                <a:cxn ang="0">
                  <a:pos x="273" y="87"/>
                </a:cxn>
                <a:cxn ang="0">
                  <a:pos x="248" y="72"/>
                </a:cxn>
                <a:cxn ang="0">
                  <a:pos x="265" y="72"/>
                </a:cxn>
                <a:cxn ang="0">
                  <a:pos x="284" y="96"/>
                </a:cxn>
                <a:cxn ang="0">
                  <a:pos x="251" y="122"/>
                </a:cxn>
                <a:cxn ang="0">
                  <a:pos x="234" y="135"/>
                </a:cxn>
                <a:cxn ang="0">
                  <a:pos x="231" y="113"/>
                </a:cxn>
                <a:cxn ang="0">
                  <a:pos x="212" y="130"/>
                </a:cxn>
                <a:cxn ang="0">
                  <a:pos x="198" y="149"/>
                </a:cxn>
                <a:cxn ang="0">
                  <a:pos x="186" y="132"/>
                </a:cxn>
                <a:cxn ang="0">
                  <a:pos x="179" y="125"/>
                </a:cxn>
                <a:cxn ang="0">
                  <a:pos x="239" y="145"/>
                </a:cxn>
                <a:cxn ang="0">
                  <a:pos x="244" y="145"/>
                </a:cxn>
                <a:cxn ang="0">
                  <a:pos x="248" y="147"/>
                </a:cxn>
                <a:cxn ang="0">
                  <a:pos x="232" y="157"/>
                </a:cxn>
                <a:cxn ang="0">
                  <a:pos x="224" y="159"/>
                </a:cxn>
                <a:cxn ang="0">
                  <a:pos x="231" y="159"/>
                </a:cxn>
                <a:cxn ang="0">
                  <a:pos x="234" y="144"/>
                </a:cxn>
                <a:cxn ang="0">
                  <a:pos x="239" y="145"/>
                </a:cxn>
                <a:cxn ang="0">
                  <a:pos x="289" y="144"/>
                </a:cxn>
                <a:cxn ang="0">
                  <a:pos x="284" y="147"/>
                </a:cxn>
                <a:cxn ang="0">
                  <a:pos x="284" y="137"/>
                </a:cxn>
                <a:cxn ang="0">
                  <a:pos x="294" y="151"/>
                </a:cxn>
                <a:cxn ang="0">
                  <a:pos x="275" y="154"/>
                </a:cxn>
                <a:cxn ang="0">
                  <a:pos x="284" y="151"/>
                </a:cxn>
              </a:cxnLst>
              <a:rect l="0" t="0" r="r" b="b"/>
              <a:pathLst>
                <a:path w="294" h="163">
                  <a:moveTo>
                    <a:pt x="174" y="125"/>
                  </a:moveTo>
                  <a:lnTo>
                    <a:pt x="172" y="123"/>
                  </a:lnTo>
                  <a:lnTo>
                    <a:pt x="172" y="120"/>
                  </a:lnTo>
                  <a:lnTo>
                    <a:pt x="171" y="116"/>
                  </a:lnTo>
                  <a:lnTo>
                    <a:pt x="171" y="115"/>
                  </a:lnTo>
                  <a:lnTo>
                    <a:pt x="171" y="111"/>
                  </a:lnTo>
                  <a:lnTo>
                    <a:pt x="167" y="113"/>
                  </a:lnTo>
                  <a:lnTo>
                    <a:pt x="164" y="104"/>
                  </a:lnTo>
                  <a:lnTo>
                    <a:pt x="164" y="101"/>
                  </a:lnTo>
                  <a:lnTo>
                    <a:pt x="155" y="103"/>
                  </a:lnTo>
                  <a:lnTo>
                    <a:pt x="131" y="110"/>
                  </a:lnTo>
                  <a:lnTo>
                    <a:pt x="131" y="108"/>
                  </a:lnTo>
                  <a:lnTo>
                    <a:pt x="109" y="113"/>
                  </a:lnTo>
                  <a:lnTo>
                    <a:pt x="106" y="115"/>
                  </a:lnTo>
                  <a:lnTo>
                    <a:pt x="77" y="122"/>
                  </a:lnTo>
                  <a:lnTo>
                    <a:pt x="72" y="122"/>
                  </a:lnTo>
                  <a:lnTo>
                    <a:pt x="72" y="123"/>
                  </a:lnTo>
                  <a:lnTo>
                    <a:pt x="70" y="123"/>
                  </a:lnTo>
                  <a:lnTo>
                    <a:pt x="68" y="123"/>
                  </a:lnTo>
                  <a:lnTo>
                    <a:pt x="58" y="125"/>
                  </a:lnTo>
                  <a:lnTo>
                    <a:pt x="58" y="128"/>
                  </a:lnTo>
                  <a:lnTo>
                    <a:pt x="53" y="130"/>
                  </a:lnTo>
                  <a:lnTo>
                    <a:pt x="53" y="127"/>
                  </a:lnTo>
                  <a:lnTo>
                    <a:pt x="37" y="130"/>
                  </a:lnTo>
                  <a:lnTo>
                    <a:pt x="36" y="130"/>
                  </a:lnTo>
                  <a:lnTo>
                    <a:pt x="2" y="139"/>
                  </a:lnTo>
                  <a:lnTo>
                    <a:pt x="0" y="135"/>
                  </a:lnTo>
                  <a:lnTo>
                    <a:pt x="0" y="87"/>
                  </a:lnTo>
                  <a:lnTo>
                    <a:pt x="0" y="60"/>
                  </a:lnTo>
                  <a:lnTo>
                    <a:pt x="19" y="57"/>
                  </a:lnTo>
                  <a:lnTo>
                    <a:pt x="27" y="55"/>
                  </a:lnTo>
                  <a:lnTo>
                    <a:pt x="63" y="48"/>
                  </a:lnTo>
                  <a:lnTo>
                    <a:pt x="75" y="45"/>
                  </a:lnTo>
                  <a:lnTo>
                    <a:pt x="102" y="40"/>
                  </a:lnTo>
                  <a:lnTo>
                    <a:pt x="106" y="40"/>
                  </a:lnTo>
                  <a:lnTo>
                    <a:pt x="152" y="28"/>
                  </a:lnTo>
                  <a:lnTo>
                    <a:pt x="154" y="24"/>
                  </a:lnTo>
                  <a:lnTo>
                    <a:pt x="154" y="21"/>
                  </a:lnTo>
                  <a:lnTo>
                    <a:pt x="159" y="21"/>
                  </a:lnTo>
                  <a:lnTo>
                    <a:pt x="157" y="14"/>
                  </a:lnTo>
                  <a:lnTo>
                    <a:pt x="161" y="12"/>
                  </a:lnTo>
                  <a:lnTo>
                    <a:pt x="166" y="12"/>
                  </a:lnTo>
                  <a:lnTo>
                    <a:pt x="167" y="5"/>
                  </a:lnTo>
                  <a:lnTo>
                    <a:pt x="174" y="0"/>
                  </a:lnTo>
                  <a:lnTo>
                    <a:pt x="176" y="0"/>
                  </a:lnTo>
                  <a:lnTo>
                    <a:pt x="181" y="2"/>
                  </a:lnTo>
                  <a:lnTo>
                    <a:pt x="183" y="0"/>
                  </a:lnTo>
                  <a:lnTo>
                    <a:pt x="195" y="19"/>
                  </a:lnTo>
                  <a:lnTo>
                    <a:pt x="207" y="19"/>
                  </a:lnTo>
                  <a:lnTo>
                    <a:pt x="205" y="26"/>
                  </a:lnTo>
                  <a:lnTo>
                    <a:pt x="191" y="33"/>
                  </a:lnTo>
                  <a:lnTo>
                    <a:pt x="190" y="45"/>
                  </a:lnTo>
                  <a:lnTo>
                    <a:pt x="184" y="48"/>
                  </a:lnTo>
                  <a:lnTo>
                    <a:pt x="183" y="65"/>
                  </a:lnTo>
                  <a:lnTo>
                    <a:pt x="193" y="69"/>
                  </a:lnTo>
                  <a:lnTo>
                    <a:pt x="195" y="63"/>
                  </a:lnTo>
                  <a:lnTo>
                    <a:pt x="200" y="63"/>
                  </a:lnTo>
                  <a:lnTo>
                    <a:pt x="203" y="63"/>
                  </a:lnTo>
                  <a:lnTo>
                    <a:pt x="214" y="72"/>
                  </a:lnTo>
                  <a:lnTo>
                    <a:pt x="224" y="89"/>
                  </a:lnTo>
                  <a:lnTo>
                    <a:pt x="231" y="93"/>
                  </a:lnTo>
                  <a:lnTo>
                    <a:pt x="234" y="104"/>
                  </a:lnTo>
                  <a:lnTo>
                    <a:pt x="244" y="108"/>
                  </a:lnTo>
                  <a:lnTo>
                    <a:pt x="256" y="108"/>
                  </a:lnTo>
                  <a:lnTo>
                    <a:pt x="251" y="110"/>
                  </a:lnTo>
                  <a:lnTo>
                    <a:pt x="263" y="108"/>
                  </a:lnTo>
                  <a:lnTo>
                    <a:pt x="275" y="96"/>
                  </a:lnTo>
                  <a:lnTo>
                    <a:pt x="273" y="87"/>
                  </a:lnTo>
                  <a:lnTo>
                    <a:pt x="261" y="75"/>
                  </a:lnTo>
                  <a:lnTo>
                    <a:pt x="248" y="72"/>
                  </a:lnTo>
                  <a:lnTo>
                    <a:pt x="258" y="69"/>
                  </a:lnTo>
                  <a:lnTo>
                    <a:pt x="265" y="72"/>
                  </a:lnTo>
                  <a:lnTo>
                    <a:pt x="275" y="82"/>
                  </a:lnTo>
                  <a:lnTo>
                    <a:pt x="284" y="96"/>
                  </a:lnTo>
                  <a:lnTo>
                    <a:pt x="284" y="106"/>
                  </a:lnTo>
                  <a:lnTo>
                    <a:pt x="251" y="122"/>
                  </a:lnTo>
                  <a:lnTo>
                    <a:pt x="249" y="127"/>
                  </a:lnTo>
                  <a:lnTo>
                    <a:pt x="234" y="135"/>
                  </a:lnTo>
                  <a:lnTo>
                    <a:pt x="232" y="134"/>
                  </a:lnTo>
                  <a:lnTo>
                    <a:pt x="231" y="113"/>
                  </a:lnTo>
                  <a:lnTo>
                    <a:pt x="215" y="130"/>
                  </a:lnTo>
                  <a:lnTo>
                    <a:pt x="212" y="130"/>
                  </a:lnTo>
                  <a:lnTo>
                    <a:pt x="207" y="144"/>
                  </a:lnTo>
                  <a:lnTo>
                    <a:pt x="198" y="149"/>
                  </a:lnTo>
                  <a:lnTo>
                    <a:pt x="191" y="134"/>
                  </a:lnTo>
                  <a:lnTo>
                    <a:pt x="186" y="132"/>
                  </a:lnTo>
                  <a:lnTo>
                    <a:pt x="184" y="130"/>
                  </a:lnTo>
                  <a:lnTo>
                    <a:pt x="179" y="125"/>
                  </a:lnTo>
                  <a:lnTo>
                    <a:pt x="174" y="125"/>
                  </a:lnTo>
                  <a:close/>
                  <a:moveTo>
                    <a:pt x="239" y="145"/>
                  </a:moveTo>
                  <a:lnTo>
                    <a:pt x="241" y="140"/>
                  </a:lnTo>
                  <a:lnTo>
                    <a:pt x="244" y="145"/>
                  </a:lnTo>
                  <a:lnTo>
                    <a:pt x="243" y="147"/>
                  </a:lnTo>
                  <a:lnTo>
                    <a:pt x="248" y="147"/>
                  </a:lnTo>
                  <a:lnTo>
                    <a:pt x="251" y="152"/>
                  </a:lnTo>
                  <a:lnTo>
                    <a:pt x="232" y="157"/>
                  </a:lnTo>
                  <a:lnTo>
                    <a:pt x="231" y="163"/>
                  </a:lnTo>
                  <a:lnTo>
                    <a:pt x="224" y="159"/>
                  </a:lnTo>
                  <a:lnTo>
                    <a:pt x="229" y="157"/>
                  </a:lnTo>
                  <a:lnTo>
                    <a:pt x="231" y="159"/>
                  </a:lnTo>
                  <a:lnTo>
                    <a:pt x="229" y="154"/>
                  </a:lnTo>
                  <a:lnTo>
                    <a:pt x="234" y="144"/>
                  </a:lnTo>
                  <a:lnTo>
                    <a:pt x="239" y="140"/>
                  </a:lnTo>
                  <a:lnTo>
                    <a:pt x="239" y="145"/>
                  </a:lnTo>
                  <a:close/>
                  <a:moveTo>
                    <a:pt x="287" y="145"/>
                  </a:moveTo>
                  <a:lnTo>
                    <a:pt x="289" y="144"/>
                  </a:lnTo>
                  <a:lnTo>
                    <a:pt x="287" y="142"/>
                  </a:lnTo>
                  <a:lnTo>
                    <a:pt x="284" y="147"/>
                  </a:lnTo>
                  <a:lnTo>
                    <a:pt x="285" y="142"/>
                  </a:lnTo>
                  <a:lnTo>
                    <a:pt x="284" y="137"/>
                  </a:lnTo>
                  <a:lnTo>
                    <a:pt x="292" y="145"/>
                  </a:lnTo>
                  <a:lnTo>
                    <a:pt x="294" y="151"/>
                  </a:lnTo>
                  <a:lnTo>
                    <a:pt x="284" y="154"/>
                  </a:lnTo>
                  <a:lnTo>
                    <a:pt x="275" y="154"/>
                  </a:lnTo>
                  <a:lnTo>
                    <a:pt x="275" y="151"/>
                  </a:lnTo>
                  <a:lnTo>
                    <a:pt x="284" y="151"/>
                  </a:lnTo>
                  <a:lnTo>
                    <a:pt x="287" y="145"/>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24" name="Freeform 20">
              <a:extLst>
                <a:ext uri="{FF2B5EF4-FFF2-40B4-BE49-F238E27FC236}">
                  <a16:creationId xmlns:a16="http://schemas.microsoft.com/office/drawing/2014/main" id="{E23BF478-C93E-4181-8C79-61589C5B5749}"/>
                </a:ext>
              </a:extLst>
            </p:cNvPr>
            <p:cNvSpPr>
              <a:spLocks/>
            </p:cNvSpPr>
            <p:nvPr/>
          </p:nvSpPr>
          <p:spPr bwMode="gray">
            <a:xfrm>
              <a:off x="4224784" y="3021878"/>
              <a:ext cx="1130403" cy="563592"/>
            </a:xfrm>
            <a:custGeom>
              <a:avLst/>
              <a:gdLst/>
              <a:ahLst/>
              <a:cxnLst>
                <a:cxn ang="0">
                  <a:pos x="155" y="289"/>
                </a:cxn>
                <a:cxn ang="0">
                  <a:pos x="114" y="224"/>
                </a:cxn>
                <a:cxn ang="0">
                  <a:pos x="0" y="215"/>
                </a:cxn>
                <a:cxn ang="0">
                  <a:pos x="8" y="108"/>
                </a:cxn>
                <a:cxn ang="0">
                  <a:pos x="99" y="7"/>
                </a:cxn>
                <a:cxn ang="0">
                  <a:pos x="318" y="20"/>
                </a:cxn>
                <a:cxn ang="0">
                  <a:pos x="454" y="31"/>
                </a:cxn>
                <a:cxn ang="0">
                  <a:pos x="478" y="43"/>
                </a:cxn>
                <a:cxn ang="0">
                  <a:pos x="490" y="50"/>
                </a:cxn>
                <a:cxn ang="0">
                  <a:pos x="499" y="41"/>
                </a:cxn>
                <a:cxn ang="0">
                  <a:pos x="511" y="41"/>
                </a:cxn>
                <a:cxn ang="0">
                  <a:pos x="528" y="41"/>
                </a:cxn>
                <a:cxn ang="0">
                  <a:pos x="543" y="41"/>
                </a:cxn>
                <a:cxn ang="0">
                  <a:pos x="552" y="46"/>
                </a:cxn>
                <a:cxn ang="0">
                  <a:pos x="569" y="53"/>
                </a:cxn>
                <a:cxn ang="0">
                  <a:pos x="574" y="55"/>
                </a:cxn>
                <a:cxn ang="0">
                  <a:pos x="589" y="61"/>
                </a:cxn>
                <a:cxn ang="0">
                  <a:pos x="589" y="68"/>
                </a:cxn>
                <a:cxn ang="0">
                  <a:pos x="600" y="79"/>
                </a:cxn>
                <a:cxn ang="0">
                  <a:pos x="615" y="84"/>
                </a:cxn>
                <a:cxn ang="0">
                  <a:pos x="613" y="97"/>
                </a:cxn>
                <a:cxn ang="0">
                  <a:pos x="620" y="106"/>
                </a:cxn>
                <a:cxn ang="0">
                  <a:pos x="623" y="121"/>
                </a:cxn>
                <a:cxn ang="0">
                  <a:pos x="630" y="135"/>
                </a:cxn>
                <a:cxn ang="0">
                  <a:pos x="634" y="145"/>
                </a:cxn>
                <a:cxn ang="0">
                  <a:pos x="637" y="164"/>
                </a:cxn>
                <a:cxn ang="0">
                  <a:pos x="639" y="171"/>
                </a:cxn>
                <a:cxn ang="0">
                  <a:pos x="639" y="185"/>
                </a:cxn>
                <a:cxn ang="0">
                  <a:pos x="646" y="188"/>
                </a:cxn>
                <a:cxn ang="0">
                  <a:pos x="651" y="193"/>
                </a:cxn>
                <a:cxn ang="0">
                  <a:pos x="654" y="212"/>
                </a:cxn>
                <a:cxn ang="0">
                  <a:pos x="653" y="220"/>
                </a:cxn>
                <a:cxn ang="0">
                  <a:pos x="656" y="224"/>
                </a:cxn>
                <a:cxn ang="0">
                  <a:pos x="658" y="243"/>
                </a:cxn>
                <a:cxn ang="0">
                  <a:pos x="658" y="258"/>
                </a:cxn>
                <a:cxn ang="0">
                  <a:pos x="666" y="284"/>
                </a:cxn>
                <a:cxn ang="0">
                  <a:pos x="671" y="294"/>
                </a:cxn>
                <a:cxn ang="0">
                  <a:pos x="673" y="292"/>
                </a:cxn>
                <a:cxn ang="0">
                  <a:pos x="676" y="311"/>
                </a:cxn>
                <a:cxn ang="0">
                  <a:pos x="675" y="316"/>
                </a:cxn>
                <a:cxn ang="0">
                  <a:pos x="690" y="326"/>
                </a:cxn>
                <a:cxn ang="0">
                  <a:pos x="695" y="340"/>
                </a:cxn>
                <a:cxn ang="0">
                  <a:pos x="697" y="347"/>
                </a:cxn>
                <a:cxn ang="0">
                  <a:pos x="664" y="350"/>
                </a:cxn>
                <a:cxn ang="0">
                  <a:pos x="581" y="350"/>
                </a:cxn>
                <a:cxn ang="0">
                  <a:pos x="488" y="349"/>
                </a:cxn>
                <a:cxn ang="0">
                  <a:pos x="396" y="347"/>
                </a:cxn>
                <a:cxn ang="0">
                  <a:pos x="304" y="343"/>
                </a:cxn>
                <a:cxn ang="0">
                  <a:pos x="205" y="338"/>
                </a:cxn>
              </a:cxnLst>
              <a:rect l="0" t="0" r="r" b="b"/>
              <a:pathLst>
                <a:path w="702" h="350">
                  <a:moveTo>
                    <a:pt x="205" y="338"/>
                  </a:moveTo>
                  <a:lnTo>
                    <a:pt x="152" y="335"/>
                  </a:lnTo>
                  <a:lnTo>
                    <a:pt x="155" y="297"/>
                  </a:lnTo>
                  <a:lnTo>
                    <a:pt x="155" y="289"/>
                  </a:lnTo>
                  <a:lnTo>
                    <a:pt x="157" y="260"/>
                  </a:lnTo>
                  <a:lnTo>
                    <a:pt x="159" y="255"/>
                  </a:lnTo>
                  <a:lnTo>
                    <a:pt x="160" y="227"/>
                  </a:lnTo>
                  <a:lnTo>
                    <a:pt x="114" y="224"/>
                  </a:lnTo>
                  <a:lnTo>
                    <a:pt x="111" y="224"/>
                  </a:lnTo>
                  <a:lnTo>
                    <a:pt x="53" y="219"/>
                  </a:lnTo>
                  <a:lnTo>
                    <a:pt x="37" y="219"/>
                  </a:lnTo>
                  <a:lnTo>
                    <a:pt x="0" y="215"/>
                  </a:lnTo>
                  <a:lnTo>
                    <a:pt x="3" y="173"/>
                  </a:lnTo>
                  <a:lnTo>
                    <a:pt x="3" y="154"/>
                  </a:lnTo>
                  <a:lnTo>
                    <a:pt x="5" y="140"/>
                  </a:lnTo>
                  <a:lnTo>
                    <a:pt x="8" y="108"/>
                  </a:lnTo>
                  <a:lnTo>
                    <a:pt x="13" y="41"/>
                  </a:lnTo>
                  <a:lnTo>
                    <a:pt x="17" y="0"/>
                  </a:lnTo>
                  <a:lnTo>
                    <a:pt x="59" y="3"/>
                  </a:lnTo>
                  <a:lnTo>
                    <a:pt x="99" y="7"/>
                  </a:lnTo>
                  <a:lnTo>
                    <a:pt x="116" y="9"/>
                  </a:lnTo>
                  <a:lnTo>
                    <a:pt x="171" y="12"/>
                  </a:lnTo>
                  <a:lnTo>
                    <a:pt x="237" y="17"/>
                  </a:lnTo>
                  <a:lnTo>
                    <a:pt x="318" y="20"/>
                  </a:lnTo>
                  <a:lnTo>
                    <a:pt x="370" y="22"/>
                  </a:lnTo>
                  <a:lnTo>
                    <a:pt x="391" y="24"/>
                  </a:lnTo>
                  <a:lnTo>
                    <a:pt x="451" y="26"/>
                  </a:lnTo>
                  <a:lnTo>
                    <a:pt x="454" y="31"/>
                  </a:lnTo>
                  <a:lnTo>
                    <a:pt x="459" y="32"/>
                  </a:lnTo>
                  <a:lnTo>
                    <a:pt x="464" y="38"/>
                  </a:lnTo>
                  <a:lnTo>
                    <a:pt x="476" y="43"/>
                  </a:lnTo>
                  <a:lnTo>
                    <a:pt x="478" y="43"/>
                  </a:lnTo>
                  <a:lnTo>
                    <a:pt x="480" y="44"/>
                  </a:lnTo>
                  <a:lnTo>
                    <a:pt x="480" y="46"/>
                  </a:lnTo>
                  <a:lnTo>
                    <a:pt x="487" y="50"/>
                  </a:lnTo>
                  <a:lnTo>
                    <a:pt x="490" y="50"/>
                  </a:lnTo>
                  <a:lnTo>
                    <a:pt x="492" y="50"/>
                  </a:lnTo>
                  <a:lnTo>
                    <a:pt x="495" y="48"/>
                  </a:lnTo>
                  <a:lnTo>
                    <a:pt x="497" y="43"/>
                  </a:lnTo>
                  <a:lnTo>
                    <a:pt x="499" y="41"/>
                  </a:lnTo>
                  <a:lnTo>
                    <a:pt x="504" y="39"/>
                  </a:lnTo>
                  <a:lnTo>
                    <a:pt x="506" y="41"/>
                  </a:lnTo>
                  <a:lnTo>
                    <a:pt x="507" y="43"/>
                  </a:lnTo>
                  <a:lnTo>
                    <a:pt x="511" y="41"/>
                  </a:lnTo>
                  <a:lnTo>
                    <a:pt x="514" y="43"/>
                  </a:lnTo>
                  <a:lnTo>
                    <a:pt x="517" y="41"/>
                  </a:lnTo>
                  <a:lnTo>
                    <a:pt x="523" y="43"/>
                  </a:lnTo>
                  <a:lnTo>
                    <a:pt x="528" y="41"/>
                  </a:lnTo>
                  <a:lnTo>
                    <a:pt x="529" y="41"/>
                  </a:lnTo>
                  <a:lnTo>
                    <a:pt x="531" y="43"/>
                  </a:lnTo>
                  <a:lnTo>
                    <a:pt x="536" y="39"/>
                  </a:lnTo>
                  <a:lnTo>
                    <a:pt x="543" y="41"/>
                  </a:lnTo>
                  <a:lnTo>
                    <a:pt x="547" y="43"/>
                  </a:lnTo>
                  <a:lnTo>
                    <a:pt x="548" y="43"/>
                  </a:lnTo>
                  <a:lnTo>
                    <a:pt x="550" y="43"/>
                  </a:lnTo>
                  <a:lnTo>
                    <a:pt x="552" y="46"/>
                  </a:lnTo>
                  <a:lnTo>
                    <a:pt x="555" y="48"/>
                  </a:lnTo>
                  <a:lnTo>
                    <a:pt x="557" y="51"/>
                  </a:lnTo>
                  <a:lnTo>
                    <a:pt x="567" y="53"/>
                  </a:lnTo>
                  <a:lnTo>
                    <a:pt x="569" y="53"/>
                  </a:lnTo>
                  <a:lnTo>
                    <a:pt x="570" y="53"/>
                  </a:lnTo>
                  <a:lnTo>
                    <a:pt x="569" y="56"/>
                  </a:lnTo>
                  <a:lnTo>
                    <a:pt x="570" y="56"/>
                  </a:lnTo>
                  <a:lnTo>
                    <a:pt x="574" y="55"/>
                  </a:lnTo>
                  <a:lnTo>
                    <a:pt x="582" y="58"/>
                  </a:lnTo>
                  <a:lnTo>
                    <a:pt x="582" y="61"/>
                  </a:lnTo>
                  <a:lnTo>
                    <a:pt x="582" y="61"/>
                  </a:lnTo>
                  <a:lnTo>
                    <a:pt x="589" y="61"/>
                  </a:lnTo>
                  <a:lnTo>
                    <a:pt x="591" y="63"/>
                  </a:lnTo>
                  <a:lnTo>
                    <a:pt x="591" y="65"/>
                  </a:lnTo>
                  <a:lnTo>
                    <a:pt x="589" y="67"/>
                  </a:lnTo>
                  <a:lnTo>
                    <a:pt x="589" y="68"/>
                  </a:lnTo>
                  <a:lnTo>
                    <a:pt x="596" y="75"/>
                  </a:lnTo>
                  <a:lnTo>
                    <a:pt x="596" y="79"/>
                  </a:lnTo>
                  <a:lnTo>
                    <a:pt x="598" y="80"/>
                  </a:lnTo>
                  <a:lnTo>
                    <a:pt x="600" y="79"/>
                  </a:lnTo>
                  <a:lnTo>
                    <a:pt x="603" y="79"/>
                  </a:lnTo>
                  <a:lnTo>
                    <a:pt x="606" y="82"/>
                  </a:lnTo>
                  <a:lnTo>
                    <a:pt x="611" y="82"/>
                  </a:lnTo>
                  <a:lnTo>
                    <a:pt x="615" y="84"/>
                  </a:lnTo>
                  <a:lnTo>
                    <a:pt x="615" y="87"/>
                  </a:lnTo>
                  <a:lnTo>
                    <a:pt x="613" y="89"/>
                  </a:lnTo>
                  <a:lnTo>
                    <a:pt x="613" y="94"/>
                  </a:lnTo>
                  <a:lnTo>
                    <a:pt x="613" y="97"/>
                  </a:lnTo>
                  <a:lnTo>
                    <a:pt x="615" y="99"/>
                  </a:lnTo>
                  <a:lnTo>
                    <a:pt x="617" y="103"/>
                  </a:lnTo>
                  <a:lnTo>
                    <a:pt x="618" y="104"/>
                  </a:lnTo>
                  <a:lnTo>
                    <a:pt x="620" y="106"/>
                  </a:lnTo>
                  <a:lnTo>
                    <a:pt x="620" y="109"/>
                  </a:lnTo>
                  <a:lnTo>
                    <a:pt x="617" y="111"/>
                  </a:lnTo>
                  <a:lnTo>
                    <a:pt x="618" y="116"/>
                  </a:lnTo>
                  <a:lnTo>
                    <a:pt x="623" y="121"/>
                  </a:lnTo>
                  <a:lnTo>
                    <a:pt x="625" y="130"/>
                  </a:lnTo>
                  <a:lnTo>
                    <a:pt x="627" y="132"/>
                  </a:lnTo>
                  <a:lnTo>
                    <a:pt x="627" y="135"/>
                  </a:lnTo>
                  <a:lnTo>
                    <a:pt x="630" y="135"/>
                  </a:lnTo>
                  <a:lnTo>
                    <a:pt x="632" y="137"/>
                  </a:lnTo>
                  <a:lnTo>
                    <a:pt x="634" y="138"/>
                  </a:lnTo>
                  <a:lnTo>
                    <a:pt x="634" y="142"/>
                  </a:lnTo>
                  <a:lnTo>
                    <a:pt x="634" y="145"/>
                  </a:lnTo>
                  <a:lnTo>
                    <a:pt x="635" y="149"/>
                  </a:lnTo>
                  <a:lnTo>
                    <a:pt x="641" y="157"/>
                  </a:lnTo>
                  <a:lnTo>
                    <a:pt x="639" y="161"/>
                  </a:lnTo>
                  <a:lnTo>
                    <a:pt x="637" y="164"/>
                  </a:lnTo>
                  <a:lnTo>
                    <a:pt x="639" y="166"/>
                  </a:lnTo>
                  <a:lnTo>
                    <a:pt x="635" y="167"/>
                  </a:lnTo>
                  <a:lnTo>
                    <a:pt x="637" y="169"/>
                  </a:lnTo>
                  <a:lnTo>
                    <a:pt x="639" y="171"/>
                  </a:lnTo>
                  <a:lnTo>
                    <a:pt x="637" y="178"/>
                  </a:lnTo>
                  <a:lnTo>
                    <a:pt x="639" y="179"/>
                  </a:lnTo>
                  <a:lnTo>
                    <a:pt x="639" y="181"/>
                  </a:lnTo>
                  <a:lnTo>
                    <a:pt x="639" y="185"/>
                  </a:lnTo>
                  <a:lnTo>
                    <a:pt x="642" y="186"/>
                  </a:lnTo>
                  <a:lnTo>
                    <a:pt x="646" y="185"/>
                  </a:lnTo>
                  <a:lnTo>
                    <a:pt x="646" y="185"/>
                  </a:lnTo>
                  <a:lnTo>
                    <a:pt x="646" y="188"/>
                  </a:lnTo>
                  <a:lnTo>
                    <a:pt x="646" y="190"/>
                  </a:lnTo>
                  <a:lnTo>
                    <a:pt x="646" y="190"/>
                  </a:lnTo>
                  <a:lnTo>
                    <a:pt x="649" y="191"/>
                  </a:lnTo>
                  <a:lnTo>
                    <a:pt x="651" y="193"/>
                  </a:lnTo>
                  <a:lnTo>
                    <a:pt x="651" y="200"/>
                  </a:lnTo>
                  <a:lnTo>
                    <a:pt x="651" y="205"/>
                  </a:lnTo>
                  <a:lnTo>
                    <a:pt x="654" y="210"/>
                  </a:lnTo>
                  <a:lnTo>
                    <a:pt x="654" y="212"/>
                  </a:lnTo>
                  <a:lnTo>
                    <a:pt x="653" y="208"/>
                  </a:lnTo>
                  <a:lnTo>
                    <a:pt x="651" y="210"/>
                  </a:lnTo>
                  <a:lnTo>
                    <a:pt x="653" y="219"/>
                  </a:lnTo>
                  <a:lnTo>
                    <a:pt x="653" y="220"/>
                  </a:lnTo>
                  <a:lnTo>
                    <a:pt x="653" y="222"/>
                  </a:lnTo>
                  <a:lnTo>
                    <a:pt x="658" y="222"/>
                  </a:lnTo>
                  <a:lnTo>
                    <a:pt x="658" y="224"/>
                  </a:lnTo>
                  <a:lnTo>
                    <a:pt x="656" y="224"/>
                  </a:lnTo>
                  <a:lnTo>
                    <a:pt x="658" y="231"/>
                  </a:lnTo>
                  <a:lnTo>
                    <a:pt x="656" y="236"/>
                  </a:lnTo>
                  <a:lnTo>
                    <a:pt x="658" y="239"/>
                  </a:lnTo>
                  <a:lnTo>
                    <a:pt x="658" y="243"/>
                  </a:lnTo>
                  <a:lnTo>
                    <a:pt x="659" y="244"/>
                  </a:lnTo>
                  <a:lnTo>
                    <a:pt x="659" y="253"/>
                  </a:lnTo>
                  <a:lnTo>
                    <a:pt x="659" y="256"/>
                  </a:lnTo>
                  <a:lnTo>
                    <a:pt x="658" y="258"/>
                  </a:lnTo>
                  <a:lnTo>
                    <a:pt x="658" y="265"/>
                  </a:lnTo>
                  <a:lnTo>
                    <a:pt x="656" y="272"/>
                  </a:lnTo>
                  <a:lnTo>
                    <a:pt x="664" y="280"/>
                  </a:lnTo>
                  <a:lnTo>
                    <a:pt x="666" y="284"/>
                  </a:lnTo>
                  <a:lnTo>
                    <a:pt x="664" y="287"/>
                  </a:lnTo>
                  <a:lnTo>
                    <a:pt x="664" y="290"/>
                  </a:lnTo>
                  <a:lnTo>
                    <a:pt x="668" y="292"/>
                  </a:lnTo>
                  <a:lnTo>
                    <a:pt x="671" y="294"/>
                  </a:lnTo>
                  <a:lnTo>
                    <a:pt x="671" y="290"/>
                  </a:lnTo>
                  <a:lnTo>
                    <a:pt x="671" y="289"/>
                  </a:lnTo>
                  <a:lnTo>
                    <a:pt x="673" y="290"/>
                  </a:lnTo>
                  <a:lnTo>
                    <a:pt x="673" y="292"/>
                  </a:lnTo>
                  <a:lnTo>
                    <a:pt x="671" y="296"/>
                  </a:lnTo>
                  <a:lnTo>
                    <a:pt x="671" y="297"/>
                  </a:lnTo>
                  <a:lnTo>
                    <a:pt x="675" y="308"/>
                  </a:lnTo>
                  <a:lnTo>
                    <a:pt x="676" y="311"/>
                  </a:lnTo>
                  <a:lnTo>
                    <a:pt x="676" y="313"/>
                  </a:lnTo>
                  <a:lnTo>
                    <a:pt x="676" y="314"/>
                  </a:lnTo>
                  <a:lnTo>
                    <a:pt x="675" y="316"/>
                  </a:lnTo>
                  <a:lnTo>
                    <a:pt x="675" y="316"/>
                  </a:lnTo>
                  <a:lnTo>
                    <a:pt x="678" y="316"/>
                  </a:lnTo>
                  <a:lnTo>
                    <a:pt x="683" y="321"/>
                  </a:lnTo>
                  <a:lnTo>
                    <a:pt x="688" y="326"/>
                  </a:lnTo>
                  <a:lnTo>
                    <a:pt x="690" y="326"/>
                  </a:lnTo>
                  <a:lnTo>
                    <a:pt x="690" y="331"/>
                  </a:lnTo>
                  <a:lnTo>
                    <a:pt x="694" y="337"/>
                  </a:lnTo>
                  <a:lnTo>
                    <a:pt x="695" y="338"/>
                  </a:lnTo>
                  <a:lnTo>
                    <a:pt x="695" y="340"/>
                  </a:lnTo>
                  <a:lnTo>
                    <a:pt x="695" y="342"/>
                  </a:lnTo>
                  <a:lnTo>
                    <a:pt x="694" y="345"/>
                  </a:lnTo>
                  <a:lnTo>
                    <a:pt x="695" y="345"/>
                  </a:lnTo>
                  <a:lnTo>
                    <a:pt x="697" y="347"/>
                  </a:lnTo>
                  <a:lnTo>
                    <a:pt x="699" y="347"/>
                  </a:lnTo>
                  <a:lnTo>
                    <a:pt x="702" y="350"/>
                  </a:lnTo>
                  <a:lnTo>
                    <a:pt x="700" y="350"/>
                  </a:lnTo>
                  <a:lnTo>
                    <a:pt x="664" y="350"/>
                  </a:lnTo>
                  <a:lnTo>
                    <a:pt x="646" y="350"/>
                  </a:lnTo>
                  <a:lnTo>
                    <a:pt x="627" y="350"/>
                  </a:lnTo>
                  <a:lnTo>
                    <a:pt x="608" y="350"/>
                  </a:lnTo>
                  <a:lnTo>
                    <a:pt x="581" y="350"/>
                  </a:lnTo>
                  <a:lnTo>
                    <a:pt x="572" y="350"/>
                  </a:lnTo>
                  <a:lnTo>
                    <a:pt x="535" y="350"/>
                  </a:lnTo>
                  <a:lnTo>
                    <a:pt x="497" y="349"/>
                  </a:lnTo>
                  <a:lnTo>
                    <a:pt x="488" y="349"/>
                  </a:lnTo>
                  <a:lnTo>
                    <a:pt x="461" y="349"/>
                  </a:lnTo>
                  <a:lnTo>
                    <a:pt x="442" y="349"/>
                  </a:lnTo>
                  <a:lnTo>
                    <a:pt x="423" y="347"/>
                  </a:lnTo>
                  <a:lnTo>
                    <a:pt x="396" y="347"/>
                  </a:lnTo>
                  <a:lnTo>
                    <a:pt x="386" y="345"/>
                  </a:lnTo>
                  <a:lnTo>
                    <a:pt x="350" y="345"/>
                  </a:lnTo>
                  <a:lnTo>
                    <a:pt x="306" y="343"/>
                  </a:lnTo>
                  <a:lnTo>
                    <a:pt x="304" y="343"/>
                  </a:lnTo>
                  <a:lnTo>
                    <a:pt x="259" y="340"/>
                  </a:lnTo>
                  <a:lnTo>
                    <a:pt x="258" y="340"/>
                  </a:lnTo>
                  <a:lnTo>
                    <a:pt x="212" y="338"/>
                  </a:lnTo>
                  <a:lnTo>
                    <a:pt x="205" y="338"/>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25" name="Freeform 21">
              <a:extLst>
                <a:ext uri="{FF2B5EF4-FFF2-40B4-BE49-F238E27FC236}">
                  <a16:creationId xmlns:a16="http://schemas.microsoft.com/office/drawing/2014/main" id="{8A8C0B3A-75CC-4DF5-A198-93FE0177C453}"/>
                </a:ext>
              </a:extLst>
            </p:cNvPr>
            <p:cNvSpPr>
              <a:spLocks noEditPoints="1"/>
            </p:cNvSpPr>
            <p:nvPr/>
          </p:nvSpPr>
          <p:spPr bwMode="gray">
            <a:xfrm>
              <a:off x="7319708" y="2389045"/>
              <a:ext cx="1035399" cy="784198"/>
            </a:xfrm>
            <a:custGeom>
              <a:avLst/>
              <a:gdLst/>
              <a:ahLst/>
              <a:cxnLst>
                <a:cxn ang="0">
                  <a:pos x="43" y="349"/>
                </a:cxn>
                <a:cxn ang="0">
                  <a:pos x="55" y="297"/>
                </a:cxn>
                <a:cxn ang="0">
                  <a:pos x="36" y="273"/>
                </a:cxn>
                <a:cxn ang="0">
                  <a:pos x="151" y="255"/>
                </a:cxn>
                <a:cxn ang="0">
                  <a:pos x="214" y="232"/>
                </a:cxn>
                <a:cxn ang="0">
                  <a:pos x="248" y="191"/>
                </a:cxn>
                <a:cxn ang="0">
                  <a:pos x="245" y="159"/>
                </a:cxn>
                <a:cxn ang="0">
                  <a:pos x="224" y="145"/>
                </a:cxn>
                <a:cxn ang="0">
                  <a:pos x="310" y="34"/>
                </a:cxn>
                <a:cxn ang="0">
                  <a:pos x="428" y="3"/>
                </a:cxn>
                <a:cxn ang="0">
                  <a:pos x="434" y="20"/>
                </a:cxn>
                <a:cxn ang="0">
                  <a:pos x="434" y="39"/>
                </a:cxn>
                <a:cxn ang="0">
                  <a:pos x="440" y="48"/>
                </a:cxn>
                <a:cxn ang="0">
                  <a:pos x="450" y="77"/>
                </a:cxn>
                <a:cxn ang="0">
                  <a:pos x="446" y="96"/>
                </a:cxn>
                <a:cxn ang="0">
                  <a:pos x="448" y="108"/>
                </a:cxn>
                <a:cxn ang="0">
                  <a:pos x="458" y="128"/>
                </a:cxn>
                <a:cxn ang="0">
                  <a:pos x="458" y="150"/>
                </a:cxn>
                <a:cxn ang="0">
                  <a:pos x="467" y="143"/>
                </a:cxn>
                <a:cxn ang="0">
                  <a:pos x="474" y="154"/>
                </a:cxn>
                <a:cxn ang="0">
                  <a:pos x="487" y="229"/>
                </a:cxn>
                <a:cxn ang="0">
                  <a:pos x="491" y="309"/>
                </a:cxn>
                <a:cxn ang="0">
                  <a:pos x="505" y="384"/>
                </a:cxn>
                <a:cxn ang="0">
                  <a:pos x="505" y="424"/>
                </a:cxn>
                <a:cxn ang="0">
                  <a:pos x="489" y="451"/>
                </a:cxn>
                <a:cxn ang="0">
                  <a:pos x="487" y="443"/>
                </a:cxn>
                <a:cxn ang="0">
                  <a:pos x="458" y="422"/>
                </a:cxn>
                <a:cxn ang="0">
                  <a:pos x="414" y="405"/>
                </a:cxn>
                <a:cxn ang="0">
                  <a:pos x="405" y="400"/>
                </a:cxn>
                <a:cxn ang="0">
                  <a:pos x="393" y="396"/>
                </a:cxn>
                <a:cxn ang="0">
                  <a:pos x="380" y="386"/>
                </a:cxn>
                <a:cxn ang="0">
                  <a:pos x="378" y="374"/>
                </a:cxn>
                <a:cxn ang="0">
                  <a:pos x="375" y="366"/>
                </a:cxn>
                <a:cxn ang="0">
                  <a:pos x="366" y="360"/>
                </a:cxn>
                <a:cxn ang="0">
                  <a:pos x="349" y="350"/>
                </a:cxn>
                <a:cxn ang="0">
                  <a:pos x="287" y="364"/>
                </a:cxn>
                <a:cxn ang="0">
                  <a:pos x="173" y="386"/>
                </a:cxn>
                <a:cxn ang="0">
                  <a:pos x="72" y="407"/>
                </a:cxn>
                <a:cxn ang="0">
                  <a:pos x="0" y="390"/>
                </a:cxn>
                <a:cxn ang="0">
                  <a:pos x="506" y="465"/>
                </a:cxn>
                <a:cxn ang="0">
                  <a:pos x="487" y="475"/>
                </a:cxn>
                <a:cxn ang="0">
                  <a:pos x="503" y="449"/>
                </a:cxn>
                <a:cxn ang="0">
                  <a:pos x="525" y="429"/>
                </a:cxn>
                <a:cxn ang="0">
                  <a:pos x="585" y="407"/>
                </a:cxn>
                <a:cxn ang="0">
                  <a:pos x="602" y="398"/>
                </a:cxn>
                <a:cxn ang="0">
                  <a:pos x="611" y="396"/>
                </a:cxn>
                <a:cxn ang="0">
                  <a:pos x="643" y="383"/>
                </a:cxn>
                <a:cxn ang="0">
                  <a:pos x="508" y="470"/>
                </a:cxn>
                <a:cxn ang="0">
                  <a:pos x="561" y="448"/>
                </a:cxn>
                <a:cxn ang="0">
                  <a:pos x="581" y="434"/>
                </a:cxn>
                <a:cxn ang="0">
                  <a:pos x="544" y="458"/>
                </a:cxn>
                <a:cxn ang="0">
                  <a:pos x="481" y="470"/>
                </a:cxn>
                <a:cxn ang="0">
                  <a:pos x="472" y="487"/>
                </a:cxn>
              </a:cxnLst>
              <a:rect l="0" t="0" r="r" b="b"/>
              <a:pathLst>
                <a:path w="643" h="487">
                  <a:moveTo>
                    <a:pt x="0" y="390"/>
                  </a:moveTo>
                  <a:lnTo>
                    <a:pt x="23" y="369"/>
                  </a:lnTo>
                  <a:lnTo>
                    <a:pt x="28" y="360"/>
                  </a:lnTo>
                  <a:lnTo>
                    <a:pt x="43" y="349"/>
                  </a:lnTo>
                  <a:lnTo>
                    <a:pt x="48" y="333"/>
                  </a:lnTo>
                  <a:lnTo>
                    <a:pt x="60" y="321"/>
                  </a:lnTo>
                  <a:lnTo>
                    <a:pt x="52" y="302"/>
                  </a:lnTo>
                  <a:lnTo>
                    <a:pt x="55" y="297"/>
                  </a:lnTo>
                  <a:lnTo>
                    <a:pt x="50" y="292"/>
                  </a:lnTo>
                  <a:lnTo>
                    <a:pt x="40" y="292"/>
                  </a:lnTo>
                  <a:lnTo>
                    <a:pt x="40" y="287"/>
                  </a:lnTo>
                  <a:lnTo>
                    <a:pt x="36" y="273"/>
                  </a:lnTo>
                  <a:lnTo>
                    <a:pt x="81" y="255"/>
                  </a:lnTo>
                  <a:lnTo>
                    <a:pt x="117" y="248"/>
                  </a:lnTo>
                  <a:lnTo>
                    <a:pt x="135" y="248"/>
                  </a:lnTo>
                  <a:lnTo>
                    <a:pt x="151" y="255"/>
                  </a:lnTo>
                  <a:lnTo>
                    <a:pt x="164" y="248"/>
                  </a:lnTo>
                  <a:lnTo>
                    <a:pt x="200" y="241"/>
                  </a:lnTo>
                  <a:lnTo>
                    <a:pt x="212" y="231"/>
                  </a:lnTo>
                  <a:lnTo>
                    <a:pt x="214" y="232"/>
                  </a:lnTo>
                  <a:lnTo>
                    <a:pt x="219" y="222"/>
                  </a:lnTo>
                  <a:lnTo>
                    <a:pt x="231" y="210"/>
                  </a:lnTo>
                  <a:lnTo>
                    <a:pt x="246" y="202"/>
                  </a:lnTo>
                  <a:lnTo>
                    <a:pt x="248" y="191"/>
                  </a:lnTo>
                  <a:lnTo>
                    <a:pt x="245" y="188"/>
                  </a:lnTo>
                  <a:lnTo>
                    <a:pt x="240" y="171"/>
                  </a:lnTo>
                  <a:lnTo>
                    <a:pt x="241" y="162"/>
                  </a:lnTo>
                  <a:lnTo>
                    <a:pt x="245" y="159"/>
                  </a:lnTo>
                  <a:lnTo>
                    <a:pt x="243" y="152"/>
                  </a:lnTo>
                  <a:lnTo>
                    <a:pt x="236" y="147"/>
                  </a:lnTo>
                  <a:lnTo>
                    <a:pt x="231" y="150"/>
                  </a:lnTo>
                  <a:lnTo>
                    <a:pt x="224" y="145"/>
                  </a:lnTo>
                  <a:lnTo>
                    <a:pt x="257" y="108"/>
                  </a:lnTo>
                  <a:lnTo>
                    <a:pt x="260" y="92"/>
                  </a:lnTo>
                  <a:lnTo>
                    <a:pt x="286" y="55"/>
                  </a:lnTo>
                  <a:lnTo>
                    <a:pt x="310" y="34"/>
                  </a:lnTo>
                  <a:lnTo>
                    <a:pt x="325" y="26"/>
                  </a:lnTo>
                  <a:lnTo>
                    <a:pt x="378" y="14"/>
                  </a:lnTo>
                  <a:lnTo>
                    <a:pt x="428" y="0"/>
                  </a:lnTo>
                  <a:lnTo>
                    <a:pt x="428" y="3"/>
                  </a:lnTo>
                  <a:lnTo>
                    <a:pt x="429" y="7"/>
                  </a:lnTo>
                  <a:lnTo>
                    <a:pt x="429" y="17"/>
                  </a:lnTo>
                  <a:lnTo>
                    <a:pt x="431" y="20"/>
                  </a:lnTo>
                  <a:lnTo>
                    <a:pt x="434" y="20"/>
                  </a:lnTo>
                  <a:lnTo>
                    <a:pt x="433" y="31"/>
                  </a:lnTo>
                  <a:lnTo>
                    <a:pt x="434" y="34"/>
                  </a:lnTo>
                  <a:lnTo>
                    <a:pt x="434" y="36"/>
                  </a:lnTo>
                  <a:lnTo>
                    <a:pt x="434" y="39"/>
                  </a:lnTo>
                  <a:lnTo>
                    <a:pt x="434" y="41"/>
                  </a:lnTo>
                  <a:lnTo>
                    <a:pt x="436" y="44"/>
                  </a:lnTo>
                  <a:lnTo>
                    <a:pt x="440" y="48"/>
                  </a:lnTo>
                  <a:lnTo>
                    <a:pt x="440" y="48"/>
                  </a:lnTo>
                  <a:lnTo>
                    <a:pt x="446" y="58"/>
                  </a:lnTo>
                  <a:lnTo>
                    <a:pt x="446" y="61"/>
                  </a:lnTo>
                  <a:lnTo>
                    <a:pt x="445" y="67"/>
                  </a:lnTo>
                  <a:lnTo>
                    <a:pt x="450" y="77"/>
                  </a:lnTo>
                  <a:lnTo>
                    <a:pt x="446" y="84"/>
                  </a:lnTo>
                  <a:lnTo>
                    <a:pt x="446" y="87"/>
                  </a:lnTo>
                  <a:lnTo>
                    <a:pt x="445" y="92"/>
                  </a:lnTo>
                  <a:lnTo>
                    <a:pt x="446" y="96"/>
                  </a:lnTo>
                  <a:lnTo>
                    <a:pt x="445" y="101"/>
                  </a:lnTo>
                  <a:lnTo>
                    <a:pt x="445" y="102"/>
                  </a:lnTo>
                  <a:lnTo>
                    <a:pt x="448" y="104"/>
                  </a:lnTo>
                  <a:lnTo>
                    <a:pt x="448" y="108"/>
                  </a:lnTo>
                  <a:lnTo>
                    <a:pt x="452" y="114"/>
                  </a:lnTo>
                  <a:lnTo>
                    <a:pt x="453" y="118"/>
                  </a:lnTo>
                  <a:lnTo>
                    <a:pt x="455" y="126"/>
                  </a:lnTo>
                  <a:lnTo>
                    <a:pt x="458" y="128"/>
                  </a:lnTo>
                  <a:lnTo>
                    <a:pt x="458" y="130"/>
                  </a:lnTo>
                  <a:lnTo>
                    <a:pt x="458" y="135"/>
                  </a:lnTo>
                  <a:lnTo>
                    <a:pt x="457" y="145"/>
                  </a:lnTo>
                  <a:lnTo>
                    <a:pt x="458" y="150"/>
                  </a:lnTo>
                  <a:lnTo>
                    <a:pt x="460" y="150"/>
                  </a:lnTo>
                  <a:lnTo>
                    <a:pt x="462" y="145"/>
                  </a:lnTo>
                  <a:lnTo>
                    <a:pt x="465" y="143"/>
                  </a:lnTo>
                  <a:lnTo>
                    <a:pt x="467" y="143"/>
                  </a:lnTo>
                  <a:lnTo>
                    <a:pt x="469" y="147"/>
                  </a:lnTo>
                  <a:lnTo>
                    <a:pt x="469" y="149"/>
                  </a:lnTo>
                  <a:lnTo>
                    <a:pt x="470" y="149"/>
                  </a:lnTo>
                  <a:lnTo>
                    <a:pt x="474" y="154"/>
                  </a:lnTo>
                  <a:lnTo>
                    <a:pt x="477" y="176"/>
                  </a:lnTo>
                  <a:lnTo>
                    <a:pt x="486" y="215"/>
                  </a:lnTo>
                  <a:lnTo>
                    <a:pt x="487" y="225"/>
                  </a:lnTo>
                  <a:lnTo>
                    <a:pt x="487" y="229"/>
                  </a:lnTo>
                  <a:lnTo>
                    <a:pt x="491" y="234"/>
                  </a:lnTo>
                  <a:lnTo>
                    <a:pt x="491" y="234"/>
                  </a:lnTo>
                  <a:lnTo>
                    <a:pt x="491" y="261"/>
                  </a:lnTo>
                  <a:lnTo>
                    <a:pt x="491" y="309"/>
                  </a:lnTo>
                  <a:lnTo>
                    <a:pt x="493" y="313"/>
                  </a:lnTo>
                  <a:lnTo>
                    <a:pt x="499" y="352"/>
                  </a:lnTo>
                  <a:lnTo>
                    <a:pt x="501" y="367"/>
                  </a:lnTo>
                  <a:lnTo>
                    <a:pt x="505" y="384"/>
                  </a:lnTo>
                  <a:lnTo>
                    <a:pt x="506" y="393"/>
                  </a:lnTo>
                  <a:lnTo>
                    <a:pt x="513" y="400"/>
                  </a:lnTo>
                  <a:lnTo>
                    <a:pt x="498" y="415"/>
                  </a:lnTo>
                  <a:lnTo>
                    <a:pt x="505" y="424"/>
                  </a:lnTo>
                  <a:lnTo>
                    <a:pt x="506" y="425"/>
                  </a:lnTo>
                  <a:lnTo>
                    <a:pt x="498" y="439"/>
                  </a:lnTo>
                  <a:lnTo>
                    <a:pt x="498" y="446"/>
                  </a:lnTo>
                  <a:lnTo>
                    <a:pt x="489" y="451"/>
                  </a:lnTo>
                  <a:lnTo>
                    <a:pt x="486" y="463"/>
                  </a:lnTo>
                  <a:lnTo>
                    <a:pt x="484" y="460"/>
                  </a:lnTo>
                  <a:lnTo>
                    <a:pt x="486" y="453"/>
                  </a:lnTo>
                  <a:lnTo>
                    <a:pt x="487" y="443"/>
                  </a:lnTo>
                  <a:lnTo>
                    <a:pt x="487" y="437"/>
                  </a:lnTo>
                  <a:lnTo>
                    <a:pt x="487" y="434"/>
                  </a:lnTo>
                  <a:lnTo>
                    <a:pt x="486" y="429"/>
                  </a:lnTo>
                  <a:lnTo>
                    <a:pt x="458" y="422"/>
                  </a:lnTo>
                  <a:lnTo>
                    <a:pt x="457" y="422"/>
                  </a:lnTo>
                  <a:lnTo>
                    <a:pt x="445" y="417"/>
                  </a:lnTo>
                  <a:lnTo>
                    <a:pt x="416" y="407"/>
                  </a:lnTo>
                  <a:lnTo>
                    <a:pt x="414" y="405"/>
                  </a:lnTo>
                  <a:lnTo>
                    <a:pt x="411" y="403"/>
                  </a:lnTo>
                  <a:lnTo>
                    <a:pt x="411" y="400"/>
                  </a:lnTo>
                  <a:lnTo>
                    <a:pt x="409" y="400"/>
                  </a:lnTo>
                  <a:lnTo>
                    <a:pt x="405" y="400"/>
                  </a:lnTo>
                  <a:lnTo>
                    <a:pt x="400" y="400"/>
                  </a:lnTo>
                  <a:lnTo>
                    <a:pt x="397" y="402"/>
                  </a:lnTo>
                  <a:lnTo>
                    <a:pt x="397" y="400"/>
                  </a:lnTo>
                  <a:lnTo>
                    <a:pt x="393" y="396"/>
                  </a:lnTo>
                  <a:lnTo>
                    <a:pt x="390" y="398"/>
                  </a:lnTo>
                  <a:lnTo>
                    <a:pt x="387" y="393"/>
                  </a:lnTo>
                  <a:lnTo>
                    <a:pt x="385" y="390"/>
                  </a:lnTo>
                  <a:lnTo>
                    <a:pt x="380" y="386"/>
                  </a:lnTo>
                  <a:lnTo>
                    <a:pt x="380" y="386"/>
                  </a:lnTo>
                  <a:lnTo>
                    <a:pt x="381" y="383"/>
                  </a:lnTo>
                  <a:lnTo>
                    <a:pt x="378" y="376"/>
                  </a:lnTo>
                  <a:lnTo>
                    <a:pt x="378" y="374"/>
                  </a:lnTo>
                  <a:lnTo>
                    <a:pt x="376" y="369"/>
                  </a:lnTo>
                  <a:lnTo>
                    <a:pt x="375" y="369"/>
                  </a:lnTo>
                  <a:lnTo>
                    <a:pt x="373" y="367"/>
                  </a:lnTo>
                  <a:lnTo>
                    <a:pt x="375" y="366"/>
                  </a:lnTo>
                  <a:lnTo>
                    <a:pt x="371" y="364"/>
                  </a:lnTo>
                  <a:lnTo>
                    <a:pt x="370" y="362"/>
                  </a:lnTo>
                  <a:lnTo>
                    <a:pt x="368" y="362"/>
                  </a:lnTo>
                  <a:lnTo>
                    <a:pt x="366" y="360"/>
                  </a:lnTo>
                  <a:lnTo>
                    <a:pt x="359" y="362"/>
                  </a:lnTo>
                  <a:lnTo>
                    <a:pt x="356" y="355"/>
                  </a:lnTo>
                  <a:lnTo>
                    <a:pt x="352" y="354"/>
                  </a:lnTo>
                  <a:lnTo>
                    <a:pt x="349" y="350"/>
                  </a:lnTo>
                  <a:lnTo>
                    <a:pt x="347" y="350"/>
                  </a:lnTo>
                  <a:lnTo>
                    <a:pt x="339" y="352"/>
                  </a:lnTo>
                  <a:lnTo>
                    <a:pt x="291" y="362"/>
                  </a:lnTo>
                  <a:lnTo>
                    <a:pt x="287" y="364"/>
                  </a:lnTo>
                  <a:lnTo>
                    <a:pt x="255" y="371"/>
                  </a:lnTo>
                  <a:lnTo>
                    <a:pt x="226" y="376"/>
                  </a:lnTo>
                  <a:lnTo>
                    <a:pt x="224" y="376"/>
                  </a:lnTo>
                  <a:lnTo>
                    <a:pt x="173" y="386"/>
                  </a:lnTo>
                  <a:lnTo>
                    <a:pt x="163" y="390"/>
                  </a:lnTo>
                  <a:lnTo>
                    <a:pt x="127" y="396"/>
                  </a:lnTo>
                  <a:lnTo>
                    <a:pt x="120" y="396"/>
                  </a:lnTo>
                  <a:lnTo>
                    <a:pt x="72" y="407"/>
                  </a:lnTo>
                  <a:lnTo>
                    <a:pt x="60" y="408"/>
                  </a:lnTo>
                  <a:lnTo>
                    <a:pt x="17" y="415"/>
                  </a:lnTo>
                  <a:lnTo>
                    <a:pt x="5" y="417"/>
                  </a:lnTo>
                  <a:lnTo>
                    <a:pt x="0" y="390"/>
                  </a:lnTo>
                  <a:close/>
                  <a:moveTo>
                    <a:pt x="508" y="470"/>
                  </a:moveTo>
                  <a:lnTo>
                    <a:pt x="494" y="477"/>
                  </a:lnTo>
                  <a:lnTo>
                    <a:pt x="506" y="466"/>
                  </a:lnTo>
                  <a:lnTo>
                    <a:pt x="506" y="465"/>
                  </a:lnTo>
                  <a:lnTo>
                    <a:pt x="499" y="465"/>
                  </a:lnTo>
                  <a:lnTo>
                    <a:pt x="494" y="468"/>
                  </a:lnTo>
                  <a:lnTo>
                    <a:pt x="498" y="472"/>
                  </a:lnTo>
                  <a:lnTo>
                    <a:pt x="487" y="475"/>
                  </a:lnTo>
                  <a:lnTo>
                    <a:pt x="486" y="470"/>
                  </a:lnTo>
                  <a:lnTo>
                    <a:pt x="487" y="458"/>
                  </a:lnTo>
                  <a:lnTo>
                    <a:pt x="491" y="451"/>
                  </a:lnTo>
                  <a:lnTo>
                    <a:pt x="503" y="449"/>
                  </a:lnTo>
                  <a:lnTo>
                    <a:pt x="501" y="443"/>
                  </a:lnTo>
                  <a:lnTo>
                    <a:pt x="511" y="434"/>
                  </a:lnTo>
                  <a:lnTo>
                    <a:pt x="522" y="434"/>
                  </a:lnTo>
                  <a:lnTo>
                    <a:pt x="525" y="429"/>
                  </a:lnTo>
                  <a:lnTo>
                    <a:pt x="542" y="427"/>
                  </a:lnTo>
                  <a:lnTo>
                    <a:pt x="547" y="420"/>
                  </a:lnTo>
                  <a:lnTo>
                    <a:pt x="556" y="417"/>
                  </a:lnTo>
                  <a:lnTo>
                    <a:pt x="585" y="407"/>
                  </a:lnTo>
                  <a:lnTo>
                    <a:pt x="605" y="383"/>
                  </a:lnTo>
                  <a:lnTo>
                    <a:pt x="609" y="383"/>
                  </a:lnTo>
                  <a:lnTo>
                    <a:pt x="604" y="388"/>
                  </a:lnTo>
                  <a:lnTo>
                    <a:pt x="602" y="398"/>
                  </a:lnTo>
                  <a:lnTo>
                    <a:pt x="592" y="407"/>
                  </a:lnTo>
                  <a:lnTo>
                    <a:pt x="590" y="415"/>
                  </a:lnTo>
                  <a:lnTo>
                    <a:pt x="600" y="410"/>
                  </a:lnTo>
                  <a:lnTo>
                    <a:pt x="611" y="396"/>
                  </a:lnTo>
                  <a:lnTo>
                    <a:pt x="617" y="393"/>
                  </a:lnTo>
                  <a:lnTo>
                    <a:pt x="628" y="395"/>
                  </a:lnTo>
                  <a:lnTo>
                    <a:pt x="638" y="383"/>
                  </a:lnTo>
                  <a:lnTo>
                    <a:pt x="643" y="383"/>
                  </a:lnTo>
                  <a:lnTo>
                    <a:pt x="640" y="388"/>
                  </a:lnTo>
                  <a:lnTo>
                    <a:pt x="599" y="422"/>
                  </a:lnTo>
                  <a:lnTo>
                    <a:pt x="532" y="456"/>
                  </a:lnTo>
                  <a:lnTo>
                    <a:pt x="508" y="470"/>
                  </a:lnTo>
                  <a:close/>
                  <a:moveTo>
                    <a:pt x="544" y="458"/>
                  </a:moveTo>
                  <a:lnTo>
                    <a:pt x="544" y="456"/>
                  </a:lnTo>
                  <a:lnTo>
                    <a:pt x="547" y="456"/>
                  </a:lnTo>
                  <a:lnTo>
                    <a:pt x="561" y="448"/>
                  </a:lnTo>
                  <a:lnTo>
                    <a:pt x="573" y="437"/>
                  </a:lnTo>
                  <a:lnTo>
                    <a:pt x="580" y="432"/>
                  </a:lnTo>
                  <a:lnTo>
                    <a:pt x="581" y="432"/>
                  </a:lnTo>
                  <a:lnTo>
                    <a:pt x="581" y="434"/>
                  </a:lnTo>
                  <a:lnTo>
                    <a:pt x="568" y="443"/>
                  </a:lnTo>
                  <a:lnTo>
                    <a:pt x="563" y="448"/>
                  </a:lnTo>
                  <a:lnTo>
                    <a:pt x="547" y="456"/>
                  </a:lnTo>
                  <a:lnTo>
                    <a:pt x="544" y="458"/>
                  </a:lnTo>
                  <a:close/>
                  <a:moveTo>
                    <a:pt x="472" y="487"/>
                  </a:moveTo>
                  <a:lnTo>
                    <a:pt x="470" y="484"/>
                  </a:lnTo>
                  <a:lnTo>
                    <a:pt x="474" y="473"/>
                  </a:lnTo>
                  <a:lnTo>
                    <a:pt x="481" y="470"/>
                  </a:lnTo>
                  <a:lnTo>
                    <a:pt x="484" y="475"/>
                  </a:lnTo>
                  <a:lnTo>
                    <a:pt x="481" y="482"/>
                  </a:lnTo>
                  <a:lnTo>
                    <a:pt x="475" y="487"/>
                  </a:lnTo>
                  <a:lnTo>
                    <a:pt x="472" y="487"/>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26" name="Freeform 22">
              <a:extLst>
                <a:ext uri="{FF2B5EF4-FFF2-40B4-BE49-F238E27FC236}">
                  <a16:creationId xmlns:a16="http://schemas.microsoft.com/office/drawing/2014/main" id="{9AB489BA-A2A8-42FD-AA84-D29466162E6E}"/>
                </a:ext>
              </a:extLst>
            </p:cNvPr>
            <p:cNvSpPr>
              <a:spLocks/>
            </p:cNvSpPr>
            <p:nvPr/>
          </p:nvSpPr>
          <p:spPr bwMode="gray">
            <a:xfrm>
              <a:off x="7234363" y="2952637"/>
              <a:ext cx="795469" cy="515284"/>
            </a:xfrm>
            <a:custGeom>
              <a:avLst/>
              <a:gdLst/>
              <a:ahLst/>
              <a:cxnLst>
                <a:cxn ang="0">
                  <a:pos x="216" y="289"/>
                </a:cxn>
                <a:cxn ang="0">
                  <a:pos x="168" y="298"/>
                </a:cxn>
                <a:cxn ang="0">
                  <a:pos x="100" y="310"/>
                </a:cxn>
                <a:cxn ang="0">
                  <a:pos x="40" y="320"/>
                </a:cxn>
                <a:cxn ang="0">
                  <a:pos x="31" y="274"/>
                </a:cxn>
                <a:cxn ang="0">
                  <a:pos x="23" y="222"/>
                </a:cxn>
                <a:cxn ang="0">
                  <a:pos x="14" y="171"/>
                </a:cxn>
                <a:cxn ang="0">
                  <a:pos x="2" y="94"/>
                </a:cxn>
                <a:cxn ang="0">
                  <a:pos x="58" y="67"/>
                </a:cxn>
                <a:cxn ang="0">
                  <a:pos x="125" y="57"/>
                </a:cxn>
                <a:cxn ang="0">
                  <a:pos x="216" y="40"/>
                </a:cxn>
                <a:cxn ang="0">
                  <a:pos x="279" y="26"/>
                </a:cxn>
                <a:cxn ang="0">
                  <a:pos x="344" y="12"/>
                </a:cxn>
                <a:cxn ang="0">
                  <a:pos x="402" y="0"/>
                </a:cxn>
                <a:cxn ang="0">
                  <a:pos x="412" y="12"/>
                </a:cxn>
                <a:cxn ang="0">
                  <a:pos x="423" y="12"/>
                </a:cxn>
                <a:cxn ang="0">
                  <a:pos x="426" y="17"/>
                </a:cxn>
                <a:cxn ang="0">
                  <a:pos x="431" y="24"/>
                </a:cxn>
                <a:cxn ang="0">
                  <a:pos x="433" y="36"/>
                </a:cxn>
                <a:cxn ang="0">
                  <a:pos x="440" y="43"/>
                </a:cxn>
                <a:cxn ang="0">
                  <a:pos x="450" y="50"/>
                </a:cxn>
                <a:cxn ang="0">
                  <a:pos x="458" y="50"/>
                </a:cxn>
                <a:cxn ang="0">
                  <a:pos x="464" y="53"/>
                </a:cxn>
                <a:cxn ang="0">
                  <a:pos x="462" y="63"/>
                </a:cxn>
                <a:cxn ang="0">
                  <a:pos x="458" y="74"/>
                </a:cxn>
                <a:cxn ang="0">
                  <a:pos x="453" y="87"/>
                </a:cxn>
                <a:cxn ang="0">
                  <a:pos x="453" y="91"/>
                </a:cxn>
                <a:cxn ang="0">
                  <a:pos x="446" y="99"/>
                </a:cxn>
                <a:cxn ang="0">
                  <a:pos x="443" y="106"/>
                </a:cxn>
                <a:cxn ang="0">
                  <a:pos x="452" y="113"/>
                </a:cxn>
                <a:cxn ang="0">
                  <a:pos x="450" y="120"/>
                </a:cxn>
                <a:cxn ang="0">
                  <a:pos x="445" y="127"/>
                </a:cxn>
                <a:cxn ang="0">
                  <a:pos x="445" y="135"/>
                </a:cxn>
                <a:cxn ang="0">
                  <a:pos x="446" y="142"/>
                </a:cxn>
                <a:cxn ang="0">
                  <a:pos x="448" y="149"/>
                </a:cxn>
                <a:cxn ang="0">
                  <a:pos x="457" y="149"/>
                </a:cxn>
                <a:cxn ang="0">
                  <a:pos x="462" y="161"/>
                </a:cxn>
                <a:cxn ang="0">
                  <a:pos x="469" y="161"/>
                </a:cxn>
                <a:cxn ang="0">
                  <a:pos x="476" y="169"/>
                </a:cxn>
                <a:cxn ang="0">
                  <a:pos x="493" y="181"/>
                </a:cxn>
                <a:cxn ang="0">
                  <a:pos x="487" y="190"/>
                </a:cxn>
                <a:cxn ang="0">
                  <a:pos x="477" y="200"/>
                </a:cxn>
                <a:cxn ang="0">
                  <a:pos x="470" y="209"/>
                </a:cxn>
                <a:cxn ang="0">
                  <a:pos x="467" y="214"/>
                </a:cxn>
                <a:cxn ang="0">
                  <a:pos x="465" y="221"/>
                </a:cxn>
                <a:cxn ang="0">
                  <a:pos x="453" y="228"/>
                </a:cxn>
                <a:cxn ang="0">
                  <a:pos x="434" y="233"/>
                </a:cxn>
                <a:cxn ang="0">
                  <a:pos x="423" y="241"/>
                </a:cxn>
                <a:cxn ang="0">
                  <a:pos x="392" y="253"/>
                </a:cxn>
                <a:cxn ang="0">
                  <a:pos x="340" y="265"/>
                </a:cxn>
                <a:cxn ang="0">
                  <a:pos x="286" y="275"/>
                </a:cxn>
              </a:cxnLst>
              <a:rect l="0" t="0" r="r" b="b"/>
              <a:pathLst>
                <a:path w="494" h="320">
                  <a:moveTo>
                    <a:pt x="284" y="275"/>
                  </a:moveTo>
                  <a:lnTo>
                    <a:pt x="235" y="286"/>
                  </a:lnTo>
                  <a:lnTo>
                    <a:pt x="216" y="289"/>
                  </a:lnTo>
                  <a:lnTo>
                    <a:pt x="212" y="289"/>
                  </a:lnTo>
                  <a:lnTo>
                    <a:pt x="176" y="296"/>
                  </a:lnTo>
                  <a:lnTo>
                    <a:pt x="168" y="298"/>
                  </a:lnTo>
                  <a:lnTo>
                    <a:pt x="130" y="304"/>
                  </a:lnTo>
                  <a:lnTo>
                    <a:pt x="123" y="306"/>
                  </a:lnTo>
                  <a:lnTo>
                    <a:pt x="100" y="310"/>
                  </a:lnTo>
                  <a:lnTo>
                    <a:pt x="88" y="313"/>
                  </a:lnTo>
                  <a:lnTo>
                    <a:pt x="47" y="320"/>
                  </a:lnTo>
                  <a:lnTo>
                    <a:pt x="40" y="320"/>
                  </a:lnTo>
                  <a:lnTo>
                    <a:pt x="35" y="296"/>
                  </a:lnTo>
                  <a:lnTo>
                    <a:pt x="33" y="289"/>
                  </a:lnTo>
                  <a:lnTo>
                    <a:pt x="31" y="274"/>
                  </a:lnTo>
                  <a:lnTo>
                    <a:pt x="28" y="248"/>
                  </a:lnTo>
                  <a:lnTo>
                    <a:pt x="26" y="239"/>
                  </a:lnTo>
                  <a:lnTo>
                    <a:pt x="23" y="222"/>
                  </a:lnTo>
                  <a:lnTo>
                    <a:pt x="19" y="200"/>
                  </a:lnTo>
                  <a:lnTo>
                    <a:pt x="19" y="195"/>
                  </a:lnTo>
                  <a:lnTo>
                    <a:pt x="14" y="171"/>
                  </a:lnTo>
                  <a:lnTo>
                    <a:pt x="9" y="132"/>
                  </a:lnTo>
                  <a:lnTo>
                    <a:pt x="7" y="132"/>
                  </a:lnTo>
                  <a:lnTo>
                    <a:pt x="2" y="94"/>
                  </a:lnTo>
                  <a:lnTo>
                    <a:pt x="0" y="79"/>
                  </a:lnTo>
                  <a:lnTo>
                    <a:pt x="53" y="40"/>
                  </a:lnTo>
                  <a:lnTo>
                    <a:pt x="58" y="67"/>
                  </a:lnTo>
                  <a:lnTo>
                    <a:pt x="70" y="65"/>
                  </a:lnTo>
                  <a:lnTo>
                    <a:pt x="113" y="58"/>
                  </a:lnTo>
                  <a:lnTo>
                    <a:pt x="125" y="57"/>
                  </a:lnTo>
                  <a:lnTo>
                    <a:pt x="173" y="46"/>
                  </a:lnTo>
                  <a:lnTo>
                    <a:pt x="180" y="46"/>
                  </a:lnTo>
                  <a:lnTo>
                    <a:pt x="216" y="40"/>
                  </a:lnTo>
                  <a:lnTo>
                    <a:pt x="226" y="36"/>
                  </a:lnTo>
                  <a:lnTo>
                    <a:pt x="277" y="26"/>
                  </a:lnTo>
                  <a:lnTo>
                    <a:pt x="279" y="26"/>
                  </a:lnTo>
                  <a:lnTo>
                    <a:pt x="308" y="21"/>
                  </a:lnTo>
                  <a:lnTo>
                    <a:pt x="340" y="14"/>
                  </a:lnTo>
                  <a:lnTo>
                    <a:pt x="344" y="12"/>
                  </a:lnTo>
                  <a:lnTo>
                    <a:pt x="392" y="2"/>
                  </a:lnTo>
                  <a:lnTo>
                    <a:pt x="400" y="0"/>
                  </a:lnTo>
                  <a:lnTo>
                    <a:pt x="402" y="0"/>
                  </a:lnTo>
                  <a:lnTo>
                    <a:pt x="405" y="4"/>
                  </a:lnTo>
                  <a:lnTo>
                    <a:pt x="409" y="5"/>
                  </a:lnTo>
                  <a:lnTo>
                    <a:pt x="412" y="12"/>
                  </a:lnTo>
                  <a:lnTo>
                    <a:pt x="419" y="10"/>
                  </a:lnTo>
                  <a:lnTo>
                    <a:pt x="421" y="12"/>
                  </a:lnTo>
                  <a:lnTo>
                    <a:pt x="423" y="12"/>
                  </a:lnTo>
                  <a:lnTo>
                    <a:pt x="424" y="14"/>
                  </a:lnTo>
                  <a:lnTo>
                    <a:pt x="428" y="16"/>
                  </a:lnTo>
                  <a:lnTo>
                    <a:pt x="426" y="17"/>
                  </a:lnTo>
                  <a:lnTo>
                    <a:pt x="428" y="19"/>
                  </a:lnTo>
                  <a:lnTo>
                    <a:pt x="429" y="19"/>
                  </a:lnTo>
                  <a:lnTo>
                    <a:pt x="431" y="24"/>
                  </a:lnTo>
                  <a:lnTo>
                    <a:pt x="431" y="26"/>
                  </a:lnTo>
                  <a:lnTo>
                    <a:pt x="434" y="33"/>
                  </a:lnTo>
                  <a:lnTo>
                    <a:pt x="433" y="36"/>
                  </a:lnTo>
                  <a:lnTo>
                    <a:pt x="433" y="36"/>
                  </a:lnTo>
                  <a:lnTo>
                    <a:pt x="438" y="40"/>
                  </a:lnTo>
                  <a:lnTo>
                    <a:pt x="440" y="43"/>
                  </a:lnTo>
                  <a:lnTo>
                    <a:pt x="443" y="48"/>
                  </a:lnTo>
                  <a:lnTo>
                    <a:pt x="446" y="46"/>
                  </a:lnTo>
                  <a:lnTo>
                    <a:pt x="450" y="50"/>
                  </a:lnTo>
                  <a:lnTo>
                    <a:pt x="450" y="52"/>
                  </a:lnTo>
                  <a:lnTo>
                    <a:pt x="453" y="50"/>
                  </a:lnTo>
                  <a:lnTo>
                    <a:pt x="458" y="50"/>
                  </a:lnTo>
                  <a:lnTo>
                    <a:pt x="462" y="50"/>
                  </a:lnTo>
                  <a:lnTo>
                    <a:pt x="464" y="50"/>
                  </a:lnTo>
                  <a:lnTo>
                    <a:pt x="464" y="53"/>
                  </a:lnTo>
                  <a:lnTo>
                    <a:pt x="467" y="55"/>
                  </a:lnTo>
                  <a:lnTo>
                    <a:pt x="469" y="57"/>
                  </a:lnTo>
                  <a:lnTo>
                    <a:pt x="462" y="63"/>
                  </a:lnTo>
                  <a:lnTo>
                    <a:pt x="462" y="65"/>
                  </a:lnTo>
                  <a:lnTo>
                    <a:pt x="460" y="67"/>
                  </a:lnTo>
                  <a:lnTo>
                    <a:pt x="458" y="74"/>
                  </a:lnTo>
                  <a:lnTo>
                    <a:pt x="458" y="75"/>
                  </a:lnTo>
                  <a:lnTo>
                    <a:pt x="457" y="82"/>
                  </a:lnTo>
                  <a:lnTo>
                    <a:pt x="453" y="87"/>
                  </a:lnTo>
                  <a:lnTo>
                    <a:pt x="452" y="89"/>
                  </a:lnTo>
                  <a:lnTo>
                    <a:pt x="452" y="91"/>
                  </a:lnTo>
                  <a:lnTo>
                    <a:pt x="453" y="91"/>
                  </a:lnTo>
                  <a:lnTo>
                    <a:pt x="452" y="93"/>
                  </a:lnTo>
                  <a:lnTo>
                    <a:pt x="450" y="98"/>
                  </a:lnTo>
                  <a:lnTo>
                    <a:pt x="446" y="99"/>
                  </a:lnTo>
                  <a:lnTo>
                    <a:pt x="443" y="101"/>
                  </a:lnTo>
                  <a:lnTo>
                    <a:pt x="443" y="104"/>
                  </a:lnTo>
                  <a:lnTo>
                    <a:pt x="443" y="106"/>
                  </a:lnTo>
                  <a:lnTo>
                    <a:pt x="448" y="111"/>
                  </a:lnTo>
                  <a:lnTo>
                    <a:pt x="450" y="113"/>
                  </a:lnTo>
                  <a:lnTo>
                    <a:pt x="452" y="113"/>
                  </a:lnTo>
                  <a:lnTo>
                    <a:pt x="452" y="115"/>
                  </a:lnTo>
                  <a:lnTo>
                    <a:pt x="448" y="118"/>
                  </a:lnTo>
                  <a:lnTo>
                    <a:pt x="450" y="120"/>
                  </a:lnTo>
                  <a:lnTo>
                    <a:pt x="450" y="123"/>
                  </a:lnTo>
                  <a:lnTo>
                    <a:pt x="448" y="125"/>
                  </a:lnTo>
                  <a:lnTo>
                    <a:pt x="445" y="127"/>
                  </a:lnTo>
                  <a:lnTo>
                    <a:pt x="443" y="130"/>
                  </a:lnTo>
                  <a:lnTo>
                    <a:pt x="445" y="132"/>
                  </a:lnTo>
                  <a:lnTo>
                    <a:pt x="445" y="135"/>
                  </a:lnTo>
                  <a:lnTo>
                    <a:pt x="446" y="137"/>
                  </a:lnTo>
                  <a:lnTo>
                    <a:pt x="445" y="140"/>
                  </a:lnTo>
                  <a:lnTo>
                    <a:pt x="446" y="142"/>
                  </a:lnTo>
                  <a:lnTo>
                    <a:pt x="446" y="144"/>
                  </a:lnTo>
                  <a:lnTo>
                    <a:pt x="448" y="147"/>
                  </a:lnTo>
                  <a:lnTo>
                    <a:pt x="448" y="149"/>
                  </a:lnTo>
                  <a:lnTo>
                    <a:pt x="448" y="149"/>
                  </a:lnTo>
                  <a:lnTo>
                    <a:pt x="453" y="147"/>
                  </a:lnTo>
                  <a:lnTo>
                    <a:pt x="457" y="149"/>
                  </a:lnTo>
                  <a:lnTo>
                    <a:pt x="458" y="151"/>
                  </a:lnTo>
                  <a:lnTo>
                    <a:pt x="460" y="157"/>
                  </a:lnTo>
                  <a:lnTo>
                    <a:pt x="462" y="161"/>
                  </a:lnTo>
                  <a:lnTo>
                    <a:pt x="465" y="163"/>
                  </a:lnTo>
                  <a:lnTo>
                    <a:pt x="467" y="161"/>
                  </a:lnTo>
                  <a:lnTo>
                    <a:pt x="469" y="161"/>
                  </a:lnTo>
                  <a:lnTo>
                    <a:pt x="472" y="168"/>
                  </a:lnTo>
                  <a:lnTo>
                    <a:pt x="474" y="168"/>
                  </a:lnTo>
                  <a:lnTo>
                    <a:pt x="476" y="169"/>
                  </a:lnTo>
                  <a:lnTo>
                    <a:pt x="479" y="171"/>
                  </a:lnTo>
                  <a:lnTo>
                    <a:pt x="482" y="176"/>
                  </a:lnTo>
                  <a:lnTo>
                    <a:pt x="493" y="181"/>
                  </a:lnTo>
                  <a:lnTo>
                    <a:pt x="494" y="185"/>
                  </a:lnTo>
                  <a:lnTo>
                    <a:pt x="494" y="187"/>
                  </a:lnTo>
                  <a:lnTo>
                    <a:pt x="487" y="190"/>
                  </a:lnTo>
                  <a:lnTo>
                    <a:pt x="484" y="195"/>
                  </a:lnTo>
                  <a:lnTo>
                    <a:pt x="479" y="198"/>
                  </a:lnTo>
                  <a:lnTo>
                    <a:pt x="477" y="200"/>
                  </a:lnTo>
                  <a:lnTo>
                    <a:pt x="472" y="205"/>
                  </a:lnTo>
                  <a:lnTo>
                    <a:pt x="472" y="207"/>
                  </a:lnTo>
                  <a:lnTo>
                    <a:pt x="470" y="209"/>
                  </a:lnTo>
                  <a:lnTo>
                    <a:pt x="469" y="209"/>
                  </a:lnTo>
                  <a:lnTo>
                    <a:pt x="467" y="212"/>
                  </a:lnTo>
                  <a:lnTo>
                    <a:pt x="467" y="214"/>
                  </a:lnTo>
                  <a:lnTo>
                    <a:pt x="469" y="217"/>
                  </a:lnTo>
                  <a:lnTo>
                    <a:pt x="469" y="219"/>
                  </a:lnTo>
                  <a:lnTo>
                    <a:pt x="465" y="221"/>
                  </a:lnTo>
                  <a:lnTo>
                    <a:pt x="460" y="224"/>
                  </a:lnTo>
                  <a:lnTo>
                    <a:pt x="460" y="226"/>
                  </a:lnTo>
                  <a:lnTo>
                    <a:pt x="453" y="228"/>
                  </a:lnTo>
                  <a:lnTo>
                    <a:pt x="448" y="233"/>
                  </a:lnTo>
                  <a:lnTo>
                    <a:pt x="443" y="231"/>
                  </a:lnTo>
                  <a:lnTo>
                    <a:pt x="434" y="233"/>
                  </a:lnTo>
                  <a:lnTo>
                    <a:pt x="429" y="233"/>
                  </a:lnTo>
                  <a:lnTo>
                    <a:pt x="426" y="236"/>
                  </a:lnTo>
                  <a:lnTo>
                    <a:pt x="423" y="241"/>
                  </a:lnTo>
                  <a:lnTo>
                    <a:pt x="421" y="248"/>
                  </a:lnTo>
                  <a:lnTo>
                    <a:pt x="419" y="248"/>
                  </a:lnTo>
                  <a:lnTo>
                    <a:pt x="392" y="253"/>
                  </a:lnTo>
                  <a:lnTo>
                    <a:pt x="385" y="255"/>
                  </a:lnTo>
                  <a:lnTo>
                    <a:pt x="358" y="262"/>
                  </a:lnTo>
                  <a:lnTo>
                    <a:pt x="340" y="265"/>
                  </a:lnTo>
                  <a:lnTo>
                    <a:pt x="323" y="269"/>
                  </a:lnTo>
                  <a:lnTo>
                    <a:pt x="305" y="272"/>
                  </a:lnTo>
                  <a:lnTo>
                    <a:pt x="286" y="275"/>
                  </a:lnTo>
                  <a:lnTo>
                    <a:pt x="284" y="275"/>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27" name="Freeform 23">
              <a:extLst>
                <a:ext uri="{FF2B5EF4-FFF2-40B4-BE49-F238E27FC236}">
                  <a16:creationId xmlns:a16="http://schemas.microsoft.com/office/drawing/2014/main" id="{38CB44BB-AA3A-4ABB-968E-DA2ED1A25BE5}"/>
                </a:ext>
              </a:extLst>
            </p:cNvPr>
            <p:cNvSpPr>
              <a:spLocks/>
            </p:cNvSpPr>
            <p:nvPr/>
          </p:nvSpPr>
          <p:spPr bwMode="gray">
            <a:xfrm>
              <a:off x="8113566" y="2843138"/>
              <a:ext cx="233488" cy="230268"/>
            </a:xfrm>
            <a:custGeom>
              <a:avLst/>
              <a:gdLst/>
              <a:ahLst/>
              <a:cxnLst>
                <a:cxn ang="0">
                  <a:pos x="8" y="85"/>
                </a:cxn>
                <a:cxn ang="0">
                  <a:pos x="6" y="70"/>
                </a:cxn>
                <a:cxn ang="0">
                  <a:pos x="0" y="31"/>
                </a:cxn>
                <a:cxn ang="0">
                  <a:pos x="34" y="22"/>
                </a:cxn>
                <a:cxn ang="0">
                  <a:pos x="35" y="22"/>
                </a:cxn>
                <a:cxn ang="0">
                  <a:pos x="51" y="19"/>
                </a:cxn>
                <a:cxn ang="0">
                  <a:pos x="51" y="22"/>
                </a:cxn>
                <a:cxn ang="0">
                  <a:pos x="56" y="20"/>
                </a:cxn>
                <a:cxn ang="0">
                  <a:pos x="56" y="17"/>
                </a:cxn>
                <a:cxn ang="0">
                  <a:pos x="66" y="15"/>
                </a:cxn>
                <a:cxn ang="0">
                  <a:pos x="68" y="15"/>
                </a:cxn>
                <a:cxn ang="0">
                  <a:pos x="70" y="15"/>
                </a:cxn>
                <a:cxn ang="0">
                  <a:pos x="70" y="14"/>
                </a:cxn>
                <a:cxn ang="0">
                  <a:pos x="75" y="14"/>
                </a:cxn>
                <a:cxn ang="0">
                  <a:pos x="104" y="7"/>
                </a:cxn>
                <a:cxn ang="0">
                  <a:pos x="107" y="5"/>
                </a:cxn>
                <a:cxn ang="0">
                  <a:pos x="129" y="0"/>
                </a:cxn>
                <a:cxn ang="0">
                  <a:pos x="129" y="2"/>
                </a:cxn>
                <a:cxn ang="0">
                  <a:pos x="138" y="31"/>
                </a:cxn>
                <a:cxn ang="0">
                  <a:pos x="140" y="39"/>
                </a:cxn>
                <a:cxn ang="0">
                  <a:pos x="141" y="44"/>
                </a:cxn>
                <a:cxn ang="0">
                  <a:pos x="145" y="63"/>
                </a:cxn>
                <a:cxn ang="0">
                  <a:pos x="143" y="65"/>
                </a:cxn>
                <a:cxn ang="0">
                  <a:pos x="145" y="72"/>
                </a:cxn>
                <a:cxn ang="0">
                  <a:pos x="145" y="73"/>
                </a:cxn>
                <a:cxn ang="0">
                  <a:pos x="143" y="75"/>
                </a:cxn>
                <a:cxn ang="0">
                  <a:pos x="112" y="87"/>
                </a:cxn>
                <a:cxn ang="0">
                  <a:pos x="109" y="87"/>
                </a:cxn>
                <a:cxn ang="0">
                  <a:pos x="102" y="80"/>
                </a:cxn>
                <a:cxn ang="0">
                  <a:pos x="104" y="89"/>
                </a:cxn>
                <a:cxn ang="0">
                  <a:pos x="94" y="94"/>
                </a:cxn>
                <a:cxn ang="0">
                  <a:pos x="65" y="101"/>
                </a:cxn>
                <a:cxn ang="0">
                  <a:pos x="51" y="116"/>
                </a:cxn>
                <a:cxn ang="0">
                  <a:pos x="13" y="143"/>
                </a:cxn>
                <a:cxn ang="0">
                  <a:pos x="12" y="142"/>
                </a:cxn>
                <a:cxn ang="0">
                  <a:pos x="5" y="133"/>
                </a:cxn>
                <a:cxn ang="0">
                  <a:pos x="20" y="118"/>
                </a:cxn>
                <a:cxn ang="0">
                  <a:pos x="13" y="111"/>
                </a:cxn>
                <a:cxn ang="0">
                  <a:pos x="12" y="102"/>
                </a:cxn>
                <a:cxn ang="0">
                  <a:pos x="8" y="85"/>
                </a:cxn>
              </a:cxnLst>
              <a:rect l="0" t="0" r="r" b="b"/>
              <a:pathLst>
                <a:path w="145" h="143">
                  <a:moveTo>
                    <a:pt x="8" y="85"/>
                  </a:moveTo>
                  <a:lnTo>
                    <a:pt x="6" y="70"/>
                  </a:lnTo>
                  <a:lnTo>
                    <a:pt x="0" y="31"/>
                  </a:lnTo>
                  <a:lnTo>
                    <a:pt x="34" y="22"/>
                  </a:lnTo>
                  <a:lnTo>
                    <a:pt x="35" y="22"/>
                  </a:lnTo>
                  <a:lnTo>
                    <a:pt x="51" y="19"/>
                  </a:lnTo>
                  <a:lnTo>
                    <a:pt x="51" y="22"/>
                  </a:lnTo>
                  <a:lnTo>
                    <a:pt x="56" y="20"/>
                  </a:lnTo>
                  <a:lnTo>
                    <a:pt x="56" y="17"/>
                  </a:lnTo>
                  <a:lnTo>
                    <a:pt x="66" y="15"/>
                  </a:lnTo>
                  <a:lnTo>
                    <a:pt x="68" y="15"/>
                  </a:lnTo>
                  <a:lnTo>
                    <a:pt x="70" y="15"/>
                  </a:lnTo>
                  <a:lnTo>
                    <a:pt x="70" y="14"/>
                  </a:lnTo>
                  <a:lnTo>
                    <a:pt x="75" y="14"/>
                  </a:lnTo>
                  <a:lnTo>
                    <a:pt x="104" y="7"/>
                  </a:lnTo>
                  <a:lnTo>
                    <a:pt x="107" y="5"/>
                  </a:lnTo>
                  <a:lnTo>
                    <a:pt x="129" y="0"/>
                  </a:lnTo>
                  <a:lnTo>
                    <a:pt x="129" y="2"/>
                  </a:lnTo>
                  <a:lnTo>
                    <a:pt x="138" y="31"/>
                  </a:lnTo>
                  <a:lnTo>
                    <a:pt x="140" y="39"/>
                  </a:lnTo>
                  <a:lnTo>
                    <a:pt x="141" y="44"/>
                  </a:lnTo>
                  <a:lnTo>
                    <a:pt x="145" y="63"/>
                  </a:lnTo>
                  <a:lnTo>
                    <a:pt x="143" y="65"/>
                  </a:lnTo>
                  <a:lnTo>
                    <a:pt x="145" y="72"/>
                  </a:lnTo>
                  <a:lnTo>
                    <a:pt x="145" y="73"/>
                  </a:lnTo>
                  <a:lnTo>
                    <a:pt x="143" y="75"/>
                  </a:lnTo>
                  <a:lnTo>
                    <a:pt x="112" y="87"/>
                  </a:lnTo>
                  <a:lnTo>
                    <a:pt x="109" y="87"/>
                  </a:lnTo>
                  <a:lnTo>
                    <a:pt x="102" y="80"/>
                  </a:lnTo>
                  <a:lnTo>
                    <a:pt x="104" y="89"/>
                  </a:lnTo>
                  <a:lnTo>
                    <a:pt x="94" y="94"/>
                  </a:lnTo>
                  <a:lnTo>
                    <a:pt x="65" y="101"/>
                  </a:lnTo>
                  <a:lnTo>
                    <a:pt x="51" y="116"/>
                  </a:lnTo>
                  <a:lnTo>
                    <a:pt x="13" y="143"/>
                  </a:lnTo>
                  <a:lnTo>
                    <a:pt x="12" y="142"/>
                  </a:lnTo>
                  <a:lnTo>
                    <a:pt x="5" y="133"/>
                  </a:lnTo>
                  <a:lnTo>
                    <a:pt x="20" y="118"/>
                  </a:lnTo>
                  <a:lnTo>
                    <a:pt x="13" y="111"/>
                  </a:lnTo>
                  <a:lnTo>
                    <a:pt x="12" y="102"/>
                  </a:lnTo>
                  <a:lnTo>
                    <a:pt x="8" y="85"/>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28" name="Freeform 24">
              <a:extLst>
                <a:ext uri="{FF2B5EF4-FFF2-40B4-BE49-F238E27FC236}">
                  <a16:creationId xmlns:a16="http://schemas.microsoft.com/office/drawing/2014/main" id="{D5BD1474-F376-4BBE-95DF-FAA5F75E8EA2}"/>
                </a:ext>
              </a:extLst>
            </p:cNvPr>
            <p:cNvSpPr>
              <a:spLocks noEditPoints="1"/>
            </p:cNvSpPr>
            <p:nvPr/>
          </p:nvSpPr>
          <p:spPr bwMode="gray">
            <a:xfrm>
              <a:off x="8321290" y="2831867"/>
              <a:ext cx="107888" cy="132041"/>
            </a:xfrm>
            <a:custGeom>
              <a:avLst/>
              <a:gdLst/>
              <a:ahLst/>
              <a:cxnLst>
                <a:cxn ang="0">
                  <a:pos x="12" y="51"/>
                </a:cxn>
                <a:cxn ang="0">
                  <a:pos x="11" y="46"/>
                </a:cxn>
                <a:cxn ang="0">
                  <a:pos x="9" y="38"/>
                </a:cxn>
                <a:cxn ang="0">
                  <a:pos x="0" y="9"/>
                </a:cxn>
                <a:cxn ang="0">
                  <a:pos x="24" y="2"/>
                </a:cxn>
                <a:cxn ang="0">
                  <a:pos x="33" y="0"/>
                </a:cxn>
                <a:cxn ang="0">
                  <a:pos x="33" y="3"/>
                </a:cxn>
                <a:cxn ang="0">
                  <a:pos x="36" y="12"/>
                </a:cxn>
                <a:cxn ang="0">
                  <a:pos x="40" y="10"/>
                </a:cxn>
                <a:cxn ang="0">
                  <a:pos x="40" y="14"/>
                </a:cxn>
                <a:cxn ang="0">
                  <a:pos x="40" y="15"/>
                </a:cxn>
                <a:cxn ang="0">
                  <a:pos x="41" y="19"/>
                </a:cxn>
                <a:cxn ang="0">
                  <a:pos x="41" y="22"/>
                </a:cxn>
                <a:cxn ang="0">
                  <a:pos x="43" y="24"/>
                </a:cxn>
                <a:cxn ang="0">
                  <a:pos x="48" y="24"/>
                </a:cxn>
                <a:cxn ang="0">
                  <a:pos x="53" y="29"/>
                </a:cxn>
                <a:cxn ang="0">
                  <a:pos x="50" y="33"/>
                </a:cxn>
                <a:cxn ang="0">
                  <a:pos x="41" y="27"/>
                </a:cxn>
                <a:cxn ang="0">
                  <a:pos x="38" y="26"/>
                </a:cxn>
                <a:cxn ang="0">
                  <a:pos x="41" y="31"/>
                </a:cxn>
                <a:cxn ang="0">
                  <a:pos x="40" y="38"/>
                </a:cxn>
                <a:cxn ang="0">
                  <a:pos x="43" y="55"/>
                </a:cxn>
                <a:cxn ang="0">
                  <a:pos x="41" y="67"/>
                </a:cxn>
                <a:cxn ang="0">
                  <a:pos x="24" y="79"/>
                </a:cxn>
                <a:cxn ang="0">
                  <a:pos x="14" y="82"/>
                </a:cxn>
                <a:cxn ang="0">
                  <a:pos x="16" y="80"/>
                </a:cxn>
                <a:cxn ang="0">
                  <a:pos x="16" y="79"/>
                </a:cxn>
                <a:cxn ang="0">
                  <a:pos x="14" y="72"/>
                </a:cxn>
                <a:cxn ang="0">
                  <a:pos x="16" y="70"/>
                </a:cxn>
                <a:cxn ang="0">
                  <a:pos x="12" y="51"/>
                </a:cxn>
                <a:cxn ang="0">
                  <a:pos x="55" y="31"/>
                </a:cxn>
                <a:cxn ang="0">
                  <a:pos x="60" y="33"/>
                </a:cxn>
                <a:cxn ang="0">
                  <a:pos x="67" y="48"/>
                </a:cxn>
                <a:cxn ang="0">
                  <a:pos x="62" y="53"/>
                </a:cxn>
                <a:cxn ang="0">
                  <a:pos x="55" y="31"/>
                </a:cxn>
                <a:cxn ang="0">
                  <a:pos x="52" y="38"/>
                </a:cxn>
                <a:cxn ang="0">
                  <a:pos x="55" y="36"/>
                </a:cxn>
                <a:cxn ang="0">
                  <a:pos x="59" y="53"/>
                </a:cxn>
                <a:cxn ang="0">
                  <a:pos x="55" y="53"/>
                </a:cxn>
                <a:cxn ang="0">
                  <a:pos x="50" y="58"/>
                </a:cxn>
                <a:cxn ang="0">
                  <a:pos x="52" y="38"/>
                </a:cxn>
              </a:cxnLst>
              <a:rect l="0" t="0" r="r" b="b"/>
              <a:pathLst>
                <a:path w="67" h="82">
                  <a:moveTo>
                    <a:pt x="12" y="51"/>
                  </a:moveTo>
                  <a:lnTo>
                    <a:pt x="11" y="46"/>
                  </a:lnTo>
                  <a:lnTo>
                    <a:pt x="9" y="38"/>
                  </a:lnTo>
                  <a:lnTo>
                    <a:pt x="0" y="9"/>
                  </a:lnTo>
                  <a:lnTo>
                    <a:pt x="24" y="2"/>
                  </a:lnTo>
                  <a:lnTo>
                    <a:pt x="33" y="0"/>
                  </a:lnTo>
                  <a:lnTo>
                    <a:pt x="33" y="3"/>
                  </a:lnTo>
                  <a:lnTo>
                    <a:pt x="36" y="12"/>
                  </a:lnTo>
                  <a:lnTo>
                    <a:pt x="40" y="10"/>
                  </a:lnTo>
                  <a:lnTo>
                    <a:pt x="40" y="14"/>
                  </a:lnTo>
                  <a:lnTo>
                    <a:pt x="40" y="15"/>
                  </a:lnTo>
                  <a:lnTo>
                    <a:pt x="41" y="19"/>
                  </a:lnTo>
                  <a:lnTo>
                    <a:pt x="41" y="22"/>
                  </a:lnTo>
                  <a:lnTo>
                    <a:pt x="43" y="24"/>
                  </a:lnTo>
                  <a:lnTo>
                    <a:pt x="48" y="24"/>
                  </a:lnTo>
                  <a:lnTo>
                    <a:pt x="53" y="29"/>
                  </a:lnTo>
                  <a:lnTo>
                    <a:pt x="50" y="33"/>
                  </a:lnTo>
                  <a:lnTo>
                    <a:pt x="41" y="27"/>
                  </a:lnTo>
                  <a:lnTo>
                    <a:pt x="38" y="26"/>
                  </a:lnTo>
                  <a:lnTo>
                    <a:pt x="41" y="31"/>
                  </a:lnTo>
                  <a:lnTo>
                    <a:pt x="40" y="38"/>
                  </a:lnTo>
                  <a:lnTo>
                    <a:pt x="43" y="55"/>
                  </a:lnTo>
                  <a:lnTo>
                    <a:pt x="41" y="67"/>
                  </a:lnTo>
                  <a:lnTo>
                    <a:pt x="24" y="79"/>
                  </a:lnTo>
                  <a:lnTo>
                    <a:pt x="14" y="82"/>
                  </a:lnTo>
                  <a:lnTo>
                    <a:pt x="16" y="80"/>
                  </a:lnTo>
                  <a:lnTo>
                    <a:pt x="16" y="79"/>
                  </a:lnTo>
                  <a:lnTo>
                    <a:pt x="14" y="72"/>
                  </a:lnTo>
                  <a:lnTo>
                    <a:pt x="16" y="70"/>
                  </a:lnTo>
                  <a:lnTo>
                    <a:pt x="12" y="51"/>
                  </a:lnTo>
                  <a:close/>
                  <a:moveTo>
                    <a:pt x="55" y="31"/>
                  </a:moveTo>
                  <a:lnTo>
                    <a:pt x="60" y="33"/>
                  </a:lnTo>
                  <a:lnTo>
                    <a:pt x="67" y="48"/>
                  </a:lnTo>
                  <a:lnTo>
                    <a:pt x="62" y="53"/>
                  </a:lnTo>
                  <a:lnTo>
                    <a:pt x="55" y="31"/>
                  </a:lnTo>
                  <a:close/>
                  <a:moveTo>
                    <a:pt x="52" y="38"/>
                  </a:moveTo>
                  <a:lnTo>
                    <a:pt x="55" y="36"/>
                  </a:lnTo>
                  <a:lnTo>
                    <a:pt x="59" y="53"/>
                  </a:lnTo>
                  <a:lnTo>
                    <a:pt x="55" y="53"/>
                  </a:lnTo>
                  <a:lnTo>
                    <a:pt x="50" y="58"/>
                  </a:lnTo>
                  <a:lnTo>
                    <a:pt x="52" y="38"/>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29" name="Freeform 25">
              <a:extLst>
                <a:ext uri="{FF2B5EF4-FFF2-40B4-BE49-F238E27FC236}">
                  <a16:creationId xmlns:a16="http://schemas.microsoft.com/office/drawing/2014/main" id="{4ABA3F67-645A-44FE-AB4A-E9E9C8EFC24B}"/>
                </a:ext>
              </a:extLst>
            </p:cNvPr>
            <p:cNvSpPr>
              <a:spLocks/>
            </p:cNvSpPr>
            <p:nvPr/>
          </p:nvSpPr>
          <p:spPr bwMode="gray">
            <a:xfrm>
              <a:off x="7942879" y="3044421"/>
              <a:ext cx="178740" cy="412227"/>
            </a:xfrm>
            <a:custGeom>
              <a:avLst/>
              <a:gdLst/>
              <a:ahLst/>
              <a:cxnLst>
                <a:cxn ang="0">
                  <a:pos x="5" y="186"/>
                </a:cxn>
                <a:cxn ang="0">
                  <a:pos x="5" y="181"/>
                </a:cxn>
                <a:cxn ang="0">
                  <a:pos x="8" y="177"/>
                </a:cxn>
                <a:cxn ang="0">
                  <a:pos x="13" y="171"/>
                </a:cxn>
                <a:cxn ang="0">
                  <a:pos x="20" y="167"/>
                </a:cxn>
                <a:cxn ang="0">
                  <a:pos x="29" y="162"/>
                </a:cxn>
                <a:cxn ang="0">
                  <a:pos x="27" y="157"/>
                </a:cxn>
                <a:cxn ang="0">
                  <a:pos x="29" y="152"/>
                </a:cxn>
                <a:cxn ang="0">
                  <a:pos x="32" y="150"/>
                </a:cxn>
                <a:cxn ang="0">
                  <a:pos x="37" y="143"/>
                </a:cxn>
                <a:cxn ang="0">
                  <a:pos x="44" y="138"/>
                </a:cxn>
                <a:cxn ang="0">
                  <a:pos x="54" y="130"/>
                </a:cxn>
                <a:cxn ang="0">
                  <a:pos x="53" y="124"/>
                </a:cxn>
                <a:cxn ang="0">
                  <a:pos x="39" y="114"/>
                </a:cxn>
                <a:cxn ang="0">
                  <a:pos x="34" y="111"/>
                </a:cxn>
                <a:cxn ang="0">
                  <a:pos x="29" y="104"/>
                </a:cxn>
                <a:cxn ang="0">
                  <a:pos x="25" y="106"/>
                </a:cxn>
                <a:cxn ang="0">
                  <a:pos x="20" y="100"/>
                </a:cxn>
                <a:cxn ang="0">
                  <a:pos x="17" y="92"/>
                </a:cxn>
                <a:cxn ang="0">
                  <a:pos x="8" y="92"/>
                </a:cxn>
                <a:cxn ang="0">
                  <a:pos x="8" y="90"/>
                </a:cxn>
                <a:cxn ang="0">
                  <a:pos x="6" y="85"/>
                </a:cxn>
                <a:cxn ang="0">
                  <a:pos x="6" y="80"/>
                </a:cxn>
                <a:cxn ang="0">
                  <a:pos x="5" y="75"/>
                </a:cxn>
                <a:cxn ang="0">
                  <a:pos x="5" y="70"/>
                </a:cxn>
                <a:cxn ang="0">
                  <a:pos x="10" y="66"/>
                </a:cxn>
                <a:cxn ang="0">
                  <a:pos x="8" y="61"/>
                </a:cxn>
                <a:cxn ang="0">
                  <a:pos x="12" y="56"/>
                </a:cxn>
                <a:cxn ang="0">
                  <a:pos x="8" y="54"/>
                </a:cxn>
                <a:cxn ang="0">
                  <a:pos x="3" y="47"/>
                </a:cxn>
                <a:cxn ang="0">
                  <a:pos x="6" y="42"/>
                </a:cxn>
                <a:cxn ang="0">
                  <a:pos x="12" y="36"/>
                </a:cxn>
                <a:cxn ang="0">
                  <a:pos x="12" y="34"/>
                </a:cxn>
                <a:cxn ang="0">
                  <a:pos x="13" y="30"/>
                </a:cxn>
                <a:cxn ang="0">
                  <a:pos x="18" y="18"/>
                </a:cxn>
                <a:cxn ang="0">
                  <a:pos x="20" y="10"/>
                </a:cxn>
                <a:cxn ang="0">
                  <a:pos x="22" y="6"/>
                </a:cxn>
                <a:cxn ang="0">
                  <a:pos x="58" y="10"/>
                </a:cxn>
                <a:cxn ang="0">
                  <a:pos x="71" y="15"/>
                </a:cxn>
                <a:cxn ang="0">
                  <a:pos x="100" y="27"/>
                </a:cxn>
                <a:cxn ang="0">
                  <a:pos x="100" y="36"/>
                </a:cxn>
                <a:cxn ang="0">
                  <a:pos x="97" y="53"/>
                </a:cxn>
                <a:cxn ang="0">
                  <a:pos x="90" y="65"/>
                </a:cxn>
                <a:cxn ang="0">
                  <a:pos x="88" y="61"/>
                </a:cxn>
                <a:cxn ang="0">
                  <a:pos x="82" y="80"/>
                </a:cxn>
                <a:cxn ang="0">
                  <a:pos x="87" y="87"/>
                </a:cxn>
                <a:cxn ang="0">
                  <a:pos x="109" y="95"/>
                </a:cxn>
                <a:cxn ang="0">
                  <a:pos x="106" y="119"/>
                </a:cxn>
                <a:cxn ang="0">
                  <a:pos x="111" y="121"/>
                </a:cxn>
                <a:cxn ang="0">
                  <a:pos x="106" y="126"/>
                </a:cxn>
                <a:cxn ang="0">
                  <a:pos x="106" y="145"/>
                </a:cxn>
                <a:cxn ang="0">
                  <a:pos x="106" y="174"/>
                </a:cxn>
                <a:cxn ang="0">
                  <a:pos x="102" y="186"/>
                </a:cxn>
                <a:cxn ang="0">
                  <a:pos x="97" y="189"/>
                </a:cxn>
                <a:cxn ang="0">
                  <a:pos x="95" y="203"/>
                </a:cxn>
                <a:cxn ang="0">
                  <a:pos x="83" y="217"/>
                </a:cxn>
                <a:cxn ang="0">
                  <a:pos x="75" y="247"/>
                </a:cxn>
                <a:cxn ang="0">
                  <a:pos x="71" y="256"/>
                </a:cxn>
                <a:cxn ang="0">
                  <a:pos x="66" y="239"/>
                </a:cxn>
                <a:cxn ang="0">
                  <a:pos x="54" y="232"/>
                </a:cxn>
                <a:cxn ang="0">
                  <a:pos x="18" y="222"/>
                </a:cxn>
                <a:cxn ang="0">
                  <a:pos x="5" y="203"/>
                </a:cxn>
                <a:cxn ang="0">
                  <a:pos x="5" y="186"/>
                </a:cxn>
              </a:cxnLst>
              <a:rect l="0" t="0" r="r" b="b"/>
              <a:pathLst>
                <a:path w="111" h="256">
                  <a:moveTo>
                    <a:pt x="5" y="186"/>
                  </a:moveTo>
                  <a:lnTo>
                    <a:pt x="5" y="186"/>
                  </a:lnTo>
                  <a:lnTo>
                    <a:pt x="5" y="184"/>
                  </a:lnTo>
                  <a:lnTo>
                    <a:pt x="5" y="181"/>
                  </a:lnTo>
                  <a:lnTo>
                    <a:pt x="8" y="179"/>
                  </a:lnTo>
                  <a:lnTo>
                    <a:pt x="8" y="177"/>
                  </a:lnTo>
                  <a:lnTo>
                    <a:pt x="8" y="176"/>
                  </a:lnTo>
                  <a:lnTo>
                    <a:pt x="13" y="171"/>
                  </a:lnTo>
                  <a:lnTo>
                    <a:pt x="20" y="169"/>
                  </a:lnTo>
                  <a:lnTo>
                    <a:pt x="20" y="167"/>
                  </a:lnTo>
                  <a:lnTo>
                    <a:pt x="25" y="164"/>
                  </a:lnTo>
                  <a:lnTo>
                    <a:pt x="29" y="162"/>
                  </a:lnTo>
                  <a:lnTo>
                    <a:pt x="29" y="160"/>
                  </a:lnTo>
                  <a:lnTo>
                    <a:pt x="27" y="157"/>
                  </a:lnTo>
                  <a:lnTo>
                    <a:pt x="27" y="155"/>
                  </a:lnTo>
                  <a:lnTo>
                    <a:pt x="29" y="152"/>
                  </a:lnTo>
                  <a:lnTo>
                    <a:pt x="30" y="152"/>
                  </a:lnTo>
                  <a:lnTo>
                    <a:pt x="32" y="150"/>
                  </a:lnTo>
                  <a:lnTo>
                    <a:pt x="32" y="148"/>
                  </a:lnTo>
                  <a:lnTo>
                    <a:pt x="37" y="143"/>
                  </a:lnTo>
                  <a:lnTo>
                    <a:pt x="39" y="141"/>
                  </a:lnTo>
                  <a:lnTo>
                    <a:pt x="44" y="138"/>
                  </a:lnTo>
                  <a:lnTo>
                    <a:pt x="47" y="133"/>
                  </a:lnTo>
                  <a:lnTo>
                    <a:pt x="54" y="130"/>
                  </a:lnTo>
                  <a:lnTo>
                    <a:pt x="54" y="128"/>
                  </a:lnTo>
                  <a:lnTo>
                    <a:pt x="53" y="124"/>
                  </a:lnTo>
                  <a:lnTo>
                    <a:pt x="42" y="119"/>
                  </a:lnTo>
                  <a:lnTo>
                    <a:pt x="39" y="114"/>
                  </a:lnTo>
                  <a:lnTo>
                    <a:pt x="36" y="112"/>
                  </a:lnTo>
                  <a:lnTo>
                    <a:pt x="34" y="111"/>
                  </a:lnTo>
                  <a:lnTo>
                    <a:pt x="32" y="111"/>
                  </a:lnTo>
                  <a:lnTo>
                    <a:pt x="29" y="104"/>
                  </a:lnTo>
                  <a:lnTo>
                    <a:pt x="27" y="104"/>
                  </a:lnTo>
                  <a:lnTo>
                    <a:pt x="25" y="106"/>
                  </a:lnTo>
                  <a:lnTo>
                    <a:pt x="22" y="104"/>
                  </a:lnTo>
                  <a:lnTo>
                    <a:pt x="20" y="100"/>
                  </a:lnTo>
                  <a:lnTo>
                    <a:pt x="18" y="94"/>
                  </a:lnTo>
                  <a:lnTo>
                    <a:pt x="17" y="92"/>
                  </a:lnTo>
                  <a:lnTo>
                    <a:pt x="13" y="90"/>
                  </a:lnTo>
                  <a:lnTo>
                    <a:pt x="8" y="92"/>
                  </a:lnTo>
                  <a:lnTo>
                    <a:pt x="8" y="92"/>
                  </a:lnTo>
                  <a:lnTo>
                    <a:pt x="8" y="90"/>
                  </a:lnTo>
                  <a:lnTo>
                    <a:pt x="6" y="87"/>
                  </a:lnTo>
                  <a:lnTo>
                    <a:pt x="6" y="85"/>
                  </a:lnTo>
                  <a:lnTo>
                    <a:pt x="5" y="83"/>
                  </a:lnTo>
                  <a:lnTo>
                    <a:pt x="6" y="80"/>
                  </a:lnTo>
                  <a:lnTo>
                    <a:pt x="5" y="78"/>
                  </a:lnTo>
                  <a:lnTo>
                    <a:pt x="5" y="75"/>
                  </a:lnTo>
                  <a:lnTo>
                    <a:pt x="3" y="73"/>
                  </a:lnTo>
                  <a:lnTo>
                    <a:pt x="5" y="70"/>
                  </a:lnTo>
                  <a:lnTo>
                    <a:pt x="8" y="68"/>
                  </a:lnTo>
                  <a:lnTo>
                    <a:pt x="10" y="66"/>
                  </a:lnTo>
                  <a:lnTo>
                    <a:pt x="10" y="63"/>
                  </a:lnTo>
                  <a:lnTo>
                    <a:pt x="8" y="61"/>
                  </a:lnTo>
                  <a:lnTo>
                    <a:pt x="12" y="58"/>
                  </a:lnTo>
                  <a:lnTo>
                    <a:pt x="12" y="56"/>
                  </a:lnTo>
                  <a:lnTo>
                    <a:pt x="10" y="56"/>
                  </a:lnTo>
                  <a:lnTo>
                    <a:pt x="8" y="54"/>
                  </a:lnTo>
                  <a:lnTo>
                    <a:pt x="3" y="49"/>
                  </a:lnTo>
                  <a:lnTo>
                    <a:pt x="3" y="47"/>
                  </a:lnTo>
                  <a:lnTo>
                    <a:pt x="3" y="44"/>
                  </a:lnTo>
                  <a:lnTo>
                    <a:pt x="6" y="42"/>
                  </a:lnTo>
                  <a:lnTo>
                    <a:pt x="10" y="41"/>
                  </a:lnTo>
                  <a:lnTo>
                    <a:pt x="12" y="36"/>
                  </a:lnTo>
                  <a:lnTo>
                    <a:pt x="13" y="34"/>
                  </a:lnTo>
                  <a:lnTo>
                    <a:pt x="12" y="34"/>
                  </a:lnTo>
                  <a:lnTo>
                    <a:pt x="12" y="32"/>
                  </a:lnTo>
                  <a:lnTo>
                    <a:pt x="13" y="30"/>
                  </a:lnTo>
                  <a:lnTo>
                    <a:pt x="17" y="25"/>
                  </a:lnTo>
                  <a:lnTo>
                    <a:pt x="18" y="18"/>
                  </a:lnTo>
                  <a:lnTo>
                    <a:pt x="18" y="17"/>
                  </a:lnTo>
                  <a:lnTo>
                    <a:pt x="20" y="10"/>
                  </a:lnTo>
                  <a:lnTo>
                    <a:pt x="22" y="8"/>
                  </a:lnTo>
                  <a:lnTo>
                    <a:pt x="22" y="6"/>
                  </a:lnTo>
                  <a:lnTo>
                    <a:pt x="29" y="0"/>
                  </a:lnTo>
                  <a:lnTo>
                    <a:pt x="58" y="10"/>
                  </a:lnTo>
                  <a:lnTo>
                    <a:pt x="70" y="15"/>
                  </a:lnTo>
                  <a:lnTo>
                    <a:pt x="71" y="15"/>
                  </a:lnTo>
                  <a:lnTo>
                    <a:pt x="99" y="22"/>
                  </a:lnTo>
                  <a:lnTo>
                    <a:pt x="100" y="27"/>
                  </a:lnTo>
                  <a:lnTo>
                    <a:pt x="100" y="30"/>
                  </a:lnTo>
                  <a:lnTo>
                    <a:pt x="100" y="36"/>
                  </a:lnTo>
                  <a:lnTo>
                    <a:pt x="99" y="46"/>
                  </a:lnTo>
                  <a:lnTo>
                    <a:pt x="97" y="53"/>
                  </a:lnTo>
                  <a:lnTo>
                    <a:pt x="99" y="56"/>
                  </a:lnTo>
                  <a:lnTo>
                    <a:pt x="90" y="65"/>
                  </a:lnTo>
                  <a:lnTo>
                    <a:pt x="90" y="58"/>
                  </a:lnTo>
                  <a:lnTo>
                    <a:pt x="88" y="61"/>
                  </a:lnTo>
                  <a:lnTo>
                    <a:pt x="85" y="71"/>
                  </a:lnTo>
                  <a:lnTo>
                    <a:pt x="82" y="80"/>
                  </a:lnTo>
                  <a:lnTo>
                    <a:pt x="83" y="85"/>
                  </a:lnTo>
                  <a:lnTo>
                    <a:pt x="87" y="87"/>
                  </a:lnTo>
                  <a:lnTo>
                    <a:pt x="95" y="85"/>
                  </a:lnTo>
                  <a:lnTo>
                    <a:pt x="109" y="95"/>
                  </a:lnTo>
                  <a:lnTo>
                    <a:pt x="111" y="119"/>
                  </a:lnTo>
                  <a:lnTo>
                    <a:pt x="106" y="119"/>
                  </a:lnTo>
                  <a:lnTo>
                    <a:pt x="107" y="121"/>
                  </a:lnTo>
                  <a:lnTo>
                    <a:pt x="111" y="121"/>
                  </a:lnTo>
                  <a:lnTo>
                    <a:pt x="111" y="124"/>
                  </a:lnTo>
                  <a:lnTo>
                    <a:pt x="106" y="126"/>
                  </a:lnTo>
                  <a:lnTo>
                    <a:pt x="109" y="126"/>
                  </a:lnTo>
                  <a:lnTo>
                    <a:pt x="106" y="145"/>
                  </a:lnTo>
                  <a:lnTo>
                    <a:pt x="109" y="162"/>
                  </a:lnTo>
                  <a:lnTo>
                    <a:pt x="106" y="174"/>
                  </a:lnTo>
                  <a:lnTo>
                    <a:pt x="100" y="181"/>
                  </a:lnTo>
                  <a:lnTo>
                    <a:pt x="102" y="186"/>
                  </a:lnTo>
                  <a:lnTo>
                    <a:pt x="94" y="186"/>
                  </a:lnTo>
                  <a:lnTo>
                    <a:pt x="97" y="189"/>
                  </a:lnTo>
                  <a:lnTo>
                    <a:pt x="94" y="198"/>
                  </a:lnTo>
                  <a:lnTo>
                    <a:pt x="95" y="203"/>
                  </a:lnTo>
                  <a:lnTo>
                    <a:pt x="82" y="217"/>
                  </a:lnTo>
                  <a:lnTo>
                    <a:pt x="83" y="217"/>
                  </a:lnTo>
                  <a:lnTo>
                    <a:pt x="85" y="220"/>
                  </a:lnTo>
                  <a:lnTo>
                    <a:pt x="75" y="247"/>
                  </a:lnTo>
                  <a:lnTo>
                    <a:pt x="70" y="253"/>
                  </a:lnTo>
                  <a:lnTo>
                    <a:pt x="71" y="256"/>
                  </a:lnTo>
                  <a:lnTo>
                    <a:pt x="63" y="256"/>
                  </a:lnTo>
                  <a:lnTo>
                    <a:pt x="66" y="239"/>
                  </a:lnTo>
                  <a:lnTo>
                    <a:pt x="63" y="234"/>
                  </a:lnTo>
                  <a:lnTo>
                    <a:pt x="54" y="232"/>
                  </a:lnTo>
                  <a:lnTo>
                    <a:pt x="46" y="235"/>
                  </a:lnTo>
                  <a:lnTo>
                    <a:pt x="18" y="222"/>
                  </a:lnTo>
                  <a:lnTo>
                    <a:pt x="5" y="212"/>
                  </a:lnTo>
                  <a:lnTo>
                    <a:pt x="5" y="203"/>
                  </a:lnTo>
                  <a:lnTo>
                    <a:pt x="0" y="198"/>
                  </a:lnTo>
                  <a:lnTo>
                    <a:pt x="5" y="186"/>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30" name="Freeform 26">
              <a:extLst>
                <a:ext uri="{FF2B5EF4-FFF2-40B4-BE49-F238E27FC236}">
                  <a16:creationId xmlns:a16="http://schemas.microsoft.com/office/drawing/2014/main" id="{EF4E8EDE-DF2E-4D04-89E7-C4AED1EF6932}"/>
                </a:ext>
              </a:extLst>
            </p:cNvPr>
            <p:cNvSpPr>
              <a:spLocks/>
            </p:cNvSpPr>
            <p:nvPr/>
          </p:nvSpPr>
          <p:spPr bwMode="gray">
            <a:xfrm>
              <a:off x="6332617" y="3195786"/>
              <a:ext cx="426720" cy="731059"/>
            </a:xfrm>
            <a:custGeom>
              <a:avLst/>
              <a:gdLst/>
              <a:ahLst/>
              <a:cxnLst>
                <a:cxn ang="0">
                  <a:pos x="143" y="401"/>
                </a:cxn>
                <a:cxn ang="0">
                  <a:pos x="135" y="405"/>
                </a:cxn>
                <a:cxn ang="0">
                  <a:pos x="135" y="411"/>
                </a:cxn>
                <a:cxn ang="0">
                  <a:pos x="131" y="425"/>
                </a:cxn>
                <a:cxn ang="0">
                  <a:pos x="125" y="435"/>
                </a:cxn>
                <a:cxn ang="0">
                  <a:pos x="119" y="429"/>
                </a:cxn>
                <a:cxn ang="0">
                  <a:pos x="106" y="422"/>
                </a:cxn>
                <a:cxn ang="0">
                  <a:pos x="90" y="430"/>
                </a:cxn>
                <a:cxn ang="0">
                  <a:pos x="78" y="442"/>
                </a:cxn>
                <a:cxn ang="0">
                  <a:pos x="60" y="432"/>
                </a:cxn>
                <a:cxn ang="0">
                  <a:pos x="43" y="439"/>
                </a:cxn>
                <a:cxn ang="0">
                  <a:pos x="34" y="439"/>
                </a:cxn>
                <a:cxn ang="0">
                  <a:pos x="20" y="441"/>
                </a:cxn>
                <a:cxn ang="0">
                  <a:pos x="17" y="447"/>
                </a:cxn>
                <a:cxn ang="0">
                  <a:pos x="7" y="451"/>
                </a:cxn>
                <a:cxn ang="0">
                  <a:pos x="2" y="446"/>
                </a:cxn>
                <a:cxn ang="0">
                  <a:pos x="5" y="439"/>
                </a:cxn>
                <a:cxn ang="0">
                  <a:pos x="3" y="435"/>
                </a:cxn>
                <a:cxn ang="0">
                  <a:pos x="3" y="425"/>
                </a:cxn>
                <a:cxn ang="0">
                  <a:pos x="5" y="420"/>
                </a:cxn>
                <a:cxn ang="0">
                  <a:pos x="7" y="408"/>
                </a:cxn>
                <a:cxn ang="0">
                  <a:pos x="12" y="400"/>
                </a:cxn>
                <a:cxn ang="0">
                  <a:pos x="17" y="398"/>
                </a:cxn>
                <a:cxn ang="0">
                  <a:pos x="24" y="379"/>
                </a:cxn>
                <a:cxn ang="0">
                  <a:pos x="31" y="372"/>
                </a:cxn>
                <a:cxn ang="0">
                  <a:pos x="32" y="360"/>
                </a:cxn>
                <a:cxn ang="0">
                  <a:pos x="41" y="343"/>
                </a:cxn>
                <a:cxn ang="0">
                  <a:pos x="37" y="329"/>
                </a:cxn>
                <a:cxn ang="0">
                  <a:pos x="32" y="319"/>
                </a:cxn>
                <a:cxn ang="0">
                  <a:pos x="25" y="307"/>
                </a:cxn>
                <a:cxn ang="0">
                  <a:pos x="29" y="299"/>
                </a:cxn>
                <a:cxn ang="0">
                  <a:pos x="27" y="288"/>
                </a:cxn>
                <a:cxn ang="0">
                  <a:pos x="31" y="254"/>
                </a:cxn>
                <a:cxn ang="0">
                  <a:pos x="20" y="131"/>
                </a:cxn>
                <a:cxn ang="0">
                  <a:pos x="10" y="27"/>
                </a:cxn>
                <a:cxn ang="0">
                  <a:pos x="36" y="34"/>
                </a:cxn>
                <a:cxn ang="0">
                  <a:pos x="126" y="10"/>
                </a:cxn>
                <a:cxn ang="0">
                  <a:pos x="224" y="0"/>
                </a:cxn>
                <a:cxn ang="0">
                  <a:pos x="232" y="51"/>
                </a:cxn>
                <a:cxn ang="0">
                  <a:pos x="242" y="126"/>
                </a:cxn>
                <a:cxn ang="0">
                  <a:pos x="251" y="217"/>
                </a:cxn>
                <a:cxn ang="0">
                  <a:pos x="260" y="285"/>
                </a:cxn>
                <a:cxn ang="0">
                  <a:pos x="258" y="295"/>
                </a:cxn>
                <a:cxn ang="0">
                  <a:pos x="258" y="307"/>
                </a:cxn>
                <a:cxn ang="0">
                  <a:pos x="263" y="317"/>
                </a:cxn>
                <a:cxn ang="0">
                  <a:pos x="236" y="331"/>
                </a:cxn>
                <a:cxn ang="0">
                  <a:pos x="212" y="331"/>
                </a:cxn>
                <a:cxn ang="0">
                  <a:pos x="212" y="353"/>
                </a:cxn>
                <a:cxn ang="0">
                  <a:pos x="196" y="379"/>
                </a:cxn>
                <a:cxn ang="0">
                  <a:pos x="184" y="388"/>
                </a:cxn>
                <a:cxn ang="0">
                  <a:pos x="174" y="415"/>
                </a:cxn>
                <a:cxn ang="0">
                  <a:pos x="152" y="411"/>
                </a:cxn>
              </a:cxnLst>
              <a:rect l="0" t="0" r="r" b="b"/>
              <a:pathLst>
                <a:path w="265" h="454">
                  <a:moveTo>
                    <a:pt x="143" y="398"/>
                  </a:moveTo>
                  <a:lnTo>
                    <a:pt x="142" y="396"/>
                  </a:lnTo>
                  <a:lnTo>
                    <a:pt x="140" y="396"/>
                  </a:lnTo>
                  <a:lnTo>
                    <a:pt x="140" y="400"/>
                  </a:lnTo>
                  <a:lnTo>
                    <a:pt x="143" y="401"/>
                  </a:lnTo>
                  <a:lnTo>
                    <a:pt x="145" y="401"/>
                  </a:lnTo>
                  <a:lnTo>
                    <a:pt x="143" y="403"/>
                  </a:lnTo>
                  <a:lnTo>
                    <a:pt x="140" y="405"/>
                  </a:lnTo>
                  <a:lnTo>
                    <a:pt x="138" y="406"/>
                  </a:lnTo>
                  <a:lnTo>
                    <a:pt x="135" y="405"/>
                  </a:lnTo>
                  <a:lnTo>
                    <a:pt x="133" y="405"/>
                  </a:lnTo>
                  <a:lnTo>
                    <a:pt x="133" y="406"/>
                  </a:lnTo>
                  <a:lnTo>
                    <a:pt x="137" y="408"/>
                  </a:lnTo>
                  <a:lnTo>
                    <a:pt x="137" y="410"/>
                  </a:lnTo>
                  <a:lnTo>
                    <a:pt x="135" y="411"/>
                  </a:lnTo>
                  <a:lnTo>
                    <a:pt x="131" y="413"/>
                  </a:lnTo>
                  <a:lnTo>
                    <a:pt x="130" y="413"/>
                  </a:lnTo>
                  <a:lnTo>
                    <a:pt x="130" y="417"/>
                  </a:lnTo>
                  <a:lnTo>
                    <a:pt x="130" y="420"/>
                  </a:lnTo>
                  <a:lnTo>
                    <a:pt x="131" y="425"/>
                  </a:lnTo>
                  <a:lnTo>
                    <a:pt x="131" y="427"/>
                  </a:lnTo>
                  <a:lnTo>
                    <a:pt x="130" y="427"/>
                  </a:lnTo>
                  <a:lnTo>
                    <a:pt x="126" y="427"/>
                  </a:lnTo>
                  <a:lnTo>
                    <a:pt x="125" y="429"/>
                  </a:lnTo>
                  <a:lnTo>
                    <a:pt x="125" y="435"/>
                  </a:lnTo>
                  <a:lnTo>
                    <a:pt x="121" y="437"/>
                  </a:lnTo>
                  <a:lnTo>
                    <a:pt x="119" y="437"/>
                  </a:lnTo>
                  <a:lnTo>
                    <a:pt x="119" y="435"/>
                  </a:lnTo>
                  <a:lnTo>
                    <a:pt x="119" y="430"/>
                  </a:lnTo>
                  <a:lnTo>
                    <a:pt x="119" y="429"/>
                  </a:lnTo>
                  <a:lnTo>
                    <a:pt x="118" y="430"/>
                  </a:lnTo>
                  <a:lnTo>
                    <a:pt x="114" y="432"/>
                  </a:lnTo>
                  <a:lnTo>
                    <a:pt x="113" y="432"/>
                  </a:lnTo>
                  <a:lnTo>
                    <a:pt x="107" y="423"/>
                  </a:lnTo>
                  <a:lnTo>
                    <a:pt x="106" y="422"/>
                  </a:lnTo>
                  <a:lnTo>
                    <a:pt x="102" y="423"/>
                  </a:lnTo>
                  <a:lnTo>
                    <a:pt x="99" y="427"/>
                  </a:lnTo>
                  <a:lnTo>
                    <a:pt x="97" y="429"/>
                  </a:lnTo>
                  <a:lnTo>
                    <a:pt x="92" y="430"/>
                  </a:lnTo>
                  <a:lnTo>
                    <a:pt x="90" y="430"/>
                  </a:lnTo>
                  <a:lnTo>
                    <a:pt x="89" y="434"/>
                  </a:lnTo>
                  <a:lnTo>
                    <a:pt x="87" y="444"/>
                  </a:lnTo>
                  <a:lnTo>
                    <a:pt x="84" y="447"/>
                  </a:lnTo>
                  <a:lnTo>
                    <a:pt x="82" y="446"/>
                  </a:lnTo>
                  <a:lnTo>
                    <a:pt x="78" y="442"/>
                  </a:lnTo>
                  <a:lnTo>
                    <a:pt x="77" y="442"/>
                  </a:lnTo>
                  <a:lnTo>
                    <a:pt x="73" y="441"/>
                  </a:lnTo>
                  <a:lnTo>
                    <a:pt x="70" y="439"/>
                  </a:lnTo>
                  <a:lnTo>
                    <a:pt x="66" y="437"/>
                  </a:lnTo>
                  <a:lnTo>
                    <a:pt x="60" y="432"/>
                  </a:lnTo>
                  <a:lnTo>
                    <a:pt x="53" y="434"/>
                  </a:lnTo>
                  <a:lnTo>
                    <a:pt x="49" y="435"/>
                  </a:lnTo>
                  <a:lnTo>
                    <a:pt x="41" y="430"/>
                  </a:lnTo>
                  <a:lnTo>
                    <a:pt x="39" y="435"/>
                  </a:lnTo>
                  <a:lnTo>
                    <a:pt x="43" y="439"/>
                  </a:lnTo>
                  <a:lnTo>
                    <a:pt x="43" y="442"/>
                  </a:lnTo>
                  <a:lnTo>
                    <a:pt x="41" y="444"/>
                  </a:lnTo>
                  <a:lnTo>
                    <a:pt x="37" y="446"/>
                  </a:lnTo>
                  <a:lnTo>
                    <a:pt x="36" y="446"/>
                  </a:lnTo>
                  <a:lnTo>
                    <a:pt x="34" y="439"/>
                  </a:lnTo>
                  <a:lnTo>
                    <a:pt x="32" y="439"/>
                  </a:lnTo>
                  <a:lnTo>
                    <a:pt x="31" y="439"/>
                  </a:lnTo>
                  <a:lnTo>
                    <a:pt x="29" y="439"/>
                  </a:lnTo>
                  <a:lnTo>
                    <a:pt x="24" y="442"/>
                  </a:lnTo>
                  <a:lnTo>
                    <a:pt x="20" y="441"/>
                  </a:lnTo>
                  <a:lnTo>
                    <a:pt x="17" y="437"/>
                  </a:lnTo>
                  <a:lnTo>
                    <a:pt x="15" y="439"/>
                  </a:lnTo>
                  <a:lnTo>
                    <a:pt x="13" y="441"/>
                  </a:lnTo>
                  <a:lnTo>
                    <a:pt x="13" y="444"/>
                  </a:lnTo>
                  <a:lnTo>
                    <a:pt x="17" y="447"/>
                  </a:lnTo>
                  <a:lnTo>
                    <a:pt x="15" y="451"/>
                  </a:lnTo>
                  <a:lnTo>
                    <a:pt x="13" y="451"/>
                  </a:lnTo>
                  <a:lnTo>
                    <a:pt x="12" y="454"/>
                  </a:lnTo>
                  <a:lnTo>
                    <a:pt x="8" y="452"/>
                  </a:lnTo>
                  <a:lnTo>
                    <a:pt x="7" y="451"/>
                  </a:lnTo>
                  <a:lnTo>
                    <a:pt x="2" y="451"/>
                  </a:lnTo>
                  <a:lnTo>
                    <a:pt x="2" y="449"/>
                  </a:lnTo>
                  <a:lnTo>
                    <a:pt x="5" y="449"/>
                  </a:lnTo>
                  <a:lnTo>
                    <a:pt x="5" y="447"/>
                  </a:lnTo>
                  <a:lnTo>
                    <a:pt x="2" y="446"/>
                  </a:lnTo>
                  <a:lnTo>
                    <a:pt x="0" y="442"/>
                  </a:lnTo>
                  <a:lnTo>
                    <a:pt x="0" y="441"/>
                  </a:lnTo>
                  <a:lnTo>
                    <a:pt x="5" y="442"/>
                  </a:lnTo>
                  <a:lnTo>
                    <a:pt x="5" y="441"/>
                  </a:lnTo>
                  <a:lnTo>
                    <a:pt x="5" y="439"/>
                  </a:lnTo>
                  <a:lnTo>
                    <a:pt x="2" y="439"/>
                  </a:lnTo>
                  <a:lnTo>
                    <a:pt x="2" y="437"/>
                  </a:lnTo>
                  <a:lnTo>
                    <a:pt x="2" y="439"/>
                  </a:lnTo>
                  <a:lnTo>
                    <a:pt x="5" y="437"/>
                  </a:lnTo>
                  <a:lnTo>
                    <a:pt x="3" y="435"/>
                  </a:lnTo>
                  <a:lnTo>
                    <a:pt x="5" y="434"/>
                  </a:lnTo>
                  <a:lnTo>
                    <a:pt x="5" y="430"/>
                  </a:lnTo>
                  <a:lnTo>
                    <a:pt x="5" y="427"/>
                  </a:lnTo>
                  <a:lnTo>
                    <a:pt x="3" y="427"/>
                  </a:lnTo>
                  <a:lnTo>
                    <a:pt x="3" y="425"/>
                  </a:lnTo>
                  <a:lnTo>
                    <a:pt x="3" y="425"/>
                  </a:lnTo>
                  <a:lnTo>
                    <a:pt x="8" y="422"/>
                  </a:lnTo>
                  <a:lnTo>
                    <a:pt x="8" y="420"/>
                  </a:lnTo>
                  <a:lnTo>
                    <a:pt x="5" y="420"/>
                  </a:lnTo>
                  <a:lnTo>
                    <a:pt x="5" y="420"/>
                  </a:lnTo>
                  <a:lnTo>
                    <a:pt x="8" y="417"/>
                  </a:lnTo>
                  <a:lnTo>
                    <a:pt x="10" y="415"/>
                  </a:lnTo>
                  <a:lnTo>
                    <a:pt x="12" y="413"/>
                  </a:lnTo>
                  <a:lnTo>
                    <a:pt x="12" y="411"/>
                  </a:lnTo>
                  <a:lnTo>
                    <a:pt x="7" y="408"/>
                  </a:lnTo>
                  <a:lnTo>
                    <a:pt x="7" y="405"/>
                  </a:lnTo>
                  <a:lnTo>
                    <a:pt x="7" y="405"/>
                  </a:lnTo>
                  <a:lnTo>
                    <a:pt x="10" y="396"/>
                  </a:lnTo>
                  <a:lnTo>
                    <a:pt x="12" y="398"/>
                  </a:lnTo>
                  <a:lnTo>
                    <a:pt x="12" y="400"/>
                  </a:lnTo>
                  <a:lnTo>
                    <a:pt x="13" y="398"/>
                  </a:lnTo>
                  <a:lnTo>
                    <a:pt x="13" y="396"/>
                  </a:lnTo>
                  <a:lnTo>
                    <a:pt x="15" y="394"/>
                  </a:lnTo>
                  <a:lnTo>
                    <a:pt x="15" y="398"/>
                  </a:lnTo>
                  <a:lnTo>
                    <a:pt x="17" y="398"/>
                  </a:lnTo>
                  <a:lnTo>
                    <a:pt x="17" y="391"/>
                  </a:lnTo>
                  <a:lnTo>
                    <a:pt x="22" y="388"/>
                  </a:lnTo>
                  <a:lnTo>
                    <a:pt x="24" y="384"/>
                  </a:lnTo>
                  <a:lnTo>
                    <a:pt x="25" y="381"/>
                  </a:lnTo>
                  <a:lnTo>
                    <a:pt x="24" y="379"/>
                  </a:lnTo>
                  <a:lnTo>
                    <a:pt x="24" y="379"/>
                  </a:lnTo>
                  <a:lnTo>
                    <a:pt x="29" y="376"/>
                  </a:lnTo>
                  <a:lnTo>
                    <a:pt x="29" y="374"/>
                  </a:lnTo>
                  <a:lnTo>
                    <a:pt x="31" y="374"/>
                  </a:lnTo>
                  <a:lnTo>
                    <a:pt x="31" y="372"/>
                  </a:lnTo>
                  <a:lnTo>
                    <a:pt x="29" y="369"/>
                  </a:lnTo>
                  <a:lnTo>
                    <a:pt x="31" y="365"/>
                  </a:lnTo>
                  <a:lnTo>
                    <a:pt x="32" y="364"/>
                  </a:lnTo>
                  <a:lnTo>
                    <a:pt x="34" y="364"/>
                  </a:lnTo>
                  <a:lnTo>
                    <a:pt x="32" y="360"/>
                  </a:lnTo>
                  <a:lnTo>
                    <a:pt x="32" y="359"/>
                  </a:lnTo>
                  <a:lnTo>
                    <a:pt x="36" y="355"/>
                  </a:lnTo>
                  <a:lnTo>
                    <a:pt x="39" y="353"/>
                  </a:lnTo>
                  <a:lnTo>
                    <a:pt x="41" y="347"/>
                  </a:lnTo>
                  <a:lnTo>
                    <a:pt x="41" y="343"/>
                  </a:lnTo>
                  <a:lnTo>
                    <a:pt x="39" y="343"/>
                  </a:lnTo>
                  <a:lnTo>
                    <a:pt x="41" y="341"/>
                  </a:lnTo>
                  <a:lnTo>
                    <a:pt x="36" y="335"/>
                  </a:lnTo>
                  <a:lnTo>
                    <a:pt x="36" y="333"/>
                  </a:lnTo>
                  <a:lnTo>
                    <a:pt x="37" y="329"/>
                  </a:lnTo>
                  <a:lnTo>
                    <a:pt x="37" y="326"/>
                  </a:lnTo>
                  <a:lnTo>
                    <a:pt x="37" y="323"/>
                  </a:lnTo>
                  <a:lnTo>
                    <a:pt x="36" y="321"/>
                  </a:lnTo>
                  <a:lnTo>
                    <a:pt x="32" y="321"/>
                  </a:lnTo>
                  <a:lnTo>
                    <a:pt x="32" y="319"/>
                  </a:lnTo>
                  <a:lnTo>
                    <a:pt x="32" y="312"/>
                  </a:lnTo>
                  <a:lnTo>
                    <a:pt x="29" y="311"/>
                  </a:lnTo>
                  <a:lnTo>
                    <a:pt x="27" y="311"/>
                  </a:lnTo>
                  <a:lnTo>
                    <a:pt x="27" y="309"/>
                  </a:lnTo>
                  <a:lnTo>
                    <a:pt x="25" y="307"/>
                  </a:lnTo>
                  <a:lnTo>
                    <a:pt x="25" y="306"/>
                  </a:lnTo>
                  <a:lnTo>
                    <a:pt x="24" y="304"/>
                  </a:lnTo>
                  <a:lnTo>
                    <a:pt x="25" y="302"/>
                  </a:lnTo>
                  <a:lnTo>
                    <a:pt x="29" y="299"/>
                  </a:lnTo>
                  <a:lnTo>
                    <a:pt x="29" y="299"/>
                  </a:lnTo>
                  <a:lnTo>
                    <a:pt x="31" y="297"/>
                  </a:lnTo>
                  <a:lnTo>
                    <a:pt x="31" y="294"/>
                  </a:lnTo>
                  <a:lnTo>
                    <a:pt x="27" y="292"/>
                  </a:lnTo>
                  <a:lnTo>
                    <a:pt x="27" y="290"/>
                  </a:lnTo>
                  <a:lnTo>
                    <a:pt x="27" y="288"/>
                  </a:lnTo>
                  <a:lnTo>
                    <a:pt x="25" y="287"/>
                  </a:lnTo>
                  <a:lnTo>
                    <a:pt x="27" y="283"/>
                  </a:lnTo>
                  <a:lnTo>
                    <a:pt x="32" y="282"/>
                  </a:lnTo>
                  <a:lnTo>
                    <a:pt x="32" y="268"/>
                  </a:lnTo>
                  <a:lnTo>
                    <a:pt x="31" y="254"/>
                  </a:lnTo>
                  <a:lnTo>
                    <a:pt x="27" y="223"/>
                  </a:lnTo>
                  <a:lnTo>
                    <a:pt x="25" y="194"/>
                  </a:lnTo>
                  <a:lnTo>
                    <a:pt x="22" y="160"/>
                  </a:lnTo>
                  <a:lnTo>
                    <a:pt x="22" y="159"/>
                  </a:lnTo>
                  <a:lnTo>
                    <a:pt x="20" y="131"/>
                  </a:lnTo>
                  <a:lnTo>
                    <a:pt x="17" y="102"/>
                  </a:lnTo>
                  <a:lnTo>
                    <a:pt x="15" y="85"/>
                  </a:lnTo>
                  <a:lnTo>
                    <a:pt x="15" y="71"/>
                  </a:lnTo>
                  <a:lnTo>
                    <a:pt x="13" y="54"/>
                  </a:lnTo>
                  <a:lnTo>
                    <a:pt x="10" y="27"/>
                  </a:lnTo>
                  <a:lnTo>
                    <a:pt x="17" y="32"/>
                  </a:lnTo>
                  <a:lnTo>
                    <a:pt x="20" y="30"/>
                  </a:lnTo>
                  <a:lnTo>
                    <a:pt x="19" y="32"/>
                  </a:lnTo>
                  <a:lnTo>
                    <a:pt x="22" y="36"/>
                  </a:lnTo>
                  <a:lnTo>
                    <a:pt x="36" y="34"/>
                  </a:lnTo>
                  <a:lnTo>
                    <a:pt x="58" y="22"/>
                  </a:lnTo>
                  <a:lnTo>
                    <a:pt x="65" y="17"/>
                  </a:lnTo>
                  <a:lnTo>
                    <a:pt x="90" y="13"/>
                  </a:lnTo>
                  <a:lnTo>
                    <a:pt x="113" y="12"/>
                  </a:lnTo>
                  <a:lnTo>
                    <a:pt x="126" y="10"/>
                  </a:lnTo>
                  <a:lnTo>
                    <a:pt x="147" y="8"/>
                  </a:lnTo>
                  <a:lnTo>
                    <a:pt x="159" y="6"/>
                  </a:lnTo>
                  <a:lnTo>
                    <a:pt x="188" y="5"/>
                  </a:lnTo>
                  <a:lnTo>
                    <a:pt x="195" y="3"/>
                  </a:lnTo>
                  <a:lnTo>
                    <a:pt x="224" y="0"/>
                  </a:lnTo>
                  <a:lnTo>
                    <a:pt x="227" y="0"/>
                  </a:lnTo>
                  <a:lnTo>
                    <a:pt x="227" y="6"/>
                  </a:lnTo>
                  <a:lnTo>
                    <a:pt x="231" y="24"/>
                  </a:lnTo>
                  <a:lnTo>
                    <a:pt x="231" y="36"/>
                  </a:lnTo>
                  <a:lnTo>
                    <a:pt x="232" y="51"/>
                  </a:lnTo>
                  <a:lnTo>
                    <a:pt x="234" y="54"/>
                  </a:lnTo>
                  <a:lnTo>
                    <a:pt x="237" y="82"/>
                  </a:lnTo>
                  <a:lnTo>
                    <a:pt x="237" y="88"/>
                  </a:lnTo>
                  <a:lnTo>
                    <a:pt x="241" y="111"/>
                  </a:lnTo>
                  <a:lnTo>
                    <a:pt x="242" y="126"/>
                  </a:lnTo>
                  <a:lnTo>
                    <a:pt x="244" y="150"/>
                  </a:lnTo>
                  <a:lnTo>
                    <a:pt x="244" y="153"/>
                  </a:lnTo>
                  <a:lnTo>
                    <a:pt x="248" y="188"/>
                  </a:lnTo>
                  <a:lnTo>
                    <a:pt x="249" y="198"/>
                  </a:lnTo>
                  <a:lnTo>
                    <a:pt x="251" y="217"/>
                  </a:lnTo>
                  <a:lnTo>
                    <a:pt x="253" y="235"/>
                  </a:lnTo>
                  <a:lnTo>
                    <a:pt x="254" y="241"/>
                  </a:lnTo>
                  <a:lnTo>
                    <a:pt x="256" y="263"/>
                  </a:lnTo>
                  <a:lnTo>
                    <a:pt x="256" y="263"/>
                  </a:lnTo>
                  <a:lnTo>
                    <a:pt x="260" y="285"/>
                  </a:lnTo>
                  <a:lnTo>
                    <a:pt x="258" y="285"/>
                  </a:lnTo>
                  <a:lnTo>
                    <a:pt x="253" y="290"/>
                  </a:lnTo>
                  <a:lnTo>
                    <a:pt x="253" y="292"/>
                  </a:lnTo>
                  <a:lnTo>
                    <a:pt x="254" y="294"/>
                  </a:lnTo>
                  <a:lnTo>
                    <a:pt x="258" y="295"/>
                  </a:lnTo>
                  <a:lnTo>
                    <a:pt x="260" y="299"/>
                  </a:lnTo>
                  <a:lnTo>
                    <a:pt x="258" y="300"/>
                  </a:lnTo>
                  <a:lnTo>
                    <a:pt x="256" y="304"/>
                  </a:lnTo>
                  <a:lnTo>
                    <a:pt x="256" y="306"/>
                  </a:lnTo>
                  <a:lnTo>
                    <a:pt x="258" y="307"/>
                  </a:lnTo>
                  <a:lnTo>
                    <a:pt x="263" y="307"/>
                  </a:lnTo>
                  <a:lnTo>
                    <a:pt x="263" y="309"/>
                  </a:lnTo>
                  <a:lnTo>
                    <a:pt x="265" y="311"/>
                  </a:lnTo>
                  <a:lnTo>
                    <a:pt x="261" y="314"/>
                  </a:lnTo>
                  <a:lnTo>
                    <a:pt x="263" y="317"/>
                  </a:lnTo>
                  <a:lnTo>
                    <a:pt x="249" y="321"/>
                  </a:lnTo>
                  <a:lnTo>
                    <a:pt x="246" y="323"/>
                  </a:lnTo>
                  <a:lnTo>
                    <a:pt x="242" y="326"/>
                  </a:lnTo>
                  <a:lnTo>
                    <a:pt x="239" y="329"/>
                  </a:lnTo>
                  <a:lnTo>
                    <a:pt x="236" y="331"/>
                  </a:lnTo>
                  <a:lnTo>
                    <a:pt x="232" y="333"/>
                  </a:lnTo>
                  <a:lnTo>
                    <a:pt x="225" y="328"/>
                  </a:lnTo>
                  <a:lnTo>
                    <a:pt x="220" y="329"/>
                  </a:lnTo>
                  <a:lnTo>
                    <a:pt x="213" y="329"/>
                  </a:lnTo>
                  <a:lnTo>
                    <a:pt x="212" y="331"/>
                  </a:lnTo>
                  <a:lnTo>
                    <a:pt x="212" y="335"/>
                  </a:lnTo>
                  <a:lnTo>
                    <a:pt x="215" y="347"/>
                  </a:lnTo>
                  <a:lnTo>
                    <a:pt x="215" y="348"/>
                  </a:lnTo>
                  <a:lnTo>
                    <a:pt x="215" y="352"/>
                  </a:lnTo>
                  <a:lnTo>
                    <a:pt x="212" y="353"/>
                  </a:lnTo>
                  <a:lnTo>
                    <a:pt x="210" y="359"/>
                  </a:lnTo>
                  <a:lnTo>
                    <a:pt x="201" y="364"/>
                  </a:lnTo>
                  <a:lnTo>
                    <a:pt x="200" y="370"/>
                  </a:lnTo>
                  <a:lnTo>
                    <a:pt x="200" y="376"/>
                  </a:lnTo>
                  <a:lnTo>
                    <a:pt x="196" y="379"/>
                  </a:lnTo>
                  <a:lnTo>
                    <a:pt x="191" y="382"/>
                  </a:lnTo>
                  <a:lnTo>
                    <a:pt x="188" y="382"/>
                  </a:lnTo>
                  <a:lnTo>
                    <a:pt x="186" y="382"/>
                  </a:lnTo>
                  <a:lnTo>
                    <a:pt x="184" y="382"/>
                  </a:lnTo>
                  <a:lnTo>
                    <a:pt x="184" y="388"/>
                  </a:lnTo>
                  <a:lnTo>
                    <a:pt x="179" y="394"/>
                  </a:lnTo>
                  <a:lnTo>
                    <a:pt x="181" y="406"/>
                  </a:lnTo>
                  <a:lnTo>
                    <a:pt x="179" y="410"/>
                  </a:lnTo>
                  <a:lnTo>
                    <a:pt x="178" y="413"/>
                  </a:lnTo>
                  <a:lnTo>
                    <a:pt x="174" y="415"/>
                  </a:lnTo>
                  <a:lnTo>
                    <a:pt x="171" y="415"/>
                  </a:lnTo>
                  <a:lnTo>
                    <a:pt x="171" y="418"/>
                  </a:lnTo>
                  <a:lnTo>
                    <a:pt x="166" y="415"/>
                  </a:lnTo>
                  <a:lnTo>
                    <a:pt x="159" y="415"/>
                  </a:lnTo>
                  <a:lnTo>
                    <a:pt x="152" y="411"/>
                  </a:lnTo>
                  <a:lnTo>
                    <a:pt x="150" y="410"/>
                  </a:lnTo>
                  <a:lnTo>
                    <a:pt x="148" y="408"/>
                  </a:lnTo>
                  <a:lnTo>
                    <a:pt x="147" y="401"/>
                  </a:lnTo>
                  <a:lnTo>
                    <a:pt x="143" y="398"/>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31" name="Freeform 27">
              <a:extLst>
                <a:ext uri="{FF2B5EF4-FFF2-40B4-BE49-F238E27FC236}">
                  <a16:creationId xmlns:a16="http://schemas.microsoft.com/office/drawing/2014/main" id="{DDB01E2B-560D-443F-AF55-29E529D5831D}"/>
                </a:ext>
              </a:extLst>
            </p:cNvPr>
            <p:cNvSpPr>
              <a:spLocks/>
            </p:cNvSpPr>
            <p:nvPr/>
          </p:nvSpPr>
          <p:spPr bwMode="gray">
            <a:xfrm>
              <a:off x="2102460" y="2854410"/>
              <a:ext cx="872762" cy="1344569"/>
            </a:xfrm>
            <a:custGeom>
              <a:avLst/>
              <a:gdLst/>
              <a:ahLst/>
              <a:cxnLst>
                <a:cxn ang="0">
                  <a:pos x="41" y="376"/>
                </a:cxn>
                <a:cxn ang="0">
                  <a:pos x="7" y="323"/>
                </a:cxn>
                <a:cxn ang="0">
                  <a:pos x="2" y="306"/>
                </a:cxn>
                <a:cxn ang="0">
                  <a:pos x="3" y="297"/>
                </a:cxn>
                <a:cxn ang="0">
                  <a:pos x="12" y="266"/>
                </a:cxn>
                <a:cxn ang="0">
                  <a:pos x="58" y="85"/>
                </a:cxn>
                <a:cxn ang="0">
                  <a:pos x="130" y="13"/>
                </a:cxn>
                <a:cxn ang="0">
                  <a:pos x="220" y="34"/>
                </a:cxn>
                <a:cxn ang="0">
                  <a:pos x="313" y="56"/>
                </a:cxn>
                <a:cxn ang="0">
                  <a:pos x="465" y="89"/>
                </a:cxn>
                <a:cxn ang="0">
                  <a:pos x="542" y="104"/>
                </a:cxn>
                <a:cxn ang="0">
                  <a:pos x="502" y="304"/>
                </a:cxn>
                <a:cxn ang="0">
                  <a:pos x="492" y="364"/>
                </a:cxn>
                <a:cxn ang="0">
                  <a:pos x="472" y="466"/>
                </a:cxn>
                <a:cxn ang="0">
                  <a:pos x="451" y="571"/>
                </a:cxn>
                <a:cxn ang="0">
                  <a:pos x="436" y="651"/>
                </a:cxn>
                <a:cxn ang="0">
                  <a:pos x="422" y="719"/>
                </a:cxn>
                <a:cxn ang="0">
                  <a:pos x="412" y="733"/>
                </a:cxn>
                <a:cxn ang="0">
                  <a:pos x="403" y="735"/>
                </a:cxn>
                <a:cxn ang="0">
                  <a:pos x="398" y="726"/>
                </a:cxn>
                <a:cxn ang="0">
                  <a:pos x="396" y="719"/>
                </a:cxn>
                <a:cxn ang="0">
                  <a:pos x="388" y="719"/>
                </a:cxn>
                <a:cxn ang="0">
                  <a:pos x="381" y="716"/>
                </a:cxn>
                <a:cxn ang="0">
                  <a:pos x="372" y="714"/>
                </a:cxn>
                <a:cxn ang="0">
                  <a:pos x="362" y="719"/>
                </a:cxn>
                <a:cxn ang="0">
                  <a:pos x="362" y="724"/>
                </a:cxn>
                <a:cxn ang="0">
                  <a:pos x="362" y="738"/>
                </a:cxn>
                <a:cxn ang="0">
                  <a:pos x="364" y="743"/>
                </a:cxn>
                <a:cxn ang="0">
                  <a:pos x="361" y="753"/>
                </a:cxn>
                <a:cxn ang="0">
                  <a:pos x="361" y="762"/>
                </a:cxn>
                <a:cxn ang="0">
                  <a:pos x="361" y="767"/>
                </a:cxn>
                <a:cxn ang="0">
                  <a:pos x="359" y="774"/>
                </a:cxn>
                <a:cxn ang="0">
                  <a:pos x="355" y="781"/>
                </a:cxn>
                <a:cxn ang="0">
                  <a:pos x="359" y="798"/>
                </a:cxn>
                <a:cxn ang="0">
                  <a:pos x="359" y="813"/>
                </a:cxn>
                <a:cxn ang="0">
                  <a:pos x="355" y="822"/>
                </a:cxn>
                <a:cxn ang="0">
                  <a:pos x="352" y="822"/>
                </a:cxn>
                <a:cxn ang="0">
                  <a:pos x="352" y="829"/>
                </a:cxn>
                <a:cxn ang="0">
                  <a:pos x="349" y="835"/>
                </a:cxn>
                <a:cxn ang="0">
                  <a:pos x="263" y="707"/>
                </a:cxn>
                <a:cxn ang="0">
                  <a:pos x="135" y="518"/>
                </a:cxn>
                <a:cxn ang="0">
                  <a:pos x="51" y="391"/>
                </a:cxn>
              </a:cxnLst>
              <a:rect l="0" t="0" r="r" b="b"/>
              <a:pathLst>
                <a:path w="542" h="835">
                  <a:moveTo>
                    <a:pt x="51" y="391"/>
                  </a:moveTo>
                  <a:lnTo>
                    <a:pt x="41" y="376"/>
                  </a:lnTo>
                  <a:lnTo>
                    <a:pt x="26" y="353"/>
                  </a:lnTo>
                  <a:lnTo>
                    <a:pt x="7" y="323"/>
                  </a:lnTo>
                  <a:lnTo>
                    <a:pt x="0" y="314"/>
                  </a:lnTo>
                  <a:lnTo>
                    <a:pt x="2" y="306"/>
                  </a:lnTo>
                  <a:lnTo>
                    <a:pt x="3" y="302"/>
                  </a:lnTo>
                  <a:lnTo>
                    <a:pt x="3" y="297"/>
                  </a:lnTo>
                  <a:lnTo>
                    <a:pt x="8" y="280"/>
                  </a:lnTo>
                  <a:lnTo>
                    <a:pt x="12" y="266"/>
                  </a:lnTo>
                  <a:lnTo>
                    <a:pt x="19" y="237"/>
                  </a:lnTo>
                  <a:lnTo>
                    <a:pt x="58" y="85"/>
                  </a:lnTo>
                  <a:lnTo>
                    <a:pt x="80" y="0"/>
                  </a:lnTo>
                  <a:lnTo>
                    <a:pt x="130" y="13"/>
                  </a:lnTo>
                  <a:lnTo>
                    <a:pt x="133" y="13"/>
                  </a:lnTo>
                  <a:lnTo>
                    <a:pt x="220" y="34"/>
                  </a:lnTo>
                  <a:lnTo>
                    <a:pt x="309" y="56"/>
                  </a:lnTo>
                  <a:lnTo>
                    <a:pt x="313" y="56"/>
                  </a:lnTo>
                  <a:lnTo>
                    <a:pt x="393" y="73"/>
                  </a:lnTo>
                  <a:lnTo>
                    <a:pt x="465" y="89"/>
                  </a:lnTo>
                  <a:lnTo>
                    <a:pt x="523" y="101"/>
                  </a:lnTo>
                  <a:lnTo>
                    <a:pt x="542" y="104"/>
                  </a:lnTo>
                  <a:lnTo>
                    <a:pt x="521" y="210"/>
                  </a:lnTo>
                  <a:lnTo>
                    <a:pt x="502" y="304"/>
                  </a:lnTo>
                  <a:lnTo>
                    <a:pt x="499" y="324"/>
                  </a:lnTo>
                  <a:lnTo>
                    <a:pt x="492" y="364"/>
                  </a:lnTo>
                  <a:lnTo>
                    <a:pt x="473" y="454"/>
                  </a:lnTo>
                  <a:lnTo>
                    <a:pt x="472" y="466"/>
                  </a:lnTo>
                  <a:lnTo>
                    <a:pt x="461" y="512"/>
                  </a:lnTo>
                  <a:lnTo>
                    <a:pt x="451" y="571"/>
                  </a:lnTo>
                  <a:lnTo>
                    <a:pt x="439" y="634"/>
                  </a:lnTo>
                  <a:lnTo>
                    <a:pt x="436" y="651"/>
                  </a:lnTo>
                  <a:lnTo>
                    <a:pt x="424" y="716"/>
                  </a:lnTo>
                  <a:lnTo>
                    <a:pt x="422" y="719"/>
                  </a:lnTo>
                  <a:lnTo>
                    <a:pt x="415" y="726"/>
                  </a:lnTo>
                  <a:lnTo>
                    <a:pt x="412" y="733"/>
                  </a:lnTo>
                  <a:lnTo>
                    <a:pt x="405" y="735"/>
                  </a:lnTo>
                  <a:lnTo>
                    <a:pt x="403" y="735"/>
                  </a:lnTo>
                  <a:lnTo>
                    <a:pt x="398" y="728"/>
                  </a:lnTo>
                  <a:lnTo>
                    <a:pt x="398" y="726"/>
                  </a:lnTo>
                  <a:lnTo>
                    <a:pt x="398" y="723"/>
                  </a:lnTo>
                  <a:lnTo>
                    <a:pt x="396" y="719"/>
                  </a:lnTo>
                  <a:lnTo>
                    <a:pt x="393" y="717"/>
                  </a:lnTo>
                  <a:lnTo>
                    <a:pt x="388" y="719"/>
                  </a:lnTo>
                  <a:lnTo>
                    <a:pt x="386" y="719"/>
                  </a:lnTo>
                  <a:lnTo>
                    <a:pt x="381" y="716"/>
                  </a:lnTo>
                  <a:lnTo>
                    <a:pt x="374" y="716"/>
                  </a:lnTo>
                  <a:lnTo>
                    <a:pt x="372" y="714"/>
                  </a:lnTo>
                  <a:lnTo>
                    <a:pt x="364" y="717"/>
                  </a:lnTo>
                  <a:lnTo>
                    <a:pt x="362" y="719"/>
                  </a:lnTo>
                  <a:lnTo>
                    <a:pt x="362" y="723"/>
                  </a:lnTo>
                  <a:lnTo>
                    <a:pt x="362" y="724"/>
                  </a:lnTo>
                  <a:lnTo>
                    <a:pt x="361" y="729"/>
                  </a:lnTo>
                  <a:lnTo>
                    <a:pt x="362" y="738"/>
                  </a:lnTo>
                  <a:lnTo>
                    <a:pt x="364" y="741"/>
                  </a:lnTo>
                  <a:lnTo>
                    <a:pt x="364" y="743"/>
                  </a:lnTo>
                  <a:lnTo>
                    <a:pt x="361" y="745"/>
                  </a:lnTo>
                  <a:lnTo>
                    <a:pt x="361" y="753"/>
                  </a:lnTo>
                  <a:lnTo>
                    <a:pt x="359" y="757"/>
                  </a:lnTo>
                  <a:lnTo>
                    <a:pt x="361" y="762"/>
                  </a:lnTo>
                  <a:lnTo>
                    <a:pt x="359" y="765"/>
                  </a:lnTo>
                  <a:lnTo>
                    <a:pt x="361" y="767"/>
                  </a:lnTo>
                  <a:lnTo>
                    <a:pt x="361" y="770"/>
                  </a:lnTo>
                  <a:lnTo>
                    <a:pt x="359" y="774"/>
                  </a:lnTo>
                  <a:lnTo>
                    <a:pt x="359" y="777"/>
                  </a:lnTo>
                  <a:lnTo>
                    <a:pt x="355" y="781"/>
                  </a:lnTo>
                  <a:lnTo>
                    <a:pt x="357" y="788"/>
                  </a:lnTo>
                  <a:lnTo>
                    <a:pt x="359" y="798"/>
                  </a:lnTo>
                  <a:lnTo>
                    <a:pt x="359" y="805"/>
                  </a:lnTo>
                  <a:lnTo>
                    <a:pt x="359" y="813"/>
                  </a:lnTo>
                  <a:lnTo>
                    <a:pt x="357" y="818"/>
                  </a:lnTo>
                  <a:lnTo>
                    <a:pt x="355" y="822"/>
                  </a:lnTo>
                  <a:lnTo>
                    <a:pt x="355" y="822"/>
                  </a:lnTo>
                  <a:lnTo>
                    <a:pt x="352" y="822"/>
                  </a:lnTo>
                  <a:lnTo>
                    <a:pt x="350" y="823"/>
                  </a:lnTo>
                  <a:lnTo>
                    <a:pt x="352" y="829"/>
                  </a:lnTo>
                  <a:lnTo>
                    <a:pt x="349" y="830"/>
                  </a:lnTo>
                  <a:lnTo>
                    <a:pt x="349" y="835"/>
                  </a:lnTo>
                  <a:lnTo>
                    <a:pt x="280" y="735"/>
                  </a:lnTo>
                  <a:lnTo>
                    <a:pt x="263" y="707"/>
                  </a:lnTo>
                  <a:lnTo>
                    <a:pt x="179" y="582"/>
                  </a:lnTo>
                  <a:lnTo>
                    <a:pt x="135" y="518"/>
                  </a:lnTo>
                  <a:lnTo>
                    <a:pt x="99" y="461"/>
                  </a:lnTo>
                  <a:lnTo>
                    <a:pt x="51" y="391"/>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32" name="Freeform 28">
              <a:extLst>
                <a:ext uri="{FF2B5EF4-FFF2-40B4-BE49-F238E27FC236}">
                  <a16:creationId xmlns:a16="http://schemas.microsoft.com/office/drawing/2014/main" id="{81A457A1-F5BF-4593-9052-193A70EA61A8}"/>
                </a:ext>
              </a:extLst>
            </p:cNvPr>
            <p:cNvSpPr>
              <a:spLocks/>
            </p:cNvSpPr>
            <p:nvPr/>
          </p:nvSpPr>
          <p:spPr bwMode="gray">
            <a:xfrm>
              <a:off x="2809365" y="3021878"/>
              <a:ext cx="771316" cy="962936"/>
            </a:xfrm>
            <a:custGeom>
              <a:avLst/>
              <a:gdLst/>
              <a:ahLst/>
              <a:cxnLst>
                <a:cxn ang="0">
                  <a:pos x="22" y="408"/>
                </a:cxn>
                <a:cxn ang="0">
                  <a:pos x="33" y="362"/>
                </a:cxn>
                <a:cxn ang="0">
                  <a:pos x="34" y="350"/>
                </a:cxn>
                <a:cxn ang="0">
                  <a:pos x="53" y="260"/>
                </a:cxn>
                <a:cxn ang="0">
                  <a:pos x="60" y="220"/>
                </a:cxn>
                <a:cxn ang="0">
                  <a:pos x="63" y="200"/>
                </a:cxn>
                <a:cxn ang="0">
                  <a:pos x="82" y="106"/>
                </a:cxn>
                <a:cxn ang="0">
                  <a:pos x="103" y="0"/>
                </a:cxn>
                <a:cxn ang="0">
                  <a:pos x="185" y="14"/>
                </a:cxn>
                <a:cxn ang="0">
                  <a:pos x="250" y="26"/>
                </a:cxn>
                <a:cxn ang="0">
                  <a:pos x="253" y="26"/>
                </a:cxn>
                <a:cxn ang="0">
                  <a:pos x="301" y="34"/>
                </a:cxn>
                <a:cxn ang="0">
                  <a:pos x="337" y="41"/>
                </a:cxn>
                <a:cxn ang="0">
                  <a:pos x="328" y="85"/>
                </a:cxn>
                <a:cxn ang="0">
                  <a:pos x="323" y="120"/>
                </a:cxn>
                <a:cxn ang="0">
                  <a:pos x="320" y="147"/>
                </a:cxn>
                <a:cxn ang="0">
                  <a:pos x="397" y="159"/>
                </a:cxn>
                <a:cxn ang="0">
                  <a:pos x="402" y="159"/>
                </a:cxn>
                <a:cxn ang="0">
                  <a:pos x="479" y="171"/>
                </a:cxn>
                <a:cxn ang="0">
                  <a:pos x="474" y="207"/>
                </a:cxn>
                <a:cxn ang="0">
                  <a:pos x="467" y="255"/>
                </a:cxn>
                <a:cxn ang="0">
                  <a:pos x="458" y="314"/>
                </a:cxn>
                <a:cxn ang="0">
                  <a:pos x="456" y="328"/>
                </a:cxn>
                <a:cxn ang="0">
                  <a:pos x="453" y="345"/>
                </a:cxn>
                <a:cxn ang="0">
                  <a:pos x="441" y="439"/>
                </a:cxn>
                <a:cxn ang="0">
                  <a:pos x="438" y="465"/>
                </a:cxn>
                <a:cxn ang="0">
                  <a:pos x="436" y="475"/>
                </a:cxn>
                <a:cxn ang="0">
                  <a:pos x="433" y="504"/>
                </a:cxn>
                <a:cxn ang="0">
                  <a:pos x="429" y="531"/>
                </a:cxn>
                <a:cxn ang="0">
                  <a:pos x="419" y="598"/>
                </a:cxn>
                <a:cxn ang="0">
                  <a:pos x="339" y="588"/>
                </a:cxn>
                <a:cxn ang="0">
                  <a:pos x="301" y="583"/>
                </a:cxn>
                <a:cxn ang="0">
                  <a:pos x="299" y="581"/>
                </a:cxn>
                <a:cxn ang="0">
                  <a:pos x="277" y="578"/>
                </a:cxn>
                <a:cxn ang="0">
                  <a:pos x="226" y="569"/>
                </a:cxn>
                <a:cxn ang="0">
                  <a:pos x="151" y="557"/>
                </a:cxn>
                <a:cxn ang="0">
                  <a:pos x="125" y="552"/>
                </a:cxn>
                <a:cxn ang="0">
                  <a:pos x="96" y="547"/>
                </a:cxn>
                <a:cxn ang="0">
                  <a:pos x="0" y="530"/>
                </a:cxn>
                <a:cxn ang="0">
                  <a:pos x="12" y="467"/>
                </a:cxn>
                <a:cxn ang="0">
                  <a:pos x="22" y="408"/>
                </a:cxn>
              </a:cxnLst>
              <a:rect l="0" t="0" r="r" b="b"/>
              <a:pathLst>
                <a:path w="479" h="598">
                  <a:moveTo>
                    <a:pt x="22" y="408"/>
                  </a:moveTo>
                  <a:lnTo>
                    <a:pt x="33" y="362"/>
                  </a:lnTo>
                  <a:lnTo>
                    <a:pt x="34" y="350"/>
                  </a:lnTo>
                  <a:lnTo>
                    <a:pt x="53" y="260"/>
                  </a:lnTo>
                  <a:lnTo>
                    <a:pt x="60" y="220"/>
                  </a:lnTo>
                  <a:lnTo>
                    <a:pt x="63" y="200"/>
                  </a:lnTo>
                  <a:lnTo>
                    <a:pt x="82" y="106"/>
                  </a:lnTo>
                  <a:lnTo>
                    <a:pt x="103" y="0"/>
                  </a:lnTo>
                  <a:lnTo>
                    <a:pt x="185" y="14"/>
                  </a:lnTo>
                  <a:lnTo>
                    <a:pt x="250" y="26"/>
                  </a:lnTo>
                  <a:lnTo>
                    <a:pt x="253" y="26"/>
                  </a:lnTo>
                  <a:lnTo>
                    <a:pt x="301" y="34"/>
                  </a:lnTo>
                  <a:lnTo>
                    <a:pt x="337" y="41"/>
                  </a:lnTo>
                  <a:lnTo>
                    <a:pt x="328" y="85"/>
                  </a:lnTo>
                  <a:lnTo>
                    <a:pt x="323" y="120"/>
                  </a:lnTo>
                  <a:lnTo>
                    <a:pt x="320" y="147"/>
                  </a:lnTo>
                  <a:lnTo>
                    <a:pt x="397" y="159"/>
                  </a:lnTo>
                  <a:lnTo>
                    <a:pt x="402" y="159"/>
                  </a:lnTo>
                  <a:lnTo>
                    <a:pt x="479" y="171"/>
                  </a:lnTo>
                  <a:lnTo>
                    <a:pt x="474" y="207"/>
                  </a:lnTo>
                  <a:lnTo>
                    <a:pt x="467" y="255"/>
                  </a:lnTo>
                  <a:lnTo>
                    <a:pt x="458" y="314"/>
                  </a:lnTo>
                  <a:lnTo>
                    <a:pt x="456" y="328"/>
                  </a:lnTo>
                  <a:lnTo>
                    <a:pt x="453" y="345"/>
                  </a:lnTo>
                  <a:lnTo>
                    <a:pt x="441" y="439"/>
                  </a:lnTo>
                  <a:lnTo>
                    <a:pt x="438" y="465"/>
                  </a:lnTo>
                  <a:lnTo>
                    <a:pt x="436" y="475"/>
                  </a:lnTo>
                  <a:lnTo>
                    <a:pt x="433" y="504"/>
                  </a:lnTo>
                  <a:lnTo>
                    <a:pt x="429" y="531"/>
                  </a:lnTo>
                  <a:lnTo>
                    <a:pt x="419" y="598"/>
                  </a:lnTo>
                  <a:lnTo>
                    <a:pt x="339" y="588"/>
                  </a:lnTo>
                  <a:lnTo>
                    <a:pt x="301" y="583"/>
                  </a:lnTo>
                  <a:lnTo>
                    <a:pt x="299" y="581"/>
                  </a:lnTo>
                  <a:lnTo>
                    <a:pt x="277" y="578"/>
                  </a:lnTo>
                  <a:lnTo>
                    <a:pt x="226" y="569"/>
                  </a:lnTo>
                  <a:lnTo>
                    <a:pt x="151" y="557"/>
                  </a:lnTo>
                  <a:lnTo>
                    <a:pt x="125" y="552"/>
                  </a:lnTo>
                  <a:lnTo>
                    <a:pt x="96" y="547"/>
                  </a:lnTo>
                  <a:lnTo>
                    <a:pt x="0" y="530"/>
                  </a:lnTo>
                  <a:lnTo>
                    <a:pt x="12" y="467"/>
                  </a:lnTo>
                  <a:lnTo>
                    <a:pt x="22" y="408"/>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33" name="Freeform 29">
              <a:extLst>
                <a:ext uri="{FF2B5EF4-FFF2-40B4-BE49-F238E27FC236}">
                  <a16:creationId xmlns:a16="http://schemas.microsoft.com/office/drawing/2014/main" id="{48A9E1F7-B9E7-46C0-9EDD-6286EB57645A}"/>
                </a:ext>
              </a:extLst>
            </p:cNvPr>
            <p:cNvSpPr>
              <a:spLocks noEditPoints="1"/>
            </p:cNvSpPr>
            <p:nvPr/>
          </p:nvSpPr>
          <p:spPr bwMode="gray">
            <a:xfrm>
              <a:off x="1609720" y="2707876"/>
              <a:ext cx="1098198" cy="1879176"/>
            </a:xfrm>
            <a:custGeom>
              <a:avLst/>
              <a:gdLst/>
              <a:ahLst/>
              <a:cxnLst>
                <a:cxn ang="0">
                  <a:pos x="99" y="453"/>
                </a:cxn>
                <a:cxn ang="0">
                  <a:pos x="97" y="448"/>
                </a:cxn>
                <a:cxn ang="0">
                  <a:pos x="80" y="444"/>
                </a:cxn>
                <a:cxn ang="0">
                  <a:pos x="70" y="472"/>
                </a:cxn>
                <a:cxn ang="0">
                  <a:pos x="39" y="444"/>
                </a:cxn>
                <a:cxn ang="0">
                  <a:pos x="39" y="395"/>
                </a:cxn>
                <a:cxn ang="0">
                  <a:pos x="12" y="284"/>
                </a:cxn>
                <a:cxn ang="0">
                  <a:pos x="14" y="198"/>
                </a:cxn>
                <a:cxn ang="0">
                  <a:pos x="43" y="91"/>
                </a:cxn>
                <a:cxn ang="0">
                  <a:pos x="60" y="16"/>
                </a:cxn>
                <a:cxn ang="0">
                  <a:pos x="212" y="43"/>
                </a:cxn>
                <a:cxn ang="0">
                  <a:pos x="325" y="328"/>
                </a:cxn>
                <a:cxn ang="0">
                  <a:pos x="308" y="397"/>
                </a:cxn>
                <a:cxn ang="0">
                  <a:pos x="357" y="482"/>
                </a:cxn>
                <a:cxn ang="0">
                  <a:pos x="586" y="826"/>
                </a:cxn>
                <a:cxn ang="0">
                  <a:pos x="651" y="940"/>
                </a:cxn>
                <a:cxn ang="0">
                  <a:pos x="663" y="961"/>
                </a:cxn>
                <a:cxn ang="0">
                  <a:pos x="665" y="986"/>
                </a:cxn>
                <a:cxn ang="0">
                  <a:pos x="673" y="996"/>
                </a:cxn>
                <a:cxn ang="0">
                  <a:pos x="680" y="1012"/>
                </a:cxn>
                <a:cxn ang="0">
                  <a:pos x="653" y="1027"/>
                </a:cxn>
                <a:cxn ang="0">
                  <a:pos x="639" y="1049"/>
                </a:cxn>
                <a:cxn ang="0">
                  <a:pos x="639" y="1065"/>
                </a:cxn>
                <a:cxn ang="0">
                  <a:pos x="632" y="1080"/>
                </a:cxn>
                <a:cxn ang="0">
                  <a:pos x="620" y="1094"/>
                </a:cxn>
                <a:cxn ang="0">
                  <a:pos x="612" y="1111"/>
                </a:cxn>
                <a:cxn ang="0">
                  <a:pos x="610" y="1133"/>
                </a:cxn>
                <a:cxn ang="0">
                  <a:pos x="622" y="1137"/>
                </a:cxn>
                <a:cxn ang="0">
                  <a:pos x="617" y="1162"/>
                </a:cxn>
                <a:cxn ang="0">
                  <a:pos x="614" y="1166"/>
                </a:cxn>
                <a:cxn ang="0">
                  <a:pos x="602" y="1164"/>
                </a:cxn>
                <a:cxn ang="0">
                  <a:pos x="381" y="1119"/>
                </a:cxn>
                <a:cxn ang="0">
                  <a:pos x="376" y="1104"/>
                </a:cxn>
                <a:cxn ang="0">
                  <a:pos x="326" y="993"/>
                </a:cxn>
                <a:cxn ang="0">
                  <a:pos x="304" y="981"/>
                </a:cxn>
                <a:cxn ang="0">
                  <a:pos x="241" y="928"/>
                </a:cxn>
                <a:cxn ang="0">
                  <a:pos x="181" y="879"/>
                </a:cxn>
                <a:cxn ang="0">
                  <a:pos x="138" y="839"/>
                </a:cxn>
                <a:cxn ang="0">
                  <a:pos x="147" y="802"/>
                </a:cxn>
                <a:cxn ang="0">
                  <a:pos x="135" y="759"/>
                </a:cxn>
                <a:cxn ang="0">
                  <a:pos x="101" y="699"/>
                </a:cxn>
                <a:cxn ang="0">
                  <a:pos x="87" y="614"/>
                </a:cxn>
                <a:cxn ang="0">
                  <a:pos x="80" y="573"/>
                </a:cxn>
                <a:cxn ang="0">
                  <a:pos x="65" y="509"/>
                </a:cxn>
                <a:cxn ang="0">
                  <a:pos x="80" y="485"/>
                </a:cxn>
                <a:cxn ang="0">
                  <a:pos x="94" y="515"/>
                </a:cxn>
                <a:cxn ang="0">
                  <a:pos x="85" y="460"/>
                </a:cxn>
                <a:cxn ang="0">
                  <a:pos x="154" y="465"/>
                </a:cxn>
                <a:cxn ang="0">
                  <a:pos x="147" y="463"/>
                </a:cxn>
                <a:cxn ang="0">
                  <a:pos x="212" y="933"/>
                </a:cxn>
                <a:cxn ang="0">
                  <a:pos x="183" y="926"/>
                </a:cxn>
                <a:cxn ang="0">
                  <a:pos x="167" y="921"/>
                </a:cxn>
                <a:cxn ang="0">
                  <a:pos x="296" y="1024"/>
                </a:cxn>
                <a:cxn ang="0">
                  <a:pos x="280" y="1017"/>
                </a:cxn>
                <a:cxn ang="0">
                  <a:pos x="265" y="1060"/>
                </a:cxn>
              </a:cxnLst>
              <a:rect l="0" t="0" r="r" b="b"/>
              <a:pathLst>
                <a:path w="682" h="1167">
                  <a:moveTo>
                    <a:pt x="149" y="455"/>
                  </a:moveTo>
                  <a:lnTo>
                    <a:pt x="137" y="463"/>
                  </a:lnTo>
                  <a:lnTo>
                    <a:pt x="126" y="460"/>
                  </a:lnTo>
                  <a:lnTo>
                    <a:pt x="121" y="451"/>
                  </a:lnTo>
                  <a:lnTo>
                    <a:pt x="99" y="453"/>
                  </a:lnTo>
                  <a:lnTo>
                    <a:pt x="99" y="443"/>
                  </a:lnTo>
                  <a:lnTo>
                    <a:pt x="97" y="436"/>
                  </a:lnTo>
                  <a:lnTo>
                    <a:pt x="94" y="438"/>
                  </a:lnTo>
                  <a:lnTo>
                    <a:pt x="97" y="443"/>
                  </a:lnTo>
                  <a:lnTo>
                    <a:pt x="97" y="448"/>
                  </a:lnTo>
                  <a:lnTo>
                    <a:pt x="89" y="439"/>
                  </a:lnTo>
                  <a:lnTo>
                    <a:pt x="85" y="443"/>
                  </a:lnTo>
                  <a:lnTo>
                    <a:pt x="80" y="443"/>
                  </a:lnTo>
                  <a:lnTo>
                    <a:pt x="79" y="438"/>
                  </a:lnTo>
                  <a:lnTo>
                    <a:pt x="80" y="444"/>
                  </a:lnTo>
                  <a:lnTo>
                    <a:pt x="77" y="451"/>
                  </a:lnTo>
                  <a:lnTo>
                    <a:pt x="80" y="456"/>
                  </a:lnTo>
                  <a:lnTo>
                    <a:pt x="75" y="462"/>
                  </a:lnTo>
                  <a:lnTo>
                    <a:pt x="75" y="472"/>
                  </a:lnTo>
                  <a:lnTo>
                    <a:pt x="70" y="472"/>
                  </a:lnTo>
                  <a:lnTo>
                    <a:pt x="60" y="460"/>
                  </a:lnTo>
                  <a:lnTo>
                    <a:pt x="58" y="460"/>
                  </a:lnTo>
                  <a:lnTo>
                    <a:pt x="50" y="444"/>
                  </a:lnTo>
                  <a:lnTo>
                    <a:pt x="43" y="441"/>
                  </a:lnTo>
                  <a:lnTo>
                    <a:pt x="39" y="444"/>
                  </a:lnTo>
                  <a:lnTo>
                    <a:pt x="34" y="443"/>
                  </a:lnTo>
                  <a:lnTo>
                    <a:pt x="44" y="427"/>
                  </a:lnTo>
                  <a:lnTo>
                    <a:pt x="44" y="412"/>
                  </a:lnTo>
                  <a:lnTo>
                    <a:pt x="41" y="410"/>
                  </a:lnTo>
                  <a:lnTo>
                    <a:pt x="39" y="395"/>
                  </a:lnTo>
                  <a:lnTo>
                    <a:pt x="29" y="378"/>
                  </a:lnTo>
                  <a:lnTo>
                    <a:pt x="17" y="350"/>
                  </a:lnTo>
                  <a:lnTo>
                    <a:pt x="7" y="328"/>
                  </a:lnTo>
                  <a:lnTo>
                    <a:pt x="14" y="318"/>
                  </a:lnTo>
                  <a:lnTo>
                    <a:pt x="12" y="284"/>
                  </a:lnTo>
                  <a:lnTo>
                    <a:pt x="24" y="263"/>
                  </a:lnTo>
                  <a:lnTo>
                    <a:pt x="26" y="248"/>
                  </a:lnTo>
                  <a:lnTo>
                    <a:pt x="26" y="233"/>
                  </a:lnTo>
                  <a:lnTo>
                    <a:pt x="17" y="210"/>
                  </a:lnTo>
                  <a:lnTo>
                    <a:pt x="14" y="198"/>
                  </a:lnTo>
                  <a:lnTo>
                    <a:pt x="0" y="176"/>
                  </a:lnTo>
                  <a:lnTo>
                    <a:pt x="2" y="169"/>
                  </a:lnTo>
                  <a:lnTo>
                    <a:pt x="2" y="157"/>
                  </a:lnTo>
                  <a:lnTo>
                    <a:pt x="41" y="108"/>
                  </a:lnTo>
                  <a:lnTo>
                    <a:pt x="43" y="91"/>
                  </a:lnTo>
                  <a:lnTo>
                    <a:pt x="55" y="74"/>
                  </a:lnTo>
                  <a:lnTo>
                    <a:pt x="60" y="60"/>
                  </a:lnTo>
                  <a:lnTo>
                    <a:pt x="62" y="29"/>
                  </a:lnTo>
                  <a:lnTo>
                    <a:pt x="55" y="22"/>
                  </a:lnTo>
                  <a:lnTo>
                    <a:pt x="60" y="16"/>
                  </a:lnTo>
                  <a:lnTo>
                    <a:pt x="65" y="0"/>
                  </a:lnTo>
                  <a:lnTo>
                    <a:pt x="94" y="9"/>
                  </a:lnTo>
                  <a:lnTo>
                    <a:pt x="118" y="16"/>
                  </a:lnTo>
                  <a:lnTo>
                    <a:pt x="140" y="22"/>
                  </a:lnTo>
                  <a:lnTo>
                    <a:pt x="212" y="43"/>
                  </a:lnTo>
                  <a:lnTo>
                    <a:pt x="275" y="62"/>
                  </a:lnTo>
                  <a:lnTo>
                    <a:pt x="320" y="74"/>
                  </a:lnTo>
                  <a:lnTo>
                    <a:pt x="386" y="91"/>
                  </a:lnTo>
                  <a:lnTo>
                    <a:pt x="364" y="176"/>
                  </a:lnTo>
                  <a:lnTo>
                    <a:pt x="325" y="328"/>
                  </a:lnTo>
                  <a:lnTo>
                    <a:pt x="318" y="357"/>
                  </a:lnTo>
                  <a:lnTo>
                    <a:pt x="314" y="371"/>
                  </a:lnTo>
                  <a:lnTo>
                    <a:pt x="309" y="388"/>
                  </a:lnTo>
                  <a:lnTo>
                    <a:pt x="309" y="393"/>
                  </a:lnTo>
                  <a:lnTo>
                    <a:pt x="308" y="397"/>
                  </a:lnTo>
                  <a:lnTo>
                    <a:pt x="306" y="405"/>
                  </a:lnTo>
                  <a:lnTo>
                    <a:pt x="313" y="414"/>
                  </a:lnTo>
                  <a:lnTo>
                    <a:pt x="332" y="444"/>
                  </a:lnTo>
                  <a:lnTo>
                    <a:pt x="347" y="467"/>
                  </a:lnTo>
                  <a:lnTo>
                    <a:pt x="357" y="482"/>
                  </a:lnTo>
                  <a:lnTo>
                    <a:pt x="405" y="552"/>
                  </a:lnTo>
                  <a:lnTo>
                    <a:pt x="441" y="609"/>
                  </a:lnTo>
                  <a:lnTo>
                    <a:pt x="485" y="673"/>
                  </a:lnTo>
                  <a:lnTo>
                    <a:pt x="569" y="798"/>
                  </a:lnTo>
                  <a:lnTo>
                    <a:pt x="586" y="826"/>
                  </a:lnTo>
                  <a:lnTo>
                    <a:pt x="655" y="926"/>
                  </a:lnTo>
                  <a:lnTo>
                    <a:pt x="655" y="926"/>
                  </a:lnTo>
                  <a:lnTo>
                    <a:pt x="655" y="933"/>
                  </a:lnTo>
                  <a:lnTo>
                    <a:pt x="653" y="935"/>
                  </a:lnTo>
                  <a:lnTo>
                    <a:pt x="651" y="940"/>
                  </a:lnTo>
                  <a:lnTo>
                    <a:pt x="656" y="945"/>
                  </a:lnTo>
                  <a:lnTo>
                    <a:pt x="656" y="954"/>
                  </a:lnTo>
                  <a:lnTo>
                    <a:pt x="658" y="955"/>
                  </a:lnTo>
                  <a:lnTo>
                    <a:pt x="660" y="955"/>
                  </a:lnTo>
                  <a:lnTo>
                    <a:pt x="663" y="961"/>
                  </a:lnTo>
                  <a:lnTo>
                    <a:pt x="665" y="971"/>
                  </a:lnTo>
                  <a:lnTo>
                    <a:pt x="663" y="973"/>
                  </a:lnTo>
                  <a:lnTo>
                    <a:pt x="665" y="974"/>
                  </a:lnTo>
                  <a:lnTo>
                    <a:pt x="667" y="979"/>
                  </a:lnTo>
                  <a:lnTo>
                    <a:pt x="665" y="986"/>
                  </a:lnTo>
                  <a:lnTo>
                    <a:pt x="665" y="988"/>
                  </a:lnTo>
                  <a:lnTo>
                    <a:pt x="668" y="990"/>
                  </a:lnTo>
                  <a:lnTo>
                    <a:pt x="670" y="991"/>
                  </a:lnTo>
                  <a:lnTo>
                    <a:pt x="672" y="995"/>
                  </a:lnTo>
                  <a:lnTo>
                    <a:pt x="673" y="996"/>
                  </a:lnTo>
                  <a:lnTo>
                    <a:pt x="680" y="1002"/>
                  </a:lnTo>
                  <a:lnTo>
                    <a:pt x="682" y="1005"/>
                  </a:lnTo>
                  <a:lnTo>
                    <a:pt x="682" y="1007"/>
                  </a:lnTo>
                  <a:lnTo>
                    <a:pt x="682" y="1012"/>
                  </a:lnTo>
                  <a:lnTo>
                    <a:pt x="680" y="1012"/>
                  </a:lnTo>
                  <a:lnTo>
                    <a:pt x="672" y="1019"/>
                  </a:lnTo>
                  <a:lnTo>
                    <a:pt x="667" y="1020"/>
                  </a:lnTo>
                  <a:lnTo>
                    <a:pt x="663" y="1022"/>
                  </a:lnTo>
                  <a:lnTo>
                    <a:pt x="655" y="1025"/>
                  </a:lnTo>
                  <a:lnTo>
                    <a:pt x="653" y="1027"/>
                  </a:lnTo>
                  <a:lnTo>
                    <a:pt x="651" y="1032"/>
                  </a:lnTo>
                  <a:lnTo>
                    <a:pt x="643" y="1037"/>
                  </a:lnTo>
                  <a:lnTo>
                    <a:pt x="641" y="1039"/>
                  </a:lnTo>
                  <a:lnTo>
                    <a:pt x="643" y="1043"/>
                  </a:lnTo>
                  <a:lnTo>
                    <a:pt x="639" y="1049"/>
                  </a:lnTo>
                  <a:lnTo>
                    <a:pt x="641" y="1051"/>
                  </a:lnTo>
                  <a:lnTo>
                    <a:pt x="639" y="1053"/>
                  </a:lnTo>
                  <a:lnTo>
                    <a:pt x="639" y="1058"/>
                  </a:lnTo>
                  <a:lnTo>
                    <a:pt x="637" y="1061"/>
                  </a:lnTo>
                  <a:lnTo>
                    <a:pt x="639" y="1065"/>
                  </a:lnTo>
                  <a:lnTo>
                    <a:pt x="634" y="1068"/>
                  </a:lnTo>
                  <a:lnTo>
                    <a:pt x="636" y="1070"/>
                  </a:lnTo>
                  <a:lnTo>
                    <a:pt x="634" y="1073"/>
                  </a:lnTo>
                  <a:lnTo>
                    <a:pt x="632" y="1078"/>
                  </a:lnTo>
                  <a:lnTo>
                    <a:pt x="632" y="1080"/>
                  </a:lnTo>
                  <a:lnTo>
                    <a:pt x="627" y="1085"/>
                  </a:lnTo>
                  <a:lnTo>
                    <a:pt x="626" y="1087"/>
                  </a:lnTo>
                  <a:lnTo>
                    <a:pt x="622" y="1089"/>
                  </a:lnTo>
                  <a:lnTo>
                    <a:pt x="622" y="1092"/>
                  </a:lnTo>
                  <a:lnTo>
                    <a:pt x="620" y="1094"/>
                  </a:lnTo>
                  <a:lnTo>
                    <a:pt x="612" y="1092"/>
                  </a:lnTo>
                  <a:lnTo>
                    <a:pt x="614" y="1099"/>
                  </a:lnTo>
                  <a:lnTo>
                    <a:pt x="610" y="1104"/>
                  </a:lnTo>
                  <a:lnTo>
                    <a:pt x="614" y="1109"/>
                  </a:lnTo>
                  <a:lnTo>
                    <a:pt x="612" y="1111"/>
                  </a:lnTo>
                  <a:lnTo>
                    <a:pt x="612" y="1113"/>
                  </a:lnTo>
                  <a:lnTo>
                    <a:pt x="612" y="1119"/>
                  </a:lnTo>
                  <a:lnTo>
                    <a:pt x="608" y="1123"/>
                  </a:lnTo>
                  <a:lnTo>
                    <a:pt x="607" y="1126"/>
                  </a:lnTo>
                  <a:lnTo>
                    <a:pt x="610" y="1133"/>
                  </a:lnTo>
                  <a:lnTo>
                    <a:pt x="612" y="1133"/>
                  </a:lnTo>
                  <a:lnTo>
                    <a:pt x="612" y="1135"/>
                  </a:lnTo>
                  <a:lnTo>
                    <a:pt x="615" y="1135"/>
                  </a:lnTo>
                  <a:lnTo>
                    <a:pt x="619" y="1135"/>
                  </a:lnTo>
                  <a:lnTo>
                    <a:pt x="622" y="1137"/>
                  </a:lnTo>
                  <a:lnTo>
                    <a:pt x="626" y="1143"/>
                  </a:lnTo>
                  <a:lnTo>
                    <a:pt x="624" y="1147"/>
                  </a:lnTo>
                  <a:lnTo>
                    <a:pt x="624" y="1157"/>
                  </a:lnTo>
                  <a:lnTo>
                    <a:pt x="617" y="1161"/>
                  </a:lnTo>
                  <a:lnTo>
                    <a:pt x="617" y="1162"/>
                  </a:lnTo>
                  <a:lnTo>
                    <a:pt x="617" y="1164"/>
                  </a:lnTo>
                  <a:lnTo>
                    <a:pt x="615" y="1164"/>
                  </a:lnTo>
                  <a:lnTo>
                    <a:pt x="615" y="1164"/>
                  </a:lnTo>
                  <a:lnTo>
                    <a:pt x="614" y="1164"/>
                  </a:lnTo>
                  <a:lnTo>
                    <a:pt x="614" y="1166"/>
                  </a:lnTo>
                  <a:lnTo>
                    <a:pt x="612" y="1166"/>
                  </a:lnTo>
                  <a:lnTo>
                    <a:pt x="612" y="1167"/>
                  </a:lnTo>
                  <a:lnTo>
                    <a:pt x="608" y="1166"/>
                  </a:lnTo>
                  <a:lnTo>
                    <a:pt x="608" y="1167"/>
                  </a:lnTo>
                  <a:lnTo>
                    <a:pt x="602" y="1164"/>
                  </a:lnTo>
                  <a:lnTo>
                    <a:pt x="600" y="1164"/>
                  </a:lnTo>
                  <a:lnTo>
                    <a:pt x="598" y="1166"/>
                  </a:lnTo>
                  <a:lnTo>
                    <a:pt x="473" y="1152"/>
                  </a:lnTo>
                  <a:lnTo>
                    <a:pt x="383" y="1140"/>
                  </a:lnTo>
                  <a:lnTo>
                    <a:pt x="381" y="1119"/>
                  </a:lnTo>
                  <a:lnTo>
                    <a:pt x="385" y="1133"/>
                  </a:lnTo>
                  <a:lnTo>
                    <a:pt x="386" y="1125"/>
                  </a:lnTo>
                  <a:lnTo>
                    <a:pt x="381" y="1118"/>
                  </a:lnTo>
                  <a:lnTo>
                    <a:pt x="376" y="1123"/>
                  </a:lnTo>
                  <a:lnTo>
                    <a:pt x="376" y="1104"/>
                  </a:lnTo>
                  <a:lnTo>
                    <a:pt x="379" y="1101"/>
                  </a:lnTo>
                  <a:lnTo>
                    <a:pt x="379" y="1075"/>
                  </a:lnTo>
                  <a:lnTo>
                    <a:pt x="374" y="1061"/>
                  </a:lnTo>
                  <a:lnTo>
                    <a:pt x="362" y="1041"/>
                  </a:lnTo>
                  <a:lnTo>
                    <a:pt x="326" y="993"/>
                  </a:lnTo>
                  <a:lnTo>
                    <a:pt x="314" y="988"/>
                  </a:lnTo>
                  <a:lnTo>
                    <a:pt x="309" y="995"/>
                  </a:lnTo>
                  <a:lnTo>
                    <a:pt x="301" y="988"/>
                  </a:lnTo>
                  <a:lnTo>
                    <a:pt x="299" y="984"/>
                  </a:lnTo>
                  <a:lnTo>
                    <a:pt x="304" y="981"/>
                  </a:lnTo>
                  <a:lnTo>
                    <a:pt x="304" y="973"/>
                  </a:lnTo>
                  <a:lnTo>
                    <a:pt x="296" y="954"/>
                  </a:lnTo>
                  <a:lnTo>
                    <a:pt x="275" y="950"/>
                  </a:lnTo>
                  <a:lnTo>
                    <a:pt x="263" y="945"/>
                  </a:lnTo>
                  <a:lnTo>
                    <a:pt x="241" y="928"/>
                  </a:lnTo>
                  <a:lnTo>
                    <a:pt x="239" y="918"/>
                  </a:lnTo>
                  <a:lnTo>
                    <a:pt x="224" y="899"/>
                  </a:lnTo>
                  <a:lnTo>
                    <a:pt x="215" y="892"/>
                  </a:lnTo>
                  <a:lnTo>
                    <a:pt x="193" y="887"/>
                  </a:lnTo>
                  <a:lnTo>
                    <a:pt x="181" y="879"/>
                  </a:lnTo>
                  <a:lnTo>
                    <a:pt x="171" y="875"/>
                  </a:lnTo>
                  <a:lnTo>
                    <a:pt x="144" y="870"/>
                  </a:lnTo>
                  <a:lnTo>
                    <a:pt x="142" y="861"/>
                  </a:lnTo>
                  <a:lnTo>
                    <a:pt x="132" y="853"/>
                  </a:lnTo>
                  <a:lnTo>
                    <a:pt x="138" y="839"/>
                  </a:lnTo>
                  <a:lnTo>
                    <a:pt x="137" y="834"/>
                  </a:lnTo>
                  <a:lnTo>
                    <a:pt x="142" y="824"/>
                  </a:lnTo>
                  <a:lnTo>
                    <a:pt x="138" y="817"/>
                  </a:lnTo>
                  <a:lnTo>
                    <a:pt x="142" y="810"/>
                  </a:lnTo>
                  <a:lnTo>
                    <a:pt x="147" y="802"/>
                  </a:lnTo>
                  <a:lnTo>
                    <a:pt x="147" y="793"/>
                  </a:lnTo>
                  <a:lnTo>
                    <a:pt x="130" y="781"/>
                  </a:lnTo>
                  <a:lnTo>
                    <a:pt x="130" y="776"/>
                  </a:lnTo>
                  <a:lnTo>
                    <a:pt x="135" y="766"/>
                  </a:lnTo>
                  <a:lnTo>
                    <a:pt x="135" y="759"/>
                  </a:lnTo>
                  <a:lnTo>
                    <a:pt x="126" y="752"/>
                  </a:lnTo>
                  <a:lnTo>
                    <a:pt x="118" y="732"/>
                  </a:lnTo>
                  <a:lnTo>
                    <a:pt x="109" y="725"/>
                  </a:lnTo>
                  <a:lnTo>
                    <a:pt x="108" y="709"/>
                  </a:lnTo>
                  <a:lnTo>
                    <a:pt x="101" y="699"/>
                  </a:lnTo>
                  <a:lnTo>
                    <a:pt x="89" y="662"/>
                  </a:lnTo>
                  <a:lnTo>
                    <a:pt x="77" y="644"/>
                  </a:lnTo>
                  <a:lnTo>
                    <a:pt x="79" y="614"/>
                  </a:lnTo>
                  <a:lnTo>
                    <a:pt x="84" y="609"/>
                  </a:lnTo>
                  <a:lnTo>
                    <a:pt x="87" y="614"/>
                  </a:lnTo>
                  <a:lnTo>
                    <a:pt x="92" y="610"/>
                  </a:lnTo>
                  <a:lnTo>
                    <a:pt x="101" y="593"/>
                  </a:lnTo>
                  <a:lnTo>
                    <a:pt x="99" y="590"/>
                  </a:lnTo>
                  <a:lnTo>
                    <a:pt x="96" y="576"/>
                  </a:lnTo>
                  <a:lnTo>
                    <a:pt x="80" y="573"/>
                  </a:lnTo>
                  <a:lnTo>
                    <a:pt x="73" y="566"/>
                  </a:lnTo>
                  <a:lnTo>
                    <a:pt x="68" y="552"/>
                  </a:lnTo>
                  <a:lnTo>
                    <a:pt x="60" y="535"/>
                  </a:lnTo>
                  <a:lnTo>
                    <a:pt x="65" y="523"/>
                  </a:lnTo>
                  <a:lnTo>
                    <a:pt x="65" y="509"/>
                  </a:lnTo>
                  <a:lnTo>
                    <a:pt x="62" y="503"/>
                  </a:lnTo>
                  <a:lnTo>
                    <a:pt x="67" y="485"/>
                  </a:lnTo>
                  <a:lnTo>
                    <a:pt x="70" y="477"/>
                  </a:lnTo>
                  <a:lnTo>
                    <a:pt x="79" y="475"/>
                  </a:lnTo>
                  <a:lnTo>
                    <a:pt x="80" y="485"/>
                  </a:lnTo>
                  <a:lnTo>
                    <a:pt x="79" y="487"/>
                  </a:lnTo>
                  <a:lnTo>
                    <a:pt x="75" y="497"/>
                  </a:lnTo>
                  <a:lnTo>
                    <a:pt x="92" y="520"/>
                  </a:lnTo>
                  <a:lnTo>
                    <a:pt x="103" y="521"/>
                  </a:lnTo>
                  <a:lnTo>
                    <a:pt x="94" y="515"/>
                  </a:lnTo>
                  <a:lnTo>
                    <a:pt x="92" y="487"/>
                  </a:lnTo>
                  <a:lnTo>
                    <a:pt x="85" y="480"/>
                  </a:lnTo>
                  <a:lnTo>
                    <a:pt x="89" y="470"/>
                  </a:lnTo>
                  <a:lnTo>
                    <a:pt x="84" y="467"/>
                  </a:lnTo>
                  <a:lnTo>
                    <a:pt x="85" y="460"/>
                  </a:lnTo>
                  <a:lnTo>
                    <a:pt x="92" y="456"/>
                  </a:lnTo>
                  <a:lnTo>
                    <a:pt x="118" y="460"/>
                  </a:lnTo>
                  <a:lnTo>
                    <a:pt x="142" y="470"/>
                  </a:lnTo>
                  <a:lnTo>
                    <a:pt x="147" y="463"/>
                  </a:lnTo>
                  <a:lnTo>
                    <a:pt x="154" y="465"/>
                  </a:lnTo>
                  <a:lnTo>
                    <a:pt x="154" y="468"/>
                  </a:lnTo>
                  <a:lnTo>
                    <a:pt x="156" y="468"/>
                  </a:lnTo>
                  <a:lnTo>
                    <a:pt x="154" y="463"/>
                  </a:lnTo>
                  <a:lnTo>
                    <a:pt x="156" y="462"/>
                  </a:lnTo>
                  <a:lnTo>
                    <a:pt x="147" y="463"/>
                  </a:lnTo>
                  <a:lnTo>
                    <a:pt x="149" y="455"/>
                  </a:lnTo>
                  <a:close/>
                  <a:moveTo>
                    <a:pt x="185" y="921"/>
                  </a:moveTo>
                  <a:lnTo>
                    <a:pt x="200" y="932"/>
                  </a:lnTo>
                  <a:lnTo>
                    <a:pt x="208" y="930"/>
                  </a:lnTo>
                  <a:lnTo>
                    <a:pt x="212" y="933"/>
                  </a:lnTo>
                  <a:lnTo>
                    <a:pt x="210" y="937"/>
                  </a:lnTo>
                  <a:lnTo>
                    <a:pt x="195" y="937"/>
                  </a:lnTo>
                  <a:lnTo>
                    <a:pt x="183" y="933"/>
                  </a:lnTo>
                  <a:lnTo>
                    <a:pt x="179" y="928"/>
                  </a:lnTo>
                  <a:lnTo>
                    <a:pt x="183" y="926"/>
                  </a:lnTo>
                  <a:lnTo>
                    <a:pt x="178" y="923"/>
                  </a:lnTo>
                  <a:lnTo>
                    <a:pt x="185" y="921"/>
                  </a:lnTo>
                  <a:close/>
                  <a:moveTo>
                    <a:pt x="154" y="932"/>
                  </a:moveTo>
                  <a:lnTo>
                    <a:pt x="150" y="920"/>
                  </a:lnTo>
                  <a:lnTo>
                    <a:pt x="167" y="921"/>
                  </a:lnTo>
                  <a:lnTo>
                    <a:pt x="173" y="933"/>
                  </a:lnTo>
                  <a:lnTo>
                    <a:pt x="159" y="935"/>
                  </a:lnTo>
                  <a:lnTo>
                    <a:pt x="154" y="932"/>
                  </a:lnTo>
                  <a:close/>
                  <a:moveTo>
                    <a:pt x="279" y="1012"/>
                  </a:moveTo>
                  <a:lnTo>
                    <a:pt x="296" y="1024"/>
                  </a:lnTo>
                  <a:lnTo>
                    <a:pt x="301" y="1032"/>
                  </a:lnTo>
                  <a:lnTo>
                    <a:pt x="299" y="1036"/>
                  </a:lnTo>
                  <a:lnTo>
                    <a:pt x="285" y="1031"/>
                  </a:lnTo>
                  <a:lnTo>
                    <a:pt x="285" y="1020"/>
                  </a:lnTo>
                  <a:lnTo>
                    <a:pt x="280" y="1017"/>
                  </a:lnTo>
                  <a:lnTo>
                    <a:pt x="279" y="1012"/>
                  </a:lnTo>
                  <a:close/>
                  <a:moveTo>
                    <a:pt x="282" y="1085"/>
                  </a:moveTo>
                  <a:lnTo>
                    <a:pt x="275" y="1085"/>
                  </a:lnTo>
                  <a:lnTo>
                    <a:pt x="270" y="1075"/>
                  </a:lnTo>
                  <a:lnTo>
                    <a:pt x="265" y="1060"/>
                  </a:lnTo>
                  <a:lnTo>
                    <a:pt x="268" y="1058"/>
                  </a:lnTo>
                  <a:lnTo>
                    <a:pt x="270" y="1063"/>
                  </a:lnTo>
                  <a:lnTo>
                    <a:pt x="282" y="1085"/>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34" name="Freeform 30">
              <a:extLst>
                <a:ext uri="{FF2B5EF4-FFF2-40B4-BE49-F238E27FC236}">
                  <a16:creationId xmlns:a16="http://schemas.microsoft.com/office/drawing/2014/main" id="{6CDB52D5-ACC8-4C94-A13B-14C20238ABB7}"/>
                </a:ext>
              </a:extLst>
            </p:cNvPr>
            <p:cNvSpPr>
              <a:spLocks/>
            </p:cNvSpPr>
            <p:nvPr/>
          </p:nvSpPr>
          <p:spPr bwMode="gray">
            <a:xfrm>
              <a:off x="6698147" y="3079846"/>
              <a:ext cx="573253" cy="656987"/>
            </a:xfrm>
            <a:custGeom>
              <a:avLst/>
              <a:gdLst/>
              <a:ahLst/>
              <a:cxnLst>
                <a:cxn ang="0">
                  <a:pos x="161" y="395"/>
                </a:cxn>
                <a:cxn ang="0">
                  <a:pos x="145" y="388"/>
                </a:cxn>
                <a:cxn ang="0">
                  <a:pos x="135" y="395"/>
                </a:cxn>
                <a:cxn ang="0">
                  <a:pos x="123" y="395"/>
                </a:cxn>
                <a:cxn ang="0">
                  <a:pos x="111" y="384"/>
                </a:cxn>
                <a:cxn ang="0">
                  <a:pos x="89" y="384"/>
                </a:cxn>
                <a:cxn ang="0">
                  <a:pos x="77" y="369"/>
                </a:cxn>
                <a:cxn ang="0">
                  <a:pos x="65" y="359"/>
                </a:cxn>
                <a:cxn ang="0">
                  <a:pos x="57" y="355"/>
                </a:cxn>
                <a:cxn ang="0">
                  <a:pos x="38" y="352"/>
                </a:cxn>
                <a:cxn ang="0">
                  <a:pos x="29" y="335"/>
                </a:cxn>
                <a:cxn ang="0">
                  <a:pos x="22" y="270"/>
                </a:cxn>
                <a:cxn ang="0">
                  <a:pos x="15" y="198"/>
                </a:cxn>
                <a:cxn ang="0">
                  <a:pos x="7" y="126"/>
                </a:cxn>
                <a:cxn ang="0">
                  <a:pos x="0" y="78"/>
                </a:cxn>
                <a:cxn ang="0">
                  <a:pos x="82" y="67"/>
                </a:cxn>
                <a:cxn ang="0">
                  <a:pos x="161" y="75"/>
                </a:cxn>
                <a:cxn ang="0">
                  <a:pos x="168" y="84"/>
                </a:cxn>
                <a:cxn ang="0">
                  <a:pos x="227" y="70"/>
                </a:cxn>
                <a:cxn ang="0">
                  <a:pos x="297" y="20"/>
                </a:cxn>
                <a:cxn ang="0">
                  <a:pos x="342" y="53"/>
                </a:cxn>
                <a:cxn ang="0">
                  <a:pos x="356" y="143"/>
                </a:cxn>
                <a:cxn ang="0">
                  <a:pos x="345" y="152"/>
                </a:cxn>
                <a:cxn ang="0">
                  <a:pos x="352" y="162"/>
                </a:cxn>
                <a:cxn ang="0">
                  <a:pos x="356" y="179"/>
                </a:cxn>
                <a:cxn ang="0">
                  <a:pos x="350" y="196"/>
                </a:cxn>
                <a:cxn ang="0">
                  <a:pos x="349" y="220"/>
                </a:cxn>
                <a:cxn ang="0">
                  <a:pos x="345" y="224"/>
                </a:cxn>
                <a:cxn ang="0">
                  <a:pos x="345" y="232"/>
                </a:cxn>
                <a:cxn ang="0">
                  <a:pos x="347" y="246"/>
                </a:cxn>
                <a:cxn ang="0">
                  <a:pos x="345" y="256"/>
                </a:cxn>
                <a:cxn ang="0">
                  <a:pos x="333" y="266"/>
                </a:cxn>
                <a:cxn ang="0">
                  <a:pos x="323" y="280"/>
                </a:cxn>
                <a:cxn ang="0">
                  <a:pos x="316" y="287"/>
                </a:cxn>
                <a:cxn ang="0">
                  <a:pos x="303" y="287"/>
                </a:cxn>
                <a:cxn ang="0">
                  <a:pos x="294" y="304"/>
                </a:cxn>
                <a:cxn ang="0">
                  <a:pos x="284" y="311"/>
                </a:cxn>
                <a:cxn ang="0">
                  <a:pos x="280" y="326"/>
                </a:cxn>
                <a:cxn ang="0">
                  <a:pos x="282" y="333"/>
                </a:cxn>
                <a:cxn ang="0">
                  <a:pos x="279" y="340"/>
                </a:cxn>
                <a:cxn ang="0">
                  <a:pos x="274" y="348"/>
                </a:cxn>
                <a:cxn ang="0">
                  <a:pos x="268" y="338"/>
                </a:cxn>
                <a:cxn ang="0">
                  <a:pos x="260" y="340"/>
                </a:cxn>
                <a:cxn ang="0">
                  <a:pos x="255" y="357"/>
                </a:cxn>
                <a:cxn ang="0">
                  <a:pos x="253" y="374"/>
                </a:cxn>
                <a:cxn ang="0">
                  <a:pos x="248" y="384"/>
                </a:cxn>
                <a:cxn ang="0">
                  <a:pos x="241" y="403"/>
                </a:cxn>
                <a:cxn ang="0">
                  <a:pos x="226" y="408"/>
                </a:cxn>
                <a:cxn ang="0">
                  <a:pos x="214" y="395"/>
                </a:cxn>
                <a:cxn ang="0">
                  <a:pos x="200" y="389"/>
                </a:cxn>
                <a:cxn ang="0">
                  <a:pos x="195" y="376"/>
                </a:cxn>
                <a:cxn ang="0">
                  <a:pos x="181" y="383"/>
                </a:cxn>
                <a:cxn ang="0">
                  <a:pos x="168" y="391"/>
                </a:cxn>
              </a:cxnLst>
              <a:rect l="0" t="0" r="r" b="b"/>
              <a:pathLst>
                <a:path w="356" h="408">
                  <a:moveTo>
                    <a:pt x="166" y="395"/>
                  </a:moveTo>
                  <a:lnTo>
                    <a:pt x="164" y="395"/>
                  </a:lnTo>
                  <a:lnTo>
                    <a:pt x="162" y="396"/>
                  </a:lnTo>
                  <a:lnTo>
                    <a:pt x="161" y="395"/>
                  </a:lnTo>
                  <a:lnTo>
                    <a:pt x="161" y="391"/>
                  </a:lnTo>
                  <a:lnTo>
                    <a:pt x="157" y="389"/>
                  </a:lnTo>
                  <a:lnTo>
                    <a:pt x="151" y="389"/>
                  </a:lnTo>
                  <a:lnTo>
                    <a:pt x="145" y="388"/>
                  </a:lnTo>
                  <a:lnTo>
                    <a:pt x="144" y="388"/>
                  </a:lnTo>
                  <a:lnTo>
                    <a:pt x="135" y="389"/>
                  </a:lnTo>
                  <a:lnTo>
                    <a:pt x="135" y="391"/>
                  </a:lnTo>
                  <a:lnTo>
                    <a:pt x="135" y="395"/>
                  </a:lnTo>
                  <a:lnTo>
                    <a:pt x="133" y="396"/>
                  </a:lnTo>
                  <a:lnTo>
                    <a:pt x="132" y="396"/>
                  </a:lnTo>
                  <a:lnTo>
                    <a:pt x="128" y="396"/>
                  </a:lnTo>
                  <a:lnTo>
                    <a:pt x="123" y="395"/>
                  </a:lnTo>
                  <a:lnTo>
                    <a:pt x="121" y="391"/>
                  </a:lnTo>
                  <a:lnTo>
                    <a:pt x="118" y="389"/>
                  </a:lnTo>
                  <a:lnTo>
                    <a:pt x="115" y="386"/>
                  </a:lnTo>
                  <a:lnTo>
                    <a:pt x="111" y="384"/>
                  </a:lnTo>
                  <a:lnTo>
                    <a:pt x="106" y="383"/>
                  </a:lnTo>
                  <a:lnTo>
                    <a:pt x="99" y="386"/>
                  </a:lnTo>
                  <a:lnTo>
                    <a:pt x="96" y="386"/>
                  </a:lnTo>
                  <a:lnTo>
                    <a:pt x="89" y="384"/>
                  </a:lnTo>
                  <a:lnTo>
                    <a:pt x="84" y="383"/>
                  </a:lnTo>
                  <a:lnTo>
                    <a:pt x="82" y="376"/>
                  </a:lnTo>
                  <a:lnTo>
                    <a:pt x="80" y="371"/>
                  </a:lnTo>
                  <a:lnTo>
                    <a:pt x="77" y="369"/>
                  </a:lnTo>
                  <a:lnTo>
                    <a:pt x="74" y="362"/>
                  </a:lnTo>
                  <a:lnTo>
                    <a:pt x="72" y="359"/>
                  </a:lnTo>
                  <a:lnTo>
                    <a:pt x="67" y="360"/>
                  </a:lnTo>
                  <a:lnTo>
                    <a:pt x="65" y="359"/>
                  </a:lnTo>
                  <a:lnTo>
                    <a:pt x="63" y="355"/>
                  </a:lnTo>
                  <a:lnTo>
                    <a:pt x="62" y="352"/>
                  </a:lnTo>
                  <a:lnTo>
                    <a:pt x="58" y="354"/>
                  </a:lnTo>
                  <a:lnTo>
                    <a:pt x="57" y="355"/>
                  </a:lnTo>
                  <a:lnTo>
                    <a:pt x="50" y="359"/>
                  </a:lnTo>
                  <a:lnTo>
                    <a:pt x="48" y="359"/>
                  </a:lnTo>
                  <a:lnTo>
                    <a:pt x="45" y="357"/>
                  </a:lnTo>
                  <a:lnTo>
                    <a:pt x="38" y="352"/>
                  </a:lnTo>
                  <a:lnTo>
                    <a:pt x="34" y="357"/>
                  </a:lnTo>
                  <a:lnTo>
                    <a:pt x="33" y="357"/>
                  </a:lnTo>
                  <a:lnTo>
                    <a:pt x="29" y="335"/>
                  </a:lnTo>
                  <a:lnTo>
                    <a:pt x="29" y="335"/>
                  </a:lnTo>
                  <a:lnTo>
                    <a:pt x="27" y="313"/>
                  </a:lnTo>
                  <a:lnTo>
                    <a:pt x="26" y="307"/>
                  </a:lnTo>
                  <a:lnTo>
                    <a:pt x="24" y="289"/>
                  </a:lnTo>
                  <a:lnTo>
                    <a:pt x="22" y="270"/>
                  </a:lnTo>
                  <a:lnTo>
                    <a:pt x="21" y="260"/>
                  </a:lnTo>
                  <a:lnTo>
                    <a:pt x="17" y="225"/>
                  </a:lnTo>
                  <a:lnTo>
                    <a:pt x="17" y="222"/>
                  </a:lnTo>
                  <a:lnTo>
                    <a:pt x="15" y="198"/>
                  </a:lnTo>
                  <a:lnTo>
                    <a:pt x="14" y="183"/>
                  </a:lnTo>
                  <a:lnTo>
                    <a:pt x="10" y="160"/>
                  </a:lnTo>
                  <a:lnTo>
                    <a:pt x="10" y="154"/>
                  </a:lnTo>
                  <a:lnTo>
                    <a:pt x="7" y="126"/>
                  </a:lnTo>
                  <a:lnTo>
                    <a:pt x="5" y="123"/>
                  </a:lnTo>
                  <a:lnTo>
                    <a:pt x="4" y="108"/>
                  </a:lnTo>
                  <a:lnTo>
                    <a:pt x="4" y="96"/>
                  </a:lnTo>
                  <a:lnTo>
                    <a:pt x="0" y="78"/>
                  </a:lnTo>
                  <a:lnTo>
                    <a:pt x="33" y="73"/>
                  </a:lnTo>
                  <a:lnTo>
                    <a:pt x="34" y="73"/>
                  </a:lnTo>
                  <a:lnTo>
                    <a:pt x="74" y="68"/>
                  </a:lnTo>
                  <a:lnTo>
                    <a:pt x="82" y="67"/>
                  </a:lnTo>
                  <a:lnTo>
                    <a:pt x="104" y="63"/>
                  </a:lnTo>
                  <a:lnTo>
                    <a:pt x="132" y="70"/>
                  </a:lnTo>
                  <a:lnTo>
                    <a:pt x="144" y="77"/>
                  </a:lnTo>
                  <a:lnTo>
                    <a:pt x="161" y="75"/>
                  </a:lnTo>
                  <a:lnTo>
                    <a:pt x="162" y="78"/>
                  </a:lnTo>
                  <a:lnTo>
                    <a:pt x="140" y="87"/>
                  </a:lnTo>
                  <a:lnTo>
                    <a:pt x="154" y="89"/>
                  </a:lnTo>
                  <a:lnTo>
                    <a:pt x="168" y="84"/>
                  </a:lnTo>
                  <a:lnTo>
                    <a:pt x="183" y="89"/>
                  </a:lnTo>
                  <a:lnTo>
                    <a:pt x="198" y="82"/>
                  </a:lnTo>
                  <a:lnTo>
                    <a:pt x="222" y="68"/>
                  </a:lnTo>
                  <a:lnTo>
                    <a:pt x="227" y="70"/>
                  </a:lnTo>
                  <a:lnTo>
                    <a:pt x="245" y="68"/>
                  </a:lnTo>
                  <a:lnTo>
                    <a:pt x="263" y="49"/>
                  </a:lnTo>
                  <a:lnTo>
                    <a:pt x="270" y="39"/>
                  </a:lnTo>
                  <a:lnTo>
                    <a:pt x="297" y="20"/>
                  </a:lnTo>
                  <a:lnTo>
                    <a:pt x="333" y="0"/>
                  </a:lnTo>
                  <a:lnTo>
                    <a:pt x="335" y="15"/>
                  </a:lnTo>
                  <a:lnTo>
                    <a:pt x="340" y="53"/>
                  </a:lnTo>
                  <a:lnTo>
                    <a:pt x="342" y="53"/>
                  </a:lnTo>
                  <a:lnTo>
                    <a:pt x="347" y="92"/>
                  </a:lnTo>
                  <a:lnTo>
                    <a:pt x="352" y="116"/>
                  </a:lnTo>
                  <a:lnTo>
                    <a:pt x="352" y="121"/>
                  </a:lnTo>
                  <a:lnTo>
                    <a:pt x="356" y="143"/>
                  </a:lnTo>
                  <a:lnTo>
                    <a:pt x="352" y="147"/>
                  </a:lnTo>
                  <a:lnTo>
                    <a:pt x="349" y="147"/>
                  </a:lnTo>
                  <a:lnTo>
                    <a:pt x="347" y="149"/>
                  </a:lnTo>
                  <a:lnTo>
                    <a:pt x="345" y="152"/>
                  </a:lnTo>
                  <a:lnTo>
                    <a:pt x="345" y="154"/>
                  </a:lnTo>
                  <a:lnTo>
                    <a:pt x="349" y="155"/>
                  </a:lnTo>
                  <a:lnTo>
                    <a:pt x="350" y="159"/>
                  </a:lnTo>
                  <a:lnTo>
                    <a:pt x="352" y="162"/>
                  </a:lnTo>
                  <a:lnTo>
                    <a:pt x="352" y="171"/>
                  </a:lnTo>
                  <a:lnTo>
                    <a:pt x="352" y="172"/>
                  </a:lnTo>
                  <a:lnTo>
                    <a:pt x="354" y="172"/>
                  </a:lnTo>
                  <a:lnTo>
                    <a:pt x="356" y="179"/>
                  </a:lnTo>
                  <a:lnTo>
                    <a:pt x="356" y="183"/>
                  </a:lnTo>
                  <a:lnTo>
                    <a:pt x="352" y="188"/>
                  </a:lnTo>
                  <a:lnTo>
                    <a:pt x="350" y="193"/>
                  </a:lnTo>
                  <a:lnTo>
                    <a:pt x="350" y="196"/>
                  </a:lnTo>
                  <a:lnTo>
                    <a:pt x="350" y="198"/>
                  </a:lnTo>
                  <a:lnTo>
                    <a:pt x="349" y="210"/>
                  </a:lnTo>
                  <a:lnTo>
                    <a:pt x="350" y="217"/>
                  </a:lnTo>
                  <a:lnTo>
                    <a:pt x="349" y="220"/>
                  </a:lnTo>
                  <a:lnTo>
                    <a:pt x="349" y="224"/>
                  </a:lnTo>
                  <a:lnTo>
                    <a:pt x="349" y="224"/>
                  </a:lnTo>
                  <a:lnTo>
                    <a:pt x="347" y="224"/>
                  </a:lnTo>
                  <a:lnTo>
                    <a:pt x="345" y="224"/>
                  </a:lnTo>
                  <a:lnTo>
                    <a:pt x="345" y="225"/>
                  </a:lnTo>
                  <a:lnTo>
                    <a:pt x="347" y="229"/>
                  </a:lnTo>
                  <a:lnTo>
                    <a:pt x="347" y="231"/>
                  </a:lnTo>
                  <a:lnTo>
                    <a:pt x="345" y="232"/>
                  </a:lnTo>
                  <a:lnTo>
                    <a:pt x="347" y="236"/>
                  </a:lnTo>
                  <a:lnTo>
                    <a:pt x="344" y="243"/>
                  </a:lnTo>
                  <a:lnTo>
                    <a:pt x="345" y="244"/>
                  </a:lnTo>
                  <a:lnTo>
                    <a:pt x="347" y="246"/>
                  </a:lnTo>
                  <a:lnTo>
                    <a:pt x="347" y="248"/>
                  </a:lnTo>
                  <a:lnTo>
                    <a:pt x="345" y="251"/>
                  </a:lnTo>
                  <a:lnTo>
                    <a:pt x="345" y="253"/>
                  </a:lnTo>
                  <a:lnTo>
                    <a:pt x="345" y="256"/>
                  </a:lnTo>
                  <a:lnTo>
                    <a:pt x="342" y="258"/>
                  </a:lnTo>
                  <a:lnTo>
                    <a:pt x="340" y="260"/>
                  </a:lnTo>
                  <a:lnTo>
                    <a:pt x="337" y="263"/>
                  </a:lnTo>
                  <a:lnTo>
                    <a:pt x="333" y="266"/>
                  </a:lnTo>
                  <a:lnTo>
                    <a:pt x="333" y="268"/>
                  </a:lnTo>
                  <a:lnTo>
                    <a:pt x="330" y="273"/>
                  </a:lnTo>
                  <a:lnTo>
                    <a:pt x="328" y="277"/>
                  </a:lnTo>
                  <a:lnTo>
                    <a:pt x="323" y="280"/>
                  </a:lnTo>
                  <a:lnTo>
                    <a:pt x="323" y="284"/>
                  </a:lnTo>
                  <a:lnTo>
                    <a:pt x="320" y="284"/>
                  </a:lnTo>
                  <a:lnTo>
                    <a:pt x="320" y="287"/>
                  </a:lnTo>
                  <a:lnTo>
                    <a:pt x="316" y="287"/>
                  </a:lnTo>
                  <a:lnTo>
                    <a:pt x="313" y="292"/>
                  </a:lnTo>
                  <a:lnTo>
                    <a:pt x="309" y="292"/>
                  </a:lnTo>
                  <a:lnTo>
                    <a:pt x="304" y="287"/>
                  </a:lnTo>
                  <a:lnTo>
                    <a:pt x="303" y="287"/>
                  </a:lnTo>
                  <a:lnTo>
                    <a:pt x="301" y="287"/>
                  </a:lnTo>
                  <a:lnTo>
                    <a:pt x="296" y="294"/>
                  </a:lnTo>
                  <a:lnTo>
                    <a:pt x="294" y="295"/>
                  </a:lnTo>
                  <a:lnTo>
                    <a:pt x="294" y="304"/>
                  </a:lnTo>
                  <a:lnTo>
                    <a:pt x="287" y="304"/>
                  </a:lnTo>
                  <a:lnTo>
                    <a:pt x="286" y="306"/>
                  </a:lnTo>
                  <a:lnTo>
                    <a:pt x="286" y="309"/>
                  </a:lnTo>
                  <a:lnTo>
                    <a:pt x="284" y="311"/>
                  </a:lnTo>
                  <a:lnTo>
                    <a:pt x="280" y="316"/>
                  </a:lnTo>
                  <a:lnTo>
                    <a:pt x="282" y="321"/>
                  </a:lnTo>
                  <a:lnTo>
                    <a:pt x="282" y="325"/>
                  </a:lnTo>
                  <a:lnTo>
                    <a:pt x="280" y="326"/>
                  </a:lnTo>
                  <a:lnTo>
                    <a:pt x="277" y="326"/>
                  </a:lnTo>
                  <a:lnTo>
                    <a:pt x="277" y="328"/>
                  </a:lnTo>
                  <a:lnTo>
                    <a:pt x="279" y="330"/>
                  </a:lnTo>
                  <a:lnTo>
                    <a:pt x="282" y="333"/>
                  </a:lnTo>
                  <a:lnTo>
                    <a:pt x="282" y="338"/>
                  </a:lnTo>
                  <a:lnTo>
                    <a:pt x="284" y="342"/>
                  </a:lnTo>
                  <a:lnTo>
                    <a:pt x="282" y="343"/>
                  </a:lnTo>
                  <a:lnTo>
                    <a:pt x="279" y="340"/>
                  </a:lnTo>
                  <a:lnTo>
                    <a:pt x="279" y="342"/>
                  </a:lnTo>
                  <a:lnTo>
                    <a:pt x="277" y="348"/>
                  </a:lnTo>
                  <a:lnTo>
                    <a:pt x="275" y="350"/>
                  </a:lnTo>
                  <a:lnTo>
                    <a:pt x="274" y="348"/>
                  </a:lnTo>
                  <a:lnTo>
                    <a:pt x="272" y="348"/>
                  </a:lnTo>
                  <a:lnTo>
                    <a:pt x="274" y="343"/>
                  </a:lnTo>
                  <a:lnTo>
                    <a:pt x="270" y="338"/>
                  </a:lnTo>
                  <a:lnTo>
                    <a:pt x="268" y="338"/>
                  </a:lnTo>
                  <a:lnTo>
                    <a:pt x="267" y="338"/>
                  </a:lnTo>
                  <a:lnTo>
                    <a:pt x="263" y="335"/>
                  </a:lnTo>
                  <a:lnTo>
                    <a:pt x="260" y="337"/>
                  </a:lnTo>
                  <a:lnTo>
                    <a:pt x="260" y="340"/>
                  </a:lnTo>
                  <a:lnTo>
                    <a:pt x="258" y="340"/>
                  </a:lnTo>
                  <a:lnTo>
                    <a:pt x="256" y="343"/>
                  </a:lnTo>
                  <a:lnTo>
                    <a:pt x="255" y="350"/>
                  </a:lnTo>
                  <a:lnTo>
                    <a:pt x="255" y="357"/>
                  </a:lnTo>
                  <a:lnTo>
                    <a:pt x="251" y="360"/>
                  </a:lnTo>
                  <a:lnTo>
                    <a:pt x="250" y="364"/>
                  </a:lnTo>
                  <a:lnTo>
                    <a:pt x="253" y="371"/>
                  </a:lnTo>
                  <a:lnTo>
                    <a:pt x="253" y="374"/>
                  </a:lnTo>
                  <a:lnTo>
                    <a:pt x="255" y="379"/>
                  </a:lnTo>
                  <a:lnTo>
                    <a:pt x="255" y="383"/>
                  </a:lnTo>
                  <a:lnTo>
                    <a:pt x="253" y="384"/>
                  </a:lnTo>
                  <a:lnTo>
                    <a:pt x="248" y="384"/>
                  </a:lnTo>
                  <a:lnTo>
                    <a:pt x="246" y="386"/>
                  </a:lnTo>
                  <a:lnTo>
                    <a:pt x="246" y="398"/>
                  </a:lnTo>
                  <a:lnTo>
                    <a:pt x="246" y="401"/>
                  </a:lnTo>
                  <a:lnTo>
                    <a:pt x="241" y="403"/>
                  </a:lnTo>
                  <a:lnTo>
                    <a:pt x="239" y="403"/>
                  </a:lnTo>
                  <a:lnTo>
                    <a:pt x="233" y="407"/>
                  </a:lnTo>
                  <a:lnTo>
                    <a:pt x="229" y="408"/>
                  </a:lnTo>
                  <a:lnTo>
                    <a:pt x="226" y="408"/>
                  </a:lnTo>
                  <a:lnTo>
                    <a:pt x="226" y="407"/>
                  </a:lnTo>
                  <a:lnTo>
                    <a:pt x="222" y="401"/>
                  </a:lnTo>
                  <a:lnTo>
                    <a:pt x="217" y="398"/>
                  </a:lnTo>
                  <a:lnTo>
                    <a:pt x="214" y="395"/>
                  </a:lnTo>
                  <a:lnTo>
                    <a:pt x="210" y="395"/>
                  </a:lnTo>
                  <a:lnTo>
                    <a:pt x="205" y="395"/>
                  </a:lnTo>
                  <a:lnTo>
                    <a:pt x="203" y="393"/>
                  </a:lnTo>
                  <a:lnTo>
                    <a:pt x="200" y="389"/>
                  </a:lnTo>
                  <a:lnTo>
                    <a:pt x="198" y="384"/>
                  </a:lnTo>
                  <a:lnTo>
                    <a:pt x="197" y="381"/>
                  </a:lnTo>
                  <a:lnTo>
                    <a:pt x="197" y="378"/>
                  </a:lnTo>
                  <a:lnTo>
                    <a:pt x="195" y="376"/>
                  </a:lnTo>
                  <a:lnTo>
                    <a:pt x="192" y="376"/>
                  </a:lnTo>
                  <a:lnTo>
                    <a:pt x="188" y="379"/>
                  </a:lnTo>
                  <a:lnTo>
                    <a:pt x="185" y="379"/>
                  </a:lnTo>
                  <a:lnTo>
                    <a:pt x="181" y="383"/>
                  </a:lnTo>
                  <a:lnTo>
                    <a:pt x="178" y="386"/>
                  </a:lnTo>
                  <a:lnTo>
                    <a:pt x="176" y="391"/>
                  </a:lnTo>
                  <a:lnTo>
                    <a:pt x="173" y="393"/>
                  </a:lnTo>
                  <a:lnTo>
                    <a:pt x="168" y="391"/>
                  </a:lnTo>
                  <a:lnTo>
                    <a:pt x="166" y="395"/>
                  </a:lnTo>
                  <a:close/>
                </a:path>
              </a:pathLst>
            </a:custGeom>
            <a:grpFill/>
            <a:ln w="6350">
              <a:solidFill>
                <a:schemeClr val="bg1"/>
              </a:solidFill>
              <a:round/>
              <a:headEnd/>
              <a:tailEnd/>
            </a:ln>
          </p:spPr>
          <p:txBody>
            <a:bodyPr vert="horz" wrap="square" lIns="44450" tIns="44450" rIns="44450" bIns="4445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35" name="Freeform 31">
              <a:extLst>
                <a:ext uri="{FF2B5EF4-FFF2-40B4-BE49-F238E27FC236}">
                  <a16:creationId xmlns:a16="http://schemas.microsoft.com/office/drawing/2014/main" id="{99A6A620-5BE3-421B-BCA4-E0D974C41666}"/>
                </a:ext>
              </a:extLst>
            </p:cNvPr>
            <p:cNvSpPr>
              <a:spLocks/>
            </p:cNvSpPr>
            <p:nvPr/>
          </p:nvSpPr>
          <p:spPr bwMode="gray">
            <a:xfrm>
              <a:off x="5852759" y="3110443"/>
              <a:ext cx="545879" cy="964547"/>
            </a:xfrm>
            <a:custGeom>
              <a:avLst/>
              <a:gdLst/>
              <a:ahLst/>
              <a:cxnLst>
                <a:cxn ang="0">
                  <a:pos x="270" y="552"/>
                </a:cxn>
                <a:cxn ang="0">
                  <a:pos x="274" y="586"/>
                </a:cxn>
                <a:cxn ang="0">
                  <a:pos x="250" y="581"/>
                </a:cxn>
                <a:cxn ang="0">
                  <a:pos x="219" y="586"/>
                </a:cxn>
                <a:cxn ang="0">
                  <a:pos x="212" y="599"/>
                </a:cxn>
                <a:cxn ang="0">
                  <a:pos x="202" y="593"/>
                </a:cxn>
                <a:cxn ang="0">
                  <a:pos x="197" y="589"/>
                </a:cxn>
                <a:cxn ang="0">
                  <a:pos x="183" y="570"/>
                </a:cxn>
                <a:cxn ang="0">
                  <a:pos x="188" y="552"/>
                </a:cxn>
                <a:cxn ang="0">
                  <a:pos x="180" y="526"/>
                </a:cxn>
                <a:cxn ang="0">
                  <a:pos x="151" y="505"/>
                </a:cxn>
                <a:cxn ang="0">
                  <a:pos x="142" y="499"/>
                </a:cxn>
                <a:cxn ang="0">
                  <a:pos x="115" y="483"/>
                </a:cxn>
                <a:cxn ang="0">
                  <a:pos x="106" y="456"/>
                </a:cxn>
                <a:cxn ang="0">
                  <a:pos x="118" y="425"/>
                </a:cxn>
                <a:cxn ang="0">
                  <a:pos x="123" y="406"/>
                </a:cxn>
                <a:cxn ang="0">
                  <a:pos x="93" y="394"/>
                </a:cxn>
                <a:cxn ang="0">
                  <a:pos x="72" y="384"/>
                </a:cxn>
                <a:cxn ang="0">
                  <a:pos x="65" y="360"/>
                </a:cxn>
                <a:cxn ang="0">
                  <a:pos x="33" y="333"/>
                </a:cxn>
                <a:cxn ang="0">
                  <a:pos x="7" y="300"/>
                </a:cxn>
                <a:cxn ang="0">
                  <a:pos x="0" y="280"/>
                </a:cxn>
                <a:cxn ang="0">
                  <a:pos x="7" y="244"/>
                </a:cxn>
                <a:cxn ang="0">
                  <a:pos x="6" y="227"/>
                </a:cxn>
                <a:cxn ang="0">
                  <a:pos x="28" y="212"/>
                </a:cxn>
                <a:cxn ang="0">
                  <a:pos x="40" y="183"/>
                </a:cxn>
                <a:cxn ang="0">
                  <a:pos x="28" y="152"/>
                </a:cxn>
                <a:cxn ang="0">
                  <a:pos x="38" y="131"/>
                </a:cxn>
                <a:cxn ang="0">
                  <a:pos x="70" y="118"/>
                </a:cxn>
                <a:cxn ang="0">
                  <a:pos x="86" y="104"/>
                </a:cxn>
                <a:cxn ang="0">
                  <a:pos x="100" y="66"/>
                </a:cxn>
                <a:cxn ang="0">
                  <a:pos x="91" y="48"/>
                </a:cxn>
                <a:cxn ang="0">
                  <a:pos x="74" y="27"/>
                </a:cxn>
                <a:cxn ang="0">
                  <a:pos x="57" y="13"/>
                </a:cxn>
                <a:cxn ang="0">
                  <a:pos x="190" y="6"/>
                </a:cxn>
                <a:cxn ang="0">
                  <a:pos x="279" y="18"/>
                </a:cxn>
                <a:cxn ang="0">
                  <a:pos x="313" y="124"/>
                </a:cxn>
                <a:cxn ang="0">
                  <a:pos x="323" y="247"/>
                </a:cxn>
                <a:cxn ang="0">
                  <a:pos x="323" y="340"/>
                </a:cxn>
                <a:cxn ang="0">
                  <a:pos x="327" y="352"/>
                </a:cxn>
                <a:cxn ang="0">
                  <a:pos x="325" y="362"/>
                </a:cxn>
                <a:cxn ang="0">
                  <a:pos x="334" y="374"/>
                </a:cxn>
                <a:cxn ang="0">
                  <a:pos x="339" y="394"/>
                </a:cxn>
                <a:cxn ang="0">
                  <a:pos x="330" y="412"/>
                </a:cxn>
                <a:cxn ang="0">
                  <a:pos x="329" y="425"/>
                </a:cxn>
                <a:cxn ang="0">
                  <a:pos x="323" y="434"/>
                </a:cxn>
                <a:cxn ang="0">
                  <a:pos x="313" y="447"/>
                </a:cxn>
                <a:cxn ang="0">
                  <a:pos x="305" y="458"/>
                </a:cxn>
                <a:cxn ang="0">
                  <a:pos x="306" y="470"/>
                </a:cxn>
                <a:cxn ang="0">
                  <a:pos x="301" y="478"/>
                </a:cxn>
                <a:cxn ang="0">
                  <a:pos x="303" y="490"/>
                </a:cxn>
                <a:cxn ang="0">
                  <a:pos x="303" y="495"/>
                </a:cxn>
                <a:cxn ang="0">
                  <a:pos x="300" y="502"/>
                </a:cxn>
                <a:cxn ang="0">
                  <a:pos x="294" y="524"/>
                </a:cxn>
              </a:cxnLst>
              <a:rect l="0" t="0" r="r" b="b"/>
              <a:pathLst>
                <a:path w="339" h="599">
                  <a:moveTo>
                    <a:pt x="303" y="536"/>
                  </a:moveTo>
                  <a:lnTo>
                    <a:pt x="303" y="540"/>
                  </a:lnTo>
                  <a:lnTo>
                    <a:pt x="284" y="545"/>
                  </a:lnTo>
                  <a:lnTo>
                    <a:pt x="281" y="550"/>
                  </a:lnTo>
                  <a:lnTo>
                    <a:pt x="276" y="548"/>
                  </a:lnTo>
                  <a:lnTo>
                    <a:pt x="270" y="552"/>
                  </a:lnTo>
                  <a:lnTo>
                    <a:pt x="269" y="562"/>
                  </a:lnTo>
                  <a:lnTo>
                    <a:pt x="269" y="567"/>
                  </a:lnTo>
                  <a:lnTo>
                    <a:pt x="274" y="572"/>
                  </a:lnTo>
                  <a:lnTo>
                    <a:pt x="277" y="577"/>
                  </a:lnTo>
                  <a:lnTo>
                    <a:pt x="276" y="584"/>
                  </a:lnTo>
                  <a:lnTo>
                    <a:pt x="274" y="586"/>
                  </a:lnTo>
                  <a:lnTo>
                    <a:pt x="272" y="588"/>
                  </a:lnTo>
                  <a:lnTo>
                    <a:pt x="270" y="588"/>
                  </a:lnTo>
                  <a:lnTo>
                    <a:pt x="265" y="588"/>
                  </a:lnTo>
                  <a:lnTo>
                    <a:pt x="262" y="584"/>
                  </a:lnTo>
                  <a:lnTo>
                    <a:pt x="255" y="581"/>
                  </a:lnTo>
                  <a:lnTo>
                    <a:pt x="250" y="581"/>
                  </a:lnTo>
                  <a:lnTo>
                    <a:pt x="250" y="579"/>
                  </a:lnTo>
                  <a:lnTo>
                    <a:pt x="240" y="576"/>
                  </a:lnTo>
                  <a:lnTo>
                    <a:pt x="233" y="574"/>
                  </a:lnTo>
                  <a:lnTo>
                    <a:pt x="228" y="574"/>
                  </a:lnTo>
                  <a:lnTo>
                    <a:pt x="223" y="577"/>
                  </a:lnTo>
                  <a:lnTo>
                    <a:pt x="219" y="586"/>
                  </a:lnTo>
                  <a:lnTo>
                    <a:pt x="216" y="589"/>
                  </a:lnTo>
                  <a:lnTo>
                    <a:pt x="214" y="591"/>
                  </a:lnTo>
                  <a:lnTo>
                    <a:pt x="214" y="596"/>
                  </a:lnTo>
                  <a:lnTo>
                    <a:pt x="217" y="599"/>
                  </a:lnTo>
                  <a:lnTo>
                    <a:pt x="219" y="599"/>
                  </a:lnTo>
                  <a:lnTo>
                    <a:pt x="212" y="599"/>
                  </a:lnTo>
                  <a:lnTo>
                    <a:pt x="211" y="596"/>
                  </a:lnTo>
                  <a:lnTo>
                    <a:pt x="209" y="594"/>
                  </a:lnTo>
                  <a:lnTo>
                    <a:pt x="206" y="589"/>
                  </a:lnTo>
                  <a:lnTo>
                    <a:pt x="204" y="589"/>
                  </a:lnTo>
                  <a:lnTo>
                    <a:pt x="204" y="591"/>
                  </a:lnTo>
                  <a:lnTo>
                    <a:pt x="202" y="593"/>
                  </a:lnTo>
                  <a:lnTo>
                    <a:pt x="207" y="596"/>
                  </a:lnTo>
                  <a:lnTo>
                    <a:pt x="207" y="598"/>
                  </a:lnTo>
                  <a:lnTo>
                    <a:pt x="206" y="599"/>
                  </a:lnTo>
                  <a:lnTo>
                    <a:pt x="204" y="598"/>
                  </a:lnTo>
                  <a:lnTo>
                    <a:pt x="197" y="594"/>
                  </a:lnTo>
                  <a:lnTo>
                    <a:pt x="197" y="589"/>
                  </a:lnTo>
                  <a:lnTo>
                    <a:pt x="192" y="586"/>
                  </a:lnTo>
                  <a:lnTo>
                    <a:pt x="190" y="582"/>
                  </a:lnTo>
                  <a:lnTo>
                    <a:pt x="188" y="576"/>
                  </a:lnTo>
                  <a:lnTo>
                    <a:pt x="188" y="574"/>
                  </a:lnTo>
                  <a:lnTo>
                    <a:pt x="187" y="572"/>
                  </a:lnTo>
                  <a:lnTo>
                    <a:pt x="183" y="570"/>
                  </a:lnTo>
                  <a:lnTo>
                    <a:pt x="183" y="567"/>
                  </a:lnTo>
                  <a:lnTo>
                    <a:pt x="185" y="565"/>
                  </a:lnTo>
                  <a:lnTo>
                    <a:pt x="187" y="564"/>
                  </a:lnTo>
                  <a:lnTo>
                    <a:pt x="190" y="562"/>
                  </a:lnTo>
                  <a:lnTo>
                    <a:pt x="190" y="555"/>
                  </a:lnTo>
                  <a:lnTo>
                    <a:pt x="188" y="552"/>
                  </a:lnTo>
                  <a:lnTo>
                    <a:pt x="183" y="548"/>
                  </a:lnTo>
                  <a:lnTo>
                    <a:pt x="180" y="540"/>
                  </a:lnTo>
                  <a:lnTo>
                    <a:pt x="182" y="535"/>
                  </a:lnTo>
                  <a:lnTo>
                    <a:pt x="180" y="531"/>
                  </a:lnTo>
                  <a:lnTo>
                    <a:pt x="182" y="528"/>
                  </a:lnTo>
                  <a:lnTo>
                    <a:pt x="180" y="526"/>
                  </a:lnTo>
                  <a:lnTo>
                    <a:pt x="175" y="524"/>
                  </a:lnTo>
                  <a:lnTo>
                    <a:pt x="168" y="521"/>
                  </a:lnTo>
                  <a:lnTo>
                    <a:pt x="166" y="517"/>
                  </a:lnTo>
                  <a:lnTo>
                    <a:pt x="164" y="516"/>
                  </a:lnTo>
                  <a:lnTo>
                    <a:pt x="161" y="511"/>
                  </a:lnTo>
                  <a:lnTo>
                    <a:pt x="151" y="505"/>
                  </a:lnTo>
                  <a:lnTo>
                    <a:pt x="151" y="505"/>
                  </a:lnTo>
                  <a:lnTo>
                    <a:pt x="149" y="507"/>
                  </a:lnTo>
                  <a:lnTo>
                    <a:pt x="147" y="509"/>
                  </a:lnTo>
                  <a:lnTo>
                    <a:pt x="144" y="509"/>
                  </a:lnTo>
                  <a:lnTo>
                    <a:pt x="141" y="505"/>
                  </a:lnTo>
                  <a:lnTo>
                    <a:pt x="142" y="499"/>
                  </a:lnTo>
                  <a:lnTo>
                    <a:pt x="137" y="499"/>
                  </a:lnTo>
                  <a:lnTo>
                    <a:pt x="134" y="497"/>
                  </a:lnTo>
                  <a:lnTo>
                    <a:pt x="127" y="494"/>
                  </a:lnTo>
                  <a:lnTo>
                    <a:pt x="127" y="490"/>
                  </a:lnTo>
                  <a:lnTo>
                    <a:pt x="120" y="487"/>
                  </a:lnTo>
                  <a:lnTo>
                    <a:pt x="115" y="483"/>
                  </a:lnTo>
                  <a:lnTo>
                    <a:pt x="113" y="480"/>
                  </a:lnTo>
                  <a:lnTo>
                    <a:pt x="108" y="476"/>
                  </a:lnTo>
                  <a:lnTo>
                    <a:pt x="106" y="471"/>
                  </a:lnTo>
                  <a:lnTo>
                    <a:pt x="105" y="463"/>
                  </a:lnTo>
                  <a:lnTo>
                    <a:pt x="105" y="458"/>
                  </a:lnTo>
                  <a:lnTo>
                    <a:pt x="106" y="456"/>
                  </a:lnTo>
                  <a:lnTo>
                    <a:pt x="110" y="451"/>
                  </a:lnTo>
                  <a:lnTo>
                    <a:pt x="112" y="441"/>
                  </a:lnTo>
                  <a:lnTo>
                    <a:pt x="113" y="439"/>
                  </a:lnTo>
                  <a:lnTo>
                    <a:pt x="113" y="435"/>
                  </a:lnTo>
                  <a:lnTo>
                    <a:pt x="118" y="430"/>
                  </a:lnTo>
                  <a:lnTo>
                    <a:pt x="118" y="425"/>
                  </a:lnTo>
                  <a:lnTo>
                    <a:pt x="117" y="422"/>
                  </a:lnTo>
                  <a:lnTo>
                    <a:pt x="117" y="418"/>
                  </a:lnTo>
                  <a:lnTo>
                    <a:pt x="118" y="413"/>
                  </a:lnTo>
                  <a:lnTo>
                    <a:pt x="122" y="412"/>
                  </a:lnTo>
                  <a:lnTo>
                    <a:pt x="122" y="410"/>
                  </a:lnTo>
                  <a:lnTo>
                    <a:pt x="123" y="406"/>
                  </a:lnTo>
                  <a:lnTo>
                    <a:pt x="122" y="405"/>
                  </a:lnTo>
                  <a:lnTo>
                    <a:pt x="112" y="398"/>
                  </a:lnTo>
                  <a:lnTo>
                    <a:pt x="108" y="398"/>
                  </a:lnTo>
                  <a:lnTo>
                    <a:pt x="105" y="398"/>
                  </a:lnTo>
                  <a:lnTo>
                    <a:pt x="98" y="394"/>
                  </a:lnTo>
                  <a:lnTo>
                    <a:pt x="93" y="394"/>
                  </a:lnTo>
                  <a:lnTo>
                    <a:pt x="88" y="401"/>
                  </a:lnTo>
                  <a:lnTo>
                    <a:pt x="84" y="405"/>
                  </a:lnTo>
                  <a:lnTo>
                    <a:pt x="81" y="403"/>
                  </a:lnTo>
                  <a:lnTo>
                    <a:pt x="76" y="398"/>
                  </a:lnTo>
                  <a:lnTo>
                    <a:pt x="72" y="388"/>
                  </a:lnTo>
                  <a:lnTo>
                    <a:pt x="72" y="384"/>
                  </a:lnTo>
                  <a:lnTo>
                    <a:pt x="74" y="381"/>
                  </a:lnTo>
                  <a:lnTo>
                    <a:pt x="70" y="376"/>
                  </a:lnTo>
                  <a:lnTo>
                    <a:pt x="70" y="370"/>
                  </a:lnTo>
                  <a:lnTo>
                    <a:pt x="69" y="367"/>
                  </a:lnTo>
                  <a:lnTo>
                    <a:pt x="69" y="365"/>
                  </a:lnTo>
                  <a:lnTo>
                    <a:pt x="65" y="360"/>
                  </a:lnTo>
                  <a:lnTo>
                    <a:pt x="59" y="353"/>
                  </a:lnTo>
                  <a:lnTo>
                    <a:pt x="50" y="348"/>
                  </a:lnTo>
                  <a:lnTo>
                    <a:pt x="43" y="345"/>
                  </a:lnTo>
                  <a:lnTo>
                    <a:pt x="40" y="341"/>
                  </a:lnTo>
                  <a:lnTo>
                    <a:pt x="38" y="336"/>
                  </a:lnTo>
                  <a:lnTo>
                    <a:pt x="33" y="333"/>
                  </a:lnTo>
                  <a:lnTo>
                    <a:pt x="28" y="328"/>
                  </a:lnTo>
                  <a:lnTo>
                    <a:pt x="19" y="319"/>
                  </a:lnTo>
                  <a:lnTo>
                    <a:pt x="14" y="316"/>
                  </a:lnTo>
                  <a:lnTo>
                    <a:pt x="14" y="312"/>
                  </a:lnTo>
                  <a:lnTo>
                    <a:pt x="12" y="307"/>
                  </a:lnTo>
                  <a:lnTo>
                    <a:pt x="7" y="300"/>
                  </a:lnTo>
                  <a:lnTo>
                    <a:pt x="7" y="299"/>
                  </a:lnTo>
                  <a:lnTo>
                    <a:pt x="7" y="297"/>
                  </a:lnTo>
                  <a:lnTo>
                    <a:pt x="7" y="295"/>
                  </a:lnTo>
                  <a:lnTo>
                    <a:pt x="7" y="292"/>
                  </a:lnTo>
                  <a:lnTo>
                    <a:pt x="2" y="287"/>
                  </a:lnTo>
                  <a:lnTo>
                    <a:pt x="0" y="280"/>
                  </a:lnTo>
                  <a:lnTo>
                    <a:pt x="0" y="271"/>
                  </a:lnTo>
                  <a:lnTo>
                    <a:pt x="0" y="265"/>
                  </a:lnTo>
                  <a:lnTo>
                    <a:pt x="0" y="259"/>
                  </a:lnTo>
                  <a:lnTo>
                    <a:pt x="2" y="253"/>
                  </a:lnTo>
                  <a:lnTo>
                    <a:pt x="4" y="246"/>
                  </a:lnTo>
                  <a:lnTo>
                    <a:pt x="7" y="244"/>
                  </a:lnTo>
                  <a:lnTo>
                    <a:pt x="9" y="244"/>
                  </a:lnTo>
                  <a:lnTo>
                    <a:pt x="11" y="242"/>
                  </a:lnTo>
                  <a:lnTo>
                    <a:pt x="9" y="237"/>
                  </a:lnTo>
                  <a:lnTo>
                    <a:pt x="9" y="232"/>
                  </a:lnTo>
                  <a:lnTo>
                    <a:pt x="9" y="229"/>
                  </a:lnTo>
                  <a:lnTo>
                    <a:pt x="6" y="227"/>
                  </a:lnTo>
                  <a:lnTo>
                    <a:pt x="6" y="225"/>
                  </a:lnTo>
                  <a:lnTo>
                    <a:pt x="9" y="222"/>
                  </a:lnTo>
                  <a:lnTo>
                    <a:pt x="18" y="217"/>
                  </a:lnTo>
                  <a:lnTo>
                    <a:pt x="21" y="217"/>
                  </a:lnTo>
                  <a:lnTo>
                    <a:pt x="26" y="215"/>
                  </a:lnTo>
                  <a:lnTo>
                    <a:pt x="28" y="212"/>
                  </a:lnTo>
                  <a:lnTo>
                    <a:pt x="29" y="210"/>
                  </a:lnTo>
                  <a:lnTo>
                    <a:pt x="31" y="203"/>
                  </a:lnTo>
                  <a:lnTo>
                    <a:pt x="31" y="194"/>
                  </a:lnTo>
                  <a:lnTo>
                    <a:pt x="33" y="189"/>
                  </a:lnTo>
                  <a:lnTo>
                    <a:pt x="38" y="184"/>
                  </a:lnTo>
                  <a:lnTo>
                    <a:pt x="40" y="183"/>
                  </a:lnTo>
                  <a:lnTo>
                    <a:pt x="40" y="169"/>
                  </a:lnTo>
                  <a:lnTo>
                    <a:pt x="40" y="165"/>
                  </a:lnTo>
                  <a:lnTo>
                    <a:pt x="36" y="160"/>
                  </a:lnTo>
                  <a:lnTo>
                    <a:pt x="35" y="159"/>
                  </a:lnTo>
                  <a:lnTo>
                    <a:pt x="31" y="159"/>
                  </a:lnTo>
                  <a:lnTo>
                    <a:pt x="28" y="152"/>
                  </a:lnTo>
                  <a:lnTo>
                    <a:pt x="28" y="148"/>
                  </a:lnTo>
                  <a:lnTo>
                    <a:pt x="29" y="141"/>
                  </a:lnTo>
                  <a:lnTo>
                    <a:pt x="29" y="133"/>
                  </a:lnTo>
                  <a:lnTo>
                    <a:pt x="33" y="131"/>
                  </a:lnTo>
                  <a:lnTo>
                    <a:pt x="35" y="130"/>
                  </a:lnTo>
                  <a:lnTo>
                    <a:pt x="38" y="131"/>
                  </a:lnTo>
                  <a:lnTo>
                    <a:pt x="47" y="128"/>
                  </a:lnTo>
                  <a:lnTo>
                    <a:pt x="52" y="128"/>
                  </a:lnTo>
                  <a:lnTo>
                    <a:pt x="59" y="126"/>
                  </a:lnTo>
                  <a:lnTo>
                    <a:pt x="62" y="126"/>
                  </a:lnTo>
                  <a:lnTo>
                    <a:pt x="65" y="119"/>
                  </a:lnTo>
                  <a:lnTo>
                    <a:pt x="70" y="118"/>
                  </a:lnTo>
                  <a:lnTo>
                    <a:pt x="77" y="118"/>
                  </a:lnTo>
                  <a:lnTo>
                    <a:pt x="79" y="116"/>
                  </a:lnTo>
                  <a:lnTo>
                    <a:pt x="79" y="112"/>
                  </a:lnTo>
                  <a:lnTo>
                    <a:pt x="86" y="111"/>
                  </a:lnTo>
                  <a:lnTo>
                    <a:pt x="86" y="109"/>
                  </a:lnTo>
                  <a:lnTo>
                    <a:pt x="86" y="104"/>
                  </a:lnTo>
                  <a:lnTo>
                    <a:pt x="86" y="95"/>
                  </a:lnTo>
                  <a:lnTo>
                    <a:pt x="88" y="92"/>
                  </a:lnTo>
                  <a:lnTo>
                    <a:pt x="91" y="89"/>
                  </a:lnTo>
                  <a:lnTo>
                    <a:pt x="96" y="87"/>
                  </a:lnTo>
                  <a:lnTo>
                    <a:pt x="100" y="73"/>
                  </a:lnTo>
                  <a:lnTo>
                    <a:pt x="100" y="66"/>
                  </a:lnTo>
                  <a:lnTo>
                    <a:pt x="98" y="61"/>
                  </a:lnTo>
                  <a:lnTo>
                    <a:pt x="96" y="59"/>
                  </a:lnTo>
                  <a:lnTo>
                    <a:pt x="96" y="54"/>
                  </a:lnTo>
                  <a:lnTo>
                    <a:pt x="96" y="53"/>
                  </a:lnTo>
                  <a:lnTo>
                    <a:pt x="94" y="53"/>
                  </a:lnTo>
                  <a:lnTo>
                    <a:pt x="91" y="48"/>
                  </a:lnTo>
                  <a:lnTo>
                    <a:pt x="84" y="44"/>
                  </a:lnTo>
                  <a:lnTo>
                    <a:pt x="81" y="44"/>
                  </a:lnTo>
                  <a:lnTo>
                    <a:pt x="77" y="41"/>
                  </a:lnTo>
                  <a:lnTo>
                    <a:pt x="76" y="37"/>
                  </a:lnTo>
                  <a:lnTo>
                    <a:pt x="74" y="30"/>
                  </a:lnTo>
                  <a:lnTo>
                    <a:pt x="74" y="27"/>
                  </a:lnTo>
                  <a:lnTo>
                    <a:pt x="69" y="25"/>
                  </a:lnTo>
                  <a:lnTo>
                    <a:pt x="64" y="22"/>
                  </a:lnTo>
                  <a:lnTo>
                    <a:pt x="60" y="18"/>
                  </a:lnTo>
                  <a:lnTo>
                    <a:pt x="57" y="17"/>
                  </a:lnTo>
                  <a:lnTo>
                    <a:pt x="55" y="15"/>
                  </a:lnTo>
                  <a:lnTo>
                    <a:pt x="57" y="13"/>
                  </a:lnTo>
                  <a:lnTo>
                    <a:pt x="74" y="12"/>
                  </a:lnTo>
                  <a:lnTo>
                    <a:pt x="113" y="10"/>
                  </a:lnTo>
                  <a:lnTo>
                    <a:pt x="120" y="10"/>
                  </a:lnTo>
                  <a:lnTo>
                    <a:pt x="154" y="8"/>
                  </a:lnTo>
                  <a:lnTo>
                    <a:pt x="158" y="8"/>
                  </a:lnTo>
                  <a:lnTo>
                    <a:pt x="190" y="6"/>
                  </a:lnTo>
                  <a:lnTo>
                    <a:pt x="204" y="5"/>
                  </a:lnTo>
                  <a:lnTo>
                    <a:pt x="209" y="5"/>
                  </a:lnTo>
                  <a:lnTo>
                    <a:pt x="241" y="1"/>
                  </a:lnTo>
                  <a:lnTo>
                    <a:pt x="248" y="1"/>
                  </a:lnTo>
                  <a:lnTo>
                    <a:pt x="281" y="0"/>
                  </a:lnTo>
                  <a:lnTo>
                    <a:pt x="279" y="18"/>
                  </a:lnTo>
                  <a:lnTo>
                    <a:pt x="286" y="34"/>
                  </a:lnTo>
                  <a:lnTo>
                    <a:pt x="294" y="44"/>
                  </a:lnTo>
                  <a:lnTo>
                    <a:pt x="301" y="66"/>
                  </a:lnTo>
                  <a:lnTo>
                    <a:pt x="308" y="80"/>
                  </a:lnTo>
                  <a:lnTo>
                    <a:pt x="311" y="107"/>
                  </a:lnTo>
                  <a:lnTo>
                    <a:pt x="313" y="124"/>
                  </a:lnTo>
                  <a:lnTo>
                    <a:pt x="313" y="138"/>
                  </a:lnTo>
                  <a:lnTo>
                    <a:pt x="315" y="155"/>
                  </a:lnTo>
                  <a:lnTo>
                    <a:pt x="318" y="184"/>
                  </a:lnTo>
                  <a:lnTo>
                    <a:pt x="320" y="212"/>
                  </a:lnTo>
                  <a:lnTo>
                    <a:pt x="320" y="213"/>
                  </a:lnTo>
                  <a:lnTo>
                    <a:pt x="323" y="247"/>
                  </a:lnTo>
                  <a:lnTo>
                    <a:pt x="325" y="276"/>
                  </a:lnTo>
                  <a:lnTo>
                    <a:pt x="329" y="307"/>
                  </a:lnTo>
                  <a:lnTo>
                    <a:pt x="330" y="321"/>
                  </a:lnTo>
                  <a:lnTo>
                    <a:pt x="330" y="335"/>
                  </a:lnTo>
                  <a:lnTo>
                    <a:pt x="325" y="336"/>
                  </a:lnTo>
                  <a:lnTo>
                    <a:pt x="323" y="340"/>
                  </a:lnTo>
                  <a:lnTo>
                    <a:pt x="325" y="341"/>
                  </a:lnTo>
                  <a:lnTo>
                    <a:pt x="325" y="343"/>
                  </a:lnTo>
                  <a:lnTo>
                    <a:pt x="325" y="345"/>
                  </a:lnTo>
                  <a:lnTo>
                    <a:pt x="329" y="347"/>
                  </a:lnTo>
                  <a:lnTo>
                    <a:pt x="329" y="350"/>
                  </a:lnTo>
                  <a:lnTo>
                    <a:pt x="327" y="352"/>
                  </a:lnTo>
                  <a:lnTo>
                    <a:pt x="327" y="352"/>
                  </a:lnTo>
                  <a:lnTo>
                    <a:pt x="323" y="355"/>
                  </a:lnTo>
                  <a:lnTo>
                    <a:pt x="322" y="357"/>
                  </a:lnTo>
                  <a:lnTo>
                    <a:pt x="323" y="359"/>
                  </a:lnTo>
                  <a:lnTo>
                    <a:pt x="323" y="360"/>
                  </a:lnTo>
                  <a:lnTo>
                    <a:pt x="325" y="362"/>
                  </a:lnTo>
                  <a:lnTo>
                    <a:pt x="325" y="364"/>
                  </a:lnTo>
                  <a:lnTo>
                    <a:pt x="327" y="364"/>
                  </a:lnTo>
                  <a:lnTo>
                    <a:pt x="330" y="365"/>
                  </a:lnTo>
                  <a:lnTo>
                    <a:pt x="330" y="372"/>
                  </a:lnTo>
                  <a:lnTo>
                    <a:pt x="330" y="374"/>
                  </a:lnTo>
                  <a:lnTo>
                    <a:pt x="334" y="374"/>
                  </a:lnTo>
                  <a:lnTo>
                    <a:pt x="335" y="376"/>
                  </a:lnTo>
                  <a:lnTo>
                    <a:pt x="335" y="379"/>
                  </a:lnTo>
                  <a:lnTo>
                    <a:pt x="335" y="382"/>
                  </a:lnTo>
                  <a:lnTo>
                    <a:pt x="334" y="386"/>
                  </a:lnTo>
                  <a:lnTo>
                    <a:pt x="334" y="388"/>
                  </a:lnTo>
                  <a:lnTo>
                    <a:pt x="339" y="394"/>
                  </a:lnTo>
                  <a:lnTo>
                    <a:pt x="337" y="396"/>
                  </a:lnTo>
                  <a:lnTo>
                    <a:pt x="339" y="396"/>
                  </a:lnTo>
                  <a:lnTo>
                    <a:pt x="339" y="400"/>
                  </a:lnTo>
                  <a:lnTo>
                    <a:pt x="337" y="406"/>
                  </a:lnTo>
                  <a:lnTo>
                    <a:pt x="334" y="408"/>
                  </a:lnTo>
                  <a:lnTo>
                    <a:pt x="330" y="412"/>
                  </a:lnTo>
                  <a:lnTo>
                    <a:pt x="330" y="413"/>
                  </a:lnTo>
                  <a:lnTo>
                    <a:pt x="332" y="417"/>
                  </a:lnTo>
                  <a:lnTo>
                    <a:pt x="330" y="417"/>
                  </a:lnTo>
                  <a:lnTo>
                    <a:pt x="329" y="418"/>
                  </a:lnTo>
                  <a:lnTo>
                    <a:pt x="327" y="422"/>
                  </a:lnTo>
                  <a:lnTo>
                    <a:pt x="329" y="425"/>
                  </a:lnTo>
                  <a:lnTo>
                    <a:pt x="329" y="427"/>
                  </a:lnTo>
                  <a:lnTo>
                    <a:pt x="327" y="427"/>
                  </a:lnTo>
                  <a:lnTo>
                    <a:pt x="327" y="429"/>
                  </a:lnTo>
                  <a:lnTo>
                    <a:pt x="322" y="432"/>
                  </a:lnTo>
                  <a:lnTo>
                    <a:pt x="322" y="432"/>
                  </a:lnTo>
                  <a:lnTo>
                    <a:pt x="323" y="434"/>
                  </a:lnTo>
                  <a:lnTo>
                    <a:pt x="322" y="437"/>
                  </a:lnTo>
                  <a:lnTo>
                    <a:pt x="320" y="441"/>
                  </a:lnTo>
                  <a:lnTo>
                    <a:pt x="315" y="444"/>
                  </a:lnTo>
                  <a:lnTo>
                    <a:pt x="315" y="451"/>
                  </a:lnTo>
                  <a:lnTo>
                    <a:pt x="313" y="451"/>
                  </a:lnTo>
                  <a:lnTo>
                    <a:pt x="313" y="447"/>
                  </a:lnTo>
                  <a:lnTo>
                    <a:pt x="311" y="449"/>
                  </a:lnTo>
                  <a:lnTo>
                    <a:pt x="311" y="451"/>
                  </a:lnTo>
                  <a:lnTo>
                    <a:pt x="310" y="453"/>
                  </a:lnTo>
                  <a:lnTo>
                    <a:pt x="310" y="451"/>
                  </a:lnTo>
                  <a:lnTo>
                    <a:pt x="308" y="449"/>
                  </a:lnTo>
                  <a:lnTo>
                    <a:pt x="305" y="458"/>
                  </a:lnTo>
                  <a:lnTo>
                    <a:pt x="305" y="458"/>
                  </a:lnTo>
                  <a:lnTo>
                    <a:pt x="305" y="461"/>
                  </a:lnTo>
                  <a:lnTo>
                    <a:pt x="310" y="464"/>
                  </a:lnTo>
                  <a:lnTo>
                    <a:pt x="310" y="466"/>
                  </a:lnTo>
                  <a:lnTo>
                    <a:pt x="308" y="468"/>
                  </a:lnTo>
                  <a:lnTo>
                    <a:pt x="306" y="470"/>
                  </a:lnTo>
                  <a:lnTo>
                    <a:pt x="303" y="473"/>
                  </a:lnTo>
                  <a:lnTo>
                    <a:pt x="303" y="473"/>
                  </a:lnTo>
                  <a:lnTo>
                    <a:pt x="306" y="473"/>
                  </a:lnTo>
                  <a:lnTo>
                    <a:pt x="306" y="475"/>
                  </a:lnTo>
                  <a:lnTo>
                    <a:pt x="301" y="478"/>
                  </a:lnTo>
                  <a:lnTo>
                    <a:pt x="301" y="478"/>
                  </a:lnTo>
                  <a:lnTo>
                    <a:pt x="301" y="480"/>
                  </a:lnTo>
                  <a:lnTo>
                    <a:pt x="303" y="480"/>
                  </a:lnTo>
                  <a:lnTo>
                    <a:pt x="303" y="483"/>
                  </a:lnTo>
                  <a:lnTo>
                    <a:pt x="303" y="487"/>
                  </a:lnTo>
                  <a:lnTo>
                    <a:pt x="301" y="488"/>
                  </a:lnTo>
                  <a:lnTo>
                    <a:pt x="303" y="490"/>
                  </a:lnTo>
                  <a:lnTo>
                    <a:pt x="300" y="492"/>
                  </a:lnTo>
                  <a:lnTo>
                    <a:pt x="300" y="490"/>
                  </a:lnTo>
                  <a:lnTo>
                    <a:pt x="300" y="492"/>
                  </a:lnTo>
                  <a:lnTo>
                    <a:pt x="303" y="492"/>
                  </a:lnTo>
                  <a:lnTo>
                    <a:pt x="303" y="494"/>
                  </a:lnTo>
                  <a:lnTo>
                    <a:pt x="303" y="495"/>
                  </a:lnTo>
                  <a:lnTo>
                    <a:pt x="298" y="494"/>
                  </a:lnTo>
                  <a:lnTo>
                    <a:pt x="298" y="495"/>
                  </a:lnTo>
                  <a:lnTo>
                    <a:pt x="300" y="499"/>
                  </a:lnTo>
                  <a:lnTo>
                    <a:pt x="303" y="500"/>
                  </a:lnTo>
                  <a:lnTo>
                    <a:pt x="303" y="502"/>
                  </a:lnTo>
                  <a:lnTo>
                    <a:pt x="300" y="502"/>
                  </a:lnTo>
                  <a:lnTo>
                    <a:pt x="300" y="504"/>
                  </a:lnTo>
                  <a:lnTo>
                    <a:pt x="305" y="504"/>
                  </a:lnTo>
                  <a:lnTo>
                    <a:pt x="301" y="512"/>
                  </a:lnTo>
                  <a:lnTo>
                    <a:pt x="296" y="516"/>
                  </a:lnTo>
                  <a:lnTo>
                    <a:pt x="294" y="521"/>
                  </a:lnTo>
                  <a:lnTo>
                    <a:pt x="294" y="524"/>
                  </a:lnTo>
                  <a:lnTo>
                    <a:pt x="298" y="529"/>
                  </a:lnTo>
                  <a:lnTo>
                    <a:pt x="303" y="536"/>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36" name="Freeform 32">
              <a:extLst>
                <a:ext uri="{FF2B5EF4-FFF2-40B4-BE49-F238E27FC236}">
                  <a16:creationId xmlns:a16="http://schemas.microsoft.com/office/drawing/2014/main" id="{5FB9945F-4E1B-4850-A111-3EBAD96A137C}"/>
                </a:ext>
              </a:extLst>
            </p:cNvPr>
            <p:cNvSpPr>
              <a:spLocks/>
            </p:cNvSpPr>
            <p:nvPr/>
          </p:nvSpPr>
          <p:spPr bwMode="gray">
            <a:xfrm>
              <a:off x="7765749" y="3508177"/>
              <a:ext cx="27375" cy="37037"/>
            </a:xfrm>
            <a:custGeom>
              <a:avLst/>
              <a:gdLst/>
              <a:ahLst/>
              <a:cxnLst>
                <a:cxn ang="0">
                  <a:pos x="9" y="4"/>
                </a:cxn>
                <a:cxn ang="0">
                  <a:pos x="17" y="11"/>
                </a:cxn>
                <a:cxn ang="0">
                  <a:pos x="9" y="23"/>
                </a:cxn>
                <a:cxn ang="0">
                  <a:pos x="9" y="19"/>
                </a:cxn>
                <a:cxn ang="0">
                  <a:pos x="9" y="19"/>
                </a:cxn>
                <a:cxn ang="0">
                  <a:pos x="9" y="18"/>
                </a:cxn>
                <a:cxn ang="0">
                  <a:pos x="9" y="14"/>
                </a:cxn>
                <a:cxn ang="0">
                  <a:pos x="5" y="12"/>
                </a:cxn>
                <a:cxn ang="0">
                  <a:pos x="4" y="11"/>
                </a:cxn>
                <a:cxn ang="0">
                  <a:pos x="0" y="9"/>
                </a:cxn>
                <a:cxn ang="0">
                  <a:pos x="5" y="0"/>
                </a:cxn>
                <a:cxn ang="0">
                  <a:pos x="9" y="4"/>
                </a:cxn>
              </a:cxnLst>
              <a:rect l="0" t="0" r="r" b="b"/>
              <a:pathLst>
                <a:path w="17" h="23">
                  <a:moveTo>
                    <a:pt x="9" y="4"/>
                  </a:moveTo>
                  <a:lnTo>
                    <a:pt x="17" y="11"/>
                  </a:lnTo>
                  <a:lnTo>
                    <a:pt x="9" y="23"/>
                  </a:lnTo>
                  <a:lnTo>
                    <a:pt x="9" y="19"/>
                  </a:lnTo>
                  <a:lnTo>
                    <a:pt x="9" y="19"/>
                  </a:lnTo>
                  <a:lnTo>
                    <a:pt x="9" y="18"/>
                  </a:lnTo>
                  <a:lnTo>
                    <a:pt x="9" y="14"/>
                  </a:lnTo>
                  <a:lnTo>
                    <a:pt x="5" y="12"/>
                  </a:lnTo>
                  <a:lnTo>
                    <a:pt x="4" y="11"/>
                  </a:lnTo>
                  <a:lnTo>
                    <a:pt x="0" y="9"/>
                  </a:lnTo>
                  <a:lnTo>
                    <a:pt x="5" y="0"/>
                  </a:lnTo>
                  <a:lnTo>
                    <a:pt x="9" y="4"/>
                  </a:lnTo>
                  <a:close/>
                </a:path>
              </a:pathLst>
            </a:custGeom>
            <a:grpFill/>
            <a:ln w="6350">
              <a:solidFill>
                <a:srgbClr val="669933"/>
              </a:solidFill>
              <a:round/>
              <a:headEnd/>
              <a:tailEnd/>
            </a:ln>
          </p:spPr>
          <p:txBody>
            <a:bodyPr vert="horz" wrap="square" lIns="44450" tIns="44450" rIns="44450" bIns="4445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37" name="Freeform 33">
              <a:extLst>
                <a:ext uri="{FF2B5EF4-FFF2-40B4-BE49-F238E27FC236}">
                  <a16:creationId xmlns:a16="http://schemas.microsoft.com/office/drawing/2014/main" id="{4FDC6B66-A6E2-4B4C-99E1-6BD771DB459F}"/>
                </a:ext>
              </a:extLst>
            </p:cNvPr>
            <p:cNvSpPr>
              <a:spLocks/>
            </p:cNvSpPr>
            <p:nvPr/>
          </p:nvSpPr>
          <p:spPr bwMode="gray">
            <a:xfrm>
              <a:off x="7909064" y="3324607"/>
              <a:ext cx="146534" cy="239929"/>
            </a:xfrm>
            <a:custGeom>
              <a:avLst/>
              <a:gdLst/>
              <a:ahLst/>
              <a:cxnLst>
                <a:cxn ang="0">
                  <a:pos x="34" y="138"/>
                </a:cxn>
                <a:cxn ang="0">
                  <a:pos x="33" y="128"/>
                </a:cxn>
                <a:cxn ang="0">
                  <a:pos x="26" y="109"/>
                </a:cxn>
                <a:cxn ang="0">
                  <a:pos x="17" y="77"/>
                </a:cxn>
                <a:cxn ang="0">
                  <a:pos x="14" y="67"/>
                </a:cxn>
                <a:cxn ang="0">
                  <a:pos x="12" y="61"/>
                </a:cxn>
                <a:cxn ang="0">
                  <a:pos x="10" y="53"/>
                </a:cxn>
                <a:cxn ang="0">
                  <a:pos x="0" y="17"/>
                </a:cxn>
                <a:cxn ang="0">
                  <a:pos x="2" y="17"/>
                </a:cxn>
                <a:cxn ang="0">
                  <a:pos x="4" y="10"/>
                </a:cxn>
                <a:cxn ang="0">
                  <a:pos x="7" y="5"/>
                </a:cxn>
                <a:cxn ang="0">
                  <a:pos x="10" y="2"/>
                </a:cxn>
                <a:cxn ang="0">
                  <a:pos x="15" y="2"/>
                </a:cxn>
                <a:cxn ang="0">
                  <a:pos x="24" y="0"/>
                </a:cxn>
                <a:cxn ang="0">
                  <a:pos x="29" y="2"/>
                </a:cxn>
                <a:cxn ang="0">
                  <a:pos x="29" y="3"/>
                </a:cxn>
                <a:cxn ang="0">
                  <a:pos x="29" y="5"/>
                </a:cxn>
                <a:cxn ang="0">
                  <a:pos x="26" y="7"/>
                </a:cxn>
                <a:cxn ang="0">
                  <a:pos x="26" y="10"/>
                </a:cxn>
                <a:cxn ang="0">
                  <a:pos x="26" y="12"/>
                </a:cxn>
                <a:cxn ang="0">
                  <a:pos x="26" y="12"/>
                </a:cxn>
                <a:cxn ang="0">
                  <a:pos x="17" y="26"/>
                </a:cxn>
                <a:cxn ang="0">
                  <a:pos x="22" y="29"/>
                </a:cxn>
                <a:cxn ang="0">
                  <a:pos x="22" y="41"/>
                </a:cxn>
                <a:cxn ang="0">
                  <a:pos x="31" y="50"/>
                </a:cxn>
                <a:cxn ang="0">
                  <a:pos x="43" y="60"/>
                </a:cxn>
                <a:cxn ang="0">
                  <a:pos x="48" y="79"/>
                </a:cxn>
                <a:cxn ang="0">
                  <a:pos x="55" y="84"/>
                </a:cxn>
                <a:cxn ang="0">
                  <a:pos x="58" y="91"/>
                </a:cxn>
                <a:cxn ang="0">
                  <a:pos x="70" y="102"/>
                </a:cxn>
                <a:cxn ang="0">
                  <a:pos x="79" y="102"/>
                </a:cxn>
                <a:cxn ang="0">
                  <a:pos x="91" y="138"/>
                </a:cxn>
                <a:cxn ang="0">
                  <a:pos x="89" y="138"/>
                </a:cxn>
                <a:cxn ang="0">
                  <a:pos x="87" y="138"/>
                </a:cxn>
                <a:cxn ang="0">
                  <a:pos x="65" y="143"/>
                </a:cxn>
                <a:cxn ang="0">
                  <a:pos x="38" y="149"/>
                </a:cxn>
                <a:cxn ang="0">
                  <a:pos x="34" y="138"/>
                </a:cxn>
              </a:cxnLst>
              <a:rect l="0" t="0" r="r" b="b"/>
              <a:pathLst>
                <a:path w="91" h="149">
                  <a:moveTo>
                    <a:pt x="34" y="138"/>
                  </a:moveTo>
                  <a:lnTo>
                    <a:pt x="33" y="128"/>
                  </a:lnTo>
                  <a:lnTo>
                    <a:pt x="26" y="109"/>
                  </a:lnTo>
                  <a:lnTo>
                    <a:pt x="17" y="77"/>
                  </a:lnTo>
                  <a:lnTo>
                    <a:pt x="14" y="67"/>
                  </a:lnTo>
                  <a:lnTo>
                    <a:pt x="12" y="61"/>
                  </a:lnTo>
                  <a:lnTo>
                    <a:pt x="10" y="53"/>
                  </a:lnTo>
                  <a:lnTo>
                    <a:pt x="0" y="17"/>
                  </a:lnTo>
                  <a:lnTo>
                    <a:pt x="2" y="17"/>
                  </a:lnTo>
                  <a:lnTo>
                    <a:pt x="4" y="10"/>
                  </a:lnTo>
                  <a:lnTo>
                    <a:pt x="7" y="5"/>
                  </a:lnTo>
                  <a:lnTo>
                    <a:pt x="10" y="2"/>
                  </a:lnTo>
                  <a:lnTo>
                    <a:pt x="15" y="2"/>
                  </a:lnTo>
                  <a:lnTo>
                    <a:pt x="24" y="0"/>
                  </a:lnTo>
                  <a:lnTo>
                    <a:pt x="29" y="2"/>
                  </a:lnTo>
                  <a:lnTo>
                    <a:pt x="29" y="3"/>
                  </a:lnTo>
                  <a:lnTo>
                    <a:pt x="29" y="5"/>
                  </a:lnTo>
                  <a:lnTo>
                    <a:pt x="26" y="7"/>
                  </a:lnTo>
                  <a:lnTo>
                    <a:pt x="26" y="10"/>
                  </a:lnTo>
                  <a:lnTo>
                    <a:pt x="26" y="12"/>
                  </a:lnTo>
                  <a:lnTo>
                    <a:pt x="26" y="12"/>
                  </a:lnTo>
                  <a:lnTo>
                    <a:pt x="17" y="26"/>
                  </a:lnTo>
                  <a:lnTo>
                    <a:pt x="22" y="29"/>
                  </a:lnTo>
                  <a:lnTo>
                    <a:pt x="22" y="41"/>
                  </a:lnTo>
                  <a:lnTo>
                    <a:pt x="31" y="50"/>
                  </a:lnTo>
                  <a:lnTo>
                    <a:pt x="43" y="60"/>
                  </a:lnTo>
                  <a:lnTo>
                    <a:pt x="48" y="79"/>
                  </a:lnTo>
                  <a:lnTo>
                    <a:pt x="55" y="84"/>
                  </a:lnTo>
                  <a:lnTo>
                    <a:pt x="58" y="91"/>
                  </a:lnTo>
                  <a:lnTo>
                    <a:pt x="70" y="102"/>
                  </a:lnTo>
                  <a:lnTo>
                    <a:pt x="79" y="102"/>
                  </a:lnTo>
                  <a:lnTo>
                    <a:pt x="91" y="138"/>
                  </a:lnTo>
                  <a:lnTo>
                    <a:pt x="89" y="138"/>
                  </a:lnTo>
                  <a:lnTo>
                    <a:pt x="87" y="138"/>
                  </a:lnTo>
                  <a:lnTo>
                    <a:pt x="65" y="143"/>
                  </a:lnTo>
                  <a:lnTo>
                    <a:pt x="38" y="149"/>
                  </a:lnTo>
                  <a:lnTo>
                    <a:pt x="34" y="138"/>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38" name="Freeform 34">
              <a:extLst>
                <a:ext uri="{FF2B5EF4-FFF2-40B4-BE49-F238E27FC236}">
                  <a16:creationId xmlns:a16="http://schemas.microsoft.com/office/drawing/2014/main" id="{4F02427C-3C33-479D-B3F6-291E65D5BF39}"/>
                </a:ext>
              </a:extLst>
            </p:cNvPr>
            <p:cNvSpPr>
              <a:spLocks/>
            </p:cNvSpPr>
            <p:nvPr/>
          </p:nvSpPr>
          <p:spPr bwMode="gray">
            <a:xfrm>
              <a:off x="7058845" y="3310114"/>
              <a:ext cx="613510" cy="613510"/>
            </a:xfrm>
            <a:custGeom>
              <a:avLst/>
              <a:gdLst/>
              <a:ahLst/>
              <a:cxnLst>
                <a:cxn ang="0">
                  <a:pos x="239" y="212"/>
                </a:cxn>
                <a:cxn ang="0">
                  <a:pos x="232" y="238"/>
                </a:cxn>
                <a:cxn ang="0">
                  <a:pos x="224" y="260"/>
                </a:cxn>
                <a:cxn ang="0">
                  <a:pos x="214" y="288"/>
                </a:cxn>
                <a:cxn ang="0">
                  <a:pos x="205" y="308"/>
                </a:cxn>
                <a:cxn ang="0">
                  <a:pos x="209" y="322"/>
                </a:cxn>
                <a:cxn ang="0">
                  <a:pos x="202" y="335"/>
                </a:cxn>
                <a:cxn ang="0">
                  <a:pos x="186" y="339"/>
                </a:cxn>
                <a:cxn ang="0">
                  <a:pos x="169" y="351"/>
                </a:cxn>
                <a:cxn ang="0">
                  <a:pos x="156" y="363"/>
                </a:cxn>
                <a:cxn ang="0">
                  <a:pos x="125" y="368"/>
                </a:cxn>
                <a:cxn ang="0">
                  <a:pos x="106" y="380"/>
                </a:cxn>
                <a:cxn ang="0">
                  <a:pos x="80" y="375"/>
                </a:cxn>
                <a:cxn ang="0">
                  <a:pos x="67" y="356"/>
                </a:cxn>
                <a:cxn ang="0">
                  <a:pos x="58" y="352"/>
                </a:cxn>
                <a:cxn ang="0">
                  <a:pos x="46" y="342"/>
                </a:cxn>
                <a:cxn ang="0">
                  <a:pos x="26" y="327"/>
                </a:cxn>
                <a:cxn ang="0">
                  <a:pos x="12" y="306"/>
                </a:cxn>
                <a:cxn ang="0">
                  <a:pos x="3" y="282"/>
                </a:cxn>
                <a:cxn ang="0">
                  <a:pos x="5" y="265"/>
                </a:cxn>
                <a:cxn ang="0">
                  <a:pos x="24" y="241"/>
                </a:cxn>
                <a:cxn ang="0">
                  <a:pos x="27" y="217"/>
                </a:cxn>
                <a:cxn ang="0">
                  <a:pos x="39" y="192"/>
                </a:cxn>
                <a:cxn ang="0">
                  <a:pos x="51" y="207"/>
                </a:cxn>
                <a:cxn ang="0">
                  <a:pos x="58" y="190"/>
                </a:cxn>
                <a:cxn ang="0">
                  <a:pos x="56" y="173"/>
                </a:cxn>
                <a:cxn ang="0">
                  <a:pos x="72" y="151"/>
                </a:cxn>
                <a:cxn ang="0">
                  <a:pos x="96" y="144"/>
                </a:cxn>
                <a:cxn ang="0">
                  <a:pos x="109" y="123"/>
                </a:cxn>
                <a:cxn ang="0">
                  <a:pos x="123" y="105"/>
                </a:cxn>
                <a:cxn ang="0">
                  <a:pos x="123" y="86"/>
                </a:cxn>
                <a:cxn ang="0">
                  <a:pos x="126" y="74"/>
                </a:cxn>
                <a:cxn ang="0">
                  <a:pos x="132" y="36"/>
                </a:cxn>
                <a:cxn ang="0">
                  <a:pos x="121" y="11"/>
                </a:cxn>
                <a:cxn ang="0">
                  <a:pos x="137" y="26"/>
                </a:cxn>
                <a:cxn ang="0">
                  <a:pos x="209" y="88"/>
                </a:cxn>
                <a:cxn ang="0">
                  <a:pos x="255" y="127"/>
                </a:cxn>
                <a:cxn ang="0">
                  <a:pos x="268" y="106"/>
                </a:cxn>
                <a:cxn ang="0">
                  <a:pos x="285" y="96"/>
                </a:cxn>
                <a:cxn ang="0">
                  <a:pos x="292" y="84"/>
                </a:cxn>
                <a:cxn ang="0">
                  <a:pos x="297" y="91"/>
                </a:cxn>
                <a:cxn ang="0">
                  <a:pos x="316" y="91"/>
                </a:cxn>
                <a:cxn ang="0">
                  <a:pos x="320" y="79"/>
                </a:cxn>
                <a:cxn ang="0">
                  <a:pos x="335" y="72"/>
                </a:cxn>
                <a:cxn ang="0">
                  <a:pos x="357" y="74"/>
                </a:cxn>
                <a:cxn ang="0">
                  <a:pos x="362" y="72"/>
                </a:cxn>
                <a:cxn ang="0">
                  <a:pos x="366" y="79"/>
                </a:cxn>
                <a:cxn ang="0">
                  <a:pos x="371" y="84"/>
                </a:cxn>
                <a:cxn ang="0">
                  <a:pos x="373" y="89"/>
                </a:cxn>
                <a:cxn ang="0">
                  <a:pos x="379" y="100"/>
                </a:cxn>
                <a:cxn ang="0">
                  <a:pos x="359" y="111"/>
                </a:cxn>
                <a:cxn ang="0">
                  <a:pos x="332" y="108"/>
                </a:cxn>
                <a:cxn ang="0">
                  <a:pos x="328" y="134"/>
                </a:cxn>
                <a:cxn ang="0">
                  <a:pos x="318" y="151"/>
                </a:cxn>
                <a:cxn ang="0">
                  <a:pos x="308" y="159"/>
                </a:cxn>
                <a:cxn ang="0">
                  <a:pos x="285" y="180"/>
                </a:cxn>
              </a:cxnLst>
              <a:rect l="0" t="0" r="r" b="b"/>
              <a:pathLst>
                <a:path w="381" h="381">
                  <a:moveTo>
                    <a:pt x="275" y="212"/>
                  </a:moveTo>
                  <a:lnTo>
                    <a:pt x="273" y="217"/>
                  </a:lnTo>
                  <a:lnTo>
                    <a:pt x="270" y="221"/>
                  </a:lnTo>
                  <a:lnTo>
                    <a:pt x="255" y="217"/>
                  </a:lnTo>
                  <a:lnTo>
                    <a:pt x="250" y="209"/>
                  </a:lnTo>
                  <a:lnTo>
                    <a:pt x="239" y="207"/>
                  </a:lnTo>
                  <a:lnTo>
                    <a:pt x="239" y="212"/>
                  </a:lnTo>
                  <a:lnTo>
                    <a:pt x="239" y="214"/>
                  </a:lnTo>
                  <a:lnTo>
                    <a:pt x="238" y="217"/>
                  </a:lnTo>
                  <a:lnTo>
                    <a:pt x="239" y="224"/>
                  </a:lnTo>
                  <a:lnTo>
                    <a:pt x="238" y="229"/>
                  </a:lnTo>
                  <a:lnTo>
                    <a:pt x="238" y="233"/>
                  </a:lnTo>
                  <a:lnTo>
                    <a:pt x="234" y="235"/>
                  </a:lnTo>
                  <a:lnTo>
                    <a:pt x="232" y="238"/>
                  </a:lnTo>
                  <a:lnTo>
                    <a:pt x="232" y="240"/>
                  </a:lnTo>
                  <a:lnTo>
                    <a:pt x="234" y="241"/>
                  </a:lnTo>
                  <a:lnTo>
                    <a:pt x="234" y="243"/>
                  </a:lnTo>
                  <a:lnTo>
                    <a:pt x="231" y="246"/>
                  </a:lnTo>
                  <a:lnTo>
                    <a:pt x="226" y="255"/>
                  </a:lnTo>
                  <a:lnTo>
                    <a:pt x="226" y="257"/>
                  </a:lnTo>
                  <a:lnTo>
                    <a:pt x="224" y="260"/>
                  </a:lnTo>
                  <a:lnTo>
                    <a:pt x="226" y="262"/>
                  </a:lnTo>
                  <a:lnTo>
                    <a:pt x="224" y="267"/>
                  </a:lnTo>
                  <a:lnTo>
                    <a:pt x="224" y="270"/>
                  </a:lnTo>
                  <a:lnTo>
                    <a:pt x="222" y="276"/>
                  </a:lnTo>
                  <a:lnTo>
                    <a:pt x="217" y="281"/>
                  </a:lnTo>
                  <a:lnTo>
                    <a:pt x="214" y="286"/>
                  </a:lnTo>
                  <a:lnTo>
                    <a:pt x="214" y="288"/>
                  </a:lnTo>
                  <a:lnTo>
                    <a:pt x="210" y="289"/>
                  </a:lnTo>
                  <a:lnTo>
                    <a:pt x="210" y="293"/>
                  </a:lnTo>
                  <a:lnTo>
                    <a:pt x="210" y="294"/>
                  </a:lnTo>
                  <a:lnTo>
                    <a:pt x="207" y="299"/>
                  </a:lnTo>
                  <a:lnTo>
                    <a:pt x="207" y="301"/>
                  </a:lnTo>
                  <a:lnTo>
                    <a:pt x="205" y="305"/>
                  </a:lnTo>
                  <a:lnTo>
                    <a:pt x="205" y="308"/>
                  </a:lnTo>
                  <a:lnTo>
                    <a:pt x="202" y="313"/>
                  </a:lnTo>
                  <a:lnTo>
                    <a:pt x="203" y="313"/>
                  </a:lnTo>
                  <a:lnTo>
                    <a:pt x="202" y="317"/>
                  </a:lnTo>
                  <a:lnTo>
                    <a:pt x="203" y="317"/>
                  </a:lnTo>
                  <a:lnTo>
                    <a:pt x="207" y="317"/>
                  </a:lnTo>
                  <a:lnTo>
                    <a:pt x="210" y="318"/>
                  </a:lnTo>
                  <a:lnTo>
                    <a:pt x="209" y="322"/>
                  </a:lnTo>
                  <a:lnTo>
                    <a:pt x="203" y="325"/>
                  </a:lnTo>
                  <a:lnTo>
                    <a:pt x="203" y="329"/>
                  </a:lnTo>
                  <a:lnTo>
                    <a:pt x="205" y="329"/>
                  </a:lnTo>
                  <a:lnTo>
                    <a:pt x="207" y="329"/>
                  </a:lnTo>
                  <a:lnTo>
                    <a:pt x="207" y="330"/>
                  </a:lnTo>
                  <a:lnTo>
                    <a:pt x="202" y="334"/>
                  </a:lnTo>
                  <a:lnTo>
                    <a:pt x="202" y="335"/>
                  </a:lnTo>
                  <a:lnTo>
                    <a:pt x="198" y="337"/>
                  </a:lnTo>
                  <a:lnTo>
                    <a:pt x="197" y="340"/>
                  </a:lnTo>
                  <a:lnTo>
                    <a:pt x="193" y="342"/>
                  </a:lnTo>
                  <a:lnTo>
                    <a:pt x="191" y="342"/>
                  </a:lnTo>
                  <a:lnTo>
                    <a:pt x="191" y="339"/>
                  </a:lnTo>
                  <a:lnTo>
                    <a:pt x="188" y="337"/>
                  </a:lnTo>
                  <a:lnTo>
                    <a:pt x="186" y="339"/>
                  </a:lnTo>
                  <a:lnTo>
                    <a:pt x="181" y="342"/>
                  </a:lnTo>
                  <a:lnTo>
                    <a:pt x="174" y="349"/>
                  </a:lnTo>
                  <a:lnTo>
                    <a:pt x="171" y="349"/>
                  </a:lnTo>
                  <a:lnTo>
                    <a:pt x="171" y="351"/>
                  </a:lnTo>
                  <a:lnTo>
                    <a:pt x="171" y="351"/>
                  </a:lnTo>
                  <a:lnTo>
                    <a:pt x="169" y="352"/>
                  </a:lnTo>
                  <a:lnTo>
                    <a:pt x="169" y="351"/>
                  </a:lnTo>
                  <a:lnTo>
                    <a:pt x="166" y="351"/>
                  </a:lnTo>
                  <a:lnTo>
                    <a:pt x="166" y="349"/>
                  </a:lnTo>
                  <a:lnTo>
                    <a:pt x="161" y="347"/>
                  </a:lnTo>
                  <a:lnTo>
                    <a:pt x="159" y="352"/>
                  </a:lnTo>
                  <a:lnTo>
                    <a:pt x="162" y="356"/>
                  </a:lnTo>
                  <a:lnTo>
                    <a:pt x="162" y="358"/>
                  </a:lnTo>
                  <a:lnTo>
                    <a:pt x="156" y="363"/>
                  </a:lnTo>
                  <a:lnTo>
                    <a:pt x="154" y="363"/>
                  </a:lnTo>
                  <a:lnTo>
                    <a:pt x="152" y="363"/>
                  </a:lnTo>
                  <a:lnTo>
                    <a:pt x="152" y="363"/>
                  </a:lnTo>
                  <a:lnTo>
                    <a:pt x="149" y="364"/>
                  </a:lnTo>
                  <a:lnTo>
                    <a:pt x="138" y="368"/>
                  </a:lnTo>
                  <a:lnTo>
                    <a:pt x="133" y="373"/>
                  </a:lnTo>
                  <a:lnTo>
                    <a:pt x="125" y="368"/>
                  </a:lnTo>
                  <a:lnTo>
                    <a:pt x="120" y="364"/>
                  </a:lnTo>
                  <a:lnTo>
                    <a:pt x="118" y="368"/>
                  </a:lnTo>
                  <a:lnTo>
                    <a:pt x="118" y="370"/>
                  </a:lnTo>
                  <a:lnTo>
                    <a:pt x="111" y="375"/>
                  </a:lnTo>
                  <a:lnTo>
                    <a:pt x="109" y="375"/>
                  </a:lnTo>
                  <a:lnTo>
                    <a:pt x="109" y="376"/>
                  </a:lnTo>
                  <a:lnTo>
                    <a:pt x="106" y="380"/>
                  </a:lnTo>
                  <a:lnTo>
                    <a:pt x="96" y="381"/>
                  </a:lnTo>
                  <a:lnTo>
                    <a:pt x="92" y="380"/>
                  </a:lnTo>
                  <a:lnTo>
                    <a:pt x="89" y="378"/>
                  </a:lnTo>
                  <a:lnTo>
                    <a:pt x="89" y="376"/>
                  </a:lnTo>
                  <a:lnTo>
                    <a:pt x="84" y="375"/>
                  </a:lnTo>
                  <a:lnTo>
                    <a:pt x="82" y="376"/>
                  </a:lnTo>
                  <a:lnTo>
                    <a:pt x="80" y="375"/>
                  </a:lnTo>
                  <a:lnTo>
                    <a:pt x="79" y="373"/>
                  </a:lnTo>
                  <a:lnTo>
                    <a:pt x="79" y="371"/>
                  </a:lnTo>
                  <a:lnTo>
                    <a:pt x="75" y="370"/>
                  </a:lnTo>
                  <a:lnTo>
                    <a:pt x="72" y="368"/>
                  </a:lnTo>
                  <a:lnTo>
                    <a:pt x="72" y="363"/>
                  </a:lnTo>
                  <a:lnTo>
                    <a:pt x="65" y="358"/>
                  </a:lnTo>
                  <a:lnTo>
                    <a:pt x="67" y="356"/>
                  </a:lnTo>
                  <a:lnTo>
                    <a:pt x="68" y="354"/>
                  </a:lnTo>
                  <a:lnTo>
                    <a:pt x="68" y="352"/>
                  </a:lnTo>
                  <a:lnTo>
                    <a:pt x="67" y="351"/>
                  </a:lnTo>
                  <a:lnTo>
                    <a:pt x="65" y="349"/>
                  </a:lnTo>
                  <a:lnTo>
                    <a:pt x="62" y="352"/>
                  </a:lnTo>
                  <a:lnTo>
                    <a:pt x="58" y="349"/>
                  </a:lnTo>
                  <a:lnTo>
                    <a:pt x="58" y="352"/>
                  </a:lnTo>
                  <a:lnTo>
                    <a:pt x="56" y="351"/>
                  </a:lnTo>
                  <a:lnTo>
                    <a:pt x="51" y="351"/>
                  </a:lnTo>
                  <a:lnTo>
                    <a:pt x="51" y="349"/>
                  </a:lnTo>
                  <a:lnTo>
                    <a:pt x="51" y="349"/>
                  </a:lnTo>
                  <a:lnTo>
                    <a:pt x="51" y="347"/>
                  </a:lnTo>
                  <a:lnTo>
                    <a:pt x="50" y="347"/>
                  </a:lnTo>
                  <a:lnTo>
                    <a:pt x="46" y="342"/>
                  </a:lnTo>
                  <a:lnTo>
                    <a:pt x="44" y="344"/>
                  </a:lnTo>
                  <a:lnTo>
                    <a:pt x="41" y="340"/>
                  </a:lnTo>
                  <a:lnTo>
                    <a:pt x="36" y="340"/>
                  </a:lnTo>
                  <a:lnTo>
                    <a:pt x="32" y="332"/>
                  </a:lnTo>
                  <a:lnTo>
                    <a:pt x="32" y="330"/>
                  </a:lnTo>
                  <a:lnTo>
                    <a:pt x="31" y="329"/>
                  </a:lnTo>
                  <a:lnTo>
                    <a:pt x="26" y="327"/>
                  </a:lnTo>
                  <a:lnTo>
                    <a:pt x="22" y="320"/>
                  </a:lnTo>
                  <a:lnTo>
                    <a:pt x="21" y="318"/>
                  </a:lnTo>
                  <a:lnTo>
                    <a:pt x="15" y="315"/>
                  </a:lnTo>
                  <a:lnTo>
                    <a:pt x="15" y="313"/>
                  </a:lnTo>
                  <a:lnTo>
                    <a:pt x="17" y="311"/>
                  </a:lnTo>
                  <a:lnTo>
                    <a:pt x="17" y="310"/>
                  </a:lnTo>
                  <a:lnTo>
                    <a:pt x="12" y="306"/>
                  </a:lnTo>
                  <a:lnTo>
                    <a:pt x="5" y="296"/>
                  </a:lnTo>
                  <a:lnTo>
                    <a:pt x="0" y="293"/>
                  </a:lnTo>
                  <a:lnTo>
                    <a:pt x="0" y="291"/>
                  </a:lnTo>
                  <a:lnTo>
                    <a:pt x="2" y="289"/>
                  </a:lnTo>
                  <a:lnTo>
                    <a:pt x="2" y="288"/>
                  </a:lnTo>
                  <a:lnTo>
                    <a:pt x="2" y="282"/>
                  </a:lnTo>
                  <a:lnTo>
                    <a:pt x="3" y="282"/>
                  </a:lnTo>
                  <a:lnTo>
                    <a:pt x="3" y="281"/>
                  </a:lnTo>
                  <a:lnTo>
                    <a:pt x="3" y="277"/>
                  </a:lnTo>
                  <a:lnTo>
                    <a:pt x="3" y="276"/>
                  </a:lnTo>
                  <a:lnTo>
                    <a:pt x="0" y="269"/>
                  </a:lnTo>
                  <a:lnTo>
                    <a:pt x="2" y="264"/>
                  </a:lnTo>
                  <a:lnTo>
                    <a:pt x="2" y="265"/>
                  </a:lnTo>
                  <a:lnTo>
                    <a:pt x="5" y="265"/>
                  </a:lnTo>
                  <a:lnTo>
                    <a:pt x="9" y="264"/>
                  </a:lnTo>
                  <a:lnTo>
                    <a:pt x="15" y="260"/>
                  </a:lnTo>
                  <a:lnTo>
                    <a:pt x="17" y="260"/>
                  </a:lnTo>
                  <a:lnTo>
                    <a:pt x="22" y="258"/>
                  </a:lnTo>
                  <a:lnTo>
                    <a:pt x="22" y="255"/>
                  </a:lnTo>
                  <a:lnTo>
                    <a:pt x="22" y="243"/>
                  </a:lnTo>
                  <a:lnTo>
                    <a:pt x="24" y="241"/>
                  </a:lnTo>
                  <a:lnTo>
                    <a:pt x="29" y="241"/>
                  </a:lnTo>
                  <a:lnTo>
                    <a:pt x="31" y="240"/>
                  </a:lnTo>
                  <a:lnTo>
                    <a:pt x="31" y="236"/>
                  </a:lnTo>
                  <a:lnTo>
                    <a:pt x="29" y="231"/>
                  </a:lnTo>
                  <a:lnTo>
                    <a:pt x="29" y="228"/>
                  </a:lnTo>
                  <a:lnTo>
                    <a:pt x="26" y="221"/>
                  </a:lnTo>
                  <a:lnTo>
                    <a:pt x="27" y="217"/>
                  </a:lnTo>
                  <a:lnTo>
                    <a:pt x="31" y="214"/>
                  </a:lnTo>
                  <a:lnTo>
                    <a:pt x="31" y="207"/>
                  </a:lnTo>
                  <a:lnTo>
                    <a:pt x="32" y="200"/>
                  </a:lnTo>
                  <a:lnTo>
                    <a:pt x="34" y="197"/>
                  </a:lnTo>
                  <a:lnTo>
                    <a:pt x="36" y="197"/>
                  </a:lnTo>
                  <a:lnTo>
                    <a:pt x="36" y="194"/>
                  </a:lnTo>
                  <a:lnTo>
                    <a:pt x="39" y="192"/>
                  </a:lnTo>
                  <a:lnTo>
                    <a:pt x="43" y="195"/>
                  </a:lnTo>
                  <a:lnTo>
                    <a:pt x="44" y="195"/>
                  </a:lnTo>
                  <a:lnTo>
                    <a:pt x="46" y="195"/>
                  </a:lnTo>
                  <a:lnTo>
                    <a:pt x="50" y="200"/>
                  </a:lnTo>
                  <a:lnTo>
                    <a:pt x="48" y="205"/>
                  </a:lnTo>
                  <a:lnTo>
                    <a:pt x="50" y="205"/>
                  </a:lnTo>
                  <a:lnTo>
                    <a:pt x="51" y="207"/>
                  </a:lnTo>
                  <a:lnTo>
                    <a:pt x="53" y="205"/>
                  </a:lnTo>
                  <a:lnTo>
                    <a:pt x="55" y="199"/>
                  </a:lnTo>
                  <a:lnTo>
                    <a:pt x="55" y="197"/>
                  </a:lnTo>
                  <a:lnTo>
                    <a:pt x="58" y="200"/>
                  </a:lnTo>
                  <a:lnTo>
                    <a:pt x="60" y="199"/>
                  </a:lnTo>
                  <a:lnTo>
                    <a:pt x="58" y="195"/>
                  </a:lnTo>
                  <a:lnTo>
                    <a:pt x="58" y="190"/>
                  </a:lnTo>
                  <a:lnTo>
                    <a:pt x="55" y="187"/>
                  </a:lnTo>
                  <a:lnTo>
                    <a:pt x="53" y="185"/>
                  </a:lnTo>
                  <a:lnTo>
                    <a:pt x="53" y="183"/>
                  </a:lnTo>
                  <a:lnTo>
                    <a:pt x="56" y="183"/>
                  </a:lnTo>
                  <a:lnTo>
                    <a:pt x="58" y="182"/>
                  </a:lnTo>
                  <a:lnTo>
                    <a:pt x="58" y="178"/>
                  </a:lnTo>
                  <a:lnTo>
                    <a:pt x="56" y="173"/>
                  </a:lnTo>
                  <a:lnTo>
                    <a:pt x="60" y="168"/>
                  </a:lnTo>
                  <a:lnTo>
                    <a:pt x="62" y="166"/>
                  </a:lnTo>
                  <a:lnTo>
                    <a:pt x="62" y="163"/>
                  </a:lnTo>
                  <a:lnTo>
                    <a:pt x="63" y="161"/>
                  </a:lnTo>
                  <a:lnTo>
                    <a:pt x="70" y="161"/>
                  </a:lnTo>
                  <a:lnTo>
                    <a:pt x="70" y="152"/>
                  </a:lnTo>
                  <a:lnTo>
                    <a:pt x="72" y="151"/>
                  </a:lnTo>
                  <a:lnTo>
                    <a:pt x="77" y="144"/>
                  </a:lnTo>
                  <a:lnTo>
                    <a:pt x="79" y="144"/>
                  </a:lnTo>
                  <a:lnTo>
                    <a:pt x="80" y="144"/>
                  </a:lnTo>
                  <a:lnTo>
                    <a:pt x="85" y="149"/>
                  </a:lnTo>
                  <a:lnTo>
                    <a:pt x="89" y="149"/>
                  </a:lnTo>
                  <a:lnTo>
                    <a:pt x="92" y="144"/>
                  </a:lnTo>
                  <a:lnTo>
                    <a:pt x="96" y="144"/>
                  </a:lnTo>
                  <a:lnTo>
                    <a:pt x="96" y="141"/>
                  </a:lnTo>
                  <a:lnTo>
                    <a:pt x="99" y="141"/>
                  </a:lnTo>
                  <a:lnTo>
                    <a:pt x="99" y="137"/>
                  </a:lnTo>
                  <a:lnTo>
                    <a:pt x="104" y="134"/>
                  </a:lnTo>
                  <a:lnTo>
                    <a:pt x="106" y="130"/>
                  </a:lnTo>
                  <a:lnTo>
                    <a:pt x="109" y="125"/>
                  </a:lnTo>
                  <a:lnTo>
                    <a:pt x="109" y="123"/>
                  </a:lnTo>
                  <a:lnTo>
                    <a:pt x="113" y="120"/>
                  </a:lnTo>
                  <a:lnTo>
                    <a:pt x="116" y="117"/>
                  </a:lnTo>
                  <a:lnTo>
                    <a:pt x="118" y="115"/>
                  </a:lnTo>
                  <a:lnTo>
                    <a:pt x="121" y="113"/>
                  </a:lnTo>
                  <a:lnTo>
                    <a:pt x="121" y="110"/>
                  </a:lnTo>
                  <a:lnTo>
                    <a:pt x="121" y="108"/>
                  </a:lnTo>
                  <a:lnTo>
                    <a:pt x="123" y="105"/>
                  </a:lnTo>
                  <a:lnTo>
                    <a:pt x="123" y="103"/>
                  </a:lnTo>
                  <a:lnTo>
                    <a:pt x="121" y="101"/>
                  </a:lnTo>
                  <a:lnTo>
                    <a:pt x="120" y="100"/>
                  </a:lnTo>
                  <a:lnTo>
                    <a:pt x="123" y="93"/>
                  </a:lnTo>
                  <a:lnTo>
                    <a:pt x="121" y="89"/>
                  </a:lnTo>
                  <a:lnTo>
                    <a:pt x="123" y="88"/>
                  </a:lnTo>
                  <a:lnTo>
                    <a:pt x="123" y="86"/>
                  </a:lnTo>
                  <a:lnTo>
                    <a:pt x="121" y="82"/>
                  </a:lnTo>
                  <a:lnTo>
                    <a:pt x="121" y="81"/>
                  </a:lnTo>
                  <a:lnTo>
                    <a:pt x="123" y="81"/>
                  </a:lnTo>
                  <a:lnTo>
                    <a:pt x="125" y="81"/>
                  </a:lnTo>
                  <a:lnTo>
                    <a:pt x="125" y="81"/>
                  </a:lnTo>
                  <a:lnTo>
                    <a:pt x="125" y="77"/>
                  </a:lnTo>
                  <a:lnTo>
                    <a:pt x="126" y="74"/>
                  </a:lnTo>
                  <a:lnTo>
                    <a:pt x="125" y="67"/>
                  </a:lnTo>
                  <a:lnTo>
                    <a:pt x="126" y="55"/>
                  </a:lnTo>
                  <a:lnTo>
                    <a:pt x="126" y="53"/>
                  </a:lnTo>
                  <a:lnTo>
                    <a:pt x="126" y="50"/>
                  </a:lnTo>
                  <a:lnTo>
                    <a:pt x="128" y="45"/>
                  </a:lnTo>
                  <a:lnTo>
                    <a:pt x="132" y="40"/>
                  </a:lnTo>
                  <a:lnTo>
                    <a:pt x="132" y="36"/>
                  </a:lnTo>
                  <a:lnTo>
                    <a:pt x="130" y="29"/>
                  </a:lnTo>
                  <a:lnTo>
                    <a:pt x="128" y="29"/>
                  </a:lnTo>
                  <a:lnTo>
                    <a:pt x="128" y="28"/>
                  </a:lnTo>
                  <a:lnTo>
                    <a:pt x="128" y="19"/>
                  </a:lnTo>
                  <a:lnTo>
                    <a:pt x="126" y="16"/>
                  </a:lnTo>
                  <a:lnTo>
                    <a:pt x="125" y="12"/>
                  </a:lnTo>
                  <a:lnTo>
                    <a:pt x="121" y="11"/>
                  </a:lnTo>
                  <a:lnTo>
                    <a:pt x="121" y="9"/>
                  </a:lnTo>
                  <a:lnTo>
                    <a:pt x="123" y="6"/>
                  </a:lnTo>
                  <a:lnTo>
                    <a:pt x="125" y="4"/>
                  </a:lnTo>
                  <a:lnTo>
                    <a:pt x="128" y="4"/>
                  </a:lnTo>
                  <a:lnTo>
                    <a:pt x="132" y="0"/>
                  </a:lnTo>
                  <a:lnTo>
                    <a:pt x="135" y="17"/>
                  </a:lnTo>
                  <a:lnTo>
                    <a:pt x="137" y="26"/>
                  </a:lnTo>
                  <a:lnTo>
                    <a:pt x="140" y="52"/>
                  </a:lnTo>
                  <a:lnTo>
                    <a:pt x="142" y="67"/>
                  </a:lnTo>
                  <a:lnTo>
                    <a:pt x="144" y="74"/>
                  </a:lnTo>
                  <a:lnTo>
                    <a:pt x="149" y="98"/>
                  </a:lnTo>
                  <a:lnTo>
                    <a:pt x="156" y="98"/>
                  </a:lnTo>
                  <a:lnTo>
                    <a:pt x="197" y="91"/>
                  </a:lnTo>
                  <a:lnTo>
                    <a:pt x="209" y="88"/>
                  </a:lnTo>
                  <a:lnTo>
                    <a:pt x="232" y="84"/>
                  </a:lnTo>
                  <a:lnTo>
                    <a:pt x="241" y="141"/>
                  </a:lnTo>
                  <a:lnTo>
                    <a:pt x="243" y="137"/>
                  </a:lnTo>
                  <a:lnTo>
                    <a:pt x="244" y="137"/>
                  </a:lnTo>
                  <a:lnTo>
                    <a:pt x="248" y="130"/>
                  </a:lnTo>
                  <a:lnTo>
                    <a:pt x="251" y="129"/>
                  </a:lnTo>
                  <a:lnTo>
                    <a:pt x="255" y="127"/>
                  </a:lnTo>
                  <a:lnTo>
                    <a:pt x="256" y="123"/>
                  </a:lnTo>
                  <a:lnTo>
                    <a:pt x="256" y="120"/>
                  </a:lnTo>
                  <a:lnTo>
                    <a:pt x="265" y="115"/>
                  </a:lnTo>
                  <a:lnTo>
                    <a:pt x="265" y="111"/>
                  </a:lnTo>
                  <a:lnTo>
                    <a:pt x="267" y="111"/>
                  </a:lnTo>
                  <a:lnTo>
                    <a:pt x="268" y="108"/>
                  </a:lnTo>
                  <a:lnTo>
                    <a:pt x="268" y="106"/>
                  </a:lnTo>
                  <a:lnTo>
                    <a:pt x="267" y="105"/>
                  </a:lnTo>
                  <a:lnTo>
                    <a:pt x="270" y="105"/>
                  </a:lnTo>
                  <a:lnTo>
                    <a:pt x="270" y="103"/>
                  </a:lnTo>
                  <a:lnTo>
                    <a:pt x="272" y="103"/>
                  </a:lnTo>
                  <a:lnTo>
                    <a:pt x="279" y="106"/>
                  </a:lnTo>
                  <a:lnTo>
                    <a:pt x="280" y="105"/>
                  </a:lnTo>
                  <a:lnTo>
                    <a:pt x="285" y="96"/>
                  </a:lnTo>
                  <a:lnTo>
                    <a:pt x="287" y="91"/>
                  </a:lnTo>
                  <a:lnTo>
                    <a:pt x="289" y="91"/>
                  </a:lnTo>
                  <a:lnTo>
                    <a:pt x="287" y="89"/>
                  </a:lnTo>
                  <a:lnTo>
                    <a:pt x="289" y="86"/>
                  </a:lnTo>
                  <a:lnTo>
                    <a:pt x="289" y="84"/>
                  </a:lnTo>
                  <a:lnTo>
                    <a:pt x="291" y="82"/>
                  </a:lnTo>
                  <a:lnTo>
                    <a:pt x="292" y="84"/>
                  </a:lnTo>
                  <a:lnTo>
                    <a:pt x="294" y="84"/>
                  </a:lnTo>
                  <a:lnTo>
                    <a:pt x="294" y="84"/>
                  </a:lnTo>
                  <a:lnTo>
                    <a:pt x="294" y="86"/>
                  </a:lnTo>
                  <a:lnTo>
                    <a:pt x="292" y="86"/>
                  </a:lnTo>
                  <a:lnTo>
                    <a:pt x="292" y="89"/>
                  </a:lnTo>
                  <a:lnTo>
                    <a:pt x="296" y="89"/>
                  </a:lnTo>
                  <a:lnTo>
                    <a:pt x="297" y="91"/>
                  </a:lnTo>
                  <a:lnTo>
                    <a:pt x="301" y="93"/>
                  </a:lnTo>
                  <a:lnTo>
                    <a:pt x="303" y="91"/>
                  </a:lnTo>
                  <a:lnTo>
                    <a:pt x="304" y="93"/>
                  </a:lnTo>
                  <a:lnTo>
                    <a:pt x="306" y="91"/>
                  </a:lnTo>
                  <a:lnTo>
                    <a:pt x="309" y="93"/>
                  </a:lnTo>
                  <a:lnTo>
                    <a:pt x="314" y="91"/>
                  </a:lnTo>
                  <a:lnTo>
                    <a:pt x="316" y="91"/>
                  </a:lnTo>
                  <a:lnTo>
                    <a:pt x="318" y="89"/>
                  </a:lnTo>
                  <a:lnTo>
                    <a:pt x="320" y="88"/>
                  </a:lnTo>
                  <a:lnTo>
                    <a:pt x="321" y="88"/>
                  </a:lnTo>
                  <a:lnTo>
                    <a:pt x="318" y="84"/>
                  </a:lnTo>
                  <a:lnTo>
                    <a:pt x="318" y="82"/>
                  </a:lnTo>
                  <a:lnTo>
                    <a:pt x="321" y="82"/>
                  </a:lnTo>
                  <a:lnTo>
                    <a:pt x="320" y="79"/>
                  </a:lnTo>
                  <a:lnTo>
                    <a:pt x="323" y="79"/>
                  </a:lnTo>
                  <a:lnTo>
                    <a:pt x="323" y="77"/>
                  </a:lnTo>
                  <a:lnTo>
                    <a:pt x="325" y="77"/>
                  </a:lnTo>
                  <a:lnTo>
                    <a:pt x="325" y="76"/>
                  </a:lnTo>
                  <a:lnTo>
                    <a:pt x="332" y="77"/>
                  </a:lnTo>
                  <a:lnTo>
                    <a:pt x="332" y="74"/>
                  </a:lnTo>
                  <a:lnTo>
                    <a:pt x="335" y="72"/>
                  </a:lnTo>
                  <a:lnTo>
                    <a:pt x="335" y="70"/>
                  </a:lnTo>
                  <a:lnTo>
                    <a:pt x="337" y="70"/>
                  </a:lnTo>
                  <a:lnTo>
                    <a:pt x="337" y="67"/>
                  </a:lnTo>
                  <a:lnTo>
                    <a:pt x="345" y="69"/>
                  </a:lnTo>
                  <a:lnTo>
                    <a:pt x="352" y="74"/>
                  </a:lnTo>
                  <a:lnTo>
                    <a:pt x="354" y="76"/>
                  </a:lnTo>
                  <a:lnTo>
                    <a:pt x="357" y="74"/>
                  </a:lnTo>
                  <a:lnTo>
                    <a:pt x="359" y="76"/>
                  </a:lnTo>
                  <a:lnTo>
                    <a:pt x="359" y="76"/>
                  </a:lnTo>
                  <a:lnTo>
                    <a:pt x="357" y="72"/>
                  </a:lnTo>
                  <a:lnTo>
                    <a:pt x="359" y="72"/>
                  </a:lnTo>
                  <a:lnTo>
                    <a:pt x="362" y="74"/>
                  </a:lnTo>
                  <a:lnTo>
                    <a:pt x="362" y="74"/>
                  </a:lnTo>
                  <a:lnTo>
                    <a:pt x="362" y="72"/>
                  </a:lnTo>
                  <a:lnTo>
                    <a:pt x="366" y="72"/>
                  </a:lnTo>
                  <a:lnTo>
                    <a:pt x="366" y="72"/>
                  </a:lnTo>
                  <a:lnTo>
                    <a:pt x="367" y="76"/>
                  </a:lnTo>
                  <a:lnTo>
                    <a:pt x="366" y="77"/>
                  </a:lnTo>
                  <a:lnTo>
                    <a:pt x="364" y="77"/>
                  </a:lnTo>
                  <a:lnTo>
                    <a:pt x="364" y="77"/>
                  </a:lnTo>
                  <a:lnTo>
                    <a:pt x="366" y="79"/>
                  </a:lnTo>
                  <a:lnTo>
                    <a:pt x="367" y="82"/>
                  </a:lnTo>
                  <a:lnTo>
                    <a:pt x="367" y="81"/>
                  </a:lnTo>
                  <a:lnTo>
                    <a:pt x="369" y="81"/>
                  </a:lnTo>
                  <a:lnTo>
                    <a:pt x="369" y="81"/>
                  </a:lnTo>
                  <a:lnTo>
                    <a:pt x="369" y="82"/>
                  </a:lnTo>
                  <a:lnTo>
                    <a:pt x="367" y="82"/>
                  </a:lnTo>
                  <a:lnTo>
                    <a:pt x="371" y="84"/>
                  </a:lnTo>
                  <a:lnTo>
                    <a:pt x="374" y="82"/>
                  </a:lnTo>
                  <a:lnTo>
                    <a:pt x="373" y="84"/>
                  </a:lnTo>
                  <a:lnTo>
                    <a:pt x="374" y="86"/>
                  </a:lnTo>
                  <a:lnTo>
                    <a:pt x="373" y="86"/>
                  </a:lnTo>
                  <a:lnTo>
                    <a:pt x="374" y="88"/>
                  </a:lnTo>
                  <a:lnTo>
                    <a:pt x="373" y="89"/>
                  </a:lnTo>
                  <a:lnTo>
                    <a:pt x="373" y="89"/>
                  </a:lnTo>
                  <a:lnTo>
                    <a:pt x="378" y="89"/>
                  </a:lnTo>
                  <a:lnTo>
                    <a:pt x="379" y="93"/>
                  </a:lnTo>
                  <a:lnTo>
                    <a:pt x="379" y="93"/>
                  </a:lnTo>
                  <a:lnTo>
                    <a:pt x="378" y="94"/>
                  </a:lnTo>
                  <a:lnTo>
                    <a:pt x="379" y="96"/>
                  </a:lnTo>
                  <a:lnTo>
                    <a:pt x="379" y="100"/>
                  </a:lnTo>
                  <a:lnTo>
                    <a:pt x="379" y="100"/>
                  </a:lnTo>
                  <a:lnTo>
                    <a:pt x="381" y="101"/>
                  </a:lnTo>
                  <a:lnTo>
                    <a:pt x="379" y="105"/>
                  </a:lnTo>
                  <a:lnTo>
                    <a:pt x="379" y="110"/>
                  </a:lnTo>
                  <a:lnTo>
                    <a:pt x="378" y="115"/>
                  </a:lnTo>
                  <a:lnTo>
                    <a:pt x="378" y="122"/>
                  </a:lnTo>
                  <a:lnTo>
                    <a:pt x="378" y="122"/>
                  </a:lnTo>
                  <a:lnTo>
                    <a:pt x="359" y="111"/>
                  </a:lnTo>
                  <a:lnTo>
                    <a:pt x="340" y="101"/>
                  </a:lnTo>
                  <a:lnTo>
                    <a:pt x="335" y="98"/>
                  </a:lnTo>
                  <a:lnTo>
                    <a:pt x="328" y="96"/>
                  </a:lnTo>
                  <a:lnTo>
                    <a:pt x="330" y="103"/>
                  </a:lnTo>
                  <a:lnTo>
                    <a:pt x="330" y="106"/>
                  </a:lnTo>
                  <a:lnTo>
                    <a:pt x="332" y="106"/>
                  </a:lnTo>
                  <a:lnTo>
                    <a:pt x="332" y="108"/>
                  </a:lnTo>
                  <a:lnTo>
                    <a:pt x="328" y="118"/>
                  </a:lnTo>
                  <a:lnTo>
                    <a:pt x="328" y="118"/>
                  </a:lnTo>
                  <a:lnTo>
                    <a:pt x="328" y="123"/>
                  </a:lnTo>
                  <a:lnTo>
                    <a:pt x="328" y="123"/>
                  </a:lnTo>
                  <a:lnTo>
                    <a:pt x="330" y="127"/>
                  </a:lnTo>
                  <a:lnTo>
                    <a:pt x="328" y="130"/>
                  </a:lnTo>
                  <a:lnTo>
                    <a:pt x="328" y="134"/>
                  </a:lnTo>
                  <a:lnTo>
                    <a:pt x="325" y="134"/>
                  </a:lnTo>
                  <a:lnTo>
                    <a:pt x="323" y="137"/>
                  </a:lnTo>
                  <a:lnTo>
                    <a:pt x="321" y="141"/>
                  </a:lnTo>
                  <a:lnTo>
                    <a:pt x="320" y="144"/>
                  </a:lnTo>
                  <a:lnTo>
                    <a:pt x="321" y="144"/>
                  </a:lnTo>
                  <a:lnTo>
                    <a:pt x="321" y="146"/>
                  </a:lnTo>
                  <a:lnTo>
                    <a:pt x="318" y="151"/>
                  </a:lnTo>
                  <a:lnTo>
                    <a:pt x="314" y="151"/>
                  </a:lnTo>
                  <a:lnTo>
                    <a:pt x="314" y="154"/>
                  </a:lnTo>
                  <a:lnTo>
                    <a:pt x="313" y="158"/>
                  </a:lnTo>
                  <a:lnTo>
                    <a:pt x="309" y="159"/>
                  </a:lnTo>
                  <a:lnTo>
                    <a:pt x="309" y="158"/>
                  </a:lnTo>
                  <a:lnTo>
                    <a:pt x="308" y="158"/>
                  </a:lnTo>
                  <a:lnTo>
                    <a:pt x="308" y="159"/>
                  </a:lnTo>
                  <a:lnTo>
                    <a:pt x="304" y="163"/>
                  </a:lnTo>
                  <a:lnTo>
                    <a:pt x="303" y="170"/>
                  </a:lnTo>
                  <a:lnTo>
                    <a:pt x="301" y="176"/>
                  </a:lnTo>
                  <a:lnTo>
                    <a:pt x="289" y="170"/>
                  </a:lnTo>
                  <a:lnTo>
                    <a:pt x="285" y="176"/>
                  </a:lnTo>
                  <a:lnTo>
                    <a:pt x="284" y="176"/>
                  </a:lnTo>
                  <a:lnTo>
                    <a:pt x="285" y="180"/>
                  </a:lnTo>
                  <a:lnTo>
                    <a:pt x="284" y="187"/>
                  </a:lnTo>
                  <a:lnTo>
                    <a:pt x="284" y="192"/>
                  </a:lnTo>
                  <a:lnTo>
                    <a:pt x="282" y="192"/>
                  </a:lnTo>
                  <a:lnTo>
                    <a:pt x="280" y="192"/>
                  </a:lnTo>
                  <a:lnTo>
                    <a:pt x="275" y="212"/>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39" name="Freeform 35">
              <a:extLst>
                <a:ext uri="{FF2B5EF4-FFF2-40B4-BE49-F238E27FC236}">
                  <a16:creationId xmlns:a16="http://schemas.microsoft.com/office/drawing/2014/main" id="{7FBE39E8-8053-433F-99A5-C4BE50BA11C8}"/>
                </a:ext>
              </a:extLst>
            </p:cNvPr>
            <p:cNvSpPr>
              <a:spLocks noEditPoints="1"/>
            </p:cNvSpPr>
            <p:nvPr/>
          </p:nvSpPr>
          <p:spPr bwMode="gray">
            <a:xfrm>
              <a:off x="7432426" y="3351982"/>
              <a:ext cx="623172" cy="299509"/>
            </a:xfrm>
            <a:custGeom>
              <a:avLst/>
              <a:gdLst/>
              <a:ahLst/>
              <a:cxnLst>
                <a:cxn ang="0">
                  <a:pos x="383" y="121"/>
                </a:cxn>
                <a:cxn ang="0">
                  <a:pos x="370" y="173"/>
                </a:cxn>
                <a:cxn ang="0">
                  <a:pos x="323" y="166"/>
                </a:cxn>
                <a:cxn ang="0">
                  <a:pos x="322" y="145"/>
                </a:cxn>
                <a:cxn ang="0">
                  <a:pos x="308" y="159"/>
                </a:cxn>
                <a:cxn ang="0">
                  <a:pos x="303" y="126"/>
                </a:cxn>
                <a:cxn ang="0">
                  <a:pos x="289" y="113"/>
                </a:cxn>
                <a:cxn ang="0">
                  <a:pos x="277" y="103"/>
                </a:cxn>
                <a:cxn ang="0">
                  <a:pos x="291" y="92"/>
                </a:cxn>
                <a:cxn ang="0">
                  <a:pos x="276" y="74"/>
                </a:cxn>
                <a:cxn ang="0">
                  <a:pos x="300" y="38"/>
                </a:cxn>
                <a:cxn ang="0">
                  <a:pos x="277" y="24"/>
                </a:cxn>
                <a:cxn ang="0">
                  <a:pos x="248" y="63"/>
                </a:cxn>
                <a:cxn ang="0">
                  <a:pos x="245" y="74"/>
                </a:cxn>
                <a:cxn ang="0">
                  <a:pos x="260" y="120"/>
                </a:cxn>
                <a:cxn ang="0">
                  <a:pos x="272" y="159"/>
                </a:cxn>
                <a:cxn ang="0">
                  <a:pos x="267" y="173"/>
                </a:cxn>
                <a:cxn ang="0">
                  <a:pos x="228" y="157"/>
                </a:cxn>
                <a:cxn ang="0">
                  <a:pos x="212" y="133"/>
                </a:cxn>
                <a:cxn ang="0">
                  <a:pos x="216" y="120"/>
                </a:cxn>
                <a:cxn ang="0">
                  <a:pos x="204" y="103"/>
                </a:cxn>
                <a:cxn ang="0">
                  <a:pos x="178" y="97"/>
                </a:cxn>
                <a:cxn ang="0">
                  <a:pos x="173" y="85"/>
                </a:cxn>
                <a:cxn ang="0">
                  <a:pos x="163" y="74"/>
                </a:cxn>
                <a:cxn ang="0">
                  <a:pos x="147" y="74"/>
                </a:cxn>
                <a:cxn ang="0">
                  <a:pos x="146" y="63"/>
                </a:cxn>
                <a:cxn ang="0">
                  <a:pos x="142" y="60"/>
                </a:cxn>
                <a:cxn ang="0">
                  <a:pos x="137" y="56"/>
                </a:cxn>
                <a:cxn ang="0">
                  <a:pos x="134" y="53"/>
                </a:cxn>
                <a:cxn ang="0">
                  <a:pos x="134" y="46"/>
                </a:cxn>
                <a:cxn ang="0">
                  <a:pos x="127" y="46"/>
                </a:cxn>
                <a:cxn ang="0">
                  <a:pos x="122" y="50"/>
                </a:cxn>
                <a:cxn ang="0">
                  <a:pos x="103" y="44"/>
                </a:cxn>
                <a:cxn ang="0">
                  <a:pos x="93" y="51"/>
                </a:cxn>
                <a:cxn ang="0">
                  <a:pos x="86" y="56"/>
                </a:cxn>
                <a:cxn ang="0">
                  <a:pos x="84" y="65"/>
                </a:cxn>
                <a:cxn ang="0">
                  <a:pos x="71" y="65"/>
                </a:cxn>
                <a:cxn ang="0">
                  <a:pos x="60" y="60"/>
                </a:cxn>
                <a:cxn ang="0">
                  <a:pos x="59" y="56"/>
                </a:cxn>
                <a:cxn ang="0">
                  <a:pos x="55" y="65"/>
                </a:cxn>
                <a:cxn ang="0">
                  <a:pos x="38" y="77"/>
                </a:cxn>
                <a:cxn ang="0">
                  <a:pos x="35" y="85"/>
                </a:cxn>
                <a:cxn ang="0">
                  <a:pos x="23" y="101"/>
                </a:cxn>
                <a:cxn ang="0">
                  <a:pos x="9" y="115"/>
                </a:cxn>
                <a:cxn ang="0">
                  <a:pos x="89" y="41"/>
                </a:cxn>
                <a:cxn ang="0">
                  <a:pos x="182" y="24"/>
                </a:cxn>
                <a:cxn ang="0">
                  <a:pos x="269" y="5"/>
                </a:cxn>
                <a:cxn ang="0">
                  <a:pos x="313" y="60"/>
                </a:cxn>
                <a:cxn ang="0">
                  <a:pos x="270" y="91"/>
                </a:cxn>
                <a:cxn ang="0">
                  <a:pos x="269" y="103"/>
                </a:cxn>
                <a:cxn ang="0">
                  <a:pos x="276" y="91"/>
                </a:cxn>
                <a:cxn ang="0">
                  <a:pos x="385" y="121"/>
                </a:cxn>
                <a:cxn ang="0">
                  <a:pos x="385" y="135"/>
                </a:cxn>
              </a:cxnLst>
              <a:rect l="0" t="0" r="r" b="b"/>
              <a:pathLst>
                <a:path w="387" h="186">
                  <a:moveTo>
                    <a:pt x="329" y="111"/>
                  </a:moveTo>
                  <a:lnTo>
                    <a:pt x="330" y="121"/>
                  </a:lnTo>
                  <a:lnTo>
                    <a:pt x="334" y="132"/>
                  </a:lnTo>
                  <a:lnTo>
                    <a:pt x="361" y="126"/>
                  </a:lnTo>
                  <a:lnTo>
                    <a:pt x="383" y="121"/>
                  </a:lnTo>
                  <a:lnTo>
                    <a:pt x="380" y="132"/>
                  </a:lnTo>
                  <a:lnTo>
                    <a:pt x="382" y="142"/>
                  </a:lnTo>
                  <a:lnTo>
                    <a:pt x="375" y="150"/>
                  </a:lnTo>
                  <a:lnTo>
                    <a:pt x="368" y="168"/>
                  </a:lnTo>
                  <a:lnTo>
                    <a:pt x="370" y="173"/>
                  </a:lnTo>
                  <a:lnTo>
                    <a:pt x="349" y="179"/>
                  </a:lnTo>
                  <a:lnTo>
                    <a:pt x="349" y="183"/>
                  </a:lnTo>
                  <a:lnTo>
                    <a:pt x="330" y="185"/>
                  </a:lnTo>
                  <a:lnTo>
                    <a:pt x="335" y="171"/>
                  </a:lnTo>
                  <a:lnTo>
                    <a:pt x="323" y="166"/>
                  </a:lnTo>
                  <a:lnTo>
                    <a:pt x="327" y="159"/>
                  </a:lnTo>
                  <a:lnTo>
                    <a:pt x="325" y="157"/>
                  </a:lnTo>
                  <a:lnTo>
                    <a:pt x="330" y="154"/>
                  </a:lnTo>
                  <a:lnTo>
                    <a:pt x="322" y="156"/>
                  </a:lnTo>
                  <a:lnTo>
                    <a:pt x="322" y="145"/>
                  </a:lnTo>
                  <a:lnTo>
                    <a:pt x="320" y="144"/>
                  </a:lnTo>
                  <a:lnTo>
                    <a:pt x="317" y="156"/>
                  </a:lnTo>
                  <a:lnTo>
                    <a:pt x="313" y="156"/>
                  </a:lnTo>
                  <a:lnTo>
                    <a:pt x="310" y="152"/>
                  </a:lnTo>
                  <a:lnTo>
                    <a:pt x="308" y="159"/>
                  </a:lnTo>
                  <a:lnTo>
                    <a:pt x="286" y="145"/>
                  </a:lnTo>
                  <a:lnTo>
                    <a:pt x="284" y="140"/>
                  </a:lnTo>
                  <a:lnTo>
                    <a:pt x="291" y="132"/>
                  </a:lnTo>
                  <a:lnTo>
                    <a:pt x="286" y="126"/>
                  </a:lnTo>
                  <a:lnTo>
                    <a:pt x="303" y="126"/>
                  </a:lnTo>
                  <a:lnTo>
                    <a:pt x="303" y="120"/>
                  </a:lnTo>
                  <a:lnTo>
                    <a:pt x="301" y="123"/>
                  </a:lnTo>
                  <a:lnTo>
                    <a:pt x="300" y="123"/>
                  </a:lnTo>
                  <a:lnTo>
                    <a:pt x="293" y="113"/>
                  </a:lnTo>
                  <a:lnTo>
                    <a:pt x="289" y="113"/>
                  </a:lnTo>
                  <a:lnTo>
                    <a:pt x="284" y="109"/>
                  </a:lnTo>
                  <a:lnTo>
                    <a:pt x="281" y="109"/>
                  </a:lnTo>
                  <a:lnTo>
                    <a:pt x="276" y="120"/>
                  </a:lnTo>
                  <a:lnTo>
                    <a:pt x="274" y="118"/>
                  </a:lnTo>
                  <a:lnTo>
                    <a:pt x="277" y="103"/>
                  </a:lnTo>
                  <a:lnTo>
                    <a:pt x="286" y="108"/>
                  </a:lnTo>
                  <a:lnTo>
                    <a:pt x="288" y="104"/>
                  </a:lnTo>
                  <a:lnTo>
                    <a:pt x="289" y="94"/>
                  </a:lnTo>
                  <a:lnTo>
                    <a:pt x="293" y="92"/>
                  </a:lnTo>
                  <a:lnTo>
                    <a:pt x="291" y="92"/>
                  </a:lnTo>
                  <a:lnTo>
                    <a:pt x="289" y="87"/>
                  </a:lnTo>
                  <a:lnTo>
                    <a:pt x="289" y="91"/>
                  </a:lnTo>
                  <a:lnTo>
                    <a:pt x="281" y="85"/>
                  </a:lnTo>
                  <a:lnTo>
                    <a:pt x="284" y="70"/>
                  </a:lnTo>
                  <a:lnTo>
                    <a:pt x="276" y="74"/>
                  </a:lnTo>
                  <a:lnTo>
                    <a:pt x="274" y="70"/>
                  </a:lnTo>
                  <a:lnTo>
                    <a:pt x="274" y="62"/>
                  </a:lnTo>
                  <a:lnTo>
                    <a:pt x="281" y="48"/>
                  </a:lnTo>
                  <a:lnTo>
                    <a:pt x="286" y="43"/>
                  </a:lnTo>
                  <a:lnTo>
                    <a:pt x="300" y="38"/>
                  </a:lnTo>
                  <a:lnTo>
                    <a:pt x="289" y="38"/>
                  </a:lnTo>
                  <a:lnTo>
                    <a:pt x="289" y="29"/>
                  </a:lnTo>
                  <a:lnTo>
                    <a:pt x="286" y="24"/>
                  </a:lnTo>
                  <a:lnTo>
                    <a:pt x="281" y="21"/>
                  </a:lnTo>
                  <a:lnTo>
                    <a:pt x="277" y="24"/>
                  </a:lnTo>
                  <a:lnTo>
                    <a:pt x="276" y="39"/>
                  </a:lnTo>
                  <a:lnTo>
                    <a:pt x="270" y="44"/>
                  </a:lnTo>
                  <a:lnTo>
                    <a:pt x="259" y="44"/>
                  </a:lnTo>
                  <a:lnTo>
                    <a:pt x="259" y="62"/>
                  </a:lnTo>
                  <a:lnTo>
                    <a:pt x="248" y="63"/>
                  </a:lnTo>
                  <a:lnTo>
                    <a:pt x="241" y="63"/>
                  </a:lnTo>
                  <a:lnTo>
                    <a:pt x="245" y="65"/>
                  </a:lnTo>
                  <a:lnTo>
                    <a:pt x="245" y="68"/>
                  </a:lnTo>
                  <a:lnTo>
                    <a:pt x="243" y="72"/>
                  </a:lnTo>
                  <a:lnTo>
                    <a:pt x="245" y="74"/>
                  </a:lnTo>
                  <a:lnTo>
                    <a:pt x="247" y="68"/>
                  </a:lnTo>
                  <a:lnTo>
                    <a:pt x="260" y="75"/>
                  </a:lnTo>
                  <a:lnTo>
                    <a:pt x="260" y="97"/>
                  </a:lnTo>
                  <a:lnTo>
                    <a:pt x="257" y="115"/>
                  </a:lnTo>
                  <a:lnTo>
                    <a:pt x="260" y="120"/>
                  </a:lnTo>
                  <a:lnTo>
                    <a:pt x="265" y="138"/>
                  </a:lnTo>
                  <a:lnTo>
                    <a:pt x="279" y="150"/>
                  </a:lnTo>
                  <a:lnTo>
                    <a:pt x="277" y="156"/>
                  </a:lnTo>
                  <a:lnTo>
                    <a:pt x="277" y="159"/>
                  </a:lnTo>
                  <a:lnTo>
                    <a:pt x="272" y="159"/>
                  </a:lnTo>
                  <a:lnTo>
                    <a:pt x="267" y="150"/>
                  </a:lnTo>
                  <a:lnTo>
                    <a:pt x="257" y="149"/>
                  </a:lnTo>
                  <a:lnTo>
                    <a:pt x="286" y="169"/>
                  </a:lnTo>
                  <a:lnTo>
                    <a:pt x="291" y="186"/>
                  </a:lnTo>
                  <a:lnTo>
                    <a:pt x="267" y="173"/>
                  </a:lnTo>
                  <a:lnTo>
                    <a:pt x="252" y="174"/>
                  </a:lnTo>
                  <a:lnTo>
                    <a:pt x="240" y="159"/>
                  </a:lnTo>
                  <a:lnTo>
                    <a:pt x="238" y="169"/>
                  </a:lnTo>
                  <a:lnTo>
                    <a:pt x="231" y="168"/>
                  </a:lnTo>
                  <a:lnTo>
                    <a:pt x="228" y="157"/>
                  </a:lnTo>
                  <a:lnTo>
                    <a:pt x="211" y="164"/>
                  </a:lnTo>
                  <a:lnTo>
                    <a:pt x="207" y="162"/>
                  </a:lnTo>
                  <a:lnTo>
                    <a:pt x="204" y="156"/>
                  </a:lnTo>
                  <a:lnTo>
                    <a:pt x="212" y="137"/>
                  </a:lnTo>
                  <a:lnTo>
                    <a:pt x="212" y="133"/>
                  </a:lnTo>
                  <a:lnTo>
                    <a:pt x="214" y="130"/>
                  </a:lnTo>
                  <a:lnTo>
                    <a:pt x="214" y="128"/>
                  </a:lnTo>
                  <a:lnTo>
                    <a:pt x="217" y="128"/>
                  </a:lnTo>
                  <a:lnTo>
                    <a:pt x="217" y="126"/>
                  </a:lnTo>
                  <a:lnTo>
                    <a:pt x="216" y="120"/>
                  </a:lnTo>
                  <a:lnTo>
                    <a:pt x="224" y="108"/>
                  </a:lnTo>
                  <a:lnTo>
                    <a:pt x="216" y="101"/>
                  </a:lnTo>
                  <a:lnTo>
                    <a:pt x="212" y="97"/>
                  </a:lnTo>
                  <a:lnTo>
                    <a:pt x="207" y="106"/>
                  </a:lnTo>
                  <a:lnTo>
                    <a:pt x="204" y="103"/>
                  </a:lnTo>
                  <a:lnTo>
                    <a:pt x="197" y="103"/>
                  </a:lnTo>
                  <a:lnTo>
                    <a:pt x="194" y="97"/>
                  </a:lnTo>
                  <a:lnTo>
                    <a:pt x="188" y="96"/>
                  </a:lnTo>
                  <a:lnTo>
                    <a:pt x="185" y="96"/>
                  </a:lnTo>
                  <a:lnTo>
                    <a:pt x="178" y="97"/>
                  </a:lnTo>
                  <a:lnTo>
                    <a:pt x="176" y="96"/>
                  </a:lnTo>
                  <a:lnTo>
                    <a:pt x="175" y="94"/>
                  </a:lnTo>
                  <a:lnTo>
                    <a:pt x="171" y="92"/>
                  </a:lnTo>
                  <a:lnTo>
                    <a:pt x="170" y="89"/>
                  </a:lnTo>
                  <a:lnTo>
                    <a:pt x="173" y="85"/>
                  </a:lnTo>
                  <a:lnTo>
                    <a:pt x="173" y="80"/>
                  </a:lnTo>
                  <a:lnTo>
                    <a:pt x="173" y="80"/>
                  </a:lnTo>
                  <a:lnTo>
                    <a:pt x="170" y="79"/>
                  </a:lnTo>
                  <a:lnTo>
                    <a:pt x="166" y="77"/>
                  </a:lnTo>
                  <a:lnTo>
                    <a:pt x="163" y="74"/>
                  </a:lnTo>
                  <a:lnTo>
                    <a:pt x="159" y="75"/>
                  </a:lnTo>
                  <a:lnTo>
                    <a:pt x="154" y="74"/>
                  </a:lnTo>
                  <a:lnTo>
                    <a:pt x="149" y="75"/>
                  </a:lnTo>
                  <a:lnTo>
                    <a:pt x="147" y="74"/>
                  </a:lnTo>
                  <a:lnTo>
                    <a:pt x="147" y="74"/>
                  </a:lnTo>
                  <a:lnTo>
                    <a:pt x="147" y="70"/>
                  </a:lnTo>
                  <a:lnTo>
                    <a:pt x="146" y="68"/>
                  </a:lnTo>
                  <a:lnTo>
                    <a:pt x="147" y="67"/>
                  </a:lnTo>
                  <a:lnTo>
                    <a:pt x="147" y="67"/>
                  </a:lnTo>
                  <a:lnTo>
                    <a:pt x="146" y="63"/>
                  </a:lnTo>
                  <a:lnTo>
                    <a:pt x="141" y="63"/>
                  </a:lnTo>
                  <a:lnTo>
                    <a:pt x="141" y="63"/>
                  </a:lnTo>
                  <a:lnTo>
                    <a:pt x="142" y="62"/>
                  </a:lnTo>
                  <a:lnTo>
                    <a:pt x="141" y="60"/>
                  </a:lnTo>
                  <a:lnTo>
                    <a:pt x="142" y="60"/>
                  </a:lnTo>
                  <a:lnTo>
                    <a:pt x="141" y="58"/>
                  </a:lnTo>
                  <a:lnTo>
                    <a:pt x="142" y="56"/>
                  </a:lnTo>
                  <a:lnTo>
                    <a:pt x="139" y="58"/>
                  </a:lnTo>
                  <a:lnTo>
                    <a:pt x="135" y="56"/>
                  </a:lnTo>
                  <a:lnTo>
                    <a:pt x="137" y="56"/>
                  </a:lnTo>
                  <a:lnTo>
                    <a:pt x="137" y="55"/>
                  </a:lnTo>
                  <a:lnTo>
                    <a:pt x="137" y="55"/>
                  </a:lnTo>
                  <a:lnTo>
                    <a:pt x="135" y="55"/>
                  </a:lnTo>
                  <a:lnTo>
                    <a:pt x="135" y="56"/>
                  </a:lnTo>
                  <a:lnTo>
                    <a:pt x="134" y="53"/>
                  </a:lnTo>
                  <a:lnTo>
                    <a:pt x="132" y="51"/>
                  </a:lnTo>
                  <a:lnTo>
                    <a:pt x="132" y="51"/>
                  </a:lnTo>
                  <a:lnTo>
                    <a:pt x="134" y="51"/>
                  </a:lnTo>
                  <a:lnTo>
                    <a:pt x="135" y="50"/>
                  </a:lnTo>
                  <a:lnTo>
                    <a:pt x="134" y="46"/>
                  </a:lnTo>
                  <a:lnTo>
                    <a:pt x="134" y="46"/>
                  </a:lnTo>
                  <a:lnTo>
                    <a:pt x="130" y="46"/>
                  </a:lnTo>
                  <a:lnTo>
                    <a:pt x="130" y="48"/>
                  </a:lnTo>
                  <a:lnTo>
                    <a:pt x="130" y="48"/>
                  </a:lnTo>
                  <a:lnTo>
                    <a:pt x="127" y="46"/>
                  </a:lnTo>
                  <a:lnTo>
                    <a:pt x="125" y="46"/>
                  </a:lnTo>
                  <a:lnTo>
                    <a:pt x="127" y="50"/>
                  </a:lnTo>
                  <a:lnTo>
                    <a:pt x="127" y="50"/>
                  </a:lnTo>
                  <a:lnTo>
                    <a:pt x="125" y="48"/>
                  </a:lnTo>
                  <a:lnTo>
                    <a:pt x="122" y="50"/>
                  </a:lnTo>
                  <a:lnTo>
                    <a:pt x="120" y="48"/>
                  </a:lnTo>
                  <a:lnTo>
                    <a:pt x="113" y="43"/>
                  </a:lnTo>
                  <a:lnTo>
                    <a:pt x="105" y="41"/>
                  </a:lnTo>
                  <a:lnTo>
                    <a:pt x="105" y="44"/>
                  </a:lnTo>
                  <a:lnTo>
                    <a:pt x="103" y="44"/>
                  </a:lnTo>
                  <a:lnTo>
                    <a:pt x="103" y="46"/>
                  </a:lnTo>
                  <a:lnTo>
                    <a:pt x="100" y="48"/>
                  </a:lnTo>
                  <a:lnTo>
                    <a:pt x="100" y="51"/>
                  </a:lnTo>
                  <a:lnTo>
                    <a:pt x="93" y="50"/>
                  </a:lnTo>
                  <a:lnTo>
                    <a:pt x="93" y="51"/>
                  </a:lnTo>
                  <a:lnTo>
                    <a:pt x="91" y="51"/>
                  </a:lnTo>
                  <a:lnTo>
                    <a:pt x="91" y="53"/>
                  </a:lnTo>
                  <a:lnTo>
                    <a:pt x="88" y="53"/>
                  </a:lnTo>
                  <a:lnTo>
                    <a:pt x="89" y="56"/>
                  </a:lnTo>
                  <a:lnTo>
                    <a:pt x="86" y="56"/>
                  </a:lnTo>
                  <a:lnTo>
                    <a:pt x="86" y="58"/>
                  </a:lnTo>
                  <a:lnTo>
                    <a:pt x="89" y="62"/>
                  </a:lnTo>
                  <a:lnTo>
                    <a:pt x="88" y="62"/>
                  </a:lnTo>
                  <a:lnTo>
                    <a:pt x="86" y="63"/>
                  </a:lnTo>
                  <a:lnTo>
                    <a:pt x="84" y="65"/>
                  </a:lnTo>
                  <a:lnTo>
                    <a:pt x="82" y="65"/>
                  </a:lnTo>
                  <a:lnTo>
                    <a:pt x="77" y="67"/>
                  </a:lnTo>
                  <a:lnTo>
                    <a:pt x="74" y="65"/>
                  </a:lnTo>
                  <a:lnTo>
                    <a:pt x="72" y="67"/>
                  </a:lnTo>
                  <a:lnTo>
                    <a:pt x="71" y="65"/>
                  </a:lnTo>
                  <a:lnTo>
                    <a:pt x="69" y="67"/>
                  </a:lnTo>
                  <a:lnTo>
                    <a:pt x="65" y="65"/>
                  </a:lnTo>
                  <a:lnTo>
                    <a:pt x="64" y="63"/>
                  </a:lnTo>
                  <a:lnTo>
                    <a:pt x="60" y="63"/>
                  </a:lnTo>
                  <a:lnTo>
                    <a:pt x="60" y="60"/>
                  </a:lnTo>
                  <a:lnTo>
                    <a:pt x="62" y="60"/>
                  </a:lnTo>
                  <a:lnTo>
                    <a:pt x="62" y="58"/>
                  </a:lnTo>
                  <a:lnTo>
                    <a:pt x="62" y="58"/>
                  </a:lnTo>
                  <a:lnTo>
                    <a:pt x="60" y="58"/>
                  </a:lnTo>
                  <a:lnTo>
                    <a:pt x="59" y="56"/>
                  </a:lnTo>
                  <a:lnTo>
                    <a:pt x="57" y="58"/>
                  </a:lnTo>
                  <a:lnTo>
                    <a:pt x="57" y="60"/>
                  </a:lnTo>
                  <a:lnTo>
                    <a:pt x="55" y="63"/>
                  </a:lnTo>
                  <a:lnTo>
                    <a:pt x="57" y="65"/>
                  </a:lnTo>
                  <a:lnTo>
                    <a:pt x="55" y="65"/>
                  </a:lnTo>
                  <a:lnTo>
                    <a:pt x="53" y="70"/>
                  </a:lnTo>
                  <a:lnTo>
                    <a:pt x="48" y="79"/>
                  </a:lnTo>
                  <a:lnTo>
                    <a:pt x="47" y="80"/>
                  </a:lnTo>
                  <a:lnTo>
                    <a:pt x="40" y="77"/>
                  </a:lnTo>
                  <a:lnTo>
                    <a:pt x="38" y="77"/>
                  </a:lnTo>
                  <a:lnTo>
                    <a:pt x="38" y="79"/>
                  </a:lnTo>
                  <a:lnTo>
                    <a:pt x="35" y="79"/>
                  </a:lnTo>
                  <a:lnTo>
                    <a:pt x="36" y="80"/>
                  </a:lnTo>
                  <a:lnTo>
                    <a:pt x="36" y="82"/>
                  </a:lnTo>
                  <a:lnTo>
                    <a:pt x="35" y="85"/>
                  </a:lnTo>
                  <a:lnTo>
                    <a:pt x="33" y="85"/>
                  </a:lnTo>
                  <a:lnTo>
                    <a:pt x="33" y="89"/>
                  </a:lnTo>
                  <a:lnTo>
                    <a:pt x="24" y="94"/>
                  </a:lnTo>
                  <a:lnTo>
                    <a:pt x="24" y="97"/>
                  </a:lnTo>
                  <a:lnTo>
                    <a:pt x="23" y="101"/>
                  </a:lnTo>
                  <a:lnTo>
                    <a:pt x="19" y="103"/>
                  </a:lnTo>
                  <a:lnTo>
                    <a:pt x="16" y="104"/>
                  </a:lnTo>
                  <a:lnTo>
                    <a:pt x="12" y="111"/>
                  </a:lnTo>
                  <a:lnTo>
                    <a:pt x="11" y="111"/>
                  </a:lnTo>
                  <a:lnTo>
                    <a:pt x="9" y="115"/>
                  </a:lnTo>
                  <a:lnTo>
                    <a:pt x="0" y="58"/>
                  </a:lnTo>
                  <a:lnTo>
                    <a:pt x="7" y="56"/>
                  </a:lnTo>
                  <a:lnTo>
                    <a:pt x="45" y="50"/>
                  </a:lnTo>
                  <a:lnTo>
                    <a:pt x="53" y="48"/>
                  </a:lnTo>
                  <a:lnTo>
                    <a:pt x="89" y="41"/>
                  </a:lnTo>
                  <a:lnTo>
                    <a:pt x="93" y="41"/>
                  </a:lnTo>
                  <a:lnTo>
                    <a:pt x="112" y="38"/>
                  </a:lnTo>
                  <a:lnTo>
                    <a:pt x="161" y="27"/>
                  </a:lnTo>
                  <a:lnTo>
                    <a:pt x="163" y="27"/>
                  </a:lnTo>
                  <a:lnTo>
                    <a:pt x="182" y="24"/>
                  </a:lnTo>
                  <a:lnTo>
                    <a:pt x="200" y="21"/>
                  </a:lnTo>
                  <a:lnTo>
                    <a:pt x="217" y="17"/>
                  </a:lnTo>
                  <a:lnTo>
                    <a:pt x="235" y="14"/>
                  </a:lnTo>
                  <a:lnTo>
                    <a:pt x="262" y="7"/>
                  </a:lnTo>
                  <a:lnTo>
                    <a:pt x="269" y="5"/>
                  </a:lnTo>
                  <a:lnTo>
                    <a:pt x="296" y="0"/>
                  </a:lnTo>
                  <a:lnTo>
                    <a:pt x="306" y="36"/>
                  </a:lnTo>
                  <a:lnTo>
                    <a:pt x="308" y="44"/>
                  </a:lnTo>
                  <a:lnTo>
                    <a:pt x="310" y="50"/>
                  </a:lnTo>
                  <a:lnTo>
                    <a:pt x="313" y="60"/>
                  </a:lnTo>
                  <a:lnTo>
                    <a:pt x="322" y="92"/>
                  </a:lnTo>
                  <a:lnTo>
                    <a:pt x="329" y="111"/>
                  </a:lnTo>
                  <a:close/>
                  <a:moveTo>
                    <a:pt x="274" y="94"/>
                  </a:moveTo>
                  <a:lnTo>
                    <a:pt x="274" y="89"/>
                  </a:lnTo>
                  <a:lnTo>
                    <a:pt x="270" y="91"/>
                  </a:lnTo>
                  <a:lnTo>
                    <a:pt x="272" y="91"/>
                  </a:lnTo>
                  <a:lnTo>
                    <a:pt x="272" y="94"/>
                  </a:lnTo>
                  <a:lnTo>
                    <a:pt x="270" y="94"/>
                  </a:lnTo>
                  <a:lnTo>
                    <a:pt x="272" y="99"/>
                  </a:lnTo>
                  <a:lnTo>
                    <a:pt x="269" y="103"/>
                  </a:lnTo>
                  <a:lnTo>
                    <a:pt x="269" y="91"/>
                  </a:lnTo>
                  <a:lnTo>
                    <a:pt x="270" y="80"/>
                  </a:lnTo>
                  <a:lnTo>
                    <a:pt x="277" y="87"/>
                  </a:lnTo>
                  <a:lnTo>
                    <a:pt x="277" y="92"/>
                  </a:lnTo>
                  <a:lnTo>
                    <a:pt x="276" y="91"/>
                  </a:lnTo>
                  <a:lnTo>
                    <a:pt x="274" y="94"/>
                  </a:lnTo>
                  <a:close/>
                  <a:moveTo>
                    <a:pt x="385" y="121"/>
                  </a:moveTo>
                  <a:lnTo>
                    <a:pt x="387" y="121"/>
                  </a:lnTo>
                  <a:lnTo>
                    <a:pt x="387" y="135"/>
                  </a:lnTo>
                  <a:lnTo>
                    <a:pt x="385" y="121"/>
                  </a:lnTo>
                  <a:close/>
                  <a:moveTo>
                    <a:pt x="378" y="169"/>
                  </a:moveTo>
                  <a:lnTo>
                    <a:pt x="380" y="168"/>
                  </a:lnTo>
                  <a:lnTo>
                    <a:pt x="382" y="161"/>
                  </a:lnTo>
                  <a:lnTo>
                    <a:pt x="383" y="149"/>
                  </a:lnTo>
                  <a:lnTo>
                    <a:pt x="385" y="135"/>
                  </a:lnTo>
                  <a:lnTo>
                    <a:pt x="383" y="157"/>
                  </a:lnTo>
                  <a:lnTo>
                    <a:pt x="380" y="169"/>
                  </a:lnTo>
                  <a:lnTo>
                    <a:pt x="378" y="169"/>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40" name="Freeform 36">
              <a:extLst>
                <a:ext uri="{FF2B5EF4-FFF2-40B4-BE49-F238E27FC236}">
                  <a16:creationId xmlns:a16="http://schemas.microsoft.com/office/drawing/2014/main" id="{457EE27B-6A8C-4A9F-B143-FEEF7B56246F}"/>
                </a:ext>
              </a:extLst>
            </p:cNvPr>
            <p:cNvSpPr>
              <a:spLocks/>
            </p:cNvSpPr>
            <p:nvPr/>
          </p:nvSpPr>
          <p:spPr bwMode="gray">
            <a:xfrm>
              <a:off x="3484064" y="3297232"/>
              <a:ext cx="998362" cy="787418"/>
            </a:xfrm>
            <a:custGeom>
              <a:avLst/>
              <a:gdLst/>
              <a:ahLst/>
              <a:cxnLst>
                <a:cxn ang="0">
                  <a:pos x="596" y="419"/>
                </a:cxn>
                <a:cxn ang="0">
                  <a:pos x="595" y="446"/>
                </a:cxn>
                <a:cxn ang="0">
                  <a:pos x="593" y="489"/>
                </a:cxn>
                <a:cxn ang="0">
                  <a:pos x="511" y="482"/>
                </a:cxn>
                <a:cxn ang="0">
                  <a:pos x="504" y="482"/>
                </a:cxn>
                <a:cxn ang="0">
                  <a:pos x="427" y="475"/>
                </a:cxn>
                <a:cxn ang="0">
                  <a:pos x="330" y="466"/>
                </a:cxn>
                <a:cxn ang="0">
                  <a:pos x="325" y="466"/>
                </a:cxn>
                <a:cxn ang="0">
                  <a:pos x="282" y="461"/>
                </a:cxn>
                <a:cxn ang="0">
                  <a:pos x="258" y="460"/>
                </a:cxn>
                <a:cxn ang="0">
                  <a:pos x="217" y="456"/>
                </a:cxn>
                <a:cxn ang="0">
                  <a:pos x="184" y="453"/>
                </a:cxn>
                <a:cxn ang="0">
                  <a:pos x="183" y="451"/>
                </a:cxn>
                <a:cxn ang="0">
                  <a:pos x="138" y="446"/>
                </a:cxn>
                <a:cxn ang="0">
                  <a:pos x="133" y="444"/>
                </a:cxn>
                <a:cxn ang="0">
                  <a:pos x="56" y="436"/>
                </a:cxn>
                <a:cxn ang="0">
                  <a:pos x="0" y="427"/>
                </a:cxn>
                <a:cxn ang="0">
                  <a:pos x="10" y="360"/>
                </a:cxn>
                <a:cxn ang="0">
                  <a:pos x="14" y="333"/>
                </a:cxn>
                <a:cxn ang="0">
                  <a:pos x="17" y="304"/>
                </a:cxn>
                <a:cxn ang="0">
                  <a:pos x="19" y="294"/>
                </a:cxn>
                <a:cxn ang="0">
                  <a:pos x="22" y="268"/>
                </a:cxn>
                <a:cxn ang="0">
                  <a:pos x="34" y="174"/>
                </a:cxn>
                <a:cxn ang="0">
                  <a:pos x="37" y="157"/>
                </a:cxn>
                <a:cxn ang="0">
                  <a:pos x="39" y="143"/>
                </a:cxn>
                <a:cxn ang="0">
                  <a:pos x="48" y="84"/>
                </a:cxn>
                <a:cxn ang="0">
                  <a:pos x="55" y="36"/>
                </a:cxn>
                <a:cxn ang="0">
                  <a:pos x="60" y="0"/>
                </a:cxn>
                <a:cxn ang="0">
                  <a:pos x="150" y="10"/>
                </a:cxn>
                <a:cxn ang="0">
                  <a:pos x="198" y="17"/>
                </a:cxn>
                <a:cxn ang="0">
                  <a:pos x="234" y="22"/>
                </a:cxn>
                <a:cxn ang="0">
                  <a:pos x="277" y="25"/>
                </a:cxn>
                <a:cxn ang="0">
                  <a:pos x="287" y="27"/>
                </a:cxn>
                <a:cxn ang="0">
                  <a:pos x="360" y="36"/>
                </a:cxn>
                <a:cxn ang="0">
                  <a:pos x="388" y="37"/>
                </a:cxn>
                <a:cxn ang="0">
                  <a:pos x="460" y="44"/>
                </a:cxn>
                <a:cxn ang="0">
                  <a:pos x="497" y="48"/>
                </a:cxn>
                <a:cxn ang="0">
                  <a:pos x="513" y="48"/>
                </a:cxn>
                <a:cxn ang="0">
                  <a:pos x="571" y="53"/>
                </a:cxn>
                <a:cxn ang="0">
                  <a:pos x="574" y="53"/>
                </a:cxn>
                <a:cxn ang="0">
                  <a:pos x="620" y="56"/>
                </a:cxn>
                <a:cxn ang="0">
                  <a:pos x="619" y="84"/>
                </a:cxn>
                <a:cxn ang="0">
                  <a:pos x="617" y="89"/>
                </a:cxn>
                <a:cxn ang="0">
                  <a:pos x="615" y="118"/>
                </a:cxn>
                <a:cxn ang="0">
                  <a:pos x="615" y="126"/>
                </a:cxn>
                <a:cxn ang="0">
                  <a:pos x="612" y="164"/>
                </a:cxn>
                <a:cxn ang="0">
                  <a:pos x="610" y="210"/>
                </a:cxn>
                <a:cxn ang="0">
                  <a:pos x="610" y="210"/>
                </a:cxn>
                <a:cxn ang="0">
                  <a:pos x="607" y="258"/>
                </a:cxn>
                <a:cxn ang="0">
                  <a:pos x="607" y="268"/>
                </a:cxn>
                <a:cxn ang="0">
                  <a:pos x="603" y="304"/>
                </a:cxn>
                <a:cxn ang="0">
                  <a:pos x="603" y="313"/>
                </a:cxn>
                <a:cxn ang="0">
                  <a:pos x="601" y="350"/>
                </a:cxn>
                <a:cxn ang="0">
                  <a:pos x="601" y="352"/>
                </a:cxn>
                <a:cxn ang="0">
                  <a:pos x="598" y="408"/>
                </a:cxn>
                <a:cxn ang="0">
                  <a:pos x="596" y="419"/>
                </a:cxn>
              </a:cxnLst>
              <a:rect l="0" t="0" r="r" b="b"/>
              <a:pathLst>
                <a:path w="620" h="489">
                  <a:moveTo>
                    <a:pt x="596" y="419"/>
                  </a:moveTo>
                  <a:lnTo>
                    <a:pt x="595" y="446"/>
                  </a:lnTo>
                  <a:lnTo>
                    <a:pt x="593" y="489"/>
                  </a:lnTo>
                  <a:lnTo>
                    <a:pt x="511" y="482"/>
                  </a:lnTo>
                  <a:lnTo>
                    <a:pt x="504" y="482"/>
                  </a:lnTo>
                  <a:lnTo>
                    <a:pt x="427" y="475"/>
                  </a:lnTo>
                  <a:lnTo>
                    <a:pt x="330" y="466"/>
                  </a:lnTo>
                  <a:lnTo>
                    <a:pt x="325" y="466"/>
                  </a:lnTo>
                  <a:lnTo>
                    <a:pt x="282" y="461"/>
                  </a:lnTo>
                  <a:lnTo>
                    <a:pt x="258" y="460"/>
                  </a:lnTo>
                  <a:lnTo>
                    <a:pt x="217" y="456"/>
                  </a:lnTo>
                  <a:lnTo>
                    <a:pt x="184" y="453"/>
                  </a:lnTo>
                  <a:lnTo>
                    <a:pt x="183" y="451"/>
                  </a:lnTo>
                  <a:lnTo>
                    <a:pt x="138" y="446"/>
                  </a:lnTo>
                  <a:lnTo>
                    <a:pt x="133" y="444"/>
                  </a:lnTo>
                  <a:lnTo>
                    <a:pt x="56" y="436"/>
                  </a:lnTo>
                  <a:lnTo>
                    <a:pt x="0" y="427"/>
                  </a:lnTo>
                  <a:lnTo>
                    <a:pt x="10" y="360"/>
                  </a:lnTo>
                  <a:lnTo>
                    <a:pt x="14" y="333"/>
                  </a:lnTo>
                  <a:lnTo>
                    <a:pt x="17" y="304"/>
                  </a:lnTo>
                  <a:lnTo>
                    <a:pt x="19" y="294"/>
                  </a:lnTo>
                  <a:lnTo>
                    <a:pt x="22" y="268"/>
                  </a:lnTo>
                  <a:lnTo>
                    <a:pt x="34" y="174"/>
                  </a:lnTo>
                  <a:lnTo>
                    <a:pt x="37" y="157"/>
                  </a:lnTo>
                  <a:lnTo>
                    <a:pt x="39" y="143"/>
                  </a:lnTo>
                  <a:lnTo>
                    <a:pt x="48" y="84"/>
                  </a:lnTo>
                  <a:lnTo>
                    <a:pt x="55" y="36"/>
                  </a:lnTo>
                  <a:lnTo>
                    <a:pt x="60" y="0"/>
                  </a:lnTo>
                  <a:lnTo>
                    <a:pt x="150" y="10"/>
                  </a:lnTo>
                  <a:lnTo>
                    <a:pt x="198" y="17"/>
                  </a:lnTo>
                  <a:lnTo>
                    <a:pt x="234" y="22"/>
                  </a:lnTo>
                  <a:lnTo>
                    <a:pt x="277" y="25"/>
                  </a:lnTo>
                  <a:lnTo>
                    <a:pt x="287" y="27"/>
                  </a:lnTo>
                  <a:lnTo>
                    <a:pt x="360" y="36"/>
                  </a:lnTo>
                  <a:lnTo>
                    <a:pt x="388" y="37"/>
                  </a:lnTo>
                  <a:lnTo>
                    <a:pt x="460" y="44"/>
                  </a:lnTo>
                  <a:lnTo>
                    <a:pt x="497" y="48"/>
                  </a:lnTo>
                  <a:lnTo>
                    <a:pt x="513" y="48"/>
                  </a:lnTo>
                  <a:lnTo>
                    <a:pt x="571" y="53"/>
                  </a:lnTo>
                  <a:lnTo>
                    <a:pt x="574" y="53"/>
                  </a:lnTo>
                  <a:lnTo>
                    <a:pt x="620" y="56"/>
                  </a:lnTo>
                  <a:lnTo>
                    <a:pt x="619" y="84"/>
                  </a:lnTo>
                  <a:lnTo>
                    <a:pt x="617" y="89"/>
                  </a:lnTo>
                  <a:lnTo>
                    <a:pt x="615" y="118"/>
                  </a:lnTo>
                  <a:lnTo>
                    <a:pt x="615" y="126"/>
                  </a:lnTo>
                  <a:lnTo>
                    <a:pt x="612" y="164"/>
                  </a:lnTo>
                  <a:lnTo>
                    <a:pt x="610" y="210"/>
                  </a:lnTo>
                  <a:lnTo>
                    <a:pt x="610" y="210"/>
                  </a:lnTo>
                  <a:lnTo>
                    <a:pt x="607" y="258"/>
                  </a:lnTo>
                  <a:lnTo>
                    <a:pt x="607" y="268"/>
                  </a:lnTo>
                  <a:lnTo>
                    <a:pt x="603" y="304"/>
                  </a:lnTo>
                  <a:lnTo>
                    <a:pt x="603" y="313"/>
                  </a:lnTo>
                  <a:lnTo>
                    <a:pt x="601" y="350"/>
                  </a:lnTo>
                  <a:lnTo>
                    <a:pt x="601" y="352"/>
                  </a:lnTo>
                  <a:lnTo>
                    <a:pt x="598" y="408"/>
                  </a:lnTo>
                  <a:lnTo>
                    <a:pt x="596" y="419"/>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41" name="Freeform 37">
              <a:extLst>
                <a:ext uri="{FF2B5EF4-FFF2-40B4-BE49-F238E27FC236}">
                  <a16:creationId xmlns:a16="http://schemas.microsoft.com/office/drawing/2014/main" id="{2DB82FEC-46ED-4909-9800-826EF16D2995}"/>
                </a:ext>
              </a:extLst>
            </p:cNvPr>
            <p:cNvSpPr>
              <a:spLocks noEditPoints="1"/>
            </p:cNvSpPr>
            <p:nvPr/>
          </p:nvSpPr>
          <p:spPr bwMode="gray">
            <a:xfrm>
              <a:off x="6150658" y="3646659"/>
              <a:ext cx="1016075" cy="516894"/>
            </a:xfrm>
            <a:custGeom>
              <a:avLst/>
              <a:gdLst/>
              <a:ahLst/>
              <a:cxnLst>
                <a:cxn ang="0">
                  <a:pos x="162" y="294"/>
                </a:cxn>
                <a:cxn ang="0">
                  <a:pos x="130" y="307"/>
                </a:cxn>
                <a:cxn ang="0">
                  <a:pos x="63" y="318"/>
                </a:cxn>
                <a:cxn ang="0">
                  <a:pos x="19" y="307"/>
                </a:cxn>
                <a:cxn ang="0">
                  <a:pos x="32" y="302"/>
                </a:cxn>
                <a:cxn ang="0">
                  <a:pos x="36" y="290"/>
                </a:cxn>
                <a:cxn ang="0">
                  <a:pos x="36" y="270"/>
                </a:cxn>
                <a:cxn ang="0">
                  <a:pos x="31" y="256"/>
                </a:cxn>
                <a:cxn ang="0">
                  <a:pos x="65" y="246"/>
                </a:cxn>
                <a:cxn ang="0">
                  <a:pos x="87" y="255"/>
                </a:cxn>
                <a:cxn ang="0">
                  <a:pos x="84" y="229"/>
                </a:cxn>
                <a:cxn ang="0">
                  <a:pos x="118" y="203"/>
                </a:cxn>
                <a:cxn ang="0">
                  <a:pos x="120" y="171"/>
                </a:cxn>
                <a:cxn ang="0">
                  <a:pos x="126" y="164"/>
                </a:cxn>
                <a:cxn ang="0">
                  <a:pos x="142" y="159"/>
                </a:cxn>
                <a:cxn ang="0">
                  <a:pos x="154" y="164"/>
                </a:cxn>
                <a:cxn ang="0">
                  <a:pos x="166" y="154"/>
                </a:cxn>
                <a:cxn ang="0">
                  <a:pos x="191" y="162"/>
                </a:cxn>
                <a:cxn ang="0">
                  <a:pos x="205" y="150"/>
                </a:cxn>
                <a:cxn ang="0">
                  <a:pos x="226" y="152"/>
                </a:cxn>
                <a:cxn ang="0">
                  <a:pos x="232" y="157"/>
                </a:cxn>
                <a:cxn ang="0">
                  <a:pos x="244" y="147"/>
                </a:cxn>
                <a:cxn ang="0">
                  <a:pos x="248" y="131"/>
                </a:cxn>
                <a:cxn ang="0">
                  <a:pos x="251" y="126"/>
                </a:cxn>
                <a:cxn ang="0">
                  <a:pos x="253" y="116"/>
                </a:cxn>
                <a:cxn ang="0">
                  <a:pos x="265" y="131"/>
                </a:cxn>
                <a:cxn ang="0">
                  <a:pos x="291" y="133"/>
                </a:cxn>
                <a:cxn ang="0">
                  <a:pos x="299" y="102"/>
                </a:cxn>
                <a:cxn ang="0">
                  <a:pos x="314" y="84"/>
                </a:cxn>
                <a:cxn ang="0">
                  <a:pos x="325" y="55"/>
                </a:cxn>
                <a:cxn ang="0">
                  <a:pos x="349" y="51"/>
                </a:cxn>
                <a:cxn ang="0">
                  <a:pos x="374" y="34"/>
                </a:cxn>
                <a:cxn ang="0">
                  <a:pos x="369" y="24"/>
                </a:cxn>
                <a:cxn ang="0">
                  <a:pos x="366" y="10"/>
                </a:cxn>
                <a:cxn ang="0">
                  <a:pos x="388" y="7"/>
                </a:cxn>
                <a:cxn ang="0">
                  <a:pos x="405" y="7"/>
                </a:cxn>
                <a:cxn ang="0">
                  <a:pos x="422" y="24"/>
                </a:cxn>
                <a:cxn ang="0">
                  <a:pos x="451" y="32"/>
                </a:cxn>
                <a:cxn ang="0">
                  <a:pos x="472" y="44"/>
                </a:cxn>
                <a:cxn ang="0">
                  <a:pos x="485" y="36"/>
                </a:cxn>
                <a:cxn ang="0">
                  <a:pos x="504" y="43"/>
                </a:cxn>
                <a:cxn ang="0">
                  <a:pos x="521" y="31"/>
                </a:cxn>
                <a:cxn ang="0">
                  <a:pos x="537" y="29"/>
                </a:cxn>
                <a:cxn ang="0">
                  <a:pos x="554" y="43"/>
                </a:cxn>
                <a:cxn ang="0">
                  <a:pos x="567" y="68"/>
                </a:cxn>
                <a:cxn ang="0">
                  <a:pos x="564" y="82"/>
                </a:cxn>
                <a:cxn ang="0">
                  <a:pos x="579" y="104"/>
                </a:cxn>
                <a:cxn ang="0">
                  <a:pos x="596" y="121"/>
                </a:cxn>
                <a:cxn ang="0">
                  <a:pos x="614" y="138"/>
                </a:cxn>
                <a:cxn ang="0">
                  <a:pos x="622" y="143"/>
                </a:cxn>
                <a:cxn ang="0">
                  <a:pos x="602" y="176"/>
                </a:cxn>
                <a:cxn ang="0">
                  <a:pos x="574" y="200"/>
                </a:cxn>
                <a:cxn ang="0">
                  <a:pos x="564" y="220"/>
                </a:cxn>
                <a:cxn ang="0">
                  <a:pos x="543" y="241"/>
                </a:cxn>
                <a:cxn ang="0">
                  <a:pos x="511" y="253"/>
                </a:cxn>
                <a:cxn ang="0">
                  <a:pos x="451" y="268"/>
                </a:cxn>
                <a:cxn ang="0">
                  <a:pos x="362" y="275"/>
                </a:cxn>
                <a:cxn ang="0">
                  <a:pos x="260" y="284"/>
                </a:cxn>
                <a:cxn ang="0">
                  <a:pos x="5" y="314"/>
                </a:cxn>
              </a:cxnLst>
              <a:rect l="0" t="0" r="r" b="b"/>
              <a:pathLst>
                <a:path w="631" h="321">
                  <a:moveTo>
                    <a:pt x="260" y="284"/>
                  </a:moveTo>
                  <a:lnTo>
                    <a:pt x="238" y="285"/>
                  </a:lnTo>
                  <a:lnTo>
                    <a:pt x="212" y="289"/>
                  </a:lnTo>
                  <a:lnTo>
                    <a:pt x="209" y="289"/>
                  </a:lnTo>
                  <a:lnTo>
                    <a:pt x="188" y="290"/>
                  </a:lnTo>
                  <a:lnTo>
                    <a:pt x="162" y="294"/>
                  </a:lnTo>
                  <a:lnTo>
                    <a:pt x="159" y="294"/>
                  </a:lnTo>
                  <a:lnTo>
                    <a:pt x="145" y="296"/>
                  </a:lnTo>
                  <a:lnTo>
                    <a:pt x="144" y="292"/>
                  </a:lnTo>
                  <a:lnTo>
                    <a:pt x="126" y="292"/>
                  </a:lnTo>
                  <a:lnTo>
                    <a:pt x="130" y="302"/>
                  </a:lnTo>
                  <a:lnTo>
                    <a:pt x="130" y="307"/>
                  </a:lnTo>
                  <a:lnTo>
                    <a:pt x="130" y="313"/>
                  </a:lnTo>
                  <a:lnTo>
                    <a:pt x="91" y="316"/>
                  </a:lnTo>
                  <a:lnTo>
                    <a:pt x="91" y="316"/>
                  </a:lnTo>
                  <a:lnTo>
                    <a:pt x="65" y="318"/>
                  </a:lnTo>
                  <a:lnTo>
                    <a:pt x="63" y="318"/>
                  </a:lnTo>
                  <a:lnTo>
                    <a:pt x="63" y="318"/>
                  </a:lnTo>
                  <a:lnTo>
                    <a:pt x="19" y="319"/>
                  </a:lnTo>
                  <a:lnTo>
                    <a:pt x="14" y="321"/>
                  </a:lnTo>
                  <a:lnTo>
                    <a:pt x="12" y="319"/>
                  </a:lnTo>
                  <a:lnTo>
                    <a:pt x="15" y="307"/>
                  </a:lnTo>
                  <a:lnTo>
                    <a:pt x="17" y="307"/>
                  </a:lnTo>
                  <a:lnTo>
                    <a:pt x="19" y="307"/>
                  </a:lnTo>
                  <a:lnTo>
                    <a:pt x="21" y="307"/>
                  </a:lnTo>
                  <a:lnTo>
                    <a:pt x="24" y="313"/>
                  </a:lnTo>
                  <a:lnTo>
                    <a:pt x="27" y="313"/>
                  </a:lnTo>
                  <a:lnTo>
                    <a:pt x="29" y="311"/>
                  </a:lnTo>
                  <a:lnTo>
                    <a:pt x="31" y="306"/>
                  </a:lnTo>
                  <a:lnTo>
                    <a:pt x="32" y="302"/>
                  </a:lnTo>
                  <a:lnTo>
                    <a:pt x="32" y="301"/>
                  </a:lnTo>
                  <a:lnTo>
                    <a:pt x="29" y="297"/>
                  </a:lnTo>
                  <a:lnTo>
                    <a:pt x="29" y="296"/>
                  </a:lnTo>
                  <a:lnTo>
                    <a:pt x="31" y="292"/>
                  </a:lnTo>
                  <a:lnTo>
                    <a:pt x="34" y="292"/>
                  </a:lnTo>
                  <a:lnTo>
                    <a:pt x="36" y="290"/>
                  </a:lnTo>
                  <a:lnTo>
                    <a:pt x="36" y="287"/>
                  </a:lnTo>
                  <a:lnTo>
                    <a:pt x="32" y="287"/>
                  </a:lnTo>
                  <a:lnTo>
                    <a:pt x="31" y="284"/>
                  </a:lnTo>
                  <a:lnTo>
                    <a:pt x="31" y="282"/>
                  </a:lnTo>
                  <a:lnTo>
                    <a:pt x="34" y="280"/>
                  </a:lnTo>
                  <a:lnTo>
                    <a:pt x="36" y="270"/>
                  </a:lnTo>
                  <a:lnTo>
                    <a:pt x="36" y="268"/>
                  </a:lnTo>
                  <a:lnTo>
                    <a:pt x="34" y="266"/>
                  </a:lnTo>
                  <a:lnTo>
                    <a:pt x="32" y="266"/>
                  </a:lnTo>
                  <a:lnTo>
                    <a:pt x="29" y="263"/>
                  </a:lnTo>
                  <a:lnTo>
                    <a:pt x="29" y="258"/>
                  </a:lnTo>
                  <a:lnTo>
                    <a:pt x="31" y="256"/>
                  </a:lnTo>
                  <a:lnTo>
                    <a:pt x="34" y="253"/>
                  </a:lnTo>
                  <a:lnTo>
                    <a:pt x="38" y="244"/>
                  </a:lnTo>
                  <a:lnTo>
                    <a:pt x="43" y="241"/>
                  </a:lnTo>
                  <a:lnTo>
                    <a:pt x="48" y="241"/>
                  </a:lnTo>
                  <a:lnTo>
                    <a:pt x="55" y="243"/>
                  </a:lnTo>
                  <a:lnTo>
                    <a:pt x="65" y="246"/>
                  </a:lnTo>
                  <a:lnTo>
                    <a:pt x="65" y="248"/>
                  </a:lnTo>
                  <a:lnTo>
                    <a:pt x="70" y="248"/>
                  </a:lnTo>
                  <a:lnTo>
                    <a:pt x="77" y="251"/>
                  </a:lnTo>
                  <a:lnTo>
                    <a:pt x="80" y="255"/>
                  </a:lnTo>
                  <a:lnTo>
                    <a:pt x="85" y="255"/>
                  </a:lnTo>
                  <a:lnTo>
                    <a:pt x="87" y="255"/>
                  </a:lnTo>
                  <a:lnTo>
                    <a:pt x="89" y="253"/>
                  </a:lnTo>
                  <a:lnTo>
                    <a:pt x="91" y="251"/>
                  </a:lnTo>
                  <a:lnTo>
                    <a:pt x="92" y="244"/>
                  </a:lnTo>
                  <a:lnTo>
                    <a:pt x="89" y="239"/>
                  </a:lnTo>
                  <a:lnTo>
                    <a:pt x="84" y="234"/>
                  </a:lnTo>
                  <a:lnTo>
                    <a:pt x="84" y="229"/>
                  </a:lnTo>
                  <a:lnTo>
                    <a:pt x="85" y="219"/>
                  </a:lnTo>
                  <a:lnTo>
                    <a:pt x="91" y="215"/>
                  </a:lnTo>
                  <a:lnTo>
                    <a:pt x="96" y="217"/>
                  </a:lnTo>
                  <a:lnTo>
                    <a:pt x="99" y="212"/>
                  </a:lnTo>
                  <a:lnTo>
                    <a:pt x="118" y="207"/>
                  </a:lnTo>
                  <a:lnTo>
                    <a:pt x="118" y="203"/>
                  </a:lnTo>
                  <a:lnTo>
                    <a:pt x="113" y="196"/>
                  </a:lnTo>
                  <a:lnTo>
                    <a:pt x="109" y="191"/>
                  </a:lnTo>
                  <a:lnTo>
                    <a:pt x="109" y="188"/>
                  </a:lnTo>
                  <a:lnTo>
                    <a:pt x="111" y="183"/>
                  </a:lnTo>
                  <a:lnTo>
                    <a:pt x="116" y="179"/>
                  </a:lnTo>
                  <a:lnTo>
                    <a:pt x="120" y="171"/>
                  </a:lnTo>
                  <a:lnTo>
                    <a:pt x="121" y="172"/>
                  </a:lnTo>
                  <a:lnTo>
                    <a:pt x="125" y="174"/>
                  </a:lnTo>
                  <a:lnTo>
                    <a:pt x="126" y="171"/>
                  </a:lnTo>
                  <a:lnTo>
                    <a:pt x="128" y="171"/>
                  </a:lnTo>
                  <a:lnTo>
                    <a:pt x="130" y="167"/>
                  </a:lnTo>
                  <a:lnTo>
                    <a:pt x="126" y="164"/>
                  </a:lnTo>
                  <a:lnTo>
                    <a:pt x="126" y="161"/>
                  </a:lnTo>
                  <a:lnTo>
                    <a:pt x="128" y="159"/>
                  </a:lnTo>
                  <a:lnTo>
                    <a:pt x="130" y="157"/>
                  </a:lnTo>
                  <a:lnTo>
                    <a:pt x="133" y="161"/>
                  </a:lnTo>
                  <a:lnTo>
                    <a:pt x="137" y="162"/>
                  </a:lnTo>
                  <a:lnTo>
                    <a:pt x="142" y="159"/>
                  </a:lnTo>
                  <a:lnTo>
                    <a:pt x="144" y="159"/>
                  </a:lnTo>
                  <a:lnTo>
                    <a:pt x="145" y="159"/>
                  </a:lnTo>
                  <a:lnTo>
                    <a:pt x="147" y="159"/>
                  </a:lnTo>
                  <a:lnTo>
                    <a:pt x="149" y="166"/>
                  </a:lnTo>
                  <a:lnTo>
                    <a:pt x="150" y="166"/>
                  </a:lnTo>
                  <a:lnTo>
                    <a:pt x="154" y="164"/>
                  </a:lnTo>
                  <a:lnTo>
                    <a:pt x="156" y="162"/>
                  </a:lnTo>
                  <a:lnTo>
                    <a:pt x="156" y="159"/>
                  </a:lnTo>
                  <a:lnTo>
                    <a:pt x="152" y="155"/>
                  </a:lnTo>
                  <a:lnTo>
                    <a:pt x="154" y="150"/>
                  </a:lnTo>
                  <a:lnTo>
                    <a:pt x="162" y="155"/>
                  </a:lnTo>
                  <a:lnTo>
                    <a:pt x="166" y="154"/>
                  </a:lnTo>
                  <a:lnTo>
                    <a:pt x="173" y="152"/>
                  </a:lnTo>
                  <a:lnTo>
                    <a:pt x="179" y="157"/>
                  </a:lnTo>
                  <a:lnTo>
                    <a:pt x="183" y="159"/>
                  </a:lnTo>
                  <a:lnTo>
                    <a:pt x="186" y="161"/>
                  </a:lnTo>
                  <a:lnTo>
                    <a:pt x="190" y="162"/>
                  </a:lnTo>
                  <a:lnTo>
                    <a:pt x="191" y="162"/>
                  </a:lnTo>
                  <a:lnTo>
                    <a:pt x="195" y="166"/>
                  </a:lnTo>
                  <a:lnTo>
                    <a:pt x="197" y="167"/>
                  </a:lnTo>
                  <a:lnTo>
                    <a:pt x="200" y="164"/>
                  </a:lnTo>
                  <a:lnTo>
                    <a:pt x="202" y="154"/>
                  </a:lnTo>
                  <a:lnTo>
                    <a:pt x="203" y="150"/>
                  </a:lnTo>
                  <a:lnTo>
                    <a:pt x="205" y="150"/>
                  </a:lnTo>
                  <a:lnTo>
                    <a:pt x="210" y="149"/>
                  </a:lnTo>
                  <a:lnTo>
                    <a:pt x="212" y="147"/>
                  </a:lnTo>
                  <a:lnTo>
                    <a:pt x="215" y="143"/>
                  </a:lnTo>
                  <a:lnTo>
                    <a:pt x="219" y="142"/>
                  </a:lnTo>
                  <a:lnTo>
                    <a:pt x="220" y="143"/>
                  </a:lnTo>
                  <a:lnTo>
                    <a:pt x="226" y="152"/>
                  </a:lnTo>
                  <a:lnTo>
                    <a:pt x="227" y="152"/>
                  </a:lnTo>
                  <a:lnTo>
                    <a:pt x="231" y="150"/>
                  </a:lnTo>
                  <a:lnTo>
                    <a:pt x="232" y="149"/>
                  </a:lnTo>
                  <a:lnTo>
                    <a:pt x="232" y="150"/>
                  </a:lnTo>
                  <a:lnTo>
                    <a:pt x="232" y="155"/>
                  </a:lnTo>
                  <a:lnTo>
                    <a:pt x="232" y="157"/>
                  </a:lnTo>
                  <a:lnTo>
                    <a:pt x="234" y="157"/>
                  </a:lnTo>
                  <a:lnTo>
                    <a:pt x="238" y="155"/>
                  </a:lnTo>
                  <a:lnTo>
                    <a:pt x="238" y="149"/>
                  </a:lnTo>
                  <a:lnTo>
                    <a:pt x="239" y="147"/>
                  </a:lnTo>
                  <a:lnTo>
                    <a:pt x="243" y="147"/>
                  </a:lnTo>
                  <a:lnTo>
                    <a:pt x="244" y="147"/>
                  </a:lnTo>
                  <a:lnTo>
                    <a:pt x="244" y="145"/>
                  </a:lnTo>
                  <a:lnTo>
                    <a:pt x="243" y="140"/>
                  </a:lnTo>
                  <a:lnTo>
                    <a:pt x="243" y="137"/>
                  </a:lnTo>
                  <a:lnTo>
                    <a:pt x="243" y="133"/>
                  </a:lnTo>
                  <a:lnTo>
                    <a:pt x="244" y="133"/>
                  </a:lnTo>
                  <a:lnTo>
                    <a:pt x="248" y="131"/>
                  </a:lnTo>
                  <a:lnTo>
                    <a:pt x="250" y="130"/>
                  </a:lnTo>
                  <a:lnTo>
                    <a:pt x="250" y="128"/>
                  </a:lnTo>
                  <a:lnTo>
                    <a:pt x="246" y="126"/>
                  </a:lnTo>
                  <a:lnTo>
                    <a:pt x="246" y="125"/>
                  </a:lnTo>
                  <a:lnTo>
                    <a:pt x="248" y="125"/>
                  </a:lnTo>
                  <a:lnTo>
                    <a:pt x="251" y="126"/>
                  </a:lnTo>
                  <a:lnTo>
                    <a:pt x="253" y="125"/>
                  </a:lnTo>
                  <a:lnTo>
                    <a:pt x="256" y="123"/>
                  </a:lnTo>
                  <a:lnTo>
                    <a:pt x="258" y="121"/>
                  </a:lnTo>
                  <a:lnTo>
                    <a:pt x="256" y="121"/>
                  </a:lnTo>
                  <a:lnTo>
                    <a:pt x="253" y="120"/>
                  </a:lnTo>
                  <a:lnTo>
                    <a:pt x="253" y="116"/>
                  </a:lnTo>
                  <a:lnTo>
                    <a:pt x="255" y="116"/>
                  </a:lnTo>
                  <a:lnTo>
                    <a:pt x="256" y="118"/>
                  </a:lnTo>
                  <a:lnTo>
                    <a:pt x="260" y="121"/>
                  </a:lnTo>
                  <a:lnTo>
                    <a:pt x="261" y="128"/>
                  </a:lnTo>
                  <a:lnTo>
                    <a:pt x="263" y="130"/>
                  </a:lnTo>
                  <a:lnTo>
                    <a:pt x="265" y="131"/>
                  </a:lnTo>
                  <a:lnTo>
                    <a:pt x="272" y="135"/>
                  </a:lnTo>
                  <a:lnTo>
                    <a:pt x="279" y="135"/>
                  </a:lnTo>
                  <a:lnTo>
                    <a:pt x="284" y="138"/>
                  </a:lnTo>
                  <a:lnTo>
                    <a:pt x="284" y="135"/>
                  </a:lnTo>
                  <a:lnTo>
                    <a:pt x="287" y="135"/>
                  </a:lnTo>
                  <a:lnTo>
                    <a:pt x="291" y="133"/>
                  </a:lnTo>
                  <a:lnTo>
                    <a:pt x="292" y="130"/>
                  </a:lnTo>
                  <a:lnTo>
                    <a:pt x="294" y="126"/>
                  </a:lnTo>
                  <a:lnTo>
                    <a:pt x="292" y="114"/>
                  </a:lnTo>
                  <a:lnTo>
                    <a:pt x="297" y="108"/>
                  </a:lnTo>
                  <a:lnTo>
                    <a:pt x="297" y="102"/>
                  </a:lnTo>
                  <a:lnTo>
                    <a:pt x="299" y="102"/>
                  </a:lnTo>
                  <a:lnTo>
                    <a:pt x="301" y="102"/>
                  </a:lnTo>
                  <a:lnTo>
                    <a:pt x="304" y="102"/>
                  </a:lnTo>
                  <a:lnTo>
                    <a:pt x="309" y="99"/>
                  </a:lnTo>
                  <a:lnTo>
                    <a:pt x="313" y="96"/>
                  </a:lnTo>
                  <a:lnTo>
                    <a:pt x="313" y="90"/>
                  </a:lnTo>
                  <a:lnTo>
                    <a:pt x="314" y="84"/>
                  </a:lnTo>
                  <a:lnTo>
                    <a:pt x="323" y="79"/>
                  </a:lnTo>
                  <a:lnTo>
                    <a:pt x="325" y="73"/>
                  </a:lnTo>
                  <a:lnTo>
                    <a:pt x="328" y="72"/>
                  </a:lnTo>
                  <a:lnTo>
                    <a:pt x="328" y="68"/>
                  </a:lnTo>
                  <a:lnTo>
                    <a:pt x="328" y="67"/>
                  </a:lnTo>
                  <a:lnTo>
                    <a:pt x="325" y="55"/>
                  </a:lnTo>
                  <a:lnTo>
                    <a:pt x="325" y="51"/>
                  </a:lnTo>
                  <a:lnTo>
                    <a:pt x="326" y="49"/>
                  </a:lnTo>
                  <a:lnTo>
                    <a:pt x="333" y="49"/>
                  </a:lnTo>
                  <a:lnTo>
                    <a:pt x="338" y="48"/>
                  </a:lnTo>
                  <a:lnTo>
                    <a:pt x="345" y="53"/>
                  </a:lnTo>
                  <a:lnTo>
                    <a:pt x="349" y="51"/>
                  </a:lnTo>
                  <a:lnTo>
                    <a:pt x="352" y="49"/>
                  </a:lnTo>
                  <a:lnTo>
                    <a:pt x="355" y="46"/>
                  </a:lnTo>
                  <a:lnTo>
                    <a:pt x="359" y="43"/>
                  </a:lnTo>
                  <a:lnTo>
                    <a:pt x="362" y="41"/>
                  </a:lnTo>
                  <a:lnTo>
                    <a:pt x="376" y="37"/>
                  </a:lnTo>
                  <a:lnTo>
                    <a:pt x="374" y="34"/>
                  </a:lnTo>
                  <a:lnTo>
                    <a:pt x="378" y="31"/>
                  </a:lnTo>
                  <a:lnTo>
                    <a:pt x="376" y="29"/>
                  </a:lnTo>
                  <a:lnTo>
                    <a:pt x="376" y="27"/>
                  </a:lnTo>
                  <a:lnTo>
                    <a:pt x="371" y="27"/>
                  </a:lnTo>
                  <a:lnTo>
                    <a:pt x="369" y="26"/>
                  </a:lnTo>
                  <a:lnTo>
                    <a:pt x="369" y="24"/>
                  </a:lnTo>
                  <a:lnTo>
                    <a:pt x="371" y="20"/>
                  </a:lnTo>
                  <a:lnTo>
                    <a:pt x="373" y="19"/>
                  </a:lnTo>
                  <a:lnTo>
                    <a:pt x="371" y="15"/>
                  </a:lnTo>
                  <a:lnTo>
                    <a:pt x="367" y="14"/>
                  </a:lnTo>
                  <a:lnTo>
                    <a:pt x="366" y="12"/>
                  </a:lnTo>
                  <a:lnTo>
                    <a:pt x="366" y="10"/>
                  </a:lnTo>
                  <a:lnTo>
                    <a:pt x="371" y="5"/>
                  </a:lnTo>
                  <a:lnTo>
                    <a:pt x="373" y="5"/>
                  </a:lnTo>
                  <a:lnTo>
                    <a:pt x="374" y="5"/>
                  </a:lnTo>
                  <a:lnTo>
                    <a:pt x="378" y="0"/>
                  </a:lnTo>
                  <a:lnTo>
                    <a:pt x="385" y="5"/>
                  </a:lnTo>
                  <a:lnTo>
                    <a:pt x="388" y="7"/>
                  </a:lnTo>
                  <a:lnTo>
                    <a:pt x="390" y="7"/>
                  </a:lnTo>
                  <a:lnTo>
                    <a:pt x="397" y="3"/>
                  </a:lnTo>
                  <a:lnTo>
                    <a:pt x="398" y="2"/>
                  </a:lnTo>
                  <a:lnTo>
                    <a:pt x="402" y="0"/>
                  </a:lnTo>
                  <a:lnTo>
                    <a:pt x="403" y="3"/>
                  </a:lnTo>
                  <a:lnTo>
                    <a:pt x="405" y="7"/>
                  </a:lnTo>
                  <a:lnTo>
                    <a:pt x="407" y="8"/>
                  </a:lnTo>
                  <a:lnTo>
                    <a:pt x="412" y="7"/>
                  </a:lnTo>
                  <a:lnTo>
                    <a:pt x="414" y="10"/>
                  </a:lnTo>
                  <a:lnTo>
                    <a:pt x="417" y="17"/>
                  </a:lnTo>
                  <a:lnTo>
                    <a:pt x="420" y="19"/>
                  </a:lnTo>
                  <a:lnTo>
                    <a:pt x="422" y="24"/>
                  </a:lnTo>
                  <a:lnTo>
                    <a:pt x="424" y="31"/>
                  </a:lnTo>
                  <a:lnTo>
                    <a:pt x="429" y="32"/>
                  </a:lnTo>
                  <a:lnTo>
                    <a:pt x="436" y="34"/>
                  </a:lnTo>
                  <a:lnTo>
                    <a:pt x="439" y="34"/>
                  </a:lnTo>
                  <a:lnTo>
                    <a:pt x="446" y="31"/>
                  </a:lnTo>
                  <a:lnTo>
                    <a:pt x="451" y="32"/>
                  </a:lnTo>
                  <a:lnTo>
                    <a:pt x="455" y="34"/>
                  </a:lnTo>
                  <a:lnTo>
                    <a:pt x="458" y="37"/>
                  </a:lnTo>
                  <a:lnTo>
                    <a:pt x="461" y="39"/>
                  </a:lnTo>
                  <a:lnTo>
                    <a:pt x="463" y="43"/>
                  </a:lnTo>
                  <a:lnTo>
                    <a:pt x="468" y="44"/>
                  </a:lnTo>
                  <a:lnTo>
                    <a:pt x="472" y="44"/>
                  </a:lnTo>
                  <a:lnTo>
                    <a:pt x="473" y="44"/>
                  </a:lnTo>
                  <a:lnTo>
                    <a:pt x="475" y="43"/>
                  </a:lnTo>
                  <a:lnTo>
                    <a:pt x="475" y="39"/>
                  </a:lnTo>
                  <a:lnTo>
                    <a:pt x="475" y="37"/>
                  </a:lnTo>
                  <a:lnTo>
                    <a:pt x="484" y="36"/>
                  </a:lnTo>
                  <a:lnTo>
                    <a:pt x="485" y="36"/>
                  </a:lnTo>
                  <a:lnTo>
                    <a:pt x="491" y="37"/>
                  </a:lnTo>
                  <a:lnTo>
                    <a:pt x="497" y="37"/>
                  </a:lnTo>
                  <a:lnTo>
                    <a:pt x="501" y="39"/>
                  </a:lnTo>
                  <a:lnTo>
                    <a:pt x="501" y="43"/>
                  </a:lnTo>
                  <a:lnTo>
                    <a:pt x="502" y="44"/>
                  </a:lnTo>
                  <a:lnTo>
                    <a:pt x="504" y="43"/>
                  </a:lnTo>
                  <a:lnTo>
                    <a:pt x="506" y="43"/>
                  </a:lnTo>
                  <a:lnTo>
                    <a:pt x="508" y="39"/>
                  </a:lnTo>
                  <a:lnTo>
                    <a:pt x="513" y="41"/>
                  </a:lnTo>
                  <a:lnTo>
                    <a:pt x="516" y="39"/>
                  </a:lnTo>
                  <a:lnTo>
                    <a:pt x="518" y="34"/>
                  </a:lnTo>
                  <a:lnTo>
                    <a:pt x="521" y="31"/>
                  </a:lnTo>
                  <a:lnTo>
                    <a:pt x="525" y="27"/>
                  </a:lnTo>
                  <a:lnTo>
                    <a:pt x="528" y="27"/>
                  </a:lnTo>
                  <a:lnTo>
                    <a:pt x="532" y="24"/>
                  </a:lnTo>
                  <a:lnTo>
                    <a:pt x="535" y="24"/>
                  </a:lnTo>
                  <a:lnTo>
                    <a:pt x="537" y="26"/>
                  </a:lnTo>
                  <a:lnTo>
                    <a:pt x="537" y="29"/>
                  </a:lnTo>
                  <a:lnTo>
                    <a:pt x="538" y="32"/>
                  </a:lnTo>
                  <a:lnTo>
                    <a:pt x="540" y="37"/>
                  </a:lnTo>
                  <a:lnTo>
                    <a:pt x="543" y="41"/>
                  </a:lnTo>
                  <a:lnTo>
                    <a:pt x="545" y="43"/>
                  </a:lnTo>
                  <a:lnTo>
                    <a:pt x="550" y="43"/>
                  </a:lnTo>
                  <a:lnTo>
                    <a:pt x="554" y="43"/>
                  </a:lnTo>
                  <a:lnTo>
                    <a:pt x="557" y="46"/>
                  </a:lnTo>
                  <a:lnTo>
                    <a:pt x="562" y="49"/>
                  </a:lnTo>
                  <a:lnTo>
                    <a:pt x="566" y="55"/>
                  </a:lnTo>
                  <a:lnTo>
                    <a:pt x="564" y="60"/>
                  </a:lnTo>
                  <a:lnTo>
                    <a:pt x="567" y="67"/>
                  </a:lnTo>
                  <a:lnTo>
                    <a:pt x="567" y="68"/>
                  </a:lnTo>
                  <a:lnTo>
                    <a:pt x="567" y="72"/>
                  </a:lnTo>
                  <a:lnTo>
                    <a:pt x="567" y="73"/>
                  </a:lnTo>
                  <a:lnTo>
                    <a:pt x="566" y="73"/>
                  </a:lnTo>
                  <a:lnTo>
                    <a:pt x="566" y="79"/>
                  </a:lnTo>
                  <a:lnTo>
                    <a:pt x="566" y="80"/>
                  </a:lnTo>
                  <a:lnTo>
                    <a:pt x="564" y="82"/>
                  </a:lnTo>
                  <a:lnTo>
                    <a:pt x="564" y="84"/>
                  </a:lnTo>
                  <a:lnTo>
                    <a:pt x="569" y="87"/>
                  </a:lnTo>
                  <a:lnTo>
                    <a:pt x="576" y="97"/>
                  </a:lnTo>
                  <a:lnTo>
                    <a:pt x="581" y="101"/>
                  </a:lnTo>
                  <a:lnTo>
                    <a:pt x="581" y="102"/>
                  </a:lnTo>
                  <a:lnTo>
                    <a:pt x="579" y="104"/>
                  </a:lnTo>
                  <a:lnTo>
                    <a:pt x="579" y="106"/>
                  </a:lnTo>
                  <a:lnTo>
                    <a:pt x="585" y="109"/>
                  </a:lnTo>
                  <a:lnTo>
                    <a:pt x="586" y="111"/>
                  </a:lnTo>
                  <a:lnTo>
                    <a:pt x="590" y="118"/>
                  </a:lnTo>
                  <a:lnTo>
                    <a:pt x="595" y="120"/>
                  </a:lnTo>
                  <a:lnTo>
                    <a:pt x="596" y="121"/>
                  </a:lnTo>
                  <a:lnTo>
                    <a:pt x="596" y="123"/>
                  </a:lnTo>
                  <a:lnTo>
                    <a:pt x="600" y="131"/>
                  </a:lnTo>
                  <a:lnTo>
                    <a:pt x="605" y="131"/>
                  </a:lnTo>
                  <a:lnTo>
                    <a:pt x="608" y="135"/>
                  </a:lnTo>
                  <a:lnTo>
                    <a:pt x="610" y="133"/>
                  </a:lnTo>
                  <a:lnTo>
                    <a:pt x="614" y="138"/>
                  </a:lnTo>
                  <a:lnTo>
                    <a:pt x="615" y="138"/>
                  </a:lnTo>
                  <a:lnTo>
                    <a:pt x="615" y="140"/>
                  </a:lnTo>
                  <a:lnTo>
                    <a:pt x="615" y="140"/>
                  </a:lnTo>
                  <a:lnTo>
                    <a:pt x="615" y="142"/>
                  </a:lnTo>
                  <a:lnTo>
                    <a:pt x="620" y="142"/>
                  </a:lnTo>
                  <a:lnTo>
                    <a:pt x="622" y="143"/>
                  </a:lnTo>
                  <a:lnTo>
                    <a:pt x="622" y="140"/>
                  </a:lnTo>
                  <a:lnTo>
                    <a:pt x="626" y="143"/>
                  </a:lnTo>
                  <a:lnTo>
                    <a:pt x="629" y="140"/>
                  </a:lnTo>
                  <a:lnTo>
                    <a:pt x="631" y="142"/>
                  </a:lnTo>
                  <a:lnTo>
                    <a:pt x="607" y="171"/>
                  </a:lnTo>
                  <a:lnTo>
                    <a:pt x="602" y="176"/>
                  </a:lnTo>
                  <a:lnTo>
                    <a:pt x="598" y="178"/>
                  </a:lnTo>
                  <a:lnTo>
                    <a:pt x="586" y="184"/>
                  </a:lnTo>
                  <a:lnTo>
                    <a:pt x="585" y="184"/>
                  </a:lnTo>
                  <a:lnTo>
                    <a:pt x="574" y="196"/>
                  </a:lnTo>
                  <a:lnTo>
                    <a:pt x="574" y="198"/>
                  </a:lnTo>
                  <a:lnTo>
                    <a:pt x="574" y="200"/>
                  </a:lnTo>
                  <a:lnTo>
                    <a:pt x="574" y="200"/>
                  </a:lnTo>
                  <a:lnTo>
                    <a:pt x="574" y="205"/>
                  </a:lnTo>
                  <a:lnTo>
                    <a:pt x="567" y="208"/>
                  </a:lnTo>
                  <a:lnTo>
                    <a:pt x="564" y="212"/>
                  </a:lnTo>
                  <a:lnTo>
                    <a:pt x="564" y="217"/>
                  </a:lnTo>
                  <a:lnTo>
                    <a:pt x="564" y="220"/>
                  </a:lnTo>
                  <a:lnTo>
                    <a:pt x="557" y="225"/>
                  </a:lnTo>
                  <a:lnTo>
                    <a:pt x="550" y="227"/>
                  </a:lnTo>
                  <a:lnTo>
                    <a:pt x="549" y="227"/>
                  </a:lnTo>
                  <a:lnTo>
                    <a:pt x="543" y="236"/>
                  </a:lnTo>
                  <a:lnTo>
                    <a:pt x="545" y="239"/>
                  </a:lnTo>
                  <a:lnTo>
                    <a:pt x="543" y="241"/>
                  </a:lnTo>
                  <a:lnTo>
                    <a:pt x="538" y="243"/>
                  </a:lnTo>
                  <a:lnTo>
                    <a:pt x="528" y="246"/>
                  </a:lnTo>
                  <a:lnTo>
                    <a:pt x="523" y="249"/>
                  </a:lnTo>
                  <a:lnTo>
                    <a:pt x="523" y="251"/>
                  </a:lnTo>
                  <a:lnTo>
                    <a:pt x="518" y="253"/>
                  </a:lnTo>
                  <a:lnTo>
                    <a:pt x="511" y="253"/>
                  </a:lnTo>
                  <a:lnTo>
                    <a:pt x="502" y="260"/>
                  </a:lnTo>
                  <a:lnTo>
                    <a:pt x="501" y="261"/>
                  </a:lnTo>
                  <a:lnTo>
                    <a:pt x="499" y="263"/>
                  </a:lnTo>
                  <a:lnTo>
                    <a:pt x="479" y="265"/>
                  </a:lnTo>
                  <a:lnTo>
                    <a:pt x="472" y="266"/>
                  </a:lnTo>
                  <a:lnTo>
                    <a:pt x="451" y="268"/>
                  </a:lnTo>
                  <a:lnTo>
                    <a:pt x="451" y="268"/>
                  </a:lnTo>
                  <a:lnTo>
                    <a:pt x="407" y="273"/>
                  </a:lnTo>
                  <a:lnTo>
                    <a:pt x="405" y="273"/>
                  </a:lnTo>
                  <a:lnTo>
                    <a:pt x="388" y="273"/>
                  </a:lnTo>
                  <a:lnTo>
                    <a:pt x="364" y="275"/>
                  </a:lnTo>
                  <a:lnTo>
                    <a:pt x="362" y="275"/>
                  </a:lnTo>
                  <a:lnTo>
                    <a:pt x="350" y="278"/>
                  </a:lnTo>
                  <a:lnTo>
                    <a:pt x="321" y="280"/>
                  </a:lnTo>
                  <a:lnTo>
                    <a:pt x="304" y="282"/>
                  </a:lnTo>
                  <a:lnTo>
                    <a:pt x="285" y="282"/>
                  </a:lnTo>
                  <a:lnTo>
                    <a:pt x="267" y="284"/>
                  </a:lnTo>
                  <a:lnTo>
                    <a:pt x="260" y="284"/>
                  </a:lnTo>
                  <a:close/>
                  <a:moveTo>
                    <a:pt x="3" y="321"/>
                  </a:moveTo>
                  <a:lnTo>
                    <a:pt x="0" y="319"/>
                  </a:lnTo>
                  <a:lnTo>
                    <a:pt x="0" y="318"/>
                  </a:lnTo>
                  <a:lnTo>
                    <a:pt x="0" y="316"/>
                  </a:lnTo>
                  <a:lnTo>
                    <a:pt x="3" y="314"/>
                  </a:lnTo>
                  <a:lnTo>
                    <a:pt x="5" y="314"/>
                  </a:lnTo>
                  <a:lnTo>
                    <a:pt x="7" y="316"/>
                  </a:lnTo>
                  <a:lnTo>
                    <a:pt x="9" y="318"/>
                  </a:lnTo>
                  <a:lnTo>
                    <a:pt x="7" y="321"/>
                  </a:lnTo>
                  <a:lnTo>
                    <a:pt x="9" y="321"/>
                  </a:lnTo>
                  <a:lnTo>
                    <a:pt x="3" y="321"/>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42" name="Freeform 38">
              <a:extLst>
                <a:ext uri="{FF2B5EF4-FFF2-40B4-BE49-F238E27FC236}">
                  <a16:creationId xmlns:a16="http://schemas.microsoft.com/office/drawing/2014/main" id="{60BDD42B-EF98-4CF2-857D-70E83DC56288}"/>
                </a:ext>
              </a:extLst>
            </p:cNvPr>
            <p:cNvSpPr>
              <a:spLocks/>
            </p:cNvSpPr>
            <p:nvPr/>
          </p:nvSpPr>
          <p:spPr bwMode="gray">
            <a:xfrm>
              <a:off x="4438950" y="3561316"/>
              <a:ext cx="1016075" cy="547489"/>
            </a:xfrm>
            <a:custGeom>
              <a:avLst/>
              <a:gdLst/>
              <a:ahLst/>
              <a:cxnLst>
                <a:cxn ang="0">
                  <a:pos x="564" y="340"/>
                </a:cxn>
                <a:cxn ang="0">
                  <a:pos x="531" y="340"/>
                </a:cxn>
                <a:cxn ang="0">
                  <a:pos x="513" y="340"/>
                </a:cxn>
                <a:cxn ang="0">
                  <a:pos x="449" y="340"/>
                </a:cxn>
                <a:cxn ang="0">
                  <a:pos x="388" y="338"/>
                </a:cxn>
                <a:cxn ang="0">
                  <a:pos x="333" y="338"/>
                </a:cxn>
                <a:cxn ang="0">
                  <a:pos x="297" y="337"/>
                </a:cxn>
                <a:cxn ang="0">
                  <a:pos x="220" y="335"/>
                </a:cxn>
                <a:cxn ang="0">
                  <a:pos x="173" y="333"/>
                </a:cxn>
                <a:cxn ang="0">
                  <a:pos x="120" y="330"/>
                </a:cxn>
                <a:cxn ang="0">
                  <a:pos x="82" y="328"/>
                </a:cxn>
                <a:cxn ang="0">
                  <a:pos x="2" y="325"/>
                </a:cxn>
                <a:cxn ang="0">
                  <a:pos x="2" y="282"/>
                </a:cxn>
                <a:cxn ang="0">
                  <a:pos x="5" y="244"/>
                </a:cxn>
                <a:cxn ang="0">
                  <a:pos x="8" y="186"/>
                </a:cxn>
                <a:cxn ang="0">
                  <a:pos x="10" y="140"/>
                </a:cxn>
                <a:cxn ang="0">
                  <a:pos x="14" y="94"/>
                </a:cxn>
                <a:cxn ang="0">
                  <a:pos x="17" y="46"/>
                </a:cxn>
                <a:cxn ang="0">
                  <a:pos x="72" y="3"/>
                </a:cxn>
                <a:cxn ang="0">
                  <a:pos x="125" y="5"/>
                </a:cxn>
                <a:cxn ang="0">
                  <a:pos x="171" y="8"/>
                </a:cxn>
                <a:cxn ang="0">
                  <a:pos x="217" y="10"/>
                </a:cxn>
                <a:cxn ang="0">
                  <a:pos x="263" y="12"/>
                </a:cxn>
                <a:cxn ang="0">
                  <a:pos x="309" y="14"/>
                </a:cxn>
                <a:cxn ang="0">
                  <a:pos x="355" y="14"/>
                </a:cxn>
                <a:cxn ang="0">
                  <a:pos x="402" y="15"/>
                </a:cxn>
                <a:cxn ang="0">
                  <a:pos x="448" y="15"/>
                </a:cxn>
                <a:cxn ang="0">
                  <a:pos x="494" y="15"/>
                </a:cxn>
                <a:cxn ang="0">
                  <a:pos x="531" y="15"/>
                </a:cxn>
                <a:cxn ang="0">
                  <a:pos x="569" y="15"/>
                </a:cxn>
                <a:cxn ang="0">
                  <a:pos x="578" y="22"/>
                </a:cxn>
                <a:cxn ang="0">
                  <a:pos x="583" y="26"/>
                </a:cxn>
                <a:cxn ang="0">
                  <a:pos x="590" y="29"/>
                </a:cxn>
                <a:cxn ang="0">
                  <a:pos x="593" y="26"/>
                </a:cxn>
                <a:cxn ang="0">
                  <a:pos x="600" y="26"/>
                </a:cxn>
                <a:cxn ang="0">
                  <a:pos x="602" y="32"/>
                </a:cxn>
                <a:cxn ang="0">
                  <a:pos x="603" y="34"/>
                </a:cxn>
                <a:cxn ang="0">
                  <a:pos x="600" y="38"/>
                </a:cxn>
                <a:cxn ang="0">
                  <a:pos x="602" y="41"/>
                </a:cxn>
                <a:cxn ang="0">
                  <a:pos x="605" y="41"/>
                </a:cxn>
                <a:cxn ang="0">
                  <a:pos x="603" y="44"/>
                </a:cxn>
                <a:cxn ang="0">
                  <a:pos x="598" y="43"/>
                </a:cxn>
                <a:cxn ang="0">
                  <a:pos x="596" y="49"/>
                </a:cxn>
                <a:cxn ang="0">
                  <a:pos x="590" y="55"/>
                </a:cxn>
                <a:cxn ang="0">
                  <a:pos x="586" y="63"/>
                </a:cxn>
                <a:cxn ang="0">
                  <a:pos x="591" y="70"/>
                </a:cxn>
                <a:cxn ang="0">
                  <a:pos x="596" y="75"/>
                </a:cxn>
                <a:cxn ang="0">
                  <a:pos x="602" y="82"/>
                </a:cxn>
                <a:cxn ang="0">
                  <a:pos x="603" y="85"/>
                </a:cxn>
                <a:cxn ang="0">
                  <a:pos x="605" y="92"/>
                </a:cxn>
                <a:cxn ang="0">
                  <a:pos x="610" y="101"/>
                </a:cxn>
                <a:cxn ang="0">
                  <a:pos x="617" y="104"/>
                </a:cxn>
                <a:cxn ang="0">
                  <a:pos x="625" y="106"/>
                </a:cxn>
                <a:cxn ang="0">
                  <a:pos x="629" y="108"/>
                </a:cxn>
                <a:cxn ang="0">
                  <a:pos x="627" y="118"/>
                </a:cxn>
                <a:cxn ang="0">
                  <a:pos x="629" y="150"/>
                </a:cxn>
                <a:cxn ang="0">
                  <a:pos x="629" y="188"/>
                </a:cxn>
                <a:cxn ang="0">
                  <a:pos x="629" y="227"/>
                </a:cxn>
                <a:cxn ang="0">
                  <a:pos x="629" y="268"/>
                </a:cxn>
                <a:cxn ang="0">
                  <a:pos x="631" y="302"/>
                </a:cxn>
                <a:cxn ang="0">
                  <a:pos x="631" y="338"/>
                </a:cxn>
                <a:cxn ang="0">
                  <a:pos x="591" y="338"/>
                </a:cxn>
              </a:cxnLst>
              <a:rect l="0" t="0" r="r" b="b"/>
              <a:pathLst>
                <a:path w="631" h="340">
                  <a:moveTo>
                    <a:pt x="591" y="338"/>
                  </a:moveTo>
                  <a:lnTo>
                    <a:pt x="564" y="340"/>
                  </a:lnTo>
                  <a:lnTo>
                    <a:pt x="554" y="340"/>
                  </a:lnTo>
                  <a:lnTo>
                    <a:pt x="531" y="340"/>
                  </a:lnTo>
                  <a:lnTo>
                    <a:pt x="516" y="340"/>
                  </a:lnTo>
                  <a:lnTo>
                    <a:pt x="513" y="340"/>
                  </a:lnTo>
                  <a:lnTo>
                    <a:pt x="468" y="340"/>
                  </a:lnTo>
                  <a:lnTo>
                    <a:pt x="449" y="340"/>
                  </a:lnTo>
                  <a:lnTo>
                    <a:pt x="417" y="338"/>
                  </a:lnTo>
                  <a:lnTo>
                    <a:pt x="388" y="338"/>
                  </a:lnTo>
                  <a:lnTo>
                    <a:pt x="359" y="338"/>
                  </a:lnTo>
                  <a:lnTo>
                    <a:pt x="333" y="338"/>
                  </a:lnTo>
                  <a:lnTo>
                    <a:pt x="313" y="337"/>
                  </a:lnTo>
                  <a:lnTo>
                    <a:pt x="297" y="337"/>
                  </a:lnTo>
                  <a:lnTo>
                    <a:pt x="258" y="335"/>
                  </a:lnTo>
                  <a:lnTo>
                    <a:pt x="220" y="335"/>
                  </a:lnTo>
                  <a:lnTo>
                    <a:pt x="212" y="335"/>
                  </a:lnTo>
                  <a:lnTo>
                    <a:pt x="173" y="333"/>
                  </a:lnTo>
                  <a:lnTo>
                    <a:pt x="166" y="331"/>
                  </a:lnTo>
                  <a:lnTo>
                    <a:pt x="120" y="330"/>
                  </a:lnTo>
                  <a:lnTo>
                    <a:pt x="92" y="328"/>
                  </a:lnTo>
                  <a:lnTo>
                    <a:pt x="82" y="328"/>
                  </a:lnTo>
                  <a:lnTo>
                    <a:pt x="41" y="326"/>
                  </a:lnTo>
                  <a:lnTo>
                    <a:pt x="2" y="325"/>
                  </a:lnTo>
                  <a:lnTo>
                    <a:pt x="0" y="325"/>
                  </a:lnTo>
                  <a:lnTo>
                    <a:pt x="2" y="282"/>
                  </a:lnTo>
                  <a:lnTo>
                    <a:pt x="3" y="255"/>
                  </a:lnTo>
                  <a:lnTo>
                    <a:pt x="5" y="244"/>
                  </a:lnTo>
                  <a:lnTo>
                    <a:pt x="8" y="188"/>
                  </a:lnTo>
                  <a:lnTo>
                    <a:pt x="8" y="186"/>
                  </a:lnTo>
                  <a:lnTo>
                    <a:pt x="10" y="149"/>
                  </a:lnTo>
                  <a:lnTo>
                    <a:pt x="10" y="140"/>
                  </a:lnTo>
                  <a:lnTo>
                    <a:pt x="14" y="104"/>
                  </a:lnTo>
                  <a:lnTo>
                    <a:pt x="14" y="94"/>
                  </a:lnTo>
                  <a:lnTo>
                    <a:pt x="17" y="46"/>
                  </a:lnTo>
                  <a:lnTo>
                    <a:pt x="17" y="46"/>
                  </a:lnTo>
                  <a:lnTo>
                    <a:pt x="19" y="0"/>
                  </a:lnTo>
                  <a:lnTo>
                    <a:pt x="72" y="3"/>
                  </a:lnTo>
                  <a:lnTo>
                    <a:pt x="79" y="3"/>
                  </a:lnTo>
                  <a:lnTo>
                    <a:pt x="125" y="5"/>
                  </a:lnTo>
                  <a:lnTo>
                    <a:pt x="126" y="5"/>
                  </a:lnTo>
                  <a:lnTo>
                    <a:pt x="171" y="8"/>
                  </a:lnTo>
                  <a:lnTo>
                    <a:pt x="173" y="8"/>
                  </a:lnTo>
                  <a:lnTo>
                    <a:pt x="217" y="10"/>
                  </a:lnTo>
                  <a:lnTo>
                    <a:pt x="253" y="10"/>
                  </a:lnTo>
                  <a:lnTo>
                    <a:pt x="263" y="12"/>
                  </a:lnTo>
                  <a:lnTo>
                    <a:pt x="290" y="12"/>
                  </a:lnTo>
                  <a:lnTo>
                    <a:pt x="309" y="14"/>
                  </a:lnTo>
                  <a:lnTo>
                    <a:pt x="328" y="14"/>
                  </a:lnTo>
                  <a:lnTo>
                    <a:pt x="355" y="14"/>
                  </a:lnTo>
                  <a:lnTo>
                    <a:pt x="364" y="14"/>
                  </a:lnTo>
                  <a:lnTo>
                    <a:pt x="402" y="15"/>
                  </a:lnTo>
                  <a:lnTo>
                    <a:pt x="439" y="15"/>
                  </a:lnTo>
                  <a:lnTo>
                    <a:pt x="448" y="15"/>
                  </a:lnTo>
                  <a:lnTo>
                    <a:pt x="475" y="15"/>
                  </a:lnTo>
                  <a:lnTo>
                    <a:pt x="494" y="15"/>
                  </a:lnTo>
                  <a:lnTo>
                    <a:pt x="513" y="15"/>
                  </a:lnTo>
                  <a:lnTo>
                    <a:pt x="531" y="15"/>
                  </a:lnTo>
                  <a:lnTo>
                    <a:pt x="567" y="15"/>
                  </a:lnTo>
                  <a:lnTo>
                    <a:pt x="569" y="15"/>
                  </a:lnTo>
                  <a:lnTo>
                    <a:pt x="574" y="22"/>
                  </a:lnTo>
                  <a:lnTo>
                    <a:pt x="578" y="22"/>
                  </a:lnTo>
                  <a:lnTo>
                    <a:pt x="579" y="26"/>
                  </a:lnTo>
                  <a:lnTo>
                    <a:pt x="583" y="26"/>
                  </a:lnTo>
                  <a:lnTo>
                    <a:pt x="586" y="29"/>
                  </a:lnTo>
                  <a:lnTo>
                    <a:pt x="590" y="29"/>
                  </a:lnTo>
                  <a:lnTo>
                    <a:pt x="591" y="27"/>
                  </a:lnTo>
                  <a:lnTo>
                    <a:pt x="593" y="26"/>
                  </a:lnTo>
                  <a:lnTo>
                    <a:pt x="598" y="26"/>
                  </a:lnTo>
                  <a:lnTo>
                    <a:pt x="600" y="26"/>
                  </a:lnTo>
                  <a:lnTo>
                    <a:pt x="600" y="31"/>
                  </a:lnTo>
                  <a:lnTo>
                    <a:pt x="602" y="32"/>
                  </a:lnTo>
                  <a:lnTo>
                    <a:pt x="603" y="34"/>
                  </a:lnTo>
                  <a:lnTo>
                    <a:pt x="603" y="34"/>
                  </a:lnTo>
                  <a:lnTo>
                    <a:pt x="603" y="38"/>
                  </a:lnTo>
                  <a:lnTo>
                    <a:pt x="600" y="38"/>
                  </a:lnTo>
                  <a:lnTo>
                    <a:pt x="600" y="39"/>
                  </a:lnTo>
                  <a:lnTo>
                    <a:pt x="602" y="41"/>
                  </a:lnTo>
                  <a:lnTo>
                    <a:pt x="605" y="41"/>
                  </a:lnTo>
                  <a:lnTo>
                    <a:pt x="605" y="41"/>
                  </a:lnTo>
                  <a:lnTo>
                    <a:pt x="605" y="43"/>
                  </a:lnTo>
                  <a:lnTo>
                    <a:pt x="603" y="44"/>
                  </a:lnTo>
                  <a:lnTo>
                    <a:pt x="600" y="44"/>
                  </a:lnTo>
                  <a:lnTo>
                    <a:pt x="598" y="43"/>
                  </a:lnTo>
                  <a:lnTo>
                    <a:pt x="598" y="44"/>
                  </a:lnTo>
                  <a:lnTo>
                    <a:pt x="596" y="49"/>
                  </a:lnTo>
                  <a:lnTo>
                    <a:pt x="593" y="51"/>
                  </a:lnTo>
                  <a:lnTo>
                    <a:pt x="590" y="55"/>
                  </a:lnTo>
                  <a:lnTo>
                    <a:pt x="591" y="60"/>
                  </a:lnTo>
                  <a:lnTo>
                    <a:pt x="586" y="63"/>
                  </a:lnTo>
                  <a:lnTo>
                    <a:pt x="586" y="65"/>
                  </a:lnTo>
                  <a:lnTo>
                    <a:pt x="591" y="70"/>
                  </a:lnTo>
                  <a:lnTo>
                    <a:pt x="591" y="73"/>
                  </a:lnTo>
                  <a:lnTo>
                    <a:pt x="596" y="75"/>
                  </a:lnTo>
                  <a:lnTo>
                    <a:pt x="598" y="79"/>
                  </a:lnTo>
                  <a:lnTo>
                    <a:pt x="602" y="82"/>
                  </a:lnTo>
                  <a:lnTo>
                    <a:pt x="603" y="82"/>
                  </a:lnTo>
                  <a:lnTo>
                    <a:pt x="603" y="85"/>
                  </a:lnTo>
                  <a:lnTo>
                    <a:pt x="603" y="89"/>
                  </a:lnTo>
                  <a:lnTo>
                    <a:pt x="605" y="92"/>
                  </a:lnTo>
                  <a:lnTo>
                    <a:pt x="608" y="94"/>
                  </a:lnTo>
                  <a:lnTo>
                    <a:pt x="610" y="101"/>
                  </a:lnTo>
                  <a:lnTo>
                    <a:pt x="614" y="101"/>
                  </a:lnTo>
                  <a:lnTo>
                    <a:pt x="617" y="104"/>
                  </a:lnTo>
                  <a:lnTo>
                    <a:pt x="622" y="104"/>
                  </a:lnTo>
                  <a:lnTo>
                    <a:pt x="625" y="106"/>
                  </a:lnTo>
                  <a:lnTo>
                    <a:pt x="627" y="106"/>
                  </a:lnTo>
                  <a:lnTo>
                    <a:pt x="629" y="108"/>
                  </a:lnTo>
                  <a:lnTo>
                    <a:pt x="627" y="111"/>
                  </a:lnTo>
                  <a:lnTo>
                    <a:pt x="627" y="118"/>
                  </a:lnTo>
                  <a:lnTo>
                    <a:pt x="627" y="140"/>
                  </a:lnTo>
                  <a:lnTo>
                    <a:pt x="629" y="150"/>
                  </a:lnTo>
                  <a:lnTo>
                    <a:pt x="627" y="179"/>
                  </a:lnTo>
                  <a:lnTo>
                    <a:pt x="629" y="188"/>
                  </a:lnTo>
                  <a:lnTo>
                    <a:pt x="629" y="224"/>
                  </a:lnTo>
                  <a:lnTo>
                    <a:pt x="629" y="227"/>
                  </a:lnTo>
                  <a:lnTo>
                    <a:pt x="629" y="265"/>
                  </a:lnTo>
                  <a:lnTo>
                    <a:pt x="629" y="268"/>
                  </a:lnTo>
                  <a:lnTo>
                    <a:pt x="631" y="299"/>
                  </a:lnTo>
                  <a:lnTo>
                    <a:pt x="631" y="302"/>
                  </a:lnTo>
                  <a:lnTo>
                    <a:pt x="631" y="331"/>
                  </a:lnTo>
                  <a:lnTo>
                    <a:pt x="631" y="338"/>
                  </a:lnTo>
                  <a:lnTo>
                    <a:pt x="595" y="338"/>
                  </a:lnTo>
                  <a:lnTo>
                    <a:pt x="591" y="338"/>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43" name="Freeform 39">
              <a:extLst>
                <a:ext uri="{FF2B5EF4-FFF2-40B4-BE49-F238E27FC236}">
                  <a16:creationId xmlns:a16="http://schemas.microsoft.com/office/drawing/2014/main" id="{A60DF488-6320-4571-BEF8-FC8BE461DE34}"/>
                </a:ext>
              </a:extLst>
            </p:cNvPr>
            <p:cNvSpPr>
              <a:spLocks noEditPoints="1"/>
            </p:cNvSpPr>
            <p:nvPr/>
          </p:nvSpPr>
          <p:spPr bwMode="gray">
            <a:xfrm>
              <a:off x="6957398" y="3464700"/>
              <a:ext cx="1086928" cy="602238"/>
            </a:xfrm>
            <a:custGeom>
              <a:avLst/>
              <a:gdLst/>
              <a:ahLst/>
              <a:cxnLst>
                <a:cxn ang="0">
                  <a:pos x="273" y="338"/>
                </a:cxn>
                <a:cxn ang="0">
                  <a:pos x="155" y="352"/>
                </a:cxn>
                <a:cxn ang="0">
                  <a:pos x="70" y="366"/>
                </a:cxn>
                <a:cxn ang="0">
                  <a:pos x="1" y="373"/>
                </a:cxn>
                <a:cxn ang="0">
                  <a:pos x="42" y="354"/>
                </a:cxn>
                <a:cxn ang="0">
                  <a:pos x="63" y="330"/>
                </a:cxn>
                <a:cxn ang="0">
                  <a:pos x="73" y="309"/>
                </a:cxn>
                <a:cxn ang="0">
                  <a:pos x="131" y="256"/>
                </a:cxn>
                <a:cxn ang="0">
                  <a:pos x="142" y="275"/>
                </a:cxn>
                <a:cxn ang="0">
                  <a:pos x="155" y="284"/>
                </a:cxn>
                <a:cxn ang="0">
                  <a:pos x="181" y="272"/>
                </a:cxn>
                <a:cxn ang="0">
                  <a:pos x="215" y="267"/>
                </a:cxn>
                <a:cxn ang="0">
                  <a:pos x="229" y="253"/>
                </a:cxn>
                <a:cxn ang="0">
                  <a:pos x="237" y="253"/>
                </a:cxn>
                <a:cxn ang="0">
                  <a:pos x="260" y="244"/>
                </a:cxn>
                <a:cxn ang="0">
                  <a:pos x="266" y="233"/>
                </a:cxn>
                <a:cxn ang="0">
                  <a:pos x="266" y="217"/>
                </a:cxn>
                <a:cxn ang="0">
                  <a:pos x="273" y="197"/>
                </a:cxn>
                <a:cxn ang="0">
                  <a:pos x="287" y="171"/>
                </a:cxn>
                <a:cxn ang="0">
                  <a:pos x="297" y="145"/>
                </a:cxn>
                <a:cxn ang="0">
                  <a:pos x="301" y="121"/>
                </a:cxn>
                <a:cxn ang="0">
                  <a:pos x="336" y="121"/>
                </a:cxn>
                <a:cxn ang="0">
                  <a:pos x="347" y="80"/>
                </a:cxn>
                <a:cxn ang="0">
                  <a:pos x="371" y="62"/>
                </a:cxn>
                <a:cxn ang="0">
                  <a:pos x="384" y="50"/>
                </a:cxn>
                <a:cxn ang="0">
                  <a:pos x="391" y="34"/>
                </a:cxn>
                <a:cxn ang="0">
                  <a:pos x="395" y="10"/>
                </a:cxn>
                <a:cxn ang="0">
                  <a:pos x="441" y="26"/>
                </a:cxn>
                <a:cxn ang="0">
                  <a:pos x="454" y="5"/>
                </a:cxn>
                <a:cxn ang="0">
                  <a:pos x="465" y="19"/>
                </a:cxn>
                <a:cxn ang="0">
                  <a:pos x="489" y="27"/>
                </a:cxn>
                <a:cxn ang="0">
                  <a:pos x="511" y="45"/>
                </a:cxn>
                <a:cxn ang="0">
                  <a:pos x="509" y="60"/>
                </a:cxn>
                <a:cxn ang="0">
                  <a:pos x="495" y="92"/>
                </a:cxn>
                <a:cxn ang="0">
                  <a:pos x="562" y="113"/>
                </a:cxn>
                <a:cxn ang="0">
                  <a:pos x="596" y="135"/>
                </a:cxn>
                <a:cxn ang="0">
                  <a:pos x="571" y="150"/>
                </a:cxn>
                <a:cxn ang="0">
                  <a:pos x="598" y="169"/>
                </a:cxn>
                <a:cxn ang="0">
                  <a:pos x="605" y="192"/>
                </a:cxn>
                <a:cxn ang="0">
                  <a:pos x="598" y="197"/>
                </a:cxn>
                <a:cxn ang="0">
                  <a:pos x="600" y="212"/>
                </a:cxn>
                <a:cxn ang="0">
                  <a:pos x="612" y="224"/>
                </a:cxn>
                <a:cxn ang="0">
                  <a:pos x="581" y="219"/>
                </a:cxn>
                <a:cxn ang="0">
                  <a:pos x="557" y="202"/>
                </a:cxn>
                <a:cxn ang="0">
                  <a:pos x="577" y="217"/>
                </a:cxn>
                <a:cxn ang="0">
                  <a:pos x="598" y="238"/>
                </a:cxn>
                <a:cxn ang="0">
                  <a:pos x="612" y="243"/>
                </a:cxn>
                <a:cxn ang="0">
                  <a:pos x="622" y="233"/>
                </a:cxn>
                <a:cxn ang="0">
                  <a:pos x="648" y="250"/>
                </a:cxn>
                <a:cxn ang="0">
                  <a:pos x="605" y="277"/>
                </a:cxn>
                <a:cxn ang="0">
                  <a:pos x="487" y="301"/>
                </a:cxn>
                <a:cxn ang="0">
                  <a:pos x="673" y="99"/>
                </a:cxn>
                <a:cxn ang="0">
                  <a:pos x="670" y="113"/>
                </a:cxn>
                <a:cxn ang="0">
                  <a:pos x="637" y="142"/>
                </a:cxn>
                <a:cxn ang="0">
                  <a:pos x="644" y="109"/>
                </a:cxn>
                <a:cxn ang="0">
                  <a:pos x="646" y="162"/>
                </a:cxn>
                <a:cxn ang="0">
                  <a:pos x="639" y="205"/>
                </a:cxn>
                <a:cxn ang="0">
                  <a:pos x="636" y="161"/>
                </a:cxn>
              </a:cxnLst>
              <a:rect l="0" t="0" r="r" b="b"/>
              <a:pathLst>
                <a:path w="675" h="374">
                  <a:moveTo>
                    <a:pt x="383" y="321"/>
                  </a:moveTo>
                  <a:lnTo>
                    <a:pt x="377" y="321"/>
                  </a:lnTo>
                  <a:lnTo>
                    <a:pt x="352" y="327"/>
                  </a:lnTo>
                  <a:lnTo>
                    <a:pt x="335" y="330"/>
                  </a:lnTo>
                  <a:lnTo>
                    <a:pt x="309" y="333"/>
                  </a:lnTo>
                  <a:lnTo>
                    <a:pt x="307" y="333"/>
                  </a:lnTo>
                  <a:lnTo>
                    <a:pt x="273" y="338"/>
                  </a:lnTo>
                  <a:lnTo>
                    <a:pt x="260" y="340"/>
                  </a:lnTo>
                  <a:lnTo>
                    <a:pt x="239" y="344"/>
                  </a:lnTo>
                  <a:lnTo>
                    <a:pt x="234" y="344"/>
                  </a:lnTo>
                  <a:lnTo>
                    <a:pt x="196" y="349"/>
                  </a:lnTo>
                  <a:lnTo>
                    <a:pt x="169" y="352"/>
                  </a:lnTo>
                  <a:lnTo>
                    <a:pt x="171" y="349"/>
                  </a:lnTo>
                  <a:lnTo>
                    <a:pt x="155" y="352"/>
                  </a:lnTo>
                  <a:lnTo>
                    <a:pt x="148" y="352"/>
                  </a:lnTo>
                  <a:lnTo>
                    <a:pt x="147" y="354"/>
                  </a:lnTo>
                  <a:lnTo>
                    <a:pt x="128" y="357"/>
                  </a:lnTo>
                  <a:lnTo>
                    <a:pt x="123" y="357"/>
                  </a:lnTo>
                  <a:lnTo>
                    <a:pt x="116" y="359"/>
                  </a:lnTo>
                  <a:lnTo>
                    <a:pt x="90" y="362"/>
                  </a:lnTo>
                  <a:lnTo>
                    <a:pt x="70" y="366"/>
                  </a:lnTo>
                  <a:lnTo>
                    <a:pt x="58" y="368"/>
                  </a:lnTo>
                  <a:lnTo>
                    <a:pt x="39" y="371"/>
                  </a:lnTo>
                  <a:lnTo>
                    <a:pt x="36" y="371"/>
                  </a:lnTo>
                  <a:lnTo>
                    <a:pt x="34" y="369"/>
                  </a:lnTo>
                  <a:lnTo>
                    <a:pt x="17" y="373"/>
                  </a:lnTo>
                  <a:lnTo>
                    <a:pt x="0" y="374"/>
                  </a:lnTo>
                  <a:lnTo>
                    <a:pt x="1" y="373"/>
                  </a:lnTo>
                  <a:lnTo>
                    <a:pt x="10" y="366"/>
                  </a:lnTo>
                  <a:lnTo>
                    <a:pt x="17" y="366"/>
                  </a:lnTo>
                  <a:lnTo>
                    <a:pt x="22" y="364"/>
                  </a:lnTo>
                  <a:lnTo>
                    <a:pt x="22" y="362"/>
                  </a:lnTo>
                  <a:lnTo>
                    <a:pt x="27" y="359"/>
                  </a:lnTo>
                  <a:lnTo>
                    <a:pt x="37" y="356"/>
                  </a:lnTo>
                  <a:lnTo>
                    <a:pt x="42" y="354"/>
                  </a:lnTo>
                  <a:lnTo>
                    <a:pt x="44" y="352"/>
                  </a:lnTo>
                  <a:lnTo>
                    <a:pt x="42" y="349"/>
                  </a:lnTo>
                  <a:lnTo>
                    <a:pt x="48" y="340"/>
                  </a:lnTo>
                  <a:lnTo>
                    <a:pt x="49" y="340"/>
                  </a:lnTo>
                  <a:lnTo>
                    <a:pt x="56" y="338"/>
                  </a:lnTo>
                  <a:lnTo>
                    <a:pt x="63" y="333"/>
                  </a:lnTo>
                  <a:lnTo>
                    <a:pt x="63" y="330"/>
                  </a:lnTo>
                  <a:lnTo>
                    <a:pt x="63" y="325"/>
                  </a:lnTo>
                  <a:lnTo>
                    <a:pt x="66" y="321"/>
                  </a:lnTo>
                  <a:lnTo>
                    <a:pt x="73" y="318"/>
                  </a:lnTo>
                  <a:lnTo>
                    <a:pt x="73" y="313"/>
                  </a:lnTo>
                  <a:lnTo>
                    <a:pt x="73" y="313"/>
                  </a:lnTo>
                  <a:lnTo>
                    <a:pt x="73" y="311"/>
                  </a:lnTo>
                  <a:lnTo>
                    <a:pt x="73" y="309"/>
                  </a:lnTo>
                  <a:lnTo>
                    <a:pt x="84" y="297"/>
                  </a:lnTo>
                  <a:lnTo>
                    <a:pt x="85" y="297"/>
                  </a:lnTo>
                  <a:lnTo>
                    <a:pt x="97" y="291"/>
                  </a:lnTo>
                  <a:lnTo>
                    <a:pt x="101" y="289"/>
                  </a:lnTo>
                  <a:lnTo>
                    <a:pt x="106" y="284"/>
                  </a:lnTo>
                  <a:lnTo>
                    <a:pt x="130" y="255"/>
                  </a:lnTo>
                  <a:lnTo>
                    <a:pt x="131" y="256"/>
                  </a:lnTo>
                  <a:lnTo>
                    <a:pt x="131" y="258"/>
                  </a:lnTo>
                  <a:lnTo>
                    <a:pt x="130" y="260"/>
                  </a:lnTo>
                  <a:lnTo>
                    <a:pt x="128" y="262"/>
                  </a:lnTo>
                  <a:lnTo>
                    <a:pt x="135" y="267"/>
                  </a:lnTo>
                  <a:lnTo>
                    <a:pt x="135" y="272"/>
                  </a:lnTo>
                  <a:lnTo>
                    <a:pt x="138" y="274"/>
                  </a:lnTo>
                  <a:lnTo>
                    <a:pt x="142" y="275"/>
                  </a:lnTo>
                  <a:lnTo>
                    <a:pt x="142" y="277"/>
                  </a:lnTo>
                  <a:lnTo>
                    <a:pt x="143" y="279"/>
                  </a:lnTo>
                  <a:lnTo>
                    <a:pt x="145" y="280"/>
                  </a:lnTo>
                  <a:lnTo>
                    <a:pt x="147" y="279"/>
                  </a:lnTo>
                  <a:lnTo>
                    <a:pt x="152" y="280"/>
                  </a:lnTo>
                  <a:lnTo>
                    <a:pt x="152" y="282"/>
                  </a:lnTo>
                  <a:lnTo>
                    <a:pt x="155" y="284"/>
                  </a:lnTo>
                  <a:lnTo>
                    <a:pt x="159" y="285"/>
                  </a:lnTo>
                  <a:lnTo>
                    <a:pt x="169" y="284"/>
                  </a:lnTo>
                  <a:lnTo>
                    <a:pt x="172" y="280"/>
                  </a:lnTo>
                  <a:lnTo>
                    <a:pt x="172" y="279"/>
                  </a:lnTo>
                  <a:lnTo>
                    <a:pt x="174" y="279"/>
                  </a:lnTo>
                  <a:lnTo>
                    <a:pt x="181" y="274"/>
                  </a:lnTo>
                  <a:lnTo>
                    <a:pt x="181" y="272"/>
                  </a:lnTo>
                  <a:lnTo>
                    <a:pt x="183" y="268"/>
                  </a:lnTo>
                  <a:lnTo>
                    <a:pt x="188" y="272"/>
                  </a:lnTo>
                  <a:lnTo>
                    <a:pt x="196" y="277"/>
                  </a:lnTo>
                  <a:lnTo>
                    <a:pt x="201" y="272"/>
                  </a:lnTo>
                  <a:lnTo>
                    <a:pt x="212" y="268"/>
                  </a:lnTo>
                  <a:lnTo>
                    <a:pt x="215" y="267"/>
                  </a:lnTo>
                  <a:lnTo>
                    <a:pt x="215" y="267"/>
                  </a:lnTo>
                  <a:lnTo>
                    <a:pt x="217" y="267"/>
                  </a:lnTo>
                  <a:lnTo>
                    <a:pt x="219" y="267"/>
                  </a:lnTo>
                  <a:lnTo>
                    <a:pt x="225" y="262"/>
                  </a:lnTo>
                  <a:lnTo>
                    <a:pt x="225" y="260"/>
                  </a:lnTo>
                  <a:lnTo>
                    <a:pt x="222" y="256"/>
                  </a:lnTo>
                  <a:lnTo>
                    <a:pt x="224" y="251"/>
                  </a:lnTo>
                  <a:lnTo>
                    <a:pt x="229" y="253"/>
                  </a:lnTo>
                  <a:lnTo>
                    <a:pt x="229" y="255"/>
                  </a:lnTo>
                  <a:lnTo>
                    <a:pt x="232" y="255"/>
                  </a:lnTo>
                  <a:lnTo>
                    <a:pt x="232" y="256"/>
                  </a:lnTo>
                  <a:lnTo>
                    <a:pt x="234" y="255"/>
                  </a:lnTo>
                  <a:lnTo>
                    <a:pt x="234" y="255"/>
                  </a:lnTo>
                  <a:lnTo>
                    <a:pt x="234" y="253"/>
                  </a:lnTo>
                  <a:lnTo>
                    <a:pt x="237" y="253"/>
                  </a:lnTo>
                  <a:lnTo>
                    <a:pt x="244" y="246"/>
                  </a:lnTo>
                  <a:lnTo>
                    <a:pt x="249" y="243"/>
                  </a:lnTo>
                  <a:lnTo>
                    <a:pt x="251" y="241"/>
                  </a:lnTo>
                  <a:lnTo>
                    <a:pt x="254" y="243"/>
                  </a:lnTo>
                  <a:lnTo>
                    <a:pt x="254" y="246"/>
                  </a:lnTo>
                  <a:lnTo>
                    <a:pt x="256" y="246"/>
                  </a:lnTo>
                  <a:lnTo>
                    <a:pt x="260" y="244"/>
                  </a:lnTo>
                  <a:lnTo>
                    <a:pt x="261" y="241"/>
                  </a:lnTo>
                  <a:lnTo>
                    <a:pt x="265" y="239"/>
                  </a:lnTo>
                  <a:lnTo>
                    <a:pt x="265" y="238"/>
                  </a:lnTo>
                  <a:lnTo>
                    <a:pt x="270" y="234"/>
                  </a:lnTo>
                  <a:lnTo>
                    <a:pt x="270" y="233"/>
                  </a:lnTo>
                  <a:lnTo>
                    <a:pt x="268" y="233"/>
                  </a:lnTo>
                  <a:lnTo>
                    <a:pt x="266" y="233"/>
                  </a:lnTo>
                  <a:lnTo>
                    <a:pt x="266" y="229"/>
                  </a:lnTo>
                  <a:lnTo>
                    <a:pt x="272" y="226"/>
                  </a:lnTo>
                  <a:lnTo>
                    <a:pt x="273" y="222"/>
                  </a:lnTo>
                  <a:lnTo>
                    <a:pt x="270" y="221"/>
                  </a:lnTo>
                  <a:lnTo>
                    <a:pt x="266" y="221"/>
                  </a:lnTo>
                  <a:lnTo>
                    <a:pt x="265" y="221"/>
                  </a:lnTo>
                  <a:lnTo>
                    <a:pt x="266" y="217"/>
                  </a:lnTo>
                  <a:lnTo>
                    <a:pt x="265" y="217"/>
                  </a:lnTo>
                  <a:lnTo>
                    <a:pt x="268" y="212"/>
                  </a:lnTo>
                  <a:lnTo>
                    <a:pt x="268" y="209"/>
                  </a:lnTo>
                  <a:lnTo>
                    <a:pt x="270" y="205"/>
                  </a:lnTo>
                  <a:lnTo>
                    <a:pt x="270" y="203"/>
                  </a:lnTo>
                  <a:lnTo>
                    <a:pt x="273" y="198"/>
                  </a:lnTo>
                  <a:lnTo>
                    <a:pt x="273" y="197"/>
                  </a:lnTo>
                  <a:lnTo>
                    <a:pt x="273" y="193"/>
                  </a:lnTo>
                  <a:lnTo>
                    <a:pt x="277" y="192"/>
                  </a:lnTo>
                  <a:lnTo>
                    <a:pt x="277" y="190"/>
                  </a:lnTo>
                  <a:lnTo>
                    <a:pt x="280" y="185"/>
                  </a:lnTo>
                  <a:lnTo>
                    <a:pt x="285" y="180"/>
                  </a:lnTo>
                  <a:lnTo>
                    <a:pt x="287" y="174"/>
                  </a:lnTo>
                  <a:lnTo>
                    <a:pt x="287" y="171"/>
                  </a:lnTo>
                  <a:lnTo>
                    <a:pt x="289" y="166"/>
                  </a:lnTo>
                  <a:lnTo>
                    <a:pt x="287" y="164"/>
                  </a:lnTo>
                  <a:lnTo>
                    <a:pt x="289" y="161"/>
                  </a:lnTo>
                  <a:lnTo>
                    <a:pt x="289" y="159"/>
                  </a:lnTo>
                  <a:lnTo>
                    <a:pt x="294" y="150"/>
                  </a:lnTo>
                  <a:lnTo>
                    <a:pt x="297" y="147"/>
                  </a:lnTo>
                  <a:lnTo>
                    <a:pt x="297" y="145"/>
                  </a:lnTo>
                  <a:lnTo>
                    <a:pt x="295" y="144"/>
                  </a:lnTo>
                  <a:lnTo>
                    <a:pt x="295" y="142"/>
                  </a:lnTo>
                  <a:lnTo>
                    <a:pt x="297" y="139"/>
                  </a:lnTo>
                  <a:lnTo>
                    <a:pt x="301" y="137"/>
                  </a:lnTo>
                  <a:lnTo>
                    <a:pt x="301" y="133"/>
                  </a:lnTo>
                  <a:lnTo>
                    <a:pt x="302" y="128"/>
                  </a:lnTo>
                  <a:lnTo>
                    <a:pt x="301" y="121"/>
                  </a:lnTo>
                  <a:lnTo>
                    <a:pt x="302" y="118"/>
                  </a:lnTo>
                  <a:lnTo>
                    <a:pt x="302" y="116"/>
                  </a:lnTo>
                  <a:lnTo>
                    <a:pt x="302" y="111"/>
                  </a:lnTo>
                  <a:lnTo>
                    <a:pt x="313" y="113"/>
                  </a:lnTo>
                  <a:lnTo>
                    <a:pt x="318" y="121"/>
                  </a:lnTo>
                  <a:lnTo>
                    <a:pt x="333" y="125"/>
                  </a:lnTo>
                  <a:lnTo>
                    <a:pt x="336" y="121"/>
                  </a:lnTo>
                  <a:lnTo>
                    <a:pt x="338" y="116"/>
                  </a:lnTo>
                  <a:lnTo>
                    <a:pt x="343" y="96"/>
                  </a:lnTo>
                  <a:lnTo>
                    <a:pt x="345" y="96"/>
                  </a:lnTo>
                  <a:lnTo>
                    <a:pt x="347" y="96"/>
                  </a:lnTo>
                  <a:lnTo>
                    <a:pt x="347" y="91"/>
                  </a:lnTo>
                  <a:lnTo>
                    <a:pt x="348" y="84"/>
                  </a:lnTo>
                  <a:lnTo>
                    <a:pt x="347" y="80"/>
                  </a:lnTo>
                  <a:lnTo>
                    <a:pt x="348" y="80"/>
                  </a:lnTo>
                  <a:lnTo>
                    <a:pt x="352" y="74"/>
                  </a:lnTo>
                  <a:lnTo>
                    <a:pt x="364" y="80"/>
                  </a:lnTo>
                  <a:lnTo>
                    <a:pt x="366" y="74"/>
                  </a:lnTo>
                  <a:lnTo>
                    <a:pt x="367" y="67"/>
                  </a:lnTo>
                  <a:lnTo>
                    <a:pt x="371" y="63"/>
                  </a:lnTo>
                  <a:lnTo>
                    <a:pt x="371" y="62"/>
                  </a:lnTo>
                  <a:lnTo>
                    <a:pt x="372" y="62"/>
                  </a:lnTo>
                  <a:lnTo>
                    <a:pt x="372" y="63"/>
                  </a:lnTo>
                  <a:lnTo>
                    <a:pt x="376" y="62"/>
                  </a:lnTo>
                  <a:lnTo>
                    <a:pt x="377" y="58"/>
                  </a:lnTo>
                  <a:lnTo>
                    <a:pt x="377" y="55"/>
                  </a:lnTo>
                  <a:lnTo>
                    <a:pt x="381" y="55"/>
                  </a:lnTo>
                  <a:lnTo>
                    <a:pt x="384" y="50"/>
                  </a:lnTo>
                  <a:lnTo>
                    <a:pt x="384" y="48"/>
                  </a:lnTo>
                  <a:lnTo>
                    <a:pt x="383" y="48"/>
                  </a:lnTo>
                  <a:lnTo>
                    <a:pt x="384" y="45"/>
                  </a:lnTo>
                  <a:lnTo>
                    <a:pt x="386" y="41"/>
                  </a:lnTo>
                  <a:lnTo>
                    <a:pt x="388" y="38"/>
                  </a:lnTo>
                  <a:lnTo>
                    <a:pt x="391" y="38"/>
                  </a:lnTo>
                  <a:lnTo>
                    <a:pt x="391" y="34"/>
                  </a:lnTo>
                  <a:lnTo>
                    <a:pt x="393" y="31"/>
                  </a:lnTo>
                  <a:lnTo>
                    <a:pt x="391" y="27"/>
                  </a:lnTo>
                  <a:lnTo>
                    <a:pt x="391" y="27"/>
                  </a:lnTo>
                  <a:lnTo>
                    <a:pt x="391" y="22"/>
                  </a:lnTo>
                  <a:lnTo>
                    <a:pt x="391" y="22"/>
                  </a:lnTo>
                  <a:lnTo>
                    <a:pt x="395" y="12"/>
                  </a:lnTo>
                  <a:lnTo>
                    <a:pt x="395" y="10"/>
                  </a:lnTo>
                  <a:lnTo>
                    <a:pt x="393" y="10"/>
                  </a:lnTo>
                  <a:lnTo>
                    <a:pt x="393" y="7"/>
                  </a:lnTo>
                  <a:lnTo>
                    <a:pt x="391" y="0"/>
                  </a:lnTo>
                  <a:lnTo>
                    <a:pt x="398" y="2"/>
                  </a:lnTo>
                  <a:lnTo>
                    <a:pt x="403" y="5"/>
                  </a:lnTo>
                  <a:lnTo>
                    <a:pt x="422" y="15"/>
                  </a:lnTo>
                  <a:lnTo>
                    <a:pt x="441" y="26"/>
                  </a:lnTo>
                  <a:lnTo>
                    <a:pt x="441" y="26"/>
                  </a:lnTo>
                  <a:lnTo>
                    <a:pt x="441" y="19"/>
                  </a:lnTo>
                  <a:lnTo>
                    <a:pt x="442" y="14"/>
                  </a:lnTo>
                  <a:lnTo>
                    <a:pt x="442" y="9"/>
                  </a:lnTo>
                  <a:lnTo>
                    <a:pt x="444" y="5"/>
                  </a:lnTo>
                  <a:lnTo>
                    <a:pt x="449" y="4"/>
                  </a:lnTo>
                  <a:lnTo>
                    <a:pt x="454" y="5"/>
                  </a:lnTo>
                  <a:lnTo>
                    <a:pt x="458" y="4"/>
                  </a:lnTo>
                  <a:lnTo>
                    <a:pt x="461" y="7"/>
                  </a:lnTo>
                  <a:lnTo>
                    <a:pt x="465" y="9"/>
                  </a:lnTo>
                  <a:lnTo>
                    <a:pt x="468" y="10"/>
                  </a:lnTo>
                  <a:lnTo>
                    <a:pt x="468" y="10"/>
                  </a:lnTo>
                  <a:lnTo>
                    <a:pt x="468" y="15"/>
                  </a:lnTo>
                  <a:lnTo>
                    <a:pt x="465" y="19"/>
                  </a:lnTo>
                  <a:lnTo>
                    <a:pt x="466" y="22"/>
                  </a:lnTo>
                  <a:lnTo>
                    <a:pt x="470" y="24"/>
                  </a:lnTo>
                  <a:lnTo>
                    <a:pt x="471" y="26"/>
                  </a:lnTo>
                  <a:lnTo>
                    <a:pt x="473" y="27"/>
                  </a:lnTo>
                  <a:lnTo>
                    <a:pt x="480" y="26"/>
                  </a:lnTo>
                  <a:lnTo>
                    <a:pt x="483" y="26"/>
                  </a:lnTo>
                  <a:lnTo>
                    <a:pt x="489" y="27"/>
                  </a:lnTo>
                  <a:lnTo>
                    <a:pt x="492" y="33"/>
                  </a:lnTo>
                  <a:lnTo>
                    <a:pt x="499" y="33"/>
                  </a:lnTo>
                  <a:lnTo>
                    <a:pt x="502" y="36"/>
                  </a:lnTo>
                  <a:lnTo>
                    <a:pt x="506" y="38"/>
                  </a:lnTo>
                  <a:lnTo>
                    <a:pt x="507" y="39"/>
                  </a:lnTo>
                  <a:lnTo>
                    <a:pt x="511" y="41"/>
                  </a:lnTo>
                  <a:lnTo>
                    <a:pt x="511" y="45"/>
                  </a:lnTo>
                  <a:lnTo>
                    <a:pt x="511" y="46"/>
                  </a:lnTo>
                  <a:lnTo>
                    <a:pt x="511" y="46"/>
                  </a:lnTo>
                  <a:lnTo>
                    <a:pt x="511" y="50"/>
                  </a:lnTo>
                  <a:lnTo>
                    <a:pt x="512" y="56"/>
                  </a:lnTo>
                  <a:lnTo>
                    <a:pt x="512" y="58"/>
                  </a:lnTo>
                  <a:lnTo>
                    <a:pt x="509" y="58"/>
                  </a:lnTo>
                  <a:lnTo>
                    <a:pt x="509" y="60"/>
                  </a:lnTo>
                  <a:lnTo>
                    <a:pt x="507" y="63"/>
                  </a:lnTo>
                  <a:lnTo>
                    <a:pt x="507" y="67"/>
                  </a:lnTo>
                  <a:lnTo>
                    <a:pt x="502" y="70"/>
                  </a:lnTo>
                  <a:lnTo>
                    <a:pt x="502" y="65"/>
                  </a:lnTo>
                  <a:lnTo>
                    <a:pt x="499" y="67"/>
                  </a:lnTo>
                  <a:lnTo>
                    <a:pt x="497" y="84"/>
                  </a:lnTo>
                  <a:lnTo>
                    <a:pt x="495" y="92"/>
                  </a:lnTo>
                  <a:lnTo>
                    <a:pt x="501" y="99"/>
                  </a:lnTo>
                  <a:lnTo>
                    <a:pt x="499" y="101"/>
                  </a:lnTo>
                  <a:lnTo>
                    <a:pt x="506" y="101"/>
                  </a:lnTo>
                  <a:lnTo>
                    <a:pt x="519" y="94"/>
                  </a:lnTo>
                  <a:lnTo>
                    <a:pt x="526" y="103"/>
                  </a:lnTo>
                  <a:lnTo>
                    <a:pt x="533" y="109"/>
                  </a:lnTo>
                  <a:lnTo>
                    <a:pt x="562" y="113"/>
                  </a:lnTo>
                  <a:lnTo>
                    <a:pt x="567" y="118"/>
                  </a:lnTo>
                  <a:lnTo>
                    <a:pt x="567" y="123"/>
                  </a:lnTo>
                  <a:lnTo>
                    <a:pt x="567" y="125"/>
                  </a:lnTo>
                  <a:lnTo>
                    <a:pt x="571" y="123"/>
                  </a:lnTo>
                  <a:lnTo>
                    <a:pt x="584" y="127"/>
                  </a:lnTo>
                  <a:lnTo>
                    <a:pt x="595" y="132"/>
                  </a:lnTo>
                  <a:lnTo>
                    <a:pt x="596" y="135"/>
                  </a:lnTo>
                  <a:lnTo>
                    <a:pt x="591" y="142"/>
                  </a:lnTo>
                  <a:lnTo>
                    <a:pt x="595" y="150"/>
                  </a:lnTo>
                  <a:lnTo>
                    <a:pt x="591" y="154"/>
                  </a:lnTo>
                  <a:lnTo>
                    <a:pt x="595" y="156"/>
                  </a:lnTo>
                  <a:lnTo>
                    <a:pt x="595" y="161"/>
                  </a:lnTo>
                  <a:lnTo>
                    <a:pt x="579" y="161"/>
                  </a:lnTo>
                  <a:lnTo>
                    <a:pt x="571" y="150"/>
                  </a:lnTo>
                  <a:lnTo>
                    <a:pt x="567" y="149"/>
                  </a:lnTo>
                  <a:lnTo>
                    <a:pt x="552" y="137"/>
                  </a:lnTo>
                  <a:lnTo>
                    <a:pt x="548" y="139"/>
                  </a:lnTo>
                  <a:lnTo>
                    <a:pt x="559" y="149"/>
                  </a:lnTo>
                  <a:lnTo>
                    <a:pt x="564" y="150"/>
                  </a:lnTo>
                  <a:lnTo>
                    <a:pt x="576" y="162"/>
                  </a:lnTo>
                  <a:lnTo>
                    <a:pt x="598" y="169"/>
                  </a:lnTo>
                  <a:lnTo>
                    <a:pt x="596" y="171"/>
                  </a:lnTo>
                  <a:lnTo>
                    <a:pt x="583" y="171"/>
                  </a:lnTo>
                  <a:lnTo>
                    <a:pt x="589" y="174"/>
                  </a:lnTo>
                  <a:lnTo>
                    <a:pt x="596" y="173"/>
                  </a:lnTo>
                  <a:lnTo>
                    <a:pt x="606" y="185"/>
                  </a:lnTo>
                  <a:lnTo>
                    <a:pt x="606" y="192"/>
                  </a:lnTo>
                  <a:lnTo>
                    <a:pt x="605" y="192"/>
                  </a:lnTo>
                  <a:lnTo>
                    <a:pt x="600" y="186"/>
                  </a:lnTo>
                  <a:lnTo>
                    <a:pt x="589" y="181"/>
                  </a:lnTo>
                  <a:lnTo>
                    <a:pt x="589" y="185"/>
                  </a:lnTo>
                  <a:lnTo>
                    <a:pt x="593" y="185"/>
                  </a:lnTo>
                  <a:lnTo>
                    <a:pt x="595" y="188"/>
                  </a:lnTo>
                  <a:lnTo>
                    <a:pt x="591" y="190"/>
                  </a:lnTo>
                  <a:lnTo>
                    <a:pt x="598" y="197"/>
                  </a:lnTo>
                  <a:lnTo>
                    <a:pt x="593" y="202"/>
                  </a:lnTo>
                  <a:lnTo>
                    <a:pt x="574" y="190"/>
                  </a:lnTo>
                  <a:lnTo>
                    <a:pt x="569" y="190"/>
                  </a:lnTo>
                  <a:lnTo>
                    <a:pt x="572" y="193"/>
                  </a:lnTo>
                  <a:lnTo>
                    <a:pt x="581" y="200"/>
                  </a:lnTo>
                  <a:lnTo>
                    <a:pt x="596" y="207"/>
                  </a:lnTo>
                  <a:lnTo>
                    <a:pt x="600" y="212"/>
                  </a:lnTo>
                  <a:lnTo>
                    <a:pt x="600" y="210"/>
                  </a:lnTo>
                  <a:lnTo>
                    <a:pt x="603" y="212"/>
                  </a:lnTo>
                  <a:lnTo>
                    <a:pt x="605" y="209"/>
                  </a:lnTo>
                  <a:lnTo>
                    <a:pt x="610" y="214"/>
                  </a:lnTo>
                  <a:lnTo>
                    <a:pt x="601" y="217"/>
                  </a:lnTo>
                  <a:lnTo>
                    <a:pt x="612" y="219"/>
                  </a:lnTo>
                  <a:lnTo>
                    <a:pt x="612" y="224"/>
                  </a:lnTo>
                  <a:lnTo>
                    <a:pt x="605" y="229"/>
                  </a:lnTo>
                  <a:lnTo>
                    <a:pt x="601" y="233"/>
                  </a:lnTo>
                  <a:lnTo>
                    <a:pt x="591" y="224"/>
                  </a:lnTo>
                  <a:lnTo>
                    <a:pt x="591" y="221"/>
                  </a:lnTo>
                  <a:lnTo>
                    <a:pt x="588" y="219"/>
                  </a:lnTo>
                  <a:lnTo>
                    <a:pt x="588" y="222"/>
                  </a:lnTo>
                  <a:lnTo>
                    <a:pt x="581" y="219"/>
                  </a:lnTo>
                  <a:lnTo>
                    <a:pt x="583" y="214"/>
                  </a:lnTo>
                  <a:lnTo>
                    <a:pt x="577" y="209"/>
                  </a:lnTo>
                  <a:lnTo>
                    <a:pt x="574" y="209"/>
                  </a:lnTo>
                  <a:lnTo>
                    <a:pt x="571" y="214"/>
                  </a:lnTo>
                  <a:lnTo>
                    <a:pt x="565" y="210"/>
                  </a:lnTo>
                  <a:lnTo>
                    <a:pt x="560" y="210"/>
                  </a:lnTo>
                  <a:lnTo>
                    <a:pt x="557" y="202"/>
                  </a:lnTo>
                  <a:lnTo>
                    <a:pt x="559" y="209"/>
                  </a:lnTo>
                  <a:lnTo>
                    <a:pt x="554" y="212"/>
                  </a:lnTo>
                  <a:lnTo>
                    <a:pt x="557" y="215"/>
                  </a:lnTo>
                  <a:lnTo>
                    <a:pt x="565" y="214"/>
                  </a:lnTo>
                  <a:lnTo>
                    <a:pt x="572" y="219"/>
                  </a:lnTo>
                  <a:lnTo>
                    <a:pt x="576" y="212"/>
                  </a:lnTo>
                  <a:lnTo>
                    <a:pt x="577" y="217"/>
                  </a:lnTo>
                  <a:lnTo>
                    <a:pt x="579" y="227"/>
                  </a:lnTo>
                  <a:lnTo>
                    <a:pt x="588" y="229"/>
                  </a:lnTo>
                  <a:lnTo>
                    <a:pt x="586" y="233"/>
                  </a:lnTo>
                  <a:lnTo>
                    <a:pt x="589" y="231"/>
                  </a:lnTo>
                  <a:lnTo>
                    <a:pt x="596" y="234"/>
                  </a:lnTo>
                  <a:lnTo>
                    <a:pt x="596" y="239"/>
                  </a:lnTo>
                  <a:lnTo>
                    <a:pt x="598" y="238"/>
                  </a:lnTo>
                  <a:lnTo>
                    <a:pt x="598" y="241"/>
                  </a:lnTo>
                  <a:lnTo>
                    <a:pt x="593" y="248"/>
                  </a:lnTo>
                  <a:lnTo>
                    <a:pt x="595" y="253"/>
                  </a:lnTo>
                  <a:lnTo>
                    <a:pt x="598" y="244"/>
                  </a:lnTo>
                  <a:lnTo>
                    <a:pt x="605" y="239"/>
                  </a:lnTo>
                  <a:lnTo>
                    <a:pt x="610" y="236"/>
                  </a:lnTo>
                  <a:lnTo>
                    <a:pt x="612" y="243"/>
                  </a:lnTo>
                  <a:lnTo>
                    <a:pt x="608" y="246"/>
                  </a:lnTo>
                  <a:lnTo>
                    <a:pt x="606" y="246"/>
                  </a:lnTo>
                  <a:lnTo>
                    <a:pt x="613" y="243"/>
                  </a:lnTo>
                  <a:lnTo>
                    <a:pt x="617" y="244"/>
                  </a:lnTo>
                  <a:lnTo>
                    <a:pt x="612" y="233"/>
                  </a:lnTo>
                  <a:lnTo>
                    <a:pt x="613" y="231"/>
                  </a:lnTo>
                  <a:lnTo>
                    <a:pt x="622" y="233"/>
                  </a:lnTo>
                  <a:lnTo>
                    <a:pt x="624" y="234"/>
                  </a:lnTo>
                  <a:lnTo>
                    <a:pt x="629" y="231"/>
                  </a:lnTo>
                  <a:lnTo>
                    <a:pt x="639" y="229"/>
                  </a:lnTo>
                  <a:lnTo>
                    <a:pt x="656" y="267"/>
                  </a:lnTo>
                  <a:lnTo>
                    <a:pt x="654" y="267"/>
                  </a:lnTo>
                  <a:lnTo>
                    <a:pt x="654" y="262"/>
                  </a:lnTo>
                  <a:lnTo>
                    <a:pt x="648" y="250"/>
                  </a:lnTo>
                  <a:lnTo>
                    <a:pt x="648" y="268"/>
                  </a:lnTo>
                  <a:lnTo>
                    <a:pt x="644" y="268"/>
                  </a:lnTo>
                  <a:lnTo>
                    <a:pt x="641" y="265"/>
                  </a:lnTo>
                  <a:lnTo>
                    <a:pt x="642" y="268"/>
                  </a:lnTo>
                  <a:lnTo>
                    <a:pt x="636" y="270"/>
                  </a:lnTo>
                  <a:lnTo>
                    <a:pt x="618" y="274"/>
                  </a:lnTo>
                  <a:lnTo>
                    <a:pt x="605" y="277"/>
                  </a:lnTo>
                  <a:lnTo>
                    <a:pt x="600" y="279"/>
                  </a:lnTo>
                  <a:lnTo>
                    <a:pt x="569" y="284"/>
                  </a:lnTo>
                  <a:lnTo>
                    <a:pt x="569" y="284"/>
                  </a:lnTo>
                  <a:lnTo>
                    <a:pt x="548" y="289"/>
                  </a:lnTo>
                  <a:lnTo>
                    <a:pt x="536" y="291"/>
                  </a:lnTo>
                  <a:lnTo>
                    <a:pt x="499" y="299"/>
                  </a:lnTo>
                  <a:lnTo>
                    <a:pt x="487" y="301"/>
                  </a:lnTo>
                  <a:lnTo>
                    <a:pt x="475" y="303"/>
                  </a:lnTo>
                  <a:lnTo>
                    <a:pt x="453" y="308"/>
                  </a:lnTo>
                  <a:lnTo>
                    <a:pt x="441" y="311"/>
                  </a:lnTo>
                  <a:lnTo>
                    <a:pt x="417" y="315"/>
                  </a:lnTo>
                  <a:lnTo>
                    <a:pt x="412" y="316"/>
                  </a:lnTo>
                  <a:lnTo>
                    <a:pt x="383" y="321"/>
                  </a:lnTo>
                  <a:close/>
                  <a:moveTo>
                    <a:pt x="673" y="99"/>
                  </a:moveTo>
                  <a:lnTo>
                    <a:pt x="675" y="99"/>
                  </a:lnTo>
                  <a:lnTo>
                    <a:pt x="673" y="108"/>
                  </a:lnTo>
                  <a:lnTo>
                    <a:pt x="671" y="116"/>
                  </a:lnTo>
                  <a:lnTo>
                    <a:pt x="668" y="118"/>
                  </a:lnTo>
                  <a:lnTo>
                    <a:pt x="670" y="115"/>
                  </a:lnTo>
                  <a:lnTo>
                    <a:pt x="668" y="115"/>
                  </a:lnTo>
                  <a:lnTo>
                    <a:pt x="670" y="113"/>
                  </a:lnTo>
                  <a:lnTo>
                    <a:pt x="673" y="99"/>
                  </a:lnTo>
                  <a:close/>
                  <a:moveTo>
                    <a:pt x="636" y="161"/>
                  </a:moveTo>
                  <a:lnTo>
                    <a:pt x="629" y="161"/>
                  </a:lnTo>
                  <a:lnTo>
                    <a:pt x="629" y="157"/>
                  </a:lnTo>
                  <a:lnTo>
                    <a:pt x="632" y="157"/>
                  </a:lnTo>
                  <a:lnTo>
                    <a:pt x="630" y="157"/>
                  </a:lnTo>
                  <a:lnTo>
                    <a:pt x="637" y="142"/>
                  </a:lnTo>
                  <a:lnTo>
                    <a:pt x="637" y="133"/>
                  </a:lnTo>
                  <a:lnTo>
                    <a:pt x="642" y="128"/>
                  </a:lnTo>
                  <a:lnTo>
                    <a:pt x="642" y="125"/>
                  </a:lnTo>
                  <a:lnTo>
                    <a:pt x="637" y="118"/>
                  </a:lnTo>
                  <a:lnTo>
                    <a:pt x="644" y="116"/>
                  </a:lnTo>
                  <a:lnTo>
                    <a:pt x="644" y="113"/>
                  </a:lnTo>
                  <a:lnTo>
                    <a:pt x="644" y="109"/>
                  </a:lnTo>
                  <a:lnTo>
                    <a:pt x="665" y="103"/>
                  </a:lnTo>
                  <a:lnTo>
                    <a:pt x="653" y="140"/>
                  </a:lnTo>
                  <a:lnTo>
                    <a:pt x="654" y="142"/>
                  </a:lnTo>
                  <a:lnTo>
                    <a:pt x="648" y="154"/>
                  </a:lnTo>
                  <a:lnTo>
                    <a:pt x="653" y="156"/>
                  </a:lnTo>
                  <a:lnTo>
                    <a:pt x="646" y="157"/>
                  </a:lnTo>
                  <a:lnTo>
                    <a:pt x="646" y="162"/>
                  </a:lnTo>
                  <a:lnTo>
                    <a:pt x="649" y="164"/>
                  </a:lnTo>
                  <a:lnTo>
                    <a:pt x="641" y="168"/>
                  </a:lnTo>
                  <a:lnTo>
                    <a:pt x="642" y="173"/>
                  </a:lnTo>
                  <a:lnTo>
                    <a:pt x="644" y="174"/>
                  </a:lnTo>
                  <a:lnTo>
                    <a:pt x="641" y="174"/>
                  </a:lnTo>
                  <a:lnTo>
                    <a:pt x="637" y="181"/>
                  </a:lnTo>
                  <a:lnTo>
                    <a:pt x="639" y="205"/>
                  </a:lnTo>
                  <a:lnTo>
                    <a:pt x="636" y="207"/>
                  </a:lnTo>
                  <a:lnTo>
                    <a:pt x="629" y="188"/>
                  </a:lnTo>
                  <a:lnTo>
                    <a:pt x="630" y="169"/>
                  </a:lnTo>
                  <a:lnTo>
                    <a:pt x="629" y="169"/>
                  </a:lnTo>
                  <a:lnTo>
                    <a:pt x="629" y="166"/>
                  </a:lnTo>
                  <a:lnTo>
                    <a:pt x="630" y="161"/>
                  </a:lnTo>
                  <a:lnTo>
                    <a:pt x="636" y="161"/>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44" name="Freeform 40">
              <a:extLst>
                <a:ext uri="{FF2B5EF4-FFF2-40B4-BE49-F238E27FC236}">
                  <a16:creationId xmlns:a16="http://schemas.microsoft.com/office/drawing/2014/main" id="{9BC90B17-C28C-4D95-8220-C4B344C2B9D2}"/>
                </a:ext>
              </a:extLst>
            </p:cNvPr>
            <p:cNvSpPr>
              <a:spLocks/>
            </p:cNvSpPr>
            <p:nvPr/>
          </p:nvSpPr>
          <p:spPr bwMode="gray">
            <a:xfrm>
              <a:off x="5293999" y="3467921"/>
              <a:ext cx="914628" cy="792249"/>
            </a:xfrm>
            <a:custGeom>
              <a:avLst/>
              <a:gdLst/>
              <a:ahLst/>
              <a:cxnLst>
                <a:cxn ang="0">
                  <a:pos x="568" y="398"/>
                </a:cxn>
                <a:cxn ang="0">
                  <a:pos x="564" y="412"/>
                </a:cxn>
                <a:cxn ang="0">
                  <a:pos x="553" y="418"/>
                </a:cxn>
                <a:cxn ang="0">
                  <a:pos x="542" y="437"/>
                </a:cxn>
                <a:cxn ang="0">
                  <a:pos x="539" y="427"/>
                </a:cxn>
                <a:cxn ang="0">
                  <a:pos x="535" y="432"/>
                </a:cxn>
                <a:cxn ang="0">
                  <a:pos x="530" y="449"/>
                </a:cxn>
                <a:cxn ang="0">
                  <a:pos x="530" y="461"/>
                </a:cxn>
                <a:cxn ang="0">
                  <a:pos x="532" y="470"/>
                </a:cxn>
                <a:cxn ang="0">
                  <a:pos x="501" y="489"/>
                </a:cxn>
                <a:cxn ang="0">
                  <a:pos x="477" y="475"/>
                </a:cxn>
                <a:cxn ang="0">
                  <a:pos x="491" y="460"/>
                </a:cxn>
                <a:cxn ang="0">
                  <a:pos x="486" y="446"/>
                </a:cxn>
                <a:cxn ang="0">
                  <a:pos x="445" y="439"/>
                </a:cxn>
                <a:cxn ang="0">
                  <a:pos x="313" y="446"/>
                </a:cxn>
                <a:cxn ang="0">
                  <a:pos x="211" y="449"/>
                </a:cxn>
                <a:cxn ang="0">
                  <a:pos x="100" y="422"/>
                </a:cxn>
                <a:cxn ang="0">
                  <a:pos x="98" y="323"/>
                </a:cxn>
                <a:cxn ang="0">
                  <a:pos x="96" y="198"/>
                </a:cxn>
                <a:cxn ang="0">
                  <a:pos x="91" y="162"/>
                </a:cxn>
                <a:cxn ang="0">
                  <a:pos x="72" y="147"/>
                </a:cxn>
                <a:cxn ang="0">
                  <a:pos x="60" y="131"/>
                </a:cxn>
                <a:cxn ang="0">
                  <a:pos x="62" y="109"/>
                </a:cxn>
                <a:cxn ang="0">
                  <a:pos x="74" y="101"/>
                </a:cxn>
                <a:cxn ang="0">
                  <a:pos x="72" y="96"/>
                </a:cxn>
                <a:cxn ang="0">
                  <a:pos x="67" y="84"/>
                </a:cxn>
                <a:cxn ang="0">
                  <a:pos x="48" y="84"/>
                </a:cxn>
                <a:cxn ang="0">
                  <a:pos x="31" y="68"/>
                </a:cxn>
                <a:cxn ang="0">
                  <a:pos x="26" y="54"/>
                </a:cxn>
                <a:cxn ang="0">
                  <a:pos x="11" y="39"/>
                </a:cxn>
                <a:cxn ang="0">
                  <a:pos x="7" y="19"/>
                </a:cxn>
                <a:cxn ang="0">
                  <a:pos x="4" y="15"/>
                </a:cxn>
                <a:cxn ang="0">
                  <a:pos x="93" y="10"/>
                </a:cxn>
                <a:cxn ang="0">
                  <a:pos x="195" y="8"/>
                </a:cxn>
                <a:cxn ang="0">
                  <a:pos x="310" y="0"/>
                </a:cxn>
                <a:cxn ang="0">
                  <a:pos x="337" y="10"/>
                </a:cxn>
                <a:cxn ang="0">
                  <a:pos x="344" y="20"/>
                </a:cxn>
                <a:cxn ang="0">
                  <a:pos x="347" y="37"/>
                </a:cxn>
                <a:cxn ang="0">
                  <a:pos x="354" y="73"/>
                </a:cxn>
                <a:cxn ang="0">
                  <a:pos x="361" y="94"/>
                </a:cxn>
                <a:cxn ang="0">
                  <a:pos x="390" y="123"/>
                </a:cxn>
                <a:cxn ang="0">
                  <a:pos x="417" y="148"/>
                </a:cxn>
                <a:cxn ang="0">
                  <a:pos x="428" y="181"/>
                </a:cxn>
                <a:cxn ang="0">
                  <a:pos x="455" y="176"/>
                </a:cxn>
                <a:cxn ang="0">
                  <a:pos x="465" y="191"/>
                </a:cxn>
                <a:cxn ang="0">
                  <a:pos x="460" y="217"/>
                </a:cxn>
                <a:cxn ang="0">
                  <a:pos x="453" y="249"/>
                </a:cxn>
                <a:cxn ang="0">
                  <a:pos x="474" y="272"/>
                </a:cxn>
                <a:cxn ang="0">
                  <a:pos x="494" y="287"/>
                </a:cxn>
                <a:cxn ang="0">
                  <a:pos x="513" y="295"/>
                </a:cxn>
                <a:cxn ang="0">
                  <a:pos x="529" y="313"/>
                </a:cxn>
                <a:cxn ang="0">
                  <a:pos x="534" y="342"/>
                </a:cxn>
                <a:cxn ang="0">
                  <a:pos x="535" y="354"/>
                </a:cxn>
                <a:cxn ang="0">
                  <a:pos x="553" y="377"/>
                </a:cxn>
                <a:cxn ang="0">
                  <a:pos x="553" y="367"/>
                </a:cxn>
                <a:cxn ang="0">
                  <a:pos x="568" y="381"/>
                </a:cxn>
              </a:cxnLst>
              <a:rect l="0" t="0" r="r" b="b"/>
              <a:pathLst>
                <a:path w="568" h="492">
                  <a:moveTo>
                    <a:pt x="568" y="381"/>
                  </a:moveTo>
                  <a:lnTo>
                    <a:pt x="566" y="391"/>
                  </a:lnTo>
                  <a:lnTo>
                    <a:pt x="563" y="393"/>
                  </a:lnTo>
                  <a:lnTo>
                    <a:pt x="563" y="395"/>
                  </a:lnTo>
                  <a:lnTo>
                    <a:pt x="564" y="398"/>
                  </a:lnTo>
                  <a:lnTo>
                    <a:pt x="568" y="398"/>
                  </a:lnTo>
                  <a:lnTo>
                    <a:pt x="568" y="401"/>
                  </a:lnTo>
                  <a:lnTo>
                    <a:pt x="566" y="403"/>
                  </a:lnTo>
                  <a:lnTo>
                    <a:pt x="563" y="403"/>
                  </a:lnTo>
                  <a:lnTo>
                    <a:pt x="561" y="407"/>
                  </a:lnTo>
                  <a:lnTo>
                    <a:pt x="561" y="408"/>
                  </a:lnTo>
                  <a:lnTo>
                    <a:pt x="564" y="412"/>
                  </a:lnTo>
                  <a:lnTo>
                    <a:pt x="564" y="413"/>
                  </a:lnTo>
                  <a:lnTo>
                    <a:pt x="563" y="417"/>
                  </a:lnTo>
                  <a:lnTo>
                    <a:pt x="561" y="422"/>
                  </a:lnTo>
                  <a:lnTo>
                    <a:pt x="559" y="424"/>
                  </a:lnTo>
                  <a:lnTo>
                    <a:pt x="556" y="424"/>
                  </a:lnTo>
                  <a:lnTo>
                    <a:pt x="553" y="418"/>
                  </a:lnTo>
                  <a:lnTo>
                    <a:pt x="551" y="418"/>
                  </a:lnTo>
                  <a:lnTo>
                    <a:pt x="549" y="418"/>
                  </a:lnTo>
                  <a:lnTo>
                    <a:pt x="547" y="418"/>
                  </a:lnTo>
                  <a:lnTo>
                    <a:pt x="544" y="430"/>
                  </a:lnTo>
                  <a:lnTo>
                    <a:pt x="546" y="432"/>
                  </a:lnTo>
                  <a:lnTo>
                    <a:pt x="542" y="437"/>
                  </a:lnTo>
                  <a:lnTo>
                    <a:pt x="541" y="437"/>
                  </a:lnTo>
                  <a:lnTo>
                    <a:pt x="539" y="436"/>
                  </a:lnTo>
                  <a:lnTo>
                    <a:pt x="541" y="432"/>
                  </a:lnTo>
                  <a:lnTo>
                    <a:pt x="539" y="432"/>
                  </a:lnTo>
                  <a:lnTo>
                    <a:pt x="541" y="429"/>
                  </a:lnTo>
                  <a:lnTo>
                    <a:pt x="539" y="427"/>
                  </a:lnTo>
                  <a:lnTo>
                    <a:pt x="537" y="425"/>
                  </a:lnTo>
                  <a:lnTo>
                    <a:pt x="535" y="425"/>
                  </a:lnTo>
                  <a:lnTo>
                    <a:pt x="532" y="427"/>
                  </a:lnTo>
                  <a:lnTo>
                    <a:pt x="532" y="429"/>
                  </a:lnTo>
                  <a:lnTo>
                    <a:pt x="532" y="430"/>
                  </a:lnTo>
                  <a:lnTo>
                    <a:pt x="535" y="432"/>
                  </a:lnTo>
                  <a:lnTo>
                    <a:pt x="537" y="436"/>
                  </a:lnTo>
                  <a:lnTo>
                    <a:pt x="534" y="439"/>
                  </a:lnTo>
                  <a:lnTo>
                    <a:pt x="537" y="442"/>
                  </a:lnTo>
                  <a:lnTo>
                    <a:pt x="537" y="448"/>
                  </a:lnTo>
                  <a:lnTo>
                    <a:pt x="535" y="449"/>
                  </a:lnTo>
                  <a:lnTo>
                    <a:pt x="530" y="449"/>
                  </a:lnTo>
                  <a:lnTo>
                    <a:pt x="529" y="451"/>
                  </a:lnTo>
                  <a:lnTo>
                    <a:pt x="530" y="454"/>
                  </a:lnTo>
                  <a:lnTo>
                    <a:pt x="535" y="456"/>
                  </a:lnTo>
                  <a:lnTo>
                    <a:pt x="537" y="458"/>
                  </a:lnTo>
                  <a:lnTo>
                    <a:pt x="535" y="460"/>
                  </a:lnTo>
                  <a:lnTo>
                    <a:pt x="530" y="461"/>
                  </a:lnTo>
                  <a:lnTo>
                    <a:pt x="525" y="460"/>
                  </a:lnTo>
                  <a:lnTo>
                    <a:pt x="523" y="460"/>
                  </a:lnTo>
                  <a:lnTo>
                    <a:pt x="523" y="461"/>
                  </a:lnTo>
                  <a:lnTo>
                    <a:pt x="525" y="463"/>
                  </a:lnTo>
                  <a:lnTo>
                    <a:pt x="530" y="468"/>
                  </a:lnTo>
                  <a:lnTo>
                    <a:pt x="532" y="470"/>
                  </a:lnTo>
                  <a:lnTo>
                    <a:pt x="532" y="473"/>
                  </a:lnTo>
                  <a:lnTo>
                    <a:pt x="527" y="477"/>
                  </a:lnTo>
                  <a:lnTo>
                    <a:pt x="525" y="478"/>
                  </a:lnTo>
                  <a:lnTo>
                    <a:pt x="525" y="485"/>
                  </a:lnTo>
                  <a:lnTo>
                    <a:pt x="522" y="487"/>
                  </a:lnTo>
                  <a:lnTo>
                    <a:pt x="501" y="489"/>
                  </a:lnTo>
                  <a:lnTo>
                    <a:pt x="474" y="492"/>
                  </a:lnTo>
                  <a:lnTo>
                    <a:pt x="465" y="492"/>
                  </a:lnTo>
                  <a:lnTo>
                    <a:pt x="470" y="482"/>
                  </a:lnTo>
                  <a:lnTo>
                    <a:pt x="474" y="478"/>
                  </a:lnTo>
                  <a:lnTo>
                    <a:pt x="476" y="478"/>
                  </a:lnTo>
                  <a:lnTo>
                    <a:pt x="477" y="475"/>
                  </a:lnTo>
                  <a:lnTo>
                    <a:pt x="477" y="473"/>
                  </a:lnTo>
                  <a:lnTo>
                    <a:pt x="479" y="471"/>
                  </a:lnTo>
                  <a:lnTo>
                    <a:pt x="482" y="468"/>
                  </a:lnTo>
                  <a:lnTo>
                    <a:pt x="486" y="466"/>
                  </a:lnTo>
                  <a:lnTo>
                    <a:pt x="488" y="461"/>
                  </a:lnTo>
                  <a:lnTo>
                    <a:pt x="491" y="460"/>
                  </a:lnTo>
                  <a:lnTo>
                    <a:pt x="493" y="458"/>
                  </a:lnTo>
                  <a:lnTo>
                    <a:pt x="491" y="454"/>
                  </a:lnTo>
                  <a:lnTo>
                    <a:pt x="491" y="451"/>
                  </a:lnTo>
                  <a:lnTo>
                    <a:pt x="491" y="448"/>
                  </a:lnTo>
                  <a:lnTo>
                    <a:pt x="489" y="448"/>
                  </a:lnTo>
                  <a:lnTo>
                    <a:pt x="486" y="446"/>
                  </a:lnTo>
                  <a:lnTo>
                    <a:pt x="484" y="444"/>
                  </a:lnTo>
                  <a:lnTo>
                    <a:pt x="486" y="441"/>
                  </a:lnTo>
                  <a:lnTo>
                    <a:pt x="484" y="441"/>
                  </a:lnTo>
                  <a:lnTo>
                    <a:pt x="482" y="437"/>
                  </a:lnTo>
                  <a:lnTo>
                    <a:pt x="476" y="437"/>
                  </a:lnTo>
                  <a:lnTo>
                    <a:pt x="445" y="439"/>
                  </a:lnTo>
                  <a:lnTo>
                    <a:pt x="426" y="441"/>
                  </a:lnTo>
                  <a:lnTo>
                    <a:pt x="399" y="442"/>
                  </a:lnTo>
                  <a:lnTo>
                    <a:pt x="375" y="442"/>
                  </a:lnTo>
                  <a:lnTo>
                    <a:pt x="371" y="442"/>
                  </a:lnTo>
                  <a:lnTo>
                    <a:pt x="351" y="444"/>
                  </a:lnTo>
                  <a:lnTo>
                    <a:pt x="313" y="446"/>
                  </a:lnTo>
                  <a:lnTo>
                    <a:pt x="312" y="446"/>
                  </a:lnTo>
                  <a:lnTo>
                    <a:pt x="279" y="448"/>
                  </a:lnTo>
                  <a:lnTo>
                    <a:pt x="257" y="448"/>
                  </a:lnTo>
                  <a:lnTo>
                    <a:pt x="252" y="448"/>
                  </a:lnTo>
                  <a:lnTo>
                    <a:pt x="212" y="449"/>
                  </a:lnTo>
                  <a:lnTo>
                    <a:pt x="211" y="449"/>
                  </a:lnTo>
                  <a:lnTo>
                    <a:pt x="187" y="449"/>
                  </a:lnTo>
                  <a:lnTo>
                    <a:pt x="165" y="451"/>
                  </a:lnTo>
                  <a:lnTo>
                    <a:pt x="146" y="451"/>
                  </a:lnTo>
                  <a:lnTo>
                    <a:pt x="100" y="451"/>
                  </a:lnTo>
                  <a:lnTo>
                    <a:pt x="100" y="432"/>
                  </a:lnTo>
                  <a:lnTo>
                    <a:pt x="100" y="422"/>
                  </a:lnTo>
                  <a:lnTo>
                    <a:pt x="100" y="396"/>
                  </a:lnTo>
                  <a:lnTo>
                    <a:pt x="100" y="389"/>
                  </a:lnTo>
                  <a:lnTo>
                    <a:pt x="100" y="360"/>
                  </a:lnTo>
                  <a:lnTo>
                    <a:pt x="100" y="357"/>
                  </a:lnTo>
                  <a:lnTo>
                    <a:pt x="98" y="326"/>
                  </a:lnTo>
                  <a:lnTo>
                    <a:pt x="98" y="323"/>
                  </a:lnTo>
                  <a:lnTo>
                    <a:pt x="98" y="285"/>
                  </a:lnTo>
                  <a:lnTo>
                    <a:pt x="98" y="282"/>
                  </a:lnTo>
                  <a:lnTo>
                    <a:pt x="98" y="246"/>
                  </a:lnTo>
                  <a:lnTo>
                    <a:pt x="96" y="237"/>
                  </a:lnTo>
                  <a:lnTo>
                    <a:pt x="98" y="208"/>
                  </a:lnTo>
                  <a:lnTo>
                    <a:pt x="96" y="198"/>
                  </a:lnTo>
                  <a:lnTo>
                    <a:pt x="96" y="176"/>
                  </a:lnTo>
                  <a:lnTo>
                    <a:pt x="96" y="169"/>
                  </a:lnTo>
                  <a:lnTo>
                    <a:pt x="98" y="166"/>
                  </a:lnTo>
                  <a:lnTo>
                    <a:pt x="96" y="164"/>
                  </a:lnTo>
                  <a:lnTo>
                    <a:pt x="94" y="164"/>
                  </a:lnTo>
                  <a:lnTo>
                    <a:pt x="91" y="162"/>
                  </a:lnTo>
                  <a:lnTo>
                    <a:pt x="86" y="162"/>
                  </a:lnTo>
                  <a:lnTo>
                    <a:pt x="83" y="159"/>
                  </a:lnTo>
                  <a:lnTo>
                    <a:pt x="79" y="159"/>
                  </a:lnTo>
                  <a:lnTo>
                    <a:pt x="77" y="152"/>
                  </a:lnTo>
                  <a:lnTo>
                    <a:pt x="74" y="150"/>
                  </a:lnTo>
                  <a:lnTo>
                    <a:pt x="72" y="147"/>
                  </a:lnTo>
                  <a:lnTo>
                    <a:pt x="72" y="143"/>
                  </a:lnTo>
                  <a:lnTo>
                    <a:pt x="72" y="140"/>
                  </a:lnTo>
                  <a:lnTo>
                    <a:pt x="71" y="140"/>
                  </a:lnTo>
                  <a:lnTo>
                    <a:pt x="67" y="137"/>
                  </a:lnTo>
                  <a:lnTo>
                    <a:pt x="65" y="133"/>
                  </a:lnTo>
                  <a:lnTo>
                    <a:pt x="60" y="131"/>
                  </a:lnTo>
                  <a:lnTo>
                    <a:pt x="60" y="128"/>
                  </a:lnTo>
                  <a:lnTo>
                    <a:pt x="55" y="123"/>
                  </a:lnTo>
                  <a:lnTo>
                    <a:pt x="55" y="121"/>
                  </a:lnTo>
                  <a:lnTo>
                    <a:pt x="60" y="118"/>
                  </a:lnTo>
                  <a:lnTo>
                    <a:pt x="59" y="113"/>
                  </a:lnTo>
                  <a:lnTo>
                    <a:pt x="62" y="109"/>
                  </a:lnTo>
                  <a:lnTo>
                    <a:pt x="65" y="107"/>
                  </a:lnTo>
                  <a:lnTo>
                    <a:pt x="67" y="102"/>
                  </a:lnTo>
                  <a:lnTo>
                    <a:pt x="67" y="101"/>
                  </a:lnTo>
                  <a:lnTo>
                    <a:pt x="69" y="102"/>
                  </a:lnTo>
                  <a:lnTo>
                    <a:pt x="72" y="102"/>
                  </a:lnTo>
                  <a:lnTo>
                    <a:pt x="74" y="101"/>
                  </a:lnTo>
                  <a:lnTo>
                    <a:pt x="74" y="99"/>
                  </a:lnTo>
                  <a:lnTo>
                    <a:pt x="74" y="99"/>
                  </a:lnTo>
                  <a:lnTo>
                    <a:pt x="71" y="99"/>
                  </a:lnTo>
                  <a:lnTo>
                    <a:pt x="69" y="97"/>
                  </a:lnTo>
                  <a:lnTo>
                    <a:pt x="69" y="96"/>
                  </a:lnTo>
                  <a:lnTo>
                    <a:pt x="72" y="96"/>
                  </a:lnTo>
                  <a:lnTo>
                    <a:pt x="72" y="92"/>
                  </a:lnTo>
                  <a:lnTo>
                    <a:pt x="72" y="92"/>
                  </a:lnTo>
                  <a:lnTo>
                    <a:pt x="71" y="90"/>
                  </a:lnTo>
                  <a:lnTo>
                    <a:pt x="69" y="89"/>
                  </a:lnTo>
                  <a:lnTo>
                    <a:pt x="69" y="84"/>
                  </a:lnTo>
                  <a:lnTo>
                    <a:pt x="67" y="84"/>
                  </a:lnTo>
                  <a:lnTo>
                    <a:pt x="62" y="84"/>
                  </a:lnTo>
                  <a:lnTo>
                    <a:pt x="60" y="85"/>
                  </a:lnTo>
                  <a:lnTo>
                    <a:pt x="59" y="87"/>
                  </a:lnTo>
                  <a:lnTo>
                    <a:pt x="55" y="87"/>
                  </a:lnTo>
                  <a:lnTo>
                    <a:pt x="52" y="84"/>
                  </a:lnTo>
                  <a:lnTo>
                    <a:pt x="48" y="84"/>
                  </a:lnTo>
                  <a:lnTo>
                    <a:pt x="47" y="80"/>
                  </a:lnTo>
                  <a:lnTo>
                    <a:pt x="43" y="80"/>
                  </a:lnTo>
                  <a:lnTo>
                    <a:pt x="38" y="73"/>
                  </a:lnTo>
                  <a:lnTo>
                    <a:pt x="35" y="70"/>
                  </a:lnTo>
                  <a:lnTo>
                    <a:pt x="33" y="70"/>
                  </a:lnTo>
                  <a:lnTo>
                    <a:pt x="31" y="68"/>
                  </a:lnTo>
                  <a:lnTo>
                    <a:pt x="30" y="68"/>
                  </a:lnTo>
                  <a:lnTo>
                    <a:pt x="31" y="65"/>
                  </a:lnTo>
                  <a:lnTo>
                    <a:pt x="31" y="63"/>
                  </a:lnTo>
                  <a:lnTo>
                    <a:pt x="31" y="61"/>
                  </a:lnTo>
                  <a:lnTo>
                    <a:pt x="30" y="60"/>
                  </a:lnTo>
                  <a:lnTo>
                    <a:pt x="26" y="54"/>
                  </a:lnTo>
                  <a:lnTo>
                    <a:pt x="26" y="49"/>
                  </a:lnTo>
                  <a:lnTo>
                    <a:pt x="24" y="49"/>
                  </a:lnTo>
                  <a:lnTo>
                    <a:pt x="19" y="44"/>
                  </a:lnTo>
                  <a:lnTo>
                    <a:pt x="14" y="39"/>
                  </a:lnTo>
                  <a:lnTo>
                    <a:pt x="11" y="39"/>
                  </a:lnTo>
                  <a:lnTo>
                    <a:pt x="11" y="39"/>
                  </a:lnTo>
                  <a:lnTo>
                    <a:pt x="12" y="37"/>
                  </a:lnTo>
                  <a:lnTo>
                    <a:pt x="12" y="36"/>
                  </a:lnTo>
                  <a:lnTo>
                    <a:pt x="12" y="34"/>
                  </a:lnTo>
                  <a:lnTo>
                    <a:pt x="11" y="31"/>
                  </a:lnTo>
                  <a:lnTo>
                    <a:pt x="7" y="20"/>
                  </a:lnTo>
                  <a:lnTo>
                    <a:pt x="7" y="19"/>
                  </a:lnTo>
                  <a:lnTo>
                    <a:pt x="9" y="15"/>
                  </a:lnTo>
                  <a:lnTo>
                    <a:pt x="9" y="13"/>
                  </a:lnTo>
                  <a:lnTo>
                    <a:pt x="7" y="12"/>
                  </a:lnTo>
                  <a:lnTo>
                    <a:pt x="7" y="13"/>
                  </a:lnTo>
                  <a:lnTo>
                    <a:pt x="7" y="17"/>
                  </a:lnTo>
                  <a:lnTo>
                    <a:pt x="4" y="15"/>
                  </a:lnTo>
                  <a:lnTo>
                    <a:pt x="0" y="13"/>
                  </a:lnTo>
                  <a:lnTo>
                    <a:pt x="0" y="10"/>
                  </a:lnTo>
                  <a:lnTo>
                    <a:pt x="31" y="10"/>
                  </a:lnTo>
                  <a:lnTo>
                    <a:pt x="45" y="10"/>
                  </a:lnTo>
                  <a:lnTo>
                    <a:pt x="69" y="10"/>
                  </a:lnTo>
                  <a:lnTo>
                    <a:pt x="93" y="10"/>
                  </a:lnTo>
                  <a:lnTo>
                    <a:pt x="105" y="10"/>
                  </a:lnTo>
                  <a:lnTo>
                    <a:pt x="125" y="10"/>
                  </a:lnTo>
                  <a:lnTo>
                    <a:pt x="142" y="10"/>
                  </a:lnTo>
                  <a:lnTo>
                    <a:pt x="161" y="8"/>
                  </a:lnTo>
                  <a:lnTo>
                    <a:pt x="180" y="8"/>
                  </a:lnTo>
                  <a:lnTo>
                    <a:pt x="195" y="8"/>
                  </a:lnTo>
                  <a:lnTo>
                    <a:pt x="216" y="7"/>
                  </a:lnTo>
                  <a:lnTo>
                    <a:pt x="248" y="5"/>
                  </a:lnTo>
                  <a:lnTo>
                    <a:pt x="253" y="5"/>
                  </a:lnTo>
                  <a:lnTo>
                    <a:pt x="276" y="3"/>
                  </a:lnTo>
                  <a:lnTo>
                    <a:pt x="289" y="2"/>
                  </a:lnTo>
                  <a:lnTo>
                    <a:pt x="310" y="0"/>
                  </a:lnTo>
                  <a:lnTo>
                    <a:pt x="327" y="0"/>
                  </a:lnTo>
                  <a:lnTo>
                    <a:pt x="329" y="2"/>
                  </a:lnTo>
                  <a:lnTo>
                    <a:pt x="330" y="3"/>
                  </a:lnTo>
                  <a:lnTo>
                    <a:pt x="330" y="7"/>
                  </a:lnTo>
                  <a:lnTo>
                    <a:pt x="337" y="8"/>
                  </a:lnTo>
                  <a:lnTo>
                    <a:pt x="337" y="10"/>
                  </a:lnTo>
                  <a:lnTo>
                    <a:pt x="339" y="13"/>
                  </a:lnTo>
                  <a:lnTo>
                    <a:pt x="341" y="15"/>
                  </a:lnTo>
                  <a:lnTo>
                    <a:pt x="344" y="15"/>
                  </a:lnTo>
                  <a:lnTo>
                    <a:pt x="344" y="17"/>
                  </a:lnTo>
                  <a:lnTo>
                    <a:pt x="344" y="19"/>
                  </a:lnTo>
                  <a:lnTo>
                    <a:pt x="344" y="20"/>
                  </a:lnTo>
                  <a:lnTo>
                    <a:pt x="347" y="20"/>
                  </a:lnTo>
                  <a:lnTo>
                    <a:pt x="347" y="22"/>
                  </a:lnTo>
                  <a:lnTo>
                    <a:pt x="349" y="22"/>
                  </a:lnTo>
                  <a:lnTo>
                    <a:pt x="351" y="24"/>
                  </a:lnTo>
                  <a:lnTo>
                    <a:pt x="349" y="31"/>
                  </a:lnTo>
                  <a:lnTo>
                    <a:pt x="347" y="37"/>
                  </a:lnTo>
                  <a:lnTo>
                    <a:pt x="347" y="43"/>
                  </a:lnTo>
                  <a:lnTo>
                    <a:pt x="347" y="49"/>
                  </a:lnTo>
                  <a:lnTo>
                    <a:pt x="347" y="58"/>
                  </a:lnTo>
                  <a:lnTo>
                    <a:pt x="349" y="65"/>
                  </a:lnTo>
                  <a:lnTo>
                    <a:pt x="354" y="70"/>
                  </a:lnTo>
                  <a:lnTo>
                    <a:pt x="354" y="73"/>
                  </a:lnTo>
                  <a:lnTo>
                    <a:pt x="354" y="75"/>
                  </a:lnTo>
                  <a:lnTo>
                    <a:pt x="354" y="77"/>
                  </a:lnTo>
                  <a:lnTo>
                    <a:pt x="354" y="78"/>
                  </a:lnTo>
                  <a:lnTo>
                    <a:pt x="359" y="85"/>
                  </a:lnTo>
                  <a:lnTo>
                    <a:pt x="361" y="90"/>
                  </a:lnTo>
                  <a:lnTo>
                    <a:pt x="361" y="94"/>
                  </a:lnTo>
                  <a:lnTo>
                    <a:pt x="366" y="97"/>
                  </a:lnTo>
                  <a:lnTo>
                    <a:pt x="375" y="106"/>
                  </a:lnTo>
                  <a:lnTo>
                    <a:pt x="380" y="111"/>
                  </a:lnTo>
                  <a:lnTo>
                    <a:pt x="385" y="114"/>
                  </a:lnTo>
                  <a:lnTo>
                    <a:pt x="387" y="119"/>
                  </a:lnTo>
                  <a:lnTo>
                    <a:pt x="390" y="123"/>
                  </a:lnTo>
                  <a:lnTo>
                    <a:pt x="397" y="126"/>
                  </a:lnTo>
                  <a:lnTo>
                    <a:pt x="406" y="131"/>
                  </a:lnTo>
                  <a:lnTo>
                    <a:pt x="412" y="138"/>
                  </a:lnTo>
                  <a:lnTo>
                    <a:pt x="416" y="143"/>
                  </a:lnTo>
                  <a:lnTo>
                    <a:pt x="416" y="145"/>
                  </a:lnTo>
                  <a:lnTo>
                    <a:pt x="417" y="148"/>
                  </a:lnTo>
                  <a:lnTo>
                    <a:pt x="417" y="154"/>
                  </a:lnTo>
                  <a:lnTo>
                    <a:pt x="421" y="159"/>
                  </a:lnTo>
                  <a:lnTo>
                    <a:pt x="419" y="162"/>
                  </a:lnTo>
                  <a:lnTo>
                    <a:pt x="419" y="166"/>
                  </a:lnTo>
                  <a:lnTo>
                    <a:pt x="423" y="176"/>
                  </a:lnTo>
                  <a:lnTo>
                    <a:pt x="428" y="181"/>
                  </a:lnTo>
                  <a:lnTo>
                    <a:pt x="431" y="183"/>
                  </a:lnTo>
                  <a:lnTo>
                    <a:pt x="435" y="179"/>
                  </a:lnTo>
                  <a:lnTo>
                    <a:pt x="440" y="172"/>
                  </a:lnTo>
                  <a:lnTo>
                    <a:pt x="445" y="172"/>
                  </a:lnTo>
                  <a:lnTo>
                    <a:pt x="452" y="176"/>
                  </a:lnTo>
                  <a:lnTo>
                    <a:pt x="455" y="176"/>
                  </a:lnTo>
                  <a:lnTo>
                    <a:pt x="459" y="176"/>
                  </a:lnTo>
                  <a:lnTo>
                    <a:pt x="469" y="183"/>
                  </a:lnTo>
                  <a:lnTo>
                    <a:pt x="470" y="184"/>
                  </a:lnTo>
                  <a:lnTo>
                    <a:pt x="469" y="188"/>
                  </a:lnTo>
                  <a:lnTo>
                    <a:pt x="469" y="190"/>
                  </a:lnTo>
                  <a:lnTo>
                    <a:pt x="465" y="191"/>
                  </a:lnTo>
                  <a:lnTo>
                    <a:pt x="464" y="196"/>
                  </a:lnTo>
                  <a:lnTo>
                    <a:pt x="464" y="200"/>
                  </a:lnTo>
                  <a:lnTo>
                    <a:pt x="465" y="203"/>
                  </a:lnTo>
                  <a:lnTo>
                    <a:pt x="465" y="208"/>
                  </a:lnTo>
                  <a:lnTo>
                    <a:pt x="460" y="213"/>
                  </a:lnTo>
                  <a:lnTo>
                    <a:pt x="460" y="217"/>
                  </a:lnTo>
                  <a:lnTo>
                    <a:pt x="459" y="219"/>
                  </a:lnTo>
                  <a:lnTo>
                    <a:pt x="457" y="229"/>
                  </a:lnTo>
                  <a:lnTo>
                    <a:pt x="453" y="234"/>
                  </a:lnTo>
                  <a:lnTo>
                    <a:pt x="452" y="236"/>
                  </a:lnTo>
                  <a:lnTo>
                    <a:pt x="452" y="241"/>
                  </a:lnTo>
                  <a:lnTo>
                    <a:pt x="453" y="249"/>
                  </a:lnTo>
                  <a:lnTo>
                    <a:pt x="455" y="254"/>
                  </a:lnTo>
                  <a:lnTo>
                    <a:pt x="460" y="258"/>
                  </a:lnTo>
                  <a:lnTo>
                    <a:pt x="462" y="261"/>
                  </a:lnTo>
                  <a:lnTo>
                    <a:pt x="467" y="265"/>
                  </a:lnTo>
                  <a:lnTo>
                    <a:pt x="474" y="268"/>
                  </a:lnTo>
                  <a:lnTo>
                    <a:pt x="474" y="272"/>
                  </a:lnTo>
                  <a:lnTo>
                    <a:pt x="481" y="275"/>
                  </a:lnTo>
                  <a:lnTo>
                    <a:pt x="484" y="277"/>
                  </a:lnTo>
                  <a:lnTo>
                    <a:pt x="489" y="277"/>
                  </a:lnTo>
                  <a:lnTo>
                    <a:pt x="488" y="283"/>
                  </a:lnTo>
                  <a:lnTo>
                    <a:pt x="491" y="287"/>
                  </a:lnTo>
                  <a:lnTo>
                    <a:pt x="494" y="287"/>
                  </a:lnTo>
                  <a:lnTo>
                    <a:pt x="496" y="285"/>
                  </a:lnTo>
                  <a:lnTo>
                    <a:pt x="498" y="283"/>
                  </a:lnTo>
                  <a:lnTo>
                    <a:pt x="498" y="283"/>
                  </a:lnTo>
                  <a:lnTo>
                    <a:pt x="508" y="289"/>
                  </a:lnTo>
                  <a:lnTo>
                    <a:pt x="511" y="294"/>
                  </a:lnTo>
                  <a:lnTo>
                    <a:pt x="513" y="295"/>
                  </a:lnTo>
                  <a:lnTo>
                    <a:pt x="515" y="299"/>
                  </a:lnTo>
                  <a:lnTo>
                    <a:pt x="522" y="302"/>
                  </a:lnTo>
                  <a:lnTo>
                    <a:pt x="527" y="304"/>
                  </a:lnTo>
                  <a:lnTo>
                    <a:pt x="529" y="306"/>
                  </a:lnTo>
                  <a:lnTo>
                    <a:pt x="527" y="309"/>
                  </a:lnTo>
                  <a:lnTo>
                    <a:pt x="529" y="313"/>
                  </a:lnTo>
                  <a:lnTo>
                    <a:pt x="527" y="318"/>
                  </a:lnTo>
                  <a:lnTo>
                    <a:pt x="530" y="326"/>
                  </a:lnTo>
                  <a:lnTo>
                    <a:pt x="535" y="330"/>
                  </a:lnTo>
                  <a:lnTo>
                    <a:pt x="537" y="333"/>
                  </a:lnTo>
                  <a:lnTo>
                    <a:pt x="537" y="340"/>
                  </a:lnTo>
                  <a:lnTo>
                    <a:pt x="534" y="342"/>
                  </a:lnTo>
                  <a:lnTo>
                    <a:pt x="532" y="343"/>
                  </a:lnTo>
                  <a:lnTo>
                    <a:pt x="530" y="345"/>
                  </a:lnTo>
                  <a:lnTo>
                    <a:pt x="530" y="348"/>
                  </a:lnTo>
                  <a:lnTo>
                    <a:pt x="534" y="350"/>
                  </a:lnTo>
                  <a:lnTo>
                    <a:pt x="535" y="352"/>
                  </a:lnTo>
                  <a:lnTo>
                    <a:pt x="535" y="354"/>
                  </a:lnTo>
                  <a:lnTo>
                    <a:pt x="537" y="360"/>
                  </a:lnTo>
                  <a:lnTo>
                    <a:pt x="539" y="364"/>
                  </a:lnTo>
                  <a:lnTo>
                    <a:pt x="544" y="367"/>
                  </a:lnTo>
                  <a:lnTo>
                    <a:pt x="544" y="372"/>
                  </a:lnTo>
                  <a:lnTo>
                    <a:pt x="551" y="376"/>
                  </a:lnTo>
                  <a:lnTo>
                    <a:pt x="553" y="377"/>
                  </a:lnTo>
                  <a:lnTo>
                    <a:pt x="554" y="376"/>
                  </a:lnTo>
                  <a:lnTo>
                    <a:pt x="554" y="374"/>
                  </a:lnTo>
                  <a:lnTo>
                    <a:pt x="549" y="371"/>
                  </a:lnTo>
                  <a:lnTo>
                    <a:pt x="551" y="369"/>
                  </a:lnTo>
                  <a:lnTo>
                    <a:pt x="551" y="367"/>
                  </a:lnTo>
                  <a:lnTo>
                    <a:pt x="553" y="367"/>
                  </a:lnTo>
                  <a:lnTo>
                    <a:pt x="556" y="372"/>
                  </a:lnTo>
                  <a:lnTo>
                    <a:pt x="558" y="374"/>
                  </a:lnTo>
                  <a:lnTo>
                    <a:pt x="559" y="377"/>
                  </a:lnTo>
                  <a:lnTo>
                    <a:pt x="566" y="377"/>
                  </a:lnTo>
                  <a:lnTo>
                    <a:pt x="568" y="379"/>
                  </a:lnTo>
                  <a:lnTo>
                    <a:pt x="568" y="381"/>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45" name="Freeform 41">
              <a:extLst>
                <a:ext uri="{FF2B5EF4-FFF2-40B4-BE49-F238E27FC236}">
                  <a16:creationId xmlns:a16="http://schemas.microsoft.com/office/drawing/2014/main" id="{09950F09-C799-4E87-BD9F-4E2E806CCE19}"/>
                </a:ext>
              </a:extLst>
            </p:cNvPr>
            <p:cNvSpPr>
              <a:spLocks/>
            </p:cNvSpPr>
            <p:nvPr/>
          </p:nvSpPr>
          <p:spPr bwMode="gray">
            <a:xfrm>
              <a:off x="2550113" y="3875316"/>
              <a:ext cx="933952" cy="1080486"/>
            </a:xfrm>
            <a:custGeom>
              <a:avLst/>
              <a:gdLst/>
              <a:ahLst/>
              <a:cxnLst>
                <a:cxn ang="0">
                  <a:pos x="31" y="410"/>
                </a:cxn>
                <a:cxn ang="0">
                  <a:pos x="26" y="408"/>
                </a:cxn>
                <a:cxn ang="0">
                  <a:pos x="28" y="394"/>
                </a:cxn>
                <a:cxn ang="0">
                  <a:pos x="30" y="384"/>
                </a:cxn>
                <a:cxn ang="0">
                  <a:pos x="28" y="367"/>
                </a:cxn>
                <a:cxn ang="0">
                  <a:pos x="38" y="364"/>
                </a:cxn>
                <a:cxn ang="0">
                  <a:pos x="48" y="355"/>
                </a:cxn>
                <a:cxn ang="0">
                  <a:pos x="52" y="345"/>
                </a:cxn>
                <a:cxn ang="0">
                  <a:pos x="53" y="336"/>
                </a:cxn>
                <a:cxn ang="0">
                  <a:pos x="57" y="326"/>
                </a:cxn>
                <a:cxn ang="0">
                  <a:pos x="57" y="314"/>
                </a:cxn>
                <a:cxn ang="0">
                  <a:pos x="69" y="302"/>
                </a:cxn>
                <a:cxn ang="0">
                  <a:pos x="83" y="295"/>
                </a:cxn>
                <a:cxn ang="0">
                  <a:pos x="98" y="287"/>
                </a:cxn>
                <a:cxn ang="0">
                  <a:pos x="96" y="277"/>
                </a:cxn>
                <a:cxn ang="0">
                  <a:pos x="86" y="266"/>
                </a:cxn>
                <a:cxn ang="0">
                  <a:pos x="81" y="261"/>
                </a:cxn>
                <a:cxn ang="0">
                  <a:pos x="79" y="248"/>
                </a:cxn>
                <a:cxn ang="0">
                  <a:pos x="76" y="230"/>
                </a:cxn>
                <a:cxn ang="0">
                  <a:pos x="72" y="220"/>
                </a:cxn>
                <a:cxn ang="0">
                  <a:pos x="71" y="208"/>
                </a:cxn>
                <a:cxn ang="0">
                  <a:pos x="71" y="196"/>
                </a:cxn>
                <a:cxn ang="0">
                  <a:pos x="74" y="188"/>
                </a:cxn>
                <a:cxn ang="0">
                  <a:pos x="79" y="184"/>
                </a:cxn>
                <a:cxn ang="0">
                  <a:pos x="81" y="164"/>
                </a:cxn>
                <a:cxn ang="0">
                  <a:pos x="81" y="143"/>
                </a:cxn>
                <a:cxn ang="0">
                  <a:pos x="83" y="133"/>
                </a:cxn>
                <a:cxn ang="0">
                  <a:pos x="81" y="123"/>
                </a:cxn>
                <a:cxn ang="0">
                  <a:pos x="86" y="109"/>
                </a:cxn>
                <a:cxn ang="0">
                  <a:pos x="83" y="95"/>
                </a:cxn>
                <a:cxn ang="0">
                  <a:pos x="84" y="85"/>
                </a:cxn>
                <a:cxn ang="0">
                  <a:pos x="96" y="82"/>
                </a:cxn>
                <a:cxn ang="0">
                  <a:pos x="110" y="85"/>
                </a:cxn>
                <a:cxn ang="0">
                  <a:pos x="120" y="89"/>
                </a:cxn>
                <a:cxn ang="0">
                  <a:pos x="125" y="101"/>
                </a:cxn>
                <a:cxn ang="0">
                  <a:pos x="137" y="92"/>
                </a:cxn>
                <a:cxn ang="0">
                  <a:pos x="158" y="17"/>
                </a:cxn>
                <a:cxn ang="0">
                  <a:pos x="286" y="22"/>
                </a:cxn>
                <a:cxn ang="0">
                  <a:pos x="438" y="48"/>
                </a:cxn>
                <a:cxn ang="0">
                  <a:pos x="500" y="58"/>
                </a:cxn>
                <a:cxn ang="0">
                  <a:pos x="551" y="287"/>
                </a:cxn>
                <a:cxn ang="0">
                  <a:pos x="523" y="473"/>
                </a:cxn>
                <a:cxn ang="0">
                  <a:pos x="498" y="671"/>
                </a:cxn>
                <a:cxn ang="0">
                  <a:pos x="288" y="632"/>
                </a:cxn>
                <a:cxn ang="0">
                  <a:pos x="4" y="451"/>
                </a:cxn>
                <a:cxn ang="0">
                  <a:pos x="18" y="439"/>
                </a:cxn>
                <a:cxn ang="0">
                  <a:pos x="28" y="442"/>
                </a:cxn>
                <a:cxn ang="0">
                  <a:pos x="30" y="439"/>
                </a:cxn>
                <a:cxn ang="0">
                  <a:pos x="33" y="439"/>
                </a:cxn>
                <a:cxn ang="0">
                  <a:pos x="40" y="432"/>
                </a:cxn>
                <a:cxn ang="0">
                  <a:pos x="38" y="412"/>
                </a:cxn>
              </a:cxnLst>
              <a:rect l="0" t="0" r="r" b="b"/>
              <a:pathLst>
                <a:path w="580" h="671">
                  <a:moveTo>
                    <a:pt x="38" y="412"/>
                  </a:moveTo>
                  <a:lnTo>
                    <a:pt x="35" y="410"/>
                  </a:lnTo>
                  <a:lnTo>
                    <a:pt x="31" y="410"/>
                  </a:lnTo>
                  <a:lnTo>
                    <a:pt x="28" y="410"/>
                  </a:lnTo>
                  <a:lnTo>
                    <a:pt x="28" y="408"/>
                  </a:lnTo>
                  <a:lnTo>
                    <a:pt x="26" y="408"/>
                  </a:lnTo>
                  <a:lnTo>
                    <a:pt x="23" y="401"/>
                  </a:lnTo>
                  <a:lnTo>
                    <a:pt x="24" y="398"/>
                  </a:lnTo>
                  <a:lnTo>
                    <a:pt x="28" y="394"/>
                  </a:lnTo>
                  <a:lnTo>
                    <a:pt x="28" y="388"/>
                  </a:lnTo>
                  <a:lnTo>
                    <a:pt x="28" y="386"/>
                  </a:lnTo>
                  <a:lnTo>
                    <a:pt x="30" y="384"/>
                  </a:lnTo>
                  <a:lnTo>
                    <a:pt x="26" y="379"/>
                  </a:lnTo>
                  <a:lnTo>
                    <a:pt x="30" y="374"/>
                  </a:lnTo>
                  <a:lnTo>
                    <a:pt x="28" y="367"/>
                  </a:lnTo>
                  <a:lnTo>
                    <a:pt x="36" y="369"/>
                  </a:lnTo>
                  <a:lnTo>
                    <a:pt x="38" y="367"/>
                  </a:lnTo>
                  <a:lnTo>
                    <a:pt x="38" y="364"/>
                  </a:lnTo>
                  <a:lnTo>
                    <a:pt x="42" y="362"/>
                  </a:lnTo>
                  <a:lnTo>
                    <a:pt x="43" y="360"/>
                  </a:lnTo>
                  <a:lnTo>
                    <a:pt x="48" y="355"/>
                  </a:lnTo>
                  <a:lnTo>
                    <a:pt x="48" y="353"/>
                  </a:lnTo>
                  <a:lnTo>
                    <a:pt x="50" y="348"/>
                  </a:lnTo>
                  <a:lnTo>
                    <a:pt x="52" y="345"/>
                  </a:lnTo>
                  <a:lnTo>
                    <a:pt x="50" y="343"/>
                  </a:lnTo>
                  <a:lnTo>
                    <a:pt x="55" y="340"/>
                  </a:lnTo>
                  <a:lnTo>
                    <a:pt x="53" y="336"/>
                  </a:lnTo>
                  <a:lnTo>
                    <a:pt x="55" y="333"/>
                  </a:lnTo>
                  <a:lnTo>
                    <a:pt x="55" y="328"/>
                  </a:lnTo>
                  <a:lnTo>
                    <a:pt x="57" y="326"/>
                  </a:lnTo>
                  <a:lnTo>
                    <a:pt x="55" y="324"/>
                  </a:lnTo>
                  <a:lnTo>
                    <a:pt x="59" y="318"/>
                  </a:lnTo>
                  <a:lnTo>
                    <a:pt x="57" y="314"/>
                  </a:lnTo>
                  <a:lnTo>
                    <a:pt x="59" y="312"/>
                  </a:lnTo>
                  <a:lnTo>
                    <a:pt x="67" y="307"/>
                  </a:lnTo>
                  <a:lnTo>
                    <a:pt x="69" y="302"/>
                  </a:lnTo>
                  <a:lnTo>
                    <a:pt x="71" y="300"/>
                  </a:lnTo>
                  <a:lnTo>
                    <a:pt x="79" y="297"/>
                  </a:lnTo>
                  <a:lnTo>
                    <a:pt x="83" y="295"/>
                  </a:lnTo>
                  <a:lnTo>
                    <a:pt x="88" y="294"/>
                  </a:lnTo>
                  <a:lnTo>
                    <a:pt x="96" y="287"/>
                  </a:lnTo>
                  <a:lnTo>
                    <a:pt x="98" y="287"/>
                  </a:lnTo>
                  <a:lnTo>
                    <a:pt x="98" y="282"/>
                  </a:lnTo>
                  <a:lnTo>
                    <a:pt x="98" y="280"/>
                  </a:lnTo>
                  <a:lnTo>
                    <a:pt x="96" y="277"/>
                  </a:lnTo>
                  <a:lnTo>
                    <a:pt x="89" y="271"/>
                  </a:lnTo>
                  <a:lnTo>
                    <a:pt x="88" y="270"/>
                  </a:lnTo>
                  <a:lnTo>
                    <a:pt x="86" y="266"/>
                  </a:lnTo>
                  <a:lnTo>
                    <a:pt x="84" y="265"/>
                  </a:lnTo>
                  <a:lnTo>
                    <a:pt x="81" y="263"/>
                  </a:lnTo>
                  <a:lnTo>
                    <a:pt x="81" y="261"/>
                  </a:lnTo>
                  <a:lnTo>
                    <a:pt x="83" y="254"/>
                  </a:lnTo>
                  <a:lnTo>
                    <a:pt x="81" y="249"/>
                  </a:lnTo>
                  <a:lnTo>
                    <a:pt x="79" y="248"/>
                  </a:lnTo>
                  <a:lnTo>
                    <a:pt x="81" y="246"/>
                  </a:lnTo>
                  <a:lnTo>
                    <a:pt x="79" y="236"/>
                  </a:lnTo>
                  <a:lnTo>
                    <a:pt x="76" y="230"/>
                  </a:lnTo>
                  <a:lnTo>
                    <a:pt x="74" y="230"/>
                  </a:lnTo>
                  <a:lnTo>
                    <a:pt x="72" y="229"/>
                  </a:lnTo>
                  <a:lnTo>
                    <a:pt x="72" y="220"/>
                  </a:lnTo>
                  <a:lnTo>
                    <a:pt x="67" y="215"/>
                  </a:lnTo>
                  <a:lnTo>
                    <a:pt x="69" y="210"/>
                  </a:lnTo>
                  <a:lnTo>
                    <a:pt x="71" y="208"/>
                  </a:lnTo>
                  <a:lnTo>
                    <a:pt x="71" y="201"/>
                  </a:lnTo>
                  <a:lnTo>
                    <a:pt x="71" y="201"/>
                  </a:lnTo>
                  <a:lnTo>
                    <a:pt x="71" y="196"/>
                  </a:lnTo>
                  <a:lnTo>
                    <a:pt x="74" y="195"/>
                  </a:lnTo>
                  <a:lnTo>
                    <a:pt x="72" y="189"/>
                  </a:lnTo>
                  <a:lnTo>
                    <a:pt x="74" y="188"/>
                  </a:lnTo>
                  <a:lnTo>
                    <a:pt x="77" y="188"/>
                  </a:lnTo>
                  <a:lnTo>
                    <a:pt x="77" y="188"/>
                  </a:lnTo>
                  <a:lnTo>
                    <a:pt x="79" y="184"/>
                  </a:lnTo>
                  <a:lnTo>
                    <a:pt x="81" y="179"/>
                  </a:lnTo>
                  <a:lnTo>
                    <a:pt x="81" y="171"/>
                  </a:lnTo>
                  <a:lnTo>
                    <a:pt x="81" y="164"/>
                  </a:lnTo>
                  <a:lnTo>
                    <a:pt x="79" y="154"/>
                  </a:lnTo>
                  <a:lnTo>
                    <a:pt x="77" y="147"/>
                  </a:lnTo>
                  <a:lnTo>
                    <a:pt x="81" y="143"/>
                  </a:lnTo>
                  <a:lnTo>
                    <a:pt x="81" y="140"/>
                  </a:lnTo>
                  <a:lnTo>
                    <a:pt x="83" y="136"/>
                  </a:lnTo>
                  <a:lnTo>
                    <a:pt x="83" y="133"/>
                  </a:lnTo>
                  <a:lnTo>
                    <a:pt x="81" y="131"/>
                  </a:lnTo>
                  <a:lnTo>
                    <a:pt x="83" y="128"/>
                  </a:lnTo>
                  <a:lnTo>
                    <a:pt x="81" y="123"/>
                  </a:lnTo>
                  <a:lnTo>
                    <a:pt x="83" y="119"/>
                  </a:lnTo>
                  <a:lnTo>
                    <a:pt x="83" y="111"/>
                  </a:lnTo>
                  <a:lnTo>
                    <a:pt x="86" y="109"/>
                  </a:lnTo>
                  <a:lnTo>
                    <a:pt x="86" y="107"/>
                  </a:lnTo>
                  <a:lnTo>
                    <a:pt x="84" y="104"/>
                  </a:lnTo>
                  <a:lnTo>
                    <a:pt x="83" y="95"/>
                  </a:lnTo>
                  <a:lnTo>
                    <a:pt x="84" y="90"/>
                  </a:lnTo>
                  <a:lnTo>
                    <a:pt x="84" y="89"/>
                  </a:lnTo>
                  <a:lnTo>
                    <a:pt x="84" y="85"/>
                  </a:lnTo>
                  <a:lnTo>
                    <a:pt x="86" y="83"/>
                  </a:lnTo>
                  <a:lnTo>
                    <a:pt x="94" y="80"/>
                  </a:lnTo>
                  <a:lnTo>
                    <a:pt x="96" y="82"/>
                  </a:lnTo>
                  <a:lnTo>
                    <a:pt x="103" y="82"/>
                  </a:lnTo>
                  <a:lnTo>
                    <a:pt x="108" y="85"/>
                  </a:lnTo>
                  <a:lnTo>
                    <a:pt x="110" y="85"/>
                  </a:lnTo>
                  <a:lnTo>
                    <a:pt x="115" y="83"/>
                  </a:lnTo>
                  <a:lnTo>
                    <a:pt x="118" y="85"/>
                  </a:lnTo>
                  <a:lnTo>
                    <a:pt x="120" y="89"/>
                  </a:lnTo>
                  <a:lnTo>
                    <a:pt x="120" y="92"/>
                  </a:lnTo>
                  <a:lnTo>
                    <a:pt x="120" y="94"/>
                  </a:lnTo>
                  <a:lnTo>
                    <a:pt x="125" y="101"/>
                  </a:lnTo>
                  <a:lnTo>
                    <a:pt x="127" y="101"/>
                  </a:lnTo>
                  <a:lnTo>
                    <a:pt x="134" y="99"/>
                  </a:lnTo>
                  <a:lnTo>
                    <a:pt x="137" y="92"/>
                  </a:lnTo>
                  <a:lnTo>
                    <a:pt x="144" y="85"/>
                  </a:lnTo>
                  <a:lnTo>
                    <a:pt x="146" y="82"/>
                  </a:lnTo>
                  <a:lnTo>
                    <a:pt x="158" y="17"/>
                  </a:lnTo>
                  <a:lnTo>
                    <a:pt x="161" y="0"/>
                  </a:lnTo>
                  <a:lnTo>
                    <a:pt x="257" y="17"/>
                  </a:lnTo>
                  <a:lnTo>
                    <a:pt x="286" y="22"/>
                  </a:lnTo>
                  <a:lnTo>
                    <a:pt x="312" y="27"/>
                  </a:lnTo>
                  <a:lnTo>
                    <a:pt x="387" y="39"/>
                  </a:lnTo>
                  <a:lnTo>
                    <a:pt x="438" y="48"/>
                  </a:lnTo>
                  <a:lnTo>
                    <a:pt x="460" y="51"/>
                  </a:lnTo>
                  <a:lnTo>
                    <a:pt x="462" y="53"/>
                  </a:lnTo>
                  <a:lnTo>
                    <a:pt x="500" y="58"/>
                  </a:lnTo>
                  <a:lnTo>
                    <a:pt x="580" y="68"/>
                  </a:lnTo>
                  <a:lnTo>
                    <a:pt x="566" y="176"/>
                  </a:lnTo>
                  <a:lnTo>
                    <a:pt x="551" y="287"/>
                  </a:lnTo>
                  <a:lnTo>
                    <a:pt x="544" y="326"/>
                  </a:lnTo>
                  <a:lnTo>
                    <a:pt x="532" y="412"/>
                  </a:lnTo>
                  <a:lnTo>
                    <a:pt x="523" y="473"/>
                  </a:lnTo>
                  <a:lnTo>
                    <a:pt x="518" y="519"/>
                  </a:lnTo>
                  <a:lnTo>
                    <a:pt x="513" y="555"/>
                  </a:lnTo>
                  <a:lnTo>
                    <a:pt x="498" y="671"/>
                  </a:lnTo>
                  <a:lnTo>
                    <a:pt x="370" y="654"/>
                  </a:lnTo>
                  <a:lnTo>
                    <a:pt x="313" y="646"/>
                  </a:lnTo>
                  <a:lnTo>
                    <a:pt x="288" y="632"/>
                  </a:lnTo>
                  <a:lnTo>
                    <a:pt x="124" y="536"/>
                  </a:lnTo>
                  <a:lnTo>
                    <a:pt x="0" y="463"/>
                  </a:lnTo>
                  <a:lnTo>
                    <a:pt x="4" y="451"/>
                  </a:lnTo>
                  <a:lnTo>
                    <a:pt x="14" y="441"/>
                  </a:lnTo>
                  <a:lnTo>
                    <a:pt x="16" y="439"/>
                  </a:lnTo>
                  <a:lnTo>
                    <a:pt x="18" y="439"/>
                  </a:lnTo>
                  <a:lnTo>
                    <a:pt x="24" y="442"/>
                  </a:lnTo>
                  <a:lnTo>
                    <a:pt x="24" y="441"/>
                  </a:lnTo>
                  <a:lnTo>
                    <a:pt x="28" y="442"/>
                  </a:lnTo>
                  <a:lnTo>
                    <a:pt x="28" y="441"/>
                  </a:lnTo>
                  <a:lnTo>
                    <a:pt x="30" y="441"/>
                  </a:lnTo>
                  <a:lnTo>
                    <a:pt x="30" y="439"/>
                  </a:lnTo>
                  <a:lnTo>
                    <a:pt x="31" y="439"/>
                  </a:lnTo>
                  <a:lnTo>
                    <a:pt x="31" y="439"/>
                  </a:lnTo>
                  <a:lnTo>
                    <a:pt x="33" y="439"/>
                  </a:lnTo>
                  <a:lnTo>
                    <a:pt x="33" y="437"/>
                  </a:lnTo>
                  <a:lnTo>
                    <a:pt x="33" y="436"/>
                  </a:lnTo>
                  <a:lnTo>
                    <a:pt x="40" y="432"/>
                  </a:lnTo>
                  <a:lnTo>
                    <a:pt x="40" y="422"/>
                  </a:lnTo>
                  <a:lnTo>
                    <a:pt x="42" y="418"/>
                  </a:lnTo>
                  <a:lnTo>
                    <a:pt x="38" y="412"/>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46" name="Freeform 42">
              <a:extLst>
                <a:ext uri="{FF2B5EF4-FFF2-40B4-BE49-F238E27FC236}">
                  <a16:creationId xmlns:a16="http://schemas.microsoft.com/office/drawing/2014/main" id="{33555FC2-7023-4C11-B022-268E37A55B1E}"/>
                </a:ext>
              </a:extLst>
            </p:cNvPr>
            <p:cNvSpPr>
              <a:spLocks/>
            </p:cNvSpPr>
            <p:nvPr/>
          </p:nvSpPr>
          <p:spPr bwMode="gray">
            <a:xfrm>
              <a:off x="4300467" y="4073379"/>
              <a:ext cx="1183543" cy="618340"/>
            </a:xfrm>
            <a:custGeom>
              <a:avLst/>
              <a:gdLst/>
              <a:ahLst/>
              <a:cxnLst>
                <a:cxn ang="0">
                  <a:pos x="734" y="350"/>
                </a:cxn>
                <a:cxn ang="0">
                  <a:pos x="730" y="383"/>
                </a:cxn>
                <a:cxn ang="0">
                  <a:pos x="729" y="381"/>
                </a:cxn>
                <a:cxn ang="0">
                  <a:pos x="727" y="379"/>
                </a:cxn>
                <a:cxn ang="0">
                  <a:pos x="720" y="379"/>
                </a:cxn>
                <a:cxn ang="0">
                  <a:pos x="718" y="377"/>
                </a:cxn>
                <a:cxn ang="0">
                  <a:pos x="710" y="374"/>
                </a:cxn>
                <a:cxn ang="0">
                  <a:pos x="708" y="371"/>
                </a:cxn>
                <a:cxn ang="0">
                  <a:pos x="698" y="369"/>
                </a:cxn>
                <a:cxn ang="0">
                  <a:pos x="693" y="362"/>
                </a:cxn>
                <a:cxn ang="0">
                  <a:pos x="684" y="359"/>
                </a:cxn>
                <a:cxn ang="0">
                  <a:pos x="679" y="355"/>
                </a:cxn>
                <a:cxn ang="0">
                  <a:pos x="676" y="352"/>
                </a:cxn>
                <a:cxn ang="0">
                  <a:pos x="664" y="355"/>
                </a:cxn>
                <a:cxn ang="0">
                  <a:pos x="658" y="359"/>
                </a:cxn>
                <a:cxn ang="0">
                  <a:pos x="640" y="357"/>
                </a:cxn>
                <a:cxn ang="0">
                  <a:pos x="638" y="352"/>
                </a:cxn>
                <a:cxn ang="0">
                  <a:pos x="626" y="357"/>
                </a:cxn>
                <a:cxn ang="0">
                  <a:pos x="617" y="360"/>
                </a:cxn>
                <a:cxn ang="0">
                  <a:pos x="602" y="360"/>
                </a:cxn>
                <a:cxn ang="0">
                  <a:pos x="597" y="362"/>
                </a:cxn>
                <a:cxn ang="0">
                  <a:pos x="585" y="362"/>
                </a:cxn>
                <a:cxn ang="0">
                  <a:pos x="587" y="364"/>
                </a:cxn>
                <a:cxn ang="0">
                  <a:pos x="575" y="369"/>
                </a:cxn>
                <a:cxn ang="0">
                  <a:pos x="566" y="372"/>
                </a:cxn>
                <a:cxn ang="0">
                  <a:pos x="549" y="364"/>
                </a:cxn>
                <a:cxn ang="0">
                  <a:pos x="539" y="355"/>
                </a:cxn>
                <a:cxn ang="0">
                  <a:pos x="527" y="359"/>
                </a:cxn>
                <a:cxn ang="0">
                  <a:pos x="520" y="350"/>
                </a:cxn>
                <a:cxn ang="0">
                  <a:pos x="511" y="359"/>
                </a:cxn>
                <a:cxn ang="0">
                  <a:pos x="503" y="362"/>
                </a:cxn>
                <a:cxn ang="0">
                  <a:pos x="500" y="374"/>
                </a:cxn>
                <a:cxn ang="0">
                  <a:pos x="496" y="360"/>
                </a:cxn>
                <a:cxn ang="0">
                  <a:pos x="488" y="359"/>
                </a:cxn>
                <a:cxn ang="0">
                  <a:pos x="481" y="359"/>
                </a:cxn>
                <a:cxn ang="0">
                  <a:pos x="469" y="355"/>
                </a:cxn>
                <a:cxn ang="0">
                  <a:pos x="459" y="354"/>
                </a:cxn>
                <a:cxn ang="0">
                  <a:pos x="443" y="352"/>
                </a:cxn>
                <a:cxn ang="0">
                  <a:pos x="426" y="355"/>
                </a:cxn>
                <a:cxn ang="0">
                  <a:pos x="426" y="348"/>
                </a:cxn>
                <a:cxn ang="0">
                  <a:pos x="414" y="343"/>
                </a:cxn>
                <a:cxn ang="0">
                  <a:pos x="407" y="331"/>
                </a:cxn>
                <a:cxn ang="0">
                  <a:pos x="388" y="333"/>
                </a:cxn>
                <a:cxn ang="0">
                  <a:pos x="373" y="331"/>
                </a:cxn>
                <a:cxn ang="0">
                  <a:pos x="363" y="326"/>
                </a:cxn>
                <a:cxn ang="0">
                  <a:pos x="339" y="319"/>
                </a:cxn>
                <a:cxn ang="0">
                  <a:pos x="318" y="318"/>
                </a:cxn>
                <a:cxn ang="0">
                  <a:pos x="313" y="301"/>
                </a:cxn>
                <a:cxn ang="0">
                  <a:pos x="300" y="297"/>
                </a:cxn>
                <a:cxn ang="0">
                  <a:pos x="286" y="295"/>
                </a:cxn>
                <a:cxn ang="0">
                  <a:pos x="267" y="290"/>
                </a:cxn>
                <a:cxn ang="0">
                  <a:pos x="253" y="275"/>
                </a:cxn>
                <a:cxn ang="0">
                  <a:pos x="252" y="210"/>
                </a:cxn>
                <a:cxn ang="0">
                  <a:pos x="257" y="70"/>
                </a:cxn>
                <a:cxn ang="0">
                  <a:pos x="118" y="61"/>
                </a:cxn>
                <a:cxn ang="0">
                  <a:pos x="86" y="7"/>
                </a:cxn>
                <a:cxn ang="0">
                  <a:pos x="206" y="12"/>
                </a:cxn>
                <a:cxn ang="0">
                  <a:pos x="344" y="17"/>
                </a:cxn>
                <a:cxn ang="0">
                  <a:pos x="474" y="20"/>
                </a:cxn>
                <a:cxn ang="0">
                  <a:pos x="602" y="22"/>
                </a:cxn>
                <a:cxn ang="0">
                  <a:pos x="681" y="20"/>
                </a:cxn>
                <a:cxn ang="0">
                  <a:pos x="718" y="77"/>
                </a:cxn>
                <a:cxn ang="0">
                  <a:pos x="735" y="193"/>
                </a:cxn>
              </a:cxnLst>
              <a:rect l="0" t="0" r="r" b="b"/>
              <a:pathLst>
                <a:path w="735" h="384">
                  <a:moveTo>
                    <a:pt x="735" y="244"/>
                  </a:moveTo>
                  <a:lnTo>
                    <a:pt x="735" y="265"/>
                  </a:lnTo>
                  <a:lnTo>
                    <a:pt x="735" y="289"/>
                  </a:lnTo>
                  <a:lnTo>
                    <a:pt x="735" y="323"/>
                  </a:lnTo>
                  <a:lnTo>
                    <a:pt x="734" y="350"/>
                  </a:lnTo>
                  <a:lnTo>
                    <a:pt x="734" y="384"/>
                  </a:lnTo>
                  <a:lnTo>
                    <a:pt x="732" y="384"/>
                  </a:lnTo>
                  <a:lnTo>
                    <a:pt x="732" y="384"/>
                  </a:lnTo>
                  <a:lnTo>
                    <a:pt x="730" y="384"/>
                  </a:lnTo>
                  <a:lnTo>
                    <a:pt x="730" y="383"/>
                  </a:lnTo>
                  <a:lnTo>
                    <a:pt x="727" y="384"/>
                  </a:lnTo>
                  <a:lnTo>
                    <a:pt x="727" y="384"/>
                  </a:lnTo>
                  <a:lnTo>
                    <a:pt x="727" y="383"/>
                  </a:lnTo>
                  <a:lnTo>
                    <a:pt x="729" y="383"/>
                  </a:lnTo>
                  <a:lnTo>
                    <a:pt x="729" y="381"/>
                  </a:lnTo>
                  <a:lnTo>
                    <a:pt x="725" y="383"/>
                  </a:lnTo>
                  <a:lnTo>
                    <a:pt x="723" y="381"/>
                  </a:lnTo>
                  <a:lnTo>
                    <a:pt x="725" y="381"/>
                  </a:lnTo>
                  <a:lnTo>
                    <a:pt x="727" y="381"/>
                  </a:lnTo>
                  <a:lnTo>
                    <a:pt x="727" y="379"/>
                  </a:lnTo>
                  <a:lnTo>
                    <a:pt x="725" y="379"/>
                  </a:lnTo>
                  <a:lnTo>
                    <a:pt x="725" y="379"/>
                  </a:lnTo>
                  <a:lnTo>
                    <a:pt x="723" y="381"/>
                  </a:lnTo>
                  <a:lnTo>
                    <a:pt x="720" y="379"/>
                  </a:lnTo>
                  <a:lnTo>
                    <a:pt x="720" y="379"/>
                  </a:lnTo>
                  <a:lnTo>
                    <a:pt x="718" y="381"/>
                  </a:lnTo>
                  <a:lnTo>
                    <a:pt x="717" y="381"/>
                  </a:lnTo>
                  <a:lnTo>
                    <a:pt x="717" y="379"/>
                  </a:lnTo>
                  <a:lnTo>
                    <a:pt x="720" y="379"/>
                  </a:lnTo>
                  <a:lnTo>
                    <a:pt x="718" y="377"/>
                  </a:lnTo>
                  <a:lnTo>
                    <a:pt x="717" y="377"/>
                  </a:lnTo>
                  <a:lnTo>
                    <a:pt x="715" y="377"/>
                  </a:lnTo>
                  <a:lnTo>
                    <a:pt x="710" y="377"/>
                  </a:lnTo>
                  <a:lnTo>
                    <a:pt x="710" y="376"/>
                  </a:lnTo>
                  <a:lnTo>
                    <a:pt x="710" y="374"/>
                  </a:lnTo>
                  <a:lnTo>
                    <a:pt x="708" y="376"/>
                  </a:lnTo>
                  <a:lnTo>
                    <a:pt x="710" y="372"/>
                  </a:lnTo>
                  <a:lnTo>
                    <a:pt x="706" y="374"/>
                  </a:lnTo>
                  <a:lnTo>
                    <a:pt x="706" y="372"/>
                  </a:lnTo>
                  <a:lnTo>
                    <a:pt x="708" y="371"/>
                  </a:lnTo>
                  <a:lnTo>
                    <a:pt x="706" y="371"/>
                  </a:lnTo>
                  <a:lnTo>
                    <a:pt x="705" y="372"/>
                  </a:lnTo>
                  <a:lnTo>
                    <a:pt x="703" y="372"/>
                  </a:lnTo>
                  <a:lnTo>
                    <a:pt x="700" y="372"/>
                  </a:lnTo>
                  <a:lnTo>
                    <a:pt x="698" y="369"/>
                  </a:lnTo>
                  <a:lnTo>
                    <a:pt x="694" y="367"/>
                  </a:lnTo>
                  <a:lnTo>
                    <a:pt x="696" y="365"/>
                  </a:lnTo>
                  <a:lnTo>
                    <a:pt x="694" y="364"/>
                  </a:lnTo>
                  <a:lnTo>
                    <a:pt x="693" y="364"/>
                  </a:lnTo>
                  <a:lnTo>
                    <a:pt x="693" y="362"/>
                  </a:lnTo>
                  <a:lnTo>
                    <a:pt x="691" y="360"/>
                  </a:lnTo>
                  <a:lnTo>
                    <a:pt x="691" y="359"/>
                  </a:lnTo>
                  <a:lnTo>
                    <a:pt x="689" y="360"/>
                  </a:lnTo>
                  <a:lnTo>
                    <a:pt x="686" y="359"/>
                  </a:lnTo>
                  <a:lnTo>
                    <a:pt x="684" y="359"/>
                  </a:lnTo>
                  <a:lnTo>
                    <a:pt x="684" y="357"/>
                  </a:lnTo>
                  <a:lnTo>
                    <a:pt x="682" y="355"/>
                  </a:lnTo>
                  <a:lnTo>
                    <a:pt x="682" y="354"/>
                  </a:lnTo>
                  <a:lnTo>
                    <a:pt x="681" y="357"/>
                  </a:lnTo>
                  <a:lnTo>
                    <a:pt x="679" y="355"/>
                  </a:lnTo>
                  <a:lnTo>
                    <a:pt x="681" y="354"/>
                  </a:lnTo>
                  <a:lnTo>
                    <a:pt x="679" y="354"/>
                  </a:lnTo>
                  <a:lnTo>
                    <a:pt x="677" y="354"/>
                  </a:lnTo>
                  <a:lnTo>
                    <a:pt x="676" y="354"/>
                  </a:lnTo>
                  <a:lnTo>
                    <a:pt x="676" y="352"/>
                  </a:lnTo>
                  <a:lnTo>
                    <a:pt x="674" y="350"/>
                  </a:lnTo>
                  <a:lnTo>
                    <a:pt x="667" y="348"/>
                  </a:lnTo>
                  <a:lnTo>
                    <a:pt x="665" y="352"/>
                  </a:lnTo>
                  <a:lnTo>
                    <a:pt x="665" y="355"/>
                  </a:lnTo>
                  <a:lnTo>
                    <a:pt x="664" y="355"/>
                  </a:lnTo>
                  <a:lnTo>
                    <a:pt x="664" y="354"/>
                  </a:lnTo>
                  <a:lnTo>
                    <a:pt x="662" y="357"/>
                  </a:lnTo>
                  <a:lnTo>
                    <a:pt x="660" y="357"/>
                  </a:lnTo>
                  <a:lnTo>
                    <a:pt x="658" y="355"/>
                  </a:lnTo>
                  <a:lnTo>
                    <a:pt x="658" y="359"/>
                  </a:lnTo>
                  <a:lnTo>
                    <a:pt x="648" y="360"/>
                  </a:lnTo>
                  <a:lnTo>
                    <a:pt x="647" y="357"/>
                  </a:lnTo>
                  <a:lnTo>
                    <a:pt x="643" y="359"/>
                  </a:lnTo>
                  <a:lnTo>
                    <a:pt x="641" y="357"/>
                  </a:lnTo>
                  <a:lnTo>
                    <a:pt x="640" y="357"/>
                  </a:lnTo>
                  <a:lnTo>
                    <a:pt x="640" y="357"/>
                  </a:lnTo>
                  <a:lnTo>
                    <a:pt x="641" y="357"/>
                  </a:lnTo>
                  <a:lnTo>
                    <a:pt x="641" y="355"/>
                  </a:lnTo>
                  <a:lnTo>
                    <a:pt x="640" y="355"/>
                  </a:lnTo>
                  <a:lnTo>
                    <a:pt x="638" y="352"/>
                  </a:lnTo>
                  <a:lnTo>
                    <a:pt x="635" y="352"/>
                  </a:lnTo>
                  <a:lnTo>
                    <a:pt x="633" y="352"/>
                  </a:lnTo>
                  <a:lnTo>
                    <a:pt x="633" y="354"/>
                  </a:lnTo>
                  <a:lnTo>
                    <a:pt x="631" y="354"/>
                  </a:lnTo>
                  <a:lnTo>
                    <a:pt x="626" y="357"/>
                  </a:lnTo>
                  <a:lnTo>
                    <a:pt x="621" y="355"/>
                  </a:lnTo>
                  <a:lnTo>
                    <a:pt x="621" y="357"/>
                  </a:lnTo>
                  <a:lnTo>
                    <a:pt x="619" y="359"/>
                  </a:lnTo>
                  <a:lnTo>
                    <a:pt x="619" y="360"/>
                  </a:lnTo>
                  <a:lnTo>
                    <a:pt x="617" y="360"/>
                  </a:lnTo>
                  <a:lnTo>
                    <a:pt x="614" y="362"/>
                  </a:lnTo>
                  <a:lnTo>
                    <a:pt x="612" y="362"/>
                  </a:lnTo>
                  <a:lnTo>
                    <a:pt x="606" y="357"/>
                  </a:lnTo>
                  <a:lnTo>
                    <a:pt x="604" y="357"/>
                  </a:lnTo>
                  <a:lnTo>
                    <a:pt x="602" y="360"/>
                  </a:lnTo>
                  <a:lnTo>
                    <a:pt x="600" y="360"/>
                  </a:lnTo>
                  <a:lnTo>
                    <a:pt x="599" y="359"/>
                  </a:lnTo>
                  <a:lnTo>
                    <a:pt x="599" y="359"/>
                  </a:lnTo>
                  <a:lnTo>
                    <a:pt x="599" y="360"/>
                  </a:lnTo>
                  <a:lnTo>
                    <a:pt x="597" y="362"/>
                  </a:lnTo>
                  <a:lnTo>
                    <a:pt x="597" y="360"/>
                  </a:lnTo>
                  <a:lnTo>
                    <a:pt x="595" y="362"/>
                  </a:lnTo>
                  <a:lnTo>
                    <a:pt x="590" y="362"/>
                  </a:lnTo>
                  <a:lnTo>
                    <a:pt x="588" y="364"/>
                  </a:lnTo>
                  <a:lnTo>
                    <a:pt x="585" y="362"/>
                  </a:lnTo>
                  <a:lnTo>
                    <a:pt x="583" y="364"/>
                  </a:lnTo>
                  <a:lnTo>
                    <a:pt x="583" y="365"/>
                  </a:lnTo>
                  <a:lnTo>
                    <a:pt x="583" y="365"/>
                  </a:lnTo>
                  <a:lnTo>
                    <a:pt x="585" y="364"/>
                  </a:lnTo>
                  <a:lnTo>
                    <a:pt x="587" y="364"/>
                  </a:lnTo>
                  <a:lnTo>
                    <a:pt x="585" y="367"/>
                  </a:lnTo>
                  <a:lnTo>
                    <a:pt x="583" y="371"/>
                  </a:lnTo>
                  <a:lnTo>
                    <a:pt x="582" y="371"/>
                  </a:lnTo>
                  <a:lnTo>
                    <a:pt x="580" y="371"/>
                  </a:lnTo>
                  <a:lnTo>
                    <a:pt x="575" y="369"/>
                  </a:lnTo>
                  <a:lnTo>
                    <a:pt x="573" y="371"/>
                  </a:lnTo>
                  <a:lnTo>
                    <a:pt x="573" y="376"/>
                  </a:lnTo>
                  <a:lnTo>
                    <a:pt x="571" y="377"/>
                  </a:lnTo>
                  <a:lnTo>
                    <a:pt x="568" y="377"/>
                  </a:lnTo>
                  <a:lnTo>
                    <a:pt x="566" y="372"/>
                  </a:lnTo>
                  <a:lnTo>
                    <a:pt x="561" y="367"/>
                  </a:lnTo>
                  <a:lnTo>
                    <a:pt x="556" y="369"/>
                  </a:lnTo>
                  <a:lnTo>
                    <a:pt x="554" y="367"/>
                  </a:lnTo>
                  <a:lnTo>
                    <a:pt x="554" y="365"/>
                  </a:lnTo>
                  <a:lnTo>
                    <a:pt x="549" y="364"/>
                  </a:lnTo>
                  <a:lnTo>
                    <a:pt x="546" y="362"/>
                  </a:lnTo>
                  <a:lnTo>
                    <a:pt x="544" y="360"/>
                  </a:lnTo>
                  <a:lnTo>
                    <a:pt x="547" y="357"/>
                  </a:lnTo>
                  <a:lnTo>
                    <a:pt x="541" y="354"/>
                  </a:lnTo>
                  <a:lnTo>
                    <a:pt x="539" y="355"/>
                  </a:lnTo>
                  <a:lnTo>
                    <a:pt x="537" y="362"/>
                  </a:lnTo>
                  <a:lnTo>
                    <a:pt x="535" y="362"/>
                  </a:lnTo>
                  <a:lnTo>
                    <a:pt x="532" y="364"/>
                  </a:lnTo>
                  <a:lnTo>
                    <a:pt x="529" y="359"/>
                  </a:lnTo>
                  <a:lnTo>
                    <a:pt x="527" y="359"/>
                  </a:lnTo>
                  <a:lnTo>
                    <a:pt x="523" y="360"/>
                  </a:lnTo>
                  <a:lnTo>
                    <a:pt x="523" y="360"/>
                  </a:lnTo>
                  <a:lnTo>
                    <a:pt x="522" y="357"/>
                  </a:lnTo>
                  <a:lnTo>
                    <a:pt x="520" y="354"/>
                  </a:lnTo>
                  <a:lnTo>
                    <a:pt x="520" y="350"/>
                  </a:lnTo>
                  <a:lnTo>
                    <a:pt x="517" y="348"/>
                  </a:lnTo>
                  <a:lnTo>
                    <a:pt x="517" y="350"/>
                  </a:lnTo>
                  <a:lnTo>
                    <a:pt x="513" y="352"/>
                  </a:lnTo>
                  <a:lnTo>
                    <a:pt x="511" y="350"/>
                  </a:lnTo>
                  <a:lnTo>
                    <a:pt x="511" y="359"/>
                  </a:lnTo>
                  <a:lnTo>
                    <a:pt x="510" y="360"/>
                  </a:lnTo>
                  <a:lnTo>
                    <a:pt x="508" y="362"/>
                  </a:lnTo>
                  <a:lnTo>
                    <a:pt x="505" y="360"/>
                  </a:lnTo>
                  <a:lnTo>
                    <a:pt x="503" y="360"/>
                  </a:lnTo>
                  <a:lnTo>
                    <a:pt x="503" y="362"/>
                  </a:lnTo>
                  <a:lnTo>
                    <a:pt x="506" y="364"/>
                  </a:lnTo>
                  <a:lnTo>
                    <a:pt x="503" y="365"/>
                  </a:lnTo>
                  <a:lnTo>
                    <a:pt x="503" y="372"/>
                  </a:lnTo>
                  <a:lnTo>
                    <a:pt x="503" y="374"/>
                  </a:lnTo>
                  <a:lnTo>
                    <a:pt x="500" y="374"/>
                  </a:lnTo>
                  <a:lnTo>
                    <a:pt x="496" y="374"/>
                  </a:lnTo>
                  <a:lnTo>
                    <a:pt x="493" y="371"/>
                  </a:lnTo>
                  <a:lnTo>
                    <a:pt x="491" y="364"/>
                  </a:lnTo>
                  <a:lnTo>
                    <a:pt x="493" y="362"/>
                  </a:lnTo>
                  <a:lnTo>
                    <a:pt x="496" y="360"/>
                  </a:lnTo>
                  <a:lnTo>
                    <a:pt x="496" y="359"/>
                  </a:lnTo>
                  <a:lnTo>
                    <a:pt x="494" y="355"/>
                  </a:lnTo>
                  <a:lnTo>
                    <a:pt x="491" y="355"/>
                  </a:lnTo>
                  <a:lnTo>
                    <a:pt x="489" y="355"/>
                  </a:lnTo>
                  <a:lnTo>
                    <a:pt x="488" y="359"/>
                  </a:lnTo>
                  <a:lnTo>
                    <a:pt x="488" y="360"/>
                  </a:lnTo>
                  <a:lnTo>
                    <a:pt x="486" y="359"/>
                  </a:lnTo>
                  <a:lnTo>
                    <a:pt x="482" y="355"/>
                  </a:lnTo>
                  <a:lnTo>
                    <a:pt x="482" y="359"/>
                  </a:lnTo>
                  <a:lnTo>
                    <a:pt x="481" y="359"/>
                  </a:lnTo>
                  <a:lnTo>
                    <a:pt x="477" y="362"/>
                  </a:lnTo>
                  <a:lnTo>
                    <a:pt x="474" y="364"/>
                  </a:lnTo>
                  <a:lnTo>
                    <a:pt x="470" y="362"/>
                  </a:lnTo>
                  <a:lnTo>
                    <a:pt x="470" y="355"/>
                  </a:lnTo>
                  <a:lnTo>
                    <a:pt x="469" y="355"/>
                  </a:lnTo>
                  <a:lnTo>
                    <a:pt x="469" y="354"/>
                  </a:lnTo>
                  <a:lnTo>
                    <a:pt x="465" y="354"/>
                  </a:lnTo>
                  <a:lnTo>
                    <a:pt x="462" y="355"/>
                  </a:lnTo>
                  <a:lnTo>
                    <a:pt x="460" y="355"/>
                  </a:lnTo>
                  <a:lnTo>
                    <a:pt x="459" y="354"/>
                  </a:lnTo>
                  <a:lnTo>
                    <a:pt x="457" y="347"/>
                  </a:lnTo>
                  <a:lnTo>
                    <a:pt x="452" y="345"/>
                  </a:lnTo>
                  <a:lnTo>
                    <a:pt x="448" y="347"/>
                  </a:lnTo>
                  <a:lnTo>
                    <a:pt x="447" y="350"/>
                  </a:lnTo>
                  <a:lnTo>
                    <a:pt x="443" y="352"/>
                  </a:lnTo>
                  <a:lnTo>
                    <a:pt x="440" y="355"/>
                  </a:lnTo>
                  <a:lnTo>
                    <a:pt x="435" y="359"/>
                  </a:lnTo>
                  <a:lnTo>
                    <a:pt x="433" y="359"/>
                  </a:lnTo>
                  <a:lnTo>
                    <a:pt x="429" y="357"/>
                  </a:lnTo>
                  <a:lnTo>
                    <a:pt x="426" y="355"/>
                  </a:lnTo>
                  <a:lnTo>
                    <a:pt x="424" y="354"/>
                  </a:lnTo>
                  <a:lnTo>
                    <a:pt x="424" y="354"/>
                  </a:lnTo>
                  <a:lnTo>
                    <a:pt x="426" y="350"/>
                  </a:lnTo>
                  <a:lnTo>
                    <a:pt x="426" y="348"/>
                  </a:lnTo>
                  <a:lnTo>
                    <a:pt x="426" y="348"/>
                  </a:lnTo>
                  <a:lnTo>
                    <a:pt x="426" y="347"/>
                  </a:lnTo>
                  <a:lnTo>
                    <a:pt x="424" y="343"/>
                  </a:lnTo>
                  <a:lnTo>
                    <a:pt x="419" y="345"/>
                  </a:lnTo>
                  <a:lnTo>
                    <a:pt x="417" y="345"/>
                  </a:lnTo>
                  <a:lnTo>
                    <a:pt x="414" y="343"/>
                  </a:lnTo>
                  <a:lnTo>
                    <a:pt x="412" y="336"/>
                  </a:lnTo>
                  <a:lnTo>
                    <a:pt x="414" y="328"/>
                  </a:lnTo>
                  <a:lnTo>
                    <a:pt x="412" y="328"/>
                  </a:lnTo>
                  <a:lnTo>
                    <a:pt x="411" y="328"/>
                  </a:lnTo>
                  <a:lnTo>
                    <a:pt x="407" y="331"/>
                  </a:lnTo>
                  <a:lnTo>
                    <a:pt x="399" y="330"/>
                  </a:lnTo>
                  <a:lnTo>
                    <a:pt x="394" y="328"/>
                  </a:lnTo>
                  <a:lnTo>
                    <a:pt x="392" y="328"/>
                  </a:lnTo>
                  <a:lnTo>
                    <a:pt x="388" y="330"/>
                  </a:lnTo>
                  <a:lnTo>
                    <a:pt x="388" y="333"/>
                  </a:lnTo>
                  <a:lnTo>
                    <a:pt x="387" y="333"/>
                  </a:lnTo>
                  <a:lnTo>
                    <a:pt x="385" y="335"/>
                  </a:lnTo>
                  <a:lnTo>
                    <a:pt x="383" y="336"/>
                  </a:lnTo>
                  <a:lnTo>
                    <a:pt x="378" y="335"/>
                  </a:lnTo>
                  <a:lnTo>
                    <a:pt x="373" y="331"/>
                  </a:lnTo>
                  <a:lnTo>
                    <a:pt x="371" y="326"/>
                  </a:lnTo>
                  <a:lnTo>
                    <a:pt x="370" y="326"/>
                  </a:lnTo>
                  <a:lnTo>
                    <a:pt x="368" y="324"/>
                  </a:lnTo>
                  <a:lnTo>
                    <a:pt x="365" y="326"/>
                  </a:lnTo>
                  <a:lnTo>
                    <a:pt x="363" y="326"/>
                  </a:lnTo>
                  <a:lnTo>
                    <a:pt x="359" y="328"/>
                  </a:lnTo>
                  <a:lnTo>
                    <a:pt x="354" y="328"/>
                  </a:lnTo>
                  <a:lnTo>
                    <a:pt x="351" y="326"/>
                  </a:lnTo>
                  <a:lnTo>
                    <a:pt x="344" y="324"/>
                  </a:lnTo>
                  <a:lnTo>
                    <a:pt x="339" y="319"/>
                  </a:lnTo>
                  <a:lnTo>
                    <a:pt x="335" y="318"/>
                  </a:lnTo>
                  <a:lnTo>
                    <a:pt x="332" y="319"/>
                  </a:lnTo>
                  <a:lnTo>
                    <a:pt x="327" y="318"/>
                  </a:lnTo>
                  <a:lnTo>
                    <a:pt x="323" y="319"/>
                  </a:lnTo>
                  <a:lnTo>
                    <a:pt x="318" y="318"/>
                  </a:lnTo>
                  <a:lnTo>
                    <a:pt x="318" y="316"/>
                  </a:lnTo>
                  <a:lnTo>
                    <a:pt x="317" y="313"/>
                  </a:lnTo>
                  <a:lnTo>
                    <a:pt x="317" y="307"/>
                  </a:lnTo>
                  <a:lnTo>
                    <a:pt x="317" y="304"/>
                  </a:lnTo>
                  <a:lnTo>
                    <a:pt x="313" y="301"/>
                  </a:lnTo>
                  <a:lnTo>
                    <a:pt x="312" y="297"/>
                  </a:lnTo>
                  <a:lnTo>
                    <a:pt x="306" y="295"/>
                  </a:lnTo>
                  <a:lnTo>
                    <a:pt x="303" y="292"/>
                  </a:lnTo>
                  <a:lnTo>
                    <a:pt x="301" y="294"/>
                  </a:lnTo>
                  <a:lnTo>
                    <a:pt x="300" y="297"/>
                  </a:lnTo>
                  <a:lnTo>
                    <a:pt x="300" y="301"/>
                  </a:lnTo>
                  <a:lnTo>
                    <a:pt x="296" y="301"/>
                  </a:lnTo>
                  <a:lnTo>
                    <a:pt x="293" y="299"/>
                  </a:lnTo>
                  <a:lnTo>
                    <a:pt x="291" y="295"/>
                  </a:lnTo>
                  <a:lnTo>
                    <a:pt x="286" y="295"/>
                  </a:lnTo>
                  <a:lnTo>
                    <a:pt x="284" y="295"/>
                  </a:lnTo>
                  <a:lnTo>
                    <a:pt x="284" y="297"/>
                  </a:lnTo>
                  <a:lnTo>
                    <a:pt x="282" y="299"/>
                  </a:lnTo>
                  <a:lnTo>
                    <a:pt x="274" y="299"/>
                  </a:lnTo>
                  <a:lnTo>
                    <a:pt x="267" y="290"/>
                  </a:lnTo>
                  <a:lnTo>
                    <a:pt x="262" y="285"/>
                  </a:lnTo>
                  <a:lnTo>
                    <a:pt x="260" y="282"/>
                  </a:lnTo>
                  <a:lnTo>
                    <a:pt x="259" y="278"/>
                  </a:lnTo>
                  <a:lnTo>
                    <a:pt x="253" y="275"/>
                  </a:lnTo>
                  <a:lnTo>
                    <a:pt x="253" y="275"/>
                  </a:lnTo>
                  <a:lnTo>
                    <a:pt x="250" y="277"/>
                  </a:lnTo>
                  <a:lnTo>
                    <a:pt x="248" y="277"/>
                  </a:lnTo>
                  <a:lnTo>
                    <a:pt x="248" y="258"/>
                  </a:lnTo>
                  <a:lnTo>
                    <a:pt x="250" y="227"/>
                  </a:lnTo>
                  <a:lnTo>
                    <a:pt x="252" y="210"/>
                  </a:lnTo>
                  <a:lnTo>
                    <a:pt x="252" y="184"/>
                  </a:lnTo>
                  <a:lnTo>
                    <a:pt x="253" y="164"/>
                  </a:lnTo>
                  <a:lnTo>
                    <a:pt x="253" y="135"/>
                  </a:lnTo>
                  <a:lnTo>
                    <a:pt x="255" y="116"/>
                  </a:lnTo>
                  <a:lnTo>
                    <a:pt x="257" y="70"/>
                  </a:lnTo>
                  <a:lnTo>
                    <a:pt x="257" y="68"/>
                  </a:lnTo>
                  <a:lnTo>
                    <a:pt x="209" y="68"/>
                  </a:lnTo>
                  <a:lnTo>
                    <a:pt x="175" y="65"/>
                  </a:lnTo>
                  <a:lnTo>
                    <a:pt x="163" y="65"/>
                  </a:lnTo>
                  <a:lnTo>
                    <a:pt x="118" y="61"/>
                  </a:lnTo>
                  <a:lnTo>
                    <a:pt x="83" y="60"/>
                  </a:lnTo>
                  <a:lnTo>
                    <a:pt x="72" y="60"/>
                  </a:lnTo>
                  <a:lnTo>
                    <a:pt x="0" y="54"/>
                  </a:lnTo>
                  <a:lnTo>
                    <a:pt x="4" y="0"/>
                  </a:lnTo>
                  <a:lnTo>
                    <a:pt x="86" y="7"/>
                  </a:lnTo>
                  <a:lnTo>
                    <a:pt x="88" y="7"/>
                  </a:lnTo>
                  <a:lnTo>
                    <a:pt x="127" y="8"/>
                  </a:lnTo>
                  <a:lnTo>
                    <a:pt x="168" y="10"/>
                  </a:lnTo>
                  <a:lnTo>
                    <a:pt x="178" y="10"/>
                  </a:lnTo>
                  <a:lnTo>
                    <a:pt x="206" y="12"/>
                  </a:lnTo>
                  <a:lnTo>
                    <a:pt x="252" y="13"/>
                  </a:lnTo>
                  <a:lnTo>
                    <a:pt x="259" y="15"/>
                  </a:lnTo>
                  <a:lnTo>
                    <a:pt x="298" y="17"/>
                  </a:lnTo>
                  <a:lnTo>
                    <a:pt x="306" y="17"/>
                  </a:lnTo>
                  <a:lnTo>
                    <a:pt x="344" y="17"/>
                  </a:lnTo>
                  <a:lnTo>
                    <a:pt x="383" y="19"/>
                  </a:lnTo>
                  <a:lnTo>
                    <a:pt x="399" y="19"/>
                  </a:lnTo>
                  <a:lnTo>
                    <a:pt x="419" y="20"/>
                  </a:lnTo>
                  <a:lnTo>
                    <a:pt x="445" y="20"/>
                  </a:lnTo>
                  <a:lnTo>
                    <a:pt x="474" y="20"/>
                  </a:lnTo>
                  <a:lnTo>
                    <a:pt x="503" y="20"/>
                  </a:lnTo>
                  <a:lnTo>
                    <a:pt x="535" y="22"/>
                  </a:lnTo>
                  <a:lnTo>
                    <a:pt x="554" y="22"/>
                  </a:lnTo>
                  <a:lnTo>
                    <a:pt x="599" y="22"/>
                  </a:lnTo>
                  <a:lnTo>
                    <a:pt x="602" y="22"/>
                  </a:lnTo>
                  <a:lnTo>
                    <a:pt x="617" y="22"/>
                  </a:lnTo>
                  <a:lnTo>
                    <a:pt x="640" y="22"/>
                  </a:lnTo>
                  <a:lnTo>
                    <a:pt x="650" y="22"/>
                  </a:lnTo>
                  <a:lnTo>
                    <a:pt x="677" y="20"/>
                  </a:lnTo>
                  <a:lnTo>
                    <a:pt x="681" y="20"/>
                  </a:lnTo>
                  <a:lnTo>
                    <a:pt x="717" y="20"/>
                  </a:lnTo>
                  <a:lnTo>
                    <a:pt x="717" y="46"/>
                  </a:lnTo>
                  <a:lnTo>
                    <a:pt x="717" y="56"/>
                  </a:lnTo>
                  <a:lnTo>
                    <a:pt x="717" y="75"/>
                  </a:lnTo>
                  <a:lnTo>
                    <a:pt x="718" y="77"/>
                  </a:lnTo>
                  <a:lnTo>
                    <a:pt x="723" y="111"/>
                  </a:lnTo>
                  <a:lnTo>
                    <a:pt x="723" y="118"/>
                  </a:lnTo>
                  <a:lnTo>
                    <a:pt x="730" y="154"/>
                  </a:lnTo>
                  <a:lnTo>
                    <a:pt x="732" y="167"/>
                  </a:lnTo>
                  <a:lnTo>
                    <a:pt x="735" y="193"/>
                  </a:lnTo>
                  <a:lnTo>
                    <a:pt x="735" y="244"/>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47" name="Freeform 43">
              <a:extLst>
                <a:ext uri="{FF2B5EF4-FFF2-40B4-BE49-F238E27FC236}">
                  <a16:creationId xmlns:a16="http://schemas.microsoft.com/office/drawing/2014/main" id="{F5D612C7-7B40-42BF-8EE3-2A36707019EF}"/>
                </a:ext>
              </a:extLst>
            </p:cNvPr>
            <p:cNvSpPr>
              <a:spLocks noEditPoints="1"/>
            </p:cNvSpPr>
            <p:nvPr/>
          </p:nvSpPr>
          <p:spPr bwMode="gray">
            <a:xfrm>
              <a:off x="6902649" y="3894639"/>
              <a:ext cx="1210917" cy="528166"/>
            </a:xfrm>
            <a:custGeom>
              <a:avLst/>
              <a:gdLst/>
              <a:ahLst/>
              <a:cxnLst>
                <a:cxn ang="0">
                  <a:pos x="5" y="256"/>
                </a:cxn>
                <a:cxn ang="0">
                  <a:pos x="20" y="247"/>
                </a:cxn>
                <a:cxn ang="0">
                  <a:pos x="30" y="227"/>
                </a:cxn>
                <a:cxn ang="0">
                  <a:pos x="58" y="218"/>
                </a:cxn>
                <a:cxn ang="0">
                  <a:pos x="78" y="205"/>
                </a:cxn>
                <a:cxn ang="0">
                  <a:pos x="90" y="191"/>
                </a:cxn>
                <a:cxn ang="0">
                  <a:pos x="109" y="176"/>
                </a:cxn>
                <a:cxn ang="0">
                  <a:pos x="119" y="165"/>
                </a:cxn>
                <a:cxn ang="0">
                  <a:pos x="133" y="155"/>
                </a:cxn>
                <a:cxn ang="0">
                  <a:pos x="141" y="160"/>
                </a:cxn>
                <a:cxn ang="0">
                  <a:pos x="160" y="142"/>
                </a:cxn>
                <a:cxn ang="0">
                  <a:pos x="181" y="138"/>
                </a:cxn>
                <a:cxn ang="0">
                  <a:pos x="205" y="112"/>
                </a:cxn>
                <a:cxn ang="0">
                  <a:pos x="203" y="85"/>
                </a:cxn>
                <a:cxn ang="0">
                  <a:pos x="307" y="71"/>
                </a:cxn>
                <a:cxn ang="0">
                  <a:pos x="411" y="54"/>
                </a:cxn>
                <a:cxn ang="0">
                  <a:pos x="487" y="41"/>
                </a:cxn>
                <a:cxn ang="0">
                  <a:pos x="582" y="22"/>
                </a:cxn>
                <a:cxn ang="0">
                  <a:pos x="652" y="7"/>
                </a:cxn>
                <a:cxn ang="0">
                  <a:pos x="685" y="13"/>
                </a:cxn>
                <a:cxn ang="0">
                  <a:pos x="692" y="22"/>
                </a:cxn>
                <a:cxn ang="0">
                  <a:pos x="690" y="32"/>
                </a:cxn>
                <a:cxn ang="0">
                  <a:pos x="671" y="30"/>
                </a:cxn>
                <a:cxn ang="0">
                  <a:pos x="663" y="42"/>
                </a:cxn>
                <a:cxn ang="0">
                  <a:pos x="642" y="70"/>
                </a:cxn>
                <a:cxn ang="0">
                  <a:pos x="629" y="41"/>
                </a:cxn>
                <a:cxn ang="0">
                  <a:pos x="625" y="48"/>
                </a:cxn>
                <a:cxn ang="0">
                  <a:pos x="659" y="70"/>
                </a:cxn>
                <a:cxn ang="0">
                  <a:pos x="692" y="87"/>
                </a:cxn>
                <a:cxn ang="0">
                  <a:pos x="697" y="71"/>
                </a:cxn>
                <a:cxn ang="0">
                  <a:pos x="711" y="97"/>
                </a:cxn>
                <a:cxn ang="0">
                  <a:pos x="666" y="121"/>
                </a:cxn>
                <a:cxn ang="0">
                  <a:pos x="652" y="130"/>
                </a:cxn>
                <a:cxn ang="0">
                  <a:pos x="658" y="148"/>
                </a:cxn>
                <a:cxn ang="0">
                  <a:pos x="661" y="162"/>
                </a:cxn>
                <a:cxn ang="0">
                  <a:pos x="634" y="174"/>
                </a:cxn>
                <a:cxn ang="0">
                  <a:pos x="639" y="188"/>
                </a:cxn>
                <a:cxn ang="0">
                  <a:pos x="680" y="179"/>
                </a:cxn>
                <a:cxn ang="0">
                  <a:pos x="668" y="206"/>
                </a:cxn>
                <a:cxn ang="0">
                  <a:pos x="596" y="249"/>
                </a:cxn>
                <a:cxn ang="0">
                  <a:pos x="572" y="283"/>
                </a:cxn>
                <a:cxn ang="0">
                  <a:pos x="564" y="316"/>
                </a:cxn>
                <a:cxn ang="0">
                  <a:pos x="427" y="261"/>
                </a:cxn>
                <a:cxn ang="0">
                  <a:pos x="328" y="259"/>
                </a:cxn>
                <a:cxn ang="0">
                  <a:pos x="292" y="234"/>
                </a:cxn>
                <a:cxn ang="0">
                  <a:pos x="280" y="230"/>
                </a:cxn>
                <a:cxn ang="0">
                  <a:pos x="200" y="239"/>
                </a:cxn>
                <a:cxn ang="0">
                  <a:pos x="167" y="244"/>
                </a:cxn>
                <a:cxn ang="0">
                  <a:pos x="153" y="249"/>
                </a:cxn>
                <a:cxn ang="0">
                  <a:pos x="138" y="258"/>
                </a:cxn>
                <a:cxn ang="0">
                  <a:pos x="70" y="278"/>
                </a:cxn>
                <a:cxn ang="0">
                  <a:pos x="682" y="1"/>
                </a:cxn>
                <a:cxn ang="0">
                  <a:pos x="678" y="1"/>
                </a:cxn>
                <a:cxn ang="0">
                  <a:pos x="717" y="49"/>
                </a:cxn>
                <a:cxn ang="0">
                  <a:pos x="738" y="75"/>
                </a:cxn>
                <a:cxn ang="0">
                  <a:pos x="750" y="126"/>
                </a:cxn>
                <a:cxn ang="0">
                  <a:pos x="724" y="145"/>
                </a:cxn>
                <a:cxn ang="0">
                  <a:pos x="712" y="159"/>
                </a:cxn>
                <a:cxn ang="0">
                  <a:pos x="683" y="198"/>
                </a:cxn>
              </a:cxnLst>
              <a:rect l="0" t="0" r="r" b="b"/>
              <a:pathLst>
                <a:path w="752" h="328">
                  <a:moveTo>
                    <a:pt x="29" y="283"/>
                  </a:moveTo>
                  <a:lnTo>
                    <a:pt x="17" y="285"/>
                  </a:lnTo>
                  <a:lnTo>
                    <a:pt x="0" y="287"/>
                  </a:lnTo>
                  <a:lnTo>
                    <a:pt x="0" y="263"/>
                  </a:lnTo>
                  <a:lnTo>
                    <a:pt x="5" y="256"/>
                  </a:lnTo>
                  <a:lnTo>
                    <a:pt x="8" y="258"/>
                  </a:lnTo>
                  <a:lnTo>
                    <a:pt x="15" y="258"/>
                  </a:lnTo>
                  <a:lnTo>
                    <a:pt x="20" y="254"/>
                  </a:lnTo>
                  <a:lnTo>
                    <a:pt x="20" y="251"/>
                  </a:lnTo>
                  <a:lnTo>
                    <a:pt x="20" y="247"/>
                  </a:lnTo>
                  <a:lnTo>
                    <a:pt x="22" y="242"/>
                  </a:lnTo>
                  <a:lnTo>
                    <a:pt x="20" y="239"/>
                  </a:lnTo>
                  <a:lnTo>
                    <a:pt x="25" y="234"/>
                  </a:lnTo>
                  <a:lnTo>
                    <a:pt x="29" y="230"/>
                  </a:lnTo>
                  <a:lnTo>
                    <a:pt x="30" y="227"/>
                  </a:lnTo>
                  <a:lnTo>
                    <a:pt x="35" y="225"/>
                  </a:lnTo>
                  <a:lnTo>
                    <a:pt x="39" y="220"/>
                  </a:lnTo>
                  <a:lnTo>
                    <a:pt x="47" y="218"/>
                  </a:lnTo>
                  <a:lnTo>
                    <a:pt x="53" y="217"/>
                  </a:lnTo>
                  <a:lnTo>
                    <a:pt x="58" y="218"/>
                  </a:lnTo>
                  <a:lnTo>
                    <a:pt x="63" y="217"/>
                  </a:lnTo>
                  <a:lnTo>
                    <a:pt x="66" y="212"/>
                  </a:lnTo>
                  <a:lnTo>
                    <a:pt x="71" y="208"/>
                  </a:lnTo>
                  <a:lnTo>
                    <a:pt x="75" y="205"/>
                  </a:lnTo>
                  <a:lnTo>
                    <a:pt x="78" y="205"/>
                  </a:lnTo>
                  <a:lnTo>
                    <a:pt x="82" y="200"/>
                  </a:lnTo>
                  <a:lnTo>
                    <a:pt x="82" y="200"/>
                  </a:lnTo>
                  <a:lnTo>
                    <a:pt x="83" y="196"/>
                  </a:lnTo>
                  <a:lnTo>
                    <a:pt x="87" y="195"/>
                  </a:lnTo>
                  <a:lnTo>
                    <a:pt x="90" y="191"/>
                  </a:lnTo>
                  <a:lnTo>
                    <a:pt x="92" y="191"/>
                  </a:lnTo>
                  <a:lnTo>
                    <a:pt x="97" y="188"/>
                  </a:lnTo>
                  <a:lnTo>
                    <a:pt x="104" y="188"/>
                  </a:lnTo>
                  <a:lnTo>
                    <a:pt x="106" y="186"/>
                  </a:lnTo>
                  <a:lnTo>
                    <a:pt x="109" y="176"/>
                  </a:lnTo>
                  <a:lnTo>
                    <a:pt x="107" y="171"/>
                  </a:lnTo>
                  <a:lnTo>
                    <a:pt x="109" y="169"/>
                  </a:lnTo>
                  <a:lnTo>
                    <a:pt x="112" y="167"/>
                  </a:lnTo>
                  <a:lnTo>
                    <a:pt x="118" y="171"/>
                  </a:lnTo>
                  <a:lnTo>
                    <a:pt x="119" y="165"/>
                  </a:lnTo>
                  <a:lnTo>
                    <a:pt x="119" y="162"/>
                  </a:lnTo>
                  <a:lnTo>
                    <a:pt x="119" y="162"/>
                  </a:lnTo>
                  <a:lnTo>
                    <a:pt x="129" y="153"/>
                  </a:lnTo>
                  <a:lnTo>
                    <a:pt x="129" y="153"/>
                  </a:lnTo>
                  <a:lnTo>
                    <a:pt x="133" y="155"/>
                  </a:lnTo>
                  <a:lnTo>
                    <a:pt x="133" y="157"/>
                  </a:lnTo>
                  <a:lnTo>
                    <a:pt x="133" y="159"/>
                  </a:lnTo>
                  <a:lnTo>
                    <a:pt x="135" y="164"/>
                  </a:lnTo>
                  <a:lnTo>
                    <a:pt x="138" y="164"/>
                  </a:lnTo>
                  <a:lnTo>
                    <a:pt x="141" y="160"/>
                  </a:lnTo>
                  <a:lnTo>
                    <a:pt x="145" y="159"/>
                  </a:lnTo>
                  <a:lnTo>
                    <a:pt x="148" y="148"/>
                  </a:lnTo>
                  <a:lnTo>
                    <a:pt x="152" y="147"/>
                  </a:lnTo>
                  <a:lnTo>
                    <a:pt x="157" y="143"/>
                  </a:lnTo>
                  <a:lnTo>
                    <a:pt x="160" y="142"/>
                  </a:lnTo>
                  <a:lnTo>
                    <a:pt x="165" y="138"/>
                  </a:lnTo>
                  <a:lnTo>
                    <a:pt x="169" y="138"/>
                  </a:lnTo>
                  <a:lnTo>
                    <a:pt x="172" y="143"/>
                  </a:lnTo>
                  <a:lnTo>
                    <a:pt x="176" y="142"/>
                  </a:lnTo>
                  <a:lnTo>
                    <a:pt x="181" y="138"/>
                  </a:lnTo>
                  <a:lnTo>
                    <a:pt x="186" y="123"/>
                  </a:lnTo>
                  <a:lnTo>
                    <a:pt x="188" y="119"/>
                  </a:lnTo>
                  <a:lnTo>
                    <a:pt x="194" y="114"/>
                  </a:lnTo>
                  <a:lnTo>
                    <a:pt x="203" y="112"/>
                  </a:lnTo>
                  <a:lnTo>
                    <a:pt x="205" y="112"/>
                  </a:lnTo>
                  <a:lnTo>
                    <a:pt x="201" y="109"/>
                  </a:lnTo>
                  <a:lnTo>
                    <a:pt x="200" y="107"/>
                  </a:lnTo>
                  <a:lnTo>
                    <a:pt x="203" y="97"/>
                  </a:lnTo>
                  <a:lnTo>
                    <a:pt x="201" y="92"/>
                  </a:lnTo>
                  <a:lnTo>
                    <a:pt x="203" y="85"/>
                  </a:lnTo>
                  <a:lnTo>
                    <a:pt x="230" y="82"/>
                  </a:lnTo>
                  <a:lnTo>
                    <a:pt x="268" y="77"/>
                  </a:lnTo>
                  <a:lnTo>
                    <a:pt x="273" y="77"/>
                  </a:lnTo>
                  <a:lnTo>
                    <a:pt x="294" y="73"/>
                  </a:lnTo>
                  <a:lnTo>
                    <a:pt x="307" y="71"/>
                  </a:lnTo>
                  <a:lnTo>
                    <a:pt x="341" y="66"/>
                  </a:lnTo>
                  <a:lnTo>
                    <a:pt x="343" y="66"/>
                  </a:lnTo>
                  <a:lnTo>
                    <a:pt x="369" y="63"/>
                  </a:lnTo>
                  <a:lnTo>
                    <a:pt x="386" y="60"/>
                  </a:lnTo>
                  <a:lnTo>
                    <a:pt x="411" y="54"/>
                  </a:lnTo>
                  <a:lnTo>
                    <a:pt x="417" y="54"/>
                  </a:lnTo>
                  <a:lnTo>
                    <a:pt x="446" y="49"/>
                  </a:lnTo>
                  <a:lnTo>
                    <a:pt x="451" y="48"/>
                  </a:lnTo>
                  <a:lnTo>
                    <a:pt x="475" y="44"/>
                  </a:lnTo>
                  <a:lnTo>
                    <a:pt x="487" y="41"/>
                  </a:lnTo>
                  <a:lnTo>
                    <a:pt x="509" y="36"/>
                  </a:lnTo>
                  <a:lnTo>
                    <a:pt x="521" y="34"/>
                  </a:lnTo>
                  <a:lnTo>
                    <a:pt x="533" y="32"/>
                  </a:lnTo>
                  <a:lnTo>
                    <a:pt x="570" y="24"/>
                  </a:lnTo>
                  <a:lnTo>
                    <a:pt x="582" y="22"/>
                  </a:lnTo>
                  <a:lnTo>
                    <a:pt x="603" y="17"/>
                  </a:lnTo>
                  <a:lnTo>
                    <a:pt x="603" y="17"/>
                  </a:lnTo>
                  <a:lnTo>
                    <a:pt x="634" y="12"/>
                  </a:lnTo>
                  <a:lnTo>
                    <a:pt x="639" y="10"/>
                  </a:lnTo>
                  <a:lnTo>
                    <a:pt x="652" y="7"/>
                  </a:lnTo>
                  <a:lnTo>
                    <a:pt x="670" y="3"/>
                  </a:lnTo>
                  <a:lnTo>
                    <a:pt x="676" y="1"/>
                  </a:lnTo>
                  <a:lnTo>
                    <a:pt x="678" y="7"/>
                  </a:lnTo>
                  <a:lnTo>
                    <a:pt x="675" y="8"/>
                  </a:lnTo>
                  <a:lnTo>
                    <a:pt x="685" y="13"/>
                  </a:lnTo>
                  <a:lnTo>
                    <a:pt x="687" y="15"/>
                  </a:lnTo>
                  <a:lnTo>
                    <a:pt x="683" y="15"/>
                  </a:lnTo>
                  <a:lnTo>
                    <a:pt x="688" y="20"/>
                  </a:lnTo>
                  <a:lnTo>
                    <a:pt x="690" y="13"/>
                  </a:lnTo>
                  <a:lnTo>
                    <a:pt x="692" y="22"/>
                  </a:lnTo>
                  <a:lnTo>
                    <a:pt x="707" y="44"/>
                  </a:lnTo>
                  <a:lnTo>
                    <a:pt x="709" y="49"/>
                  </a:lnTo>
                  <a:lnTo>
                    <a:pt x="704" y="46"/>
                  </a:lnTo>
                  <a:lnTo>
                    <a:pt x="695" y="32"/>
                  </a:lnTo>
                  <a:lnTo>
                    <a:pt x="690" y="32"/>
                  </a:lnTo>
                  <a:lnTo>
                    <a:pt x="692" y="27"/>
                  </a:lnTo>
                  <a:lnTo>
                    <a:pt x="685" y="27"/>
                  </a:lnTo>
                  <a:lnTo>
                    <a:pt x="692" y="39"/>
                  </a:lnTo>
                  <a:lnTo>
                    <a:pt x="690" y="42"/>
                  </a:lnTo>
                  <a:lnTo>
                    <a:pt x="671" y="30"/>
                  </a:lnTo>
                  <a:lnTo>
                    <a:pt x="668" y="32"/>
                  </a:lnTo>
                  <a:lnTo>
                    <a:pt x="680" y="44"/>
                  </a:lnTo>
                  <a:lnTo>
                    <a:pt x="678" y="48"/>
                  </a:lnTo>
                  <a:lnTo>
                    <a:pt x="670" y="48"/>
                  </a:lnTo>
                  <a:lnTo>
                    <a:pt x="663" y="42"/>
                  </a:lnTo>
                  <a:lnTo>
                    <a:pt x="668" y="53"/>
                  </a:lnTo>
                  <a:lnTo>
                    <a:pt x="651" y="60"/>
                  </a:lnTo>
                  <a:lnTo>
                    <a:pt x="656" y="61"/>
                  </a:lnTo>
                  <a:lnTo>
                    <a:pt x="649" y="68"/>
                  </a:lnTo>
                  <a:lnTo>
                    <a:pt x="642" y="70"/>
                  </a:lnTo>
                  <a:lnTo>
                    <a:pt x="637" y="65"/>
                  </a:lnTo>
                  <a:lnTo>
                    <a:pt x="639" y="66"/>
                  </a:lnTo>
                  <a:lnTo>
                    <a:pt x="634" y="66"/>
                  </a:lnTo>
                  <a:lnTo>
                    <a:pt x="629" y="56"/>
                  </a:lnTo>
                  <a:lnTo>
                    <a:pt x="629" y="41"/>
                  </a:lnTo>
                  <a:lnTo>
                    <a:pt x="620" y="36"/>
                  </a:lnTo>
                  <a:lnTo>
                    <a:pt x="606" y="34"/>
                  </a:lnTo>
                  <a:lnTo>
                    <a:pt x="623" y="39"/>
                  </a:lnTo>
                  <a:lnTo>
                    <a:pt x="627" y="44"/>
                  </a:lnTo>
                  <a:lnTo>
                    <a:pt x="625" y="48"/>
                  </a:lnTo>
                  <a:lnTo>
                    <a:pt x="625" y="58"/>
                  </a:lnTo>
                  <a:lnTo>
                    <a:pt x="635" y="73"/>
                  </a:lnTo>
                  <a:lnTo>
                    <a:pt x="632" y="80"/>
                  </a:lnTo>
                  <a:lnTo>
                    <a:pt x="635" y="78"/>
                  </a:lnTo>
                  <a:lnTo>
                    <a:pt x="659" y="70"/>
                  </a:lnTo>
                  <a:lnTo>
                    <a:pt x="663" y="73"/>
                  </a:lnTo>
                  <a:lnTo>
                    <a:pt x="676" y="66"/>
                  </a:lnTo>
                  <a:lnTo>
                    <a:pt x="687" y="65"/>
                  </a:lnTo>
                  <a:lnTo>
                    <a:pt x="693" y="68"/>
                  </a:lnTo>
                  <a:lnTo>
                    <a:pt x="692" y="87"/>
                  </a:lnTo>
                  <a:lnTo>
                    <a:pt x="697" y="94"/>
                  </a:lnTo>
                  <a:lnTo>
                    <a:pt x="687" y="95"/>
                  </a:lnTo>
                  <a:lnTo>
                    <a:pt x="692" y="97"/>
                  </a:lnTo>
                  <a:lnTo>
                    <a:pt x="699" y="95"/>
                  </a:lnTo>
                  <a:lnTo>
                    <a:pt x="697" y="71"/>
                  </a:lnTo>
                  <a:lnTo>
                    <a:pt x="711" y="65"/>
                  </a:lnTo>
                  <a:lnTo>
                    <a:pt x="717" y="70"/>
                  </a:lnTo>
                  <a:lnTo>
                    <a:pt x="724" y="90"/>
                  </a:lnTo>
                  <a:lnTo>
                    <a:pt x="721" y="101"/>
                  </a:lnTo>
                  <a:lnTo>
                    <a:pt x="711" y="97"/>
                  </a:lnTo>
                  <a:lnTo>
                    <a:pt x="702" y="123"/>
                  </a:lnTo>
                  <a:lnTo>
                    <a:pt x="692" y="133"/>
                  </a:lnTo>
                  <a:lnTo>
                    <a:pt x="664" y="130"/>
                  </a:lnTo>
                  <a:lnTo>
                    <a:pt x="661" y="128"/>
                  </a:lnTo>
                  <a:lnTo>
                    <a:pt x="666" y="121"/>
                  </a:lnTo>
                  <a:lnTo>
                    <a:pt x="666" y="116"/>
                  </a:lnTo>
                  <a:lnTo>
                    <a:pt x="659" y="114"/>
                  </a:lnTo>
                  <a:lnTo>
                    <a:pt x="661" y="118"/>
                  </a:lnTo>
                  <a:lnTo>
                    <a:pt x="649" y="121"/>
                  </a:lnTo>
                  <a:lnTo>
                    <a:pt x="652" y="130"/>
                  </a:lnTo>
                  <a:lnTo>
                    <a:pt x="646" y="135"/>
                  </a:lnTo>
                  <a:lnTo>
                    <a:pt x="610" y="126"/>
                  </a:lnTo>
                  <a:lnTo>
                    <a:pt x="622" y="136"/>
                  </a:lnTo>
                  <a:lnTo>
                    <a:pt x="649" y="142"/>
                  </a:lnTo>
                  <a:lnTo>
                    <a:pt x="658" y="148"/>
                  </a:lnTo>
                  <a:lnTo>
                    <a:pt x="658" y="143"/>
                  </a:lnTo>
                  <a:lnTo>
                    <a:pt x="663" y="143"/>
                  </a:lnTo>
                  <a:lnTo>
                    <a:pt x="666" y="148"/>
                  </a:lnTo>
                  <a:lnTo>
                    <a:pt x="658" y="159"/>
                  </a:lnTo>
                  <a:lnTo>
                    <a:pt x="661" y="162"/>
                  </a:lnTo>
                  <a:lnTo>
                    <a:pt x="661" y="171"/>
                  </a:lnTo>
                  <a:lnTo>
                    <a:pt x="658" y="176"/>
                  </a:lnTo>
                  <a:lnTo>
                    <a:pt x="644" y="183"/>
                  </a:lnTo>
                  <a:lnTo>
                    <a:pt x="635" y="179"/>
                  </a:lnTo>
                  <a:lnTo>
                    <a:pt x="634" y="174"/>
                  </a:lnTo>
                  <a:lnTo>
                    <a:pt x="623" y="174"/>
                  </a:lnTo>
                  <a:lnTo>
                    <a:pt x="620" y="176"/>
                  </a:lnTo>
                  <a:lnTo>
                    <a:pt x="620" y="177"/>
                  </a:lnTo>
                  <a:lnTo>
                    <a:pt x="629" y="177"/>
                  </a:lnTo>
                  <a:lnTo>
                    <a:pt x="639" y="188"/>
                  </a:lnTo>
                  <a:lnTo>
                    <a:pt x="663" y="188"/>
                  </a:lnTo>
                  <a:lnTo>
                    <a:pt x="659" y="181"/>
                  </a:lnTo>
                  <a:lnTo>
                    <a:pt x="671" y="177"/>
                  </a:lnTo>
                  <a:lnTo>
                    <a:pt x="678" y="172"/>
                  </a:lnTo>
                  <a:lnTo>
                    <a:pt x="680" y="179"/>
                  </a:lnTo>
                  <a:lnTo>
                    <a:pt x="687" y="177"/>
                  </a:lnTo>
                  <a:lnTo>
                    <a:pt x="688" y="174"/>
                  </a:lnTo>
                  <a:lnTo>
                    <a:pt x="690" y="176"/>
                  </a:lnTo>
                  <a:lnTo>
                    <a:pt x="680" y="196"/>
                  </a:lnTo>
                  <a:lnTo>
                    <a:pt x="668" y="206"/>
                  </a:lnTo>
                  <a:lnTo>
                    <a:pt x="632" y="215"/>
                  </a:lnTo>
                  <a:lnTo>
                    <a:pt x="622" y="210"/>
                  </a:lnTo>
                  <a:lnTo>
                    <a:pt x="625" y="218"/>
                  </a:lnTo>
                  <a:lnTo>
                    <a:pt x="623" y="222"/>
                  </a:lnTo>
                  <a:lnTo>
                    <a:pt x="596" y="249"/>
                  </a:lnTo>
                  <a:lnTo>
                    <a:pt x="593" y="254"/>
                  </a:lnTo>
                  <a:lnTo>
                    <a:pt x="589" y="253"/>
                  </a:lnTo>
                  <a:lnTo>
                    <a:pt x="591" y="256"/>
                  </a:lnTo>
                  <a:lnTo>
                    <a:pt x="581" y="270"/>
                  </a:lnTo>
                  <a:lnTo>
                    <a:pt x="572" y="283"/>
                  </a:lnTo>
                  <a:lnTo>
                    <a:pt x="572" y="297"/>
                  </a:lnTo>
                  <a:lnTo>
                    <a:pt x="570" y="299"/>
                  </a:lnTo>
                  <a:lnTo>
                    <a:pt x="565" y="285"/>
                  </a:lnTo>
                  <a:lnTo>
                    <a:pt x="569" y="306"/>
                  </a:lnTo>
                  <a:lnTo>
                    <a:pt x="564" y="316"/>
                  </a:lnTo>
                  <a:lnTo>
                    <a:pt x="517" y="328"/>
                  </a:lnTo>
                  <a:lnTo>
                    <a:pt x="509" y="323"/>
                  </a:lnTo>
                  <a:lnTo>
                    <a:pt x="466" y="290"/>
                  </a:lnTo>
                  <a:lnTo>
                    <a:pt x="427" y="263"/>
                  </a:lnTo>
                  <a:lnTo>
                    <a:pt x="427" y="261"/>
                  </a:lnTo>
                  <a:lnTo>
                    <a:pt x="405" y="247"/>
                  </a:lnTo>
                  <a:lnTo>
                    <a:pt x="403" y="247"/>
                  </a:lnTo>
                  <a:lnTo>
                    <a:pt x="382" y="251"/>
                  </a:lnTo>
                  <a:lnTo>
                    <a:pt x="348" y="256"/>
                  </a:lnTo>
                  <a:lnTo>
                    <a:pt x="328" y="259"/>
                  </a:lnTo>
                  <a:lnTo>
                    <a:pt x="307" y="263"/>
                  </a:lnTo>
                  <a:lnTo>
                    <a:pt x="306" y="249"/>
                  </a:lnTo>
                  <a:lnTo>
                    <a:pt x="300" y="242"/>
                  </a:lnTo>
                  <a:lnTo>
                    <a:pt x="295" y="237"/>
                  </a:lnTo>
                  <a:lnTo>
                    <a:pt x="292" y="234"/>
                  </a:lnTo>
                  <a:lnTo>
                    <a:pt x="283" y="242"/>
                  </a:lnTo>
                  <a:lnTo>
                    <a:pt x="280" y="239"/>
                  </a:lnTo>
                  <a:lnTo>
                    <a:pt x="283" y="234"/>
                  </a:lnTo>
                  <a:lnTo>
                    <a:pt x="280" y="232"/>
                  </a:lnTo>
                  <a:lnTo>
                    <a:pt x="280" y="230"/>
                  </a:lnTo>
                  <a:lnTo>
                    <a:pt x="256" y="232"/>
                  </a:lnTo>
                  <a:lnTo>
                    <a:pt x="253" y="232"/>
                  </a:lnTo>
                  <a:lnTo>
                    <a:pt x="218" y="236"/>
                  </a:lnTo>
                  <a:lnTo>
                    <a:pt x="208" y="237"/>
                  </a:lnTo>
                  <a:lnTo>
                    <a:pt x="200" y="239"/>
                  </a:lnTo>
                  <a:lnTo>
                    <a:pt x="179" y="241"/>
                  </a:lnTo>
                  <a:lnTo>
                    <a:pt x="174" y="241"/>
                  </a:lnTo>
                  <a:lnTo>
                    <a:pt x="170" y="242"/>
                  </a:lnTo>
                  <a:lnTo>
                    <a:pt x="167" y="242"/>
                  </a:lnTo>
                  <a:lnTo>
                    <a:pt x="167" y="244"/>
                  </a:lnTo>
                  <a:lnTo>
                    <a:pt x="165" y="244"/>
                  </a:lnTo>
                  <a:lnTo>
                    <a:pt x="164" y="241"/>
                  </a:lnTo>
                  <a:lnTo>
                    <a:pt x="160" y="246"/>
                  </a:lnTo>
                  <a:lnTo>
                    <a:pt x="157" y="246"/>
                  </a:lnTo>
                  <a:lnTo>
                    <a:pt x="153" y="249"/>
                  </a:lnTo>
                  <a:lnTo>
                    <a:pt x="148" y="249"/>
                  </a:lnTo>
                  <a:lnTo>
                    <a:pt x="141" y="254"/>
                  </a:lnTo>
                  <a:lnTo>
                    <a:pt x="140" y="254"/>
                  </a:lnTo>
                  <a:lnTo>
                    <a:pt x="140" y="256"/>
                  </a:lnTo>
                  <a:lnTo>
                    <a:pt x="138" y="258"/>
                  </a:lnTo>
                  <a:lnTo>
                    <a:pt x="133" y="259"/>
                  </a:lnTo>
                  <a:lnTo>
                    <a:pt x="123" y="263"/>
                  </a:lnTo>
                  <a:lnTo>
                    <a:pt x="112" y="268"/>
                  </a:lnTo>
                  <a:lnTo>
                    <a:pt x="106" y="271"/>
                  </a:lnTo>
                  <a:lnTo>
                    <a:pt x="70" y="278"/>
                  </a:lnTo>
                  <a:lnTo>
                    <a:pt x="66" y="278"/>
                  </a:lnTo>
                  <a:lnTo>
                    <a:pt x="34" y="283"/>
                  </a:lnTo>
                  <a:lnTo>
                    <a:pt x="29" y="283"/>
                  </a:lnTo>
                  <a:close/>
                  <a:moveTo>
                    <a:pt x="678" y="1"/>
                  </a:moveTo>
                  <a:lnTo>
                    <a:pt x="682" y="1"/>
                  </a:lnTo>
                  <a:lnTo>
                    <a:pt x="688" y="1"/>
                  </a:lnTo>
                  <a:lnTo>
                    <a:pt x="688" y="8"/>
                  </a:lnTo>
                  <a:lnTo>
                    <a:pt x="685" y="8"/>
                  </a:lnTo>
                  <a:lnTo>
                    <a:pt x="683" y="5"/>
                  </a:lnTo>
                  <a:lnTo>
                    <a:pt x="678" y="1"/>
                  </a:lnTo>
                  <a:close/>
                  <a:moveTo>
                    <a:pt x="688" y="0"/>
                  </a:moveTo>
                  <a:lnTo>
                    <a:pt x="690" y="0"/>
                  </a:lnTo>
                  <a:lnTo>
                    <a:pt x="707" y="32"/>
                  </a:lnTo>
                  <a:lnTo>
                    <a:pt x="736" y="73"/>
                  </a:lnTo>
                  <a:lnTo>
                    <a:pt x="717" y="49"/>
                  </a:lnTo>
                  <a:lnTo>
                    <a:pt x="714" y="49"/>
                  </a:lnTo>
                  <a:lnTo>
                    <a:pt x="705" y="32"/>
                  </a:lnTo>
                  <a:lnTo>
                    <a:pt x="688" y="0"/>
                  </a:lnTo>
                  <a:close/>
                  <a:moveTo>
                    <a:pt x="743" y="85"/>
                  </a:moveTo>
                  <a:lnTo>
                    <a:pt x="738" y="75"/>
                  </a:lnTo>
                  <a:lnTo>
                    <a:pt x="748" y="90"/>
                  </a:lnTo>
                  <a:lnTo>
                    <a:pt x="752" y="133"/>
                  </a:lnTo>
                  <a:lnTo>
                    <a:pt x="733" y="142"/>
                  </a:lnTo>
                  <a:lnTo>
                    <a:pt x="736" y="135"/>
                  </a:lnTo>
                  <a:lnTo>
                    <a:pt x="750" y="126"/>
                  </a:lnTo>
                  <a:lnTo>
                    <a:pt x="748" y="95"/>
                  </a:lnTo>
                  <a:lnTo>
                    <a:pt x="743" y="85"/>
                  </a:lnTo>
                  <a:close/>
                  <a:moveTo>
                    <a:pt x="712" y="159"/>
                  </a:moveTo>
                  <a:lnTo>
                    <a:pt x="716" y="153"/>
                  </a:lnTo>
                  <a:lnTo>
                    <a:pt x="724" y="145"/>
                  </a:lnTo>
                  <a:lnTo>
                    <a:pt x="731" y="142"/>
                  </a:lnTo>
                  <a:lnTo>
                    <a:pt x="728" y="145"/>
                  </a:lnTo>
                  <a:lnTo>
                    <a:pt x="721" y="150"/>
                  </a:lnTo>
                  <a:lnTo>
                    <a:pt x="714" y="159"/>
                  </a:lnTo>
                  <a:lnTo>
                    <a:pt x="712" y="159"/>
                  </a:lnTo>
                  <a:close/>
                  <a:moveTo>
                    <a:pt x="678" y="218"/>
                  </a:moveTo>
                  <a:lnTo>
                    <a:pt x="676" y="217"/>
                  </a:lnTo>
                  <a:lnTo>
                    <a:pt x="678" y="215"/>
                  </a:lnTo>
                  <a:lnTo>
                    <a:pt x="682" y="206"/>
                  </a:lnTo>
                  <a:lnTo>
                    <a:pt x="683" y="198"/>
                  </a:lnTo>
                  <a:lnTo>
                    <a:pt x="688" y="191"/>
                  </a:lnTo>
                  <a:lnTo>
                    <a:pt x="693" y="184"/>
                  </a:lnTo>
                  <a:lnTo>
                    <a:pt x="682" y="206"/>
                  </a:lnTo>
                  <a:lnTo>
                    <a:pt x="678" y="218"/>
                  </a:lnTo>
                  <a:close/>
                </a:path>
              </a:pathLst>
            </a:custGeom>
            <a:grpFill/>
            <a:ln w="6350" cap="flat" cmpd="sng">
              <a:solidFill>
                <a:schemeClr val="bg1"/>
              </a:solidFill>
              <a:prstDash val="solid"/>
              <a:round/>
              <a:headEnd type="none" w="med" len="med"/>
              <a:tailEnd type="none" w="med" len="me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48" name="Freeform 44">
              <a:extLst>
                <a:ext uri="{FF2B5EF4-FFF2-40B4-BE49-F238E27FC236}">
                  <a16:creationId xmlns:a16="http://schemas.microsoft.com/office/drawing/2014/main" id="{74DF4DCC-C0AB-4831-A893-26D67B35D091}"/>
                </a:ext>
              </a:extLst>
            </p:cNvPr>
            <p:cNvSpPr>
              <a:spLocks/>
            </p:cNvSpPr>
            <p:nvPr/>
          </p:nvSpPr>
          <p:spPr bwMode="gray">
            <a:xfrm>
              <a:off x="6065313" y="4026680"/>
              <a:ext cx="1167440" cy="404176"/>
            </a:xfrm>
            <a:custGeom>
              <a:avLst/>
              <a:gdLst/>
              <a:ahLst/>
              <a:cxnLst>
                <a:cxn ang="0">
                  <a:pos x="540" y="165"/>
                </a:cxn>
                <a:cxn ang="0">
                  <a:pos x="528" y="176"/>
                </a:cxn>
                <a:cxn ang="0">
                  <a:pos x="494" y="208"/>
                </a:cxn>
                <a:cxn ang="0">
                  <a:pos x="463" y="212"/>
                </a:cxn>
                <a:cxn ang="0">
                  <a:pos x="408" y="218"/>
                </a:cxn>
                <a:cxn ang="0">
                  <a:pos x="306" y="227"/>
                </a:cxn>
                <a:cxn ang="0">
                  <a:pos x="234" y="232"/>
                </a:cxn>
                <a:cxn ang="0">
                  <a:pos x="169" y="239"/>
                </a:cxn>
                <a:cxn ang="0">
                  <a:pos x="113" y="244"/>
                </a:cxn>
                <a:cxn ang="0">
                  <a:pos x="51" y="248"/>
                </a:cxn>
                <a:cxn ang="0">
                  <a:pos x="10" y="242"/>
                </a:cxn>
                <a:cxn ang="0">
                  <a:pos x="19" y="237"/>
                </a:cxn>
                <a:cxn ang="0">
                  <a:pos x="19" y="227"/>
                </a:cxn>
                <a:cxn ang="0">
                  <a:pos x="10" y="220"/>
                </a:cxn>
                <a:cxn ang="0">
                  <a:pos x="15" y="212"/>
                </a:cxn>
                <a:cxn ang="0">
                  <a:pos x="14" y="205"/>
                </a:cxn>
                <a:cxn ang="0">
                  <a:pos x="9" y="205"/>
                </a:cxn>
                <a:cxn ang="0">
                  <a:pos x="17" y="200"/>
                </a:cxn>
                <a:cxn ang="0">
                  <a:pos x="24" y="201"/>
                </a:cxn>
                <a:cxn ang="0">
                  <a:pos x="24" y="189"/>
                </a:cxn>
                <a:cxn ang="0">
                  <a:pos x="29" y="191"/>
                </a:cxn>
                <a:cxn ang="0">
                  <a:pos x="34" y="181"/>
                </a:cxn>
                <a:cxn ang="0">
                  <a:pos x="31" y="179"/>
                </a:cxn>
                <a:cxn ang="0">
                  <a:pos x="29" y="169"/>
                </a:cxn>
                <a:cxn ang="0">
                  <a:pos x="39" y="162"/>
                </a:cxn>
                <a:cxn ang="0">
                  <a:pos x="46" y="157"/>
                </a:cxn>
                <a:cxn ang="0">
                  <a:pos x="43" y="150"/>
                </a:cxn>
                <a:cxn ang="0">
                  <a:pos x="51" y="150"/>
                </a:cxn>
                <a:cxn ang="0">
                  <a:pos x="46" y="138"/>
                </a:cxn>
                <a:cxn ang="0">
                  <a:pos x="53" y="123"/>
                </a:cxn>
                <a:cxn ang="0">
                  <a:pos x="44" y="113"/>
                </a:cxn>
                <a:cxn ang="0">
                  <a:pos x="58" y="111"/>
                </a:cxn>
                <a:cxn ang="0">
                  <a:pos x="51" y="102"/>
                </a:cxn>
                <a:cxn ang="0">
                  <a:pos x="55" y="92"/>
                </a:cxn>
                <a:cxn ang="0">
                  <a:pos x="60" y="89"/>
                </a:cxn>
                <a:cxn ang="0">
                  <a:pos x="72" y="83"/>
                </a:cxn>
                <a:cxn ang="0">
                  <a:pos x="144" y="80"/>
                </a:cxn>
                <a:cxn ang="0">
                  <a:pos x="183" y="66"/>
                </a:cxn>
                <a:cxn ang="0">
                  <a:pos x="212" y="58"/>
                </a:cxn>
                <a:cxn ang="0">
                  <a:pos x="265" y="53"/>
                </a:cxn>
                <a:cxn ang="0">
                  <a:pos x="338" y="46"/>
                </a:cxn>
                <a:cxn ang="0">
                  <a:pos x="415" y="39"/>
                </a:cxn>
                <a:cxn ang="0">
                  <a:pos x="460" y="37"/>
                </a:cxn>
                <a:cxn ang="0">
                  <a:pos x="532" y="29"/>
                </a:cxn>
                <a:cxn ang="0">
                  <a:pos x="588" y="20"/>
                </a:cxn>
                <a:cxn ang="0">
                  <a:pos x="624" y="17"/>
                </a:cxn>
                <a:cxn ang="0">
                  <a:pos x="682" y="8"/>
                </a:cxn>
                <a:cxn ang="0">
                  <a:pos x="725" y="0"/>
                </a:cxn>
                <a:cxn ang="0">
                  <a:pos x="720" y="25"/>
                </a:cxn>
                <a:cxn ang="0">
                  <a:pos x="714" y="32"/>
                </a:cxn>
                <a:cxn ang="0">
                  <a:pos x="696" y="60"/>
                </a:cxn>
                <a:cxn ang="0">
                  <a:pos x="680" y="60"/>
                </a:cxn>
                <a:cxn ang="0">
                  <a:pos x="665" y="77"/>
                </a:cxn>
                <a:cxn ang="0">
                  <a:pos x="653" y="77"/>
                </a:cxn>
                <a:cxn ang="0">
                  <a:pos x="649" y="71"/>
                </a:cxn>
                <a:cxn ang="0">
                  <a:pos x="638" y="89"/>
                </a:cxn>
                <a:cxn ang="0">
                  <a:pos x="629" y="94"/>
                </a:cxn>
                <a:cxn ang="0">
                  <a:pos x="612" y="109"/>
                </a:cxn>
                <a:cxn ang="0">
                  <a:pos x="602" y="118"/>
                </a:cxn>
                <a:cxn ang="0">
                  <a:pos x="591" y="126"/>
                </a:cxn>
                <a:cxn ang="0">
                  <a:pos x="573" y="135"/>
                </a:cxn>
                <a:cxn ang="0">
                  <a:pos x="550" y="145"/>
                </a:cxn>
              </a:cxnLst>
              <a:rect l="0" t="0" r="r" b="b"/>
              <a:pathLst>
                <a:path w="725" h="251">
                  <a:moveTo>
                    <a:pt x="545" y="152"/>
                  </a:moveTo>
                  <a:lnTo>
                    <a:pt x="540" y="157"/>
                  </a:lnTo>
                  <a:lnTo>
                    <a:pt x="542" y="160"/>
                  </a:lnTo>
                  <a:lnTo>
                    <a:pt x="540" y="165"/>
                  </a:lnTo>
                  <a:lnTo>
                    <a:pt x="540" y="169"/>
                  </a:lnTo>
                  <a:lnTo>
                    <a:pt x="540" y="172"/>
                  </a:lnTo>
                  <a:lnTo>
                    <a:pt x="535" y="176"/>
                  </a:lnTo>
                  <a:lnTo>
                    <a:pt x="528" y="176"/>
                  </a:lnTo>
                  <a:lnTo>
                    <a:pt x="525" y="174"/>
                  </a:lnTo>
                  <a:lnTo>
                    <a:pt x="520" y="181"/>
                  </a:lnTo>
                  <a:lnTo>
                    <a:pt x="520" y="205"/>
                  </a:lnTo>
                  <a:lnTo>
                    <a:pt x="494" y="208"/>
                  </a:lnTo>
                  <a:lnTo>
                    <a:pt x="480" y="210"/>
                  </a:lnTo>
                  <a:lnTo>
                    <a:pt x="479" y="210"/>
                  </a:lnTo>
                  <a:lnTo>
                    <a:pt x="463" y="212"/>
                  </a:lnTo>
                  <a:lnTo>
                    <a:pt x="463" y="212"/>
                  </a:lnTo>
                  <a:lnTo>
                    <a:pt x="438" y="215"/>
                  </a:lnTo>
                  <a:lnTo>
                    <a:pt x="429" y="215"/>
                  </a:lnTo>
                  <a:lnTo>
                    <a:pt x="420" y="217"/>
                  </a:lnTo>
                  <a:lnTo>
                    <a:pt x="408" y="218"/>
                  </a:lnTo>
                  <a:lnTo>
                    <a:pt x="386" y="220"/>
                  </a:lnTo>
                  <a:lnTo>
                    <a:pt x="347" y="224"/>
                  </a:lnTo>
                  <a:lnTo>
                    <a:pt x="347" y="224"/>
                  </a:lnTo>
                  <a:lnTo>
                    <a:pt x="306" y="227"/>
                  </a:lnTo>
                  <a:lnTo>
                    <a:pt x="303" y="229"/>
                  </a:lnTo>
                  <a:lnTo>
                    <a:pt x="268" y="230"/>
                  </a:lnTo>
                  <a:lnTo>
                    <a:pt x="268" y="230"/>
                  </a:lnTo>
                  <a:lnTo>
                    <a:pt x="234" y="232"/>
                  </a:lnTo>
                  <a:lnTo>
                    <a:pt x="202" y="236"/>
                  </a:lnTo>
                  <a:lnTo>
                    <a:pt x="183" y="237"/>
                  </a:lnTo>
                  <a:lnTo>
                    <a:pt x="183" y="237"/>
                  </a:lnTo>
                  <a:lnTo>
                    <a:pt x="169" y="239"/>
                  </a:lnTo>
                  <a:lnTo>
                    <a:pt x="168" y="239"/>
                  </a:lnTo>
                  <a:lnTo>
                    <a:pt x="132" y="242"/>
                  </a:lnTo>
                  <a:lnTo>
                    <a:pt x="130" y="242"/>
                  </a:lnTo>
                  <a:lnTo>
                    <a:pt x="113" y="244"/>
                  </a:lnTo>
                  <a:lnTo>
                    <a:pt x="96" y="246"/>
                  </a:lnTo>
                  <a:lnTo>
                    <a:pt x="84" y="246"/>
                  </a:lnTo>
                  <a:lnTo>
                    <a:pt x="56" y="248"/>
                  </a:lnTo>
                  <a:lnTo>
                    <a:pt x="51" y="248"/>
                  </a:lnTo>
                  <a:lnTo>
                    <a:pt x="0" y="251"/>
                  </a:lnTo>
                  <a:lnTo>
                    <a:pt x="0" y="246"/>
                  </a:lnTo>
                  <a:lnTo>
                    <a:pt x="9" y="246"/>
                  </a:lnTo>
                  <a:lnTo>
                    <a:pt x="10" y="242"/>
                  </a:lnTo>
                  <a:lnTo>
                    <a:pt x="10" y="239"/>
                  </a:lnTo>
                  <a:lnTo>
                    <a:pt x="10" y="237"/>
                  </a:lnTo>
                  <a:lnTo>
                    <a:pt x="12" y="236"/>
                  </a:lnTo>
                  <a:lnTo>
                    <a:pt x="19" y="237"/>
                  </a:lnTo>
                  <a:lnTo>
                    <a:pt x="19" y="234"/>
                  </a:lnTo>
                  <a:lnTo>
                    <a:pt x="19" y="232"/>
                  </a:lnTo>
                  <a:lnTo>
                    <a:pt x="19" y="230"/>
                  </a:lnTo>
                  <a:lnTo>
                    <a:pt x="19" y="227"/>
                  </a:lnTo>
                  <a:lnTo>
                    <a:pt x="17" y="224"/>
                  </a:lnTo>
                  <a:lnTo>
                    <a:pt x="15" y="222"/>
                  </a:lnTo>
                  <a:lnTo>
                    <a:pt x="12" y="222"/>
                  </a:lnTo>
                  <a:lnTo>
                    <a:pt x="10" y="220"/>
                  </a:lnTo>
                  <a:lnTo>
                    <a:pt x="10" y="218"/>
                  </a:lnTo>
                  <a:lnTo>
                    <a:pt x="15" y="217"/>
                  </a:lnTo>
                  <a:lnTo>
                    <a:pt x="15" y="213"/>
                  </a:lnTo>
                  <a:lnTo>
                    <a:pt x="15" y="212"/>
                  </a:lnTo>
                  <a:lnTo>
                    <a:pt x="15" y="210"/>
                  </a:lnTo>
                  <a:lnTo>
                    <a:pt x="17" y="206"/>
                  </a:lnTo>
                  <a:lnTo>
                    <a:pt x="15" y="205"/>
                  </a:lnTo>
                  <a:lnTo>
                    <a:pt x="14" y="205"/>
                  </a:lnTo>
                  <a:lnTo>
                    <a:pt x="12" y="206"/>
                  </a:lnTo>
                  <a:lnTo>
                    <a:pt x="12" y="210"/>
                  </a:lnTo>
                  <a:lnTo>
                    <a:pt x="9" y="210"/>
                  </a:lnTo>
                  <a:lnTo>
                    <a:pt x="9" y="205"/>
                  </a:lnTo>
                  <a:lnTo>
                    <a:pt x="12" y="203"/>
                  </a:lnTo>
                  <a:lnTo>
                    <a:pt x="14" y="200"/>
                  </a:lnTo>
                  <a:lnTo>
                    <a:pt x="15" y="200"/>
                  </a:lnTo>
                  <a:lnTo>
                    <a:pt x="17" y="200"/>
                  </a:lnTo>
                  <a:lnTo>
                    <a:pt x="17" y="205"/>
                  </a:lnTo>
                  <a:lnTo>
                    <a:pt x="19" y="206"/>
                  </a:lnTo>
                  <a:lnTo>
                    <a:pt x="19" y="205"/>
                  </a:lnTo>
                  <a:lnTo>
                    <a:pt x="24" y="201"/>
                  </a:lnTo>
                  <a:lnTo>
                    <a:pt x="19" y="195"/>
                  </a:lnTo>
                  <a:lnTo>
                    <a:pt x="19" y="191"/>
                  </a:lnTo>
                  <a:lnTo>
                    <a:pt x="19" y="191"/>
                  </a:lnTo>
                  <a:lnTo>
                    <a:pt x="24" y="189"/>
                  </a:lnTo>
                  <a:lnTo>
                    <a:pt x="26" y="193"/>
                  </a:lnTo>
                  <a:lnTo>
                    <a:pt x="27" y="193"/>
                  </a:lnTo>
                  <a:lnTo>
                    <a:pt x="29" y="193"/>
                  </a:lnTo>
                  <a:lnTo>
                    <a:pt x="29" y="191"/>
                  </a:lnTo>
                  <a:lnTo>
                    <a:pt x="26" y="188"/>
                  </a:lnTo>
                  <a:lnTo>
                    <a:pt x="26" y="184"/>
                  </a:lnTo>
                  <a:lnTo>
                    <a:pt x="32" y="181"/>
                  </a:lnTo>
                  <a:lnTo>
                    <a:pt x="34" y="181"/>
                  </a:lnTo>
                  <a:lnTo>
                    <a:pt x="34" y="179"/>
                  </a:lnTo>
                  <a:lnTo>
                    <a:pt x="34" y="177"/>
                  </a:lnTo>
                  <a:lnTo>
                    <a:pt x="32" y="177"/>
                  </a:lnTo>
                  <a:lnTo>
                    <a:pt x="31" y="179"/>
                  </a:lnTo>
                  <a:lnTo>
                    <a:pt x="27" y="177"/>
                  </a:lnTo>
                  <a:lnTo>
                    <a:pt x="26" y="172"/>
                  </a:lnTo>
                  <a:lnTo>
                    <a:pt x="26" y="171"/>
                  </a:lnTo>
                  <a:lnTo>
                    <a:pt x="29" y="169"/>
                  </a:lnTo>
                  <a:lnTo>
                    <a:pt x="32" y="169"/>
                  </a:lnTo>
                  <a:lnTo>
                    <a:pt x="36" y="167"/>
                  </a:lnTo>
                  <a:lnTo>
                    <a:pt x="38" y="165"/>
                  </a:lnTo>
                  <a:lnTo>
                    <a:pt x="39" y="162"/>
                  </a:lnTo>
                  <a:lnTo>
                    <a:pt x="41" y="160"/>
                  </a:lnTo>
                  <a:lnTo>
                    <a:pt x="43" y="162"/>
                  </a:lnTo>
                  <a:lnTo>
                    <a:pt x="46" y="159"/>
                  </a:lnTo>
                  <a:lnTo>
                    <a:pt x="46" y="157"/>
                  </a:lnTo>
                  <a:lnTo>
                    <a:pt x="41" y="155"/>
                  </a:lnTo>
                  <a:lnTo>
                    <a:pt x="41" y="154"/>
                  </a:lnTo>
                  <a:lnTo>
                    <a:pt x="41" y="152"/>
                  </a:lnTo>
                  <a:lnTo>
                    <a:pt x="43" y="150"/>
                  </a:lnTo>
                  <a:lnTo>
                    <a:pt x="44" y="150"/>
                  </a:lnTo>
                  <a:lnTo>
                    <a:pt x="50" y="152"/>
                  </a:lnTo>
                  <a:lnTo>
                    <a:pt x="50" y="152"/>
                  </a:lnTo>
                  <a:lnTo>
                    <a:pt x="51" y="150"/>
                  </a:lnTo>
                  <a:lnTo>
                    <a:pt x="50" y="147"/>
                  </a:lnTo>
                  <a:lnTo>
                    <a:pt x="44" y="145"/>
                  </a:lnTo>
                  <a:lnTo>
                    <a:pt x="43" y="140"/>
                  </a:lnTo>
                  <a:lnTo>
                    <a:pt x="46" y="138"/>
                  </a:lnTo>
                  <a:lnTo>
                    <a:pt x="46" y="131"/>
                  </a:lnTo>
                  <a:lnTo>
                    <a:pt x="48" y="130"/>
                  </a:lnTo>
                  <a:lnTo>
                    <a:pt x="53" y="126"/>
                  </a:lnTo>
                  <a:lnTo>
                    <a:pt x="53" y="123"/>
                  </a:lnTo>
                  <a:lnTo>
                    <a:pt x="51" y="121"/>
                  </a:lnTo>
                  <a:lnTo>
                    <a:pt x="46" y="116"/>
                  </a:lnTo>
                  <a:lnTo>
                    <a:pt x="44" y="114"/>
                  </a:lnTo>
                  <a:lnTo>
                    <a:pt x="44" y="113"/>
                  </a:lnTo>
                  <a:lnTo>
                    <a:pt x="46" y="113"/>
                  </a:lnTo>
                  <a:lnTo>
                    <a:pt x="51" y="114"/>
                  </a:lnTo>
                  <a:lnTo>
                    <a:pt x="56" y="113"/>
                  </a:lnTo>
                  <a:lnTo>
                    <a:pt x="58" y="111"/>
                  </a:lnTo>
                  <a:lnTo>
                    <a:pt x="56" y="109"/>
                  </a:lnTo>
                  <a:lnTo>
                    <a:pt x="51" y="107"/>
                  </a:lnTo>
                  <a:lnTo>
                    <a:pt x="50" y="104"/>
                  </a:lnTo>
                  <a:lnTo>
                    <a:pt x="51" y="102"/>
                  </a:lnTo>
                  <a:lnTo>
                    <a:pt x="56" y="102"/>
                  </a:lnTo>
                  <a:lnTo>
                    <a:pt x="58" y="101"/>
                  </a:lnTo>
                  <a:lnTo>
                    <a:pt x="58" y="95"/>
                  </a:lnTo>
                  <a:lnTo>
                    <a:pt x="55" y="92"/>
                  </a:lnTo>
                  <a:lnTo>
                    <a:pt x="58" y="89"/>
                  </a:lnTo>
                  <a:lnTo>
                    <a:pt x="56" y="85"/>
                  </a:lnTo>
                  <a:lnTo>
                    <a:pt x="62" y="85"/>
                  </a:lnTo>
                  <a:lnTo>
                    <a:pt x="60" y="89"/>
                  </a:lnTo>
                  <a:lnTo>
                    <a:pt x="62" y="90"/>
                  </a:lnTo>
                  <a:lnTo>
                    <a:pt x="63" y="90"/>
                  </a:lnTo>
                  <a:lnTo>
                    <a:pt x="67" y="85"/>
                  </a:lnTo>
                  <a:lnTo>
                    <a:pt x="72" y="83"/>
                  </a:lnTo>
                  <a:lnTo>
                    <a:pt x="116" y="82"/>
                  </a:lnTo>
                  <a:lnTo>
                    <a:pt x="116" y="82"/>
                  </a:lnTo>
                  <a:lnTo>
                    <a:pt x="118" y="82"/>
                  </a:lnTo>
                  <a:lnTo>
                    <a:pt x="144" y="80"/>
                  </a:lnTo>
                  <a:lnTo>
                    <a:pt x="144" y="80"/>
                  </a:lnTo>
                  <a:lnTo>
                    <a:pt x="183" y="77"/>
                  </a:lnTo>
                  <a:lnTo>
                    <a:pt x="183" y="71"/>
                  </a:lnTo>
                  <a:lnTo>
                    <a:pt x="183" y="66"/>
                  </a:lnTo>
                  <a:lnTo>
                    <a:pt x="179" y="56"/>
                  </a:lnTo>
                  <a:lnTo>
                    <a:pt x="197" y="56"/>
                  </a:lnTo>
                  <a:lnTo>
                    <a:pt x="198" y="60"/>
                  </a:lnTo>
                  <a:lnTo>
                    <a:pt x="212" y="58"/>
                  </a:lnTo>
                  <a:lnTo>
                    <a:pt x="215" y="58"/>
                  </a:lnTo>
                  <a:lnTo>
                    <a:pt x="241" y="54"/>
                  </a:lnTo>
                  <a:lnTo>
                    <a:pt x="262" y="53"/>
                  </a:lnTo>
                  <a:lnTo>
                    <a:pt x="265" y="53"/>
                  </a:lnTo>
                  <a:lnTo>
                    <a:pt x="291" y="49"/>
                  </a:lnTo>
                  <a:lnTo>
                    <a:pt x="313" y="48"/>
                  </a:lnTo>
                  <a:lnTo>
                    <a:pt x="320" y="48"/>
                  </a:lnTo>
                  <a:lnTo>
                    <a:pt x="338" y="46"/>
                  </a:lnTo>
                  <a:lnTo>
                    <a:pt x="357" y="46"/>
                  </a:lnTo>
                  <a:lnTo>
                    <a:pt x="374" y="44"/>
                  </a:lnTo>
                  <a:lnTo>
                    <a:pt x="403" y="42"/>
                  </a:lnTo>
                  <a:lnTo>
                    <a:pt x="415" y="39"/>
                  </a:lnTo>
                  <a:lnTo>
                    <a:pt x="417" y="39"/>
                  </a:lnTo>
                  <a:lnTo>
                    <a:pt x="441" y="37"/>
                  </a:lnTo>
                  <a:lnTo>
                    <a:pt x="458" y="37"/>
                  </a:lnTo>
                  <a:lnTo>
                    <a:pt x="460" y="37"/>
                  </a:lnTo>
                  <a:lnTo>
                    <a:pt x="504" y="32"/>
                  </a:lnTo>
                  <a:lnTo>
                    <a:pt x="504" y="32"/>
                  </a:lnTo>
                  <a:lnTo>
                    <a:pt x="525" y="30"/>
                  </a:lnTo>
                  <a:lnTo>
                    <a:pt x="532" y="29"/>
                  </a:lnTo>
                  <a:lnTo>
                    <a:pt x="552" y="27"/>
                  </a:lnTo>
                  <a:lnTo>
                    <a:pt x="554" y="25"/>
                  </a:lnTo>
                  <a:lnTo>
                    <a:pt x="571" y="24"/>
                  </a:lnTo>
                  <a:lnTo>
                    <a:pt x="588" y="20"/>
                  </a:lnTo>
                  <a:lnTo>
                    <a:pt x="590" y="22"/>
                  </a:lnTo>
                  <a:lnTo>
                    <a:pt x="593" y="22"/>
                  </a:lnTo>
                  <a:lnTo>
                    <a:pt x="612" y="19"/>
                  </a:lnTo>
                  <a:lnTo>
                    <a:pt x="624" y="17"/>
                  </a:lnTo>
                  <a:lnTo>
                    <a:pt x="644" y="13"/>
                  </a:lnTo>
                  <a:lnTo>
                    <a:pt x="670" y="10"/>
                  </a:lnTo>
                  <a:lnTo>
                    <a:pt x="677" y="8"/>
                  </a:lnTo>
                  <a:lnTo>
                    <a:pt x="682" y="8"/>
                  </a:lnTo>
                  <a:lnTo>
                    <a:pt x="701" y="5"/>
                  </a:lnTo>
                  <a:lnTo>
                    <a:pt x="702" y="3"/>
                  </a:lnTo>
                  <a:lnTo>
                    <a:pt x="709" y="3"/>
                  </a:lnTo>
                  <a:lnTo>
                    <a:pt x="725" y="0"/>
                  </a:lnTo>
                  <a:lnTo>
                    <a:pt x="723" y="3"/>
                  </a:lnTo>
                  <a:lnTo>
                    <a:pt x="721" y="10"/>
                  </a:lnTo>
                  <a:lnTo>
                    <a:pt x="723" y="15"/>
                  </a:lnTo>
                  <a:lnTo>
                    <a:pt x="720" y="25"/>
                  </a:lnTo>
                  <a:lnTo>
                    <a:pt x="721" y="27"/>
                  </a:lnTo>
                  <a:lnTo>
                    <a:pt x="725" y="30"/>
                  </a:lnTo>
                  <a:lnTo>
                    <a:pt x="723" y="30"/>
                  </a:lnTo>
                  <a:lnTo>
                    <a:pt x="714" y="32"/>
                  </a:lnTo>
                  <a:lnTo>
                    <a:pt x="708" y="37"/>
                  </a:lnTo>
                  <a:lnTo>
                    <a:pt x="706" y="41"/>
                  </a:lnTo>
                  <a:lnTo>
                    <a:pt x="701" y="56"/>
                  </a:lnTo>
                  <a:lnTo>
                    <a:pt x="696" y="60"/>
                  </a:lnTo>
                  <a:lnTo>
                    <a:pt x="692" y="61"/>
                  </a:lnTo>
                  <a:lnTo>
                    <a:pt x="689" y="56"/>
                  </a:lnTo>
                  <a:lnTo>
                    <a:pt x="685" y="56"/>
                  </a:lnTo>
                  <a:lnTo>
                    <a:pt x="680" y="60"/>
                  </a:lnTo>
                  <a:lnTo>
                    <a:pt x="677" y="61"/>
                  </a:lnTo>
                  <a:lnTo>
                    <a:pt x="672" y="65"/>
                  </a:lnTo>
                  <a:lnTo>
                    <a:pt x="668" y="66"/>
                  </a:lnTo>
                  <a:lnTo>
                    <a:pt x="665" y="77"/>
                  </a:lnTo>
                  <a:lnTo>
                    <a:pt x="661" y="78"/>
                  </a:lnTo>
                  <a:lnTo>
                    <a:pt x="658" y="82"/>
                  </a:lnTo>
                  <a:lnTo>
                    <a:pt x="655" y="82"/>
                  </a:lnTo>
                  <a:lnTo>
                    <a:pt x="653" y="77"/>
                  </a:lnTo>
                  <a:lnTo>
                    <a:pt x="653" y="75"/>
                  </a:lnTo>
                  <a:lnTo>
                    <a:pt x="653" y="73"/>
                  </a:lnTo>
                  <a:lnTo>
                    <a:pt x="649" y="71"/>
                  </a:lnTo>
                  <a:lnTo>
                    <a:pt x="649" y="71"/>
                  </a:lnTo>
                  <a:lnTo>
                    <a:pt x="639" y="80"/>
                  </a:lnTo>
                  <a:lnTo>
                    <a:pt x="639" y="80"/>
                  </a:lnTo>
                  <a:lnTo>
                    <a:pt x="639" y="83"/>
                  </a:lnTo>
                  <a:lnTo>
                    <a:pt x="638" y="89"/>
                  </a:lnTo>
                  <a:lnTo>
                    <a:pt x="632" y="85"/>
                  </a:lnTo>
                  <a:lnTo>
                    <a:pt x="629" y="87"/>
                  </a:lnTo>
                  <a:lnTo>
                    <a:pt x="627" y="89"/>
                  </a:lnTo>
                  <a:lnTo>
                    <a:pt x="629" y="94"/>
                  </a:lnTo>
                  <a:lnTo>
                    <a:pt x="626" y="104"/>
                  </a:lnTo>
                  <a:lnTo>
                    <a:pt x="624" y="106"/>
                  </a:lnTo>
                  <a:lnTo>
                    <a:pt x="617" y="106"/>
                  </a:lnTo>
                  <a:lnTo>
                    <a:pt x="612" y="109"/>
                  </a:lnTo>
                  <a:lnTo>
                    <a:pt x="610" y="109"/>
                  </a:lnTo>
                  <a:lnTo>
                    <a:pt x="607" y="113"/>
                  </a:lnTo>
                  <a:lnTo>
                    <a:pt x="603" y="114"/>
                  </a:lnTo>
                  <a:lnTo>
                    <a:pt x="602" y="118"/>
                  </a:lnTo>
                  <a:lnTo>
                    <a:pt x="602" y="118"/>
                  </a:lnTo>
                  <a:lnTo>
                    <a:pt x="598" y="123"/>
                  </a:lnTo>
                  <a:lnTo>
                    <a:pt x="595" y="123"/>
                  </a:lnTo>
                  <a:lnTo>
                    <a:pt x="591" y="126"/>
                  </a:lnTo>
                  <a:lnTo>
                    <a:pt x="586" y="130"/>
                  </a:lnTo>
                  <a:lnTo>
                    <a:pt x="583" y="135"/>
                  </a:lnTo>
                  <a:lnTo>
                    <a:pt x="578" y="136"/>
                  </a:lnTo>
                  <a:lnTo>
                    <a:pt x="573" y="135"/>
                  </a:lnTo>
                  <a:lnTo>
                    <a:pt x="567" y="136"/>
                  </a:lnTo>
                  <a:lnTo>
                    <a:pt x="559" y="138"/>
                  </a:lnTo>
                  <a:lnTo>
                    <a:pt x="555" y="143"/>
                  </a:lnTo>
                  <a:lnTo>
                    <a:pt x="550" y="145"/>
                  </a:lnTo>
                  <a:lnTo>
                    <a:pt x="549" y="148"/>
                  </a:lnTo>
                  <a:lnTo>
                    <a:pt x="545" y="152"/>
                  </a:lnTo>
                  <a:close/>
                </a:path>
              </a:pathLst>
            </a:custGeom>
            <a:grpFill/>
            <a:ln w="6350" cap="flat" cmpd="sng">
              <a:solidFill>
                <a:schemeClr val="bg1"/>
              </a:solidFill>
              <a:prstDash val="solid"/>
              <a:round/>
              <a:headEnd type="none" w="med" len="med"/>
              <a:tailEnd type="none" w="med" len="me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49" name="Freeform 45">
              <a:extLst>
                <a:ext uri="{FF2B5EF4-FFF2-40B4-BE49-F238E27FC236}">
                  <a16:creationId xmlns:a16="http://schemas.microsoft.com/office/drawing/2014/main" id="{CC978837-B2E2-4F44-ABB3-2F48D7FDBF2F}"/>
                </a:ext>
              </a:extLst>
            </p:cNvPr>
            <p:cNvSpPr>
              <a:spLocks noEditPoints="1"/>
            </p:cNvSpPr>
            <p:nvPr/>
          </p:nvSpPr>
          <p:spPr bwMode="gray">
            <a:xfrm>
              <a:off x="3712721" y="4160333"/>
              <a:ext cx="1921042" cy="1872735"/>
            </a:xfrm>
            <a:custGeom>
              <a:avLst/>
              <a:gdLst/>
              <a:ahLst/>
              <a:cxnLst>
                <a:cxn ang="0">
                  <a:pos x="58" y="458"/>
                </a:cxn>
                <a:cxn ang="0">
                  <a:pos x="342" y="288"/>
                </a:cxn>
                <a:cxn ang="0">
                  <a:pos x="528" y="11"/>
                </a:cxn>
                <a:cxn ang="0">
                  <a:pos x="615" y="223"/>
                </a:cxn>
                <a:cxn ang="0">
                  <a:pos x="661" y="247"/>
                </a:cxn>
                <a:cxn ang="0">
                  <a:pos x="688" y="265"/>
                </a:cxn>
                <a:cxn ang="0">
                  <a:pos x="736" y="272"/>
                </a:cxn>
                <a:cxn ang="0">
                  <a:pos x="777" y="274"/>
                </a:cxn>
                <a:cxn ang="0">
                  <a:pos x="798" y="305"/>
                </a:cxn>
                <a:cxn ang="0">
                  <a:pos x="834" y="301"/>
                </a:cxn>
                <a:cxn ang="0">
                  <a:pos x="859" y="301"/>
                </a:cxn>
                <a:cxn ang="0">
                  <a:pos x="868" y="306"/>
                </a:cxn>
                <a:cxn ang="0">
                  <a:pos x="892" y="305"/>
                </a:cxn>
                <a:cxn ang="0">
                  <a:pos x="921" y="315"/>
                </a:cxn>
                <a:cxn ang="0">
                  <a:pos x="950" y="310"/>
                </a:cxn>
                <a:cxn ang="0">
                  <a:pos x="969" y="303"/>
                </a:cxn>
                <a:cxn ang="0">
                  <a:pos x="1000" y="298"/>
                </a:cxn>
                <a:cxn ang="0">
                  <a:pos x="1027" y="303"/>
                </a:cxn>
                <a:cxn ang="0">
                  <a:pos x="1046" y="303"/>
                </a:cxn>
                <a:cxn ang="0">
                  <a:pos x="1059" y="313"/>
                </a:cxn>
                <a:cxn ang="0">
                  <a:pos x="1075" y="323"/>
                </a:cxn>
                <a:cxn ang="0">
                  <a:pos x="1090" y="327"/>
                </a:cxn>
                <a:cxn ang="0">
                  <a:pos x="1102" y="334"/>
                </a:cxn>
                <a:cxn ang="0">
                  <a:pos x="1117" y="337"/>
                </a:cxn>
                <a:cxn ang="0">
                  <a:pos x="1140" y="395"/>
                </a:cxn>
                <a:cxn ang="0">
                  <a:pos x="1155" y="518"/>
                </a:cxn>
                <a:cxn ang="0">
                  <a:pos x="1164" y="542"/>
                </a:cxn>
                <a:cxn ang="0">
                  <a:pos x="1174" y="563"/>
                </a:cxn>
                <a:cxn ang="0">
                  <a:pos x="1184" y="587"/>
                </a:cxn>
                <a:cxn ang="0">
                  <a:pos x="1188" y="599"/>
                </a:cxn>
                <a:cxn ang="0">
                  <a:pos x="1189" y="616"/>
                </a:cxn>
                <a:cxn ang="0">
                  <a:pos x="1186" y="633"/>
                </a:cxn>
                <a:cxn ang="0">
                  <a:pos x="1172" y="660"/>
                </a:cxn>
                <a:cxn ang="0">
                  <a:pos x="1174" y="686"/>
                </a:cxn>
                <a:cxn ang="0">
                  <a:pos x="1164" y="722"/>
                </a:cxn>
                <a:cxn ang="0">
                  <a:pos x="1104" y="768"/>
                </a:cxn>
                <a:cxn ang="0">
                  <a:pos x="1056" y="768"/>
                </a:cxn>
                <a:cxn ang="0">
                  <a:pos x="1042" y="805"/>
                </a:cxn>
                <a:cxn ang="0">
                  <a:pos x="965" y="865"/>
                </a:cxn>
                <a:cxn ang="0">
                  <a:pos x="924" y="858"/>
                </a:cxn>
                <a:cxn ang="0">
                  <a:pos x="911" y="860"/>
                </a:cxn>
                <a:cxn ang="0">
                  <a:pos x="926" y="887"/>
                </a:cxn>
                <a:cxn ang="0">
                  <a:pos x="888" y="904"/>
                </a:cxn>
                <a:cxn ang="0">
                  <a:pos x="854" y="922"/>
                </a:cxn>
                <a:cxn ang="0">
                  <a:pos x="834" y="951"/>
                </a:cxn>
                <a:cxn ang="0">
                  <a:pos x="830" y="973"/>
                </a:cxn>
                <a:cxn ang="0">
                  <a:pos x="815" y="1016"/>
                </a:cxn>
                <a:cxn ang="0">
                  <a:pos x="842" y="1139"/>
                </a:cxn>
                <a:cxn ang="0">
                  <a:pos x="782" y="1139"/>
                </a:cxn>
                <a:cxn ang="0">
                  <a:pos x="711" y="1116"/>
                </a:cxn>
                <a:cxn ang="0">
                  <a:pos x="634" y="1014"/>
                </a:cxn>
                <a:cxn ang="0">
                  <a:pos x="564" y="899"/>
                </a:cxn>
                <a:cxn ang="0">
                  <a:pos x="514" y="790"/>
                </a:cxn>
                <a:cxn ang="0">
                  <a:pos x="448" y="727"/>
                </a:cxn>
                <a:cxn ang="0">
                  <a:pos x="354" y="727"/>
                </a:cxn>
                <a:cxn ang="0">
                  <a:pos x="275" y="795"/>
                </a:cxn>
                <a:cxn ang="0">
                  <a:pos x="169" y="720"/>
                </a:cxn>
                <a:cxn ang="0">
                  <a:pos x="118" y="593"/>
                </a:cxn>
                <a:cxn ang="0">
                  <a:pos x="1047" y="817"/>
                </a:cxn>
                <a:cxn ang="0">
                  <a:pos x="883" y="928"/>
                </a:cxn>
                <a:cxn ang="0">
                  <a:pos x="853" y="964"/>
                </a:cxn>
                <a:cxn ang="0">
                  <a:pos x="830" y="1029"/>
                </a:cxn>
                <a:cxn ang="0">
                  <a:pos x="837" y="1082"/>
                </a:cxn>
              </a:cxnLst>
              <a:rect l="0" t="0" r="r" b="b"/>
              <a:pathLst>
                <a:path w="1193" h="1163">
                  <a:moveTo>
                    <a:pt x="53" y="523"/>
                  </a:moveTo>
                  <a:lnTo>
                    <a:pt x="34" y="513"/>
                  </a:lnTo>
                  <a:lnTo>
                    <a:pt x="20" y="484"/>
                  </a:lnTo>
                  <a:lnTo>
                    <a:pt x="8" y="476"/>
                  </a:lnTo>
                  <a:lnTo>
                    <a:pt x="1" y="472"/>
                  </a:lnTo>
                  <a:lnTo>
                    <a:pt x="1" y="469"/>
                  </a:lnTo>
                  <a:lnTo>
                    <a:pt x="0" y="464"/>
                  </a:lnTo>
                  <a:lnTo>
                    <a:pt x="1" y="462"/>
                  </a:lnTo>
                  <a:lnTo>
                    <a:pt x="1" y="455"/>
                  </a:lnTo>
                  <a:lnTo>
                    <a:pt x="0" y="455"/>
                  </a:lnTo>
                  <a:lnTo>
                    <a:pt x="3" y="453"/>
                  </a:lnTo>
                  <a:lnTo>
                    <a:pt x="25" y="455"/>
                  </a:lnTo>
                  <a:lnTo>
                    <a:pt x="58" y="458"/>
                  </a:lnTo>
                  <a:lnTo>
                    <a:pt x="155" y="469"/>
                  </a:lnTo>
                  <a:lnTo>
                    <a:pt x="162" y="469"/>
                  </a:lnTo>
                  <a:lnTo>
                    <a:pt x="237" y="476"/>
                  </a:lnTo>
                  <a:lnTo>
                    <a:pt x="241" y="476"/>
                  </a:lnTo>
                  <a:lnTo>
                    <a:pt x="265" y="477"/>
                  </a:lnTo>
                  <a:lnTo>
                    <a:pt x="301" y="481"/>
                  </a:lnTo>
                  <a:lnTo>
                    <a:pt x="324" y="482"/>
                  </a:lnTo>
                  <a:lnTo>
                    <a:pt x="326" y="474"/>
                  </a:lnTo>
                  <a:lnTo>
                    <a:pt x="328" y="428"/>
                  </a:lnTo>
                  <a:lnTo>
                    <a:pt x="333" y="380"/>
                  </a:lnTo>
                  <a:lnTo>
                    <a:pt x="336" y="335"/>
                  </a:lnTo>
                  <a:lnTo>
                    <a:pt x="338" y="315"/>
                  </a:lnTo>
                  <a:lnTo>
                    <a:pt x="342" y="288"/>
                  </a:lnTo>
                  <a:lnTo>
                    <a:pt x="345" y="235"/>
                  </a:lnTo>
                  <a:lnTo>
                    <a:pt x="350" y="188"/>
                  </a:lnTo>
                  <a:lnTo>
                    <a:pt x="352" y="165"/>
                  </a:lnTo>
                  <a:lnTo>
                    <a:pt x="352" y="142"/>
                  </a:lnTo>
                  <a:lnTo>
                    <a:pt x="357" y="94"/>
                  </a:lnTo>
                  <a:lnTo>
                    <a:pt x="357" y="81"/>
                  </a:lnTo>
                  <a:lnTo>
                    <a:pt x="360" y="47"/>
                  </a:lnTo>
                  <a:lnTo>
                    <a:pt x="364" y="0"/>
                  </a:lnTo>
                  <a:lnTo>
                    <a:pt x="365" y="0"/>
                  </a:lnTo>
                  <a:lnTo>
                    <a:pt x="437" y="6"/>
                  </a:lnTo>
                  <a:lnTo>
                    <a:pt x="448" y="6"/>
                  </a:lnTo>
                  <a:lnTo>
                    <a:pt x="483" y="7"/>
                  </a:lnTo>
                  <a:lnTo>
                    <a:pt x="528" y="11"/>
                  </a:lnTo>
                  <a:lnTo>
                    <a:pt x="540" y="11"/>
                  </a:lnTo>
                  <a:lnTo>
                    <a:pt x="574" y="14"/>
                  </a:lnTo>
                  <a:lnTo>
                    <a:pt x="622" y="14"/>
                  </a:lnTo>
                  <a:lnTo>
                    <a:pt x="622" y="16"/>
                  </a:lnTo>
                  <a:lnTo>
                    <a:pt x="620" y="62"/>
                  </a:lnTo>
                  <a:lnTo>
                    <a:pt x="618" y="81"/>
                  </a:lnTo>
                  <a:lnTo>
                    <a:pt x="618" y="110"/>
                  </a:lnTo>
                  <a:lnTo>
                    <a:pt x="617" y="130"/>
                  </a:lnTo>
                  <a:lnTo>
                    <a:pt x="617" y="156"/>
                  </a:lnTo>
                  <a:lnTo>
                    <a:pt x="615" y="173"/>
                  </a:lnTo>
                  <a:lnTo>
                    <a:pt x="613" y="204"/>
                  </a:lnTo>
                  <a:lnTo>
                    <a:pt x="613" y="223"/>
                  </a:lnTo>
                  <a:lnTo>
                    <a:pt x="615" y="223"/>
                  </a:lnTo>
                  <a:lnTo>
                    <a:pt x="618" y="221"/>
                  </a:lnTo>
                  <a:lnTo>
                    <a:pt x="624" y="224"/>
                  </a:lnTo>
                  <a:lnTo>
                    <a:pt x="625" y="228"/>
                  </a:lnTo>
                  <a:lnTo>
                    <a:pt x="627" y="231"/>
                  </a:lnTo>
                  <a:lnTo>
                    <a:pt x="632" y="236"/>
                  </a:lnTo>
                  <a:lnTo>
                    <a:pt x="639" y="245"/>
                  </a:lnTo>
                  <a:lnTo>
                    <a:pt x="647" y="245"/>
                  </a:lnTo>
                  <a:lnTo>
                    <a:pt x="649" y="243"/>
                  </a:lnTo>
                  <a:lnTo>
                    <a:pt x="649" y="241"/>
                  </a:lnTo>
                  <a:lnTo>
                    <a:pt x="651" y="241"/>
                  </a:lnTo>
                  <a:lnTo>
                    <a:pt x="656" y="241"/>
                  </a:lnTo>
                  <a:lnTo>
                    <a:pt x="658" y="245"/>
                  </a:lnTo>
                  <a:lnTo>
                    <a:pt x="661" y="247"/>
                  </a:lnTo>
                  <a:lnTo>
                    <a:pt x="665" y="247"/>
                  </a:lnTo>
                  <a:lnTo>
                    <a:pt x="665" y="243"/>
                  </a:lnTo>
                  <a:lnTo>
                    <a:pt x="666" y="240"/>
                  </a:lnTo>
                  <a:lnTo>
                    <a:pt x="668" y="238"/>
                  </a:lnTo>
                  <a:lnTo>
                    <a:pt x="671" y="241"/>
                  </a:lnTo>
                  <a:lnTo>
                    <a:pt x="677" y="243"/>
                  </a:lnTo>
                  <a:lnTo>
                    <a:pt x="678" y="247"/>
                  </a:lnTo>
                  <a:lnTo>
                    <a:pt x="682" y="250"/>
                  </a:lnTo>
                  <a:lnTo>
                    <a:pt x="682" y="253"/>
                  </a:lnTo>
                  <a:lnTo>
                    <a:pt x="682" y="259"/>
                  </a:lnTo>
                  <a:lnTo>
                    <a:pt x="683" y="262"/>
                  </a:lnTo>
                  <a:lnTo>
                    <a:pt x="683" y="264"/>
                  </a:lnTo>
                  <a:lnTo>
                    <a:pt x="688" y="265"/>
                  </a:lnTo>
                  <a:lnTo>
                    <a:pt x="692" y="264"/>
                  </a:lnTo>
                  <a:lnTo>
                    <a:pt x="697" y="265"/>
                  </a:lnTo>
                  <a:lnTo>
                    <a:pt x="700" y="264"/>
                  </a:lnTo>
                  <a:lnTo>
                    <a:pt x="704" y="265"/>
                  </a:lnTo>
                  <a:lnTo>
                    <a:pt x="709" y="270"/>
                  </a:lnTo>
                  <a:lnTo>
                    <a:pt x="716" y="272"/>
                  </a:lnTo>
                  <a:lnTo>
                    <a:pt x="719" y="274"/>
                  </a:lnTo>
                  <a:lnTo>
                    <a:pt x="724" y="274"/>
                  </a:lnTo>
                  <a:lnTo>
                    <a:pt x="728" y="272"/>
                  </a:lnTo>
                  <a:lnTo>
                    <a:pt x="730" y="272"/>
                  </a:lnTo>
                  <a:lnTo>
                    <a:pt x="733" y="270"/>
                  </a:lnTo>
                  <a:lnTo>
                    <a:pt x="735" y="272"/>
                  </a:lnTo>
                  <a:lnTo>
                    <a:pt x="736" y="272"/>
                  </a:lnTo>
                  <a:lnTo>
                    <a:pt x="738" y="277"/>
                  </a:lnTo>
                  <a:lnTo>
                    <a:pt x="743" y="281"/>
                  </a:lnTo>
                  <a:lnTo>
                    <a:pt x="748" y="282"/>
                  </a:lnTo>
                  <a:lnTo>
                    <a:pt x="750" y="281"/>
                  </a:lnTo>
                  <a:lnTo>
                    <a:pt x="752" y="279"/>
                  </a:lnTo>
                  <a:lnTo>
                    <a:pt x="753" y="279"/>
                  </a:lnTo>
                  <a:lnTo>
                    <a:pt x="753" y="276"/>
                  </a:lnTo>
                  <a:lnTo>
                    <a:pt x="757" y="274"/>
                  </a:lnTo>
                  <a:lnTo>
                    <a:pt x="759" y="274"/>
                  </a:lnTo>
                  <a:lnTo>
                    <a:pt x="764" y="276"/>
                  </a:lnTo>
                  <a:lnTo>
                    <a:pt x="772" y="277"/>
                  </a:lnTo>
                  <a:lnTo>
                    <a:pt x="776" y="274"/>
                  </a:lnTo>
                  <a:lnTo>
                    <a:pt x="777" y="274"/>
                  </a:lnTo>
                  <a:lnTo>
                    <a:pt x="779" y="274"/>
                  </a:lnTo>
                  <a:lnTo>
                    <a:pt x="777" y="282"/>
                  </a:lnTo>
                  <a:lnTo>
                    <a:pt x="779" y="289"/>
                  </a:lnTo>
                  <a:lnTo>
                    <a:pt x="782" y="291"/>
                  </a:lnTo>
                  <a:lnTo>
                    <a:pt x="784" y="291"/>
                  </a:lnTo>
                  <a:lnTo>
                    <a:pt x="789" y="289"/>
                  </a:lnTo>
                  <a:lnTo>
                    <a:pt x="791" y="293"/>
                  </a:lnTo>
                  <a:lnTo>
                    <a:pt x="791" y="294"/>
                  </a:lnTo>
                  <a:lnTo>
                    <a:pt x="791" y="296"/>
                  </a:lnTo>
                  <a:lnTo>
                    <a:pt x="789" y="300"/>
                  </a:lnTo>
                  <a:lnTo>
                    <a:pt x="791" y="301"/>
                  </a:lnTo>
                  <a:lnTo>
                    <a:pt x="794" y="303"/>
                  </a:lnTo>
                  <a:lnTo>
                    <a:pt x="798" y="305"/>
                  </a:lnTo>
                  <a:lnTo>
                    <a:pt x="800" y="305"/>
                  </a:lnTo>
                  <a:lnTo>
                    <a:pt x="805" y="301"/>
                  </a:lnTo>
                  <a:lnTo>
                    <a:pt x="808" y="298"/>
                  </a:lnTo>
                  <a:lnTo>
                    <a:pt x="812" y="296"/>
                  </a:lnTo>
                  <a:lnTo>
                    <a:pt x="813" y="293"/>
                  </a:lnTo>
                  <a:lnTo>
                    <a:pt x="817" y="291"/>
                  </a:lnTo>
                  <a:lnTo>
                    <a:pt x="822" y="293"/>
                  </a:lnTo>
                  <a:lnTo>
                    <a:pt x="824" y="300"/>
                  </a:lnTo>
                  <a:lnTo>
                    <a:pt x="825" y="301"/>
                  </a:lnTo>
                  <a:lnTo>
                    <a:pt x="827" y="301"/>
                  </a:lnTo>
                  <a:lnTo>
                    <a:pt x="830" y="300"/>
                  </a:lnTo>
                  <a:lnTo>
                    <a:pt x="834" y="300"/>
                  </a:lnTo>
                  <a:lnTo>
                    <a:pt x="834" y="301"/>
                  </a:lnTo>
                  <a:lnTo>
                    <a:pt x="835" y="301"/>
                  </a:lnTo>
                  <a:lnTo>
                    <a:pt x="835" y="308"/>
                  </a:lnTo>
                  <a:lnTo>
                    <a:pt x="839" y="310"/>
                  </a:lnTo>
                  <a:lnTo>
                    <a:pt x="842" y="308"/>
                  </a:lnTo>
                  <a:lnTo>
                    <a:pt x="846" y="305"/>
                  </a:lnTo>
                  <a:lnTo>
                    <a:pt x="847" y="305"/>
                  </a:lnTo>
                  <a:lnTo>
                    <a:pt x="847" y="301"/>
                  </a:lnTo>
                  <a:lnTo>
                    <a:pt x="851" y="305"/>
                  </a:lnTo>
                  <a:lnTo>
                    <a:pt x="853" y="306"/>
                  </a:lnTo>
                  <a:lnTo>
                    <a:pt x="853" y="305"/>
                  </a:lnTo>
                  <a:lnTo>
                    <a:pt x="854" y="301"/>
                  </a:lnTo>
                  <a:lnTo>
                    <a:pt x="856" y="301"/>
                  </a:lnTo>
                  <a:lnTo>
                    <a:pt x="859" y="301"/>
                  </a:lnTo>
                  <a:lnTo>
                    <a:pt x="861" y="305"/>
                  </a:lnTo>
                  <a:lnTo>
                    <a:pt x="861" y="306"/>
                  </a:lnTo>
                  <a:lnTo>
                    <a:pt x="858" y="308"/>
                  </a:lnTo>
                  <a:lnTo>
                    <a:pt x="856" y="310"/>
                  </a:lnTo>
                  <a:lnTo>
                    <a:pt x="858" y="317"/>
                  </a:lnTo>
                  <a:lnTo>
                    <a:pt x="861" y="320"/>
                  </a:lnTo>
                  <a:lnTo>
                    <a:pt x="865" y="320"/>
                  </a:lnTo>
                  <a:lnTo>
                    <a:pt x="868" y="320"/>
                  </a:lnTo>
                  <a:lnTo>
                    <a:pt x="868" y="318"/>
                  </a:lnTo>
                  <a:lnTo>
                    <a:pt x="868" y="311"/>
                  </a:lnTo>
                  <a:lnTo>
                    <a:pt x="871" y="310"/>
                  </a:lnTo>
                  <a:lnTo>
                    <a:pt x="868" y="308"/>
                  </a:lnTo>
                  <a:lnTo>
                    <a:pt x="868" y="306"/>
                  </a:lnTo>
                  <a:lnTo>
                    <a:pt x="870" y="306"/>
                  </a:lnTo>
                  <a:lnTo>
                    <a:pt x="873" y="308"/>
                  </a:lnTo>
                  <a:lnTo>
                    <a:pt x="875" y="306"/>
                  </a:lnTo>
                  <a:lnTo>
                    <a:pt x="876" y="305"/>
                  </a:lnTo>
                  <a:lnTo>
                    <a:pt x="876" y="296"/>
                  </a:lnTo>
                  <a:lnTo>
                    <a:pt x="878" y="298"/>
                  </a:lnTo>
                  <a:lnTo>
                    <a:pt x="882" y="296"/>
                  </a:lnTo>
                  <a:lnTo>
                    <a:pt x="882" y="294"/>
                  </a:lnTo>
                  <a:lnTo>
                    <a:pt x="885" y="296"/>
                  </a:lnTo>
                  <a:lnTo>
                    <a:pt x="885" y="300"/>
                  </a:lnTo>
                  <a:lnTo>
                    <a:pt x="887" y="303"/>
                  </a:lnTo>
                  <a:lnTo>
                    <a:pt x="888" y="306"/>
                  </a:lnTo>
                  <a:lnTo>
                    <a:pt x="892" y="305"/>
                  </a:lnTo>
                  <a:lnTo>
                    <a:pt x="894" y="305"/>
                  </a:lnTo>
                  <a:lnTo>
                    <a:pt x="897" y="310"/>
                  </a:lnTo>
                  <a:lnTo>
                    <a:pt x="900" y="308"/>
                  </a:lnTo>
                  <a:lnTo>
                    <a:pt x="902" y="308"/>
                  </a:lnTo>
                  <a:lnTo>
                    <a:pt x="904" y="301"/>
                  </a:lnTo>
                  <a:lnTo>
                    <a:pt x="906" y="300"/>
                  </a:lnTo>
                  <a:lnTo>
                    <a:pt x="912" y="303"/>
                  </a:lnTo>
                  <a:lnTo>
                    <a:pt x="909" y="306"/>
                  </a:lnTo>
                  <a:lnTo>
                    <a:pt x="911" y="308"/>
                  </a:lnTo>
                  <a:lnTo>
                    <a:pt x="914" y="310"/>
                  </a:lnTo>
                  <a:lnTo>
                    <a:pt x="919" y="311"/>
                  </a:lnTo>
                  <a:lnTo>
                    <a:pt x="919" y="313"/>
                  </a:lnTo>
                  <a:lnTo>
                    <a:pt x="921" y="315"/>
                  </a:lnTo>
                  <a:lnTo>
                    <a:pt x="926" y="313"/>
                  </a:lnTo>
                  <a:lnTo>
                    <a:pt x="931" y="318"/>
                  </a:lnTo>
                  <a:lnTo>
                    <a:pt x="933" y="323"/>
                  </a:lnTo>
                  <a:lnTo>
                    <a:pt x="936" y="323"/>
                  </a:lnTo>
                  <a:lnTo>
                    <a:pt x="938" y="322"/>
                  </a:lnTo>
                  <a:lnTo>
                    <a:pt x="938" y="317"/>
                  </a:lnTo>
                  <a:lnTo>
                    <a:pt x="940" y="315"/>
                  </a:lnTo>
                  <a:lnTo>
                    <a:pt x="945" y="317"/>
                  </a:lnTo>
                  <a:lnTo>
                    <a:pt x="947" y="317"/>
                  </a:lnTo>
                  <a:lnTo>
                    <a:pt x="948" y="317"/>
                  </a:lnTo>
                  <a:lnTo>
                    <a:pt x="950" y="313"/>
                  </a:lnTo>
                  <a:lnTo>
                    <a:pt x="952" y="310"/>
                  </a:lnTo>
                  <a:lnTo>
                    <a:pt x="950" y="310"/>
                  </a:lnTo>
                  <a:lnTo>
                    <a:pt x="948" y="311"/>
                  </a:lnTo>
                  <a:lnTo>
                    <a:pt x="948" y="310"/>
                  </a:lnTo>
                  <a:lnTo>
                    <a:pt x="950" y="308"/>
                  </a:lnTo>
                  <a:lnTo>
                    <a:pt x="953" y="310"/>
                  </a:lnTo>
                  <a:lnTo>
                    <a:pt x="955" y="308"/>
                  </a:lnTo>
                  <a:lnTo>
                    <a:pt x="960" y="308"/>
                  </a:lnTo>
                  <a:lnTo>
                    <a:pt x="962" y="306"/>
                  </a:lnTo>
                  <a:lnTo>
                    <a:pt x="962" y="308"/>
                  </a:lnTo>
                  <a:lnTo>
                    <a:pt x="964" y="306"/>
                  </a:lnTo>
                  <a:lnTo>
                    <a:pt x="964" y="305"/>
                  </a:lnTo>
                  <a:lnTo>
                    <a:pt x="965" y="306"/>
                  </a:lnTo>
                  <a:lnTo>
                    <a:pt x="967" y="306"/>
                  </a:lnTo>
                  <a:lnTo>
                    <a:pt x="969" y="303"/>
                  </a:lnTo>
                  <a:lnTo>
                    <a:pt x="971" y="303"/>
                  </a:lnTo>
                  <a:lnTo>
                    <a:pt x="977" y="308"/>
                  </a:lnTo>
                  <a:lnTo>
                    <a:pt x="979" y="308"/>
                  </a:lnTo>
                  <a:lnTo>
                    <a:pt x="982" y="306"/>
                  </a:lnTo>
                  <a:lnTo>
                    <a:pt x="984" y="306"/>
                  </a:lnTo>
                  <a:lnTo>
                    <a:pt x="984" y="305"/>
                  </a:lnTo>
                  <a:lnTo>
                    <a:pt x="986" y="303"/>
                  </a:lnTo>
                  <a:lnTo>
                    <a:pt x="986" y="301"/>
                  </a:lnTo>
                  <a:lnTo>
                    <a:pt x="991" y="303"/>
                  </a:lnTo>
                  <a:lnTo>
                    <a:pt x="996" y="300"/>
                  </a:lnTo>
                  <a:lnTo>
                    <a:pt x="998" y="300"/>
                  </a:lnTo>
                  <a:lnTo>
                    <a:pt x="998" y="298"/>
                  </a:lnTo>
                  <a:lnTo>
                    <a:pt x="1000" y="298"/>
                  </a:lnTo>
                  <a:lnTo>
                    <a:pt x="1003" y="298"/>
                  </a:lnTo>
                  <a:lnTo>
                    <a:pt x="1005" y="301"/>
                  </a:lnTo>
                  <a:lnTo>
                    <a:pt x="1006" y="301"/>
                  </a:lnTo>
                  <a:lnTo>
                    <a:pt x="1006" y="303"/>
                  </a:lnTo>
                  <a:lnTo>
                    <a:pt x="1005" y="303"/>
                  </a:lnTo>
                  <a:lnTo>
                    <a:pt x="1006" y="303"/>
                  </a:lnTo>
                  <a:lnTo>
                    <a:pt x="1008" y="305"/>
                  </a:lnTo>
                  <a:lnTo>
                    <a:pt x="1012" y="303"/>
                  </a:lnTo>
                  <a:lnTo>
                    <a:pt x="1013" y="306"/>
                  </a:lnTo>
                  <a:lnTo>
                    <a:pt x="1023" y="305"/>
                  </a:lnTo>
                  <a:lnTo>
                    <a:pt x="1023" y="301"/>
                  </a:lnTo>
                  <a:lnTo>
                    <a:pt x="1025" y="303"/>
                  </a:lnTo>
                  <a:lnTo>
                    <a:pt x="1027" y="303"/>
                  </a:lnTo>
                  <a:lnTo>
                    <a:pt x="1029" y="300"/>
                  </a:lnTo>
                  <a:lnTo>
                    <a:pt x="1029" y="301"/>
                  </a:lnTo>
                  <a:lnTo>
                    <a:pt x="1030" y="301"/>
                  </a:lnTo>
                  <a:lnTo>
                    <a:pt x="1030" y="298"/>
                  </a:lnTo>
                  <a:lnTo>
                    <a:pt x="1032" y="294"/>
                  </a:lnTo>
                  <a:lnTo>
                    <a:pt x="1039" y="296"/>
                  </a:lnTo>
                  <a:lnTo>
                    <a:pt x="1041" y="298"/>
                  </a:lnTo>
                  <a:lnTo>
                    <a:pt x="1041" y="300"/>
                  </a:lnTo>
                  <a:lnTo>
                    <a:pt x="1042" y="300"/>
                  </a:lnTo>
                  <a:lnTo>
                    <a:pt x="1044" y="300"/>
                  </a:lnTo>
                  <a:lnTo>
                    <a:pt x="1046" y="300"/>
                  </a:lnTo>
                  <a:lnTo>
                    <a:pt x="1044" y="301"/>
                  </a:lnTo>
                  <a:lnTo>
                    <a:pt x="1046" y="303"/>
                  </a:lnTo>
                  <a:lnTo>
                    <a:pt x="1047" y="300"/>
                  </a:lnTo>
                  <a:lnTo>
                    <a:pt x="1047" y="301"/>
                  </a:lnTo>
                  <a:lnTo>
                    <a:pt x="1049" y="303"/>
                  </a:lnTo>
                  <a:lnTo>
                    <a:pt x="1049" y="305"/>
                  </a:lnTo>
                  <a:lnTo>
                    <a:pt x="1051" y="305"/>
                  </a:lnTo>
                  <a:lnTo>
                    <a:pt x="1054" y="306"/>
                  </a:lnTo>
                  <a:lnTo>
                    <a:pt x="1056" y="305"/>
                  </a:lnTo>
                  <a:lnTo>
                    <a:pt x="1056" y="306"/>
                  </a:lnTo>
                  <a:lnTo>
                    <a:pt x="1058" y="308"/>
                  </a:lnTo>
                  <a:lnTo>
                    <a:pt x="1058" y="310"/>
                  </a:lnTo>
                  <a:lnTo>
                    <a:pt x="1059" y="310"/>
                  </a:lnTo>
                  <a:lnTo>
                    <a:pt x="1061" y="311"/>
                  </a:lnTo>
                  <a:lnTo>
                    <a:pt x="1059" y="313"/>
                  </a:lnTo>
                  <a:lnTo>
                    <a:pt x="1063" y="315"/>
                  </a:lnTo>
                  <a:lnTo>
                    <a:pt x="1065" y="318"/>
                  </a:lnTo>
                  <a:lnTo>
                    <a:pt x="1068" y="318"/>
                  </a:lnTo>
                  <a:lnTo>
                    <a:pt x="1070" y="318"/>
                  </a:lnTo>
                  <a:lnTo>
                    <a:pt x="1071" y="317"/>
                  </a:lnTo>
                  <a:lnTo>
                    <a:pt x="1073" y="317"/>
                  </a:lnTo>
                  <a:lnTo>
                    <a:pt x="1071" y="318"/>
                  </a:lnTo>
                  <a:lnTo>
                    <a:pt x="1071" y="320"/>
                  </a:lnTo>
                  <a:lnTo>
                    <a:pt x="1075" y="318"/>
                  </a:lnTo>
                  <a:lnTo>
                    <a:pt x="1073" y="322"/>
                  </a:lnTo>
                  <a:lnTo>
                    <a:pt x="1075" y="320"/>
                  </a:lnTo>
                  <a:lnTo>
                    <a:pt x="1075" y="322"/>
                  </a:lnTo>
                  <a:lnTo>
                    <a:pt x="1075" y="323"/>
                  </a:lnTo>
                  <a:lnTo>
                    <a:pt x="1080" y="323"/>
                  </a:lnTo>
                  <a:lnTo>
                    <a:pt x="1082" y="323"/>
                  </a:lnTo>
                  <a:lnTo>
                    <a:pt x="1083" y="323"/>
                  </a:lnTo>
                  <a:lnTo>
                    <a:pt x="1085" y="325"/>
                  </a:lnTo>
                  <a:lnTo>
                    <a:pt x="1082" y="325"/>
                  </a:lnTo>
                  <a:lnTo>
                    <a:pt x="1082" y="327"/>
                  </a:lnTo>
                  <a:lnTo>
                    <a:pt x="1083" y="327"/>
                  </a:lnTo>
                  <a:lnTo>
                    <a:pt x="1085" y="325"/>
                  </a:lnTo>
                  <a:lnTo>
                    <a:pt x="1088" y="327"/>
                  </a:lnTo>
                  <a:lnTo>
                    <a:pt x="1090" y="325"/>
                  </a:lnTo>
                  <a:lnTo>
                    <a:pt x="1092" y="325"/>
                  </a:lnTo>
                  <a:lnTo>
                    <a:pt x="1092" y="327"/>
                  </a:lnTo>
                  <a:lnTo>
                    <a:pt x="1090" y="327"/>
                  </a:lnTo>
                  <a:lnTo>
                    <a:pt x="1088" y="327"/>
                  </a:lnTo>
                  <a:lnTo>
                    <a:pt x="1090" y="329"/>
                  </a:lnTo>
                  <a:lnTo>
                    <a:pt x="1094" y="327"/>
                  </a:lnTo>
                  <a:lnTo>
                    <a:pt x="1094" y="329"/>
                  </a:lnTo>
                  <a:lnTo>
                    <a:pt x="1092" y="329"/>
                  </a:lnTo>
                  <a:lnTo>
                    <a:pt x="1092" y="330"/>
                  </a:lnTo>
                  <a:lnTo>
                    <a:pt x="1095" y="329"/>
                  </a:lnTo>
                  <a:lnTo>
                    <a:pt x="1095" y="330"/>
                  </a:lnTo>
                  <a:lnTo>
                    <a:pt x="1097" y="330"/>
                  </a:lnTo>
                  <a:lnTo>
                    <a:pt x="1099" y="330"/>
                  </a:lnTo>
                  <a:lnTo>
                    <a:pt x="1102" y="329"/>
                  </a:lnTo>
                  <a:lnTo>
                    <a:pt x="1102" y="332"/>
                  </a:lnTo>
                  <a:lnTo>
                    <a:pt x="1102" y="334"/>
                  </a:lnTo>
                  <a:lnTo>
                    <a:pt x="1104" y="334"/>
                  </a:lnTo>
                  <a:lnTo>
                    <a:pt x="1106" y="335"/>
                  </a:lnTo>
                  <a:lnTo>
                    <a:pt x="1107" y="335"/>
                  </a:lnTo>
                  <a:lnTo>
                    <a:pt x="1107" y="334"/>
                  </a:lnTo>
                  <a:lnTo>
                    <a:pt x="1109" y="334"/>
                  </a:lnTo>
                  <a:lnTo>
                    <a:pt x="1109" y="335"/>
                  </a:lnTo>
                  <a:lnTo>
                    <a:pt x="1107" y="337"/>
                  </a:lnTo>
                  <a:lnTo>
                    <a:pt x="1109" y="339"/>
                  </a:lnTo>
                  <a:lnTo>
                    <a:pt x="1112" y="335"/>
                  </a:lnTo>
                  <a:lnTo>
                    <a:pt x="1114" y="337"/>
                  </a:lnTo>
                  <a:lnTo>
                    <a:pt x="1116" y="335"/>
                  </a:lnTo>
                  <a:lnTo>
                    <a:pt x="1117" y="334"/>
                  </a:lnTo>
                  <a:lnTo>
                    <a:pt x="1117" y="337"/>
                  </a:lnTo>
                  <a:lnTo>
                    <a:pt x="1121" y="334"/>
                  </a:lnTo>
                  <a:lnTo>
                    <a:pt x="1123" y="334"/>
                  </a:lnTo>
                  <a:lnTo>
                    <a:pt x="1121" y="337"/>
                  </a:lnTo>
                  <a:lnTo>
                    <a:pt x="1123" y="337"/>
                  </a:lnTo>
                  <a:lnTo>
                    <a:pt x="1123" y="334"/>
                  </a:lnTo>
                  <a:lnTo>
                    <a:pt x="1128" y="334"/>
                  </a:lnTo>
                  <a:lnTo>
                    <a:pt x="1128" y="335"/>
                  </a:lnTo>
                  <a:lnTo>
                    <a:pt x="1133" y="335"/>
                  </a:lnTo>
                  <a:lnTo>
                    <a:pt x="1135" y="334"/>
                  </a:lnTo>
                  <a:lnTo>
                    <a:pt x="1136" y="335"/>
                  </a:lnTo>
                  <a:lnTo>
                    <a:pt x="1138" y="337"/>
                  </a:lnTo>
                  <a:lnTo>
                    <a:pt x="1140" y="368"/>
                  </a:lnTo>
                  <a:lnTo>
                    <a:pt x="1140" y="395"/>
                  </a:lnTo>
                  <a:lnTo>
                    <a:pt x="1140" y="409"/>
                  </a:lnTo>
                  <a:lnTo>
                    <a:pt x="1140" y="429"/>
                  </a:lnTo>
                  <a:lnTo>
                    <a:pt x="1141" y="462"/>
                  </a:lnTo>
                  <a:lnTo>
                    <a:pt x="1141" y="482"/>
                  </a:lnTo>
                  <a:lnTo>
                    <a:pt x="1141" y="505"/>
                  </a:lnTo>
                  <a:lnTo>
                    <a:pt x="1145" y="506"/>
                  </a:lnTo>
                  <a:lnTo>
                    <a:pt x="1148" y="510"/>
                  </a:lnTo>
                  <a:lnTo>
                    <a:pt x="1148" y="513"/>
                  </a:lnTo>
                  <a:lnTo>
                    <a:pt x="1152" y="515"/>
                  </a:lnTo>
                  <a:lnTo>
                    <a:pt x="1153" y="515"/>
                  </a:lnTo>
                  <a:lnTo>
                    <a:pt x="1152" y="517"/>
                  </a:lnTo>
                  <a:lnTo>
                    <a:pt x="1155" y="515"/>
                  </a:lnTo>
                  <a:lnTo>
                    <a:pt x="1155" y="518"/>
                  </a:lnTo>
                  <a:lnTo>
                    <a:pt x="1157" y="518"/>
                  </a:lnTo>
                  <a:lnTo>
                    <a:pt x="1157" y="520"/>
                  </a:lnTo>
                  <a:lnTo>
                    <a:pt x="1159" y="523"/>
                  </a:lnTo>
                  <a:lnTo>
                    <a:pt x="1160" y="525"/>
                  </a:lnTo>
                  <a:lnTo>
                    <a:pt x="1162" y="529"/>
                  </a:lnTo>
                  <a:lnTo>
                    <a:pt x="1162" y="530"/>
                  </a:lnTo>
                  <a:lnTo>
                    <a:pt x="1164" y="534"/>
                  </a:lnTo>
                  <a:lnTo>
                    <a:pt x="1162" y="535"/>
                  </a:lnTo>
                  <a:lnTo>
                    <a:pt x="1164" y="535"/>
                  </a:lnTo>
                  <a:lnTo>
                    <a:pt x="1165" y="535"/>
                  </a:lnTo>
                  <a:lnTo>
                    <a:pt x="1164" y="539"/>
                  </a:lnTo>
                  <a:lnTo>
                    <a:pt x="1164" y="540"/>
                  </a:lnTo>
                  <a:lnTo>
                    <a:pt x="1164" y="542"/>
                  </a:lnTo>
                  <a:lnTo>
                    <a:pt x="1162" y="546"/>
                  </a:lnTo>
                  <a:lnTo>
                    <a:pt x="1162" y="547"/>
                  </a:lnTo>
                  <a:lnTo>
                    <a:pt x="1164" y="549"/>
                  </a:lnTo>
                  <a:lnTo>
                    <a:pt x="1164" y="551"/>
                  </a:lnTo>
                  <a:lnTo>
                    <a:pt x="1167" y="554"/>
                  </a:lnTo>
                  <a:lnTo>
                    <a:pt x="1169" y="554"/>
                  </a:lnTo>
                  <a:lnTo>
                    <a:pt x="1170" y="556"/>
                  </a:lnTo>
                  <a:lnTo>
                    <a:pt x="1174" y="556"/>
                  </a:lnTo>
                  <a:lnTo>
                    <a:pt x="1172" y="558"/>
                  </a:lnTo>
                  <a:lnTo>
                    <a:pt x="1169" y="559"/>
                  </a:lnTo>
                  <a:lnTo>
                    <a:pt x="1172" y="563"/>
                  </a:lnTo>
                  <a:lnTo>
                    <a:pt x="1174" y="561"/>
                  </a:lnTo>
                  <a:lnTo>
                    <a:pt x="1174" y="563"/>
                  </a:lnTo>
                  <a:lnTo>
                    <a:pt x="1176" y="564"/>
                  </a:lnTo>
                  <a:lnTo>
                    <a:pt x="1174" y="566"/>
                  </a:lnTo>
                  <a:lnTo>
                    <a:pt x="1176" y="568"/>
                  </a:lnTo>
                  <a:lnTo>
                    <a:pt x="1177" y="568"/>
                  </a:lnTo>
                  <a:lnTo>
                    <a:pt x="1177" y="571"/>
                  </a:lnTo>
                  <a:lnTo>
                    <a:pt x="1181" y="571"/>
                  </a:lnTo>
                  <a:lnTo>
                    <a:pt x="1176" y="576"/>
                  </a:lnTo>
                  <a:lnTo>
                    <a:pt x="1176" y="578"/>
                  </a:lnTo>
                  <a:lnTo>
                    <a:pt x="1179" y="580"/>
                  </a:lnTo>
                  <a:lnTo>
                    <a:pt x="1181" y="581"/>
                  </a:lnTo>
                  <a:lnTo>
                    <a:pt x="1182" y="581"/>
                  </a:lnTo>
                  <a:lnTo>
                    <a:pt x="1182" y="585"/>
                  </a:lnTo>
                  <a:lnTo>
                    <a:pt x="1184" y="587"/>
                  </a:lnTo>
                  <a:lnTo>
                    <a:pt x="1184" y="590"/>
                  </a:lnTo>
                  <a:lnTo>
                    <a:pt x="1184" y="592"/>
                  </a:lnTo>
                  <a:lnTo>
                    <a:pt x="1186" y="592"/>
                  </a:lnTo>
                  <a:lnTo>
                    <a:pt x="1188" y="590"/>
                  </a:lnTo>
                  <a:lnTo>
                    <a:pt x="1191" y="590"/>
                  </a:lnTo>
                  <a:lnTo>
                    <a:pt x="1191" y="592"/>
                  </a:lnTo>
                  <a:lnTo>
                    <a:pt x="1189" y="592"/>
                  </a:lnTo>
                  <a:lnTo>
                    <a:pt x="1191" y="593"/>
                  </a:lnTo>
                  <a:lnTo>
                    <a:pt x="1189" y="593"/>
                  </a:lnTo>
                  <a:lnTo>
                    <a:pt x="1189" y="597"/>
                  </a:lnTo>
                  <a:lnTo>
                    <a:pt x="1191" y="597"/>
                  </a:lnTo>
                  <a:lnTo>
                    <a:pt x="1189" y="599"/>
                  </a:lnTo>
                  <a:lnTo>
                    <a:pt x="1188" y="599"/>
                  </a:lnTo>
                  <a:lnTo>
                    <a:pt x="1188" y="600"/>
                  </a:lnTo>
                  <a:lnTo>
                    <a:pt x="1189" y="600"/>
                  </a:lnTo>
                  <a:lnTo>
                    <a:pt x="1189" y="602"/>
                  </a:lnTo>
                  <a:lnTo>
                    <a:pt x="1191" y="602"/>
                  </a:lnTo>
                  <a:lnTo>
                    <a:pt x="1191" y="605"/>
                  </a:lnTo>
                  <a:lnTo>
                    <a:pt x="1193" y="607"/>
                  </a:lnTo>
                  <a:lnTo>
                    <a:pt x="1189" y="609"/>
                  </a:lnTo>
                  <a:lnTo>
                    <a:pt x="1188" y="609"/>
                  </a:lnTo>
                  <a:lnTo>
                    <a:pt x="1188" y="611"/>
                  </a:lnTo>
                  <a:lnTo>
                    <a:pt x="1188" y="612"/>
                  </a:lnTo>
                  <a:lnTo>
                    <a:pt x="1188" y="614"/>
                  </a:lnTo>
                  <a:lnTo>
                    <a:pt x="1189" y="614"/>
                  </a:lnTo>
                  <a:lnTo>
                    <a:pt x="1189" y="616"/>
                  </a:lnTo>
                  <a:lnTo>
                    <a:pt x="1191" y="616"/>
                  </a:lnTo>
                  <a:lnTo>
                    <a:pt x="1191" y="617"/>
                  </a:lnTo>
                  <a:lnTo>
                    <a:pt x="1191" y="619"/>
                  </a:lnTo>
                  <a:lnTo>
                    <a:pt x="1189" y="619"/>
                  </a:lnTo>
                  <a:lnTo>
                    <a:pt x="1189" y="621"/>
                  </a:lnTo>
                  <a:lnTo>
                    <a:pt x="1188" y="621"/>
                  </a:lnTo>
                  <a:lnTo>
                    <a:pt x="1188" y="623"/>
                  </a:lnTo>
                  <a:lnTo>
                    <a:pt x="1188" y="624"/>
                  </a:lnTo>
                  <a:lnTo>
                    <a:pt x="1189" y="626"/>
                  </a:lnTo>
                  <a:lnTo>
                    <a:pt x="1188" y="628"/>
                  </a:lnTo>
                  <a:lnTo>
                    <a:pt x="1189" y="628"/>
                  </a:lnTo>
                  <a:lnTo>
                    <a:pt x="1189" y="629"/>
                  </a:lnTo>
                  <a:lnTo>
                    <a:pt x="1186" y="633"/>
                  </a:lnTo>
                  <a:lnTo>
                    <a:pt x="1186" y="634"/>
                  </a:lnTo>
                  <a:lnTo>
                    <a:pt x="1182" y="638"/>
                  </a:lnTo>
                  <a:lnTo>
                    <a:pt x="1184" y="640"/>
                  </a:lnTo>
                  <a:lnTo>
                    <a:pt x="1184" y="641"/>
                  </a:lnTo>
                  <a:lnTo>
                    <a:pt x="1184" y="645"/>
                  </a:lnTo>
                  <a:lnTo>
                    <a:pt x="1179" y="646"/>
                  </a:lnTo>
                  <a:lnTo>
                    <a:pt x="1177" y="650"/>
                  </a:lnTo>
                  <a:lnTo>
                    <a:pt x="1177" y="652"/>
                  </a:lnTo>
                  <a:lnTo>
                    <a:pt x="1179" y="655"/>
                  </a:lnTo>
                  <a:lnTo>
                    <a:pt x="1177" y="653"/>
                  </a:lnTo>
                  <a:lnTo>
                    <a:pt x="1174" y="655"/>
                  </a:lnTo>
                  <a:lnTo>
                    <a:pt x="1174" y="657"/>
                  </a:lnTo>
                  <a:lnTo>
                    <a:pt x="1172" y="660"/>
                  </a:lnTo>
                  <a:lnTo>
                    <a:pt x="1176" y="662"/>
                  </a:lnTo>
                  <a:lnTo>
                    <a:pt x="1176" y="664"/>
                  </a:lnTo>
                  <a:lnTo>
                    <a:pt x="1176" y="665"/>
                  </a:lnTo>
                  <a:lnTo>
                    <a:pt x="1177" y="669"/>
                  </a:lnTo>
                  <a:lnTo>
                    <a:pt x="1176" y="669"/>
                  </a:lnTo>
                  <a:lnTo>
                    <a:pt x="1177" y="670"/>
                  </a:lnTo>
                  <a:lnTo>
                    <a:pt x="1174" y="672"/>
                  </a:lnTo>
                  <a:lnTo>
                    <a:pt x="1172" y="674"/>
                  </a:lnTo>
                  <a:lnTo>
                    <a:pt x="1172" y="677"/>
                  </a:lnTo>
                  <a:lnTo>
                    <a:pt x="1172" y="679"/>
                  </a:lnTo>
                  <a:lnTo>
                    <a:pt x="1170" y="681"/>
                  </a:lnTo>
                  <a:lnTo>
                    <a:pt x="1170" y="682"/>
                  </a:lnTo>
                  <a:lnTo>
                    <a:pt x="1174" y="686"/>
                  </a:lnTo>
                  <a:lnTo>
                    <a:pt x="1177" y="686"/>
                  </a:lnTo>
                  <a:lnTo>
                    <a:pt x="1176" y="693"/>
                  </a:lnTo>
                  <a:lnTo>
                    <a:pt x="1176" y="694"/>
                  </a:lnTo>
                  <a:lnTo>
                    <a:pt x="1177" y="699"/>
                  </a:lnTo>
                  <a:lnTo>
                    <a:pt x="1177" y="703"/>
                  </a:lnTo>
                  <a:lnTo>
                    <a:pt x="1179" y="703"/>
                  </a:lnTo>
                  <a:lnTo>
                    <a:pt x="1177" y="703"/>
                  </a:lnTo>
                  <a:lnTo>
                    <a:pt x="1177" y="706"/>
                  </a:lnTo>
                  <a:lnTo>
                    <a:pt x="1176" y="708"/>
                  </a:lnTo>
                  <a:lnTo>
                    <a:pt x="1176" y="711"/>
                  </a:lnTo>
                  <a:lnTo>
                    <a:pt x="1172" y="718"/>
                  </a:lnTo>
                  <a:lnTo>
                    <a:pt x="1164" y="720"/>
                  </a:lnTo>
                  <a:lnTo>
                    <a:pt x="1164" y="722"/>
                  </a:lnTo>
                  <a:lnTo>
                    <a:pt x="1155" y="739"/>
                  </a:lnTo>
                  <a:lnTo>
                    <a:pt x="1165" y="754"/>
                  </a:lnTo>
                  <a:lnTo>
                    <a:pt x="1145" y="754"/>
                  </a:lnTo>
                  <a:lnTo>
                    <a:pt x="1117" y="766"/>
                  </a:lnTo>
                  <a:lnTo>
                    <a:pt x="1116" y="768"/>
                  </a:lnTo>
                  <a:lnTo>
                    <a:pt x="1087" y="780"/>
                  </a:lnTo>
                  <a:lnTo>
                    <a:pt x="1080" y="788"/>
                  </a:lnTo>
                  <a:lnTo>
                    <a:pt x="1078" y="787"/>
                  </a:lnTo>
                  <a:lnTo>
                    <a:pt x="1087" y="776"/>
                  </a:lnTo>
                  <a:lnTo>
                    <a:pt x="1097" y="769"/>
                  </a:lnTo>
                  <a:lnTo>
                    <a:pt x="1104" y="771"/>
                  </a:lnTo>
                  <a:lnTo>
                    <a:pt x="1107" y="768"/>
                  </a:lnTo>
                  <a:lnTo>
                    <a:pt x="1104" y="768"/>
                  </a:lnTo>
                  <a:lnTo>
                    <a:pt x="1100" y="768"/>
                  </a:lnTo>
                  <a:lnTo>
                    <a:pt x="1099" y="764"/>
                  </a:lnTo>
                  <a:lnTo>
                    <a:pt x="1076" y="769"/>
                  </a:lnTo>
                  <a:lnTo>
                    <a:pt x="1085" y="756"/>
                  </a:lnTo>
                  <a:lnTo>
                    <a:pt x="1085" y="746"/>
                  </a:lnTo>
                  <a:lnTo>
                    <a:pt x="1082" y="742"/>
                  </a:lnTo>
                  <a:lnTo>
                    <a:pt x="1073" y="746"/>
                  </a:lnTo>
                  <a:lnTo>
                    <a:pt x="1068" y="756"/>
                  </a:lnTo>
                  <a:lnTo>
                    <a:pt x="1063" y="754"/>
                  </a:lnTo>
                  <a:lnTo>
                    <a:pt x="1049" y="742"/>
                  </a:lnTo>
                  <a:lnTo>
                    <a:pt x="1053" y="751"/>
                  </a:lnTo>
                  <a:lnTo>
                    <a:pt x="1058" y="754"/>
                  </a:lnTo>
                  <a:lnTo>
                    <a:pt x="1056" y="768"/>
                  </a:lnTo>
                  <a:lnTo>
                    <a:pt x="1066" y="773"/>
                  </a:lnTo>
                  <a:lnTo>
                    <a:pt x="1059" y="778"/>
                  </a:lnTo>
                  <a:lnTo>
                    <a:pt x="1063" y="778"/>
                  </a:lnTo>
                  <a:lnTo>
                    <a:pt x="1061" y="781"/>
                  </a:lnTo>
                  <a:lnTo>
                    <a:pt x="1066" y="781"/>
                  </a:lnTo>
                  <a:lnTo>
                    <a:pt x="1065" y="780"/>
                  </a:lnTo>
                  <a:lnTo>
                    <a:pt x="1068" y="785"/>
                  </a:lnTo>
                  <a:lnTo>
                    <a:pt x="1075" y="787"/>
                  </a:lnTo>
                  <a:lnTo>
                    <a:pt x="1068" y="785"/>
                  </a:lnTo>
                  <a:lnTo>
                    <a:pt x="1068" y="793"/>
                  </a:lnTo>
                  <a:lnTo>
                    <a:pt x="1063" y="792"/>
                  </a:lnTo>
                  <a:lnTo>
                    <a:pt x="1051" y="807"/>
                  </a:lnTo>
                  <a:lnTo>
                    <a:pt x="1042" y="805"/>
                  </a:lnTo>
                  <a:lnTo>
                    <a:pt x="1042" y="816"/>
                  </a:lnTo>
                  <a:lnTo>
                    <a:pt x="1039" y="816"/>
                  </a:lnTo>
                  <a:lnTo>
                    <a:pt x="1034" y="829"/>
                  </a:lnTo>
                  <a:lnTo>
                    <a:pt x="1008" y="848"/>
                  </a:lnTo>
                  <a:lnTo>
                    <a:pt x="994" y="857"/>
                  </a:lnTo>
                  <a:lnTo>
                    <a:pt x="994" y="853"/>
                  </a:lnTo>
                  <a:lnTo>
                    <a:pt x="984" y="855"/>
                  </a:lnTo>
                  <a:lnTo>
                    <a:pt x="971" y="860"/>
                  </a:lnTo>
                  <a:lnTo>
                    <a:pt x="969" y="869"/>
                  </a:lnTo>
                  <a:lnTo>
                    <a:pt x="993" y="858"/>
                  </a:lnTo>
                  <a:lnTo>
                    <a:pt x="945" y="882"/>
                  </a:lnTo>
                  <a:lnTo>
                    <a:pt x="965" y="870"/>
                  </a:lnTo>
                  <a:lnTo>
                    <a:pt x="965" y="865"/>
                  </a:lnTo>
                  <a:lnTo>
                    <a:pt x="941" y="874"/>
                  </a:lnTo>
                  <a:lnTo>
                    <a:pt x="941" y="870"/>
                  </a:lnTo>
                  <a:lnTo>
                    <a:pt x="948" y="869"/>
                  </a:lnTo>
                  <a:lnTo>
                    <a:pt x="941" y="867"/>
                  </a:lnTo>
                  <a:lnTo>
                    <a:pt x="950" y="853"/>
                  </a:lnTo>
                  <a:lnTo>
                    <a:pt x="943" y="862"/>
                  </a:lnTo>
                  <a:lnTo>
                    <a:pt x="936" y="863"/>
                  </a:lnTo>
                  <a:lnTo>
                    <a:pt x="938" y="858"/>
                  </a:lnTo>
                  <a:lnTo>
                    <a:pt x="933" y="867"/>
                  </a:lnTo>
                  <a:lnTo>
                    <a:pt x="929" y="869"/>
                  </a:lnTo>
                  <a:lnTo>
                    <a:pt x="926" y="863"/>
                  </a:lnTo>
                  <a:lnTo>
                    <a:pt x="926" y="857"/>
                  </a:lnTo>
                  <a:lnTo>
                    <a:pt x="924" y="858"/>
                  </a:lnTo>
                  <a:lnTo>
                    <a:pt x="921" y="853"/>
                  </a:lnTo>
                  <a:lnTo>
                    <a:pt x="923" y="860"/>
                  </a:lnTo>
                  <a:lnTo>
                    <a:pt x="926" y="858"/>
                  </a:lnTo>
                  <a:lnTo>
                    <a:pt x="924" y="867"/>
                  </a:lnTo>
                  <a:lnTo>
                    <a:pt x="928" y="869"/>
                  </a:lnTo>
                  <a:lnTo>
                    <a:pt x="918" y="875"/>
                  </a:lnTo>
                  <a:lnTo>
                    <a:pt x="923" y="870"/>
                  </a:lnTo>
                  <a:lnTo>
                    <a:pt x="921" y="863"/>
                  </a:lnTo>
                  <a:lnTo>
                    <a:pt x="918" y="870"/>
                  </a:lnTo>
                  <a:lnTo>
                    <a:pt x="916" y="869"/>
                  </a:lnTo>
                  <a:lnTo>
                    <a:pt x="916" y="865"/>
                  </a:lnTo>
                  <a:lnTo>
                    <a:pt x="911" y="867"/>
                  </a:lnTo>
                  <a:lnTo>
                    <a:pt x="911" y="860"/>
                  </a:lnTo>
                  <a:lnTo>
                    <a:pt x="911" y="848"/>
                  </a:lnTo>
                  <a:lnTo>
                    <a:pt x="909" y="860"/>
                  </a:lnTo>
                  <a:lnTo>
                    <a:pt x="907" y="858"/>
                  </a:lnTo>
                  <a:lnTo>
                    <a:pt x="902" y="858"/>
                  </a:lnTo>
                  <a:lnTo>
                    <a:pt x="902" y="862"/>
                  </a:lnTo>
                  <a:lnTo>
                    <a:pt x="907" y="867"/>
                  </a:lnTo>
                  <a:lnTo>
                    <a:pt x="906" y="874"/>
                  </a:lnTo>
                  <a:lnTo>
                    <a:pt x="911" y="874"/>
                  </a:lnTo>
                  <a:lnTo>
                    <a:pt x="918" y="881"/>
                  </a:lnTo>
                  <a:lnTo>
                    <a:pt x="911" y="884"/>
                  </a:lnTo>
                  <a:lnTo>
                    <a:pt x="914" y="886"/>
                  </a:lnTo>
                  <a:lnTo>
                    <a:pt x="919" y="881"/>
                  </a:lnTo>
                  <a:lnTo>
                    <a:pt x="926" y="887"/>
                  </a:lnTo>
                  <a:lnTo>
                    <a:pt x="900" y="901"/>
                  </a:lnTo>
                  <a:lnTo>
                    <a:pt x="897" y="898"/>
                  </a:lnTo>
                  <a:lnTo>
                    <a:pt x="897" y="893"/>
                  </a:lnTo>
                  <a:lnTo>
                    <a:pt x="894" y="891"/>
                  </a:lnTo>
                  <a:lnTo>
                    <a:pt x="890" y="882"/>
                  </a:lnTo>
                  <a:lnTo>
                    <a:pt x="885" y="886"/>
                  </a:lnTo>
                  <a:lnTo>
                    <a:pt x="888" y="886"/>
                  </a:lnTo>
                  <a:lnTo>
                    <a:pt x="892" y="891"/>
                  </a:lnTo>
                  <a:lnTo>
                    <a:pt x="890" y="893"/>
                  </a:lnTo>
                  <a:lnTo>
                    <a:pt x="883" y="891"/>
                  </a:lnTo>
                  <a:lnTo>
                    <a:pt x="888" y="896"/>
                  </a:lnTo>
                  <a:lnTo>
                    <a:pt x="888" y="901"/>
                  </a:lnTo>
                  <a:lnTo>
                    <a:pt x="888" y="904"/>
                  </a:lnTo>
                  <a:lnTo>
                    <a:pt x="890" y="910"/>
                  </a:lnTo>
                  <a:lnTo>
                    <a:pt x="887" y="911"/>
                  </a:lnTo>
                  <a:lnTo>
                    <a:pt x="873" y="922"/>
                  </a:lnTo>
                  <a:lnTo>
                    <a:pt x="876" y="906"/>
                  </a:lnTo>
                  <a:lnTo>
                    <a:pt x="871" y="911"/>
                  </a:lnTo>
                  <a:lnTo>
                    <a:pt x="875" y="915"/>
                  </a:lnTo>
                  <a:lnTo>
                    <a:pt x="871" y="922"/>
                  </a:lnTo>
                  <a:lnTo>
                    <a:pt x="866" y="920"/>
                  </a:lnTo>
                  <a:lnTo>
                    <a:pt x="866" y="913"/>
                  </a:lnTo>
                  <a:lnTo>
                    <a:pt x="856" y="920"/>
                  </a:lnTo>
                  <a:lnTo>
                    <a:pt x="856" y="916"/>
                  </a:lnTo>
                  <a:lnTo>
                    <a:pt x="853" y="916"/>
                  </a:lnTo>
                  <a:lnTo>
                    <a:pt x="854" y="922"/>
                  </a:lnTo>
                  <a:lnTo>
                    <a:pt x="844" y="927"/>
                  </a:lnTo>
                  <a:lnTo>
                    <a:pt x="846" y="928"/>
                  </a:lnTo>
                  <a:lnTo>
                    <a:pt x="842" y="930"/>
                  </a:lnTo>
                  <a:lnTo>
                    <a:pt x="846" y="928"/>
                  </a:lnTo>
                  <a:lnTo>
                    <a:pt x="858" y="928"/>
                  </a:lnTo>
                  <a:lnTo>
                    <a:pt x="866" y="922"/>
                  </a:lnTo>
                  <a:lnTo>
                    <a:pt x="866" y="932"/>
                  </a:lnTo>
                  <a:lnTo>
                    <a:pt x="858" y="942"/>
                  </a:lnTo>
                  <a:lnTo>
                    <a:pt x="849" y="954"/>
                  </a:lnTo>
                  <a:lnTo>
                    <a:pt x="846" y="952"/>
                  </a:lnTo>
                  <a:lnTo>
                    <a:pt x="847" y="952"/>
                  </a:lnTo>
                  <a:lnTo>
                    <a:pt x="842" y="947"/>
                  </a:lnTo>
                  <a:lnTo>
                    <a:pt x="834" y="951"/>
                  </a:lnTo>
                  <a:lnTo>
                    <a:pt x="835" y="947"/>
                  </a:lnTo>
                  <a:lnTo>
                    <a:pt x="824" y="949"/>
                  </a:lnTo>
                  <a:lnTo>
                    <a:pt x="822" y="947"/>
                  </a:lnTo>
                  <a:lnTo>
                    <a:pt x="818" y="947"/>
                  </a:lnTo>
                  <a:lnTo>
                    <a:pt x="820" y="951"/>
                  </a:lnTo>
                  <a:lnTo>
                    <a:pt x="824" y="952"/>
                  </a:lnTo>
                  <a:lnTo>
                    <a:pt x="832" y="951"/>
                  </a:lnTo>
                  <a:lnTo>
                    <a:pt x="830" y="957"/>
                  </a:lnTo>
                  <a:lnTo>
                    <a:pt x="837" y="964"/>
                  </a:lnTo>
                  <a:lnTo>
                    <a:pt x="835" y="964"/>
                  </a:lnTo>
                  <a:lnTo>
                    <a:pt x="837" y="966"/>
                  </a:lnTo>
                  <a:lnTo>
                    <a:pt x="834" y="971"/>
                  </a:lnTo>
                  <a:lnTo>
                    <a:pt x="830" y="973"/>
                  </a:lnTo>
                  <a:lnTo>
                    <a:pt x="835" y="973"/>
                  </a:lnTo>
                  <a:lnTo>
                    <a:pt x="839" y="964"/>
                  </a:lnTo>
                  <a:lnTo>
                    <a:pt x="844" y="966"/>
                  </a:lnTo>
                  <a:lnTo>
                    <a:pt x="837" y="980"/>
                  </a:lnTo>
                  <a:lnTo>
                    <a:pt x="829" y="1005"/>
                  </a:lnTo>
                  <a:lnTo>
                    <a:pt x="820" y="1005"/>
                  </a:lnTo>
                  <a:lnTo>
                    <a:pt x="820" y="993"/>
                  </a:lnTo>
                  <a:lnTo>
                    <a:pt x="817" y="1004"/>
                  </a:lnTo>
                  <a:lnTo>
                    <a:pt x="810" y="1007"/>
                  </a:lnTo>
                  <a:lnTo>
                    <a:pt x="796" y="995"/>
                  </a:lnTo>
                  <a:lnTo>
                    <a:pt x="803" y="1009"/>
                  </a:lnTo>
                  <a:lnTo>
                    <a:pt x="793" y="1009"/>
                  </a:lnTo>
                  <a:lnTo>
                    <a:pt x="815" y="1016"/>
                  </a:lnTo>
                  <a:lnTo>
                    <a:pt x="827" y="1012"/>
                  </a:lnTo>
                  <a:lnTo>
                    <a:pt x="818" y="1031"/>
                  </a:lnTo>
                  <a:lnTo>
                    <a:pt x="822" y="1039"/>
                  </a:lnTo>
                  <a:lnTo>
                    <a:pt x="813" y="1041"/>
                  </a:lnTo>
                  <a:lnTo>
                    <a:pt x="813" y="1055"/>
                  </a:lnTo>
                  <a:lnTo>
                    <a:pt x="820" y="1062"/>
                  </a:lnTo>
                  <a:lnTo>
                    <a:pt x="824" y="1082"/>
                  </a:lnTo>
                  <a:lnTo>
                    <a:pt x="825" y="1091"/>
                  </a:lnTo>
                  <a:lnTo>
                    <a:pt x="822" y="1094"/>
                  </a:lnTo>
                  <a:lnTo>
                    <a:pt x="825" y="1104"/>
                  </a:lnTo>
                  <a:lnTo>
                    <a:pt x="830" y="1108"/>
                  </a:lnTo>
                  <a:lnTo>
                    <a:pt x="832" y="1127"/>
                  </a:lnTo>
                  <a:lnTo>
                    <a:pt x="842" y="1139"/>
                  </a:lnTo>
                  <a:lnTo>
                    <a:pt x="839" y="1145"/>
                  </a:lnTo>
                  <a:lnTo>
                    <a:pt x="846" y="1145"/>
                  </a:lnTo>
                  <a:lnTo>
                    <a:pt x="849" y="1151"/>
                  </a:lnTo>
                  <a:lnTo>
                    <a:pt x="837" y="1149"/>
                  </a:lnTo>
                  <a:lnTo>
                    <a:pt x="837" y="1152"/>
                  </a:lnTo>
                  <a:lnTo>
                    <a:pt x="829" y="1154"/>
                  </a:lnTo>
                  <a:lnTo>
                    <a:pt x="829" y="1163"/>
                  </a:lnTo>
                  <a:lnTo>
                    <a:pt x="824" y="1163"/>
                  </a:lnTo>
                  <a:lnTo>
                    <a:pt x="808" y="1152"/>
                  </a:lnTo>
                  <a:lnTo>
                    <a:pt x="810" y="1151"/>
                  </a:lnTo>
                  <a:lnTo>
                    <a:pt x="806" y="1149"/>
                  </a:lnTo>
                  <a:lnTo>
                    <a:pt x="803" y="1142"/>
                  </a:lnTo>
                  <a:lnTo>
                    <a:pt x="782" y="1139"/>
                  </a:lnTo>
                  <a:lnTo>
                    <a:pt x="765" y="1139"/>
                  </a:lnTo>
                  <a:lnTo>
                    <a:pt x="762" y="1140"/>
                  </a:lnTo>
                  <a:lnTo>
                    <a:pt x="760" y="1137"/>
                  </a:lnTo>
                  <a:lnTo>
                    <a:pt x="750" y="1139"/>
                  </a:lnTo>
                  <a:lnTo>
                    <a:pt x="741" y="1133"/>
                  </a:lnTo>
                  <a:lnTo>
                    <a:pt x="743" y="1132"/>
                  </a:lnTo>
                  <a:lnTo>
                    <a:pt x="741" y="1130"/>
                  </a:lnTo>
                  <a:lnTo>
                    <a:pt x="738" y="1132"/>
                  </a:lnTo>
                  <a:lnTo>
                    <a:pt x="736" y="1127"/>
                  </a:lnTo>
                  <a:lnTo>
                    <a:pt x="731" y="1127"/>
                  </a:lnTo>
                  <a:lnTo>
                    <a:pt x="726" y="1120"/>
                  </a:lnTo>
                  <a:lnTo>
                    <a:pt x="723" y="1122"/>
                  </a:lnTo>
                  <a:lnTo>
                    <a:pt x="711" y="1116"/>
                  </a:lnTo>
                  <a:lnTo>
                    <a:pt x="704" y="1118"/>
                  </a:lnTo>
                  <a:lnTo>
                    <a:pt x="690" y="1103"/>
                  </a:lnTo>
                  <a:lnTo>
                    <a:pt x="682" y="1104"/>
                  </a:lnTo>
                  <a:lnTo>
                    <a:pt x="678" y="1101"/>
                  </a:lnTo>
                  <a:lnTo>
                    <a:pt x="663" y="1098"/>
                  </a:lnTo>
                  <a:lnTo>
                    <a:pt x="663" y="1091"/>
                  </a:lnTo>
                  <a:lnTo>
                    <a:pt x="658" y="1084"/>
                  </a:lnTo>
                  <a:lnTo>
                    <a:pt x="658" y="1080"/>
                  </a:lnTo>
                  <a:lnTo>
                    <a:pt x="647" y="1050"/>
                  </a:lnTo>
                  <a:lnTo>
                    <a:pt x="637" y="1041"/>
                  </a:lnTo>
                  <a:lnTo>
                    <a:pt x="637" y="1036"/>
                  </a:lnTo>
                  <a:lnTo>
                    <a:pt x="632" y="1031"/>
                  </a:lnTo>
                  <a:lnTo>
                    <a:pt x="634" y="1014"/>
                  </a:lnTo>
                  <a:lnTo>
                    <a:pt x="632" y="1005"/>
                  </a:lnTo>
                  <a:lnTo>
                    <a:pt x="624" y="1000"/>
                  </a:lnTo>
                  <a:lnTo>
                    <a:pt x="630" y="983"/>
                  </a:lnTo>
                  <a:lnTo>
                    <a:pt x="627" y="981"/>
                  </a:lnTo>
                  <a:lnTo>
                    <a:pt x="625" y="969"/>
                  </a:lnTo>
                  <a:lnTo>
                    <a:pt x="608" y="963"/>
                  </a:lnTo>
                  <a:lnTo>
                    <a:pt x="600" y="951"/>
                  </a:lnTo>
                  <a:lnTo>
                    <a:pt x="594" y="949"/>
                  </a:lnTo>
                  <a:lnTo>
                    <a:pt x="589" y="928"/>
                  </a:lnTo>
                  <a:lnTo>
                    <a:pt x="584" y="927"/>
                  </a:lnTo>
                  <a:lnTo>
                    <a:pt x="574" y="910"/>
                  </a:lnTo>
                  <a:lnTo>
                    <a:pt x="564" y="904"/>
                  </a:lnTo>
                  <a:lnTo>
                    <a:pt x="564" y="899"/>
                  </a:lnTo>
                  <a:lnTo>
                    <a:pt x="557" y="896"/>
                  </a:lnTo>
                  <a:lnTo>
                    <a:pt x="557" y="891"/>
                  </a:lnTo>
                  <a:lnTo>
                    <a:pt x="552" y="882"/>
                  </a:lnTo>
                  <a:lnTo>
                    <a:pt x="550" y="874"/>
                  </a:lnTo>
                  <a:lnTo>
                    <a:pt x="553" y="872"/>
                  </a:lnTo>
                  <a:lnTo>
                    <a:pt x="547" y="867"/>
                  </a:lnTo>
                  <a:lnTo>
                    <a:pt x="548" y="862"/>
                  </a:lnTo>
                  <a:lnTo>
                    <a:pt x="540" y="853"/>
                  </a:lnTo>
                  <a:lnTo>
                    <a:pt x="531" y="829"/>
                  </a:lnTo>
                  <a:lnTo>
                    <a:pt x="526" y="826"/>
                  </a:lnTo>
                  <a:lnTo>
                    <a:pt x="526" y="809"/>
                  </a:lnTo>
                  <a:lnTo>
                    <a:pt x="516" y="799"/>
                  </a:lnTo>
                  <a:lnTo>
                    <a:pt x="514" y="790"/>
                  </a:lnTo>
                  <a:lnTo>
                    <a:pt x="495" y="775"/>
                  </a:lnTo>
                  <a:lnTo>
                    <a:pt x="490" y="764"/>
                  </a:lnTo>
                  <a:lnTo>
                    <a:pt x="473" y="758"/>
                  </a:lnTo>
                  <a:lnTo>
                    <a:pt x="473" y="747"/>
                  </a:lnTo>
                  <a:lnTo>
                    <a:pt x="468" y="752"/>
                  </a:lnTo>
                  <a:lnTo>
                    <a:pt x="470" y="744"/>
                  </a:lnTo>
                  <a:lnTo>
                    <a:pt x="463" y="744"/>
                  </a:lnTo>
                  <a:lnTo>
                    <a:pt x="459" y="734"/>
                  </a:lnTo>
                  <a:lnTo>
                    <a:pt x="461" y="732"/>
                  </a:lnTo>
                  <a:lnTo>
                    <a:pt x="456" y="732"/>
                  </a:lnTo>
                  <a:lnTo>
                    <a:pt x="454" y="728"/>
                  </a:lnTo>
                  <a:lnTo>
                    <a:pt x="448" y="732"/>
                  </a:lnTo>
                  <a:lnTo>
                    <a:pt x="448" y="727"/>
                  </a:lnTo>
                  <a:lnTo>
                    <a:pt x="444" y="730"/>
                  </a:lnTo>
                  <a:lnTo>
                    <a:pt x="439" y="732"/>
                  </a:lnTo>
                  <a:lnTo>
                    <a:pt x="427" y="727"/>
                  </a:lnTo>
                  <a:lnTo>
                    <a:pt x="424" y="728"/>
                  </a:lnTo>
                  <a:lnTo>
                    <a:pt x="422" y="723"/>
                  </a:lnTo>
                  <a:lnTo>
                    <a:pt x="412" y="727"/>
                  </a:lnTo>
                  <a:lnTo>
                    <a:pt x="408" y="723"/>
                  </a:lnTo>
                  <a:lnTo>
                    <a:pt x="400" y="725"/>
                  </a:lnTo>
                  <a:lnTo>
                    <a:pt x="376" y="715"/>
                  </a:lnTo>
                  <a:lnTo>
                    <a:pt x="371" y="718"/>
                  </a:lnTo>
                  <a:lnTo>
                    <a:pt x="369" y="725"/>
                  </a:lnTo>
                  <a:lnTo>
                    <a:pt x="359" y="723"/>
                  </a:lnTo>
                  <a:lnTo>
                    <a:pt x="354" y="727"/>
                  </a:lnTo>
                  <a:lnTo>
                    <a:pt x="352" y="723"/>
                  </a:lnTo>
                  <a:lnTo>
                    <a:pt x="345" y="728"/>
                  </a:lnTo>
                  <a:lnTo>
                    <a:pt x="342" y="727"/>
                  </a:lnTo>
                  <a:lnTo>
                    <a:pt x="328" y="749"/>
                  </a:lnTo>
                  <a:lnTo>
                    <a:pt x="326" y="761"/>
                  </a:lnTo>
                  <a:lnTo>
                    <a:pt x="319" y="766"/>
                  </a:lnTo>
                  <a:lnTo>
                    <a:pt x="316" y="775"/>
                  </a:lnTo>
                  <a:lnTo>
                    <a:pt x="321" y="780"/>
                  </a:lnTo>
                  <a:lnTo>
                    <a:pt x="309" y="783"/>
                  </a:lnTo>
                  <a:lnTo>
                    <a:pt x="292" y="805"/>
                  </a:lnTo>
                  <a:lnTo>
                    <a:pt x="282" y="800"/>
                  </a:lnTo>
                  <a:lnTo>
                    <a:pt x="280" y="804"/>
                  </a:lnTo>
                  <a:lnTo>
                    <a:pt x="275" y="795"/>
                  </a:lnTo>
                  <a:lnTo>
                    <a:pt x="271" y="797"/>
                  </a:lnTo>
                  <a:lnTo>
                    <a:pt x="263" y="792"/>
                  </a:lnTo>
                  <a:lnTo>
                    <a:pt x="258" y="785"/>
                  </a:lnTo>
                  <a:lnTo>
                    <a:pt x="241" y="778"/>
                  </a:lnTo>
                  <a:lnTo>
                    <a:pt x="239" y="773"/>
                  </a:lnTo>
                  <a:lnTo>
                    <a:pt x="234" y="773"/>
                  </a:lnTo>
                  <a:lnTo>
                    <a:pt x="237" y="768"/>
                  </a:lnTo>
                  <a:lnTo>
                    <a:pt x="234" y="769"/>
                  </a:lnTo>
                  <a:lnTo>
                    <a:pt x="212" y="761"/>
                  </a:lnTo>
                  <a:lnTo>
                    <a:pt x="200" y="752"/>
                  </a:lnTo>
                  <a:lnTo>
                    <a:pt x="198" y="742"/>
                  </a:lnTo>
                  <a:lnTo>
                    <a:pt x="183" y="734"/>
                  </a:lnTo>
                  <a:lnTo>
                    <a:pt x="169" y="720"/>
                  </a:lnTo>
                  <a:lnTo>
                    <a:pt x="166" y="705"/>
                  </a:lnTo>
                  <a:lnTo>
                    <a:pt x="159" y="694"/>
                  </a:lnTo>
                  <a:lnTo>
                    <a:pt x="157" y="677"/>
                  </a:lnTo>
                  <a:lnTo>
                    <a:pt x="160" y="669"/>
                  </a:lnTo>
                  <a:lnTo>
                    <a:pt x="159" y="658"/>
                  </a:lnTo>
                  <a:lnTo>
                    <a:pt x="150" y="645"/>
                  </a:lnTo>
                  <a:lnTo>
                    <a:pt x="150" y="643"/>
                  </a:lnTo>
                  <a:lnTo>
                    <a:pt x="147" y="641"/>
                  </a:lnTo>
                  <a:lnTo>
                    <a:pt x="145" y="621"/>
                  </a:lnTo>
                  <a:lnTo>
                    <a:pt x="136" y="612"/>
                  </a:lnTo>
                  <a:lnTo>
                    <a:pt x="136" y="609"/>
                  </a:lnTo>
                  <a:lnTo>
                    <a:pt x="130" y="607"/>
                  </a:lnTo>
                  <a:lnTo>
                    <a:pt x="118" y="593"/>
                  </a:lnTo>
                  <a:lnTo>
                    <a:pt x="113" y="593"/>
                  </a:lnTo>
                  <a:lnTo>
                    <a:pt x="111" y="590"/>
                  </a:lnTo>
                  <a:lnTo>
                    <a:pt x="107" y="592"/>
                  </a:lnTo>
                  <a:lnTo>
                    <a:pt x="102" y="587"/>
                  </a:lnTo>
                  <a:lnTo>
                    <a:pt x="101" y="581"/>
                  </a:lnTo>
                  <a:lnTo>
                    <a:pt x="89" y="570"/>
                  </a:lnTo>
                  <a:lnTo>
                    <a:pt x="85" y="559"/>
                  </a:lnTo>
                  <a:lnTo>
                    <a:pt x="70" y="549"/>
                  </a:lnTo>
                  <a:lnTo>
                    <a:pt x="53" y="523"/>
                  </a:lnTo>
                  <a:close/>
                  <a:moveTo>
                    <a:pt x="1066" y="800"/>
                  </a:moveTo>
                  <a:lnTo>
                    <a:pt x="1080" y="790"/>
                  </a:lnTo>
                  <a:lnTo>
                    <a:pt x="1082" y="793"/>
                  </a:lnTo>
                  <a:lnTo>
                    <a:pt x="1047" y="817"/>
                  </a:lnTo>
                  <a:lnTo>
                    <a:pt x="1066" y="800"/>
                  </a:lnTo>
                  <a:close/>
                  <a:moveTo>
                    <a:pt x="926" y="898"/>
                  </a:moveTo>
                  <a:lnTo>
                    <a:pt x="885" y="927"/>
                  </a:lnTo>
                  <a:lnTo>
                    <a:pt x="887" y="916"/>
                  </a:lnTo>
                  <a:lnTo>
                    <a:pt x="894" y="915"/>
                  </a:lnTo>
                  <a:lnTo>
                    <a:pt x="914" y="901"/>
                  </a:lnTo>
                  <a:lnTo>
                    <a:pt x="919" y="899"/>
                  </a:lnTo>
                  <a:lnTo>
                    <a:pt x="924" y="893"/>
                  </a:lnTo>
                  <a:lnTo>
                    <a:pt x="926" y="898"/>
                  </a:lnTo>
                  <a:close/>
                  <a:moveTo>
                    <a:pt x="875" y="928"/>
                  </a:moveTo>
                  <a:lnTo>
                    <a:pt x="882" y="920"/>
                  </a:lnTo>
                  <a:lnTo>
                    <a:pt x="885" y="923"/>
                  </a:lnTo>
                  <a:lnTo>
                    <a:pt x="883" y="928"/>
                  </a:lnTo>
                  <a:lnTo>
                    <a:pt x="865" y="951"/>
                  </a:lnTo>
                  <a:lnTo>
                    <a:pt x="866" y="942"/>
                  </a:lnTo>
                  <a:lnTo>
                    <a:pt x="873" y="935"/>
                  </a:lnTo>
                  <a:lnTo>
                    <a:pt x="871" y="934"/>
                  </a:lnTo>
                  <a:lnTo>
                    <a:pt x="875" y="928"/>
                  </a:lnTo>
                  <a:close/>
                  <a:moveTo>
                    <a:pt x="834" y="1009"/>
                  </a:moveTo>
                  <a:lnTo>
                    <a:pt x="832" y="1017"/>
                  </a:lnTo>
                  <a:lnTo>
                    <a:pt x="832" y="1009"/>
                  </a:lnTo>
                  <a:lnTo>
                    <a:pt x="835" y="993"/>
                  </a:lnTo>
                  <a:lnTo>
                    <a:pt x="844" y="978"/>
                  </a:lnTo>
                  <a:lnTo>
                    <a:pt x="844" y="971"/>
                  </a:lnTo>
                  <a:lnTo>
                    <a:pt x="849" y="975"/>
                  </a:lnTo>
                  <a:lnTo>
                    <a:pt x="853" y="964"/>
                  </a:lnTo>
                  <a:lnTo>
                    <a:pt x="861" y="954"/>
                  </a:lnTo>
                  <a:lnTo>
                    <a:pt x="858" y="952"/>
                  </a:lnTo>
                  <a:lnTo>
                    <a:pt x="863" y="952"/>
                  </a:lnTo>
                  <a:lnTo>
                    <a:pt x="847" y="980"/>
                  </a:lnTo>
                  <a:lnTo>
                    <a:pt x="834" y="1009"/>
                  </a:lnTo>
                  <a:close/>
                  <a:moveTo>
                    <a:pt x="837" y="1082"/>
                  </a:moveTo>
                  <a:lnTo>
                    <a:pt x="832" y="1070"/>
                  </a:lnTo>
                  <a:lnTo>
                    <a:pt x="830" y="1058"/>
                  </a:lnTo>
                  <a:lnTo>
                    <a:pt x="829" y="1048"/>
                  </a:lnTo>
                  <a:lnTo>
                    <a:pt x="829" y="1028"/>
                  </a:lnTo>
                  <a:lnTo>
                    <a:pt x="830" y="1019"/>
                  </a:lnTo>
                  <a:lnTo>
                    <a:pt x="832" y="1017"/>
                  </a:lnTo>
                  <a:lnTo>
                    <a:pt x="830" y="1029"/>
                  </a:lnTo>
                  <a:lnTo>
                    <a:pt x="830" y="1045"/>
                  </a:lnTo>
                  <a:lnTo>
                    <a:pt x="832" y="1060"/>
                  </a:lnTo>
                  <a:lnTo>
                    <a:pt x="839" y="1082"/>
                  </a:lnTo>
                  <a:lnTo>
                    <a:pt x="844" y="1101"/>
                  </a:lnTo>
                  <a:lnTo>
                    <a:pt x="847" y="1118"/>
                  </a:lnTo>
                  <a:lnTo>
                    <a:pt x="849" y="1137"/>
                  </a:lnTo>
                  <a:lnTo>
                    <a:pt x="849" y="1139"/>
                  </a:lnTo>
                  <a:lnTo>
                    <a:pt x="846" y="1120"/>
                  </a:lnTo>
                  <a:lnTo>
                    <a:pt x="846" y="1110"/>
                  </a:lnTo>
                  <a:lnTo>
                    <a:pt x="842" y="1101"/>
                  </a:lnTo>
                  <a:lnTo>
                    <a:pt x="841" y="1096"/>
                  </a:lnTo>
                  <a:lnTo>
                    <a:pt x="841" y="1089"/>
                  </a:lnTo>
                  <a:lnTo>
                    <a:pt x="837" y="1082"/>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50" name="Freeform 46">
              <a:extLst>
                <a:ext uri="{FF2B5EF4-FFF2-40B4-BE49-F238E27FC236}">
                  <a16:creationId xmlns:a16="http://schemas.microsoft.com/office/drawing/2014/main" id="{77C65041-AD22-479E-B9DF-AF4862A3BA5D}"/>
                </a:ext>
              </a:extLst>
            </p:cNvPr>
            <p:cNvSpPr>
              <a:spLocks/>
            </p:cNvSpPr>
            <p:nvPr/>
          </p:nvSpPr>
          <p:spPr bwMode="gray">
            <a:xfrm>
              <a:off x="3352023" y="3984814"/>
              <a:ext cx="954885" cy="988701"/>
            </a:xfrm>
            <a:custGeom>
              <a:avLst/>
              <a:gdLst/>
              <a:ahLst/>
              <a:cxnLst>
                <a:cxn ang="0">
                  <a:pos x="15" y="487"/>
                </a:cxn>
                <a:cxn ang="0">
                  <a:pos x="20" y="451"/>
                </a:cxn>
                <a:cxn ang="0">
                  <a:pos x="25" y="405"/>
                </a:cxn>
                <a:cxn ang="0">
                  <a:pos x="34" y="344"/>
                </a:cxn>
                <a:cxn ang="0">
                  <a:pos x="46" y="258"/>
                </a:cxn>
                <a:cxn ang="0">
                  <a:pos x="53" y="219"/>
                </a:cxn>
                <a:cxn ang="0">
                  <a:pos x="68" y="108"/>
                </a:cxn>
                <a:cxn ang="0">
                  <a:pos x="82" y="0"/>
                </a:cxn>
                <a:cxn ang="0">
                  <a:pos x="138" y="9"/>
                </a:cxn>
                <a:cxn ang="0">
                  <a:pos x="215" y="17"/>
                </a:cxn>
                <a:cxn ang="0">
                  <a:pos x="220" y="19"/>
                </a:cxn>
                <a:cxn ang="0">
                  <a:pos x="265" y="24"/>
                </a:cxn>
                <a:cxn ang="0">
                  <a:pos x="266" y="26"/>
                </a:cxn>
                <a:cxn ang="0">
                  <a:pos x="299" y="29"/>
                </a:cxn>
                <a:cxn ang="0">
                  <a:pos x="340" y="33"/>
                </a:cxn>
                <a:cxn ang="0">
                  <a:pos x="364" y="34"/>
                </a:cxn>
                <a:cxn ang="0">
                  <a:pos x="407" y="39"/>
                </a:cxn>
                <a:cxn ang="0">
                  <a:pos x="412" y="39"/>
                </a:cxn>
                <a:cxn ang="0">
                  <a:pos x="509" y="48"/>
                </a:cxn>
                <a:cxn ang="0">
                  <a:pos x="586" y="55"/>
                </a:cxn>
                <a:cxn ang="0">
                  <a:pos x="593" y="55"/>
                </a:cxn>
                <a:cxn ang="0">
                  <a:pos x="589" y="109"/>
                </a:cxn>
                <a:cxn ang="0">
                  <a:pos x="588" y="109"/>
                </a:cxn>
                <a:cxn ang="0">
                  <a:pos x="584" y="156"/>
                </a:cxn>
                <a:cxn ang="0">
                  <a:pos x="581" y="190"/>
                </a:cxn>
                <a:cxn ang="0">
                  <a:pos x="581" y="203"/>
                </a:cxn>
                <a:cxn ang="0">
                  <a:pos x="576" y="251"/>
                </a:cxn>
                <a:cxn ang="0">
                  <a:pos x="576" y="274"/>
                </a:cxn>
                <a:cxn ang="0">
                  <a:pos x="574" y="297"/>
                </a:cxn>
                <a:cxn ang="0">
                  <a:pos x="569" y="344"/>
                </a:cxn>
                <a:cxn ang="0">
                  <a:pos x="566" y="397"/>
                </a:cxn>
                <a:cxn ang="0">
                  <a:pos x="562" y="424"/>
                </a:cxn>
                <a:cxn ang="0">
                  <a:pos x="560" y="444"/>
                </a:cxn>
                <a:cxn ang="0">
                  <a:pos x="557" y="489"/>
                </a:cxn>
                <a:cxn ang="0">
                  <a:pos x="552" y="537"/>
                </a:cxn>
                <a:cxn ang="0">
                  <a:pos x="550" y="583"/>
                </a:cxn>
                <a:cxn ang="0">
                  <a:pos x="548" y="591"/>
                </a:cxn>
                <a:cxn ang="0">
                  <a:pos x="525" y="590"/>
                </a:cxn>
                <a:cxn ang="0">
                  <a:pos x="489" y="586"/>
                </a:cxn>
                <a:cxn ang="0">
                  <a:pos x="465" y="585"/>
                </a:cxn>
                <a:cxn ang="0">
                  <a:pos x="461" y="585"/>
                </a:cxn>
                <a:cxn ang="0">
                  <a:pos x="386" y="578"/>
                </a:cxn>
                <a:cxn ang="0">
                  <a:pos x="379" y="578"/>
                </a:cxn>
                <a:cxn ang="0">
                  <a:pos x="282" y="567"/>
                </a:cxn>
                <a:cxn ang="0">
                  <a:pos x="249" y="564"/>
                </a:cxn>
                <a:cxn ang="0">
                  <a:pos x="227" y="562"/>
                </a:cxn>
                <a:cxn ang="0">
                  <a:pos x="224" y="564"/>
                </a:cxn>
                <a:cxn ang="0">
                  <a:pos x="225" y="564"/>
                </a:cxn>
                <a:cxn ang="0">
                  <a:pos x="225" y="571"/>
                </a:cxn>
                <a:cxn ang="0">
                  <a:pos x="224" y="573"/>
                </a:cxn>
                <a:cxn ang="0">
                  <a:pos x="225" y="578"/>
                </a:cxn>
                <a:cxn ang="0">
                  <a:pos x="225" y="581"/>
                </a:cxn>
                <a:cxn ang="0">
                  <a:pos x="232" y="585"/>
                </a:cxn>
                <a:cxn ang="0">
                  <a:pos x="164" y="578"/>
                </a:cxn>
                <a:cxn ang="0">
                  <a:pos x="82" y="567"/>
                </a:cxn>
                <a:cxn ang="0">
                  <a:pos x="75" y="614"/>
                </a:cxn>
                <a:cxn ang="0">
                  <a:pos x="0" y="603"/>
                </a:cxn>
                <a:cxn ang="0">
                  <a:pos x="15" y="487"/>
                </a:cxn>
              </a:cxnLst>
              <a:rect l="0" t="0" r="r" b="b"/>
              <a:pathLst>
                <a:path w="593" h="614">
                  <a:moveTo>
                    <a:pt x="15" y="487"/>
                  </a:moveTo>
                  <a:lnTo>
                    <a:pt x="20" y="451"/>
                  </a:lnTo>
                  <a:lnTo>
                    <a:pt x="25" y="405"/>
                  </a:lnTo>
                  <a:lnTo>
                    <a:pt x="34" y="344"/>
                  </a:lnTo>
                  <a:lnTo>
                    <a:pt x="46" y="258"/>
                  </a:lnTo>
                  <a:lnTo>
                    <a:pt x="53" y="219"/>
                  </a:lnTo>
                  <a:lnTo>
                    <a:pt x="68" y="108"/>
                  </a:lnTo>
                  <a:lnTo>
                    <a:pt x="82" y="0"/>
                  </a:lnTo>
                  <a:lnTo>
                    <a:pt x="138" y="9"/>
                  </a:lnTo>
                  <a:lnTo>
                    <a:pt x="215" y="17"/>
                  </a:lnTo>
                  <a:lnTo>
                    <a:pt x="220" y="19"/>
                  </a:lnTo>
                  <a:lnTo>
                    <a:pt x="265" y="24"/>
                  </a:lnTo>
                  <a:lnTo>
                    <a:pt x="266" y="26"/>
                  </a:lnTo>
                  <a:lnTo>
                    <a:pt x="299" y="29"/>
                  </a:lnTo>
                  <a:lnTo>
                    <a:pt x="340" y="33"/>
                  </a:lnTo>
                  <a:lnTo>
                    <a:pt x="364" y="34"/>
                  </a:lnTo>
                  <a:lnTo>
                    <a:pt x="407" y="39"/>
                  </a:lnTo>
                  <a:lnTo>
                    <a:pt x="412" y="39"/>
                  </a:lnTo>
                  <a:lnTo>
                    <a:pt x="509" y="48"/>
                  </a:lnTo>
                  <a:lnTo>
                    <a:pt x="586" y="55"/>
                  </a:lnTo>
                  <a:lnTo>
                    <a:pt x="593" y="55"/>
                  </a:lnTo>
                  <a:lnTo>
                    <a:pt x="589" y="109"/>
                  </a:lnTo>
                  <a:lnTo>
                    <a:pt x="588" y="109"/>
                  </a:lnTo>
                  <a:lnTo>
                    <a:pt x="584" y="156"/>
                  </a:lnTo>
                  <a:lnTo>
                    <a:pt x="581" y="190"/>
                  </a:lnTo>
                  <a:lnTo>
                    <a:pt x="581" y="203"/>
                  </a:lnTo>
                  <a:lnTo>
                    <a:pt x="576" y="251"/>
                  </a:lnTo>
                  <a:lnTo>
                    <a:pt x="576" y="274"/>
                  </a:lnTo>
                  <a:lnTo>
                    <a:pt x="574" y="297"/>
                  </a:lnTo>
                  <a:lnTo>
                    <a:pt x="569" y="344"/>
                  </a:lnTo>
                  <a:lnTo>
                    <a:pt x="566" y="397"/>
                  </a:lnTo>
                  <a:lnTo>
                    <a:pt x="562" y="424"/>
                  </a:lnTo>
                  <a:lnTo>
                    <a:pt x="560" y="444"/>
                  </a:lnTo>
                  <a:lnTo>
                    <a:pt x="557" y="489"/>
                  </a:lnTo>
                  <a:lnTo>
                    <a:pt x="552" y="537"/>
                  </a:lnTo>
                  <a:lnTo>
                    <a:pt x="550" y="583"/>
                  </a:lnTo>
                  <a:lnTo>
                    <a:pt x="548" y="591"/>
                  </a:lnTo>
                  <a:lnTo>
                    <a:pt x="525" y="590"/>
                  </a:lnTo>
                  <a:lnTo>
                    <a:pt x="489" y="586"/>
                  </a:lnTo>
                  <a:lnTo>
                    <a:pt x="465" y="585"/>
                  </a:lnTo>
                  <a:lnTo>
                    <a:pt x="461" y="585"/>
                  </a:lnTo>
                  <a:lnTo>
                    <a:pt x="386" y="578"/>
                  </a:lnTo>
                  <a:lnTo>
                    <a:pt x="379" y="578"/>
                  </a:lnTo>
                  <a:lnTo>
                    <a:pt x="282" y="567"/>
                  </a:lnTo>
                  <a:lnTo>
                    <a:pt x="249" y="564"/>
                  </a:lnTo>
                  <a:lnTo>
                    <a:pt x="227" y="562"/>
                  </a:lnTo>
                  <a:lnTo>
                    <a:pt x="224" y="564"/>
                  </a:lnTo>
                  <a:lnTo>
                    <a:pt x="225" y="564"/>
                  </a:lnTo>
                  <a:lnTo>
                    <a:pt x="225" y="571"/>
                  </a:lnTo>
                  <a:lnTo>
                    <a:pt x="224" y="573"/>
                  </a:lnTo>
                  <a:lnTo>
                    <a:pt x="225" y="578"/>
                  </a:lnTo>
                  <a:lnTo>
                    <a:pt x="225" y="581"/>
                  </a:lnTo>
                  <a:lnTo>
                    <a:pt x="232" y="585"/>
                  </a:lnTo>
                  <a:lnTo>
                    <a:pt x="164" y="578"/>
                  </a:lnTo>
                  <a:lnTo>
                    <a:pt x="82" y="567"/>
                  </a:lnTo>
                  <a:lnTo>
                    <a:pt x="75" y="614"/>
                  </a:lnTo>
                  <a:lnTo>
                    <a:pt x="0" y="603"/>
                  </a:lnTo>
                  <a:lnTo>
                    <a:pt x="15" y="487"/>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51" name="Freeform 47">
              <a:extLst>
                <a:ext uri="{FF2B5EF4-FFF2-40B4-BE49-F238E27FC236}">
                  <a16:creationId xmlns:a16="http://schemas.microsoft.com/office/drawing/2014/main" id="{FAE1D2A7-E4C0-41EE-B7AD-59E865CC8559}"/>
                </a:ext>
              </a:extLst>
            </p:cNvPr>
            <p:cNvSpPr>
              <a:spLocks/>
            </p:cNvSpPr>
            <p:nvPr/>
          </p:nvSpPr>
          <p:spPr bwMode="gray">
            <a:xfrm>
              <a:off x="6359992" y="4377718"/>
              <a:ext cx="528166" cy="853439"/>
            </a:xfrm>
            <a:custGeom>
              <a:avLst/>
              <a:gdLst/>
              <a:ahLst/>
              <a:cxnLst>
                <a:cxn ang="0">
                  <a:pos x="304" y="330"/>
                </a:cxn>
                <a:cxn ang="0">
                  <a:pos x="308" y="344"/>
                </a:cxn>
                <a:cxn ang="0">
                  <a:pos x="314" y="354"/>
                </a:cxn>
                <a:cxn ang="0">
                  <a:pos x="316" y="370"/>
                </a:cxn>
                <a:cxn ang="0">
                  <a:pos x="316" y="385"/>
                </a:cxn>
                <a:cxn ang="0">
                  <a:pos x="316" y="397"/>
                </a:cxn>
                <a:cxn ang="0">
                  <a:pos x="319" y="404"/>
                </a:cxn>
                <a:cxn ang="0">
                  <a:pos x="328" y="421"/>
                </a:cxn>
                <a:cxn ang="0">
                  <a:pos x="234" y="431"/>
                </a:cxn>
                <a:cxn ang="0">
                  <a:pos x="173" y="438"/>
                </a:cxn>
                <a:cxn ang="0">
                  <a:pos x="90" y="445"/>
                </a:cxn>
                <a:cxn ang="0">
                  <a:pos x="90" y="460"/>
                </a:cxn>
                <a:cxn ang="0">
                  <a:pos x="106" y="476"/>
                </a:cxn>
                <a:cxn ang="0">
                  <a:pos x="113" y="484"/>
                </a:cxn>
                <a:cxn ang="0">
                  <a:pos x="111" y="498"/>
                </a:cxn>
                <a:cxn ang="0">
                  <a:pos x="97" y="517"/>
                </a:cxn>
                <a:cxn ang="0">
                  <a:pos x="60" y="530"/>
                </a:cxn>
                <a:cxn ang="0">
                  <a:pos x="68" y="508"/>
                </a:cxn>
                <a:cxn ang="0">
                  <a:pos x="48" y="520"/>
                </a:cxn>
                <a:cxn ang="0">
                  <a:pos x="17" y="479"/>
                </a:cxn>
                <a:cxn ang="0">
                  <a:pos x="8" y="405"/>
                </a:cxn>
                <a:cxn ang="0">
                  <a:pos x="3" y="320"/>
                </a:cxn>
                <a:cxn ang="0">
                  <a:pos x="5" y="245"/>
                </a:cxn>
                <a:cxn ang="0">
                  <a:pos x="7" y="178"/>
                </a:cxn>
                <a:cxn ang="0">
                  <a:pos x="8" y="118"/>
                </a:cxn>
                <a:cxn ang="0">
                  <a:pos x="8" y="65"/>
                </a:cxn>
                <a:cxn ang="0">
                  <a:pos x="5" y="28"/>
                </a:cxn>
                <a:cxn ang="0">
                  <a:pos x="19" y="18"/>
                </a:cxn>
                <a:cxn ang="0">
                  <a:pos x="85" y="12"/>
                </a:cxn>
                <a:cxn ang="0">
                  <a:pos x="164" y="6"/>
                </a:cxn>
                <a:cxn ang="0">
                  <a:pos x="225" y="0"/>
                </a:cxn>
                <a:cxn ang="0">
                  <a:pos x="237" y="43"/>
                </a:cxn>
                <a:cxn ang="0">
                  <a:pos x="253" y="94"/>
                </a:cxn>
                <a:cxn ang="0">
                  <a:pos x="265" y="141"/>
                </a:cxn>
                <a:cxn ang="0">
                  <a:pos x="280" y="195"/>
                </a:cxn>
                <a:cxn ang="0">
                  <a:pos x="290" y="229"/>
                </a:cxn>
                <a:cxn ang="0">
                  <a:pos x="296" y="236"/>
                </a:cxn>
                <a:cxn ang="0">
                  <a:pos x="299" y="243"/>
                </a:cxn>
                <a:cxn ang="0">
                  <a:pos x="301" y="250"/>
                </a:cxn>
                <a:cxn ang="0">
                  <a:pos x="311" y="265"/>
                </a:cxn>
                <a:cxn ang="0">
                  <a:pos x="311" y="272"/>
                </a:cxn>
                <a:cxn ang="0">
                  <a:pos x="311" y="279"/>
                </a:cxn>
                <a:cxn ang="0">
                  <a:pos x="321" y="284"/>
                </a:cxn>
                <a:cxn ang="0">
                  <a:pos x="319" y="289"/>
                </a:cxn>
                <a:cxn ang="0">
                  <a:pos x="316" y="293"/>
                </a:cxn>
                <a:cxn ang="0">
                  <a:pos x="309" y="301"/>
                </a:cxn>
                <a:cxn ang="0">
                  <a:pos x="309" y="310"/>
                </a:cxn>
              </a:cxnLst>
              <a:rect l="0" t="0" r="r" b="b"/>
              <a:pathLst>
                <a:path w="328" h="530">
                  <a:moveTo>
                    <a:pt x="309" y="317"/>
                  </a:moveTo>
                  <a:lnTo>
                    <a:pt x="306" y="325"/>
                  </a:lnTo>
                  <a:lnTo>
                    <a:pt x="304" y="330"/>
                  </a:lnTo>
                  <a:lnTo>
                    <a:pt x="306" y="339"/>
                  </a:lnTo>
                  <a:lnTo>
                    <a:pt x="306" y="339"/>
                  </a:lnTo>
                  <a:lnTo>
                    <a:pt x="308" y="344"/>
                  </a:lnTo>
                  <a:lnTo>
                    <a:pt x="308" y="346"/>
                  </a:lnTo>
                  <a:lnTo>
                    <a:pt x="309" y="349"/>
                  </a:lnTo>
                  <a:lnTo>
                    <a:pt x="314" y="354"/>
                  </a:lnTo>
                  <a:lnTo>
                    <a:pt x="316" y="361"/>
                  </a:lnTo>
                  <a:lnTo>
                    <a:pt x="318" y="366"/>
                  </a:lnTo>
                  <a:lnTo>
                    <a:pt x="316" y="370"/>
                  </a:lnTo>
                  <a:lnTo>
                    <a:pt x="316" y="375"/>
                  </a:lnTo>
                  <a:lnTo>
                    <a:pt x="314" y="382"/>
                  </a:lnTo>
                  <a:lnTo>
                    <a:pt x="316" y="385"/>
                  </a:lnTo>
                  <a:lnTo>
                    <a:pt x="316" y="388"/>
                  </a:lnTo>
                  <a:lnTo>
                    <a:pt x="314" y="392"/>
                  </a:lnTo>
                  <a:lnTo>
                    <a:pt x="316" y="397"/>
                  </a:lnTo>
                  <a:lnTo>
                    <a:pt x="316" y="400"/>
                  </a:lnTo>
                  <a:lnTo>
                    <a:pt x="316" y="404"/>
                  </a:lnTo>
                  <a:lnTo>
                    <a:pt x="319" y="404"/>
                  </a:lnTo>
                  <a:lnTo>
                    <a:pt x="323" y="407"/>
                  </a:lnTo>
                  <a:lnTo>
                    <a:pt x="325" y="412"/>
                  </a:lnTo>
                  <a:lnTo>
                    <a:pt x="328" y="421"/>
                  </a:lnTo>
                  <a:lnTo>
                    <a:pt x="284" y="426"/>
                  </a:lnTo>
                  <a:lnTo>
                    <a:pt x="284" y="426"/>
                  </a:lnTo>
                  <a:lnTo>
                    <a:pt x="234" y="431"/>
                  </a:lnTo>
                  <a:lnTo>
                    <a:pt x="220" y="433"/>
                  </a:lnTo>
                  <a:lnTo>
                    <a:pt x="202" y="435"/>
                  </a:lnTo>
                  <a:lnTo>
                    <a:pt x="173" y="438"/>
                  </a:lnTo>
                  <a:lnTo>
                    <a:pt x="166" y="438"/>
                  </a:lnTo>
                  <a:lnTo>
                    <a:pt x="130" y="441"/>
                  </a:lnTo>
                  <a:lnTo>
                    <a:pt x="90" y="445"/>
                  </a:lnTo>
                  <a:lnTo>
                    <a:pt x="92" y="450"/>
                  </a:lnTo>
                  <a:lnTo>
                    <a:pt x="89" y="458"/>
                  </a:lnTo>
                  <a:lnTo>
                    <a:pt x="90" y="460"/>
                  </a:lnTo>
                  <a:lnTo>
                    <a:pt x="97" y="467"/>
                  </a:lnTo>
                  <a:lnTo>
                    <a:pt x="99" y="470"/>
                  </a:lnTo>
                  <a:lnTo>
                    <a:pt x="106" y="476"/>
                  </a:lnTo>
                  <a:lnTo>
                    <a:pt x="109" y="476"/>
                  </a:lnTo>
                  <a:lnTo>
                    <a:pt x="111" y="479"/>
                  </a:lnTo>
                  <a:lnTo>
                    <a:pt x="113" y="484"/>
                  </a:lnTo>
                  <a:lnTo>
                    <a:pt x="111" y="491"/>
                  </a:lnTo>
                  <a:lnTo>
                    <a:pt x="109" y="493"/>
                  </a:lnTo>
                  <a:lnTo>
                    <a:pt x="111" y="498"/>
                  </a:lnTo>
                  <a:lnTo>
                    <a:pt x="113" y="503"/>
                  </a:lnTo>
                  <a:lnTo>
                    <a:pt x="109" y="511"/>
                  </a:lnTo>
                  <a:lnTo>
                    <a:pt x="97" y="517"/>
                  </a:lnTo>
                  <a:lnTo>
                    <a:pt x="97" y="522"/>
                  </a:lnTo>
                  <a:lnTo>
                    <a:pt x="79" y="529"/>
                  </a:lnTo>
                  <a:lnTo>
                    <a:pt x="60" y="530"/>
                  </a:lnTo>
                  <a:lnTo>
                    <a:pt x="80" y="523"/>
                  </a:lnTo>
                  <a:lnTo>
                    <a:pt x="82" y="520"/>
                  </a:lnTo>
                  <a:lnTo>
                    <a:pt x="68" y="508"/>
                  </a:lnTo>
                  <a:lnTo>
                    <a:pt x="65" y="488"/>
                  </a:lnTo>
                  <a:lnTo>
                    <a:pt x="55" y="476"/>
                  </a:lnTo>
                  <a:lnTo>
                    <a:pt x="48" y="520"/>
                  </a:lnTo>
                  <a:lnTo>
                    <a:pt x="29" y="513"/>
                  </a:lnTo>
                  <a:lnTo>
                    <a:pt x="22" y="515"/>
                  </a:lnTo>
                  <a:lnTo>
                    <a:pt x="17" y="479"/>
                  </a:lnTo>
                  <a:lnTo>
                    <a:pt x="14" y="452"/>
                  </a:lnTo>
                  <a:lnTo>
                    <a:pt x="12" y="438"/>
                  </a:lnTo>
                  <a:lnTo>
                    <a:pt x="8" y="405"/>
                  </a:lnTo>
                  <a:lnTo>
                    <a:pt x="5" y="376"/>
                  </a:lnTo>
                  <a:lnTo>
                    <a:pt x="3" y="356"/>
                  </a:lnTo>
                  <a:lnTo>
                    <a:pt x="3" y="320"/>
                  </a:lnTo>
                  <a:lnTo>
                    <a:pt x="3" y="311"/>
                  </a:lnTo>
                  <a:lnTo>
                    <a:pt x="3" y="282"/>
                  </a:lnTo>
                  <a:lnTo>
                    <a:pt x="5" y="245"/>
                  </a:lnTo>
                  <a:lnTo>
                    <a:pt x="5" y="238"/>
                  </a:lnTo>
                  <a:lnTo>
                    <a:pt x="5" y="206"/>
                  </a:lnTo>
                  <a:lnTo>
                    <a:pt x="7" y="178"/>
                  </a:lnTo>
                  <a:lnTo>
                    <a:pt x="7" y="156"/>
                  </a:lnTo>
                  <a:lnTo>
                    <a:pt x="8" y="122"/>
                  </a:lnTo>
                  <a:lnTo>
                    <a:pt x="8" y="118"/>
                  </a:lnTo>
                  <a:lnTo>
                    <a:pt x="8" y="93"/>
                  </a:lnTo>
                  <a:lnTo>
                    <a:pt x="8" y="77"/>
                  </a:lnTo>
                  <a:lnTo>
                    <a:pt x="8" y="65"/>
                  </a:lnTo>
                  <a:lnTo>
                    <a:pt x="10" y="31"/>
                  </a:lnTo>
                  <a:lnTo>
                    <a:pt x="8" y="31"/>
                  </a:lnTo>
                  <a:lnTo>
                    <a:pt x="5" y="28"/>
                  </a:lnTo>
                  <a:lnTo>
                    <a:pt x="0" y="19"/>
                  </a:lnTo>
                  <a:lnTo>
                    <a:pt x="0" y="19"/>
                  </a:lnTo>
                  <a:lnTo>
                    <a:pt x="19" y="18"/>
                  </a:lnTo>
                  <a:lnTo>
                    <a:pt x="51" y="14"/>
                  </a:lnTo>
                  <a:lnTo>
                    <a:pt x="85" y="12"/>
                  </a:lnTo>
                  <a:lnTo>
                    <a:pt x="85" y="12"/>
                  </a:lnTo>
                  <a:lnTo>
                    <a:pt x="120" y="11"/>
                  </a:lnTo>
                  <a:lnTo>
                    <a:pt x="123" y="9"/>
                  </a:lnTo>
                  <a:lnTo>
                    <a:pt x="164" y="6"/>
                  </a:lnTo>
                  <a:lnTo>
                    <a:pt x="164" y="6"/>
                  </a:lnTo>
                  <a:lnTo>
                    <a:pt x="203" y="2"/>
                  </a:lnTo>
                  <a:lnTo>
                    <a:pt x="225" y="0"/>
                  </a:lnTo>
                  <a:lnTo>
                    <a:pt x="229" y="14"/>
                  </a:lnTo>
                  <a:lnTo>
                    <a:pt x="236" y="38"/>
                  </a:lnTo>
                  <a:lnTo>
                    <a:pt x="237" y="43"/>
                  </a:lnTo>
                  <a:lnTo>
                    <a:pt x="239" y="48"/>
                  </a:lnTo>
                  <a:lnTo>
                    <a:pt x="246" y="74"/>
                  </a:lnTo>
                  <a:lnTo>
                    <a:pt x="253" y="94"/>
                  </a:lnTo>
                  <a:lnTo>
                    <a:pt x="256" y="108"/>
                  </a:lnTo>
                  <a:lnTo>
                    <a:pt x="258" y="113"/>
                  </a:lnTo>
                  <a:lnTo>
                    <a:pt x="265" y="141"/>
                  </a:lnTo>
                  <a:lnTo>
                    <a:pt x="270" y="158"/>
                  </a:lnTo>
                  <a:lnTo>
                    <a:pt x="272" y="165"/>
                  </a:lnTo>
                  <a:lnTo>
                    <a:pt x="280" y="195"/>
                  </a:lnTo>
                  <a:lnTo>
                    <a:pt x="280" y="197"/>
                  </a:lnTo>
                  <a:lnTo>
                    <a:pt x="289" y="223"/>
                  </a:lnTo>
                  <a:lnTo>
                    <a:pt x="290" y="229"/>
                  </a:lnTo>
                  <a:lnTo>
                    <a:pt x="294" y="233"/>
                  </a:lnTo>
                  <a:lnTo>
                    <a:pt x="294" y="235"/>
                  </a:lnTo>
                  <a:lnTo>
                    <a:pt x="296" y="236"/>
                  </a:lnTo>
                  <a:lnTo>
                    <a:pt x="296" y="236"/>
                  </a:lnTo>
                  <a:lnTo>
                    <a:pt x="297" y="241"/>
                  </a:lnTo>
                  <a:lnTo>
                    <a:pt x="299" y="243"/>
                  </a:lnTo>
                  <a:lnTo>
                    <a:pt x="297" y="247"/>
                  </a:lnTo>
                  <a:lnTo>
                    <a:pt x="299" y="248"/>
                  </a:lnTo>
                  <a:lnTo>
                    <a:pt x="301" y="250"/>
                  </a:lnTo>
                  <a:lnTo>
                    <a:pt x="302" y="252"/>
                  </a:lnTo>
                  <a:lnTo>
                    <a:pt x="309" y="259"/>
                  </a:lnTo>
                  <a:lnTo>
                    <a:pt x="311" y="265"/>
                  </a:lnTo>
                  <a:lnTo>
                    <a:pt x="313" y="267"/>
                  </a:lnTo>
                  <a:lnTo>
                    <a:pt x="313" y="270"/>
                  </a:lnTo>
                  <a:lnTo>
                    <a:pt x="311" y="272"/>
                  </a:lnTo>
                  <a:lnTo>
                    <a:pt x="313" y="274"/>
                  </a:lnTo>
                  <a:lnTo>
                    <a:pt x="311" y="277"/>
                  </a:lnTo>
                  <a:lnTo>
                    <a:pt x="311" y="279"/>
                  </a:lnTo>
                  <a:lnTo>
                    <a:pt x="318" y="282"/>
                  </a:lnTo>
                  <a:lnTo>
                    <a:pt x="321" y="284"/>
                  </a:lnTo>
                  <a:lnTo>
                    <a:pt x="321" y="284"/>
                  </a:lnTo>
                  <a:lnTo>
                    <a:pt x="321" y="286"/>
                  </a:lnTo>
                  <a:lnTo>
                    <a:pt x="319" y="286"/>
                  </a:lnTo>
                  <a:lnTo>
                    <a:pt x="319" y="289"/>
                  </a:lnTo>
                  <a:lnTo>
                    <a:pt x="319" y="289"/>
                  </a:lnTo>
                  <a:lnTo>
                    <a:pt x="314" y="291"/>
                  </a:lnTo>
                  <a:lnTo>
                    <a:pt x="316" y="293"/>
                  </a:lnTo>
                  <a:lnTo>
                    <a:pt x="313" y="294"/>
                  </a:lnTo>
                  <a:lnTo>
                    <a:pt x="311" y="296"/>
                  </a:lnTo>
                  <a:lnTo>
                    <a:pt x="309" y="301"/>
                  </a:lnTo>
                  <a:lnTo>
                    <a:pt x="309" y="305"/>
                  </a:lnTo>
                  <a:lnTo>
                    <a:pt x="309" y="306"/>
                  </a:lnTo>
                  <a:lnTo>
                    <a:pt x="309" y="310"/>
                  </a:lnTo>
                  <a:lnTo>
                    <a:pt x="309" y="313"/>
                  </a:lnTo>
                  <a:lnTo>
                    <a:pt x="309" y="317"/>
                  </a:lnTo>
                  <a:close/>
                </a:path>
              </a:pathLst>
            </a:custGeom>
            <a:grpFill/>
            <a:ln w="6350" cap="flat" cmpd="sng">
              <a:solidFill>
                <a:schemeClr val="bg1"/>
              </a:solidFill>
              <a:prstDash val="solid"/>
              <a:round/>
              <a:headEnd type="none" w="med" len="med"/>
              <a:tailEnd type="none" w="med" len="me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52" name="Freeform 48">
              <a:extLst>
                <a:ext uri="{FF2B5EF4-FFF2-40B4-BE49-F238E27FC236}">
                  <a16:creationId xmlns:a16="http://schemas.microsoft.com/office/drawing/2014/main" id="{6D902BC9-CB38-420B-AA35-8D7472640B4E}"/>
                </a:ext>
              </a:extLst>
            </p:cNvPr>
            <p:cNvSpPr>
              <a:spLocks/>
            </p:cNvSpPr>
            <p:nvPr/>
          </p:nvSpPr>
          <p:spPr bwMode="gray">
            <a:xfrm>
              <a:off x="5905898" y="4408313"/>
              <a:ext cx="489519" cy="848609"/>
            </a:xfrm>
            <a:custGeom>
              <a:avLst/>
              <a:gdLst/>
              <a:ahLst/>
              <a:cxnLst>
                <a:cxn ang="0">
                  <a:pos x="299" y="504"/>
                </a:cxn>
                <a:cxn ang="0">
                  <a:pos x="224" y="504"/>
                </a:cxn>
                <a:cxn ang="0">
                  <a:pos x="193" y="521"/>
                </a:cxn>
                <a:cxn ang="0">
                  <a:pos x="191" y="510"/>
                </a:cxn>
                <a:cxn ang="0">
                  <a:pos x="184" y="498"/>
                </a:cxn>
                <a:cxn ang="0">
                  <a:pos x="174" y="489"/>
                </a:cxn>
                <a:cxn ang="0">
                  <a:pos x="169" y="475"/>
                </a:cxn>
                <a:cxn ang="0">
                  <a:pos x="171" y="469"/>
                </a:cxn>
                <a:cxn ang="0">
                  <a:pos x="174" y="457"/>
                </a:cxn>
                <a:cxn ang="0">
                  <a:pos x="176" y="445"/>
                </a:cxn>
                <a:cxn ang="0">
                  <a:pos x="121" y="443"/>
                </a:cxn>
                <a:cxn ang="0">
                  <a:pos x="3" y="450"/>
                </a:cxn>
                <a:cxn ang="0">
                  <a:pos x="2" y="424"/>
                </a:cxn>
                <a:cxn ang="0">
                  <a:pos x="8" y="412"/>
                </a:cxn>
                <a:cxn ang="0">
                  <a:pos x="10" y="407"/>
                </a:cxn>
                <a:cxn ang="0">
                  <a:pos x="12" y="393"/>
                </a:cxn>
                <a:cxn ang="0">
                  <a:pos x="10" y="383"/>
                </a:cxn>
                <a:cxn ang="0">
                  <a:pos x="24" y="369"/>
                </a:cxn>
                <a:cxn ang="0">
                  <a:pos x="24" y="366"/>
                </a:cxn>
                <a:cxn ang="0">
                  <a:pos x="34" y="359"/>
                </a:cxn>
                <a:cxn ang="0">
                  <a:pos x="48" y="337"/>
                </a:cxn>
                <a:cxn ang="0">
                  <a:pos x="48" y="330"/>
                </a:cxn>
                <a:cxn ang="0">
                  <a:pos x="49" y="327"/>
                </a:cxn>
                <a:cxn ang="0">
                  <a:pos x="44" y="318"/>
                </a:cxn>
                <a:cxn ang="0">
                  <a:pos x="55" y="308"/>
                </a:cxn>
                <a:cxn ang="0">
                  <a:pos x="55" y="303"/>
                </a:cxn>
                <a:cxn ang="0">
                  <a:pos x="48" y="292"/>
                </a:cxn>
                <a:cxn ang="0">
                  <a:pos x="53" y="286"/>
                </a:cxn>
                <a:cxn ang="0">
                  <a:pos x="51" y="272"/>
                </a:cxn>
                <a:cxn ang="0">
                  <a:pos x="46" y="263"/>
                </a:cxn>
                <a:cxn ang="0">
                  <a:pos x="41" y="234"/>
                </a:cxn>
                <a:cxn ang="0">
                  <a:pos x="31" y="241"/>
                </a:cxn>
                <a:cxn ang="0">
                  <a:pos x="36" y="224"/>
                </a:cxn>
                <a:cxn ang="0">
                  <a:pos x="39" y="209"/>
                </a:cxn>
                <a:cxn ang="0">
                  <a:pos x="36" y="198"/>
                </a:cxn>
                <a:cxn ang="0">
                  <a:pos x="39" y="183"/>
                </a:cxn>
                <a:cxn ang="0">
                  <a:pos x="36" y="185"/>
                </a:cxn>
                <a:cxn ang="0">
                  <a:pos x="26" y="187"/>
                </a:cxn>
                <a:cxn ang="0">
                  <a:pos x="26" y="175"/>
                </a:cxn>
                <a:cxn ang="0">
                  <a:pos x="27" y="159"/>
                </a:cxn>
                <a:cxn ang="0">
                  <a:pos x="41" y="156"/>
                </a:cxn>
                <a:cxn ang="0">
                  <a:pos x="39" y="149"/>
                </a:cxn>
                <a:cxn ang="0">
                  <a:pos x="39" y="142"/>
                </a:cxn>
                <a:cxn ang="0">
                  <a:pos x="43" y="127"/>
                </a:cxn>
                <a:cxn ang="0">
                  <a:pos x="48" y="122"/>
                </a:cxn>
                <a:cxn ang="0">
                  <a:pos x="56" y="110"/>
                </a:cxn>
                <a:cxn ang="0">
                  <a:pos x="55" y="101"/>
                </a:cxn>
                <a:cxn ang="0">
                  <a:pos x="63" y="86"/>
                </a:cxn>
                <a:cxn ang="0">
                  <a:pos x="72" y="84"/>
                </a:cxn>
                <a:cxn ang="0">
                  <a:pos x="82" y="65"/>
                </a:cxn>
                <a:cxn ang="0">
                  <a:pos x="80" y="53"/>
                </a:cxn>
                <a:cxn ang="0">
                  <a:pos x="79" y="38"/>
                </a:cxn>
                <a:cxn ang="0">
                  <a:pos x="85" y="45"/>
                </a:cxn>
                <a:cxn ang="0">
                  <a:pos x="87" y="28"/>
                </a:cxn>
                <a:cxn ang="0">
                  <a:pos x="101" y="31"/>
                </a:cxn>
                <a:cxn ang="0">
                  <a:pos x="99" y="17"/>
                </a:cxn>
                <a:cxn ang="0">
                  <a:pos x="229" y="5"/>
                </a:cxn>
                <a:cxn ang="0">
                  <a:pos x="292" y="12"/>
                </a:cxn>
                <a:cxn ang="0">
                  <a:pos x="289" y="159"/>
                </a:cxn>
                <a:cxn ang="0">
                  <a:pos x="285" y="337"/>
                </a:cxn>
              </a:cxnLst>
              <a:rect l="0" t="0" r="r" b="b"/>
              <a:pathLst>
                <a:path w="304" h="527">
                  <a:moveTo>
                    <a:pt x="290" y="386"/>
                  </a:moveTo>
                  <a:lnTo>
                    <a:pt x="294" y="419"/>
                  </a:lnTo>
                  <a:lnTo>
                    <a:pt x="296" y="433"/>
                  </a:lnTo>
                  <a:lnTo>
                    <a:pt x="299" y="460"/>
                  </a:lnTo>
                  <a:lnTo>
                    <a:pt x="304" y="496"/>
                  </a:lnTo>
                  <a:lnTo>
                    <a:pt x="304" y="501"/>
                  </a:lnTo>
                  <a:lnTo>
                    <a:pt x="299" y="504"/>
                  </a:lnTo>
                  <a:lnTo>
                    <a:pt x="287" y="499"/>
                  </a:lnTo>
                  <a:lnTo>
                    <a:pt x="278" y="504"/>
                  </a:lnTo>
                  <a:lnTo>
                    <a:pt x="260" y="496"/>
                  </a:lnTo>
                  <a:lnTo>
                    <a:pt x="255" y="498"/>
                  </a:lnTo>
                  <a:lnTo>
                    <a:pt x="260" y="499"/>
                  </a:lnTo>
                  <a:lnTo>
                    <a:pt x="224" y="511"/>
                  </a:lnTo>
                  <a:lnTo>
                    <a:pt x="224" y="504"/>
                  </a:lnTo>
                  <a:lnTo>
                    <a:pt x="219" y="504"/>
                  </a:lnTo>
                  <a:lnTo>
                    <a:pt x="215" y="506"/>
                  </a:lnTo>
                  <a:lnTo>
                    <a:pt x="220" y="511"/>
                  </a:lnTo>
                  <a:lnTo>
                    <a:pt x="212" y="518"/>
                  </a:lnTo>
                  <a:lnTo>
                    <a:pt x="210" y="525"/>
                  </a:lnTo>
                  <a:lnTo>
                    <a:pt x="196" y="527"/>
                  </a:lnTo>
                  <a:lnTo>
                    <a:pt x="193" y="521"/>
                  </a:lnTo>
                  <a:lnTo>
                    <a:pt x="193" y="520"/>
                  </a:lnTo>
                  <a:lnTo>
                    <a:pt x="193" y="520"/>
                  </a:lnTo>
                  <a:lnTo>
                    <a:pt x="191" y="516"/>
                  </a:lnTo>
                  <a:lnTo>
                    <a:pt x="191" y="515"/>
                  </a:lnTo>
                  <a:lnTo>
                    <a:pt x="191" y="513"/>
                  </a:lnTo>
                  <a:lnTo>
                    <a:pt x="193" y="513"/>
                  </a:lnTo>
                  <a:lnTo>
                    <a:pt x="191" y="510"/>
                  </a:lnTo>
                  <a:lnTo>
                    <a:pt x="191" y="510"/>
                  </a:lnTo>
                  <a:lnTo>
                    <a:pt x="190" y="510"/>
                  </a:lnTo>
                  <a:lnTo>
                    <a:pt x="188" y="506"/>
                  </a:lnTo>
                  <a:lnTo>
                    <a:pt x="186" y="504"/>
                  </a:lnTo>
                  <a:lnTo>
                    <a:pt x="186" y="499"/>
                  </a:lnTo>
                  <a:lnTo>
                    <a:pt x="184" y="498"/>
                  </a:lnTo>
                  <a:lnTo>
                    <a:pt x="184" y="498"/>
                  </a:lnTo>
                  <a:lnTo>
                    <a:pt x="184" y="496"/>
                  </a:lnTo>
                  <a:lnTo>
                    <a:pt x="183" y="496"/>
                  </a:lnTo>
                  <a:lnTo>
                    <a:pt x="181" y="494"/>
                  </a:lnTo>
                  <a:lnTo>
                    <a:pt x="181" y="494"/>
                  </a:lnTo>
                  <a:lnTo>
                    <a:pt x="178" y="492"/>
                  </a:lnTo>
                  <a:lnTo>
                    <a:pt x="176" y="489"/>
                  </a:lnTo>
                  <a:lnTo>
                    <a:pt x="174" y="489"/>
                  </a:lnTo>
                  <a:lnTo>
                    <a:pt x="171" y="482"/>
                  </a:lnTo>
                  <a:lnTo>
                    <a:pt x="173" y="479"/>
                  </a:lnTo>
                  <a:lnTo>
                    <a:pt x="171" y="479"/>
                  </a:lnTo>
                  <a:lnTo>
                    <a:pt x="171" y="477"/>
                  </a:lnTo>
                  <a:lnTo>
                    <a:pt x="169" y="477"/>
                  </a:lnTo>
                  <a:lnTo>
                    <a:pt x="169" y="475"/>
                  </a:lnTo>
                  <a:lnTo>
                    <a:pt x="169" y="475"/>
                  </a:lnTo>
                  <a:lnTo>
                    <a:pt x="169" y="474"/>
                  </a:lnTo>
                  <a:lnTo>
                    <a:pt x="171" y="474"/>
                  </a:lnTo>
                  <a:lnTo>
                    <a:pt x="169" y="472"/>
                  </a:lnTo>
                  <a:lnTo>
                    <a:pt x="169" y="470"/>
                  </a:lnTo>
                  <a:lnTo>
                    <a:pt x="171" y="470"/>
                  </a:lnTo>
                  <a:lnTo>
                    <a:pt x="171" y="469"/>
                  </a:lnTo>
                  <a:lnTo>
                    <a:pt x="171" y="469"/>
                  </a:lnTo>
                  <a:lnTo>
                    <a:pt x="169" y="463"/>
                  </a:lnTo>
                  <a:lnTo>
                    <a:pt x="171" y="462"/>
                  </a:lnTo>
                  <a:lnTo>
                    <a:pt x="173" y="462"/>
                  </a:lnTo>
                  <a:lnTo>
                    <a:pt x="173" y="460"/>
                  </a:lnTo>
                  <a:lnTo>
                    <a:pt x="174" y="460"/>
                  </a:lnTo>
                  <a:lnTo>
                    <a:pt x="173" y="457"/>
                  </a:lnTo>
                  <a:lnTo>
                    <a:pt x="174" y="457"/>
                  </a:lnTo>
                  <a:lnTo>
                    <a:pt x="174" y="451"/>
                  </a:lnTo>
                  <a:lnTo>
                    <a:pt x="176" y="451"/>
                  </a:lnTo>
                  <a:lnTo>
                    <a:pt x="176" y="450"/>
                  </a:lnTo>
                  <a:lnTo>
                    <a:pt x="176" y="450"/>
                  </a:lnTo>
                  <a:lnTo>
                    <a:pt x="176" y="448"/>
                  </a:lnTo>
                  <a:lnTo>
                    <a:pt x="176" y="446"/>
                  </a:lnTo>
                  <a:lnTo>
                    <a:pt x="176" y="445"/>
                  </a:lnTo>
                  <a:lnTo>
                    <a:pt x="178" y="443"/>
                  </a:lnTo>
                  <a:lnTo>
                    <a:pt x="178" y="443"/>
                  </a:lnTo>
                  <a:lnTo>
                    <a:pt x="178" y="441"/>
                  </a:lnTo>
                  <a:lnTo>
                    <a:pt x="178" y="439"/>
                  </a:lnTo>
                  <a:lnTo>
                    <a:pt x="167" y="441"/>
                  </a:lnTo>
                  <a:lnTo>
                    <a:pt x="128" y="443"/>
                  </a:lnTo>
                  <a:lnTo>
                    <a:pt x="121" y="443"/>
                  </a:lnTo>
                  <a:lnTo>
                    <a:pt x="102" y="445"/>
                  </a:lnTo>
                  <a:lnTo>
                    <a:pt x="101" y="445"/>
                  </a:lnTo>
                  <a:lnTo>
                    <a:pt x="77" y="446"/>
                  </a:lnTo>
                  <a:lnTo>
                    <a:pt x="56" y="448"/>
                  </a:lnTo>
                  <a:lnTo>
                    <a:pt x="44" y="448"/>
                  </a:lnTo>
                  <a:lnTo>
                    <a:pt x="3" y="450"/>
                  </a:lnTo>
                  <a:lnTo>
                    <a:pt x="3" y="450"/>
                  </a:lnTo>
                  <a:lnTo>
                    <a:pt x="8" y="446"/>
                  </a:lnTo>
                  <a:lnTo>
                    <a:pt x="10" y="445"/>
                  </a:lnTo>
                  <a:lnTo>
                    <a:pt x="8" y="441"/>
                  </a:lnTo>
                  <a:lnTo>
                    <a:pt x="3" y="436"/>
                  </a:lnTo>
                  <a:lnTo>
                    <a:pt x="5" y="431"/>
                  </a:lnTo>
                  <a:lnTo>
                    <a:pt x="5" y="427"/>
                  </a:lnTo>
                  <a:lnTo>
                    <a:pt x="2" y="424"/>
                  </a:lnTo>
                  <a:lnTo>
                    <a:pt x="0" y="421"/>
                  </a:lnTo>
                  <a:lnTo>
                    <a:pt x="2" y="421"/>
                  </a:lnTo>
                  <a:lnTo>
                    <a:pt x="8" y="421"/>
                  </a:lnTo>
                  <a:lnTo>
                    <a:pt x="12" y="419"/>
                  </a:lnTo>
                  <a:lnTo>
                    <a:pt x="14" y="417"/>
                  </a:lnTo>
                  <a:lnTo>
                    <a:pt x="14" y="416"/>
                  </a:lnTo>
                  <a:lnTo>
                    <a:pt x="8" y="412"/>
                  </a:lnTo>
                  <a:lnTo>
                    <a:pt x="8" y="410"/>
                  </a:lnTo>
                  <a:lnTo>
                    <a:pt x="10" y="409"/>
                  </a:lnTo>
                  <a:lnTo>
                    <a:pt x="7" y="409"/>
                  </a:lnTo>
                  <a:lnTo>
                    <a:pt x="7" y="405"/>
                  </a:lnTo>
                  <a:lnTo>
                    <a:pt x="8" y="404"/>
                  </a:lnTo>
                  <a:lnTo>
                    <a:pt x="10" y="404"/>
                  </a:lnTo>
                  <a:lnTo>
                    <a:pt x="10" y="407"/>
                  </a:lnTo>
                  <a:lnTo>
                    <a:pt x="10" y="409"/>
                  </a:lnTo>
                  <a:lnTo>
                    <a:pt x="14" y="410"/>
                  </a:lnTo>
                  <a:lnTo>
                    <a:pt x="15" y="409"/>
                  </a:lnTo>
                  <a:lnTo>
                    <a:pt x="15" y="407"/>
                  </a:lnTo>
                  <a:lnTo>
                    <a:pt x="15" y="405"/>
                  </a:lnTo>
                  <a:lnTo>
                    <a:pt x="12" y="402"/>
                  </a:lnTo>
                  <a:lnTo>
                    <a:pt x="12" y="393"/>
                  </a:lnTo>
                  <a:lnTo>
                    <a:pt x="12" y="393"/>
                  </a:lnTo>
                  <a:lnTo>
                    <a:pt x="15" y="392"/>
                  </a:lnTo>
                  <a:lnTo>
                    <a:pt x="19" y="390"/>
                  </a:lnTo>
                  <a:lnTo>
                    <a:pt x="20" y="386"/>
                  </a:lnTo>
                  <a:lnTo>
                    <a:pt x="19" y="385"/>
                  </a:lnTo>
                  <a:lnTo>
                    <a:pt x="12" y="385"/>
                  </a:lnTo>
                  <a:lnTo>
                    <a:pt x="10" y="383"/>
                  </a:lnTo>
                  <a:lnTo>
                    <a:pt x="10" y="381"/>
                  </a:lnTo>
                  <a:lnTo>
                    <a:pt x="12" y="380"/>
                  </a:lnTo>
                  <a:lnTo>
                    <a:pt x="15" y="383"/>
                  </a:lnTo>
                  <a:lnTo>
                    <a:pt x="20" y="383"/>
                  </a:lnTo>
                  <a:lnTo>
                    <a:pt x="22" y="380"/>
                  </a:lnTo>
                  <a:lnTo>
                    <a:pt x="22" y="373"/>
                  </a:lnTo>
                  <a:lnTo>
                    <a:pt x="24" y="369"/>
                  </a:lnTo>
                  <a:lnTo>
                    <a:pt x="22" y="369"/>
                  </a:lnTo>
                  <a:lnTo>
                    <a:pt x="26" y="368"/>
                  </a:lnTo>
                  <a:lnTo>
                    <a:pt x="31" y="369"/>
                  </a:lnTo>
                  <a:lnTo>
                    <a:pt x="32" y="368"/>
                  </a:lnTo>
                  <a:lnTo>
                    <a:pt x="32" y="366"/>
                  </a:lnTo>
                  <a:lnTo>
                    <a:pt x="26" y="368"/>
                  </a:lnTo>
                  <a:lnTo>
                    <a:pt x="24" y="366"/>
                  </a:lnTo>
                  <a:lnTo>
                    <a:pt x="26" y="364"/>
                  </a:lnTo>
                  <a:lnTo>
                    <a:pt x="26" y="359"/>
                  </a:lnTo>
                  <a:lnTo>
                    <a:pt x="29" y="356"/>
                  </a:lnTo>
                  <a:lnTo>
                    <a:pt x="29" y="357"/>
                  </a:lnTo>
                  <a:lnTo>
                    <a:pt x="31" y="361"/>
                  </a:lnTo>
                  <a:lnTo>
                    <a:pt x="34" y="361"/>
                  </a:lnTo>
                  <a:lnTo>
                    <a:pt x="34" y="359"/>
                  </a:lnTo>
                  <a:lnTo>
                    <a:pt x="32" y="356"/>
                  </a:lnTo>
                  <a:lnTo>
                    <a:pt x="34" y="354"/>
                  </a:lnTo>
                  <a:lnTo>
                    <a:pt x="37" y="351"/>
                  </a:lnTo>
                  <a:lnTo>
                    <a:pt x="41" y="342"/>
                  </a:lnTo>
                  <a:lnTo>
                    <a:pt x="46" y="342"/>
                  </a:lnTo>
                  <a:lnTo>
                    <a:pt x="48" y="339"/>
                  </a:lnTo>
                  <a:lnTo>
                    <a:pt x="48" y="337"/>
                  </a:lnTo>
                  <a:lnTo>
                    <a:pt x="48" y="337"/>
                  </a:lnTo>
                  <a:lnTo>
                    <a:pt x="43" y="333"/>
                  </a:lnTo>
                  <a:lnTo>
                    <a:pt x="41" y="332"/>
                  </a:lnTo>
                  <a:lnTo>
                    <a:pt x="43" y="332"/>
                  </a:lnTo>
                  <a:lnTo>
                    <a:pt x="46" y="335"/>
                  </a:lnTo>
                  <a:lnTo>
                    <a:pt x="49" y="335"/>
                  </a:lnTo>
                  <a:lnTo>
                    <a:pt x="48" y="330"/>
                  </a:lnTo>
                  <a:lnTo>
                    <a:pt x="51" y="328"/>
                  </a:lnTo>
                  <a:lnTo>
                    <a:pt x="53" y="327"/>
                  </a:lnTo>
                  <a:lnTo>
                    <a:pt x="55" y="322"/>
                  </a:lnTo>
                  <a:lnTo>
                    <a:pt x="51" y="322"/>
                  </a:lnTo>
                  <a:lnTo>
                    <a:pt x="49" y="322"/>
                  </a:lnTo>
                  <a:lnTo>
                    <a:pt x="49" y="323"/>
                  </a:lnTo>
                  <a:lnTo>
                    <a:pt x="49" y="327"/>
                  </a:lnTo>
                  <a:lnTo>
                    <a:pt x="46" y="325"/>
                  </a:lnTo>
                  <a:lnTo>
                    <a:pt x="44" y="327"/>
                  </a:lnTo>
                  <a:lnTo>
                    <a:pt x="41" y="325"/>
                  </a:lnTo>
                  <a:lnTo>
                    <a:pt x="39" y="323"/>
                  </a:lnTo>
                  <a:lnTo>
                    <a:pt x="39" y="320"/>
                  </a:lnTo>
                  <a:lnTo>
                    <a:pt x="43" y="316"/>
                  </a:lnTo>
                  <a:lnTo>
                    <a:pt x="44" y="318"/>
                  </a:lnTo>
                  <a:lnTo>
                    <a:pt x="46" y="316"/>
                  </a:lnTo>
                  <a:lnTo>
                    <a:pt x="48" y="316"/>
                  </a:lnTo>
                  <a:lnTo>
                    <a:pt x="49" y="315"/>
                  </a:lnTo>
                  <a:lnTo>
                    <a:pt x="56" y="316"/>
                  </a:lnTo>
                  <a:lnTo>
                    <a:pt x="56" y="311"/>
                  </a:lnTo>
                  <a:lnTo>
                    <a:pt x="55" y="310"/>
                  </a:lnTo>
                  <a:lnTo>
                    <a:pt x="55" y="308"/>
                  </a:lnTo>
                  <a:lnTo>
                    <a:pt x="56" y="308"/>
                  </a:lnTo>
                  <a:lnTo>
                    <a:pt x="60" y="308"/>
                  </a:lnTo>
                  <a:lnTo>
                    <a:pt x="61" y="308"/>
                  </a:lnTo>
                  <a:lnTo>
                    <a:pt x="65" y="299"/>
                  </a:lnTo>
                  <a:lnTo>
                    <a:pt x="63" y="299"/>
                  </a:lnTo>
                  <a:lnTo>
                    <a:pt x="61" y="303"/>
                  </a:lnTo>
                  <a:lnTo>
                    <a:pt x="55" y="303"/>
                  </a:lnTo>
                  <a:lnTo>
                    <a:pt x="53" y="301"/>
                  </a:lnTo>
                  <a:lnTo>
                    <a:pt x="51" y="298"/>
                  </a:lnTo>
                  <a:lnTo>
                    <a:pt x="55" y="296"/>
                  </a:lnTo>
                  <a:lnTo>
                    <a:pt x="56" y="292"/>
                  </a:lnTo>
                  <a:lnTo>
                    <a:pt x="53" y="292"/>
                  </a:lnTo>
                  <a:lnTo>
                    <a:pt x="49" y="292"/>
                  </a:lnTo>
                  <a:lnTo>
                    <a:pt x="48" y="292"/>
                  </a:lnTo>
                  <a:lnTo>
                    <a:pt x="41" y="287"/>
                  </a:lnTo>
                  <a:lnTo>
                    <a:pt x="41" y="284"/>
                  </a:lnTo>
                  <a:lnTo>
                    <a:pt x="44" y="282"/>
                  </a:lnTo>
                  <a:lnTo>
                    <a:pt x="49" y="287"/>
                  </a:lnTo>
                  <a:lnTo>
                    <a:pt x="51" y="287"/>
                  </a:lnTo>
                  <a:lnTo>
                    <a:pt x="53" y="287"/>
                  </a:lnTo>
                  <a:lnTo>
                    <a:pt x="53" y="286"/>
                  </a:lnTo>
                  <a:lnTo>
                    <a:pt x="46" y="282"/>
                  </a:lnTo>
                  <a:lnTo>
                    <a:pt x="46" y="281"/>
                  </a:lnTo>
                  <a:lnTo>
                    <a:pt x="46" y="279"/>
                  </a:lnTo>
                  <a:lnTo>
                    <a:pt x="49" y="279"/>
                  </a:lnTo>
                  <a:lnTo>
                    <a:pt x="51" y="274"/>
                  </a:lnTo>
                  <a:lnTo>
                    <a:pt x="51" y="274"/>
                  </a:lnTo>
                  <a:lnTo>
                    <a:pt x="51" y="272"/>
                  </a:lnTo>
                  <a:lnTo>
                    <a:pt x="49" y="272"/>
                  </a:lnTo>
                  <a:lnTo>
                    <a:pt x="48" y="275"/>
                  </a:lnTo>
                  <a:lnTo>
                    <a:pt x="46" y="275"/>
                  </a:lnTo>
                  <a:lnTo>
                    <a:pt x="41" y="277"/>
                  </a:lnTo>
                  <a:lnTo>
                    <a:pt x="37" y="272"/>
                  </a:lnTo>
                  <a:lnTo>
                    <a:pt x="39" y="270"/>
                  </a:lnTo>
                  <a:lnTo>
                    <a:pt x="46" y="263"/>
                  </a:lnTo>
                  <a:lnTo>
                    <a:pt x="43" y="260"/>
                  </a:lnTo>
                  <a:lnTo>
                    <a:pt x="39" y="260"/>
                  </a:lnTo>
                  <a:lnTo>
                    <a:pt x="37" y="260"/>
                  </a:lnTo>
                  <a:lnTo>
                    <a:pt x="37" y="251"/>
                  </a:lnTo>
                  <a:lnTo>
                    <a:pt x="43" y="246"/>
                  </a:lnTo>
                  <a:lnTo>
                    <a:pt x="43" y="238"/>
                  </a:lnTo>
                  <a:lnTo>
                    <a:pt x="41" y="234"/>
                  </a:lnTo>
                  <a:lnTo>
                    <a:pt x="39" y="234"/>
                  </a:lnTo>
                  <a:lnTo>
                    <a:pt x="37" y="236"/>
                  </a:lnTo>
                  <a:lnTo>
                    <a:pt x="37" y="241"/>
                  </a:lnTo>
                  <a:lnTo>
                    <a:pt x="37" y="243"/>
                  </a:lnTo>
                  <a:lnTo>
                    <a:pt x="34" y="245"/>
                  </a:lnTo>
                  <a:lnTo>
                    <a:pt x="32" y="243"/>
                  </a:lnTo>
                  <a:lnTo>
                    <a:pt x="31" y="241"/>
                  </a:lnTo>
                  <a:lnTo>
                    <a:pt x="36" y="234"/>
                  </a:lnTo>
                  <a:lnTo>
                    <a:pt x="34" y="233"/>
                  </a:lnTo>
                  <a:lnTo>
                    <a:pt x="36" y="231"/>
                  </a:lnTo>
                  <a:lnTo>
                    <a:pt x="36" y="229"/>
                  </a:lnTo>
                  <a:lnTo>
                    <a:pt x="37" y="229"/>
                  </a:lnTo>
                  <a:lnTo>
                    <a:pt x="39" y="226"/>
                  </a:lnTo>
                  <a:lnTo>
                    <a:pt x="36" y="224"/>
                  </a:lnTo>
                  <a:lnTo>
                    <a:pt x="32" y="222"/>
                  </a:lnTo>
                  <a:lnTo>
                    <a:pt x="31" y="219"/>
                  </a:lnTo>
                  <a:lnTo>
                    <a:pt x="32" y="217"/>
                  </a:lnTo>
                  <a:lnTo>
                    <a:pt x="37" y="219"/>
                  </a:lnTo>
                  <a:lnTo>
                    <a:pt x="39" y="217"/>
                  </a:lnTo>
                  <a:lnTo>
                    <a:pt x="41" y="216"/>
                  </a:lnTo>
                  <a:lnTo>
                    <a:pt x="39" y="209"/>
                  </a:lnTo>
                  <a:lnTo>
                    <a:pt x="43" y="207"/>
                  </a:lnTo>
                  <a:lnTo>
                    <a:pt x="44" y="204"/>
                  </a:lnTo>
                  <a:lnTo>
                    <a:pt x="43" y="202"/>
                  </a:lnTo>
                  <a:lnTo>
                    <a:pt x="41" y="202"/>
                  </a:lnTo>
                  <a:lnTo>
                    <a:pt x="39" y="207"/>
                  </a:lnTo>
                  <a:lnTo>
                    <a:pt x="37" y="205"/>
                  </a:lnTo>
                  <a:lnTo>
                    <a:pt x="36" y="198"/>
                  </a:lnTo>
                  <a:lnTo>
                    <a:pt x="36" y="195"/>
                  </a:lnTo>
                  <a:lnTo>
                    <a:pt x="37" y="192"/>
                  </a:lnTo>
                  <a:lnTo>
                    <a:pt x="41" y="190"/>
                  </a:lnTo>
                  <a:lnTo>
                    <a:pt x="41" y="187"/>
                  </a:lnTo>
                  <a:lnTo>
                    <a:pt x="41" y="183"/>
                  </a:lnTo>
                  <a:lnTo>
                    <a:pt x="41" y="183"/>
                  </a:lnTo>
                  <a:lnTo>
                    <a:pt x="39" y="183"/>
                  </a:lnTo>
                  <a:lnTo>
                    <a:pt x="37" y="188"/>
                  </a:lnTo>
                  <a:lnTo>
                    <a:pt x="36" y="192"/>
                  </a:lnTo>
                  <a:lnTo>
                    <a:pt x="31" y="192"/>
                  </a:lnTo>
                  <a:lnTo>
                    <a:pt x="29" y="190"/>
                  </a:lnTo>
                  <a:lnTo>
                    <a:pt x="29" y="188"/>
                  </a:lnTo>
                  <a:lnTo>
                    <a:pt x="36" y="187"/>
                  </a:lnTo>
                  <a:lnTo>
                    <a:pt x="36" y="185"/>
                  </a:lnTo>
                  <a:lnTo>
                    <a:pt x="36" y="183"/>
                  </a:lnTo>
                  <a:lnTo>
                    <a:pt x="36" y="181"/>
                  </a:lnTo>
                  <a:lnTo>
                    <a:pt x="32" y="180"/>
                  </a:lnTo>
                  <a:lnTo>
                    <a:pt x="31" y="180"/>
                  </a:lnTo>
                  <a:lnTo>
                    <a:pt x="32" y="183"/>
                  </a:lnTo>
                  <a:lnTo>
                    <a:pt x="31" y="187"/>
                  </a:lnTo>
                  <a:lnTo>
                    <a:pt x="26" y="187"/>
                  </a:lnTo>
                  <a:lnTo>
                    <a:pt x="27" y="185"/>
                  </a:lnTo>
                  <a:lnTo>
                    <a:pt x="29" y="183"/>
                  </a:lnTo>
                  <a:lnTo>
                    <a:pt x="31" y="180"/>
                  </a:lnTo>
                  <a:lnTo>
                    <a:pt x="31" y="178"/>
                  </a:lnTo>
                  <a:lnTo>
                    <a:pt x="29" y="176"/>
                  </a:lnTo>
                  <a:lnTo>
                    <a:pt x="27" y="176"/>
                  </a:lnTo>
                  <a:lnTo>
                    <a:pt x="26" y="175"/>
                  </a:lnTo>
                  <a:lnTo>
                    <a:pt x="26" y="171"/>
                  </a:lnTo>
                  <a:lnTo>
                    <a:pt x="29" y="173"/>
                  </a:lnTo>
                  <a:lnTo>
                    <a:pt x="31" y="171"/>
                  </a:lnTo>
                  <a:lnTo>
                    <a:pt x="32" y="168"/>
                  </a:lnTo>
                  <a:lnTo>
                    <a:pt x="32" y="166"/>
                  </a:lnTo>
                  <a:lnTo>
                    <a:pt x="27" y="163"/>
                  </a:lnTo>
                  <a:lnTo>
                    <a:pt x="27" y="159"/>
                  </a:lnTo>
                  <a:lnTo>
                    <a:pt x="27" y="157"/>
                  </a:lnTo>
                  <a:lnTo>
                    <a:pt x="31" y="156"/>
                  </a:lnTo>
                  <a:lnTo>
                    <a:pt x="34" y="161"/>
                  </a:lnTo>
                  <a:lnTo>
                    <a:pt x="37" y="163"/>
                  </a:lnTo>
                  <a:lnTo>
                    <a:pt x="43" y="159"/>
                  </a:lnTo>
                  <a:lnTo>
                    <a:pt x="43" y="157"/>
                  </a:lnTo>
                  <a:lnTo>
                    <a:pt x="41" y="156"/>
                  </a:lnTo>
                  <a:lnTo>
                    <a:pt x="36" y="157"/>
                  </a:lnTo>
                  <a:lnTo>
                    <a:pt x="34" y="157"/>
                  </a:lnTo>
                  <a:lnTo>
                    <a:pt x="32" y="156"/>
                  </a:lnTo>
                  <a:lnTo>
                    <a:pt x="32" y="151"/>
                  </a:lnTo>
                  <a:lnTo>
                    <a:pt x="32" y="151"/>
                  </a:lnTo>
                  <a:lnTo>
                    <a:pt x="36" y="151"/>
                  </a:lnTo>
                  <a:lnTo>
                    <a:pt x="39" y="149"/>
                  </a:lnTo>
                  <a:lnTo>
                    <a:pt x="41" y="151"/>
                  </a:lnTo>
                  <a:lnTo>
                    <a:pt x="43" y="151"/>
                  </a:lnTo>
                  <a:lnTo>
                    <a:pt x="46" y="151"/>
                  </a:lnTo>
                  <a:lnTo>
                    <a:pt x="46" y="149"/>
                  </a:lnTo>
                  <a:lnTo>
                    <a:pt x="46" y="147"/>
                  </a:lnTo>
                  <a:lnTo>
                    <a:pt x="43" y="146"/>
                  </a:lnTo>
                  <a:lnTo>
                    <a:pt x="39" y="142"/>
                  </a:lnTo>
                  <a:lnTo>
                    <a:pt x="39" y="140"/>
                  </a:lnTo>
                  <a:lnTo>
                    <a:pt x="43" y="132"/>
                  </a:lnTo>
                  <a:lnTo>
                    <a:pt x="37" y="128"/>
                  </a:lnTo>
                  <a:lnTo>
                    <a:pt x="36" y="127"/>
                  </a:lnTo>
                  <a:lnTo>
                    <a:pt x="37" y="125"/>
                  </a:lnTo>
                  <a:lnTo>
                    <a:pt x="41" y="127"/>
                  </a:lnTo>
                  <a:lnTo>
                    <a:pt x="43" y="127"/>
                  </a:lnTo>
                  <a:lnTo>
                    <a:pt x="44" y="128"/>
                  </a:lnTo>
                  <a:lnTo>
                    <a:pt x="44" y="130"/>
                  </a:lnTo>
                  <a:lnTo>
                    <a:pt x="48" y="128"/>
                  </a:lnTo>
                  <a:lnTo>
                    <a:pt x="48" y="128"/>
                  </a:lnTo>
                  <a:lnTo>
                    <a:pt x="46" y="127"/>
                  </a:lnTo>
                  <a:lnTo>
                    <a:pt x="46" y="125"/>
                  </a:lnTo>
                  <a:lnTo>
                    <a:pt x="48" y="122"/>
                  </a:lnTo>
                  <a:lnTo>
                    <a:pt x="53" y="120"/>
                  </a:lnTo>
                  <a:lnTo>
                    <a:pt x="55" y="115"/>
                  </a:lnTo>
                  <a:lnTo>
                    <a:pt x="51" y="115"/>
                  </a:lnTo>
                  <a:lnTo>
                    <a:pt x="48" y="111"/>
                  </a:lnTo>
                  <a:lnTo>
                    <a:pt x="48" y="108"/>
                  </a:lnTo>
                  <a:lnTo>
                    <a:pt x="49" y="105"/>
                  </a:lnTo>
                  <a:lnTo>
                    <a:pt x="56" y="110"/>
                  </a:lnTo>
                  <a:lnTo>
                    <a:pt x="58" y="108"/>
                  </a:lnTo>
                  <a:lnTo>
                    <a:pt x="60" y="106"/>
                  </a:lnTo>
                  <a:lnTo>
                    <a:pt x="58" y="105"/>
                  </a:lnTo>
                  <a:lnTo>
                    <a:pt x="49" y="103"/>
                  </a:lnTo>
                  <a:lnTo>
                    <a:pt x="48" y="99"/>
                  </a:lnTo>
                  <a:lnTo>
                    <a:pt x="49" y="98"/>
                  </a:lnTo>
                  <a:lnTo>
                    <a:pt x="55" y="101"/>
                  </a:lnTo>
                  <a:lnTo>
                    <a:pt x="58" y="99"/>
                  </a:lnTo>
                  <a:lnTo>
                    <a:pt x="58" y="94"/>
                  </a:lnTo>
                  <a:lnTo>
                    <a:pt x="60" y="93"/>
                  </a:lnTo>
                  <a:lnTo>
                    <a:pt x="60" y="93"/>
                  </a:lnTo>
                  <a:lnTo>
                    <a:pt x="63" y="94"/>
                  </a:lnTo>
                  <a:lnTo>
                    <a:pt x="65" y="91"/>
                  </a:lnTo>
                  <a:lnTo>
                    <a:pt x="63" y="86"/>
                  </a:lnTo>
                  <a:lnTo>
                    <a:pt x="63" y="84"/>
                  </a:lnTo>
                  <a:lnTo>
                    <a:pt x="68" y="84"/>
                  </a:lnTo>
                  <a:lnTo>
                    <a:pt x="70" y="86"/>
                  </a:lnTo>
                  <a:lnTo>
                    <a:pt x="70" y="89"/>
                  </a:lnTo>
                  <a:lnTo>
                    <a:pt x="70" y="89"/>
                  </a:lnTo>
                  <a:lnTo>
                    <a:pt x="72" y="89"/>
                  </a:lnTo>
                  <a:lnTo>
                    <a:pt x="72" y="84"/>
                  </a:lnTo>
                  <a:lnTo>
                    <a:pt x="77" y="81"/>
                  </a:lnTo>
                  <a:lnTo>
                    <a:pt x="79" y="77"/>
                  </a:lnTo>
                  <a:lnTo>
                    <a:pt x="79" y="75"/>
                  </a:lnTo>
                  <a:lnTo>
                    <a:pt x="77" y="70"/>
                  </a:lnTo>
                  <a:lnTo>
                    <a:pt x="77" y="67"/>
                  </a:lnTo>
                  <a:lnTo>
                    <a:pt x="79" y="67"/>
                  </a:lnTo>
                  <a:lnTo>
                    <a:pt x="82" y="65"/>
                  </a:lnTo>
                  <a:lnTo>
                    <a:pt x="82" y="63"/>
                  </a:lnTo>
                  <a:lnTo>
                    <a:pt x="77" y="58"/>
                  </a:lnTo>
                  <a:lnTo>
                    <a:pt x="77" y="57"/>
                  </a:lnTo>
                  <a:lnTo>
                    <a:pt x="77" y="53"/>
                  </a:lnTo>
                  <a:lnTo>
                    <a:pt x="79" y="48"/>
                  </a:lnTo>
                  <a:lnTo>
                    <a:pt x="80" y="50"/>
                  </a:lnTo>
                  <a:lnTo>
                    <a:pt x="80" y="53"/>
                  </a:lnTo>
                  <a:lnTo>
                    <a:pt x="80" y="55"/>
                  </a:lnTo>
                  <a:lnTo>
                    <a:pt x="84" y="55"/>
                  </a:lnTo>
                  <a:lnTo>
                    <a:pt x="87" y="50"/>
                  </a:lnTo>
                  <a:lnTo>
                    <a:pt x="85" y="46"/>
                  </a:lnTo>
                  <a:lnTo>
                    <a:pt x="82" y="48"/>
                  </a:lnTo>
                  <a:lnTo>
                    <a:pt x="80" y="46"/>
                  </a:lnTo>
                  <a:lnTo>
                    <a:pt x="79" y="38"/>
                  </a:lnTo>
                  <a:lnTo>
                    <a:pt x="80" y="36"/>
                  </a:lnTo>
                  <a:lnTo>
                    <a:pt x="82" y="36"/>
                  </a:lnTo>
                  <a:lnTo>
                    <a:pt x="84" y="38"/>
                  </a:lnTo>
                  <a:lnTo>
                    <a:pt x="84" y="41"/>
                  </a:lnTo>
                  <a:lnTo>
                    <a:pt x="82" y="43"/>
                  </a:lnTo>
                  <a:lnTo>
                    <a:pt x="84" y="45"/>
                  </a:lnTo>
                  <a:lnTo>
                    <a:pt x="85" y="45"/>
                  </a:lnTo>
                  <a:lnTo>
                    <a:pt x="87" y="43"/>
                  </a:lnTo>
                  <a:lnTo>
                    <a:pt x="87" y="41"/>
                  </a:lnTo>
                  <a:lnTo>
                    <a:pt x="85" y="36"/>
                  </a:lnTo>
                  <a:lnTo>
                    <a:pt x="87" y="34"/>
                  </a:lnTo>
                  <a:lnTo>
                    <a:pt x="85" y="31"/>
                  </a:lnTo>
                  <a:lnTo>
                    <a:pt x="85" y="28"/>
                  </a:lnTo>
                  <a:lnTo>
                    <a:pt x="87" y="28"/>
                  </a:lnTo>
                  <a:lnTo>
                    <a:pt x="89" y="29"/>
                  </a:lnTo>
                  <a:lnTo>
                    <a:pt x="89" y="33"/>
                  </a:lnTo>
                  <a:lnTo>
                    <a:pt x="89" y="33"/>
                  </a:lnTo>
                  <a:lnTo>
                    <a:pt x="90" y="33"/>
                  </a:lnTo>
                  <a:lnTo>
                    <a:pt x="96" y="29"/>
                  </a:lnTo>
                  <a:lnTo>
                    <a:pt x="97" y="31"/>
                  </a:lnTo>
                  <a:lnTo>
                    <a:pt x="101" y="31"/>
                  </a:lnTo>
                  <a:lnTo>
                    <a:pt x="101" y="29"/>
                  </a:lnTo>
                  <a:lnTo>
                    <a:pt x="101" y="28"/>
                  </a:lnTo>
                  <a:lnTo>
                    <a:pt x="102" y="26"/>
                  </a:lnTo>
                  <a:lnTo>
                    <a:pt x="104" y="22"/>
                  </a:lnTo>
                  <a:lnTo>
                    <a:pt x="104" y="21"/>
                  </a:lnTo>
                  <a:lnTo>
                    <a:pt x="104" y="19"/>
                  </a:lnTo>
                  <a:lnTo>
                    <a:pt x="99" y="17"/>
                  </a:lnTo>
                  <a:lnTo>
                    <a:pt x="99" y="14"/>
                  </a:lnTo>
                  <a:lnTo>
                    <a:pt x="150" y="11"/>
                  </a:lnTo>
                  <a:lnTo>
                    <a:pt x="155" y="11"/>
                  </a:lnTo>
                  <a:lnTo>
                    <a:pt x="183" y="9"/>
                  </a:lnTo>
                  <a:lnTo>
                    <a:pt x="195" y="9"/>
                  </a:lnTo>
                  <a:lnTo>
                    <a:pt x="212" y="7"/>
                  </a:lnTo>
                  <a:lnTo>
                    <a:pt x="229" y="5"/>
                  </a:lnTo>
                  <a:lnTo>
                    <a:pt x="231" y="5"/>
                  </a:lnTo>
                  <a:lnTo>
                    <a:pt x="267" y="2"/>
                  </a:lnTo>
                  <a:lnTo>
                    <a:pt x="268" y="2"/>
                  </a:lnTo>
                  <a:lnTo>
                    <a:pt x="282" y="0"/>
                  </a:lnTo>
                  <a:lnTo>
                    <a:pt x="287" y="9"/>
                  </a:lnTo>
                  <a:lnTo>
                    <a:pt x="290" y="12"/>
                  </a:lnTo>
                  <a:lnTo>
                    <a:pt x="292" y="12"/>
                  </a:lnTo>
                  <a:lnTo>
                    <a:pt x="290" y="46"/>
                  </a:lnTo>
                  <a:lnTo>
                    <a:pt x="290" y="58"/>
                  </a:lnTo>
                  <a:lnTo>
                    <a:pt x="290" y="74"/>
                  </a:lnTo>
                  <a:lnTo>
                    <a:pt x="290" y="99"/>
                  </a:lnTo>
                  <a:lnTo>
                    <a:pt x="290" y="103"/>
                  </a:lnTo>
                  <a:lnTo>
                    <a:pt x="289" y="137"/>
                  </a:lnTo>
                  <a:lnTo>
                    <a:pt x="289" y="159"/>
                  </a:lnTo>
                  <a:lnTo>
                    <a:pt x="287" y="187"/>
                  </a:lnTo>
                  <a:lnTo>
                    <a:pt x="287" y="219"/>
                  </a:lnTo>
                  <a:lnTo>
                    <a:pt x="287" y="226"/>
                  </a:lnTo>
                  <a:lnTo>
                    <a:pt x="285" y="263"/>
                  </a:lnTo>
                  <a:lnTo>
                    <a:pt x="285" y="292"/>
                  </a:lnTo>
                  <a:lnTo>
                    <a:pt x="285" y="301"/>
                  </a:lnTo>
                  <a:lnTo>
                    <a:pt x="285" y="337"/>
                  </a:lnTo>
                  <a:lnTo>
                    <a:pt x="287" y="357"/>
                  </a:lnTo>
                  <a:lnTo>
                    <a:pt x="290" y="386"/>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53" name="Freeform 49">
              <a:extLst>
                <a:ext uri="{FF2B5EF4-FFF2-40B4-BE49-F238E27FC236}">
                  <a16:creationId xmlns:a16="http://schemas.microsoft.com/office/drawing/2014/main" id="{2F4D42F7-5B84-4DD2-9646-EC2F42494FF0}"/>
                </a:ext>
              </a:extLst>
            </p:cNvPr>
            <p:cNvSpPr>
              <a:spLocks noEditPoints="1"/>
            </p:cNvSpPr>
            <p:nvPr/>
          </p:nvSpPr>
          <p:spPr bwMode="gray">
            <a:xfrm>
              <a:off x="6722300" y="4331020"/>
              <a:ext cx="739110" cy="776146"/>
            </a:xfrm>
            <a:custGeom>
              <a:avLst/>
              <a:gdLst/>
              <a:ahLst/>
              <a:cxnLst>
                <a:cxn ang="0">
                  <a:pos x="84" y="342"/>
                </a:cxn>
                <a:cxn ang="0">
                  <a:pos x="88" y="323"/>
                </a:cxn>
                <a:cxn ang="0">
                  <a:pos x="96" y="315"/>
                </a:cxn>
                <a:cxn ang="0">
                  <a:pos x="88" y="303"/>
                </a:cxn>
                <a:cxn ang="0">
                  <a:pos x="77" y="281"/>
                </a:cxn>
                <a:cxn ang="0">
                  <a:pos x="71" y="265"/>
                </a:cxn>
                <a:cxn ang="0">
                  <a:pos x="55" y="226"/>
                </a:cxn>
                <a:cxn ang="0">
                  <a:pos x="31" y="137"/>
                </a:cxn>
                <a:cxn ang="0">
                  <a:pos x="4" y="43"/>
                </a:cxn>
                <a:cxn ang="0">
                  <a:pos x="55" y="23"/>
                </a:cxn>
                <a:cxn ang="0">
                  <a:pos x="141" y="12"/>
                </a:cxn>
                <a:cxn ang="0">
                  <a:pos x="216" y="6"/>
                </a:cxn>
                <a:cxn ang="0">
                  <a:pos x="214" y="9"/>
                </a:cxn>
                <a:cxn ang="0">
                  <a:pos x="207" y="16"/>
                </a:cxn>
                <a:cxn ang="0">
                  <a:pos x="202" y="24"/>
                </a:cxn>
                <a:cxn ang="0">
                  <a:pos x="206" y="40"/>
                </a:cxn>
                <a:cxn ang="0">
                  <a:pos x="226" y="52"/>
                </a:cxn>
                <a:cxn ang="0">
                  <a:pos x="248" y="60"/>
                </a:cxn>
                <a:cxn ang="0">
                  <a:pos x="260" y="82"/>
                </a:cxn>
                <a:cxn ang="0">
                  <a:pos x="279" y="106"/>
                </a:cxn>
                <a:cxn ang="0">
                  <a:pos x="300" y="117"/>
                </a:cxn>
                <a:cxn ang="0">
                  <a:pos x="317" y="137"/>
                </a:cxn>
                <a:cxn ang="0">
                  <a:pos x="334" y="144"/>
                </a:cxn>
                <a:cxn ang="0">
                  <a:pos x="346" y="156"/>
                </a:cxn>
                <a:cxn ang="0">
                  <a:pos x="346" y="164"/>
                </a:cxn>
                <a:cxn ang="0">
                  <a:pos x="354" y="170"/>
                </a:cxn>
                <a:cxn ang="0">
                  <a:pos x="359" y="175"/>
                </a:cxn>
                <a:cxn ang="0">
                  <a:pos x="376" y="187"/>
                </a:cxn>
                <a:cxn ang="0">
                  <a:pos x="388" y="194"/>
                </a:cxn>
                <a:cxn ang="0">
                  <a:pos x="392" y="207"/>
                </a:cxn>
                <a:cxn ang="0">
                  <a:pos x="399" y="214"/>
                </a:cxn>
                <a:cxn ang="0">
                  <a:pos x="402" y="226"/>
                </a:cxn>
                <a:cxn ang="0">
                  <a:pos x="409" y="236"/>
                </a:cxn>
                <a:cxn ang="0">
                  <a:pos x="424" y="246"/>
                </a:cxn>
                <a:cxn ang="0">
                  <a:pos x="433" y="260"/>
                </a:cxn>
                <a:cxn ang="0">
                  <a:pos x="438" y="284"/>
                </a:cxn>
                <a:cxn ang="0">
                  <a:pos x="433" y="306"/>
                </a:cxn>
                <a:cxn ang="0">
                  <a:pos x="433" y="305"/>
                </a:cxn>
                <a:cxn ang="0">
                  <a:pos x="441" y="323"/>
                </a:cxn>
                <a:cxn ang="0">
                  <a:pos x="440" y="339"/>
                </a:cxn>
                <a:cxn ang="0">
                  <a:pos x="428" y="368"/>
                </a:cxn>
                <a:cxn ang="0">
                  <a:pos x="429" y="388"/>
                </a:cxn>
                <a:cxn ang="0">
                  <a:pos x="419" y="411"/>
                </a:cxn>
                <a:cxn ang="0">
                  <a:pos x="416" y="436"/>
                </a:cxn>
                <a:cxn ang="0">
                  <a:pos x="400" y="434"/>
                </a:cxn>
                <a:cxn ang="0">
                  <a:pos x="383" y="431"/>
                </a:cxn>
                <a:cxn ang="0">
                  <a:pos x="376" y="440"/>
                </a:cxn>
                <a:cxn ang="0">
                  <a:pos x="380" y="474"/>
                </a:cxn>
                <a:cxn ang="0">
                  <a:pos x="366" y="470"/>
                </a:cxn>
                <a:cxn ang="0">
                  <a:pos x="329" y="465"/>
                </a:cxn>
                <a:cxn ang="0">
                  <a:pos x="223" y="472"/>
                </a:cxn>
                <a:cxn ang="0">
                  <a:pos x="118" y="479"/>
                </a:cxn>
                <a:cxn ang="0">
                  <a:pos x="110" y="460"/>
                </a:cxn>
                <a:cxn ang="0">
                  <a:pos x="98" y="436"/>
                </a:cxn>
                <a:cxn ang="0">
                  <a:pos x="91" y="417"/>
                </a:cxn>
                <a:cxn ang="0">
                  <a:pos x="91" y="390"/>
                </a:cxn>
                <a:cxn ang="0">
                  <a:pos x="424" y="416"/>
                </a:cxn>
                <a:cxn ang="0">
                  <a:pos x="423" y="419"/>
                </a:cxn>
              </a:cxnLst>
              <a:rect l="0" t="0" r="r" b="b"/>
              <a:pathLst>
                <a:path w="459" h="482">
                  <a:moveTo>
                    <a:pt x="81" y="368"/>
                  </a:moveTo>
                  <a:lnTo>
                    <a:pt x="81" y="368"/>
                  </a:lnTo>
                  <a:lnTo>
                    <a:pt x="79" y="359"/>
                  </a:lnTo>
                  <a:lnTo>
                    <a:pt x="81" y="354"/>
                  </a:lnTo>
                  <a:lnTo>
                    <a:pt x="84" y="346"/>
                  </a:lnTo>
                  <a:lnTo>
                    <a:pt x="84" y="342"/>
                  </a:lnTo>
                  <a:lnTo>
                    <a:pt x="84" y="339"/>
                  </a:lnTo>
                  <a:lnTo>
                    <a:pt x="84" y="335"/>
                  </a:lnTo>
                  <a:lnTo>
                    <a:pt x="84" y="334"/>
                  </a:lnTo>
                  <a:lnTo>
                    <a:pt x="84" y="330"/>
                  </a:lnTo>
                  <a:lnTo>
                    <a:pt x="86" y="325"/>
                  </a:lnTo>
                  <a:lnTo>
                    <a:pt x="88" y="323"/>
                  </a:lnTo>
                  <a:lnTo>
                    <a:pt x="91" y="322"/>
                  </a:lnTo>
                  <a:lnTo>
                    <a:pt x="89" y="320"/>
                  </a:lnTo>
                  <a:lnTo>
                    <a:pt x="94" y="318"/>
                  </a:lnTo>
                  <a:lnTo>
                    <a:pt x="94" y="318"/>
                  </a:lnTo>
                  <a:lnTo>
                    <a:pt x="94" y="315"/>
                  </a:lnTo>
                  <a:lnTo>
                    <a:pt x="96" y="315"/>
                  </a:lnTo>
                  <a:lnTo>
                    <a:pt x="96" y="313"/>
                  </a:lnTo>
                  <a:lnTo>
                    <a:pt x="96" y="313"/>
                  </a:lnTo>
                  <a:lnTo>
                    <a:pt x="93" y="311"/>
                  </a:lnTo>
                  <a:lnTo>
                    <a:pt x="86" y="308"/>
                  </a:lnTo>
                  <a:lnTo>
                    <a:pt x="86" y="306"/>
                  </a:lnTo>
                  <a:lnTo>
                    <a:pt x="88" y="303"/>
                  </a:lnTo>
                  <a:lnTo>
                    <a:pt x="86" y="301"/>
                  </a:lnTo>
                  <a:lnTo>
                    <a:pt x="88" y="299"/>
                  </a:lnTo>
                  <a:lnTo>
                    <a:pt x="88" y="296"/>
                  </a:lnTo>
                  <a:lnTo>
                    <a:pt x="86" y="294"/>
                  </a:lnTo>
                  <a:lnTo>
                    <a:pt x="84" y="288"/>
                  </a:lnTo>
                  <a:lnTo>
                    <a:pt x="77" y="281"/>
                  </a:lnTo>
                  <a:lnTo>
                    <a:pt x="76" y="279"/>
                  </a:lnTo>
                  <a:lnTo>
                    <a:pt x="74" y="277"/>
                  </a:lnTo>
                  <a:lnTo>
                    <a:pt x="72" y="276"/>
                  </a:lnTo>
                  <a:lnTo>
                    <a:pt x="74" y="272"/>
                  </a:lnTo>
                  <a:lnTo>
                    <a:pt x="72" y="270"/>
                  </a:lnTo>
                  <a:lnTo>
                    <a:pt x="71" y="265"/>
                  </a:lnTo>
                  <a:lnTo>
                    <a:pt x="71" y="265"/>
                  </a:lnTo>
                  <a:lnTo>
                    <a:pt x="69" y="264"/>
                  </a:lnTo>
                  <a:lnTo>
                    <a:pt x="69" y="262"/>
                  </a:lnTo>
                  <a:lnTo>
                    <a:pt x="65" y="258"/>
                  </a:lnTo>
                  <a:lnTo>
                    <a:pt x="64" y="252"/>
                  </a:lnTo>
                  <a:lnTo>
                    <a:pt x="55" y="226"/>
                  </a:lnTo>
                  <a:lnTo>
                    <a:pt x="55" y="224"/>
                  </a:lnTo>
                  <a:lnTo>
                    <a:pt x="47" y="194"/>
                  </a:lnTo>
                  <a:lnTo>
                    <a:pt x="45" y="187"/>
                  </a:lnTo>
                  <a:lnTo>
                    <a:pt x="40" y="170"/>
                  </a:lnTo>
                  <a:lnTo>
                    <a:pt x="33" y="142"/>
                  </a:lnTo>
                  <a:lnTo>
                    <a:pt x="31" y="137"/>
                  </a:lnTo>
                  <a:lnTo>
                    <a:pt x="28" y="123"/>
                  </a:lnTo>
                  <a:lnTo>
                    <a:pt x="21" y="103"/>
                  </a:lnTo>
                  <a:lnTo>
                    <a:pt x="14" y="77"/>
                  </a:lnTo>
                  <a:lnTo>
                    <a:pt x="12" y="72"/>
                  </a:lnTo>
                  <a:lnTo>
                    <a:pt x="11" y="67"/>
                  </a:lnTo>
                  <a:lnTo>
                    <a:pt x="4" y="43"/>
                  </a:lnTo>
                  <a:lnTo>
                    <a:pt x="0" y="29"/>
                  </a:lnTo>
                  <a:lnTo>
                    <a:pt x="12" y="28"/>
                  </a:lnTo>
                  <a:lnTo>
                    <a:pt x="21" y="26"/>
                  </a:lnTo>
                  <a:lnTo>
                    <a:pt x="30" y="26"/>
                  </a:lnTo>
                  <a:lnTo>
                    <a:pt x="55" y="23"/>
                  </a:lnTo>
                  <a:lnTo>
                    <a:pt x="55" y="23"/>
                  </a:lnTo>
                  <a:lnTo>
                    <a:pt x="71" y="21"/>
                  </a:lnTo>
                  <a:lnTo>
                    <a:pt x="72" y="21"/>
                  </a:lnTo>
                  <a:lnTo>
                    <a:pt x="86" y="19"/>
                  </a:lnTo>
                  <a:lnTo>
                    <a:pt x="112" y="16"/>
                  </a:lnTo>
                  <a:lnTo>
                    <a:pt x="129" y="14"/>
                  </a:lnTo>
                  <a:lnTo>
                    <a:pt x="141" y="12"/>
                  </a:lnTo>
                  <a:lnTo>
                    <a:pt x="146" y="12"/>
                  </a:lnTo>
                  <a:lnTo>
                    <a:pt x="178" y="7"/>
                  </a:lnTo>
                  <a:lnTo>
                    <a:pt x="182" y="7"/>
                  </a:lnTo>
                  <a:lnTo>
                    <a:pt x="218" y="0"/>
                  </a:lnTo>
                  <a:lnTo>
                    <a:pt x="218" y="2"/>
                  </a:lnTo>
                  <a:lnTo>
                    <a:pt x="216" y="6"/>
                  </a:lnTo>
                  <a:lnTo>
                    <a:pt x="216" y="6"/>
                  </a:lnTo>
                  <a:lnTo>
                    <a:pt x="216" y="6"/>
                  </a:lnTo>
                  <a:lnTo>
                    <a:pt x="218" y="7"/>
                  </a:lnTo>
                  <a:lnTo>
                    <a:pt x="216" y="7"/>
                  </a:lnTo>
                  <a:lnTo>
                    <a:pt x="216" y="9"/>
                  </a:lnTo>
                  <a:lnTo>
                    <a:pt x="214" y="9"/>
                  </a:lnTo>
                  <a:lnTo>
                    <a:pt x="214" y="11"/>
                  </a:lnTo>
                  <a:lnTo>
                    <a:pt x="211" y="12"/>
                  </a:lnTo>
                  <a:lnTo>
                    <a:pt x="211" y="14"/>
                  </a:lnTo>
                  <a:lnTo>
                    <a:pt x="209" y="14"/>
                  </a:lnTo>
                  <a:lnTo>
                    <a:pt x="207" y="16"/>
                  </a:lnTo>
                  <a:lnTo>
                    <a:pt x="207" y="16"/>
                  </a:lnTo>
                  <a:lnTo>
                    <a:pt x="207" y="17"/>
                  </a:lnTo>
                  <a:lnTo>
                    <a:pt x="207" y="19"/>
                  </a:lnTo>
                  <a:lnTo>
                    <a:pt x="207" y="19"/>
                  </a:lnTo>
                  <a:lnTo>
                    <a:pt x="206" y="21"/>
                  </a:lnTo>
                  <a:lnTo>
                    <a:pt x="206" y="23"/>
                  </a:lnTo>
                  <a:lnTo>
                    <a:pt x="202" y="24"/>
                  </a:lnTo>
                  <a:lnTo>
                    <a:pt x="200" y="26"/>
                  </a:lnTo>
                  <a:lnTo>
                    <a:pt x="202" y="29"/>
                  </a:lnTo>
                  <a:lnTo>
                    <a:pt x="200" y="33"/>
                  </a:lnTo>
                  <a:lnTo>
                    <a:pt x="200" y="35"/>
                  </a:lnTo>
                  <a:lnTo>
                    <a:pt x="200" y="38"/>
                  </a:lnTo>
                  <a:lnTo>
                    <a:pt x="206" y="40"/>
                  </a:lnTo>
                  <a:lnTo>
                    <a:pt x="211" y="45"/>
                  </a:lnTo>
                  <a:lnTo>
                    <a:pt x="218" y="45"/>
                  </a:lnTo>
                  <a:lnTo>
                    <a:pt x="219" y="47"/>
                  </a:lnTo>
                  <a:lnTo>
                    <a:pt x="221" y="48"/>
                  </a:lnTo>
                  <a:lnTo>
                    <a:pt x="223" y="52"/>
                  </a:lnTo>
                  <a:lnTo>
                    <a:pt x="226" y="52"/>
                  </a:lnTo>
                  <a:lnTo>
                    <a:pt x="230" y="55"/>
                  </a:lnTo>
                  <a:lnTo>
                    <a:pt x="233" y="57"/>
                  </a:lnTo>
                  <a:lnTo>
                    <a:pt x="235" y="55"/>
                  </a:lnTo>
                  <a:lnTo>
                    <a:pt x="241" y="55"/>
                  </a:lnTo>
                  <a:lnTo>
                    <a:pt x="245" y="57"/>
                  </a:lnTo>
                  <a:lnTo>
                    <a:pt x="248" y="60"/>
                  </a:lnTo>
                  <a:lnTo>
                    <a:pt x="250" y="65"/>
                  </a:lnTo>
                  <a:lnTo>
                    <a:pt x="252" y="69"/>
                  </a:lnTo>
                  <a:lnTo>
                    <a:pt x="255" y="74"/>
                  </a:lnTo>
                  <a:lnTo>
                    <a:pt x="257" y="74"/>
                  </a:lnTo>
                  <a:lnTo>
                    <a:pt x="259" y="79"/>
                  </a:lnTo>
                  <a:lnTo>
                    <a:pt x="260" y="82"/>
                  </a:lnTo>
                  <a:lnTo>
                    <a:pt x="262" y="86"/>
                  </a:lnTo>
                  <a:lnTo>
                    <a:pt x="269" y="91"/>
                  </a:lnTo>
                  <a:lnTo>
                    <a:pt x="276" y="98"/>
                  </a:lnTo>
                  <a:lnTo>
                    <a:pt x="276" y="100"/>
                  </a:lnTo>
                  <a:lnTo>
                    <a:pt x="279" y="105"/>
                  </a:lnTo>
                  <a:lnTo>
                    <a:pt x="279" y="106"/>
                  </a:lnTo>
                  <a:lnTo>
                    <a:pt x="284" y="108"/>
                  </a:lnTo>
                  <a:lnTo>
                    <a:pt x="289" y="113"/>
                  </a:lnTo>
                  <a:lnTo>
                    <a:pt x="293" y="115"/>
                  </a:lnTo>
                  <a:lnTo>
                    <a:pt x="296" y="115"/>
                  </a:lnTo>
                  <a:lnTo>
                    <a:pt x="300" y="117"/>
                  </a:lnTo>
                  <a:lnTo>
                    <a:pt x="300" y="117"/>
                  </a:lnTo>
                  <a:lnTo>
                    <a:pt x="305" y="118"/>
                  </a:lnTo>
                  <a:lnTo>
                    <a:pt x="305" y="122"/>
                  </a:lnTo>
                  <a:lnTo>
                    <a:pt x="308" y="123"/>
                  </a:lnTo>
                  <a:lnTo>
                    <a:pt x="313" y="130"/>
                  </a:lnTo>
                  <a:lnTo>
                    <a:pt x="315" y="130"/>
                  </a:lnTo>
                  <a:lnTo>
                    <a:pt x="317" y="137"/>
                  </a:lnTo>
                  <a:lnTo>
                    <a:pt x="320" y="137"/>
                  </a:lnTo>
                  <a:lnTo>
                    <a:pt x="322" y="139"/>
                  </a:lnTo>
                  <a:lnTo>
                    <a:pt x="325" y="139"/>
                  </a:lnTo>
                  <a:lnTo>
                    <a:pt x="329" y="141"/>
                  </a:lnTo>
                  <a:lnTo>
                    <a:pt x="332" y="142"/>
                  </a:lnTo>
                  <a:lnTo>
                    <a:pt x="334" y="144"/>
                  </a:lnTo>
                  <a:lnTo>
                    <a:pt x="335" y="146"/>
                  </a:lnTo>
                  <a:lnTo>
                    <a:pt x="337" y="147"/>
                  </a:lnTo>
                  <a:lnTo>
                    <a:pt x="342" y="149"/>
                  </a:lnTo>
                  <a:lnTo>
                    <a:pt x="344" y="151"/>
                  </a:lnTo>
                  <a:lnTo>
                    <a:pt x="344" y="153"/>
                  </a:lnTo>
                  <a:lnTo>
                    <a:pt x="346" y="156"/>
                  </a:lnTo>
                  <a:lnTo>
                    <a:pt x="342" y="156"/>
                  </a:lnTo>
                  <a:lnTo>
                    <a:pt x="344" y="159"/>
                  </a:lnTo>
                  <a:lnTo>
                    <a:pt x="342" y="159"/>
                  </a:lnTo>
                  <a:lnTo>
                    <a:pt x="344" y="163"/>
                  </a:lnTo>
                  <a:lnTo>
                    <a:pt x="346" y="163"/>
                  </a:lnTo>
                  <a:lnTo>
                    <a:pt x="346" y="164"/>
                  </a:lnTo>
                  <a:lnTo>
                    <a:pt x="347" y="164"/>
                  </a:lnTo>
                  <a:lnTo>
                    <a:pt x="351" y="166"/>
                  </a:lnTo>
                  <a:lnTo>
                    <a:pt x="351" y="166"/>
                  </a:lnTo>
                  <a:lnTo>
                    <a:pt x="353" y="166"/>
                  </a:lnTo>
                  <a:lnTo>
                    <a:pt x="351" y="168"/>
                  </a:lnTo>
                  <a:lnTo>
                    <a:pt x="354" y="170"/>
                  </a:lnTo>
                  <a:lnTo>
                    <a:pt x="354" y="170"/>
                  </a:lnTo>
                  <a:lnTo>
                    <a:pt x="354" y="171"/>
                  </a:lnTo>
                  <a:lnTo>
                    <a:pt x="353" y="173"/>
                  </a:lnTo>
                  <a:lnTo>
                    <a:pt x="358" y="175"/>
                  </a:lnTo>
                  <a:lnTo>
                    <a:pt x="358" y="176"/>
                  </a:lnTo>
                  <a:lnTo>
                    <a:pt x="359" y="175"/>
                  </a:lnTo>
                  <a:lnTo>
                    <a:pt x="361" y="175"/>
                  </a:lnTo>
                  <a:lnTo>
                    <a:pt x="363" y="176"/>
                  </a:lnTo>
                  <a:lnTo>
                    <a:pt x="363" y="180"/>
                  </a:lnTo>
                  <a:lnTo>
                    <a:pt x="365" y="182"/>
                  </a:lnTo>
                  <a:lnTo>
                    <a:pt x="368" y="183"/>
                  </a:lnTo>
                  <a:lnTo>
                    <a:pt x="376" y="187"/>
                  </a:lnTo>
                  <a:lnTo>
                    <a:pt x="378" y="188"/>
                  </a:lnTo>
                  <a:lnTo>
                    <a:pt x="382" y="188"/>
                  </a:lnTo>
                  <a:lnTo>
                    <a:pt x="383" y="190"/>
                  </a:lnTo>
                  <a:lnTo>
                    <a:pt x="385" y="190"/>
                  </a:lnTo>
                  <a:lnTo>
                    <a:pt x="387" y="194"/>
                  </a:lnTo>
                  <a:lnTo>
                    <a:pt x="388" y="194"/>
                  </a:lnTo>
                  <a:lnTo>
                    <a:pt x="388" y="199"/>
                  </a:lnTo>
                  <a:lnTo>
                    <a:pt x="388" y="199"/>
                  </a:lnTo>
                  <a:lnTo>
                    <a:pt x="388" y="200"/>
                  </a:lnTo>
                  <a:lnTo>
                    <a:pt x="392" y="204"/>
                  </a:lnTo>
                  <a:lnTo>
                    <a:pt x="394" y="204"/>
                  </a:lnTo>
                  <a:lnTo>
                    <a:pt x="392" y="207"/>
                  </a:lnTo>
                  <a:lnTo>
                    <a:pt x="394" y="207"/>
                  </a:lnTo>
                  <a:lnTo>
                    <a:pt x="395" y="211"/>
                  </a:lnTo>
                  <a:lnTo>
                    <a:pt x="397" y="211"/>
                  </a:lnTo>
                  <a:lnTo>
                    <a:pt x="397" y="211"/>
                  </a:lnTo>
                  <a:lnTo>
                    <a:pt x="397" y="212"/>
                  </a:lnTo>
                  <a:lnTo>
                    <a:pt x="399" y="214"/>
                  </a:lnTo>
                  <a:lnTo>
                    <a:pt x="399" y="216"/>
                  </a:lnTo>
                  <a:lnTo>
                    <a:pt x="400" y="219"/>
                  </a:lnTo>
                  <a:lnTo>
                    <a:pt x="399" y="219"/>
                  </a:lnTo>
                  <a:lnTo>
                    <a:pt x="400" y="221"/>
                  </a:lnTo>
                  <a:lnTo>
                    <a:pt x="400" y="224"/>
                  </a:lnTo>
                  <a:lnTo>
                    <a:pt x="402" y="226"/>
                  </a:lnTo>
                  <a:lnTo>
                    <a:pt x="402" y="229"/>
                  </a:lnTo>
                  <a:lnTo>
                    <a:pt x="402" y="233"/>
                  </a:lnTo>
                  <a:lnTo>
                    <a:pt x="406" y="236"/>
                  </a:lnTo>
                  <a:lnTo>
                    <a:pt x="407" y="236"/>
                  </a:lnTo>
                  <a:lnTo>
                    <a:pt x="407" y="236"/>
                  </a:lnTo>
                  <a:lnTo>
                    <a:pt x="409" y="236"/>
                  </a:lnTo>
                  <a:lnTo>
                    <a:pt x="409" y="238"/>
                  </a:lnTo>
                  <a:lnTo>
                    <a:pt x="414" y="238"/>
                  </a:lnTo>
                  <a:lnTo>
                    <a:pt x="416" y="238"/>
                  </a:lnTo>
                  <a:lnTo>
                    <a:pt x="416" y="240"/>
                  </a:lnTo>
                  <a:lnTo>
                    <a:pt x="419" y="241"/>
                  </a:lnTo>
                  <a:lnTo>
                    <a:pt x="424" y="246"/>
                  </a:lnTo>
                  <a:lnTo>
                    <a:pt x="424" y="252"/>
                  </a:lnTo>
                  <a:lnTo>
                    <a:pt x="428" y="255"/>
                  </a:lnTo>
                  <a:lnTo>
                    <a:pt x="428" y="257"/>
                  </a:lnTo>
                  <a:lnTo>
                    <a:pt x="429" y="260"/>
                  </a:lnTo>
                  <a:lnTo>
                    <a:pt x="431" y="258"/>
                  </a:lnTo>
                  <a:lnTo>
                    <a:pt x="433" y="260"/>
                  </a:lnTo>
                  <a:lnTo>
                    <a:pt x="433" y="265"/>
                  </a:lnTo>
                  <a:lnTo>
                    <a:pt x="431" y="269"/>
                  </a:lnTo>
                  <a:lnTo>
                    <a:pt x="433" y="272"/>
                  </a:lnTo>
                  <a:lnTo>
                    <a:pt x="436" y="274"/>
                  </a:lnTo>
                  <a:lnTo>
                    <a:pt x="436" y="282"/>
                  </a:lnTo>
                  <a:lnTo>
                    <a:pt x="438" y="284"/>
                  </a:lnTo>
                  <a:lnTo>
                    <a:pt x="459" y="291"/>
                  </a:lnTo>
                  <a:lnTo>
                    <a:pt x="453" y="298"/>
                  </a:lnTo>
                  <a:lnTo>
                    <a:pt x="453" y="305"/>
                  </a:lnTo>
                  <a:lnTo>
                    <a:pt x="440" y="310"/>
                  </a:lnTo>
                  <a:lnTo>
                    <a:pt x="435" y="306"/>
                  </a:lnTo>
                  <a:lnTo>
                    <a:pt x="433" y="306"/>
                  </a:lnTo>
                  <a:lnTo>
                    <a:pt x="433" y="305"/>
                  </a:lnTo>
                  <a:lnTo>
                    <a:pt x="433" y="305"/>
                  </a:lnTo>
                  <a:lnTo>
                    <a:pt x="429" y="306"/>
                  </a:lnTo>
                  <a:lnTo>
                    <a:pt x="424" y="303"/>
                  </a:lnTo>
                  <a:lnTo>
                    <a:pt x="429" y="308"/>
                  </a:lnTo>
                  <a:lnTo>
                    <a:pt x="433" y="305"/>
                  </a:lnTo>
                  <a:lnTo>
                    <a:pt x="431" y="308"/>
                  </a:lnTo>
                  <a:lnTo>
                    <a:pt x="435" y="306"/>
                  </a:lnTo>
                  <a:lnTo>
                    <a:pt x="440" y="311"/>
                  </a:lnTo>
                  <a:lnTo>
                    <a:pt x="448" y="313"/>
                  </a:lnTo>
                  <a:lnTo>
                    <a:pt x="448" y="318"/>
                  </a:lnTo>
                  <a:lnTo>
                    <a:pt x="441" y="323"/>
                  </a:lnTo>
                  <a:lnTo>
                    <a:pt x="438" y="317"/>
                  </a:lnTo>
                  <a:lnTo>
                    <a:pt x="435" y="318"/>
                  </a:lnTo>
                  <a:lnTo>
                    <a:pt x="438" y="323"/>
                  </a:lnTo>
                  <a:lnTo>
                    <a:pt x="426" y="318"/>
                  </a:lnTo>
                  <a:lnTo>
                    <a:pt x="443" y="332"/>
                  </a:lnTo>
                  <a:lnTo>
                    <a:pt x="440" y="339"/>
                  </a:lnTo>
                  <a:lnTo>
                    <a:pt x="435" y="335"/>
                  </a:lnTo>
                  <a:lnTo>
                    <a:pt x="435" y="344"/>
                  </a:lnTo>
                  <a:lnTo>
                    <a:pt x="440" y="349"/>
                  </a:lnTo>
                  <a:lnTo>
                    <a:pt x="440" y="352"/>
                  </a:lnTo>
                  <a:lnTo>
                    <a:pt x="433" y="368"/>
                  </a:lnTo>
                  <a:lnTo>
                    <a:pt x="428" y="368"/>
                  </a:lnTo>
                  <a:lnTo>
                    <a:pt x="424" y="371"/>
                  </a:lnTo>
                  <a:lnTo>
                    <a:pt x="426" y="376"/>
                  </a:lnTo>
                  <a:lnTo>
                    <a:pt x="426" y="373"/>
                  </a:lnTo>
                  <a:lnTo>
                    <a:pt x="435" y="375"/>
                  </a:lnTo>
                  <a:lnTo>
                    <a:pt x="435" y="378"/>
                  </a:lnTo>
                  <a:lnTo>
                    <a:pt x="429" y="388"/>
                  </a:lnTo>
                  <a:lnTo>
                    <a:pt x="416" y="393"/>
                  </a:lnTo>
                  <a:lnTo>
                    <a:pt x="418" y="397"/>
                  </a:lnTo>
                  <a:lnTo>
                    <a:pt x="423" y="402"/>
                  </a:lnTo>
                  <a:lnTo>
                    <a:pt x="416" y="399"/>
                  </a:lnTo>
                  <a:lnTo>
                    <a:pt x="423" y="407"/>
                  </a:lnTo>
                  <a:lnTo>
                    <a:pt x="419" y="411"/>
                  </a:lnTo>
                  <a:lnTo>
                    <a:pt x="423" y="412"/>
                  </a:lnTo>
                  <a:lnTo>
                    <a:pt x="421" y="421"/>
                  </a:lnTo>
                  <a:lnTo>
                    <a:pt x="424" y="433"/>
                  </a:lnTo>
                  <a:lnTo>
                    <a:pt x="423" y="436"/>
                  </a:lnTo>
                  <a:lnTo>
                    <a:pt x="423" y="438"/>
                  </a:lnTo>
                  <a:lnTo>
                    <a:pt x="416" y="436"/>
                  </a:lnTo>
                  <a:lnTo>
                    <a:pt x="416" y="438"/>
                  </a:lnTo>
                  <a:lnTo>
                    <a:pt x="414" y="436"/>
                  </a:lnTo>
                  <a:lnTo>
                    <a:pt x="412" y="438"/>
                  </a:lnTo>
                  <a:lnTo>
                    <a:pt x="406" y="436"/>
                  </a:lnTo>
                  <a:lnTo>
                    <a:pt x="404" y="434"/>
                  </a:lnTo>
                  <a:lnTo>
                    <a:pt x="400" y="434"/>
                  </a:lnTo>
                  <a:lnTo>
                    <a:pt x="400" y="436"/>
                  </a:lnTo>
                  <a:lnTo>
                    <a:pt x="397" y="433"/>
                  </a:lnTo>
                  <a:lnTo>
                    <a:pt x="390" y="433"/>
                  </a:lnTo>
                  <a:lnTo>
                    <a:pt x="387" y="429"/>
                  </a:lnTo>
                  <a:lnTo>
                    <a:pt x="387" y="431"/>
                  </a:lnTo>
                  <a:lnTo>
                    <a:pt x="383" y="431"/>
                  </a:lnTo>
                  <a:lnTo>
                    <a:pt x="383" y="431"/>
                  </a:lnTo>
                  <a:lnTo>
                    <a:pt x="382" y="434"/>
                  </a:lnTo>
                  <a:lnTo>
                    <a:pt x="380" y="436"/>
                  </a:lnTo>
                  <a:lnTo>
                    <a:pt x="378" y="436"/>
                  </a:lnTo>
                  <a:lnTo>
                    <a:pt x="378" y="438"/>
                  </a:lnTo>
                  <a:lnTo>
                    <a:pt x="376" y="440"/>
                  </a:lnTo>
                  <a:lnTo>
                    <a:pt x="376" y="452"/>
                  </a:lnTo>
                  <a:lnTo>
                    <a:pt x="380" y="457"/>
                  </a:lnTo>
                  <a:lnTo>
                    <a:pt x="382" y="458"/>
                  </a:lnTo>
                  <a:lnTo>
                    <a:pt x="382" y="469"/>
                  </a:lnTo>
                  <a:lnTo>
                    <a:pt x="382" y="472"/>
                  </a:lnTo>
                  <a:lnTo>
                    <a:pt x="380" y="474"/>
                  </a:lnTo>
                  <a:lnTo>
                    <a:pt x="382" y="479"/>
                  </a:lnTo>
                  <a:lnTo>
                    <a:pt x="380" y="481"/>
                  </a:lnTo>
                  <a:lnTo>
                    <a:pt x="371" y="482"/>
                  </a:lnTo>
                  <a:lnTo>
                    <a:pt x="370" y="482"/>
                  </a:lnTo>
                  <a:lnTo>
                    <a:pt x="366" y="477"/>
                  </a:lnTo>
                  <a:lnTo>
                    <a:pt x="366" y="470"/>
                  </a:lnTo>
                  <a:lnTo>
                    <a:pt x="363" y="469"/>
                  </a:lnTo>
                  <a:lnTo>
                    <a:pt x="361" y="467"/>
                  </a:lnTo>
                  <a:lnTo>
                    <a:pt x="363" y="462"/>
                  </a:lnTo>
                  <a:lnTo>
                    <a:pt x="344" y="464"/>
                  </a:lnTo>
                  <a:lnTo>
                    <a:pt x="341" y="464"/>
                  </a:lnTo>
                  <a:lnTo>
                    <a:pt x="329" y="465"/>
                  </a:lnTo>
                  <a:lnTo>
                    <a:pt x="318" y="465"/>
                  </a:lnTo>
                  <a:lnTo>
                    <a:pt x="277" y="469"/>
                  </a:lnTo>
                  <a:lnTo>
                    <a:pt x="262" y="469"/>
                  </a:lnTo>
                  <a:lnTo>
                    <a:pt x="262" y="469"/>
                  </a:lnTo>
                  <a:lnTo>
                    <a:pt x="235" y="470"/>
                  </a:lnTo>
                  <a:lnTo>
                    <a:pt x="223" y="472"/>
                  </a:lnTo>
                  <a:lnTo>
                    <a:pt x="199" y="472"/>
                  </a:lnTo>
                  <a:lnTo>
                    <a:pt x="192" y="474"/>
                  </a:lnTo>
                  <a:lnTo>
                    <a:pt x="171" y="474"/>
                  </a:lnTo>
                  <a:lnTo>
                    <a:pt x="163" y="475"/>
                  </a:lnTo>
                  <a:lnTo>
                    <a:pt x="118" y="479"/>
                  </a:lnTo>
                  <a:lnTo>
                    <a:pt x="118" y="479"/>
                  </a:lnTo>
                  <a:lnTo>
                    <a:pt x="117" y="475"/>
                  </a:lnTo>
                  <a:lnTo>
                    <a:pt x="113" y="474"/>
                  </a:lnTo>
                  <a:lnTo>
                    <a:pt x="112" y="472"/>
                  </a:lnTo>
                  <a:lnTo>
                    <a:pt x="112" y="470"/>
                  </a:lnTo>
                  <a:lnTo>
                    <a:pt x="112" y="465"/>
                  </a:lnTo>
                  <a:lnTo>
                    <a:pt x="110" y="460"/>
                  </a:lnTo>
                  <a:lnTo>
                    <a:pt x="106" y="457"/>
                  </a:lnTo>
                  <a:lnTo>
                    <a:pt x="105" y="453"/>
                  </a:lnTo>
                  <a:lnTo>
                    <a:pt x="103" y="452"/>
                  </a:lnTo>
                  <a:lnTo>
                    <a:pt x="103" y="450"/>
                  </a:lnTo>
                  <a:lnTo>
                    <a:pt x="100" y="441"/>
                  </a:lnTo>
                  <a:lnTo>
                    <a:pt x="98" y="436"/>
                  </a:lnTo>
                  <a:lnTo>
                    <a:pt x="94" y="433"/>
                  </a:lnTo>
                  <a:lnTo>
                    <a:pt x="91" y="433"/>
                  </a:lnTo>
                  <a:lnTo>
                    <a:pt x="91" y="429"/>
                  </a:lnTo>
                  <a:lnTo>
                    <a:pt x="91" y="426"/>
                  </a:lnTo>
                  <a:lnTo>
                    <a:pt x="89" y="421"/>
                  </a:lnTo>
                  <a:lnTo>
                    <a:pt x="91" y="417"/>
                  </a:lnTo>
                  <a:lnTo>
                    <a:pt x="91" y="414"/>
                  </a:lnTo>
                  <a:lnTo>
                    <a:pt x="89" y="411"/>
                  </a:lnTo>
                  <a:lnTo>
                    <a:pt x="91" y="404"/>
                  </a:lnTo>
                  <a:lnTo>
                    <a:pt x="91" y="399"/>
                  </a:lnTo>
                  <a:lnTo>
                    <a:pt x="93" y="395"/>
                  </a:lnTo>
                  <a:lnTo>
                    <a:pt x="91" y="390"/>
                  </a:lnTo>
                  <a:lnTo>
                    <a:pt x="89" y="383"/>
                  </a:lnTo>
                  <a:lnTo>
                    <a:pt x="84" y="378"/>
                  </a:lnTo>
                  <a:lnTo>
                    <a:pt x="83" y="375"/>
                  </a:lnTo>
                  <a:lnTo>
                    <a:pt x="83" y="373"/>
                  </a:lnTo>
                  <a:lnTo>
                    <a:pt x="81" y="368"/>
                  </a:lnTo>
                  <a:close/>
                  <a:moveTo>
                    <a:pt x="424" y="416"/>
                  </a:moveTo>
                  <a:lnTo>
                    <a:pt x="429" y="409"/>
                  </a:lnTo>
                  <a:lnTo>
                    <a:pt x="431" y="412"/>
                  </a:lnTo>
                  <a:lnTo>
                    <a:pt x="429" y="436"/>
                  </a:lnTo>
                  <a:lnTo>
                    <a:pt x="428" y="434"/>
                  </a:lnTo>
                  <a:lnTo>
                    <a:pt x="426" y="421"/>
                  </a:lnTo>
                  <a:lnTo>
                    <a:pt x="423" y="419"/>
                  </a:lnTo>
                  <a:lnTo>
                    <a:pt x="424" y="416"/>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54" name="Freeform 50">
              <a:extLst>
                <a:ext uri="{FF2B5EF4-FFF2-40B4-BE49-F238E27FC236}">
                  <a16:creationId xmlns:a16="http://schemas.microsoft.com/office/drawing/2014/main" id="{F234ABAD-086C-439E-82C7-9078BFF19540}"/>
                </a:ext>
              </a:extLst>
            </p:cNvPr>
            <p:cNvSpPr>
              <a:spLocks noEditPoints="1"/>
            </p:cNvSpPr>
            <p:nvPr/>
          </p:nvSpPr>
          <p:spPr bwMode="gray">
            <a:xfrm>
              <a:off x="7044352" y="4265000"/>
              <a:ext cx="690803" cy="523336"/>
            </a:xfrm>
            <a:custGeom>
              <a:avLst/>
              <a:gdLst/>
              <a:ahLst/>
              <a:cxnLst>
                <a:cxn ang="0">
                  <a:pos x="158" y="217"/>
                </a:cxn>
                <a:cxn ang="0">
                  <a:pos x="154" y="211"/>
                </a:cxn>
                <a:cxn ang="0">
                  <a:pos x="151" y="207"/>
                </a:cxn>
                <a:cxn ang="0">
                  <a:pos x="146" y="204"/>
                </a:cxn>
                <a:cxn ang="0">
                  <a:pos x="142" y="197"/>
                </a:cxn>
                <a:cxn ang="0">
                  <a:pos x="142" y="190"/>
                </a:cxn>
                <a:cxn ang="0">
                  <a:pos x="132" y="183"/>
                </a:cxn>
                <a:cxn ang="0">
                  <a:pos x="120" y="178"/>
                </a:cxn>
                <a:cxn ang="0">
                  <a:pos x="108" y="164"/>
                </a:cxn>
                <a:cxn ang="0">
                  <a:pos x="100" y="158"/>
                </a:cxn>
                <a:cxn ang="0">
                  <a:pos x="84" y="149"/>
                </a:cxn>
                <a:cxn ang="0">
                  <a:pos x="76" y="139"/>
                </a:cxn>
                <a:cxn ang="0">
                  <a:pos x="59" y="120"/>
                </a:cxn>
                <a:cxn ang="0">
                  <a:pos x="50" y="106"/>
                </a:cxn>
                <a:cxn ang="0">
                  <a:pos x="35" y="96"/>
                </a:cxn>
                <a:cxn ang="0">
                  <a:pos x="23" y="93"/>
                </a:cxn>
                <a:cxn ang="0">
                  <a:pos x="11" y="86"/>
                </a:cxn>
                <a:cxn ang="0">
                  <a:pos x="0" y="74"/>
                </a:cxn>
                <a:cxn ang="0">
                  <a:pos x="6" y="64"/>
                </a:cxn>
                <a:cxn ang="0">
                  <a:pos x="7" y="58"/>
                </a:cxn>
                <a:cxn ang="0">
                  <a:pos x="11" y="55"/>
                </a:cxn>
                <a:cxn ang="0">
                  <a:pos x="16" y="50"/>
                </a:cxn>
                <a:cxn ang="0">
                  <a:pos x="16" y="47"/>
                </a:cxn>
                <a:cxn ang="0">
                  <a:pos x="24" y="38"/>
                </a:cxn>
                <a:cxn ang="0">
                  <a:pos x="52" y="26"/>
                </a:cxn>
                <a:cxn ang="0">
                  <a:pos x="65" y="19"/>
                </a:cxn>
                <a:cxn ang="0">
                  <a:pos x="77" y="14"/>
                </a:cxn>
                <a:cxn ang="0">
                  <a:pos x="86" y="11"/>
                </a:cxn>
                <a:cxn ang="0">
                  <a:pos x="130" y="6"/>
                </a:cxn>
                <a:cxn ang="0">
                  <a:pos x="192" y="2"/>
                </a:cxn>
                <a:cxn ang="0">
                  <a:pos x="204" y="4"/>
                </a:cxn>
                <a:cxn ang="0">
                  <a:pos x="219" y="33"/>
                </a:cxn>
                <a:cxn ang="0">
                  <a:pos x="315" y="17"/>
                </a:cxn>
                <a:cxn ang="0">
                  <a:pos x="378" y="60"/>
                </a:cxn>
                <a:cxn ang="0">
                  <a:pos x="429" y="101"/>
                </a:cxn>
                <a:cxn ang="0">
                  <a:pos x="390" y="166"/>
                </a:cxn>
                <a:cxn ang="0">
                  <a:pos x="387" y="187"/>
                </a:cxn>
                <a:cxn ang="0">
                  <a:pos x="373" y="204"/>
                </a:cxn>
                <a:cxn ang="0">
                  <a:pos x="358" y="217"/>
                </a:cxn>
                <a:cxn ang="0">
                  <a:pos x="332" y="228"/>
                </a:cxn>
                <a:cxn ang="0">
                  <a:pos x="335" y="240"/>
                </a:cxn>
                <a:cxn ang="0">
                  <a:pos x="305" y="270"/>
                </a:cxn>
                <a:cxn ang="0">
                  <a:pos x="294" y="272"/>
                </a:cxn>
                <a:cxn ang="0">
                  <a:pos x="272" y="274"/>
                </a:cxn>
                <a:cxn ang="0">
                  <a:pos x="293" y="293"/>
                </a:cxn>
                <a:cxn ang="0">
                  <a:pos x="259" y="281"/>
                </a:cxn>
                <a:cxn ang="0">
                  <a:pos x="259" y="289"/>
                </a:cxn>
                <a:cxn ang="0">
                  <a:pos x="236" y="323"/>
                </a:cxn>
                <a:cxn ang="0">
                  <a:pos x="233" y="306"/>
                </a:cxn>
                <a:cxn ang="0">
                  <a:pos x="228" y="298"/>
                </a:cxn>
                <a:cxn ang="0">
                  <a:pos x="219" y="282"/>
                </a:cxn>
                <a:cxn ang="0">
                  <a:pos x="209" y="279"/>
                </a:cxn>
                <a:cxn ang="0">
                  <a:pos x="206" y="277"/>
                </a:cxn>
                <a:cxn ang="0">
                  <a:pos x="200" y="265"/>
                </a:cxn>
                <a:cxn ang="0">
                  <a:pos x="199" y="257"/>
                </a:cxn>
                <a:cxn ang="0">
                  <a:pos x="197" y="252"/>
                </a:cxn>
                <a:cxn ang="0">
                  <a:pos x="194" y="245"/>
                </a:cxn>
                <a:cxn ang="0">
                  <a:pos x="188" y="240"/>
                </a:cxn>
                <a:cxn ang="0">
                  <a:pos x="183" y="231"/>
                </a:cxn>
                <a:cxn ang="0">
                  <a:pos x="168" y="224"/>
                </a:cxn>
                <a:cxn ang="0">
                  <a:pos x="265" y="303"/>
                </a:cxn>
                <a:cxn ang="0">
                  <a:pos x="265" y="303"/>
                </a:cxn>
              </a:cxnLst>
              <a:rect l="0" t="0" r="r" b="b"/>
              <a:pathLst>
                <a:path w="429" h="325">
                  <a:moveTo>
                    <a:pt x="163" y="217"/>
                  </a:moveTo>
                  <a:lnTo>
                    <a:pt x="161" y="216"/>
                  </a:lnTo>
                  <a:lnTo>
                    <a:pt x="159" y="216"/>
                  </a:lnTo>
                  <a:lnTo>
                    <a:pt x="158" y="217"/>
                  </a:lnTo>
                  <a:lnTo>
                    <a:pt x="158" y="216"/>
                  </a:lnTo>
                  <a:lnTo>
                    <a:pt x="153" y="214"/>
                  </a:lnTo>
                  <a:lnTo>
                    <a:pt x="154" y="212"/>
                  </a:lnTo>
                  <a:lnTo>
                    <a:pt x="154" y="211"/>
                  </a:lnTo>
                  <a:lnTo>
                    <a:pt x="154" y="211"/>
                  </a:lnTo>
                  <a:lnTo>
                    <a:pt x="151" y="209"/>
                  </a:lnTo>
                  <a:lnTo>
                    <a:pt x="153" y="207"/>
                  </a:lnTo>
                  <a:lnTo>
                    <a:pt x="151" y="207"/>
                  </a:lnTo>
                  <a:lnTo>
                    <a:pt x="151" y="207"/>
                  </a:lnTo>
                  <a:lnTo>
                    <a:pt x="147" y="205"/>
                  </a:lnTo>
                  <a:lnTo>
                    <a:pt x="146" y="205"/>
                  </a:lnTo>
                  <a:lnTo>
                    <a:pt x="146" y="204"/>
                  </a:lnTo>
                  <a:lnTo>
                    <a:pt x="144" y="204"/>
                  </a:lnTo>
                  <a:lnTo>
                    <a:pt x="142" y="200"/>
                  </a:lnTo>
                  <a:lnTo>
                    <a:pt x="144" y="200"/>
                  </a:lnTo>
                  <a:lnTo>
                    <a:pt x="142" y="197"/>
                  </a:lnTo>
                  <a:lnTo>
                    <a:pt x="146" y="197"/>
                  </a:lnTo>
                  <a:lnTo>
                    <a:pt x="144" y="194"/>
                  </a:lnTo>
                  <a:lnTo>
                    <a:pt x="144" y="192"/>
                  </a:lnTo>
                  <a:lnTo>
                    <a:pt x="142" y="190"/>
                  </a:lnTo>
                  <a:lnTo>
                    <a:pt x="137" y="188"/>
                  </a:lnTo>
                  <a:lnTo>
                    <a:pt x="135" y="187"/>
                  </a:lnTo>
                  <a:lnTo>
                    <a:pt x="134" y="185"/>
                  </a:lnTo>
                  <a:lnTo>
                    <a:pt x="132" y="183"/>
                  </a:lnTo>
                  <a:lnTo>
                    <a:pt x="129" y="182"/>
                  </a:lnTo>
                  <a:lnTo>
                    <a:pt x="125" y="180"/>
                  </a:lnTo>
                  <a:lnTo>
                    <a:pt x="122" y="180"/>
                  </a:lnTo>
                  <a:lnTo>
                    <a:pt x="120" y="178"/>
                  </a:lnTo>
                  <a:lnTo>
                    <a:pt x="117" y="178"/>
                  </a:lnTo>
                  <a:lnTo>
                    <a:pt x="115" y="171"/>
                  </a:lnTo>
                  <a:lnTo>
                    <a:pt x="113" y="171"/>
                  </a:lnTo>
                  <a:lnTo>
                    <a:pt x="108" y="164"/>
                  </a:lnTo>
                  <a:lnTo>
                    <a:pt x="105" y="163"/>
                  </a:lnTo>
                  <a:lnTo>
                    <a:pt x="105" y="159"/>
                  </a:lnTo>
                  <a:lnTo>
                    <a:pt x="100" y="158"/>
                  </a:lnTo>
                  <a:lnTo>
                    <a:pt x="100" y="158"/>
                  </a:lnTo>
                  <a:lnTo>
                    <a:pt x="96" y="156"/>
                  </a:lnTo>
                  <a:lnTo>
                    <a:pt x="93" y="156"/>
                  </a:lnTo>
                  <a:lnTo>
                    <a:pt x="89" y="154"/>
                  </a:lnTo>
                  <a:lnTo>
                    <a:pt x="84" y="149"/>
                  </a:lnTo>
                  <a:lnTo>
                    <a:pt x="79" y="147"/>
                  </a:lnTo>
                  <a:lnTo>
                    <a:pt x="79" y="146"/>
                  </a:lnTo>
                  <a:lnTo>
                    <a:pt x="76" y="141"/>
                  </a:lnTo>
                  <a:lnTo>
                    <a:pt x="76" y="139"/>
                  </a:lnTo>
                  <a:lnTo>
                    <a:pt x="69" y="132"/>
                  </a:lnTo>
                  <a:lnTo>
                    <a:pt x="62" y="127"/>
                  </a:lnTo>
                  <a:lnTo>
                    <a:pt x="60" y="123"/>
                  </a:lnTo>
                  <a:lnTo>
                    <a:pt x="59" y="120"/>
                  </a:lnTo>
                  <a:lnTo>
                    <a:pt x="57" y="115"/>
                  </a:lnTo>
                  <a:lnTo>
                    <a:pt x="55" y="115"/>
                  </a:lnTo>
                  <a:lnTo>
                    <a:pt x="52" y="110"/>
                  </a:lnTo>
                  <a:lnTo>
                    <a:pt x="50" y="106"/>
                  </a:lnTo>
                  <a:lnTo>
                    <a:pt x="48" y="101"/>
                  </a:lnTo>
                  <a:lnTo>
                    <a:pt x="45" y="98"/>
                  </a:lnTo>
                  <a:lnTo>
                    <a:pt x="41" y="96"/>
                  </a:lnTo>
                  <a:lnTo>
                    <a:pt x="35" y="96"/>
                  </a:lnTo>
                  <a:lnTo>
                    <a:pt x="33" y="98"/>
                  </a:lnTo>
                  <a:lnTo>
                    <a:pt x="30" y="96"/>
                  </a:lnTo>
                  <a:lnTo>
                    <a:pt x="26" y="93"/>
                  </a:lnTo>
                  <a:lnTo>
                    <a:pt x="23" y="93"/>
                  </a:lnTo>
                  <a:lnTo>
                    <a:pt x="21" y="89"/>
                  </a:lnTo>
                  <a:lnTo>
                    <a:pt x="19" y="88"/>
                  </a:lnTo>
                  <a:lnTo>
                    <a:pt x="18" y="86"/>
                  </a:lnTo>
                  <a:lnTo>
                    <a:pt x="11" y="86"/>
                  </a:lnTo>
                  <a:lnTo>
                    <a:pt x="6" y="81"/>
                  </a:lnTo>
                  <a:lnTo>
                    <a:pt x="0" y="79"/>
                  </a:lnTo>
                  <a:lnTo>
                    <a:pt x="0" y="76"/>
                  </a:lnTo>
                  <a:lnTo>
                    <a:pt x="0" y="74"/>
                  </a:lnTo>
                  <a:lnTo>
                    <a:pt x="2" y="70"/>
                  </a:lnTo>
                  <a:lnTo>
                    <a:pt x="0" y="67"/>
                  </a:lnTo>
                  <a:lnTo>
                    <a:pt x="2" y="65"/>
                  </a:lnTo>
                  <a:lnTo>
                    <a:pt x="6" y="64"/>
                  </a:lnTo>
                  <a:lnTo>
                    <a:pt x="6" y="62"/>
                  </a:lnTo>
                  <a:lnTo>
                    <a:pt x="7" y="60"/>
                  </a:lnTo>
                  <a:lnTo>
                    <a:pt x="7" y="60"/>
                  </a:lnTo>
                  <a:lnTo>
                    <a:pt x="7" y="58"/>
                  </a:lnTo>
                  <a:lnTo>
                    <a:pt x="7" y="57"/>
                  </a:lnTo>
                  <a:lnTo>
                    <a:pt x="7" y="57"/>
                  </a:lnTo>
                  <a:lnTo>
                    <a:pt x="9" y="55"/>
                  </a:lnTo>
                  <a:lnTo>
                    <a:pt x="11" y="55"/>
                  </a:lnTo>
                  <a:lnTo>
                    <a:pt x="11" y="53"/>
                  </a:lnTo>
                  <a:lnTo>
                    <a:pt x="14" y="52"/>
                  </a:lnTo>
                  <a:lnTo>
                    <a:pt x="14" y="50"/>
                  </a:lnTo>
                  <a:lnTo>
                    <a:pt x="16" y="50"/>
                  </a:lnTo>
                  <a:lnTo>
                    <a:pt x="16" y="48"/>
                  </a:lnTo>
                  <a:lnTo>
                    <a:pt x="18" y="48"/>
                  </a:lnTo>
                  <a:lnTo>
                    <a:pt x="16" y="47"/>
                  </a:lnTo>
                  <a:lnTo>
                    <a:pt x="16" y="47"/>
                  </a:lnTo>
                  <a:lnTo>
                    <a:pt x="16" y="47"/>
                  </a:lnTo>
                  <a:lnTo>
                    <a:pt x="18" y="43"/>
                  </a:lnTo>
                  <a:lnTo>
                    <a:pt x="18" y="41"/>
                  </a:lnTo>
                  <a:lnTo>
                    <a:pt x="24" y="38"/>
                  </a:lnTo>
                  <a:lnTo>
                    <a:pt x="35" y="33"/>
                  </a:lnTo>
                  <a:lnTo>
                    <a:pt x="45" y="29"/>
                  </a:lnTo>
                  <a:lnTo>
                    <a:pt x="50" y="28"/>
                  </a:lnTo>
                  <a:lnTo>
                    <a:pt x="52" y="26"/>
                  </a:lnTo>
                  <a:lnTo>
                    <a:pt x="52" y="24"/>
                  </a:lnTo>
                  <a:lnTo>
                    <a:pt x="53" y="24"/>
                  </a:lnTo>
                  <a:lnTo>
                    <a:pt x="60" y="19"/>
                  </a:lnTo>
                  <a:lnTo>
                    <a:pt x="65" y="19"/>
                  </a:lnTo>
                  <a:lnTo>
                    <a:pt x="69" y="16"/>
                  </a:lnTo>
                  <a:lnTo>
                    <a:pt x="72" y="16"/>
                  </a:lnTo>
                  <a:lnTo>
                    <a:pt x="76" y="11"/>
                  </a:lnTo>
                  <a:lnTo>
                    <a:pt x="77" y="14"/>
                  </a:lnTo>
                  <a:lnTo>
                    <a:pt x="79" y="14"/>
                  </a:lnTo>
                  <a:lnTo>
                    <a:pt x="79" y="12"/>
                  </a:lnTo>
                  <a:lnTo>
                    <a:pt x="82" y="12"/>
                  </a:lnTo>
                  <a:lnTo>
                    <a:pt x="86" y="11"/>
                  </a:lnTo>
                  <a:lnTo>
                    <a:pt x="91" y="11"/>
                  </a:lnTo>
                  <a:lnTo>
                    <a:pt x="112" y="9"/>
                  </a:lnTo>
                  <a:lnTo>
                    <a:pt x="120" y="7"/>
                  </a:lnTo>
                  <a:lnTo>
                    <a:pt x="130" y="6"/>
                  </a:lnTo>
                  <a:lnTo>
                    <a:pt x="165" y="2"/>
                  </a:lnTo>
                  <a:lnTo>
                    <a:pt x="168" y="2"/>
                  </a:lnTo>
                  <a:lnTo>
                    <a:pt x="192" y="0"/>
                  </a:lnTo>
                  <a:lnTo>
                    <a:pt x="192" y="2"/>
                  </a:lnTo>
                  <a:lnTo>
                    <a:pt x="195" y="4"/>
                  </a:lnTo>
                  <a:lnTo>
                    <a:pt x="192" y="9"/>
                  </a:lnTo>
                  <a:lnTo>
                    <a:pt x="195" y="12"/>
                  </a:lnTo>
                  <a:lnTo>
                    <a:pt x="204" y="4"/>
                  </a:lnTo>
                  <a:lnTo>
                    <a:pt x="207" y="7"/>
                  </a:lnTo>
                  <a:lnTo>
                    <a:pt x="212" y="12"/>
                  </a:lnTo>
                  <a:lnTo>
                    <a:pt x="218" y="19"/>
                  </a:lnTo>
                  <a:lnTo>
                    <a:pt x="219" y="33"/>
                  </a:lnTo>
                  <a:lnTo>
                    <a:pt x="240" y="29"/>
                  </a:lnTo>
                  <a:lnTo>
                    <a:pt x="260" y="26"/>
                  </a:lnTo>
                  <a:lnTo>
                    <a:pt x="294" y="21"/>
                  </a:lnTo>
                  <a:lnTo>
                    <a:pt x="315" y="17"/>
                  </a:lnTo>
                  <a:lnTo>
                    <a:pt x="317" y="17"/>
                  </a:lnTo>
                  <a:lnTo>
                    <a:pt x="339" y="31"/>
                  </a:lnTo>
                  <a:lnTo>
                    <a:pt x="339" y="33"/>
                  </a:lnTo>
                  <a:lnTo>
                    <a:pt x="378" y="60"/>
                  </a:lnTo>
                  <a:lnTo>
                    <a:pt x="421" y="93"/>
                  </a:lnTo>
                  <a:lnTo>
                    <a:pt x="429" y="98"/>
                  </a:lnTo>
                  <a:lnTo>
                    <a:pt x="426" y="100"/>
                  </a:lnTo>
                  <a:lnTo>
                    <a:pt x="429" y="101"/>
                  </a:lnTo>
                  <a:lnTo>
                    <a:pt x="407" y="120"/>
                  </a:lnTo>
                  <a:lnTo>
                    <a:pt x="399" y="137"/>
                  </a:lnTo>
                  <a:lnTo>
                    <a:pt x="390" y="154"/>
                  </a:lnTo>
                  <a:lnTo>
                    <a:pt x="390" y="166"/>
                  </a:lnTo>
                  <a:lnTo>
                    <a:pt x="388" y="164"/>
                  </a:lnTo>
                  <a:lnTo>
                    <a:pt x="380" y="171"/>
                  </a:lnTo>
                  <a:lnTo>
                    <a:pt x="388" y="182"/>
                  </a:lnTo>
                  <a:lnTo>
                    <a:pt x="387" y="187"/>
                  </a:lnTo>
                  <a:lnTo>
                    <a:pt x="375" y="187"/>
                  </a:lnTo>
                  <a:lnTo>
                    <a:pt x="380" y="188"/>
                  </a:lnTo>
                  <a:lnTo>
                    <a:pt x="382" y="192"/>
                  </a:lnTo>
                  <a:lnTo>
                    <a:pt x="373" y="204"/>
                  </a:lnTo>
                  <a:lnTo>
                    <a:pt x="358" y="205"/>
                  </a:lnTo>
                  <a:lnTo>
                    <a:pt x="354" y="211"/>
                  </a:lnTo>
                  <a:lnTo>
                    <a:pt x="359" y="216"/>
                  </a:lnTo>
                  <a:lnTo>
                    <a:pt x="358" y="217"/>
                  </a:lnTo>
                  <a:lnTo>
                    <a:pt x="346" y="231"/>
                  </a:lnTo>
                  <a:lnTo>
                    <a:pt x="332" y="235"/>
                  </a:lnTo>
                  <a:lnTo>
                    <a:pt x="341" y="217"/>
                  </a:lnTo>
                  <a:lnTo>
                    <a:pt x="332" y="228"/>
                  </a:lnTo>
                  <a:lnTo>
                    <a:pt x="329" y="221"/>
                  </a:lnTo>
                  <a:lnTo>
                    <a:pt x="325" y="223"/>
                  </a:lnTo>
                  <a:lnTo>
                    <a:pt x="329" y="233"/>
                  </a:lnTo>
                  <a:lnTo>
                    <a:pt x="335" y="240"/>
                  </a:lnTo>
                  <a:lnTo>
                    <a:pt x="335" y="246"/>
                  </a:lnTo>
                  <a:lnTo>
                    <a:pt x="329" y="255"/>
                  </a:lnTo>
                  <a:lnTo>
                    <a:pt x="310" y="264"/>
                  </a:lnTo>
                  <a:lnTo>
                    <a:pt x="305" y="270"/>
                  </a:lnTo>
                  <a:lnTo>
                    <a:pt x="300" y="270"/>
                  </a:lnTo>
                  <a:lnTo>
                    <a:pt x="293" y="257"/>
                  </a:lnTo>
                  <a:lnTo>
                    <a:pt x="289" y="255"/>
                  </a:lnTo>
                  <a:lnTo>
                    <a:pt x="294" y="272"/>
                  </a:lnTo>
                  <a:lnTo>
                    <a:pt x="288" y="272"/>
                  </a:lnTo>
                  <a:lnTo>
                    <a:pt x="281" y="269"/>
                  </a:lnTo>
                  <a:lnTo>
                    <a:pt x="282" y="274"/>
                  </a:lnTo>
                  <a:lnTo>
                    <a:pt x="272" y="274"/>
                  </a:lnTo>
                  <a:lnTo>
                    <a:pt x="272" y="276"/>
                  </a:lnTo>
                  <a:lnTo>
                    <a:pt x="288" y="281"/>
                  </a:lnTo>
                  <a:lnTo>
                    <a:pt x="293" y="286"/>
                  </a:lnTo>
                  <a:lnTo>
                    <a:pt x="293" y="293"/>
                  </a:lnTo>
                  <a:lnTo>
                    <a:pt x="279" y="299"/>
                  </a:lnTo>
                  <a:lnTo>
                    <a:pt x="274" y="299"/>
                  </a:lnTo>
                  <a:lnTo>
                    <a:pt x="267" y="293"/>
                  </a:lnTo>
                  <a:lnTo>
                    <a:pt x="259" y="281"/>
                  </a:lnTo>
                  <a:lnTo>
                    <a:pt x="260" y="277"/>
                  </a:lnTo>
                  <a:lnTo>
                    <a:pt x="255" y="277"/>
                  </a:lnTo>
                  <a:lnTo>
                    <a:pt x="252" y="276"/>
                  </a:lnTo>
                  <a:lnTo>
                    <a:pt x="259" y="289"/>
                  </a:lnTo>
                  <a:lnTo>
                    <a:pt x="265" y="305"/>
                  </a:lnTo>
                  <a:lnTo>
                    <a:pt x="259" y="325"/>
                  </a:lnTo>
                  <a:lnTo>
                    <a:pt x="238" y="325"/>
                  </a:lnTo>
                  <a:lnTo>
                    <a:pt x="236" y="323"/>
                  </a:lnTo>
                  <a:lnTo>
                    <a:pt x="236" y="315"/>
                  </a:lnTo>
                  <a:lnTo>
                    <a:pt x="233" y="313"/>
                  </a:lnTo>
                  <a:lnTo>
                    <a:pt x="231" y="310"/>
                  </a:lnTo>
                  <a:lnTo>
                    <a:pt x="233" y="306"/>
                  </a:lnTo>
                  <a:lnTo>
                    <a:pt x="233" y="301"/>
                  </a:lnTo>
                  <a:lnTo>
                    <a:pt x="231" y="299"/>
                  </a:lnTo>
                  <a:lnTo>
                    <a:pt x="229" y="301"/>
                  </a:lnTo>
                  <a:lnTo>
                    <a:pt x="228" y="298"/>
                  </a:lnTo>
                  <a:lnTo>
                    <a:pt x="228" y="296"/>
                  </a:lnTo>
                  <a:lnTo>
                    <a:pt x="224" y="293"/>
                  </a:lnTo>
                  <a:lnTo>
                    <a:pt x="224" y="287"/>
                  </a:lnTo>
                  <a:lnTo>
                    <a:pt x="219" y="282"/>
                  </a:lnTo>
                  <a:lnTo>
                    <a:pt x="216" y="281"/>
                  </a:lnTo>
                  <a:lnTo>
                    <a:pt x="216" y="279"/>
                  </a:lnTo>
                  <a:lnTo>
                    <a:pt x="214" y="279"/>
                  </a:lnTo>
                  <a:lnTo>
                    <a:pt x="209" y="279"/>
                  </a:lnTo>
                  <a:lnTo>
                    <a:pt x="209" y="277"/>
                  </a:lnTo>
                  <a:lnTo>
                    <a:pt x="207" y="277"/>
                  </a:lnTo>
                  <a:lnTo>
                    <a:pt x="207" y="277"/>
                  </a:lnTo>
                  <a:lnTo>
                    <a:pt x="206" y="277"/>
                  </a:lnTo>
                  <a:lnTo>
                    <a:pt x="202" y="274"/>
                  </a:lnTo>
                  <a:lnTo>
                    <a:pt x="202" y="270"/>
                  </a:lnTo>
                  <a:lnTo>
                    <a:pt x="202" y="267"/>
                  </a:lnTo>
                  <a:lnTo>
                    <a:pt x="200" y="265"/>
                  </a:lnTo>
                  <a:lnTo>
                    <a:pt x="200" y="262"/>
                  </a:lnTo>
                  <a:lnTo>
                    <a:pt x="199" y="260"/>
                  </a:lnTo>
                  <a:lnTo>
                    <a:pt x="200" y="260"/>
                  </a:lnTo>
                  <a:lnTo>
                    <a:pt x="199" y="257"/>
                  </a:lnTo>
                  <a:lnTo>
                    <a:pt x="199" y="255"/>
                  </a:lnTo>
                  <a:lnTo>
                    <a:pt x="197" y="253"/>
                  </a:lnTo>
                  <a:lnTo>
                    <a:pt x="197" y="252"/>
                  </a:lnTo>
                  <a:lnTo>
                    <a:pt x="197" y="252"/>
                  </a:lnTo>
                  <a:lnTo>
                    <a:pt x="195" y="252"/>
                  </a:lnTo>
                  <a:lnTo>
                    <a:pt x="194" y="248"/>
                  </a:lnTo>
                  <a:lnTo>
                    <a:pt x="192" y="248"/>
                  </a:lnTo>
                  <a:lnTo>
                    <a:pt x="194" y="245"/>
                  </a:lnTo>
                  <a:lnTo>
                    <a:pt x="192" y="245"/>
                  </a:lnTo>
                  <a:lnTo>
                    <a:pt x="188" y="241"/>
                  </a:lnTo>
                  <a:lnTo>
                    <a:pt x="188" y="240"/>
                  </a:lnTo>
                  <a:lnTo>
                    <a:pt x="188" y="240"/>
                  </a:lnTo>
                  <a:lnTo>
                    <a:pt x="188" y="235"/>
                  </a:lnTo>
                  <a:lnTo>
                    <a:pt x="187" y="235"/>
                  </a:lnTo>
                  <a:lnTo>
                    <a:pt x="185" y="231"/>
                  </a:lnTo>
                  <a:lnTo>
                    <a:pt x="183" y="231"/>
                  </a:lnTo>
                  <a:lnTo>
                    <a:pt x="182" y="229"/>
                  </a:lnTo>
                  <a:lnTo>
                    <a:pt x="178" y="229"/>
                  </a:lnTo>
                  <a:lnTo>
                    <a:pt x="176" y="228"/>
                  </a:lnTo>
                  <a:lnTo>
                    <a:pt x="168" y="224"/>
                  </a:lnTo>
                  <a:lnTo>
                    <a:pt x="165" y="223"/>
                  </a:lnTo>
                  <a:lnTo>
                    <a:pt x="163" y="221"/>
                  </a:lnTo>
                  <a:lnTo>
                    <a:pt x="163" y="217"/>
                  </a:lnTo>
                  <a:close/>
                  <a:moveTo>
                    <a:pt x="265" y="303"/>
                  </a:moveTo>
                  <a:lnTo>
                    <a:pt x="270" y="301"/>
                  </a:lnTo>
                  <a:lnTo>
                    <a:pt x="276" y="306"/>
                  </a:lnTo>
                  <a:lnTo>
                    <a:pt x="264" y="320"/>
                  </a:lnTo>
                  <a:lnTo>
                    <a:pt x="265" y="303"/>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55" name="Freeform 51">
              <a:extLst>
                <a:ext uri="{FF2B5EF4-FFF2-40B4-BE49-F238E27FC236}">
                  <a16:creationId xmlns:a16="http://schemas.microsoft.com/office/drawing/2014/main" id="{0A3693A3-7691-4FBA-ACFC-235F83DB77B7}"/>
                </a:ext>
              </a:extLst>
            </p:cNvPr>
            <p:cNvSpPr>
              <a:spLocks/>
            </p:cNvSpPr>
            <p:nvPr/>
          </p:nvSpPr>
          <p:spPr bwMode="gray">
            <a:xfrm>
              <a:off x="5455025" y="4171604"/>
              <a:ext cx="692412" cy="624781"/>
            </a:xfrm>
            <a:custGeom>
              <a:avLst/>
              <a:gdLst/>
              <a:ahLst/>
              <a:cxnLst>
                <a:cxn ang="0">
                  <a:pos x="15" y="106"/>
                </a:cxn>
                <a:cxn ang="0">
                  <a:pos x="46" y="14"/>
                </a:cxn>
                <a:cxn ang="0">
                  <a:pos x="157" y="11"/>
                </a:cxn>
                <a:cxn ang="0">
                  <a:pos x="275" y="5"/>
                </a:cxn>
                <a:cxn ang="0">
                  <a:pos x="384" y="4"/>
                </a:cxn>
                <a:cxn ang="0">
                  <a:pos x="391" y="14"/>
                </a:cxn>
                <a:cxn ang="0">
                  <a:pos x="382" y="31"/>
                </a:cxn>
                <a:cxn ang="0">
                  <a:pos x="370" y="45"/>
                </a:cxn>
                <a:cxn ang="0">
                  <a:pos x="429" y="57"/>
                </a:cxn>
                <a:cxn ang="0">
                  <a:pos x="420" y="62"/>
                </a:cxn>
                <a:cxn ang="0">
                  <a:pos x="420" y="70"/>
                </a:cxn>
                <a:cxn ang="0">
                  <a:pos x="405" y="81"/>
                </a:cxn>
                <a:cxn ang="0">
                  <a:pos x="413" y="89"/>
                </a:cxn>
                <a:cxn ang="0">
                  <a:pos x="408" y="103"/>
                </a:cxn>
                <a:cxn ang="0">
                  <a:pos x="398" y="105"/>
                </a:cxn>
                <a:cxn ang="0">
                  <a:pos x="394" y="110"/>
                </a:cxn>
                <a:cxn ang="0">
                  <a:pos x="391" y="116"/>
                </a:cxn>
                <a:cxn ang="0">
                  <a:pos x="394" y="123"/>
                </a:cxn>
                <a:cxn ang="0">
                  <a:pos x="396" y="134"/>
                </a:cxn>
                <a:cxn ang="0">
                  <a:pos x="391" y="146"/>
                </a:cxn>
                <a:cxn ang="0">
                  <a:pos x="379" y="161"/>
                </a:cxn>
                <a:cxn ang="0">
                  <a:pos x="381" y="175"/>
                </a:cxn>
                <a:cxn ang="0">
                  <a:pos x="369" y="180"/>
                </a:cxn>
                <a:cxn ang="0">
                  <a:pos x="367" y="181"/>
                </a:cxn>
                <a:cxn ang="0">
                  <a:pos x="362" y="190"/>
                </a:cxn>
                <a:cxn ang="0">
                  <a:pos x="360" y="193"/>
                </a:cxn>
                <a:cxn ang="0">
                  <a:pos x="360" y="200"/>
                </a:cxn>
                <a:cxn ang="0">
                  <a:pos x="362" y="210"/>
                </a:cxn>
                <a:cxn ang="0">
                  <a:pos x="359" y="224"/>
                </a:cxn>
                <a:cxn ang="0">
                  <a:pos x="350" y="233"/>
                </a:cxn>
                <a:cxn ang="0">
                  <a:pos x="340" y="240"/>
                </a:cxn>
                <a:cxn ang="0">
                  <a:pos x="328" y="246"/>
                </a:cxn>
                <a:cxn ang="0">
                  <a:pos x="329" y="252"/>
                </a:cxn>
                <a:cxn ang="0">
                  <a:pos x="328" y="269"/>
                </a:cxn>
                <a:cxn ang="0">
                  <a:pos x="324" y="275"/>
                </a:cxn>
                <a:cxn ang="0">
                  <a:pos x="323" y="279"/>
                </a:cxn>
                <a:cxn ang="0">
                  <a:pos x="326" y="298"/>
                </a:cxn>
                <a:cxn ang="0">
                  <a:pos x="312" y="298"/>
                </a:cxn>
                <a:cxn ang="0">
                  <a:pos x="323" y="306"/>
                </a:cxn>
                <a:cxn ang="0">
                  <a:pos x="307" y="310"/>
                </a:cxn>
                <a:cxn ang="0">
                  <a:pos x="306" y="322"/>
                </a:cxn>
                <a:cxn ang="0">
                  <a:pos x="307" y="332"/>
                </a:cxn>
                <a:cxn ang="0">
                  <a:pos x="316" y="328"/>
                </a:cxn>
                <a:cxn ang="0">
                  <a:pos x="311" y="339"/>
                </a:cxn>
                <a:cxn ang="0">
                  <a:pos x="321" y="334"/>
                </a:cxn>
                <a:cxn ang="0">
                  <a:pos x="319" y="354"/>
                </a:cxn>
                <a:cxn ang="0">
                  <a:pos x="321" y="363"/>
                </a:cxn>
                <a:cxn ang="0">
                  <a:pos x="316" y="371"/>
                </a:cxn>
                <a:cxn ang="0">
                  <a:pos x="307" y="380"/>
                </a:cxn>
                <a:cxn ang="0">
                  <a:pos x="129" y="387"/>
                </a:cxn>
                <a:cxn ang="0">
                  <a:pos x="56" y="330"/>
                </a:cxn>
                <a:cxn ang="0">
                  <a:pos x="41" y="327"/>
                </a:cxn>
                <a:cxn ang="0">
                  <a:pos x="35" y="327"/>
                </a:cxn>
                <a:cxn ang="0">
                  <a:pos x="25" y="330"/>
                </a:cxn>
                <a:cxn ang="0">
                  <a:pos x="22" y="327"/>
                </a:cxn>
                <a:cxn ang="0">
                  <a:pos x="17" y="289"/>
                </a:cxn>
              </a:cxnLst>
              <a:rect l="0" t="0" r="r" b="b"/>
              <a:pathLst>
                <a:path w="430" h="388">
                  <a:moveTo>
                    <a:pt x="18" y="262"/>
                  </a:moveTo>
                  <a:lnTo>
                    <a:pt x="18" y="228"/>
                  </a:lnTo>
                  <a:lnTo>
                    <a:pt x="18" y="204"/>
                  </a:lnTo>
                  <a:lnTo>
                    <a:pt x="18" y="183"/>
                  </a:lnTo>
                  <a:lnTo>
                    <a:pt x="18" y="132"/>
                  </a:lnTo>
                  <a:lnTo>
                    <a:pt x="15" y="106"/>
                  </a:lnTo>
                  <a:lnTo>
                    <a:pt x="13" y="93"/>
                  </a:lnTo>
                  <a:lnTo>
                    <a:pt x="6" y="57"/>
                  </a:lnTo>
                  <a:lnTo>
                    <a:pt x="6" y="50"/>
                  </a:lnTo>
                  <a:lnTo>
                    <a:pt x="1" y="16"/>
                  </a:lnTo>
                  <a:lnTo>
                    <a:pt x="0" y="14"/>
                  </a:lnTo>
                  <a:lnTo>
                    <a:pt x="46" y="14"/>
                  </a:lnTo>
                  <a:lnTo>
                    <a:pt x="65" y="14"/>
                  </a:lnTo>
                  <a:lnTo>
                    <a:pt x="87" y="12"/>
                  </a:lnTo>
                  <a:lnTo>
                    <a:pt x="111" y="12"/>
                  </a:lnTo>
                  <a:lnTo>
                    <a:pt x="112" y="12"/>
                  </a:lnTo>
                  <a:lnTo>
                    <a:pt x="152" y="11"/>
                  </a:lnTo>
                  <a:lnTo>
                    <a:pt x="157" y="11"/>
                  </a:lnTo>
                  <a:lnTo>
                    <a:pt x="179" y="11"/>
                  </a:lnTo>
                  <a:lnTo>
                    <a:pt x="212" y="9"/>
                  </a:lnTo>
                  <a:lnTo>
                    <a:pt x="213" y="9"/>
                  </a:lnTo>
                  <a:lnTo>
                    <a:pt x="251" y="7"/>
                  </a:lnTo>
                  <a:lnTo>
                    <a:pt x="271" y="5"/>
                  </a:lnTo>
                  <a:lnTo>
                    <a:pt x="275" y="5"/>
                  </a:lnTo>
                  <a:lnTo>
                    <a:pt x="299" y="5"/>
                  </a:lnTo>
                  <a:lnTo>
                    <a:pt x="326" y="4"/>
                  </a:lnTo>
                  <a:lnTo>
                    <a:pt x="345" y="2"/>
                  </a:lnTo>
                  <a:lnTo>
                    <a:pt x="376" y="0"/>
                  </a:lnTo>
                  <a:lnTo>
                    <a:pt x="382" y="0"/>
                  </a:lnTo>
                  <a:lnTo>
                    <a:pt x="384" y="4"/>
                  </a:lnTo>
                  <a:lnTo>
                    <a:pt x="386" y="4"/>
                  </a:lnTo>
                  <a:lnTo>
                    <a:pt x="384" y="7"/>
                  </a:lnTo>
                  <a:lnTo>
                    <a:pt x="386" y="9"/>
                  </a:lnTo>
                  <a:lnTo>
                    <a:pt x="389" y="11"/>
                  </a:lnTo>
                  <a:lnTo>
                    <a:pt x="391" y="11"/>
                  </a:lnTo>
                  <a:lnTo>
                    <a:pt x="391" y="14"/>
                  </a:lnTo>
                  <a:lnTo>
                    <a:pt x="391" y="17"/>
                  </a:lnTo>
                  <a:lnTo>
                    <a:pt x="393" y="21"/>
                  </a:lnTo>
                  <a:lnTo>
                    <a:pt x="391" y="23"/>
                  </a:lnTo>
                  <a:lnTo>
                    <a:pt x="388" y="24"/>
                  </a:lnTo>
                  <a:lnTo>
                    <a:pt x="386" y="29"/>
                  </a:lnTo>
                  <a:lnTo>
                    <a:pt x="382" y="31"/>
                  </a:lnTo>
                  <a:lnTo>
                    <a:pt x="379" y="34"/>
                  </a:lnTo>
                  <a:lnTo>
                    <a:pt x="377" y="36"/>
                  </a:lnTo>
                  <a:lnTo>
                    <a:pt x="377" y="38"/>
                  </a:lnTo>
                  <a:lnTo>
                    <a:pt x="376" y="41"/>
                  </a:lnTo>
                  <a:lnTo>
                    <a:pt x="374" y="41"/>
                  </a:lnTo>
                  <a:lnTo>
                    <a:pt x="370" y="45"/>
                  </a:lnTo>
                  <a:lnTo>
                    <a:pt x="365" y="55"/>
                  </a:lnTo>
                  <a:lnTo>
                    <a:pt x="374" y="55"/>
                  </a:lnTo>
                  <a:lnTo>
                    <a:pt x="401" y="52"/>
                  </a:lnTo>
                  <a:lnTo>
                    <a:pt x="422" y="50"/>
                  </a:lnTo>
                  <a:lnTo>
                    <a:pt x="423" y="55"/>
                  </a:lnTo>
                  <a:lnTo>
                    <a:pt x="429" y="57"/>
                  </a:lnTo>
                  <a:lnTo>
                    <a:pt x="430" y="60"/>
                  </a:lnTo>
                  <a:lnTo>
                    <a:pt x="429" y="62"/>
                  </a:lnTo>
                  <a:lnTo>
                    <a:pt x="429" y="62"/>
                  </a:lnTo>
                  <a:lnTo>
                    <a:pt x="423" y="60"/>
                  </a:lnTo>
                  <a:lnTo>
                    <a:pt x="422" y="60"/>
                  </a:lnTo>
                  <a:lnTo>
                    <a:pt x="420" y="62"/>
                  </a:lnTo>
                  <a:lnTo>
                    <a:pt x="420" y="64"/>
                  </a:lnTo>
                  <a:lnTo>
                    <a:pt x="420" y="65"/>
                  </a:lnTo>
                  <a:lnTo>
                    <a:pt x="425" y="67"/>
                  </a:lnTo>
                  <a:lnTo>
                    <a:pt x="425" y="69"/>
                  </a:lnTo>
                  <a:lnTo>
                    <a:pt x="422" y="72"/>
                  </a:lnTo>
                  <a:lnTo>
                    <a:pt x="420" y="70"/>
                  </a:lnTo>
                  <a:lnTo>
                    <a:pt x="418" y="72"/>
                  </a:lnTo>
                  <a:lnTo>
                    <a:pt x="417" y="75"/>
                  </a:lnTo>
                  <a:lnTo>
                    <a:pt x="415" y="77"/>
                  </a:lnTo>
                  <a:lnTo>
                    <a:pt x="411" y="79"/>
                  </a:lnTo>
                  <a:lnTo>
                    <a:pt x="408" y="79"/>
                  </a:lnTo>
                  <a:lnTo>
                    <a:pt x="405" y="81"/>
                  </a:lnTo>
                  <a:lnTo>
                    <a:pt x="405" y="82"/>
                  </a:lnTo>
                  <a:lnTo>
                    <a:pt x="406" y="87"/>
                  </a:lnTo>
                  <a:lnTo>
                    <a:pt x="410" y="89"/>
                  </a:lnTo>
                  <a:lnTo>
                    <a:pt x="411" y="87"/>
                  </a:lnTo>
                  <a:lnTo>
                    <a:pt x="413" y="87"/>
                  </a:lnTo>
                  <a:lnTo>
                    <a:pt x="413" y="89"/>
                  </a:lnTo>
                  <a:lnTo>
                    <a:pt x="413" y="91"/>
                  </a:lnTo>
                  <a:lnTo>
                    <a:pt x="411" y="91"/>
                  </a:lnTo>
                  <a:lnTo>
                    <a:pt x="405" y="94"/>
                  </a:lnTo>
                  <a:lnTo>
                    <a:pt x="405" y="98"/>
                  </a:lnTo>
                  <a:lnTo>
                    <a:pt x="408" y="101"/>
                  </a:lnTo>
                  <a:lnTo>
                    <a:pt x="408" y="103"/>
                  </a:lnTo>
                  <a:lnTo>
                    <a:pt x="406" y="103"/>
                  </a:lnTo>
                  <a:lnTo>
                    <a:pt x="405" y="103"/>
                  </a:lnTo>
                  <a:lnTo>
                    <a:pt x="403" y="99"/>
                  </a:lnTo>
                  <a:lnTo>
                    <a:pt x="398" y="101"/>
                  </a:lnTo>
                  <a:lnTo>
                    <a:pt x="398" y="101"/>
                  </a:lnTo>
                  <a:lnTo>
                    <a:pt x="398" y="105"/>
                  </a:lnTo>
                  <a:lnTo>
                    <a:pt x="403" y="111"/>
                  </a:lnTo>
                  <a:lnTo>
                    <a:pt x="398" y="115"/>
                  </a:lnTo>
                  <a:lnTo>
                    <a:pt x="398" y="116"/>
                  </a:lnTo>
                  <a:lnTo>
                    <a:pt x="396" y="115"/>
                  </a:lnTo>
                  <a:lnTo>
                    <a:pt x="396" y="110"/>
                  </a:lnTo>
                  <a:lnTo>
                    <a:pt x="394" y="110"/>
                  </a:lnTo>
                  <a:lnTo>
                    <a:pt x="393" y="110"/>
                  </a:lnTo>
                  <a:lnTo>
                    <a:pt x="391" y="113"/>
                  </a:lnTo>
                  <a:lnTo>
                    <a:pt x="388" y="115"/>
                  </a:lnTo>
                  <a:lnTo>
                    <a:pt x="388" y="120"/>
                  </a:lnTo>
                  <a:lnTo>
                    <a:pt x="391" y="120"/>
                  </a:lnTo>
                  <a:lnTo>
                    <a:pt x="391" y="116"/>
                  </a:lnTo>
                  <a:lnTo>
                    <a:pt x="393" y="115"/>
                  </a:lnTo>
                  <a:lnTo>
                    <a:pt x="394" y="115"/>
                  </a:lnTo>
                  <a:lnTo>
                    <a:pt x="396" y="116"/>
                  </a:lnTo>
                  <a:lnTo>
                    <a:pt x="394" y="120"/>
                  </a:lnTo>
                  <a:lnTo>
                    <a:pt x="394" y="122"/>
                  </a:lnTo>
                  <a:lnTo>
                    <a:pt x="394" y="123"/>
                  </a:lnTo>
                  <a:lnTo>
                    <a:pt x="394" y="127"/>
                  </a:lnTo>
                  <a:lnTo>
                    <a:pt x="389" y="128"/>
                  </a:lnTo>
                  <a:lnTo>
                    <a:pt x="389" y="130"/>
                  </a:lnTo>
                  <a:lnTo>
                    <a:pt x="391" y="132"/>
                  </a:lnTo>
                  <a:lnTo>
                    <a:pt x="394" y="132"/>
                  </a:lnTo>
                  <a:lnTo>
                    <a:pt x="396" y="134"/>
                  </a:lnTo>
                  <a:lnTo>
                    <a:pt x="398" y="137"/>
                  </a:lnTo>
                  <a:lnTo>
                    <a:pt x="398" y="140"/>
                  </a:lnTo>
                  <a:lnTo>
                    <a:pt x="398" y="142"/>
                  </a:lnTo>
                  <a:lnTo>
                    <a:pt x="398" y="144"/>
                  </a:lnTo>
                  <a:lnTo>
                    <a:pt x="398" y="147"/>
                  </a:lnTo>
                  <a:lnTo>
                    <a:pt x="391" y="146"/>
                  </a:lnTo>
                  <a:lnTo>
                    <a:pt x="389" y="147"/>
                  </a:lnTo>
                  <a:lnTo>
                    <a:pt x="389" y="149"/>
                  </a:lnTo>
                  <a:lnTo>
                    <a:pt x="389" y="152"/>
                  </a:lnTo>
                  <a:lnTo>
                    <a:pt x="388" y="156"/>
                  </a:lnTo>
                  <a:lnTo>
                    <a:pt x="379" y="156"/>
                  </a:lnTo>
                  <a:lnTo>
                    <a:pt x="379" y="161"/>
                  </a:lnTo>
                  <a:lnTo>
                    <a:pt x="379" y="164"/>
                  </a:lnTo>
                  <a:lnTo>
                    <a:pt x="384" y="166"/>
                  </a:lnTo>
                  <a:lnTo>
                    <a:pt x="384" y="168"/>
                  </a:lnTo>
                  <a:lnTo>
                    <a:pt x="384" y="169"/>
                  </a:lnTo>
                  <a:lnTo>
                    <a:pt x="382" y="173"/>
                  </a:lnTo>
                  <a:lnTo>
                    <a:pt x="381" y="175"/>
                  </a:lnTo>
                  <a:lnTo>
                    <a:pt x="381" y="176"/>
                  </a:lnTo>
                  <a:lnTo>
                    <a:pt x="381" y="178"/>
                  </a:lnTo>
                  <a:lnTo>
                    <a:pt x="377" y="178"/>
                  </a:lnTo>
                  <a:lnTo>
                    <a:pt x="376" y="176"/>
                  </a:lnTo>
                  <a:lnTo>
                    <a:pt x="370" y="180"/>
                  </a:lnTo>
                  <a:lnTo>
                    <a:pt x="369" y="180"/>
                  </a:lnTo>
                  <a:lnTo>
                    <a:pt x="369" y="180"/>
                  </a:lnTo>
                  <a:lnTo>
                    <a:pt x="369" y="176"/>
                  </a:lnTo>
                  <a:lnTo>
                    <a:pt x="367" y="175"/>
                  </a:lnTo>
                  <a:lnTo>
                    <a:pt x="365" y="175"/>
                  </a:lnTo>
                  <a:lnTo>
                    <a:pt x="365" y="178"/>
                  </a:lnTo>
                  <a:lnTo>
                    <a:pt x="367" y="181"/>
                  </a:lnTo>
                  <a:lnTo>
                    <a:pt x="365" y="183"/>
                  </a:lnTo>
                  <a:lnTo>
                    <a:pt x="367" y="188"/>
                  </a:lnTo>
                  <a:lnTo>
                    <a:pt x="367" y="190"/>
                  </a:lnTo>
                  <a:lnTo>
                    <a:pt x="365" y="192"/>
                  </a:lnTo>
                  <a:lnTo>
                    <a:pt x="364" y="192"/>
                  </a:lnTo>
                  <a:lnTo>
                    <a:pt x="362" y="190"/>
                  </a:lnTo>
                  <a:lnTo>
                    <a:pt x="364" y="188"/>
                  </a:lnTo>
                  <a:lnTo>
                    <a:pt x="364" y="185"/>
                  </a:lnTo>
                  <a:lnTo>
                    <a:pt x="362" y="183"/>
                  </a:lnTo>
                  <a:lnTo>
                    <a:pt x="360" y="183"/>
                  </a:lnTo>
                  <a:lnTo>
                    <a:pt x="359" y="185"/>
                  </a:lnTo>
                  <a:lnTo>
                    <a:pt x="360" y="193"/>
                  </a:lnTo>
                  <a:lnTo>
                    <a:pt x="362" y="195"/>
                  </a:lnTo>
                  <a:lnTo>
                    <a:pt x="365" y="193"/>
                  </a:lnTo>
                  <a:lnTo>
                    <a:pt x="367" y="197"/>
                  </a:lnTo>
                  <a:lnTo>
                    <a:pt x="364" y="202"/>
                  </a:lnTo>
                  <a:lnTo>
                    <a:pt x="360" y="202"/>
                  </a:lnTo>
                  <a:lnTo>
                    <a:pt x="360" y="200"/>
                  </a:lnTo>
                  <a:lnTo>
                    <a:pt x="360" y="197"/>
                  </a:lnTo>
                  <a:lnTo>
                    <a:pt x="359" y="195"/>
                  </a:lnTo>
                  <a:lnTo>
                    <a:pt x="357" y="200"/>
                  </a:lnTo>
                  <a:lnTo>
                    <a:pt x="357" y="204"/>
                  </a:lnTo>
                  <a:lnTo>
                    <a:pt x="357" y="205"/>
                  </a:lnTo>
                  <a:lnTo>
                    <a:pt x="362" y="210"/>
                  </a:lnTo>
                  <a:lnTo>
                    <a:pt x="362" y="212"/>
                  </a:lnTo>
                  <a:lnTo>
                    <a:pt x="359" y="214"/>
                  </a:lnTo>
                  <a:lnTo>
                    <a:pt x="357" y="214"/>
                  </a:lnTo>
                  <a:lnTo>
                    <a:pt x="357" y="217"/>
                  </a:lnTo>
                  <a:lnTo>
                    <a:pt x="359" y="222"/>
                  </a:lnTo>
                  <a:lnTo>
                    <a:pt x="359" y="224"/>
                  </a:lnTo>
                  <a:lnTo>
                    <a:pt x="357" y="228"/>
                  </a:lnTo>
                  <a:lnTo>
                    <a:pt x="352" y="231"/>
                  </a:lnTo>
                  <a:lnTo>
                    <a:pt x="352" y="236"/>
                  </a:lnTo>
                  <a:lnTo>
                    <a:pt x="350" y="236"/>
                  </a:lnTo>
                  <a:lnTo>
                    <a:pt x="350" y="236"/>
                  </a:lnTo>
                  <a:lnTo>
                    <a:pt x="350" y="233"/>
                  </a:lnTo>
                  <a:lnTo>
                    <a:pt x="348" y="231"/>
                  </a:lnTo>
                  <a:lnTo>
                    <a:pt x="343" y="231"/>
                  </a:lnTo>
                  <a:lnTo>
                    <a:pt x="343" y="233"/>
                  </a:lnTo>
                  <a:lnTo>
                    <a:pt x="345" y="238"/>
                  </a:lnTo>
                  <a:lnTo>
                    <a:pt x="343" y="241"/>
                  </a:lnTo>
                  <a:lnTo>
                    <a:pt x="340" y="240"/>
                  </a:lnTo>
                  <a:lnTo>
                    <a:pt x="340" y="240"/>
                  </a:lnTo>
                  <a:lnTo>
                    <a:pt x="338" y="241"/>
                  </a:lnTo>
                  <a:lnTo>
                    <a:pt x="338" y="246"/>
                  </a:lnTo>
                  <a:lnTo>
                    <a:pt x="335" y="248"/>
                  </a:lnTo>
                  <a:lnTo>
                    <a:pt x="329" y="245"/>
                  </a:lnTo>
                  <a:lnTo>
                    <a:pt x="328" y="246"/>
                  </a:lnTo>
                  <a:lnTo>
                    <a:pt x="329" y="250"/>
                  </a:lnTo>
                  <a:lnTo>
                    <a:pt x="338" y="252"/>
                  </a:lnTo>
                  <a:lnTo>
                    <a:pt x="340" y="253"/>
                  </a:lnTo>
                  <a:lnTo>
                    <a:pt x="338" y="255"/>
                  </a:lnTo>
                  <a:lnTo>
                    <a:pt x="336" y="257"/>
                  </a:lnTo>
                  <a:lnTo>
                    <a:pt x="329" y="252"/>
                  </a:lnTo>
                  <a:lnTo>
                    <a:pt x="328" y="255"/>
                  </a:lnTo>
                  <a:lnTo>
                    <a:pt x="328" y="258"/>
                  </a:lnTo>
                  <a:lnTo>
                    <a:pt x="331" y="262"/>
                  </a:lnTo>
                  <a:lnTo>
                    <a:pt x="335" y="262"/>
                  </a:lnTo>
                  <a:lnTo>
                    <a:pt x="333" y="267"/>
                  </a:lnTo>
                  <a:lnTo>
                    <a:pt x="328" y="269"/>
                  </a:lnTo>
                  <a:lnTo>
                    <a:pt x="326" y="272"/>
                  </a:lnTo>
                  <a:lnTo>
                    <a:pt x="326" y="274"/>
                  </a:lnTo>
                  <a:lnTo>
                    <a:pt x="328" y="275"/>
                  </a:lnTo>
                  <a:lnTo>
                    <a:pt x="328" y="275"/>
                  </a:lnTo>
                  <a:lnTo>
                    <a:pt x="324" y="277"/>
                  </a:lnTo>
                  <a:lnTo>
                    <a:pt x="324" y="275"/>
                  </a:lnTo>
                  <a:lnTo>
                    <a:pt x="323" y="274"/>
                  </a:lnTo>
                  <a:lnTo>
                    <a:pt x="321" y="274"/>
                  </a:lnTo>
                  <a:lnTo>
                    <a:pt x="317" y="272"/>
                  </a:lnTo>
                  <a:lnTo>
                    <a:pt x="316" y="274"/>
                  </a:lnTo>
                  <a:lnTo>
                    <a:pt x="317" y="275"/>
                  </a:lnTo>
                  <a:lnTo>
                    <a:pt x="323" y="279"/>
                  </a:lnTo>
                  <a:lnTo>
                    <a:pt x="319" y="287"/>
                  </a:lnTo>
                  <a:lnTo>
                    <a:pt x="319" y="289"/>
                  </a:lnTo>
                  <a:lnTo>
                    <a:pt x="323" y="293"/>
                  </a:lnTo>
                  <a:lnTo>
                    <a:pt x="326" y="294"/>
                  </a:lnTo>
                  <a:lnTo>
                    <a:pt x="326" y="296"/>
                  </a:lnTo>
                  <a:lnTo>
                    <a:pt x="326" y="298"/>
                  </a:lnTo>
                  <a:lnTo>
                    <a:pt x="323" y="298"/>
                  </a:lnTo>
                  <a:lnTo>
                    <a:pt x="321" y="298"/>
                  </a:lnTo>
                  <a:lnTo>
                    <a:pt x="319" y="296"/>
                  </a:lnTo>
                  <a:lnTo>
                    <a:pt x="316" y="298"/>
                  </a:lnTo>
                  <a:lnTo>
                    <a:pt x="312" y="298"/>
                  </a:lnTo>
                  <a:lnTo>
                    <a:pt x="312" y="298"/>
                  </a:lnTo>
                  <a:lnTo>
                    <a:pt x="312" y="303"/>
                  </a:lnTo>
                  <a:lnTo>
                    <a:pt x="314" y="304"/>
                  </a:lnTo>
                  <a:lnTo>
                    <a:pt x="316" y="304"/>
                  </a:lnTo>
                  <a:lnTo>
                    <a:pt x="321" y="303"/>
                  </a:lnTo>
                  <a:lnTo>
                    <a:pt x="323" y="304"/>
                  </a:lnTo>
                  <a:lnTo>
                    <a:pt x="323" y="306"/>
                  </a:lnTo>
                  <a:lnTo>
                    <a:pt x="317" y="310"/>
                  </a:lnTo>
                  <a:lnTo>
                    <a:pt x="314" y="308"/>
                  </a:lnTo>
                  <a:lnTo>
                    <a:pt x="311" y="303"/>
                  </a:lnTo>
                  <a:lnTo>
                    <a:pt x="307" y="304"/>
                  </a:lnTo>
                  <a:lnTo>
                    <a:pt x="307" y="306"/>
                  </a:lnTo>
                  <a:lnTo>
                    <a:pt x="307" y="310"/>
                  </a:lnTo>
                  <a:lnTo>
                    <a:pt x="312" y="313"/>
                  </a:lnTo>
                  <a:lnTo>
                    <a:pt x="312" y="315"/>
                  </a:lnTo>
                  <a:lnTo>
                    <a:pt x="311" y="318"/>
                  </a:lnTo>
                  <a:lnTo>
                    <a:pt x="309" y="320"/>
                  </a:lnTo>
                  <a:lnTo>
                    <a:pt x="306" y="318"/>
                  </a:lnTo>
                  <a:lnTo>
                    <a:pt x="306" y="322"/>
                  </a:lnTo>
                  <a:lnTo>
                    <a:pt x="307" y="323"/>
                  </a:lnTo>
                  <a:lnTo>
                    <a:pt x="309" y="323"/>
                  </a:lnTo>
                  <a:lnTo>
                    <a:pt x="311" y="325"/>
                  </a:lnTo>
                  <a:lnTo>
                    <a:pt x="311" y="327"/>
                  </a:lnTo>
                  <a:lnTo>
                    <a:pt x="309" y="330"/>
                  </a:lnTo>
                  <a:lnTo>
                    <a:pt x="307" y="332"/>
                  </a:lnTo>
                  <a:lnTo>
                    <a:pt x="306" y="334"/>
                  </a:lnTo>
                  <a:lnTo>
                    <a:pt x="311" y="334"/>
                  </a:lnTo>
                  <a:lnTo>
                    <a:pt x="312" y="330"/>
                  </a:lnTo>
                  <a:lnTo>
                    <a:pt x="311" y="327"/>
                  </a:lnTo>
                  <a:lnTo>
                    <a:pt x="312" y="327"/>
                  </a:lnTo>
                  <a:lnTo>
                    <a:pt x="316" y="328"/>
                  </a:lnTo>
                  <a:lnTo>
                    <a:pt x="316" y="330"/>
                  </a:lnTo>
                  <a:lnTo>
                    <a:pt x="316" y="332"/>
                  </a:lnTo>
                  <a:lnTo>
                    <a:pt x="316" y="334"/>
                  </a:lnTo>
                  <a:lnTo>
                    <a:pt x="309" y="335"/>
                  </a:lnTo>
                  <a:lnTo>
                    <a:pt x="309" y="337"/>
                  </a:lnTo>
                  <a:lnTo>
                    <a:pt x="311" y="339"/>
                  </a:lnTo>
                  <a:lnTo>
                    <a:pt x="316" y="339"/>
                  </a:lnTo>
                  <a:lnTo>
                    <a:pt x="317" y="335"/>
                  </a:lnTo>
                  <a:lnTo>
                    <a:pt x="319" y="330"/>
                  </a:lnTo>
                  <a:lnTo>
                    <a:pt x="321" y="330"/>
                  </a:lnTo>
                  <a:lnTo>
                    <a:pt x="321" y="330"/>
                  </a:lnTo>
                  <a:lnTo>
                    <a:pt x="321" y="334"/>
                  </a:lnTo>
                  <a:lnTo>
                    <a:pt x="321" y="337"/>
                  </a:lnTo>
                  <a:lnTo>
                    <a:pt x="317" y="339"/>
                  </a:lnTo>
                  <a:lnTo>
                    <a:pt x="316" y="342"/>
                  </a:lnTo>
                  <a:lnTo>
                    <a:pt x="316" y="345"/>
                  </a:lnTo>
                  <a:lnTo>
                    <a:pt x="317" y="352"/>
                  </a:lnTo>
                  <a:lnTo>
                    <a:pt x="319" y="354"/>
                  </a:lnTo>
                  <a:lnTo>
                    <a:pt x="321" y="349"/>
                  </a:lnTo>
                  <a:lnTo>
                    <a:pt x="323" y="349"/>
                  </a:lnTo>
                  <a:lnTo>
                    <a:pt x="324" y="351"/>
                  </a:lnTo>
                  <a:lnTo>
                    <a:pt x="323" y="354"/>
                  </a:lnTo>
                  <a:lnTo>
                    <a:pt x="319" y="356"/>
                  </a:lnTo>
                  <a:lnTo>
                    <a:pt x="321" y="363"/>
                  </a:lnTo>
                  <a:lnTo>
                    <a:pt x="319" y="364"/>
                  </a:lnTo>
                  <a:lnTo>
                    <a:pt x="317" y="366"/>
                  </a:lnTo>
                  <a:lnTo>
                    <a:pt x="312" y="364"/>
                  </a:lnTo>
                  <a:lnTo>
                    <a:pt x="311" y="366"/>
                  </a:lnTo>
                  <a:lnTo>
                    <a:pt x="312" y="369"/>
                  </a:lnTo>
                  <a:lnTo>
                    <a:pt x="316" y="371"/>
                  </a:lnTo>
                  <a:lnTo>
                    <a:pt x="319" y="373"/>
                  </a:lnTo>
                  <a:lnTo>
                    <a:pt x="317" y="376"/>
                  </a:lnTo>
                  <a:lnTo>
                    <a:pt x="316" y="376"/>
                  </a:lnTo>
                  <a:lnTo>
                    <a:pt x="316" y="378"/>
                  </a:lnTo>
                  <a:lnTo>
                    <a:pt x="314" y="380"/>
                  </a:lnTo>
                  <a:lnTo>
                    <a:pt x="307" y="380"/>
                  </a:lnTo>
                  <a:lnTo>
                    <a:pt x="292" y="381"/>
                  </a:lnTo>
                  <a:lnTo>
                    <a:pt x="288" y="381"/>
                  </a:lnTo>
                  <a:lnTo>
                    <a:pt x="234" y="383"/>
                  </a:lnTo>
                  <a:lnTo>
                    <a:pt x="176" y="385"/>
                  </a:lnTo>
                  <a:lnTo>
                    <a:pt x="152" y="385"/>
                  </a:lnTo>
                  <a:lnTo>
                    <a:pt x="129" y="387"/>
                  </a:lnTo>
                  <a:lnTo>
                    <a:pt x="107" y="387"/>
                  </a:lnTo>
                  <a:lnTo>
                    <a:pt x="104" y="387"/>
                  </a:lnTo>
                  <a:lnTo>
                    <a:pt x="78" y="387"/>
                  </a:lnTo>
                  <a:lnTo>
                    <a:pt x="58" y="388"/>
                  </a:lnTo>
                  <a:lnTo>
                    <a:pt x="58" y="361"/>
                  </a:lnTo>
                  <a:lnTo>
                    <a:pt x="56" y="330"/>
                  </a:lnTo>
                  <a:lnTo>
                    <a:pt x="54" y="328"/>
                  </a:lnTo>
                  <a:lnTo>
                    <a:pt x="53" y="327"/>
                  </a:lnTo>
                  <a:lnTo>
                    <a:pt x="51" y="328"/>
                  </a:lnTo>
                  <a:lnTo>
                    <a:pt x="46" y="328"/>
                  </a:lnTo>
                  <a:lnTo>
                    <a:pt x="46" y="327"/>
                  </a:lnTo>
                  <a:lnTo>
                    <a:pt x="41" y="327"/>
                  </a:lnTo>
                  <a:lnTo>
                    <a:pt x="41" y="330"/>
                  </a:lnTo>
                  <a:lnTo>
                    <a:pt x="39" y="330"/>
                  </a:lnTo>
                  <a:lnTo>
                    <a:pt x="41" y="327"/>
                  </a:lnTo>
                  <a:lnTo>
                    <a:pt x="39" y="327"/>
                  </a:lnTo>
                  <a:lnTo>
                    <a:pt x="35" y="330"/>
                  </a:lnTo>
                  <a:lnTo>
                    <a:pt x="35" y="327"/>
                  </a:lnTo>
                  <a:lnTo>
                    <a:pt x="35" y="327"/>
                  </a:lnTo>
                  <a:lnTo>
                    <a:pt x="34" y="328"/>
                  </a:lnTo>
                  <a:lnTo>
                    <a:pt x="32" y="330"/>
                  </a:lnTo>
                  <a:lnTo>
                    <a:pt x="30" y="328"/>
                  </a:lnTo>
                  <a:lnTo>
                    <a:pt x="27" y="332"/>
                  </a:lnTo>
                  <a:lnTo>
                    <a:pt x="25" y="330"/>
                  </a:lnTo>
                  <a:lnTo>
                    <a:pt x="27" y="328"/>
                  </a:lnTo>
                  <a:lnTo>
                    <a:pt x="27" y="327"/>
                  </a:lnTo>
                  <a:lnTo>
                    <a:pt x="25" y="327"/>
                  </a:lnTo>
                  <a:lnTo>
                    <a:pt x="25" y="328"/>
                  </a:lnTo>
                  <a:lnTo>
                    <a:pt x="24" y="328"/>
                  </a:lnTo>
                  <a:lnTo>
                    <a:pt x="22" y="327"/>
                  </a:lnTo>
                  <a:lnTo>
                    <a:pt x="20" y="327"/>
                  </a:lnTo>
                  <a:lnTo>
                    <a:pt x="20" y="325"/>
                  </a:lnTo>
                  <a:lnTo>
                    <a:pt x="20" y="325"/>
                  </a:lnTo>
                  <a:lnTo>
                    <a:pt x="20" y="322"/>
                  </a:lnTo>
                  <a:lnTo>
                    <a:pt x="17" y="323"/>
                  </a:lnTo>
                  <a:lnTo>
                    <a:pt x="17" y="289"/>
                  </a:lnTo>
                  <a:lnTo>
                    <a:pt x="18" y="262"/>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56" name="Freeform 52">
              <a:extLst>
                <a:ext uri="{FF2B5EF4-FFF2-40B4-BE49-F238E27FC236}">
                  <a16:creationId xmlns:a16="http://schemas.microsoft.com/office/drawing/2014/main" id="{E57B80D5-BAAF-4C30-AD41-942CAA0A3414}"/>
                </a:ext>
              </a:extLst>
            </p:cNvPr>
            <p:cNvSpPr>
              <a:spLocks noEditPoints="1"/>
            </p:cNvSpPr>
            <p:nvPr/>
          </p:nvSpPr>
          <p:spPr bwMode="gray">
            <a:xfrm>
              <a:off x="5548420" y="4783504"/>
              <a:ext cx="769705" cy="684362"/>
            </a:xfrm>
            <a:custGeom>
              <a:avLst/>
              <a:gdLst/>
              <a:ahLst/>
              <a:cxnLst>
                <a:cxn ang="0">
                  <a:pos x="34" y="285"/>
                </a:cxn>
                <a:cxn ang="0">
                  <a:pos x="34" y="268"/>
                </a:cxn>
                <a:cxn ang="0">
                  <a:pos x="42" y="251"/>
                </a:cxn>
                <a:cxn ang="0">
                  <a:pos x="48" y="234"/>
                </a:cxn>
                <a:cxn ang="0">
                  <a:pos x="48" y="225"/>
                </a:cxn>
                <a:cxn ang="0">
                  <a:pos x="48" y="213"/>
                </a:cxn>
                <a:cxn ang="0">
                  <a:pos x="51" y="203"/>
                </a:cxn>
                <a:cxn ang="0">
                  <a:pos x="39" y="193"/>
                </a:cxn>
                <a:cxn ang="0">
                  <a:pos x="34" y="176"/>
                </a:cxn>
                <a:cxn ang="0">
                  <a:pos x="24" y="164"/>
                </a:cxn>
                <a:cxn ang="0">
                  <a:pos x="22" y="148"/>
                </a:cxn>
                <a:cxn ang="0">
                  <a:pos x="15" y="128"/>
                </a:cxn>
                <a:cxn ang="0">
                  <a:pos x="1" y="75"/>
                </a:cxn>
                <a:cxn ang="0">
                  <a:pos x="118" y="5"/>
                </a:cxn>
                <a:cxn ang="0">
                  <a:pos x="256" y="12"/>
                </a:cxn>
                <a:cxn ang="0">
                  <a:pos x="259" y="27"/>
                </a:cxn>
                <a:cxn ang="0">
                  <a:pos x="271" y="39"/>
                </a:cxn>
                <a:cxn ang="0">
                  <a:pos x="273" y="54"/>
                </a:cxn>
                <a:cxn ang="0">
                  <a:pos x="277" y="63"/>
                </a:cxn>
                <a:cxn ang="0">
                  <a:pos x="278" y="75"/>
                </a:cxn>
                <a:cxn ang="0">
                  <a:pos x="265" y="83"/>
                </a:cxn>
                <a:cxn ang="0">
                  <a:pos x="273" y="89"/>
                </a:cxn>
                <a:cxn ang="0">
                  <a:pos x="265" y="100"/>
                </a:cxn>
                <a:cxn ang="0">
                  <a:pos x="256" y="128"/>
                </a:cxn>
                <a:cxn ang="0">
                  <a:pos x="254" y="135"/>
                </a:cxn>
                <a:cxn ang="0">
                  <a:pos x="234" y="147"/>
                </a:cxn>
                <a:cxn ang="0">
                  <a:pos x="234" y="169"/>
                </a:cxn>
                <a:cxn ang="0">
                  <a:pos x="229" y="172"/>
                </a:cxn>
                <a:cxn ang="0">
                  <a:pos x="224" y="188"/>
                </a:cxn>
                <a:cxn ang="0">
                  <a:pos x="225" y="217"/>
                </a:cxn>
                <a:cxn ang="0">
                  <a:pos x="400" y="206"/>
                </a:cxn>
                <a:cxn ang="0">
                  <a:pos x="396" y="224"/>
                </a:cxn>
                <a:cxn ang="0">
                  <a:pos x="391" y="237"/>
                </a:cxn>
                <a:cxn ang="0">
                  <a:pos x="393" y="249"/>
                </a:cxn>
                <a:cxn ang="0">
                  <a:pos x="408" y="271"/>
                </a:cxn>
                <a:cxn ang="0">
                  <a:pos x="415" y="288"/>
                </a:cxn>
                <a:cxn ang="0">
                  <a:pos x="343" y="309"/>
                </a:cxn>
                <a:cxn ang="0">
                  <a:pos x="413" y="300"/>
                </a:cxn>
                <a:cxn ang="0">
                  <a:pos x="434" y="307"/>
                </a:cxn>
                <a:cxn ang="0">
                  <a:pos x="425" y="340"/>
                </a:cxn>
                <a:cxn ang="0">
                  <a:pos x="418" y="353"/>
                </a:cxn>
                <a:cxn ang="0">
                  <a:pos x="454" y="381"/>
                </a:cxn>
                <a:cxn ang="0">
                  <a:pos x="468" y="403"/>
                </a:cxn>
                <a:cxn ang="0">
                  <a:pos x="449" y="408"/>
                </a:cxn>
                <a:cxn ang="0">
                  <a:pos x="408" y="381"/>
                </a:cxn>
                <a:cxn ang="0">
                  <a:pos x="365" y="365"/>
                </a:cxn>
                <a:cxn ang="0">
                  <a:pos x="383" y="400"/>
                </a:cxn>
                <a:cxn ang="0">
                  <a:pos x="348" y="391"/>
                </a:cxn>
                <a:cxn ang="0">
                  <a:pos x="323" y="412"/>
                </a:cxn>
                <a:cxn ang="0">
                  <a:pos x="299" y="391"/>
                </a:cxn>
                <a:cxn ang="0">
                  <a:pos x="232" y="348"/>
                </a:cxn>
                <a:cxn ang="0">
                  <a:pos x="184" y="350"/>
                </a:cxn>
                <a:cxn ang="0">
                  <a:pos x="29" y="347"/>
                </a:cxn>
                <a:cxn ang="0">
                  <a:pos x="36" y="307"/>
                </a:cxn>
                <a:cxn ang="0">
                  <a:pos x="196" y="369"/>
                </a:cxn>
                <a:cxn ang="0">
                  <a:pos x="275" y="400"/>
                </a:cxn>
                <a:cxn ang="0">
                  <a:pos x="297" y="400"/>
                </a:cxn>
                <a:cxn ang="0">
                  <a:pos x="287" y="401"/>
                </a:cxn>
              </a:cxnLst>
              <a:rect l="0" t="0" r="r" b="b"/>
              <a:pathLst>
                <a:path w="478" h="425">
                  <a:moveTo>
                    <a:pt x="36" y="306"/>
                  </a:moveTo>
                  <a:lnTo>
                    <a:pt x="37" y="299"/>
                  </a:lnTo>
                  <a:lnTo>
                    <a:pt x="34" y="299"/>
                  </a:lnTo>
                  <a:lnTo>
                    <a:pt x="30" y="295"/>
                  </a:lnTo>
                  <a:lnTo>
                    <a:pt x="30" y="294"/>
                  </a:lnTo>
                  <a:lnTo>
                    <a:pt x="32" y="292"/>
                  </a:lnTo>
                  <a:lnTo>
                    <a:pt x="32" y="290"/>
                  </a:lnTo>
                  <a:lnTo>
                    <a:pt x="32" y="287"/>
                  </a:lnTo>
                  <a:lnTo>
                    <a:pt x="34" y="285"/>
                  </a:lnTo>
                  <a:lnTo>
                    <a:pt x="37" y="283"/>
                  </a:lnTo>
                  <a:lnTo>
                    <a:pt x="36" y="282"/>
                  </a:lnTo>
                  <a:lnTo>
                    <a:pt x="37" y="282"/>
                  </a:lnTo>
                  <a:lnTo>
                    <a:pt x="36" y="278"/>
                  </a:lnTo>
                  <a:lnTo>
                    <a:pt x="36" y="277"/>
                  </a:lnTo>
                  <a:lnTo>
                    <a:pt x="36" y="275"/>
                  </a:lnTo>
                  <a:lnTo>
                    <a:pt x="32" y="273"/>
                  </a:lnTo>
                  <a:lnTo>
                    <a:pt x="34" y="270"/>
                  </a:lnTo>
                  <a:lnTo>
                    <a:pt x="34" y="268"/>
                  </a:lnTo>
                  <a:lnTo>
                    <a:pt x="37" y="266"/>
                  </a:lnTo>
                  <a:lnTo>
                    <a:pt x="39" y="268"/>
                  </a:lnTo>
                  <a:lnTo>
                    <a:pt x="37" y="265"/>
                  </a:lnTo>
                  <a:lnTo>
                    <a:pt x="37" y="263"/>
                  </a:lnTo>
                  <a:lnTo>
                    <a:pt x="39" y="259"/>
                  </a:lnTo>
                  <a:lnTo>
                    <a:pt x="44" y="258"/>
                  </a:lnTo>
                  <a:lnTo>
                    <a:pt x="44" y="254"/>
                  </a:lnTo>
                  <a:lnTo>
                    <a:pt x="44" y="253"/>
                  </a:lnTo>
                  <a:lnTo>
                    <a:pt x="42" y="251"/>
                  </a:lnTo>
                  <a:lnTo>
                    <a:pt x="46" y="247"/>
                  </a:lnTo>
                  <a:lnTo>
                    <a:pt x="46" y="246"/>
                  </a:lnTo>
                  <a:lnTo>
                    <a:pt x="49" y="242"/>
                  </a:lnTo>
                  <a:lnTo>
                    <a:pt x="49" y="241"/>
                  </a:lnTo>
                  <a:lnTo>
                    <a:pt x="48" y="241"/>
                  </a:lnTo>
                  <a:lnTo>
                    <a:pt x="49" y="239"/>
                  </a:lnTo>
                  <a:lnTo>
                    <a:pt x="48" y="237"/>
                  </a:lnTo>
                  <a:lnTo>
                    <a:pt x="48" y="236"/>
                  </a:lnTo>
                  <a:lnTo>
                    <a:pt x="48" y="234"/>
                  </a:lnTo>
                  <a:lnTo>
                    <a:pt x="49" y="234"/>
                  </a:lnTo>
                  <a:lnTo>
                    <a:pt x="49" y="232"/>
                  </a:lnTo>
                  <a:lnTo>
                    <a:pt x="51" y="232"/>
                  </a:lnTo>
                  <a:lnTo>
                    <a:pt x="51" y="230"/>
                  </a:lnTo>
                  <a:lnTo>
                    <a:pt x="51" y="229"/>
                  </a:lnTo>
                  <a:lnTo>
                    <a:pt x="49" y="229"/>
                  </a:lnTo>
                  <a:lnTo>
                    <a:pt x="49" y="227"/>
                  </a:lnTo>
                  <a:lnTo>
                    <a:pt x="48" y="227"/>
                  </a:lnTo>
                  <a:lnTo>
                    <a:pt x="48" y="225"/>
                  </a:lnTo>
                  <a:lnTo>
                    <a:pt x="48" y="224"/>
                  </a:lnTo>
                  <a:lnTo>
                    <a:pt x="48" y="222"/>
                  </a:lnTo>
                  <a:lnTo>
                    <a:pt x="49" y="222"/>
                  </a:lnTo>
                  <a:lnTo>
                    <a:pt x="53" y="220"/>
                  </a:lnTo>
                  <a:lnTo>
                    <a:pt x="51" y="218"/>
                  </a:lnTo>
                  <a:lnTo>
                    <a:pt x="51" y="215"/>
                  </a:lnTo>
                  <a:lnTo>
                    <a:pt x="49" y="215"/>
                  </a:lnTo>
                  <a:lnTo>
                    <a:pt x="49" y="213"/>
                  </a:lnTo>
                  <a:lnTo>
                    <a:pt x="48" y="213"/>
                  </a:lnTo>
                  <a:lnTo>
                    <a:pt x="48" y="212"/>
                  </a:lnTo>
                  <a:lnTo>
                    <a:pt x="49" y="212"/>
                  </a:lnTo>
                  <a:lnTo>
                    <a:pt x="51" y="210"/>
                  </a:lnTo>
                  <a:lnTo>
                    <a:pt x="49" y="210"/>
                  </a:lnTo>
                  <a:lnTo>
                    <a:pt x="49" y="206"/>
                  </a:lnTo>
                  <a:lnTo>
                    <a:pt x="51" y="206"/>
                  </a:lnTo>
                  <a:lnTo>
                    <a:pt x="49" y="205"/>
                  </a:lnTo>
                  <a:lnTo>
                    <a:pt x="51" y="205"/>
                  </a:lnTo>
                  <a:lnTo>
                    <a:pt x="51" y="203"/>
                  </a:lnTo>
                  <a:lnTo>
                    <a:pt x="48" y="203"/>
                  </a:lnTo>
                  <a:lnTo>
                    <a:pt x="46" y="205"/>
                  </a:lnTo>
                  <a:lnTo>
                    <a:pt x="44" y="205"/>
                  </a:lnTo>
                  <a:lnTo>
                    <a:pt x="44" y="203"/>
                  </a:lnTo>
                  <a:lnTo>
                    <a:pt x="44" y="200"/>
                  </a:lnTo>
                  <a:lnTo>
                    <a:pt x="42" y="198"/>
                  </a:lnTo>
                  <a:lnTo>
                    <a:pt x="42" y="194"/>
                  </a:lnTo>
                  <a:lnTo>
                    <a:pt x="41" y="194"/>
                  </a:lnTo>
                  <a:lnTo>
                    <a:pt x="39" y="193"/>
                  </a:lnTo>
                  <a:lnTo>
                    <a:pt x="36" y="191"/>
                  </a:lnTo>
                  <a:lnTo>
                    <a:pt x="36" y="189"/>
                  </a:lnTo>
                  <a:lnTo>
                    <a:pt x="41" y="184"/>
                  </a:lnTo>
                  <a:lnTo>
                    <a:pt x="37" y="184"/>
                  </a:lnTo>
                  <a:lnTo>
                    <a:pt x="37" y="181"/>
                  </a:lnTo>
                  <a:lnTo>
                    <a:pt x="36" y="181"/>
                  </a:lnTo>
                  <a:lnTo>
                    <a:pt x="34" y="179"/>
                  </a:lnTo>
                  <a:lnTo>
                    <a:pt x="36" y="177"/>
                  </a:lnTo>
                  <a:lnTo>
                    <a:pt x="34" y="176"/>
                  </a:lnTo>
                  <a:lnTo>
                    <a:pt x="34" y="174"/>
                  </a:lnTo>
                  <a:lnTo>
                    <a:pt x="32" y="176"/>
                  </a:lnTo>
                  <a:lnTo>
                    <a:pt x="29" y="172"/>
                  </a:lnTo>
                  <a:lnTo>
                    <a:pt x="32" y="171"/>
                  </a:lnTo>
                  <a:lnTo>
                    <a:pt x="34" y="169"/>
                  </a:lnTo>
                  <a:lnTo>
                    <a:pt x="30" y="169"/>
                  </a:lnTo>
                  <a:lnTo>
                    <a:pt x="29" y="167"/>
                  </a:lnTo>
                  <a:lnTo>
                    <a:pt x="27" y="167"/>
                  </a:lnTo>
                  <a:lnTo>
                    <a:pt x="24" y="164"/>
                  </a:lnTo>
                  <a:lnTo>
                    <a:pt x="24" y="162"/>
                  </a:lnTo>
                  <a:lnTo>
                    <a:pt x="22" y="160"/>
                  </a:lnTo>
                  <a:lnTo>
                    <a:pt x="22" y="159"/>
                  </a:lnTo>
                  <a:lnTo>
                    <a:pt x="24" y="155"/>
                  </a:lnTo>
                  <a:lnTo>
                    <a:pt x="24" y="153"/>
                  </a:lnTo>
                  <a:lnTo>
                    <a:pt x="24" y="152"/>
                  </a:lnTo>
                  <a:lnTo>
                    <a:pt x="25" y="148"/>
                  </a:lnTo>
                  <a:lnTo>
                    <a:pt x="24" y="148"/>
                  </a:lnTo>
                  <a:lnTo>
                    <a:pt x="22" y="148"/>
                  </a:lnTo>
                  <a:lnTo>
                    <a:pt x="24" y="147"/>
                  </a:lnTo>
                  <a:lnTo>
                    <a:pt x="22" y="143"/>
                  </a:lnTo>
                  <a:lnTo>
                    <a:pt x="22" y="142"/>
                  </a:lnTo>
                  <a:lnTo>
                    <a:pt x="20" y="138"/>
                  </a:lnTo>
                  <a:lnTo>
                    <a:pt x="19" y="136"/>
                  </a:lnTo>
                  <a:lnTo>
                    <a:pt x="17" y="133"/>
                  </a:lnTo>
                  <a:lnTo>
                    <a:pt x="17" y="131"/>
                  </a:lnTo>
                  <a:lnTo>
                    <a:pt x="15" y="131"/>
                  </a:lnTo>
                  <a:lnTo>
                    <a:pt x="15" y="128"/>
                  </a:lnTo>
                  <a:lnTo>
                    <a:pt x="12" y="130"/>
                  </a:lnTo>
                  <a:lnTo>
                    <a:pt x="13" y="128"/>
                  </a:lnTo>
                  <a:lnTo>
                    <a:pt x="12" y="128"/>
                  </a:lnTo>
                  <a:lnTo>
                    <a:pt x="8" y="126"/>
                  </a:lnTo>
                  <a:lnTo>
                    <a:pt x="8" y="123"/>
                  </a:lnTo>
                  <a:lnTo>
                    <a:pt x="5" y="119"/>
                  </a:lnTo>
                  <a:lnTo>
                    <a:pt x="1" y="118"/>
                  </a:lnTo>
                  <a:lnTo>
                    <a:pt x="1" y="95"/>
                  </a:lnTo>
                  <a:lnTo>
                    <a:pt x="1" y="75"/>
                  </a:lnTo>
                  <a:lnTo>
                    <a:pt x="0" y="42"/>
                  </a:lnTo>
                  <a:lnTo>
                    <a:pt x="0" y="22"/>
                  </a:lnTo>
                  <a:lnTo>
                    <a:pt x="0" y="8"/>
                  </a:lnTo>
                  <a:lnTo>
                    <a:pt x="20" y="7"/>
                  </a:lnTo>
                  <a:lnTo>
                    <a:pt x="46" y="7"/>
                  </a:lnTo>
                  <a:lnTo>
                    <a:pt x="49" y="7"/>
                  </a:lnTo>
                  <a:lnTo>
                    <a:pt x="71" y="7"/>
                  </a:lnTo>
                  <a:lnTo>
                    <a:pt x="94" y="5"/>
                  </a:lnTo>
                  <a:lnTo>
                    <a:pt x="118" y="5"/>
                  </a:lnTo>
                  <a:lnTo>
                    <a:pt x="176" y="3"/>
                  </a:lnTo>
                  <a:lnTo>
                    <a:pt x="230" y="1"/>
                  </a:lnTo>
                  <a:lnTo>
                    <a:pt x="234" y="1"/>
                  </a:lnTo>
                  <a:lnTo>
                    <a:pt x="249" y="0"/>
                  </a:lnTo>
                  <a:lnTo>
                    <a:pt x="256" y="0"/>
                  </a:lnTo>
                  <a:lnTo>
                    <a:pt x="258" y="1"/>
                  </a:lnTo>
                  <a:lnTo>
                    <a:pt x="253" y="8"/>
                  </a:lnTo>
                  <a:lnTo>
                    <a:pt x="254" y="10"/>
                  </a:lnTo>
                  <a:lnTo>
                    <a:pt x="256" y="12"/>
                  </a:lnTo>
                  <a:lnTo>
                    <a:pt x="259" y="10"/>
                  </a:lnTo>
                  <a:lnTo>
                    <a:pt x="259" y="8"/>
                  </a:lnTo>
                  <a:lnTo>
                    <a:pt x="259" y="3"/>
                  </a:lnTo>
                  <a:lnTo>
                    <a:pt x="261" y="1"/>
                  </a:lnTo>
                  <a:lnTo>
                    <a:pt x="263" y="1"/>
                  </a:lnTo>
                  <a:lnTo>
                    <a:pt x="265" y="5"/>
                  </a:lnTo>
                  <a:lnTo>
                    <a:pt x="265" y="13"/>
                  </a:lnTo>
                  <a:lnTo>
                    <a:pt x="259" y="18"/>
                  </a:lnTo>
                  <a:lnTo>
                    <a:pt x="259" y="27"/>
                  </a:lnTo>
                  <a:lnTo>
                    <a:pt x="261" y="27"/>
                  </a:lnTo>
                  <a:lnTo>
                    <a:pt x="265" y="27"/>
                  </a:lnTo>
                  <a:lnTo>
                    <a:pt x="268" y="30"/>
                  </a:lnTo>
                  <a:lnTo>
                    <a:pt x="261" y="37"/>
                  </a:lnTo>
                  <a:lnTo>
                    <a:pt x="259" y="39"/>
                  </a:lnTo>
                  <a:lnTo>
                    <a:pt x="263" y="44"/>
                  </a:lnTo>
                  <a:lnTo>
                    <a:pt x="268" y="42"/>
                  </a:lnTo>
                  <a:lnTo>
                    <a:pt x="270" y="42"/>
                  </a:lnTo>
                  <a:lnTo>
                    <a:pt x="271" y="39"/>
                  </a:lnTo>
                  <a:lnTo>
                    <a:pt x="273" y="39"/>
                  </a:lnTo>
                  <a:lnTo>
                    <a:pt x="273" y="41"/>
                  </a:lnTo>
                  <a:lnTo>
                    <a:pt x="271" y="46"/>
                  </a:lnTo>
                  <a:lnTo>
                    <a:pt x="268" y="46"/>
                  </a:lnTo>
                  <a:lnTo>
                    <a:pt x="268" y="48"/>
                  </a:lnTo>
                  <a:lnTo>
                    <a:pt x="268" y="49"/>
                  </a:lnTo>
                  <a:lnTo>
                    <a:pt x="275" y="53"/>
                  </a:lnTo>
                  <a:lnTo>
                    <a:pt x="275" y="54"/>
                  </a:lnTo>
                  <a:lnTo>
                    <a:pt x="273" y="54"/>
                  </a:lnTo>
                  <a:lnTo>
                    <a:pt x="271" y="54"/>
                  </a:lnTo>
                  <a:lnTo>
                    <a:pt x="266" y="49"/>
                  </a:lnTo>
                  <a:lnTo>
                    <a:pt x="263" y="51"/>
                  </a:lnTo>
                  <a:lnTo>
                    <a:pt x="263" y="54"/>
                  </a:lnTo>
                  <a:lnTo>
                    <a:pt x="270" y="59"/>
                  </a:lnTo>
                  <a:lnTo>
                    <a:pt x="271" y="59"/>
                  </a:lnTo>
                  <a:lnTo>
                    <a:pt x="275" y="59"/>
                  </a:lnTo>
                  <a:lnTo>
                    <a:pt x="278" y="59"/>
                  </a:lnTo>
                  <a:lnTo>
                    <a:pt x="277" y="63"/>
                  </a:lnTo>
                  <a:lnTo>
                    <a:pt x="273" y="65"/>
                  </a:lnTo>
                  <a:lnTo>
                    <a:pt x="275" y="68"/>
                  </a:lnTo>
                  <a:lnTo>
                    <a:pt x="277" y="70"/>
                  </a:lnTo>
                  <a:lnTo>
                    <a:pt x="283" y="70"/>
                  </a:lnTo>
                  <a:lnTo>
                    <a:pt x="285" y="66"/>
                  </a:lnTo>
                  <a:lnTo>
                    <a:pt x="287" y="66"/>
                  </a:lnTo>
                  <a:lnTo>
                    <a:pt x="283" y="75"/>
                  </a:lnTo>
                  <a:lnTo>
                    <a:pt x="282" y="75"/>
                  </a:lnTo>
                  <a:lnTo>
                    <a:pt x="278" y="75"/>
                  </a:lnTo>
                  <a:lnTo>
                    <a:pt x="277" y="75"/>
                  </a:lnTo>
                  <a:lnTo>
                    <a:pt x="277" y="77"/>
                  </a:lnTo>
                  <a:lnTo>
                    <a:pt x="278" y="78"/>
                  </a:lnTo>
                  <a:lnTo>
                    <a:pt x="278" y="83"/>
                  </a:lnTo>
                  <a:lnTo>
                    <a:pt x="271" y="82"/>
                  </a:lnTo>
                  <a:lnTo>
                    <a:pt x="270" y="83"/>
                  </a:lnTo>
                  <a:lnTo>
                    <a:pt x="268" y="83"/>
                  </a:lnTo>
                  <a:lnTo>
                    <a:pt x="266" y="85"/>
                  </a:lnTo>
                  <a:lnTo>
                    <a:pt x="265" y="83"/>
                  </a:lnTo>
                  <a:lnTo>
                    <a:pt x="261" y="87"/>
                  </a:lnTo>
                  <a:lnTo>
                    <a:pt x="261" y="90"/>
                  </a:lnTo>
                  <a:lnTo>
                    <a:pt x="263" y="92"/>
                  </a:lnTo>
                  <a:lnTo>
                    <a:pt x="266" y="94"/>
                  </a:lnTo>
                  <a:lnTo>
                    <a:pt x="268" y="92"/>
                  </a:lnTo>
                  <a:lnTo>
                    <a:pt x="271" y="94"/>
                  </a:lnTo>
                  <a:lnTo>
                    <a:pt x="271" y="90"/>
                  </a:lnTo>
                  <a:lnTo>
                    <a:pt x="271" y="89"/>
                  </a:lnTo>
                  <a:lnTo>
                    <a:pt x="273" y="89"/>
                  </a:lnTo>
                  <a:lnTo>
                    <a:pt x="277" y="89"/>
                  </a:lnTo>
                  <a:lnTo>
                    <a:pt x="275" y="94"/>
                  </a:lnTo>
                  <a:lnTo>
                    <a:pt x="273" y="95"/>
                  </a:lnTo>
                  <a:lnTo>
                    <a:pt x="270" y="97"/>
                  </a:lnTo>
                  <a:lnTo>
                    <a:pt x="271" y="102"/>
                  </a:lnTo>
                  <a:lnTo>
                    <a:pt x="268" y="102"/>
                  </a:lnTo>
                  <a:lnTo>
                    <a:pt x="265" y="99"/>
                  </a:lnTo>
                  <a:lnTo>
                    <a:pt x="263" y="99"/>
                  </a:lnTo>
                  <a:lnTo>
                    <a:pt x="265" y="100"/>
                  </a:lnTo>
                  <a:lnTo>
                    <a:pt x="270" y="104"/>
                  </a:lnTo>
                  <a:lnTo>
                    <a:pt x="270" y="106"/>
                  </a:lnTo>
                  <a:lnTo>
                    <a:pt x="268" y="109"/>
                  </a:lnTo>
                  <a:lnTo>
                    <a:pt x="263" y="109"/>
                  </a:lnTo>
                  <a:lnTo>
                    <a:pt x="259" y="118"/>
                  </a:lnTo>
                  <a:lnTo>
                    <a:pt x="256" y="121"/>
                  </a:lnTo>
                  <a:lnTo>
                    <a:pt x="254" y="123"/>
                  </a:lnTo>
                  <a:lnTo>
                    <a:pt x="256" y="126"/>
                  </a:lnTo>
                  <a:lnTo>
                    <a:pt x="256" y="128"/>
                  </a:lnTo>
                  <a:lnTo>
                    <a:pt x="253" y="128"/>
                  </a:lnTo>
                  <a:lnTo>
                    <a:pt x="251" y="124"/>
                  </a:lnTo>
                  <a:lnTo>
                    <a:pt x="251" y="123"/>
                  </a:lnTo>
                  <a:lnTo>
                    <a:pt x="248" y="126"/>
                  </a:lnTo>
                  <a:lnTo>
                    <a:pt x="248" y="131"/>
                  </a:lnTo>
                  <a:lnTo>
                    <a:pt x="246" y="133"/>
                  </a:lnTo>
                  <a:lnTo>
                    <a:pt x="248" y="135"/>
                  </a:lnTo>
                  <a:lnTo>
                    <a:pt x="254" y="133"/>
                  </a:lnTo>
                  <a:lnTo>
                    <a:pt x="254" y="135"/>
                  </a:lnTo>
                  <a:lnTo>
                    <a:pt x="253" y="136"/>
                  </a:lnTo>
                  <a:lnTo>
                    <a:pt x="248" y="135"/>
                  </a:lnTo>
                  <a:lnTo>
                    <a:pt x="244" y="136"/>
                  </a:lnTo>
                  <a:lnTo>
                    <a:pt x="246" y="136"/>
                  </a:lnTo>
                  <a:lnTo>
                    <a:pt x="244" y="140"/>
                  </a:lnTo>
                  <a:lnTo>
                    <a:pt x="244" y="147"/>
                  </a:lnTo>
                  <a:lnTo>
                    <a:pt x="242" y="150"/>
                  </a:lnTo>
                  <a:lnTo>
                    <a:pt x="237" y="150"/>
                  </a:lnTo>
                  <a:lnTo>
                    <a:pt x="234" y="147"/>
                  </a:lnTo>
                  <a:lnTo>
                    <a:pt x="232" y="148"/>
                  </a:lnTo>
                  <a:lnTo>
                    <a:pt x="232" y="150"/>
                  </a:lnTo>
                  <a:lnTo>
                    <a:pt x="234" y="152"/>
                  </a:lnTo>
                  <a:lnTo>
                    <a:pt x="241" y="152"/>
                  </a:lnTo>
                  <a:lnTo>
                    <a:pt x="242" y="153"/>
                  </a:lnTo>
                  <a:lnTo>
                    <a:pt x="241" y="157"/>
                  </a:lnTo>
                  <a:lnTo>
                    <a:pt x="237" y="159"/>
                  </a:lnTo>
                  <a:lnTo>
                    <a:pt x="234" y="160"/>
                  </a:lnTo>
                  <a:lnTo>
                    <a:pt x="234" y="169"/>
                  </a:lnTo>
                  <a:lnTo>
                    <a:pt x="237" y="172"/>
                  </a:lnTo>
                  <a:lnTo>
                    <a:pt x="237" y="174"/>
                  </a:lnTo>
                  <a:lnTo>
                    <a:pt x="237" y="176"/>
                  </a:lnTo>
                  <a:lnTo>
                    <a:pt x="236" y="177"/>
                  </a:lnTo>
                  <a:lnTo>
                    <a:pt x="232" y="176"/>
                  </a:lnTo>
                  <a:lnTo>
                    <a:pt x="232" y="174"/>
                  </a:lnTo>
                  <a:lnTo>
                    <a:pt x="232" y="171"/>
                  </a:lnTo>
                  <a:lnTo>
                    <a:pt x="230" y="171"/>
                  </a:lnTo>
                  <a:lnTo>
                    <a:pt x="229" y="172"/>
                  </a:lnTo>
                  <a:lnTo>
                    <a:pt x="229" y="176"/>
                  </a:lnTo>
                  <a:lnTo>
                    <a:pt x="232" y="176"/>
                  </a:lnTo>
                  <a:lnTo>
                    <a:pt x="230" y="177"/>
                  </a:lnTo>
                  <a:lnTo>
                    <a:pt x="230" y="179"/>
                  </a:lnTo>
                  <a:lnTo>
                    <a:pt x="236" y="183"/>
                  </a:lnTo>
                  <a:lnTo>
                    <a:pt x="236" y="184"/>
                  </a:lnTo>
                  <a:lnTo>
                    <a:pt x="234" y="186"/>
                  </a:lnTo>
                  <a:lnTo>
                    <a:pt x="230" y="188"/>
                  </a:lnTo>
                  <a:lnTo>
                    <a:pt x="224" y="188"/>
                  </a:lnTo>
                  <a:lnTo>
                    <a:pt x="222" y="188"/>
                  </a:lnTo>
                  <a:lnTo>
                    <a:pt x="224" y="191"/>
                  </a:lnTo>
                  <a:lnTo>
                    <a:pt x="227" y="194"/>
                  </a:lnTo>
                  <a:lnTo>
                    <a:pt x="227" y="198"/>
                  </a:lnTo>
                  <a:lnTo>
                    <a:pt x="225" y="203"/>
                  </a:lnTo>
                  <a:lnTo>
                    <a:pt x="230" y="208"/>
                  </a:lnTo>
                  <a:lnTo>
                    <a:pt x="232" y="212"/>
                  </a:lnTo>
                  <a:lnTo>
                    <a:pt x="230" y="213"/>
                  </a:lnTo>
                  <a:lnTo>
                    <a:pt x="225" y="217"/>
                  </a:lnTo>
                  <a:lnTo>
                    <a:pt x="266" y="215"/>
                  </a:lnTo>
                  <a:lnTo>
                    <a:pt x="278" y="215"/>
                  </a:lnTo>
                  <a:lnTo>
                    <a:pt x="299" y="213"/>
                  </a:lnTo>
                  <a:lnTo>
                    <a:pt x="323" y="212"/>
                  </a:lnTo>
                  <a:lnTo>
                    <a:pt x="324" y="212"/>
                  </a:lnTo>
                  <a:lnTo>
                    <a:pt x="343" y="210"/>
                  </a:lnTo>
                  <a:lnTo>
                    <a:pt x="350" y="210"/>
                  </a:lnTo>
                  <a:lnTo>
                    <a:pt x="389" y="208"/>
                  </a:lnTo>
                  <a:lnTo>
                    <a:pt x="400" y="206"/>
                  </a:lnTo>
                  <a:lnTo>
                    <a:pt x="400" y="208"/>
                  </a:lnTo>
                  <a:lnTo>
                    <a:pt x="400" y="210"/>
                  </a:lnTo>
                  <a:lnTo>
                    <a:pt x="398" y="212"/>
                  </a:lnTo>
                  <a:lnTo>
                    <a:pt x="398" y="213"/>
                  </a:lnTo>
                  <a:lnTo>
                    <a:pt x="398" y="215"/>
                  </a:lnTo>
                  <a:lnTo>
                    <a:pt x="398" y="217"/>
                  </a:lnTo>
                  <a:lnTo>
                    <a:pt x="398" y="218"/>
                  </a:lnTo>
                  <a:lnTo>
                    <a:pt x="396" y="218"/>
                  </a:lnTo>
                  <a:lnTo>
                    <a:pt x="396" y="224"/>
                  </a:lnTo>
                  <a:lnTo>
                    <a:pt x="395" y="224"/>
                  </a:lnTo>
                  <a:lnTo>
                    <a:pt x="396" y="227"/>
                  </a:lnTo>
                  <a:lnTo>
                    <a:pt x="395" y="227"/>
                  </a:lnTo>
                  <a:lnTo>
                    <a:pt x="395" y="229"/>
                  </a:lnTo>
                  <a:lnTo>
                    <a:pt x="393" y="229"/>
                  </a:lnTo>
                  <a:lnTo>
                    <a:pt x="391" y="230"/>
                  </a:lnTo>
                  <a:lnTo>
                    <a:pt x="393" y="236"/>
                  </a:lnTo>
                  <a:lnTo>
                    <a:pt x="393" y="237"/>
                  </a:lnTo>
                  <a:lnTo>
                    <a:pt x="391" y="237"/>
                  </a:lnTo>
                  <a:lnTo>
                    <a:pt x="391" y="239"/>
                  </a:lnTo>
                  <a:lnTo>
                    <a:pt x="393" y="241"/>
                  </a:lnTo>
                  <a:lnTo>
                    <a:pt x="391" y="241"/>
                  </a:lnTo>
                  <a:lnTo>
                    <a:pt x="391" y="242"/>
                  </a:lnTo>
                  <a:lnTo>
                    <a:pt x="391" y="244"/>
                  </a:lnTo>
                  <a:lnTo>
                    <a:pt x="393" y="244"/>
                  </a:lnTo>
                  <a:lnTo>
                    <a:pt x="393" y="246"/>
                  </a:lnTo>
                  <a:lnTo>
                    <a:pt x="395" y="246"/>
                  </a:lnTo>
                  <a:lnTo>
                    <a:pt x="393" y="249"/>
                  </a:lnTo>
                  <a:lnTo>
                    <a:pt x="396" y="256"/>
                  </a:lnTo>
                  <a:lnTo>
                    <a:pt x="398" y="256"/>
                  </a:lnTo>
                  <a:lnTo>
                    <a:pt x="400" y="259"/>
                  </a:lnTo>
                  <a:lnTo>
                    <a:pt x="403" y="261"/>
                  </a:lnTo>
                  <a:lnTo>
                    <a:pt x="405" y="263"/>
                  </a:lnTo>
                  <a:lnTo>
                    <a:pt x="406" y="263"/>
                  </a:lnTo>
                  <a:lnTo>
                    <a:pt x="406" y="265"/>
                  </a:lnTo>
                  <a:lnTo>
                    <a:pt x="408" y="266"/>
                  </a:lnTo>
                  <a:lnTo>
                    <a:pt x="408" y="271"/>
                  </a:lnTo>
                  <a:lnTo>
                    <a:pt x="410" y="273"/>
                  </a:lnTo>
                  <a:lnTo>
                    <a:pt x="412" y="277"/>
                  </a:lnTo>
                  <a:lnTo>
                    <a:pt x="413" y="277"/>
                  </a:lnTo>
                  <a:lnTo>
                    <a:pt x="415" y="280"/>
                  </a:lnTo>
                  <a:lnTo>
                    <a:pt x="413" y="280"/>
                  </a:lnTo>
                  <a:lnTo>
                    <a:pt x="413" y="282"/>
                  </a:lnTo>
                  <a:lnTo>
                    <a:pt x="413" y="283"/>
                  </a:lnTo>
                  <a:lnTo>
                    <a:pt x="415" y="287"/>
                  </a:lnTo>
                  <a:lnTo>
                    <a:pt x="415" y="288"/>
                  </a:lnTo>
                  <a:lnTo>
                    <a:pt x="418" y="294"/>
                  </a:lnTo>
                  <a:lnTo>
                    <a:pt x="405" y="295"/>
                  </a:lnTo>
                  <a:lnTo>
                    <a:pt x="401" y="290"/>
                  </a:lnTo>
                  <a:lnTo>
                    <a:pt x="384" y="287"/>
                  </a:lnTo>
                  <a:lnTo>
                    <a:pt x="372" y="277"/>
                  </a:lnTo>
                  <a:lnTo>
                    <a:pt x="357" y="277"/>
                  </a:lnTo>
                  <a:lnTo>
                    <a:pt x="350" y="285"/>
                  </a:lnTo>
                  <a:lnTo>
                    <a:pt x="340" y="299"/>
                  </a:lnTo>
                  <a:lnTo>
                    <a:pt x="343" y="309"/>
                  </a:lnTo>
                  <a:lnTo>
                    <a:pt x="355" y="311"/>
                  </a:lnTo>
                  <a:lnTo>
                    <a:pt x="371" y="312"/>
                  </a:lnTo>
                  <a:lnTo>
                    <a:pt x="381" y="311"/>
                  </a:lnTo>
                  <a:lnTo>
                    <a:pt x="389" y="299"/>
                  </a:lnTo>
                  <a:lnTo>
                    <a:pt x="400" y="304"/>
                  </a:lnTo>
                  <a:lnTo>
                    <a:pt x="405" y="297"/>
                  </a:lnTo>
                  <a:lnTo>
                    <a:pt x="406" y="302"/>
                  </a:lnTo>
                  <a:lnTo>
                    <a:pt x="410" y="297"/>
                  </a:lnTo>
                  <a:lnTo>
                    <a:pt x="413" y="300"/>
                  </a:lnTo>
                  <a:lnTo>
                    <a:pt x="406" y="309"/>
                  </a:lnTo>
                  <a:lnTo>
                    <a:pt x="395" y="314"/>
                  </a:lnTo>
                  <a:lnTo>
                    <a:pt x="398" y="321"/>
                  </a:lnTo>
                  <a:lnTo>
                    <a:pt x="408" y="318"/>
                  </a:lnTo>
                  <a:lnTo>
                    <a:pt x="408" y="326"/>
                  </a:lnTo>
                  <a:lnTo>
                    <a:pt x="417" y="328"/>
                  </a:lnTo>
                  <a:lnTo>
                    <a:pt x="420" y="324"/>
                  </a:lnTo>
                  <a:lnTo>
                    <a:pt x="420" y="312"/>
                  </a:lnTo>
                  <a:lnTo>
                    <a:pt x="434" y="307"/>
                  </a:lnTo>
                  <a:lnTo>
                    <a:pt x="432" y="314"/>
                  </a:lnTo>
                  <a:lnTo>
                    <a:pt x="439" y="318"/>
                  </a:lnTo>
                  <a:lnTo>
                    <a:pt x="434" y="319"/>
                  </a:lnTo>
                  <a:lnTo>
                    <a:pt x="437" y="329"/>
                  </a:lnTo>
                  <a:lnTo>
                    <a:pt x="436" y="331"/>
                  </a:lnTo>
                  <a:lnTo>
                    <a:pt x="442" y="335"/>
                  </a:lnTo>
                  <a:lnTo>
                    <a:pt x="437" y="336"/>
                  </a:lnTo>
                  <a:lnTo>
                    <a:pt x="430" y="331"/>
                  </a:lnTo>
                  <a:lnTo>
                    <a:pt x="425" y="340"/>
                  </a:lnTo>
                  <a:lnTo>
                    <a:pt x="415" y="340"/>
                  </a:lnTo>
                  <a:lnTo>
                    <a:pt x="420" y="345"/>
                  </a:lnTo>
                  <a:lnTo>
                    <a:pt x="420" y="347"/>
                  </a:lnTo>
                  <a:lnTo>
                    <a:pt x="429" y="348"/>
                  </a:lnTo>
                  <a:lnTo>
                    <a:pt x="432" y="352"/>
                  </a:lnTo>
                  <a:lnTo>
                    <a:pt x="420" y="350"/>
                  </a:lnTo>
                  <a:lnTo>
                    <a:pt x="413" y="347"/>
                  </a:lnTo>
                  <a:lnTo>
                    <a:pt x="412" y="347"/>
                  </a:lnTo>
                  <a:lnTo>
                    <a:pt x="418" y="353"/>
                  </a:lnTo>
                  <a:lnTo>
                    <a:pt x="408" y="352"/>
                  </a:lnTo>
                  <a:lnTo>
                    <a:pt x="406" y="353"/>
                  </a:lnTo>
                  <a:lnTo>
                    <a:pt x="410" y="357"/>
                  </a:lnTo>
                  <a:lnTo>
                    <a:pt x="405" y="357"/>
                  </a:lnTo>
                  <a:lnTo>
                    <a:pt x="427" y="371"/>
                  </a:lnTo>
                  <a:lnTo>
                    <a:pt x="429" y="377"/>
                  </a:lnTo>
                  <a:lnTo>
                    <a:pt x="442" y="377"/>
                  </a:lnTo>
                  <a:lnTo>
                    <a:pt x="447" y="382"/>
                  </a:lnTo>
                  <a:lnTo>
                    <a:pt x="454" y="381"/>
                  </a:lnTo>
                  <a:lnTo>
                    <a:pt x="454" y="386"/>
                  </a:lnTo>
                  <a:lnTo>
                    <a:pt x="461" y="381"/>
                  </a:lnTo>
                  <a:lnTo>
                    <a:pt x="468" y="386"/>
                  </a:lnTo>
                  <a:lnTo>
                    <a:pt x="468" y="394"/>
                  </a:lnTo>
                  <a:lnTo>
                    <a:pt x="477" y="393"/>
                  </a:lnTo>
                  <a:lnTo>
                    <a:pt x="471" y="400"/>
                  </a:lnTo>
                  <a:lnTo>
                    <a:pt x="478" y="401"/>
                  </a:lnTo>
                  <a:lnTo>
                    <a:pt x="475" y="408"/>
                  </a:lnTo>
                  <a:lnTo>
                    <a:pt x="468" y="403"/>
                  </a:lnTo>
                  <a:lnTo>
                    <a:pt x="471" y="408"/>
                  </a:lnTo>
                  <a:lnTo>
                    <a:pt x="466" y="412"/>
                  </a:lnTo>
                  <a:lnTo>
                    <a:pt x="468" y="415"/>
                  </a:lnTo>
                  <a:lnTo>
                    <a:pt x="458" y="405"/>
                  </a:lnTo>
                  <a:lnTo>
                    <a:pt x="458" y="412"/>
                  </a:lnTo>
                  <a:lnTo>
                    <a:pt x="446" y="425"/>
                  </a:lnTo>
                  <a:lnTo>
                    <a:pt x="456" y="403"/>
                  </a:lnTo>
                  <a:lnTo>
                    <a:pt x="451" y="400"/>
                  </a:lnTo>
                  <a:lnTo>
                    <a:pt x="449" y="408"/>
                  </a:lnTo>
                  <a:lnTo>
                    <a:pt x="444" y="408"/>
                  </a:lnTo>
                  <a:lnTo>
                    <a:pt x="444" y="403"/>
                  </a:lnTo>
                  <a:lnTo>
                    <a:pt x="436" y="396"/>
                  </a:lnTo>
                  <a:lnTo>
                    <a:pt x="437" y="393"/>
                  </a:lnTo>
                  <a:lnTo>
                    <a:pt x="434" y="394"/>
                  </a:lnTo>
                  <a:lnTo>
                    <a:pt x="422" y="391"/>
                  </a:lnTo>
                  <a:lnTo>
                    <a:pt x="422" y="386"/>
                  </a:lnTo>
                  <a:lnTo>
                    <a:pt x="405" y="388"/>
                  </a:lnTo>
                  <a:lnTo>
                    <a:pt x="408" y="381"/>
                  </a:lnTo>
                  <a:lnTo>
                    <a:pt x="401" y="377"/>
                  </a:lnTo>
                  <a:lnTo>
                    <a:pt x="401" y="371"/>
                  </a:lnTo>
                  <a:lnTo>
                    <a:pt x="388" y="372"/>
                  </a:lnTo>
                  <a:lnTo>
                    <a:pt x="388" y="369"/>
                  </a:lnTo>
                  <a:lnTo>
                    <a:pt x="384" y="371"/>
                  </a:lnTo>
                  <a:lnTo>
                    <a:pt x="374" y="364"/>
                  </a:lnTo>
                  <a:lnTo>
                    <a:pt x="372" y="367"/>
                  </a:lnTo>
                  <a:lnTo>
                    <a:pt x="371" y="360"/>
                  </a:lnTo>
                  <a:lnTo>
                    <a:pt x="365" y="365"/>
                  </a:lnTo>
                  <a:lnTo>
                    <a:pt x="369" y="371"/>
                  </a:lnTo>
                  <a:lnTo>
                    <a:pt x="381" y="376"/>
                  </a:lnTo>
                  <a:lnTo>
                    <a:pt x="379" y="377"/>
                  </a:lnTo>
                  <a:lnTo>
                    <a:pt x="383" y="382"/>
                  </a:lnTo>
                  <a:lnTo>
                    <a:pt x="381" y="386"/>
                  </a:lnTo>
                  <a:lnTo>
                    <a:pt x="383" y="391"/>
                  </a:lnTo>
                  <a:lnTo>
                    <a:pt x="376" y="389"/>
                  </a:lnTo>
                  <a:lnTo>
                    <a:pt x="379" y="401"/>
                  </a:lnTo>
                  <a:lnTo>
                    <a:pt x="383" y="400"/>
                  </a:lnTo>
                  <a:lnTo>
                    <a:pt x="379" y="405"/>
                  </a:lnTo>
                  <a:lnTo>
                    <a:pt x="365" y="413"/>
                  </a:lnTo>
                  <a:lnTo>
                    <a:pt x="362" y="405"/>
                  </a:lnTo>
                  <a:lnTo>
                    <a:pt x="364" y="398"/>
                  </a:lnTo>
                  <a:lnTo>
                    <a:pt x="360" y="394"/>
                  </a:lnTo>
                  <a:lnTo>
                    <a:pt x="360" y="398"/>
                  </a:lnTo>
                  <a:lnTo>
                    <a:pt x="353" y="391"/>
                  </a:lnTo>
                  <a:lnTo>
                    <a:pt x="348" y="396"/>
                  </a:lnTo>
                  <a:lnTo>
                    <a:pt x="348" y="391"/>
                  </a:lnTo>
                  <a:lnTo>
                    <a:pt x="343" y="388"/>
                  </a:lnTo>
                  <a:lnTo>
                    <a:pt x="342" y="393"/>
                  </a:lnTo>
                  <a:lnTo>
                    <a:pt x="328" y="394"/>
                  </a:lnTo>
                  <a:lnTo>
                    <a:pt x="331" y="398"/>
                  </a:lnTo>
                  <a:lnTo>
                    <a:pt x="328" y="403"/>
                  </a:lnTo>
                  <a:lnTo>
                    <a:pt x="326" y="400"/>
                  </a:lnTo>
                  <a:lnTo>
                    <a:pt x="326" y="410"/>
                  </a:lnTo>
                  <a:lnTo>
                    <a:pt x="323" y="408"/>
                  </a:lnTo>
                  <a:lnTo>
                    <a:pt x="323" y="412"/>
                  </a:lnTo>
                  <a:lnTo>
                    <a:pt x="314" y="413"/>
                  </a:lnTo>
                  <a:lnTo>
                    <a:pt x="314" y="410"/>
                  </a:lnTo>
                  <a:lnTo>
                    <a:pt x="307" y="408"/>
                  </a:lnTo>
                  <a:lnTo>
                    <a:pt x="304" y="413"/>
                  </a:lnTo>
                  <a:lnTo>
                    <a:pt x="301" y="408"/>
                  </a:lnTo>
                  <a:lnTo>
                    <a:pt x="311" y="403"/>
                  </a:lnTo>
                  <a:lnTo>
                    <a:pt x="309" y="400"/>
                  </a:lnTo>
                  <a:lnTo>
                    <a:pt x="302" y="400"/>
                  </a:lnTo>
                  <a:lnTo>
                    <a:pt x="299" y="391"/>
                  </a:lnTo>
                  <a:lnTo>
                    <a:pt x="285" y="391"/>
                  </a:lnTo>
                  <a:lnTo>
                    <a:pt x="283" y="396"/>
                  </a:lnTo>
                  <a:lnTo>
                    <a:pt x="271" y="386"/>
                  </a:lnTo>
                  <a:lnTo>
                    <a:pt x="266" y="377"/>
                  </a:lnTo>
                  <a:lnTo>
                    <a:pt x="251" y="372"/>
                  </a:lnTo>
                  <a:lnTo>
                    <a:pt x="241" y="374"/>
                  </a:lnTo>
                  <a:lnTo>
                    <a:pt x="239" y="362"/>
                  </a:lnTo>
                  <a:lnTo>
                    <a:pt x="230" y="362"/>
                  </a:lnTo>
                  <a:lnTo>
                    <a:pt x="232" y="348"/>
                  </a:lnTo>
                  <a:lnTo>
                    <a:pt x="210" y="355"/>
                  </a:lnTo>
                  <a:lnTo>
                    <a:pt x="208" y="350"/>
                  </a:lnTo>
                  <a:lnTo>
                    <a:pt x="210" y="347"/>
                  </a:lnTo>
                  <a:lnTo>
                    <a:pt x="213" y="348"/>
                  </a:lnTo>
                  <a:lnTo>
                    <a:pt x="212" y="343"/>
                  </a:lnTo>
                  <a:lnTo>
                    <a:pt x="200" y="343"/>
                  </a:lnTo>
                  <a:lnTo>
                    <a:pt x="200" y="347"/>
                  </a:lnTo>
                  <a:lnTo>
                    <a:pt x="184" y="355"/>
                  </a:lnTo>
                  <a:lnTo>
                    <a:pt x="184" y="350"/>
                  </a:lnTo>
                  <a:lnTo>
                    <a:pt x="177" y="352"/>
                  </a:lnTo>
                  <a:lnTo>
                    <a:pt x="191" y="369"/>
                  </a:lnTo>
                  <a:lnTo>
                    <a:pt x="171" y="376"/>
                  </a:lnTo>
                  <a:lnTo>
                    <a:pt x="140" y="372"/>
                  </a:lnTo>
                  <a:lnTo>
                    <a:pt x="82" y="353"/>
                  </a:lnTo>
                  <a:lnTo>
                    <a:pt x="36" y="357"/>
                  </a:lnTo>
                  <a:lnTo>
                    <a:pt x="29" y="360"/>
                  </a:lnTo>
                  <a:lnTo>
                    <a:pt x="20" y="352"/>
                  </a:lnTo>
                  <a:lnTo>
                    <a:pt x="29" y="347"/>
                  </a:lnTo>
                  <a:lnTo>
                    <a:pt x="32" y="331"/>
                  </a:lnTo>
                  <a:lnTo>
                    <a:pt x="36" y="324"/>
                  </a:lnTo>
                  <a:lnTo>
                    <a:pt x="36" y="321"/>
                  </a:lnTo>
                  <a:lnTo>
                    <a:pt x="37" y="319"/>
                  </a:lnTo>
                  <a:lnTo>
                    <a:pt x="37" y="316"/>
                  </a:lnTo>
                  <a:lnTo>
                    <a:pt x="39" y="316"/>
                  </a:lnTo>
                  <a:lnTo>
                    <a:pt x="37" y="316"/>
                  </a:lnTo>
                  <a:lnTo>
                    <a:pt x="37" y="312"/>
                  </a:lnTo>
                  <a:lnTo>
                    <a:pt x="36" y="307"/>
                  </a:lnTo>
                  <a:lnTo>
                    <a:pt x="36" y="306"/>
                  </a:lnTo>
                  <a:close/>
                  <a:moveTo>
                    <a:pt x="196" y="369"/>
                  </a:moveTo>
                  <a:lnTo>
                    <a:pt x="207" y="364"/>
                  </a:lnTo>
                  <a:lnTo>
                    <a:pt x="218" y="371"/>
                  </a:lnTo>
                  <a:lnTo>
                    <a:pt x="225" y="371"/>
                  </a:lnTo>
                  <a:lnTo>
                    <a:pt x="220" y="376"/>
                  </a:lnTo>
                  <a:lnTo>
                    <a:pt x="220" y="379"/>
                  </a:lnTo>
                  <a:lnTo>
                    <a:pt x="212" y="381"/>
                  </a:lnTo>
                  <a:lnTo>
                    <a:pt x="196" y="369"/>
                  </a:lnTo>
                  <a:close/>
                  <a:moveTo>
                    <a:pt x="259" y="393"/>
                  </a:moveTo>
                  <a:lnTo>
                    <a:pt x="265" y="396"/>
                  </a:lnTo>
                  <a:lnTo>
                    <a:pt x="271" y="389"/>
                  </a:lnTo>
                  <a:lnTo>
                    <a:pt x="275" y="398"/>
                  </a:lnTo>
                  <a:lnTo>
                    <a:pt x="277" y="394"/>
                  </a:lnTo>
                  <a:lnTo>
                    <a:pt x="277" y="400"/>
                  </a:lnTo>
                  <a:lnTo>
                    <a:pt x="275" y="400"/>
                  </a:lnTo>
                  <a:lnTo>
                    <a:pt x="273" y="396"/>
                  </a:lnTo>
                  <a:lnTo>
                    <a:pt x="275" y="400"/>
                  </a:lnTo>
                  <a:lnTo>
                    <a:pt x="278" y="401"/>
                  </a:lnTo>
                  <a:lnTo>
                    <a:pt x="277" y="403"/>
                  </a:lnTo>
                  <a:lnTo>
                    <a:pt x="280" y="401"/>
                  </a:lnTo>
                  <a:lnTo>
                    <a:pt x="280" y="405"/>
                  </a:lnTo>
                  <a:lnTo>
                    <a:pt x="266" y="403"/>
                  </a:lnTo>
                  <a:lnTo>
                    <a:pt x="259" y="393"/>
                  </a:lnTo>
                  <a:close/>
                  <a:moveTo>
                    <a:pt x="299" y="400"/>
                  </a:moveTo>
                  <a:lnTo>
                    <a:pt x="295" y="403"/>
                  </a:lnTo>
                  <a:lnTo>
                    <a:pt x="297" y="400"/>
                  </a:lnTo>
                  <a:lnTo>
                    <a:pt x="294" y="400"/>
                  </a:lnTo>
                  <a:lnTo>
                    <a:pt x="295" y="405"/>
                  </a:lnTo>
                  <a:lnTo>
                    <a:pt x="297" y="405"/>
                  </a:lnTo>
                  <a:lnTo>
                    <a:pt x="297" y="408"/>
                  </a:lnTo>
                  <a:lnTo>
                    <a:pt x="292" y="408"/>
                  </a:lnTo>
                  <a:lnTo>
                    <a:pt x="294" y="405"/>
                  </a:lnTo>
                  <a:lnTo>
                    <a:pt x="289" y="406"/>
                  </a:lnTo>
                  <a:lnTo>
                    <a:pt x="289" y="400"/>
                  </a:lnTo>
                  <a:lnTo>
                    <a:pt x="287" y="401"/>
                  </a:lnTo>
                  <a:lnTo>
                    <a:pt x="289" y="408"/>
                  </a:lnTo>
                  <a:lnTo>
                    <a:pt x="282" y="405"/>
                  </a:lnTo>
                  <a:lnTo>
                    <a:pt x="280" y="398"/>
                  </a:lnTo>
                  <a:lnTo>
                    <a:pt x="292" y="396"/>
                  </a:lnTo>
                  <a:lnTo>
                    <a:pt x="292" y="394"/>
                  </a:lnTo>
                  <a:lnTo>
                    <a:pt x="299" y="400"/>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57" name="Freeform 53">
              <a:extLst>
                <a:ext uri="{FF2B5EF4-FFF2-40B4-BE49-F238E27FC236}">
                  <a16:creationId xmlns:a16="http://schemas.microsoft.com/office/drawing/2014/main" id="{86B2043F-5758-4AD2-BECF-41A2D46A4CD7}"/>
                </a:ext>
              </a:extLst>
            </p:cNvPr>
            <p:cNvSpPr>
              <a:spLocks noEditPoints="1"/>
            </p:cNvSpPr>
            <p:nvPr/>
          </p:nvSpPr>
          <p:spPr bwMode="gray">
            <a:xfrm>
              <a:off x="6503305" y="5021823"/>
              <a:ext cx="1241512" cy="962936"/>
            </a:xfrm>
            <a:custGeom>
              <a:avLst/>
              <a:gdLst/>
              <a:ahLst/>
              <a:cxnLst>
                <a:cxn ang="0">
                  <a:pos x="702" y="293"/>
                </a:cxn>
                <a:cxn ang="0">
                  <a:pos x="743" y="359"/>
                </a:cxn>
                <a:cxn ang="0">
                  <a:pos x="748" y="368"/>
                </a:cxn>
                <a:cxn ang="0">
                  <a:pos x="767" y="510"/>
                </a:cxn>
                <a:cxn ang="0">
                  <a:pos x="743" y="571"/>
                </a:cxn>
                <a:cxn ang="0">
                  <a:pos x="680" y="576"/>
                </a:cxn>
                <a:cxn ang="0">
                  <a:pos x="682" y="563"/>
                </a:cxn>
                <a:cxn ang="0">
                  <a:pos x="618" y="508"/>
                </a:cxn>
                <a:cxn ang="0">
                  <a:pos x="584" y="457"/>
                </a:cxn>
                <a:cxn ang="0">
                  <a:pos x="579" y="457"/>
                </a:cxn>
                <a:cxn ang="0">
                  <a:pos x="576" y="404"/>
                </a:cxn>
                <a:cxn ang="0">
                  <a:pos x="550" y="410"/>
                </a:cxn>
                <a:cxn ang="0">
                  <a:pos x="540" y="417"/>
                </a:cxn>
                <a:cxn ang="0">
                  <a:pos x="516" y="385"/>
                </a:cxn>
                <a:cxn ang="0">
                  <a:pos x="502" y="361"/>
                </a:cxn>
                <a:cxn ang="0">
                  <a:pos x="512" y="356"/>
                </a:cxn>
                <a:cxn ang="0">
                  <a:pos x="523" y="316"/>
                </a:cxn>
                <a:cxn ang="0">
                  <a:pos x="497" y="310"/>
                </a:cxn>
                <a:cxn ang="0">
                  <a:pos x="507" y="322"/>
                </a:cxn>
                <a:cxn ang="0">
                  <a:pos x="494" y="344"/>
                </a:cxn>
                <a:cxn ang="0">
                  <a:pos x="487" y="224"/>
                </a:cxn>
                <a:cxn ang="0">
                  <a:pos x="432" y="180"/>
                </a:cxn>
                <a:cxn ang="0">
                  <a:pos x="388" y="139"/>
                </a:cxn>
                <a:cxn ang="0">
                  <a:pos x="309" y="111"/>
                </a:cxn>
                <a:cxn ang="0">
                  <a:pos x="301" y="129"/>
                </a:cxn>
                <a:cxn ang="0">
                  <a:pos x="215" y="154"/>
                </a:cxn>
                <a:cxn ang="0">
                  <a:pos x="225" y="151"/>
                </a:cxn>
                <a:cxn ang="0">
                  <a:pos x="210" y="127"/>
                </a:cxn>
                <a:cxn ang="0">
                  <a:pos x="183" y="115"/>
                </a:cxn>
                <a:cxn ang="0">
                  <a:pos x="169" y="106"/>
                </a:cxn>
                <a:cxn ang="0">
                  <a:pos x="107" y="98"/>
                </a:cxn>
                <a:cxn ang="0">
                  <a:pos x="133" y="88"/>
                </a:cxn>
                <a:cxn ang="0">
                  <a:pos x="68" y="96"/>
                </a:cxn>
                <a:cxn ang="0">
                  <a:pos x="44" y="88"/>
                </a:cxn>
                <a:cxn ang="0">
                  <a:pos x="29" y="101"/>
                </a:cxn>
                <a:cxn ang="0">
                  <a:pos x="20" y="76"/>
                </a:cxn>
                <a:cxn ang="0">
                  <a:pos x="3" y="50"/>
                </a:cxn>
                <a:cxn ang="0">
                  <a:pos x="131" y="33"/>
                </a:cxn>
                <a:cxn ang="0">
                  <a:pos x="241" y="24"/>
                </a:cxn>
                <a:cxn ang="0">
                  <a:pos x="249" y="45"/>
                </a:cxn>
                <a:cxn ang="0">
                  <a:pos x="328" y="45"/>
                </a:cxn>
                <a:cxn ang="0">
                  <a:pos x="413" y="40"/>
                </a:cxn>
                <a:cxn ang="0">
                  <a:pos x="497" y="38"/>
                </a:cxn>
                <a:cxn ang="0">
                  <a:pos x="516" y="52"/>
                </a:cxn>
                <a:cxn ang="0">
                  <a:pos x="516" y="28"/>
                </a:cxn>
                <a:cxn ang="0">
                  <a:pos x="518" y="5"/>
                </a:cxn>
                <a:cxn ang="0">
                  <a:pos x="533" y="4"/>
                </a:cxn>
                <a:cxn ang="0">
                  <a:pos x="550" y="7"/>
                </a:cxn>
                <a:cxn ang="0">
                  <a:pos x="562" y="24"/>
                </a:cxn>
                <a:cxn ang="0">
                  <a:pos x="593" y="99"/>
                </a:cxn>
                <a:cxn ang="0">
                  <a:pos x="77" y="103"/>
                </a:cxn>
                <a:cxn ang="0">
                  <a:pos x="85" y="101"/>
                </a:cxn>
                <a:cxn ang="0">
                  <a:pos x="36" y="113"/>
                </a:cxn>
                <a:cxn ang="0">
                  <a:pos x="665" y="200"/>
                </a:cxn>
                <a:cxn ang="0">
                  <a:pos x="649" y="180"/>
                </a:cxn>
                <a:cxn ang="0">
                  <a:pos x="682" y="238"/>
                </a:cxn>
                <a:cxn ang="0">
                  <a:pos x="661" y="211"/>
                </a:cxn>
                <a:cxn ang="0">
                  <a:pos x="675" y="219"/>
                </a:cxn>
                <a:cxn ang="0">
                  <a:pos x="671" y="221"/>
                </a:cxn>
                <a:cxn ang="0">
                  <a:pos x="567" y="441"/>
                </a:cxn>
                <a:cxn ang="0">
                  <a:pos x="764" y="563"/>
                </a:cxn>
              </a:cxnLst>
              <a:rect l="0" t="0" r="r" b="b"/>
              <a:pathLst>
                <a:path w="771" h="598">
                  <a:moveTo>
                    <a:pt x="659" y="200"/>
                  </a:moveTo>
                  <a:lnTo>
                    <a:pt x="663" y="205"/>
                  </a:lnTo>
                  <a:lnTo>
                    <a:pt x="654" y="202"/>
                  </a:lnTo>
                  <a:lnTo>
                    <a:pt x="653" y="202"/>
                  </a:lnTo>
                  <a:lnTo>
                    <a:pt x="670" y="241"/>
                  </a:lnTo>
                  <a:lnTo>
                    <a:pt x="702" y="293"/>
                  </a:lnTo>
                  <a:lnTo>
                    <a:pt x="702" y="298"/>
                  </a:lnTo>
                  <a:lnTo>
                    <a:pt x="704" y="296"/>
                  </a:lnTo>
                  <a:lnTo>
                    <a:pt x="714" y="310"/>
                  </a:lnTo>
                  <a:lnTo>
                    <a:pt x="721" y="323"/>
                  </a:lnTo>
                  <a:lnTo>
                    <a:pt x="736" y="352"/>
                  </a:lnTo>
                  <a:lnTo>
                    <a:pt x="743" y="359"/>
                  </a:lnTo>
                  <a:lnTo>
                    <a:pt x="740" y="358"/>
                  </a:lnTo>
                  <a:lnTo>
                    <a:pt x="733" y="356"/>
                  </a:lnTo>
                  <a:lnTo>
                    <a:pt x="730" y="356"/>
                  </a:lnTo>
                  <a:lnTo>
                    <a:pt x="733" y="359"/>
                  </a:lnTo>
                  <a:lnTo>
                    <a:pt x="740" y="359"/>
                  </a:lnTo>
                  <a:lnTo>
                    <a:pt x="748" y="368"/>
                  </a:lnTo>
                  <a:lnTo>
                    <a:pt x="757" y="380"/>
                  </a:lnTo>
                  <a:lnTo>
                    <a:pt x="753" y="381"/>
                  </a:lnTo>
                  <a:lnTo>
                    <a:pt x="764" y="399"/>
                  </a:lnTo>
                  <a:lnTo>
                    <a:pt x="769" y="448"/>
                  </a:lnTo>
                  <a:lnTo>
                    <a:pt x="771" y="486"/>
                  </a:lnTo>
                  <a:lnTo>
                    <a:pt x="767" y="510"/>
                  </a:lnTo>
                  <a:lnTo>
                    <a:pt x="760" y="527"/>
                  </a:lnTo>
                  <a:lnTo>
                    <a:pt x="759" y="539"/>
                  </a:lnTo>
                  <a:lnTo>
                    <a:pt x="764" y="549"/>
                  </a:lnTo>
                  <a:lnTo>
                    <a:pt x="755" y="566"/>
                  </a:lnTo>
                  <a:lnTo>
                    <a:pt x="755" y="571"/>
                  </a:lnTo>
                  <a:lnTo>
                    <a:pt x="743" y="571"/>
                  </a:lnTo>
                  <a:lnTo>
                    <a:pt x="730" y="580"/>
                  </a:lnTo>
                  <a:lnTo>
                    <a:pt x="714" y="580"/>
                  </a:lnTo>
                  <a:lnTo>
                    <a:pt x="702" y="587"/>
                  </a:lnTo>
                  <a:lnTo>
                    <a:pt x="689" y="588"/>
                  </a:lnTo>
                  <a:lnTo>
                    <a:pt x="685" y="587"/>
                  </a:lnTo>
                  <a:lnTo>
                    <a:pt x="680" y="576"/>
                  </a:lnTo>
                  <a:lnTo>
                    <a:pt x="683" y="569"/>
                  </a:lnTo>
                  <a:lnTo>
                    <a:pt x="699" y="578"/>
                  </a:lnTo>
                  <a:lnTo>
                    <a:pt x="704" y="580"/>
                  </a:lnTo>
                  <a:lnTo>
                    <a:pt x="707" y="575"/>
                  </a:lnTo>
                  <a:lnTo>
                    <a:pt x="700" y="568"/>
                  </a:lnTo>
                  <a:lnTo>
                    <a:pt x="682" y="563"/>
                  </a:lnTo>
                  <a:lnTo>
                    <a:pt x="666" y="534"/>
                  </a:lnTo>
                  <a:lnTo>
                    <a:pt x="671" y="530"/>
                  </a:lnTo>
                  <a:lnTo>
                    <a:pt x="665" y="522"/>
                  </a:lnTo>
                  <a:lnTo>
                    <a:pt x="636" y="513"/>
                  </a:lnTo>
                  <a:lnTo>
                    <a:pt x="618" y="515"/>
                  </a:lnTo>
                  <a:lnTo>
                    <a:pt x="618" y="508"/>
                  </a:lnTo>
                  <a:lnTo>
                    <a:pt x="608" y="496"/>
                  </a:lnTo>
                  <a:lnTo>
                    <a:pt x="603" y="479"/>
                  </a:lnTo>
                  <a:lnTo>
                    <a:pt x="600" y="474"/>
                  </a:lnTo>
                  <a:lnTo>
                    <a:pt x="596" y="463"/>
                  </a:lnTo>
                  <a:lnTo>
                    <a:pt x="588" y="462"/>
                  </a:lnTo>
                  <a:lnTo>
                    <a:pt x="584" y="457"/>
                  </a:lnTo>
                  <a:lnTo>
                    <a:pt x="588" y="455"/>
                  </a:lnTo>
                  <a:lnTo>
                    <a:pt x="591" y="443"/>
                  </a:lnTo>
                  <a:lnTo>
                    <a:pt x="600" y="434"/>
                  </a:lnTo>
                  <a:lnTo>
                    <a:pt x="589" y="440"/>
                  </a:lnTo>
                  <a:lnTo>
                    <a:pt x="586" y="453"/>
                  </a:lnTo>
                  <a:lnTo>
                    <a:pt x="579" y="457"/>
                  </a:lnTo>
                  <a:lnTo>
                    <a:pt x="571" y="438"/>
                  </a:lnTo>
                  <a:lnTo>
                    <a:pt x="571" y="433"/>
                  </a:lnTo>
                  <a:lnTo>
                    <a:pt x="571" y="421"/>
                  </a:lnTo>
                  <a:lnTo>
                    <a:pt x="565" y="416"/>
                  </a:lnTo>
                  <a:lnTo>
                    <a:pt x="576" y="410"/>
                  </a:lnTo>
                  <a:lnTo>
                    <a:pt x="576" y="404"/>
                  </a:lnTo>
                  <a:lnTo>
                    <a:pt x="574" y="404"/>
                  </a:lnTo>
                  <a:lnTo>
                    <a:pt x="574" y="409"/>
                  </a:lnTo>
                  <a:lnTo>
                    <a:pt x="560" y="416"/>
                  </a:lnTo>
                  <a:lnTo>
                    <a:pt x="550" y="410"/>
                  </a:lnTo>
                  <a:lnTo>
                    <a:pt x="547" y="407"/>
                  </a:lnTo>
                  <a:lnTo>
                    <a:pt x="550" y="410"/>
                  </a:lnTo>
                  <a:lnTo>
                    <a:pt x="559" y="417"/>
                  </a:lnTo>
                  <a:lnTo>
                    <a:pt x="562" y="431"/>
                  </a:lnTo>
                  <a:lnTo>
                    <a:pt x="548" y="426"/>
                  </a:lnTo>
                  <a:lnTo>
                    <a:pt x="542" y="417"/>
                  </a:lnTo>
                  <a:lnTo>
                    <a:pt x="536" y="412"/>
                  </a:lnTo>
                  <a:lnTo>
                    <a:pt x="540" y="417"/>
                  </a:lnTo>
                  <a:lnTo>
                    <a:pt x="543" y="421"/>
                  </a:lnTo>
                  <a:lnTo>
                    <a:pt x="538" y="417"/>
                  </a:lnTo>
                  <a:lnTo>
                    <a:pt x="523" y="388"/>
                  </a:lnTo>
                  <a:lnTo>
                    <a:pt x="519" y="387"/>
                  </a:lnTo>
                  <a:lnTo>
                    <a:pt x="523" y="392"/>
                  </a:lnTo>
                  <a:lnTo>
                    <a:pt x="516" y="385"/>
                  </a:lnTo>
                  <a:lnTo>
                    <a:pt x="519" y="380"/>
                  </a:lnTo>
                  <a:lnTo>
                    <a:pt x="514" y="373"/>
                  </a:lnTo>
                  <a:lnTo>
                    <a:pt x="502" y="366"/>
                  </a:lnTo>
                  <a:lnTo>
                    <a:pt x="506" y="363"/>
                  </a:lnTo>
                  <a:lnTo>
                    <a:pt x="504" y="364"/>
                  </a:lnTo>
                  <a:lnTo>
                    <a:pt x="502" y="361"/>
                  </a:lnTo>
                  <a:lnTo>
                    <a:pt x="521" y="363"/>
                  </a:lnTo>
                  <a:lnTo>
                    <a:pt x="518" y="359"/>
                  </a:lnTo>
                  <a:lnTo>
                    <a:pt x="526" y="358"/>
                  </a:lnTo>
                  <a:lnTo>
                    <a:pt x="512" y="361"/>
                  </a:lnTo>
                  <a:lnTo>
                    <a:pt x="506" y="359"/>
                  </a:lnTo>
                  <a:lnTo>
                    <a:pt x="512" y="356"/>
                  </a:lnTo>
                  <a:lnTo>
                    <a:pt x="512" y="352"/>
                  </a:lnTo>
                  <a:lnTo>
                    <a:pt x="506" y="358"/>
                  </a:lnTo>
                  <a:lnTo>
                    <a:pt x="514" y="351"/>
                  </a:lnTo>
                  <a:lnTo>
                    <a:pt x="512" y="346"/>
                  </a:lnTo>
                  <a:lnTo>
                    <a:pt x="524" y="328"/>
                  </a:lnTo>
                  <a:lnTo>
                    <a:pt x="523" y="316"/>
                  </a:lnTo>
                  <a:lnTo>
                    <a:pt x="516" y="315"/>
                  </a:lnTo>
                  <a:lnTo>
                    <a:pt x="516" y="327"/>
                  </a:lnTo>
                  <a:lnTo>
                    <a:pt x="512" y="327"/>
                  </a:lnTo>
                  <a:lnTo>
                    <a:pt x="509" y="315"/>
                  </a:lnTo>
                  <a:lnTo>
                    <a:pt x="497" y="306"/>
                  </a:lnTo>
                  <a:lnTo>
                    <a:pt x="497" y="310"/>
                  </a:lnTo>
                  <a:lnTo>
                    <a:pt x="492" y="306"/>
                  </a:lnTo>
                  <a:lnTo>
                    <a:pt x="495" y="310"/>
                  </a:lnTo>
                  <a:lnTo>
                    <a:pt x="494" y="313"/>
                  </a:lnTo>
                  <a:lnTo>
                    <a:pt x="499" y="313"/>
                  </a:lnTo>
                  <a:lnTo>
                    <a:pt x="492" y="318"/>
                  </a:lnTo>
                  <a:lnTo>
                    <a:pt x="507" y="322"/>
                  </a:lnTo>
                  <a:lnTo>
                    <a:pt x="502" y="325"/>
                  </a:lnTo>
                  <a:lnTo>
                    <a:pt x="502" y="340"/>
                  </a:lnTo>
                  <a:lnTo>
                    <a:pt x="499" y="342"/>
                  </a:lnTo>
                  <a:lnTo>
                    <a:pt x="487" y="330"/>
                  </a:lnTo>
                  <a:lnTo>
                    <a:pt x="494" y="340"/>
                  </a:lnTo>
                  <a:lnTo>
                    <a:pt x="494" y="344"/>
                  </a:lnTo>
                  <a:lnTo>
                    <a:pt x="482" y="328"/>
                  </a:lnTo>
                  <a:lnTo>
                    <a:pt x="483" y="294"/>
                  </a:lnTo>
                  <a:lnTo>
                    <a:pt x="489" y="265"/>
                  </a:lnTo>
                  <a:lnTo>
                    <a:pt x="489" y="236"/>
                  </a:lnTo>
                  <a:lnTo>
                    <a:pt x="482" y="226"/>
                  </a:lnTo>
                  <a:lnTo>
                    <a:pt x="487" y="224"/>
                  </a:lnTo>
                  <a:lnTo>
                    <a:pt x="485" y="217"/>
                  </a:lnTo>
                  <a:lnTo>
                    <a:pt x="473" y="205"/>
                  </a:lnTo>
                  <a:lnTo>
                    <a:pt x="466" y="190"/>
                  </a:lnTo>
                  <a:lnTo>
                    <a:pt x="444" y="190"/>
                  </a:lnTo>
                  <a:lnTo>
                    <a:pt x="439" y="181"/>
                  </a:lnTo>
                  <a:lnTo>
                    <a:pt x="432" y="180"/>
                  </a:lnTo>
                  <a:lnTo>
                    <a:pt x="436" y="176"/>
                  </a:lnTo>
                  <a:lnTo>
                    <a:pt x="429" y="175"/>
                  </a:lnTo>
                  <a:lnTo>
                    <a:pt x="422" y="166"/>
                  </a:lnTo>
                  <a:lnTo>
                    <a:pt x="407" y="159"/>
                  </a:lnTo>
                  <a:lnTo>
                    <a:pt x="403" y="144"/>
                  </a:lnTo>
                  <a:lnTo>
                    <a:pt x="388" y="139"/>
                  </a:lnTo>
                  <a:lnTo>
                    <a:pt x="376" y="122"/>
                  </a:lnTo>
                  <a:lnTo>
                    <a:pt x="345" y="106"/>
                  </a:lnTo>
                  <a:lnTo>
                    <a:pt x="335" y="106"/>
                  </a:lnTo>
                  <a:lnTo>
                    <a:pt x="328" y="108"/>
                  </a:lnTo>
                  <a:lnTo>
                    <a:pt x="321" y="106"/>
                  </a:lnTo>
                  <a:lnTo>
                    <a:pt x="309" y="111"/>
                  </a:lnTo>
                  <a:lnTo>
                    <a:pt x="311" y="122"/>
                  </a:lnTo>
                  <a:lnTo>
                    <a:pt x="302" y="122"/>
                  </a:lnTo>
                  <a:lnTo>
                    <a:pt x="304" y="125"/>
                  </a:lnTo>
                  <a:lnTo>
                    <a:pt x="313" y="125"/>
                  </a:lnTo>
                  <a:lnTo>
                    <a:pt x="313" y="129"/>
                  </a:lnTo>
                  <a:lnTo>
                    <a:pt x="301" y="129"/>
                  </a:lnTo>
                  <a:lnTo>
                    <a:pt x="266" y="152"/>
                  </a:lnTo>
                  <a:lnTo>
                    <a:pt x="260" y="149"/>
                  </a:lnTo>
                  <a:lnTo>
                    <a:pt x="256" y="156"/>
                  </a:lnTo>
                  <a:lnTo>
                    <a:pt x="234" y="161"/>
                  </a:lnTo>
                  <a:lnTo>
                    <a:pt x="220" y="164"/>
                  </a:lnTo>
                  <a:lnTo>
                    <a:pt x="215" y="154"/>
                  </a:lnTo>
                  <a:lnTo>
                    <a:pt x="215" y="146"/>
                  </a:lnTo>
                  <a:lnTo>
                    <a:pt x="217" y="144"/>
                  </a:lnTo>
                  <a:lnTo>
                    <a:pt x="217" y="152"/>
                  </a:lnTo>
                  <a:lnTo>
                    <a:pt x="222" y="163"/>
                  </a:lnTo>
                  <a:lnTo>
                    <a:pt x="225" y="161"/>
                  </a:lnTo>
                  <a:lnTo>
                    <a:pt x="225" y="151"/>
                  </a:lnTo>
                  <a:lnTo>
                    <a:pt x="217" y="139"/>
                  </a:lnTo>
                  <a:lnTo>
                    <a:pt x="191" y="123"/>
                  </a:lnTo>
                  <a:lnTo>
                    <a:pt x="198" y="122"/>
                  </a:lnTo>
                  <a:lnTo>
                    <a:pt x="207" y="129"/>
                  </a:lnTo>
                  <a:lnTo>
                    <a:pt x="212" y="129"/>
                  </a:lnTo>
                  <a:lnTo>
                    <a:pt x="210" y="127"/>
                  </a:lnTo>
                  <a:lnTo>
                    <a:pt x="215" y="129"/>
                  </a:lnTo>
                  <a:lnTo>
                    <a:pt x="215" y="127"/>
                  </a:lnTo>
                  <a:lnTo>
                    <a:pt x="213" y="125"/>
                  </a:lnTo>
                  <a:lnTo>
                    <a:pt x="208" y="127"/>
                  </a:lnTo>
                  <a:lnTo>
                    <a:pt x="200" y="118"/>
                  </a:lnTo>
                  <a:lnTo>
                    <a:pt x="183" y="115"/>
                  </a:lnTo>
                  <a:lnTo>
                    <a:pt x="186" y="106"/>
                  </a:lnTo>
                  <a:lnTo>
                    <a:pt x="193" y="106"/>
                  </a:lnTo>
                  <a:lnTo>
                    <a:pt x="195" y="99"/>
                  </a:lnTo>
                  <a:lnTo>
                    <a:pt x="181" y="106"/>
                  </a:lnTo>
                  <a:lnTo>
                    <a:pt x="178" y="103"/>
                  </a:lnTo>
                  <a:lnTo>
                    <a:pt x="169" y="106"/>
                  </a:lnTo>
                  <a:lnTo>
                    <a:pt x="172" y="110"/>
                  </a:lnTo>
                  <a:lnTo>
                    <a:pt x="178" y="110"/>
                  </a:lnTo>
                  <a:lnTo>
                    <a:pt x="183" y="120"/>
                  </a:lnTo>
                  <a:lnTo>
                    <a:pt x="157" y="108"/>
                  </a:lnTo>
                  <a:lnTo>
                    <a:pt x="118" y="99"/>
                  </a:lnTo>
                  <a:lnTo>
                    <a:pt x="107" y="98"/>
                  </a:lnTo>
                  <a:lnTo>
                    <a:pt x="118" y="98"/>
                  </a:lnTo>
                  <a:lnTo>
                    <a:pt x="131" y="96"/>
                  </a:lnTo>
                  <a:lnTo>
                    <a:pt x="131" y="94"/>
                  </a:lnTo>
                  <a:lnTo>
                    <a:pt x="143" y="98"/>
                  </a:lnTo>
                  <a:lnTo>
                    <a:pt x="142" y="93"/>
                  </a:lnTo>
                  <a:lnTo>
                    <a:pt x="133" y="88"/>
                  </a:lnTo>
                  <a:lnTo>
                    <a:pt x="118" y="91"/>
                  </a:lnTo>
                  <a:lnTo>
                    <a:pt x="111" y="88"/>
                  </a:lnTo>
                  <a:lnTo>
                    <a:pt x="97" y="98"/>
                  </a:lnTo>
                  <a:lnTo>
                    <a:pt x="82" y="99"/>
                  </a:lnTo>
                  <a:lnTo>
                    <a:pt x="44" y="110"/>
                  </a:lnTo>
                  <a:lnTo>
                    <a:pt x="68" y="96"/>
                  </a:lnTo>
                  <a:lnTo>
                    <a:pt x="60" y="91"/>
                  </a:lnTo>
                  <a:lnTo>
                    <a:pt x="61" y="82"/>
                  </a:lnTo>
                  <a:lnTo>
                    <a:pt x="58" y="84"/>
                  </a:lnTo>
                  <a:lnTo>
                    <a:pt x="54" y="99"/>
                  </a:lnTo>
                  <a:lnTo>
                    <a:pt x="49" y="88"/>
                  </a:lnTo>
                  <a:lnTo>
                    <a:pt x="44" y="88"/>
                  </a:lnTo>
                  <a:lnTo>
                    <a:pt x="46" y="98"/>
                  </a:lnTo>
                  <a:lnTo>
                    <a:pt x="37" y="110"/>
                  </a:lnTo>
                  <a:lnTo>
                    <a:pt x="24" y="115"/>
                  </a:lnTo>
                  <a:lnTo>
                    <a:pt x="24" y="106"/>
                  </a:lnTo>
                  <a:lnTo>
                    <a:pt x="31" y="103"/>
                  </a:lnTo>
                  <a:lnTo>
                    <a:pt x="29" y="101"/>
                  </a:lnTo>
                  <a:lnTo>
                    <a:pt x="22" y="98"/>
                  </a:lnTo>
                  <a:lnTo>
                    <a:pt x="20" y="93"/>
                  </a:lnTo>
                  <a:lnTo>
                    <a:pt x="22" y="91"/>
                  </a:lnTo>
                  <a:lnTo>
                    <a:pt x="24" y="84"/>
                  </a:lnTo>
                  <a:lnTo>
                    <a:pt x="22" y="79"/>
                  </a:lnTo>
                  <a:lnTo>
                    <a:pt x="20" y="76"/>
                  </a:lnTo>
                  <a:lnTo>
                    <a:pt x="17" y="76"/>
                  </a:lnTo>
                  <a:lnTo>
                    <a:pt x="10" y="70"/>
                  </a:lnTo>
                  <a:lnTo>
                    <a:pt x="8" y="67"/>
                  </a:lnTo>
                  <a:lnTo>
                    <a:pt x="1" y="60"/>
                  </a:lnTo>
                  <a:lnTo>
                    <a:pt x="0" y="58"/>
                  </a:lnTo>
                  <a:lnTo>
                    <a:pt x="3" y="50"/>
                  </a:lnTo>
                  <a:lnTo>
                    <a:pt x="1" y="45"/>
                  </a:lnTo>
                  <a:lnTo>
                    <a:pt x="41" y="41"/>
                  </a:lnTo>
                  <a:lnTo>
                    <a:pt x="77" y="38"/>
                  </a:lnTo>
                  <a:lnTo>
                    <a:pt x="84" y="38"/>
                  </a:lnTo>
                  <a:lnTo>
                    <a:pt x="113" y="35"/>
                  </a:lnTo>
                  <a:lnTo>
                    <a:pt x="131" y="33"/>
                  </a:lnTo>
                  <a:lnTo>
                    <a:pt x="145" y="31"/>
                  </a:lnTo>
                  <a:lnTo>
                    <a:pt x="195" y="26"/>
                  </a:lnTo>
                  <a:lnTo>
                    <a:pt x="195" y="26"/>
                  </a:lnTo>
                  <a:lnTo>
                    <a:pt x="239" y="21"/>
                  </a:lnTo>
                  <a:lnTo>
                    <a:pt x="239" y="23"/>
                  </a:lnTo>
                  <a:lnTo>
                    <a:pt x="241" y="24"/>
                  </a:lnTo>
                  <a:lnTo>
                    <a:pt x="242" y="28"/>
                  </a:lnTo>
                  <a:lnTo>
                    <a:pt x="246" y="31"/>
                  </a:lnTo>
                  <a:lnTo>
                    <a:pt x="248" y="36"/>
                  </a:lnTo>
                  <a:lnTo>
                    <a:pt x="248" y="41"/>
                  </a:lnTo>
                  <a:lnTo>
                    <a:pt x="248" y="43"/>
                  </a:lnTo>
                  <a:lnTo>
                    <a:pt x="249" y="45"/>
                  </a:lnTo>
                  <a:lnTo>
                    <a:pt x="253" y="46"/>
                  </a:lnTo>
                  <a:lnTo>
                    <a:pt x="254" y="50"/>
                  </a:lnTo>
                  <a:lnTo>
                    <a:pt x="254" y="50"/>
                  </a:lnTo>
                  <a:lnTo>
                    <a:pt x="299" y="46"/>
                  </a:lnTo>
                  <a:lnTo>
                    <a:pt x="307" y="45"/>
                  </a:lnTo>
                  <a:lnTo>
                    <a:pt x="328" y="45"/>
                  </a:lnTo>
                  <a:lnTo>
                    <a:pt x="335" y="43"/>
                  </a:lnTo>
                  <a:lnTo>
                    <a:pt x="359" y="43"/>
                  </a:lnTo>
                  <a:lnTo>
                    <a:pt x="371" y="41"/>
                  </a:lnTo>
                  <a:lnTo>
                    <a:pt x="398" y="40"/>
                  </a:lnTo>
                  <a:lnTo>
                    <a:pt x="398" y="40"/>
                  </a:lnTo>
                  <a:lnTo>
                    <a:pt x="413" y="40"/>
                  </a:lnTo>
                  <a:lnTo>
                    <a:pt x="454" y="36"/>
                  </a:lnTo>
                  <a:lnTo>
                    <a:pt x="465" y="36"/>
                  </a:lnTo>
                  <a:lnTo>
                    <a:pt x="477" y="35"/>
                  </a:lnTo>
                  <a:lnTo>
                    <a:pt x="480" y="35"/>
                  </a:lnTo>
                  <a:lnTo>
                    <a:pt x="499" y="33"/>
                  </a:lnTo>
                  <a:lnTo>
                    <a:pt x="497" y="38"/>
                  </a:lnTo>
                  <a:lnTo>
                    <a:pt x="499" y="40"/>
                  </a:lnTo>
                  <a:lnTo>
                    <a:pt x="502" y="41"/>
                  </a:lnTo>
                  <a:lnTo>
                    <a:pt x="502" y="48"/>
                  </a:lnTo>
                  <a:lnTo>
                    <a:pt x="506" y="53"/>
                  </a:lnTo>
                  <a:lnTo>
                    <a:pt x="507" y="53"/>
                  </a:lnTo>
                  <a:lnTo>
                    <a:pt x="516" y="52"/>
                  </a:lnTo>
                  <a:lnTo>
                    <a:pt x="518" y="50"/>
                  </a:lnTo>
                  <a:lnTo>
                    <a:pt x="516" y="45"/>
                  </a:lnTo>
                  <a:lnTo>
                    <a:pt x="518" y="43"/>
                  </a:lnTo>
                  <a:lnTo>
                    <a:pt x="518" y="40"/>
                  </a:lnTo>
                  <a:lnTo>
                    <a:pt x="518" y="29"/>
                  </a:lnTo>
                  <a:lnTo>
                    <a:pt x="516" y="28"/>
                  </a:lnTo>
                  <a:lnTo>
                    <a:pt x="512" y="23"/>
                  </a:lnTo>
                  <a:lnTo>
                    <a:pt x="512" y="11"/>
                  </a:lnTo>
                  <a:lnTo>
                    <a:pt x="514" y="9"/>
                  </a:lnTo>
                  <a:lnTo>
                    <a:pt x="514" y="7"/>
                  </a:lnTo>
                  <a:lnTo>
                    <a:pt x="516" y="7"/>
                  </a:lnTo>
                  <a:lnTo>
                    <a:pt x="518" y="5"/>
                  </a:lnTo>
                  <a:lnTo>
                    <a:pt x="519" y="2"/>
                  </a:lnTo>
                  <a:lnTo>
                    <a:pt x="519" y="2"/>
                  </a:lnTo>
                  <a:lnTo>
                    <a:pt x="523" y="2"/>
                  </a:lnTo>
                  <a:lnTo>
                    <a:pt x="523" y="0"/>
                  </a:lnTo>
                  <a:lnTo>
                    <a:pt x="526" y="4"/>
                  </a:lnTo>
                  <a:lnTo>
                    <a:pt x="533" y="4"/>
                  </a:lnTo>
                  <a:lnTo>
                    <a:pt x="536" y="7"/>
                  </a:lnTo>
                  <a:lnTo>
                    <a:pt x="536" y="5"/>
                  </a:lnTo>
                  <a:lnTo>
                    <a:pt x="540" y="5"/>
                  </a:lnTo>
                  <a:lnTo>
                    <a:pt x="542" y="7"/>
                  </a:lnTo>
                  <a:lnTo>
                    <a:pt x="548" y="9"/>
                  </a:lnTo>
                  <a:lnTo>
                    <a:pt x="550" y="7"/>
                  </a:lnTo>
                  <a:lnTo>
                    <a:pt x="552" y="9"/>
                  </a:lnTo>
                  <a:lnTo>
                    <a:pt x="552" y="7"/>
                  </a:lnTo>
                  <a:lnTo>
                    <a:pt x="559" y="9"/>
                  </a:lnTo>
                  <a:lnTo>
                    <a:pt x="559" y="7"/>
                  </a:lnTo>
                  <a:lnTo>
                    <a:pt x="564" y="19"/>
                  </a:lnTo>
                  <a:lnTo>
                    <a:pt x="562" y="24"/>
                  </a:lnTo>
                  <a:lnTo>
                    <a:pt x="569" y="35"/>
                  </a:lnTo>
                  <a:lnTo>
                    <a:pt x="569" y="43"/>
                  </a:lnTo>
                  <a:lnTo>
                    <a:pt x="572" y="45"/>
                  </a:lnTo>
                  <a:lnTo>
                    <a:pt x="576" y="57"/>
                  </a:lnTo>
                  <a:lnTo>
                    <a:pt x="593" y="89"/>
                  </a:lnTo>
                  <a:lnTo>
                    <a:pt x="593" y="99"/>
                  </a:lnTo>
                  <a:lnTo>
                    <a:pt x="601" y="108"/>
                  </a:lnTo>
                  <a:lnTo>
                    <a:pt x="603" y="115"/>
                  </a:lnTo>
                  <a:lnTo>
                    <a:pt x="618" y="137"/>
                  </a:lnTo>
                  <a:lnTo>
                    <a:pt x="622" y="146"/>
                  </a:lnTo>
                  <a:lnTo>
                    <a:pt x="659" y="200"/>
                  </a:lnTo>
                  <a:close/>
                  <a:moveTo>
                    <a:pt x="77" y="103"/>
                  </a:moveTo>
                  <a:lnTo>
                    <a:pt x="82" y="101"/>
                  </a:lnTo>
                  <a:lnTo>
                    <a:pt x="97" y="99"/>
                  </a:lnTo>
                  <a:lnTo>
                    <a:pt x="104" y="99"/>
                  </a:lnTo>
                  <a:lnTo>
                    <a:pt x="106" y="99"/>
                  </a:lnTo>
                  <a:lnTo>
                    <a:pt x="106" y="99"/>
                  </a:lnTo>
                  <a:lnTo>
                    <a:pt x="85" y="101"/>
                  </a:lnTo>
                  <a:lnTo>
                    <a:pt x="82" y="103"/>
                  </a:lnTo>
                  <a:lnTo>
                    <a:pt x="77" y="103"/>
                  </a:lnTo>
                  <a:lnTo>
                    <a:pt x="41" y="115"/>
                  </a:lnTo>
                  <a:lnTo>
                    <a:pt x="37" y="115"/>
                  </a:lnTo>
                  <a:lnTo>
                    <a:pt x="36" y="113"/>
                  </a:lnTo>
                  <a:lnTo>
                    <a:pt x="36" y="113"/>
                  </a:lnTo>
                  <a:lnTo>
                    <a:pt x="44" y="113"/>
                  </a:lnTo>
                  <a:lnTo>
                    <a:pt x="49" y="110"/>
                  </a:lnTo>
                  <a:lnTo>
                    <a:pt x="58" y="108"/>
                  </a:lnTo>
                  <a:lnTo>
                    <a:pt x="68" y="105"/>
                  </a:lnTo>
                  <a:lnTo>
                    <a:pt x="77" y="103"/>
                  </a:lnTo>
                  <a:close/>
                  <a:moveTo>
                    <a:pt x="665" y="200"/>
                  </a:moveTo>
                  <a:lnTo>
                    <a:pt x="661" y="197"/>
                  </a:lnTo>
                  <a:lnTo>
                    <a:pt x="654" y="190"/>
                  </a:lnTo>
                  <a:lnTo>
                    <a:pt x="646" y="178"/>
                  </a:lnTo>
                  <a:lnTo>
                    <a:pt x="642" y="173"/>
                  </a:lnTo>
                  <a:lnTo>
                    <a:pt x="644" y="173"/>
                  </a:lnTo>
                  <a:lnTo>
                    <a:pt x="649" y="180"/>
                  </a:lnTo>
                  <a:lnTo>
                    <a:pt x="665" y="200"/>
                  </a:lnTo>
                  <a:close/>
                  <a:moveTo>
                    <a:pt x="665" y="200"/>
                  </a:moveTo>
                  <a:lnTo>
                    <a:pt x="682" y="219"/>
                  </a:lnTo>
                  <a:lnTo>
                    <a:pt x="689" y="231"/>
                  </a:lnTo>
                  <a:lnTo>
                    <a:pt x="685" y="238"/>
                  </a:lnTo>
                  <a:lnTo>
                    <a:pt x="682" y="238"/>
                  </a:lnTo>
                  <a:lnTo>
                    <a:pt x="683" y="223"/>
                  </a:lnTo>
                  <a:lnTo>
                    <a:pt x="680" y="217"/>
                  </a:lnTo>
                  <a:lnTo>
                    <a:pt x="675" y="217"/>
                  </a:lnTo>
                  <a:lnTo>
                    <a:pt x="671" y="221"/>
                  </a:lnTo>
                  <a:lnTo>
                    <a:pt x="663" y="219"/>
                  </a:lnTo>
                  <a:lnTo>
                    <a:pt x="661" y="211"/>
                  </a:lnTo>
                  <a:lnTo>
                    <a:pt x="666" y="209"/>
                  </a:lnTo>
                  <a:lnTo>
                    <a:pt x="663" y="205"/>
                  </a:lnTo>
                  <a:lnTo>
                    <a:pt x="675" y="212"/>
                  </a:lnTo>
                  <a:lnTo>
                    <a:pt x="665" y="200"/>
                  </a:lnTo>
                  <a:close/>
                  <a:moveTo>
                    <a:pt x="671" y="221"/>
                  </a:moveTo>
                  <a:lnTo>
                    <a:pt x="675" y="219"/>
                  </a:lnTo>
                  <a:lnTo>
                    <a:pt x="680" y="221"/>
                  </a:lnTo>
                  <a:lnTo>
                    <a:pt x="677" y="236"/>
                  </a:lnTo>
                  <a:lnTo>
                    <a:pt x="678" y="250"/>
                  </a:lnTo>
                  <a:lnTo>
                    <a:pt x="687" y="265"/>
                  </a:lnTo>
                  <a:lnTo>
                    <a:pt x="673" y="241"/>
                  </a:lnTo>
                  <a:lnTo>
                    <a:pt x="671" y="221"/>
                  </a:lnTo>
                  <a:close/>
                  <a:moveTo>
                    <a:pt x="571" y="452"/>
                  </a:moveTo>
                  <a:lnTo>
                    <a:pt x="576" y="460"/>
                  </a:lnTo>
                  <a:lnTo>
                    <a:pt x="572" y="462"/>
                  </a:lnTo>
                  <a:lnTo>
                    <a:pt x="567" y="446"/>
                  </a:lnTo>
                  <a:lnTo>
                    <a:pt x="562" y="443"/>
                  </a:lnTo>
                  <a:lnTo>
                    <a:pt x="567" y="441"/>
                  </a:lnTo>
                  <a:lnTo>
                    <a:pt x="571" y="452"/>
                  </a:lnTo>
                  <a:close/>
                  <a:moveTo>
                    <a:pt x="769" y="552"/>
                  </a:moveTo>
                  <a:lnTo>
                    <a:pt x="762" y="575"/>
                  </a:lnTo>
                  <a:lnTo>
                    <a:pt x="743" y="598"/>
                  </a:lnTo>
                  <a:lnTo>
                    <a:pt x="762" y="569"/>
                  </a:lnTo>
                  <a:lnTo>
                    <a:pt x="764" y="563"/>
                  </a:lnTo>
                  <a:lnTo>
                    <a:pt x="760" y="559"/>
                  </a:lnTo>
                  <a:lnTo>
                    <a:pt x="769" y="552"/>
                  </a:lnTo>
                  <a:close/>
                </a:path>
              </a:pathLst>
            </a:custGeom>
            <a:grpFill/>
            <a:ln w="6350" cap="flat" cmpd="sng">
              <a:solidFill>
                <a:schemeClr val="bg1"/>
              </a:solidFill>
              <a:prstDash val="solid"/>
              <a:round/>
              <a:headEnd/>
              <a:tailEn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58" name="Freeform 54">
              <a:extLst>
                <a:ext uri="{FF2B5EF4-FFF2-40B4-BE49-F238E27FC236}">
                  <a16:creationId xmlns:a16="http://schemas.microsoft.com/office/drawing/2014/main" id="{7EDA5301-E42F-4552-9446-5BFDE988C3AA}"/>
                </a:ext>
              </a:extLst>
            </p:cNvPr>
            <p:cNvSpPr>
              <a:spLocks noEditPoints="1"/>
            </p:cNvSpPr>
            <p:nvPr/>
          </p:nvSpPr>
          <p:spPr bwMode="gray">
            <a:xfrm>
              <a:off x="5933272" y="2137845"/>
              <a:ext cx="1037008" cy="1085317"/>
            </a:xfrm>
            <a:custGeom>
              <a:avLst/>
              <a:gdLst/>
              <a:ahLst/>
              <a:cxnLst>
                <a:cxn ang="0">
                  <a:pos x="80" y="40"/>
                </a:cxn>
                <a:cxn ang="0">
                  <a:pos x="154" y="76"/>
                </a:cxn>
                <a:cxn ang="0">
                  <a:pos x="144" y="125"/>
                </a:cxn>
                <a:cxn ang="0">
                  <a:pos x="338" y="217"/>
                </a:cxn>
                <a:cxn ang="0">
                  <a:pos x="301" y="243"/>
                </a:cxn>
                <a:cxn ang="0">
                  <a:pos x="284" y="252"/>
                </a:cxn>
                <a:cxn ang="0">
                  <a:pos x="238" y="286"/>
                </a:cxn>
                <a:cxn ang="0">
                  <a:pos x="210" y="311"/>
                </a:cxn>
                <a:cxn ang="0">
                  <a:pos x="212" y="291"/>
                </a:cxn>
                <a:cxn ang="0">
                  <a:pos x="198" y="296"/>
                </a:cxn>
                <a:cxn ang="0">
                  <a:pos x="202" y="276"/>
                </a:cxn>
                <a:cxn ang="0">
                  <a:pos x="200" y="264"/>
                </a:cxn>
                <a:cxn ang="0">
                  <a:pos x="195" y="253"/>
                </a:cxn>
                <a:cxn ang="0">
                  <a:pos x="174" y="246"/>
                </a:cxn>
                <a:cxn ang="0">
                  <a:pos x="169" y="235"/>
                </a:cxn>
                <a:cxn ang="0">
                  <a:pos x="152" y="233"/>
                </a:cxn>
                <a:cxn ang="0">
                  <a:pos x="140" y="231"/>
                </a:cxn>
                <a:cxn ang="0">
                  <a:pos x="128" y="229"/>
                </a:cxn>
                <a:cxn ang="0">
                  <a:pos x="108" y="223"/>
                </a:cxn>
                <a:cxn ang="0">
                  <a:pos x="19" y="194"/>
                </a:cxn>
                <a:cxn ang="0">
                  <a:pos x="7" y="182"/>
                </a:cxn>
                <a:cxn ang="0">
                  <a:pos x="73" y="146"/>
                </a:cxn>
                <a:cxn ang="0">
                  <a:pos x="125" y="101"/>
                </a:cxn>
                <a:cxn ang="0">
                  <a:pos x="140" y="141"/>
                </a:cxn>
                <a:cxn ang="0">
                  <a:pos x="200" y="137"/>
                </a:cxn>
                <a:cxn ang="0">
                  <a:pos x="280" y="175"/>
                </a:cxn>
                <a:cxn ang="0">
                  <a:pos x="379" y="127"/>
                </a:cxn>
                <a:cxn ang="0">
                  <a:pos x="405" y="154"/>
                </a:cxn>
                <a:cxn ang="0">
                  <a:pos x="463" y="173"/>
                </a:cxn>
                <a:cxn ang="0">
                  <a:pos x="480" y="194"/>
                </a:cxn>
                <a:cxn ang="0">
                  <a:pos x="434" y="199"/>
                </a:cxn>
                <a:cxn ang="0">
                  <a:pos x="367" y="199"/>
                </a:cxn>
                <a:cxn ang="0">
                  <a:pos x="504" y="190"/>
                </a:cxn>
                <a:cxn ang="0">
                  <a:pos x="520" y="194"/>
                </a:cxn>
                <a:cxn ang="0">
                  <a:pos x="489" y="199"/>
                </a:cxn>
                <a:cxn ang="0">
                  <a:pos x="350" y="599"/>
                </a:cxn>
                <a:cxn ang="0">
                  <a:pos x="326" y="455"/>
                </a:cxn>
                <a:cxn ang="0">
                  <a:pos x="323" y="411"/>
                </a:cxn>
                <a:cxn ang="0">
                  <a:pos x="337" y="337"/>
                </a:cxn>
                <a:cxn ang="0">
                  <a:pos x="373" y="342"/>
                </a:cxn>
                <a:cxn ang="0">
                  <a:pos x="391" y="281"/>
                </a:cxn>
                <a:cxn ang="0">
                  <a:pos x="405" y="246"/>
                </a:cxn>
                <a:cxn ang="0">
                  <a:pos x="470" y="238"/>
                </a:cxn>
                <a:cxn ang="0">
                  <a:pos x="520" y="262"/>
                </a:cxn>
                <a:cxn ang="0">
                  <a:pos x="543" y="286"/>
                </a:cxn>
                <a:cxn ang="0">
                  <a:pos x="552" y="327"/>
                </a:cxn>
                <a:cxn ang="0">
                  <a:pos x="530" y="407"/>
                </a:cxn>
                <a:cxn ang="0">
                  <a:pos x="547" y="434"/>
                </a:cxn>
                <a:cxn ang="0">
                  <a:pos x="598" y="393"/>
                </a:cxn>
                <a:cxn ang="0">
                  <a:pos x="641" y="511"/>
                </a:cxn>
                <a:cxn ang="0">
                  <a:pos x="617" y="544"/>
                </a:cxn>
                <a:cxn ang="0">
                  <a:pos x="596" y="602"/>
                </a:cxn>
                <a:cxn ang="0">
                  <a:pos x="508" y="658"/>
                </a:cxn>
                <a:cxn ang="0">
                  <a:pos x="407" y="663"/>
                </a:cxn>
              </a:cxnLst>
              <a:rect l="0" t="0" r="r" b="b"/>
              <a:pathLst>
                <a:path w="644" h="674">
                  <a:moveTo>
                    <a:pt x="126" y="0"/>
                  </a:moveTo>
                  <a:lnTo>
                    <a:pt x="120" y="16"/>
                  </a:lnTo>
                  <a:lnTo>
                    <a:pt x="99" y="24"/>
                  </a:lnTo>
                  <a:lnTo>
                    <a:pt x="91" y="38"/>
                  </a:lnTo>
                  <a:lnTo>
                    <a:pt x="84" y="41"/>
                  </a:lnTo>
                  <a:lnTo>
                    <a:pt x="80" y="40"/>
                  </a:lnTo>
                  <a:lnTo>
                    <a:pt x="79" y="35"/>
                  </a:lnTo>
                  <a:lnTo>
                    <a:pt x="82" y="29"/>
                  </a:lnTo>
                  <a:lnTo>
                    <a:pt x="126" y="0"/>
                  </a:lnTo>
                  <a:close/>
                  <a:moveTo>
                    <a:pt x="135" y="94"/>
                  </a:moveTo>
                  <a:lnTo>
                    <a:pt x="138" y="86"/>
                  </a:lnTo>
                  <a:lnTo>
                    <a:pt x="154" y="76"/>
                  </a:lnTo>
                  <a:lnTo>
                    <a:pt x="185" y="70"/>
                  </a:lnTo>
                  <a:lnTo>
                    <a:pt x="191" y="76"/>
                  </a:lnTo>
                  <a:lnTo>
                    <a:pt x="190" y="79"/>
                  </a:lnTo>
                  <a:lnTo>
                    <a:pt x="176" y="82"/>
                  </a:lnTo>
                  <a:lnTo>
                    <a:pt x="156" y="101"/>
                  </a:lnTo>
                  <a:lnTo>
                    <a:pt x="144" y="125"/>
                  </a:lnTo>
                  <a:lnTo>
                    <a:pt x="138" y="113"/>
                  </a:lnTo>
                  <a:lnTo>
                    <a:pt x="128" y="111"/>
                  </a:lnTo>
                  <a:lnTo>
                    <a:pt x="128" y="100"/>
                  </a:lnTo>
                  <a:lnTo>
                    <a:pt x="135" y="94"/>
                  </a:lnTo>
                  <a:close/>
                  <a:moveTo>
                    <a:pt x="342" y="216"/>
                  </a:moveTo>
                  <a:lnTo>
                    <a:pt x="338" y="217"/>
                  </a:lnTo>
                  <a:lnTo>
                    <a:pt x="338" y="223"/>
                  </a:lnTo>
                  <a:lnTo>
                    <a:pt x="326" y="219"/>
                  </a:lnTo>
                  <a:lnTo>
                    <a:pt x="313" y="223"/>
                  </a:lnTo>
                  <a:lnTo>
                    <a:pt x="309" y="226"/>
                  </a:lnTo>
                  <a:lnTo>
                    <a:pt x="308" y="235"/>
                  </a:lnTo>
                  <a:lnTo>
                    <a:pt x="301" y="243"/>
                  </a:lnTo>
                  <a:lnTo>
                    <a:pt x="294" y="245"/>
                  </a:lnTo>
                  <a:lnTo>
                    <a:pt x="296" y="248"/>
                  </a:lnTo>
                  <a:lnTo>
                    <a:pt x="292" y="250"/>
                  </a:lnTo>
                  <a:lnTo>
                    <a:pt x="289" y="258"/>
                  </a:lnTo>
                  <a:lnTo>
                    <a:pt x="284" y="257"/>
                  </a:lnTo>
                  <a:lnTo>
                    <a:pt x="284" y="252"/>
                  </a:lnTo>
                  <a:lnTo>
                    <a:pt x="291" y="238"/>
                  </a:lnTo>
                  <a:lnTo>
                    <a:pt x="277" y="238"/>
                  </a:lnTo>
                  <a:lnTo>
                    <a:pt x="267" y="252"/>
                  </a:lnTo>
                  <a:lnTo>
                    <a:pt x="251" y="255"/>
                  </a:lnTo>
                  <a:lnTo>
                    <a:pt x="243" y="270"/>
                  </a:lnTo>
                  <a:lnTo>
                    <a:pt x="238" y="286"/>
                  </a:lnTo>
                  <a:lnTo>
                    <a:pt x="222" y="315"/>
                  </a:lnTo>
                  <a:lnTo>
                    <a:pt x="222" y="320"/>
                  </a:lnTo>
                  <a:lnTo>
                    <a:pt x="215" y="318"/>
                  </a:lnTo>
                  <a:lnTo>
                    <a:pt x="210" y="315"/>
                  </a:lnTo>
                  <a:lnTo>
                    <a:pt x="210" y="311"/>
                  </a:lnTo>
                  <a:lnTo>
                    <a:pt x="210" y="311"/>
                  </a:lnTo>
                  <a:lnTo>
                    <a:pt x="210" y="308"/>
                  </a:lnTo>
                  <a:lnTo>
                    <a:pt x="212" y="306"/>
                  </a:lnTo>
                  <a:lnTo>
                    <a:pt x="212" y="305"/>
                  </a:lnTo>
                  <a:lnTo>
                    <a:pt x="215" y="296"/>
                  </a:lnTo>
                  <a:lnTo>
                    <a:pt x="215" y="294"/>
                  </a:lnTo>
                  <a:lnTo>
                    <a:pt x="212" y="291"/>
                  </a:lnTo>
                  <a:lnTo>
                    <a:pt x="207" y="296"/>
                  </a:lnTo>
                  <a:lnTo>
                    <a:pt x="202" y="296"/>
                  </a:lnTo>
                  <a:lnTo>
                    <a:pt x="200" y="298"/>
                  </a:lnTo>
                  <a:lnTo>
                    <a:pt x="198" y="294"/>
                  </a:lnTo>
                  <a:lnTo>
                    <a:pt x="198" y="294"/>
                  </a:lnTo>
                  <a:lnTo>
                    <a:pt x="198" y="296"/>
                  </a:lnTo>
                  <a:lnTo>
                    <a:pt x="197" y="296"/>
                  </a:lnTo>
                  <a:lnTo>
                    <a:pt x="200" y="291"/>
                  </a:lnTo>
                  <a:lnTo>
                    <a:pt x="198" y="286"/>
                  </a:lnTo>
                  <a:lnTo>
                    <a:pt x="202" y="284"/>
                  </a:lnTo>
                  <a:lnTo>
                    <a:pt x="203" y="281"/>
                  </a:lnTo>
                  <a:lnTo>
                    <a:pt x="202" y="276"/>
                  </a:lnTo>
                  <a:lnTo>
                    <a:pt x="200" y="274"/>
                  </a:lnTo>
                  <a:lnTo>
                    <a:pt x="202" y="272"/>
                  </a:lnTo>
                  <a:lnTo>
                    <a:pt x="203" y="269"/>
                  </a:lnTo>
                  <a:lnTo>
                    <a:pt x="203" y="269"/>
                  </a:lnTo>
                  <a:lnTo>
                    <a:pt x="200" y="264"/>
                  </a:lnTo>
                  <a:lnTo>
                    <a:pt x="200" y="264"/>
                  </a:lnTo>
                  <a:lnTo>
                    <a:pt x="202" y="262"/>
                  </a:lnTo>
                  <a:lnTo>
                    <a:pt x="202" y="260"/>
                  </a:lnTo>
                  <a:lnTo>
                    <a:pt x="200" y="258"/>
                  </a:lnTo>
                  <a:lnTo>
                    <a:pt x="200" y="258"/>
                  </a:lnTo>
                  <a:lnTo>
                    <a:pt x="197" y="257"/>
                  </a:lnTo>
                  <a:lnTo>
                    <a:pt x="195" y="253"/>
                  </a:lnTo>
                  <a:lnTo>
                    <a:pt x="186" y="253"/>
                  </a:lnTo>
                  <a:lnTo>
                    <a:pt x="185" y="250"/>
                  </a:lnTo>
                  <a:lnTo>
                    <a:pt x="181" y="252"/>
                  </a:lnTo>
                  <a:lnTo>
                    <a:pt x="178" y="252"/>
                  </a:lnTo>
                  <a:lnTo>
                    <a:pt x="174" y="248"/>
                  </a:lnTo>
                  <a:lnTo>
                    <a:pt x="174" y="246"/>
                  </a:lnTo>
                  <a:lnTo>
                    <a:pt x="179" y="241"/>
                  </a:lnTo>
                  <a:lnTo>
                    <a:pt x="176" y="240"/>
                  </a:lnTo>
                  <a:lnTo>
                    <a:pt x="176" y="238"/>
                  </a:lnTo>
                  <a:lnTo>
                    <a:pt x="174" y="236"/>
                  </a:lnTo>
                  <a:lnTo>
                    <a:pt x="173" y="236"/>
                  </a:lnTo>
                  <a:lnTo>
                    <a:pt x="169" y="235"/>
                  </a:lnTo>
                  <a:lnTo>
                    <a:pt x="167" y="235"/>
                  </a:lnTo>
                  <a:lnTo>
                    <a:pt x="164" y="233"/>
                  </a:lnTo>
                  <a:lnTo>
                    <a:pt x="161" y="235"/>
                  </a:lnTo>
                  <a:lnTo>
                    <a:pt x="159" y="235"/>
                  </a:lnTo>
                  <a:lnTo>
                    <a:pt x="156" y="231"/>
                  </a:lnTo>
                  <a:lnTo>
                    <a:pt x="152" y="233"/>
                  </a:lnTo>
                  <a:lnTo>
                    <a:pt x="149" y="231"/>
                  </a:lnTo>
                  <a:lnTo>
                    <a:pt x="147" y="231"/>
                  </a:lnTo>
                  <a:lnTo>
                    <a:pt x="145" y="229"/>
                  </a:lnTo>
                  <a:lnTo>
                    <a:pt x="144" y="229"/>
                  </a:lnTo>
                  <a:lnTo>
                    <a:pt x="142" y="229"/>
                  </a:lnTo>
                  <a:lnTo>
                    <a:pt x="140" y="231"/>
                  </a:lnTo>
                  <a:lnTo>
                    <a:pt x="138" y="229"/>
                  </a:lnTo>
                  <a:lnTo>
                    <a:pt x="137" y="233"/>
                  </a:lnTo>
                  <a:lnTo>
                    <a:pt x="135" y="233"/>
                  </a:lnTo>
                  <a:lnTo>
                    <a:pt x="132" y="229"/>
                  </a:lnTo>
                  <a:lnTo>
                    <a:pt x="130" y="231"/>
                  </a:lnTo>
                  <a:lnTo>
                    <a:pt x="128" y="229"/>
                  </a:lnTo>
                  <a:lnTo>
                    <a:pt x="125" y="231"/>
                  </a:lnTo>
                  <a:lnTo>
                    <a:pt x="125" y="229"/>
                  </a:lnTo>
                  <a:lnTo>
                    <a:pt x="123" y="229"/>
                  </a:lnTo>
                  <a:lnTo>
                    <a:pt x="123" y="229"/>
                  </a:lnTo>
                  <a:lnTo>
                    <a:pt x="113" y="226"/>
                  </a:lnTo>
                  <a:lnTo>
                    <a:pt x="108" y="223"/>
                  </a:lnTo>
                  <a:lnTo>
                    <a:pt x="99" y="219"/>
                  </a:lnTo>
                  <a:lnTo>
                    <a:pt x="38" y="207"/>
                  </a:lnTo>
                  <a:lnTo>
                    <a:pt x="22" y="204"/>
                  </a:lnTo>
                  <a:lnTo>
                    <a:pt x="22" y="200"/>
                  </a:lnTo>
                  <a:lnTo>
                    <a:pt x="20" y="199"/>
                  </a:lnTo>
                  <a:lnTo>
                    <a:pt x="19" y="194"/>
                  </a:lnTo>
                  <a:lnTo>
                    <a:pt x="14" y="187"/>
                  </a:lnTo>
                  <a:lnTo>
                    <a:pt x="10" y="187"/>
                  </a:lnTo>
                  <a:lnTo>
                    <a:pt x="10" y="185"/>
                  </a:lnTo>
                  <a:lnTo>
                    <a:pt x="7" y="185"/>
                  </a:lnTo>
                  <a:lnTo>
                    <a:pt x="7" y="183"/>
                  </a:lnTo>
                  <a:lnTo>
                    <a:pt x="7" y="182"/>
                  </a:lnTo>
                  <a:lnTo>
                    <a:pt x="2" y="183"/>
                  </a:lnTo>
                  <a:lnTo>
                    <a:pt x="0" y="180"/>
                  </a:lnTo>
                  <a:lnTo>
                    <a:pt x="27" y="166"/>
                  </a:lnTo>
                  <a:lnTo>
                    <a:pt x="36" y="156"/>
                  </a:lnTo>
                  <a:lnTo>
                    <a:pt x="43" y="151"/>
                  </a:lnTo>
                  <a:lnTo>
                    <a:pt x="73" y="146"/>
                  </a:lnTo>
                  <a:lnTo>
                    <a:pt x="85" y="137"/>
                  </a:lnTo>
                  <a:lnTo>
                    <a:pt x="91" y="129"/>
                  </a:lnTo>
                  <a:lnTo>
                    <a:pt x="101" y="129"/>
                  </a:lnTo>
                  <a:lnTo>
                    <a:pt x="104" y="123"/>
                  </a:lnTo>
                  <a:lnTo>
                    <a:pt x="108" y="117"/>
                  </a:lnTo>
                  <a:lnTo>
                    <a:pt x="125" y="101"/>
                  </a:lnTo>
                  <a:lnTo>
                    <a:pt x="126" y="111"/>
                  </a:lnTo>
                  <a:lnTo>
                    <a:pt x="135" y="113"/>
                  </a:lnTo>
                  <a:lnTo>
                    <a:pt x="135" y="122"/>
                  </a:lnTo>
                  <a:lnTo>
                    <a:pt x="142" y="125"/>
                  </a:lnTo>
                  <a:lnTo>
                    <a:pt x="142" y="132"/>
                  </a:lnTo>
                  <a:lnTo>
                    <a:pt x="140" y="141"/>
                  </a:lnTo>
                  <a:lnTo>
                    <a:pt x="142" y="146"/>
                  </a:lnTo>
                  <a:lnTo>
                    <a:pt x="161" y="129"/>
                  </a:lnTo>
                  <a:lnTo>
                    <a:pt x="161" y="134"/>
                  </a:lnTo>
                  <a:lnTo>
                    <a:pt x="171" y="132"/>
                  </a:lnTo>
                  <a:lnTo>
                    <a:pt x="181" y="130"/>
                  </a:lnTo>
                  <a:lnTo>
                    <a:pt x="200" y="137"/>
                  </a:lnTo>
                  <a:lnTo>
                    <a:pt x="224" y="170"/>
                  </a:lnTo>
                  <a:lnTo>
                    <a:pt x="244" y="170"/>
                  </a:lnTo>
                  <a:lnTo>
                    <a:pt x="251" y="164"/>
                  </a:lnTo>
                  <a:lnTo>
                    <a:pt x="261" y="173"/>
                  </a:lnTo>
                  <a:lnTo>
                    <a:pt x="270" y="168"/>
                  </a:lnTo>
                  <a:lnTo>
                    <a:pt x="280" y="175"/>
                  </a:lnTo>
                  <a:lnTo>
                    <a:pt x="291" y="158"/>
                  </a:lnTo>
                  <a:lnTo>
                    <a:pt x="313" y="144"/>
                  </a:lnTo>
                  <a:lnTo>
                    <a:pt x="318" y="146"/>
                  </a:lnTo>
                  <a:lnTo>
                    <a:pt x="335" y="139"/>
                  </a:lnTo>
                  <a:lnTo>
                    <a:pt x="361" y="139"/>
                  </a:lnTo>
                  <a:lnTo>
                    <a:pt x="379" y="127"/>
                  </a:lnTo>
                  <a:lnTo>
                    <a:pt x="400" y="123"/>
                  </a:lnTo>
                  <a:lnTo>
                    <a:pt x="395" y="132"/>
                  </a:lnTo>
                  <a:lnTo>
                    <a:pt x="398" y="147"/>
                  </a:lnTo>
                  <a:lnTo>
                    <a:pt x="396" y="152"/>
                  </a:lnTo>
                  <a:lnTo>
                    <a:pt x="398" y="156"/>
                  </a:lnTo>
                  <a:lnTo>
                    <a:pt x="405" y="154"/>
                  </a:lnTo>
                  <a:lnTo>
                    <a:pt x="415" y="158"/>
                  </a:lnTo>
                  <a:lnTo>
                    <a:pt x="427" y="151"/>
                  </a:lnTo>
                  <a:lnTo>
                    <a:pt x="432" y="159"/>
                  </a:lnTo>
                  <a:lnTo>
                    <a:pt x="443" y="149"/>
                  </a:lnTo>
                  <a:lnTo>
                    <a:pt x="451" y="147"/>
                  </a:lnTo>
                  <a:lnTo>
                    <a:pt x="463" y="173"/>
                  </a:lnTo>
                  <a:lnTo>
                    <a:pt x="456" y="178"/>
                  </a:lnTo>
                  <a:lnTo>
                    <a:pt x="460" y="182"/>
                  </a:lnTo>
                  <a:lnTo>
                    <a:pt x="468" y="180"/>
                  </a:lnTo>
                  <a:lnTo>
                    <a:pt x="477" y="183"/>
                  </a:lnTo>
                  <a:lnTo>
                    <a:pt x="473" y="187"/>
                  </a:lnTo>
                  <a:lnTo>
                    <a:pt x="480" y="194"/>
                  </a:lnTo>
                  <a:lnTo>
                    <a:pt x="487" y="195"/>
                  </a:lnTo>
                  <a:lnTo>
                    <a:pt x="487" y="200"/>
                  </a:lnTo>
                  <a:lnTo>
                    <a:pt x="472" y="200"/>
                  </a:lnTo>
                  <a:lnTo>
                    <a:pt x="455" y="200"/>
                  </a:lnTo>
                  <a:lnTo>
                    <a:pt x="443" y="204"/>
                  </a:lnTo>
                  <a:lnTo>
                    <a:pt x="434" y="199"/>
                  </a:lnTo>
                  <a:lnTo>
                    <a:pt x="429" y="199"/>
                  </a:lnTo>
                  <a:lnTo>
                    <a:pt x="427" y="219"/>
                  </a:lnTo>
                  <a:lnTo>
                    <a:pt x="419" y="216"/>
                  </a:lnTo>
                  <a:lnTo>
                    <a:pt x="402" y="204"/>
                  </a:lnTo>
                  <a:lnTo>
                    <a:pt x="376" y="199"/>
                  </a:lnTo>
                  <a:lnTo>
                    <a:pt x="367" y="199"/>
                  </a:lnTo>
                  <a:lnTo>
                    <a:pt x="357" y="214"/>
                  </a:lnTo>
                  <a:lnTo>
                    <a:pt x="342" y="216"/>
                  </a:lnTo>
                  <a:close/>
                  <a:moveTo>
                    <a:pt x="490" y="194"/>
                  </a:moveTo>
                  <a:lnTo>
                    <a:pt x="496" y="197"/>
                  </a:lnTo>
                  <a:lnTo>
                    <a:pt x="497" y="192"/>
                  </a:lnTo>
                  <a:lnTo>
                    <a:pt x="504" y="190"/>
                  </a:lnTo>
                  <a:lnTo>
                    <a:pt x="502" y="187"/>
                  </a:lnTo>
                  <a:lnTo>
                    <a:pt x="499" y="185"/>
                  </a:lnTo>
                  <a:lnTo>
                    <a:pt x="504" y="183"/>
                  </a:lnTo>
                  <a:lnTo>
                    <a:pt x="509" y="183"/>
                  </a:lnTo>
                  <a:lnTo>
                    <a:pt x="514" y="192"/>
                  </a:lnTo>
                  <a:lnTo>
                    <a:pt x="520" y="194"/>
                  </a:lnTo>
                  <a:lnTo>
                    <a:pt x="518" y="200"/>
                  </a:lnTo>
                  <a:lnTo>
                    <a:pt x="513" y="202"/>
                  </a:lnTo>
                  <a:lnTo>
                    <a:pt x="508" y="199"/>
                  </a:lnTo>
                  <a:lnTo>
                    <a:pt x="496" y="202"/>
                  </a:lnTo>
                  <a:lnTo>
                    <a:pt x="490" y="195"/>
                  </a:lnTo>
                  <a:lnTo>
                    <a:pt x="489" y="199"/>
                  </a:lnTo>
                  <a:lnTo>
                    <a:pt x="490" y="194"/>
                  </a:lnTo>
                  <a:close/>
                  <a:moveTo>
                    <a:pt x="313" y="674"/>
                  </a:moveTo>
                  <a:lnTo>
                    <a:pt x="328" y="657"/>
                  </a:lnTo>
                  <a:lnTo>
                    <a:pt x="337" y="633"/>
                  </a:lnTo>
                  <a:lnTo>
                    <a:pt x="345" y="617"/>
                  </a:lnTo>
                  <a:lnTo>
                    <a:pt x="350" y="599"/>
                  </a:lnTo>
                  <a:lnTo>
                    <a:pt x="350" y="561"/>
                  </a:lnTo>
                  <a:lnTo>
                    <a:pt x="344" y="523"/>
                  </a:lnTo>
                  <a:lnTo>
                    <a:pt x="325" y="487"/>
                  </a:lnTo>
                  <a:lnTo>
                    <a:pt x="316" y="469"/>
                  </a:lnTo>
                  <a:lnTo>
                    <a:pt x="323" y="455"/>
                  </a:lnTo>
                  <a:lnTo>
                    <a:pt x="326" y="455"/>
                  </a:lnTo>
                  <a:lnTo>
                    <a:pt x="323" y="455"/>
                  </a:lnTo>
                  <a:lnTo>
                    <a:pt x="323" y="450"/>
                  </a:lnTo>
                  <a:lnTo>
                    <a:pt x="320" y="436"/>
                  </a:lnTo>
                  <a:lnTo>
                    <a:pt x="321" y="436"/>
                  </a:lnTo>
                  <a:lnTo>
                    <a:pt x="314" y="426"/>
                  </a:lnTo>
                  <a:lnTo>
                    <a:pt x="323" y="411"/>
                  </a:lnTo>
                  <a:lnTo>
                    <a:pt x="330" y="392"/>
                  </a:lnTo>
                  <a:lnTo>
                    <a:pt x="330" y="373"/>
                  </a:lnTo>
                  <a:lnTo>
                    <a:pt x="326" y="354"/>
                  </a:lnTo>
                  <a:lnTo>
                    <a:pt x="338" y="351"/>
                  </a:lnTo>
                  <a:lnTo>
                    <a:pt x="338" y="346"/>
                  </a:lnTo>
                  <a:lnTo>
                    <a:pt x="337" y="337"/>
                  </a:lnTo>
                  <a:lnTo>
                    <a:pt x="338" y="332"/>
                  </a:lnTo>
                  <a:lnTo>
                    <a:pt x="359" y="320"/>
                  </a:lnTo>
                  <a:lnTo>
                    <a:pt x="369" y="296"/>
                  </a:lnTo>
                  <a:lnTo>
                    <a:pt x="374" y="298"/>
                  </a:lnTo>
                  <a:lnTo>
                    <a:pt x="369" y="322"/>
                  </a:lnTo>
                  <a:lnTo>
                    <a:pt x="373" y="342"/>
                  </a:lnTo>
                  <a:lnTo>
                    <a:pt x="381" y="342"/>
                  </a:lnTo>
                  <a:lnTo>
                    <a:pt x="386" y="332"/>
                  </a:lnTo>
                  <a:lnTo>
                    <a:pt x="390" y="315"/>
                  </a:lnTo>
                  <a:lnTo>
                    <a:pt x="386" y="293"/>
                  </a:lnTo>
                  <a:lnTo>
                    <a:pt x="386" y="286"/>
                  </a:lnTo>
                  <a:lnTo>
                    <a:pt x="391" y="281"/>
                  </a:lnTo>
                  <a:lnTo>
                    <a:pt x="407" y="274"/>
                  </a:lnTo>
                  <a:lnTo>
                    <a:pt x="415" y="272"/>
                  </a:lnTo>
                  <a:lnTo>
                    <a:pt x="419" y="269"/>
                  </a:lnTo>
                  <a:lnTo>
                    <a:pt x="407" y="264"/>
                  </a:lnTo>
                  <a:lnTo>
                    <a:pt x="402" y="253"/>
                  </a:lnTo>
                  <a:lnTo>
                    <a:pt x="405" y="246"/>
                  </a:lnTo>
                  <a:lnTo>
                    <a:pt x="410" y="240"/>
                  </a:lnTo>
                  <a:lnTo>
                    <a:pt x="412" y="233"/>
                  </a:lnTo>
                  <a:lnTo>
                    <a:pt x="429" y="226"/>
                  </a:lnTo>
                  <a:lnTo>
                    <a:pt x="449" y="238"/>
                  </a:lnTo>
                  <a:lnTo>
                    <a:pt x="461" y="236"/>
                  </a:lnTo>
                  <a:lnTo>
                    <a:pt x="470" y="238"/>
                  </a:lnTo>
                  <a:lnTo>
                    <a:pt x="475" y="243"/>
                  </a:lnTo>
                  <a:lnTo>
                    <a:pt x="479" y="252"/>
                  </a:lnTo>
                  <a:lnTo>
                    <a:pt x="492" y="250"/>
                  </a:lnTo>
                  <a:lnTo>
                    <a:pt x="504" y="257"/>
                  </a:lnTo>
                  <a:lnTo>
                    <a:pt x="509" y="257"/>
                  </a:lnTo>
                  <a:lnTo>
                    <a:pt x="520" y="262"/>
                  </a:lnTo>
                  <a:lnTo>
                    <a:pt x="526" y="260"/>
                  </a:lnTo>
                  <a:lnTo>
                    <a:pt x="528" y="264"/>
                  </a:lnTo>
                  <a:lnTo>
                    <a:pt x="535" y="269"/>
                  </a:lnTo>
                  <a:lnTo>
                    <a:pt x="533" y="270"/>
                  </a:lnTo>
                  <a:lnTo>
                    <a:pt x="537" y="274"/>
                  </a:lnTo>
                  <a:lnTo>
                    <a:pt x="543" y="286"/>
                  </a:lnTo>
                  <a:lnTo>
                    <a:pt x="535" y="293"/>
                  </a:lnTo>
                  <a:lnTo>
                    <a:pt x="537" y="296"/>
                  </a:lnTo>
                  <a:lnTo>
                    <a:pt x="533" y="298"/>
                  </a:lnTo>
                  <a:lnTo>
                    <a:pt x="538" y="305"/>
                  </a:lnTo>
                  <a:lnTo>
                    <a:pt x="547" y="311"/>
                  </a:lnTo>
                  <a:lnTo>
                    <a:pt x="552" y="327"/>
                  </a:lnTo>
                  <a:lnTo>
                    <a:pt x="552" y="347"/>
                  </a:lnTo>
                  <a:lnTo>
                    <a:pt x="552" y="368"/>
                  </a:lnTo>
                  <a:lnTo>
                    <a:pt x="540" y="376"/>
                  </a:lnTo>
                  <a:lnTo>
                    <a:pt x="538" y="387"/>
                  </a:lnTo>
                  <a:lnTo>
                    <a:pt x="537" y="399"/>
                  </a:lnTo>
                  <a:lnTo>
                    <a:pt x="530" y="407"/>
                  </a:lnTo>
                  <a:lnTo>
                    <a:pt x="518" y="412"/>
                  </a:lnTo>
                  <a:lnTo>
                    <a:pt x="514" y="417"/>
                  </a:lnTo>
                  <a:lnTo>
                    <a:pt x="516" y="441"/>
                  </a:lnTo>
                  <a:lnTo>
                    <a:pt x="535" y="450"/>
                  </a:lnTo>
                  <a:lnTo>
                    <a:pt x="538" y="448"/>
                  </a:lnTo>
                  <a:lnTo>
                    <a:pt x="547" y="434"/>
                  </a:lnTo>
                  <a:lnTo>
                    <a:pt x="550" y="436"/>
                  </a:lnTo>
                  <a:lnTo>
                    <a:pt x="552" y="431"/>
                  </a:lnTo>
                  <a:lnTo>
                    <a:pt x="557" y="421"/>
                  </a:lnTo>
                  <a:lnTo>
                    <a:pt x="559" y="409"/>
                  </a:lnTo>
                  <a:lnTo>
                    <a:pt x="588" y="392"/>
                  </a:lnTo>
                  <a:lnTo>
                    <a:pt x="598" y="393"/>
                  </a:lnTo>
                  <a:lnTo>
                    <a:pt x="605" y="400"/>
                  </a:lnTo>
                  <a:lnTo>
                    <a:pt x="615" y="417"/>
                  </a:lnTo>
                  <a:lnTo>
                    <a:pt x="619" y="428"/>
                  </a:lnTo>
                  <a:lnTo>
                    <a:pt x="634" y="482"/>
                  </a:lnTo>
                  <a:lnTo>
                    <a:pt x="644" y="503"/>
                  </a:lnTo>
                  <a:lnTo>
                    <a:pt x="641" y="511"/>
                  </a:lnTo>
                  <a:lnTo>
                    <a:pt x="643" y="525"/>
                  </a:lnTo>
                  <a:lnTo>
                    <a:pt x="641" y="540"/>
                  </a:lnTo>
                  <a:lnTo>
                    <a:pt x="631" y="542"/>
                  </a:lnTo>
                  <a:lnTo>
                    <a:pt x="632" y="537"/>
                  </a:lnTo>
                  <a:lnTo>
                    <a:pt x="624" y="537"/>
                  </a:lnTo>
                  <a:lnTo>
                    <a:pt x="617" y="544"/>
                  </a:lnTo>
                  <a:lnTo>
                    <a:pt x="619" y="546"/>
                  </a:lnTo>
                  <a:lnTo>
                    <a:pt x="614" y="559"/>
                  </a:lnTo>
                  <a:lnTo>
                    <a:pt x="615" y="563"/>
                  </a:lnTo>
                  <a:lnTo>
                    <a:pt x="614" y="573"/>
                  </a:lnTo>
                  <a:lnTo>
                    <a:pt x="600" y="583"/>
                  </a:lnTo>
                  <a:lnTo>
                    <a:pt x="596" y="602"/>
                  </a:lnTo>
                  <a:lnTo>
                    <a:pt x="598" y="612"/>
                  </a:lnTo>
                  <a:lnTo>
                    <a:pt x="579" y="648"/>
                  </a:lnTo>
                  <a:lnTo>
                    <a:pt x="557" y="652"/>
                  </a:lnTo>
                  <a:lnTo>
                    <a:pt x="549" y="653"/>
                  </a:lnTo>
                  <a:lnTo>
                    <a:pt x="509" y="658"/>
                  </a:lnTo>
                  <a:lnTo>
                    <a:pt x="508" y="658"/>
                  </a:lnTo>
                  <a:lnTo>
                    <a:pt x="475" y="663"/>
                  </a:lnTo>
                  <a:lnTo>
                    <a:pt x="475" y="657"/>
                  </a:lnTo>
                  <a:lnTo>
                    <a:pt x="472" y="657"/>
                  </a:lnTo>
                  <a:lnTo>
                    <a:pt x="443" y="660"/>
                  </a:lnTo>
                  <a:lnTo>
                    <a:pt x="436" y="662"/>
                  </a:lnTo>
                  <a:lnTo>
                    <a:pt x="407" y="663"/>
                  </a:lnTo>
                  <a:lnTo>
                    <a:pt x="395" y="665"/>
                  </a:lnTo>
                  <a:lnTo>
                    <a:pt x="374" y="667"/>
                  </a:lnTo>
                  <a:lnTo>
                    <a:pt x="361" y="669"/>
                  </a:lnTo>
                  <a:lnTo>
                    <a:pt x="338" y="670"/>
                  </a:lnTo>
                  <a:lnTo>
                    <a:pt x="313" y="674"/>
                  </a:lnTo>
                  <a:close/>
                </a:path>
              </a:pathLst>
            </a:custGeom>
            <a:grpFill/>
            <a:ln w="6350" cap="flat" cmpd="sng">
              <a:solidFill>
                <a:schemeClr val="bg1"/>
              </a:solidFill>
              <a:prstDash val="solid"/>
              <a:round/>
              <a:headEnd type="none" w="med" len="med"/>
              <a:tailEnd type="none" w="med" len="med"/>
            </a:ln>
            <a:effectLst/>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ea typeface="+mn-ea"/>
                <a:cs typeface="+mn-cs"/>
              </a:endParaRPr>
            </a:p>
          </p:txBody>
        </p:sp>
      </p:grpSp>
      <p:sp>
        <p:nvSpPr>
          <p:cNvPr id="59" name="Freeform 59">
            <a:extLst>
              <a:ext uri="{FF2B5EF4-FFF2-40B4-BE49-F238E27FC236}">
                <a16:creationId xmlns:a16="http://schemas.microsoft.com/office/drawing/2014/main" id="{06F657B7-C4EE-41C4-83C7-667A00BA9F1D}"/>
              </a:ext>
            </a:extLst>
          </p:cNvPr>
          <p:cNvSpPr>
            <a:spLocks/>
          </p:cNvSpPr>
          <p:nvPr/>
        </p:nvSpPr>
        <p:spPr bwMode="gray">
          <a:xfrm>
            <a:off x="9471309" y="3858321"/>
            <a:ext cx="92751" cy="92751"/>
          </a:xfrm>
          <a:prstGeom prst="star5">
            <a:avLst/>
          </a:prstGeom>
          <a:solidFill>
            <a:schemeClr val="bg2"/>
          </a:solidFill>
          <a:ln w="3175" cap="flat"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60" name="Oval 59">
            <a:extLst>
              <a:ext uri="{FF2B5EF4-FFF2-40B4-BE49-F238E27FC236}">
                <a16:creationId xmlns:a16="http://schemas.microsoft.com/office/drawing/2014/main" id="{8765810E-0440-440D-BB96-3122763C8064}"/>
              </a:ext>
            </a:extLst>
          </p:cNvPr>
          <p:cNvSpPr/>
          <p:nvPr/>
        </p:nvSpPr>
        <p:spPr>
          <a:xfrm>
            <a:off x="8876303" y="2834224"/>
            <a:ext cx="91440" cy="91440"/>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61" name="Oval 60">
            <a:extLst>
              <a:ext uri="{FF2B5EF4-FFF2-40B4-BE49-F238E27FC236}">
                <a16:creationId xmlns:a16="http://schemas.microsoft.com/office/drawing/2014/main" id="{2B5E2A23-A97D-4CD4-A7CE-EC83FD9BE528}"/>
              </a:ext>
            </a:extLst>
          </p:cNvPr>
          <p:cNvSpPr/>
          <p:nvPr/>
        </p:nvSpPr>
        <p:spPr>
          <a:xfrm>
            <a:off x="8021227" y="4930201"/>
            <a:ext cx="91440" cy="91440"/>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62" name="Oval 61">
            <a:extLst>
              <a:ext uri="{FF2B5EF4-FFF2-40B4-BE49-F238E27FC236}">
                <a16:creationId xmlns:a16="http://schemas.microsoft.com/office/drawing/2014/main" id="{B6188D36-C5B2-4C90-97BE-9412AF71810F}"/>
              </a:ext>
            </a:extLst>
          </p:cNvPr>
          <p:cNvSpPr/>
          <p:nvPr/>
        </p:nvSpPr>
        <p:spPr>
          <a:xfrm>
            <a:off x="2829958" y="3658325"/>
            <a:ext cx="91440" cy="91440"/>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63" name="Oval 62">
            <a:extLst>
              <a:ext uri="{FF2B5EF4-FFF2-40B4-BE49-F238E27FC236}">
                <a16:creationId xmlns:a16="http://schemas.microsoft.com/office/drawing/2014/main" id="{004EE386-C0C7-449B-8C09-0BB318585CAC}"/>
              </a:ext>
            </a:extLst>
          </p:cNvPr>
          <p:cNvSpPr/>
          <p:nvPr/>
        </p:nvSpPr>
        <p:spPr>
          <a:xfrm>
            <a:off x="6854483" y="3642326"/>
            <a:ext cx="320040" cy="320040"/>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64" name="Oval 63">
            <a:extLst>
              <a:ext uri="{FF2B5EF4-FFF2-40B4-BE49-F238E27FC236}">
                <a16:creationId xmlns:a16="http://schemas.microsoft.com/office/drawing/2014/main" id="{E91E6AFE-69B6-42F6-9D91-B9957742EE5A}"/>
              </a:ext>
            </a:extLst>
          </p:cNvPr>
          <p:cNvSpPr/>
          <p:nvPr/>
        </p:nvSpPr>
        <p:spPr>
          <a:xfrm>
            <a:off x="5776242" y="4678916"/>
            <a:ext cx="91440" cy="91440"/>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65" name="TextBox 64">
            <a:extLst>
              <a:ext uri="{FF2B5EF4-FFF2-40B4-BE49-F238E27FC236}">
                <a16:creationId xmlns:a16="http://schemas.microsoft.com/office/drawing/2014/main" id="{E08EFB43-B3C4-4C9B-8C7B-AD8B90F3CC53}"/>
              </a:ext>
            </a:extLst>
          </p:cNvPr>
          <p:cNvSpPr txBox="1"/>
          <p:nvPr/>
        </p:nvSpPr>
        <p:spPr>
          <a:xfrm>
            <a:off x="4259856" y="4718235"/>
            <a:ext cx="166793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Oklahoma City, OK</a:t>
            </a:r>
          </a:p>
        </p:txBody>
      </p:sp>
      <p:sp>
        <p:nvSpPr>
          <p:cNvPr id="66" name="TextBox 65">
            <a:extLst>
              <a:ext uri="{FF2B5EF4-FFF2-40B4-BE49-F238E27FC236}">
                <a16:creationId xmlns:a16="http://schemas.microsoft.com/office/drawing/2014/main" id="{808E5DDA-1D6F-4142-B2E9-A2E9332E0EA2}"/>
              </a:ext>
            </a:extLst>
          </p:cNvPr>
          <p:cNvSpPr txBox="1"/>
          <p:nvPr/>
        </p:nvSpPr>
        <p:spPr>
          <a:xfrm>
            <a:off x="1445430" y="3360864"/>
            <a:ext cx="135581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Mendocino, CA</a:t>
            </a:r>
          </a:p>
        </p:txBody>
      </p:sp>
      <p:sp>
        <p:nvSpPr>
          <p:cNvPr id="67" name="TextBox 66">
            <a:extLst>
              <a:ext uri="{FF2B5EF4-FFF2-40B4-BE49-F238E27FC236}">
                <a16:creationId xmlns:a16="http://schemas.microsoft.com/office/drawing/2014/main" id="{DC789B07-F1A5-41D2-A962-2D6C494E255E}"/>
              </a:ext>
            </a:extLst>
          </p:cNvPr>
          <p:cNvSpPr txBox="1"/>
          <p:nvPr/>
        </p:nvSpPr>
        <p:spPr>
          <a:xfrm>
            <a:off x="9506133" y="4705287"/>
            <a:ext cx="129425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Charleston, SC</a:t>
            </a:r>
          </a:p>
        </p:txBody>
      </p:sp>
      <p:sp>
        <p:nvSpPr>
          <p:cNvPr id="68" name="TextBox 67">
            <a:extLst>
              <a:ext uri="{FF2B5EF4-FFF2-40B4-BE49-F238E27FC236}">
                <a16:creationId xmlns:a16="http://schemas.microsoft.com/office/drawing/2014/main" id="{4BA81D74-DFC2-42DF-8B99-86900C5E183F}"/>
              </a:ext>
            </a:extLst>
          </p:cNvPr>
          <p:cNvSpPr txBox="1"/>
          <p:nvPr/>
        </p:nvSpPr>
        <p:spPr>
          <a:xfrm>
            <a:off x="9123555" y="2478898"/>
            <a:ext cx="1637973"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Portland, ME</a:t>
            </a:r>
          </a:p>
        </p:txBody>
      </p:sp>
      <p:sp>
        <p:nvSpPr>
          <p:cNvPr id="69" name="Oval 68">
            <a:extLst>
              <a:ext uri="{FF2B5EF4-FFF2-40B4-BE49-F238E27FC236}">
                <a16:creationId xmlns:a16="http://schemas.microsoft.com/office/drawing/2014/main" id="{69D6E32B-4F13-4135-BE6F-A3BE307E410D}"/>
              </a:ext>
            </a:extLst>
          </p:cNvPr>
          <p:cNvSpPr/>
          <p:nvPr/>
        </p:nvSpPr>
        <p:spPr>
          <a:xfrm>
            <a:off x="6056676" y="5081894"/>
            <a:ext cx="164592" cy="164592"/>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70" name="TextBox 69">
            <a:extLst>
              <a:ext uri="{FF2B5EF4-FFF2-40B4-BE49-F238E27FC236}">
                <a16:creationId xmlns:a16="http://schemas.microsoft.com/office/drawing/2014/main" id="{8CD06423-3812-43B4-8F3D-389AB59C16B7}"/>
              </a:ext>
            </a:extLst>
          </p:cNvPr>
          <p:cNvSpPr txBox="1"/>
          <p:nvPr/>
        </p:nvSpPr>
        <p:spPr>
          <a:xfrm>
            <a:off x="5874972" y="5735371"/>
            <a:ext cx="129425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Dallas, TX</a:t>
            </a:r>
          </a:p>
        </p:txBody>
      </p:sp>
      <p:sp>
        <p:nvSpPr>
          <p:cNvPr id="71" name="TextBox 70">
            <a:extLst>
              <a:ext uri="{FF2B5EF4-FFF2-40B4-BE49-F238E27FC236}">
                <a16:creationId xmlns:a16="http://schemas.microsoft.com/office/drawing/2014/main" id="{A48904BC-1B72-4C30-9A03-F2973201EFD4}"/>
              </a:ext>
            </a:extLst>
          </p:cNvPr>
          <p:cNvSpPr txBox="1"/>
          <p:nvPr/>
        </p:nvSpPr>
        <p:spPr>
          <a:xfrm>
            <a:off x="5662454" y="1556125"/>
            <a:ext cx="1465019"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Milwaukee, WI</a:t>
            </a:r>
          </a:p>
        </p:txBody>
      </p:sp>
      <p:sp>
        <p:nvSpPr>
          <p:cNvPr id="72" name="TextBox 71">
            <a:extLst>
              <a:ext uri="{FF2B5EF4-FFF2-40B4-BE49-F238E27FC236}">
                <a16:creationId xmlns:a16="http://schemas.microsoft.com/office/drawing/2014/main" id="{B61AF022-AF0A-4772-B030-A5B03CD814C3}"/>
              </a:ext>
            </a:extLst>
          </p:cNvPr>
          <p:cNvSpPr txBox="1"/>
          <p:nvPr/>
        </p:nvSpPr>
        <p:spPr>
          <a:xfrm>
            <a:off x="7231267" y="1556125"/>
            <a:ext cx="3046484"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Chicago, I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 </a:t>
            </a:r>
          </a:p>
        </p:txBody>
      </p:sp>
      <p:sp>
        <p:nvSpPr>
          <p:cNvPr id="73" name="Oval 72">
            <a:extLst>
              <a:ext uri="{FF2B5EF4-FFF2-40B4-BE49-F238E27FC236}">
                <a16:creationId xmlns:a16="http://schemas.microsoft.com/office/drawing/2014/main" id="{724199A3-EE41-4340-87B2-C822EA7C700F}"/>
              </a:ext>
            </a:extLst>
          </p:cNvPr>
          <p:cNvSpPr/>
          <p:nvPr/>
        </p:nvSpPr>
        <p:spPr>
          <a:xfrm>
            <a:off x="6852153" y="3391008"/>
            <a:ext cx="182880" cy="182880"/>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74" name="Oval 73">
            <a:extLst>
              <a:ext uri="{FF2B5EF4-FFF2-40B4-BE49-F238E27FC236}">
                <a16:creationId xmlns:a16="http://schemas.microsoft.com/office/drawing/2014/main" id="{2B76E264-DB78-49BE-A5C2-85905E59EDFE}"/>
              </a:ext>
            </a:extLst>
          </p:cNvPr>
          <p:cNvSpPr/>
          <p:nvPr/>
        </p:nvSpPr>
        <p:spPr>
          <a:xfrm>
            <a:off x="7885672" y="5725906"/>
            <a:ext cx="137160" cy="137160"/>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75" name="TextBox 74">
            <a:extLst>
              <a:ext uri="{FF2B5EF4-FFF2-40B4-BE49-F238E27FC236}">
                <a16:creationId xmlns:a16="http://schemas.microsoft.com/office/drawing/2014/main" id="{1DE75421-E8B4-47D0-9425-5C84C8FD1F3B}"/>
              </a:ext>
            </a:extLst>
          </p:cNvPr>
          <p:cNvSpPr txBox="1"/>
          <p:nvPr/>
        </p:nvSpPr>
        <p:spPr>
          <a:xfrm>
            <a:off x="8784393" y="5479730"/>
            <a:ext cx="1636179"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Ft. Lauderdale, FL</a:t>
            </a:r>
          </a:p>
        </p:txBody>
      </p:sp>
      <p:sp>
        <p:nvSpPr>
          <p:cNvPr id="76" name="Rectangle 75">
            <a:extLst>
              <a:ext uri="{FF2B5EF4-FFF2-40B4-BE49-F238E27FC236}">
                <a16:creationId xmlns:a16="http://schemas.microsoft.com/office/drawing/2014/main" id="{F4888492-6EFA-4C13-ACB5-B170B260A4B4}"/>
              </a:ext>
            </a:extLst>
          </p:cNvPr>
          <p:cNvSpPr/>
          <p:nvPr/>
        </p:nvSpPr>
        <p:spPr>
          <a:xfrm>
            <a:off x="7231267" y="1777033"/>
            <a:ext cx="1799504" cy="12003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Landscaping professiona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Small business manag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Homeown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Outdoors enthusias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Fishing guid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Water taxi operat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Boat &amp; power product deal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a:t>
            </a:r>
          </a:p>
        </p:txBody>
      </p:sp>
      <p:sp>
        <p:nvSpPr>
          <p:cNvPr id="77" name="Rectangle 76">
            <a:extLst>
              <a:ext uri="{FF2B5EF4-FFF2-40B4-BE49-F238E27FC236}">
                <a16:creationId xmlns:a16="http://schemas.microsoft.com/office/drawing/2014/main" id="{279A8DD2-63D8-4428-BCF7-28CBF5E4980B}"/>
              </a:ext>
            </a:extLst>
          </p:cNvPr>
          <p:cNvSpPr/>
          <p:nvPr/>
        </p:nvSpPr>
        <p:spPr>
          <a:xfrm>
            <a:off x="9123555" y="2677205"/>
            <a:ext cx="1319592"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Small business owner</a:t>
            </a:r>
          </a:p>
        </p:txBody>
      </p:sp>
      <p:sp>
        <p:nvSpPr>
          <p:cNvPr id="78" name="Rectangle 77">
            <a:extLst>
              <a:ext uri="{FF2B5EF4-FFF2-40B4-BE49-F238E27FC236}">
                <a16:creationId xmlns:a16="http://schemas.microsoft.com/office/drawing/2014/main" id="{B1656736-9ADD-4DC5-893F-1686FBA548B0}"/>
              </a:ext>
            </a:extLst>
          </p:cNvPr>
          <p:cNvSpPr/>
          <p:nvPr/>
        </p:nvSpPr>
        <p:spPr>
          <a:xfrm>
            <a:off x="1445430" y="3556455"/>
            <a:ext cx="1211752"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Farmer’s market vendor</a:t>
            </a:r>
          </a:p>
        </p:txBody>
      </p:sp>
      <p:sp>
        <p:nvSpPr>
          <p:cNvPr id="79" name="Rectangle 78">
            <a:extLst>
              <a:ext uri="{FF2B5EF4-FFF2-40B4-BE49-F238E27FC236}">
                <a16:creationId xmlns:a16="http://schemas.microsoft.com/office/drawing/2014/main" id="{29CADA32-BFB1-4E76-9832-714BCF2EE433}"/>
              </a:ext>
            </a:extLst>
          </p:cNvPr>
          <p:cNvSpPr/>
          <p:nvPr/>
        </p:nvSpPr>
        <p:spPr>
          <a:xfrm>
            <a:off x="4251905" y="4901528"/>
            <a:ext cx="1455490"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Boating enthusia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Homeowner</a:t>
            </a:r>
          </a:p>
        </p:txBody>
      </p:sp>
      <p:sp>
        <p:nvSpPr>
          <p:cNvPr id="80" name="Rectangle 79">
            <a:extLst>
              <a:ext uri="{FF2B5EF4-FFF2-40B4-BE49-F238E27FC236}">
                <a16:creationId xmlns:a16="http://schemas.microsoft.com/office/drawing/2014/main" id="{1CCF87E2-6B73-4389-BAEF-3C82AA7C8D15}"/>
              </a:ext>
            </a:extLst>
          </p:cNvPr>
          <p:cNvSpPr/>
          <p:nvPr/>
        </p:nvSpPr>
        <p:spPr>
          <a:xfrm>
            <a:off x="8837559" y="5681099"/>
            <a:ext cx="2057893" cy="5078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Recreational boa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Boat and power product deal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Homeowner</a:t>
            </a:r>
          </a:p>
        </p:txBody>
      </p:sp>
      <p:sp>
        <p:nvSpPr>
          <p:cNvPr id="81" name="Rectangle 80">
            <a:extLst>
              <a:ext uri="{FF2B5EF4-FFF2-40B4-BE49-F238E27FC236}">
                <a16:creationId xmlns:a16="http://schemas.microsoft.com/office/drawing/2014/main" id="{46DE1EF4-AC5F-4EE3-A3E6-E543D7FF9FA1}"/>
              </a:ext>
            </a:extLst>
          </p:cNvPr>
          <p:cNvSpPr/>
          <p:nvPr/>
        </p:nvSpPr>
        <p:spPr>
          <a:xfrm>
            <a:off x="9506133" y="4901528"/>
            <a:ext cx="840295"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Homeowner</a:t>
            </a:r>
          </a:p>
        </p:txBody>
      </p:sp>
      <p:sp>
        <p:nvSpPr>
          <p:cNvPr id="82" name="Rectangle 81">
            <a:extLst>
              <a:ext uri="{FF2B5EF4-FFF2-40B4-BE49-F238E27FC236}">
                <a16:creationId xmlns:a16="http://schemas.microsoft.com/office/drawing/2014/main" id="{68FB303C-D216-4618-8588-66CC56368F0E}"/>
              </a:ext>
            </a:extLst>
          </p:cNvPr>
          <p:cNvSpPr/>
          <p:nvPr/>
        </p:nvSpPr>
        <p:spPr>
          <a:xfrm>
            <a:off x="5883225" y="5915072"/>
            <a:ext cx="1474665" cy="7848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Landscaping profession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Homeown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Recreation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boater &amp; fisherman</a:t>
            </a:r>
          </a:p>
        </p:txBody>
      </p:sp>
      <p:sp>
        <p:nvSpPr>
          <p:cNvPr id="83" name="TextBox 82">
            <a:extLst>
              <a:ext uri="{FF2B5EF4-FFF2-40B4-BE49-F238E27FC236}">
                <a16:creationId xmlns:a16="http://schemas.microsoft.com/office/drawing/2014/main" id="{77C70913-CC00-4B14-8D64-B2F26E072B63}"/>
              </a:ext>
            </a:extLst>
          </p:cNvPr>
          <p:cNvSpPr txBox="1"/>
          <p:nvPr/>
        </p:nvSpPr>
        <p:spPr>
          <a:xfrm>
            <a:off x="686863" y="5777191"/>
            <a:ext cx="360547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mn-cs"/>
              </a:rPr>
              <a:t>Bubble size indicates number of interviewees</a:t>
            </a:r>
          </a:p>
        </p:txBody>
      </p:sp>
      <p:cxnSp>
        <p:nvCxnSpPr>
          <p:cNvPr id="84" name="Straight Connector 83">
            <a:extLst>
              <a:ext uri="{FF2B5EF4-FFF2-40B4-BE49-F238E27FC236}">
                <a16:creationId xmlns:a16="http://schemas.microsoft.com/office/drawing/2014/main" id="{64B885C8-D2D1-485C-8DC1-F5703AB082A2}"/>
              </a:ext>
            </a:extLst>
          </p:cNvPr>
          <p:cNvCxnSpPr>
            <a:stCxn id="73" idx="0"/>
          </p:cNvCxnSpPr>
          <p:nvPr/>
        </p:nvCxnSpPr>
        <p:spPr>
          <a:xfrm flipH="1" flipV="1">
            <a:off x="6733843" y="2677206"/>
            <a:ext cx="209750" cy="713802"/>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D7E954D9-B560-417E-AC1A-AC938655F7EF}"/>
              </a:ext>
            </a:extLst>
          </p:cNvPr>
          <p:cNvCxnSpPr>
            <a:stCxn id="63" idx="7"/>
          </p:cNvCxnSpPr>
          <p:nvPr/>
        </p:nvCxnSpPr>
        <p:spPr>
          <a:xfrm flipV="1">
            <a:off x="7127654" y="3015227"/>
            <a:ext cx="434435" cy="673968"/>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F910CD53-4649-4A82-BA77-0FE96D305165}"/>
              </a:ext>
            </a:extLst>
          </p:cNvPr>
          <p:cNvSpPr/>
          <p:nvPr/>
        </p:nvSpPr>
        <p:spPr>
          <a:xfrm>
            <a:off x="5662454" y="1777033"/>
            <a:ext cx="1713965" cy="7848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Homeown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Construction work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Boat deal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Home improvement &amp; outdoor retailers</a:t>
            </a:r>
          </a:p>
        </p:txBody>
      </p:sp>
      <p:cxnSp>
        <p:nvCxnSpPr>
          <p:cNvPr id="87" name="Straight Connector 86">
            <a:extLst>
              <a:ext uri="{FF2B5EF4-FFF2-40B4-BE49-F238E27FC236}">
                <a16:creationId xmlns:a16="http://schemas.microsoft.com/office/drawing/2014/main" id="{CD4D2206-3429-456C-87D1-EAF0A91198E7}"/>
              </a:ext>
            </a:extLst>
          </p:cNvPr>
          <p:cNvCxnSpPr>
            <a:endCxn id="69" idx="4"/>
          </p:cNvCxnSpPr>
          <p:nvPr/>
        </p:nvCxnSpPr>
        <p:spPr>
          <a:xfrm flipH="1" flipV="1">
            <a:off x="6138972" y="5246486"/>
            <a:ext cx="177706" cy="509624"/>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88" name="Oval 87">
            <a:extLst>
              <a:ext uri="{FF2B5EF4-FFF2-40B4-BE49-F238E27FC236}">
                <a16:creationId xmlns:a16="http://schemas.microsoft.com/office/drawing/2014/main" id="{1D64C21C-42AC-4E85-BC34-6E2B6E9B3989}"/>
              </a:ext>
            </a:extLst>
          </p:cNvPr>
          <p:cNvSpPr/>
          <p:nvPr/>
        </p:nvSpPr>
        <p:spPr>
          <a:xfrm>
            <a:off x="2041700" y="6085963"/>
            <a:ext cx="228600" cy="228600"/>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89" name="TextBox 88">
            <a:extLst>
              <a:ext uri="{FF2B5EF4-FFF2-40B4-BE49-F238E27FC236}">
                <a16:creationId xmlns:a16="http://schemas.microsoft.com/office/drawing/2014/main" id="{3507C557-6FCB-4466-B824-32891449B9E2}"/>
              </a:ext>
            </a:extLst>
          </p:cNvPr>
          <p:cNvSpPr txBox="1"/>
          <p:nvPr/>
        </p:nvSpPr>
        <p:spPr>
          <a:xfrm>
            <a:off x="2196392" y="6063914"/>
            <a:ext cx="407465"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mn-cs"/>
              </a:rPr>
              <a:t>10</a:t>
            </a:r>
          </a:p>
        </p:txBody>
      </p:sp>
      <p:sp>
        <p:nvSpPr>
          <p:cNvPr id="90" name="Oval 89">
            <a:extLst>
              <a:ext uri="{FF2B5EF4-FFF2-40B4-BE49-F238E27FC236}">
                <a16:creationId xmlns:a16="http://schemas.microsoft.com/office/drawing/2014/main" id="{577C5F92-A804-4CAB-98E0-67AFC35CDB32}"/>
              </a:ext>
            </a:extLst>
          </p:cNvPr>
          <p:cNvSpPr/>
          <p:nvPr/>
        </p:nvSpPr>
        <p:spPr>
          <a:xfrm>
            <a:off x="1025522" y="6154543"/>
            <a:ext cx="91440" cy="91440"/>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91" name="Oval 90">
            <a:extLst>
              <a:ext uri="{FF2B5EF4-FFF2-40B4-BE49-F238E27FC236}">
                <a16:creationId xmlns:a16="http://schemas.microsoft.com/office/drawing/2014/main" id="{EBE7EDEF-5F27-4C64-BE91-9BA32468D1C4}"/>
              </a:ext>
            </a:extLst>
          </p:cNvPr>
          <p:cNvSpPr/>
          <p:nvPr/>
        </p:nvSpPr>
        <p:spPr>
          <a:xfrm>
            <a:off x="1497035" y="6117967"/>
            <a:ext cx="164592" cy="164592"/>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92" name="TextBox 91">
            <a:extLst>
              <a:ext uri="{FF2B5EF4-FFF2-40B4-BE49-F238E27FC236}">
                <a16:creationId xmlns:a16="http://schemas.microsoft.com/office/drawing/2014/main" id="{4CF4A3CA-399D-40A1-A8AE-D3FD9FA79540}"/>
              </a:ext>
            </a:extLst>
          </p:cNvPr>
          <p:cNvSpPr txBox="1"/>
          <p:nvPr/>
        </p:nvSpPr>
        <p:spPr>
          <a:xfrm>
            <a:off x="1595881" y="6063914"/>
            <a:ext cx="407465"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mn-cs"/>
              </a:rPr>
              <a:t>5</a:t>
            </a:r>
          </a:p>
        </p:txBody>
      </p:sp>
      <p:sp>
        <p:nvSpPr>
          <p:cNvPr id="93" name="TextBox 92">
            <a:extLst>
              <a:ext uri="{FF2B5EF4-FFF2-40B4-BE49-F238E27FC236}">
                <a16:creationId xmlns:a16="http://schemas.microsoft.com/office/drawing/2014/main" id="{7B740D16-AA90-4E84-B3D6-D04FCAA06B80}"/>
              </a:ext>
            </a:extLst>
          </p:cNvPr>
          <p:cNvSpPr txBox="1"/>
          <p:nvPr/>
        </p:nvSpPr>
        <p:spPr>
          <a:xfrm>
            <a:off x="1030676" y="6063914"/>
            <a:ext cx="407465"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mn-cs"/>
              </a:rPr>
              <a:t>1</a:t>
            </a:r>
          </a:p>
        </p:txBody>
      </p:sp>
      <p:sp>
        <p:nvSpPr>
          <p:cNvPr id="94" name="Oval 93">
            <a:extLst>
              <a:ext uri="{FF2B5EF4-FFF2-40B4-BE49-F238E27FC236}">
                <a16:creationId xmlns:a16="http://schemas.microsoft.com/office/drawing/2014/main" id="{15B76EB0-1441-4DFF-80DD-272146BE32E3}"/>
              </a:ext>
            </a:extLst>
          </p:cNvPr>
          <p:cNvSpPr/>
          <p:nvPr/>
        </p:nvSpPr>
        <p:spPr>
          <a:xfrm>
            <a:off x="8108354" y="5921522"/>
            <a:ext cx="210312" cy="210312"/>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95" name="Oval 94">
            <a:extLst>
              <a:ext uri="{FF2B5EF4-FFF2-40B4-BE49-F238E27FC236}">
                <a16:creationId xmlns:a16="http://schemas.microsoft.com/office/drawing/2014/main" id="{2D53F2E3-BF8D-4314-817B-4E06F4015CDB}"/>
              </a:ext>
            </a:extLst>
          </p:cNvPr>
          <p:cNvSpPr/>
          <p:nvPr/>
        </p:nvSpPr>
        <p:spPr>
          <a:xfrm>
            <a:off x="2650373" y="6063103"/>
            <a:ext cx="274320" cy="274320"/>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96" name="TextBox 95">
            <a:extLst>
              <a:ext uri="{FF2B5EF4-FFF2-40B4-BE49-F238E27FC236}">
                <a16:creationId xmlns:a16="http://schemas.microsoft.com/office/drawing/2014/main" id="{656B5D7F-9C9C-4E23-B081-D441E0015944}"/>
              </a:ext>
            </a:extLst>
          </p:cNvPr>
          <p:cNvSpPr txBox="1"/>
          <p:nvPr/>
        </p:nvSpPr>
        <p:spPr>
          <a:xfrm>
            <a:off x="2849857" y="6063914"/>
            <a:ext cx="407465"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mn-cs"/>
              </a:rPr>
              <a:t>15</a:t>
            </a:r>
          </a:p>
        </p:txBody>
      </p:sp>
      <p:sp>
        <p:nvSpPr>
          <p:cNvPr id="97" name="Rectangle 96">
            <a:extLst>
              <a:ext uri="{FF2B5EF4-FFF2-40B4-BE49-F238E27FC236}">
                <a16:creationId xmlns:a16="http://schemas.microsoft.com/office/drawing/2014/main" id="{FF42BB91-1A44-4083-B695-F92A1097E0E7}"/>
              </a:ext>
            </a:extLst>
          </p:cNvPr>
          <p:cNvSpPr/>
          <p:nvPr/>
        </p:nvSpPr>
        <p:spPr>
          <a:xfrm>
            <a:off x="6930224" y="5819660"/>
            <a:ext cx="940415" cy="5078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Homeown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Recreational boaters</a:t>
            </a:r>
          </a:p>
        </p:txBody>
      </p:sp>
      <p:sp>
        <p:nvSpPr>
          <p:cNvPr id="98" name="Oval 97">
            <a:extLst>
              <a:ext uri="{FF2B5EF4-FFF2-40B4-BE49-F238E27FC236}">
                <a16:creationId xmlns:a16="http://schemas.microsoft.com/office/drawing/2014/main" id="{DFA820BB-5311-4AB3-A234-C4DB66AE3FFC}"/>
              </a:ext>
            </a:extLst>
          </p:cNvPr>
          <p:cNvSpPr/>
          <p:nvPr/>
        </p:nvSpPr>
        <p:spPr>
          <a:xfrm>
            <a:off x="8593341" y="3524370"/>
            <a:ext cx="137160" cy="137160"/>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99" name="TextBox 98">
            <a:extLst>
              <a:ext uri="{FF2B5EF4-FFF2-40B4-BE49-F238E27FC236}">
                <a16:creationId xmlns:a16="http://schemas.microsoft.com/office/drawing/2014/main" id="{7E7C1C9C-BBC8-43A3-8C5B-7C1466ED44F3}"/>
              </a:ext>
            </a:extLst>
          </p:cNvPr>
          <p:cNvSpPr txBox="1"/>
          <p:nvPr/>
        </p:nvSpPr>
        <p:spPr>
          <a:xfrm>
            <a:off x="9079142" y="3627271"/>
            <a:ext cx="1637973"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New York, NY</a:t>
            </a:r>
          </a:p>
        </p:txBody>
      </p:sp>
      <p:sp>
        <p:nvSpPr>
          <p:cNvPr id="100" name="Rectangle 99">
            <a:extLst>
              <a:ext uri="{FF2B5EF4-FFF2-40B4-BE49-F238E27FC236}">
                <a16:creationId xmlns:a16="http://schemas.microsoft.com/office/drawing/2014/main" id="{29E0F49B-5B3C-4486-88B5-D16C57B80878}"/>
              </a:ext>
            </a:extLst>
          </p:cNvPr>
          <p:cNvSpPr/>
          <p:nvPr/>
        </p:nvSpPr>
        <p:spPr>
          <a:xfrm>
            <a:off x="9079142" y="3825578"/>
            <a:ext cx="1519968" cy="50783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Landscaping profession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Homeown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Recreational boater</a:t>
            </a:r>
          </a:p>
        </p:txBody>
      </p:sp>
      <p:sp>
        <p:nvSpPr>
          <p:cNvPr id="101" name="Oval 100">
            <a:extLst>
              <a:ext uri="{FF2B5EF4-FFF2-40B4-BE49-F238E27FC236}">
                <a16:creationId xmlns:a16="http://schemas.microsoft.com/office/drawing/2014/main" id="{21510385-D330-45BE-B61B-97EE10DED512}"/>
              </a:ext>
            </a:extLst>
          </p:cNvPr>
          <p:cNvSpPr/>
          <p:nvPr/>
        </p:nvSpPr>
        <p:spPr>
          <a:xfrm>
            <a:off x="6027380" y="5527295"/>
            <a:ext cx="146304" cy="146304"/>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cxnSp>
        <p:nvCxnSpPr>
          <p:cNvPr id="102" name="Straight Connector 101">
            <a:extLst>
              <a:ext uri="{FF2B5EF4-FFF2-40B4-BE49-F238E27FC236}">
                <a16:creationId xmlns:a16="http://schemas.microsoft.com/office/drawing/2014/main" id="{2799B699-4AE5-44A3-804D-327F66245B72}"/>
              </a:ext>
            </a:extLst>
          </p:cNvPr>
          <p:cNvCxnSpPr>
            <a:stCxn id="101" idx="3"/>
          </p:cNvCxnSpPr>
          <p:nvPr/>
        </p:nvCxnSpPr>
        <p:spPr>
          <a:xfrm flipH="1">
            <a:off x="5470004" y="5652173"/>
            <a:ext cx="578802" cy="454713"/>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82416E2B-8B50-4752-BD55-E8A57147C846}"/>
              </a:ext>
            </a:extLst>
          </p:cNvPr>
          <p:cNvSpPr txBox="1"/>
          <p:nvPr/>
        </p:nvSpPr>
        <p:spPr>
          <a:xfrm>
            <a:off x="4430549" y="5954027"/>
            <a:ext cx="129425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Houston, TX</a:t>
            </a:r>
          </a:p>
        </p:txBody>
      </p:sp>
      <p:sp>
        <p:nvSpPr>
          <p:cNvPr id="104" name="Rectangle 103">
            <a:extLst>
              <a:ext uri="{FF2B5EF4-FFF2-40B4-BE49-F238E27FC236}">
                <a16:creationId xmlns:a16="http://schemas.microsoft.com/office/drawing/2014/main" id="{68C16BC4-9C05-47DA-AB65-CDBF1C786269}"/>
              </a:ext>
            </a:extLst>
          </p:cNvPr>
          <p:cNvSpPr/>
          <p:nvPr/>
        </p:nvSpPr>
        <p:spPr>
          <a:xfrm>
            <a:off x="4430549" y="6140758"/>
            <a:ext cx="1455490" cy="5078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Boat deal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Cater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Government manager</a:t>
            </a:r>
          </a:p>
        </p:txBody>
      </p:sp>
      <p:sp>
        <p:nvSpPr>
          <p:cNvPr id="105" name="Oval 104">
            <a:extLst>
              <a:ext uri="{FF2B5EF4-FFF2-40B4-BE49-F238E27FC236}">
                <a16:creationId xmlns:a16="http://schemas.microsoft.com/office/drawing/2014/main" id="{4C72BE6D-70E3-424E-9208-0DA3D0A7E58D}"/>
              </a:ext>
            </a:extLst>
          </p:cNvPr>
          <p:cNvSpPr/>
          <p:nvPr/>
        </p:nvSpPr>
        <p:spPr>
          <a:xfrm>
            <a:off x="5792341" y="5386990"/>
            <a:ext cx="118872" cy="118872"/>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106" name="TextBox 105">
            <a:extLst>
              <a:ext uri="{FF2B5EF4-FFF2-40B4-BE49-F238E27FC236}">
                <a16:creationId xmlns:a16="http://schemas.microsoft.com/office/drawing/2014/main" id="{30992270-C7FE-422D-9B07-0BC6C4BC486B}"/>
              </a:ext>
            </a:extLst>
          </p:cNvPr>
          <p:cNvSpPr txBox="1"/>
          <p:nvPr/>
        </p:nvSpPr>
        <p:spPr>
          <a:xfrm>
            <a:off x="3116722" y="5267907"/>
            <a:ext cx="129425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Austin, TX</a:t>
            </a:r>
          </a:p>
        </p:txBody>
      </p:sp>
      <p:sp>
        <p:nvSpPr>
          <p:cNvPr id="107" name="Rectangle 106">
            <a:extLst>
              <a:ext uri="{FF2B5EF4-FFF2-40B4-BE49-F238E27FC236}">
                <a16:creationId xmlns:a16="http://schemas.microsoft.com/office/drawing/2014/main" id="{DF6C690E-64B7-40ED-B612-79966DCAC8A5}"/>
              </a:ext>
            </a:extLst>
          </p:cNvPr>
          <p:cNvSpPr/>
          <p:nvPr/>
        </p:nvSpPr>
        <p:spPr>
          <a:xfrm>
            <a:off x="3092198" y="5448160"/>
            <a:ext cx="1455490"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Food truck operators</a:t>
            </a:r>
          </a:p>
        </p:txBody>
      </p:sp>
      <p:cxnSp>
        <p:nvCxnSpPr>
          <p:cNvPr id="108" name="Straight Connector 107">
            <a:extLst>
              <a:ext uri="{FF2B5EF4-FFF2-40B4-BE49-F238E27FC236}">
                <a16:creationId xmlns:a16="http://schemas.microsoft.com/office/drawing/2014/main" id="{4E79066C-40FF-475F-8582-470F4D7DB99E}"/>
              </a:ext>
            </a:extLst>
          </p:cNvPr>
          <p:cNvCxnSpPr>
            <a:stCxn id="105" idx="2"/>
          </p:cNvCxnSpPr>
          <p:nvPr/>
        </p:nvCxnSpPr>
        <p:spPr>
          <a:xfrm flipH="1">
            <a:off x="4243631" y="5446426"/>
            <a:ext cx="1548710" cy="1734"/>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109" name="Oval 108">
            <a:extLst>
              <a:ext uri="{FF2B5EF4-FFF2-40B4-BE49-F238E27FC236}">
                <a16:creationId xmlns:a16="http://schemas.microsoft.com/office/drawing/2014/main" id="{8FF1C659-F337-4B99-B2A1-495EAEC9321B}"/>
              </a:ext>
            </a:extLst>
          </p:cNvPr>
          <p:cNvSpPr/>
          <p:nvPr/>
        </p:nvSpPr>
        <p:spPr>
          <a:xfrm>
            <a:off x="6254075" y="3165254"/>
            <a:ext cx="146304" cy="146304"/>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110" name="TextBox 109">
            <a:extLst>
              <a:ext uri="{FF2B5EF4-FFF2-40B4-BE49-F238E27FC236}">
                <a16:creationId xmlns:a16="http://schemas.microsoft.com/office/drawing/2014/main" id="{9EFC5A10-C7BC-49F2-9985-027586CE634F}"/>
              </a:ext>
            </a:extLst>
          </p:cNvPr>
          <p:cNvSpPr txBox="1"/>
          <p:nvPr/>
        </p:nvSpPr>
        <p:spPr>
          <a:xfrm>
            <a:off x="4161415" y="1674475"/>
            <a:ext cx="1517572"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Minneapolis, MN</a:t>
            </a:r>
          </a:p>
        </p:txBody>
      </p:sp>
      <p:sp>
        <p:nvSpPr>
          <p:cNvPr id="111" name="Rectangle 110">
            <a:extLst>
              <a:ext uri="{FF2B5EF4-FFF2-40B4-BE49-F238E27FC236}">
                <a16:creationId xmlns:a16="http://schemas.microsoft.com/office/drawing/2014/main" id="{DA618093-EC44-4365-BCAA-4489E6544BD3}"/>
              </a:ext>
            </a:extLst>
          </p:cNvPr>
          <p:cNvSpPr/>
          <p:nvPr/>
        </p:nvSpPr>
        <p:spPr>
          <a:xfrm>
            <a:off x="4161415" y="1874117"/>
            <a:ext cx="1713965" cy="5078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Homeown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Insurance brok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Boating enthusiast</a:t>
            </a:r>
          </a:p>
        </p:txBody>
      </p:sp>
      <p:cxnSp>
        <p:nvCxnSpPr>
          <p:cNvPr id="112" name="Straight Connector 111">
            <a:extLst>
              <a:ext uri="{FF2B5EF4-FFF2-40B4-BE49-F238E27FC236}">
                <a16:creationId xmlns:a16="http://schemas.microsoft.com/office/drawing/2014/main" id="{6D8A0BF3-F6E8-41C4-8CA7-BB964A336CC5}"/>
              </a:ext>
            </a:extLst>
          </p:cNvPr>
          <p:cNvCxnSpPr>
            <a:stCxn id="109" idx="1"/>
          </p:cNvCxnSpPr>
          <p:nvPr/>
        </p:nvCxnSpPr>
        <p:spPr>
          <a:xfrm flipH="1" flipV="1">
            <a:off x="5510561" y="2426014"/>
            <a:ext cx="764940" cy="760666"/>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113" name="Oval 112">
            <a:extLst>
              <a:ext uri="{FF2B5EF4-FFF2-40B4-BE49-F238E27FC236}">
                <a16:creationId xmlns:a16="http://schemas.microsoft.com/office/drawing/2014/main" id="{F25AAC79-5F02-4230-8298-E69A9269BB63}"/>
              </a:ext>
            </a:extLst>
          </p:cNvPr>
          <p:cNvSpPr/>
          <p:nvPr/>
        </p:nvSpPr>
        <p:spPr>
          <a:xfrm>
            <a:off x="7960162" y="5490017"/>
            <a:ext cx="91440" cy="91440"/>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114" name="TextBox 113">
            <a:extLst>
              <a:ext uri="{FF2B5EF4-FFF2-40B4-BE49-F238E27FC236}">
                <a16:creationId xmlns:a16="http://schemas.microsoft.com/office/drawing/2014/main" id="{C15FB6F4-E283-4D3A-A823-F989E591ED4F}"/>
              </a:ext>
            </a:extLst>
          </p:cNvPr>
          <p:cNvSpPr txBox="1"/>
          <p:nvPr/>
        </p:nvSpPr>
        <p:spPr>
          <a:xfrm>
            <a:off x="8129276" y="5068055"/>
            <a:ext cx="1636179"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St. Augustine, FL</a:t>
            </a:r>
          </a:p>
        </p:txBody>
      </p:sp>
      <p:sp>
        <p:nvSpPr>
          <p:cNvPr id="115" name="Rectangle 114">
            <a:extLst>
              <a:ext uri="{FF2B5EF4-FFF2-40B4-BE49-F238E27FC236}">
                <a16:creationId xmlns:a16="http://schemas.microsoft.com/office/drawing/2014/main" id="{214C6F33-F995-4600-B7B9-E2CB280F2B85}"/>
              </a:ext>
            </a:extLst>
          </p:cNvPr>
          <p:cNvSpPr/>
          <p:nvPr/>
        </p:nvSpPr>
        <p:spPr>
          <a:xfrm>
            <a:off x="8129276" y="5256314"/>
            <a:ext cx="1423788"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Charter boat fisherman</a:t>
            </a:r>
          </a:p>
        </p:txBody>
      </p:sp>
      <p:sp>
        <p:nvSpPr>
          <p:cNvPr id="116" name="Oval 115">
            <a:extLst>
              <a:ext uri="{FF2B5EF4-FFF2-40B4-BE49-F238E27FC236}">
                <a16:creationId xmlns:a16="http://schemas.microsoft.com/office/drawing/2014/main" id="{7906F8F2-F010-4AE2-9AC7-82C8B21E7873}"/>
              </a:ext>
            </a:extLst>
          </p:cNvPr>
          <p:cNvSpPr/>
          <p:nvPr/>
        </p:nvSpPr>
        <p:spPr>
          <a:xfrm>
            <a:off x="3110604" y="2723536"/>
            <a:ext cx="91440" cy="91440"/>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117" name="TextBox 116">
            <a:extLst>
              <a:ext uri="{FF2B5EF4-FFF2-40B4-BE49-F238E27FC236}">
                <a16:creationId xmlns:a16="http://schemas.microsoft.com/office/drawing/2014/main" id="{A55C80B3-A25A-470F-9C61-8F0653B66C90}"/>
              </a:ext>
            </a:extLst>
          </p:cNvPr>
          <p:cNvSpPr txBox="1"/>
          <p:nvPr/>
        </p:nvSpPr>
        <p:spPr>
          <a:xfrm>
            <a:off x="1891307" y="2351032"/>
            <a:ext cx="135581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Portland, OR</a:t>
            </a:r>
          </a:p>
        </p:txBody>
      </p:sp>
      <p:sp>
        <p:nvSpPr>
          <p:cNvPr id="118" name="Rectangle 117">
            <a:extLst>
              <a:ext uri="{FF2B5EF4-FFF2-40B4-BE49-F238E27FC236}">
                <a16:creationId xmlns:a16="http://schemas.microsoft.com/office/drawing/2014/main" id="{23E3824C-3F54-475F-8FC8-593AFE172EC0}"/>
              </a:ext>
            </a:extLst>
          </p:cNvPr>
          <p:cNvSpPr/>
          <p:nvPr/>
        </p:nvSpPr>
        <p:spPr>
          <a:xfrm>
            <a:off x="1891307" y="2546623"/>
            <a:ext cx="1211752"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Homeowner</a:t>
            </a:r>
          </a:p>
        </p:txBody>
      </p:sp>
      <p:sp>
        <p:nvSpPr>
          <p:cNvPr id="119" name="Oval 118">
            <a:extLst>
              <a:ext uri="{FF2B5EF4-FFF2-40B4-BE49-F238E27FC236}">
                <a16:creationId xmlns:a16="http://schemas.microsoft.com/office/drawing/2014/main" id="{174EBCBA-9985-49B1-BA24-C0CF77727D8E}"/>
              </a:ext>
            </a:extLst>
          </p:cNvPr>
          <p:cNvSpPr/>
          <p:nvPr/>
        </p:nvSpPr>
        <p:spPr>
          <a:xfrm>
            <a:off x="8826075" y="3213178"/>
            <a:ext cx="91440" cy="91440"/>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120" name="TextBox 119">
            <a:extLst>
              <a:ext uri="{FF2B5EF4-FFF2-40B4-BE49-F238E27FC236}">
                <a16:creationId xmlns:a16="http://schemas.microsoft.com/office/drawing/2014/main" id="{04F96EF0-FBDC-405C-8469-770E5BBD35CF}"/>
              </a:ext>
            </a:extLst>
          </p:cNvPr>
          <p:cNvSpPr txBox="1"/>
          <p:nvPr/>
        </p:nvSpPr>
        <p:spPr>
          <a:xfrm>
            <a:off x="9562453" y="2887552"/>
            <a:ext cx="1637973"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Boston, MA</a:t>
            </a:r>
          </a:p>
        </p:txBody>
      </p:sp>
      <p:sp>
        <p:nvSpPr>
          <p:cNvPr id="121" name="Rectangle 120">
            <a:extLst>
              <a:ext uri="{FF2B5EF4-FFF2-40B4-BE49-F238E27FC236}">
                <a16:creationId xmlns:a16="http://schemas.microsoft.com/office/drawing/2014/main" id="{F7D18139-7AC4-428B-B443-3133C32054EA}"/>
              </a:ext>
            </a:extLst>
          </p:cNvPr>
          <p:cNvSpPr/>
          <p:nvPr/>
        </p:nvSpPr>
        <p:spPr>
          <a:xfrm>
            <a:off x="9562453" y="3085859"/>
            <a:ext cx="1225015"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Recreational boater</a:t>
            </a:r>
          </a:p>
        </p:txBody>
      </p:sp>
      <p:sp>
        <p:nvSpPr>
          <p:cNvPr id="122" name="Oval 121">
            <a:extLst>
              <a:ext uri="{FF2B5EF4-FFF2-40B4-BE49-F238E27FC236}">
                <a16:creationId xmlns:a16="http://schemas.microsoft.com/office/drawing/2014/main" id="{329239D5-78D1-436A-B1DD-9A0092CF3EFC}"/>
              </a:ext>
            </a:extLst>
          </p:cNvPr>
          <p:cNvSpPr/>
          <p:nvPr/>
        </p:nvSpPr>
        <p:spPr>
          <a:xfrm>
            <a:off x="8691693" y="3328491"/>
            <a:ext cx="91440" cy="91440"/>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123" name="TextBox 122">
            <a:extLst>
              <a:ext uri="{FF2B5EF4-FFF2-40B4-BE49-F238E27FC236}">
                <a16:creationId xmlns:a16="http://schemas.microsoft.com/office/drawing/2014/main" id="{35DF6684-ABFD-45CB-BDA3-DFD51E9EB2F3}"/>
              </a:ext>
            </a:extLst>
          </p:cNvPr>
          <p:cNvSpPr txBox="1"/>
          <p:nvPr/>
        </p:nvSpPr>
        <p:spPr>
          <a:xfrm>
            <a:off x="8961344" y="3252183"/>
            <a:ext cx="1637973"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Hartford, CT</a:t>
            </a:r>
          </a:p>
        </p:txBody>
      </p:sp>
      <p:sp>
        <p:nvSpPr>
          <p:cNvPr id="124" name="Rectangle 123">
            <a:extLst>
              <a:ext uri="{FF2B5EF4-FFF2-40B4-BE49-F238E27FC236}">
                <a16:creationId xmlns:a16="http://schemas.microsoft.com/office/drawing/2014/main" id="{D1040AA5-2954-4E54-9585-1E53886646B3}"/>
              </a:ext>
            </a:extLst>
          </p:cNvPr>
          <p:cNvSpPr/>
          <p:nvPr/>
        </p:nvSpPr>
        <p:spPr>
          <a:xfrm>
            <a:off x="8961344" y="3450490"/>
            <a:ext cx="840295"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Homeowner</a:t>
            </a:r>
          </a:p>
        </p:txBody>
      </p:sp>
      <p:sp>
        <p:nvSpPr>
          <p:cNvPr id="125" name="Oval 124">
            <a:extLst>
              <a:ext uri="{FF2B5EF4-FFF2-40B4-BE49-F238E27FC236}">
                <a16:creationId xmlns:a16="http://schemas.microsoft.com/office/drawing/2014/main" id="{948C2D60-5B19-479C-85AE-467852CA11C6}"/>
              </a:ext>
            </a:extLst>
          </p:cNvPr>
          <p:cNvSpPr/>
          <p:nvPr/>
        </p:nvSpPr>
        <p:spPr>
          <a:xfrm>
            <a:off x="8212601" y="3952627"/>
            <a:ext cx="91440" cy="91440"/>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126" name="TextBox 125">
            <a:extLst>
              <a:ext uri="{FF2B5EF4-FFF2-40B4-BE49-F238E27FC236}">
                <a16:creationId xmlns:a16="http://schemas.microsoft.com/office/drawing/2014/main" id="{3B4FA3A7-84D6-441F-AF62-BDE873089D4F}"/>
              </a:ext>
            </a:extLst>
          </p:cNvPr>
          <p:cNvSpPr txBox="1"/>
          <p:nvPr/>
        </p:nvSpPr>
        <p:spPr>
          <a:xfrm>
            <a:off x="8522803" y="4341189"/>
            <a:ext cx="1637973"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Washington, DC</a:t>
            </a:r>
          </a:p>
        </p:txBody>
      </p:sp>
      <p:sp>
        <p:nvSpPr>
          <p:cNvPr id="127" name="Rectangle 126">
            <a:extLst>
              <a:ext uri="{FF2B5EF4-FFF2-40B4-BE49-F238E27FC236}">
                <a16:creationId xmlns:a16="http://schemas.microsoft.com/office/drawing/2014/main" id="{4CCFB1AD-9BBA-405E-AE41-69B2835DA8BD}"/>
              </a:ext>
            </a:extLst>
          </p:cNvPr>
          <p:cNvSpPr/>
          <p:nvPr/>
        </p:nvSpPr>
        <p:spPr>
          <a:xfrm>
            <a:off x="8522803" y="4539496"/>
            <a:ext cx="840295"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Homeowner</a:t>
            </a:r>
          </a:p>
        </p:txBody>
      </p:sp>
      <p:cxnSp>
        <p:nvCxnSpPr>
          <p:cNvPr id="128" name="Straight Connector 127">
            <a:extLst>
              <a:ext uri="{FF2B5EF4-FFF2-40B4-BE49-F238E27FC236}">
                <a16:creationId xmlns:a16="http://schemas.microsoft.com/office/drawing/2014/main" id="{FEF798B6-0583-4857-AA25-49289076EB23}"/>
              </a:ext>
            </a:extLst>
          </p:cNvPr>
          <p:cNvCxnSpPr>
            <a:endCxn id="125" idx="5"/>
          </p:cNvCxnSpPr>
          <p:nvPr/>
        </p:nvCxnSpPr>
        <p:spPr>
          <a:xfrm flipH="1" flipV="1">
            <a:off x="8290650" y="4030676"/>
            <a:ext cx="298932" cy="304458"/>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129" name="TextBox 128">
            <a:extLst>
              <a:ext uri="{FF2B5EF4-FFF2-40B4-BE49-F238E27FC236}">
                <a16:creationId xmlns:a16="http://schemas.microsoft.com/office/drawing/2014/main" id="{A2088D10-8559-4F6A-BDD5-B50F8D6A33F4}"/>
              </a:ext>
            </a:extLst>
          </p:cNvPr>
          <p:cNvSpPr txBox="1"/>
          <p:nvPr/>
        </p:nvSpPr>
        <p:spPr>
          <a:xfrm>
            <a:off x="7523622" y="6167257"/>
            <a:ext cx="129425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Orlando, FL</a:t>
            </a:r>
          </a:p>
        </p:txBody>
      </p:sp>
      <p:sp>
        <p:nvSpPr>
          <p:cNvPr id="130" name="Rectangle 129">
            <a:extLst>
              <a:ext uri="{FF2B5EF4-FFF2-40B4-BE49-F238E27FC236}">
                <a16:creationId xmlns:a16="http://schemas.microsoft.com/office/drawing/2014/main" id="{8584BFDA-A8F0-4B42-883C-9D5AC1831FE5}"/>
              </a:ext>
            </a:extLst>
          </p:cNvPr>
          <p:cNvSpPr/>
          <p:nvPr/>
        </p:nvSpPr>
        <p:spPr>
          <a:xfrm>
            <a:off x="7520315" y="6349805"/>
            <a:ext cx="1575919"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Boat and power product dealers</a:t>
            </a:r>
          </a:p>
        </p:txBody>
      </p:sp>
      <p:sp>
        <p:nvSpPr>
          <p:cNvPr id="131" name="Oval 130">
            <a:extLst>
              <a:ext uri="{FF2B5EF4-FFF2-40B4-BE49-F238E27FC236}">
                <a16:creationId xmlns:a16="http://schemas.microsoft.com/office/drawing/2014/main" id="{31CAA47D-1BF2-4C34-98F2-E2EDDEF71F31}"/>
              </a:ext>
            </a:extLst>
          </p:cNvPr>
          <p:cNvSpPr/>
          <p:nvPr/>
        </p:nvSpPr>
        <p:spPr>
          <a:xfrm>
            <a:off x="8017147" y="5658319"/>
            <a:ext cx="118872" cy="118872"/>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cxnSp>
        <p:nvCxnSpPr>
          <p:cNvPr id="132" name="Straight Connector 131">
            <a:extLst>
              <a:ext uri="{FF2B5EF4-FFF2-40B4-BE49-F238E27FC236}">
                <a16:creationId xmlns:a16="http://schemas.microsoft.com/office/drawing/2014/main" id="{7C24DB5E-BCF1-4397-B93E-19943CFE8D3E}"/>
              </a:ext>
            </a:extLst>
          </p:cNvPr>
          <p:cNvCxnSpPr>
            <a:endCxn id="131" idx="4"/>
          </p:cNvCxnSpPr>
          <p:nvPr/>
        </p:nvCxnSpPr>
        <p:spPr>
          <a:xfrm flipV="1">
            <a:off x="7938838" y="5777191"/>
            <a:ext cx="137745" cy="423688"/>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133" name="Oval 132">
            <a:extLst>
              <a:ext uri="{FF2B5EF4-FFF2-40B4-BE49-F238E27FC236}">
                <a16:creationId xmlns:a16="http://schemas.microsoft.com/office/drawing/2014/main" id="{8EC81BD9-92C8-4181-B39C-BB0404FF68EE}"/>
              </a:ext>
            </a:extLst>
          </p:cNvPr>
          <p:cNvSpPr/>
          <p:nvPr/>
        </p:nvSpPr>
        <p:spPr>
          <a:xfrm>
            <a:off x="3304765" y="6040243"/>
            <a:ext cx="320040" cy="320040"/>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134" name="TextBox 133">
            <a:extLst>
              <a:ext uri="{FF2B5EF4-FFF2-40B4-BE49-F238E27FC236}">
                <a16:creationId xmlns:a16="http://schemas.microsoft.com/office/drawing/2014/main" id="{4A56DB76-00C5-4D31-A7E3-28E98AA2D434}"/>
              </a:ext>
            </a:extLst>
          </p:cNvPr>
          <p:cNvSpPr txBox="1"/>
          <p:nvPr/>
        </p:nvSpPr>
        <p:spPr>
          <a:xfrm>
            <a:off x="3570410" y="6063914"/>
            <a:ext cx="407465"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mn-cs"/>
              </a:rPr>
              <a:t>20</a:t>
            </a:r>
          </a:p>
        </p:txBody>
      </p:sp>
      <p:sp>
        <p:nvSpPr>
          <p:cNvPr id="135" name="Oval 134">
            <a:extLst>
              <a:ext uri="{FF2B5EF4-FFF2-40B4-BE49-F238E27FC236}">
                <a16:creationId xmlns:a16="http://schemas.microsoft.com/office/drawing/2014/main" id="{4DECCD93-8777-47BE-AE65-03BD2A7C9585}"/>
              </a:ext>
            </a:extLst>
          </p:cNvPr>
          <p:cNvSpPr/>
          <p:nvPr/>
        </p:nvSpPr>
        <p:spPr>
          <a:xfrm>
            <a:off x="2958204" y="2869586"/>
            <a:ext cx="91440" cy="91440"/>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136" name="TextBox 135">
            <a:extLst>
              <a:ext uri="{FF2B5EF4-FFF2-40B4-BE49-F238E27FC236}">
                <a16:creationId xmlns:a16="http://schemas.microsoft.com/office/drawing/2014/main" id="{933BD93F-4908-4623-A446-E91F698D9274}"/>
              </a:ext>
            </a:extLst>
          </p:cNvPr>
          <p:cNvSpPr txBox="1"/>
          <p:nvPr/>
        </p:nvSpPr>
        <p:spPr>
          <a:xfrm>
            <a:off x="1808710" y="2782165"/>
            <a:ext cx="135581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Eugene, OR</a:t>
            </a:r>
          </a:p>
        </p:txBody>
      </p:sp>
      <p:sp>
        <p:nvSpPr>
          <p:cNvPr id="137" name="Rectangle 136">
            <a:extLst>
              <a:ext uri="{FF2B5EF4-FFF2-40B4-BE49-F238E27FC236}">
                <a16:creationId xmlns:a16="http://schemas.microsoft.com/office/drawing/2014/main" id="{9118C970-B614-491E-9A8A-AF2344869D35}"/>
              </a:ext>
            </a:extLst>
          </p:cNvPr>
          <p:cNvSpPr/>
          <p:nvPr/>
        </p:nvSpPr>
        <p:spPr>
          <a:xfrm>
            <a:off x="1808710" y="2977756"/>
            <a:ext cx="1211752"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Homeowner</a:t>
            </a:r>
          </a:p>
        </p:txBody>
      </p:sp>
      <p:sp>
        <p:nvSpPr>
          <p:cNvPr id="138" name="Oval 137">
            <a:extLst>
              <a:ext uri="{FF2B5EF4-FFF2-40B4-BE49-F238E27FC236}">
                <a16:creationId xmlns:a16="http://schemas.microsoft.com/office/drawing/2014/main" id="{39F7B64B-8F26-4889-9D9F-1B4C5E97A18B}"/>
              </a:ext>
            </a:extLst>
          </p:cNvPr>
          <p:cNvSpPr/>
          <p:nvPr/>
        </p:nvSpPr>
        <p:spPr>
          <a:xfrm>
            <a:off x="2804558" y="3944075"/>
            <a:ext cx="91440" cy="91440"/>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139" name="TextBox 138">
            <a:extLst>
              <a:ext uri="{FF2B5EF4-FFF2-40B4-BE49-F238E27FC236}">
                <a16:creationId xmlns:a16="http://schemas.microsoft.com/office/drawing/2014/main" id="{13CA6C26-402A-4644-9F92-83A0427CC946}"/>
              </a:ext>
            </a:extLst>
          </p:cNvPr>
          <p:cNvSpPr txBox="1"/>
          <p:nvPr/>
        </p:nvSpPr>
        <p:spPr>
          <a:xfrm>
            <a:off x="1655526" y="3932424"/>
            <a:ext cx="135581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San Jose, CA</a:t>
            </a:r>
          </a:p>
        </p:txBody>
      </p:sp>
      <p:sp>
        <p:nvSpPr>
          <p:cNvPr id="140" name="Rectangle 139">
            <a:extLst>
              <a:ext uri="{FF2B5EF4-FFF2-40B4-BE49-F238E27FC236}">
                <a16:creationId xmlns:a16="http://schemas.microsoft.com/office/drawing/2014/main" id="{769152F1-503E-4F21-B7CB-9F14926BB912}"/>
              </a:ext>
            </a:extLst>
          </p:cNvPr>
          <p:cNvSpPr/>
          <p:nvPr/>
        </p:nvSpPr>
        <p:spPr>
          <a:xfrm>
            <a:off x="1661876" y="4128015"/>
            <a:ext cx="1208815"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Recreational boater</a:t>
            </a:r>
          </a:p>
        </p:txBody>
      </p:sp>
      <p:sp>
        <p:nvSpPr>
          <p:cNvPr id="141" name="Oval 140">
            <a:extLst>
              <a:ext uri="{FF2B5EF4-FFF2-40B4-BE49-F238E27FC236}">
                <a16:creationId xmlns:a16="http://schemas.microsoft.com/office/drawing/2014/main" id="{D9764BF2-DB1D-4C49-B7F6-61D85141A77D}"/>
              </a:ext>
            </a:extLst>
          </p:cNvPr>
          <p:cNvSpPr/>
          <p:nvPr/>
        </p:nvSpPr>
        <p:spPr>
          <a:xfrm>
            <a:off x="3096658" y="4553675"/>
            <a:ext cx="91440" cy="91440"/>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142" name="TextBox 141">
            <a:extLst>
              <a:ext uri="{FF2B5EF4-FFF2-40B4-BE49-F238E27FC236}">
                <a16:creationId xmlns:a16="http://schemas.microsoft.com/office/drawing/2014/main" id="{87569948-1748-463A-ADE0-D09DCC408E38}"/>
              </a:ext>
            </a:extLst>
          </p:cNvPr>
          <p:cNvSpPr txBox="1"/>
          <p:nvPr/>
        </p:nvSpPr>
        <p:spPr>
          <a:xfrm>
            <a:off x="1720088" y="4497101"/>
            <a:ext cx="1653353"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Los Angeles, CA</a:t>
            </a:r>
          </a:p>
        </p:txBody>
      </p:sp>
      <p:sp>
        <p:nvSpPr>
          <p:cNvPr id="143" name="Rectangle 142">
            <a:extLst>
              <a:ext uri="{FF2B5EF4-FFF2-40B4-BE49-F238E27FC236}">
                <a16:creationId xmlns:a16="http://schemas.microsoft.com/office/drawing/2014/main" id="{7FCA7148-407A-40BD-9A47-19172205461E}"/>
              </a:ext>
            </a:extLst>
          </p:cNvPr>
          <p:cNvSpPr/>
          <p:nvPr/>
        </p:nvSpPr>
        <p:spPr>
          <a:xfrm>
            <a:off x="1750818" y="4705287"/>
            <a:ext cx="1394964"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Recreational boaters</a:t>
            </a:r>
          </a:p>
        </p:txBody>
      </p:sp>
      <p:sp>
        <p:nvSpPr>
          <p:cNvPr id="144" name="TextBox 143">
            <a:extLst>
              <a:ext uri="{FF2B5EF4-FFF2-40B4-BE49-F238E27FC236}">
                <a16:creationId xmlns:a16="http://schemas.microsoft.com/office/drawing/2014/main" id="{49E72385-07C6-48B8-9B16-8457ACC24760}"/>
              </a:ext>
            </a:extLst>
          </p:cNvPr>
          <p:cNvSpPr txBox="1"/>
          <p:nvPr/>
        </p:nvSpPr>
        <p:spPr>
          <a:xfrm>
            <a:off x="4881378" y="2641957"/>
            <a:ext cx="1517572"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Fargo, ND</a:t>
            </a:r>
          </a:p>
        </p:txBody>
      </p:sp>
      <p:sp>
        <p:nvSpPr>
          <p:cNvPr id="145" name="Oval 144">
            <a:extLst>
              <a:ext uri="{FF2B5EF4-FFF2-40B4-BE49-F238E27FC236}">
                <a16:creationId xmlns:a16="http://schemas.microsoft.com/office/drawing/2014/main" id="{50008255-BBB5-427B-9EA5-EF654F5003D6}"/>
              </a:ext>
            </a:extLst>
          </p:cNvPr>
          <p:cNvSpPr/>
          <p:nvPr/>
        </p:nvSpPr>
        <p:spPr>
          <a:xfrm>
            <a:off x="5830211" y="2907578"/>
            <a:ext cx="91440" cy="91440"/>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146" name="Rectangle 145">
            <a:extLst>
              <a:ext uri="{FF2B5EF4-FFF2-40B4-BE49-F238E27FC236}">
                <a16:creationId xmlns:a16="http://schemas.microsoft.com/office/drawing/2014/main" id="{C75E5A4D-B86F-433A-95C0-83D88FE138AB}"/>
              </a:ext>
            </a:extLst>
          </p:cNvPr>
          <p:cNvSpPr/>
          <p:nvPr/>
        </p:nvSpPr>
        <p:spPr>
          <a:xfrm>
            <a:off x="4887790" y="2850502"/>
            <a:ext cx="1713965"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Homeowner</a:t>
            </a:r>
          </a:p>
        </p:txBody>
      </p:sp>
      <p:sp>
        <p:nvSpPr>
          <p:cNvPr id="147" name="Oval 146">
            <a:extLst>
              <a:ext uri="{FF2B5EF4-FFF2-40B4-BE49-F238E27FC236}">
                <a16:creationId xmlns:a16="http://schemas.microsoft.com/office/drawing/2014/main" id="{C98677C4-2E55-4F58-9358-FC7C1E20E8B8}"/>
              </a:ext>
            </a:extLst>
          </p:cNvPr>
          <p:cNvSpPr/>
          <p:nvPr/>
        </p:nvSpPr>
        <p:spPr>
          <a:xfrm>
            <a:off x="7327351" y="4003364"/>
            <a:ext cx="91440" cy="91440"/>
          </a:xfrm>
          <a:prstGeom prst="ellipse">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148" name="TextBox 147">
            <a:extLst>
              <a:ext uri="{FF2B5EF4-FFF2-40B4-BE49-F238E27FC236}">
                <a16:creationId xmlns:a16="http://schemas.microsoft.com/office/drawing/2014/main" id="{A557599A-B2B1-4258-8FFD-0D9AC0AFC76F}"/>
              </a:ext>
            </a:extLst>
          </p:cNvPr>
          <p:cNvSpPr txBox="1"/>
          <p:nvPr/>
        </p:nvSpPr>
        <p:spPr>
          <a:xfrm>
            <a:off x="6942035" y="4058135"/>
            <a:ext cx="1637973"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Cincinnati, OH</a:t>
            </a:r>
          </a:p>
        </p:txBody>
      </p:sp>
      <p:sp>
        <p:nvSpPr>
          <p:cNvPr id="149" name="Rectangle 148">
            <a:extLst>
              <a:ext uri="{FF2B5EF4-FFF2-40B4-BE49-F238E27FC236}">
                <a16:creationId xmlns:a16="http://schemas.microsoft.com/office/drawing/2014/main" id="{D032C576-5B32-4AF4-9431-0C33A934FEB0}"/>
              </a:ext>
            </a:extLst>
          </p:cNvPr>
          <p:cNvSpPr/>
          <p:nvPr/>
        </p:nvSpPr>
        <p:spPr>
          <a:xfrm>
            <a:off x="6942035" y="4256442"/>
            <a:ext cx="1233030"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ea typeface="+mn-ea"/>
                <a:cs typeface="+mn-cs"/>
              </a:rPr>
              <a:t>-Camping enthusiast</a:t>
            </a:r>
          </a:p>
        </p:txBody>
      </p:sp>
      <p:cxnSp>
        <p:nvCxnSpPr>
          <p:cNvPr id="150" name="Straight Connector 149">
            <a:extLst>
              <a:ext uri="{FF2B5EF4-FFF2-40B4-BE49-F238E27FC236}">
                <a16:creationId xmlns:a16="http://schemas.microsoft.com/office/drawing/2014/main" id="{6DA5CD4F-E97D-4596-AD78-9999F15EC17E}"/>
              </a:ext>
            </a:extLst>
          </p:cNvPr>
          <p:cNvCxnSpPr>
            <a:endCxn id="119" idx="2"/>
          </p:cNvCxnSpPr>
          <p:nvPr/>
        </p:nvCxnSpPr>
        <p:spPr>
          <a:xfrm flipH="1">
            <a:off x="8826075" y="3119986"/>
            <a:ext cx="778392" cy="138912"/>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5246F487-66D6-45DF-8BE7-D7BC0275C031}"/>
              </a:ext>
            </a:extLst>
          </p:cNvPr>
          <p:cNvCxnSpPr>
            <a:endCxn id="98" idx="5"/>
          </p:cNvCxnSpPr>
          <p:nvPr/>
        </p:nvCxnSpPr>
        <p:spPr>
          <a:xfrm flipH="1" flipV="1">
            <a:off x="8710414" y="3641443"/>
            <a:ext cx="397745" cy="216181"/>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C5505C60-7BD3-4FA4-8374-167FDAFCEAB1}"/>
              </a:ext>
            </a:extLst>
          </p:cNvPr>
          <p:cNvCxnSpPr>
            <a:endCxn id="122" idx="5"/>
          </p:cNvCxnSpPr>
          <p:nvPr/>
        </p:nvCxnSpPr>
        <p:spPr>
          <a:xfrm flipH="1" flipV="1">
            <a:off x="8769742" y="3406540"/>
            <a:ext cx="288494" cy="6609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BD7A34CD-1E07-4CEB-A10C-8722523BD946}"/>
              </a:ext>
            </a:extLst>
          </p:cNvPr>
          <p:cNvCxnSpPr/>
          <p:nvPr/>
        </p:nvCxnSpPr>
        <p:spPr>
          <a:xfrm flipH="1">
            <a:off x="8112667" y="4968265"/>
            <a:ext cx="1442476" cy="346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C5A60DAE-1D72-4538-8A1A-71C1EF25D1FC}"/>
              </a:ext>
            </a:extLst>
          </p:cNvPr>
          <p:cNvCxnSpPr>
            <a:endCxn id="94" idx="6"/>
          </p:cNvCxnSpPr>
          <p:nvPr/>
        </p:nvCxnSpPr>
        <p:spPr>
          <a:xfrm flipH="1">
            <a:off x="8318666" y="5860564"/>
            <a:ext cx="578029" cy="166114"/>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8EC0A188-F4D9-4AC0-9A7D-0A78BCCCAC4C}"/>
              </a:ext>
            </a:extLst>
          </p:cNvPr>
          <p:cNvCxnSpPr>
            <a:endCxn id="113" idx="7"/>
          </p:cNvCxnSpPr>
          <p:nvPr/>
        </p:nvCxnSpPr>
        <p:spPr>
          <a:xfrm flipH="1">
            <a:off x="8038211" y="5402829"/>
            <a:ext cx="140612" cy="100579"/>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157" name="Title 1">
            <a:extLst>
              <a:ext uri="{FF2B5EF4-FFF2-40B4-BE49-F238E27FC236}">
                <a16:creationId xmlns:a16="http://schemas.microsoft.com/office/drawing/2014/main" id="{D88D796F-AB9C-4EF2-819E-7632996FB9DB}"/>
              </a:ext>
            </a:extLst>
          </p:cNvPr>
          <p:cNvSpPr txBox="1">
            <a:spLocks noGrp="1"/>
          </p:cNvSpPr>
          <p:nvPr>
            <p:ph type="title"/>
          </p:nvPr>
        </p:nvSpPr>
        <p:spPr>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r>
              <a:rPr lang="en-US" dirty="0"/>
              <a:t>Consumer Locations &amp; Characteristics</a:t>
            </a:r>
          </a:p>
        </p:txBody>
      </p:sp>
    </p:spTree>
    <p:extLst>
      <p:ext uri="{BB962C8B-B14F-4D97-AF65-F5344CB8AC3E}">
        <p14:creationId xmlns:p14="http://schemas.microsoft.com/office/powerpoint/2010/main" val="2546758408"/>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a:extLst>
              <a:ext uri="{FF2B5EF4-FFF2-40B4-BE49-F238E27FC236}">
                <a16:creationId xmlns:a16="http://schemas.microsoft.com/office/drawing/2014/main" id="{B0EF1CE1-C218-46D5-A50D-5E45FD4FB07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900" name="think-cell Slide" r:id="rId6" imgW="395" imgH="396" progId="TCLayout.ActiveDocument.1">
                  <p:embed/>
                </p:oleObj>
              </mc:Choice>
              <mc:Fallback>
                <p:oleObj name="think-cell Slide" r:id="rId6" imgW="395" imgH="396" progId="TCLayout.ActiveDocument.1">
                  <p:embed/>
                  <p:pic>
                    <p:nvPicPr>
                      <p:cNvPr id="31" name="Object 30" hidden="1">
                        <a:extLst>
                          <a:ext uri="{FF2B5EF4-FFF2-40B4-BE49-F238E27FC236}">
                            <a16:creationId xmlns:a16="http://schemas.microsoft.com/office/drawing/2014/main" id="{B0EF1CE1-C218-46D5-A50D-5E45FD4FB07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0" name="Rectangle 29" hidden="1">
            <a:extLst>
              <a:ext uri="{FF2B5EF4-FFF2-40B4-BE49-F238E27FC236}">
                <a16:creationId xmlns:a16="http://schemas.microsoft.com/office/drawing/2014/main" id="{978FF80A-3D5F-4893-BD12-7B5C6A2CF6B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58474265-A083-4240-A1CE-A721FAFE16E5}"/>
              </a:ext>
            </a:extLst>
          </p:cNvPr>
          <p:cNvSpPr>
            <a:spLocks noGrp="1"/>
          </p:cNvSpPr>
          <p:nvPr>
            <p:ph type="title"/>
          </p:nvPr>
        </p:nvSpPr>
        <p:spPr/>
        <p:txBody>
          <a:bodyPr/>
          <a:lstStyle/>
          <a:p>
            <a:r>
              <a:rPr lang="en-US" dirty="0"/>
              <a:t>Our DD Team</a:t>
            </a:r>
          </a:p>
        </p:txBody>
      </p:sp>
      <p:sp>
        <p:nvSpPr>
          <p:cNvPr id="3" name="Text Placeholder 2">
            <a:extLst>
              <a:ext uri="{FF2B5EF4-FFF2-40B4-BE49-F238E27FC236}">
                <a16:creationId xmlns:a16="http://schemas.microsoft.com/office/drawing/2014/main" id="{D37AE7D4-6FBC-4388-8E59-941F38BC0512}"/>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31D0D1DF-97D5-4C34-8A63-3A564A79BA9B}"/>
              </a:ext>
            </a:extLst>
          </p:cNvPr>
          <p:cNvSpPr>
            <a:spLocks noGrp="1"/>
          </p:cNvSpPr>
          <p:nvPr>
            <p:ph type="body" sz="quarter" idx="15"/>
          </p:nvPr>
        </p:nvSpPr>
        <p:spPr>
          <a:xfrm>
            <a:off x="914971" y="466344"/>
            <a:ext cx="3836138" cy="164592"/>
          </a:xfrm>
        </p:spPr>
        <p:txBody>
          <a:bodyPr/>
          <a:lstStyle/>
          <a:p>
            <a:r>
              <a:rPr lang="en-US" dirty="0"/>
              <a:t>FRAMEWORKS &amp; CONCEPT ILLUSTRATION</a:t>
            </a:r>
          </a:p>
        </p:txBody>
      </p:sp>
      <p:pic>
        <p:nvPicPr>
          <p:cNvPr id="5" name="Picture 4">
            <a:extLst>
              <a:ext uri="{FF2B5EF4-FFF2-40B4-BE49-F238E27FC236}">
                <a16:creationId xmlns:a16="http://schemas.microsoft.com/office/drawing/2014/main" id="{9937B291-48C6-4AEB-BE2B-3F11D8344FC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726252" y="1450009"/>
            <a:ext cx="8300180" cy="4941647"/>
          </a:xfrm>
          <a:prstGeom prst="rect">
            <a:avLst/>
          </a:prstGeom>
        </p:spPr>
      </p:pic>
      <p:sp>
        <p:nvSpPr>
          <p:cNvPr id="6" name="Title 4">
            <a:extLst>
              <a:ext uri="{FF2B5EF4-FFF2-40B4-BE49-F238E27FC236}">
                <a16:creationId xmlns:a16="http://schemas.microsoft.com/office/drawing/2014/main" id="{D56819B3-3DF2-4849-97DD-A23E4F2374BE}"/>
              </a:ext>
            </a:extLst>
          </p:cNvPr>
          <p:cNvSpPr txBox="1">
            <a:spLocks/>
          </p:cNvSpPr>
          <p:nvPr/>
        </p:nvSpPr>
        <p:spPr>
          <a:xfrm>
            <a:off x="914400" y="694944"/>
            <a:ext cx="10363200"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grpSp>
        <p:nvGrpSpPr>
          <p:cNvPr id="7" name="Group 6">
            <a:extLst>
              <a:ext uri="{FF2B5EF4-FFF2-40B4-BE49-F238E27FC236}">
                <a16:creationId xmlns:a16="http://schemas.microsoft.com/office/drawing/2014/main" id="{C2B71504-9BD5-407E-8102-DEA89C06B265}"/>
              </a:ext>
            </a:extLst>
          </p:cNvPr>
          <p:cNvGrpSpPr/>
          <p:nvPr/>
        </p:nvGrpSpPr>
        <p:grpSpPr>
          <a:xfrm>
            <a:off x="3533599" y="3146353"/>
            <a:ext cx="137160" cy="297531"/>
            <a:chOff x="3072063" y="2221832"/>
            <a:chExt cx="137160" cy="297531"/>
          </a:xfrm>
        </p:grpSpPr>
        <p:sp>
          <p:nvSpPr>
            <p:cNvPr id="8" name="Oval 7">
              <a:extLst>
                <a:ext uri="{FF2B5EF4-FFF2-40B4-BE49-F238E27FC236}">
                  <a16:creationId xmlns:a16="http://schemas.microsoft.com/office/drawing/2014/main" id="{45C40667-8A20-4BE1-B34C-E7189AB85955}"/>
                </a:ext>
              </a:extLst>
            </p:cNvPr>
            <p:cNvSpPr/>
            <p:nvPr/>
          </p:nvSpPr>
          <p:spPr>
            <a:xfrm>
              <a:off x="3072063" y="2221832"/>
              <a:ext cx="137160" cy="13716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cxnSp>
          <p:nvCxnSpPr>
            <p:cNvPr id="9" name="Straight Connector 8">
              <a:extLst>
                <a:ext uri="{FF2B5EF4-FFF2-40B4-BE49-F238E27FC236}">
                  <a16:creationId xmlns:a16="http://schemas.microsoft.com/office/drawing/2014/main" id="{D098FAF1-AC87-4A30-B443-3A98355758D0}"/>
                </a:ext>
              </a:extLst>
            </p:cNvPr>
            <p:cNvCxnSpPr>
              <a:cxnSpLocks/>
            </p:cNvCxnSpPr>
            <p:nvPr/>
          </p:nvCxnSpPr>
          <p:spPr>
            <a:xfrm>
              <a:off x="3138486" y="2288381"/>
              <a:ext cx="0" cy="23098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 name="Rectangle 9">
            <a:extLst>
              <a:ext uri="{FF2B5EF4-FFF2-40B4-BE49-F238E27FC236}">
                <a16:creationId xmlns:a16="http://schemas.microsoft.com/office/drawing/2014/main" id="{83F4D11B-A0BC-4152-AF1C-D5F9847C69B4}"/>
              </a:ext>
            </a:extLst>
          </p:cNvPr>
          <p:cNvSpPr/>
          <p:nvPr/>
        </p:nvSpPr>
        <p:spPr>
          <a:xfrm>
            <a:off x="2167939" y="3191566"/>
            <a:ext cx="1294924" cy="1494998"/>
          </a:xfrm>
          <a:prstGeom prst="rect">
            <a:avLst/>
          </a:prstGeom>
          <a:solidFill>
            <a:schemeClr val="bg1">
              <a:alpha val="77000"/>
            </a:schemeClr>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Peor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Nam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Open Sans"/>
              </a:rPr>
              <a:t>Nam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Nam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Open Sans"/>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11" name="Group 10">
            <a:extLst>
              <a:ext uri="{FF2B5EF4-FFF2-40B4-BE49-F238E27FC236}">
                <a16:creationId xmlns:a16="http://schemas.microsoft.com/office/drawing/2014/main" id="{C07E0B1E-9589-4326-87BD-57EC0DAB3592}"/>
              </a:ext>
            </a:extLst>
          </p:cNvPr>
          <p:cNvGrpSpPr/>
          <p:nvPr/>
        </p:nvGrpSpPr>
        <p:grpSpPr>
          <a:xfrm>
            <a:off x="3996752" y="3146353"/>
            <a:ext cx="137160" cy="297531"/>
            <a:chOff x="3072063" y="2221832"/>
            <a:chExt cx="137160" cy="297531"/>
          </a:xfrm>
        </p:grpSpPr>
        <p:sp>
          <p:nvSpPr>
            <p:cNvPr id="12" name="Oval 11">
              <a:extLst>
                <a:ext uri="{FF2B5EF4-FFF2-40B4-BE49-F238E27FC236}">
                  <a16:creationId xmlns:a16="http://schemas.microsoft.com/office/drawing/2014/main" id="{07F86465-FD61-4A6F-8A5A-3EE459EA2C1A}"/>
                </a:ext>
              </a:extLst>
            </p:cNvPr>
            <p:cNvSpPr/>
            <p:nvPr/>
          </p:nvSpPr>
          <p:spPr>
            <a:xfrm>
              <a:off x="3072063" y="2221832"/>
              <a:ext cx="137160" cy="13716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cxnSp>
          <p:nvCxnSpPr>
            <p:cNvPr id="13" name="Straight Connector 12">
              <a:extLst>
                <a:ext uri="{FF2B5EF4-FFF2-40B4-BE49-F238E27FC236}">
                  <a16:creationId xmlns:a16="http://schemas.microsoft.com/office/drawing/2014/main" id="{5ED65FF9-7562-4894-B919-FE181D194D6D}"/>
                </a:ext>
              </a:extLst>
            </p:cNvPr>
            <p:cNvCxnSpPr>
              <a:cxnSpLocks/>
            </p:cNvCxnSpPr>
            <p:nvPr/>
          </p:nvCxnSpPr>
          <p:spPr>
            <a:xfrm>
              <a:off x="3138486" y="2288381"/>
              <a:ext cx="0" cy="23098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Rectangle 13">
            <a:extLst>
              <a:ext uri="{FF2B5EF4-FFF2-40B4-BE49-F238E27FC236}">
                <a16:creationId xmlns:a16="http://schemas.microsoft.com/office/drawing/2014/main" id="{77979700-0D2B-469F-8900-3473E7433EA9}"/>
              </a:ext>
            </a:extLst>
          </p:cNvPr>
          <p:cNvSpPr/>
          <p:nvPr/>
        </p:nvSpPr>
        <p:spPr>
          <a:xfrm>
            <a:off x="3923750" y="3598826"/>
            <a:ext cx="1509916" cy="1265538"/>
          </a:xfrm>
          <a:prstGeom prst="rect">
            <a:avLst/>
          </a:prstGeom>
          <a:solidFill>
            <a:schemeClr val="bg1">
              <a:alpha val="77000"/>
            </a:schemeClr>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Cary</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p:txBody>
      </p:sp>
      <p:grpSp>
        <p:nvGrpSpPr>
          <p:cNvPr id="15" name="Group 14">
            <a:extLst>
              <a:ext uri="{FF2B5EF4-FFF2-40B4-BE49-F238E27FC236}">
                <a16:creationId xmlns:a16="http://schemas.microsoft.com/office/drawing/2014/main" id="{A8A78931-BCD6-47EA-BA55-2A6B0569766F}"/>
              </a:ext>
            </a:extLst>
          </p:cNvPr>
          <p:cNvGrpSpPr/>
          <p:nvPr/>
        </p:nvGrpSpPr>
        <p:grpSpPr>
          <a:xfrm>
            <a:off x="7142837" y="3584769"/>
            <a:ext cx="137160" cy="297531"/>
            <a:chOff x="3072063" y="2221832"/>
            <a:chExt cx="137160" cy="297531"/>
          </a:xfrm>
        </p:grpSpPr>
        <p:sp>
          <p:nvSpPr>
            <p:cNvPr id="16" name="Oval 15">
              <a:extLst>
                <a:ext uri="{FF2B5EF4-FFF2-40B4-BE49-F238E27FC236}">
                  <a16:creationId xmlns:a16="http://schemas.microsoft.com/office/drawing/2014/main" id="{85DF5384-E062-4C76-B270-FDCCE65BC21B}"/>
                </a:ext>
              </a:extLst>
            </p:cNvPr>
            <p:cNvSpPr/>
            <p:nvPr/>
          </p:nvSpPr>
          <p:spPr>
            <a:xfrm>
              <a:off x="3072063" y="2221832"/>
              <a:ext cx="137160" cy="13716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cxnSp>
          <p:nvCxnSpPr>
            <p:cNvPr id="17" name="Straight Connector 16">
              <a:extLst>
                <a:ext uri="{FF2B5EF4-FFF2-40B4-BE49-F238E27FC236}">
                  <a16:creationId xmlns:a16="http://schemas.microsoft.com/office/drawing/2014/main" id="{04C153C3-1DC7-44BD-BCCB-378DD2DE3A73}"/>
                </a:ext>
              </a:extLst>
            </p:cNvPr>
            <p:cNvCxnSpPr>
              <a:cxnSpLocks/>
            </p:cNvCxnSpPr>
            <p:nvPr/>
          </p:nvCxnSpPr>
          <p:spPr>
            <a:xfrm>
              <a:off x="3138486" y="2288381"/>
              <a:ext cx="0" cy="23098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D12B4970-BF6F-4559-BB6C-C0C7257A9BC6}"/>
              </a:ext>
            </a:extLst>
          </p:cNvPr>
          <p:cNvGrpSpPr/>
          <p:nvPr/>
        </p:nvGrpSpPr>
        <p:grpSpPr>
          <a:xfrm>
            <a:off x="7414079" y="3744641"/>
            <a:ext cx="137160" cy="297531"/>
            <a:chOff x="3072063" y="2221832"/>
            <a:chExt cx="137160" cy="297531"/>
          </a:xfrm>
        </p:grpSpPr>
        <p:sp>
          <p:nvSpPr>
            <p:cNvPr id="19" name="Oval 18">
              <a:extLst>
                <a:ext uri="{FF2B5EF4-FFF2-40B4-BE49-F238E27FC236}">
                  <a16:creationId xmlns:a16="http://schemas.microsoft.com/office/drawing/2014/main" id="{939A96BC-BAA9-473E-92B3-C0EEC51430E4}"/>
                </a:ext>
              </a:extLst>
            </p:cNvPr>
            <p:cNvSpPr/>
            <p:nvPr/>
          </p:nvSpPr>
          <p:spPr>
            <a:xfrm>
              <a:off x="3072063" y="2221832"/>
              <a:ext cx="137160" cy="13716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cxnSp>
          <p:nvCxnSpPr>
            <p:cNvPr id="20" name="Straight Connector 19">
              <a:extLst>
                <a:ext uri="{FF2B5EF4-FFF2-40B4-BE49-F238E27FC236}">
                  <a16:creationId xmlns:a16="http://schemas.microsoft.com/office/drawing/2014/main" id="{345E992F-EF36-4A86-9ECF-E90A6C70D19D}"/>
                </a:ext>
              </a:extLst>
            </p:cNvPr>
            <p:cNvCxnSpPr>
              <a:cxnSpLocks/>
            </p:cNvCxnSpPr>
            <p:nvPr/>
          </p:nvCxnSpPr>
          <p:spPr>
            <a:xfrm>
              <a:off x="3138486" y="2288381"/>
              <a:ext cx="0" cy="23098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0173F024-40C2-447D-99BA-F1823DE2E62C}"/>
              </a:ext>
            </a:extLst>
          </p:cNvPr>
          <p:cNvGrpSpPr/>
          <p:nvPr/>
        </p:nvGrpSpPr>
        <p:grpSpPr>
          <a:xfrm>
            <a:off x="7250158" y="3811576"/>
            <a:ext cx="137160" cy="297531"/>
            <a:chOff x="3072063" y="2221832"/>
            <a:chExt cx="137160" cy="297531"/>
          </a:xfrm>
        </p:grpSpPr>
        <p:sp>
          <p:nvSpPr>
            <p:cNvPr id="22" name="Oval 21">
              <a:extLst>
                <a:ext uri="{FF2B5EF4-FFF2-40B4-BE49-F238E27FC236}">
                  <a16:creationId xmlns:a16="http://schemas.microsoft.com/office/drawing/2014/main" id="{0576C7A0-3A8A-45EA-A8E2-908BD1C3A291}"/>
                </a:ext>
              </a:extLst>
            </p:cNvPr>
            <p:cNvSpPr/>
            <p:nvPr/>
          </p:nvSpPr>
          <p:spPr>
            <a:xfrm>
              <a:off x="3072063" y="2221832"/>
              <a:ext cx="137160" cy="13716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cxnSp>
          <p:nvCxnSpPr>
            <p:cNvPr id="23" name="Straight Connector 22">
              <a:extLst>
                <a:ext uri="{FF2B5EF4-FFF2-40B4-BE49-F238E27FC236}">
                  <a16:creationId xmlns:a16="http://schemas.microsoft.com/office/drawing/2014/main" id="{A43E4D4B-E9F2-42AD-8AAA-21973F1A30BE}"/>
                </a:ext>
              </a:extLst>
            </p:cNvPr>
            <p:cNvCxnSpPr>
              <a:cxnSpLocks/>
            </p:cNvCxnSpPr>
            <p:nvPr/>
          </p:nvCxnSpPr>
          <p:spPr>
            <a:xfrm>
              <a:off x="3138486" y="2288381"/>
              <a:ext cx="0" cy="23098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4" name="Rectangle 23">
            <a:extLst>
              <a:ext uri="{FF2B5EF4-FFF2-40B4-BE49-F238E27FC236}">
                <a16:creationId xmlns:a16="http://schemas.microsoft.com/office/drawing/2014/main" id="{82A99252-2388-4DA0-BA21-5CBBF1BD0695}"/>
              </a:ext>
            </a:extLst>
          </p:cNvPr>
          <p:cNvSpPr/>
          <p:nvPr/>
        </p:nvSpPr>
        <p:spPr>
          <a:xfrm>
            <a:off x="5651624" y="2105113"/>
            <a:ext cx="1351156" cy="1546379"/>
          </a:xfrm>
          <a:prstGeom prst="rect">
            <a:avLst/>
          </a:prstGeom>
          <a:solidFill>
            <a:schemeClr val="bg1">
              <a:alpha val="77000"/>
            </a:schemeClr>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Mumbai</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Name</a:t>
            </a:r>
          </a:p>
          <a:p>
            <a:pPr lvl="0">
              <a:defRPr/>
            </a:pPr>
            <a:r>
              <a:rPr lang="en-US" sz="1000" dirty="0">
                <a:solidFill>
                  <a:srgbClr val="000000"/>
                </a:solidFill>
                <a:latin typeface="Open Sans"/>
              </a:rPr>
              <a:t>Name </a:t>
            </a:r>
            <a:endParaRPr kumimoji="0" lang="en-US" sz="10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33409A66-614E-4ACA-8CCF-91C6F5ED8DF2}"/>
              </a:ext>
            </a:extLst>
          </p:cNvPr>
          <p:cNvSpPr/>
          <p:nvPr/>
        </p:nvSpPr>
        <p:spPr>
          <a:xfrm>
            <a:off x="5972454" y="4285407"/>
            <a:ext cx="1573987" cy="2285076"/>
          </a:xfrm>
          <a:prstGeom prst="rect">
            <a:avLst/>
          </a:prstGeom>
          <a:solidFill>
            <a:schemeClr val="bg1">
              <a:alpha val="77000"/>
            </a:schemeClr>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Bengaluru</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endParaRPr kumimoji="0" lang="en-US" sz="10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6" name="Rectangle 25">
            <a:extLst>
              <a:ext uri="{FF2B5EF4-FFF2-40B4-BE49-F238E27FC236}">
                <a16:creationId xmlns:a16="http://schemas.microsoft.com/office/drawing/2014/main" id="{BECE8C00-0903-4544-A55C-C128A6E1F28B}"/>
              </a:ext>
            </a:extLst>
          </p:cNvPr>
          <p:cNvSpPr/>
          <p:nvPr/>
        </p:nvSpPr>
        <p:spPr>
          <a:xfrm>
            <a:off x="7964499" y="1215908"/>
            <a:ext cx="1843974" cy="3543870"/>
          </a:xfrm>
          <a:prstGeom prst="rect">
            <a:avLst/>
          </a:prstGeom>
          <a:solidFill>
            <a:schemeClr val="bg1">
              <a:alpha val="77000"/>
            </a:schemeClr>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Hyderabad</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lang="en-US" sz="1000" dirty="0">
                <a:solidFill>
                  <a:srgbClr val="000000"/>
                </a:solidFill>
              </a:rPr>
              <a:t>Name</a:t>
            </a:r>
          </a:p>
          <a:p>
            <a:pPr lvl="0">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Name</a:t>
            </a:r>
          </a:p>
        </p:txBody>
      </p:sp>
    </p:spTree>
    <p:extLst>
      <p:ext uri="{BB962C8B-B14F-4D97-AF65-F5344CB8AC3E}">
        <p14:creationId xmlns:p14="http://schemas.microsoft.com/office/powerpoint/2010/main" val="4140730033"/>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a:extLst>
              <a:ext uri="{FF2B5EF4-FFF2-40B4-BE49-F238E27FC236}">
                <a16:creationId xmlns:a16="http://schemas.microsoft.com/office/drawing/2014/main" id="{B0EF1CE1-C218-46D5-A50D-5E45FD4FB07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924" name="think-cell Slide" r:id="rId6" imgW="395" imgH="396" progId="TCLayout.ActiveDocument.1">
                  <p:embed/>
                </p:oleObj>
              </mc:Choice>
              <mc:Fallback>
                <p:oleObj name="think-cell Slide" r:id="rId6" imgW="395" imgH="396" progId="TCLayout.ActiveDocument.1">
                  <p:embed/>
                  <p:pic>
                    <p:nvPicPr>
                      <p:cNvPr id="31" name="Object 30" hidden="1">
                        <a:extLst>
                          <a:ext uri="{FF2B5EF4-FFF2-40B4-BE49-F238E27FC236}">
                            <a16:creationId xmlns:a16="http://schemas.microsoft.com/office/drawing/2014/main" id="{B0EF1CE1-C218-46D5-A50D-5E45FD4FB07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0" name="Rectangle 29" hidden="1">
            <a:extLst>
              <a:ext uri="{FF2B5EF4-FFF2-40B4-BE49-F238E27FC236}">
                <a16:creationId xmlns:a16="http://schemas.microsoft.com/office/drawing/2014/main" id="{978FF80A-3D5F-4893-BD12-7B5C6A2CF6B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58474265-A083-4240-A1CE-A721FAFE16E5}"/>
              </a:ext>
            </a:extLst>
          </p:cNvPr>
          <p:cNvSpPr>
            <a:spLocks noGrp="1"/>
          </p:cNvSpPr>
          <p:nvPr>
            <p:ph type="title"/>
          </p:nvPr>
        </p:nvSpPr>
        <p:spPr/>
        <p:txBody>
          <a:bodyPr/>
          <a:lstStyle/>
          <a:p>
            <a:r>
              <a:rPr lang="en-US" dirty="0"/>
              <a:t>Customer messaging will be tailored to impact</a:t>
            </a:r>
          </a:p>
        </p:txBody>
      </p:sp>
      <p:sp>
        <p:nvSpPr>
          <p:cNvPr id="3" name="Text Placeholder 2">
            <a:extLst>
              <a:ext uri="{FF2B5EF4-FFF2-40B4-BE49-F238E27FC236}">
                <a16:creationId xmlns:a16="http://schemas.microsoft.com/office/drawing/2014/main" id="{D37AE7D4-6FBC-4388-8E59-941F38BC0512}"/>
              </a:ext>
            </a:extLst>
          </p:cNvPr>
          <p:cNvSpPr>
            <a:spLocks noGrp="1"/>
          </p:cNvSpPr>
          <p:nvPr>
            <p:ph type="body" sz="quarter" idx="14"/>
          </p:nvPr>
        </p:nvSpPr>
        <p:spPr/>
        <p:txBody>
          <a:bodyPr/>
          <a:lstStyle/>
          <a:p>
            <a:r>
              <a:rPr lang="en-US" dirty="0"/>
              <a:t>We must vary how we frame different aspects of the policy with customers to ensure we are maintaining transparency</a:t>
            </a:r>
          </a:p>
        </p:txBody>
      </p:sp>
      <p:sp>
        <p:nvSpPr>
          <p:cNvPr id="4" name="Text Placeholder 3">
            <a:extLst>
              <a:ext uri="{FF2B5EF4-FFF2-40B4-BE49-F238E27FC236}">
                <a16:creationId xmlns:a16="http://schemas.microsoft.com/office/drawing/2014/main" id="{31D0D1DF-97D5-4C34-8A63-3A564A79BA9B}"/>
              </a:ext>
            </a:extLst>
          </p:cNvPr>
          <p:cNvSpPr>
            <a:spLocks noGrp="1"/>
          </p:cNvSpPr>
          <p:nvPr>
            <p:ph type="body" sz="quarter" idx="15"/>
          </p:nvPr>
        </p:nvSpPr>
        <p:spPr>
          <a:xfrm>
            <a:off x="914971" y="466344"/>
            <a:ext cx="3836138" cy="164592"/>
          </a:xfrm>
        </p:spPr>
        <p:txBody>
          <a:bodyPr/>
          <a:lstStyle/>
          <a:p>
            <a:r>
              <a:rPr lang="en-US" dirty="0"/>
              <a:t>FRAMEWORKS &amp; CONCEPT ILLUSTRATION</a:t>
            </a:r>
          </a:p>
        </p:txBody>
      </p:sp>
      <p:sp>
        <p:nvSpPr>
          <p:cNvPr id="6" name="Title 4">
            <a:extLst>
              <a:ext uri="{FF2B5EF4-FFF2-40B4-BE49-F238E27FC236}">
                <a16:creationId xmlns:a16="http://schemas.microsoft.com/office/drawing/2014/main" id="{D56819B3-3DF2-4849-97DD-A23E4F2374BE}"/>
              </a:ext>
            </a:extLst>
          </p:cNvPr>
          <p:cNvSpPr txBox="1">
            <a:spLocks/>
          </p:cNvSpPr>
          <p:nvPr/>
        </p:nvSpPr>
        <p:spPr>
          <a:xfrm>
            <a:off x="914400" y="694944"/>
            <a:ext cx="10363200"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sp>
        <p:nvSpPr>
          <p:cNvPr id="29" name="Up Arrow 41">
            <a:extLst>
              <a:ext uri="{FF2B5EF4-FFF2-40B4-BE49-F238E27FC236}">
                <a16:creationId xmlns:a16="http://schemas.microsoft.com/office/drawing/2014/main" id="{99492593-6EB6-49CE-B07B-72064563D93F}"/>
              </a:ext>
            </a:extLst>
          </p:cNvPr>
          <p:cNvSpPr/>
          <p:nvPr/>
        </p:nvSpPr>
        <p:spPr>
          <a:xfrm>
            <a:off x="1495565" y="1748775"/>
            <a:ext cx="302195" cy="4351602"/>
          </a:xfrm>
          <a:prstGeom prst="up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32" name="Up Arrow 42">
            <a:extLst>
              <a:ext uri="{FF2B5EF4-FFF2-40B4-BE49-F238E27FC236}">
                <a16:creationId xmlns:a16="http://schemas.microsoft.com/office/drawing/2014/main" id="{66976812-AA35-4FAF-80B9-7FE675647FCF}"/>
              </a:ext>
            </a:extLst>
          </p:cNvPr>
          <p:cNvSpPr/>
          <p:nvPr/>
        </p:nvSpPr>
        <p:spPr>
          <a:xfrm rot="5400000">
            <a:off x="5914263" y="1539494"/>
            <a:ext cx="311472" cy="8989360"/>
          </a:xfrm>
          <a:prstGeom prst="up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33" name="TextBox 32">
            <a:extLst>
              <a:ext uri="{FF2B5EF4-FFF2-40B4-BE49-F238E27FC236}">
                <a16:creationId xmlns:a16="http://schemas.microsoft.com/office/drawing/2014/main" id="{CE053D76-F628-452E-B78F-BB9F4612F048}"/>
              </a:ext>
            </a:extLst>
          </p:cNvPr>
          <p:cNvSpPr txBox="1">
            <a:spLocks/>
          </p:cNvSpPr>
          <p:nvPr/>
        </p:nvSpPr>
        <p:spPr>
          <a:xfrm>
            <a:off x="2985393" y="6086017"/>
            <a:ext cx="1931490" cy="307848"/>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mn-cs"/>
              </a:rPr>
              <a:t>Non-Strategic</a:t>
            </a:r>
          </a:p>
        </p:txBody>
      </p:sp>
      <p:sp>
        <p:nvSpPr>
          <p:cNvPr id="34" name="TextBox 33">
            <a:extLst>
              <a:ext uri="{FF2B5EF4-FFF2-40B4-BE49-F238E27FC236}">
                <a16:creationId xmlns:a16="http://schemas.microsoft.com/office/drawing/2014/main" id="{14E5141A-8F17-4AE8-B6DF-537909B792E4}"/>
              </a:ext>
            </a:extLst>
          </p:cNvPr>
          <p:cNvSpPr txBox="1">
            <a:spLocks/>
          </p:cNvSpPr>
          <p:nvPr/>
        </p:nvSpPr>
        <p:spPr>
          <a:xfrm rot="16200000">
            <a:off x="52333" y="2688765"/>
            <a:ext cx="2032624" cy="307848"/>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mn-cs"/>
              </a:rPr>
              <a:t>Increase in discount potential</a:t>
            </a:r>
          </a:p>
        </p:txBody>
      </p:sp>
      <p:sp>
        <p:nvSpPr>
          <p:cNvPr id="35" name="Rectangle 34">
            <a:extLst>
              <a:ext uri="{FF2B5EF4-FFF2-40B4-BE49-F238E27FC236}">
                <a16:creationId xmlns:a16="http://schemas.microsoft.com/office/drawing/2014/main" id="{1E7C2571-028B-425A-896C-C6F832B684B0}"/>
              </a:ext>
            </a:extLst>
          </p:cNvPr>
          <p:cNvSpPr>
            <a:spLocks/>
          </p:cNvSpPr>
          <p:nvPr/>
        </p:nvSpPr>
        <p:spPr bwMode="gray">
          <a:xfrm>
            <a:off x="1950178" y="3930960"/>
            <a:ext cx="4001920" cy="1922042"/>
          </a:xfrm>
          <a:prstGeom prst="rect">
            <a:avLst/>
          </a:prstGeom>
          <a:noFill/>
          <a:ln w="28575" algn="ctr">
            <a:solidFill>
              <a:schemeClr val="accent4"/>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36" name="Rectangle 35">
            <a:extLst>
              <a:ext uri="{FF2B5EF4-FFF2-40B4-BE49-F238E27FC236}">
                <a16:creationId xmlns:a16="http://schemas.microsoft.com/office/drawing/2014/main" id="{3B77E256-4C18-47BB-91DD-5453CEE9F2CB}"/>
              </a:ext>
            </a:extLst>
          </p:cNvPr>
          <p:cNvSpPr>
            <a:spLocks/>
          </p:cNvSpPr>
          <p:nvPr/>
        </p:nvSpPr>
        <p:spPr bwMode="gray">
          <a:xfrm>
            <a:off x="6226418" y="3940590"/>
            <a:ext cx="4001920" cy="1922042"/>
          </a:xfrm>
          <a:prstGeom prst="rect">
            <a:avLst/>
          </a:prstGeom>
          <a:noFill/>
          <a:ln w="28575" algn="ctr">
            <a:solidFill>
              <a:schemeClr val="accent3"/>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7" name="Rectangle 36">
            <a:extLst>
              <a:ext uri="{FF2B5EF4-FFF2-40B4-BE49-F238E27FC236}">
                <a16:creationId xmlns:a16="http://schemas.microsoft.com/office/drawing/2014/main" id="{48F8D805-0ADB-4E29-8D44-16E8086307B3}"/>
              </a:ext>
            </a:extLst>
          </p:cNvPr>
          <p:cNvSpPr>
            <a:spLocks/>
          </p:cNvSpPr>
          <p:nvPr/>
        </p:nvSpPr>
        <p:spPr bwMode="gray">
          <a:xfrm>
            <a:off x="1950178" y="1732582"/>
            <a:ext cx="4001920" cy="1922042"/>
          </a:xfrm>
          <a:prstGeom prst="rect">
            <a:avLst/>
          </a:prstGeom>
          <a:noFill/>
          <a:ln w="2857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38" name="Rectangle 37">
            <a:extLst>
              <a:ext uri="{FF2B5EF4-FFF2-40B4-BE49-F238E27FC236}">
                <a16:creationId xmlns:a16="http://schemas.microsoft.com/office/drawing/2014/main" id="{74696F2B-1B5C-4952-ABC4-0192E913CAFB}"/>
              </a:ext>
            </a:extLst>
          </p:cNvPr>
          <p:cNvSpPr>
            <a:spLocks/>
          </p:cNvSpPr>
          <p:nvPr/>
        </p:nvSpPr>
        <p:spPr bwMode="gray">
          <a:xfrm>
            <a:off x="6226418" y="1742212"/>
            <a:ext cx="4001920" cy="1922042"/>
          </a:xfrm>
          <a:prstGeom prst="rect">
            <a:avLst/>
          </a:prstGeom>
          <a:noFill/>
          <a:ln w="28575" algn="ctr">
            <a:solidFill>
              <a:schemeClr val="accent2"/>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9" name="TextBox 38">
            <a:extLst>
              <a:ext uri="{FF2B5EF4-FFF2-40B4-BE49-F238E27FC236}">
                <a16:creationId xmlns:a16="http://schemas.microsoft.com/office/drawing/2014/main" id="{C2542BE0-19B8-4B66-B03F-F7098B68E0AE}"/>
              </a:ext>
            </a:extLst>
          </p:cNvPr>
          <p:cNvSpPr txBox="1">
            <a:spLocks/>
          </p:cNvSpPr>
          <p:nvPr/>
        </p:nvSpPr>
        <p:spPr>
          <a:xfrm>
            <a:off x="7261633" y="6086017"/>
            <a:ext cx="1931490" cy="307848"/>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mn-cs"/>
              </a:rPr>
              <a:t>Strategic</a:t>
            </a:r>
          </a:p>
        </p:txBody>
      </p:sp>
      <p:sp>
        <p:nvSpPr>
          <p:cNvPr id="40" name="TextBox 39">
            <a:extLst>
              <a:ext uri="{FF2B5EF4-FFF2-40B4-BE49-F238E27FC236}">
                <a16:creationId xmlns:a16="http://schemas.microsoft.com/office/drawing/2014/main" id="{8531722C-AE8A-46DC-93D7-CD4DF1D57220}"/>
              </a:ext>
            </a:extLst>
          </p:cNvPr>
          <p:cNvSpPr txBox="1">
            <a:spLocks/>
          </p:cNvSpPr>
          <p:nvPr/>
        </p:nvSpPr>
        <p:spPr>
          <a:xfrm rot="16200000">
            <a:off x="52333" y="4738058"/>
            <a:ext cx="2032624" cy="307848"/>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mn-cs"/>
              </a:rPr>
              <a:t>Decrease in discount potential</a:t>
            </a:r>
          </a:p>
        </p:txBody>
      </p:sp>
      <p:sp>
        <p:nvSpPr>
          <p:cNvPr id="41" name="Rectangle 40">
            <a:extLst>
              <a:ext uri="{FF2B5EF4-FFF2-40B4-BE49-F238E27FC236}">
                <a16:creationId xmlns:a16="http://schemas.microsoft.com/office/drawing/2014/main" id="{E2A2EB55-6698-42C3-B253-FCD3841EE318}"/>
              </a:ext>
            </a:extLst>
          </p:cNvPr>
          <p:cNvSpPr>
            <a:spLocks/>
          </p:cNvSpPr>
          <p:nvPr/>
        </p:nvSpPr>
        <p:spPr>
          <a:xfrm>
            <a:off x="2048034" y="2343039"/>
            <a:ext cx="4063203" cy="1257717"/>
          </a:xfrm>
          <a:prstGeom prst="rect">
            <a:avLst/>
          </a:prstGeom>
        </p:spPr>
        <p:txBody>
          <a:bodyPr wrap="square">
            <a:spAutoFit/>
          </a:bodyPr>
          <a:lstStyle/>
          <a:p>
            <a:pPr marL="285750" marR="0" lvl="0" indent="-2857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Higher standard discount with no additional performance expectations</a:t>
            </a:r>
          </a:p>
          <a:p>
            <a:pPr marL="285750" marR="0" lvl="0" indent="-2857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Can further increase standard discount by purchasing a more favorable product and order mix</a:t>
            </a: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2" name="Rectangle 41">
            <a:extLst>
              <a:ext uri="{FF2B5EF4-FFF2-40B4-BE49-F238E27FC236}">
                <a16:creationId xmlns:a16="http://schemas.microsoft.com/office/drawing/2014/main" id="{C437A11F-B90B-45BF-BC8C-87CD9C2C49A5}"/>
              </a:ext>
            </a:extLst>
          </p:cNvPr>
          <p:cNvSpPr>
            <a:spLocks/>
          </p:cNvSpPr>
          <p:nvPr/>
        </p:nvSpPr>
        <p:spPr>
          <a:xfrm>
            <a:off x="2048034" y="4602806"/>
            <a:ext cx="3943705" cy="670440"/>
          </a:xfrm>
          <a:prstGeom prst="rect">
            <a:avLst/>
          </a:prstGeom>
        </p:spPr>
        <p:txBody>
          <a:bodyPr wrap="square">
            <a:spAutoFit/>
          </a:bodyPr>
          <a:lstStyle/>
          <a:p>
            <a:pPr marL="285750" marR="0" lvl="0" indent="-2857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Lower standard discount but can </a:t>
            </a:r>
            <a:br>
              <a:rPr kumimoji="0" lang="en-US" sz="1200" b="0" i="0" u="none" strike="noStrike" kern="1200" cap="none" spc="0" normalizeH="0" baseline="0" noProof="0" dirty="0">
                <a:ln>
                  <a:noFill/>
                </a:ln>
                <a:solidFill>
                  <a:srgbClr val="000000"/>
                </a:solidFill>
                <a:effectLst/>
                <a:uLnTx/>
                <a:uFillTx/>
                <a:latin typeface="Open Sans"/>
                <a:ea typeface="+mn-ea"/>
                <a:cs typeface="+mn-cs"/>
              </a:rPr>
            </a:br>
            <a:r>
              <a:rPr kumimoji="0" lang="en-US" sz="1200" b="0" i="0" u="none" strike="noStrike" kern="1200" cap="none" spc="0" normalizeH="0" baseline="0" noProof="0" dirty="0">
                <a:ln>
                  <a:noFill/>
                </a:ln>
                <a:solidFill>
                  <a:srgbClr val="000000"/>
                </a:solidFill>
                <a:effectLst/>
                <a:uLnTx/>
                <a:uFillTx/>
                <a:latin typeface="Open Sans"/>
                <a:ea typeface="+mn-ea"/>
                <a:cs typeface="+mn-cs"/>
              </a:rPr>
              <a:t>increase discount based on more favorable product and order mix</a:t>
            </a:r>
          </a:p>
        </p:txBody>
      </p:sp>
      <p:sp>
        <p:nvSpPr>
          <p:cNvPr id="43" name="Rectangle 42">
            <a:extLst>
              <a:ext uri="{FF2B5EF4-FFF2-40B4-BE49-F238E27FC236}">
                <a16:creationId xmlns:a16="http://schemas.microsoft.com/office/drawing/2014/main" id="{710DCB6B-F2AA-4C80-ABD0-C30D0B574F40}"/>
              </a:ext>
            </a:extLst>
          </p:cNvPr>
          <p:cNvSpPr>
            <a:spLocks/>
          </p:cNvSpPr>
          <p:nvPr/>
        </p:nvSpPr>
        <p:spPr>
          <a:xfrm>
            <a:off x="6282916" y="2343039"/>
            <a:ext cx="3945422" cy="1061957"/>
          </a:xfrm>
          <a:prstGeom prst="rect">
            <a:avLst/>
          </a:prstGeom>
        </p:spPr>
        <p:txBody>
          <a:bodyPr wrap="square">
            <a:spAutoFit/>
          </a:bodyPr>
          <a:lstStyle/>
          <a:p>
            <a:pPr marL="285750" marR="0" lvl="0" indent="-2857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Total discount increases if performance-based metrics are met</a:t>
            </a:r>
          </a:p>
          <a:p>
            <a:pPr marL="285750" marR="0" lvl="0" indent="-2857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Communicate that total discount can decrease if performance-based requirements are not met or product / order mix become less desirable </a:t>
            </a:r>
          </a:p>
        </p:txBody>
      </p:sp>
      <p:sp>
        <p:nvSpPr>
          <p:cNvPr id="44" name="Rectangle 43">
            <a:extLst>
              <a:ext uri="{FF2B5EF4-FFF2-40B4-BE49-F238E27FC236}">
                <a16:creationId xmlns:a16="http://schemas.microsoft.com/office/drawing/2014/main" id="{7644936B-B731-4517-A940-E5C3D6409359}"/>
              </a:ext>
            </a:extLst>
          </p:cNvPr>
          <p:cNvSpPr>
            <a:spLocks/>
          </p:cNvSpPr>
          <p:nvPr/>
        </p:nvSpPr>
        <p:spPr>
          <a:xfrm>
            <a:off x="6282916" y="4602806"/>
            <a:ext cx="3945422" cy="1061957"/>
          </a:xfrm>
          <a:prstGeom prst="rect">
            <a:avLst/>
          </a:prstGeom>
        </p:spPr>
        <p:txBody>
          <a:bodyPr wrap="square">
            <a:spAutoFit/>
          </a:bodyPr>
          <a:lstStyle/>
          <a:p>
            <a:pPr marL="285750" marR="0" lvl="0" indent="-2857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Total discount decreases even if performance-based metrics are hit as customer is currently over-indexed on trade</a:t>
            </a:r>
          </a:p>
          <a:p>
            <a:pPr marL="285750" marR="0" lvl="0" indent="-2857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Communicate that total discount can increase only if order mix </a:t>
            </a:r>
            <a:r>
              <a:rPr kumimoji="0" lang="en-US" sz="1200" b="0" i="0" u="none" strike="noStrike" kern="1200" cap="none" spc="0" normalizeH="0" baseline="0" noProof="0" dirty="0" err="1">
                <a:ln>
                  <a:noFill/>
                </a:ln>
                <a:solidFill>
                  <a:srgbClr val="000000"/>
                </a:solidFill>
                <a:effectLst/>
                <a:uLnTx/>
                <a:uFillTx/>
                <a:latin typeface="Open Sans"/>
                <a:ea typeface="+mn-ea"/>
                <a:cs typeface="+mn-cs"/>
              </a:rPr>
              <a:t>i</a:t>
            </a:r>
            <a:r>
              <a:rPr kumimoji="0" lang="en-US" sz="1200" b="0" i="0" u="none" strike="noStrike" kern="1200" cap="none" spc="0" normalizeH="0" baseline="0" noProof="0" dirty="0">
                <a:ln>
                  <a:noFill/>
                </a:ln>
                <a:solidFill>
                  <a:srgbClr val="000000"/>
                </a:solidFill>
                <a:effectLst/>
                <a:uLnTx/>
                <a:uFillTx/>
                <a:latin typeface="Open Sans"/>
                <a:ea typeface="+mn-ea"/>
                <a:cs typeface="+mn-cs"/>
              </a:rPr>
              <a:t>s more desirable </a:t>
            </a:r>
          </a:p>
        </p:txBody>
      </p:sp>
      <p:sp>
        <p:nvSpPr>
          <p:cNvPr id="45" name="Oval 44">
            <a:extLst>
              <a:ext uri="{FF2B5EF4-FFF2-40B4-BE49-F238E27FC236}">
                <a16:creationId xmlns:a16="http://schemas.microsoft.com/office/drawing/2014/main" id="{C05A24AA-FB8F-4DB6-8B99-F4C558C94AC3}"/>
              </a:ext>
            </a:extLst>
          </p:cNvPr>
          <p:cNvSpPr/>
          <p:nvPr/>
        </p:nvSpPr>
        <p:spPr>
          <a:xfrm>
            <a:off x="2007369" y="1828097"/>
            <a:ext cx="466725" cy="466725"/>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Open Sans"/>
                <a:ea typeface="+mn-ea"/>
                <a:cs typeface="+mn-cs"/>
              </a:rPr>
              <a:t>C</a:t>
            </a:r>
          </a:p>
        </p:txBody>
      </p:sp>
      <p:sp>
        <p:nvSpPr>
          <p:cNvPr id="46" name="Oval 45">
            <a:extLst>
              <a:ext uri="{FF2B5EF4-FFF2-40B4-BE49-F238E27FC236}">
                <a16:creationId xmlns:a16="http://schemas.microsoft.com/office/drawing/2014/main" id="{9A52E1C4-BCB3-4304-BF7B-3C60EE8BE893}"/>
              </a:ext>
            </a:extLst>
          </p:cNvPr>
          <p:cNvSpPr>
            <a:spLocks/>
          </p:cNvSpPr>
          <p:nvPr/>
        </p:nvSpPr>
        <p:spPr>
          <a:xfrm>
            <a:off x="2017308" y="4052905"/>
            <a:ext cx="466725" cy="466725"/>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Open Sans"/>
                <a:ea typeface="+mn-ea"/>
                <a:cs typeface="+mn-cs"/>
              </a:rPr>
              <a:t>D</a:t>
            </a:r>
          </a:p>
        </p:txBody>
      </p:sp>
      <p:sp>
        <p:nvSpPr>
          <p:cNvPr id="47" name="Oval 46">
            <a:extLst>
              <a:ext uri="{FF2B5EF4-FFF2-40B4-BE49-F238E27FC236}">
                <a16:creationId xmlns:a16="http://schemas.microsoft.com/office/drawing/2014/main" id="{05181074-A1CC-4213-938C-FF06E81FA130}"/>
              </a:ext>
            </a:extLst>
          </p:cNvPr>
          <p:cNvSpPr>
            <a:spLocks/>
          </p:cNvSpPr>
          <p:nvPr/>
        </p:nvSpPr>
        <p:spPr>
          <a:xfrm>
            <a:off x="6297443" y="1839692"/>
            <a:ext cx="466725" cy="466725"/>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Open Sans"/>
                <a:ea typeface="+mn-ea"/>
                <a:cs typeface="+mn-cs"/>
              </a:rPr>
              <a:t>A</a:t>
            </a:r>
          </a:p>
        </p:txBody>
      </p:sp>
      <p:sp>
        <p:nvSpPr>
          <p:cNvPr id="48" name="Oval 47">
            <a:extLst>
              <a:ext uri="{FF2B5EF4-FFF2-40B4-BE49-F238E27FC236}">
                <a16:creationId xmlns:a16="http://schemas.microsoft.com/office/drawing/2014/main" id="{AE2C3B54-3B41-4973-BFA3-087688A6486E}"/>
              </a:ext>
            </a:extLst>
          </p:cNvPr>
          <p:cNvSpPr>
            <a:spLocks/>
          </p:cNvSpPr>
          <p:nvPr/>
        </p:nvSpPr>
        <p:spPr>
          <a:xfrm>
            <a:off x="6297443" y="4062844"/>
            <a:ext cx="466725" cy="466725"/>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Open Sans"/>
                <a:ea typeface="+mn-ea"/>
                <a:cs typeface="+mn-cs"/>
              </a:rPr>
              <a:t>B</a:t>
            </a:r>
          </a:p>
        </p:txBody>
      </p:sp>
      <p:sp>
        <p:nvSpPr>
          <p:cNvPr id="49" name="Rectangle 48">
            <a:extLst>
              <a:ext uri="{FF2B5EF4-FFF2-40B4-BE49-F238E27FC236}">
                <a16:creationId xmlns:a16="http://schemas.microsoft.com/office/drawing/2014/main" id="{6C42B8A8-62A7-46EF-9707-3F532BEE9960}"/>
              </a:ext>
            </a:extLst>
          </p:cNvPr>
          <p:cNvSpPr/>
          <p:nvPr/>
        </p:nvSpPr>
        <p:spPr>
          <a:xfrm>
            <a:off x="2474094" y="4040628"/>
            <a:ext cx="3973982" cy="474682"/>
          </a:xfrm>
          <a:prstGeom prst="rect">
            <a:avLst/>
          </a:prstGeom>
        </p:spPr>
        <p:txBody>
          <a:bodyPr>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EFAC5"/>
                </a:solidFill>
                <a:effectLst/>
                <a:uLnTx/>
                <a:uFillTx/>
                <a:latin typeface="Open Sans"/>
                <a:ea typeface="+mn-ea"/>
                <a:cs typeface="+mn-cs"/>
              </a:rPr>
              <a:t>Non-strategic, </a:t>
            </a:r>
            <a:br>
              <a:rPr kumimoji="0" lang="en-US" sz="1200" b="1" i="0" u="none" strike="noStrike" kern="1200" cap="none" spc="0" normalizeH="0" baseline="0" noProof="0" dirty="0">
                <a:ln>
                  <a:noFill/>
                </a:ln>
                <a:solidFill>
                  <a:srgbClr val="3EFAC5"/>
                </a:solidFill>
                <a:effectLst/>
                <a:uLnTx/>
                <a:uFillTx/>
                <a:latin typeface="Open Sans"/>
                <a:ea typeface="+mn-ea"/>
                <a:cs typeface="+mn-cs"/>
              </a:rPr>
            </a:br>
            <a:r>
              <a:rPr kumimoji="0" lang="en-US" sz="1200" b="1" i="0" u="none" strike="noStrike" kern="1200" cap="none" spc="0" normalizeH="0" baseline="0" noProof="0" dirty="0">
                <a:ln>
                  <a:noFill/>
                </a:ln>
                <a:solidFill>
                  <a:srgbClr val="3EFAC5"/>
                </a:solidFill>
                <a:effectLst/>
                <a:uLnTx/>
                <a:uFillTx/>
                <a:latin typeface="Open Sans"/>
                <a:ea typeface="+mn-ea"/>
                <a:cs typeface="+mn-cs"/>
              </a:rPr>
              <a:t>currently over invested in trade</a:t>
            </a:r>
            <a:endParaRPr kumimoji="0" lang="en-US" sz="1200" b="1" i="1" u="none" strike="noStrike" kern="1200" cap="none" spc="0" normalizeH="0" baseline="0" noProof="0" dirty="0">
              <a:ln>
                <a:noFill/>
              </a:ln>
              <a:solidFill>
                <a:srgbClr val="3EFAC5"/>
              </a:solidFill>
              <a:effectLst/>
              <a:uLnTx/>
              <a:uFillTx/>
              <a:latin typeface="Open Sans"/>
              <a:ea typeface="+mn-ea"/>
              <a:cs typeface="+mn-cs"/>
            </a:endParaRPr>
          </a:p>
        </p:txBody>
      </p:sp>
      <p:sp>
        <p:nvSpPr>
          <p:cNvPr id="50" name="Rectangle 49">
            <a:extLst>
              <a:ext uri="{FF2B5EF4-FFF2-40B4-BE49-F238E27FC236}">
                <a16:creationId xmlns:a16="http://schemas.microsoft.com/office/drawing/2014/main" id="{82D53C45-2A9B-456C-B48B-F33FF1055D9B}"/>
              </a:ext>
            </a:extLst>
          </p:cNvPr>
          <p:cNvSpPr>
            <a:spLocks/>
          </p:cNvSpPr>
          <p:nvPr/>
        </p:nvSpPr>
        <p:spPr>
          <a:xfrm>
            <a:off x="6722396" y="1824105"/>
            <a:ext cx="3664129" cy="474682"/>
          </a:xfrm>
          <a:prstGeom prst="rect">
            <a:avLst/>
          </a:prstGeom>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4F0FF"/>
                </a:solidFill>
                <a:effectLst/>
                <a:uLnTx/>
                <a:uFillTx/>
                <a:latin typeface="Open Sans"/>
                <a:ea typeface="+mn-ea"/>
                <a:cs typeface="+mn-cs"/>
              </a:rPr>
              <a:t>Strategic, </a:t>
            </a:r>
            <a:br>
              <a:rPr kumimoji="0" lang="en-US" sz="1200" b="1" i="0" u="none" strike="noStrike" kern="1200" cap="none" spc="0" normalizeH="0" baseline="0" noProof="0" dirty="0">
                <a:ln>
                  <a:noFill/>
                </a:ln>
                <a:solidFill>
                  <a:srgbClr val="34F0FF"/>
                </a:solidFill>
                <a:effectLst/>
                <a:uLnTx/>
                <a:uFillTx/>
                <a:latin typeface="Open Sans"/>
                <a:ea typeface="+mn-ea"/>
                <a:cs typeface="+mn-cs"/>
              </a:rPr>
            </a:br>
            <a:r>
              <a:rPr kumimoji="0" lang="en-US" sz="1200" b="1" i="0" u="none" strike="noStrike" kern="1200" cap="none" spc="0" normalizeH="0" baseline="0" noProof="0" dirty="0">
                <a:ln>
                  <a:noFill/>
                </a:ln>
                <a:solidFill>
                  <a:srgbClr val="34F0FF"/>
                </a:solidFill>
                <a:effectLst/>
                <a:uLnTx/>
                <a:uFillTx/>
                <a:latin typeface="Open Sans"/>
                <a:ea typeface="+mn-ea"/>
                <a:cs typeface="+mn-cs"/>
              </a:rPr>
              <a:t>increased trade investment potential </a:t>
            </a:r>
            <a:endParaRPr kumimoji="0" lang="en-US" sz="1200" b="1" i="1" u="none" strike="noStrike" kern="1200" cap="none" spc="0" normalizeH="0" baseline="0" noProof="0" dirty="0">
              <a:ln>
                <a:noFill/>
              </a:ln>
              <a:solidFill>
                <a:srgbClr val="34F0FF"/>
              </a:solidFill>
              <a:effectLst/>
              <a:uLnTx/>
              <a:uFillTx/>
              <a:latin typeface="Open Sans"/>
              <a:ea typeface="+mn-ea"/>
              <a:cs typeface="+mn-cs"/>
            </a:endParaRPr>
          </a:p>
        </p:txBody>
      </p:sp>
      <p:sp>
        <p:nvSpPr>
          <p:cNvPr id="51" name="Rectangle 50">
            <a:extLst>
              <a:ext uri="{FF2B5EF4-FFF2-40B4-BE49-F238E27FC236}">
                <a16:creationId xmlns:a16="http://schemas.microsoft.com/office/drawing/2014/main" id="{D32F12DB-EFE7-4529-9F89-C70780F2BF5D}"/>
              </a:ext>
            </a:extLst>
          </p:cNvPr>
          <p:cNvSpPr>
            <a:spLocks/>
          </p:cNvSpPr>
          <p:nvPr/>
        </p:nvSpPr>
        <p:spPr>
          <a:xfrm>
            <a:off x="6722396" y="4040628"/>
            <a:ext cx="4037360" cy="474682"/>
          </a:xfrm>
          <a:prstGeom prst="rect">
            <a:avLst/>
          </a:prstGeom>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DD300"/>
                </a:solidFill>
                <a:effectLst/>
                <a:uLnTx/>
                <a:uFillTx/>
                <a:latin typeface="Open Sans"/>
                <a:ea typeface="+mn-ea"/>
                <a:cs typeface="+mn-cs"/>
              </a:rPr>
              <a:t>Strategic, </a:t>
            </a:r>
            <a:br>
              <a:rPr kumimoji="0" lang="en-US" sz="1200" b="1" i="0" u="none" strike="noStrike" kern="1200" cap="none" spc="0" normalizeH="0" baseline="0" noProof="0" dirty="0">
                <a:ln>
                  <a:noFill/>
                </a:ln>
                <a:solidFill>
                  <a:srgbClr val="FDD300"/>
                </a:solidFill>
                <a:effectLst/>
                <a:uLnTx/>
                <a:uFillTx/>
                <a:latin typeface="Open Sans"/>
                <a:ea typeface="+mn-ea"/>
                <a:cs typeface="+mn-cs"/>
              </a:rPr>
            </a:br>
            <a:r>
              <a:rPr kumimoji="0" lang="en-US" sz="1200" b="1" i="0" u="none" strike="noStrike" kern="1200" cap="none" spc="0" normalizeH="0" baseline="0" noProof="0" dirty="0">
                <a:ln>
                  <a:noFill/>
                </a:ln>
                <a:solidFill>
                  <a:srgbClr val="FDD300"/>
                </a:solidFill>
                <a:effectLst/>
                <a:uLnTx/>
                <a:uFillTx/>
                <a:latin typeface="Open Sans"/>
                <a:ea typeface="+mn-ea"/>
                <a:cs typeface="+mn-cs"/>
              </a:rPr>
              <a:t>currently over invested in trade</a:t>
            </a:r>
            <a:endParaRPr kumimoji="0" lang="en-US" sz="1200" b="1" i="1" u="none" strike="noStrike" kern="1200" cap="none" spc="0" normalizeH="0" baseline="0" noProof="0" dirty="0">
              <a:ln>
                <a:noFill/>
              </a:ln>
              <a:solidFill>
                <a:srgbClr val="FDD300"/>
              </a:solidFill>
              <a:effectLst/>
              <a:uLnTx/>
              <a:uFillTx/>
              <a:latin typeface="Open Sans"/>
              <a:ea typeface="+mn-ea"/>
              <a:cs typeface="+mn-cs"/>
            </a:endParaRPr>
          </a:p>
        </p:txBody>
      </p:sp>
      <p:sp>
        <p:nvSpPr>
          <p:cNvPr id="52" name="Rectangle 51">
            <a:extLst>
              <a:ext uri="{FF2B5EF4-FFF2-40B4-BE49-F238E27FC236}">
                <a16:creationId xmlns:a16="http://schemas.microsoft.com/office/drawing/2014/main" id="{C4A700C8-36DC-4FBC-8694-952D35E2C5D7}"/>
              </a:ext>
            </a:extLst>
          </p:cNvPr>
          <p:cNvSpPr/>
          <p:nvPr/>
        </p:nvSpPr>
        <p:spPr>
          <a:xfrm>
            <a:off x="2474094" y="1824105"/>
            <a:ext cx="3973982" cy="474682"/>
          </a:xfrm>
          <a:prstGeom prst="rect">
            <a:avLst/>
          </a:prstGeom>
        </p:spPr>
        <p:txBody>
          <a:bodyPr>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86F200"/>
                </a:solidFill>
                <a:effectLst/>
                <a:uLnTx/>
                <a:uFillTx/>
                <a:latin typeface="Open Sans"/>
                <a:ea typeface="+mn-ea"/>
                <a:cs typeface="+mn-cs"/>
              </a:rPr>
              <a:t>Non-strategic, </a:t>
            </a:r>
            <a:br>
              <a:rPr kumimoji="0" lang="en-US" sz="1200" b="1" i="0" u="none" strike="noStrike" kern="1200" cap="none" spc="0" normalizeH="0" baseline="0" noProof="0" dirty="0">
                <a:ln>
                  <a:noFill/>
                </a:ln>
                <a:solidFill>
                  <a:srgbClr val="86F200"/>
                </a:solidFill>
                <a:effectLst/>
                <a:uLnTx/>
                <a:uFillTx/>
                <a:latin typeface="Open Sans"/>
                <a:ea typeface="+mn-ea"/>
                <a:cs typeface="+mn-cs"/>
              </a:rPr>
            </a:br>
            <a:r>
              <a:rPr kumimoji="0" lang="en-US" sz="1200" b="1" i="0" u="none" strike="noStrike" kern="1200" cap="none" spc="0" normalizeH="0" baseline="0" noProof="0" dirty="0">
                <a:ln>
                  <a:noFill/>
                </a:ln>
                <a:solidFill>
                  <a:srgbClr val="86F200"/>
                </a:solidFill>
                <a:effectLst/>
                <a:uLnTx/>
                <a:uFillTx/>
                <a:latin typeface="Open Sans"/>
                <a:ea typeface="+mn-ea"/>
                <a:cs typeface="+mn-cs"/>
              </a:rPr>
              <a:t>increased trade investment potential </a:t>
            </a:r>
            <a:endParaRPr kumimoji="0" lang="en-US" sz="1200" b="1" i="1" u="none" strike="noStrike" kern="1200" cap="none" spc="0" normalizeH="0" baseline="0" noProof="0" dirty="0">
              <a:ln>
                <a:noFill/>
              </a:ln>
              <a:solidFill>
                <a:srgbClr val="86F200"/>
              </a:solidFill>
              <a:effectLst/>
              <a:uLnTx/>
              <a:uFillTx/>
              <a:latin typeface="Open Sans"/>
              <a:ea typeface="+mn-ea"/>
              <a:cs typeface="+mn-cs"/>
            </a:endParaRPr>
          </a:p>
        </p:txBody>
      </p:sp>
    </p:spTree>
    <p:extLst>
      <p:ext uri="{BB962C8B-B14F-4D97-AF65-F5344CB8AC3E}">
        <p14:creationId xmlns:p14="http://schemas.microsoft.com/office/powerpoint/2010/main" val="3462929366"/>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2" name="Object 71" hidden="1">
            <a:extLst>
              <a:ext uri="{FF2B5EF4-FFF2-40B4-BE49-F238E27FC236}">
                <a16:creationId xmlns:a16="http://schemas.microsoft.com/office/drawing/2014/main" id="{84EEBE5C-6BC3-4E7D-B694-AE99CCABEB1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948" name="think-cell Slide" r:id="rId6" imgW="395" imgH="396" progId="TCLayout.ActiveDocument.1">
                  <p:embed/>
                </p:oleObj>
              </mc:Choice>
              <mc:Fallback>
                <p:oleObj name="think-cell Slide" r:id="rId6" imgW="395" imgH="396" progId="TCLayout.ActiveDocument.1">
                  <p:embed/>
                  <p:pic>
                    <p:nvPicPr>
                      <p:cNvPr id="72" name="Object 71" hidden="1">
                        <a:extLst>
                          <a:ext uri="{FF2B5EF4-FFF2-40B4-BE49-F238E27FC236}">
                            <a16:creationId xmlns:a16="http://schemas.microsoft.com/office/drawing/2014/main" id="{84EEBE5C-6BC3-4E7D-B694-AE99CCABEB1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1" name="Rectangle 70" hidden="1">
            <a:extLst>
              <a:ext uri="{FF2B5EF4-FFF2-40B4-BE49-F238E27FC236}">
                <a16:creationId xmlns:a16="http://schemas.microsoft.com/office/drawing/2014/main" id="{CEEC2A90-287C-48AD-9A55-CD0012CA497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cs typeface="Arabic Typesetting" panose="03020402040406030203" pitchFamily="66" charset="-78"/>
              <a:sym typeface="Chronicle Display Black" pitchFamily="50" charset="0"/>
            </a:endParaRPr>
          </a:p>
        </p:txBody>
      </p:sp>
      <p:sp>
        <p:nvSpPr>
          <p:cNvPr id="2" name="Title 1">
            <a:extLst>
              <a:ext uri="{FF2B5EF4-FFF2-40B4-BE49-F238E27FC236}">
                <a16:creationId xmlns:a16="http://schemas.microsoft.com/office/drawing/2014/main" id="{CF172999-7B12-4573-A3D3-13FD03479770}"/>
              </a:ext>
            </a:extLst>
          </p:cNvPr>
          <p:cNvSpPr>
            <a:spLocks noGrp="1"/>
          </p:cNvSpPr>
          <p:nvPr>
            <p:ph type="title"/>
          </p:nvPr>
        </p:nvSpPr>
        <p:spPr/>
        <p:txBody>
          <a:bodyPr/>
          <a:lstStyle/>
          <a:p>
            <a:r>
              <a:rPr lang="en-US" dirty="0">
                <a:cs typeface="Arabic Typesetting" panose="03020402040406030203" pitchFamily="66" charset="-78"/>
              </a:rPr>
              <a:t>Digital monetization of editorial drives spend  </a:t>
            </a:r>
            <a:endParaRPr lang="en-US" dirty="0"/>
          </a:p>
        </p:txBody>
      </p:sp>
      <p:sp>
        <p:nvSpPr>
          <p:cNvPr id="3" name="Text Placeholder 2">
            <a:extLst>
              <a:ext uri="{FF2B5EF4-FFF2-40B4-BE49-F238E27FC236}">
                <a16:creationId xmlns:a16="http://schemas.microsoft.com/office/drawing/2014/main" id="{29501C79-30DC-4747-8681-51BDE85A0403}"/>
              </a:ext>
            </a:extLst>
          </p:cNvPr>
          <p:cNvSpPr>
            <a:spLocks noGrp="1"/>
          </p:cNvSpPr>
          <p:nvPr>
            <p:ph type="body" sz="quarter" idx="14"/>
          </p:nvPr>
        </p:nvSpPr>
        <p:spPr/>
        <p:txBody>
          <a:bodyPr/>
          <a:lstStyle/>
          <a:p>
            <a:r>
              <a:rPr lang="en-US" dirty="0"/>
              <a:t>Subtitle</a:t>
            </a:r>
          </a:p>
        </p:txBody>
      </p:sp>
      <p:sp>
        <p:nvSpPr>
          <p:cNvPr id="5" name="Oval 4">
            <a:extLst>
              <a:ext uri="{FF2B5EF4-FFF2-40B4-BE49-F238E27FC236}">
                <a16:creationId xmlns:a16="http://schemas.microsoft.com/office/drawing/2014/main" id="{BC70ABD8-232D-4DA0-B9AD-29980375B1AD}"/>
              </a:ext>
            </a:extLst>
          </p:cNvPr>
          <p:cNvSpPr>
            <a:spLocks noChangeAspect="1"/>
          </p:cNvSpPr>
          <p:nvPr/>
        </p:nvSpPr>
        <p:spPr>
          <a:xfrm>
            <a:off x="8114570" y="1725346"/>
            <a:ext cx="573850" cy="57385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6" name="Oval 5">
            <a:extLst>
              <a:ext uri="{FF2B5EF4-FFF2-40B4-BE49-F238E27FC236}">
                <a16:creationId xmlns:a16="http://schemas.microsoft.com/office/drawing/2014/main" id="{1A44CEE0-F26A-42D1-8BD8-5643291DB309}"/>
              </a:ext>
            </a:extLst>
          </p:cNvPr>
          <p:cNvSpPr>
            <a:spLocks noChangeAspect="1"/>
          </p:cNvSpPr>
          <p:nvPr/>
        </p:nvSpPr>
        <p:spPr>
          <a:xfrm>
            <a:off x="8114570" y="3010683"/>
            <a:ext cx="573850" cy="57385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7" name="Oval 6">
            <a:extLst>
              <a:ext uri="{FF2B5EF4-FFF2-40B4-BE49-F238E27FC236}">
                <a16:creationId xmlns:a16="http://schemas.microsoft.com/office/drawing/2014/main" id="{F846DB48-5978-49CE-AE87-47E393F53A28}"/>
              </a:ext>
            </a:extLst>
          </p:cNvPr>
          <p:cNvSpPr>
            <a:spLocks noChangeAspect="1"/>
          </p:cNvSpPr>
          <p:nvPr/>
        </p:nvSpPr>
        <p:spPr>
          <a:xfrm>
            <a:off x="8114570" y="4296020"/>
            <a:ext cx="573850" cy="57385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8" name="Oval 7">
            <a:extLst>
              <a:ext uri="{FF2B5EF4-FFF2-40B4-BE49-F238E27FC236}">
                <a16:creationId xmlns:a16="http://schemas.microsoft.com/office/drawing/2014/main" id="{131B2934-FE26-4820-9D0A-F9B0979CFF83}"/>
              </a:ext>
            </a:extLst>
          </p:cNvPr>
          <p:cNvSpPr>
            <a:spLocks noChangeAspect="1"/>
          </p:cNvSpPr>
          <p:nvPr/>
        </p:nvSpPr>
        <p:spPr>
          <a:xfrm>
            <a:off x="8114570" y="5581356"/>
            <a:ext cx="573850" cy="57385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cxnSp>
        <p:nvCxnSpPr>
          <p:cNvPr id="9" name="Straight Connector 8">
            <a:extLst>
              <a:ext uri="{FF2B5EF4-FFF2-40B4-BE49-F238E27FC236}">
                <a16:creationId xmlns:a16="http://schemas.microsoft.com/office/drawing/2014/main" id="{3FDF903E-F505-44C9-A88E-977FB7EBC2D1}"/>
              </a:ext>
            </a:extLst>
          </p:cNvPr>
          <p:cNvCxnSpPr/>
          <p:nvPr/>
        </p:nvCxnSpPr>
        <p:spPr>
          <a:xfrm>
            <a:off x="8906910" y="3317440"/>
            <a:ext cx="1184704" cy="0"/>
          </a:xfrm>
          <a:prstGeom prst="line">
            <a:avLst/>
          </a:prstGeom>
          <a:ln w="45720"/>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3F3C87FD-6DC8-4A67-9511-92B8C8687A98}"/>
              </a:ext>
            </a:extLst>
          </p:cNvPr>
          <p:cNvCxnSpPr/>
          <p:nvPr/>
        </p:nvCxnSpPr>
        <p:spPr>
          <a:xfrm>
            <a:off x="8906910" y="4658410"/>
            <a:ext cx="1687212" cy="0"/>
          </a:xfrm>
          <a:prstGeom prst="line">
            <a:avLst/>
          </a:prstGeom>
          <a:ln w="4572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95FB4182-64C9-443D-8663-6903313599B9}"/>
              </a:ext>
            </a:extLst>
          </p:cNvPr>
          <p:cNvCxnSpPr/>
          <p:nvPr/>
        </p:nvCxnSpPr>
        <p:spPr>
          <a:xfrm>
            <a:off x="8906910" y="5742856"/>
            <a:ext cx="535220" cy="0"/>
          </a:xfrm>
          <a:prstGeom prst="line">
            <a:avLst/>
          </a:prstGeom>
          <a:ln w="45720"/>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1B327558-F940-47A9-9733-CF2118F1F796}"/>
              </a:ext>
            </a:extLst>
          </p:cNvPr>
          <p:cNvCxnSpPr/>
          <p:nvPr/>
        </p:nvCxnSpPr>
        <p:spPr>
          <a:xfrm>
            <a:off x="8837107" y="2012574"/>
            <a:ext cx="849651" cy="0"/>
          </a:xfrm>
          <a:prstGeom prst="line">
            <a:avLst/>
          </a:prstGeom>
          <a:ln w="45720"/>
        </p:spPr>
        <p:style>
          <a:lnRef idx="1">
            <a:schemeClr val="accent1"/>
          </a:lnRef>
          <a:fillRef idx="0">
            <a:schemeClr val="accent1"/>
          </a:fillRef>
          <a:effectRef idx="0">
            <a:schemeClr val="accent1"/>
          </a:effectRef>
          <a:fontRef idx="minor">
            <a:schemeClr val="tx1"/>
          </a:fontRef>
        </p:style>
      </p:cxnSp>
      <p:sp>
        <p:nvSpPr>
          <p:cNvPr id="13" name="Title 7">
            <a:extLst>
              <a:ext uri="{FF2B5EF4-FFF2-40B4-BE49-F238E27FC236}">
                <a16:creationId xmlns:a16="http://schemas.microsoft.com/office/drawing/2014/main" id="{1AF9FAD1-2B57-4B56-A986-A8D76BDFC44C}"/>
              </a:ext>
            </a:extLst>
          </p:cNvPr>
          <p:cNvSpPr txBox="1">
            <a:spLocks/>
          </p:cNvSpPr>
          <p:nvPr/>
        </p:nvSpPr>
        <p:spPr>
          <a:xfrm>
            <a:off x="914400" y="743686"/>
            <a:ext cx="10363200" cy="956483"/>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sp>
        <p:nvSpPr>
          <p:cNvPr id="14" name="Text Placeholder 9">
            <a:extLst>
              <a:ext uri="{FF2B5EF4-FFF2-40B4-BE49-F238E27FC236}">
                <a16:creationId xmlns:a16="http://schemas.microsoft.com/office/drawing/2014/main" id="{7A0FD451-92CF-44D7-82DE-E02B7A2EE972}"/>
              </a:ext>
            </a:extLst>
          </p:cNvPr>
          <p:cNvSpPr txBox="1">
            <a:spLocks/>
          </p:cNvSpPr>
          <p:nvPr/>
        </p:nvSpPr>
        <p:spPr>
          <a:xfrm>
            <a:off x="914971" y="466344"/>
            <a:ext cx="7315200" cy="2032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FRAMEWORKS &amp; CONCEPT ILLUSTRATION</a:t>
            </a:r>
          </a:p>
        </p:txBody>
      </p:sp>
      <p:sp>
        <p:nvSpPr>
          <p:cNvPr id="15" name="Rectangle 14">
            <a:extLst>
              <a:ext uri="{FF2B5EF4-FFF2-40B4-BE49-F238E27FC236}">
                <a16:creationId xmlns:a16="http://schemas.microsoft.com/office/drawing/2014/main" id="{F31A75F3-8DD5-4F37-9C1E-EB6B0AFA8B5C}"/>
              </a:ext>
            </a:extLst>
          </p:cNvPr>
          <p:cNvSpPr/>
          <p:nvPr/>
        </p:nvSpPr>
        <p:spPr bwMode="gray">
          <a:xfrm>
            <a:off x="8842161" y="5586819"/>
            <a:ext cx="1117559" cy="192985"/>
          </a:xfrm>
          <a:prstGeom prst="rect">
            <a:avLst/>
          </a:prstGeom>
          <a:noFill/>
          <a:ln w="1905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srgbClr val="000000"/>
                </a:solidFill>
                <a:effectLst/>
                <a:uLnTx/>
                <a:uFillTx/>
                <a:ea typeface="+mn-ea"/>
                <a:cs typeface="Verdana" panose="020B0604030504040204" pitchFamily="34" charset="0"/>
              </a:rPr>
              <a:t>REACH</a:t>
            </a:r>
          </a:p>
        </p:txBody>
      </p:sp>
      <p:sp>
        <p:nvSpPr>
          <p:cNvPr id="16" name="Rectangle 15">
            <a:extLst>
              <a:ext uri="{FF2B5EF4-FFF2-40B4-BE49-F238E27FC236}">
                <a16:creationId xmlns:a16="http://schemas.microsoft.com/office/drawing/2014/main" id="{E8137423-21EE-4175-BCD2-B1BDEB404760}"/>
              </a:ext>
            </a:extLst>
          </p:cNvPr>
          <p:cNvSpPr/>
          <p:nvPr/>
        </p:nvSpPr>
        <p:spPr>
          <a:xfrm>
            <a:off x="8842161" y="5759956"/>
            <a:ext cx="2367410" cy="418576"/>
          </a:xfrm>
          <a:prstGeom prst="rect">
            <a:avLst/>
          </a:prstGeom>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0" i="0" u="none" strike="noStrike" kern="1200" cap="none" spc="0" normalizeH="0" baseline="0" noProof="0" dirty="0">
                <a:ln>
                  <a:noFill/>
                </a:ln>
                <a:solidFill>
                  <a:srgbClr val="000000"/>
                </a:solidFill>
                <a:effectLst/>
                <a:uLnTx/>
                <a:uFillTx/>
                <a:ea typeface="+mn-ea"/>
                <a:cs typeface="+mn-cs"/>
              </a:rPr>
              <a:t>“It is very difficult to manage spend outside of Google and </a:t>
            </a:r>
            <a:r>
              <a:rPr kumimoji="0" lang="en-US" sz="1000" b="0" i="0" u="none" strike="noStrike" kern="1200" cap="none" spc="0" normalizeH="0" baseline="0" noProof="0">
                <a:ln>
                  <a:noFill/>
                </a:ln>
                <a:solidFill>
                  <a:srgbClr val="000000"/>
                </a:solidFill>
                <a:effectLst/>
                <a:uLnTx/>
                <a:uFillTx/>
                <a:ea typeface="+mn-ea"/>
                <a:cs typeface="+mn-cs"/>
              </a:rPr>
              <a:t>Facebook”</a:t>
            </a:r>
          </a:p>
        </p:txBody>
      </p:sp>
      <p:sp>
        <p:nvSpPr>
          <p:cNvPr id="17" name="Rectangle 16">
            <a:extLst>
              <a:ext uri="{FF2B5EF4-FFF2-40B4-BE49-F238E27FC236}">
                <a16:creationId xmlns:a16="http://schemas.microsoft.com/office/drawing/2014/main" id="{DE3C2050-7095-43F9-B819-479E044F9132}"/>
              </a:ext>
            </a:extLst>
          </p:cNvPr>
          <p:cNvSpPr/>
          <p:nvPr/>
        </p:nvSpPr>
        <p:spPr bwMode="gray">
          <a:xfrm>
            <a:off x="8834901" y="4276170"/>
            <a:ext cx="1829174" cy="450325"/>
          </a:xfrm>
          <a:prstGeom prst="rect">
            <a:avLst/>
          </a:prstGeom>
          <a:noFill/>
          <a:ln w="19050" algn="ctr">
            <a:noFill/>
            <a:miter lim="800000"/>
            <a:headEnd/>
            <a:tailEnd/>
          </a:ln>
        </p:spPr>
        <p:txBody>
          <a:bodyPr wrap="square" lIns="66675" tIns="66675" rIns="66675" bIns="66675" rtlCol="0" anchor="ctr"/>
          <a:lstStyle/>
          <a:p>
            <a:pPr marL="0" marR="0" lvl="0" indent="0" algn="l" defTabSz="914378"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Verdana" panose="020B0604030504040204" pitchFamily="34" charset="0"/>
              </a:rPr>
              <a:t>USER EXPERIENCE &amp; CONTENT MARKETING</a:t>
            </a:r>
          </a:p>
        </p:txBody>
      </p:sp>
      <p:sp>
        <p:nvSpPr>
          <p:cNvPr id="18" name="Rectangle 17">
            <a:extLst>
              <a:ext uri="{FF2B5EF4-FFF2-40B4-BE49-F238E27FC236}">
                <a16:creationId xmlns:a16="http://schemas.microsoft.com/office/drawing/2014/main" id="{41AE3C46-9D78-4BFA-8AC7-E333A188B21E}"/>
              </a:ext>
            </a:extLst>
          </p:cNvPr>
          <p:cNvSpPr/>
          <p:nvPr/>
        </p:nvSpPr>
        <p:spPr>
          <a:xfrm>
            <a:off x="8781361" y="4728028"/>
            <a:ext cx="2244975" cy="418576"/>
          </a:xfrm>
          <a:prstGeom prst="rect">
            <a:avLst/>
          </a:prstGeom>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0" i="0" u="none" strike="noStrike" kern="1200" cap="none" spc="0" normalizeH="0" baseline="0" noProof="0" dirty="0">
                <a:ln>
                  <a:noFill/>
                </a:ln>
                <a:solidFill>
                  <a:srgbClr val="000000"/>
                </a:solidFill>
                <a:effectLst/>
                <a:uLnTx/>
                <a:uFillTx/>
                <a:ea typeface="+mn-ea"/>
                <a:cs typeface="+mn-cs"/>
              </a:rPr>
              <a:t>“Advertisers want ease-of-use.  Users want better ad experiences”</a:t>
            </a:r>
          </a:p>
        </p:txBody>
      </p:sp>
      <p:sp>
        <p:nvSpPr>
          <p:cNvPr id="19" name="Rectangle 18">
            <a:extLst>
              <a:ext uri="{FF2B5EF4-FFF2-40B4-BE49-F238E27FC236}">
                <a16:creationId xmlns:a16="http://schemas.microsoft.com/office/drawing/2014/main" id="{EB5F27EE-65D3-432A-84B1-256E7E91147D}"/>
              </a:ext>
            </a:extLst>
          </p:cNvPr>
          <p:cNvSpPr/>
          <p:nvPr/>
        </p:nvSpPr>
        <p:spPr bwMode="gray">
          <a:xfrm>
            <a:off x="8842161" y="2937493"/>
            <a:ext cx="1828800" cy="454601"/>
          </a:xfrm>
          <a:prstGeom prst="rect">
            <a:avLst/>
          </a:prstGeom>
          <a:noFill/>
          <a:ln w="19050" algn="ctr">
            <a:noFill/>
            <a:miter lim="800000"/>
            <a:headEnd/>
            <a:tailEnd/>
          </a:ln>
        </p:spPr>
        <p:txBody>
          <a:bodyPr wrap="square" lIns="66675" tIns="66675" rIns="66675" bIns="66675" rtlCol="0" anchor="ctr"/>
          <a:lstStyle/>
          <a:p>
            <a:pPr marL="0" marR="0" lvl="0" indent="0" algn="l" defTabSz="914378"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Verdana" panose="020B0604030504040204" pitchFamily="34" charset="0"/>
              </a:rPr>
              <a:t>ANALYTICS &amp; MEASUREMENT</a:t>
            </a:r>
          </a:p>
        </p:txBody>
      </p:sp>
      <p:sp>
        <p:nvSpPr>
          <p:cNvPr id="20" name="Rectangle 19">
            <a:extLst>
              <a:ext uri="{FF2B5EF4-FFF2-40B4-BE49-F238E27FC236}">
                <a16:creationId xmlns:a16="http://schemas.microsoft.com/office/drawing/2014/main" id="{4E9337E5-FF9F-4001-B72D-8616AB9FF63B}"/>
              </a:ext>
            </a:extLst>
          </p:cNvPr>
          <p:cNvSpPr/>
          <p:nvPr/>
        </p:nvSpPr>
        <p:spPr>
          <a:xfrm>
            <a:off x="8836608" y="3337451"/>
            <a:ext cx="2318236" cy="581698"/>
          </a:xfrm>
          <a:prstGeom prst="rect">
            <a:avLst/>
          </a:prstGeom>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0" i="0" u="none" strike="noStrike" kern="1200" cap="none" spc="0" normalizeH="0" baseline="0" noProof="0" dirty="0">
                <a:ln>
                  <a:noFill/>
                </a:ln>
                <a:solidFill>
                  <a:srgbClr val="000000"/>
                </a:solidFill>
                <a:effectLst/>
                <a:uLnTx/>
                <a:uFillTx/>
                <a:ea typeface="+mn-ea"/>
                <a:cs typeface="+mn-cs"/>
              </a:rPr>
              <a:t>“Holy grail of marketing is being able to track cross-channel and through the funnel”</a:t>
            </a:r>
          </a:p>
        </p:txBody>
      </p:sp>
      <p:sp>
        <p:nvSpPr>
          <p:cNvPr id="21" name="Rectangle 20">
            <a:extLst>
              <a:ext uri="{FF2B5EF4-FFF2-40B4-BE49-F238E27FC236}">
                <a16:creationId xmlns:a16="http://schemas.microsoft.com/office/drawing/2014/main" id="{9F3F15CF-CD57-42DF-B972-D70F3D7231E7}"/>
              </a:ext>
            </a:extLst>
          </p:cNvPr>
          <p:cNvSpPr/>
          <p:nvPr/>
        </p:nvSpPr>
        <p:spPr bwMode="gray">
          <a:xfrm>
            <a:off x="8773467" y="1876895"/>
            <a:ext cx="1184286" cy="159843"/>
          </a:xfrm>
          <a:prstGeom prst="rect">
            <a:avLst/>
          </a:prstGeom>
          <a:noFill/>
          <a:ln w="19050" algn="ctr">
            <a:noFill/>
            <a:miter lim="800000"/>
            <a:headEnd/>
            <a:tailEnd/>
          </a:ln>
        </p:spPr>
        <p:txBody>
          <a:bodyPr wrap="square" lIns="66675" tIns="66675" rIns="66675" bIns="66675" rtlCol="0" anchor="ctr"/>
          <a:lstStyle/>
          <a:p>
            <a:pPr marL="0" marR="0" lvl="0" indent="0" algn="l" defTabSz="914378"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Verdana" panose="020B0604030504040204" pitchFamily="34" charset="0"/>
              </a:rPr>
              <a:t>TARGETING</a:t>
            </a:r>
          </a:p>
        </p:txBody>
      </p:sp>
      <p:sp>
        <p:nvSpPr>
          <p:cNvPr id="22" name="Rectangle 21">
            <a:extLst>
              <a:ext uri="{FF2B5EF4-FFF2-40B4-BE49-F238E27FC236}">
                <a16:creationId xmlns:a16="http://schemas.microsoft.com/office/drawing/2014/main" id="{1A4EF75B-208B-4798-BDAD-84C6F568FD56}"/>
              </a:ext>
            </a:extLst>
          </p:cNvPr>
          <p:cNvSpPr/>
          <p:nvPr/>
        </p:nvSpPr>
        <p:spPr>
          <a:xfrm>
            <a:off x="8781361" y="2064316"/>
            <a:ext cx="2011680" cy="574003"/>
          </a:xfrm>
          <a:prstGeom prst="rect">
            <a:avLst/>
          </a:prstGeom>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0" i="0" u="none" strike="noStrike" kern="1200" cap="none" spc="0" normalizeH="0" baseline="0" noProof="0" dirty="0">
                <a:ln>
                  <a:noFill/>
                </a:ln>
                <a:solidFill>
                  <a:srgbClr val="000000"/>
                </a:solidFill>
                <a:effectLst/>
                <a:uLnTx/>
                <a:uFillTx/>
                <a:ea typeface="+mn-ea"/>
                <a:cs typeface="+mn-cs"/>
              </a:rPr>
              <a:t>“CMOs are now accountable to CFOs. If they can’t prove ROI, they’re out of the game”</a:t>
            </a:r>
          </a:p>
        </p:txBody>
      </p:sp>
      <p:sp>
        <p:nvSpPr>
          <p:cNvPr id="23" name="Shape 2324">
            <a:extLst>
              <a:ext uri="{FF2B5EF4-FFF2-40B4-BE49-F238E27FC236}">
                <a16:creationId xmlns:a16="http://schemas.microsoft.com/office/drawing/2014/main" id="{DC79D8CE-1493-4966-8D5B-84A870967E0B}"/>
              </a:ext>
            </a:extLst>
          </p:cNvPr>
          <p:cNvSpPr/>
          <p:nvPr/>
        </p:nvSpPr>
        <p:spPr>
          <a:xfrm rot="16200000" flipH="1">
            <a:off x="3536682" y="1767434"/>
            <a:ext cx="0" cy="4753228"/>
          </a:xfrm>
          <a:prstGeom prst="line">
            <a:avLst/>
          </a:prstGeom>
          <a:ln w="28575">
            <a:solidFill>
              <a:schemeClr val="accent5"/>
            </a:solidFill>
            <a:prstDash val="solid"/>
            <a:headEnd type="arrow" w="lg" len="med"/>
            <a:tailEnd type="arrow" w="lg" len="med"/>
          </a:ln>
        </p:spPr>
        <p:txBody>
          <a:bodyPr lIns="45707" rIns="45707"/>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99" b="0" i="0" u="none" strike="noStrike" kern="1200" cap="none" spc="0" normalizeH="0" baseline="0" noProof="0">
              <a:ln>
                <a:noFill/>
              </a:ln>
              <a:solidFill>
                <a:srgbClr val="000000"/>
              </a:solidFill>
              <a:effectLst/>
              <a:uLnTx/>
              <a:uFillTx/>
              <a:ea typeface="+mn-ea"/>
              <a:cs typeface="+mn-cs"/>
            </a:endParaRPr>
          </a:p>
        </p:txBody>
      </p:sp>
      <p:sp>
        <p:nvSpPr>
          <p:cNvPr id="24" name="Shape 2324">
            <a:extLst>
              <a:ext uri="{FF2B5EF4-FFF2-40B4-BE49-F238E27FC236}">
                <a16:creationId xmlns:a16="http://schemas.microsoft.com/office/drawing/2014/main" id="{B2A2E91D-1B3D-4F06-BD26-802DA10D221B}"/>
              </a:ext>
            </a:extLst>
          </p:cNvPr>
          <p:cNvSpPr/>
          <p:nvPr/>
        </p:nvSpPr>
        <p:spPr>
          <a:xfrm flipH="1">
            <a:off x="3505387" y="2552035"/>
            <a:ext cx="0" cy="3337332"/>
          </a:xfrm>
          <a:prstGeom prst="line">
            <a:avLst/>
          </a:prstGeom>
          <a:ln w="28575">
            <a:solidFill>
              <a:schemeClr val="accent5"/>
            </a:solidFill>
            <a:prstDash val="solid"/>
            <a:headEnd type="arrow" w="lg" len="med"/>
            <a:tailEnd type="arrow" w="lg" len="med"/>
          </a:ln>
        </p:spPr>
        <p:txBody>
          <a:bodyPr lIns="45707" rIns="45707"/>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99" b="0" i="0" u="none" strike="noStrike" kern="1200" cap="none" spc="0" normalizeH="0" baseline="0" noProof="0">
              <a:ln>
                <a:noFill/>
              </a:ln>
              <a:solidFill>
                <a:srgbClr val="000000"/>
              </a:solidFill>
              <a:effectLst/>
              <a:uLnTx/>
              <a:uFillTx/>
              <a:ea typeface="+mn-ea"/>
              <a:cs typeface="+mn-cs"/>
            </a:endParaRPr>
          </a:p>
        </p:txBody>
      </p:sp>
      <p:sp>
        <p:nvSpPr>
          <p:cNvPr id="25" name="TextBox 24">
            <a:extLst>
              <a:ext uri="{FF2B5EF4-FFF2-40B4-BE49-F238E27FC236}">
                <a16:creationId xmlns:a16="http://schemas.microsoft.com/office/drawing/2014/main" id="{481C6F1B-84C0-4F68-A9FC-4C6AFEC10C80}"/>
              </a:ext>
            </a:extLst>
          </p:cNvPr>
          <p:cNvSpPr txBox="1"/>
          <p:nvPr/>
        </p:nvSpPr>
        <p:spPr>
          <a:xfrm rot="16200000">
            <a:off x="3277563" y="2808588"/>
            <a:ext cx="465391" cy="246221"/>
          </a:xfrm>
          <a:prstGeom prst="rect">
            <a:avLst/>
          </a:prstGeom>
          <a:solidFill>
            <a:schemeClr val="bg1"/>
          </a:solid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High</a:t>
            </a:r>
          </a:p>
        </p:txBody>
      </p:sp>
      <p:sp>
        <p:nvSpPr>
          <p:cNvPr id="26" name="TextBox 25">
            <a:extLst>
              <a:ext uri="{FF2B5EF4-FFF2-40B4-BE49-F238E27FC236}">
                <a16:creationId xmlns:a16="http://schemas.microsoft.com/office/drawing/2014/main" id="{8F6ACAC6-EDCC-4199-9A19-72D0D0D2D1E3}"/>
              </a:ext>
            </a:extLst>
          </p:cNvPr>
          <p:cNvSpPr txBox="1"/>
          <p:nvPr/>
        </p:nvSpPr>
        <p:spPr>
          <a:xfrm rot="16200000">
            <a:off x="3323770" y="5366729"/>
            <a:ext cx="372980" cy="246221"/>
          </a:xfrm>
          <a:prstGeom prst="rect">
            <a:avLst/>
          </a:prstGeom>
          <a:solidFill>
            <a:schemeClr val="bg1"/>
          </a:solid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Low</a:t>
            </a:r>
          </a:p>
        </p:txBody>
      </p:sp>
      <p:sp>
        <p:nvSpPr>
          <p:cNvPr id="27" name="TextBox 26">
            <a:extLst>
              <a:ext uri="{FF2B5EF4-FFF2-40B4-BE49-F238E27FC236}">
                <a16:creationId xmlns:a16="http://schemas.microsoft.com/office/drawing/2014/main" id="{9234586A-912F-4A07-896A-14D49D42DD2A}"/>
              </a:ext>
            </a:extLst>
          </p:cNvPr>
          <p:cNvSpPr txBox="1"/>
          <p:nvPr/>
        </p:nvSpPr>
        <p:spPr>
          <a:xfrm>
            <a:off x="1460893" y="4018112"/>
            <a:ext cx="597521" cy="246221"/>
          </a:xfrm>
          <a:prstGeom prst="rect">
            <a:avLst/>
          </a:prstGeom>
          <a:solidFill>
            <a:schemeClr val="bg1"/>
          </a:solid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Exclusive</a:t>
            </a:r>
          </a:p>
        </p:txBody>
      </p:sp>
      <p:sp>
        <p:nvSpPr>
          <p:cNvPr id="28" name="TextBox 27">
            <a:extLst>
              <a:ext uri="{FF2B5EF4-FFF2-40B4-BE49-F238E27FC236}">
                <a16:creationId xmlns:a16="http://schemas.microsoft.com/office/drawing/2014/main" id="{5C654356-53ED-478E-B04E-45C8121F9105}"/>
              </a:ext>
            </a:extLst>
          </p:cNvPr>
          <p:cNvSpPr txBox="1"/>
          <p:nvPr/>
        </p:nvSpPr>
        <p:spPr>
          <a:xfrm>
            <a:off x="4481540" y="4018112"/>
            <a:ext cx="1124254" cy="246221"/>
          </a:xfrm>
          <a:prstGeom prst="rect">
            <a:avLst/>
          </a:prstGeom>
          <a:solidFill>
            <a:schemeClr val="bg1"/>
          </a:solid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Widely Available</a:t>
            </a:r>
          </a:p>
        </p:txBody>
      </p:sp>
      <p:sp>
        <p:nvSpPr>
          <p:cNvPr id="29" name="TextBox 28">
            <a:extLst>
              <a:ext uri="{FF2B5EF4-FFF2-40B4-BE49-F238E27FC236}">
                <a16:creationId xmlns:a16="http://schemas.microsoft.com/office/drawing/2014/main" id="{99084974-B4BA-40D1-9E0E-3B0597361CBC}"/>
              </a:ext>
            </a:extLst>
          </p:cNvPr>
          <p:cNvSpPr txBox="1"/>
          <p:nvPr/>
        </p:nvSpPr>
        <p:spPr>
          <a:xfrm>
            <a:off x="3145544" y="3384903"/>
            <a:ext cx="705862" cy="215444"/>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rgbClr val="000000"/>
                </a:solidFill>
                <a:effectLst/>
                <a:uLnTx/>
                <a:uFillTx/>
                <a:ea typeface="+mn-ea"/>
                <a:cs typeface="+mn-cs"/>
              </a:rPr>
              <a:t>hulu</a:t>
            </a: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30" name="TextBox 29">
            <a:extLst>
              <a:ext uri="{FF2B5EF4-FFF2-40B4-BE49-F238E27FC236}">
                <a16:creationId xmlns:a16="http://schemas.microsoft.com/office/drawing/2014/main" id="{193D18C7-169C-4429-BB88-1BE402351B70}"/>
              </a:ext>
            </a:extLst>
          </p:cNvPr>
          <p:cNvSpPr txBox="1"/>
          <p:nvPr/>
        </p:nvSpPr>
        <p:spPr>
          <a:xfrm>
            <a:off x="1740984" y="3031649"/>
            <a:ext cx="705862"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Amazon</a:t>
            </a: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31" name="TextBox 30">
            <a:extLst>
              <a:ext uri="{FF2B5EF4-FFF2-40B4-BE49-F238E27FC236}">
                <a16:creationId xmlns:a16="http://schemas.microsoft.com/office/drawing/2014/main" id="{B93A25F4-91BC-40B5-B857-5D7ECAE6A117}"/>
              </a:ext>
            </a:extLst>
          </p:cNvPr>
          <p:cNvSpPr txBox="1"/>
          <p:nvPr/>
        </p:nvSpPr>
        <p:spPr>
          <a:xfrm>
            <a:off x="2189503" y="2927491"/>
            <a:ext cx="776448"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Showtime</a:t>
            </a: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32" name="TextBox 31">
            <a:extLst>
              <a:ext uri="{FF2B5EF4-FFF2-40B4-BE49-F238E27FC236}">
                <a16:creationId xmlns:a16="http://schemas.microsoft.com/office/drawing/2014/main" id="{C53BD693-6784-40A2-BC5E-61D32C56C246}"/>
              </a:ext>
            </a:extLst>
          </p:cNvPr>
          <p:cNvSpPr txBox="1"/>
          <p:nvPr/>
        </p:nvSpPr>
        <p:spPr>
          <a:xfrm>
            <a:off x="3856443" y="3059536"/>
            <a:ext cx="705862"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Wall Street Journal</a:t>
            </a: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33" name="TextBox 32">
            <a:extLst>
              <a:ext uri="{FF2B5EF4-FFF2-40B4-BE49-F238E27FC236}">
                <a16:creationId xmlns:a16="http://schemas.microsoft.com/office/drawing/2014/main" id="{550AEE08-1F33-4098-B93D-306BE8A6DC93}"/>
              </a:ext>
            </a:extLst>
          </p:cNvPr>
          <p:cNvSpPr txBox="1"/>
          <p:nvPr/>
        </p:nvSpPr>
        <p:spPr>
          <a:xfrm>
            <a:off x="4651256" y="2859340"/>
            <a:ext cx="705862"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NY Times</a:t>
            </a:r>
          </a:p>
        </p:txBody>
      </p:sp>
      <p:sp>
        <p:nvSpPr>
          <p:cNvPr id="34" name="TextBox 33">
            <a:extLst>
              <a:ext uri="{FF2B5EF4-FFF2-40B4-BE49-F238E27FC236}">
                <a16:creationId xmlns:a16="http://schemas.microsoft.com/office/drawing/2014/main" id="{90E4BD07-AE5B-4557-AF44-F751B36F6A2C}"/>
              </a:ext>
            </a:extLst>
          </p:cNvPr>
          <p:cNvSpPr txBox="1"/>
          <p:nvPr/>
        </p:nvSpPr>
        <p:spPr>
          <a:xfrm>
            <a:off x="2429296" y="4773768"/>
            <a:ext cx="705862"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Google Play</a:t>
            </a: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35" name="TextBox 34">
            <a:extLst>
              <a:ext uri="{FF2B5EF4-FFF2-40B4-BE49-F238E27FC236}">
                <a16:creationId xmlns:a16="http://schemas.microsoft.com/office/drawing/2014/main" id="{62C1B125-4EB4-46AC-BB1F-2662B545FCC9}"/>
              </a:ext>
            </a:extLst>
          </p:cNvPr>
          <p:cNvSpPr txBox="1"/>
          <p:nvPr/>
        </p:nvSpPr>
        <p:spPr>
          <a:xfrm>
            <a:off x="1825200" y="4541446"/>
            <a:ext cx="705862"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iTunes</a:t>
            </a: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36" name="TextBox 35">
            <a:extLst>
              <a:ext uri="{FF2B5EF4-FFF2-40B4-BE49-F238E27FC236}">
                <a16:creationId xmlns:a16="http://schemas.microsoft.com/office/drawing/2014/main" id="{E5F2C4F4-DCBB-413B-8FB9-FE821EFCF7E3}"/>
              </a:ext>
            </a:extLst>
          </p:cNvPr>
          <p:cNvSpPr txBox="1"/>
          <p:nvPr/>
        </p:nvSpPr>
        <p:spPr>
          <a:xfrm>
            <a:off x="2737883" y="3846119"/>
            <a:ext cx="705862"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Sling</a:t>
            </a: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37" name="TextBox 36">
            <a:extLst>
              <a:ext uri="{FF2B5EF4-FFF2-40B4-BE49-F238E27FC236}">
                <a16:creationId xmlns:a16="http://schemas.microsoft.com/office/drawing/2014/main" id="{882BBB9E-4CE0-4A3D-BC20-467E3C6B6A58}"/>
              </a:ext>
            </a:extLst>
          </p:cNvPr>
          <p:cNvSpPr txBox="1"/>
          <p:nvPr/>
        </p:nvSpPr>
        <p:spPr>
          <a:xfrm>
            <a:off x="1236423" y="2656300"/>
            <a:ext cx="705862"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HBO</a:t>
            </a: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38" name="TextBox 37">
            <a:extLst>
              <a:ext uri="{FF2B5EF4-FFF2-40B4-BE49-F238E27FC236}">
                <a16:creationId xmlns:a16="http://schemas.microsoft.com/office/drawing/2014/main" id="{AC7F5D90-4B83-4D75-9E2C-B0BB89A0C8FE}"/>
              </a:ext>
            </a:extLst>
          </p:cNvPr>
          <p:cNvSpPr txBox="1"/>
          <p:nvPr/>
        </p:nvSpPr>
        <p:spPr>
          <a:xfrm>
            <a:off x="1460893" y="2793620"/>
            <a:ext cx="705862"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Netflix</a:t>
            </a:r>
            <a:endParaRPr kumimoji="0" lang="en-US" sz="1600" b="0" i="0" u="none" strike="noStrike" kern="1200" cap="none" spc="0" normalizeH="0" baseline="0" noProof="0" dirty="0">
              <a:ln>
                <a:noFill/>
              </a:ln>
              <a:solidFill>
                <a:srgbClr val="000000"/>
              </a:solidFill>
              <a:effectLst/>
              <a:uLnTx/>
              <a:uFillTx/>
              <a:ea typeface="+mn-ea"/>
              <a:cs typeface="+mn-cs"/>
            </a:endParaRPr>
          </a:p>
        </p:txBody>
      </p:sp>
      <p:sp>
        <p:nvSpPr>
          <p:cNvPr id="39" name="TextBox 38">
            <a:extLst>
              <a:ext uri="{FF2B5EF4-FFF2-40B4-BE49-F238E27FC236}">
                <a16:creationId xmlns:a16="http://schemas.microsoft.com/office/drawing/2014/main" id="{01181B4C-98AD-4F75-A1AA-69337B0839D8}"/>
              </a:ext>
            </a:extLst>
          </p:cNvPr>
          <p:cNvSpPr txBox="1"/>
          <p:nvPr/>
        </p:nvSpPr>
        <p:spPr>
          <a:xfrm>
            <a:off x="1114694" y="2452783"/>
            <a:ext cx="1162147" cy="246221"/>
          </a:xfrm>
          <a:prstGeom prst="rect">
            <a:avLst/>
          </a:prstGeom>
          <a:noFill/>
          <a:effectLst>
            <a:softEdge rad="63500"/>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small" spc="0" normalizeH="0" baseline="0" noProof="0" dirty="0">
                <a:ln>
                  <a:noFill/>
                </a:ln>
                <a:solidFill>
                  <a:srgbClr val="000000"/>
                </a:solidFill>
                <a:effectLst/>
                <a:uLnTx/>
                <a:uFillTx/>
                <a:ea typeface="Open Sans" charset="0"/>
                <a:cs typeface="Open Sans" charset="0"/>
              </a:rPr>
              <a:t>SUBSCRIPTION</a:t>
            </a:r>
            <a:endParaRPr kumimoji="0" lang="en-US" sz="1000" b="1" i="0" u="none" strike="noStrike" kern="1200" cap="none" spc="0" normalizeH="0" baseline="0" noProof="0" dirty="0">
              <a:ln>
                <a:noFill/>
              </a:ln>
              <a:solidFill>
                <a:srgbClr val="000000"/>
              </a:solidFill>
              <a:effectLst/>
              <a:uLnTx/>
              <a:uFillTx/>
              <a:ea typeface="Open Sans" charset="0"/>
              <a:cs typeface="Open Sans" charset="0"/>
            </a:endParaRPr>
          </a:p>
        </p:txBody>
      </p:sp>
      <p:sp>
        <p:nvSpPr>
          <p:cNvPr id="40" name="TextBox 39">
            <a:extLst>
              <a:ext uri="{FF2B5EF4-FFF2-40B4-BE49-F238E27FC236}">
                <a16:creationId xmlns:a16="http://schemas.microsoft.com/office/drawing/2014/main" id="{55299954-D402-4818-A1ED-E0ACF2205AAB}"/>
              </a:ext>
            </a:extLst>
          </p:cNvPr>
          <p:cNvSpPr txBox="1"/>
          <p:nvPr/>
        </p:nvSpPr>
        <p:spPr>
          <a:xfrm>
            <a:off x="4836206" y="2452783"/>
            <a:ext cx="1077090" cy="246221"/>
          </a:xfrm>
          <a:prstGeom prst="rect">
            <a:avLst/>
          </a:prstGeom>
          <a:noFill/>
          <a:effectLst>
            <a:softEdge rad="63500"/>
          </a:effectLst>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small" spc="0" normalizeH="0" baseline="0" noProof="0" dirty="0">
                <a:ln>
                  <a:noFill/>
                </a:ln>
                <a:solidFill>
                  <a:srgbClr val="000000"/>
                </a:solidFill>
                <a:effectLst/>
                <a:uLnTx/>
                <a:uFillTx/>
                <a:ea typeface="Open Sans" charset="0"/>
                <a:cs typeface="Open Sans" charset="0"/>
              </a:rPr>
              <a:t>HYBRID</a:t>
            </a:r>
            <a:endParaRPr kumimoji="0" lang="en-US" sz="1000" b="1" i="0" u="none" strike="noStrike" kern="1200" cap="none" spc="0" normalizeH="0" baseline="0" noProof="0" dirty="0">
              <a:ln>
                <a:noFill/>
              </a:ln>
              <a:solidFill>
                <a:srgbClr val="000000"/>
              </a:solidFill>
              <a:effectLst/>
              <a:uLnTx/>
              <a:uFillTx/>
              <a:ea typeface="Open Sans" charset="0"/>
              <a:cs typeface="Open Sans" charset="0"/>
            </a:endParaRPr>
          </a:p>
        </p:txBody>
      </p:sp>
      <p:sp>
        <p:nvSpPr>
          <p:cNvPr id="41" name="TextBox 40">
            <a:extLst>
              <a:ext uri="{FF2B5EF4-FFF2-40B4-BE49-F238E27FC236}">
                <a16:creationId xmlns:a16="http://schemas.microsoft.com/office/drawing/2014/main" id="{E7419CCB-24CB-4399-B1F3-E4693B8F46CB}"/>
              </a:ext>
            </a:extLst>
          </p:cNvPr>
          <p:cNvSpPr txBox="1"/>
          <p:nvPr/>
        </p:nvSpPr>
        <p:spPr>
          <a:xfrm>
            <a:off x="4846813" y="5676292"/>
            <a:ext cx="1066483" cy="246221"/>
          </a:xfrm>
          <a:prstGeom prst="rect">
            <a:avLst/>
          </a:prstGeom>
          <a:noFill/>
          <a:effectLst>
            <a:softEdge rad="63500"/>
          </a:effectLst>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small" spc="0" normalizeH="0" baseline="0" noProof="0" dirty="0">
                <a:ln>
                  <a:noFill/>
                </a:ln>
                <a:solidFill>
                  <a:srgbClr val="000000"/>
                </a:solidFill>
                <a:effectLst/>
                <a:uLnTx/>
                <a:uFillTx/>
                <a:ea typeface="Open Sans" charset="0"/>
                <a:cs typeface="Open Sans" charset="0"/>
              </a:rPr>
              <a:t>ADVERTISING</a:t>
            </a:r>
            <a:endParaRPr kumimoji="0" lang="en-US" sz="1000" b="1" i="0" u="none" strike="noStrike" kern="1200" cap="none" spc="0" normalizeH="0" baseline="0" noProof="0" dirty="0">
              <a:ln>
                <a:noFill/>
              </a:ln>
              <a:solidFill>
                <a:srgbClr val="000000"/>
              </a:solidFill>
              <a:effectLst/>
              <a:uLnTx/>
              <a:uFillTx/>
              <a:ea typeface="Open Sans" charset="0"/>
              <a:cs typeface="Open Sans" charset="0"/>
            </a:endParaRPr>
          </a:p>
        </p:txBody>
      </p:sp>
      <p:sp>
        <p:nvSpPr>
          <p:cNvPr id="42" name="TextBox 41">
            <a:extLst>
              <a:ext uri="{FF2B5EF4-FFF2-40B4-BE49-F238E27FC236}">
                <a16:creationId xmlns:a16="http://schemas.microsoft.com/office/drawing/2014/main" id="{83345ACA-7A83-4DBD-AF49-45AB8B418C6B}"/>
              </a:ext>
            </a:extLst>
          </p:cNvPr>
          <p:cNvSpPr txBox="1"/>
          <p:nvPr/>
        </p:nvSpPr>
        <p:spPr>
          <a:xfrm>
            <a:off x="1114694" y="5676292"/>
            <a:ext cx="1354342" cy="246221"/>
          </a:xfrm>
          <a:prstGeom prst="rect">
            <a:avLst/>
          </a:prstGeom>
          <a:noFill/>
          <a:effectLst>
            <a:softEdge rad="63500"/>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small" spc="0" normalizeH="0" baseline="0" noProof="0" dirty="0">
                <a:ln>
                  <a:noFill/>
                </a:ln>
                <a:solidFill>
                  <a:srgbClr val="000000"/>
                </a:solidFill>
                <a:effectLst/>
                <a:uLnTx/>
                <a:uFillTx/>
                <a:ea typeface="Open Sans" charset="0"/>
                <a:cs typeface="Open Sans" charset="0"/>
              </a:rPr>
              <a:t>EST / RENTAL</a:t>
            </a:r>
            <a:endParaRPr kumimoji="0" lang="en-US" sz="1000" b="1" i="0" u="none" strike="noStrike" kern="1200" cap="none" spc="0" normalizeH="0" baseline="0" noProof="0" dirty="0">
              <a:ln>
                <a:noFill/>
              </a:ln>
              <a:solidFill>
                <a:srgbClr val="000000"/>
              </a:solidFill>
              <a:effectLst/>
              <a:uLnTx/>
              <a:uFillTx/>
              <a:ea typeface="Open Sans" charset="0"/>
              <a:cs typeface="Open Sans" charset="0"/>
            </a:endParaRPr>
          </a:p>
        </p:txBody>
      </p:sp>
      <p:sp>
        <p:nvSpPr>
          <p:cNvPr id="43" name="TextBox 42">
            <a:extLst>
              <a:ext uri="{FF2B5EF4-FFF2-40B4-BE49-F238E27FC236}">
                <a16:creationId xmlns:a16="http://schemas.microsoft.com/office/drawing/2014/main" id="{74F27598-EA68-4130-9886-59E36C418B34}"/>
              </a:ext>
            </a:extLst>
          </p:cNvPr>
          <p:cNvSpPr txBox="1"/>
          <p:nvPr/>
        </p:nvSpPr>
        <p:spPr>
          <a:xfrm>
            <a:off x="4209374" y="4773400"/>
            <a:ext cx="362218"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xxx</a:t>
            </a:r>
          </a:p>
        </p:txBody>
      </p:sp>
      <p:sp>
        <p:nvSpPr>
          <p:cNvPr id="44" name="TextBox 43">
            <a:extLst>
              <a:ext uri="{FF2B5EF4-FFF2-40B4-BE49-F238E27FC236}">
                <a16:creationId xmlns:a16="http://schemas.microsoft.com/office/drawing/2014/main" id="{2B46B6DC-3E6D-44FC-A051-3E4BCF67CEA3}"/>
              </a:ext>
            </a:extLst>
          </p:cNvPr>
          <p:cNvSpPr txBox="1"/>
          <p:nvPr/>
        </p:nvSpPr>
        <p:spPr>
          <a:xfrm>
            <a:off x="4508146" y="5207996"/>
            <a:ext cx="641693"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xxx</a:t>
            </a:r>
          </a:p>
        </p:txBody>
      </p:sp>
      <p:sp>
        <p:nvSpPr>
          <p:cNvPr id="45" name="TextBox 44">
            <a:extLst>
              <a:ext uri="{FF2B5EF4-FFF2-40B4-BE49-F238E27FC236}">
                <a16:creationId xmlns:a16="http://schemas.microsoft.com/office/drawing/2014/main" id="{D38AC762-F13A-4711-82C5-622EB75CE3E6}"/>
              </a:ext>
            </a:extLst>
          </p:cNvPr>
          <p:cNvSpPr txBox="1"/>
          <p:nvPr/>
        </p:nvSpPr>
        <p:spPr>
          <a:xfrm>
            <a:off x="4852842" y="4645879"/>
            <a:ext cx="563589" cy="215444"/>
          </a:xfrm>
          <a:prstGeom prst="rect">
            <a:avLst/>
          </a:prstGeom>
          <a:noFill/>
          <a:ln>
            <a:solidFill>
              <a:schemeClr val="bg1"/>
            </a:solidFill>
          </a:ln>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xxx</a:t>
            </a:r>
          </a:p>
        </p:txBody>
      </p:sp>
      <p:sp>
        <p:nvSpPr>
          <p:cNvPr id="46" name="TxtBox:481/88">
            <a:extLst>
              <a:ext uri="{FF2B5EF4-FFF2-40B4-BE49-F238E27FC236}">
                <a16:creationId xmlns:a16="http://schemas.microsoft.com/office/drawing/2014/main" id="{2E441475-0428-41E3-BA7C-D66FA9400438}"/>
              </a:ext>
            </a:extLst>
          </p:cNvPr>
          <p:cNvSpPr/>
          <p:nvPr/>
        </p:nvSpPr>
        <p:spPr>
          <a:xfrm>
            <a:off x="1077078" y="1901832"/>
            <a:ext cx="5107196" cy="184666"/>
          </a:xfrm>
          <a:prstGeom prst="rect">
            <a:avLst/>
          </a:prstGeom>
          <a:noFill/>
          <a:ln w="25400" cap="flat" cmpd="sng" algn="ctr">
            <a:noFill/>
            <a:prstDash val="solid"/>
          </a:ln>
          <a:effectLst/>
        </p:spPr>
        <p:txBody>
          <a:bodyPr wrap="square" t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small" spc="0" normalizeH="0" baseline="0" noProof="0" dirty="0">
                <a:ln>
                  <a:noFill/>
                </a:ln>
                <a:solidFill>
                  <a:srgbClr val="000000"/>
                </a:solidFill>
                <a:effectLst/>
                <a:uLnTx/>
                <a:uFillTx/>
                <a:ea typeface="Microsoft YaHei UI Light" panose="020B0502040204020203" pitchFamily="34" charset="-122"/>
                <a:cs typeface="+mn-cs"/>
              </a:rPr>
              <a:t>MONETIZATION STRATEGIES FOR EDITORIAL CONTENT</a:t>
            </a:r>
          </a:p>
        </p:txBody>
      </p:sp>
      <p:grpSp>
        <p:nvGrpSpPr>
          <p:cNvPr id="47" name="Group 46">
            <a:extLst>
              <a:ext uri="{FF2B5EF4-FFF2-40B4-BE49-F238E27FC236}">
                <a16:creationId xmlns:a16="http://schemas.microsoft.com/office/drawing/2014/main" id="{A762F4AD-2EE8-4EAA-B105-EECA7FF52B19}"/>
              </a:ext>
            </a:extLst>
          </p:cNvPr>
          <p:cNvGrpSpPr>
            <a:grpSpLocks noChangeAspect="1"/>
          </p:cNvGrpSpPr>
          <p:nvPr/>
        </p:nvGrpSpPr>
        <p:grpSpPr>
          <a:xfrm>
            <a:off x="8251339" y="3132541"/>
            <a:ext cx="275347" cy="284309"/>
            <a:chOff x="3648075" y="1847851"/>
            <a:chExt cx="536575" cy="554038"/>
          </a:xfrm>
          <a:solidFill>
            <a:schemeClr val="bg1"/>
          </a:solidFill>
        </p:grpSpPr>
        <p:sp>
          <p:nvSpPr>
            <p:cNvPr id="48" name="Freeform 500">
              <a:extLst>
                <a:ext uri="{FF2B5EF4-FFF2-40B4-BE49-F238E27FC236}">
                  <a16:creationId xmlns:a16="http://schemas.microsoft.com/office/drawing/2014/main" id="{071C2337-9F53-43D7-8151-4AE5747D9237}"/>
                </a:ext>
              </a:extLst>
            </p:cNvPr>
            <p:cNvSpPr>
              <a:spLocks/>
            </p:cNvSpPr>
            <p:nvPr/>
          </p:nvSpPr>
          <p:spPr bwMode="auto">
            <a:xfrm>
              <a:off x="3844925" y="2151063"/>
              <a:ext cx="142875" cy="250825"/>
            </a:xfrm>
            <a:custGeom>
              <a:avLst/>
              <a:gdLst>
                <a:gd name="T0" fmla="*/ 337 w 360"/>
                <a:gd name="T1" fmla="*/ 631 h 631"/>
                <a:gd name="T2" fmla="*/ 337 w 360"/>
                <a:gd name="T3" fmla="*/ 631 h 631"/>
                <a:gd name="T4" fmla="*/ 342 w 360"/>
                <a:gd name="T5" fmla="*/ 631 h 631"/>
                <a:gd name="T6" fmla="*/ 346 w 360"/>
                <a:gd name="T7" fmla="*/ 630 h 631"/>
                <a:gd name="T8" fmla="*/ 349 w 360"/>
                <a:gd name="T9" fmla="*/ 628 h 631"/>
                <a:gd name="T10" fmla="*/ 353 w 360"/>
                <a:gd name="T11" fmla="*/ 624 h 631"/>
                <a:gd name="T12" fmla="*/ 356 w 360"/>
                <a:gd name="T13" fmla="*/ 621 h 631"/>
                <a:gd name="T14" fmla="*/ 358 w 360"/>
                <a:gd name="T15" fmla="*/ 618 h 631"/>
                <a:gd name="T16" fmla="*/ 359 w 360"/>
                <a:gd name="T17" fmla="*/ 614 h 631"/>
                <a:gd name="T18" fmla="*/ 360 w 360"/>
                <a:gd name="T19" fmla="*/ 608 h 631"/>
                <a:gd name="T20" fmla="*/ 360 w 360"/>
                <a:gd name="T21" fmla="*/ 23 h 631"/>
                <a:gd name="T22" fmla="*/ 360 w 360"/>
                <a:gd name="T23" fmla="*/ 23 h 631"/>
                <a:gd name="T24" fmla="*/ 359 w 360"/>
                <a:gd name="T25" fmla="*/ 19 h 631"/>
                <a:gd name="T26" fmla="*/ 358 w 360"/>
                <a:gd name="T27" fmla="*/ 14 h 631"/>
                <a:gd name="T28" fmla="*/ 356 w 360"/>
                <a:gd name="T29" fmla="*/ 11 h 631"/>
                <a:gd name="T30" fmla="*/ 353 w 360"/>
                <a:gd name="T31" fmla="*/ 8 h 631"/>
                <a:gd name="T32" fmla="*/ 349 w 360"/>
                <a:gd name="T33" fmla="*/ 5 h 631"/>
                <a:gd name="T34" fmla="*/ 346 w 360"/>
                <a:gd name="T35" fmla="*/ 3 h 631"/>
                <a:gd name="T36" fmla="*/ 342 w 360"/>
                <a:gd name="T37" fmla="*/ 2 h 631"/>
                <a:gd name="T38" fmla="*/ 337 w 360"/>
                <a:gd name="T39" fmla="*/ 0 h 631"/>
                <a:gd name="T40" fmla="*/ 22 w 360"/>
                <a:gd name="T41" fmla="*/ 0 h 631"/>
                <a:gd name="T42" fmla="*/ 22 w 360"/>
                <a:gd name="T43" fmla="*/ 0 h 631"/>
                <a:gd name="T44" fmla="*/ 17 w 360"/>
                <a:gd name="T45" fmla="*/ 2 h 631"/>
                <a:gd name="T46" fmla="*/ 14 w 360"/>
                <a:gd name="T47" fmla="*/ 3 h 631"/>
                <a:gd name="T48" fmla="*/ 9 w 360"/>
                <a:gd name="T49" fmla="*/ 5 h 631"/>
                <a:gd name="T50" fmla="*/ 6 w 360"/>
                <a:gd name="T51" fmla="*/ 8 h 631"/>
                <a:gd name="T52" fmla="*/ 3 w 360"/>
                <a:gd name="T53" fmla="*/ 11 h 631"/>
                <a:gd name="T54" fmla="*/ 1 w 360"/>
                <a:gd name="T55" fmla="*/ 14 h 631"/>
                <a:gd name="T56" fmla="*/ 0 w 360"/>
                <a:gd name="T57" fmla="*/ 19 h 631"/>
                <a:gd name="T58" fmla="*/ 0 w 360"/>
                <a:gd name="T59" fmla="*/ 23 h 631"/>
                <a:gd name="T60" fmla="*/ 0 w 360"/>
                <a:gd name="T61" fmla="*/ 608 h 631"/>
                <a:gd name="T62" fmla="*/ 0 w 360"/>
                <a:gd name="T63" fmla="*/ 608 h 631"/>
                <a:gd name="T64" fmla="*/ 0 w 360"/>
                <a:gd name="T65" fmla="*/ 614 h 631"/>
                <a:gd name="T66" fmla="*/ 1 w 360"/>
                <a:gd name="T67" fmla="*/ 618 h 631"/>
                <a:gd name="T68" fmla="*/ 3 w 360"/>
                <a:gd name="T69" fmla="*/ 621 h 631"/>
                <a:gd name="T70" fmla="*/ 6 w 360"/>
                <a:gd name="T71" fmla="*/ 624 h 631"/>
                <a:gd name="T72" fmla="*/ 9 w 360"/>
                <a:gd name="T73" fmla="*/ 628 h 631"/>
                <a:gd name="T74" fmla="*/ 14 w 360"/>
                <a:gd name="T75" fmla="*/ 630 h 631"/>
                <a:gd name="T76" fmla="*/ 17 w 360"/>
                <a:gd name="T77" fmla="*/ 631 h 631"/>
                <a:gd name="T78" fmla="*/ 22 w 360"/>
                <a:gd name="T79" fmla="*/ 631 h 631"/>
                <a:gd name="T80" fmla="*/ 337 w 360"/>
                <a:gd name="T81" fmla="*/ 631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60" h="631">
                  <a:moveTo>
                    <a:pt x="337" y="631"/>
                  </a:moveTo>
                  <a:lnTo>
                    <a:pt x="337" y="631"/>
                  </a:lnTo>
                  <a:lnTo>
                    <a:pt x="342" y="631"/>
                  </a:lnTo>
                  <a:lnTo>
                    <a:pt x="346" y="630"/>
                  </a:lnTo>
                  <a:lnTo>
                    <a:pt x="349" y="628"/>
                  </a:lnTo>
                  <a:lnTo>
                    <a:pt x="353" y="624"/>
                  </a:lnTo>
                  <a:lnTo>
                    <a:pt x="356" y="621"/>
                  </a:lnTo>
                  <a:lnTo>
                    <a:pt x="358" y="618"/>
                  </a:lnTo>
                  <a:lnTo>
                    <a:pt x="359" y="614"/>
                  </a:lnTo>
                  <a:lnTo>
                    <a:pt x="360" y="608"/>
                  </a:lnTo>
                  <a:lnTo>
                    <a:pt x="360" y="23"/>
                  </a:lnTo>
                  <a:lnTo>
                    <a:pt x="360" y="23"/>
                  </a:lnTo>
                  <a:lnTo>
                    <a:pt x="359" y="19"/>
                  </a:lnTo>
                  <a:lnTo>
                    <a:pt x="358" y="14"/>
                  </a:lnTo>
                  <a:lnTo>
                    <a:pt x="356" y="11"/>
                  </a:lnTo>
                  <a:lnTo>
                    <a:pt x="353" y="8"/>
                  </a:lnTo>
                  <a:lnTo>
                    <a:pt x="349" y="5"/>
                  </a:lnTo>
                  <a:lnTo>
                    <a:pt x="346" y="3"/>
                  </a:lnTo>
                  <a:lnTo>
                    <a:pt x="342" y="2"/>
                  </a:lnTo>
                  <a:lnTo>
                    <a:pt x="337" y="0"/>
                  </a:lnTo>
                  <a:lnTo>
                    <a:pt x="22" y="0"/>
                  </a:lnTo>
                  <a:lnTo>
                    <a:pt x="22" y="0"/>
                  </a:lnTo>
                  <a:lnTo>
                    <a:pt x="17" y="2"/>
                  </a:lnTo>
                  <a:lnTo>
                    <a:pt x="14" y="3"/>
                  </a:lnTo>
                  <a:lnTo>
                    <a:pt x="9" y="5"/>
                  </a:lnTo>
                  <a:lnTo>
                    <a:pt x="6" y="8"/>
                  </a:lnTo>
                  <a:lnTo>
                    <a:pt x="3" y="11"/>
                  </a:lnTo>
                  <a:lnTo>
                    <a:pt x="1" y="14"/>
                  </a:lnTo>
                  <a:lnTo>
                    <a:pt x="0" y="19"/>
                  </a:lnTo>
                  <a:lnTo>
                    <a:pt x="0" y="23"/>
                  </a:lnTo>
                  <a:lnTo>
                    <a:pt x="0" y="608"/>
                  </a:lnTo>
                  <a:lnTo>
                    <a:pt x="0" y="608"/>
                  </a:lnTo>
                  <a:lnTo>
                    <a:pt x="0" y="614"/>
                  </a:lnTo>
                  <a:lnTo>
                    <a:pt x="1" y="618"/>
                  </a:lnTo>
                  <a:lnTo>
                    <a:pt x="3" y="621"/>
                  </a:lnTo>
                  <a:lnTo>
                    <a:pt x="6" y="624"/>
                  </a:lnTo>
                  <a:lnTo>
                    <a:pt x="9" y="628"/>
                  </a:lnTo>
                  <a:lnTo>
                    <a:pt x="14" y="630"/>
                  </a:lnTo>
                  <a:lnTo>
                    <a:pt x="17" y="631"/>
                  </a:lnTo>
                  <a:lnTo>
                    <a:pt x="22" y="631"/>
                  </a:lnTo>
                  <a:lnTo>
                    <a:pt x="337" y="63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49" name="Freeform 501">
              <a:extLst>
                <a:ext uri="{FF2B5EF4-FFF2-40B4-BE49-F238E27FC236}">
                  <a16:creationId xmlns:a16="http://schemas.microsoft.com/office/drawing/2014/main" id="{E50A8914-A358-4894-8409-A3C654F1A147}"/>
                </a:ext>
              </a:extLst>
            </p:cNvPr>
            <p:cNvSpPr>
              <a:spLocks/>
            </p:cNvSpPr>
            <p:nvPr/>
          </p:nvSpPr>
          <p:spPr bwMode="auto">
            <a:xfrm>
              <a:off x="3648075" y="2259013"/>
              <a:ext cx="142875" cy="142875"/>
            </a:xfrm>
            <a:custGeom>
              <a:avLst/>
              <a:gdLst>
                <a:gd name="T0" fmla="*/ 0 w 361"/>
                <a:gd name="T1" fmla="*/ 22 h 360"/>
                <a:gd name="T2" fmla="*/ 0 w 361"/>
                <a:gd name="T3" fmla="*/ 337 h 360"/>
                <a:gd name="T4" fmla="*/ 0 w 361"/>
                <a:gd name="T5" fmla="*/ 337 h 360"/>
                <a:gd name="T6" fmla="*/ 0 w 361"/>
                <a:gd name="T7" fmla="*/ 343 h 360"/>
                <a:gd name="T8" fmla="*/ 1 w 361"/>
                <a:gd name="T9" fmla="*/ 347 h 360"/>
                <a:gd name="T10" fmla="*/ 4 w 361"/>
                <a:gd name="T11" fmla="*/ 350 h 360"/>
                <a:gd name="T12" fmla="*/ 7 w 361"/>
                <a:gd name="T13" fmla="*/ 353 h 360"/>
                <a:gd name="T14" fmla="*/ 10 w 361"/>
                <a:gd name="T15" fmla="*/ 357 h 360"/>
                <a:gd name="T16" fmla="*/ 14 w 361"/>
                <a:gd name="T17" fmla="*/ 359 h 360"/>
                <a:gd name="T18" fmla="*/ 18 w 361"/>
                <a:gd name="T19" fmla="*/ 360 h 360"/>
                <a:gd name="T20" fmla="*/ 23 w 361"/>
                <a:gd name="T21" fmla="*/ 360 h 360"/>
                <a:gd name="T22" fmla="*/ 338 w 361"/>
                <a:gd name="T23" fmla="*/ 360 h 360"/>
                <a:gd name="T24" fmla="*/ 338 w 361"/>
                <a:gd name="T25" fmla="*/ 360 h 360"/>
                <a:gd name="T26" fmla="*/ 342 w 361"/>
                <a:gd name="T27" fmla="*/ 360 h 360"/>
                <a:gd name="T28" fmla="*/ 347 w 361"/>
                <a:gd name="T29" fmla="*/ 359 h 360"/>
                <a:gd name="T30" fmla="*/ 350 w 361"/>
                <a:gd name="T31" fmla="*/ 357 h 360"/>
                <a:gd name="T32" fmla="*/ 354 w 361"/>
                <a:gd name="T33" fmla="*/ 353 h 360"/>
                <a:gd name="T34" fmla="*/ 356 w 361"/>
                <a:gd name="T35" fmla="*/ 350 h 360"/>
                <a:gd name="T36" fmla="*/ 358 w 361"/>
                <a:gd name="T37" fmla="*/ 347 h 360"/>
                <a:gd name="T38" fmla="*/ 359 w 361"/>
                <a:gd name="T39" fmla="*/ 343 h 360"/>
                <a:gd name="T40" fmla="*/ 361 w 361"/>
                <a:gd name="T41" fmla="*/ 337 h 360"/>
                <a:gd name="T42" fmla="*/ 361 w 361"/>
                <a:gd name="T43" fmla="*/ 22 h 360"/>
                <a:gd name="T44" fmla="*/ 361 w 361"/>
                <a:gd name="T45" fmla="*/ 22 h 360"/>
                <a:gd name="T46" fmla="*/ 359 w 361"/>
                <a:gd name="T47" fmla="*/ 18 h 360"/>
                <a:gd name="T48" fmla="*/ 358 w 361"/>
                <a:gd name="T49" fmla="*/ 14 h 360"/>
                <a:gd name="T50" fmla="*/ 356 w 361"/>
                <a:gd name="T51" fmla="*/ 10 h 360"/>
                <a:gd name="T52" fmla="*/ 354 w 361"/>
                <a:gd name="T53" fmla="*/ 7 h 360"/>
                <a:gd name="T54" fmla="*/ 350 w 361"/>
                <a:gd name="T55" fmla="*/ 4 h 360"/>
                <a:gd name="T56" fmla="*/ 347 w 361"/>
                <a:gd name="T57" fmla="*/ 2 h 360"/>
                <a:gd name="T58" fmla="*/ 342 w 361"/>
                <a:gd name="T59" fmla="*/ 1 h 360"/>
                <a:gd name="T60" fmla="*/ 338 w 361"/>
                <a:gd name="T61" fmla="*/ 0 h 360"/>
                <a:gd name="T62" fmla="*/ 23 w 361"/>
                <a:gd name="T63" fmla="*/ 0 h 360"/>
                <a:gd name="T64" fmla="*/ 23 w 361"/>
                <a:gd name="T65" fmla="*/ 0 h 360"/>
                <a:gd name="T66" fmla="*/ 18 w 361"/>
                <a:gd name="T67" fmla="*/ 1 h 360"/>
                <a:gd name="T68" fmla="*/ 14 w 361"/>
                <a:gd name="T69" fmla="*/ 2 h 360"/>
                <a:gd name="T70" fmla="*/ 10 w 361"/>
                <a:gd name="T71" fmla="*/ 4 h 360"/>
                <a:gd name="T72" fmla="*/ 7 w 361"/>
                <a:gd name="T73" fmla="*/ 7 h 360"/>
                <a:gd name="T74" fmla="*/ 4 w 361"/>
                <a:gd name="T75" fmla="*/ 10 h 360"/>
                <a:gd name="T76" fmla="*/ 1 w 361"/>
                <a:gd name="T77" fmla="*/ 14 h 360"/>
                <a:gd name="T78" fmla="*/ 0 w 361"/>
                <a:gd name="T79" fmla="*/ 18 h 360"/>
                <a:gd name="T80" fmla="*/ 0 w 361"/>
                <a:gd name="T81" fmla="*/ 22 h 360"/>
                <a:gd name="T82" fmla="*/ 0 w 361"/>
                <a:gd name="T83" fmla="*/ 22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1" h="360">
                  <a:moveTo>
                    <a:pt x="0" y="22"/>
                  </a:moveTo>
                  <a:lnTo>
                    <a:pt x="0" y="337"/>
                  </a:lnTo>
                  <a:lnTo>
                    <a:pt x="0" y="337"/>
                  </a:lnTo>
                  <a:lnTo>
                    <a:pt x="0" y="343"/>
                  </a:lnTo>
                  <a:lnTo>
                    <a:pt x="1" y="347"/>
                  </a:lnTo>
                  <a:lnTo>
                    <a:pt x="4" y="350"/>
                  </a:lnTo>
                  <a:lnTo>
                    <a:pt x="7" y="353"/>
                  </a:lnTo>
                  <a:lnTo>
                    <a:pt x="10" y="357"/>
                  </a:lnTo>
                  <a:lnTo>
                    <a:pt x="14" y="359"/>
                  </a:lnTo>
                  <a:lnTo>
                    <a:pt x="18" y="360"/>
                  </a:lnTo>
                  <a:lnTo>
                    <a:pt x="23" y="360"/>
                  </a:lnTo>
                  <a:lnTo>
                    <a:pt x="338" y="360"/>
                  </a:lnTo>
                  <a:lnTo>
                    <a:pt x="338" y="360"/>
                  </a:lnTo>
                  <a:lnTo>
                    <a:pt x="342" y="360"/>
                  </a:lnTo>
                  <a:lnTo>
                    <a:pt x="347" y="359"/>
                  </a:lnTo>
                  <a:lnTo>
                    <a:pt x="350" y="357"/>
                  </a:lnTo>
                  <a:lnTo>
                    <a:pt x="354" y="353"/>
                  </a:lnTo>
                  <a:lnTo>
                    <a:pt x="356" y="350"/>
                  </a:lnTo>
                  <a:lnTo>
                    <a:pt x="358" y="347"/>
                  </a:lnTo>
                  <a:lnTo>
                    <a:pt x="359" y="343"/>
                  </a:lnTo>
                  <a:lnTo>
                    <a:pt x="361" y="337"/>
                  </a:lnTo>
                  <a:lnTo>
                    <a:pt x="361" y="22"/>
                  </a:lnTo>
                  <a:lnTo>
                    <a:pt x="361" y="22"/>
                  </a:lnTo>
                  <a:lnTo>
                    <a:pt x="359" y="18"/>
                  </a:lnTo>
                  <a:lnTo>
                    <a:pt x="358" y="14"/>
                  </a:lnTo>
                  <a:lnTo>
                    <a:pt x="356" y="10"/>
                  </a:lnTo>
                  <a:lnTo>
                    <a:pt x="354" y="7"/>
                  </a:lnTo>
                  <a:lnTo>
                    <a:pt x="350" y="4"/>
                  </a:lnTo>
                  <a:lnTo>
                    <a:pt x="347" y="2"/>
                  </a:lnTo>
                  <a:lnTo>
                    <a:pt x="342" y="1"/>
                  </a:lnTo>
                  <a:lnTo>
                    <a:pt x="338" y="0"/>
                  </a:lnTo>
                  <a:lnTo>
                    <a:pt x="23" y="0"/>
                  </a:lnTo>
                  <a:lnTo>
                    <a:pt x="23" y="0"/>
                  </a:lnTo>
                  <a:lnTo>
                    <a:pt x="18" y="1"/>
                  </a:lnTo>
                  <a:lnTo>
                    <a:pt x="14" y="2"/>
                  </a:lnTo>
                  <a:lnTo>
                    <a:pt x="10" y="4"/>
                  </a:lnTo>
                  <a:lnTo>
                    <a:pt x="7" y="7"/>
                  </a:lnTo>
                  <a:lnTo>
                    <a:pt x="4" y="10"/>
                  </a:lnTo>
                  <a:lnTo>
                    <a:pt x="1" y="14"/>
                  </a:lnTo>
                  <a:lnTo>
                    <a:pt x="0" y="18"/>
                  </a:lnTo>
                  <a:lnTo>
                    <a:pt x="0" y="22"/>
                  </a:lnTo>
                  <a:lnTo>
                    <a:pt x="0" y="2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50" name="Freeform 502">
              <a:extLst>
                <a:ext uri="{FF2B5EF4-FFF2-40B4-BE49-F238E27FC236}">
                  <a16:creationId xmlns:a16="http://schemas.microsoft.com/office/drawing/2014/main" id="{8F905B0B-5A9C-4AF2-A1FF-51F229F9AC26}"/>
                </a:ext>
              </a:extLst>
            </p:cNvPr>
            <p:cNvSpPr>
              <a:spLocks/>
            </p:cNvSpPr>
            <p:nvPr/>
          </p:nvSpPr>
          <p:spPr bwMode="auto">
            <a:xfrm>
              <a:off x="4041775" y="2044701"/>
              <a:ext cx="142875" cy="357188"/>
            </a:xfrm>
            <a:custGeom>
              <a:avLst/>
              <a:gdLst>
                <a:gd name="T0" fmla="*/ 338 w 360"/>
                <a:gd name="T1" fmla="*/ 0 h 901"/>
                <a:gd name="T2" fmla="*/ 22 w 360"/>
                <a:gd name="T3" fmla="*/ 0 h 901"/>
                <a:gd name="T4" fmla="*/ 22 w 360"/>
                <a:gd name="T5" fmla="*/ 0 h 901"/>
                <a:gd name="T6" fmla="*/ 17 w 360"/>
                <a:gd name="T7" fmla="*/ 1 h 901"/>
                <a:gd name="T8" fmla="*/ 14 w 360"/>
                <a:gd name="T9" fmla="*/ 2 h 901"/>
                <a:gd name="T10" fmla="*/ 10 w 360"/>
                <a:gd name="T11" fmla="*/ 5 h 901"/>
                <a:gd name="T12" fmla="*/ 6 w 360"/>
                <a:gd name="T13" fmla="*/ 8 h 901"/>
                <a:gd name="T14" fmla="*/ 3 w 360"/>
                <a:gd name="T15" fmla="*/ 11 h 901"/>
                <a:gd name="T16" fmla="*/ 1 w 360"/>
                <a:gd name="T17" fmla="*/ 14 h 901"/>
                <a:gd name="T18" fmla="*/ 0 w 360"/>
                <a:gd name="T19" fmla="*/ 19 h 901"/>
                <a:gd name="T20" fmla="*/ 0 w 360"/>
                <a:gd name="T21" fmla="*/ 23 h 901"/>
                <a:gd name="T22" fmla="*/ 0 w 360"/>
                <a:gd name="T23" fmla="*/ 878 h 901"/>
                <a:gd name="T24" fmla="*/ 0 w 360"/>
                <a:gd name="T25" fmla="*/ 878 h 901"/>
                <a:gd name="T26" fmla="*/ 0 w 360"/>
                <a:gd name="T27" fmla="*/ 884 h 901"/>
                <a:gd name="T28" fmla="*/ 1 w 360"/>
                <a:gd name="T29" fmla="*/ 888 h 901"/>
                <a:gd name="T30" fmla="*/ 3 w 360"/>
                <a:gd name="T31" fmla="*/ 891 h 901"/>
                <a:gd name="T32" fmla="*/ 6 w 360"/>
                <a:gd name="T33" fmla="*/ 894 h 901"/>
                <a:gd name="T34" fmla="*/ 10 w 360"/>
                <a:gd name="T35" fmla="*/ 898 h 901"/>
                <a:gd name="T36" fmla="*/ 14 w 360"/>
                <a:gd name="T37" fmla="*/ 900 h 901"/>
                <a:gd name="T38" fmla="*/ 17 w 360"/>
                <a:gd name="T39" fmla="*/ 901 h 901"/>
                <a:gd name="T40" fmla="*/ 22 w 360"/>
                <a:gd name="T41" fmla="*/ 901 h 901"/>
                <a:gd name="T42" fmla="*/ 338 w 360"/>
                <a:gd name="T43" fmla="*/ 901 h 901"/>
                <a:gd name="T44" fmla="*/ 338 w 360"/>
                <a:gd name="T45" fmla="*/ 901 h 901"/>
                <a:gd name="T46" fmla="*/ 342 w 360"/>
                <a:gd name="T47" fmla="*/ 901 h 901"/>
                <a:gd name="T48" fmla="*/ 346 w 360"/>
                <a:gd name="T49" fmla="*/ 900 h 901"/>
                <a:gd name="T50" fmla="*/ 349 w 360"/>
                <a:gd name="T51" fmla="*/ 898 h 901"/>
                <a:gd name="T52" fmla="*/ 354 w 360"/>
                <a:gd name="T53" fmla="*/ 894 h 901"/>
                <a:gd name="T54" fmla="*/ 356 w 360"/>
                <a:gd name="T55" fmla="*/ 891 h 901"/>
                <a:gd name="T56" fmla="*/ 358 w 360"/>
                <a:gd name="T57" fmla="*/ 888 h 901"/>
                <a:gd name="T58" fmla="*/ 359 w 360"/>
                <a:gd name="T59" fmla="*/ 884 h 901"/>
                <a:gd name="T60" fmla="*/ 360 w 360"/>
                <a:gd name="T61" fmla="*/ 878 h 901"/>
                <a:gd name="T62" fmla="*/ 360 w 360"/>
                <a:gd name="T63" fmla="*/ 23 h 901"/>
                <a:gd name="T64" fmla="*/ 360 w 360"/>
                <a:gd name="T65" fmla="*/ 23 h 901"/>
                <a:gd name="T66" fmla="*/ 359 w 360"/>
                <a:gd name="T67" fmla="*/ 19 h 901"/>
                <a:gd name="T68" fmla="*/ 358 w 360"/>
                <a:gd name="T69" fmla="*/ 14 h 901"/>
                <a:gd name="T70" fmla="*/ 356 w 360"/>
                <a:gd name="T71" fmla="*/ 11 h 901"/>
                <a:gd name="T72" fmla="*/ 354 w 360"/>
                <a:gd name="T73" fmla="*/ 8 h 901"/>
                <a:gd name="T74" fmla="*/ 349 w 360"/>
                <a:gd name="T75" fmla="*/ 5 h 901"/>
                <a:gd name="T76" fmla="*/ 346 w 360"/>
                <a:gd name="T77" fmla="*/ 2 h 901"/>
                <a:gd name="T78" fmla="*/ 342 w 360"/>
                <a:gd name="T79" fmla="*/ 1 h 901"/>
                <a:gd name="T80" fmla="*/ 338 w 360"/>
                <a:gd name="T81" fmla="*/ 0 h 901"/>
                <a:gd name="T82" fmla="*/ 338 w 360"/>
                <a:gd name="T83" fmla="*/ 0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0" h="901">
                  <a:moveTo>
                    <a:pt x="338" y="0"/>
                  </a:moveTo>
                  <a:lnTo>
                    <a:pt x="22" y="0"/>
                  </a:lnTo>
                  <a:lnTo>
                    <a:pt x="22" y="0"/>
                  </a:lnTo>
                  <a:lnTo>
                    <a:pt x="17" y="1"/>
                  </a:lnTo>
                  <a:lnTo>
                    <a:pt x="14" y="2"/>
                  </a:lnTo>
                  <a:lnTo>
                    <a:pt x="10" y="5"/>
                  </a:lnTo>
                  <a:lnTo>
                    <a:pt x="6" y="8"/>
                  </a:lnTo>
                  <a:lnTo>
                    <a:pt x="3" y="11"/>
                  </a:lnTo>
                  <a:lnTo>
                    <a:pt x="1" y="14"/>
                  </a:lnTo>
                  <a:lnTo>
                    <a:pt x="0" y="19"/>
                  </a:lnTo>
                  <a:lnTo>
                    <a:pt x="0" y="23"/>
                  </a:lnTo>
                  <a:lnTo>
                    <a:pt x="0" y="878"/>
                  </a:lnTo>
                  <a:lnTo>
                    <a:pt x="0" y="878"/>
                  </a:lnTo>
                  <a:lnTo>
                    <a:pt x="0" y="884"/>
                  </a:lnTo>
                  <a:lnTo>
                    <a:pt x="1" y="888"/>
                  </a:lnTo>
                  <a:lnTo>
                    <a:pt x="3" y="891"/>
                  </a:lnTo>
                  <a:lnTo>
                    <a:pt x="6" y="894"/>
                  </a:lnTo>
                  <a:lnTo>
                    <a:pt x="10" y="898"/>
                  </a:lnTo>
                  <a:lnTo>
                    <a:pt x="14" y="900"/>
                  </a:lnTo>
                  <a:lnTo>
                    <a:pt x="17" y="901"/>
                  </a:lnTo>
                  <a:lnTo>
                    <a:pt x="22" y="901"/>
                  </a:lnTo>
                  <a:lnTo>
                    <a:pt x="338" y="901"/>
                  </a:lnTo>
                  <a:lnTo>
                    <a:pt x="338" y="901"/>
                  </a:lnTo>
                  <a:lnTo>
                    <a:pt x="342" y="901"/>
                  </a:lnTo>
                  <a:lnTo>
                    <a:pt x="346" y="900"/>
                  </a:lnTo>
                  <a:lnTo>
                    <a:pt x="349" y="898"/>
                  </a:lnTo>
                  <a:lnTo>
                    <a:pt x="354" y="894"/>
                  </a:lnTo>
                  <a:lnTo>
                    <a:pt x="356" y="891"/>
                  </a:lnTo>
                  <a:lnTo>
                    <a:pt x="358" y="888"/>
                  </a:lnTo>
                  <a:lnTo>
                    <a:pt x="359" y="884"/>
                  </a:lnTo>
                  <a:lnTo>
                    <a:pt x="360" y="878"/>
                  </a:lnTo>
                  <a:lnTo>
                    <a:pt x="360" y="23"/>
                  </a:lnTo>
                  <a:lnTo>
                    <a:pt x="360" y="23"/>
                  </a:lnTo>
                  <a:lnTo>
                    <a:pt x="359" y="19"/>
                  </a:lnTo>
                  <a:lnTo>
                    <a:pt x="358" y="14"/>
                  </a:lnTo>
                  <a:lnTo>
                    <a:pt x="356" y="11"/>
                  </a:lnTo>
                  <a:lnTo>
                    <a:pt x="354" y="8"/>
                  </a:lnTo>
                  <a:lnTo>
                    <a:pt x="349" y="5"/>
                  </a:lnTo>
                  <a:lnTo>
                    <a:pt x="346" y="2"/>
                  </a:lnTo>
                  <a:lnTo>
                    <a:pt x="342" y="1"/>
                  </a:lnTo>
                  <a:lnTo>
                    <a:pt x="338" y="0"/>
                  </a:lnTo>
                  <a:lnTo>
                    <a:pt x="33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51" name="Freeform 503">
              <a:extLst>
                <a:ext uri="{FF2B5EF4-FFF2-40B4-BE49-F238E27FC236}">
                  <a16:creationId xmlns:a16="http://schemas.microsoft.com/office/drawing/2014/main" id="{0122B24F-A244-4AFF-BA26-061E52411D0F}"/>
                </a:ext>
              </a:extLst>
            </p:cNvPr>
            <p:cNvSpPr>
              <a:spLocks/>
            </p:cNvSpPr>
            <p:nvPr/>
          </p:nvSpPr>
          <p:spPr bwMode="auto">
            <a:xfrm>
              <a:off x="3729038" y="1847851"/>
              <a:ext cx="374650" cy="196850"/>
            </a:xfrm>
            <a:custGeom>
              <a:avLst/>
              <a:gdLst>
                <a:gd name="T0" fmla="*/ 6 w 946"/>
                <a:gd name="T1" fmla="*/ 489 h 495"/>
                <a:gd name="T2" fmla="*/ 14 w 946"/>
                <a:gd name="T3" fmla="*/ 494 h 495"/>
                <a:gd name="T4" fmla="*/ 22 w 946"/>
                <a:gd name="T5" fmla="*/ 495 h 495"/>
                <a:gd name="T6" fmla="*/ 31 w 946"/>
                <a:gd name="T7" fmla="*/ 494 h 495"/>
                <a:gd name="T8" fmla="*/ 39 w 946"/>
                <a:gd name="T9" fmla="*/ 489 h 495"/>
                <a:gd name="T10" fmla="*/ 457 w 946"/>
                <a:gd name="T11" fmla="*/ 489 h 495"/>
                <a:gd name="T12" fmla="*/ 460 w 946"/>
                <a:gd name="T13" fmla="*/ 492 h 495"/>
                <a:gd name="T14" fmla="*/ 468 w 946"/>
                <a:gd name="T15" fmla="*/ 495 h 495"/>
                <a:gd name="T16" fmla="*/ 473 w 946"/>
                <a:gd name="T17" fmla="*/ 495 h 495"/>
                <a:gd name="T18" fmla="*/ 481 w 946"/>
                <a:gd name="T19" fmla="*/ 494 h 495"/>
                <a:gd name="T20" fmla="*/ 489 w 946"/>
                <a:gd name="T21" fmla="*/ 489 h 495"/>
                <a:gd name="T22" fmla="*/ 901 w 946"/>
                <a:gd name="T23" fmla="*/ 293 h 495"/>
                <a:gd name="T24" fmla="*/ 901 w 946"/>
                <a:gd name="T25" fmla="*/ 298 h 495"/>
                <a:gd name="T26" fmla="*/ 904 w 946"/>
                <a:gd name="T27" fmla="*/ 306 h 495"/>
                <a:gd name="T28" fmla="*/ 910 w 946"/>
                <a:gd name="T29" fmla="*/ 312 h 495"/>
                <a:gd name="T30" fmla="*/ 918 w 946"/>
                <a:gd name="T31" fmla="*/ 315 h 495"/>
                <a:gd name="T32" fmla="*/ 923 w 946"/>
                <a:gd name="T33" fmla="*/ 315 h 495"/>
                <a:gd name="T34" fmla="*/ 932 w 946"/>
                <a:gd name="T35" fmla="*/ 314 h 495"/>
                <a:gd name="T36" fmla="*/ 939 w 946"/>
                <a:gd name="T37" fmla="*/ 309 h 495"/>
                <a:gd name="T38" fmla="*/ 943 w 946"/>
                <a:gd name="T39" fmla="*/ 302 h 495"/>
                <a:gd name="T40" fmla="*/ 946 w 946"/>
                <a:gd name="T41" fmla="*/ 293 h 495"/>
                <a:gd name="T42" fmla="*/ 946 w 946"/>
                <a:gd name="T43" fmla="*/ 22 h 495"/>
                <a:gd name="T44" fmla="*/ 943 w 946"/>
                <a:gd name="T45" fmla="*/ 14 h 495"/>
                <a:gd name="T46" fmla="*/ 941 w 946"/>
                <a:gd name="T47" fmla="*/ 11 h 495"/>
                <a:gd name="T48" fmla="*/ 935 w 946"/>
                <a:gd name="T49" fmla="*/ 4 h 495"/>
                <a:gd name="T50" fmla="*/ 932 w 946"/>
                <a:gd name="T51" fmla="*/ 2 h 495"/>
                <a:gd name="T52" fmla="*/ 923 w 946"/>
                <a:gd name="T53" fmla="*/ 0 h 495"/>
                <a:gd name="T54" fmla="*/ 653 w 946"/>
                <a:gd name="T55" fmla="*/ 0 h 495"/>
                <a:gd name="T56" fmla="*/ 644 w 946"/>
                <a:gd name="T57" fmla="*/ 2 h 495"/>
                <a:gd name="T58" fmla="*/ 637 w 946"/>
                <a:gd name="T59" fmla="*/ 6 h 495"/>
                <a:gd name="T60" fmla="*/ 631 w 946"/>
                <a:gd name="T61" fmla="*/ 14 h 495"/>
                <a:gd name="T62" fmla="*/ 630 w 946"/>
                <a:gd name="T63" fmla="*/ 22 h 495"/>
                <a:gd name="T64" fmla="*/ 630 w 946"/>
                <a:gd name="T65" fmla="*/ 28 h 495"/>
                <a:gd name="T66" fmla="*/ 634 w 946"/>
                <a:gd name="T67" fmla="*/ 35 h 495"/>
                <a:gd name="T68" fmla="*/ 640 w 946"/>
                <a:gd name="T69" fmla="*/ 42 h 495"/>
                <a:gd name="T70" fmla="*/ 648 w 946"/>
                <a:gd name="T71" fmla="*/ 45 h 495"/>
                <a:gd name="T72" fmla="*/ 868 w 946"/>
                <a:gd name="T73" fmla="*/ 45 h 495"/>
                <a:gd name="T74" fmla="*/ 264 w 946"/>
                <a:gd name="T75" fmla="*/ 233 h 495"/>
                <a:gd name="T76" fmla="*/ 259 w 946"/>
                <a:gd name="T77" fmla="*/ 229 h 495"/>
                <a:gd name="T78" fmla="*/ 252 w 946"/>
                <a:gd name="T79" fmla="*/ 226 h 495"/>
                <a:gd name="T80" fmla="*/ 243 w 946"/>
                <a:gd name="T81" fmla="*/ 226 h 495"/>
                <a:gd name="T82" fmla="*/ 235 w 946"/>
                <a:gd name="T83" fmla="*/ 229 h 495"/>
                <a:gd name="T84" fmla="*/ 6 w 946"/>
                <a:gd name="T85" fmla="*/ 458 h 495"/>
                <a:gd name="T86" fmla="*/ 3 w 946"/>
                <a:gd name="T87" fmla="*/ 461 h 495"/>
                <a:gd name="T88" fmla="*/ 0 w 946"/>
                <a:gd name="T89" fmla="*/ 468 h 495"/>
                <a:gd name="T90" fmla="*/ 0 w 946"/>
                <a:gd name="T91" fmla="*/ 477 h 495"/>
                <a:gd name="T92" fmla="*/ 3 w 946"/>
                <a:gd name="T93" fmla="*/ 486 h 495"/>
                <a:gd name="T94" fmla="*/ 6 w 946"/>
                <a:gd name="T95" fmla="*/ 489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46" h="495">
                  <a:moveTo>
                    <a:pt x="6" y="489"/>
                  </a:moveTo>
                  <a:lnTo>
                    <a:pt x="6" y="489"/>
                  </a:lnTo>
                  <a:lnTo>
                    <a:pt x="10" y="492"/>
                  </a:lnTo>
                  <a:lnTo>
                    <a:pt x="14" y="494"/>
                  </a:lnTo>
                  <a:lnTo>
                    <a:pt x="18" y="495"/>
                  </a:lnTo>
                  <a:lnTo>
                    <a:pt x="22" y="495"/>
                  </a:lnTo>
                  <a:lnTo>
                    <a:pt x="27" y="495"/>
                  </a:lnTo>
                  <a:lnTo>
                    <a:pt x="31" y="494"/>
                  </a:lnTo>
                  <a:lnTo>
                    <a:pt x="34" y="492"/>
                  </a:lnTo>
                  <a:lnTo>
                    <a:pt x="39" y="489"/>
                  </a:lnTo>
                  <a:lnTo>
                    <a:pt x="248" y="280"/>
                  </a:lnTo>
                  <a:lnTo>
                    <a:pt x="457" y="489"/>
                  </a:lnTo>
                  <a:lnTo>
                    <a:pt x="457" y="489"/>
                  </a:lnTo>
                  <a:lnTo>
                    <a:pt x="460" y="492"/>
                  </a:lnTo>
                  <a:lnTo>
                    <a:pt x="464" y="494"/>
                  </a:lnTo>
                  <a:lnTo>
                    <a:pt x="468" y="495"/>
                  </a:lnTo>
                  <a:lnTo>
                    <a:pt x="473" y="495"/>
                  </a:lnTo>
                  <a:lnTo>
                    <a:pt x="473" y="495"/>
                  </a:lnTo>
                  <a:lnTo>
                    <a:pt x="477" y="495"/>
                  </a:lnTo>
                  <a:lnTo>
                    <a:pt x="481" y="494"/>
                  </a:lnTo>
                  <a:lnTo>
                    <a:pt x="485" y="492"/>
                  </a:lnTo>
                  <a:lnTo>
                    <a:pt x="489" y="489"/>
                  </a:lnTo>
                  <a:lnTo>
                    <a:pt x="901" y="77"/>
                  </a:lnTo>
                  <a:lnTo>
                    <a:pt x="901" y="293"/>
                  </a:lnTo>
                  <a:lnTo>
                    <a:pt x="901" y="293"/>
                  </a:lnTo>
                  <a:lnTo>
                    <a:pt x="901" y="298"/>
                  </a:lnTo>
                  <a:lnTo>
                    <a:pt x="902" y="302"/>
                  </a:lnTo>
                  <a:lnTo>
                    <a:pt x="904" y="306"/>
                  </a:lnTo>
                  <a:lnTo>
                    <a:pt x="907" y="309"/>
                  </a:lnTo>
                  <a:lnTo>
                    <a:pt x="910" y="312"/>
                  </a:lnTo>
                  <a:lnTo>
                    <a:pt x="914" y="314"/>
                  </a:lnTo>
                  <a:lnTo>
                    <a:pt x="918" y="315"/>
                  </a:lnTo>
                  <a:lnTo>
                    <a:pt x="923" y="315"/>
                  </a:lnTo>
                  <a:lnTo>
                    <a:pt x="923" y="315"/>
                  </a:lnTo>
                  <a:lnTo>
                    <a:pt x="927" y="315"/>
                  </a:lnTo>
                  <a:lnTo>
                    <a:pt x="932" y="314"/>
                  </a:lnTo>
                  <a:lnTo>
                    <a:pt x="935" y="312"/>
                  </a:lnTo>
                  <a:lnTo>
                    <a:pt x="939" y="309"/>
                  </a:lnTo>
                  <a:lnTo>
                    <a:pt x="941" y="306"/>
                  </a:lnTo>
                  <a:lnTo>
                    <a:pt x="943" y="302"/>
                  </a:lnTo>
                  <a:lnTo>
                    <a:pt x="944" y="298"/>
                  </a:lnTo>
                  <a:lnTo>
                    <a:pt x="946" y="293"/>
                  </a:lnTo>
                  <a:lnTo>
                    <a:pt x="946" y="22"/>
                  </a:lnTo>
                  <a:lnTo>
                    <a:pt x="946" y="22"/>
                  </a:lnTo>
                  <a:lnTo>
                    <a:pt x="944" y="18"/>
                  </a:lnTo>
                  <a:lnTo>
                    <a:pt x="943" y="14"/>
                  </a:lnTo>
                  <a:lnTo>
                    <a:pt x="943" y="14"/>
                  </a:lnTo>
                  <a:lnTo>
                    <a:pt x="941" y="11"/>
                  </a:lnTo>
                  <a:lnTo>
                    <a:pt x="939" y="7"/>
                  </a:lnTo>
                  <a:lnTo>
                    <a:pt x="935" y="4"/>
                  </a:lnTo>
                  <a:lnTo>
                    <a:pt x="932" y="2"/>
                  </a:lnTo>
                  <a:lnTo>
                    <a:pt x="932" y="2"/>
                  </a:lnTo>
                  <a:lnTo>
                    <a:pt x="927" y="1"/>
                  </a:lnTo>
                  <a:lnTo>
                    <a:pt x="923" y="0"/>
                  </a:lnTo>
                  <a:lnTo>
                    <a:pt x="653" y="0"/>
                  </a:lnTo>
                  <a:lnTo>
                    <a:pt x="653" y="0"/>
                  </a:lnTo>
                  <a:lnTo>
                    <a:pt x="648" y="1"/>
                  </a:lnTo>
                  <a:lnTo>
                    <a:pt x="644" y="2"/>
                  </a:lnTo>
                  <a:lnTo>
                    <a:pt x="640" y="4"/>
                  </a:lnTo>
                  <a:lnTo>
                    <a:pt x="637" y="6"/>
                  </a:lnTo>
                  <a:lnTo>
                    <a:pt x="634" y="11"/>
                  </a:lnTo>
                  <a:lnTo>
                    <a:pt x="631" y="14"/>
                  </a:lnTo>
                  <a:lnTo>
                    <a:pt x="630" y="18"/>
                  </a:lnTo>
                  <a:lnTo>
                    <a:pt x="630" y="22"/>
                  </a:lnTo>
                  <a:lnTo>
                    <a:pt x="630" y="22"/>
                  </a:lnTo>
                  <a:lnTo>
                    <a:pt x="630" y="28"/>
                  </a:lnTo>
                  <a:lnTo>
                    <a:pt x="631" y="32"/>
                  </a:lnTo>
                  <a:lnTo>
                    <a:pt x="634" y="35"/>
                  </a:lnTo>
                  <a:lnTo>
                    <a:pt x="637" y="39"/>
                  </a:lnTo>
                  <a:lnTo>
                    <a:pt x="640" y="42"/>
                  </a:lnTo>
                  <a:lnTo>
                    <a:pt x="644" y="44"/>
                  </a:lnTo>
                  <a:lnTo>
                    <a:pt x="648" y="45"/>
                  </a:lnTo>
                  <a:lnTo>
                    <a:pt x="653" y="45"/>
                  </a:lnTo>
                  <a:lnTo>
                    <a:pt x="868" y="45"/>
                  </a:lnTo>
                  <a:lnTo>
                    <a:pt x="473" y="442"/>
                  </a:lnTo>
                  <a:lnTo>
                    <a:pt x="264" y="233"/>
                  </a:lnTo>
                  <a:lnTo>
                    <a:pt x="264" y="233"/>
                  </a:lnTo>
                  <a:lnTo>
                    <a:pt x="259" y="229"/>
                  </a:lnTo>
                  <a:lnTo>
                    <a:pt x="256" y="227"/>
                  </a:lnTo>
                  <a:lnTo>
                    <a:pt x="252" y="226"/>
                  </a:lnTo>
                  <a:lnTo>
                    <a:pt x="248" y="225"/>
                  </a:lnTo>
                  <a:lnTo>
                    <a:pt x="243" y="226"/>
                  </a:lnTo>
                  <a:lnTo>
                    <a:pt x="239" y="227"/>
                  </a:lnTo>
                  <a:lnTo>
                    <a:pt x="235" y="229"/>
                  </a:lnTo>
                  <a:lnTo>
                    <a:pt x="232" y="233"/>
                  </a:lnTo>
                  <a:lnTo>
                    <a:pt x="6" y="458"/>
                  </a:lnTo>
                  <a:lnTo>
                    <a:pt x="6" y="458"/>
                  </a:lnTo>
                  <a:lnTo>
                    <a:pt x="3" y="461"/>
                  </a:lnTo>
                  <a:lnTo>
                    <a:pt x="1" y="464"/>
                  </a:lnTo>
                  <a:lnTo>
                    <a:pt x="0" y="468"/>
                  </a:lnTo>
                  <a:lnTo>
                    <a:pt x="0" y="473"/>
                  </a:lnTo>
                  <a:lnTo>
                    <a:pt x="0" y="477"/>
                  </a:lnTo>
                  <a:lnTo>
                    <a:pt x="1" y="481"/>
                  </a:lnTo>
                  <a:lnTo>
                    <a:pt x="3" y="486"/>
                  </a:lnTo>
                  <a:lnTo>
                    <a:pt x="6" y="489"/>
                  </a:lnTo>
                  <a:lnTo>
                    <a:pt x="6" y="48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52" name="Group 51">
            <a:extLst>
              <a:ext uri="{FF2B5EF4-FFF2-40B4-BE49-F238E27FC236}">
                <a16:creationId xmlns:a16="http://schemas.microsoft.com/office/drawing/2014/main" id="{56CE1C11-63ED-4E1F-BE35-624082E31698}"/>
              </a:ext>
            </a:extLst>
          </p:cNvPr>
          <p:cNvGrpSpPr>
            <a:grpSpLocks noChangeAspect="1"/>
          </p:cNvGrpSpPr>
          <p:nvPr/>
        </p:nvGrpSpPr>
        <p:grpSpPr>
          <a:xfrm>
            <a:off x="8249813" y="1836118"/>
            <a:ext cx="332186" cy="333170"/>
            <a:chOff x="6264275" y="3590926"/>
            <a:chExt cx="534988" cy="536575"/>
          </a:xfrm>
          <a:solidFill>
            <a:schemeClr val="bg1"/>
          </a:solidFill>
        </p:grpSpPr>
        <p:sp>
          <p:nvSpPr>
            <p:cNvPr id="53" name="Freeform 436">
              <a:extLst>
                <a:ext uri="{FF2B5EF4-FFF2-40B4-BE49-F238E27FC236}">
                  <a16:creationId xmlns:a16="http://schemas.microsoft.com/office/drawing/2014/main" id="{9B40FE9C-F001-4302-B947-20A553EA8505}"/>
                </a:ext>
              </a:extLst>
            </p:cNvPr>
            <p:cNvSpPr>
              <a:spLocks/>
            </p:cNvSpPr>
            <p:nvPr/>
          </p:nvSpPr>
          <p:spPr bwMode="auto">
            <a:xfrm>
              <a:off x="6264275" y="3681413"/>
              <a:ext cx="446088" cy="446088"/>
            </a:xfrm>
            <a:custGeom>
              <a:avLst/>
              <a:gdLst>
                <a:gd name="T0" fmla="*/ 621 w 1126"/>
                <a:gd name="T1" fmla="*/ 1123 h 1126"/>
                <a:gd name="T2" fmla="*/ 730 w 1126"/>
                <a:gd name="T3" fmla="*/ 1101 h 1126"/>
                <a:gd name="T4" fmla="*/ 831 w 1126"/>
                <a:gd name="T5" fmla="*/ 1058 h 1126"/>
                <a:gd name="T6" fmla="*/ 921 w 1126"/>
                <a:gd name="T7" fmla="*/ 997 h 1126"/>
                <a:gd name="T8" fmla="*/ 997 w 1126"/>
                <a:gd name="T9" fmla="*/ 921 h 1126"/>
                <a:gd name="T10" fmla="*/ 1059 w 1126"/>
                <a:gd name="T11" fmla="*/ 831 h 1126"/>
                <a:gd name="T12" fmla="*/ 1101 w 1126"/>
                <a:gd name="T13" fmla="*/ 730 h 1126"/>
                <a:gd name="T14" fmla="*/ 1124 w 1126"/>
                <a:gd name="T15" fmla="*/ 621 h 1126"/>
                <a:gd name="T16" fmla="*/ 1126 w 1126"/>
                <a:gd name="T17" fmla="*/ 539 h 1126"/>
                <a:gd name="T18" fmla="*/ 1113 w 1126"/>
                <a:gd name="T19" fmla="*/ 444 h 1126"/>
                <a:gd name="T20" fmla="*/ 1086 w 1126"/>
                <a:gd name="T21" fmla="*/ 355 h 1126"/>
                <a:gd name="T22" fmla="*/ 1046 w 1126"/>
                <a:gd name="T23" fmla="*/ 272 h 1126"/>
                <a:gd name="T24" fmla="*/ 845 w 1126"/>
                <a:gd name="T25" fmla="*/ 377 h 1126"/>
                <a:gd name="T26" fmla="*/ 878 w 1126"/>
                <a:gd name="T27" fmla="*/ 442 h 1126"/>
                <a:gd name="T28" fmla="*/ 900 w 1126"/>
                <a:gd name="T29" fmla="*/ 538 h 1126"/>
                <a:gd name="T30" fmla="*/ 900 w 1126"/>
                <a:gd name="T31" fmla="*/ 598 h 1126"/>
                <a:gd name="T32" fmla="*/ 886 w 1126"/>
                <a:gd name="T33" fmla="*/ 664 h 1126"/>
                <a:gd name="T34" fmla="*/ 860 w 1126"/>
                <a:gd name="T35" fmla="*/ 724 h 1126"/>
                <a:gd name="T36" fmla="*/ 824 w 1126"/>
                <a:gd name="T37" fmla="*/ 778 h 1126"/>
                <a:gd name="T38" fmla="*/ 779 w 1126"/>
                <a:gd name="T39" fmla="*/ 823 h 1126"/>
                <a:gd name="T40" fmla="*/ 724 w 1126"/>
                <a:gd name="T41" fmla="*/ 860 h 1126"/>
                <a:gd name="T42" fmla="*/ 664 w 1126"/>
                <a:gd name="T43" fmla="*/ 885 h 1126"/>
                <a:gd name="T44" fmla="*/ 599 w 1126"/>
                <a:gd name="T45" fmla="*/ 899 h 1126"/>
                <a:gd name="T46" fmla="*/ 546 w 1126"/>
                <a:gd name="T47" fmla="*/ 900 h 1126"/>
                <a:gd name="T48" fmla="*/ 480 w 1126"/>
                <a:gd name="T49" fmla="*/ 890 h 1126"/>
                <a:gd name="T50" fmla="*/ 417 w 1126"/>
                <a:gd name="T51" fmla="*/ 867 h 1126"/>
                <a:gd name="T52" fmla="*/ 362 w 1126"/>
                <a:gd name="T53" fmla="*/ 834 h 1126"/>
                <a:gd name="T54" fmla="*/ 313 w 1126"/>
                <a:gd name="T55" fmla="*/ 790 h 1126"/>
                <a:gd name="T56" fmla="*/ 275 w 1126"/>
                <a:gd name="T57" fmla="*/ 739 h 1126"/>
                <a:gd name="T58" fmla="*/ 246 w 1126"/>
                <a:gd name="T59" fmla="*/ 680 h 1126"/>
                <a:gd name="T60" fmla="*/ 230 w 1126"/>
                <a:gd name="T61" fmla="*/ 614 h 1126"/>
                <a:gd name="T62" fmla="*/ 226 w 1126"/>
                <a:gd name="T63" fmla="*/ 563 h 1126"/>
                <a:gd name="T64" fmla="*/ 233 w 1126"/>
                <a:gd name="T65" fmla="*/ 495 h 1126"/>
                <a:gd name="T66" fmla="*/ 252 w 1126"/>
                <a:gd name="T67" fmla="*/ 432 h 1126"/>
                <a:gd name="T68" fmla="*/ 283 w 1126"/>
                <a:gd name="T69" fmla="*/ 374 h 1126"/>
                <a:gd name="T70" fmla="*/ 325 w 1126"/>
                <a:gd name="T71" fmla="*/ 325 h 1126"/>
                <a:gd name="T72" fmla="*/ 375 w 1126"/>
                <a:gd name="T73" fmla="*/ 283 h 1126"/>
                <a:gd name="T74" fmla="*/ 432 w 1126"/>
                <a:gd name="T75" fmla="*/ 252 h 1126"/>
                <a:gd name="T76" fmla="*/ 496 w 1126"/>
                <a:gd name="T77" fmla="*/ 232 h 1126"/>
                <a:gd name="T78" fmla="*/ 563 w 1126"/>
                <a:gd name="T79" fmla="*/ 225 h 1126"/>
                <a:gd name="T80" fmla="*/ 638 w 1126"/>
                <a:gd name="T81" fmla="*/ 234 h 1126"/>
                <a:gd name="T82" fmla="*/ 729 w 1126"/>
                <a:gd name="T83" fmla="*/ 269 h 1126"/>
                <a:gd name="T84" fmla="*/ 892 w 1126"/>
                <a:gd name="T85" fmla="*/ 107 h 1126"/>
                <a:gd name="T86" fmla="*/ 814 w 1126"/>
                <a:gd name="T87" fmla="*/ 59 h 1126"/>
                <a:gd name="T88" fmla="*/ 728 w 1126"/>
                <a:gd name="T89" fmla="*/ 25 h 1126"/>
                <a:gd name="T90" fmla="*/ 636 w 1126"/>
                <a:gd name="T91" fmla="*/ 5 h 1126"/>
                <a:gd name="T92" fmla="*/ 563 w 1126"/>
                <a:gd name="T93" fmla="*/ 0 h 1126"/>
                <a:gd name="T94" fmla="*/ 451 w 1126"/>
                <a:gd name="T95" fmla="*/ 12 h 1126"/>
                <a:gd name="T96" fmla="*/ 345 w 1126"/>
                <a:gd name="T97" fmla="*/ 45 h 1126"/>
                <a:gd name="T98" fmla="*/ 249 w 1126"/>
                <a:gd name="T99" fmla="*/ 96 h 1126"/>
                <a:gd name="T100" fmla="*/ 166 w 1126"/>
                <a:gd name="T101" fmla="*/ 165 h 1126"/>
                <a:gd name="T102" fmla="*/ 97 w 1126"/>
                <a:gd name="T103" fmla="*/ 249 h 1126"/>
                <a:gd name="T104" fmla="*/ 45 w 1126"/>
                <a:gd name="T105" fmla="*/ 344 h 1126"/>
                <a:gd name="T106" fmla="*/ 12 w 1126"/>
                <a:gd name="T107" fmla="*/ 450 h 1126"/>
                <a:gd name="T108" fmla="*/ 0 w 1126"/>
                <a:gd name="T109" fmla="*/ 563 h 1126"/>
                <a:gd name="T110" fmla="*/ 7 w 1126"/>
                <a:gd name="T111" fmla="*/ 648 h 1126"/>
                <a:gd name="T112" fmla="*/ 35 w 1126"/>
                <a:gd name="T113" fmla="*/ 757 h 1126"/>
                <a:gd name="T114" fmla="*/ 82 w 1126"/>
                <a:gd name="T115" fmla="*/ 854 h 1126"/>
                <a:gd name="T116" fmla="*/ 147 w 1126"/>
                <a:gd name="T117" fmla="*/ 941 h 1126"/>
                <a:gd name="T118" fmla="*/ 227 w 1126"/>
                <a:gd name="T119" fmla="*/ 1014 h 1126"/>
                <a:gd name="T120" fmla="*/ 320 w 1126"/>
                <a:gd name="T121" fmla="*/ 1071 h 1126"/>
                <a:gd name="T122" fmla="*/ 423 w 1126"/>
                <a:gd name="T123" fmla="*/ 1108 h 1126"/>
                <a:gd name="T124" fmla="*/ 534 w 1126"/>
                <a:gd name="T125" fmla="*/ 1126 h 1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26" h="1126">
                  <a:moveTo>
                    <a:pt x="563" y="1126"/>
                  </a:moveTo>
                  <a:lnTo>
                    <a:pt x="563" y="1126"/>
                  </a:lnTo>
                  <a:lnTo>
                    <a:pt x="592" y="1126"/>
                  </a:lnTo>
                  <a:lnTo>
                    <a:pt x="621" y="1123"/>
                  </a:lnTo>
                  <a:lnTo>
                    <a:pt x="649" y="1119"/>
                  </a:lnTo>
                  <a:lnTo>
                    <a:pt x="677" y="1115"/>
                  </a:lnTo>
                  <a:lnTo>
                    <a:pt x="704" y="1108"/>
                  </a:lnTo>
                  <a:lnTo>
                    <a:pt x="730" y="1101"/>
                  </a:lnTo>
                  <a:lnTo>
                    <a:pt x="757" y="1091"/>
                  </a:lnTo>
                  <a:lnTo>
                    <a:pt x="783" y="1082"/>
                  </a:lnTo>
                  <a:lnTo>
                    <a:pt x="808" y="1071"/>
                  </a:lnTo>
                  <a:lnTo>
                    <a:pt x="831" y="1058"/>
                  </a:lnTo>
                  <a:lnTo>
                    <a:pt x="855" y="1044"/>
                  </a:lnTo>
                  <a:lnTo>
                    <a:pt x="878" y="1030"/>
                  </a:lnTo>
                  <a:lnTo>
                    <a:pt x="900" y="1014"/>
                  </a:lnTo>
                  <a:lnTo>
                    <a:pt x="921" y="997"/>
                  </a:lnTo>
                  <a:lnTo>
                    <a:pt x="942" y="980"/>
                  </a:lnTo>
                  <a:lnTo>
                    <a:pt x="961" y="960"/>
                  </a:lnTo>
                  <a:lnTo>
                    <a:pt x="980" y="941"/>
                  </a:lnTo>
                  <a:lnTo>
                    <a:pt x="997" y="921"/>
                  </a:lnTo>
                  <a:lnTo>
                    <a:pt x="1015" y="899"/>
                  </a:lnTo>
                  <a:lnTo>
                    <a:pt x="1031" y="878"/>
                  </a:lnTo>
                  <a:lnTo>
                    <a:pt x="1045" y="854"/>
                  </a:lnTo>
                  <a:lnTo>
                    <a:pt x="1059" y="831"/>
                  </a:lnTo>
                  <a:lnTo>
                    <a:pt x="1071" y="807"/>
                  </a:lnTo>
                  <a:lnTo>
                    <a:pt x="1082" y="783"/>
                  </a:lnTo>
                  <a:lnTo>
                    <a:pt x="1092" y="757"/>
                  </a:lnTo>
                  <a:lnTo>
                    <a:pt x="1101" y="730"/>
                  </a:lnTo>
                  <a:lnTo>
                    <a:pt x="1109" y="703"/>
                  </a:lnTo>
                  <a:lnTo>
                    <a:pt x="1115" y="676"/>
                  </a:lnTo>
                  <a:lnTo>
                    <a:pt x="1120" y="648"/>
                  </a:lnTo>
                  <a:lnTo>
                    <a:pt x="1124" y="621"/>
                  </a:lnTo>
                  <a:lnTo>
                    <a:pt x="1126" y="592"/>
                  </a:lnTo>
                  <a:lnTo>
                    <a:pt x="1126" y="563"/>
                  </a:lnTo>
                  <a:lnTo>
                    <a:pt x="1126" y="563"/>
                  </a:lnTo>
                  <a:lnTo>
                    <a:pt x="1126" y="539"/>
                  </a:lnTo>
                  <a:lnTo>
                    <a:pt x="1124" y="514"/>
                  </a:lnTo>
                  <a:lnTo>
                    <a:pt x="1122" y="491"/>
                  </a:lnTo>
                  <a:lnTo>
                    <a:pt x="1119" y="467"/>
                  </a:lnTo>
                  <a:lnTo>
                    <a:pt x="1113" y="444"/>
                  </a:lnTo>
                  <a:lnTo>
                    <a:pt x="1108" y="421"/>
                  </a:lnTo>
                  <a:lnTo>
                    <a:pt x="1101" y="399"/>
                  </a:lnTo>
                  <a:lnTo>
                    <a:pt x="1095" y="376"/>
                  </a:lnTo>
                  <a:lnTo>
                    <a:pt x="1086" y="355"/>
                  </a:lnTo>
                  <a:lnTo>
                    <a:pt x="1078" y="333"/>
                  </a:lnTo>
                  <a:lnTo>
                    <a:pt x="1067" y="313"/>
                  </a:lnTo>
                  <a:lnTo>
                    <a:pt x="1056" y="293"/>
                  </a:lnTo>
                  <a:lnTo>
                    <a:pt x="1046" y="272"/>
                  </a:lnTo>
                  <a:lnTo>
                    <a:pt x="1033" y="253"/>
                  </a:lnTo>
                  <a:lnTo>
                    <a:pt x="1020" y="235"/>
                  </a:lnTo>
                  <a:lnTo>
                    <a:pt x="1006" y="216"/>
                  </a:lnTo>
                  <a:lnTo>
                    <a:pt x="845" y="377"/>
                  </a:lnTo>
                  <a:lnTo>
                    <a:pt x="845" y="377"/>
                  </a:lnTo>
                  <a:lnTo>
                    <a:pt x="858" y="398"/>
                  </a:lnTo>
                  <a:lnTo>
                    <a:pt x="869" y="419"/>
                  </a:lnTo>
                  <a:lnTo>
                    <a:pt x="878" y="442"/>
                  </a:lnTo>
                  <a:lnTo>
                    <a:pt x="887" y="464"/>
                  </a:lnTo>
                  <a:lnTo>
                    <a:pt x="892" y="488"/>
                  </a:lnTo>
                  <a:lnTo>
                    <a:pt x="898" y="512"/>
                  </a:lnTo>
                  <a:lnTo>
                    <a:pt x="900" y="538"/>
                  </a:lnTo>
                  <a:lnTo>
                    <a:pt x="901" y="563"/>
                  </a:lnTo>
                  <a:lnTo>
                    <a:pt x="901" y="563"/>
                  </a:lnTo>
                  <a:lnTo>
                    <a:pt x="901" y="581"/>
                  </a:lnTo>
                  <a:lnTo>
                    <a:pt x="900" y="598"/>
                  </a:lnTo>
                  <a:lnTo>
                    <a:pt x="898" y="614"/>
                  </a:lnTo>
                  <a:lnTo>
                    <a:pt x="895" y="631"/>
                  </a:lnTo>
                  <a:lnTo>
                    <a:pt x="890" y="647"/>
                  </a:lnTo>
                  <a:lnTo>
                    <a:pt x="886" y="664"/>
                  </a:lnTo>
                  <a:lnTo>
                    <a:pt x="881" y="680"/>
                  </a:lnTo>
                  <a:lnTo>
                    <a:pt x="875" y="695"/>
                  </a:lnTo>
                  <a:lnTo>
                    <a:pt x="868" y="710"/>
                  </a:lnTo>
                  <a:lnTo>
                    <a:pt x="860" y="724"/>
                  </a:lnTo>
                  <a:lnTo>
                    <a:pt x="853" y="739"/>
                  </a:lnTo>
                  <a:lnTo>
                    <a:pt x="843" y="751"/>
                  </a:lnTo>
                  <a:lnTo>
                    <a:pt x="834" y="765"/>
                  </a:lnTo>
                  <a:lnTo>
                    <a:pt x="824" y="778"/>
                  </a:lnTo>
                  <a:lnTo>
                    <a:pt x="813" y="790"/>
                  </a:lnTo>
                  <a:lnTo>
                    <a:pt x="802" y="802"/>
                  </a:lnTo>
                  <a:lnTo>
                    <a:pt x="791" y="813"/>
                  </a:lnTo>
                  <a:lnTo>
                    <a:pt x="779" y="823"/>
                  </a:lnTo>
                  <a:lnTo>
                    <a:pt x="766" y="834"/>
                  </a:lnTo>
                  <a:lnTo>
                    <a:pt x="752" y="843"/>
                  </a:lnTo>
                  <a:lnTo>
                    <a:pt x="739" y="852"/>
                  </a:lnTo>
                  <a:lnTo>
                    <a:pt x="724" y="860"/>
                  </a:lnTo>
                  <a:lnTo>
                    <a:pt x="710" y="867"/>
                  </a:lnTo>
                  <a:lnTo>
                    <a:pt x="695" y="875"/>
                  </a:lnTo>
                  <a:lnTo>
                    <a:pt x="680" y="880"/>
                  </a:lnTo>
                  <a:lnTo>
                    <a:pt x="664" y="885"/>
                  </a:lnTo>
                  <a:lnTo>
                    <a:pt x="648" y="890"/>
                  </a:lnTo>
                  <a:lnTo>
                    <a:pt x="632" y="894"/>
                  </a:lnTo>
                  <a:lnTo>
                    <a:pt x="615" y="897"/>
                  </a:lnTo>
                  <a:lnTo>
                    <a:pt x="599" y="899"/>
                  </a:lnTo>
                  <a:lnTo>
                    <a:pt x="581" y="900"/>
                  </a:lnTo>
                  <a:lnTo>
                    <a:pt x="563" y="900"/>
                  </a:lnTo>
                  <a:lnTo>
                    <a:pt x="563" y="900"/>
                  </a:lnTo>
                  <a:lnTo>
                    <a:pt x="546" y="900"/>
                  </a:lnTo>
                  <a:lnTo>
                    <a:pt x="529" y="899"/>
                  </a:lnTo>
                  <a:lnTo>
                    <a:pt x="512" y="897"/>
                  </a:lnTo>
                  <a:lnTo>
                    <a:pt x="496" y="894"/>
                  </a:lnTo>
                  <a:lnTo>
                    <a:pt x="480" y="890"/>
                  </a:lnTo>
                  <a:lnTo>
                    <a:pt x="464" y="885"/>
                  </a:lnTo>
                  <a:lnTo>
                    <a:pt x="447" y="880"/>
                  </a:lnTo>
                  <a:lnTo>
                    <a:pt x="432" y="875"/>
                  </a:lnTo>
                  <a:lnTo>
                    <a:pt x="417" y="867"/>
                  </a:lnTo>
                  <a:lnTo>
                    <a:pt x="402" y="860"/>
                  </a:lnTo>
                  <a:lnTo>
                    <a:pt x="388" y="852"/>
                  </a:lnTo>
                  <a:lnTo>
                    <a:pt x="375" y="843"/>
                  </a:lnTo>
                  <a:lnTo>
                    <a:pt x="362" y="834"/>
                  </a:lnTo>
                  <a:lnTo>
                    <a:pt x="349" y="823"/>
                  </a:lnTo>
                  <a:lnTo>
                    <a:pt x="337" y="813"/>
                  </a:lnTo>
                  <a:lnTo>
                    <a:pt x="325" y="802"/>
                  </a:lnTo>
                  <a:lnTo>
                    <a:pt x="313" y="790"/>
                  </a:lnTo>
                  <a:lnTo>
                    <a:pt x="303" y="778"/>
                  </a:lnTo>
                  <a:lnTo>
                    <a:pt x="293" y="765"/>
                  </a:lnTo>
                  <a:lnTo>
                    <a:pt x="283" y="751"/>
                  </a:lnTo>
                  <a:lnTo>
                    <a:pt x="275" y="739"/>
                  </a:lnTo>
                  <a:lnTo>
                    <a:pt x="266" y="724"/>
                  </a:lnTo>
                  <a:lnTo>
                    <a:pt x="259" y="710"/>
                  </a:lnTo>
                  <a:lnTo>
                    <a:pt x="252" y="695"/>
                  </a:lnTo>
                  <a:lnTo>
                    <a:pt x="246" y="680"/>
                  </a:lnTo>
                  <a:lnTo>
                    <a:pt x="242" y="664"/>
                  </a:lnTo>
                  <a:lnTo>
                    <a:pt x="236" y="647"/>
                  </a:lnTo>
                  <a:lnTo>
                    <a:pt x="233" y="631"/>
                  </a:lnTo>
                  <a:lnTo>
                    <a:pt x="230" y="614"/>
                  </a:lnTo>
                  <a:lnTo>
                    <a:pt x="228" y="598"/>
                  </a:lnTo>
                  <a:lnTo>
                    <a:pt x="227" y="581"/>
                  </a:lnTo>
                  <a:lnTo>
                    <a:pt x="226" y="563"/>
                  </a:lnTo>
                  <a:lnTo>
                    <a:pt x="226" y="563"/>
                  </a:lnTo>
                  <a:lnTo>
                    <a:pt x="227" y="546"/>
                  </a:lnTo>
                  <a:lnTo>
                    <a:pt x="228" y="528"/>
                  </a:lnTo>
                  <a:lnTo>
                    <a:pt x="230" y="511"/>
                  </a:lnTo>
                  <a:lnTo>
                    <a:pt x="233" y="495"/>
                  </a:lnTo>
                  <a:lnTo>
                    <a:pt x="236" y="479"/>
                  </a:lnTo>
                  <a:lnTo>
                    <a:pt x="242" y="463"/>
                  </a:lnTo>
                  <a:lnTo>
                    <a:pt x="246" y="447"/>
                  </a:lnTo>
                  <a:lnTo>
                    <a:pt x="252" y="432"/>
                  </a:lnTo>
                  <a:lnTo>
                    <a:pt x="259" y="417"/>
                  </a:lnTo>
                  <a:lnTo>
                    <a:pt x="266" y="402"/>
                  </a:lnTo>
                  <a:lnTo>
                    <a:pt x="275" y="388"/>
                  </a:lnTo>
                  <a:lnTo>
                    <a:pt x="283" y="374"/>
                  </a:lnTo>
                  <a:lnTo>
                    <a:pt x="293" y="361"/>
                  </a:lnTo>
                  <a:lnTo>
                    <a:pt x="303" y="348"/>
                  </a:lnTo>
                  <a:lnTo>
                    <a:pt x="313" y="336"/>
                  </a:lnTo>
                  <a:lnTo>
                    <a:pt x="325" y="325"/>
                  </a:lnTo>
                  <a:lnTo>
                    <a:pt x="337" y="313"/>
                  </a:lnTo>
                  <a:lnTo>
                    <a:pt x="349" y="302"/>
                  </a:lnTo>
                  <a:lnTo>
                    <a:pt x="362" y="293"/>
                  </a:lnTo>
                  <a:lnTo>
                    <a:pt x="375" y="283"/>
                  </a:lnTo>
                  <a:lnTo>
                    <a:pt x="388" y="274"/>
                  </a:lnTo>
                  <a:lnTo>
                    <a:pt x="402" y="266"/>
                  </a:lnTo>
                  <a:lnTo>
                    <a:pt x="417" y="258"/>
                  </a:lnTo>
                  <a:lnTo>
                    <a:pt x="432" y="252"/>
                  </a:lnTo>
                  <a:lnTo>
                    <a:pt x="447" y="245"/>
                  </a:lnTo>
                  <a:lnTo>
                    <a:pt x="464" y="241"/>
                  </a:lnTo>
                  <a:lnTo>
                    <a:pt x="480" y="236"/>
                  </a:lnTo>
                  <a:lnTo>
                    <a:pt x="496" y="232"/>
                  </a:lnTo>
                  <a:lnTo>
                    <a:pt x="512" y="229"/>
                  </a:lnTo>
                  <a:lnTo>
                    <a:pt x="529" y="227"/>
                  </a:lnTo>
                  <a:lnTo>
                    <a:pt x="546" y="226"/>
                  </a:lnTo>
                  <a:lnTo>
                    <a:pt x="563" y="225"/>
                  </a:lnTo>
                  <a:lnTo>
                    <a:pt x="563" y="225"/>
                  </a:lnTo>
                  <a:lnTo>
                    <a:pt x="589" y="226"/>
                  </a:lnTo>
                  <a:lnTo>
                    <a:pt x="615" y="229"/>
                  </a:lnTo>
                  <a:lnTo>
                    <a:pt x="638" y="234"/>
                  </a:lnTo>
                  <a:lnTo>
                    <a:pt x="662" y="240"/>
                  </a:lnTo>
                  <a:lnTo>
                    <a:pt x="685" y="249"/>
                  </a:lnTo>
                  <a:lnTo>
                    <a:pt x="708" y="258"/>
                  </a:lnTo>
                  <a:lnTo>
                    <a:pt x="729" y="269"/>
                  </a:lnTo>
                  <a:lnTo>
                    <a:pt x="750" y="282"/>
                  </a:lnTo>
                  <a:lnTo>
                    <a:pt x="911" y="121"/>
                  </a:lnTo>
                  <a:lnTo>
                    <a:pt x="911" y="121"/>
                  </a:lnTo>
                  <a:lnTo>
                    <a:pt x="892" y="107"/>
                  </a:lnTo>
                  <a:lnTo>
                    <a:pt x="874" y="94"/>
                  </a:lnTo>
                  <a:lnTo>
                    <a:pt x="855" y="81"/>
                  </a:lnTo>
                  <a:lnTo>
                    <a:pt x="834" y="70"/>
                  </a:lnTo>
                  <a:lnTo>
                    <a:pt x="814" y="59"/>
                  </a:lnTo>
                  <a:lnTo>
                    <a:pt x="794" y="49"/>
                  </a:lnTo>
                  <a:lnTo>
                    <a:pt x="772" y="41"/>
                  </a:lnTo>
                  <a:lnTo>
                    <a:pt x="751" y="32"/>
                  </a:lnTo>
                  <a:lnTo>
                    <a:pt x="728" y="25"/>
                  </a:lnTo>
                  <a:lnTo>
                    <a:pt x="706" y="18"/>
                  </a:lnTo>
                  <a:lnTo>
                    <a:pt x="683" y="13"/>
                  </a:lnTo>
                  <a:lnTo>
                    <a:pt x="660" y="8"/>
                  </a:lnTo>
                  <a:lnTo>
                    <a:pt x="636" y="5"/>
                  </a:lnTo>
                  <a:lnTo>
                    <a:pt x="613" y="2"/>
                  </a:lnTo>
                  <a:lnTo>
                    <a:pt x="588" y="1"/>
                  </a:lnTo>
                  <a:lnTo>
                    <a:pt x="563" y="0"/>
                  </a:lnTo>
                  <a:lnTo>
                    <a:pt x="563" y="0"/>
                  </a:lnTo>
                  <a:lnTo>
                    <a:pt x="534" y="1"/>
                  </a:lnTo>
                  <a:lnTo>
                    <a:pt x="506" y="3"/>
                  </a:lnTo>
                  <a:lnTo>
                    <a:pt x="479" y="6"/>
                  </a:lnTo>
                  <a:lnTo>
                    <a:pt x="451" y="12"/>
                  </a:lnTo>
                  <a:lnTo>
                    <a:pt x="423" y="18"/>
                  </a:lnTo>
                  <a:lnTo>
                    <a:pt x="396" y="26"/>
                  </a:lnTo>
                  <a:lnTo>
                    <a:pt x="370" y="34"/>
                  </a:lnTo>
                  <a:lnTo>
                    <a:pt x="345" y="45"/>
                  </a:lnTo>
                  <a:lnTo>
                    <a:pt x="320" y="56"/>
                  </a:lnTo>
                  <a:lnTo>
                    <a:pt x="295" y="68"/>
                  </a:lnTo>
                  <a:lnTo>
                    <a:pt x="272" y="81"/>
                  </a:lnTo>
                  <a:lnTo>
                    <a:pt x="249" y="96"/>
                  </a:lnTo>
                  <a:lnTo>
                    <a:pt x="227" y="112"/>
                  </a:lnTo>
                  <a:lnTo>
                    <a:pt x="206" y="129"/>
                  </a:lnTo>
                  <a:lnTo>
                    <a:pt x="186" y="147"/>
                  </a:lnTo>
                  <a:lnTo>
                    <a:pt x="166" y="165"/>
                  </a:lnTo>
                  <a:lnTo>
                    <a:pt x="147" y="185"/>
                  </a:lnTo>
                  <a:lnTo>
                    <a:pt x="129" y="206"/>
                  </a:lnTo>
                  <a:lnTo>
                    <a:pt x="113" y="226"/>
                  </a:lnTo>
                  <a:lnTo>
                    <a:pt x="97" y="249"/>
                  </a:lnTo>
                  <a:lnTo>
                    <a:pt x="82" y="271"/>
                  </a:lnTo>
                  <a:lnTo>
                    <a:pt x="69" y="295"/>
                  </a:lnTo>
                  <a:lnTo>
                    <a:pt x="56" y="319"/>
                  </a:lnTo>
                  <a:lnTo>
                    <a:pt x="45" y="344"/>
                  </a:lnTo>
                  <a:lnTo>
                    <a:pt x="35" y="370"/>
                  </a:lnTo>
                  <a:lnTo>
                    <a:pt x="26" y="395"/>
                  </a:lnTo>
                  <a:lnTo>
                    <a:pt x="19" y="422"/>
                  </a:lnTo>
                  <a:lnTo>
                    <a:pt x="12" y="450"/>
                  </a:lnTo>
                  <a:lnTo>
                    <a:pt x="7" y="478"/>
                  </a:lnTo>
                  <a:lnTo>
                    <a:pt x="4" y="506"/>
                  </a:lnTo>
                  <a:lnTo>
                    <a:pt x="1" y="534"/>
                  </a:lnTo>
                  <a:lnTo>
                    <a:pt x="0" y="563"/>
                  </a:lnTo>
                  <a:lnTo>
                    <a:pt x="0" y="563"/>
                  </a:lnTo>
                  <a:lnTo>
                    <a:pt x="1" y="592"/>
                  </a:lnTo>
                  <a:lnTo>
                    <a:pt x="4" y="621"/>
                  </a:lnTo>
                  <a:lnTo>
                    <a:pt x="7" y="648"/>
                  </a:lnTo>
                  <a:lnTo>
                    <a:pt x="12" y="676"/>
                  </a:lnTo>
                  <a:lnTo>
                    <a:pt x="19" y="703"/>
                  </a:lnTo>
                  <a:lnTo>
                    <a:pt x="26" y="730"/>
                  </a:lnTo>
                  <a:lnTo>
                    <a:pt x="35" y="757"/>
                  </a:lnTo>
                  <a:lnTo>
                    <a:pt x="45" y="783"/>
                  </a:lnTo>
                  <a:lnTo>
                    <a:pt x="56" y="807"/>
                  </a:lnTo>
                  <a:lnTo>
                    <a:pt x="69" y="831"/>
                  </a:lnTo>
                  <a:lnTo>
                    <a:pt x="82" y="854"/>
                  </a:lnTo>
                  <a:lnTo>
                    <a:pt x="97" y="878"/>
                  </a:lnTo>
                  <a:lnTo>
                    <a:pt x="113" y="899"/>
                  </a:lnTo>
                  <a:lnTo>
                    <a:pt x="129" y="921"/>
                  </a:lnTo>
                  <a:lnTo>
                    <a:pt x="147" y="941"/>
                  </a:lnTo>
                  <a:lnTo>
                    <a:pt x="166" y="960"/>
                  </a:lnTo>
                  <a:lnTo>
                    <a:pt x="186" y="980"/>
                  </a:lnTo>
                  <a:lnTo>
                    <a:pt x="206" y="997"/>
                  </a:lnTo>
                  <a:lnTo>
                    <a:pt x="227" y="1014"/>
                  </a:lnTo>
                  <a:lnTo>
                    <a:pt x="249" y="1030"/>
                  </a:lnTo>
                  <a:lnTo>
                    <a:pt x="272" y="1044"/>
                  </a:lnTo>
                  <a:lnTo>
                    <a:pt x="295" y="1058"/>
                  </a:lnTo>
                  <a:lnTo>
                    <a:pt x="320" y="1071"/>
                  </a:lnTo>
                  <a:lnTo>
                    <a:pt x="345" y="1082"/>
                  </a:lnTo>
                  <a:lnTo>
                    <a:pt x="370" y="1091"/>
                  </a:lnTo>
                  <a:lnTo>
                    <a:pt x="396" y="1101"/>
                  </a:lnTo>
                  <a:lnTo>
                    <a:pt x="423" y="1108"/>
                  </a:lnTo>
                  <a:lnTo>
                    <a:pt x="451" y="1115"/>
                  </a:lnTo>
                  <a:lnTo>
                    <a:pt x="479" y="1119"/>
                  </a:lnTo>
                  <a:lnTo>
                    <a:pt x="506" y="1123"/>
                  </a:lnTo>
                  <a:lnTo>
                    <a:pt x="534" y="1126"/>
                  </a:lnTo>
                  <a:lnTo>
                    <a:pt x="563" y="1126"/>
                  </a:lnTo>
                  <a:lnTo>
                    <a:pt x="563" y="11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54" name="Freeform 437">
              <a:extLst>
                <a:ext uri="{FF2B5EF4-FFF2-40B4-BE49-F238E27FC236}">
                  <a16:creationId xmlns:a16="http://schemas.microsoft.com/office/drawing/2014/main" id="{CE4F1221-2AFE-4140-9975-C291F10508E1}"/>
                </a:ext>
              </a:extLst>
            </p:cNvPr>
            <p:cNvSpPr>
              <a:spLocks/>
            </p:cNvSpPr>
            <p:nvPr/>
          </p:nvSpPr>
          <p:spPr bwMode="auto">
            <a:xfrm>
              <a:off x="6442075" y="3590926"/>
              <a:ext cx="357188" cy="358775"/>
            </a:xfrm>
            <a:custGeom>
              <a:avLst/>
              <a:gdLst>
                <a:gd name="T0" fmla="*/ 849 w 900"/>
                <a:gd name="T1" fmla="*/ 52 h 900"/>
                <a:gd name="T2" fmla="*/ 841 w 900"/>
                <a:gd name="T3" fmla="*/ 47 h 900"/>
                <a:gd name="T4" fmla="*/ 833 w 900"/>
                <a:gd name="T5" fmla="*/ 45 h 900"/>
                <a:gd name="T6" fmla="*/ 824 w 900"/>
                <a:gd name="T7" fmla="*/ 47 h 900"/>
                <a:gd name="T8" fmla="*/ 818 w 900"/>
                <a:gd name="T9" fmla="*/ 52 h 900"/>
                <a:gd name="T10" fmla="*/ 719 w 900"/>
                <a:gd name="T11" fmla="*/ 16 h 900"/>
                <a:gd name="T12" fmla="*/ 717 w 900"/>
                <a:gd name="T13" fmla="*/ 10 h 900"/>
                <a:gd name="T14" fmla="*/ 708 w 900"/>
                <a:gd name="T15" fmla="*/ 3 h 900"/>
                <a:gd name="T16" fmla="*/ 703 w 900"/>
                <a:gd name="T17" fmla="*/ 1 h 900"/>
                <a:gd name="T18" fmla="*/ 692 w 900"/>
                <a:gd name="T19" fmla="*/ 1 h 900"/>
                <a:gd name="T20" fmla="*/ 683 w 900"/>
                <a:gd name="T21" fmla="*/ 7 h 900"/>
                <a:gd name="T22" fmla="*/ 548 w 900"/>
                <a:gd name="T23" fmla="*/ 142 h 900"/>
                <a:gd name="T24" fmla="*/ 541 w 900"/>
                <a:gd name="T25" fmla="*/ 153 h 900"/>
                <a:gd name="T26" fmla="*/ 541 w 900"/>
                <a:gd name="T27" fmla="*/ 165 h 900"/>
                <a:gd name="T28" fmla="*/ 174 w 900"/>
                <a:gd name="T29" fmla="*/ 694 h 900"/>
                <a:gd name="T30" fmla="*/ 160 w 900"/>
                <a:gd name="T31" fmla="*/ 686 h 900"/>
                <a:gd name="T32" fmla="*/ 129 w 900"/>
                <a:gd name="T33" fmla="*/ 677 h 900"/>
                <a:gd name="T34" fmla="*/ 112 w 900"/>
                <a:gd name="T35" fmla="*/ 675 h 900"/>
                <a:gd name="T36" fmla="*/ 102 w 900"/>
                <a:gd name="T37" fmla="*/ 676 h 900"/>
                <a:gd name="T38" fmla="*/ 79 w 900"/>
                <a:gd name="T39" fmla="*/ 681 h 900"/>
                <a:gd name="T40" fmla="*/ 59 w 900"/>
                <a:gd name="T41" fmla="*/ 689 h 900"/>
                <a:gd name="T42" fmla="*/ 41 w 900"/>
                <a:gd name="T43" fmla="*/ 701 h 900"/>
                <a:gd name="T44" fmla="*/ 25 w 900"/>
                <a:gd name="T45" fmla="*/ 717 h 900"/>
                <a:gd name="T46" fmla="*/ 14 w 900"/>
                <a:gd name="T47" fmla="*/ 734 h 900"/>
                <a:gd name="T48" fmla="*/ 5 w 900"/>
                <a:gd name="T49" fmla="*/ 754 h 900"/>
                <a:gd name="T50" fmla="*/ 1 w 900"/>
                <a:gd name="T51" fmla="*/ 777 h 900"/>
                <a:gd name="T52" fmla="*/ 0 w 900"/>
                <a:gd name="T53" fmla="*/ 788 h 900"/>
                <a:gd name="T54" fmla="*/ 2 w 900"/>
                <a:gd name="T55" fmla="*/ 811 h 900"/>
                <a:gd name="T56" fmla="*/ 9 w 900"/>
                <a:gd name="T57" fmla="*/ 832 h 900"/>
                <a:gd name="T58" fmla="*/ 19 w 900"/>
                <a:gd name="T59" fmla="*/ 851 h 900"/>
                <a:gd name="T60" fmla="*/ 33 w 900"/>
                <a:gd name="T61" fmla="*/ 868 h 900"/>
                <a:gd name="T62" fmla="*/ 50 w 900"/>
                <a:gd name="T63" fmla="*/ 881 h 900"/>
                <a:gd name="T64" fmla="*/ 68 w 900"/>
                <a:gd name="T65" fmla="*/ 892 h 900"/>
                <a:gd name="T66" fmla="*/ 90 w 900"/>
                <a:gd name="T67" fmla="*/ 898 h 900"/>
                <a:gd name="T68" fmla="*/ 112 w 900"/>
                <a:gd name="T69" fmla="*/ 900 h 900"/>
                <a:gd name="T70" fmla="*/ 124 w 900"/>
                <a:gd name="T71" fmla="*/ 900 h 900"/>
                <a:gd name="T72" fmla="*/ 147 w 900"/>
                <a:gd name="T73" fmla="*/ 896 h 900"/>
                <a:gd name="T74" fmla="*/ 166 w 900"/>
                <a:gd name="T75" fmla="*/ 887 h 900"/>
                <a:gd name="T76" fmla="*/ 184 w 900"/>
                <a:gd name="T77" fmla="*/ 875 h 900"/>
                <a:gd name="T78" fmla="*/ 199 w 900"/>
                <a:gd name="T79" fmla="*/ 860 h 900"/>
                <a:gd name="T80" fmla="*/ 212 w 900"/>
                <a:gd name="T81" fmla="*/ 841 h 900"/>
                <a:gd name="T82" fmla="*/ 221 w 900"/>
                <a:gd name="T83" fmla="*/ 822 h 900"/>
                <a:gd name="T84" fmla="*/ 225 w 900"/>
                <a:gd name="T85" fmla="*/ 800 h 900"/>
                <a:gd name="T86" fmla="*/ 225 w 900"/>
                <a:gd name="T87" fmla="*/ 788 h 900"/>
                <a:gd name="T88" fmla="*/ 224 w 900"/>
                <a:gd name="T89" fmla="*/ 772 h 900"/>
                <a:gd name="T90" fmla="*/ 214 w 900"/>
                <a:gd name="T91" fmla="*/ 741 h 900"/>
                <a:gd name="T92" fmla="*/ 614 w 900"/>
                <a:gd name="T93" fmla="*/ 318 h 900"/>
                <a:gd name="T94" fmla="*/ 736 w 900"/>
                <a:gd name="T95" fmla="*/ 359 h 900"/>
                <a:gd name="T96" fmla="*/ 743 w 900"/>
                <a:gd name="T97" fmla="*/ 360 h 900"/>
                <a:gd name="T98" fmla="*/ 751 w 900"/>
                <a:gd name="T99" fmla="*/ 359 h 900"/>
                <a:gd name="T100" fmla="*/ 759 w 900"/>
                <a:gd name="T101" fmla="*/ 354 h 900"/>
                <a:gd name="T102" fmla="*/ 894 w 900"/>
                <a:gd name="T103" fmla="*/ 218 h 900"/>
                <a:gd name="T104" fmla="*/ 900 w 900"/>
                <a:gd name="T105" fmla="*/ 209 h 900"/>
                <a:gd name="T106" fmla="*/ 900 w 900"/>
                <a:gd name="T107" fmla="*/ 198 h 900"/>
                <a:gd name="T108" fmla="*/ 898 w 900"/>
                <a:gd name="T109" fmla="*/ 193 h 900"/>
                <a:gd name="T110" fmla="*/ 891 w 900"/>
                <a:gd name="T111" fmla="*/ 184 h 900"/>
                <a:gd name="T112" fmla="*/ 784 w 900"/>
                <a:gd name="T113" fmla="*/ 148 h 900"/>
                <a:gd name="T114" fmla="*/ 849 w 900"/>
                <a:gd name="T115" fmla="*/ 83 h 900"/>
                <a:gd name="T116" fmla="*/ 854 w 900"/>
                <a:gd name="T117" fmla="*/ 76 h 900"/>
                <a:gd name="T118" fmla="*/ 855 w 900"/>
                <a:gd name="T119" fmla="*/ 67 h 900"/>
                <a:gd name="T120" fmla="*/ 854 w 900"/>
                <a:gd name="T121" fmla="*/ 59 h 900"/>
                <a:gd name="T122" fmla="*/ 849 w 900"/>
                <a:gd name="T123" fmla="*/ 52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0" h="900">
                  <a:moveTo>
                    <a:pt x="849" y="52"/>
                  </a:moveTo>
                  <a:lnTo>
                    <a:pt x="849" y="52"/>
                  </a:lnTo>
                  <a:lnTo>
                    <a:pt x="846" y="49"/>
                  </a:lnTo>
                  <a:lnTo>
                    <a:pt x="841" y="47"/>
                  </a:lnTo>
                  <a:lnTo>
                    <a:pt x="837" y="46"/>
                  </a:lnTo>
                  <a:lnTo>
                    <a:pt x="833" y="45"/>
                  </a:lnTo>
                  <a:lnTo>
                    <a:pt x="828" y="46"/>
                  </a:lnTo>
                  <a:lnTo>
                    <a:pt x="824" y="47"/>
                  </a:lnTo>
                  <a:lnTo>
                    <a:pt x="821" y="49"/>
                  </a:lnTo>
                  <a:lnTo>
                    <a:pt x="818" y="52"/>
                  </a:lnTo>
                  <a:lnTo>
                    <a:pt x="753" y="115"/>
                  </a:lnTo>
                  <a:lnTo>
                    <a:pt x="719" y="16"/>
                  </a:lnTo>
                  <a:lnTo>
                    <a:pt x="719" y="16"/>
                  </a:lnTo>
                  <a:lnTo>
                    <a:pt x="717" y="10"/>
                  </a:lnTo>
                  <a:lnTo>
                    <a:pt x="714" y="6"/>
                  </a:lnTo>
                  <a:lnTo>
                    <a:pt x="708" y="3"/>
                  </a:lnTo>
                  <a:lnTo>
                    <a:pt x="703" y="1"/>
                  </a:lnTo>
                  <a:lnTo>
                    <a:pt x="703" y="1"/>
                  </a:lnTo>
                  <a:lnTo>
                    <a:pt x="698" y="0"/>
                  </a:lnTo>
                  <a:lnTo>
                    <a:pt x="692" y="1"/>
                  </a:lnTo>
                  <a:lnTo>
                    <a:pt x="687" y="3"/>
                  </a:lnTo>
                  <a:lnTo>
                    <a:pt x="683" y="7"/>
                  </a:lnTo>
                  <a:lnTo>
                    <a:pt x="548" y="142"/>
                  </a:lnTo>
                  <a:lnTo>
                    <a:pt x="548" y="142"/>
                  </a:lnTo>
                  <a:lnTo>
                    <a:pt x="543" y="147"/>
                  </a:lnTo>
                  <a:lnTo>
                    <a:pt x="541" y="153"/>
                  </a:lnTo>
                  <a:lnTo>
                    <a:pt x="540" y="158"/>
                  </a:lnTo>
                  <a:lnTo>
                    <a:pt x="541" y="165"/>
                  </a:lnTo>
                  <a:lnTo>
                    <a:pt x="582" y="287"/>
                  </a:lnTo>
                  <a:lnTo>
                    <a:pt x="174" y="694"/>
                  </a:lnTo>
                  <a:lnTo>
                    <a:pt x="174" y="694"/>
                  </a:lnTo>
                  <a:lnTo>
                    <a:pt x="160" y="686"/>
                  </a:lnTo>
                  <a:lnTo>
                    <a:pt x="145" y="681"/>
                  </a:lnTo>
                  <a:lnTo>
                    <a:pt x="129" y="677"/>
                  </a:lnTo>
                  <a:lnTo>
                    <a:pt x="121" y="676"/>
                  </a:lnTo>
                  <a:lnTo>
                    <a:pt x="112" y="675"/>
                  </a:lnTo>
                  <a:lnTo>
                    <a:pt x="112" y="675"/>
                  </a:lnTo>
                  <a:lnTo>
                    <a:pt x="102" y="676"/>
                  </a:lnTo>
                  <a:lnTo>
                    <a:pt x="90" y="677"/>
                  </a:lnTo>
                  <a:lnTo>
                    <a:pt x="79" y="681"/>
                  </a:lnTo>
                  <a:lnTo>
                    <a:pt x="68" y="685"/>
                  </a:lnTo>
                  <a:lnTo>
                    <a:pt x="59" y="689"/>
                  </a:lnTo>
                  <a:lnTo>
                    <a:pt x="50" y="694"/>
                  </a:lnTo>
                  <a:lnTo>
                    <a:pt x="41" y="701"/>
                  </a:lnTo>
                  <a:lnTo>
                    <a:pt x="33" y="708"/>
                  </a:lnTo>
                  <a:lnTo>
                    <a:pt x="25" y="717"/>
                  </a:lnTo>
                  <a:lnTo>
                    <a:pt x="19" y="726"/>
                  </a:lnTo>
                  <a:lnTo>
                    <a:pt x="14" y="734"/>
                  </a:lnTo>
                  <a:lnTo>
                    <a:pt x="9" y="744"/>
                  </a:lnTo>
                  <a:lnTo>
                    <a:pt x="5" y="754"/>
                  </a:lnTo>
                  <a:lnTo>
                    <a:pt x="2" y="765"/>
                  </a:lnTo>
                  <a:lnTo>
                    <a:pt x="1" y="777"/>
                  </a:lnTo>
                  <a:lnTo>
                    <a:pt x="0" y="788"/>
                  </a:lnTo>
                  <a:lnTo>
                    <a:pt x="0" y="788"/>
                  </a:lnTo>
                  <a:lnTo>
                    <a:pt x="1" y="800"/>
                  </a:lnTo>
                  <a:lnTo>
                    <a:pt x="2" y="811"/>
                  </a:lnTo>
                  <a:lnTo>
                    <a:pt x="5" y="822"/>
                  </a:lnTo>
                  <a:lnTo>
                    <a:pt x="9" y="832"/>
                  </a:lnTo>
                  <a:lnTo>
                    <a:pt x="14" y="841"/>
                  </a:lnTo>
                  <a:lnTo>
                    <a:pt x="19" y="851"/>
                  </a:lnTo>
                  <a:lnTo>
                    <a:pt x="25" y="860"/>
                  </a:lnTo>
                  <a:lnTo>
                    <a:pt x="33" y="868"/>
                  </a:lnTo>
                  <a:lnTo>
                    <a:pt x="41" y="875"/>
                  </a:lnTo>
                  <a:lnTo>
                    <a:pt x="50" y="881"/>
                  </a:lnTo>
                  <a:lnTo>
                    <a:pt x="59" y="887"/>
                  </a:lnTo>
                  <a:lnTo>
                    <a:pt x="68" y="892"/>
                  </a:lnTo>
                  <a:lnTo>
                    <a:pt x="79" y="896"/>
                  </a:lnTo>
                  <a:lnTo>
                    <a:pt x="90" y="898"/>
                  </a:lnTo>
                  <a:lnTo>
                    <a:pt x="102" y="900"/>
                  </a:lnTo>
                  <a:lnTo>
                    <a:pt x="112" y="900"/>
                  </a:lnTo>
                  <a:lnTo>
                    <a:pt x="112" y="900"/>
                  </a:lnTo>
                  <a:lnTo>
                    <a:pt x="124" y="900"/>
                  </a:lnTo>
                  <a:lnTo>
                    <a:pt x="136" y="898"/>
                  </a:lnTo>
                  <a:lnTo>
                    <a:pt x="147" y="896"/>
                  </a:lnTo>
                  <a:lnTo>
                    <a:pt x="156" y="892"/>
                  </a:lnTo>
                  <a:lnTo>
                    <a:pt x="166" y="887"/>
                  </a:lnTo>
                  <a:lnTo>
                    <a:pt x="176" y="881"/>
                  </a:lnTo>
                  <a:lnTo>
                    <a:pt x="184" y="875"/>
                  </a:lnTo>
                  <a:lnTo>
                    <a:pt x="193" y="868"/>
                  </a:lnTo>
                  <a:lnTo>
                    <a:pt x="199" y="860"/>
                  </a:lnTo>
                  <a:lnTo>
                    <a:pt x="206" y="851"/>
                  </a:lnTo>
                  <a:lnTo>
                    <a:pt x="212" y="841"/>
                  </a:lnTo>
                  <a:lnTo>
                    <a:pt x="216" y="832"/>
                  </a:lnTo>
                  <a:lnTo>
                    <a:pt x="221" y="822"/>
                  </a:lnTo>
                  <a:lnTo>
                    <a:pt x="223" y="811"/>
                  </a:lnTo>
                  <a:lnTo>
                    <a:pt x="225" y="800"/>
                  </a:lnTo>
                  <a:lnTo>
                    <a:pt x="225" y="788"/>
                  </a:lnTo>
                  <a:lnTo>
                    <a:pt x="225" y="788"/>
                  </a:lnTo>
                  <a:lnTo>
                    <a:pt x="225" y="779"/>
                  </a:lnTo>
                  <a:lnTo>
                    <a:pt x="224" y="772"/>
                  </a:lnTo>
                  <a:lnTo>
                    <a:pt x="221" y="756"/>
                  </a:lnTo>
                  <a:lnTo>
                    <a:pt x="214" y="741"/>
                  </a:lnTo>
                  <a:lnTo>
                    <a:pt x="207" y="727"/>
                  </a:lnTo>
                  <a:lnTo>
                    <a:pt x="614" y="318"/>
                  </a:lnTo>
                  <a:lnTo>
                    <a:pt x="736" y="359"/>
                  </a:lnTo>
                  <a:lnTo>
                    <a:pt x="736" y="359"/>
                  </a:lnTo>
                  <a:lnTo>
                    <a:pt x="743" y="360"/>
                  </a:lnTo>
                  <a:lnTo>
                    <a:pt x="743" y="360"/>
                  </a:lnTo>
                  <a:lnTo>
                    <a:pt x="747" y="360"/>
                  </a:lnTo>
                  <a:lnTo>
                    <a:pt x="751" y="359"/>
                  </a:lnTo>
                  <a:lnTo>
                    <a:pt x="756" y="357"/>
                  </a:lnTo>
                  <a:lnTo>
                    <a:pt x="759" y="354"/>
                  </a:lnTo>
                  <a:lnTo>
                    <a:pt x="894" y="218"/>
                  </a:lnTo>
                  <a:lnTo>
                    <a:pt x="894" y="218"/>
                  </a:lnTo>
                  <a:lnTo>
                    <a:pt x="897" y="214"/>
                  </a:lnTo>
                  <a:lnTo>
                    <a:pt x="900" y="209"/>
                  </a:lnTo>
                  <a:lnTo>
                    <a:pt x="900" y="203"/>
                  </a:lnTo>
                  <a:lnTo>
                    <a:pt x="900" y="198"/>
                  </a:lnTo>
                  <a:lnTo>
                    <a:pt x="900" y="198"/>
                  </a:lnTo>
                  <a:lnTo>
                    <a:pt x="898" y="193"/>
                  </a:lnTo>
                  <a:lnTo>
                    <a:pt x="895" y="187"/>
                  </a:lnTo>
                  <a:lnTo>
                    <a:pt x="891" y="184"/>
                  </a:lnTo>
                  <a:lnTo>
                    <a:pt x="885" y="181"/>
                  </a:lnTo>
                  <a:lnTo>
                    <a:pt x="784" y="148"/>
                  </a:lnTo>
                  <a:lnTo>
                    <a:pt x="849" y="83"/>
                  </a:lnTo>
                  <a:lnTo>
                    <a:pt x="849" y="83"/>
                  </a:lnTo>
                  <a:lnTo>
                    <a:pt x="852" y="80"/>
                  </a:lnTo>
                  <a:lnTo>
                    <a:pt x="854" y="76"/>
                  </a:lnTo>
                  <a:lnTo>
                    <a:pt x="855" y="72"/>
                  </a:lnTo>
                  <a:lnTo>
                    <a:pt x="855" y="67"/>
                  </a:lnTo>
                  <a:lnTo>
                    <a:pt x="855" y="63"/>
                  </a:lnTo>
                  <a:lnTo>
                    <a:pt x="854" y="59"/>
                  </a:lnTo>
                  <a:lnTo>
                    <a:pt x="852" y="55"/>
                  </a:lnTo>
                  <a:lnTo>
                    <a:pt x="849" y="52"/>
                  </a:lnTo>
                  <a:lnTo>
                    <a:pt x="849" y="5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55" name="Group 54">
            <a:extLst>
              <a:ext uri="{FF2B5EF4-FFF2-40B4-BE49-F238E27FC236}">
                <a16:creationId xmlns:a16="http://schemas.microsoft.com/office/drawing/2014/main" id="{8C9165D7-6943-4118-B365-665FEC6267D0}"/>
              </a:ext>
            </a:extLst>
          </p:cNvPr>
          <p:cNvGrpSpPr>
            <a:grpSpLocks noChangeAspect="1"/>
          </p:cNvGrpSpPr>
          <p:nvPr/>
        </p:nvGrpSpPr>
        <p:grpSpPr>
          <a:xfrm>
            <a:off x="8261771" y="5723675"/>
            <a:ext cx="281376" cy="271520"/>
            <a:chOff x="8970963" y="1027113"/>
            <a:chExt cx="498475" cy="481013"/>
          </a:xfrm>
          <a:solidFill>
            <a:schemeClr val="bg1"/>
          </a:solidFill>
        </p:grpSpPr>
        <p:sp>
          <p:nvSpPr>
            <p:cNvPr id="56" name="Freeform 172">
              <a:extLst>
                <a:ext uri="{FF2B5EF4-FFF2-40B4-BE49-F238E27FC236}">
                  <a16:creationId xmlns:a16="http://schemas.microsoft.com/office/drawing/2014/main" id="{62F39245-1DBA-4F00-9786-D926679A3CA1}"/>
                </a:ext>
              </a:extLst>
            </p:cNvPr>
            <p:cNvSpPr>
              <a:spLocks/>
            </p:cNvSpPr>
            <p:nvPr/>
          </p:nvSpPr>
          <p:spPr bwMode="auto">
            <a:xfrm>
              <a:off x="8970963" y="1158876"/>
              <a:ext cx="47625" cy="136525"/>
            </a:xfrm>
            <a:custGeom>
              <a:avLst/>
              <a:gdLst>
                <a:gd name="T0" fmla="*/ 123 w 123"/>
                <a:gd name="T1" fmla="*/ 0 h 344"/>
                <a:gd name="T2" fmla="*/ 123 w 123"/>
                <a:gd name="T3" fmla="*/ 0 h 344"/>
                <a:gd name="T4" fmla="*/ 109 w 123"/>
                <a:gd name="T5" fmla="*/ 5 h 344"/>
                <a:gd name="T6" fmla="*/ 97 w 123"/>
                <a:gd name="T7" fmla="*/ 11 h 344"/>
                <a:gd name="T8" fmla="*/ 85 w 123"/>
                <a:gd name="T9" fmla="*/ 18 h 344"/>
                <a:gd name="T10" fmla="*/ 73 w 123"/>
                <a:gd name="T11" fmla="*/ 26 h 344"/>
                <a:gd name="T12" fmla="*/ 63 w 123"/>
                <a:gd name="T13" fmla="*/ 35 h 344"/>
                <a:gd name="T14" fmla="*/ 53 w 123"/>
                <a:gd name="T15" fmla="*/ 45 h 344"/>
                <a:gd name="T16" fmla="*/ 43 w 123"/>
                <a:gd name="T17" fmla="*/ 54 h 344"/>
                <a:gd name="T18" fmla="*/ 35 w 123"/>
                <a:gd name="T19" fmla="*/ 66 h 344"/>
                <a:gd name="T20" fmla="*/ 27 w 123"/>
                <a:gd name="T21" fmla="*/ 77 h 344"/>
                <a:gd name="T22" fmla="*/ 21 w 123"/>
                <a:gd name="T23" fmla="*/ 90 h 344"/>
                <a:gd name="T24" fmla="*/ 14 w 123"/>
                <a:gd name="T25" fmla="*/ 102 h 344"/>
                <a:gd name="T26" fmla="*/ 10 w 123"/>
                <a:gd name="T27" fmla="*/ 115 h 344"/>
                <a:gd name="T28" fmla="*/ 6 w 123"/>
                <a:gd name="T29" fmla="*/ 129 h 344"/>
                <a:gd name="T30" fmla="*/ 3 w 123"/>
                <a:gd name="T31" fmla="*/ 143 h 344"/>
                <a:gd name="T32" fmla="*/ 1 w 123"/>
                <a:gd name="T33" fmla="*/ 157 h 344"/>
                <a:gd name="T34" fmla="*/ 0 w 123"/>
                <a:gd name="T35" fmla="*/ 172 h 344"/>
                <a:gd name="T36" fmla="*/ 0 w 123"/>
                <a:gd name="T37" fmla="*/ 172 h 344"/>
                <a:gd name="T38" fmla="*/ 1 w 123"/>
                <a:gd name="T39" fmla="*/ 187 h 344"/>
                <a:gd name="T40" fmla="*/ 3 w 123"/>
                <a:gd name="T41" fmla="*/ 201 h 344"/>
                <a:gd name="T42" fmla="*/ 6 w 123"/>
                <a:gd name="T43" fmla="*/ 215 h 344"/>
                <a:gd name="T44" fmla="*/ 10 w 123"/>
                <a:gd name="T45" fmla="*/ 229 h 344"/>
                <a:gd name="T46" fmla="*/ 14 w 123"/>
                <a:gd name="T47" fmla="*/ 242 h 344"/>
                <a:gd name="T48" fmla="*/ 21 w 123"/>
                <a:gd name="T49" fmla="*/ 255 h 344"/>
                <a:gd name="T50" fmla="*/ 27 w 123"/>
                <a:gd name="T51" fmla="*/ 267 h 344"/>
                <a:gd name="T52" fmla="*/ 35 w 123"/>
                <a:gd name="T53" fmla="*/ 278 h 344"/>
                <a:gd name="T54" fmla="*/ 43 w 123"/>
                <a:gd name="T55" fmla="*/ 289 h 344"/>
                <a:gd name="T56" fmla="*/ 53 w 123"/>
                <a:gd name="T57" fmla="*/ 299 h 344"/>
                <a:gd name="T58" fmla="*/ 63 w 123"/>
                <a:gd name="T59" fmla="*/ 308 h 344"/>
                <a:gd name="T60" fmla="*/ 73 w 123"/>
                <a:gd name="T61" fmla="*/ 317 h 344"/>
                <a:gd name="T62" fmla="*/ 85 w 123"/>
                <a:gd name="T63" fmla="*/ 326 h 344"/>
                <a:gd name="T64" fmla="*/ 97 w 123"/>
                <a:gd name="T65" fmla="*/ 332 h 344"/>
                <a:gd name="T66" fmla="*/ 109 w 123"/>
                <a:gd name="T67" fmla="*/ 338 h 344"/>
                <a:gd name="T68" fmla="*/ 123 w 123"/>
                <a:gd name="T69" fmla="*/ 344 h 344"/>
                <a:gd name="T70" fmla="*/ 123 w 123"/>
                <a:gd name="T71" fmla="*/ 0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3" h="344">
                  <a:moveTo>
                    <a:pt x="123" y="0"/>
                  </a:moveTo>
                  <a:lnTo>
                    <a:pt x="123" y="0"/>
                  </a:lnTo>
                  <a:lnTo>
                    <a:pt x="109" y="5"/>
                  </a:lnTo>
                  <a:lnTo>
                    <a:pt x="97" y="11"/>
                  </a:lnTo>
                  <a:lnTo>
                    <a:pt x="85" y="18"/>
                  </a:lnTo>
                  <a:lnTo>
                    <a:pt x="73" y="26"/>
                  </a:lnTo>
                  <a:lnTo>
                    <a:pt x="63" y="35"/>
                  </a:lnTo>
                  <a:lnTo>
                    <a:pt x="53" y="45"/>
                  </a:lnTo>
                  <a:lnTo>
                    <a:pt x="43" y="54"/>
                  </a:lnTo>
                  <a:lnTo>
                    <a:pt x="35" y="66"/>
                  </a:lnTo>
                  <a:lnTo>
                    <a:pt x="27" y="77"/>
                  </a:lnTo>
                  <a:lnTo>
                    <a:pt x="21" y="90"/>
                  </a:lnTo>
                  <a:lnTo>
                    <a:pt x="14" y="102"/>
                  </a:lnTo>
                  <a:lnTo>
                    <a:pt x="10" y="115"/>
                  </a:lnTo>
                  <a:lnTo>
                    <a:pt x="6" y="129"/>
                  </a:lnTo>
                  <a:lnTo>
                    <a:pt x="3" y="143"/>
                  </a:lnTo>
                  <a:lnTo>
                    <a:pt x="1" y="157"/>
                  </a:lnTo>
                  <a:lnTo>
                    <a:pt x="0" y="172"/>
                  </a:lnTo>
                  <a:lnTo>
                    <a:pt x="0" y="172"/>
                  </a:lnTo>
                  <a:lnTo>
                    <a:pt x="1" y="187"/>
                  </a:lnTo>
                  <a:lnTo>
                    <a:pt x="3" y="201"/>
                  </a:lnTo>
                  <a:lnTo>
                    <a:pt x="6" y="215"/>
                  </a:lnTo>
                  <a:lnTo>
                    <a:pt x="10" y="229"/>
                  </a:lnTo>
                  <a:lnTo>
                    <a:pt x="14" y="242"/>
                  </a:lnTo>
                  <a:lnTo>
                    <a:pt x="21" y="255"/>
                  </a:lnTo>
                  <a:lnTo>
                    <a:pt x="27" y="267"/>
                  </a:lnTo>
                  <a:lnTo>
                    <a:pt x="35" y="278"/>
                  </a:lnTo>
                  <a:lnTo>
                    <a:pt x="43" y="289"/>
                  </a:lnTo>
                  <a:lnTo>
                    <a:pt x="53" y="299"/>
                  </a:lnTo>
                  <a:lnTo>
                    <a:pt x="63" y="308"/>
                  </a:lnTo>
                  <a:lnTo>
                    <a:pt x="73" y="317"/>
                  </a:lnTo>
                  <a:lnTo>
                    <a:pt x="85" y="326"/>
                  </a:lnTo>
                  <a:lnTo>
                    <a:pt x="97" y="332"/>
                  </a:lnTo>
                  <a:lnTo>
                    <a:pt x="109" y="338"/>
                  </a:lnTo>
                  <a:lnTo>
                    <a:pt x="123" y="344"/>
                  </a:lnTo>
                  <a:lnTo>
                    <a:pt x="12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57" name="Freeform 173">
              <a:extLst>
                <a:ext uri="{FF2B5EF4-FFF2-40B4-BE49-F238E27FC236}">
                  <a16:creationId xmlns:a16="http://schemas.microsoft.com/office/drawing/2014/main" id="{78661EFF-2520-40B3-9D36-CDC2DFB6B14C}"/>
                </a:ext>
              </a:extLst>
            </p:cNvPr>
            <p:cNvSpPr>
              <a:spLocks/>
            </p:cNvSpPr>
            <p:nvPr/>
          </p:nvSpPr>
          <p:spPr bwMode="auto">
            <a:xfrm>
              <a:off x="9080500" y="1347788"/>
              <a:ext cx="177800" cy="160338"/>
            </a:xfrm>
            <a:custGeom>
              <a:avLst/>
              <a:gdLst>
                <a:gd name="T0" fmla="*/ 294 w 449"/>
                <a:gd name="T1" fmla="*/ 0 h 403"/>
                <a:gd name="T2" fmla="*/ 0 w 449"/>
                <a:gd name="T3" fmla="*/ 0 h 403"/>
                <a:gd name="T4" fmla="*/ 215 w 449"/>
                <a:gd name="T5" fmla="*/ 344 h 403"/>
                <a:gd name="T6" fmla="*/ 215 w 449"/>
                <a:gd name="T7" fmla="*/ 344 h 403"/>
                <a:gd name="T8" fmla="*/ 222 w 449"/>
                <a:gd name="T9" fmla="*/ 355 h 403"/>
                <a:gd name="T10" fmla="*/ 231 w 449"/>
                <a:gd name="T11" fmla="*/ 364 h 403"/>
                <a:gd name="T12" fmla="*/ 239 w 449"/>
                <a:gd name="T13" fmla="*/ 374 h 403"/>
                <a:gd name="T14" fmla="*/ 249 w 449"/>
                <a:gd name="T15" fmla="*/ 382 h 403"/>
                <a:gd name="T16" fmla="*/ 260 w 449"/>
                <a:gd name="T17" fmla="*/ 388 h 403"/>
                <a:gd name="T18" fmla="*/ 271 w 449"/>
                <a:gd name="T19" fmla="*/ 393 h 403"/>
                <a:gd name="T20" fmla="*/ 283 w 449"/>
                <a:gd name="T21" fmla="*/ 398 h 403"/>
                <a:gd name="T22" fmla="*/ 296 w 449"/>
                <a:gd name="T23" fmla="*/ 401 h 403"/>
                <a:gd name="T24" fmla="*/ 296 w 449"/>
                <a:gd name="T25" fmla="*/ 401 h 403"/>
                <a:gd name="T26" fmla="*/ 302 w 449"/>
                <a:gd name="T27" fmla="*/ 402 h 403"/>
                <a:gd name="T28" fmla="*/ 309 w 449"/>
                <a:gd name="T29" fmla="*/ 403 h 403"/>
                <a:gd name="T30" fmla="*/ 322 w 449"/>
                <a:gd name="T31" fmla="*/ 403 h 403"/>
                <a:gd name="T32" fmla="*/ 322 w 449"/>
                <a:gd name="T33" fmla="*/ 403 h 403"/>
                <a:gd name="T34" fmla="*/ 331 w 449"/>
                <a:gd name="T35" fmla="*/ 402 h 403"/>
                <a:gd name="T36" fmla="*/ 340 w 449"/>
                <a:gd name="T37" fmla="*/ 401 h 403"/>
                <a:gd name="T38" fmla="*/ 350 w 449"/>
                <a:gd name="T39" fmla="*/ 400 h 403"/>
                <a:gd name="T40" fmla="*/ 358 w 449"/>
                <a:gd name="T41" fmla="*/ 397 h 403"/>
                <a:gd name="T42" fmla="*/ 375 w 449"/>
                <a:gd name="T43" fmla="*/ 390 h 403"/>
                <a:gd name="T44" fmla="*/ 393 w 449"/>
                <a:gd name="T45" fmla="*/ 380 h 403"/>
                <a:gd name="T46" fmla="*/ 393 w 449"/>
                <a:gd name="T47" fmla="*/ 380 h 403"/>
                <a:gd name="T48" fmla="*/ 403 w 449"/>
                <a:gd name="T49" fmla="*/ 373 h 403"/>
                <a:gd name="T50" fmla="*/ 413 w 449"/>
                <a:gd name="T51" fmla="*/ 364 h 403"/>
                <a:gd name="T52" fmla="*/ 422 w 449"/>
                <a:gd name="T53" fmla="*/ 356 h 403"/>
                <a:gd name="T54" fmla="*/ 429 w 449"/>
                <a:gd name="T55" fmla="*/ 345 h 403"/>
                <a:gd name="T56" fmla="*/ 435 w 449"/>
                <a:gd name="T57" fmla="*/ 334 h 403"/>
                <a:gd name="T58" fmla="*/ 441 w 449"/>
                <a:gd name="T59" fmla="*/ 324 h 403"/>
                <a:gd name="T60" fmla="*/ 444 w 449"/>
                <a:gd name="T61" fmla="*/ 312 h 403"/>
                <a:gd name="T62" fmla="*/ 447 w 449"/>
                <a:gd name="T63" fmla="*/ 299 h 403"/>
                <a:gd name="T64" fmla="*/ 447 w 449"/>
                <a:gd name="T65" fmla="*/ 299 h 403"/>
                <a:gd name="T66" fmla="*/ 449 w 449"/>
                <a:gd name="T67" fmla="*/ 287 h 403"/>
                <a:gd name="T68" fmla="*/ 449 w 449"/>
                <a:gd name="T69" fmla="*/ 274 h 403"/>
                <a:gd name="T70" fmla="*/ 449 w 449"/>
                <a:gd name="T71" fmla="*/ 261 h 403"/>
                <a:gd name="T72" fmla="*/ 447 w 449"/>
                <a:gd name="T73" fmla="*/ 250 h 403"/>
                <a:gd name="T74" fmla="*/ 445 w 449"/>
                <a:gd name="T75" fmla="*/ 238 h 403"/>
                <a:gd name="T76" fmla="*/ 441 w 449"/>
                <a:gd name="T77" fmla="*/ 225 h 403"/>
                <a:gd name="T78" fmla="*/ 435 w 449"/>
                <a:gd name="T79" fmla="*/ 214 h 403"/>
                <a:gd name="T80" fmla="*/ 429 w 449"/>
                <a:gd name="T81" fmla="*/ 202 h 403"/>
                <a:gd name="T82" fmla="*/ 294 w 449"/>
                <a:gd name="T83" fmla="*/ 0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49" h="403">
                  <a:moveTo>
                    <a:pt x="294" y="0"/>
                  </a:moveTo>
                  <a:lnTo>
                    <a:pt x="0" y="0"/>
                  </a:lnTo>
                  <a:lnTo>
                    <a:pt x="215" y="344"/>
                  </a:lnTo>
                  <a:lnTo>
                    <a:pt x="215" y="344"/>
                  </a:lnTo>
                  <a:lnTo>
                    <a:pt x="222" y="355"/>
                  </a:lnTo>
                  <a:lnTo>
                    <a:pt x="231" y="364"/>
                  </a:lnTo>
                  <a:lnTo>
                    <a:pt x="239" y="374"/>
                  </a:lnTo>
                  <a:lnTo>
                    <a:pt x="249" y="382"/>
                  </a:lnTo>
                  <a:lnTo>
                    <a:pt x="260" y="388"/>
                  </a:lnTo>
                  <a:lnTo>
                    <a:pt x="271" y="393"/>
                  </a:lnTo>
                  <a:lnTo>
                    <a:pt x="283" y="398"/>
                  </a:lnTo>
                  <a:lnTo>
                    <a:pt x="296" y="401"/>
                  </a:lnTo>
                  <a:lnTo>
                    <a:pt x="296" y="401"/>
                  </a:lnTo>
                  <a:lnTo>
                    <a:pt x="302" y="402"/>
                  </a:lnTo>
                  <a:lnTo>
                    <a:pt x="309" y="403"/>
                  </a:lnTo>
                  <a:lnTo>
                    <a:pt x="322" y="403"/>
                  </a:lnTo>
                  <a:lnTo>
                    <a:pt x="322" y="403"/>
                  </a:lnTo>
                  <a:lnTo>
                    <a:pt x="331" y="402"/>
                  </a:lnTo>
                  <a:lnTo>
                    <a:pt x="340" y="401"/>
                  </a:lnTo>
                  <a:lnTo>
                    <a:pt x="350" y="400"/>
                  </a:lnTo>
                  <a:lnTo>
                    <a:pt x="358" y="397"/>
                  </a:lnTo>
                  <a:lnTo>
                    <a:pt x="375" y="390"/>
                  </a:lnTo>
                  <a:lnTo>
                    <a:pt x="393" y="380"/>
                  </a:lnTo>
                  <a:lnTo>
                    <a:pt x="393" y="380"/>
                  </a:lnTo>
                  <a:lnTo>
                    <a:pt x="403" y="373"/>
                  </a:lnTo>
                  <a:lnTo>
                    <a:pt x="413" y="364"/>
                  </a:lnTo>
                  <a:lnTo>
                    <a:pt x="422" y="356"/>
                  </a:lnTo>
                  <a:lnTo>
                    <a:pt x="429" y="345"/>
                  </a:lnTo>
                  <a:lnTo>
                    <a:pt x="435" y="334"/>
                  </a:lnTo>
                  <a:lnTo>
                    <a:pt x="441" y="324"/>
                  </a:lnTo>
                  <a:lnTo>
                    <a:pt x="444" y="312"/>
                  </a:lnTo>
                  <a:lnTo>
                    <a:pt x="447" y="299"/>
                  </a:lnTo>
                  <a:lnTo>
                    <a:pt x="447" y="299"/>
                  </a:lnTo>
                  <a:lnTo>
                    <a:pt x="449" y="287"/>
                  </a:lnTo>
                  <a:lnTo>
                    <a:pt x="449" y="274"/>
                  </a:lnTo>
                  <a:lnTo>
                    <a:pt x="449" y="261"/>
                  </a:lnTo>
                  <a:lnTo>
                    <a:pt x="447" y="250"/>
                  </a:lnTo>
                  <a:lnTo>
                    <a:pt x="445" y="238"/>
                  </a:lnTo>
                  <a:lnTo>
                    <a:pt x="441" y="225"/>
                  </a:lnTo>
                  <a:lnTo>
                    <a:pt x="435" y="214"/>
                  </a:lnTo>
                  <a:lnTo>
                    <a:pt x="429" y="202"/>
                  </a:lnTo>
                  <a:lnTo>
                    <a:pt x="29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58" name="Freeform 174">
              <a:extLst>
                <a:ext uri="{FF2B5EF4-FFF2-40B4-BE49-F238E27FC236}">
                  <a16:creationId xmlns:a16="http://schemas.microsoft.com/office/drawing/2014/main" id="{071AF024-4D7F-4DF8-B19F-6E9509ECB776}"/>
                </a:ext>
              </a:extLst>
            </p:cNvPr>
            <p:cNvSpPr>
              <a:spLocks/>
            </p:cNvSpPr>
            <p:nvPr/>
          </p:nvSpPr>
          <p:spPr bwMode="auto">
            <a:xfrm>
              <a:off x="9034463" y="1027113"/>
              <a:ext cx="434975" cy="400050"/>
            </a:xfrm>
            <a:custGeom>
              <a:avLst/>
              <a:gdLst>
                <a:gd name="T0" fmla="*/ 1084 w 1094"/>
                <a:gd name="T1" fmla="*/ 3 h 1011"/>
                <a:gd name="T2" fmla="*/ 1084 w 1094"/>
                <a:gd name="T3" fmla="*/ 3 h 1011"/>
                <a:gd name="T4" fmla="*/ 1079 w 1094"/>
                <a:gd name="T5" fmla="*/ 1 h 1011"/>
                <a:gd name="T6" fmla="*/ 1075 w 1094"/>
                <a:gd name="T7" fmla="*/ 0 h 1011"/>
                <a:gd name="T8" fmla="*/ 1070 w 1094"/>
                <a:gd name="T9" fmla="*/ 0 h 1011"/>
                <a:gd name="T10" fmla="*/ 1063 w 1094"/>
                <a:gd name="T11" fmla="*/ 1 h 1011"/>
                <a:gd name="T12" fmla="*/ 543 w 1094"/>
                <a:gd name="T13" fmla="*/ 242 h 1011"/>
                <a:gd name="T14" fmla="*/ 21 w 1094"/>
                <a:gd name="T15" fmla="*/ 242 h 1011"/>
                <a:gd name="T16" fmla="*/ 21 w 1094"/>
                <a:gd name="T17" fmla="*/ 242 h 1011"/>
                <a:gd name="T18" fmla="*/ 16 w 1094"/>
                <a:gd name="T19" fmla="*/ 242 h 1011"/>
                <a:gd name="T20" fmla="*/ 12 w 1094"/>
                <a:gd name="T21" fmla="*/ 244 h 1011"/>
                <a:gd name="T22" fmla="*/ 9 w 1094"/>
                <a:gd name="T23" fmla="*/ 246 h 1011"/>
                <a:gd name="T24" fmla="*/ 7 w 1094"/>
                <a:gd name="T25" fmla="*/ 248 h 1011"/>
                <a:gd name="T26" fmla="*/ 4 w 1094"/>
                <a:gd name="T27" fmla="*/ 250 h 1011"/>
                <a:gd name="T28" fmla="*/ 2 w 1094"/>
                <a:gd name="T29" fmla="*/ 254 h 1011"/>
                <a:gd name="T30" fmla="*/ 1 w 1094"/>
                <a:gd name="T31" fmla="*/ 257 h 1011"/>
                <a:gd name="T32" fmla="*/ 0 w 1094"/>
                <a:gd name="T33" fmla="*/ 262 h 1011"/>
                <a:gd name="T34" fmla="*/ 0 w 1094"/>
                <a:gd name="T35" fmla="*/ 748 h 1011"/>
                <a:gd name="T36" fmla="*/ 0 w 1094"/>
                <a:gd name="T37" fmla="*/ 748 h 1011"/>
                <a:gd name="T38" fmla="*/ 1 w 1094"/>
                <a:gd name="T39" fmla="*/ 753 h 1011"/>
                <a:gd name="T40" fmla="*/ 2 w 1094"/>
                <a:gd name="T41" fmla="*/ 756 h 1011"/>
                <a:gd name="T42" fmla="*/ 4 w 1094"/>
                <a:gd name="T43" fmla="*/ 759 h 1011"/>
                <a:gd name="T44" fmla="*/ 7 w 1094"/>
                <a:gd name="T45" fmla="*/ 763 h 1011"/>
                <a:gd name="T46" fmla="*/ 9 w 1094"/>
                <a:gd name="T47" fmla="*/ 765 h 1011"/>
                <a:gd name="T48" fmla="*/ 12 w 1094"/>
                <a:gd name="T49" fmla="*/ 767 h 1011"/>
                <a:gd name="T50" fmla="*/ 16 w 1094"/>
                <a:gd name="T51" fmla="*/ 768 h 1011"/>
                <a:gd name="T52" fmla="*/ 21 w 1094"/>
                <a:gd name="T53" fmla="*/ 768 h 1011"/>
                <a:gd name="T54" fmla="*/ 543 w 1094"/>
                <a:gd name="T55" fmla="*/ 768 h 1011"/>
                <a:gd name="T56" fmla="*/ 1065 w 1094"/>
                <a:gd name="T57" fmla="*/ 1009 h 1011"/>
                <a:gd name="T58" fmla="*/ 1065 w 1094"/>
                <a:gd name="T59" fmla="*/ 1009 h 1011"/>
                <a:gd name="T60" fmla="*/ 1067 w 1094"/>
                <a:gd name="T61" fmla="*/ 1010 h 1011"/>
                <a:gd name="T62" fmla="*/ 1070 w 1094"/>
                <a:gd name="T63" fmla="*/ 1011 h 1011"/>
                <a:gd name="T64" fmla="*/ 1074 w 1094"/>
                <a:gd name="T65" fmla="*/ 1011 h 1011"/>
                <a:gd name="T66" fmla="*/ 1074 w 1094"/>
                <a:gd name="T67" fmla="*/ 1011 h 1011"/>
                <a:gd name="T68" fmla="*/ 1077 w 1094"/>
                <a:gd name="T69" fmla="*/ 1011 h 1011"/>
                <a:gd name="T70" fmla="*/ 1079 w 1094"/>
                <a:gd name="T71" fmla="*/ 1010 h 1011"/>
                <a:gd name="T72" fmla="*/ 1084 w 1094"/>
                <a:gd name="T73" fmla="*/ 1007 h 1011"/>
                <a:gd name="T74" fmla="*/ 1084 w 1094"/>
                <a:gd name="T75" fmla="*/ 1007 h 1011"/>
                <a:gd name="T76" fmla="*/ 1088 w 1094"/>
                <a:gd name="T77" fmla="*/ 1004 h 1011"/>
                <a:gd name="T78" fmla="*/ 1091 w 1094"/>
                <a:gd name="T79" fmla="*/ 1000 h 1011"/>
                <a:gd name="T80" fmla="*/ 1093 w 1094"/>
                <a:gd name="T81" fmla="*/ 995 h 1011"/>
                <a:gd name="T82" fmla="*/ 1094 w 1094"/>
                <a:gd name="T83" fmla="*/ 991 h 1011"/>
                <a:gd name="T84" fmla="*/ 1094 w 1094"/>
                <a:gd name="T85" fmla="*/ 19 h 1011"/>
                <a:gd name="T86" fmla="*/ 1094 w 1094"/>
                <a:gd name="T87" fmla="*/ 19 h 1011"/>
                <a:gd name="T88" fmla="*/ 1093 w 1094"/>
                <a:gd name="T89" fmla="*/ 14 h 1011"/>
                <a:gd name="T90" fmla="*/ 1091 w 1094"/>
                <a:gd name="T91" fmla="*/ 10 h 1011"/>
                <a:gd name="T92" fmla="*/ 1088 w 1094"/>
                <a:gd name="T93" fmla="*/ 5 h 1011"/>
                <a:gd name="T94" fmla="*/ 1084 w 1094"/>
                <a:gd name="T95" fmla="*/ 3 h 1011"/>
                <a:gd name="T96" fmla="*/ 1084 w 1094"/>
                <a:gd name="T97" fmla="*/ 3 h 1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94" h="1011">
                  <a:moveTo>
                    <a:pt x="1084" y="3"/>
                  </a:moveTo>
                  <a:lnTo>
                    <a:pt x="1084" y="3"/>
                  </a:lnTo>
                  <a:lnTo>
                    <a:pt x="1079" y="1"/>
                  </a:lnTo>
                  <a:lnTo>
                    <a:pt x="1075" y="0"/>
                  </a:lnTo>
                  <a:lnTo>
                    <a:pt x="1070" y="0"/>
                  </a:lnTo>
                  <a:lnTo>
                    <a:pt x="1063" y="1"/>
                  </a:lnTo>
                  <a:lnTo>
                    <a:pt x="543" y="242"/>
                  </a:lnTo>
                  <a:lnTo>
                    <a:pt x="21" y="242"/>
                  </a:lnTo>
                  <a:lnTo>
                    <a:pt x="21" y="242"/>
                  </a:lnTo>
                  <a:lnTo>
                    <a:pt x="16" y="242"/>
                  </a:lnTo>
                  <a:lnTo>
                    <a:pt x="12" y="244"/>
                  </a:lnTo>
                  <a:lnTo>
                    <a:pt x="9" y="246"/>
                  </a:lnTo>
                  <a:lnTo>
                    <a:pt x="7" y="248"/>
                  </a:lnTo>
                  <a:lnTo>
                    <a:pt x="4" y="250"/>
                  </a:lnTo>
                  <a:lnTo>
                    <a:pt x="2" y="254"/>
                  </a:lnTo>
                  <a:lnTo>
                    <a:pt x="1" y="257"/>
                  </a:lnTo>
                  <a:lnTo>
                    <a:pt x="0" y="262"/>
                  </a:lnTo>
                  <a:lnTo>
                    <a:pt x="0" y="748"/>
                  </a:lnTo>
                  <a:lnTo>
                    <a:pt x="0" y="748"/>
                  </a:lnTo>
                  <a:lnTo>
                    <a:pt x="1" y="753"/>
                  </a:lnTo>
                  <a:lnTo>
                    <a:pt x="2" y="756"/>
                  </a:lnTo>
                  <a:lnTo>
                    <a:pt x="4" y="759"/>
                  </a:lnTo>
                  <a:lnTo>
                    <a:pt x="7" y="763"/>
                  </a:lnTo>
                  <a:lnTo>
                    <a:pt x="9" y="765"/>
                  </a:lnTo>
                  <a:lnTo>
                    <a:pt x="12" y="767"/>
                  </a:lnTo>
                  <a:lnTo>
                    <a:pt x="16" y="768"/>
                  </a:lnTo>
                  <a:lnTo>
                    <a:pt x="21" y="768"/>
                  </a:lnTo>
                  <a:lnTo>
                    <a:pt x="543" y="768"/>
                  </a:lnTo>
                  <a:lnTo>
                    <a:pt x="1065" y="1009"/>
                  </a:lnTo>
                  <a:lnTo>
                    <a:pt x="1065" y="1009"/>
                  </a:lnTo>
                  <a:lnTo>
                    <a:pt x="1067" y="1010"/>
                  </a:lnTo>
                  <a:lnTo>
                    <a:pt x="1070" y="1011"/>
                  </a:lnTo>
                  <a:lnTo>
                    <a:pt x="1074" y="1011"/>
                  </a:lnTo>
                  <a:lnTo>
                    <a:pt x="1074" y="1011"/>
                  </a:lnTo>
                  <a:lnTo>
                    <a:pt x="1077" y="1011"/>
                  </a:lnTo>
                  <a:lnTo>
                    <a:pt x="1079" y="1010"/>
                  </a:lnTo>
                  <a:lnTo>
                    <a:pt x="1084" y="1007"/>
                  </a:lnTo>
                  <a:lnTo>
                    <a:pt x="1084" y="1007"/>
                  </a:lnTo>
                  <a:lnTo>
                    <a:pt x="1088" y="1004"/>
                  </a:lnTo>
                  <a:lnTo>
                    <a:pt x="1091" y="1000"/>
                  </a:lnTo>
                  <a:lnTo>
                    <a:pt x="1093" y="995"/>
                  </a:lnTo>
                  <a:lnTo>
                    <a:pt x="1094" y="991"/>
                  </a:lnTo>
                  <a:lnTo>
                    <a:pt x="1094" y="19"/>
                  </a:lnTo>
                  <a:lnTo>
                    <a:pt x="1094" y="19"/>
                  </a:lnTo>
                  <a:lnTo>
                    <a:pt x="1093" y="14"/>
                  </a:lnTo>
                  <a:lnTo>
                    <a:pt x="1091" y="10"/>
                  </a:lnTo>
                  <a:lnTo>
                    <a:pt x="1088" y="5"/>
                  </a:lnTo>
                  <a:lnTo>
                    <a:pt x="1084" y="3"/>
                  </a:lnTo>
                  <a:lnTo>
                    <a:pt x="1084" y="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59" name="Group 58">
            <a:extLst>
              <a:ext uri="{FF2B5EF4-FFF2-40B4-BE49-F238E27FC236}">
                <a16:creationId xmlns:a16="http://schemas.microsoft.com/office/drawing/2014/main" id="{923C13F7-EF99-466B-A846-B60B5A33C60E}"/>
              </a:ext>
            </a:extLst>
          </p:cNvPr>
          <p:cNvGrpSpPr>
            <a:grpSpLocks noChangeAspect="1"/>
          </p:cNvGrpSpPr>
          <p:nvPr/>
        </p:nvGrpSpPr>
        <p:grpSpPr>
          <a:xfrm>
            <a:off x="8302096" y="4413148"/>
            <a:ext cx="200727" cy="297505"/>
            <a:chOff x="4633913" y="1090613"/>
            <a:chExt cx="355600" cy="527050"/>
          </a:xfrm>
          <a:solidFill>
            <a:schemeClr val="bg1"/>
          </a:solidFill>
        </p:grpSpPr>
        <p:sp>
          <p:nvSpPr>
            <p:cNvPr id="60" name="Freeform 96">
              <a:extLst>
                <a:ext uri="{FF2B5EF4-FFF2-40B4-BE49-F238E27FC236}">
                  <a16:creationId xmlns:a16="http://schemas.microsoft.com/office/drawing/2014/main" id="{61201E11-14EB-4267-9352-D35942303C9F}"/>
                </a:ext>
              </a:extLst>
            </p:cNvPr>
            <p:cNvSpPr>
              <a:spLocks noEditPoints="1"/>
            </p:cNvSpPr>
            <p:nvPr/>
          </p:nvSpPr>
          <p:spPr bwMode="auto">
            <a:xfrm>
              <a:off x="4633913" y="1090613"/>
              <a:ext cx="355600" cy="527050"/>
            </a:xfrm>
            <a:custGeom>
              <a:avLst/>
              <a:gdLst>
                <a:gd name="T0" fmla="*/ 793 w 900"/>
                <a:gd name="T1" fmla="*/ 1329 h 1329"/>
                <a:gd name="T2" fmla="*/ 824 w 900"/>
                <a:gd name="T3" fmla="*/ 1323 h 1329"/>
                <a:gd name="T4" fmla="*/ 852 w 900"/>
                <a:gd name="T5" fmla="*/ 1310 h 1329"/>
                <a:gd name="T6" fmla="*/ 875 w 900"/>
                <a:gd name="T7" fmla="*/ 1289 h 1329"/>
                <a:gd name="T8" fmla="*/ 891 w 900"/>
                <a:gd name="T9" fmla="*/ 1263 h 1329"/>
                <a:gd name="T10" fmla="*/ 899 w 900"/>
                <a:gd name="T11" fmla="*/ 1232 h 1329"/>
                <a:gd name="T12" fmla="*/ 900 w 900"/>
                <a:gd name="T13" fmla="*/ 107 h 1329"/>
                <a:gd name="T14" fmla="*/ 894 w 900"/>
                <a:gd name="T15" fmla="*/ 75 h 1329"/>
                <a:gd name="T16" fmla="*/ 882 w 900"/>
                <a:gd name="T17" fmla="*/ 47 h 1329"/>
                <a:gd name="T18" fmla="*/ 861 w 900"/>
                <a:gd name="T19" fmla="*/ 24 h 1329"/>
                <a:gd name="T20" fmla="*/ 834 w 900"/>
                <a:gd name="T21" fmla="*/ 8 h 1329"/>
                <a:gd name="T22" fmla="*/ 804 w 900"/>
                <a:gd name="T23" fmla="*/ 0 h 1329"/>
                <a:gd name="T24" fmla="*/ 107 w 900"/>
                <a:gd name="T25" fmla="*/ 0 h 1329"/>
                <a:gd name="T26" fmla="*/ 75 w 900"/>
                <a:gd name="T27" fmla="*/ 5 h 1329"/>
                <a:gd name="T28" fmla="*/ 47 w 900"/>
                <a:gd name="T29" fmla="*/ 19 h 1329"/>
                <a:gd name="T30" fmla="*/ 24 w 900"/>
                <a:gd name="T31" fmla="*/ 39 h 1329"/>
                <a:gd name="T32" fmla="*/ 9 w 900"/>
                <a:gd name="T33" fmla="*/ 65 h 1329"/>
                <a:gd name="T34" fmla="*/ 0 w 900"/>
                <a:gd name="T35" fmla="*/ 96 h 1329"/>
                <a:gd name="T36" fmla="*/ 0 w 900"/>
                <a:gd name="T37" fmla="*/ 1221 h 1329"/>
                <a:gd name="T38" fmla="*/ 5 w 900"/>
                <a:gd name="T39" fmla="*/ 1253 h 1329"/>
                <a:gd name="T40" fmla="*/ 19 w 900"/>
                <a:gd name="T41" fmla="*/ 1281 h 1329"/>
                <a:gd name="T42" fmla="*/ 39 w 900"/>
                <a:gd name="T43" fmla="*/ 1304 h 1329"/>
                <a:gd name="T44" fmla="*/ 65 w 900"/>
                <a:gd name="T45" fmla="*/ 1320 h 1329"/>
                <a:gd name="T46" fmla="*/ 96 w 900"/>
                <a:gd name="T47" fmla="*/ 1328 h 1329"/>
                <a:gd name="T48" fmla="*/ 450 w 900"/>
                <a:gd name="T49" fmla="*/ 1200 h 1329"/>
                <a:gd name="T50" fmla="*/ 437 w 900"/>
                <a:gd name="T51" fmla="*/ 1198 h 1329"/>
                <a:gd name="T52" fmla="*/ 404 w 900"/>
                <a:gd name="T53" fmla="*/ 1181 h 1329"/>
                <a:gd name="T54" fmla="*/ 387 w 900"/>
                <a:gd name="T55" fmla="*/ 1148 h 1329"/>
                <a:gd name="T56" fmla="*/ 386 w 900"/>
                <a:gd name="T57" fmla="*/ 1135 h 1329"/>
                <a:gd name="T58" fmla="*/ 390 w 900"/>
                <a:gd name="T59" fmla="*/ 1111 h 1329"/>
                <a:gd name="T60" fmla="*/ 414 w 900"/>
                <a:gd name="T61" fmla="*/ 1082 h 1329"/>
                <a:gd name="T62" fmla="*/ 443 w 900"/>
                <a:gd name="T63" fmla="*/ 1072 h 1329"/>
                <a:gd name="T64" fmla="*/ 456 w 900"/>
                <a:gd name="T65" fmla="*/ 1072 h 1329"/>
                <a:gd name="T66" fmla="*/ 486 w 900"/>
                <a:gd name="T67" fmla="*/ 1082 h 1329"/>
                <a:gd name="T68" fmla="*/ 509 w 900"/>
                <a:gd name="T69" fmla="*/ 1111 h 1329"/>
                <a:gd name="T70" fmla="*/ 514 w 900"/>
                <a:gd name="T71" fmla="*/ 1135 h 1329"/>
                <a:gd name="T72" fmla="*/ 513 w 900"/>
                <a:gd name="T73" fmla="*/ 1148 h 1329"/>
                <a:gd name="T74" fmla="*/ 495 w 900"/>
                <a:gd name="T75" fmla="*/ 1181 h 1329"/>
                <a:gd name="T76" fmla="*/ 463 w 900"/>
                <a:gd name="T77" fmla="*/ 1198 h 1329"/>
                <a:gd name="T78" fmla="*/ 450 w 900"/>
                <a:gd name="T79" fmla="*/ 1200 h 1329"/>
                <a:gd name="T80" fmla="*/ 150 w 900"/>
                <a:gd name="T81" fmla="*/ 188 h 1329"/>
                <a:gd name="T82" fmla="*/ 156 w 900"/>
                <a:gd name="T83" fmla="*/ 177 h 1329"/>
                <a:gd name="T84" fmla="*/ 167 w 900"/>
                <a:gd name="T85" fmla="*/ 172 h 1329"/>
                <a:gd name="T86" fmla="*/ 728 w 900"/>
                <a:gd name="T87" fmla="*/ 171 h 1329"/>
                <a:gd name="T88" fmla="*/ 740 w 900"/>
                <a:gd name="T89" fmla="*/ 175 h 1329"/>
                <a:gd name="T90" fmla="*/ 748 w 900"/>
                <a:gd name="T91" fmla="*/ 184 h 1329"/>
                <a:gd name="T92" fmla="*/ 750 w 900"/>
                <a:gd name="T93" fmla="*/ 942 h 1329"/>
                <a:gd name="T94" fmla="*/ 748 w 900"/>
                <a:gd name="T95" fmla="*/ 951 h 1329"/>
                <a:gd name="T96" fmla="*/ 740 w 900"/>
                <a:gd name="T97" fmla="*/ 960 h 1329"/>
                <a:gd name="T98" fmla="*/ 728 w 900"/>
                <a:gd name="T99" fmla="*/ 964 h 1329"/>
                <a:gd name="T100" fmla="*/ 167 w 900"/>
                <a:gd name="T101" fmla="*/ 964 h 1329"/>
                <a:gd name="T102" fmla="*/ 156 w 900"/>
                <a:gd name="T103" fmla="*/ 957 h 1329"/>
                <a:gd name="T104" fmla="*/ 150 w 900"/>
                <a:gd name="T105" fmla="*/ 946 h 1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0" h="1329">
                  <a:moveTo>
                    <a:pt x="107" y="1329"/>
                  </a:moveTo>
                  <a:lnTo>
                    <a:pt x="793" y="1329"/>
                  </a:lnTo>
                  <a:lnTo>
                    <a:pt x="793" y="1329"/>
                  </a:lnTo>
                  <a:lnTo>
                    <a:pt x="804" y="1328"/>
                  </a:lnTo>
                  <a:lnTo>
                    <a:pt x="815" y="1327"/>
                  </a:lnTo>
                  <a:lnTo>
                    <a:pt x="824" y="1323"/>
                  </a:lnTo>
                  <a:lnTo>
                    <a:pt x="834" y="1320"/>
                  </a:lnTo>
                  <a:lnTo>
                    <a:pt x="844" y="1316"/>
                  </a:lnTo>
                  <a:lnTo>
                    <a:pt x="852" y="1310"/>
                  </a:lnTo>
                  <a:lnTo>
                    <a:pt x="861" y="1304"/>
                  </a:lnTo>
                  <a:lnTo>
                    <a:pt x="869" y="1296"/>
                  </a:lnTo>
                  <a:lnTo>
                    <a:pt x="875" y="1289"/>
                  </a:lnTo>
                  <a:lnTo>
                    <a:pt x="882" y="1281"/>
                  </a:lnTo>
                  <a:lnTo>
                    <a:pt x="887" y="1273"/>
                  </a:lnTo>
                  <a:lnTo>
                    <a:pt x="891" y="1263"/>
                  </a:lnTo>
                  <a:lnTo>
                    <a:pt x="894" y="1253"/>
                  </a:lnTo>
                  <a:lnTo>
                    <a:pt x="898" y="1242"/>
                  </a:lnTo>
                  <a:lnTo>
                    <a:pt x="899" y="1232"/>
                  </a:lnTo>
                  <a:lnTo>
                    <a:pt x="900" y="1221"/>
                  </a:lnTo>
                  <a:lnTo>
                    <a:pt x="900" y="107"/>
                  </a:lnTo>
                  <a:lnTo>
                    <a:pt x="900" y="107"/>
                  </a:lnTo>
                  <a:lnTo>
                    <a:pt x="899" y="96"/>
                  </a:lnTo>
                  <a:lnTo>
                    <a:pt x="898" y="86"/>
                  </a:lnTo>
                  <a:lnTo>
                    <a:pt x="894" y="75"/>
                  </a:lnTo>
                  <a:lnTo>
                    <a:pt x="891" y="65"/>
                  </a:lnTo>
                  <a:lnTo>
                    <a:pt x="887" y="56"/>
                  </a:lnTo>
                  <a:lnTo>
                    <a:pt x="882" y="47"/>
                  </a:lnTo>
                  <a:lnTo>
                    <a:pt x="875" y="39"/>
                  </a:lnTo>
                  <a:lnTo>
                    <a:pt x="869" y="32"/>
                  </a:lnTo>
                  <a:lnTo>
                    <a:pt x="861" y="24"/>
                  </a:lnTo>
                  <a:lnTo>
                    <a:pt x="852" y="19"/>
                  </a:lnTo>
                  <a:lnTo>
                    <a:pt x="844" y="13"/>
                  </a:lnTo>
                  <a:lnTo>
                    <a:pt x="834" y="8"/>
                  </a:lnTo>
                  <a:lnTo>
                    <a:pt x="824" y="5"/>
                  </a:lnTo>
                  <a:lnTo>
                    <a:pt x="815" y="2"/>
                  </a:lnTo>
                  <a:lnTo>
                    <a:pt x="804" y="0"/>
                  </a:lnTo>
                  <a:lnTo>
                    <a:pt x="793" y="0"/>
                  </a:lnTo>
                  <a:lnTo>
                    <a:pt x="107" y="0"/>
                  </a:lnTo>
                  <a:lnTo>
                    <a:pt x="107" y="0"/>
                  </a:lnTo>
                  <a:lnTo>
                    <a:pt x="96" y="0"/>
                  </a:lnTo>
                  <a:lnTo>
                    <a:pt x="86" y="2"/>
                  </a:lnTo>
                  <a:lnTo>
                    <a:pt x="75" y="5"/>
                  </a:lnTo>
                  <a:lnTo>
                    <a:pt x="65" y="8"/>
                  </a:lnTo>
                  <a:lnTo>
                    <a:pt x="56" y="13"/>
                  </a:lnTo>
                  <a:lnTo>
                    <a:pt x="47" y="19"/>
                  </a:lnTo>
                  <a:lnTo>
                    <a:pt x="39" y="24"/>
                  </a:lnTo>
                  <a:lnTo>
                    <a:pt x="32" y="32"/>
                  </a:lnTo>
                  <a:lnTo>
                    <a:pt x="24" y="39"/>
                  </a:lnTo>
                  <a:lnTo>
                    <a:pt x="19" y="47"/>
                  </a:lnTo>
                  <a:lnTo>
                    <a:pt x="13" y="56"/>
                  </a:lnTo>
                  <a:lnTo>
                    <a:pt x="9" y="65"/>
                  </a:lnTo>
                  <a:lnTo>
                    <a:pt x="5" y="75"/>
                  </a:lnTo>
                  <a:lnTo>
                    <a:pt x="2" y="86"/>
                  </a:lnTo>
                  <a:lnTo>
                    <a:pt x="0" y="96"/>
                  </a:lnTo>
                  <a:lnTo>
                    <a:pt x="0" y="107"/>
                  </a:lnTo>
                  <a:lnTo>
                    <a:pt x="0" y="1221"/>
                  </a:lnTo>
                  <a:lnTo>
                    <a:pt x="0" y="1221"/>
                  </a:lnTo>
                  <a:lnTo>
                    <a:pt x="0" y="1232"/>
                  </a:lnTo>
                  <a:lnTo>
                    <a:pt x="2" y="1242"/>
                  </a:lnTo>
                  <a:lnTo>
                    <a:pt x="5" y="1253"/>
                  </a:lnTo>
                  <a:lnTo>
                    <a:pt x="9" y="1263"/>
                  </a:lnTo>
                  <a:lnTo>
                    <a:pt x="13" y="1273"/>
                  </a:lnTo>
                  <a:lnTo>
                    <a:pt x="19" y="1281"/>
                  </a:lnTo>
                  <a:lnTo>
                    <a:pt x="24" y="1289"/>
                  </a:lnTo>
                  <a:lnTo>
                    <a:pt x="32" y="1296"/>
                  </a:lnTo>
                  <a:lnTo>
                    <a:pt x="39" y="1304"/>
                  </a:lnTo>
                  <a:lnTo>
                    <a:pt x="47" y="1310"/>
                  </a:lnTo>
                  <a:lnTo>
                    <a:pt x="56" y="1316"/>
                  </a:lnTo>
                  <a:lnTo>
                    <a:pt x="65" y="1320"/>
                  </a:lnTo>
                  <a:lnTo>
                    <a:pt x="75" y="1323"/>
                  </a:lnTo>
                  <a:lnTo>
                    <a:pt x="86" y="1327"/>
                  </a:lnTo>
                  <a:lnTo>
                    <a:pt x="96" y="1328"/>
                  </a:lnTo>
                  <a:lnTo>
                    <a:pt x="107" y="1329"/>
                  </a:lnTo>
                  <a:lnTo>
                    <a:pt x="107" y="1329"/>
                  </a:lnTo>
                  <a:close/>
                  <a:moveTo>
                    <a:pt x="450" y="1200"/>
                  </a:moveTo>
                  <a:lnTo>
                    <a:pt x="450" y="1200"/>
                  </a:lnTo>
                  <a:lnTo>
                    <a:pt x="443" y="1199"/>
                  </a:lnTo>
                  <a:lnTo>
                    <a:pt x="437" y="1198"/>
                  </a:lnTo>
                  <a:lnTo>
                    <a:pt x="425" y="1195"/>
                  </a:lnTo>
                  <a:lnTo>
                    <a:pt x="414" y="1188"/>
                  </a:lnTo>
                  <a:lnTo>
                    <a:pt x="404" y="1181"/>
                  </a:lnTo>
                  <a:lnTo>
                    <a:pt x="397" y="1171"/>
                  </a:lnTo>
                  <a:lnTo>
                    <a:pt x="390" y="1160"/>
                  </a:lnTo>
                  <a:lnTo>
                    <a:pt x="387" y="1148"/>
                  </a:lnTo>
                  <a:lnTo>
                    <a:pt x="386" y="1142"/>
                  </a:lnTo>
                  <a:lnTo>
                    <a:pt x="386" y="1135"/>
                  </a:lnTo>
                  <a:lnTo>
                    <a:pt x="386" y="1135"/>
                  </a:lnTo>
                  <a:lnTo>
                    <a:pt x="386" y="1129"/>
                  </a:lnTo>
                  <a:lnTo>
                    <a:pt x="387" y="1122"/>
                  </a:lnTo>
                  <a:lnTo>
                    <a:pt x="390" y="1111"/>
                  </a:lnTo>
                  <a:lnTo>
                    <a:pt x="397" y="1100"/>
                  </a:lnTo>
                  <a:lnTo>
                    <a:pt x="404" y="1090"/>
                  </a:lnTo>
                  <a:lnTo>
                    <a:pt x="414" y="1082"/>
                  </a:lnTo>
                  <a:lnTo>
                    <a:pt x="425" y="1076"/>
                  </a:lnTo>
                  <a:lnTo>
                    <a:pt x="437" y="1073"/>
                  </a:lnTo>
                  <a:lnTo>
                    <a:pt x="443" y="1072"/>
                  </a:lnTo>
                  <a:lnTo>
                    <a:pt x="450" y="1071"/>
                  </a:lnTo>
                  <a:lnTo>
                    <a:pt x="450" y="1071"/>
                  </a:lnTo>
                  <a:lnTo>
                    <a:pt x="456" y="1072"/>
                  </a:lnTo>
                  <a:lnTo>
                    <a:pt x="463" y="1073"/>
                  </a:lnTo>
                  <a:lnTo>
                    <a:pt x="474" y="1076"/>
                  </a:lnTo>
                  <a:lnTo>
                    <a:pt x="486" y="1082"/>
                  </a:lnTo>
                  <a:lnTo>
                    <a:pt x="495" y="1090"/>
                  </a:lnTo>
                  <a:lnTo>
                    <a:pt x="504" y="1100"/>
                  </a:lnTo>
                  <a:lnTo>
                    <a:pt x="509" y="1111"/>
                  </a:lnTo>
                  <a:lnTo>
                    <a:pt x="513" y="1122"/>
                  </a:lnTo>
                  <a:lnTo>
                    <a:pt x="514" y="1129"/>
                  </a:lnTo>
                  <a:lnTo>
                    <a:pt x="514" y="1135"/>
                  </a:lnTo>
                  <a:lnTo>
                    <a:pt x="514" y="1135"/>
                  </a:lnTo>
                  <a:lnTo>
                    <a:pt x="514" y="1142"/>
                  </a:lnTo>
                  <a:lnTo>
                    <a:pt x="513" y="1148"/>
                  </a:lnTo>
                  <a:lnTo>
                    <a:pt x="509" y="1160"/>
                  </a:lnTo>
                  <a:lnTo>
                    <a:pt x="504" y="1171"/>
                  </a:lnTo>
                  <a:lnTo>
                    <a:pt x="495" y="1181"/>
                  </a:lnTo>
                  <a:lnTo>
                    <a:pt x="486" y="1188"/>
                  </a:lnTo>
                  <a:lnTo>
                    <a:pt x="474" y="1195"/>
                  </a:lnTo>
                  <a:lnTo>
                    <a:pt x="463" y="1198"/>
                  </a:lnTo>
                  <a:lnTo>
                    <a:pt x="456" y="1199"/>
                  </a:lnTo>
                  <a:lnTo>
                    <a:pt x="450" y="1200"/>
                  </a:lnTo>
                  <a:lnTo>
                    <a:pt x="450" y="1200"/>
                  </a:lnTo>
                  <a:close/>
                  <a:moveTo>
                    <a:pt x="150" y="193"/>
                  </a:moveTo>
                  <a:lnTo>
                    <a:pt x="150" y="193"/>
                  </a:lnTo>
                  <a:lnTo>
                    <a:pt x="150" y="188"/>
                  </a:lnTo>
                  <a:lnTo>
                    <a:pt x="151" y="184"/>
                  </a:lnTo>
                  <a:lnTo>
                    <a:pt x="154" y="181"/>
                  </a:lnTo>
                  <a:lnTo>
                    <a:pt x="156" y="177"/>
                  </a:lnTo>
                  <a:lnTo>
                    <a:pt x="159" y="175"/>
                  </a:lnTo>
                  <a:lnTo>
                    <a:pt x="163" y="173"/>
                  </a:lnTo>
                  <a:lnTo>
                    <a:pt x="167" y="172"/>
                  </a:lnTo>
                  <a:lnTo>
                    <a:pt x="171" y="171"/>
                  </a:lnTo>
                  <a:lnTo>
                    <a:pt x="728" y="171"/>
                  </a:lnTo>
                  <a:lnTo>
                    <a:pt x="728" y="171"/>
                  </a:lnTo>
                  <a:lnTo>
                    <a:pt x="732" y="172"/>
                  </a:lnTo>
                  <a:lnTo>
                    <a:pt x="737" y="173"/>
                  </a:lnTo>
                  <a:lnTo>
                    <a:pt x="740" y="175"/>
                  </a:lnTo>
                  <a:lnTo>
                    <a:pt x="743" y="177"/>
                  </a:lnTo>
                  <a:lnTo>
                    <a:pt x="747" y="181"/>
                  </a:lnTo>
                  <a:lnTo>
                    <a:pt x="748" y="184"/>
                  </a:lnTo>
                  <a:lnTo>
                    <a:pt x="750" y="188"/>
                  </a:lnTo>
                  <a:lnTo>
                    <a:pt x="750" y="193"/>
                  </a:lnTo>
                  <a:lnTo>
                    <a:pt x="750" y="942"/>
                  </a:lnTo>
                  <a:lnTo>
                    <a:pt x="750" y="942"/>
                  </a:lnTo>
                  <a:lnTo>
                    <a:pt x="750" y="946"/>
                  </a:lnTo>
                  <a:lnTo>
                    <a:pt x="748" y="951"/>
                  </a:lnTo>
                  <a:lnTo>
                    <a:pt x="747" y="955"/>
                  </a:lnTo>
                  <a:lnTo>
                    <a:pt x="743" y="957"/>
                  </a:lnTo>
                  <a:lnTo>
                    <a:pt x="740" y="960"/>
                  </a:lnTo>
                  <a:lnTo>
                    <a:pt x="737" y="963"/>
                  </a:lnTo>
                  <a:lnTo>
                    <a:pt x="732" y="964"/>
                  </a:lnTo>
                  <a:lnTo>
                    <a:pt x="728" y="964"/>
                  </a:lnTo>
                  <a:lnTo>
                    <a:pt x="171" y="964"/>
                  </a:lnTo>
                  <a:lnTo>
                    <a:pt x="171" y="964"/>
                  </a:lnTo>
                  <a:lnTo>
                    <a:pt x="167" y="964"/>
                  </a:lnTo>
                  <a:lnTo>
                    <a:pt x="163" y="963"/>
                  </a:lnTo>
                  <a:lnTo>
                    <a:pt x="159" y="960"/>
                  </a:lnTo>
                  <a:lnTo>
                    <a:pt x="156" y="957"/>
                  </a:lnTo>
                  <a:lnTo>
                    <a:pt x="154" y="955"/>
                  </a:lnTo>
                  <a:lnTo>
                    <a:pt x="151" y="951"/>
                  </a:lnTo>
                  <a:lnTo>
                    <a:pt x="150" y="946"/>
                  </a:lnTo>
                  <a:lnTo>
                    <a:pt x="150" y="942"/>
                  </a:lnTo>
                  <a:lnTo>
                    <a:pt x="150" y="19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61" name="Freeform 97">
              <a:extLst>
                <a:ext uri="{FF2B5EF4-FFF2-40B4-BE49-F238E27FC236}">
                  <a16:creationId xmlns:a16="http://schemas.microsoft.com/office/drawing/2014/main" id="{918F22D2-F922-4440-A550-54BEEA219984}"/>
                </a:ext>
              </a:extLst>
            </p:cNvPr>
            <p:cNvSpPr>
              <a:spLocks/>
            </p:cNvSpPr>
            <p:nvPr/>
          </p:nvSpPr>
          <p:spPr bwMode="auto">
            <a:xfrm>
              <a:off x="4760913" y="1250950"/>
              <a:ext cx="101600" cy="119063"/>
            </a:xfrm>
            <a:custGeom>
              <a:avLst/>
              <a:gdLst>
                <a:gd name="T0" fmla="*/ 129 w 257"/>
                <a:gd name="T1" fmla="*/ 300 h 300"/>
                <a:gd name="T2" fmla="*/ 154 w 257"/>
                <a:gd name="T3" fmla="*/ 297 h 300"/>
                <a:gd name="T4" fmla="*/ 179 w 257"/>
                <a:gd name="T5" fmla="*/ 290 h 300"/>
                <a:gd name="T6" fmla="*/ 201 w 257"/>
                <a:gd name="T7" fmla="*/ 278 h 300"/>
                <a:gd name="T8" fmla="*/ 219 w 257"/>
                <a:gd name="T9" fmla="*/ 262 h 300"/>
                <a:gd name="T10" fmla="*/ 235 w 257"/>
                <a:gd name="T11" fmla="*/ 243 h 300"/>
                <a:gd name="T12" fmla="*/ 247 w 257"/>
                <a:gd name="T13" fmla="*/ 222 h 300"/>
                <a:gd name="T14" fmla="*/ 255 w 257"/>
                <a:gd name="T15" fmla="*/ 197 h 300"/>
                <a:gd name="T16" fmla="*/ 257 w 257"/>
                <a:gd name="T17" fmla="*/ 171 h 300"/>
                <a:gd name="T18" fmla="*/ 257 w 257"/>
                <a:gd name="T19" fmla="*/ 129 h 300"/>
                <a:gd name="T20" fmla="*/ 255 w 257"/>
                <a:gd name="T21" fmla="*/ 103 h 300"/>
                <a:gd name="T22" fmla="*/ 247 w 257"/>
                <a:gd name="T23" fmla="*/ 78 h 300"/>
                <a:gd name="T24" fmla="*/ 235 w 257"/>
                <a:gd name="T25" fmla="*/ 57 h 300"/>
                <a:gd name="T26" fmla="*/ 219 w 257"/>
                <a:gd name="T27" fmla="*/ 37 h 300"/>
                <a:gd name="T28" fmla="*/ 201 w 257"/>
                <a:gd name="T29" fmla="*/ 22 h 300"/>
                <a:gd name="T30" fmla="*/ 179 w 257"/>
                <a:gd name="T31" fmla="*/ 10 h 300"/>
                <a:gd name="T32" fmla="*/ 154 w 257"/>
                <a:gd name="T33" fmla="*/ 3 h 300"/>
                <a:gd name="T34" fmla="*/ 129 w 257"/>
                <a:gd name="T35" fmla="*/ 0 h 300"/>
                <a:gd name="T36" fmla="*/ 116 w 257"/>
                <a:gd name="T37" fmla="*/ 0 h 300"/>
                <a:gd name="T38" fmla="*/ 91 w 257"/>
                <a:gd name="T39" fmla="*/ 6 h 300"/>
                <a:gd name="T40" fmla="*/ 68 w 257"/>
                <a:gd name="T41" fmla="*/ 16 h 300"/>
                <a:gd name="T42" fmla="*/ 48 w 257"/>
                <a:gd name="T43" fmla="*/ 30 h 300"/>
                <a:gd name="T44" fmla="*/ 29 w 257"/>
                <a:gd name="T45" fmla="*/ 47 h 300"/>
                <a:gd name="T46" fmla="*/ 16 w 257"/>
                <a:gd name="T47" fmla="*/ 67 h 300"/>
                <a:gd name="T48" fmla="*/ 7 w 257"/>
                <a:gd name="T49" fmla="*/ 90 h 300"/>
                <a:gd name="T50" fmla="*/ 1 w 257"/>
                <a:gd name="T51" fmla="*/ 115 h 300"/>
                <a:gd name="T52" fmla="*/ 0 w 257"/>
                <a:gd name="T53" fmla="*/ 171 h 300"/>
                <a:gd name="T54" fmla="*/ 1 w 257"/>
                <a:gd name="T55" fmla="*/ 184 h 300"/>
                <a:gd name="T56" fmla="*/ 7 w 257"/>
                <a:gd name="T57" fmla="*/ 210 h 300"/>
                <a:gd name="T58" fmla="*/ 16 w 257"/>
                <a:gd name="T59" fmla="*/ 233 h 300"/>
                <a:gd name="T60" fmla="*/ 29 w 257"/>
                <a:gd name="T61" fmla="*/ 253 h 300"/>
                <a:gd name="T62" fmla="*/ 48 w 257"/>
                <a:gd name="T63" fmla="*/ 270 h 300"/>
                <a:gd name="T64" fmla="*/ 68 w 257"/>
                <a:gd name="T65" fmla="*/ 285 h 300"/>
                <a:gd name="T66" fmla="*/ 91 w 257"/>
                <a:gd name="T67" fmla="*/ 294 h 300"/>
                <a:gd name="T68" fmla="*/ 116 w 257"/>
                <a:gd name="T69" fmla="*/ 300 h 300"/>
                <a:gd name="T70" fmla="*/ 129 w 257"/>
                <a:gd name="T71" fmla="*/ 30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7" h="300">
                  <a:moveTo>
                    <a:pt x="129" y="300"/>
                  </a:moveTo>
                  <a:lnTo>
                    <a:pt x="129" y="300"/>
                  </a:lnTo>
                  <a:lnTo>
                    <a:pt x="142" y="300"/>
                  </a:lnTo>
                  <a:lnTo>
                    <a:pt x="154" y="297"/>
                  </a:lnTo>
                  <a:lnTo>
                    <a:pt x="167" y="294"/>
                  </a:lnTo>
                  <a:lnTo>
                    <a:pt x="179" y="290"/>
                  </a:lnTo>
                  <a:lnTo>
                    <a:pt x="190" y="285"/>
                  </a:lnTo>
                  <a:lnTo>
                    <a:pt x="201" y="278"/>
                  </a:lnTo>
                  <a:lnTo>
                    <a:pt x="211" y="270"/>
                  </a:lnTo>
                  <a:lnTo>
                    <a:pt x="219" y="262"/>
                  </a:lnTo>
                  <a:lnTo>
                    <a:pt x="228" y="253"/>
                  </a:lnTo>
                  <a:lnTo>
                    <a:pt x="235" y="243"/>
                  </a:lnTo>
                  <a:lnTo>
                    <a:pt x="242" y="233"/>
                  </a:lnTo>
                  <a:lnTo>
                    <a:pt x="247" y="222"/>
                  </a:lnTo>
                  <a:lnTo>
                    <a:pt x="252" y="210"/>
                  </a:lnTo>
                  <a:lnTo>
                    <a:pt x="255" y="197"/>
                  </a:lnTo>
                  <a:lnTo>
                    <a:pt x="257" y="184"/>
                  </a:lnTo>
                  <a:lnTo>
                    <a:pt x="257" y="171"/>
                  </a:lnTo>
                  <a:lnTo>
                    <a:pt x="257" y="129"/>
                  </a:lnTo>
                  <a:lnTo>
                    <a:pt x="257" y="129"/>
                  </a:lnTo>
                  <a:lnTo>
                    <a:pt x="257" y="115"/>
                  </a:lnTo>
                  <a:lnTo>
                    <a:pt x="255" y="103"/>
                  </a:lnTo>
                  <a:lnTo>
                    <a:pt x="252" y="90"/>
                  </a:lnTo>
                  <a:lnTo>
                    <a:pt x="247" y="78"/>
                  </a:lnTo>
                  <a:lnTo>
                    <a:pt x="242" y="67"/>
                  </a:lnTo>
                  <a:lnTo>
                    <a:pt x="235" y="57"/>
                  </a:lnTo>
                  <a:lnTo>
                    <a:pt x="228" y="47"/>
                  </a:lnTo>
                  <a:lnTo>
                    <a:pt x="219" y="37"/>
                  </a:lnTo>
                  <a:lnTo>
                    <a:pt x="211" y="30"/>
                  </a:lnTo>
                  <a:lnTo>
                    <a:pt x="201" y="22"/>
                  </a:lnTo>
                  <a:lnTo>
                    <a:pt x="190" y="16"/>
                  </a:lnTo>
                  <a:lnTo>
                    <a:pt x="179" y="10"/>
                  </a:lnTo>
                  <a:lnTo>
                    <a:pt x="167" y="6"/>
                  </a:lnTo>
                  <a:lnTo>
                    <a:pt x="154" y="3"/>
                  </a:lnTo>
                  <a:lnTo>
                    <a:pt x="142" y="0"/>
                  </a:lnTo>
                  <a:lnTo>
                    <a:pt x="129" y="0"/>
                  </a:lnTo>
                  <a:lnTo>
                    <a:pt x="129" y="0"/>
                  </a:lnTo>
                  <a:lnTo>
                    <a:pt x="116" y="0"/>
                  </a:lnTo>
                  <a:lnTo>
                    <a:pt x="103" y="3"/>
                  </a:lnTo>
                  <a:lnTo>
                    <a:pt x="91" y="6"/>
                  </a:lnTo>
                  <a:lnTo>
                    <a:pt x="79" y="10"/>
                  </a:lnTo>
                  <a:lnTo>
                    <a:pt x="68" y="16"/>
                  </a:lnTo>
                  <a:lnTo>
                    <a:pt x="57" y="22"/>
                  </a:lnTo>
                  <a:lnTo>
                    <a:pt x="48" y="30"/>
                  </a:lnTo>
                  <a:lnTo>
                    <a:pt x="38" y="37"/>
                  </a:lnTo>
                  <a:lnTo>
                    <a:pt x="29" y="47"/>
                  </a:lnTo>
                  <a:lnTo>
                    <a:pt x="23" y="57"/>
                  </a:lnTo>
                  <a:lnTo>
                    <a:pt x="16" y="67"/>
                  </a:lnTo>
                  <a:lnTo>
                    <a:pt x="11" y="78"/>
                  </a:lnTo>
                  <a:lnTo>
                    <a:pt x="7" y="90"/>
                  </a:lnTo>
                  <a:lnTo>
                    <a:pt x="3" y="103"/>
                  </a:lnTo>
                  <a:lnTo>
                    <a:pt x="1" y="115"/>
                  </a:lnTo>
                  <a:lnTo>
                    <a:pt x="0" y="129"/>
                  </a:lnTo>
                  <a:lnTo>
                    <a:pt x="0" y="171"/>
                  </a:lnTo>
                  <a:lnTo>
                    <a:pt x="0" y="171"/>
                  </a:lnTo>
                  <a:lnTo>
                    <a:pt x="1" y="184"/>
                  </a:lnTo>
                  <a:lnTo>
                    <a:pt x="3" y="197"/>
                  </a:lnTo>
                  <a:lnTo>
                    <a:pt x="7" y="210"/>
                  </a:lnTo>
                  <a:lnTo>
                    <a:pt x="11" y="222"/>
                  </a:lnTo>
                  <a:lnTo>
                    <a:pt x="16" y="233"/>
                  </a:lnTo>
                  <a:lnTo>
                    <a:pt x="23" y="243"/>
                  </a:lnTo>
                  <a:lnTo>
                    <a:pt x="29" y="253"/>
                  </a:lnTo>
                  <a:lnTo>
                    <a:pt x="38" y="262"/>
                  </a:lnTo>
                  <a:lnTo>
                    <a:pt x="48" y="270"/>
                  </a:lnTo>
                  <a:lnTo>
                    <a:pt x="57" y="278"/>
                  </a:lnTo>
                  <a:lnTo>
                    <a:pt x="68" y="285"/>
                  </a:lnTo>
                  <a:lnTo>
                    <a:pt x="79" y="290"/>
                  </a:lnTo>
                  <a:lnTo>
                    <a:pt x="91" y="294"/>
                  </a:lnTo>
                  <a:lnTo>
                    <a:pt x="103" y="297"/>
                  </a:lnTo>
                  <a:lnTo>
                    <a:pt x="116" y="300"/>
                  </a:lnTo>
                  <a:lnTo>
                    <a:pt x="129" y="300"/>
                  </a:lnTo>
                  <a:lnTo>
                    <a:pt x="129" y="30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62" name="Freeform 100">
              <a:extLst>
                <a:ext uri="{FF2B5EF4-FFF2-40B4-BE49-F238E27FC236}">
                  <a16:creationId xmlns:a16="http://schemas.microsoft.com/office/drawing/2014/main" id="{AC3292C0-7612-4378-B27A-97A34B0A5573}"/>
                </a:ext>
              </a:extLst>
            </p:cNvPr>
            <p:cNvSpPr>
              <a:spLocks/>
            </p:cNvSpPr>
            <p:nvPr/>
          </p:nvSpPr>
          <p:spPr bwMode="auto">
            <a:xfrm>
              <a:off x="4718050" y="1368425"/>
              <a:ext cx="187325" cy="77788"/>
            </a:xfrm>
            <a:custGeom>
              <a:avLst/>
              <a:gdLst>
                <a:gd name="T0" fmla="*/ 472 w 472"/>
                <a:gd name="T1" fmla="*/ 132 h 197"/>
                <a:gd name="T2" fmla="*/ 472 w 472"/>
                <a:gd name="T3" fmla="*/ 132 h 197"/>
                <a:gd name="T4" fmla="*/ 471 w 472"/>
                <a:gd name="T5" fmla="*/ 122 h 197"/>
                <a:gd name="T6" fmla="*/ 469 w 472"/>
                <a:gd name="T7" fmla="*/ 113 h 197"/>
                <a:gd name="T8" fmla="*/ 467 w 472"/>
                <a:gd name="T9" fmla="*/ 103 h 197"/>
                <a:gd name="T10" fmla="*/ 462 w 472"/>
                <a:gd name="T11" fmla="*/ 94 h 197"/>
                <a:gd name="T12" fmla="*/ 458 w 472"/>
                <a:gd name="T13" fmla="*/ 86 h 197"/>
                <a:gd name="T14" fmla="*/ 452 w 472"/>
                <a:gd name="T15" fmla="*/ 78 h 197"/>
                <a:gd name="T16" fmla="*/ 445 w 472"/>
                <a:gd name="T17" fmla="*/ 71 h 197"/>
                <a:gd name="T18" fmla="*/ 437 w 472"/>
                <a:gd name="T19" fmla="*/ 64 h 197"/>
                <a:gd name="T20" fmla="*/ 352 w 472"/>
                <a:gd name="T21" fmla="*/ 0 h 197"/>
                <a:gd name="T22" fmla="*/ 352 w 472"/>
                <a:gd name="T23" fmla="*/ 0 h 197"/>
                <a:gd name="T24" fmla="*/ 340 w 472"/>
                <a:gd name="T25" fmla="*/ 10 h 197"/>
                <a:gd name="T26" fmla="*/ 327 w 472"/>
                <a:gd name="T27" fmla="*/ 20 h 197"/>
                <a:gd name="T28" fmla="*/ 314 w 472"/>
                <a:gd name="T29" fmla="*/ 27 h 197"/>
                <a:gd name="T30" fmla="*/ 299 w 472"/>
                <a:gd name="T31" fmla="*/ 34 h 197"/>
                <a:gd name="T32" fmla="*/ 284 w 472"/>
                <a:gd name="T33" fmla="*/ 39 h 197"/>
                <a:gd name="T34" fmla="*/ 269 w 472"/>
                <a:gd name="T35" fmla="*/ 44 h 197"/>
                <a:gd name="T36" fmla="*/ 253 w 472"/>
                <a:gd name="T37" fmla="*/ 46 h 197"/>
                <a:gd name="T38" fmla="*/ 236 w 472"/>
                <a:gd name="T39" fmla="*/ 47 h 197"/>
                <a:gd name="T40" fmla="*/ 236 w 472"/>
                <a:gd name="T41" fmla="*/ 47 h 197"/>
                <a:gd name="T42" fmla="*/ 219 w 472"/>
                <a:gd name="T43" fmla="*/ 46 h 197"/>
                <a:gd name="T44" fmla="*/ 203 w 472"/>
                <a:gd name="T45" fmla="*/ 44 h 197"/>
                <a:gd name="T46" fmla="*/ 187 w 472"/>
                <a:gd name="T47" fmla="*/ 39 h 197"/>
                <a:gd name="T48" fmla="*/ 172 w 472"/>
                <a:gd name="T49" fmla="*/ 34 h 197"/>
                <a:gd name="T50" fmla="*/ 158 w 472"/>
                <a:gd name="T51" fmla="*/ 27 h 197"/>
                <a:gd name="T52" fmla="*/ 144 w 472"/>
                <a:gd name="T53" fmla="*/ 20 h 197"/>
                <a:gd name="T54" fmla="*/ 131 w 472"/>
                <a:gd name="T55" fmla="*/ 10 h 197"/>
                <a:gd name="T56" fmla="*/ 119 w 472"/>
                <a:gd name="T57" fmla="*/ 0 h 197"/>
                <a:gd name="T58" fmla="*/ 35 w 472"/>
                <a:gd name="T59" fmla="*/ 64 h 197"/>
                <a:gd name="T60" fmla="*/ 35 w 472"/>
                <a:gd name="T61" fmla="*/ 64 h 197"/>
                <a:gd name="T62" fmla="*/ 27 w 472"/>
                <a:gd name="T63" fmla="*/ 71 h 197"/>
                <a:gd name="T64" fmla="*/ 20 w 472"/>
                <a:gd name="T65" fmla="*/ 78 h 197"/>
                <a:gd name="T66" fmla="*/ 14 w 472"/>
                <a:gd name="T67" fmla="*/ 86 h 197"/>
                <a:gd name="T68" fmla="*/ 9 w 472"/>
                <a:gd name="T69" fmla="*/ 94 h 197"/>
                <a:gd name="T70" fmla="*/ 6 w 472"/>
                <a:gd name="T71" fmla="*/ 103 h 197"/>
                <a:gd name="T72" fmla="*/ 2 w 472"/>
                <a:gd name="T73" fmla="*/ 113 h 197"/>
                <a:gd name="T74" fmla="*/ 1 w 472"/>
                <a:gd name="T75" fmla="*/ 122 h 197"/>
                <a:gd name="T76" fmla="*/ 0 w 472"/>
                <a:gd name="T77" fmla="*/ 132 h 197"/>
                <a:gd name="T78" fmla="*/ 0 w 472"/>
                <a:gd name="T79" fmla="*/ 197 h 197"/>
                <a:gd name="T80" fmla="*/ 472 w 472"/>
                <a:gd name="T81" fmla="*/ 197 h 197"/>
                <a:gd name="T82" fmla="*/ 472 w 472"/>
                <a:gd name="T83" fmla="*/ 13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72" h="197">
                  <a:moveTo>
                    <a:pt x="472" y="132"/>
                  </a:moveTo>
                  <a:lnTo>
                    <a:pt x="472" y="132"/>
                  </a:lnTo>
                  <a:lnTo>
                    <a:pt x="471" y="122"/>
                  </a:lnTo>
                  <a:lnTo>
                    <a:pt x="469" y="113"/>
                  </a:lnTo>
                  <a:lnTo>
                    <a:pt x="467" y="103"/>
                  </a:lnTo>
                  <a:lnTo>
                    <a:pt x="462" y="94"/>
                  </a:lnTo>
                  <a:lnTo>
                    <a:pt x="458" y="86"/>
                  </a:lnTo>
                  <a:lnTo>
                    <a:pt x="452" y="78"/>
                  </a:lnTo>
                  <a:lnTo>
                    <a:pt x="445" y="71"/>
                  </a:lnTo>
                  <a:lnTo>
                    <a:pt x="437" y="64"/>
                  </a:lnTo>
                  <a:lnTo>
                    <a:pt x="352" y="0"/>
                  </a:lnTo>
                  <a:lnTo>
                    <a:pt x="352" y="0"/>
                  </a:lnTo>
                  <a:lnTo>
                    <a:pt x="340" y="10"/>
                  </a:lnTo>
                  <a:lnTo>
                    <a:pt x="327" y="20"/>
                  </a:lnTo>
                  <a:lnTo>
                    <a:pt x="314" y="27"/>
                  </a:lnTo>
                  <a:lnTo>
                    <a:pt x="299" y="34"/>
                  </a:lnTo>
                  <a:lnTo>
                    <a:pt x="284" y="39"/>
                  </a:lnTo>
                  <a:lnTo>
                    <a:pt x="269" y="44"/>
                  </a:lnTo>
                  <a:lnTo>
                    <a:pt x="253" y="46"/>
                  </a:lnTo>
                  <a:lnTo>
                    <a:pt x="236" y="47"/>
                  </a:lnTo>
                  <a:lnTo>
                    <a:pt x="236" y="47"/>
                  </a:lnTo>
                  <a:lnTo>
                    <a:pt x="219" y="46"/>
                  </a:lnTo>
                  <a:lnTo>
                    <a:pt x="203" y="44"/>
                  </a:lnTo>
                  <a:lnTo>
                    <a:pt x="187" y="39"/>
                  </a:lnTo>
                  <a:lnTo>
                    <a:pt x="172" y="34"/>
                  </a:lnTo>
                  <a:lnTo>
                    <a:pt x="158" y="27"/>
                  </a:lnTo>
                  <a:lnTo>
                    <a:pt x="144" y="20"/>
                  </a:lnTo>
                  <a:lnTo>
                    <a:pt x="131" y="10"/>
                  </a:lnTo>
                  <a:lnTo>
                    <a:pt x="119" y="0"/>
                  </a:lnTo>
                  <a:lnTo>
                    <a:pt x="35" y="64"/>
                  </a:lnTo>
                  <a:lnTo>
                    <a:pt x="35" y="64"/>
                  </a:lnTo>
                  <a:lnTo>
                    <a:pt x="27" y="71"/>
                  </a:lnTo>
                  <a:lnTo>
                    <a:pt x="20" y="78"/>
                  </a:lnTo>
                  <a:lnTo>
                    <a:pt x="14" y="86"/>
                  </a:lnTo>
                  <a:lnTo>
                    <a:pt x="9" y="94"/>
                  </a:lnTo>
                  <a:lnTo>
                    <a:pt x="6" y="103"/>
                  </a:lnTo>
                  <a:lnTo>
                    <a:pt x="2" y="113"/>
                  </a:lnTo>
                  <a:lnTo>
                    <a:pt x="1" y="122"/>
                  </a:lnTo>
                  <a:lnTo>
                    <a:pt x="0" y="132"/>
                  </a:lnTo>
                  <a:lnTo>
                    <a:pt x="0" y="197"/>
                  </a:lnTo>
                  <a:lnTo>
                    <a:pt x="472" y="197"/>
                  </a:lnTo>
                  <a:lnTo>
                    <a:pt x="472" y="13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sp>
        <p:nvSpPr>
          <p:cNvPr id="63" name="Rectangle 62">
            <a:extLst>
              <a:ext uri="{FF2B5EF4-FFF2-40B4-BE49-F238E27FC236}">
                <a16:creationId xmlns:a16="http://schemas.microsoft.com/office/drawing/2014/main" id="{3128009A-C4D4-4A38-82E2-7132B744411F}"/>
              </a:ext>
            </a:extLst>
          </p:cNvPr>
          <p:cNvSpPr/>
          <p:nvPr/>
        </p:nvSpPr>
        <p:spPr>
          <a:xfrm>
            <a:off x="4083149" y="4586245"/>
            <a:ext cx="1373691" cy="925576"/>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cxnSp>
        <p:nvCxnSpPr>
          <p:cNvPr id="64" name="Straight Connector 63">
            <a:extLst>
              <a:ext uri="{FF2B5EF4-FFF2-40B4-BE49-F238E27FC236}">
                <a16:creationId xmlns:a16="http://schemas.microsoft.com/office/drawing/2014/main" id="{CE8E75B9-04EA-40F0-B865-F6F6A2D87BF1}"/>
              </a:ext>
            </a:extLst>
          </p:cNvPr>
          <p:cNvCxnSpPr/>
          <p:nvPr/>
        </p:nvCxnSpPr>
        <p:spPr>
          <a:xfrm>
            <a:off x="5456840" y="5049033"/>
            <a:ext cx="2107331"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B45E4400-9192-4D91-B3EB-72627122D2B8}"/>
              </a:ext>
            </a:extLst>
          </p:cNvPr>
          <p:cNvCxnSpPr/>
          <p:nvPr/>
        </p:nvCxnSpPr>
        <p:spPr>
          <a:xfrm>
            <a:off x="7564171" y="2012702"/>
            <a:ext cx="0" cy="3767102"/>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CCD882E9-B7FD-4472-AB9B-892A9D622C98}"/>
              </a:ext>
            </a:extLst>
          </p:cNvPr>
          <p:cNvCxnSpPr/>
          <p:nvPr/>
        </p:nvCxnSpPr>
        <p:spPr>
          <a:xfrm>
            <a:off x="7556676" y="5792660"/>
            <a:ext cx="452084"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0456600B-8A58-439F-BA2E-A1E2F67213D4}"/>
              </a:ext>
            </a:extLst>
          </p:cNvPr>
          <p:cNvCxnSpPr/>
          <p:nvPr/>
        </p:nvCxnSpPr>
        <p:spPr>
          <a:xfrm>
            <a:off x="7556676" y="2020069"/>
            <a:ext cx="452084" cy="0"/>
          </a:xfrm>
          <a:prstGeom prst="line">
            <a:avLst/>
          </a:prstGeom>
          <a:ln w="285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5828302"/>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2AD0187A-E19C-42D5-A8C5-DC1F153882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972" name="think-cell Slide" r:id="rId6" imgW="395" imgH="396" progId="TCLayout.ActiveDocument.1">
                  <p:embed/>
                </p:oleObj>
              </mc:Choice>
              <mc:Fallback>
                <p:oleObj name="think-cell Slide" r:id="rId6" imgW="395" imgH="396" progId="TCLayout.ActiveDocument.1">
                  <p:embed/>
                  <p:pic>
                    <p:nvPicPr>
                      <p:cNvPr id="21" name="Object 20" hidden="1">
                        <a:extLst>
                          <a:ext uri="{FF2B5EF4-FFF2-40B4-BE49-F238E27FC236}">
                            <a16:creationId xmlns:a16="http://schemas.microsoft.com/office/drawing/2014/main" id="{2AD0187A-E19C-42D5-A8C5-DC1F1538821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 name="Rectangle 19" hidden="1">
            <a:extLst>
              <a:ext uri="{FF2B5EF4-FFF2-40B4-BE49-F238E27FC236}">
                <a16:creationId xmlns:a16="http://schemas.microsoft.com/office/drawing/2014/main" id="{B2668EB0-439A-489C-AC84-EE8BADE5A09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6DC37B91-BB45-46C4-98B6-9CE7419630ED}"/>
              </a:ext>
            </a:extLst>
          </p:cNvPr>
          <p:cNvSpPr>
            <a:spLocks noGrp="1"/>
          </p:cNvSpPr>
          <p:nvPr>
            <p:ph type="title"/>
          </p:nvPr>
        </p:nvSpPr>
        <p:spPr>
          <a:xfrm>
            <a:off x="914400" y="1085264"/>
            <a:ext cx="4289196" cy="594360"/>
          </a:xfrm>
        </p:spPr>
        <p:txBody>
          <a:bodyPr/>
          <a:lstStyle/>
          <a:p>
            <a:r>
              <a:rPr lang="en-US" dirty="0"/>
              <a:t>Digital is Woven into Everything We Do</a:t>
            </a:r>
          </a:p>
        </p:txBody>
      </p:sp>
      <p:sp>
        <p:nvSpPr>
          <p:cNvPr id="3" name="Text Placeholder 2">
            <a:extLst>
              <a:ext uri="{FF2B5EF4-FFF2-40B4-BE49-F238E27FC236}">
                <a16:creationId xmlns:a16="http://schemas.microsoft.com/office/drawing/2014/main" id="{0E2913AE-7CB4-47F0-9D0F-CC2F1BB5F8F9}"/>
              </a:ext>
            </a:extLst>
          </p:cNvPr>
          <p:cNvSpPr>
            <a:spLocks noGrp="1"/>
          </p:cNvSpPr>
          <p:nvPr>
            <p:ph type="body" sz="quarter" idx="14"/>
          </p:nvPr>
        </p:nvSpPr>
        <p:spPr>
          <a:xfrm>
            <a:off x="914721" y="1777944"/>
            <a:ext cx="4095677" cy="475488"/>
          </a:xfrm>
        </p:spPr>
        <p:txBody>
          <a:bodyPr/>
          <a:lstStyle/>
          <a:p>
            <a:r>
              <a:rPr lang="en-US" dirty="0"/>
              <a:t>For the first time in history, technology is pervasive enough and cheap enough that everyone is using it with little or no learning curve, creating business models and opportunities that never existed before</a:t>
            </a:r>
          </a:p>
        </p:txBody>
      </p:sp>
      <p:sp>
        <p:nvSpPr>
          <p:cNvPr id="4" name="Text Placeholder 3">
            <a:extLst>
              <a:ext uri="{FF2B5EF4-FFF2-40B4-BE49-F238E27FC236}">
                <a16:creationId xmlns:a16="http://schemas.microsoft.com/office/drawing/2014/main" id="{4211932F-C17A-4C84-A4A9-B2C43FF76E25}"/>
              </a:ext>
            </a:extLst>
          </p:cNvPr>
          <p:cNvSpPr>
            <a:spLocks noGrp="1"/>
          </p:cNvSpPr>
          <p:nvPr>
            <p:ph type="body" sz="quarter" idx="15"/>
          </p:nvPr>
        </p:nvSpPr>
        <p:spPr>
          <a:xfrm>
            <a:off x="914970" y="466344"/>
            <a:ext cx="3732443" cy="190082"/>
          </a:xfrm>
        </p:spPr>
        <p:txBody>
          <a:bodyPr/>
          <a:lstStyle/>
          <a:p>
            <a:r>
              <a:rPr lang="en-US" dirty="0"/>
              <a:t>FRAMEWORKS &amp; CONCEPT ILLUSTRATION</a:t>
            </a:r>
          </a:p>
        </p:txBody>
      </p:sp>
      <p:cxnSp>
        <p:nvCxnSpPr>
          <p:cNvPr id="5" name="Straight Connector 4">
            <a:extLst>
              <a:ext uri="{FF2B5EF4-FFF2-40B4-BE49-F238E27FC236}">
                <a16:creationId xmlns:a16="http://schemas.microsoft.com/office/drawing/2014/main" id="{793ADE06-5B6D-4A90-BAB6-8D76CC255911}"/>
              </a:ext>
            </a:extLst>
          </p:cNvPr>
          <p:cNvCxnSpPr/>
          <p:nvPr/>
        </p:nvCxnSpPr>
        <p:spPr>
          <a:xfrm>
            <a:off x="7758733" y="1444286"/>
            <a:ext cx="2960494" cy="0"/>
          </a:xfrm>
          <a:prstGeom prst="line">
            <a:avLst/>
          </a:prstGeom>
          <a:ln w="91440" cmpd="sng">
            <a:solidFill>
              <a:schemeClr val="accent6">
                <a:lumMod val="40000"/>
                <a:lumOff val="60000"/>
              </a:schemeClr>
            </a:solidFill>
          </a:ln>
        </p:spPr>
        <p:style>
          <a:lnRef idx="2">
            <a:schemeClr val="accent1"/>
          </a:lnRef>
          <a:fillRef idx="0">
            <a:schemeClr val="accent1"/>
          </a:fillRef>
          <a:effectRef idx="1">
            <a:schemeClr val="accent1"/>
          </a:effectRef>
          <a:fontRef idx="minor">
            <a:schemeClr val="tx1"/>
          </a:fontRef>
        </p:style>
      </p:cxnSp>
      <p:pic>
        <p:nvPicPr>
          <p:cNvPr id="6" name="Picture 5">
            <a:extLst>
              <a:ext uri="{FF2B5EF4-FFF2-40B4-BE49-F238E27FC236}">
                <a16:creationId xmlns:a16="http://schemas.microsoft.com/office/drawing/2014/main" id="{66E12757-E0DB-4A27-9D03-04B151490364}"/>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5010398" y="0"/>
            <a:ext cx="2478000" cy="6858000"/>
          </a:xfrm>
          <a:prstGeom prst="rect">
            <a:avLst/>
          </a:prstGeom>
        </p:spPr>
      </p:pic>
      <p:sp>
        <p:nvSpPr>
          <p:cNvPr id="7" name="Rectangle 6">
            <a:extLst>
              <a:ext uri="{FF2B5EF4-FFF2-40B4-BE49-F238E27FC236}">
                <a16:creationId xmlns:a16="http://schemas.microsoft.com/office/drawing/2014/main" id="{12D232D5-1145-453A-8F67-C173FF998E66}"/>
              </a:ext>
            </a:extLst>
          </p:cNvPr>
          <p:cNvSpPr/>
          <p:nvPr/>
        </p:nvSpPr>
        <p:spPr>
          <a:xfrm>
            <a:off x="1147434" y="4423708"/>
            <a:ext cx="3984274" cy="1582248"/>
          </a:xfrm>
          <a:prstGeom prst="rect">
            <a:avLst/>
          </a:prstGeom>
          <a:noFill/>
        </p:spPr>
        <p:txBody>
          <a:bodyPr wrap="square" lIns="91440" tIns="32141" rIns="64283" bIns="32141">
            <a:spAutoFit/>
          </a:bodyPr>
          <a:lstStyle/>
          <a:p>
            <a:pPr marL="0" marR="0" lvl="0" indent="0" algn="l" defTabSz="914400" rtl="0" eaLnBrk="1" fontAlgn="auto" latinLnBrk="0" hangingPunct="1">
              <a:lnSpc>
                <a:spcPct val="13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Frutiger Next Pro Medium" charset="0"/>
                <a:cs typeface="Frutiger Next Pro Medium" charset="0"/>
                <a:sym typeface="Frutiger Next Pro Light" charset="0"/>
              </a:rPr>
              <a:t>Technology has become ubiquitous and embedded into everyone’s lives. </a:t>
            </a:r>
          </a:p>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Frutiger Next Pro Medium" charset="0"/>
                <a:cs typeface="Frutiger Next Pro Medium" charset="0"/>
                <a:sym typeface="Frutiger Next Pro Light" charset="0"/>
              </a:rPr>
              <a:t>The explosion of connectivity, data, ease of use, computing power, accessibility,  and the </a:t>
            </a:r>
            <a:r>
              <a:rPr kumimoji="0" lang="en-US" sz="1100" b="1" i="0" u="none" strike="noStrike" kern="1200" cap="none" spc="0" normalizeH="0" baseline="0" noProof="0" dirty="0">
                <a:ln>
                  <a:noFill/>
                </a:ln>
                <a:solidFill>
                  <a:srgbClr val="000000"/>
                </a:solidFill>
                <a:effectLst/>
                <a:uLnTx/>
                <a:uFillTx/>
                <a:ea typeface="Frutiger Next Pro Medium" charset="0"/>
                <a:cs typeface="Frutiger Next Pro Medium" charset="0"/>
                <a:sym typeface="Frutiger Next Pro Light" charset="0"/>
              </a:rPr>
              <a:t>rapid pace of innovation </a:t>
            </a:r>
            <a:r>
              <a:rPr kumimoji="0" lang="en-US" sz="1100" b="0" i="0" u="none" strike="noStrike" kern="1200" cap="none" spc="0" normalizeH="0" baseline="0" noProof="0" dirty="0">
                <a:ln>
                  <a:noFill/>
                </a:ln>
                <a:solidFill>
                  <a:srgbClr val="000000"/>
                </a:solidFill>
                <a:effectLst/>
                <a:uLnTx/>
                <a:uFillTx/>
                <a:ea typeface="Frutiger Next Pro Medium" charset="0"/>
                <a:cs typeface="Frutiger Next Pro Medium" charset="0"/>
                <a:sym typeface="Frutiger Next Pro Light" charset="0"/>
              </a:rPr>
              <a:t>have made technology as important as food, water and shelter in society.</a:t>
            </a:r>
          </a:p>
        </p:txBody>
      </p:sp>
      <p:sp>
        <p:nvSpPr>
          <p:cNvPr id="8" name="Rectangle 7">
            <a:extLst>
              <a:ext uri="{FF2B5EF4-FFF2-40B4-BE49-F238E27FC236}">
                <a16:creationId xmlns:a16="http://schemas.microsoft.com/office/drawing/2014/main" id="{C804FE3F-59FA-4ADB-BAB1-6D27D39047D5}"/>
              </a:ext>
            </a:extLst>
          </p:cNvPr>
          <p:cNvSpPr/>
          <p:nvPr/>
        </p:nvSpPr>
        <p:spPr>
          <a:xfrm>
            <a:off x="7693257" y="1934313"/>
            <a:ext cx="3945929" cy="1802308"/>
          </a:xfrm>
          <a:prstGeom prst="rect">
            <a:avLst/>
          </a:prstGeom>
        </p:spPr>
        <p:txBody>
          <a:bodyPr wrap="square" lIns="64283" tIns="32141" rIns="64283" bIns="32141">
            <a:spAutoFit/>
          </a:bodyPr>
          <a:lstStyle/>
          <a:p>
            <a:pPr marL="0" marR="0" lvl="0" indent="0" algn="l" defTabSz="914400" rtl="0" eaLnBrk="1" fontAlgn="auto" latinLnBrk="0" hangingPunct="1">
              <a:lnSpc>
                <a:spcPct val="13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Frutiger Next Pro Medium" charset="0"/>
                <a:cs typeface="Frutiger Next Pro Medium" charset="0"/>
                <a:sym typeface="Frutiger Next Pro Light" charset="0"/>
              </a:rPr>
              <a:t>Digital technologies are woven </a:t>
            </a:r>
            <a:br>
              <a:rPr kumimoji="0" lang="en-US" sz="1400" b="0" i="0" u="none" strike="noStrike" kern="1200" cap="none" spc="0" normalizeH="0" baseline="0" noProof="0" dirty="0">
                <a:ln>
                  <a:noFill/>
                </a:ln>
                <a:solidFill>
                  <a:srgbClr val="000000"/>
                </a:solidFill>
                <a:effectLst/>
                <a:uLnTx/>
                <a:uFillTx/>
                <a:ea typeface="Frutiger Next Pro Medium" charset="0"/>
                <a:cs typeface="Frutiger Next Pro Medium" charset="0"/>
                <a:sym typeface="Frutiger Next Pro Light" charset="0"/>
              </a:rPr>
            </a:br>
            <a:r>
              <a:rPr kumimoji="0" lang="en-US" sz="1400" b="0" i="0" u="none" strike="noStrike" kern="1200" cap="none" spc="0" normalizeH="0" baseline="0" noProof="0" dirty="0">
                <a:ln>
                  <a:noFill/>
                </a:ln>
                <a:solidFill>
                  <a:srgbClr val="000000"/>
                </a:solidFill>
                <a:effectLst/>
                <a:uLnTx/>
                <a:uFillTx/>
                <a:ea typeface="Frutiger Next Pro Medium" charset="0"/>
                <a:cs typeface="Frutiger Next Pro Medium" charset="0"/>
                <a:sym typeface="Frutiger Next Pro Light" charset="0"/>
              </a:rPr>
              <a:t>into the fabric of everyday living. </a:t>
            </a:r>
          </a:p>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Frutiger Next Pro Medium" charset="0"/>
                <a:cs typeface="Frutiger Next Pro Medium" charset="0"/>
                <a:sym typeface="Frutiger Next Pro Light" charset="0"/>
              </a:rPr>
              <a:t>Family and friends stay </a:t>
            </a:r>
            <a:r>
              <a:rPr kumimoji="0" lang="en-US" sz="1100" b="1" i="0" u="none" strike="noStrike" kern="1200" cap="none" spc="0" normalizeH="0" baseline="0" noProof="0" dirty="0">
                <a:ln>
                  <a:noFill/>
                </a:ln>
                <a:solidFill>
                  <a:srgbClr val="000000"/>
                </a:solidFill>
                <a:effectLst/>
                <a:uLnTx/>
                <a:uFillTx/>
                <a:ea typeface="Frutiger Next Pro Medium" charset="0"/>
                <a:cs typeface="Frutiger Next Pro Medium" charset="0"/>
                <a:sym typeface="Frutiger Next Pro Light" charset="0"/>
              </a:rPr>
              <a:t>connected, scheduled, and entertained. </a:t>
            </a:r>
            <a:r>
              <a:rPr kumimoji="0" lang="en-US" sz="1100" b="0" i="0" u="none" strike="noStrike" kern="1200" cap="none" spc="0" normalizeH="0" baseline="0" noProof="0" dirty="0">
                <a:ln>
                  <a:noFill/>
                </a:ln>
                <a:solidFill>
                  <a:srgbClr val="000000"/>
                </a:solidFill>
                <a:effectLst/>
                <a:uLnTx/>
                <a:uFillTx/>
                <a:ea typeface="Frutiger Next Pro Medium" charset="0"/>
                <a:cs typeface="Frutiger Next Pro Medium" charset="0"/>
                <a:sym typeface="Frutiger Next Pro Light" charset="0"/>
              </a:rPr>
              <a:t>Technology is now necessary for entertainment, health, driving, socializing, shopping, banking, traveling, learning and dozens of other </a:t>
            </a:r>
            <a:br>
              <a:rPr kumimoji="0" lang="en-US" sz="1100" b="0" i="0" u="none" strike="noStrike" kern="1200" cap="none" spc="0" normalizeH="0" baseline="0" noProof="0" dirty="0">
                <a:ln>
                  <a:noFill/>
                </a:ln>
                <a:solidFill>
                  <a:srgbClr val="000000"/>
                </a:solidFill>
                <a:effectLst/>
                <a:uLnTx/>
                <a:uFillTx/>
                <a:ea typeface="Frutiger Next Pro Medium" charset="0"/>
                <a:cs typeface="Frutiger Next Pro Medium" charset="0"/>
                <a:sym typeface="Frutiger Next Pro Light" charset="0"/>
              </a:rPr>
            </a:br>
            <a:r>
              <a:rPr kumimoji="0" lang="en-US" sz="1100" b="0" i="0" u="none" strike="noStrike" kern="1200" cap="none" spc="0" normalizeH="0" baseline="0" noProof="0" dirty="0">
                <a:ln>
                  <a:noFill/>
                </a:ln>
                <a:solidFill>
                  <a:srgbClr val="000000"/>
                </a:solidFill>
                <a:effectLst/>
                <a:uLnTx/>
                <a:uFillTx/>
                <a:ea typeface="Frutiger Next Pro Medium" charset="0"/>
                <a:cs typeface="Frutiger Next Pro Medium" charset="0"/>
                <a:sym typeface="Frutiger Next Pro Light" charset="0"/>
              </a:rPr>
              <a:t>personal activities.</a:t>
            </a:r>
          </a:p>
        </p:txBody>
      </p:sp>
      <p:sp>
        <p:nvSpPr>
          <p:cNvPr id="9" name="Rectangle 8">
            <a:extLst>
              <a:ext uri="{FF2B5EF4-FFF2-40B4-BE49-F238E27FC236}">
                <a16:creationId xmlns:a16="http://schemas.microsoft.com/office/drawing/2014/main" id="{44C826D2-0C95-4283-A342-7459032B8029}"/>
              </a:ext>
            </a:extLst>
          </p:cNvPr>
          <p:cNvSpPr/>
          <p:nvPr/>
        </p:nvSpPr>
        <p:spPr>
          <a:xfrm>
            <a:off x="7670992" y="4740100"/>
            <a:ext cx="3968194" cy="1582248"/>
          </a:xfrm>
          <a:prstGeom prst="rect">
            <a:avLst/>
          </a:prstGeom>
        </p:spPr>
        <p:txBody>
          <a:bodyPr wrap="square" lIns="64283" tIns="32141" rIns="64283" bIns="32141">
            <a:spAutoFit/>
          </a:bodyPr>
          <a:lstStyle/>
          <a:p>
            <a:pPr marL="0" marR="0" lvl="0" indent="0" algn="l" defTabSz="914400" rtl="0" eaLnBrk="1" fontAlgn="auto" latinLnBrk="0" hangingPunct="1">
              <a:lnSpc>
                <a:spcPct val="13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Frutiger Next Pro Medium" charset="0"/>
                <a:cs typeface="Frutiger Next Pro Medium" charset="0"/>
                <a:sym typeface="Frutiger Next Pro Light" charset="0"/>
              </a:rPr>
              <a:t>Digital is transforming every business and touches every employee in a unique way. </a:t>
            </a:r>
          </a:p>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Frutiger Next Pro Medium" charset="0"/>
                <a:cs typeface="Frutiger Next Pro Medium" charset="0"/>
                <a:sym typeface="Frutiger Next Pro Light" charset="0"/>
              </a:rPr>
              <a:t>Some industries are being turned inside out, while others are benefiting from the expanded capabilities. Marketing, customer engagement, employee productivity, sales, and many other </a:t>
            </a:r>
            <a:r>
              <a:rPr kumimoji="0" lang="en-US" sz="1100" b="1" i="0" u="none" strike="noStrike" kern="1200" cap="none" spc="0" normalizeH="0" baseline="0" noProof="0" dirty="0">
                <a:ln>
                  <a:noFill/>
                </a:ln>
                <a:solidFill>
                  <a:srgbClr val="000000"/>
                </a:solidFill>
                <a:effectLst/>
                <a:uLnTx/>
                <a:uFillTx/>
                <a:ea typeface="Frutiger Next Pro Medium" charset="0"/>
                <a:cs typeface="Frutiger Next Pro Medium" charset="0"/>
                <a:sym typeface="Frutiger Next Pro Light" charset="0"/>
              </a:rPr>
              <a:t>business functions are being redefined</a:t>
            </a:r>
            <a:r>
              <a:rPr kumimoji="0" lang="en-US" sz="1100" b="0" i="0" u="none" strike="noStrike" kern="1200" cap="none" spc="0" normalizeH="0" baseline="0" noProof="0" dirty="0">
                <a:ln>
                  <a:noFill/>
                </a:ln>
                <a:solidFill>
                  <a:srgbClr val="000000"/>
                </a:solidFill>
                <a:effectLst/>
                <a:uLnTx/>
                <a:uFillTx/>
                <a:ea typeface="Frutiger Next Pro Medium" charset="0"/>
                <a:cs typeface="Frutiger Next Pro Medium" charset="0"/>
                <a:sym typeface="Frutiger Next Pro Light" charset="0"/>
              </a:rPr>
              <a:t>.</a:t>
            </a:r>
          </a:p>
        </p:txBody>
      </p:sp>
      <p:sp>
        <p:nvSpPr>
          <p:cNvPr id="10" name="Title 5">
            <a:extLst>
              <a:ext uri="{FF2B5EF4-FFF2-40B4-BE49-F238E27FC236}">
                <a16:creationId xmlns:a16="http://schemas.microsoft.com/office/drawing/2014/main" id="{B7F93734-50C1-45A8-A9CB-FFF2EED8B5DE}"/>
              </a:ext>
            </a:extLst>
          </p:cNvPr>
          <p:cNvSpPr txBox="1">
            <a:spLocks/>
          </p:cNvSpPr>
          <p:nvPr/>
        </p:nvSpPr>
        <p:spPr>
          <a:xfrm>
            <a:off x="914400" y="694944"/>
            <a:ext cx="4879361" cy="19958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sz="4000" dirty="0"/>
          </a:p>
        </p:txBody>
      </p:sp>
      <p:sp>
        <p:nvSpPr>
          <p:cNvPr id="11" name="Text Placeholder 7">
            <a:extLst>
              <a:ext uri="{FF2B5EF4-FFF2-40B4-BE49-F238E27FC236}">
                <a16:creationId xmlns:a16="http://schemas.microsoft.com/office/drawing/2014/main" id="{A7592752-3FA4-4314-B91A-D83AE27053C4}"/>
              </a:ext>
            </a:extLst>
          </p:cNvPr>
          <p:cNvSpPr txBox="1">
            <a:spLocks/>
          </p:cNvSpPr>
          <p:nvPr/>
        </p:nvSpPr>
        <p:spPr>
          <a:xfrm>
            <a:off x="3438799" y="3086946"/>
            <a:ext cx="4131347" cy="1169988"/>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cxnSp>
        <p:nvCxnSpPr>
          <p:cNvPr id="12" name="Straight Connector 11">
            <a:extLst>
              <a:ext uri="{FF2B5EF4-FFF2-40B4-BE49-F238E27FC236}">
                <a16:creationId xmlns:a16="http://schemas.microsoft.com/office/drawing/2014/main" id="{39C61075-21BF-4FC9-BAAB-1EDF3524CBEC}"/>
              </a:ext>
            </a:extLst>
          </p:cNvPr>
          <p:cNvCxnSpPr/>
          <p:nvPr/>
        </p:nvCxnSpPr>
        <p:spPr>
          <a:xfrm>
            <a:off x="1208906" y="3741011"/>
            <a:ext cx="1051467" cy="0"/>
          </a:xfrm>
          <a:prstGeom prst="line">
            <a:avLst/>
          </a:prstGeom>
          <a:ln w="91440" cmpd="sng">
            <a:solidFill>
              <a:schemeClr val="accent2"/>
            </a:solidFill>
          </a:ln>
        </p:spPr>
        <p:style>
          <a:lnRef idx="2">
            <a:schemeClr val="accent1"/>
          </a:lnRef>
          <a:fillRef idx="0">
            <a:schemeClr val="accent1"/>
          </a:fillRef>
          <a:effectRef idx="1">
            <a:schemeClr val="accent1"/>
          </a:effectRef>
          <a:fontRef idx="minor">
            <a:schemeClr val="tx1"/>
          </a:fontRef>
        </p:style>
      </p:cxnSp>
      <p:sp>
        <p:nvSpPr>
          <p:cNvPr id="13" name="Rectangle 3">
            <a:extLst>
              <a:ext uri="{FF2B5EF4-FFF2-40B4-BE49-F238E27FC236}">
                <a16:creationId xmlns:a16="http://schemas.microsoft.com/office/drawing/2014/main" id="{7DE70BD2-8E84-479D-B32D-8EF942EF9793}"/>
              </a:ext>
            </a:extLst>
          </p:cNvPr>
          <p:cNvSpPr>
            <a:spLocks/>
          </p:cNvSpPr>
          <p:nvPr/>
        </p:nvSpPr>
        <p:spPr bwMode="auto">
          <a:xfrm>
            <a:off x="1238308" y="3453507"/>
            <a:ext cx="2787243" cy="510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mj-lt"/>
                <a:ea typeface="+mn-ea"/>
                <a:cs typeface="Frutiger Next Pro Medium"/>
                <a:sym typeface="Frutiger Next Pro Medium" charset="0"/>
              </a:rPr>
              <a:t>Society</a:t>
            </a:r>
            <a:endParaRPr kumimoji="0" lang="en-US" sz="1000" b="0" i="0" u="none" strike="noStrike" kern="1200" cap="none" spc="200" normalizeH="0" baseline="0" noProof="0" dirty="0">
              <a:ln>
                <a:noFill/>
              </a:ln>
              <a:solidFill>
                <a:srgbClr val="000000"/>
              </a:solidFill>
              <a:effectLst/>
              <a:uLnTx/>
              <a:uFillTx/>
              <a:latin typeface="+mj-lt"/>
              <a:ea typeface="Nexa Black" charset="0"/>
              <a:cs typeface="Nexa Black" charset="0"/>
              <a:sym typeface="Frutiger Next Pro Medium"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200" normalizeH="0" baseline="0" noProof="0" dirty="0">
              <a:ln>
                <a:noFill/>
              </a:ln>
              <a:solidFill>
                <a:srgbClr val="000000"/>
              </a:solidFill>
              <a:effectLst/>
              <a:uLnTx/>
              <a:uFillTx/>
              <a:latin typeface="+mj-lt"/>
              <a:ea typeface="Nexa Black" charset="0"/>
              <a:cs typeface="Nexa Black" charset="0"/>
              <a:sym typeface="Frutiger Next Pro Medium"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200" normalizeH="0" baseline="0" noProof="0" dirty="0">
                <a:ln>
                  <a:noFill/>
                </a:ln>
                <a:solidFill>
                  <a:srgbClr val="000000"/>
                </a:solidFill>
                <a:effectLst/>
                <a:uLnTx/>
                <a:uFillTx/>
                <a:latin typeface="+mj-lt"/>
                <a:ea typeface="Open Sans Extrabold" charset="0"/>
                <a:cs typeface="Open Sans Extrabold" charset="0"/>
                <a:sym typeface="Frutiger Next Pro Medium" charset="0"/>
              </a:rPr>
              <a:t>TECHNOLOGY AS AN ENABLER FOR THE DIGITAL ERA</a:t>
            </a:r>
            <a:endParaRPr kumimoji="0" lang="en-US" sz="1000" b="1" i="0" u="none" strike="noStrike" kern="1200" cap="none" spc="200" normalizeH="0" baseline="0" noProof="0" dirty="0">
              <a:ln>
                <a:noFill/>
              </a:ln>
              <a:solidFill>
                <a:srgbClr val="000000"/>
              </a:solidFill>
              <a:effectLst/>
              <a:uLnTx/>
              <a:uFillTx/>
              <a:latin typeface="+mj-lt"/>
              <a:ea typeface="Open Sans Extrabold" charset="0"/>
              <a:cs typeface="Open Sans Extrabold" charset="0"/>
              <a:sym typeface="Frutiger Next Pro Light" charset="0"/>
            </a:endParaRPr>
          </a:p>
        </p:txBody>
      </p:sp>
      <p:cxnSp>
        <p:nvCxnSpPr>
          <p:cNvPr id="14" name="Straight Connector 13">
            <a:extLst>
              <a:ext uri="{FF2B5EF4-FFF2-40B4-BE49-F238E27FC236}">
                <a16:creationId xmlns:a16="http://schemas.microsoft.com/office/drawing/2014/main" id="{3E64DD56-9F2E-4471-B40A-1BB25A2CA456}"/>
              </a:ext>
            </a:extLst>
          </p:cNvPr>
          <p:cNvCxnSpPr/>
          <p:nvPr/>
        </p:nvCxnSpPr>
        <p:spPr>
          <a:xfrm>
            <a:off x="7720313" y="4256934"/>
            <a:ext cx="3066575" cy="0"/>
          </a:xfrm>
          <a:prstGeom prst="line">
            <a:avLst/>
          </a:prstGeom>
          <a:ln w="91440" cmpd="sng">
            <a:solidFill>
              <a:schemeClr val="accent3"/>
            </a:solidFill>
          </a:ln>
        </p:spPr>
        <p:style>
          <a:lnRef idx="2">
            <a:schemeClr val="accent1"/>
          </a:lnRef>
          <a:fillRef idx="0">
            <a:schemeClr val="accent1"/>
          </a:fillRef>
          <a:effectRef idx="1">
            <a:schemeClr val="accent1"/>
          </a:effectRef>
          <a:fontRef idx="minor">
            <a:schemeClr val="tx1"/>
          </a:fontRef>
        </p:style>
      </p:cxnSp>
      <p:sp>
        <p:nvSpPr>
          <p:cNvPr id="15" name="Rectangle 3">
            <a:extLst>
              <a:ext uri="{FF2B5EF4-FFF2-40B4-BE49-F238E27FC236}">
                <a16:creationId xmlns:a16="http://schemas.microsoft.com/office/drawing/2014/main" id="{E7A94C89-A2E2-4F0D-AAA6-AD47E53D9EFE}"/>
              </a:ext>
            </a:extLst>
          </p:cNvPr>
          <p:cNvSpPr>
            <a:spLocks/>
          </p:cNvSpPr>
          <p:nvPr/>
        </p:nvSpPr>
        <p:spPr bwMode="auto">
          <a:xfrm>
            <a:off x="7777151" y="1151806"/>
            <a:ext cx="3009737" cy="461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mj-lt"/>
                <a:ea typeface="+mn-ea"/>
                <a:cs typeface="Frutiger Next Pro Medium"/>
                <a:sym typeface="Frutiger Next Pro Medium" charset="0"/>
              </a:rPr>
              <a:t>Personal / Consum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200" normalizeH="0" baseline="0" noProof="0" dirty="0">
              <a:ln>
                <a:noFill/>
              </a:ln>
              <a:solidFill>
                <a:srgbClr val="000000"/>
              </a:solidFill>
              <a:effectLst/>
              <a:uLnTx/>
              <a:uFillTx/>
              <a:latin typeface="+mj-lt"/>
              <a:ea typeface="+mn-ea"/>
              <a:cs typeface="Frutiger Next Pro Light"/>
              <a:sym typeface="Frutiger Next Pro Medium"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200" normalizeH="0" baseline="0" noProof="0" dirty="0">
                <a:ln>
                  <a:noFill/>
                </a:ln>
                <a:solidFill>
                  <a:srgbClr val="000000"/>
                </a:solidFill>
                <a:effectLst/>
                <a:uLnTx/>
                <a:uFillTx/>
                <a:latin typeface="+mj-lt"/>
                <a:ea typeface="Open Sans Extrabold" charset="0"/>
                <a:cs typeface="Open Sans Extrabold" charset="0"/>
                <a:sym typeface="Frutiger Next Pro Medium" charset="0"/>
              </a:rPr>
              <a:t>THE DIGITAL LIFELINE</a:t>
            </a:r>
            <a:endParaRPr kumimoji="0" lang="en-US" sz="1000" b="1" i="0" u="none" strike="noStrike" kern="1200" cap="none" spc="200" normalizeH="0" baseline="0" noProof="0" dirty="0">
              <a:ln>
                <a:noFill/>
              </a:ln>
              <a:solidFill>
                <a:srgbClr val="000000"/>
              </a:solidFill>
              <a:effectLst/>
              <a:uLnTx/>
              <a:uFillTx/>
              <a:latin typeface="+mj-lt"/>
              <a:ea typeface="Open Sans Extrabold" charset="0"/>
              <a:cs typeface="Open Sans Extrabold" charset="0"/>
              <a:sym typeface="Frutiger Next Pro Light" charset="0"/>
            </a:endParaRPr>
          </a:p>
        </p:txBody>
      </p:sp>
      <p:sp>
        <p:nvSpPr>
          <p:cNvPr id="16" name="Rectangle 3">
            <a:extLst>
              <a:ext uri="{FF2B5EF4-FFF2-40B4-BE49-F238E27FC236}">
                <a16:creationId xmlns:a16="http://schemas.microsoft.com/office/drawing/2014/main" id="{9AD89E2A-D606-4B7E-810B-E50E9072AB02}"/>
              </a:ext>
            </a:extLst>
          </p:cNvPr>
          <p:cNvSpPr>
            <a:spLocks/>
          </p:cNvSpPr>
          <p:nvPr/>
        </p:nvSpPr>
        <p:spPr bwMode="auto">
          <a:xfrm>
            <a:off x="7734619" y="3962432"/>
            <a:ext cx="4046255" cy="461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mj-lt"/>
                <a:ea typeface="+mn-ea"/>
                <a:cs typeface="Frutiger Next Pro Medium"/>
                <a:sym typeface="Frutiger Next Pro Medium" charset="0"/>
              </a:rPr>
              <a:t>Business / Employe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200" normalizeH="0" baseline="0" noProof="0" dirty="0">
              <a:ln>
                <a:noFill/>
              </a:ln>
              <a:solidFill>
                <a:srgbClr val="000000"/>
              </a:solidFill>
              <a:effectLst/>
              <a:uLnTx/>
              <a:uFillTx/>
              <a:latin typeface="+mj-lt"/>
              <a:ea typeface="+mn-ea"/>
              <a:cs typeface="Frutiger Next Pro Light"/>
              <a:sym typeface="Frutiger Next Pro Medium"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200" normalizeH="0" baseline="0" noProof="0" dirty="0">
                <a:ln>
                  <a:noFill/>
                </a:ln>
                <a:solidFill>
                  <a:srgbClr val="000000"/>
                </a:solidFill>
                <a:effectLst/>
                <a:uLnTx/>
                <a:uFillTx/>
                <a:latin typeface="+mj-lt"/>
                <a:ea typeface="Open Sans Extrabold" charset="0"/>
                <a:cs typeface="Open Sans Extrabold" charset="0"/>
                <a:sym typeface="Frutiger Next Pro Medium" charset="0"/>
              </a:rPr>
              <a:t>DIGITAL DISRUPTION IN EVERY SECTOR</a:t>
            </a:r>
            <a:endParaRPr kumimoji="0" lang="en-US" sz="1440" b="1" i="0" u="none" strike="noStrike" kern="1200" cap="none" spc="0" normalizeH="0" baseline="0" noProof="0" dirty="0">
              <a:ln>
                <a:noFill/>
              </a:ln>
              <a:solidFill>
                <a:srgbClr val="000000"/>
              </a:solidFill>
              <a:effectLst/>
              <a:uLnTx/>
              <a:uFillTx/>
              <a:latin typeface="+mj-lt"/>
              <a:ea typeface="Open Sans Extrabold" charset="0"/>
              <a:cs typeface="Open Sans Extrabold" charset="0"/>
              <a:sym typeface="Frutiger Next Pro Medium"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40" b="0" i="0" u="none" strike="noStrike" kern="1200" cap="none" spc="0" normalizeH="0" baseline="0" noProof="0" dirty="0">
              <a:ln>
                <a:noFill/>
              </a:ln>
              <a:solidFill>
                <a:srgbClr val="000000"/>
              </a:solidFill>
              <a:effectLst/>
              <a:uLnTx/>
              <a:uFillTx/>
              <a:latin typeface="+mj-lt"/>
              <a:ea typeface="+mn-ea"/>
              <a:cs typeface="Frutiger Next Pro Light" charset="0"/>
              <a:sym typeface="Frutiger Next Pro Light" charset="0"/>
            </a:endParaRPr>
          </a:p>
        </p:txBody>
      </p:sp>
    </p:spTree>
    <p:extLst>
      <p:ext uri="{BB962C8B-B14F-4D97-AF65-F5344CB8AC3E}">
        <p14:creationId xmlns:p14="http://schemas.microsoft.com/office/powerpoint/2010/main" val="1640288296"/>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727358F4-DF46-450D-8C66-64815E2E005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996" name="think-cell Slide" r:id="rId6" imgW="395" imgH="396" progId="TCLayout.ActiveDocument.1">
                  <p:embed/>
                </p:oleObj>
              </mc:Choice>
              <mc:Fallback>
                <p:oleObj name="think-cell Slide" r:id="rId6" imgW="395" imgH="396" progId="TCLayout.ActiveDocument.1">
                  <p:embed/>
                  <p:pic>
                    <p:nvPicPr>
                      <p:cNvPr id="27" name="Object 26" hidden="1">
                        <a:extLst>
                          <a:ext uri="{FF2B5EF4-FFF2-40B4-BE49-F238E27FC236}">
                            <a16:creationId xmlns:a16="http://schemas.microsoft.com/office/drawing/2014/main" id="{727358F4-DF46-450D-8C66-64815E2E005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6" name="Rectangle 25" hidden="1">
            <a:extLst>
              <a:ext uri="{FF2B5EF4-FFF2-40B4-BE49-F238E27FC236}">
                <a16:creationId xmlns:a16="http://schemas.microsoft.com/office/drawing/2014/main" id="{67A29728-3354-4796-8E80-B0905EA94FE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C8DAC5B4-6E32-46D2-A148-A4A2853DDFFF}"/>
              </a:ext>
            </a:extLst>
          </p:cNvPr>
          <p:cNvSpPr>
            <a:spLocks noGrp="1"/>
          </p:cNvSpPr>
          <p:nvPr>
            <p:ph type="title"/>
          </p:nvPr>
        </p:nvSpPr>
        <p:spPr/>
        <p:txBody>
          <a:bodyPr/>
          <a:lstStyle/>
          <a:p>
            <a:r>
              <a:rPr lang="en-US" dirty="0"/>
              <a:t>Designing Your Innovation Portfolio</a:t>
            </a:r>
          </a:p>
        </p:txBody>
      </p:sp>
      <p:sp>
        <p:nvSpPr>
          <p:cNvPr id="3" name="Text Placeholder 2">
            <a:extLst>
              <a:ext uri="{FF2B5EF4-FFF2-40B4-BE49-F238E27FC236}">
                <a16:creationId xmlns:a16="http://schemas.microsoft.com/office/drawing/2014/main" id="{30D9259B-282A-446F-8FF8-D426FE146CF2}"/>
              </a:ext>
            </a:extLst>
          </p:cNvPr>
          <p:cNvSpPr>
            <a:spLocks noGrp="1"/>
          </p:cNvSpPr>
          <p:nvPr>
            <p:ph type="body" sz="quarter" idx="14"/>
          </p:nvPr>
        </p:nvSpPr>
        <p:spPr/>
        <p:txBody>
          <a:bodyPr/>
          <a:lstStyle/>
          <a:p>
            <a:r>
              <a:rPr lang="en-US" dirty="0"/>
              <a:t>Successful innovators manage a portfolio of initiatives across ambitions</a:t>
            </a:r>
          </a:p>
        </p:txBody>
      </p:sp>
      <p:sp>
        <p:nvSpPr>
          <p:cNvPr id="4" name="Text Placeholder 3">
            <a:extLst>
              <a:ext uri="{FF2B5EF4-FFF2-40B4-BE49-F238E27FC236}">
                <a16:creationId xmlns:a16="http://schemas.microsoft.com/office/drawing/2014/main" id="{A42673E1-89CC-4586-9F87-F71F253B3807}"/>
              </a:ext>
            </a:extLst>
          </p:cNvPr>
          <p:cNvSpPr>
            <a:spLocks noGrp="1"/>
          </p:cNvSpPr>
          <p:nvPr>
            <p:ph type="body" sz="quarter" idx="15"/>
          </p:nvPr>
        </p:nvSpPr>
        <p:spPr>
          <a:xfrm>
            <a:off x="914970" y="466344"/>
            <a:ext cx="3600167" cy="228600"/>
          </a:xfrm>
        </p:spPr>
        <p:txBody>
          <a:bodyPr/>
          <a:lstStyle/>
          <a:p>
            <a:r>
              <a:rPr lang="en-US" dirty="0"/>
              <a:t>FRAMEWORKS &amp; CONCEPT ILLUSTRATION</a:t>
            </a:r>
          </a:p>
        </p:txBody>
      </p:sp>
      <p:sp>
        <p:nvSpPr>
          <p:cNvPr id="5" name="Text Placeholder 1">
            <a:extLst>
              <a:ext uri="{FF2B5EF4-FFF2-40B4-BE49-F238E27FC236}">
                <a16:creationId xmlns:a16="http://schemas.microsoft.com/office/drawing/2014/main" id="{386DD8E2-211C-4014-A43B-2376519B472D}"/>
              </a:ext>
            </a:extLst>
          </p:cNvPr>
          <p:cNvSpPr txBox="1">
            <a:spLocks/>
          </p:cNvSpPr>
          <p:nvPr/>
        </p:nvSpPr>
        <p:spPr>
          <a:xfrm>
            <a:off x="469900" y="736688"/>
            <a:ext cx="11252200" cy="757255"/>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latin typeface="+mj-lt"/>
            </a:endParaRPr>
          </a:p>
        </p:txBody>
      </p:sp>
      <p:sp>
        <p:nvSpPr>
          <p:cNvPr id="6" name="Title 2">
            <a:extLst>
              <a:ext uri="{FF2B5EF4-FFF2-40B4-BE49-F238E27FC236}">
                <a16:creationId xmlns:a16="http://schemas.microsoft.com/office/drawing/2014/main" id="{E221CB95-0492-4ED0-950D-1CBC9E2DAF51}"/>
              </a:ext>
            </a:extLst>
          </p:cNvPr>
          <p:cNvSpPr txBox="1">
            <a:spLocks/>
          </p:cNvSpPr>
          <p:nvPr/>
        </p:nvSpPr>
        <p:spPr>
          <a:xfrm>
            <a:off x="469900" y="402587"/>
            <a:ext cx="11252200"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pic>
        <p:nvPicPr>
          <p:cNvPr id="7" name="Picture 6">
            <a:extLst>
              <a:ext uri="{FF2B5EF4-FFF2-40B4-BE49-F238E27FC236}">
                <a16:creationId xmlns:a16="http://schemas.microsoft.com/office/drawing/2014/main" id="{2809596E-463C-4220-8B51-33E8870A97A4}"/>
              </a:ext>
            </a:extLst>
          </p:cNvPr>
          <p:cNvPicPr>
            <a:picLocks noChangeAspect="1"/>
          </p:cNvPicPr>
          <p:nvPr/>
        </p:nvPicPr>
        <p:blipFill>
          <a:blip r:embed="rId8" cstate="hq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191204" y="1921549"/>
            <a:ext cx="3513887" cy="3513888"/>
          </a:xfrm>
          <a:prstGeom prst="rect">
            <a:avLst/>
          </a:prstGeom>
          <a:solidFill>
            <a:schemeClr val="accent1">
              <a:lumMod val="20000"/>
              <a:lumOff val="80000"/>
            </a:schemeClr>
          </a:solidFill>
        </p:spPr>
      </p:pic>
      <p:sp>
        <p:nvSpPr>
          <p:cNvPr id="8" name="Rectangle 33">
            <a:extLst>
              <a:ext uri="{FF2B5EF4-FFF2-40B4-BE49-F238E27FC236}">
                <a16:creationId xmlns:a16="http://schemas.microsoft.com/office/drawing/2014/main" id="{4BAF52C2-3416-47AB-8625-F206773301A8}"/>
              </a:ext>
            </a:extLst>
          </p:cNvPr>
          <p:cNvSpPr>
            <a:spLocks noChangeArrowheads="1"/>
          </p:cNvSpPr>
          <p:nvPr/>
        </p:nvSpPr>
        <p:spPr bwMode="gray">
          <a:xfrm>
            <a:off x="762000" y="3209686"/>
            <a:ext cx="1246995" cy="484748"/>
          </a:xfrm>
          <a:prstGeom prst="rect">
            <a:avLst/>
          </a:prstGeom>
          <a:noFill/>
          <a:ln w="9525" algn="ctr">
            <a:noFill/>
            <a:miter lim="800000"/>
            <a:headEnd/>
            <a:tailEnd/>
          </a:ln>
        </p:spPr>
        <p:txBody>
          <a:bodyPr wrap="square" lIns="0" tIns="0" rIns="0" bIns="0" anchor="ctr">
            <a:spAutoFit/>
          </a:bodyPr>
          <a:lstStyle/>
          <a:p>
            <a:pPr marL="0" marR="0" lvl="0" indent="0" algn="r" defTabSz="146208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Open Sans"/>
                <a:ea typeface="+mn-ea"/>
                <a:cs typeface="Circular Std Book" panose="020B0604020101020102" pitchFamily="34" charset="77"/>
              </a:rPr>
              <a:t>Enter </a:t>
            </a:r>
            <a:r>
              <a:rPr kumimoji="0" lang="en-US" sz="1050" b="0" i="0" u="none" strike="noStrike" kern="1200" cap="none" spc="0" normalizeH="0" baseline="0" noProof="0" dirty="0">
                <a:ln>
                  <a:noFill/>
                </a:ln>
                <a:solidFill>
                  <a:prstClr val="black"/>
                </a:solidFill>
                <a:effectLst/>
                <a:uLnTx/>
                <a:uFillTx/>
                <a:latin typeface="Open Sans"/>
                <a:ea typeface="+mn-ea"/>
                <a:cs typeface="Circular Std Black" panose="020B0604020101020102" pitchFamily="34" charset="77"/>
              </a:rPr>
              <a:t>adjacent</a:t>
            </a:r>
            <a:r>
              <a:rPr kumimoji="0" lang="en-US" sz="1050" b="0" i="0" u="none" strike="noStrike" kern="1200" cap="none" spc="0" normalizeH="0" baseline="0" noProof="0" dirty="0">
                <a:ln>
                  <a:noFill/>
                </a:ln>
                <a:solidFill>
                  <a:prstClr val="black"/>
                </a:solidFill>
                <a:effectLst/>
                <a:uLnTx/>
                <a:uFillTx/>
                <a:latin typeface="Open Sans"/>
                <a:ea typeface="+mn-ea"/>
                <a:cs typeface="Circular Std Book" panose="020B0604020101020102" pitchFamily="34" charset="77"/>
              </a:rPr>
              <a:t> markets, serve adjacent customers</a:t>
            </a:r>
          </a:p>
        </p:txBody>
      </p:sp>
      <p:sp>
        <p:nvSpPr>
          <p:cNvPr id="9" name="Rectangle 38">
            <a:extLst>
              <a:ext uri="{FF2B5EF4-FFF2-40B4-BE49-F238E27FC236}">
                <a16:creationId xmlns:a16="http://schemas.microsoft.com/office/drawing/2014/main" id="{C806191B-899F-44DC-BAC0-1F7489718C8F}"/>
              </a:ext>
            </a:extLst>
          </p:cNvPr>
          <p:cNvSpPr>
            <a:spLocks noChangeArrowheads="1"/>
          </p:cNvSpPr>
          <p:nvPr/>
        </p:nvSpPr>
        <p:spPr bwMode="gray">
          <a:xfrm>
            <a:off x="993361" y="1950281"/>
            <a:ext cx="1015633" cy="646331"/>
          </a:xfrm>
          <a:prstGeom prst="rect">
            <a:avLst/>
          </a:prstGeom>
          <a:noFill/>
          <a:ln w="9525" algn="ctr">
            <a:noFill/>
            <a:miter lim="800000"/>
            <a:headEnd/>
            <a:tailEnd/>
          </a:ln>
        </p:spPr>
        <p:txBody>
          <a:bodyPr wrap="square" lIns="0" tIns="0" rIns="0" bIns="0" anchor="ctr">
            <a:spAutoFit/>
          </a:bodyPr>
          <a:lstStyle/>
          <a:p>
            <a:pPr marL="0" marR="0" lvl="0" indent="0" algn="r" defTabSz="146208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ea typeface="+mn-ea"/>
                <a:cs typeface="Circular Std Book" panose="020B0604020101020102" pitchFamily="34" charset="77"/>
              </a:rPr>
              <a:t>Create </a:t>
            </a:r>
            <a:r>
              <a:rPr kumimoji="0" lang="en-US" sz="1050" b="0" i="0" u="none" strike="noStrike" kern="1200" cap="none" spc="0" normalizeH="0" baseline="0" noProof="0" dirty="0">
                <a:ln>
                  <a:noFill/>
                </a:ln>
                <a:solidFill>
                  <a:srgbClr val="000000"/>
                </a:solidFill>
                <a:effectLst/>
                <a:uLnTx/>
                <a:uFillTx/>
                <a:ea typeface="+mn-ea"/>
                <a:cs typeface="Circular Std Black" panose="020B0604020101020102" pitchFamily="34" charset="77"/>
              </a:rPr>
              <a:t>new</a:t>
            </a:r>
            <a:r>
              <a:rPr kumimoji="0" lang="en-US" sz="1050" b="0" i="0" u="none" strike="noStrike" kern="1200" cap="none" spc="0" normalizeH="0" baseline="0" noProof="0" dirty="0">
                <a:ln>
                  <a:noFill/>
                </a:ln>
                <a:solidFill>
                  <a:srgbClr val="000000"/>
                </a:solidFill>
                <a:effectLst/>
                <a:uLnTx/>
                <a:uFillTx/>
                <a:ea typeface="+mn-ea"/>
                <a:cs typeface="Circular Std Book" panose="020B0604020101020102" pitchFamily="34" charset="77"/>
              </a:rPr>
              <a:t> markets,</a:t>
            </a:r>
            <a:br>
              <a:rPr kumimoji="0" lang="en-US" sz="1050" b="0" i="0" u="none" strike="noStrike" kern="1200" cap="none" spc="0" normalizeH="0" baseline="0" noProof="0" dirty="0">
                <a:ln>
                  <a:noFill/>
                </a:ln>
                <a:solidFill>
                  <a:srgbClr val="000000"/>
                </a:solidFill>
                <a:effectLst/>
                <a:uLnTx/>
                <a:uFillTx/>
                <a:ea typeface="+mn-ea"/>
                <a:cs typeface="Circular Std Book" panose="020B0604020101020102" pitchFamily="34" charset="77"/>
              </a:rPr>
            </a:br>
            <a:r>
              <a:rPr kumimoji="0" lang="en-US" sz="1050" b="0" i="0" u="none" strike="noStrike" kern="1200" cap="none" spc="0" normalizeH="0" baseline="0" noProof="0" dirty="0">
                <a:ln>
                  <a:noFill/>
                </a:ln>
                <a:solidFill>
                  <a:srgbClr val="000000"/>
                </a:solidFill>
                <a:effectLst/>
                <a:uLnTx/>
                <a:uFillTx/>
                <a:ea typeface="+mn-ea"/>
                <a:cs typeface="Circular Std Book" panose="020B0604020101020102" pitchFamily="34" charset="77"/>
              </a:rPr>
              <a:t> target new customer needs</a:t>
            </a:r>
          </a:p>
        </p:txBody>
      </p:sp>
      <p:sp>
        <p:nvSpPr>
          <p:cNvPr id="10" name="Rectangle 40">
            <a:extLst>
              <a:ext uri="{FF2B5EF4-FFF2-40B4-BE49-F238E27FC236}">
                <a16:creationId xmlns:a16="http://schemas.microsoft.com/office/drawing/2014/main" id="{7929D790-BAA9-4C0B-803B-572CA07252F1}"/>
              </a:ext>
            </a:extLst>
          </p:cNvPr>
          <p:cNvSpPr>
            <a:spLocks noChangeArrowheads="1"/>
          </p:cNvSpPr>
          <p:nvPr/>
        </p:nvSpPr>
        <p:spPr bwMode="gray">
          <a:xfrm>
            <a:off x="4951479" y="5548032"/>
            <a:ext cx="805260" cy="484748"/>
          </a:xfrm>
          <a:prstGeom prst="rect">
            <a:avLst/>
          </a:prstGeom>
          <a:noFill/>
          <a:ln w="9525" algn="ctr">
            <a:noFill/>
            <a:miter lim="800000"/>
            <a:headEnd/>
            <a:tailEnd/>
          </a:ln>
        </p:spPr>
        <p:txBody>
          <a:bodyPr wrap="square" lIns="0" tIns="0" rIns="0" bIns="0" anchor="ctr">
            <a:spAutoFit/>
          </a:bodyPr>
          <a:lstStyle/>
          <a:p>
            <a:pPr marL="0" marR="0" lvl="0" indent="0" algn="l" defTabSz="146208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Circular Std Book" panose="020B0604020101020102" pitchFamily="34" charset="77"/>
              </a:rPr>
              <a:t>D</a:t>
            </a:r>
            <a:r>
              <a:rPr kumimoji="0" lang="en-US" sz="1050" b="0" i="0" u="none" strike="noStrike" kern="1200" cap="none" spc="0" normalizeH="0" baseline="0" noProof="0" dirty="0">
                <a:ln>
                  <a:noFill/>
                </a:ln>
                <a:solidFill>
                  <a:srgbClr val="000000"/>
                </a:solidFill>
                <a:effectLst/>
                <a:uLnTx/>
                <a:uFillTx/>
                <a:ea typeface="+mn-ea"/>
                <a:cs typeface="Circular Std Book" panose="020B0604020101020102" pitchFamily="34" charset="77"/>
              </a:rPr>
              <a:t>evelop </a:t>
            </a:r>
            <a:r>
              <a:rPr kumimoji="0" lang="en-US" sz="1050" b="0" i="0" u="none" strike="noStrike" kern="1200" cap="none" spc="0" normalizeH="0" baseline="0" noProof="0" dirty="0">
                <a:ln>
                  <a:noFill/>
                </a:ln>
                <a:solidFill>
                  <a:srgbClr val="000000"/>
                </a:solidFill>
                <a:effectLst/>
                <a:uLnTx/>
                <a:uFillTx/>
                <a:ea typeface="+mn-ea"/>
                <a:cs typeface="Circular Std Black" panose="020B0604020101020102" pitchFamily="34" charset="77"/>
              </a:rPr>
              <a:t>new</a:t>
            </a:r>
            <a:r>
              <a:rPr kumimoji="0" lang="en-US" sz="1050" b="0" i="0" u="none" strike="noStrike" kern="1200" cap="none" spc="0" normalizeH="0" baseline="0" noProof="0" dirty="0">
                <a:ln>
                  <a:noFill/>
                </a:ln>
                <a:solidFill>
                  <a:srgbClr val="000000"/>
                </a:solidFill>
                <a:effectLst/>
                <a:uLnTx/>
                <a:uFillTx/>
                <a:ea typeface="+mn-ea"/>
                <a:cs typeface="Circular Std Book" panose="020B0604020101020102" pitchFamily="34" charset="77"/>
              </a:rPr>
              <a:t> offerings and assets</a:t>
            </a:r>
          </a:p>
        </p:txBody>
      </p:sp>
      <p:sp>
        <p:nvSpPr>
          <p:cNvPr id="11" name="Rectangle 34">
            <a:extLst>
              <a:ext uri="{FF2B5EF4-FFF2-40B4-BE49-F238E27FC236}">
                <a16:creationId xmlns:a16="http://schemas.microsoft.com/office/drawing/2014/main" id="{CE7A7C67-8DEA-4C85-B319-58B1C872F93F}"/>
              </a:ext>
            </a:extLst>
          </p:cNvPr>
          <p:cNvSpPr>
            <a:spLocks noChangeArrowheads="1"/>
          </p:cNvSpPr>
          <p:nvPr/>
        </p:nvSpPr>
        <p:spPr bwMode="gray">
          <a:xfrm>
            <a:off x="2370218" y="5548031"/>
            <a:ext cx="812626" cy="484748"/>
          </a:xfrm>
          <a:prstGeom prst="rect">
            <a:avLst/>
          </a:prstGeom>
          <a:noFill/>
          <a:ln w="9525" algn="ctr">
            <a:noFill/>
            <a:miter lim="800000"/>
            <a:headEnd/>
            <a:tailEnd/>
          </a:ln>
        </p:spPr>
        <p:txBody>
          <a:bodyPr wrap="square" lIns="0" tIns="0" rIns="0" bIns="0" anchor="ctr">
            <a:spAutoFit/>
          </a:bodyPr>
          <a:lstStyle/>
          <a:p>
            <a:pPr marL="0" marR="0" lvl="0" indent="0" algn="l" defTabSz="146208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ea typeface="+mn-ea"/>
                <a:cs typeface="Circular Std Book" panose="020B0604020101020102" pitchFamily="34" charset="77"/>
              </a:rPr>
              <a:t>Use </a:t>
            </a:r>
            <a:r>
              <a:rPr kumimoji="0" lang="en-US" sz="1050" b="0" i="0" u="none" strike="noStrike" kern="1200" cap="none" spc="0" normalizeH="0" baseline="0" noProof="0" dirty="0">
                <a:ln>
                  <a:noFill/>
                </a:ln>
                <a:solidFill>
                  <a:srgbClr val="000000"/>
                </a:solidFill>
                <a:effectLst/>
                <a:uLnTx/>
                <a:uFillTx/>
                <a:ea typeface="+mn-ea"/>
                <a:cs typeface="Circular Std Black" panose="020B0604020101020102" pitchFamily="34" charset="77"/>
              </a:rPr>
              <a:t>existing</a:t>
            </a:r>
            <a:r>
              <a:rPr kumimoji="0" lang="en-US" sz="1050" b="0" i="0" u="none" strike="noStrike" kern="1200" cap="none" spc="0" normalizeH="0" baseline="0" noProof="0" dirty="0">
                <a:ln>
                  <a:noFill/>
                </a:ln>
                <a:solidFill>
                  <a:srgbClr val="000000"/>
                </a:solidFill>
                <a:effectLst/>
                <a:uLnTx/>
                <a:uFillTx/>
                <a:ea typeface="+mn-ea"/>
                <a:cs typeface="Circular Std Book" panose="020B0604020101020102" pitchFamily="34" charset="77"/>
              </a:rPr>
              <a:t> offerings and assets</a:t>
            </a:r>
          </a:p>
        </p:txBody>
      </p:sp>
      <p:sp>
        <p:nvSpPr>
          <p:cNvPr id="12" name="Rectangle 39">
            <a:extLst>
              <a:ext uri="{FF2B5EF4-FFF2-40B4-BE49-F238E27FC236}">
                <a16:creationId xmlns:a16="http://schemas.microsoft.com/office/drawing/2014/main" id="{ABCCC283-B5A1-458D-921C-F16E0EDF6FD4}"/>
              </a:ext>
            </a:extLst>
          </p:cNvPr>
          <p:cNvSpPr>
            <a:spLocks noChangeArrowheads="1"/>
          </p:cNvSpPr>
          <p:nvPr/>
        </p:nvSpPr>
        <p:spPr bwMode="gray">
          <a:xfrm>
            <a:off x="3566470" y="5552834"/>
            <a:ext cx="1097280" cy="484748"/>
          </a:xfrm>
          <a:prstGeom prst="rect">
            <a:avLst/>
          </a:prstGeom>
          <a:noFill/>
          <a:ln w="9525" algn="ctr">
            <a:noFill/>
            <a:miter lim="800000"/>
            <a:headEnd/>
            <a:tailEnd/>
          </a:ln>
        </p:spPr>
        <p:txBody>
          <a:bodyPr wrap="square" lIns="0" tIns="0" rIns="0" bIns="0" anchor="ctr">
            <a:spAutoFit/>
          </a:bodyPr>
          <a:lstStyle/>
          <a:p>
            <a:pPr marL="0" marR="0" lvl="0" indent="0" algn="l" defTabSz="146208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Circular Std Book" panose="020B0604020101020102" pitchFamily="34" charset="77"/>
              </a:rPr>
              <a:t>A</a:t>
            </a:r>
            <a:r>
              <a:rPr kumimoji="0" lang="en-US" sz="1050" b="0" i="0" u="none" strike="noStrike" kern="1200" cap="none" spc="0" normalizeH="0" baseline="0" noProof="0" dirty="0">
                <a:ln>
                  <a:noFill/>
                </a:ln>
                <a:solidFill>
                  <a:srgbClr val="000000"/>
                </a:solidFill>
                <a:effectLst/>
                <a:uLnTx/>
                <a:uFillTx/>
                <a:ea typeface="+mn-ea"/>
                <a:cs typeface="Circular Std Book" panose="020B0604020101020102" pitchFamily="34" charset="77"/>
              </a:rPr>
              <a:t>dd </a:t>
            </a:r>
            <a:r>
              <a:rPr kumimoji="0" lang="en-US" sz="1050" b="0" i="0" u="none" strike="noStrike" kern="1200" cap="none" spc="0" normalizeH="0" baseline="0" noProof="0" dirty="0">
                <a:ln>
                  <a:noFill/>
                </a:ln>
                <a:solidFill>
                  <a:srgbClr val="000000"/>
                </a:solidFill>
                <a:effectLst/>
                <a:uLnTx/>
                <a:uFillTx/>
                <a:ea typeface="+mn-ea"/>
                <a:cs typeface="Circular Std Black" panose="020B0604020101020102" pitchFamily="34" charset="77"/>
              </a:rPr>
              <a:t>incremental</a:t>
            </a:r>
            <a:r>
              <a:rPr kumimoji="0" lang="en-US" sz="1050" b="0" i="0" u="none" strike="noStrike" kern="1200" cap="none" spc="0" normalizeH="0" baseline="0" noProof="0" dirty="0">
                <a:ln>
                  <a:noFill/>
                </a:ln>
                <a:solidFill>
                  <a:srgbClr val="000000"/>
                </a:solidFill>
                <a:effectLst/>
                <a:uLnTx/>
                <a:uFillTx/>
                <a:ea typeface="+mn-ea"/>
                <a:cs typeface="Circular Std Book" panose="020B0604020101020102" pitchFamily="34" charset="77"/>
              </a:rPr>
              <a:t> offerings and assets</a:t>
            </a:r>
          </a:p>
        </p:txBody>
      </p:sp>
      <p:sp>
        <p:nvSpPr>
          <p:cNvPr id="13" name="Rectangle 36">
            <a:extLst>
              <a:ext uri="{FF2B5EF4-FFF2-40B4-BE49-F238E27FC236}">
                <a16:creationId xmlns:a16="http://schemas.microsoft.com/office/drawing/2014/main" id="{AAA4A2C1-8B77-4CFF-9D56-3E5100A77F85}"/>
              </a:ext>
            </a:extLst>
          </p:cNvPr>
          <p:cNvSpPr>
            <a:spLocks noChangeArrowheads="1"/>
          </p:cNvSpPr>
          <p:nvPr/>
        </p:nvSpPr>
        <p:spPr bwMode="gray">
          <a:xfrm>
            <a:off x="993361" y="4415833"/>
            <a:ext cx="1015633" cy="484748"/>
          </a:xfrm>
          <a:prstGeom prst="rect">
            <a:avLst/>
          </a:prstGeom>
          <a:noFill/>
          <a:ln w="9525" algn="ctr">
            <a:noFill/>
            <a:miter lim="800000"/>
            <a:headEnd/>
            <a:tailEnd/>
          </a:ln>
        </p:spPr>
        <p:txBody>
          <a:bodyPr wrap="square" lIns="0" tIns="0" rIns="0" bIns="0" anchor="ctr">
            <a:spAutoFit/>
          </a:bodyPr>
          <a:lstStyle/>
          <a:p>
            <a:pPr marL="0" marR="0" lvl="0" indent="0" algn="r" defTabSz="146208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Circular Std Book" panose="020B0604020101020102" pitchFamily="34" charset="77"/>
              </a:rPr>
              <a:t>Serve </a:t>
            </a:r>
            <a:r>
              <a:rPr kumimoji="0" lang="en-US" sz="1050" b="0" i="0" u="none" strike="noStrike" kern="1200" cap="none" spc="0" normalizeH="0" baseline="0" noProof="0" dirty="0">
                <a:ln>
                  <a:noFill/>
                </a:ln>
                <a:solidFill>
                  <a:prstClr val="black"/>
                </a:solidFill>
                <a:effectLst/>
                <a:uLnTx/>
                <a:uFillTx/>
                <a:ea typeface="+mn-ea"/>
                <a:cs typeface="Circular Std Black" panose="020B0604020101020102" pitchFamily="34" charset="77"/>
              </a:rPr>
              <a:t>existing</a:t>
            </a:r>
            <a:r>
              <a:rPr kumimoji="0" lang="en-US" sz="1050" b="0" i="0" u="none" strike="noStrike" kern="1200" cap="none" spc="0" normalizeH="0" baseline="0" noProof="0" dirty="0">
                <a:ln>
                  <a:noFill/>
                </a:ln>
                <a:solidFill>
                  <a:prstClr val="black"/>
                </a:solidFill>
                <a:effectLst/>
                <a:uLnTx/>
                <a:uFillTx/>
                <a:ea typeface="+mn-ea"/>
                <a:cs typeface="Circular Std Book" panose="020B0604020101020102" pitchFamily="34" charset="77"/>
              </a:rPr>
              <a:t> markets and customers</a:t>
            </a:r>
          </a:p>
        </p:txBody>
      </p:sp>
      <p:cxnSp>
        <p:nvCxnSpPr>
          <p:cNvPr id="14" name="Straight Connector 13">
            <a:extLst>
              <a:ext uri="{FF2B5EF4-FFF2-40B4-BE49-F238E27FC236}">
                <a16:creationId xmlns:a16="http://schemas.microsoft.com/office/drawing/2014/main" id="{0E50D04A-BFF2-4C55-A4C5-E15F348CD603}"/>
              </a:ext>
            </a:extLst>
          </p:cNvPr>
          <p:cNvCxnSpPr>
            <a:stCxn id="18" idx="6"/>
          </p:cNvCxnSpPr>
          <p:nvPr/>
        </p:nvCxnSpPr>
        <p:spPr>
          <a:xfrm flipV="1">
            <a:off x="5568699" y="2477416"/>
            <a:ext cx="1454415" cy="668"/>
          </a:xfrm>
          <a:prstGeom prst="line">
            <a:avLst/>
          </a:prstGeom>
          <a:ln w="22225" cmpd="sng">
            <a:solidFill>
              <a:schemeClr val="bg1">
                <a:lumMod val="5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55957304-1645-482E-908D-F46DE28AED0F}"/>
              </a:ext>
            </a:extLst>
          </p:cNvPr>
          <p:cNvCxnSpPr/>
          <p:nvPr/>
        </p:nvCxnSpPr>
        <p:spPr>
          <a:xfrm>
            <a:off x="4859366" y="3812320"/>
            <a:ext cx="2171311" cy="0"/>
          </a:xfrm>
          <a:prstGeom prst="line">
            <a:avLst/>
          </a:prstGeom>
          <a:ln w="22225" cmpd="sng">
            <a:solidFill>
              <a:schemeClr val="bg1">
                <a:lumMod val="5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EF9AB64F-6B27-4E91-B304-375B98C705FD}"/>
              </a:ext>
            </a:extLst>
          </p:cNvPr>
          <p:cNvCxnSpPr/>
          <p:nvPr/>
        </p:nvCxnSpPr>
        <p:spPr>
          <a:xfrm>
            <a:off x="3528145" y="4857998"/>
            <a:ext cx="3502530" cy="0"/>
          </a:xfrm>
          <a:prstGeom prst="line">
            <a:avLst/>
          </a:prstGeom>
          <a:ln w="22225" cmpd="sng">
            <a:solidFill>
              <a:schemeClr val="bg1">
                <a:lumMod val="50000"/>
              </a:schemeClr>
            </a:solidFill>
            <a:prstDash val="sysDot"/>
          </a:ln>
          <a:effectLst/>
        </p:spPr>
        <p:style>
          <a:lnRef idx="2">
            <a:schemeClr val="accent1"/>
          </a:lnRef>
          <a:fillRef idx="0">
            <a:schemeClr val="accent1"/>
          </a:fillRef>
          <a:effectRef idx="1">
            <a:schemeClr val="accent1"/>
          </a:effectRef>
          <a:fontRef idx="minor">
            <a:schemeClr val="tx1"/>
          </a:fontRef>
        </p:style>
      </p:cxnSp>
      <p:sp>
        <p:nvSpPr>
          <p:cNvPr id="17" name="Oval 16">
            <a:extLst>
              <a:ext uri="{FF2B5EF4-FFF2-40B4-BE49-F238E27FC236}">
                <a16:creationId xmlns:a16="http://schemas.microsoft.com/office/drawing/2014/main" id="{BC2C6801-A84C-4285-A5C7-C30A1F7BC4FF}"/>
              </a:ext>
            </a:extLst>
          </p:cNvPr>
          <p:cNvSpPr>
            <a:spLocks noChangeAspect="1"/>
          </p:cNvSpPr>
          <p:nvPr/>
        </p:nvSpPr>
        <p:spPr>
          <a:xfrm>
            <a:off x="4624358" y="3708182"/>
            <a:ext cx="182880" cy="182880"/>
          </a:xfrm>
          <a:prstGeom prst="ellipse">
            <a:avLst/>
          </a:prstGeom>
          <a:solidFill>
            <a:srgbClr val="000000"/>
          </a:solidFill>
          <a:ln w="762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18" name="Oval 17">
            <a:extLst>
              <a:ext uri="{FF2B5EF4-FFF2-40B4-BE49-F238E27FC236}">
                <a16:creationId xmlns:a16="http://schemas.microsoft.com/office/drawing/2014/main" id="{CC4334A0-009B-42FC-B117-B68BE7D09BE8}"/>
              </a:ext>
            </a:extLst>
          </p:cNvPr>
          <p:cNvSpPr>
            <a:spLocks noChangeAspect="1"/>
          </p:cNvSpPr>
          <p:nvPr/>
        </p:nvSpPr>
        <p:spPr>
          <a:xfrm>
            <a:off x="5385819" y="2386644"/>
            <a:ext cx="182880" cy="182880"/>
          </a:xfrm>
          <a:prstGeom prst="ellipse">
            <a:avLst/>
          </a:prstGeom>
          <a:solidFill>
            <a:srgbClr val="000000"/>
          </a:solidFill>
          <a:ln w="762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95331"/>
              </a:solidFill>
              <a:effectLst/>
              <a:uLnTx/>
              <a:uFillTx/>
              <a:ea typeface="+mn-ea"/>
              <a:cs typeface="+mn-cs"/>
            </a:endParaRPr>
          </a:p>
        </p:txBody>
      </p:sp>
      <p:sp>
        <p:nvSpPr>
          <p:cNvPr id="19" name="Oval 18">
            <a:extLst>
              <a:ext uri="{FF2B5EF4-FFF2-40B4-BE49-F238E27FC236}">
                <a16:creationId xmlns:a16="http://schemas.microsoft.com/office/drawing/2014/main" id="{63139B7C-C0B5-4391-A20F-AA071BFEBA18}"/>
              </a:ext>
            </a:extLst>
          </p:cNvPr>
          <p:cNvSpPr>
            <a:spLocks noChangeAspect="1"/>
          </p:cNvSpPr>
          <p:nvPr/>
        </p:nvSpPr>
        <p:spPr>
          <a:xfrm>
            <a:off x="3329155" y="4767228"/>
            <a:ext cx="182880" cy="182880"/>
          </a:xfrm>
          <a:prstGeom prst="ellipse">
            <a:avLst/>
          </a:prstGeom>
          <a:solidFill>
            <a:srgbClr val="092E48"/>
          </a:solidFill>
          <a:ln w="762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20" name="TextBox 19">
            <a:extLst>
              <a:ext uri="{FF2B5EF4-FFF2-40B4-BE49-F238E27FC236}">
                <a16:creationId xmlns:a16="http://schemas.microsoft.com/office/drawing/2014/main" id="{08B80839-D519-421D-B02A-C598AE81A19F}"/>
              </a:ext>
            </a:extLst>
          </p:cNvPr>
          <p:cNvSpPr txBox="1"/>
          <p:nvPr/>
        </p:nvSpPr>
        <p:spPr>
          <a:xfrm>
            <a:off x="6615735" y="2346534"/>
            <a:ext cx="5106365" cy="963341"/>
          </a:xfrm>
          <a:prstGeom prst="rect">
            <a:avLst/>
          </a:prstGeom>
          <a:solidFill>
            <a:schemeClr val="bg1"/>
          </a:solidFill>
        </p:spPr>
        <p:txBody>
          <a:bodyPr wrap="square" lIns="91440" tIns="0" rIns="0" bIns="0" rtlCol="0">
            <a:spAutoFit/>
          </a:bodyPr>
          <a:lstStyle/>
          <a:p>
            <a:pPr marL="0" marR="0" lvl="0" indent="0" algn="l" defTabSz="457200" rtl="0" eaLnBrk="1" fontAlgn="auto" latinLnBrk="0" hangingPunct="1">
              <a:lnSpc>
                <a:spcPct val="120000"/>
              </a:lnSpc>
              <a:spcBef>
                <a:spcPts val="600"/>
              </a:spcBef>
              <a:spcAft>
                <a:spcPts val="0"/>
              </a:spcAft>
              <a:buClrTx/>
              <a:buSzTx/>
              <a:buFontTx/>
              <a:buNone/>
              <a:tabLst/>
              <a:defRPr/>
            </a:pPr>
            <a:r>
              <a:rPr kumimoji="0" lang="en-US" sz="1200" b="1" i="0" u="none" strike="noStrike" kern="0" cap="none" spc="100" normalizeH="0" baseline="0" noProof="0" dirty="0">
                <a:ln>
                  <a:noFill/>
                </a:ln>
                <a:solidFill>
                  <a:prstClr val="black"/>
                </a:solidFill>
                <a:effectLst/>
                <a:uLnTx/>
                <a:uFillTx/>
                <a:ea typeface="+mn-ea"/>
                <a:cs typeface="Calibri"/>
              </a:rPr>
              <a:t>TRANSFORMATIONAL</a:t>
            </a:r>
            <a:br>
              <a:rPr kumimoji="0" lang="en-US" sz="1200" b="1" i="0" u="none" strike="noStrike" kern="1200" cap="none" spc="0" normalizeH="0" baseline="0" noProof="0" dirty="0">
                <a:ln>
                  <a:noFill/>
                </a:ln>
                <a:solidFill>
                  <a:prstClr val="black"/>
                </a:solidFill>
                <a:effectLst/>
                <a:uLnTx/>
                <a:uFillTx/>
                <a:ea typeface="+mn-ea"/>
                <a:cs typeface="Calibri"/>
              </a:rPr>
            </a:br>
            <a:r>
              <a:rPr kumimoji="0" lang="en-US" sz="1200" b="0" i="0" u="none" strike="noStrike" kern="1200" cap="none" spc="0" normalizeH="0" baseline="0" noProof="0" dirty="0">
                <a:ln>
                  <a:noFill/>
                </a:ln>
                <a:solidFill>
                  <a:prstClr val="black"/>
                </a:solidFill>
                <a:effectLst/>
                <a:uLnTx/>
                <a:uFillTx/>
                <a:ea typeface="+mn-ea"/>
                <a:cs typeface="Calibri"/>
              </a:rPr>
              <a:t>Developing </a:t>
            </a:r>
            <a:r>
              <a:rPr kumimoji="0" lang="en-US" sz="1200" b="1" i="0" u="none" strike="noStrike" kern="1200" cap="none" spc="0" normalizeH="0" baseline="0" noProof="0" dirty="0">
                <a:ln>
                  <a:noFill/>
                </a:ln>
                <a:solidFill>
                  <a:prstClr val="black"/>
                </a:solidFill>
                <a:effectLst/>
                <a:uLnTx/>
                <a:uFillTx/>
                <a:ea typeface="+mn-ea"/>
                <a:cs typeface="Calibri"/>
              </a:rPr>
              <a:t>breakthroughs and inventing things </a:t>
            </a:r>
            <a:r>
              <a:rPr kumimoji="0" lang="en-US" sz="1200" b="0" i="0" u="none" strike="noStrike" kern="1200" cap="none" spc="0" normalizeH="0" baseline="0" noProof="0" dirty="0">
                <a:ln>
                  <a:noFill/>
                </a:ln>
                <a:solidFill>
                  <a:prstClr val="black"/>
                </a:solidFill>
                <a:effectLst/>
                <a:uLnTx/>
                <a:uFillTx/>
                <a:ea typeface="+mn-ea"/>
                <a:cs typeface="Calibri"/>
              </a:rPr>
              <a:t>for markets that don’t yet exist</a:t>
            </a:r>
          </a:p>
          <a:p>
            <a:pPr marL="0" marR="0" lvl="0" indent="0" algn="l" defTabSz="4572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Involves the </a:t>
            </a:r>
            <a:r>
              <a:rPr kumimoji="0" lang="en-US" sz="1200" b="1" i="0" u="none" strike="noStrike" kern="1200" cap="none" spc="0" normalizeH="0" baseline="0" noProof="0" dirty="0">
                <a:ln>
                  <a:noFill/>
                </a:ln>
                <a:solidFill>
                  <a:prstClr val="black"/>
                </a:solidFill>
                <a:effectLst/>
                <a:uLnTx/>
                <a:uFillTx/>
                <a:ea typeface="+mn-ea"/>
                <a:cs typeface="+mn-cs"/>
              </a:rPr>
              <a:t>greatest amount of risk and degree of uncertainty</a:t>
            </a:r>
          </a:p>
        </p:txBody>
      </p:sp>
      <p:sp>
        <p:nvSpPr>
          <p:cNvPr id="21" name="TextBox 20">
            <a:extLst>
              <a:ext uri="{FF2B5EF4-FFF2-40B4-BE49-F238E27FC236}">
                <a16:creationId xmlns:a16="http://schemas.microsoft.com/office/drawing/2014/main" id="{BE91F223-6E4C-4BB2-B7BB-663DAEADA22B}"/>
              </a:ext>
            </a:extLst>
          </p:cNvPr>
          <p:cNvSpPr txBox="1"/>
          <p:nvPr/>
        </p:nvSpPr>
        <p:spPr>
          <a:xfrm>
            <a:off x="6615735" y="3529062"/>
            <a:ext cx="5106365" cy="963341"/>
          </a:xfrm>
          <a:prstGeom prst="rect">
            <a:avLst/>
          </a:prstGeom>
          <a:solidFill>
            <a:schemeClr val="bg1"/>
          </a:solidFill>
        </p:spPr>
        <p:txBody>
          <a:bodyPr wrap="square" lIns="91440" tIns="0" rIns="0" bIns="0" rtlCol="0">
            <a:spAutoFit/>
          </a:bodyPr>
          <a:lstStyle/>
          <a:p>
            <a:pPr marL="0" marR="0" lvl="0" indent="0" algn="l" defTabSz="1462088" rtl="0" eaLnBrk="1" fontAlgn="auto" latinLnBrk="0" hangingPunct="1">
              <a:lnSpc>
                <a:spcPct val="120000"/>
              </a:lnSpc>
              <a:spcBef>
                <a:spcPts val="600"/>
              </a:spcBef>
              <a:spcAft>
                <a:spcPts val="0"/>
              </a:spcAft>
              <a:buClrTx/>
              <a:buSzTx/>
              <a:buFontTx/>
              <a:buNone/>
              <a:tabLst/>
              <a:defRPr/>
            </a:pPr>
            <a:r>
              <a:rPr kumimoji="0" lang="en-US" sz="1200" b="1" i="0" u="none" strike="noStrike" kern="0" cap="none" spc="100" normalizeH="0" baseline="0" noProof="0" dirty="0">
                <a:ln>
                  <a:noFill/>
                </a:ln>
                <a:solidFill>
                  <a:prstClr val="black"/>
                </a:solidFill>
                <a:effectLst/>
                <a:uLnTx/>
                <a:uFillTx/>
                <a:ea typeface="+mn-ea"/>
                <a:cs typeface="Calibri"/>
              </a:rPr>
              <a:t>ADJACENT</a:t>
            </a:r>
            <a:br>
              <a:rPr kumimoji="0" lang="en-US" sz="1200" b="1" i="0" u="none" strike="noStrike" kern="1200" cap="none" spc="0" normalizeH="0" baseline="0" noProof="0" dirty="0">
                <a:ln>
                  <a:noFill/>
                </a:ln>
                <a:solidFill>
                  <a:prstClr val="black"/>
                </a:solidFill>
                <a:effectLst/>
                <a:uLnTx/>
                <a:uFillTx/>
                <a:ea typeface="+mn-ea"/>
                <a:cs typeface="Calibri"/>
              </a:rPr>
            </a:br>
            <a:r>
              <a:rPr kumimoji="0" lang="en-US" sz="1200" b="0" i="0" u="none" strike="noStrike" kern="1200" cap="none" spc="0" normalizeH="0" baseline="0" noProof="0" dirty="0">
                <a:ln>
                  <a:noFill/>
                </a:ln>
                <a:solidFill>
                  <a:prstClr val="black"/>
                </a:solidFill>
                <a:effectLst/>
                <a:uLnTx/>
                <a:uFillTx/>
                <a:ea typeface="+mn-ea"/>
                <a:cs typeface="Calibri"/>
              </a:rPr>
              <a:t>Expanding from </a:t>
            </a:r>
            <a:r>
              <a:rPr kumimoji="0" lang="en-US" sz="1200" b="1" i="0" u="none" strike="noStrike" kern="1200" cap="none" spc="0" normalizeH="0" baseline="0" noProof="0" dirty="0">
                <a:ln>
                  <a:noFill/>
                </a:ln>
                <a:solidFill>
                  <a:prstClr val="black"/>
                </a:solidFill>
                <a:effectLst/>
                <a:uLnTx/>
                <a:uFillTx/>
                <a:ea typeface="+mn-ea"/>
                <a:cs typeface="Calibri"/>
              </a:rPr>
              <a:t>existing business into “new to the company” </a:t>
            </a:r>
            <a:r>
              <a:rPr kumimoji="0" lang="en-US" sz="1200" b="0" i="0" u="none" strike="noStrike" kern="1200" cap="none" spc="0" normalizeH="0" baseline="0" noProof="0" dirty="0">
                <a:ln>
                  <a:noFill/>
                </a:ln>
                <a:solidFill>
                  <a:prstClr val="black"/>
                </a:solidFill>
                <a:effectLst/>
                <a:uLnTx/>
                <a:uFillTx/>
                <a:ea typeface="+mn-ea"/>
                <a:cs typeface="Calibri"/>
              </a:rPr>
              <a:t>business</a:t>
            </a:r>
          </a:p>
          <a:p>
            <a:pPr marL="0" marR="0" lvl="0" indent="0" algn="l" defTabSz="1462088" rtl="0" eaLnBrk="1" fontAlgn="auto" latinLnBrk="0" hangingPunct="1">
              <a:lnSpc>
                <a:spcPct val="120000"/>
              </a:lnSpc>
              <a:spcBef>
                <a:spcPts val="60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Requires new processes and approach</a:t>
            </a:r>
            <a:r>
              <a:rPr kumimoji="0" lang="en-US" sz="1200" b="0" i="0" u="none" strike="noStrike" kern="1200" cap="none" spc="0" normalizeH="0" baseline="0" noProof="0" dirty="0">
                <a:ln>
                  <a:noFill/>
                </a:ln>
                <a:solidFill>
                  <a:prstClr val="black"/>
                </a:solidFill>
                <a:effectLst/>
                <a:uLnTx/>
                <a:uFillTx/>
                <a:ea typeface="+mn-ea"/>
                <a:cs typeface="+mn-cs"/>
              </a:rPr>
              <a:t> and carries moderate risk</a:t>
            </a:r>
          </a:p>
        </p:txBody>
      </p:sp>
      <p:sp>
        <p:nvSpPr>
          <p:cNvPr id="22" name="TextBox 21">
            <a:extLst>
              <a:ext uri="{FF2B5EF4-FFF2-40B4-BE49-F238E27FC236}">
                <a16:creationId xmlns:a16="http://schemas.microsoft.com/office/drawing/2014/main" id="{F55EBE31-AAE1-4DBA-8BB1-45E8101A6909}"/>
              </a:ext>
            </a:extLst>
          </p:cNvPr>
          <p:cNvSpPr txBox="1"/>
          <p:nvPr/>
        </p:nvSpPr>
        <p:spPr>
          <a:xfrm>
            <a:off x="6615735" y="4711591"/>
            <a:ext cx="5106365" cy="1040285"/>
          </a:xfrm>
          <a:prstGeom prst="rect">
            <a:avLst/>
          </a:prstGeom>
          <a:solidFill>
            <a:schemeClr val="bg1"/>
          </a:solidFill>
        </p:spPr>
        <p:txBody>
          <a:bodyPr wrap="square" lIns="91440" tIns="0" rIns="0" bIns="0" rtlCol="0">
            <a:spAutoFit/>
          </a:bodyPr>
          <a:lstStyle/>
          <a:p>
            <a:pPr marL="0" marR="0" lvl="0" indent="0" algn="l" defTabSz="1462088" rtl="0" eaLnBrk="1" fontAlgn="auto" latinLnBrk="0" hangingPunct="1">
              <a:lnSpc>
                <a:spcPct val="120000"/>
              </a:lnSpc>
              <a:spcBef>
                <a:spcPts val="600"/>
              </a:spcBef>
              <a:spcAft>
                <a:spcPts val="0"/>
              </a:spcAft>
              <a:buClrTx/>
              <a:buSzTx/>
              <a:buFontTx/>
              <a:buNone/>
              <a:tabLst/>
              <a:defRPr/>
            </a:pPr>
            <a:r>
              <a:rPr kumimoji="0" lang="en-US" sz="1200" b="1" i="0" u="none" strike="noStrike" kern="0" cap="none" spc="100" normalizeH="0" baseline="0" noProof="0" dirty="0">
                <a:ln>
                  <a:noFill/>
                </a:ln>
                <a:solidFill>
                  <a:prstClr val="black"/>
                </a:solidFill>
                <a:effectLst/>
                <a:uLnTx/>
                <a:uFillTx/>
                <a:ea typeface="+mn-ea"/>
                <a:cs typeface="Calibri"/>
              </a:rPr>
              <a:t>CORE</a:t>
            </a:r>
            <a:br>
              <a:rPr kumimoji="0" lang="en-US" sz="1200" b="1" i="0" u="none" strike="noStrike" kern="1200" cap="none" spc="0" normalizeH="0" baseline="0" noProof="0" dirty="0">
                <a:ln>
                  <a:noFill/>
                </a:ln>
                <a:solidFill>
                  <a:prstClr val="black"/>
                </a:solidFill>
                <a:effectLst/>
                <a:uLnTx/>
                <a:uFillTx/>
                <a:ea typeface="+mn-ea"/>
                <a:cs typeface="Calibri"/>
              </a:rPr>
            </a:br>
            <a:r>
              <a:rPr kumimoji="0" lang="en-US" sz="1200" b="1" i="0" u="none" strike="noStrike" kern="1200" cap="none" spc="0" normalizeH="0" baseline="0" noProof="0" dirty="0">
                <a:ln>
                  <a:noFill/>
                </a:ln>
                <a:solidFill>
                  <a:prstClr val="black"/>
                </a:solidFill>
                <a:effectLst/>
                <a:uLnTx/>
                <a:uFillTx/>
                <a:ea typeface="+mn-ea"/>
                <a:cs typeface="Calibri"/>
              </a:rPr>
              <a:t>Optimizing existing products </a:t>
            </a:r>
            <a:r>
              <a:rPr kumimoji="0" lang="en-US" sz="1200" b="0" i="0" u="none" strike="noStrike" kern="1200" cap="none" spc="0" normalizeH="0" baseline="0" noProof="0" dirty="0">
                <a:ln>
                  <a:noFill/>
                </a:ln>
                <a:solidFill>
                  <a:prstClr val="black"/>
                </a:solidFill>
                <a:effectLst/>
                <a:uLnTx/>
                <a:uFillTx/>
                <a:ea typeface="+mn-ea"/>
                <a:cs typeface="Calibri"/>
              </a:rPr>
              <a:t>for existing customers</a:t>
            </a:r>
          </a:p>
          <a:p>
            <a:pPr marL="0" marR="0" lvl="0" indent="0" algn="l" defTabSz="1462088"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What we feel </a:t>
            </a:r>
            <a:r>
              <a:rPr kumimoji="0" lang="en-US" sz="1200" b="1" i="0" u="none" strike="noStrike" kern="1200" cap="none" spc="0" normalizeH="0" baseline="0" noProof="0" dirty="0">
                <a:ln>
                  <a:noFill/>
                </a:ln>
                <a:solidFill>
                  <a:prstClr val="black"/>
                </a:solidFill>
                <a:effectLst/>
                <a:uLnTx/>
                <a:uFillTx/>
                <a:ea typeface="+mn-ea"/>
                <a:cs typeface="+mn-cs"/>
              </a:rPr>
              <a:t>most comfortable </a:t>
            </a:r>
            <a:r>
              <a:rPr kumimoji="0" lang="en-US" sz="1200" b="0" i="0" u="none" strike="noStrike" kern="1200" cap="none" spc="0" normalizeH="0" baseline="0" noProof="0" dirty="0">
                <a:ln>
                  <a:noFill/>
                </a:ln>
                <a:solidFill>
                  <a:prstClr val="black"/>
                </a:solidFill>
                <a:effectLst/>
                <a:uLnTx/>
                <a:uFillTx/>
                <a:ea typeface="+mn-ea"/>
                <a:cs typeface="+mn-cs"/>
              </a:rPr>
              <a:t>doing</a:t>
            </a:r>
          </a:p>
          <a:p>
            <a:pPr marL="0" marR="0" lvl="0" indent="0" algn="l" defTabSz="1462088" rtl="0" eaLnBrk="1" fontAlgn="auto" latinLnBrk="0" hangingPunct="1">
              <a:lnSpc>
                <a:spcPct val="120000"/>
              </a:lnSpc>
              <a:spcBef>
                <a:spcPts val="60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Most consistent and predictable </a:t>
            </a:r>
            <a:r>
              <a:rPr kumimoji="0" lang="en-US" sz="1200" b="0" i="0" u="none" strike="noStrike" kern="1200" cap="none" spc="0" normalizeH="0" baseline="0" noProof="0" dirty="0">
                <a:ln>
                  <a:noFill/>
                </a:ln>
                <a:solidFill>
                  <a:prstClr val="black"/>
                </a:solidFill>
                <a:effectLst/>
                <a:uLnTx/>
                <a:uFillTx/>
                <a:ea typeface="+mn-ea"/>
                <a:cs typeface="+mn-cs"/>
              </a:rPr>
              <a:t>– you already know the space</a:t>
            </a:r>
          </a:p>
        </p:txBody>
      </p:sp>
    </p:spTree>
    <p:extLst>
      <p:ext uri="{BB962C8B-B14F-4D97-AF65-F5344CB8AC3E}">
        <p14:creationId xmlns:p14="http://schemas.microsoft.com/office/powerpoint/2010/main" val="3392025002"/>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F4857FFB-65F6-4354-94DD-9988523699F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020" name="think-cell Slide" r:id="rId6" imgW="395" imgH="396" progId="TCLayout.ActiveDocument.1">
                  <p:embed/>
                </p:oleObj>
              </mc:Choice>
              <mc:Fallback>
                <p:oleObj name="think-cell Slide" r:id="rId6" imgW="395" imgH="396" progId="TCLayout.ActiveDocument.1">
                  <p:embed/>
                  <p:pic>
                    <p:nvPicPr>
                      <p:cNvPr id="32" name="Object 31" hidden="1">
                        <a:extLst>
                          <a:ext uri="{FF2B5EF4-FFF2-40B4-BE49-F238E27FC236}">
                            <a16:creationId xmlns:a16="http://schemas.microsoft.com/office/drawing/2014/main" id="{F4857FFB-65F6-4354-94DD-9988523699F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1" name="Rectangle 30" hidden="1">
            <a:extLst>
              <a:ext uri="{FF2B5EF4-FFF2-40B4-BE49-F238E27FC236}">
                <a16:creationId xmlns:a16="http://schemas.microsoft.com/office/drawing/2014/main" id="{A08CAE90-1912-4394-83B2-9423618B5B7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5" name="Rectangle">
            <a:extLst>
              <a:ext uri="{FF2B5EF4-FFF2-40B4-BE49-F238E27FC236}">
                <a16:creationId xmlns:a16="http://schemas.microsoft.com/office/drawing/2014/main" id="{97B0E770-FA93-494C-B115-77665E8FD997}"/>
              </a:ext>
            </a:extLst>
          </p:cNvPr>
          <p:cNvSpPr/>
          <p:nvPr/>
        </p:nvSpPr>
        <p:spPr>
          <a:xfrm>
            <a:off x="3551198" y="1623406"/>
            <a:ext cx="8419022" cy="4768250"/>
          </a:xfrm>
          <a:prstGeom prst="rect">
            <a:avLst/>
          </a:prstGeom>
          <a:solidFill>
            <a:schemeClr val="bg1">
              <a:lumMod val="95000"/>
            </a:schemeClr>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1200" cap="none" spc="0" normalizeH="0" baseline="0" noProof="0" dirty="0">
              <a:ln>
                <a:noFill/>
              </a:ln>
              <a:solidFill>
                <a:srgbClr val="FFFFFF"/>
              </a:solidFill>
              <a:effectLst/>
              <a:uLnTx/>
              <a:uFillTx/>
              <a:ea typeface="+mn-ea"/>
              <a:cs typeface="+mn-cs"/>
              <a:sym typeface="Helvetica Neue Medium"/>
            </a:endParaRPr>
          </a:p>
        </p:txBody>
      </p:sp>
      <p:sp>
        <p:nvSpPr>
          <p:cNvPr id="2" name="Title 1">
            <a:extLst>
              <a:ext uri="{FF2B5EF4-FFF2-40B4-BE49-F238E27FC236}">
                <a16:creationId xmlns:a16="http://schemas.microsoft.com/office/drawing/2014/main" id="{19C5FEA9-FEEC-4F62-A180-4CE1C6F615E1}"/>
              </a:ext>
            </a:extLst>
          </p:cNvPr>
          <p:cNvSpPr>
            <a:spLocks noGrp="1"/>
          </p:cNvSpPr>
          <p:nvPr>
            <p:ph type="title"/>
          </p:nvPr>
        </p:nvSpPr>
        <p:spPr/>
        <p:txBody>
          <a:bodyPr/>
          <a:lstStyle/>
          <a:p>
            <a:r>
              <a:rPr lang="en-US" spc="-30" dirty="0"/>
              <a:t>We identified 12 key areas of proposed focus</a:t>
            </a:r>
            <a:endParaRPr lang="en-US" dirty="0"/>
          </a:p>
        </p:txBody>
      </p:sp>
      <p:sp>
        <p:nvSpPr>
          <p:cNvPr id="3" name="Text Placeholder 2">
            <a:extLst>
              <a:ext uri="{FF2B5EF4-FFF2-40B4-BE49-F238E27FC236}">
                <a16:creationId xmlns:a16="http://schemas.microsoft.com/office/drawing/2014/main" id="{B3637FC4-F46B-4C45-A05E-BE377E07B5DD}"/>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1056D1E2-941B-469D-AF5F-DB6DC6ED3399}"/>
              </a:ext>
            </a:extLst>
          </p:cNvPr>
          <p:cNvSpPr>
            <a:spLocks noGrp="1"/>
          </p:cNvSpPr>
          <p:nvPr>
            <p:ph type="body" sz="quarter" idx="15"/>
          </p:nvPr>
        </p:nvSpPr>
        <p:spPr>
          <a:xfrm>
            <a:off x="914971" y="466344"/>
            <a:ext cx="3650206" cy="209886"/>
          </a:xfrm>
        </p:spPr>
        <p:txBody>
          <a:bodyPr/>
          <a:lstStyle/>
          <a:p>
            <a:r>
              <a:rPr lang="en-US" dirty="0"/>
              <a:t>FRAMEWORKS &amp; CONCEPT ILLUSTRATION</a:t>
            </a:r>
          </a:p>
        </p:txBody>
      </p:sp>
      <p:sp>
        <p:nvSpPr>
          <p:cNvPr id="6" name="Title 2">
            <a:extLst>
              <a:ext uri="{FF2B5EF4-FFF2-40B4-BE49-F238E27FC236}">
                <a16:creationId xmlns:a16="http://schemas.microsoft.com/office/drawing/2014/main" id="{BDE13EED-B138-4405-A2E6-1CCF0FCBBAE3}"/>
              </a:ext>
            </a:extLst>
          </p:cNvPr>
          <p:cNvSpPr txBox="1">
            <a:spLocks/>
          </p:cNvSpPr>
          <p:nvPr/>
        </p:nvSpPr>
        <p:spPr>
          <a:xfrm>
            <a:off x="469900" y="1289304"/>
            <a:ext cx="11252200"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pic>
        <p:nvPicPr>
          <p:cNvPr id="7" name="Picture 6">
            <a:extLst>
              <a:ext uri="{FF2B5EF4-FFF2-40B4-BE49-F238E27FC236}">
                <a16:creationId xmlns:a16="http://schemas.microsoft.com/office/drawing/2014/main" id="{46314951-D2D2-47E8-AA49-240A5F8C575F}"/>
              </a:ext>
            </a:extLst>
          </p:cNvPr>
          <p:cNvPicPr>
            <a:picLocks noChangeAspect="1"/>
          </p:cNvPicPr>
          <p:nvPr/>
        </p:nvPicPr>
        <p:blipFill>
          <a:blip r:embed="rId8" cstate="hq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010456" y="1902510"/>
            <a:ext cx="3513887" cy="3513888"/>
          </a:xfrm>
          <a:prstGeom prst="rect">
            <a:avLst/>
          </a:prstGeom>
        </p:spPr>
      </p:pic>
      <p:sp>
        <p:nvSpPr>
          <p:cNvPr id="8" name="Rectangle 33">
            <a:extLst>
              <a:ext uri="{FF2B5EF4-FFF2-40B4-BE49-F238E27FC236}">
                <a16:creationId xmlns:a16="http://schemas.microsoft.com/office/drawing/2014/main" id="{3A8129F1-97A6-4C75-AAF6-F8CCA233D380}"/>
              </a:ext>
            </a:extLst>
          </p:cNvPr>
          <p:cNvSpPr>
            <a:spLocks noChangeArrowheads="1"/>
          </p:cNvSpPr>
          <p:nvPr/>
        </p:nvSpPr>
        <p:spPr bwMode="gray">
          <a:xfrm>
            <a:off x="581252" y="3190647"/>
            <a:ext cx="1246995" cy="484748"/>
          </a:xfrm>
          <a:prstGeom prst="rect">
            <a:avLst/>
          </a:prstGeom>
          <a:noFill/>
          <a:ln w="9525" algn="ctr">
            <a:noFill/>
            <a:miter lim="800000"/>
            <a:headEnd/>
            <a:tailEnd/>
          </a:ln>
        </p:spPr>
        <p:txBody>
          <a:bodyPr wrap="square" lIns="0" tIns="0" rIns="0" bIns="0" anchor="ctr">
            <a:spAutoFit/>
          </a:bodyPr>
          <a:lstStyle/>
          <a:p>
            <a:pPr marL="0" marR="0" lvl="0" indent="0" algn="r" defTabSz="146208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Circular Std Book" panose="020B0604020101020102" pitchFamily="34" charset="77"/>
              </a:rPr>
              <a:t>Enter </a:t>
            </a:r>
            <a:r>
              <a:rPr kumimoji="0" lang="en-US" sz="1050" b="0" i="0" u="none" strike="noStrike" kern="1200" cap="none" spc="0" normalizeH="0" baseline="0" noProof="0" dirty="0">
                <a:ln>
                  <a:noFill/>
                </a:ln>
                <a:solidFill>
                  <a:prstClr val="black"/>
                </a:solidFill>
                <a:effectLst/>
                <a:uLnTx/>
                <a:uFillTx/>
                <a:ea typeface="+mn-ea"/>
                <a:cs typeface="Circular Std Black" panose="020B0604020101020102" pitchFamily="34" charset="77"/>
              </a:rPr>
              <a:t>adjacent</a:t>
            </a:r>
            <a:r>
              <a:rPr kumimoji="0" lang="en-US" sz="1050" b="0" i="0" u="none" strike="noStrike" kern="1200" cap="none" spc="0" normalizeH="0" baseline="0" noProof="0" dirty="0">
                <a:ln>
                  <a:noFill/>
                </a:ln>
                <a:solidFill>
                  <a:prstClr val="black"/>
                </a:solidFill>
                <a:effectLst/>
                <a:uLnTx/>
                <a:uFillTx/>
                <a:ea typeface="+mn-ea"/>
                <a:cs typeface="Circular Std Book" panose="020B0604020101020102" pitchFamily="34" charset="77"/>
              </a:rPr>
              <a:t> markets, serve adjacent customers</a:t>
            </a:r>
          </a:p>
        </p:txBody>
      </p:sp>
      <p:sp>
        <p:nvSpPr>
          <p:cNvPr id="9" name="Rectangle 38">
            <a:extLst>
              <a:ext uri="{FF2B5EF4-FFF2-40B4-BE49-F238E27FC236}">
                <a16:creationId xmlns:a16="http://schemas.microsoft.com/office/drawing/2014/main" id="{D99FA04C-B006-4FEB-8769-4DFBF1163564}"/>
              </a:ext>
            </a:extLst>
          </p:cNvPr>
          <p:cNvSpPr>
            <a:spLocks noChangeArrowheads="1"/>
          </p:cNvSpPr>
          <p:nvPr/>
        </p:nvSpPr>
        <p:spPr bwMode="gray">
          <a:xfrm>
            <a:off x="812613" y="1931242"/>
            <a:ext cx="1015633" cy="646331"/>
          </a:xfrm>
          <a:prstGeom prst="rect">
            <a:avLst/>
          </a:prstGeom>
          <a:noFill/>
          <a:ln w="9525" algn="ctr">
            <a:noFill/>
            <a:miter lim="800000"/>
            <a:headEnd/>
            <a:tailEnd/>
          </a:ln>
        </p:spPr>
        <p:txBody>
          <a:bodyPr wrap="square" lIns="0" tIns="0" rIns="0" bIns="0" anchor="ctr">
            <a:spAutoFit/>
          </a:bodyPr>
          <a:lstStyle/>
          <a:p>
            <a:pPr marL="0" marR="0" lvl="0" indent="0" algn="r" defTabSz="146208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ea typeface="+mn-ea"/>
                <a:cs typeface="Circular Std Book" panose="020B0604020101020102" pitchFamily="34" charset="77"/>
              </a:rPr>
              <a:t>Create </a:t>
            </a:r>
            <a:r>
              <a:rPr kumimoji="0" lang="en-US" sz="1050" b="0" i="0" u="none" strike="noStrike" kern="1200" cap="none" spc="0" normalizeH="0" baseline="0" noProof="0" dirty="0">
                <a:ln>
                  <a:noFill/>
                </a:ln>
                <a:solidFill>
                  <a:srgbClr val="000000"/>
                </a:solidFill>
                <a:effectLst/>
                <a:uLnTx/>
                <a:uFillTx/>
                <a:ea typeface="+mn-ea"/>
                <a:cs typeface="Circular Std Black" panose="020B0604020101020102" pitchFamily="34" charset="77"/>
              </a:rPr>
              <a:t>new</a:t>
            </a:r>
            <a:r>
              <a:rPr kumimoji="0" lang="en-US" sz="1050" b="0" i="0" u="none" strike="noStrike" kern="1200" cap="none" spc="0" normalizeH="0" baseline="0" noProof="0" dirty="0">
                <a:ln>
                  <a:noFill/>
                </a:ln>
                <a:solidFill>
                  <a:srgbClr val="000000"/>
                </a:solidFill>
                <a:effectLst/>
                <a:uLnTx/>
                <a:uFillTx/>
                <a:ea typeface="+mn-ea"/>
                <a:cs typeface="Circular Std Book" panose="020B0604020101020102" pitchFamily="34" charset="77"/>
              </a:rPr>
              <a:t> markets,</a:t>
            </a:r>
            <a:br>
              <a:rPr kumimoji="0" lang="en-US" sz="1050" b="0" i="0" u="none" strike="noStrike" kern="1200" cap="none" spc="0" normalizeH="0" baseline="0" noProof="0" dirty="0">
                <a:ln>
                  <a:noFill/>
                </a:ln>
                <a:solidFill>
                  <a:srgbClr val="000000"/>
                </a:solidFill>
                <a:effectLst/>
                <a:uLnTx/>
                <a:uFillTx/>
                <a:ea typeface="+mn-ea"/>
                <a:cs typeface="Circular Std Book" panose="020B0604020101020102" pitchFamily="34" charset="77"/>
              </a:rPr>
            </a:br>
            <a:r>
              <a:rPr kumimoji="0" lang="en-US" sz="1050" b="0" i="0" u="none" strike="noStrike" kern="1200" cap="none" spc="0" normalizeH="0" baseline="0" noProof="0" dirty="0">
                <a:ln>
                  <a:noFill/>
                </a:ln>
                <a:solidFill>
                  <a:srgbClr val="000000"/>
                </a:solidFill>
                <a:effectLst/>
                <a:uLnTx/>
                <a:uFillTx/>
                <a:ea typeface="+mn-ea"/>
                <a:cs typeface="Circular Std Book" panose="020B0604020101020102" pitchFamily="34" charset="77"/>
              </a:rPr>
              <a:t> target new customer needs</a:t>
            </a:r>
          </a:p>
        </p:txBody>
      </p:sp>
      <p:sp>
        <p:nvSpPr>
          <p:cNvPr id="10" name="Rectangle 40">
            <a:extLst>
              <a:ext uri="{FF2B5EF4-FFF2-40B4-BE49-F238E27FC236}">
                <a16:creationId xmlns:a16="http://schemas.microsoft.com/office/drawing/2014/main" id="{852C5246-B700-42CE-A543-B87F59E94F91}"/>
              </a:ext>
            </a:extLst>
          </p:cNvPr>
          <p:cNvSpPr>
            <a:spLocks noChangeArrowheads="1"/>
          </p:cNvSpPr>
          <p:nvPr/>
        </p:nvSpPr>
        <p:spPr bwMode="gray">
          <a:xfrm>
            <a:off x="4770731" y="5528993"/>
            <a:ext cx="805260" cy="484748"/>
          </a:xfrm>
          <a:prstGeom prst="rect">
            <a:avLst/>
          </a:prstGeom>
          <a:noFill/>
          <a:ln w="9525" algn="ctr">
            <a:noFill/>
            <a:miter lim="800000"/>
            <a:headEnd/>
            <a:tailEnd/>
          </a:ln>
        </p:spPr>
        <p:txBody>
          <a:bodyPr wrap="square" lIns="0" tIns="0" rIns="0" bIns="0" anchor="ctr">
            <a:spAutoFit/>
          </a:bodyPr>
          <a:lstStyle/>
          <a:p>
            <a:pPr marL="0" marR="0" lvl="0" indent="0" algn="l" defTabSz="146208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Circular Std Book" panose="020B0604020101020102" pitchFamily="34" charset="77"/>
              </a:rPr>
              <a:t>D</a:t>
            </a:r>
            <a:r>
              <a:rPr kumimoji="0" lang="en-US" sz="1050" b="0" i="0" u="none" strike="noStrike" kern="1200" cap="none" spc="0" normalizeH="0" baseline="0" noProof="0" dirty="0">
                <a:ln>
                  <a:noFill/>
                </a:ln>
                <a:solidFill>
                  <a:srgbClr val="000000"/>
                </a:solidFill>
                <a:effectLst/>
                <a:uLnTx/>
                <a:uFillTx/>
                <a:ea typeface="+mn-ea"/>
                <a:cs typeface="Circular Std Book" panose="020B0604020101020102" pitchFamily="34" charset="77"/>
              </a:rPr>
              <a:t>evelop </a:t>
            </a:r>
            <a:r>
              <a:rPr kumimoji="0" lang="en-US" sz="1050" b="0" i="0" u="none" strike="noStrike" kern="1200" cap="none" spc="0" normalizeH="0" baseline="0" noProof="0" dirty="0">
                <a:ln>
                  <a:noFill/>
                </a:ln>
                <a:solidFill>
                  <a:srgbClr val="000000"/>
                </a:solidFill>
                <a:effectLst/>
                <a:uLnTx/>
                <a:uFillTx/>
                <a:ea typeface="+mn-ea"/>
                <a:cs typeface="Circular Std Black" panose="020B0604020101020102" pitchFamily="34" charset="77"/>
              </a:rPr>
              <a:t>new</a:t>
            </a:r>
            <a:r>
              <a:rPr kumimoji="0" lang="en-US" sz="1050" b="0" i="0" u="none" strike="noStrike" kern="1200" cap="none" spc="0" normalizeH="0" baseline="0" noProof="0" dirty="0">
                <a:ln>
                  <a:noFill/>
                </a:ln>
                <a:solidFill>
                  <a:srgbClr val="000000"/>
                </a:solidFill>
                <a:effectLst/>
                <a:uLnTx/>
                <a:uFillTx/>
                <a:ea typeface="+mn-ea"/>
                <a:cs typeface="Circular Std Book" panose="020B0604020101020102" pitchFamily="34" charset="77"/>
              </a:rPr>
              <a:t> offerings and assets</a:t>
            </a:r>
          </a:p>
        </p:txBody>
      </p:sp>
      <p:sp>
        <p:nvSpPr>
          <p:cNvPr id="11" name="Rectangle 34">
            <a:extLst>
              <a:ext uri="{FF2B5EF4-FFF2-40B4-BE49-F238E27FC236}">
                <a16:creationId xmlns:a16="http://schemas.microsoft.com/office/drawing/2014/main" id="{9625B300-5827-4C6A-9921-B5482EDE230B}"/>
              </a:ext>
            </a:extLst>
          </p:cNvPr>
          <p:cNvSpPr>
            <a:spLocks noChangeArrowheads="1"/>
          </p:cNvSpPr>
          <p:nvPr/>
        </p:nvSpPr>
        <p:spPr bwMode="gray">
          <a:xfrm>
            <a:off x="2189470" y="5528992"/>
            <a:ext cx="812626" cy="484748"/>
          </a:xfrm>
          <a:prstGeom prst="rect">
            <a:avLst/>
          </a:prstGeom>
          <a:noFill/>
          <a:ln w="9525" algn="ctr">
            <a:noFill/>
            <a:miter lim="800000"/>
            <a:headEnd/>
            <a:tailEnd/>
          </a:ln>
        </p:spPr>
        <p:txBody>
          <a:bodyPr wrap="square" lIns="0" tIns="0" rIns="0" bIns="0" anchor="ctr">
            <a:spAutoFit/>
          </a:bodyPr>
          <a:lstStyle/>
          <a:p>
            <a:pPr marL="0" marR="0" lvl="0" indent="0" algn="l" defTabSz="146208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ea typeface="+mn-ea"/>
                <a:cs typeface="Circular Std Book" panose="020B0604020101020102" pitchFamily="34" charset="77"/>
              </a:rPr>
              <a:t>Use </a:t>
            </a:r>
            <a:r>
              <a:rPr kumimoji="0" lang="en-US" sz="1050" b="0" i="0" u="none" strike="noStrike" kern="1200" cap="none" spc="0" normalizeH="0" baseline="0" noProof="0" dirty="0">
                <a:ln>
                  <a:noFill/>
                </a:ln>
                <a:solidFill>
                  <a:srgbClr val="000000"/>
                </a:solidFill>
                <a:effectLst/>
                <a:uLnTx/>
                <a:uFillTx/>
                <a:ea typeface="+mn-ea"/>
                <a:cs typeface="Circular Std Black" panose="020B0604020101020102" pitchFamily="34" charset="77"/>
              </a:rPr>
              <a:t>existing</a:t>
            </a:r>
            <a:r>
              <a:rPr kumimoji="0" lang="en-US" sz="1050" b="0" i="0" u="none" strike="noStrike" kern="1200" cap="none" spc="0" normalizeH="0" baseline="0" noProof="0" dirty="0">
                <a:ln>
                  <a:noFill/>
                </a:ln>
                <a:solidFill>
                  <a:srgbClr val="000000"/>
                </a:solidFill>
                <a:effectLst/>
                <a:uLnTx/>
                <a:uFillTx/>
                <a:ea typeface="+mn-ea"/>
                <a:cs typeface="Circular Std Book" panose="020B0604020101020102" pitchFamily="34" charset="77"/>
              </a:rPr>
              <a:t> offerings and assets</a:t>
            </a:r>
          </a:p>
        </p:txBody>
      </p:sp>
      <p:sp>
        <p:nvSpPr>
          <p:cNvPr id="12" name="Rectangle 39">
            <a:extLst>
              <a:ext uri="{FF2B5EF4-FFF2-40B4-BE49-F238E27FC236}">
                <a16:creationId xmlns:a16="http://schemas.microsoft.com/office/drawing/2014/main" id="{C6714BB3-6485-4A5D-AB0A-D86728596BBA}"/>
              </a:ext>
            </a:extLst>
          </p:cNvPr>
          <p:cNvSpPr>
            <a:spLocks noChangeArrowheads="1"/>
          </p:cNvSpPr>
          <p:nvPr/>
        </p:nvSpPr>
        <p:spPr bwMode="gray">
          <a:xfrm>
            <a:off x="3385722" y="5533795"/>
            <a:ext cx="1097280" cy="484748"/>
          </a:xfrm>
          <a:prstGeom prst="rect">
            <a:avLst/>
          </a:prstGeom>
          <a:noFill/>
          <a:ln w="9525" algn="ctr">
            <a:noFill/>
            <a:miter lim="800000"/>
            <a:headEnd/>
            <a:tailEnd/>
          </a:ln>
        </p:spPr>
        <p:txBody>
          <a:bodyPr wrap="square" lIns="0" tIns="0" rIns="0" bIns="0" anchor="ctr">
            <a:spAutoFit/>
          </a:bodyPr>
          <a:lstStyle/>
          <a:p>
            <a:pPr marL="0" marR="0" lvl="0" indent="0" algn="l" defTabSz="146208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Circular Std Book" panose="020B0604020101020102" pitchFamily="34" charset="77"/>
              </a:rPr>
              <a:t>A</a:t>
            </a:r>
            <a:r>
              <a:rPr kumimoji="0" lang="en-US" sz="1050" b="0" i="0" u="none" strike="noStrike" kern="1200" cap="none" spc="0" normalizeH="0" baseline="0" noProof="0" dirty="0">
                <a:ln>
                  <a:noFill/>
                </a:ln>
                <a:solidFill>
                  <a:srgbClr val="000000"/>
                </a:solidFill>
                <a:effectLst/>
                <a:uLnTx/>
                <a:uFillTx/>
                <a:ea typeface="+mn-ea"/>
                <a:cs typeface="Circular Std Book" panose="020B0604020101020102" pitchFamily="34" charset="77"/>
              </a:rPr>
              <a:t>dd </a:t>
            </a:r>
            <a:r>
              <a:rPr kumimoji="0" lang="en-US" sz="1050" b="0" i="0" u="none" strike="noStrike" kern="1200" cap="none" spc="0" normalizeH="0" baseline="0" noProof="0" dirty="0">
                <a:ln>
                  <a:noFill/>
                </a:ln>
                <a:solidFill>
                  <a:srgbClr val="000000"/>
                </a:solidFill>
                <a:effectLst/>
                <a:uLnTx/>
                <a:uFillTx/>
                <a:ea typeface="+mn-ea"/>
                <a:cs typeface="Circular Std Black" panose="020B0604020101020102" pitchFamily="34" charset="77"/>
              </a:rPr>
              <a:t>incremental</a:t>
            </a:r>
            <a:r>
              <a:rPr kumimoji="0" lang="en-US" sz="1050" b="0" i="0" u="none" strike="noStrike" kern="1200" cap="none" spc="0" normalizeH="0" baseline="0" noProof="0" dirty="0">
                <a:ln>
                  <a:noFill/>
                </a:ln>
                <a:solidFill>
                  <a:srgbClr val="000000"/>
                </a:solidFill>
                <a:effectLst/>
                <a:uLnTx/>
                <a:uFillTx/>
                <a:ea typeface="+mn-ea"/>
                <a:cs typeface="Circular Std Book" panose="020B0604020101020102" pitchFamily="34" charset="77"/>
              </a:rPr>
              <a:t> offerings and assets</a:t>
            </a:r>
          </a:p>
        </p:txBody>
      </p:sp>
      <p:sp>
        <p:nvSpPr>
          <p:cNvPr id="13" name="Rectangle 36">
            <a:extLst>
              <a:ext uri="{FF2B5EF4-FFF2-40B4-BE49-F238E27FC236}">
                <a16:creationId xmlns:a16="http://schemas.microsoft.com/office/drawing/2014/main" id="{0095B8B5-BD34-4CFE-A4E9-713A2FF8261F}"/>
              </a:ext>
            </a:extLst>
          </p:cNvPr>
          <p:cNvSpPr>
            <a:spLocks noChangeArrowheads="1"/>
          </p:cNvSpPr>
          <p:nvPr/>
        </p:nvSpPr>
        <p:spPr bwMode="gray">
          <a:xfrm>
            <a:off x="812613" y="4396794"/>
            <a:ext cx="1015633" cy="484748"/>
          </a:xfrm>
          <a:prstGeom prst="rect">
            <a:avLst/>
          </a:prstGeom>
          <a:noFill/>
          <a:ln w="9525" algn="ctr">
            <a:noFill/>
            <a:miter lim="800000"/>
            <a:headEnd/>
            <a:tailEnd/>
          </a:ln>
        </p:spPr>
        <p:txBody>
          <a:bodyPr wrap="square" lIns="0" tIns="0" rIns="0" bIns="0" anchor="ctr">
            <a:spAutoFit/>
          </a:bodyPr>
          <a:lstStyle/>
          <a:p>
            <a:pPr marL="0" marR="0" lvl="0" indent="0" algn="r" defTabSz="146208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ea typeface="+mn-ea"/>
                <a:cs typeface="Circular Std Book" panose="020B0604020101020102" pitchFamily="34" charset="77"/>
              </a:rPr>
              <a:t>Serve </a:t>
            </a:r>
            <a:r>
              <a:rPr kumimoji="0" lang="en-US" sz="1050" b="0" i="0" u="none" strike="noStrike" kern="1200" cap="none" spc="0" normalizeH="0" baseline="0" noProof="0" dirty="0">
                <a:ln>
                  <a:noFill/>
                </a:ln>
                <a:solidFill>
                  <a:prstClr val="black"/>
                </a:solidFill>
                <a:effectLst/>
                <a:uLnTx/>
                <a:uFillTx/>
                <a:ea typeface="+mn-ea"/>
                <a:cs typeface="Circular Std Black" panose="020B0604020101020102" pitchFamily="34" charset="77"/>
              </a:rPr>
              <a:t>existing</a:t>
            </a:r>
            <a:r>
              <a:rPr kumimoji="0" lang="en-US" sz="1050" b="0" i="0" u="none" strike="noStrike" kern="1200" cap="none" spc="0" normalizeH="0" baseline="0" noProof="0" dirty="0">
                <a:ln>
                  <a:noFill/>
                </a:ln>
                <a:solidFill>
                  <a:prstClr val="black"/>
                </a:solidFill>
                <a:effectLst/>
                <a:uLnTx/>
                <a:uFillTx/>
                <a:ea typeface="+mn-ea"/>
                <a:cs typeface="Circular Std Book" panose="020B0604020101020102" pitchFamily="34" charset="77"/>
              </a:rPr>
              <a:t> markets and customers</a:t>
            </a:r>
          </a:p>
        </p:txBody>
      </p:sp>
      <p:sp>
        <p:nvSpPr>
          <p:cNvPr id="14" name="Oval 13">
            <a:extLst>
              <a:ext uri="{FF2B5EF4-FFF2-40B4-BE49-F238E27FC236}">
                <a16:creationId xmlns:a16="http://schemas.microsoft.com/office/drawing/2014/main" id="{903895B3-6962-4E0E-BF34-CDFFC299F9B9}"/>
              </a:ext>
            </a:extLst>
          </p:cNvPr>
          <p:cNvSpPr/>
          <p:nvPr/>
        </p:nvSpPr>
        <p:spPr>
          <a:xfrm>
            <a:off x="2602558" y="4926338"/>
            <a:ext cx="228600" cy="228600"/>
          </a:xfrm>
          <a:prstGeom prst="ellipse">
            <a:avLst/>
          </a:prstGeom>
          <a:solidFill>
            <a:schemeClr val="tx1">
              <a:lumMod val="65000"/>
              <a:lumOff val="35000"/>
              <a:alpha val="65098"/>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ea typeface="+mn-ea"/>
                <a:cs typeface="Circular Std Medium" panose="020B0604020101020102" pitchFamily="34" charset="77"/>
                <a:sym typeface="Helvetica Neue Medium"/>
              </a:rPr>
              <a:t>1</a:t>
            </a:r>
          </a:p>
        </p:txBody>
      </p:sp>
      <p:sp>
        <p:nvSpPr>
          <p:cNvPr id="15" name="Oval 14">
            <a:extLst>
              <a:ext uri="{FF2B5EF4-FFF2-40B4-BE49-F238E27FC236}">
                <a16:creationId xmlns:a16="http://schemas.microsoft.com/office/drawing/2014/main" id="{5B035484-3497-4D4A-8B78-FE39903EC7E5}"/>
              </a:ext>
            </a:extLst>
          </p:cNvPr>
          <p:cNvSpPr/>
          <p:nvPr/>
        </p:nvSpPr>
        <p:spPr>
          <a:xfrm>
            <a:off x="4349825" y="3283295"/>
            <a:ext cx="228600" cy="228600"/>
          </a:xfrm>
          <a:prstGeom prst="ellipse">
            <a:avLst/>
          </a:prstGeom>
          <a:solidFill>
            <a:schemeClr val="tx1">
              <a:lumMod val="65000"/>
              <a:lumOff val="35000"/>
              <a:alpha val="65098"/>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ea typeface="+mn-ea"/>
                <a:cs typeface="Circular Std Medium" panose="020B0604020101020102" pitchFamily="34" charset="77"/>
                <a:sym typeface="Helvetica Neue Medium"/>
              </a:rPr>
              <a:t>3</a:t>
            </a:r>
          </a:p>
        </p:txBody>
      </p:sp>
      <p:sp>
        <p:nvSpPr>
          <p:cNvPr id="16" name="Oval 15">
            <a:extLst>
              <a:ext uri="{FF2B5EF4-FFF2-40B4-BE49-F238E27FC236}">
                <a16:creationId xmlns:a16="http://schemas.microsoft.com/office/drawing/2014/main" id="{BE9EABBF-7CA7-46B6-9C92-0596AD1A2B75}"/>
              </a:ext>
            </a:extLst>
          </p:cNvPr>
          <p:cNvSpPr/>
          <p:nvPr/>
        </p:nvSpPr>
        <p:spPr>
          <a:xfrm>
            <a:off x="4679290" y="2653396"/>
            <a:ext cx="228600" cy="228600"/>
          </a:xfrm>
          <a:prstGeom prst="ellipse">
            <a:avLst/>
          </a:prstGeom>
          <a:solidFill>
            <a:schemeClr val="tx1">
              <a:lumMod val="65000"/>
              <a:lumOff val="35000"/>
              <a:alpha val="65098"/>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ea typeface="+mn-ea"/>
                <a:cs typeface="Circular Std Medium" panose="020B0604020101020102" pitchFamily="34" charset="77"/>
                <a:sym typeface="Helvetica Neue Medium"/>
              </a:rPr>
              <a:t>4</a:t>
            </a:r>
          </a:p>
        </p:txBody>
      </p:sp>
      <p:sp>
        <p:nvSpPr>
          <p:cNvPr id="17" name="Oval 16">
            <a:extLst>
              <a:ext uri="{FF2B5EF4-FFF2-40B4-BE49-F238E27FC236}">
                <a16:creationId xmlns:a16="http://schemas.microsoft.com/office/drawing/2014/main" id="{67CFEE65-9F47-4C61-AED4-774A7F6A00C8}"/>
              </a:ext>
            </a:extLst>
          </p:cNvPr>
          <p:cNvSpPr/>
          <p:nvPr/>
        </p:nvSpPr>
        <p:spPr>
          <a:xfrm>
            <a:off x="3192466" y="4779951"/>
            <a:ext cx="228600" cy="228600"/>
          </a:xfrm>
          <a:prstGeom prst="ellipse">
            <a:avLst/>
          </a:prstGeom>
          <a:solidFill>
            <a:schemeClr val="tx1">
              <a:lumMod val="65000"/>
              <a:lumOff val="35000"/>
              <a:alpha val="65098"/>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ea typeface="+mn-ea"/>
                <a:cs typeface="Circular Std Medium" panose="020B0604020101020102" pitchFamily="34" charset="77"/>
                <a:sym typeface="Helvetica Neue Medium"/>
              </a:rPr>
              <a:t>6</a:t>
            </a:r>
          </a:p>
        </p:txBody>
      </p:sp>
      <p:sp>
        <p:nvSpPr>
          <p:cNvPr id="18" name="Oval 17">
            <a:extLst>
              <a:ext uri="{FF2B5EF4-FFF2-40B4-BE49-F238E27FC236}">
                <a16:creationId xmlns:a16="http://schemas.microsoft.com/office/drawing/2014/main" id="{AD221D0C-F01D-43AC-A904-08288B474679}"/>
              </a:ext>
            </a:extLst>
          </p:cNvPr>
          <p:cNvSpPr/>
          <p:nvPr/>
        </p:nvSpPr>
        <p:spPr>
          <a:xfrm>
            <a:off x="4140777" y="4185291"/>
            <a:ext cx="228600" cy="228600"/>
          </a:xfrm>
          <a:prstGeom prst="ellipse">
            <a:avLst/>
          </a:prstGeom>
          <a:solidFill>
            <a:schemeClr val="tx1">
              <a:lumMod val="65000"/>
              <a:lumOff val="35000"/>
              <a:alpha val="65098"/>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ea typeface="+mn-ea"/>
                <a:cs typeface="Circular Std Medium" panose="020B0604020101020102" pitchFamily="34" charset="77"/>
                <a:sym typeface="Helvetica Neue Medium"/>
              </a:rPr>
              <a:t>2</a:t>
            </a:r>
          </a:p>
        </p:txBody>
      </p:sp>
      <p:sp>
        <p:nvSpPr>
          <p:cNvPr id="19" name="Oval 18">
            <a:extLst>
              <a:ext uri="{FF2B5EF4-FFF2-40B4-BE49-F238E27FC236}">
                <a16:creationId xmlns:a16="http://schemas.microsoft.com/office/drawing/2014/main" id="{891F9218-D04E-4175-92F5-CF72DE42F2A7}"/>
              </a:ext>
            </a:extLst>
          </p:cNvPr>
          <p:cNvSpPr/>
          <p:nvPr/>
        </p:nvSpPr>
        <p:spPr>
          <a:xfrm>
            <a:off x="3508796" y="4036430"/>
            <a:ext cx="228600" cy="228600"/>
          </a:xfrm>
          <a:prstGeom prst="ellipse">
            <a:avLst/>
          </a:prstGeom>
          <a:solidFill>
            <a:schemeClr val="tx1">
              <a:lumMod val="65000"/>
              <a:lumOff val="35000"/>
              <a:alpha val="65098"/>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ea typeface="+mn-ea"/>
                <a:cs typeface="Circular Std Medium" panose="020B0604020101020102" pitchFamily="34" charset="77"/>
                <a:sym typeface="Helvetica Neue Medium"/>
              </a:rPr>
              <a:t>5</a:t>
            </a:r>
          </a:p>
        </p:txBody>
      </p:sp>
      <p:sp>
        <p:nvSpPr>
          <p:cNvPr id="20" name="Oval 19">
            <a:extLst>
              <a:ext uri="{FF2B5EF4-FFF2-40B4-BE49-F238E27FC236}">
                <a16:creationId xmlns:a16="http://schemas.microsoft.com/office/drawing/2014/main" id="{F805A68C-7A19-4953-A17F-2F4B6B9C68C8}"/>
              </a:ext>
            </a:extLst>
          </p:cNvPr>
          <p:cNvSpPr/>
          <p:nvPr/>
        </p:nvSpPr>
        <p:spPr>
          <a:xfrm>
            <a:off x="3508796" y="4301275"/>
            <a:ext cx="228600" cy="228600"/>
          </a:xfrm>
          <a:prstGeom prst="ellipse">
            <a:avLst/>
          </a:prstGeom>
          <a:solidFill>
            <a:schemeClr val="tx1">
              <a:lumMod val="65000"/>
              <a:lumOff val="35000"/>
              <a:alpha val="65098"/>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ea typeface="+mn-ea"/>
                <a:cs typeface="Circular Std Medium" panose="020B0604020101020102" pitchFamily="34" charset="77"/>
                <a:sym typeface="Helvetica Neue Medium"/>
              </a:rPr>
              <a:t>10</a:t>
            </a:r>
          </a:p>
        </p:txBody>
      </p:sp>
      <p:graphicFrame>
        <p:nvGraphicFramePr>
          <p:cNvPr id="21" name="Table 20">
            <a:extLst>
              <a:ext uri="{FF2B5EF4-FFF2-40B4-BE49-F238E27FC236}">
                <a16:creationId xmlns:a16="http://schemas.microsoft.com/office/drawing/2014/main" id="{F7F7DDB4-8044-4E7E-874D-9424552B6EA6}"/>
              </a:ext>
            </a:extLst>
          </p:cNvPr>
          <p:cNvGraphicFramePr>
            <a:graphicFrameLocks noGrp="1"/>
          </p:cNvGraphicFramePr>
          <p:nvPr>
            <p:extLst>
              <p:ext uri="{D42A27DB-BD31-4B8C-83A1-F6EECF244321}">
                <p14:modId xmlns:p14="http://schemas.microsoft.com/office/powerpoint/2010/main" val="3133742650"/>
              </p:ext>
            </p:extLst>
          </p:nvPr>
        </p:nvGraphicFramePr>
        <p:xfrm>
          <a:off x="6652435" y="1813358"/>
          <a:ext cx="4285156" cy="4160769"/>
        </p:xfrm>
        <a:graphic>
          <a:graphicData uri="http://schemas.openxmlformats.org/drawingml/2006/table">
            <a:tbl>
              <a:tblPr firstRow="1" bandRow="1">
                <a:tableStyleId>{5940675A-B579-460E-94D1-54222C63F5DA}</a:tableStyleId>
              </a:tblPr>
              <a:tblGrid>
                <a:gridCol w="1737360">
                  <a:extLst>
                    <a:ext uri="{9D8B030D-6E8A-4147-A177-3AD203B41FA5}">
                      <a16:colId xmlns:a16="http://schemas.microsoft.com/office/drawing/2014/main" val="92935866"/>
                    </a:ext>
                  </a:extLst>
                </a:gridCol>
                <a:gridCol w="2547796">
                  <a:extLst>
                    <a:ext uri="{9D8B030D-6E8A-4147-A177-3AD203B41FA5}">
                      <a16:colId xmlns:a16="http://schemas.microsoft.com/office/drawing/2014/main" val="2661332745"/>
                    </a:ext>
                  </a:extLst>
                </a:gridCol>
              </a:tblGrid>
              <a:tr h="490283">
                <a:tc>
                  <a:txBody>
                    <a:bodyPr/>
                    <a:lstStyle/>
                    <a:p>
                      <a:pPr marL="0" marR="0" indent="0" algn="l" defTabSz="825500" latinLnBrk="0">
                        <a:lnSpc>
                          <a:spcPct val="100000"/>
                        </a:lnSpc>
                        <a:spcBef>
                          <a:spcPts val="0"/>
                        </a:spcBef>
                        <a:spcAft>
                          <a:spcPts val="0"/>
                        </a:spcAft>
                        <a:buClrTx/>
                        <a:buSzTx/>
                        <a:buFontTx/>
                        <a:buNone/>
                        <a:tabLst/>
                      </a:pPr>
                      <a:r>
                        <a:rPr lang="en-US" sz="1200" b="1" kern="1200" dirty="0">
                          <a:solidFill>
                            <a:schemeClr val="tx1"/>
                          </a:solidFill>
                          <a:latin typeface="+mn-lt"/>
                          <a:ea typeface="Calibri" panose="020F0502020204030204" pitchFamily="34" charset="0"/>
                          <a:cs typeface="+mn-cs"/>
                          <a:sym typeface="Helvetica Neue Light"/>
                        </a:rPr>
                        <a:t>Opportunity </a:t>
                      </a:r>
                    </a:p>
                    <a:p>
                      <a:pPr marL="0" marR="0" indent="0" algn="l" defTabSz="825500" latinLnBrk="0">
                        <a:lnSpc>
                          <a:spcPct val="100000"/>
                        </a:lnSpc>
                        <a:spcBef>
                          <a:spcPts val="0"/>
                        </a:spcBef>
                        <a:spcAft>
                          <a:spcPts val="0"/>
                        </a:spcAft>
                        <a:buClrTx/>
                        <a:buSzTx/>
                        <a:buFontTx/>
                        <a:buNone/>
                        <a:tabLst/>
                      </a:pPr>
                      <a:r>
                        <a:rPr lang="en-US" sz="1200" b="1" kern="1200" dirty="0">
                          <a:solidFill>
                            <a:schemeClr val="tx1"/>
                          </a:solidFill>
                          <a:latin typeface="+mn-lt"/>
                          <a:ea typeface="Calibri" panose="020F0502020204030204" pitchFamily="34" charset="0"/>
                          <a:cs typeface="+mn-cs"/>
                          <a:sym typeface="Helvetica Neue Light"/>
                        </a:rPr>
                        <a:t>Spaces</a:t>
                      </a:r>
                    </a:p>
                  </a:txBody>
                  <a:tcPr marL="137409" marR="0" marT="137409" marB="91440">
                    <a:lnL w="127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tcPr>
                </a:tc>
                <a:tc>
                  <a:txBody>
                    <a:bodyPr/>
                    <a:lstStyle/>
                    <a:p>
                      <a:r>
                        <a:rPr lang="en-US" sz="1200" b="1" kern="1200" dirty="0">
                          <a:solidFill>
                            <a:schemeClr val="tx1"/>
                          </a:solidFill>
                          <a:latin typeface="+mn-lt"/>
                          <a:ea typeface="Calibri" panose="020F0502020204030204" pitchFamily="34" charset="0"/>
                          <a:cs typeface="+mn-cs"/>
                        </a:rPr>
                        <a:t>Future State</a:t>
                      </a:r>
                    </a:p>
                    <a:p>
                      <a:r>
                        <a:rPr lang="en-US" sz="1200" b="1" kern="1200" dirty="0">
                          <a:solidFill>
                            <a:schemeClr val="tx1"/>
                          </a:solidFill>
                          <a:latin typeface="+mn-lt"/>
                          <a:ea typeface="Calibri" panose="020F0502020204030204" pitchFamily="34" charset="0"/>
                          <a:cs typeface="+mn-cs"/>
                        </a:rPr>
                        <a:t>Concepts</a:t>
                      </a:r>
                      <a:endParaRPr lang="en-US" sz="1200" i="0" kern="1200" dirty="0">
                        <a:solidFill>
                          <a:schemeClr val="accent4"/>
                        </a:solidFill>
                        <a:latin typeface="+mn-lt"/>
                        <a:ea typeface="+mn-ea"/>
                        <a:cs typeface="+mn-cs"/>
                      </a:endParaRPr>
                    </a:p>
                  </a:txBody>
                  <a:tcPr marL="137409" marR="0" marT="137409" marB="91440">
                    <a:lnL w="76200" cap="flat" cmpd="sng" algn="ctr">
                      <a:noFill/>
                      <a:prstDash val="solid"/>
                      <a:round/>
                      <a:headEnd type="none" w="med" len="med"/>
                      <a:tailEnd type="none" w="med" len="med"/>
                    </a:lnL>
                    <a:lnR w="12700" cap="flat" cmpd="sng" algn="ctr">
                      <a:noFill/>
                      <a:prstDash val="solid"/>
                      <a:round/>
                      <a:headEnd type="none" w="med" len="med"/>
                      <a:tailEnd type="none" w="med" len="med"/>
                    </a:lnR>
                    <a:lnT w="76200" cap="flat" cmpd="sng" algn="ctr">
                      <a:noFill/>
                      <a:prstDash val="solid"/>
                      <a:round/>
                      <a:headEnd type="none" w="med" len="med"/>
                      <a:tailEnd type="none" w="med" len="med"/>
                    </a:lnT>
                  </a:tcPr>
                </a:tc>
                <a:extLst>
                  <a:ext uri="{0D108BD9-81ED-4DB2-BD59-A6C34878D82A}">
                    <a16:rowId xmlns:a16="http://schemas.microsoft.com/office/drawing/2014/main" val="1482008178"/>
                  </a:ext>
                </a:extLst>
              </a:tr>
              <a:tr h="527776">
                <a:tc>
                  <a:txBody>
                    <a:bodyPr/>
                    <a:lstStyle/>
                    <a:p>
                      <a:pPr defTabSz="457200">
                        <a:spcBef>
                          <a:spcPts val="1500"/>
                        </a:spcBef>
                        <a:spcAft>
                          <a:spcPts val="1200"/>
                        </a:spcAft>
                      </a:pPr>
                      <a:r>
                        <a:rPr lang="en-US" sz="1200" kern="1200" dirty="0">
                          <a:solidFill>
                            <a:schemeClr val="tx1"/>
                          </a:solidFill>
                          <a:latin typeface="+mn-lt"/>
                          <a:ea typeface="Circular Std Black"/>
                          <a:cs typeface="Circular Std Black"/>
                        </a:rPr>
                        <a:t>OEM Client as the </a:t>
                      </a:r>
                      <a:br>
                        <a:rPr lang="en-US" sz="1200" kern="1200" dirty="0">
                          <a:solidFill>
                            <a:schemeClr val="tx1"/>
                          </a:solidFill>
                          <a:latin typeface="+mn-lt"/>
                          <a:ea typeface="Circular Std Black"/>
                          <a:cs typeface="Circular Std Black"/>
                        </a:rPr>
                      </a:br>
                      <a:r>
                        <a:rPr lang="en-US" sz="1200" kern="1200" dirty="0">
                          <a:solidFill>
                            <a:schemeClr val="tx1"/>
                          </a:solidFill>
                          <a:latin typeface="+mn-lt"/>
                          <a:ea typeface="Circular Std Black"/>
                          <a:cs typeface="Circular Std Black"/>
                        </a:rPr>
                        <a:t>new standard</a:t>
                      </a:r>
                    </a:p>
                  </a:txBody>
                  <a:tcPr marL="137409" marR="0" marT="137160" marB="137160">
                    <a:lnL w="12700" cap="flat" cmpd="sng" algn="ctr">
                      <a:noFill/>
                      <a:prstDash val="solid"/>
                      <a:round/>
                      <a:headEnd type="none" w="med" len="med"/>
                      <a:tailEnd type="none" w="med" len="med"/>
                    </a:lnL>
                  </a:tcPr>
                </a:tc>
                <a:tc>
                  <a:txBody>
                    <a:bodyPr/>
                    <a:lstStyle/>
                    <a:p>
                      <a:pPr marL="228600" indent="-228600" algn="l">
                        <a:lnSpc>
                          <a:spcPct val="100000"/>
                        </a:lnSpc>
                        <a:buAutoNum type="arabicPeriod"/>
                      </a:pPr>
                      <a:r>
                        <a:rPr lang="en-US" sz="1200" b="0" dirty="0">
                          <a:solidFill>
                            <a:schemeClr val="tx1"/>
                          </a:solidFill>
                          <a:latin typeface="+mj-lt"/>
                          <a:cs typeface="Circular Std Book" panose="020B0604020101020102" pitchFamily="34" charset="77"/>
                        </a:rPr>
                        <a:t>Online Search</a:t>
                      </a:r>
                    </a:p>
                    <a:p>
                      <a:pPr marL="228600" indent="-228600" algn="l">
                        <a:lnSpc>
                          <a:spcPct val="100000"/>
                        </a:lnSpc>
                        <a:buAutoNum type="arabicPeriod"/>
                      </a:pPr>
                      <a:r>
                        <a:rPr lang="en-US" sz="1200" b="0" dirty="0">
                          <a:solidFill>
                            <a:schemeClr val="tx1"/>
                          </a:solidFill>
                          <a:latin typeface="+mj-lt"/>
                          <a:cs typeface="Circular Std Book" panose="020B0604020101020102" pitchFamily="34" charset="77"/>
                        </a:rPr>
                        <a:t>Client Digital</a:t>
                      </a:r>
                      <a:r>
                        <a:rPr lang="en-US" sz="1200" b="0" baseline="0" dirty="0">
                          <a:solidFill>
                            <a:schemeClr val="tx1"/>
                          </a:solidFill>
                          <a:latin typeface="+mj-lt"/>
                          <a:cs typeface="Circular Std Book" panose="020B0604020101020102" pitchFamily="34" charset="77"/>
                        </a:rPr>
                        <a:t> Site</a:t>
                      </a:r>
                      <a:endParaRPr lang="en-US" sz="1200" b="0" dirty="0">
                        <a:solidFill>
                          <a:schemeClr val="tx1"/>
                        </a:solidFill>
                        <a:latin typeface="+mj-lt"/>
                        <a:cs typeface="Circular Std Book" panose="020B0604020101020102" pitchFamily="34" charset="77"/>
                      </a:endParaRPr>
                    </a:p>
                  </a:txBody>
                  <a:tcPr marL="137409" marR="0" marT="137160" marB="137160">
                    <a:lnR w="12700" cap="flat" cmpd="sng" algn="ctr">
                      <a:noFill/>
                      <a:prstDash val="solid"/>
                      <a:round/>
                      <a:headEnd type="none" w="med" len="med"/>
                      <a:tailEnd type="none" w="med" len="med"/>
                    </a:lnR>
                  </a:tcPr>
                </a:tc>
                <a:extLst>
                  <a:ext uri="{0D108BD9-81ED-4DB2-BD59-A6C34878D82A}">
                    <a16:rowId xmlns:a16="http://schemas.microsoft.com/office/drawing/2014/main" val="418270181"/>
                  </a:ext>
                </a:extLst>
              </a:tr>
              <a:tr h="678569">
                <a:tc>
                  <a:txBody>
                    <a:bodyPr/>
                    <a:lstStyle/>
                    <a:p>
                      <a:pPr defTabSz="457200">
                        <a:defRPr sz="3600" b="0">
                          <a:latin typeface="Circular Std Black"/>
                          <a:ea typeface="Circular Std Black"/>
                          <a:cs typeface="Circular Std Black"/>
                          <a:sym typeface="Circular Std Black"/>
                        </a:defRPr>
                      </a:pPr>
                      <a:r>
                        <a:rPr lang="en-US" sz="1200" b="0" kern="1200" dirty="0">
                          <a:solidFill>
                            <a:schemeClr val="tx1"/>
                          </a:solidFill>
                          <a:latin typeface="+mn-lt"/>
                          <a:ea typeface="Circular Std Black"/>
                          <a:cs typeface="Circular Std Black"/>
                          <a:sym typeface="Circular Std Black"/>
                        </a:rPr>
                        <a:t>Putting the </a:t>
                      </a:r>
                    </a:p>
                    <a:p>
                      <a:pPr defTabSz="457200">
                        <a:defRPr sz="3600" b="0">
                          <a:latin typeface="Circular Std Black"/>
                          <a:ea typeface="Circular Std Black"/>
                          <a:cs typeface="Circular Std Black"/>
                          <a:sym typeface="Circular Std Black"/>
                        </a:defRPr>
                      </a:pPr>
                      <a:r>
                        <a:rPr lang="en-US" sz="1200" b="0" kern="1200" dirty="0">
                          <a:solidFill>
                            <a:schemeClr val="tx1"/>
                          </a:solidFill>
                          <a:latin typeface="+mn-lt"/>
                          <a:ea typeface="Circular Std Black"/>
                          <a:cs typeface="Circular Std Black"/>
                          <a:sym typeface="Circular Std Black"/>
                        </a:rPr>
                        <a:t>customer first</a:t>
                      </a:r>
                    </a:p>
                  </a:txBody>
                  <a:tcPr marL="137409" marR="0" marT="137160" marB="137160">
                    <a:lnL w="12700" cap="flat" cmpd="sng" algn="ctr">
                      <a:noFill/>
                      <a:prstDash val="solid"/>
                      <a:round/>
                      <a:headEnd type="none" w="med" len="med"/>
                      <a:tailEnd type="none" w="med" len="med"/>
                    </a:lnL>
                  </a:tcPr>
                </a:tc>
                <a:tc>
                  <a:txBody>
                    <a:bodyPr/>
                    <a:lstStyle/>
                    <a:p>
                      <a:pPr marL="228600" indent="-228600" algn="l">
                        <a:lnSpc>
                          <a:spcPct val="100000"/>
                        </a:lnSpc>
                        <a:buFont typeface="+mj-lt"/>
                        <a:buAutoNum type="arabicPeriod" startAt="3"/>
                      </a:pPr>
                      <a:r>
                        <a:rPr lang="en-US" sz="1200" b="0" kern="1200" dirty="0">
                          <a:solidFill>
                            <a:schemeClr val="tx1"/>
                          </a:solidFill>
                          <a:latin typeface="+mn-lt"/>
                          <a:ea typeface="+mn-ea"/>
                          <a:cs typeface="Circular Std Book" panose="020B0604020101020102" pitchFamily="34" charset="77"/>
                        </a:rPr>
                        <a:t>Dynamic Pricing Tool</a:t>
                      </a:r>
                    </a:p>
                    <a:p>
                      <a:pPr marL="228600" indent="-228600" algn="l">
                        <a:lnSpc>
                          <a:spcPct val="100000"/>
                        </a:lnSpc>
                        <a:buAutoNum type="arabicPeriod" startAt="3"/>
                      </a:pPr>
                      <a:r>
                        <a:rPr lang="en-US" sz="1200" b="0" kern="1200" dirty="0">
                          <a:solidFill>
                            <a:schemeClr val="tx1"/>
                          </a:solidFill>
                          <a:latin typeface="+mn-lt"/>
                          <a:ea typeface="+mn-ea"/>
                          <a:cs typeface="Circular Std Book" panose="020B0604020101020102" pitchFamily="34" charset="77"/>
                        </a:rPr>
                        <a:t>Digital to Physical</a:t>
                      </a:r>
                      <a:endParaRPr lang="en-US" sz="1200" b="0" kern="1200" baseline="0" dirty="0">
                        <a:solidFill>
                          <a:schemeClr val="tx1"/>
                        </a:solidFill>
                        <a:latin typeface="+mn-lt"/>
                        <a:ea typeface="+mn-ea"/>
                        <a:cs typeface="Circular Std Book" panose="020B0604020101020102" pitchFamily="34" charset="77"/>
                      </a:endParaRPr>
                    </a:p>
                    <a:p>
                      <a:pPr marL="228600" indent="-228600" algn="l">
                        <a:lnSpc>
                          <a:spcPct val="100000"/>
                        </a:lnSpc>
                        <a:buAutoNum type="arabicPeriod" startAt="3"/>
                      </a:pPr>
                      <a:r>
                        <a:rPr lang="en-US" sz="1200" b="0" kern="1200" baseline="0" dirty="0">
                          <a:solidFill>
                            <a:schemeClr val="tx1"/>
                          </a:solidFill>
                          <a:latin typeface="+mn-lt"/>
                          <a:ea typeface="+mn-ea"/>
                          <a:cs typeface="Circular Std Book" panose="020B0604020101020102" pitchFamily="34" charset="77"/>
                        </a:rPr>
                        <a:t>Reimagined Search</a:t>
                      </a:r>
                    </a:p>
                  </a:txBody>
                  <a:tcPr marL="137409" marR="0" marT="137160" marB="137160">
                    <a:lnR w="12700" cap="flat" cmpd="sng" algn="ctr">
                      <a:noFill/>
                      <a:prstDash val="solid"/>
                      <a:round/>
                      <a:headEnd type="none" w="med" len="med"/>
                      <a:tailEnd type="none" w="med" len="med"/>
                    </a:lnR>
                  </a:tcPr>
                </a:tc>
                <a:extLst>
                  <a:ext uri="{0D108BD9-81ED-4DB2-BD59-A6C34878D82A}">
                    <a16:rowId xmlns:a16="http://schemas.microsoft.com/office/drawing/2014/main" val="3210216674"/>
                  </a:ext>
                </a:extLst>
              </a:tr>
              <a:tr h="376983">
                <a:tc>
                  <a:txBody>
                    <a:bodyPr/>
                    <a:lstStyle/>
                    <a:p>
                      <a:pPr defTabSz="457200"/>
                      <a:r>
                        <a:rPr lang="en-US" sz="1200" kern="1200" dirty="0">
                          <a:solidFill>
                            <a:schemeClr val="tx1"/>
                          </a:solidFill>
                          <a:latin typeface="+mn-lt"/>
                          <a:ea typeface="Circular Std Black"/>
                          <a:cs typeface="Circular Std Black"/>
                        </a:rPr>
                        <a:t>Building</a:t>
                      </a:r>
                      <a:r>
                        <a:rPr lang="en-US" sz="1200" kern="1200" baseline="0" dirty="0">
                          <a:solidFill>
                            <a:schemeClr val="tx1"/>
                          </a:solidFill>
                          <a:latin typeface="+mn-lt"/>
                          <a:ea typeface="Circular Std Black"/>
                          <a:cs typeface="Circular Std Black"/>
                        </a:rPr>
                        <a:t> a standard</a:t>
                      </a:r>
                      <a:endParaRPr lang="en-US" sz="1200" kern="1200" dirty="0">
                        <a:solidFill>
                          <a:schemeClr val="tx1"/>
                        </a:solidFill>
                        <a:latin typeface="+mn-lt"/>
                        <a:ea typeface="Circular Std Black"/>
                        <a:cs typeface="Circular Std Black"/>
                      </a:endParaRPr>
                    </a:p>
                  </a:txBody>
                  <a:tcPr marL="137409" marR="0" marT="137160" marB="137160">
                    <a:lnL w="12700" cap="flat" cmpd="sng" algn="ctr">
                      <a:noFill/>
                      <a:prstDash val="solid"/>
                      <a:round/>
                      <a:headEnd type="none" w="med" len="med"/>
                      <a:tailEnd type="none" w="med" len="med"/>
                    </a:lnL>
                  </a:tcPr>
                </a:tc>
                <a:tc>
                  <a:txBody>
                    <a:bodyPr/>
                    <a:lstStyle/>
                    <a:p>
                      <a:pPr marL="228600" indent="-228600" algn="l">
                        <a:lnSpc>
                          <a:spcPct val="100000"/>
                        </a:lnSpc>
                        <a:buFont typeface="+mj-lt"/>
                        <a:buAutoNum type="arabicPeriod" startAt="6"/>
                      </a:pPr>
                      <a:r>
                        <a:rPr lang="en-US" sz="1200" b="0" dirty="0">
                          <a:solidFill>
                            <a:schemeClr val="tx1"/>
                          </a:solidFill>
                          <a:latin typeface="+mj-lt"/>
                          <a:cs typeface="Circular Std Book" panose="020B0604020101020102" pitchFamily="34" charset="77"/>
                        </a:rPr>
                        <a:t>Metrics and Standards</a:t>
                      </a:r>
                    </a:p>
                  </a:txBody>
                  <a:tcPr marL="137409" marR="0" marT="137160" marB="137160">
                    <a:lnR w="12700" cap="flat" cmpd="sng" algn="ctr">
                      <a:noFill/>
                      <a:prstDash val="solid"/>
                      <a:round/>
                      <a:headEnd type="none" w="med" len="med"/>
                      <a:tailEnd type="none" w="med" len="med"/>
                    </a:lnR>
                  </a:tcPr>
                </a:tc>
                <a:extLst>
                  <a:ext uri="{0D108BD9-81ED-4DB2-BD59-A6C34878D82A}">
                    <a16:rowId xmlns:a16="http://schemas.microsoft.com/office/drawing/2014/main" val="1166915786"/>
                  </a:ext>
                </a:extLst>
              </a:tr>
              <a:tr h="980156">
                <a:tc>
                  <a:txBody>
                    <a:bodyPr/>
                    <a:lstStyle/>
                    <a:p>
                      <a:pPr defTabSz="457200"/>
                      <a:r>
                        <a:rPr lang="en-US" sz="1200" kern="1200" dirty="0">
                          <a:solidFill>
                            <a:schemeClr val="tx1"/>
                          </a:solidFill>
                          <a:latin typeface="+mn-lt"/>
                          <a:ea typeface="Circular Std Black"/>
                          <a:cs typeface="Circular Std Black"/>
                        </a:rPr>
                        <a:t>Together </a:t>
                      </a:r>
                      <a:br>
                        <a:rPr lang="en-US" sz="1200" kern="1200" dirty="0">
                          <a:solidFill>
                            <a:schemeClr val="tx1"/>
                          </a:solidFill>
                          <a:latin typeface="+mn-lt"/>
                          <a:ea typeface="Circular Std Black"/>
                          <a:cs typeface="Circular Std Black"/>
                        </a:rPr>
                      </a:br>
                      <a:r>
                        <a:rPr lang="en-US" sz="1200" kern="1200" dirty="0">
                          <a:solidFill>
                            <a:schemeClr val="tx1"/>
                          </a:solidFill>
                          <a:latin typeface="+mn-lt"/>
                          <a:ea typeface="Circular Std Black"/>
                          <a:cs typeface="Circular Std Black"/>
                        </a:rPr>
                        <a:t>we can</a:t>
                      </a:r>
                    </a:p>
                  </a:txBody>
                  <a:tcPr marL="137409" marR="0" marT="137160" marB="137160">
                    <a:lnL w="12700" cap="flat" cmpd="sng" algn="ctr">
                      <a:noFill/>
                      <a:prstDash val="solid"/>
                      <a:round/>
                      <a:headEnd type="none" w="med" len="med"/>
                      <a:tailEnd type="none" w="med" len="med"/>
                    </a:lnL>
                  </a:tcPr>
                </a:tc>
                <a:tc>
                  <a:txBody>
                    <a:bodyPr/>
                    <a:lstStyle/>
                    <a:p>
                      <a:pPr marL="228600" indent="-228600" algn="l" defTabSz="1219170" rtl="0" eaLnBrk="1" latinLnBrk="0" hangingPunct="1">
                        <a:lnSpc>
                          <a:spcPct val="100000"/>
                        </a:lnSpc>
                        <a:buFont typeface="+mj-lt"/>
                        <a:buAutoNum type="arabicPeriod" startAt="7"/>
                      </a:pPr>
                      <a:r>
                        <a:rPr lang="en-US" sz="1200" b="0" kern="1200" baseline="0" dirty="0">
                          <a:solidFill>
                            <a:schemeClr val="tx1"/>
                          </a:solidFill>
                          <a:latin typeface="+mj-lt"/>
                          <a:ea typeface="+mn-ea"/>
                          <a:cs typeface="Circular Std Book" panose="020B0604020101020102" pitchFamily="34" charset="77"/>
                        </a:rPr>
                        <a:t>Regional Clearing House</a:t>
                      </a:r>
                    </a:p>
                    <a:p>
                      <a:pPr marL="228600" indent="-228600" algn="l">
                        <a:lnSpc>
                          <a:spcPct val="100000"/>
                        </a:lnSpc>
                        <a:buFont typeface="+mj-lt"/>
                        <a:buAutoNum type="arabicPeriod" startAt="7"/>
                      </a:pPr>
                      <a:r>
                        <a:rPr lang="en-US" sz="1200" dirty="0"/>
                        <a:t>Vehicle Sales</a:t>
                      </a:r>
                    </a:p>
                    <a:p>
                      <a:pPr marL="228600" indent="-228600" algn="l">
                        <a:lnSpc>
                          <a:spcPct val="100000"/>
                        </a:lnSpc>
                        <a:buFont typeface="+mj-lt"/>
                        <a:buAutoNum type="arabicPeriod" startAt="7"/>
                      </a:pPr>
                      <a:r>
                        <a:rPr lang="en-US" sz="1200" b="0" baseline="0" dirty="0">
                          <a:solidFill>
                            <a:schemeClr val="tx1"/>
                          </a:solidFill>
                          <a:latin typeface="+mj-lt"/>
                          <a:cs typeface="Circular Std Book" panose="020B0604020101020102" pitchFamily="34" charset="77"/>
                        </a:rPr>
                        <a:t>Client Vehicle Partnerships</a:t>
                      </a:r>
                    </a:p>
                    <a:p>
                      <a:pPr marL="228600" marR="0" lvl="0" indent="-228600" algn="l" defTabSz="1219170" rtl="0" eaLnBrk="1" fontAlgn="auto" latinLnBrk="0" hangingPunct="1">
                        <a:lnSpc>
                          <a:spcPct val="100000"/>
                        </a:lnSpc>
                        <a:spcBef>
                          <a:spcPts val="0"/>
                        </a:spcBef>
                        <a:spcAft>
                          <a:spcPts val="0"/>
                        </a:spcAft>
                        <a:buClrTx/>
                        <a:buSzTx/>
                        <a:buFont typeface="+mj-lt"/>
                        <a:buAutoNum type="arabicPeriod" startAt="7"/>
                        <a:tabLst/>
                        <a:defRPr/>
                      </a:pPr>
                      <a:r>
                        <a:rPr lang="en-US" sz="1200" b="0" kern="1200" baseline="0" dirty="0">
                          <a:solidFill>
                            <a:schemeClr val="tx1"/>
                          </a:solidFill>
                          <a:latin typeface="+mn-lt"/>
                          <a:ea typeface="+mn-ea"/>
                          <a:cs typeface="Circular Std Book" panose="020B0604020101020102" pitchFamily="34" charset="77"/>
                        </a:rPr>
                        <a:t>After Sales Parts Package</a:t>
                      </a:r>
                    </a:p>
                  </a:txBody>
                  <a:tcPr marL="137409" marR="0" marT="137160" marB="137160">
                    <a:lnR w="12700" cap="flat" cmpd="sng" algn="ctr">
                      <a:noFill/>
                      <a:prstDash val="solid"/>
                      <a:round/>
                      <a:headEnd type="none" w="med" len="med"/>
                      <a:tailEnd type="none" w="med" len="med"/>
                    </a:lnR>
                  </a:tcPr>
                </a:tc>
                <a:extLst>
                  <a:ext uri="{0D108BD9-81ED-4DB2-BD59-A6C34878D82A}">
                    <a16:rowId xmlns:a16="http://schemas.microsoft.com/office/drawing/2014/main" val="783075877"/>
                  </a:ext>
                </a:extLst>
              </a:tr>
              <a:tr h="527776">
                <a:tc>
                  <a:txBody>
                    <a:bodyPr/>
                    <a:lstStyle/>
                    <a:p>
                      <a:pPr defTabSz="457200"/>
                      <a:r>
                        <a:rPr lang="en-US" sz="1200" kern="1200" dirty="0">
                          <a:solidFill>
                            <a:schemeClr val="tx1"/>
                          </a:solidFill>
                          <a:latin typeface="+mn-lt"/>
                          <a:ea typeface="Circular Std Black"/>
                          <a:cs typeface="Circular Std Black"/>
                        </a:rPr>
                        <a:t>A clearer</a:t>
                      </a:r>
                    </a:p>
                    <a:p>
                      <a:pPr defTabSz="457200"/>
                      <a:r>
                        <a:rPr lang="en-US" sz="1200" kern="1200" dirty="0">
                          <a:solidFill>
                            <a:schemeClr val="tx1"/>
                          </a:solidFill>
                          <a:latin typeface="+mn-lt"/>
                          <a:ea typeface="Circular Std Black"/>
                          <a:cs typeface="Circular Std Black"/>
                        </a:rPr>
                        <a:t>picture</a:t>
                      </a:r>
                    </a:p>
                  </a:txBody>
                  <a:tcPr marL="137409" marR="0" marT="137160" marB="137160">
                    <a:lnL w="12700" cap="flat" cmpd="sng" algn="ctr">
                      <a:noFill/>
                      <a:prstDash val="solid"/>
                      <a:round/>
                      <a:headEnd type="none" w="med" len="med"/>
                      <a:tailEnd type="none" w="med" len="med"/>
                    </a:lnL>
                  </a:tcPr>
                </a:tc>
                <a:tc>
                  <a:txBody>
                    <a:bodyPr/>
                    <a:lstStyle/>
                    <a:p>
                      <a:pPr marL="228600" indent="-228600" algn="l">
                        <a:lnSpc>
                          <a:spcPct val="100000"/>
                        </a:lnSpc>
                        <a:buFont typeface="+mj-lt"/>
                        <a:buAutoNum type="arabicPeriod" startAt="11"/>
                      </a:pPr>
                      <a:r>
                        <a:rPr lang="en-US" sz="1200" b="0" dirty="0">
                          <a:solidFill>
                            <a:schemeClr val="tx1"/>
                          </a:solidFill>
                          <a:latin typeface="+mj-lt"/>
                          <a:cs typeface="Circular Std Book" panose="020B0604020101020102" pitchFamily="34" charset="77"/>
                        </a:rPr>
                        <a:t>Vehicle Data Monitoring</a:t>
                      </a:r>
                    </a:p>
                  </a:txBody>
                  <a:tcPr marL="137409" marR="0" marT="137160" marB="137160">
                    <a:lnR w="12700" cap="flat" cmpd="sng" algn="ctr">
                      <a:noFill/>
                      <a:prstDash val="solid"/>
                      <a:round/>
                      <a:headEnd type="none" w="med" len="med"/>
                      <a:tailEnd type="none" w="med" len="med"/>
                    </a:lnR>
                  </a:tcPr>
                </a:tc>
                <a:extLst>
                  <a:ext uri="{0D108BD9-81ED-4DB2-BD59-A6C34878D82A}">
                    <a16:rowId xmlns:a16="http://schemas.microsoft.com/office/drawing/2014/main" val="190044537"/>
                  </a:ext>
                </a:extLst>
              </a:tr>
            </a:tbl>
          </a:graphicData>
        </a:graphic>
      </p:graphicFrame>
      <p:sp>
        <p:nvSpPr>
          <p:cNvPr id="22" name="Oval 21">
            <a:extLst>
              <a:ext uri="{FF2B5EF4-FFF2-40B4-BE49-F238E27FC236}">
                <a16:creationId xmlns:a16="http://schemas.microsoft.com/office/drawing/2014/main" id="{516B211E-9C49-4C92-AA55-50C622BD7446}"/>
              </a:ext>
            </a:extLst>
          </p:cNvPr>
          <p:cNvSpPr/>
          <p:nvPr/>
        </p:nvSpPr>
        <p:spPr>
          <a:xfrm>
            <a:off x="2796837" y="3443628"/>
            <a:ext cx="228600" cy="228600"/>
          </a:xfrm>
          <a:prstGeom prst="ellipse">
            <a:avLst/>
          </a:prstGeom>
          <a:solidFill>
            <a:schemeClr val="tx1">
              <a:lumMod val="65000"/>
              <a:lumOff val="35000"/>
              <a:alpha val="65098"/>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ea typeface="+mn-ea"/>
                <a:cs typeface="Circular Std Medium" panose="020B0604020101020102" pitchFamily="34" charset="77"/>
                <a:sym typeface="Helvetica Neue Medium"/>
              </a:rPr>
              <a:t>8</a:t>
            </a:r>
          </a:p>
        </p:txBody>
      </p:sp>
      <p:sp>
        <p:nvSpPr>
          <p:cNvPr id="23" name="Oval 22">
            <a:extLst>
              <a:ext uri="{FF2B5EF4-FFF2-40B4-BE49-F238E27FC236}">
                <a16:creationId xmlns:a16="http://schemas.microsoft.com/office/drawing/2014/main" id="{63E9A66F-3247-4A8E-A0E8-0B42C2C557BE}"/>
              </a:ext>
            </a:extLst>
          </p:cNvPr>
          <p:cNvSpPr/>
          <p:nvPr/>
        </p:nvSpPr>
        <p:spPr>
          <a:xfrm>
            <a:off x="2069234" y="4301275"/>
            <a:ext cx="228600" cy="228600"/>
          </a:xfrm>
          <a:prstGeom prst="ellipse">
            <a:avLst/>
          </a:prstGeom>
          <a:solidFill>
            <a:schemeClr val="tx1">
              <a:lumMod val="65000"/>
              <a:lumOff val="35000"/>
              <a:alpha val="65098"/>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ea typeface="+mn-ea"/>
                <a:cs typeface="Circular Std Medium" panose="020B0604020101020102" pitchFamily="34" charset="77"/>
                <a:sym typeface="Helvetica Neue Medium"/>
              </a:rPr>
              <a:t>12</a:t>
            </a:r>
          </a:p>
        </p:txBody>
      </p:sp>
      <p:sp>
        <p:nvSpPr>
          <p:cNvPr id="24" name="Oval 23">
            <a:extLst>
              <a:ext uri="{FF2B5EF4-FFF2-40B4-BE49-F238E27FC236}">
                <a16:creationId xmlns:a16="http://schemas.microsoft.com/office/drawing/2014/main" id="{E8B561C2-EAE0-4F81-9255-2372CB4D1B1E}"/>
              </a:ext>
            </a:extLst>
          </p:cNvPr>
          <p:cNvSpPr/>
          <p:nvPr/>
        </p:nvSpPr>
        <p:spPr>
          <a:xfrm>
            <a:off x="4346796" y="3649514"/>
            <a:ext cx="228600" cy="228600"/>
          </a:xfrm>
          <a:prstGeom prst="ellipse">
            <a:avLst/>
          </a:prstGeom>
          <a:solidFill>
            <a:schemeClr val="tx1">
              <a:lumMod val="65000"/>
              <a:lumOff val="35000"/>
              <a:alpha val="65098"/>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ea typeface="+mn-ea"/>
                <a:cs typeface="Circular Std Medium" panose="020B0604020101020102" pitchFamily="34" charset="77"/>
                <a:sym typeface="Helvetica Neue Medium"/>
              </a:rPr>
              <a:t>13</a:t>
            </a:r>
          </a:p>
        </p:txBody>
      </p:sp>
      <p:sp>
        <p:nvSpPr>
          <p:cNvPr id="25" name="Oval 24">
            <a:extLst>
              <a:ext uri="{FF2B5EF4-FFF2-40B4-BE49-F238E27FC236}">
                <a16:creationId xmlns:a16="http://schemas.microsoft.com/office/drawing/2014/main" id="{FD0C0E05-977F-4048-8968-38AC2DFAE12F}"/>
              </a:ext>
            </a:extLst>
          </p:cNvPr>
          <p:cNvSpPr/>
          <p:nvPr/>
        </p:nvSpPr>
        <p:spPr>
          <a:xfrm>
            <a:off x="3355855" y="3280474"/>
            <a:ext cx="228600" cy="228600"/>
          </a:xfrm>
          <a:prstGeom prst="ellipse">
            <a:avLst/>
          </a:prstGeom>
          <a:solidFill>
            <a:schemeClr val="tx1">
              <a:lumMod val="65000"/>
              <a:lumOff val="35000"/>
              <a:alpha val="65098"/>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ea typeface="+mn-ea"/>
                <a:cs typeface="Circular Std Medium" panose="020B0604020101020102" pitchFamily="34" charset="77"/>
                <a:sym typeface="Helvetica Neue Medium"/>
              </a:rPr>
              <a:t>7</a:t>
            </a:r>
          </a:p>
        </p:txBody>
      </p:sp>
      <p:sp>
        <p:nvSpPr>
          <p:cNvPr id="26" name="Oval 25">
            <a:extLst>
              <a:ext uri="{FF2B5EF4-FFF2-40B4-BE49-F238E27FC236}">
                <a16:creationId xmlns:a16="http://schemas.microsoft.com/office/drawing/2014/main" id="{D3DC2245-6A06-49E7-A92E-2CC49314C0B7}"/>
              </a:ext>
            </a:extLst>
          </p:cNvPr>
          <p:cNvSpPr/>
          <p:nvPr/>
        </p:nvSpPr>
        <p:spPr>
          <a:xfrm>
            <a:off x="5052249" y="3371914"/>
            <a:ext cx="228600" cy="228600"/>
          </a:xfrm>
          <a:prstGeom prst="ellipse">
            <a:avLst/>
          </a:prstGeom>
          <a:solidFill>
            <a:schemeClr val="tx1">
              <a:lumMod val="65000"/>
              <a:lumOff val="35000"/>
              <a:alpha val="65098"/>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ea typeface="+mn-ea"/>
                <a:cs typeface="Circular Std Medium" panose="020B0604020101020102" pitchFamily="34" charset="77"/>
                <a:sym typeface="Helvetica Neue Medium"/>
              </a:rPr>
              <a:t>11</a:t>
            </a:r>
          </a:p>
        </p:txBody>
      </p:sp>
      <p:sp>
        <p:nvSpPr>
          <p:cNvPr id="27" name="Oval 26">
            <a:extLst>
              <a:ext uri="{FF2B5EF4-FFF2-40B4-BE49-F238E27FC236}">
                <a16:creationId xmlns:a16="http://schemas.microsoft.com/office/drawing/2014/main" id="{73E7A9FC-861F-48B0-860F-CD70F50E938F}"/>
              </a:ext>
            </a:extLst>
          </p:cNvPr>
          <p:cNvSpPr/>
          <p:nvPr/>
        </p:nvSpPr>
        <p:spPr>
          <a:xfrm>
            <a:off x="4070263" y="2111323"/>
            <a:ext cx="228600" cy="228600"/>
          </a:xfrm>
          <a:prstGeom prst="ellipse">
            <a:avLst/>
          </a:prstGeom>
          <a:solidFill>
            <a:schemeClr val="tx1">
              <a:lumMod val="65000"/>
              <a:lumOff val="35000"/>
              <a:alpha val="65098"/>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ea typeface="+mn-ea"/>
                <a:cs typeface="Circular Std Medium" panose="020B0604020101020102" pitchFamily="34" charset="77"/>
                <a:sym typeface="Helvetica Neue Medium"/>
              </a:rPr>
              <a:t>9</a:t>
            </a:r>
          </a:p>
        </p:txBody>
      </p:sp>
    </p:spTree>
    <p:extLst>
      <p:ext uri="{BB962C8B-B14F-4D97-AF65-F5344CB8AC3E}">
        <p14:creationId xmlns:p14="http://schemas.microsoft.com/office/powerpoint/2010/main" val="3481610056"/>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 name="Object 58" hidden="1">
            <a:extLst>
              <a:ext uri="{FF2B5EF4-FFF2-40B4-BE49-F238E27FC236}">
                <a16:creationId xmlns:a16="http://schemas.microsoft.com/office/drawing/2014/main" id="{A84A5ADE-E54A-4029-BC1A-68D58C79628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44" name="think-cell Slide" r:id="rId6" imgW="395" imgH="396" progId="TCLayout.ActiveDocument.1">
                  <p:embed/>
                </p:oleObj>
              </mc:Choice>
              <mc:Fallback>
                <p:oleObj name="think-cell Slide" r:id="rId6" imgW="395" imgH="396" progId="TCLayout.ActiveDocument.1">
                  <p:embed/>
                  <p:pic>
                    <p:nvPicPr>
                      <p:cNvPr id="59" name="Object 58" hidden="1">
                        <a:extLst>
                          <a:ext uri="{FF2B5EF4-FFF2-40B4-BE49-F238E27FC236}">
                            <a16:creationId xmlns:a16="http://schemas.microsoft.com/office/drawing/2014/main" id="{A84A5ADE-E54A-4029-BC1A-68D58C79628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8" name="Rectangle 57" hidden="1">
            <a:extLst>
              <a:ext uri="{FF2B5EF4-FFF2-40B4-BE49-F238E27FC236}">
                <a16:creationId xmlns:a16="http://schemas.microsoft.com/office/drawing/2014/main" id="{943E9EA9-AFF9-4406-AAB5-F1C060488E2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49E656E8-9F37-4F3A-8744-7B9C17B3EAA2}"/>
              </a:ext>
            </a:extLst>
          </p:cNvPr>
          <p:cNvSpPr>
            <a:spLocks noGrp="1"/>
          </p:cNvSpPr>
          <p:nvPr>
            <p:ph type="title"/>
          </p:nvPr>
        </p:nvSpPr>
        <p:spPr/>
        <p:txBody>
          <a:bodyPr/>
          <a:lstStyle/>
          <a:p>
            <a:r>
              <a:rPr lang="en-US" dirty="0"/>
              <a:t>Prioritized Capabilities</a:t>
            </a:r>
          </a:p>
        </p:txBody>
      </p:sp>
      <p:sp>
        <p:nvSpPr>
          <p:cNvPr id="3" name="Text Placeholder 2">
            <a:extLst>
              <a:ext uri="{FF2B5EF4-FFF2-40B4-BE49-F238E27FC236}">
                <a16:creationId xmlns:a16="http://schemas.microsoft.com/office/drawing/2014/main" id="{D1168D5F-473E-4B36-93A0-554C90A8970C}"/>
              </a:ext>
            </a:extLst>
          </p:cNvPr>
          <p:cNvSpPr>
            <a:spLocks noGrp="1"/>
          </p:cNvSpPr>
          <p:nvPr>
            <p:ph type="body" sz="quarter" idx="14"/>
          </p:nvPr>
        </p:nvSpPr>
        <p:spPr/>
        <p:txBody>
          <a:bodyPr/>
          <a:lstStyle/>
          <a:p>
            <a:r>
              <a:rPr lang="en-US" spc="-75" dirty="0">
                <a:solidFill>
                  <a:prstClr val="black"/>
                </a:solidFill>
                <a:cs typeface="Arial" panose="020B0604020202020204" pitchFamily="34" charset="0"/>
              </a:rPr>
              <a:t>We identified 18 Core + Capability solutions, across the four prioritized fan touchpoints, for the Client to focus their investment and efforts </a:t>
            </a:r>
          </a:p>
        </p:txBody>
      </p:sp>
      <p:sp>
        <p:nvSpPr>
          <p:cNvPr id="4" name="Text Placeholder 3">
            <a:extLst>
              <a:ext uri="{FF2B5EF4-FFF2-40B4-BE49-F238E27FC236}">
                <a16:creationId xmlns:a16="http://schemas.microsoft.com/office/drawing/2014/main" id="{A88AE67B-518F-404A-B85C-DB0E988CFB91}"/>
              </a:ext>
            </a:extLst>
          </p:cNvPr>
          <p:cNvSpPr>
            <a:spLocks noGrp="1"/>
          </p:cNvSpPr>
          <p:nvPr>
            <p:ph type="body" sz="quarter" idx="15"/>
          </p:nvPr>
        </p:nvSpPr>
        <p:spPr>
          <a:xfrm>
            <a:off x="914971" y="466344"/>
            <a:ext cx="3836590" cy="379556"/>
          </a:xfrm>
        </p:spPr>
        <p:txBody>
          <a:bodyPr/>
          <a:lstStyle/>
          <a:p>
            <a:r>
              <a:rPr lang="en-US" dirty="0"/>
              <a:t>FRAMEWORKS &amp; CONCEPT ILLUSTRATION</a:t>
            </a:r>
          </a:p>
          <a:p>
            <a:endParaRPr lang="en-US" dirty="0"/>
          </a:p>
        </p:txBody>
      </p:sp>
      <p:sp>
        <p:nvSpPr>
          <p:cNvPr id="5" name="Rectangle 4">
            <a:extLst>
              <a:ext uri="{FF2B5EF4-FFF2-40B4-BE49-F238E27FC236}">
                <a16:creationId xmlns:a16="http://schemas.microsoft.com/office/drawing/2014/main" id="{2CE6008F-4E30-4F80-9036-B40366FC3152}"/>
              </a:ext>
            </a:extLst>
          </p:cNvPr>
          <p:cNvSpPr/>
          <p:nvPr/>
        </p:nvSpPr>
        <p:spPr>
          <a:xfrm>
            <a:off x="1016000" y="1977940"/>
            <a:ext cx="2702560" cy="48078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6" name="Title 1">
            <a:extLst>
              <a:ext uri="{FF2B5EF4-FFF2-40B4-BE49-F238E27FC236}">
                <a16:creationId xmlns:a16="http://schemas.microsoft.com/office/drawing/2014/main" id="{F1ABF96A-4A43-4F89-A788-5401696E3B6E}"/>
              </a:ext>
            </a:extLst>
          </p:cNvPr>
          <p:cNvSpPr txBox="1">
            <a:spLocks/>
          </p:cNvSpPr>
          <p:nvPr/>
        </p:nvSpPr>
        <p:spPr>
          <a:xfrm>
            <a:off x="914400" y="694944"/>
            <a:ext cx="10363200"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sp>
        <p:nvSpPr>
          <p:cNvPr id="8" name="Title 1">
            <a:extLst>
              <a:ext uri="{FF2B5EF4-FFF2-40B4-BE49-F238E27FC236}">
                <a16:creationId xmlns:a16="http://schemas.microsoft.com/office/drawing/2014/main" id="{F5B88AA7-30AE-4026-9917-D98A2CEC4927}"/>
              </a:ext>
            </a:extLst>
          </p:cNvPr>
          <p:cNvSpPr txBox="1">
            <a:spLocks/>
          </p:cNvSpPr>
          <p:nvPr/>
        </p:nvSpPr>
        <p:spPr>
          <a:xfrm>
            <a:off x="914400" y="1296684"/>
            <a:ext cx="10363200" cy="493294"/>
          </a:xfrm>
          <a:prstGeom prst="rect">
            <a:avLst/>
          </a:prstGeom>
        </p:spPr>
        <p:txBody>
          <a:bodyPr vert="horz" lIns="0" tIns="45720" rIns="0" bIns="0" rtlCol="0" anchor="t" anchorCtr="0">
            <a:noAutofit/>
          </a:bodyPr>
          <a:lstStyle>
            <a:defPPr>
              <a:defRPr lang="en-US"/>
            </a:defPPr>
            <a:lvl1pPr>
              <a:lnSpc>
                <a:spcPct val="100000"/>
              </a:lnSpc>
              <a:spcBef>
                <a:spcPct val="0"/>
              </a:spcBef>
              <a:buNone/>
              <a:defRPr sz="1400" b="0" i="0" cap="none" spc="-75" baseline="0">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400" b="0" i="0" u="none" strike="noStrike" kern="1200" cap="none" spc="-75" normalizeH="0" baseline="0" noProof="0" dirty="0">
              <a:ln>
                <a:noFill/>
              </a:ln>
              <a:solidFill>
                <a:prstClr val="black"/>
              </a:solidFill>
              <a:effectLst/>
              <a:uLnTx/>
              <a:uFillTx/>
              <a:latin typeface="Open Sans"/>
              <a:ea typeface="+mn-ea"/>
              <a:cs typeface="Arial" panose="020B0604020202020204" pitchFamily="34" charset="0"/>
            </a:endParaRPr>
          </a:p>
        </p:txBody>
      </p:sp>
      <p:sp>
        <p:nvSpPr>
          <p:cNvPr id="9" name="TextBox 34">
            <a:extLst>
              <a:ext uri="{FF2B5EF4-FFF2-40B4-BE49-F238E27FC236}">
                <a16:creationId xmlns:a16="http://schemas.microsoft.com/office/drawing/2014/main" id="{BDEA79F0-1B25-4B35-80B2-FCC515E16207}"/>
              </a:ext>
            </a:extLst>
          </p:cNvPr>
          <p:cNvSpPr txBox="1"/>
          <p:nvPr/>
        </p:nvSpPr>
        <p:spPr>
          <a:xfrm>
            <a:off x="1111695" y="2038900"/>
            <a:ext cx="2377440" cy="31181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ts val="1800"/>
              </a:lnSpc>
              <a:spcBef>
                <a:spcPts val="0"/>
              </a:spcBef>
              <a:spcAft>
                <a:spcPts val="300"/>
              </a:spcAft>
              <a:buClrTx/>
              <a:buSzTx/>
              <a:buFontTx/>
              <a:buNone/>
              <a:tabLst/>
              <a:defRPr/>
            </a:pPr>
            <a:r>
              <a:rPr kumimoji="0" lang="en-US" sz="1400" b="1" i="0" u="none" strike="noStrike" kern="1200" cap="none" spc="0" normalizeH="0" baseline="0" noProof="0" dirty="0">
                <a:ln>
                  <a:noFill/>
                </a:ln>
                <a:solidFill>
                  <a:prstClr val="black"/>
                </a:solidFill>
                <a:effectLst/>
                <a:uLnTx/>
                <a:uFillTx/>
                <a:ea typeface="Ubuntu Medium" charset="0"/>
                <a:cs typeface="Ubuntu Medium" charset="0"/>
              </a:rPr>
              <a:t>Capabilities (Core+)</a:t>
            </a:r>
          </a:p>
        </p:txBody>
      </p:sp>
      <p:sp>
        <p:nvSpPr>
          <p:cNvPr id="10" name="TextBox 33">
            <a:extLst>
              <a:ext uri="{FF2B5EF4-FFF2-40B4-BE49-F238E27FC236}">
                <a16:creationId xmlns:a16="http://schemas.microsoft.com/office/drawing/2014/main" id="{5DFA2E39-331C-496F-A6D8-EBC56B1AB379}"/>
              </a:ext>
            </a:extLst>
          </p:cNvPr>
          <p:cNvSpPr txBox="1"/>
          <p:nvPr/>
        </p:nvSpPr>
        <p:spPr>
          <a:xfrm>
            <a:off x="8391427" y="2038900"/>
            <a:ext cx="2688879" cy="3231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ts val="1800"/>
              </a:lnSpc>
              <a:spcBef>
                <a:spcPts val="0"/>
              </a:spcBef>
              <a:spcAft>
                <a:spcPts val="300"/>
              </a:spcAft>
              <a:buClrTx/>
              <a:buSzTx/>
              <a:buFontTx/>
              <a:buNone/>
              <a:tabLst/>
              <a:defRPr/>
            </a:pPr>
            <a:r>
              <a:rPr kumimoji="0" lang="en-US" sz="1400" b="1" i="0" u="none" strike="noStrike" kern="1200" cap="none" spc="0" normalizeH="0" baseline="0" noProof="0" dirty="0">
                <a:ln>
                  <a:noFill/>
                </a:ln>
                <a:solidFill>
                  <a:schemeClr val="bg1">
                    <a:lumMod val="65000"/>
                  </a:schemeClr>
                </a:solidFill>
                <a:effectLst/>
                <a:uLnTx/>
                <a:uFillTx/>
                <a:ea typeface="Ubuntu Medium" charset="0"/>
                <a:cs typeface="Ubuntu Medium" charset="0"/>
              </a:rPr>
              <a:t>Data Capture &amp; Analysis</a:t>
            </a:r>
          </a:p>
        </p:txBody>
      </p:sp>
      <p:cxnSp>
        <p:nvCxnSpPr>
          <p:cNvPr id="11" name="Straight Connector 10">
            <a:extLst>
              <a:ext uri="{FF2B5EF4-FFF2-40B4-BE49-F238E27FC236}">
                <a16:creationId xmlns:a16="http://schemas.microsoft.com/office/drawing/2014/main" id="{30A7DD44-5F82-4550-BC83-D32E4FAC84EB}"/>
              </a:ext>
            </a:extLst>
          </p:cNvPr>
          <p:cNvCxnSpPr/>
          <p:nvPr/>
        </p:nvCxnSpPr>
        <p:spPr>
          <a:xfrm>
            <a:off x="1190216" y="2326640"/>
            <a:ext cx="2428240" cy="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12" name="TextBox 6">
            <a:extLst>
              <a:ext uri="{FF2B5EF4-FFF2-40B4-BE49-F238E27FC236}">
                <a16:creationId xmlns:a16="http://schemas.microsoft.com/office/drawing/2014/main" id="{3C013E27-85CC-40AB-956A-C68CE69AE645}"/>
              </a:ext>
            </a:extLst>
          </p:cNvPr>
          <p:cNvSpPr txBox="1"/>
          <p:nvPr/>
        </p:nvSpPr>
        <p:spPr>
          <a:xfrm>
            <a:off x="4751561" y="2038900"/>
            <a:ext cx="2688879"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schemeClr val="bg1">
                    <a:lumMod val="65000"/>
                  </a:schemeClr>
                </a:solidFill>
                <a:effectLst/>
                <a:uLnTx/>
                <a:uFillTx/>
                <a:ea typeface="Ubuntu Medium" charset="0"/>
                <a:cs typeface="Ubuntu Medium" charset="0"/>
              </a:rPr>
              <a:t>Digital Mobile Interface</a:t>
            </a:r>
          </a:p>
        </p:txBody>
      </p:sp>
      <p:sp>
        <p:nvSpPr>
          <p:cNvPr id="13" name="Trapezoid 2">
            <a:extLst>
              <a:ext uri="{FF2B5EF4-FFF2-40B4-BE49-F238E27FC236}">
                <a16:creationId xmlns:a16="http://schemas.microsoft.com/office/drawing/2014/main" id="{D5F72881-21CB-45DD-A12F-55647DF1255C}"/>
              </a:ext>
            </a:extLst>
          </p:cNvPr>
          <p:cNvSpPr/>
          <p:nvPr/>
        </p:nvSpPr>
        <p:spPr>
          <a:xfrm>
            <a:off x="1016000" y="2519459"/>
            <a:ext cx="9956800" cy="226780"/>
          </a:xfrm>
          <a:custGeom>
            <a:avLst/>
            <a:gdLst>
              <a:gd name="connsiteX0" fmla="*/ 0 w 9956800"/>
              <a:gd name="connsiteY0" fmla="*/ 314960 h 314960"/>
              <a:gd name="connsiteX1" fmla="*/ 0 w 9956800"/>
              <a:gd name="connsiteY1" fmla="*/ 0 h 314960"/>
              <a:gd name="connsiteX2" fmla="*/ 9956800 w 9956800"/>
              <a:gd name="connsiteY2" fmla="*/ 0 h 314960"/>
              <a:gd name="connsiteX3" fmla="*/ 9956800 w 9956800"/>
              <a:gd name="connsiteY3" fmla="*/ 314960 h 314960"/>
              <a:gd name="connsiteX4" fmla="*/ 0 w 9956800"/>
              <a:gd name="connsiteY4" fmla="*/ 314960 h 314960"/>
              <a:gd name="connsiteX0" fmla="*/ 0 w 9956800"/>
              <a:gd name="connsiteY0" fmla="*/ 314960 h 314960"/>
              <a:gd name="connsiteX1" fmla="*/ 0 w 9956800"/>
              <a:gd name="connsiteY1" fmla="*/ 0 h 314960"/>
              <a:gd name="connsiteX2" fmla="*/ 2743200 w 9956800"/>
              <a:gd name="connsiteY2" fmla="*/ 0 h 314960"/>
              <a:gd name="connsiteX3" fmla="*/ 9956800 w 9956800"/>
              <a:gd name="connsiteY3" fmla="*/ 314960 h 314960"/>
              <a:gd name="connsiteX4" fmla="*/ 0 w 9956800"/>
              <a:gd name="connsiteY4" fmla="*/ 314960 h 314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800" h="314960">
                <a:moveTo>
                  <a:pt x="0" y="314960"/>
                </a:moveTo>
                <a:lnTo>
                  <a:pt x="0" y="0"/>
                </a:lnTo>
                <a:lnTo>
                  <a:pt x="2743200" y="0"/>
                </a:lnTo>
                <a:lnTo>
                  <a:pt x="9956800" y="314960"/>
                </a:lnTo>
                <a:lnTo>
                  <a:pt x="0" y="314960"/>
                </a:lnTo>
                <a:close/>
              </a:path>
            </a:pathLst>
          </a:cu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14" name="TextBox 13">
            <a:extLst>
              <a:ext uri="{FF2B5EF4-FFF2-40B4-BE49-F238E27FC236}">
                <a16:creationId xmlns:a16="http://schemas.microsoft.com/office/drawing/2014/main" id="{FD0050B5-72A3-47E0-9C73-1805338844A3}"/>
              </a:ext>
            </a:extLst>
          </p:cNvPr>
          <p:cNvSpPr txBox="1"/>
          <p:nvPr/>
        </p:nvSpPr>
        <p:spPr>
          <a:xfrm>
            <a:off x="1016000" y="5558819"/>
            <a:ext cx="10575566" cy="784895"/>
          </a:xfrm>
          <a:prstGeom prst="rect">
            <a:avLst/>
          </a:prstGeom>
          <a:pattFill prst="pct25">
            <a:fgClr>
              <a:schemeClr val="accent6">
                <a:lumMod val="40000"/>
                <a:lumOff val="60000"/>
              </a:schemeClr>
            </a:fgClr>
            <a:bgClr>
              <a:schemeClr val="bg1"/>
            </a:bgClr>
          </a:pattFill>
          <a:ln w="28575">
            <a:noFill/>
          </a:ln>
        </p:spPr>
        <p:txBody>
          <a:bodyPr vert="horz" lIns="91440" tIns="45720" rIns="91440" bIns="45720" rtlCol="0" anchor="ctr">
            <a:noAutofit/>
          </a:bodyPr>
          <a:lstStyle>
            <a:defPPr>
              <a:defRPr lang="en-US"/>
            </a:defPPr>
            <a:lvl1pPr lvl="0" algn="ctr">
              <a:lnSpc>
                <a:spcPct val="110000"/>
              </a:lnSpc>
              <a:spcBef>
                <a:spcPts val="200"/>
              </a:spcBef>
              <a:buSzPct val="100000"/>
              <a:buNone/>
              <a:defRPr sz="1400" b="1" i="1">
                <a:solidFill>
                  <a:schemeClr val="accent6">
                    <a:lumMod val="50000"/>
                  </a:schemeClr>
                </a:solidFill>
                <a:latin typeface="Libre Baskerville" charset="0"/>
                <a:ea typeface="Libre Baskerville" charset="0"/>
                <a:cs typeface="Libre Baskerville" charset="0"/>
              </a:defRPr>
            </a:lvl1pPr>
          </a:lstStyle>
          <a:p>
            <a:pPr marL="0" marR="0" lvl="0" indent="0" algn="ctr" defTabSz="914400" rtl="0" eaLnBrk="1" fontAlgn="auto" latinLnBrk="0" hangingPunct="1">
              <a:lnSpc>
                <a:spcPct val="110000"/>
              </a:lnSpc>
              <a:spcBef>
                <a:spcPts val="200"/>
              </a:spcBef>
              <a:spcAft>
                <a:spcPts val="0"/>
              </a:spcAft>
              <a:buClrTx/>
              <a:buSzPct val="100000"/>
              <a:buFontTx/>
              <a:buNone/>
              <a:tabLst/>
              <a:defRPr/>
            </a:pPr>
            <a:r>
              <a:rPr kumimoji="0" lang="en-US" sz="1400" b="1" i="1" u="none" strike="noStrike" kern="1200" cap="none" spc="0" normalizeH="0" baseline="0" noProof="0" dirty="0">
                <a:ln>
                  <a:noFill/>
                </a:ln>
                <a:solidFill>
                  <a:srgbClr val="75787B">
                    <a:lumMod val="50000"/>
                  </a:srgbClr>
                </a:solidFill>
                <a:effectLst/>
                <a:uLnTx/>
                <a:uFillTx/>
                <a:latin typeface="+mn-lt"/>
              </a:rPr>
              <a:t>Identifying the most important Core + Capabilities for the Client is the </a:t>
            </a:r>
            <a:br>
              <a:rPr kumimoji="0" lang="en-US" sz="1400" b="1" i="1" u="none" strike="noStrike" kern="1200" cap="none" spc="0" normalizeH="0" baseline="0" noProof="0" dirty="0">
                <a:ln>
                  <a:noFill/>
                </a:ln>
                <a:solidFill>
                  <a:srgbClr val="75787B">
                    <a:lumMod val="50000"/>
                  </a:srgbClr>
                </a:solidFill>
                <a:effectLst/>
                <a:uLnTx/>
                <a:uFillTx/>
                <a:latin typeface="+mn-lt"/>
              </a:rPr>
            </a:br>
            <a:r>
              <a:rPr kumimoji="0" lang="en-US" sz="1400" b="1" i="1" u="none" strike="noStrike" kern="1200" cap="none" spc="0" normalizeH="0" baseline="0" noProof="0" dirty="0">
                <a:ln>
                  <a:noFill/>
                </a:ln>
                <a:solidFill>
                  <a:srgbClr val="75787B">
                    <a:lumMod val="50000"/>
                  </a:srgbClr>
                </a:solidFill>
                <a:effectLst/>
                <a:uLnTx/>
                <a:uFillTx/>
                <a:latin typeface="+mn-lt"/>
              </a:rPr>
              <a:t>first step towards building an integrated fan experience</a:t>
            </a:r>
          </a:p>
        </p:txBody>
      </p:sp>
      <p:sp>
        <p:nvSpPr>
          <p:cNvPr id="15" name="Rectangle 14">
            <a:extLst>
              <a:ext uri="{FF2B5EF4-FFF2-40B4-BE49-F238E27FC236}">
                <a16:creationId xmlns:a16="http://schemas.microsoft.com/office/drawing/2014/main" id="{3EA43201-287B-453E-B1AB-21A8C29D9E97}"/>
              </a:ext>
            </a:extLst>
          </p:cNvPr>
          <p:cNvSpPr/>
          <p:nvPr/>
        </p:nvSpPr>
        <p:spPr>
          <a:xfrm>
            <a:off x="6352187" y="2755900"/>
            <a:ext cx="2560320" cy="2492844"/>
          </a:xfrm>
          <a:prstGeom prst="rect">
            <a:avLst/>
          </a:prstGeom>
          <a:solidFill>
            <a:schemeClr val="accent5">
              <a:lumMod val="20000"/>
              <a:lumOff val="8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16" name="Rectangle 3">
            <a:extLst>
              <a:ext uri="{FF2B5EF4-FFF2-40B4-BE49-F238E27FC236}">
                <a16:creationId xmlns:a16="http://schemas.microsoft.com/office/drawing/2014/main" id="{8C277DD9-F846-4006-9ABD-E6508076AF02}"/>
              </a:ext>
            </a:extLst>
          </p:cNvPr>
          <p:cNvSpPr>
            <a:spLocks/>
          </p:cNvSpPr>
          <p:nvPr/>
        </p:nvSpPr>
        <p:spPr bwMode="auto">
          <a:xfrm>
            <a:off x="6459424" y="2865430"/>
            <a:ext cx="2345846" cy="55036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0" cap="none" spc="0" normalizeH="0" baseline="0" noProof="0" dirty="0">
                <a:ln>
                  <a:noFill/>
                </a:ln>
                <a:solidFill>
                  <a:prstClr val="black"/>
                </a:solidFill>
                <a:effectLst/>
                <a:uLnTx/>
                <a:uFillTx/>
                <a:ea typeface="+mn-ea"/>
                <a:cs typeface="Frutiger Next Pro Medium"/>
                <a:sym typeface="Frutiger Next Pro Medium" charset="0"/>
              </a:rPr>
              <a:t>Purchase Food &amp;</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0" cap="none" spc="0" normalizeH="0" baseline="0" noProof="0" dirty="0">
                <a:ln>
                  <a:noFill/>
                </a:ln>
                <a:solidFill>
                  <a:prstClr val="black"/>
                </a:solidFill>
                <a:effectLst/>
                <a:uLnTx/>
                <a:uFillTx/>
                <a:ea typeface="+mn-ea"/>
                <a:cs typeface="Frutiger Next Pro Medium"/>
                <a:sym typeface="Frutiger Next Pro Medium" charset="0"/>
              </a:rPr>
              <a:t>Beverage</a:t>
            </a:r>
          </a:p>
        </p:txBody>
      </p:sp>
      <p:sp>
        <p:nvSpPr>
          <p:cNvPr id="17" name="Rounded Rectangle 90">
            <a:hlinkClick r:id="" action="ppaction://noaction"/>
            <a:extLst>
              <a:ext uri="{FF2B5EF4-FFF2-40B4-BE49-F238E27FC236}">
                <a16:creationId xmlns:a16="http://schemas.microsoft.com/office/drawing/2014/main" id="{2E4940BC-BF94-415D-8AE0-7B6ED4283049}"/>
              </a:ext>
            </a:extLst>
          </p:cNvPr>
          <p:cNvSpPr/>
          <p:nvPr/>
        </p:nvSpPr>
        <p:spPr bwMode="gray">
          <a:xfrm>
            <a:off x="7699891" y="3409375"/>
            <a:ext cx="1097280" cy="457200"/>
          </a:xfrm>
          <a:prstGeom prst="roundRect">
            <a:avLst/>
          </a:prstGeom>
          <a:solidFill>
            <a:schemeClr val="accent5">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Kalinga" panose="020B0502040204020203" pitchFamily="34" charset="0"/>
              </a:rPr>
              <a:t>Mobile Order</a:t>
            </a:r>
          </a:p>
        </p:txBody>
      </p:sp>
      <p:sp>
        <p:nvSpPr>
          <p:cNvPr id="18" name="Rounded Rectangle 91">
            <a:hlinkClick r:id="" action="ppaction://noaction"/>
            <a:extLst>
              <a:ext uri="{FF2B5EF4-FFF2-40B4-BE49-F238E27FC236}">
                <a16:creationId xmlns:a16="http://schemas.microsoft.com/office/drawing/2014/main" id="{0E698949-4888-4EEF-8025-BB4F94E5F82C}"/>
              </a:ext>
            </a:extLst>
          </p:cNvPr>
          <p:cNvSpPr/>
          <p:nvPr/>
        </p:nvSpPr>
        <p:spPr bwMode="gray">
          <a:xfrm>
            <a:off x="6487063" y="3403601"/>
            <a:ext cx="1097280" cy="457200"/>
          </a:xfrm>
          <a:prstGeom prst="roundRect">
            <a:avLst/>
          </a:prstGeom>
          <a:solidFill>
            <a:schemeClr val="accent5">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Kalinga" panose="020B0502040204020203" pitchFamily="34" charset="0"/>
              </a:rPr>
              <a:t>Order Kiosks</a:t>
            </a:r>
          </a:p>
        </p:txBody>
      </p:sp>
      <p:sp>
        <p:nvSpPr>
          <p:cNvPr id="19" name="Rounded Rectangle 92">
            <a:hlinkClick r:id="" action="ppaction://noaction"/>
            <a:extLst>
              <a:ext uri="{FF2B5EF4-FFF2-40B4-BE49-F238E27FC236}">
                <a16:creationId xmlns:a16="http://schemas.microsoft.com/office/drawing/2014/main" id="{94DB214A-6341-4F78-9195-97AFB15CE7BA}"/>
              </a:ext>
            </a:extLst>
          </p:cNvPr>
          <p:cNvSpPr/>
          <p:nvPr/>
        </p:nvSpPr>
        <p:spPr bwMode="gray">
          <a:xfrm>
            <a:off x="7699891" y="4037692"/>
            <a:ext cx="1097280" cy="457200"/>
          </a:xfrm>
          <a:prstGeom prst="roundRect">
            <a:avLst/>
          </a:prstGeom>
          <a:solidFill>
            <a:schemeClr val="accent5">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Kalinga" panose="020B0502040204020203" pitchFamily="34" charset="0"/>
              </a:rPr>
              <a:t>Pickup Stations</a:t>
            </a:r>
          </a:p>
        </p:txBody>
      </p:sp>
      <p:sp>
        <p:nvSpPr>
          <p:cNvPr id="20" name="Rounded Rectangle 93">
            <a:hlinkClick r:id="" action="ppaction://noaction"/>
            <a:extLst>
              <a:ext uri="{FF2B5EF4-FFF2-40B4-BE49-F238E27FC236}">
                <a16:creationId xmlns:a16="http://schemas.microsoft.com/office/drawing/2014/main" id="{ABC7AEDF-B4D8-4D56-8756-1EE8AD0D4F13}"/>
              </a:ext>
            </a:extLst>
          </p:cNvPr>
          <p:cNvSpPr/>
          <p:nvPr/>
        </p:nvSpPr>
        <p:spPr bwMode="gray">
          <a:xfrm>
            <a:off x="6487063" y="4037692"/>
            <a:ext cx="1097280" cy="457200"/>
          </a:xfrm>
          <a:prstGeom prst="roundRect">
            <a:avLst/>
          </a:prstGeom>
          <a:solidFill>
            <a:schemeClr val="accent5">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Kalinga" panose="020B0502040204020203" pitchFamily="34" charset="0"/>
              </a:rPr>
              <a:t>Mobile Pay</a:t>
            </a:r>
          </a:p>
        </p:txBody>
      </p:sp>
      <p:sp>
        <p:nvSpPr>
          <p:cNvPr id="21" name="Rounded Rectangle 94">
            <a:hlinkClick r:id="" action="ppaction://noaction"/>
            <a:extLst>
              <a:ext uri="{FF2B5EF4-FFF2-40B4-BE49-F238E27FC236}">
                <a16:creationId xmlns:a16="http://schemas.microsoft.com/office/drawing/2014/main" id="{98324970-2477-4685-BABF-3D3318FA3377}"/>
              </a:ext>
            </a:extLst>
          </p:cNvPr>
          <p:cNvSpPr/>
          <p:nvPr/>
        </p:nvSpPr>
        <p:spPr bwMode="gray">
          <a:xfrm>
            <a:off x="6487063" y="4669533"/>
            <a:ext cx="1097280" cy="457200"/>
          </a:xfrm>
          <a:prstGeom prst="roundRect">
            <a:avLst/>
          </a:prstGeom>
          <a:solidFill>
            <a:schemeClr val="accent5">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Kalinga" panose="020B0502040204020203" pitchFamily="34" charset="0"/>
              </a:rPr>
              <a:t>Wait Time Visibility</a:t>
            </a:r>
          </a:p>
        </p:txBody>
      </p:sp>
      <p:grpSp>
        <p:nvGrpSpPr>
          <p:cNvPr id="22" name="Group 21">
            <a:extLst>
              <a:ext uri="{FF2B5EF4-FFF2-40B4-BE49-F238E27FC236}">
                <a16:creationId xmlns:a16="http://schemas.microsoft.com/office/drawing/2014/main" id="{07AB1736-BFE6-4EA6-A35F-4BB20C2FCEE5}"/>
              </a:ext>
            </a:extLst>
          </p:cNvPr>
          <p:cNvGrpSpPr/>
          <p:nvPr/>
        </p:nvGrpSpPr>
        <p:grpSpPr>
          <a:xfrm>
            <a:off x="850900" y="2755900"/>
            <a:ext cx="2723816" cy="2488728"/>
            <a:chOff x="8867750" y="2763992"/>
            <a:chExt cx="2723816" cy="2488728"/>
          </a:xfrm>
        </p:grpSpPr>
        <p:sp>
          <p:nvSpPr>
            <p:cNvPr id="23" name="Rectangle 22">
              <a:extLst>
                <a:ext uri="{FF2B5EF4-FFF2-40B4-BE49-F238E27FC236}">
                  <a16:creationId xmlns:a16="http://schemas.microsoft.com/office/drawing/2014/main" id="{403510F5-0E56-47F4-9FA7-CACEF396626A}"/>
                </a:ext>
              </a:extLst>
            </p:cNvPr>
            <p:cNvSpPr/>
            <p:nvPr/>
          </p:nvSpPr>
          <p:spPr>
            <a:xfrm>
              <a:off x="9031246" y="2763992"/>
              <a:ext cx="2560320" cy="2488728"/>
            </a:xfrm>
            <a:prstGeom prst="rect">
              <a:avLst/>
            </a:prstGeom>
            <a:solidFill>
              <a:schemeClr val="accent1">
                <a:lumMod val="20000"/>
                <a:lumOff val="8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24" name="Rectangle 3">
              <a:extLst>
                <a:ext uri="{FF2B5EF4-FFF2-40B4-BE49-F238E27FC236}">
                  <a16:creationId xmlns:a16="http://schemas.microsoft.com/office/drawing/2014/main" id="{E53BCD0F-FEC5-44C1-BDFF-7BA03B780EA5}"/>
                </a:ext>
              </a:extLst>
            </p:cNvPr>
            <p:cNvSpPr>
              <a:spLocks/>
            </p:cNvSpPr>
            <p:nvPr/>
          </p:nvSpPr>
          <p:spPr bwMode="auto">
            <a:xfrm>
              <a:off x="9206413" y="2868703"/>
              <a:ext cx="2209986" cy="55036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0" cap="none" spc="0" normalizeH="0" baseline="0" noProof="0" dirty="0">
                  <a:ln>
                    <a:noFill/>
                  </a:ln>
                  <a:solidFill>
                    <a:prstClr val="black"/>
                  </a:solidFill>
                  <a:effectLst/>
                  <a:uLnTx/>
                  <a:uFillTx/>
                  <a:ea typeface="+mn-ea"/>
                  <a:cs typeface="Frutiger Next Pro Medium"/>
                  <a:sym typeface="Frutiger Next Pro Medium" charset="0"/>
                </a:rPr>
                <a:t>Purchase</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0" cap="none" spc="0" normalizeH="0" baseline="0" noProof="0" dirty="0">
                  <a:ln>
                    <a:noFill/>
                  </a:ln>
                  <a:solidFill>
                    <a:prstClr val="black"/>
                  </a:solidFill>
                  <a:effectLst/>
                  <a:uLnTx/>
                  <a:uFillTx/>
                  <a:ea typeface="+mn-ea"/>
                  <a:cs typeface="Frutiger Next Pro Medium"/>
                  <a:sym typeface="Frutiger Next Pro Medium" charset="0"/>
                </a:rPr>
                <a:t>Tickets</a:t>
              </a:r>
            </a:p>
          </p:txBody>
        </p:sp>
        <p:sp>
          <p:nvSpPr>
            <p:cNvPr id="25" name="Rounded Rectangle 99">
              <a:hlinkClick r:id="" action="ppaction://noaction"/>
              <a:extLst>
                <a:ext uri="{FF2B5EF4-FFF2-40B4-BE49-F238E27FC236}">
                  <a16:creationId xmlns:a16="http://schemas.microsoft.com/office/drawing/2014/main" id="{3A058065-D9D6-495B-9B2D-228EAC6BC4BE}"/>
                </a:ext>
              </a:extLst>
            </p:cNvPr>
            <p:cNvSpPr/>
            <p:nvPr/>
          </p:nvSpPr>
          <p:spPr bwMode="gray">
            <a:xfrm>
              <a:off x="10375817" y="3412648"/>
              <a:ext cx="1097280" cy="457200"/>
            </a:xfrm>
            <a:prstGeom prst="roundRect">
              <a:avLst/>
            </a:prstGeom>
            <a:solidFill>
              <a:schemeClr val="accent1">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Kalinga" panose="020B0502040204020203" pitchFamily="34" charset="0"/>
                </a:rPr>
                <a:t>Single Click</a:t>
              </a:r>
            </a:p>
          </p:txBody>
        </p:sp>
        <p:sp>
          <p:nvSpPr>
            <p:cNvPr id="26" name="Rounded Rectangle 100">
              <a:hlinkClick r:id="" action="ppaction://noaction"/>
              <a:extLst>
                <a:ext uri="{FF2B5EF4-FFF2-40B4-BE49-F238E27FC236}">
                  <a16:creationId xmlns:a16="http://schemas.microsoft.com/office/drawing/2014/main" id="{8456F804-29CC-4F56-BA1D-F6A911B2FD3C}"/>
                </a:ext>
              </a:extLst>
            </p:cNvPr>
            <p:cNvSpPr/>
            <p:nvPr/>
          </p:nvSpPr>
          <p:spPr bwMode="gray">
            <a:xfrm>
              <a:off x="9161079" y="3412648"/>
              <a:ext cx="1097280" cy="457200"/>
            </a:xfrm>
            <a:prstGeom prst="roundRect">
              <a:avLst/>
            </a:prstGeom>
            <a:solidFill>
              <a:schemeClr val="accent1">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Calibri" panose="020F0502020204030204" pitchFamily="34" charset="0"/>
                  <a:cs typeface="+mn-cs"/>
                </a:rPr>
                <a:t>Multi-Platform Purchase Option </a:t>
              </a:r>
            </a:p>
          </p:txBody>
        </p:sp>
        <p:sp>
          <p:nvSpPr>
            <p:cNvPr id="27" name="Rounded Rectangle 101">
              <a:hlinkClick r:id="" action="ppaction://noaction"/>
              <a:extLst>
                <a:ext uri="{FF2B5EF4-FFF2-40B4-BE49-F238E27FC236}">
                  <a16:creationId xmlns:a16="http://schemas.microsoft.com/office/drawing/2014/main" id="{0CEBF31F-75BF-4B2D-9EEB-6ABF1C8C859A}"/>
                </a:ext>
              </a:extLst>
            </p:cNvPr>
            <p:cNvSpPr/>
            <p:nvPr/>
          </p:nvSpPr>
          <p:spPr bwMode="gray">
            <a:xfrm>
              <a:off x="10375817" y="4040965"/>
              <a:ext cx="1097280" cy="457200"/>
            </a:xfrm>
            <a:prstGeom prst="roundRect">
              <a:avLst/>
            </a:prstGeom>
            <a:solidFill>
              <a:schemeClr val="accent1">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Kalinga" panose="020B0502040204020203" pitchFamily="34" charset="0"/>
                </a:rPr>
                <a:t>Last Minute Offers</a:t>
              </a:r>
            </a:p>
          </p:txBody>
        </p:sp>
        <p:sp>
          <p:nvSpPr>
            <p:cNvPr id="28" name="Rounded Rectangle 102">
              <a:hlinkClick r:id="" action="ppaction://noaction"/>
              <a:extLst>
                <a:ext uri="{FF2B5EF4-FFF2-40B4-BE49-F238E27FC236}">
                  <a16:creationId xmlns:a16="http://schemas.microsoft.com/office/drawing/2014/main" id="{B1BF7658-1323-41F5-9068-8E6F7F5B5A2C}"/>
                </a:ext>
              </a:extLst>
            </p:cNvPr>
            <p:cNvSpPr/>
            <p:nvPr/>
          </p:nvSpPr>
          <p:spPr bwMode="gray">
            <a:xfrm>
              <a:off x="9161079" y="4040965"/>
              <a:ext cx="1097280" cy="457200"/>
            </a:xfrm>
            <a:prstGeom prst="roundRect">
              <a:avLst/>
            </a:prstGeom>
            <a:solidFill>
              <a:schemeClr val="accent1">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Calibri" panose="020F0502020204030204" pitchFamily="34" charset="0"/>
                  <a:cs typeface="+mn-cs"/>
                </a:rPr>
                <a:t>In-Arena Seat Upgrade</a:t>
              </a:r>
            </a:p>
          </p:txBody>
        </p:sp>
        <p:sp>
          <p:nvSpPr>
            <p:cNvPr id="29" name="Oval 28">
              <a:extLst>
                <a:ext uri="{FF2B5EF4-FFF2-40B4-BE49-F238E27FC236}">
                  <a16:creationId xmlns:a16="http://schemas.microsoft.com/office/drawing/2014/main" id="{2D8711EA-5778-4C4F-9BA2-80FE8E319487}"/>
                </a:ext>
              </a:extLst>
            </p:cNvPr>
            <p:cNvSpPr/>
            <p:nvPr/>
          </p:nvSpPr>
          <p:spPr>
            <a:xfrm>
              <a:off x="8867750" y="2801348"/>
              <a:ext cx="332022" cy="332022"/>
            </a:xfrm>
            <a:prstGeom prst="ellipse">
              <a:avLst/>
            </a:prstGeom>
            <a:noFill/>
            <a:ln w="9525">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grpSp>
          <p:nvGrpSpPr>
            <p:cNvPr id="30" name="Group 374">
              <a:extLst>
                <a:ext uri="{FF2B5EF4-FFF2-40B4-BE49-F238E27FC236}">
                  <a16:creationId xmlns:a16="http://schemas.microsoft.com/office/drawing/2014/main" id="{03E59FF8-B27A-4BDF-B058-6869B5353AA6}"/>
                </a:ext>
              </a:extLst>
            </p:cNvPr>
            <p:cNvGrpSpPr>
              <a:grpSpLocks noChangeAspect="1"/>
            </p:cNvGrpSpPr>
            <p:nvPr/>
          </p:nvGrpSpPr>
          <p:grpSpPr bwMode="auto">
            <a:xfrm>
              <a:off x="8896601" y="2830199"/>
              <a:ext cx="274320" cy="274320"/>
              <a:chOff x="6996" y="1195"/>
              <a:chExt cx="340" cy="340"/>
            </a:xfrm>
            <a:solidFill>
              <a:schemeClr val="accent1"/>
            </a:solidFill>
          </p:grpSpPr>
          <p:sp>
            <p:nvSpPr>
              <p:cNvPr id="31" name="Freeform 375">
                <a:extLst>
                  <a:ext uri="{FF2B5EF4-FFF2-40B4-BE49-F238E27FC236}">
                    <a16:creationId xmlns:a16="http://schemas.microsoft.com/office/drawing/2014/main" id="{E4677C57-E47A-42EC-A5CB-8389B8711CE2}"/>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ea typeface="+mn-ea"/>
                  <a:cs typeface="+mn-cs"/>
                </a:endParaRPr>
              </a:p>
            </p:txBody>
          </p:sp>
          <p:sp>
            <p:nvSpPr>
              <p:cNvPr id="32" name="Freeform 376">
                <a:extLst>
                  <a:ext uri="{FF2B5EF4-FFF2-40B4-BE49-F238E27FC236}">
                    <a16:creationId xmlns:a16="http://schemas.microsoft.com/office/drawing/2014/main" id="{3F5C2ACF-2174-46E1-BE71-E4254BC74216}"/>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ea typeface="+mn-ea"/>
                  <a:cs typeface="+mn-cs"/>
                </a:endParaRPr>
              </a:p>
            </p:txBody>
          </p:sp>
          <p:sp>
            <p:nvSpPr>
              <p:cNvPr id="33" name="Freeform 377">
                <a:extLst>
                  <a:ext uri="{FF2B5EF4-FFF2-40B4-BE49-F238E27FC236}">
                    <a16:creationId xmlns:a16="http://schemas.microsoft.com/office/drawing/2014/main" id="{13CD75A2-153C-482D-B43B-A4CF64B68CF0}"/>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ea typeface="+mn-ea"/>
                  <a:cs typeface="+mn-cs"/>
                </a:endParaRPr>
              </a:p>
            </p:txBody>
          </p:sp>
        </p:grpSp>
      </p:grpSp>
      <p:grpSp>
        <p:nvGrpSpPr>
          <p:cNvPr id="34" name="Group 33">
            <a:extLst>
              <a:ext uri="{FF2B5EF4-FFF2-40B4-BE49-F238E27FC236}">
                <a16:creationId xmlns:a16="http://schemas.microsoft.com/office/drawing/2014/main" id="{79F92A26-AFF3-4B0D-9DEA-26671D6A0DD3}"/>
              </a:ext>
            </a:extLst>
          </p:cNvPr>
          <p:cNvGrpSpPr/>
          <p:nvPr/>
        </p:nvGrpSpPr>
        <p:grpSpPr>
          <a:xfrm>
            <a:off x="3526810" y="2743200"/>
            <a:ext cx="2714188" cy="2492844"/>
            <a:chOff x="6205629" y="2759173"/>
            <a:chExt cx="2714188" cy="2492844"/>
          </a:xfrm>
        </p:grpSpPr>
        <p:sp>
          <p:nvSpPr>
            <p:cNvPr id="35" name="Rectangle 34">
              <a:extLst>
                <a:ext uri="{FF2B5EF4-FFF2-40B4-BE49-F238E27FC236}">
                  <a16:creationId xmlns:a16="http://schemas.microsoft.com/office/drawing/2014/main" id="{FBF04C4F-EC32-411B-8D9D-B08473065078}"/>
                </a:ext>
              </a:extLst>
            </p:cNvPr>
            <p:cNvSpPr/>
            <p:nvPr/>
          </p:nvSpPr>
          <p:spPr>
            <a:xfrm>
              <a:off x="6359497" y="2759173"/>
              <a:ext cx="2560320" cy="2492844"/>
            </a:xfrm>
            <a:prstGeom prst="rect">
              <a:avLst/>
            </a:prstGeom>
            <a:solidFill>
              <a:schemeClr val="accent3">
                <a:lumMod val="20000"/>
                <a:lumOff val="8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36" name="Rectangle 3">
              <a:extLst>
                <a:ext uri="{FF2B5EF4-FFF2-40B4-BE49-F238E27FC236}">
                  <a16:creationId xmlns:a16="http://schemas.microsoft.com/office/drawing/2014/main" id="{96615ED2-9D63-4522-AF0C-2E3BC85AF97C}"/>
                </a:ext>
              </a:extLst>
            </p:cNvPr>
            <p:cNvSpPr>
              <a:spLocks/>
            </p:cNvSpPr>
            <p:nvPr/>
          </p:nvSpPr>
          <p:spPr bwMode="auto">
            <a:xfrm>
              <a:off x="6471263" y="2855095"/>
              <a:ext cx="2336788" cy="5639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0" cap="none" spc="0" normalizeH="0" baseline="0" noProof="0" dirty="0">
                  <a:ln>
                    <a:noFill/>
                  </a:ln>
                  <a:solidFill>
                    <a:prstClr val="black"/>
                  </a:solidFill>
                  <a:effectLst/>
                  <a:uLnTx/>
                  <a:uFillTx/>
                  <a:ea typeface="+mn-ea"/>
                  <a:cs typeface="Frutiger Next Pro Medium"/>
                  <a:sym typeface="Frutiger Next Pro Medium" charset="0"/>
                </a:rPr>
                <a:t>Transportation &amp;</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0" cap="none" spc="0" normalizeH="0" baseline="0" noProof="0" dirty="0">
                  <a:ln>
                    <a:noFill/>
                  </a:ln>
                  <a:solidFill>
                    <a:prstClr val="black"/>
                  </a:solidFill>
                  <a:effectLst/>
                  <a:uLnTx/>
                  <a:uFillTx/>
                  <a:ea typeface="+mn-ea"/>
                  <a:cs typeface="Frutiger Next Pro Medium"/>
                  <a:sym typeface="Frutiger Next Pro Medium" charset="0"/>
                </a:rPr>
                <a:t>Parking</a:t>
              </a:r>
            </a:p>
          </p:txBody>
        </p:sp>
        <p:sp>
          <p:nvSpPr>
            <p:cNvPr id="37" name="Rounded Rectangle 96">
              <a:hlinkClick r:id="" action="ppaction://noaction"/>
              <a:extLst>
                <a:ext uri="{FF2B5EF4-FFF2-40B4-BE49-F238E27FC236}">
                  <a16:creationId xmlns:a16="http://schemas.microsoft.com/office/drawing/2014/main" id="{AE74DB8C-4F8D-4C0C-96D0-4067ADA7C2F5}"/>
                </a:ext>
              </a:extLst>
            </p:cNvPr>
            <p:cNvSpPr/>
            <p:nvPr/>
          </p:nvSpPr>
          <p:spPr bwMode="gray">
            <a:xfrm>
              <a:off x="7703660" y="3412648"/>
              <a:ext cx="1097280" cy="457200"/>
            </a:xfrm>
            <a:prstGeom prst="roundRect">
              <a:avLst/>
            </a:prstGeom>
            <a:solidFill>
              <a:schemeClr val="accent3">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Calibri" panose="020F0502020204030204" pitchFamily="34" charset="0"/>
                  <a:cs typeface="+mn-cs"/>
                </a:rPr>
                <a:t>Digital Ticketing / Parking Pass</a:t>
              </a:r>
            </a:p>
          </p:txBody>
        </p:sp>
        <p:sp>
          <p:nvSpPr>
            <p:cNvPr id="38" name="Rounded Rectangle 97">
              <a:hlinkClick r:id="" action="ppaction://noaction"/>
              <a:extLst>
                <a:ext uri="{FF2B5EF4-FFF2-40B4-BE49-F238E27FC236}">
                  <a16:creationId xmlns:a16="http://schemas.microsoft.com/office/drawing/2014/main" id="{DDCF7DF8-8FA2-403B-8F38-9E7D725F3ECB}"/>
                </a:ext>
              </a:extLst>
            </p:cNvPr>
            <p:cNvSpPr/>
            <p:nvPr/>
          </p:nvSpPr>
          <p:spPr bwMode="gray">
            <a:xfrm>
              <a:off x="6485211" y="3412648"/>
              <a:ext cx="1097280" cy="457200"/>
            </a:xfrm>
            <a:prstGeom prst="roundRect">
              <a:avLst/>
            </a:prstGeom>
            <a:solidFill>
              <a:schemeClr val="accent3">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Kalinga" panose="020B0502040204020203" pitchFamily="34" charset="0"/>
                </a:rPr>
                <a:t>Parking Reservation System</a:t>
              </a:r>
            </a:p>
          </p:txBody>
        </p:sp>
        <p:sp>
          <p:nvSpPr>
            <p:cNvPr id="39" name="Rounded Rectangle 98">
              <a:hlinkClick r:id="" action="ppaction://noaction"/>
              <a:extLst>
                <a:ext uri="{FF2B5EF4-FFF2-40B4-BE49-F238E27FC236}">
                  <a16:creationId xmlns:a16="http://schemas.microsoft.com/office/drawing/2014/main" id="{7B41AA22-5866-4DF1-B025-CAC935681A6E}"/>
                </a:ext>
              </a:extLst>
            </p:cNvPr>
            <p:cNvSpPr/>
            <p:nvPr/>
          </p:nvSpPr>
          <p:spPr bwMode="gray">
            <a:xfrm>
              <a:off x="6485211" y="4040965"/>
              <a:ext cx="1097280" cy="457200"/>
            </a:xfrm>
            <a:prstGeom prst="roundRect">
              <a:avLst/>
            </a:prstGeom>
            <a:solidFill>
              <a:schemeClr val="accent3">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Calibri" panose="020F0502020204030204" pitchFamily="34" charset="0"/>
                  <a:cs typeface="+mn-cs"/>
                </a:rPr>
                <a:t>Traffic / Surge Price Visibility</a:t>
              </a:r>
            </a:p>
          </p:txBody>
        </p:sp>
        <p:sp>
          <p:nvSpPr>
            <p:cNvPr id="40" name="Oval 39">
              <a:extLst>
                <a:ext uri="{FF2B5EF4-FFF2-40B4-BE49-F238E27FC236}">
                  <a16:creationId xmlns:a16="http://schemas.microsoft.com/office/drawing/2014/main" id="{410D48D0-E389-437D-816A-BF9210955413}"/>
                </a:ext>
              </a:extLst>
            </p:cNvPr>
            <p:cNvSpPr/>
            <p:nvPr/>
          </p:nvSpPr>
          <p:spPr>
            <a:xfrm>
              <a:off x="6205629" y="2801348"/>
              <a:ext cx="332022" cy="332022"/>
            </a:xfrm>
            <a:prstGeom prst="ellipse">
              <a:avLst/>
            </a:prstGeom>
            <a:noFill/>
            <a:ln w="9525">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41" name="Freeform 841">
              <a:extLst>
                <a:ext uri="{FF2B5EF4-FFF2-40B4-BE49-F238E27FC236}">
                  <a16:creationId xmlns:a16="http://schemas.microsoft.com/office/drawing/2014/main" id="{535CAEBF-2A97-4B0D-B68E-FC06BCDBEED3}"/>
                </a:ext>
              </a:extLst>
            </p:cNvPr>
            <p:cNvSpPr>
              <a:spLocks noChangeAspect="1" noEditPoints="1"/>
            </p:cNvSpPr>
            <p:nvPr/>
          </p:nvSpPr>
          <p:spPr bwMode="auto">
            <a:xfrm>
              <a:off x="6234480" y="2830199"/>
              <a:ext cx="274320" cy="274320"/>
            </a:xfrm>
            <a:custGeom>
              <a:avLst/>
              <a:gdLst>
                <a:gd name="T0" fmla="*/ 160 w 512"/>
                <a:gd name="T1" fmla="*/ 334 h 512"/>
                <a:gd name="T2" fmla="*/ 128 w 512"/>
                <a:gd name="T3" fmla="*/ 352 h 512"/>
                <a:gd name="T4" fmla="*/ 352 w 512"/>
                <a:gd name="T5" fmla="*/ 352 h 512"/>
                <a:gd name="T6" fmla="*/ 384 w 512"/>
                <a:gd name="T7" fmla="*/ 329 h 512"/>
                <a:gd name="T8" fmla="*/ 352 w 512"/>
                <a:gd name="T9" fmla="*/ 352 h 512"/>
                <a:gd name="T10" fmla="*/ 394 w 512"/>
                <a:gd name="T11" fmla="*/ 300 h 512"/>
                <a:gd name="T12" fmla="*/ 117 w 512"/>
                <a:gd name="T13" fmla="*/ 297 h 512"/>
                <a:gd name="T14" fmla="*/ 158 w 512"/>
                <a:gd name="T15" fmla="*/ 224 h 512"/>
                <a:gd name="T16" fmla="*/ 394 w 512"/>
                <a:gd name="T17" fmla="*/ 266 h 512"/>
                <a:gd name="T18" fmla="*/ 181 w 512"/>
                <a:gd name="T19" fmla="*/ 266 h 512"/>
                <a:gd name="T20" fmla="*/ 138 w 512"/>
                <a:gd name="T21" fmla="*/ 266 h 512"/>
                <a:gd name="T22" fmla="*/ 181 w 512"/>
                <a:gd name="T23" fmla="*/ 266 h 512"/>
                <a:gd name="T24" fmla="*/ 288 w 512"/>
                <a:gd name="T25" fmla="*/ 256 h 512"/>
                <a:gd name="T26" fmla="*/ 213 w 512"/>
                <a:gd name="T27" fmla="*/ 266 h 512"/>
                <a:gd name="T28" fmla="*/ 288 w 512"/>
                <a:gd name="T29" fmla="*/ 277 h 512"/>
                <a:gd name="T30" fmla="*/ 373 w 512"/>
                <a:gd name="T31" fmla="*/ 266 h 512"/>
                <a:gd name="T32" fmla="*/ 330 w 512"/>
                <a:gd name="T33" fmla="*/ 266 h 512"/>
                <a:gd name="T34" fmla="*/ 373 w 512"/>
                <a:gd name="T35" fmla="*/ 266 h 512"/>
                <a:gd name="T36" fmla="*/ 256 w 512"/>
                <a:gd name="T37" fmla="*/ 512 h 512"/>
                <a:gd name="T38" fmla="*/ 256 w 512"/>
                <a:gd name="T39" fmla="*/ 0 h 512"/>
                <a:gd name="T40" fmla="*/ 416 w 512"/>
                <a:gd name="T41" fmla="*/ 266 h 512"/>
                <a:gd name="T42" fmla="*/ 370 w 512"/>
                <a:gd name="T43" fmla="*/ 202 h 512"/>
                <a:gd name="T44" fmla="*/ 394 w 512"/>
                <a:gd name="T45" fmla="*/ 192 h 512"/>
                <a:gd name="T46" fmla="*/ 363 w 512"/>
                <a:gd name="T47" fmla="*/ 181 h 512"/>
                <a:gd name="T48" fmla="*/ 350 w 512"/>
                <a:gd name="T49" fmla="*/ 144 h 512"/>
                <a:gd name="T50" fmla="*/ 202 w 512"/>
                <a:gd name="T51" fmla="*/ 117 h 512"/>
                <a:gd name="T52" fmla="*/ 160 w 512"/>
                <a:gd name="T53" fmla="*/ 146 h 512"/>
                <a:gd name="T54" fmla="*/ 128 w 512"/>
                <a:gd name="T55" fmla="*/ 181 h 512"/>
                <a:gd name="T56" fmla="*/ 128 w 512"/>
                <a:gd name="T57" fmla="*/ 202 h 512"/>
                <a:gd name="T58" fmla="*/ 140 w 512"/>
                <a:gd name="T59" fmla="*/ 205 h 512"/>
                <a:gd name="T60" fmla="*/ 96 w 512"/>
                <a:gd name="T61" fmla="*/ 298 h 512"/>
                <a:gd name="T62" fmla="*/ 106 w 512"/>
                <a:gd name="T63" fmla="*/ 316 h 512"/>
                <a:gd name="T64" fmla="*/ 106 w 512"/>
                <a:gd name="T65" fmla="*/ 320 h 512"/>
                <a:gd name="T66" fmla="*/ 106 w 512"/>
                <a:gd name="T67" fmla="*/ 320 h 512"/>
                <a:gd name="T68" fmla="*/ 117 w 512"/>
                <a:gd name="T69" fmla="*/ 373 h 512"/>
                <a:gd name="T70" fmla="*/ 181 w 512"/>
                <a:gd name="T71" fmla="*/ 362 h 512"/>
                <a:gd name="T72" fmla="*/ 261 w 512"/>
                <a:gd name="T73" fmla="*/ 341 h 512"/>
                <a:gd name="T74" fmla="*/ 330 w 512"/>
                <a:gd name="T75" fmla="*/ 362 h 512"/>
                <a:gd name="T76" fmla="*/ 394 w 512"/>
                <a:gd name="T77" fmla="*/ 373 h 512"/>
                <a:gd name="T78" fmla="*/ 405 w 512"/>
                <a:gd name="T79" fmla="*/ 319 h 512"/>
                <a:gd name="T80" fmla="*/ 416 w 512"/>
                <a:gd name="T81" fmla="*/ 297 h 512"/>
                <a:gd name="T82" fmla="*/ 331 w 512"/>
                <a:gd name="T83" fmla="*/ 153 h 512"/>
                <a:gd name="T84" fmla="*/ 202 w 512"/>
                <a:gd name="T85" fmla="*/ 138 h 512"/>
                <a:gd name="T86" fmla="*/ 164 w 512"/>
                <a:gd name="T87" fmla="*/ 202 h 512"/>
                <a:gd name="T88" fmla="*/ 331 w 512"/>
                <a:gd name="T89" fmla="*/ 1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28" y="327"/>
                  </a:moveTo>
                  <a:cubicBezTo>
                    <a:pt x="137" y="330"/>
                    <a:pt x="147" y="332"/>
                    <a:pt x="160" y="334"/>
                  </a:cubicBezTo>
                  <a:cubicBezTo>
                    <a:pt x="160" y="352"/>
                    <a:pt x="160" y="352"/>
                    <a:pt x="160" y="352"/>
                  </a:cubicBezTo>
                  <a:cubicBezTo>
                    <a:pt x="128" y="352"/>
                    <a:pt x="128" y="352"/>
                    <a:pt x="128" y="352"/>
                  </a:cubicBezTo>
                  <a:lnTo>
                    <a:pt x="128" y="327"/>
                  </a:lnTo>
                  <a:close/>
                  <a:moveTo>
                    <a:pt x="352" y="352"/>
                  </a:moveTo>
                  <a:cubicBezTo>
                    <a:pt x="384" y="352"/>
                    <a:pt x="384" y="352"/>
                    <a:pt x="384" y="352"/>
                  </a:cubicBezTo>
                  <a:cubicBezTo>
                    <a:pt x="384" y="329"/>
                    <a:pt x="384" y="329"/>
                    <a:pt x="384" y="329"/>
                  </a:cubicBezTo>
                  <a:cubicBezTo>
                    <a:pt x="375" y="332"/>
                    <a:pt x="364" y="334"/>
                    <a:pt x="352" y="336"/>
                  </a:cubicBezTo>
                  <a:lnTo>
                    <a:pt x="352" y="352"/>
                  </a:lnTo>
                  <a:close/>
                  <a:moveTo>
                    <a:pt x="394" y="298"/>
                  </a:moveTo>
                  <a:cubicBezTo>
                    <a:pt x="394" y="299"/>
                    <a:pt x="394" y="299"/>
                    <a:pt x="394" y="300"/>
                  </a:cubicBezTo>
                  <a:cubicBezTo>
                    <a:pt x="392" y="302"/>
                    <a:pt x="374" y="320"/>
                    <a:pt x="261" y="320"/>
                  </a:cubicBezTo>
                  <a:cubicBezTo>
                    <a:pt x="139" y="320"/>
                    <a:pt x="119" y="300"/>
                    <a:pt x="117" y="297"/>
                  </a:cubicBezTo>
                  <a:cubicBezTo>
                    <a:pt x="117" y="266"/>
                    <a:pt x="117" y="266"/>
                    <a:pt x="117" y="266"/>
                  </a:cubicBezTo>
                  <a:cubicBezTo>
                    <a:pt x="117" y="243"/>
                    <a:pt x="135" y="224"/>
                    <a:pt x="158" y="224"/>
                  </a:cubicBezTo>
                  <a:cubicBezTo>
                    <a:pt x="354" y="224"/>
                    <a:pt x="354" y="224"/>
                    <a:pt x="354" y="224"/>
                  </a:cubicBezTo>
                  <a:cubicBezTo>
                    <a:pt x="376" y="224"/>
                    <a:pt x="394" y="243"/>
                    <a:pt x="394" y="266"/>
                  </a:cubicBezTo>
                  <a:lnTo>
                    <a:pt x="394" y="298"/>
                  </a:lnTo>
                  <a:close/>
                  <a:moveTo>
                    <a:pt x="181" y="266"/>
                  </a:moveTo>
                  <a:cubicBezTo>
                    <a:pt x="181" y="255"/>
                    <a:pt x="171" y="245"/>
                    <a:pt x="160" y="245"/>
                  </a:cubicBezTo>
                  <a:cubicBezTo>
                    <a:pt x="148" y="245"/>
                    <a:pt x="138" y="255"/>
                    <a:pt x="138" y="266"/>
                  </a:cubicBezTo>
                  <a:cubicBezTo>
                    <a:pt x="138" y="278"/>
                    <a:pt x="148" y="288"/>
                    <a:pt x="160" y="288"/>
                  </a:cubicBezTo>
                  <a:cubicBezTo>
                    <a:pt x="171" y="288"/>
                    <a:pt x="181" y="278"/>
                    <a:pt x="181" y="266"/>
                  </a:cubicBezTo>
                  <a:close/>
                  <a:moveTo>
                    <a:pt x="298" y="266"/>
                  </a:moveTo>
                  <a:cubicBezTo>
                    <a:pt x="298" y="260"/>
                    <a:pt x="294" y="256"/>
                    <a:pt x="288" y="256"/>
                  </a:cubicBezTo>
                  <a:cubicBezTo>
                    <a:pt x="224" y="256"/>
                    <a:pt x="224" y="256"/>
                    <a:pt x="224" y="256"/>
                  </a:cubicBezTo>
                  <a:cubicBezTo>
                    <a:pt x="218" y="256"/>
                    <a:pt x="213" y="260"/>
                    <a:pt x="213" y="266"/>
                  </a:cubicBezTo>
                  <a:cubicBezTo>
                    <a:pt x="213" y="272"/>
                    <a:pt x="218" y="277"/>
                    <a:pt x="224" y="277"/>
                  </a:cubicBezTo>
                  <a:cubicBezTo>
                    <a:pt x="288" y="277"/>
                    <a:pt x="288" y="277"/>
                    <a:pt x="288" y="277"/>
                  </a:cubicBezTo>
                  <a:cubicBezTo>
                    <a:pt x="294" y="277"/>
                    <a:pt x="298" y="272"/>
                    <a:pt x="298" y="266"/>
                  </a:cubicBezTo>
                  <a:close/>
                  <a:moveTo>
                    <a:pt x="373" y="266"/>
                  </a:moveTo>
                  <a:cubicBezTo>
                    <a:pt x="373" y="255"/>
                    <a:pt x="363" y="245"/>
                    <a:pt x="352" y="245"/>
                  </a:cubicBezTo>
                  <a:cubicBezTo>
                    <a:pt x="340" y="245"/>
                    <a:pt x="330" y="255"/>
                    <a:pt x="330" y="266"/>
                  </a:cubicBezTo>
                  <a:cubicBezTo>
                    <a:pt x="330" y="278"/>
                    <a:pt x="340" y="288"/>
                    <a:pt x="352" y="288"/>
                  </a:cubicBezTo>
                  <a:cubicBezTo>
                    <a:pt x="363" y="288"/>
                    <a:pt x="373" y="278"/>
                    <a:pt x="373" y="26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66"/>
                  </a:moveTo>
                  <a:cubicBezTo>
                    <a:pt x="416" y="237"/>
                    <a:pt x="397" y="213"/>
                    <a:pt x="371" y="205"/>
                  </a:cubicBezTo>
                  <a:cubicBezTo>
                    <a:pt x="370" y="202"/>
                    <a:pt x="370" y="202"/>
                    <a:pt x="370" y="202"/>
                  </a:cubicBezTo>
                  <a:cubicBezTo>
                    <a:pt x="384" y="202"/>
                    <a:pt x="384" y="202"/>
                    <a:pt x="384" y="202"/>
                  </a:cubicBezTo>
                  <a:cubicBezTo>
                    <a:pt x="390" y="202"/>
                    <a:pt x="394" y="198"/>
                    <a:pt x="394" y="192"/>
                  </a:cubicBezTo>
                  <a:cubicBezTo>
                    <a:pt x="394" y="186"/>
                    <a:pt x="390" y="181"/>
                    <a:pt x="384" y="181"/>
                  </a:cubicBezTo>
                  <a:cubicBezTo>
                    <a:pt x="363" y="181"/>
                    <a:pt x="363" y="181"/>
                    <a:pt x="363" y="181"/>
                  </a:cubicBezTo>
                  <a:cubicBezTo>
                    <a:pt x="351" y="146"/>
                    <a:pt x="351" y="146"/>
                    <a:pt x="351" y="146"/>
                  </a:cubicBezTo>
                  <a:cubicBezTo>
                    <a:pt x="351" y="145"/>
                    <a:pt x="351" y="145"/>
                    <a:pt x="350" y="144"/>
                  </a:cubicBezTo>
                  <a:cubicBezTo>
                    <a:pt x="350" y="143"/>
                    <a:pt x="336" y="117"/>
                    <a:pt x="309" y="117"/>
                  </a:cubicBezTo>
                  <a:cubicBezTo>
                    <a:pt x="202" y="117"/>
                    <a:pt x="202" y="117"/>
                    <a:pt x="202" y="117"/>
                  </a:cubicBezTo>
                  <a:cubicBezTo>
                    <a:pt x="176" y="117"/>
                    <a:pt x="161" y="143"/>
                    <a:pt x="161" y="144"/>
                  </a:cubicBezTo>
                  <a:cubicBezTo>
                    <a:pt x="161" y="145"/>
                    <a:pt x="160" y="145"/>
                    <a:pt x="160" y="146"/>
                  </a:cubicBezTo>
                  <a:cubicBezTo>
                    <a:pt x="148" y="181"/>
                    <a:pt x="148" y="181"/>
                    <a:pt x="148" y="181"/>
                  </a:cubicBezTo>
                  <a:cubicBezTo>
                    <a:pt x="128" y="181"/>
                    <a:pt x="128" y="181"/>
                    <a:pt x="128" y="181"/>
                  </a:cubicBezTo>
                  <a:cubicBezTo>
                    <a:pt x="122" y="181"/>
                    <a:pt x="117" y="186"/>
                    <a:pt x="117" y="192"/>
                  </a:cubicBezTo>
                  <a:cubicBezTo>
                    <a:pt x="117" y="198"/>
                    <a:pt x="122" y="202"/>
                    <a:pt x="128" y="202"/>
                  </a:cubicBezTo>
                  <a:cubicBezTo>
                    <a:pt x="141" y="202"/>
                    <a:pt x="141" y="202"/>
                    <a:pt x="141" y="202"/>
                  </a:cubicBezTo>
                  <a:cubicBezTo>
                    <a:pt x="140" y="205"/>
                    <a:pt x="140" y="205"/>
                    <a:pt x="140" y="205"/>
                  </a:cubicBezTo>
                  <a:cubicBezTo>
                    <a:pt x="115" y="213"/>
                    <a:pt x="96" y="237"/>
                    <a:pt x="96" y="266"/>
                  </a:cubicBezTo>
                  <a:cubicBezTo>
                    <a:pt x="96" y="298"/>
                    <a:pt x="96" y="298"/>
                    <a:pt x="96" y="298"/>
                  </a:cubicBezTo>
                  <a:cubicBezTo>
                    <a:pt x="96" y="300"/>
                    <a:pt x="96" y="306"/>
                    <a:pt x="102" y="312"/>
                  </a:cubicBezTo>
                  <a:cubicBezTo>
                    <a:pt x="103" y="314"/>
                    <a:pt x="106" y="316"/>
                    <a:pt x="106" y="316"/>
                  </a:cubicBezTo>
                  <a:cubicBezTo>
                    <a:pt x="106" y="320"/>
                    <a:pt x="106" y="320"/>
                    <a:pt x="106" y="320"/>
                  </a:cubicBezTo>
                  <a:cubicBezTo>
                    <a:pt x="106" y="320"/>
                    <a:pt x="106" y="320"/>
                    <a:pt x="106" y="320"/>
                  </a:cubicBezTo>
                  <a:cubicBezTo>
                    <a:pt x="106" y="320"/>
                    <a:pt x="106" y="320"/>
                    <a:pt x="106" y="320"/>
                  </a:cubicBezTo>
                  <a:cubicBezTo>
                    <a:pt x="106" y="320"/>
                    <a:pt x="106" y="320"/>
                    <a:pt x="106" y="320"/>
                  </a:cubicBezTo>
                  <a:cubicBezTo>
                    <a:pt x="106" y="362"/>
                    <a:pt x="106" y="362"/>
                    <a:pt x="106" y="362"/>
                  </a:cubicBezTo>
                  <a:cubicBezTo>
                    <a:pt x="106" y="368"/>
                    <a:pt x="111" y="373"/>
                    <a:pt x="117" y="373"/>
                  </a:cubicBezTo>
                  <a:cubicBezTo>
                    <a:pt x="170" y="373"/>
                    <a:pt x="170" y="373"/>
                    <a:pt x="170" y="373"/>
                  </a:cubicBezTo>
                  <a:cubicBezTo>
                    <a:pt x="176" y="373"/>
                    <a:pt x="181" y="368"/>
                    <a:pt x="181" y="362"/>
                  </a:cubicBezTo>
                  <a:cubicBezTo>
                    <a:pt x="181" y="337"/>
                    <a:pt x="181" y="337"/>
                    <a:pt x="181" y="337"/>
                  </a:cubicBezTo>
                  <a:cubicBezTo>
                    <a:pt x="203" y="340"/>
                    <a:pt x="230" y="341"/>
                    <a:pt x="261" y="341"/>
                  </a:cubicBezTo>
                  <a:cubicBezTo>
                    <a:pt x="288" y="341"/>
                    <a:pt x="311" y="340"/>
                    <a:pt x="330" y="338"/>
                  </a:cubicBezTo>
                  <a:cubicBezTo>
                    <a:pt x="330" y="362"/>
                    <a:pt x="330" y="362"/>
                    <a:pt x="330" y="362"/>
                  </a:cubicBezTo>
                  <a:cubicBezTo>
                    <a:pt x="330" y="368"/>
                    <a:pt x="335" y="373"/>
                    <a:pt x="341" y="373"/>
                  </a:cubicBezTo>
                  <a:cubicBezTo>
                    <a:pt x="394" y="373"/>
                    <a:pt x="394" y="373"/>
                    <a:pt x="394" y="373"/>
                  </a:cubicBezTo>
                  <a:cubicBezTo>
                    <a:pt x="400" y="373"/>
                    <a:pt x="405" y="368"/>
                    <a:pt x="405" y="362"/>
                  </a:cubicBezTo>
                  <a:cubicBezTo>
                    <a:pt x="405" y="362"/>
                    <a:pt x="405" y="319"/>
                    <a:pt x="405" y="319"/>
                  </a:cubicBezTo>
                  <a:cubicBezTo>
                    <a:pt x="408" y="316"/>
                    <a:pt x="410" y="314"/>
                    <a:pt x="412" y="311"/>
                  </a:cubicBezTo>
                  <a:cubicBezTo>
                    <a:pt x="416" y="306"/>
                    <a:pt x="416" y="301"/>
                    <a:pt x="416" y="297"/>
                  </a:cubicBezTo>
                  <a:lnTo>
                    <a:pt x="416" y="266"/>
                  </a:lnTo>
                  <a:close/>
                  <a:moveTo>
                    <a:pt x="331" y="153"/>
                  </a:moveTo>
                  <a:cubicBezTo>
                    <a:pt x="329" y="151"/>
                    <a:pt x="321" y="138"/>
                    <a:pt x="309" y="138"/>
                  </a:cubicBezTo>
                  <a:cubicBezTo>
                    <a:pt x="202" y="138"/>
                    <a:pt x="202" y="138"/>
                    <a:pt x="202" y="138"/>
                  </a:cubicBezTo>
                  <a:cubicBezTo>
                    <a:pt x="190" y="138"/>
                    <a:pt x="182" y="150"/>
                    <a:pt x="180" y="153"/>
                  </a:cubicBezTo>
                  <a:cubicBezTo>
                    <a:pt x="164" y="202"/>
                    <a:pt x="164" y="202"/>
                    <a:pt x="164" y="202"/>
                  </a:cubicBezTo>
                  <a:cubicBezTo>
                    <a:pt x="348" y="202"/>
                    <a:pt x="348" y="202"/>
                    <a:pt x="348" y="202"/>
                  </a:cubicBezTo>
                  <a:lnTo>
                    <a:pt x="331" y="153"/>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ea typeface="+mn-ea"/>
                <a:cs typeface="+mn-cs"/>
              </a:endParaRPr>
            </a:p>
          </p:txBody>
        </p:sp>
        <p:sp>
          <p:nvSpPr>
            <p:cNvPr id="42" name="Rounded Rectangle 121">
              <a:hlinkClick r:id="" action="ppaction://noaction"/>
              <a:extLst>
                <a:ext uri="{FF2B5EF4-FFF2-40B4-BE49-F238E27FC236}">
                  <a16:creationId xmlns:a16="http://schemas.microsoft.com/office/drawing/2014/main" id="{EBF07984-425A-4554-BB6E-1AF1A4753A8A}"/>
                </a:ext>
              </a:extLst>
            </p:cNvPr>
            <p:cNvSpPr/>
            <p:nvPr/>
          </p:nvSpPr>
          <p:spPr bwMode="gray">
            <a:xfrm>
              <a:off x="7703660" y="4034079"/>
              <a:ext cx="1097280" cy="457200"/>
            </a:xfrm>
            <a:prstGeom prst="roundRect">
              <a:avLst/>
            </a:prstGeom>
            <a:solidFill>
              <a:schemeClr val="accent3">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Calibri" panose="020F0502020204030204" pitchFamily="34" charset="0"/>
                  <a:cs typeface="+mn-cs"/>
                </a:rPr>
                <a:t>Wayfinding</a:t>
              </a:r>
            </a:p>
          </p:txBody>
        </p:sp>
      </p:grpSp>
      <p:sp>
        <p:nvSpPr>
          <p:cNvPr id="43" name="Rectangle 42">
            <a:extLst>
              <a:ext uri="{FF2B5EF4-FFF2-40B4-BE49-F238E27FC236}">
                <a16:creationId xmlns:a16="http://schemas.microsoft.com/office/drawing/2014/main" id="{717FB519-73B9-48F2-AEB3-046C87AB161D}"/>
              </a:ext>
            </a:extLst>
          </p:cNvPr>
          <p:cNvSpPr/>
          <p:nvPr/>
        </p:nvSpPr>
        <p:spPr>
          <a:xfrm>
            <a:off x="9028661" y="2768600"/>
            <a:ext cx="2560320" cy="2501522"/>
          </a:xfrm>
          <a:prstGeom prst="rect">
            <a:avLst/>
          </a:prstGeom>
          <a:solidFill>
            <a:schemeClr val="accent2">
              <a:lumMod val="20000"/>
              <a:lumOff val="8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44" name="Rectangle 3">
            <a:extLst>
              <a:ext uri="{FF2B5EF4-FFF2-40B4-BE49-F238E27FC236}">
                <a16:creationId xmlns:a16="http://schemas.microsoft.com/office/drawing/2014/main" id="{E2B2C6DA-89EE-49BE-B36C-608B833BE6AE}"/>
              </a:ext>
            </a:extLst>
          </p:cNvPr>
          <p:cNvSpPr>
            <a:spLocks/>
          </p:cNvSpPr>
          <p:nvPr/>
        </p:nvSpPr>
        <p:spPr bwMode="auto">
          <a:xfrm>
            <a:off x="9203828" y="2888288"/>
            <a:ext cx="2209986" cy="56692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0" cap="none" spc="0" normalizeH="0" baseline="0" noProof="0" dirty="0">
                <a:ln>
                  <a:noFill/>
                </a:ln>
                <a:solidFill>
                  <a:prstClr val="black"/>
                </a:solidFill>
                <a:effectLst/>
                <a:uLnTx/>
                <a:uFillTx/>
                <a:ea typeface="+mn-ea"/>
                <a:cs typeface="Frutiger Next Pro Medium"/>
                <a:sym typeface="Frutiger Next Pro Medium" charset="0"/>
              </a:rPr>
              <a:t>Enjoy Supplemental Arena Entertainment</a:t>
            </a:r>
          </a:p>
        </p:txBody>
      </p:sp>
      <p:sp>
        <p:nvSpPr>
          <p:cNvPr id="45" name="Rounded Rectangle 95">
            <a:hlinkClick r:id="" action="ppaction://noaction"/>
            <a:extLst>
              <a:ext uri="{FF2B5EF4-FFF2-40B4-BE49-F238E27FC236}">
                <a16:creationId xmlns:a16="http://schemas.microsoft.com/office/drawing/2014/main" id="{DC572504-D8F7-4EF0-8229-F8F7798059AB}"/>
              </a:ext>
            </a:extLst>
          </p:cNvPr>
          <p:cNvSpPr/>
          <p:nvPr/>
        </p:nvSpPr>
        <p:spPr bwMode="gray">
          <a:xfrm>
            <a:off x="9157594" y="3432234"/>
            <a:ext cx="1097280" cy="457200"/>
          </a:xfrm>
          <a:prstGeom prst="roundRect">
            <a:avLst/>
          </a:prstGeom>
          <a:solidFill>
            <a:schemeClr val="accent2">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Kalinga" panose="020B0502040204020203" pitchFamily="34" charset="0"/>
              </a:rPr>
              <a:t>Video Replay</a:t>
            </a:r>
          </a:p>
        </p:txBody>
      </p:sp>
      <p:sp>
        <p:nvSpPr>
          <p:cNvPr id="46" name="Oval 45">
            <a:extLst>
              <a:ext uri="{FF2B5EF4-FFF2-40B4-BE49-F238E27FC236}">
                <a16:creationId xmlns:a16="http://schemas.microsoft.com/office/drawing/2014/main" id="{27985F0D-78FF-4C19-A1A2-9ED8B67A8B43}"/>
              </a:ext>
            </a:extLst>
          </p:cNvPr>
          <p:cNvSpPr/>
          <p:nvPr/>
        </p:nvSpPr>
        <p:spPr>
          <a:xfrm>
            <a:off x="8864600" y="2820934"/>
            <a:ext cx="332022" cy="332022"/>
          </a:xfrm>
          <a:prstGeom prst="ellipse">
            <a:avLst/>
          </a:prstGeom>
          <a:noFill/>
          <a:ln w="9525">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47" name="Freeform 1018">
            <a:extLst>
              <a:ext uri="{FF2B5EF4-FFF2-40B4-BE49-F238E27FC236}">
                <a16:creationId xmlns:a16="http://schemas.microsoft.com/office/drawing/2014/main" id="{212191E5-F116-436E-9305-7E3C089338E1}"/>
              </a:ext>
            </a:extLst>
          </p:cNvPr>
          <p:cNvSpPr>
            <a:spLocks noChangeAspect="1" noEditPoints="1"/>
          </p:cNvSpPr>
          <p:nvPr/>
        </p:nvSpPr>
        <p:spPr bwMode="auto">
          <a:xfrm>
            <a:off x="8893451" y="2849785"/>
            <a:ext cx="274320" cy="274320"/>
          </a:xfrm>
          <a:custGeom>
            <a:avLst/>
            <a:gdLst>
              <a:gd name="T0" fmla="*/ 369 w 512"/>
              <a:gd name="T1" fmla="*/ 277 h 512"/>
              <a:gd name="T2" fmla="*/ 299 w 512"/>
              <a:gd name="T3" fmla="*/ 202 h 512"/>
              <a:gd name="T4" fmla="*/ 328 w 512"/>
              <a:gd name="T5" fmla="*/ 128 h 512"/>
              <a:gd name="T6" fmla="*/ 375 w 512"/>
              <a:gd name="T7" fmla="*/ 191 h 512"/>
              <a:gd name="T8" fmla="*/ 328 w 512"/>
              <a:gd name="T9" fmla="*/ 373 h 512"/>
              <a:gd name="T10" fmla="*/ 352 w 512"/>
              <a:gd name="T11" fmla="*/ 355 h 512"/>
              <a:gd name="T12" fmla="*/ 313 w 512"/>
              <a:gd name="T13" fmla="*/ 326 h 512"/>
              <a:gd name="T14" fmla="*/ 200 w 512"/>
              <a:gd name="T15" fmla="*/ 326 h 512"/>
              <a:gd name="T16" fmla="*/ 161 w 512"/>
              <a:gd name="T17" fmla="*/ 355 h 512"/>
              <a:gd name="T18" fmla="*/ 185 w 512"/>
              <a:gd name="T19" fmla="*/ 373 h 512"/>
              <a:gd name="T20" fmla="*/ 203 w 512"/>
              <a:gd name="T21" fmla="*/ 349 h 512"/>
              <a:gd name="T22" fmla="*/ 185 w 512"/>
              <a:gd name="T23" fmla="*/ 128 h 512"/>
              <a:gd name="T24" fmla="*/ 138 w 512"/>
              <a:gd name="T25" fmla="*/ 191 h 512"/>
              <a:gd name="T26" fmla="*/ 201 w 512"/>
              <a:gd name="T27" fmla="*/ 263 h 512"/>
              <a:gd name="T28" fmla="*/ 202 w 512"/>
              <a:gd name="T29" fmla="*/ 135 h 512"/>
              <a:gd name="T30" fmla="*/ 512 w 512"/>
              <a:gd name="T31" fmla="*/ 256 h 512"/>
              <a:gd name="T32" fmla="*/ 0 w 512"/>
              <a:gd name="T33" fmla="*/ 256 h 512"/>
              <a:gd name="T34" fmla="*/ 512 w 512"/>
              <a:gd name="T35" fmla="*/ 256 h 512"/>
              <a:gd name="T36" fmla="*/ 219 w 512"/>
              <a:gd name="T37" fmla="*/ 314 h 512"/>
              <a:gd name="T38" fmla="*/ 138 w 512"/>
              <a:gd name="T39" fmla="*/ 329 h 512"/>
              <a:gd name="T40" fmla="*/ 139 w 512"/>
              <a:gd name="T41" fmla="*/ 358 h 512"/>
              <a:gd name="T42" fmla="*/ 182 w 512"/>
              <a:gd name="T43" fmla="*/ 394 h 512"/>
              <a:gd name="T44" fmla="*/ 216 w 512"/>
              <a:gd name="T45" fmla="*/ 377 h 512"/>
              <a:gd name="T46" fmla="*/ 218 w 512"/>
              <a:gd name="T47" fmla="*/ 120 h 512"/>
              <a:gd name="T48" fmla="*/ 185 w 512"/>
              <a:gd name="T49" fmla="*/ 106 h 512"/>
              <a:gd name="T50" fmla="*/ 116 w 512"/>
              <a:gd name="T51" fmla="*/ 190 h 512"/>
              <a:gd name="T52" fmla="*/ 131 w 512"/>
              <a:gd name="T53" fmla="*/ 301 h 512"/>
              <a:gd name="T54" fmla="*/ 140 w 512"/>
              <a:gd name="T55" fmla="*/ 301 h 512"/>
              <a:gd name="T56" fmla="*/ 220 w 512"/>
              <a:gd name="T57" fmla="*/ 276 h 512"/>
              <a:gd name="T58" fmla="*/ 235 w 512"/>
              <a:gd name="T59" fmla="*/ 206 h 512"/>
              <a:gd name="T60" fmla="*/ 376 w 512"/>
              <a:gd name="T61" fmla="*/ 337 h 512"/>
              <a:gd name="T62" fmla="*/ 304 w 512"/>
              <a:gd name="T63" fmla="*/ 305 h 512"/>
              <a:gd name="T64" fmla="*/ 289 w 512"/>
              <a:gd name="T65" fmla="*/ 346 h 512"/>
              <a:gd name="T66" fmla="*/ 331 w 512"/>
              <a:gd name="T67" fmla="*/ 394 h 512"/>
              <a:gd name="T68" fmla="*/ 373 w 512"/>
              <a:gd name="T69" fmla="*/ 358 h 512"/>
              <a:gd name="T70" fmla="*/ 396 w 512"/>
              <a:gd name="T71" fmla="*/ 190 h 512"/>
              <a:gd name="T72" fmla="*/ 328 w 512"/>
              <a:gd name="T73" fmla="*/ 106 h 512"/>
              <a:gd name="T74" fmla="*/ 294 w 512"/>
              <a:gd name="T75" fmla="*/ 120 h 512"/>
              <a:gd name="T76" fmla="*/ 278 w 512"/>
              <a:gd name="T77" fmla="*/ 207 h 512"/>
              <a:gd name="T78" fmla="*/ 304 w 512"/>
              <a:gd name="T79" fmla="*/ 284 h 512"/>
              <a:gd name="T80" fmla="*/ 377 w 512"/>
              <a:gd name="T81" fmla="*/ 302 h 512"/>
              <a:gd name="T82" fmla="*/ 387 w 512"/>
              <a:gd name="T83" fmla="*/ 2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375" y="191"/>
                </a:moveTo>
                <a:cubicBezTo>
                  <a:pt x="375" y="197"/>
                  <a:pt x="374" y="247"/>
                  <a:pt x="369" y="277"/>
                </a:cubicBezTo>
                <a:cubicBezTo>
                  <a:pt x="355" y="272"/>
                  <a:pt x="331" y="265"/>
                  <a:pt x="312" y="263"/>
                </a:cubicBezTo>
                <a:cubicBezTo>
                  <a:pt x="309" y="247"/>
                  <a:pt x="301" y="214"/>
                  <a:pt x="299" y="202"/>
                </a:cubicBezTo>
                <a:cubicBezTo>
                  <a:pt x="297" y="188"/>
                  <a:pt x="296" y="151"/>
                  <a:pt x="310" y="135"/>
                </a:cubicBezTo>
                <a:cubicBezTo>
                  <a:pt x="315" y="130"/>
                  <a:pt x="320" y="128"/>
                  <a:pt x="328" y="128"/>
                </a:cubicBezTo>
                <a:cubicBezTo>
                  <a:pt x="328" y="128"/>
                  <a:pt x="328" y="128"/>
                  <a:pt x="328" y="128"/>
                </a:cubicBezTo>
                <a:cubicBezTo>
                  <a:pt x="366" y="128"/>
                  <a:pt x="374" y="184"/>
                  <a:pt x="375" y="191"/>
                </a:cubicBezTo>
                <a:close/>
                <a:moveTo>
                  <a:pt x="310" y="349"/>
                </a:moveTo>
                <a:cubicBezTo>
                  <a:pt x="308" y="360"/>
                  <a:pt x="316" y="371"/>
                  <a:pt x="328" y="373"/>
                </a:cubicBezTo>
                <a:cubicBezTo>
                  <a:pt x="334" y="374"/>
                  <a:pt x="339" y="372"/>
                  <a:pt x="344" y="369"/>
                </a:cubicBezTo>
                <a:cubicBezTo>
                  <a:pt x="348" y="365"/>
                  <a:pt x="351" y="360"/>
                  <a:pt x="352" y="355"/>
                </a:cubicBezTo>
                <a:cubicBezTo>
                  <a:pt x="354" y="338"/>
                  <a:pt x="354" y="338"/>
                  <a:pt x="354" y="338"/>
                </a:cubicBezTo>
                <a:cubicBezTo>
                  <a:pt x="347" y="331"/>
                  <a:pt x="333" y="327"/>
                  <a:pt x="313" y="326"/>
                </a:cubicBezTo>
                <a:lnTo>
                  <a:pt x="310" y="349"/>
                </a:lnTo>
                <a:close/>
                <a:moveTo>
                  <a:pt x="200" y="326"/>
                </a:moveTo>
                <a:cubicBezTo>
                  <a:pt x="180" y="327"/>
                  <a:pt x="166" y="331"/>
                  <a:pt x="158" y="338"/>
                </a:cubicBezTo>
                <a:cubicBezTo>
                  <a:pt x="161" y="355"/>
                  <a:pt x="161" y="355"/>
                  <a:pt x="161" y="355"/>
                </a:cubicBezTo>
                <a:cubicBezTo>
                  <a:pt x="161" y="360"/>
                  <a:pt x="164" y="365"/>
                  <a:pt x="169" y="369"/>
                </a:cubicBezTo>
                <a:cubicBezTo>
                  <a:pt x="173" y="372"/>
                  <a:pt x="179" y="374"/>
                  <a:pt x="185" y="373"/>
                </a:cubicBezTo>
                <a:cubicBezTo>
                  <a:pt x="190" y="372"/>
                  <a:pt x="195" y="369"/>
                  <a:pt x="199" y="364"/>
                </a:cubicBezTo>
                <a:cubicBezTo>
                  <a:pt x="202" y="360"/>
                  <a:pt x="204" y="354"/>
                  <a:pt x="203" y="349"/>
                </a:cubicBezTo>
                <a:lnTo>
                  <a:pt x="200" y="326"/>
                </a:lnTo>
                <a:close/>
                <a:moveTo>
                  <a:pt x="185" y="128"/>
                </a:moveTo>
                <a:cubicBezTo>
                  <a:pt x="185" y="128"/>
                  <a:pt x="185" y="128"/>
                  <a:pt x="185" y="128"/>
                </a:cubicBezTo>
                <a:cubicBezTo>
                  <a:pt x="147" y="128"/>
                  <a:pt x="138" y="184"/>
                  <a:pt x="138" y="191"/>
                </a:cubicBezTo>
                <a:cubicBezTo>
                  <a:pt x="138" y="197"/>
                  <a:pt x="138" y="248"/>
                  <a:pt x="144" y="277"/>
                </a:cubicBezTo>
                <a:cubicBezTo>
                  <a:pt x="158" y="272"/>
                  <a:pt x="182" y="265"/>
                  <a:pt x="201" y="263"/>
                </a:cubicBezTo>
                <a:cubicBezTo>
                  <a:pt x="204" y="248"/>
                  <a:pt x="211" y="214"/>
                  <a:pt x="214" y="202"/>
                </a:cubicBezTo>
                <a:cubicBezTo>
                  <a:pt x="216" y="188"/>
                  <a:pt x="217" y="151"/>
                  <a:pt x="202" y="135"/>
                </a:cubicBezTo>
                <a:cubicBezTo>
                  <a:pt x="198" y="130"/>
                  <a:pt x="192" y="128"/>
                  <a:pt x="185" y="12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24" y="346"/>
                </a:moveTo>
                <a:cubicBezTo>
                  <a:pt x="219" y="314"/>
                  <a:pt x="219" y="314"/>
                  <a:pt x="219" y="314"/>
                </a:cubicBezTo>
                <a:cubicBezTo>
                  <a:pt x="219" y="309"/>
                  <a:pt x="214" y="305"/>
                  <a:pt x="209" y="305"/>
                </a:cubicBezTo>
                <a:cubicBezTo>
                  <a:pt x="174" y="305"/>
                  <a:pt x="150" y="312"/>
                  <a:pt x="138" y="329"/>
                </a:cubicBezTo>
                <a:cubicBezTo>
                  <a:pt x="137" y="331"/>
                  <a:pt x="136" y="334"/>
                  <a:pt x="136" y="337"/>
                </a:cubicBezTo>
                <a:cubicBezTo>
                  <a:pt x="139" y="358"/>
                  <a:pt x="139" y="358"/>
                  <a:pt x="139" y="358"/>
                </a:cubicBezTo>
                <a:cubicBezTo>
                  <a:pt x="141" y="369"/>
                  <a:pt x="147" y="379"/>
                  <a:pt x="156" y="386"/>
                </a:cubicBezTo>
                <a:cubicBezTo>
                  <a:pt x="163" y="391"/>
                  <a:pt x="172" y="394"/>
                  <a:pt x="182" y="394"/>
                </a:cubicBezTo>
                <a:cubicBezTo>
                  <a:pt x="184" y="394"/>
                  <a:pt x="186" y="394"/>
                  <a:pt x="188" y="394"/>
                </a:cubicBezTo>
                <a:cubicBezTo>
                  <a:pt x="199" y="392"/>
                  <a:pt x="209" y="386"/>
                  <a:pt x="216" y="377"/>
                </a:cubicBezTo>
                <a:cubicBezTo>
                  <a:pt x="223" y="368"/>
                  <a:pt x="225" y="357"/>
                  <a:pt x="224" y="346"/>
                </a:cubicBezTo>
                <a:close/>
                <a:moveTo>
                  <a:pt x="218" y="120"/>
                </a:moveTo>
                <a:cubicBezTo>
                  <a:pt x="210" y="111"/>
                  <a:pt x="198" y="106"/>
                  <a:pt x="185" y="106"/>
                </a:cubicBezTo>
                <a:cubicBezTo>
                  <a:pt x="185" y="106"/>
                  <a:pt x="185" y="106"/>
                  <a:pt x="185" y="106"/>
                </a:cubicBezTo>
                <a:cubicBezTo>
                  <a:pt x="126" y="106"/>
                  <a:pt x="117" y="185"/>
                  <a:pt x="116" y="189"/>
                </a:cubicBezTo>
                <a:cubicBezTo>
                  <a:pt x="116" y="189"/>
                  <a:pt x="116" y="189"/>
                  <a:pt x="116" y="190"/>
                </a:cubicBezTo>
                <a:cubicBezTo>
                  <a:pt x="116" y="193"/>
                  <a:pt x="117" y="265"/>
                  <a:pt x="125" y="294"/>
                </a:cubicBezTo>
                <a:cubicBezTo>
                  <a:pt x="126" y="297"/>
                  <a:pt x="128" y="300"/>
                  <a:pt x="131" y="301"/>
                </a:cubicBezTo>
                <a:cubicBezTo>
                  <a:pt x="133" y="302"/>
                  <a:pt x="134" y="302"/>
                  <a:pt x="136" y="302"/>
                </a:cubicBezTo>
                <a:cubicBezTo>
                  <a:pt x="137" y="302"/>
                  <a:pt x="138" y="302"/>
                  <a:pt x="140" y="301"/>
                </a:cubicBezTo>
                <a:cubicBezTo>
                  <a:pt x="153" y="296"/>
                  <a:pt x="191" y="283"/>
                  <a:pt x="208" y="284"/>
                </a:cubicBezTo>
                <a:cubicBezTo>
                  <a:pt x="214" y="285"/>
                  <a:pt x="218" y="281"/>
                  <a:pt x="220" y="276"/>
                </a:cubicBezTo>
                <a:cubicBezTo>
                  <a:pt x="220" y="276"/>
                  <a:pt x="231" y="221"/>
                  <a:pt x="235" y="207"/>
                </a:cubicBezTo>
                <a:cubicBezTo>
                  <a:pt x="235" y="206"/>
                  <a:pt x="235" y="206"/>
                  <a:pt x="235" y="206"/>
                </a:cubicBezTo>
                <a:cubicBezTo>
                  <a:pt x="236" y="200"/>
                  <a:pt x="242" y="147"/>
                  <a:pt x="218" y="120"/>
                </a:cubicBezTo>
                <a:close/>
                <a:moveTo>
                  <a:pt x="376" y="337"/>
                </a:moveTo>
                <a:cubicBezTo>
                  <a:pt x="377" y="334"/>
                  <a:pt x="376" y="331"/>
                  <a:pt x="374" y="329"/>
                </a:cubicBezTo>
                <a:cubicBezTo>
                  <a:pt x="362" y="312"/>
                  <a:pt x="339" y="305"/>
                  <a:pt x="304" y="305"/>
                </a:cubicBezTo>
                <a:cubicBezTo>
                  <a:pt x="298" y="305"/>
                  <a:pt x="294" y="309"/>
                  <a:pt x="293" y="314"/>
                </a:cubicBezTo>
                <a:cubicBezTo>
                  <a:pt x="289" y="346"/>
                  <a:pt x="289" y="346"/>
                  <a:pt x="289" y="346"/>
                </a:cubicBezTo>
                <a:cubicBezTo>
                  <a:pt x="285" y="369"/>
                  <a:pt x="302" y="391"/>
                  <a:pt x="325" y="394"/>
                </a:cubicBezTo>
                <a:cubicBezTo>
                  <a:pt x="327" y="394"/>
                  <a:pt x="329" y="394"/>
                  <a:pt x="331" y="394"/>
                </a:cubicBezTo>
                <a:cubicBezTo>
                  <a:pt x="340" y="394"/>
                  <a:pt x="349" y="391"/>
                  <a:pt x="357" y="386"/>
                </a:cubicBezTo>
                <a:cubicBezTo>
                  <a:pt x="366" y="379"/>
                  <a:pt x="372" y="369"/>
                  <a:pt x="373" y="358"/>
                </a:cubicBezTo>
                <a:lnTo>
                  <a:pt x="376" y="337"/>
                </a:lnTo>
                <a:close/>
                <a:moveTo>
                  <a:pt x="396" y="190"/>
                </a:moveTo>
                <a:cubicBezTo>
                  <a:pt x="396" y="189"/>
                  <a:pt x="396" y="189"/>
                  <a:pt x="396" y="189"/>
                </a:cubicBezTo>
                <a:cubicBezTo>
                  <a:pt x="396" y="185"/>
                  <a:pt x="387" y="106"/>
                  <a:pt x="328" y="106"/>
                </a:cubicBezTo>
                <a:cubicBezTo>
                  <a:pt x="328" y="106"/>
                  <a:pt x="328" y="106"/>
                  <a:pt x="328" y="106"/>
                </a:cubicBezTo>
                <a:cubicBezTo>
                  <a:pt x="314" y="106"/>
                  <a:pt x="303" y="111"/>
                  <a:pt x="294" y="120"/>
                </a:cubicBezTo>
                <a:cubicBezTo>
                  <a:pt x="271" y="147"/>
                  <a:pt x="277" y="199"/>
                  <a:pt x="277" y="205"/>
                </a:cubicBezTo>
                <a:cubicBezTo>
                  <a:pt x="277" y="206"/>
                  <a:pt x="278" y="206"/>
                  <a:pt x="278" y="207"/>
                </a:cubicBezTo>
                <a:cubicBezTo>
                  <a:pt x="281" y="221"/>
                  <a:pt x="293" y="275"/>
                  <a:pt x="293" y="276"/>
                </a:cubicBezTo>
                <a:cubicBezTo>
                  <a:pt x="294" y="281"/>
                  <a:pt x="299" y="285"/>
                  <a:pt x="304" y="284"/>
                </a:cubicBezTo>
                <a:cubicBezTo>
                  <a:pt x="322" y="283"/>
                  <a:pt x="360" y="296"/>
                  <a:pt x="373" y="301"/>
                </a:cubicBezTo>
                <a:cubicBezTo>
                  <a:pt x="374" y="302"/>
                  <a:pt x="376" y="302"/>
                  <a:pt x="377" y="302"/>
                </a:cubicBezTo>
                <a:cubicBezTo>
                  <a:pt x="379" y="302"/>
                  <a:pt x="380" y="302"/>
                  <a:pt x="382" y="301"/>
                </a:cubicBezTo>
                <a:cubicBezTo>
                  <a:pt x="384" y="300"/>
                  <a:pt x="386" y="297"/>
                  <a:pt x="387" y="295"/>
                </a:cubicBezTo>
                <a:cubicBezTo>
                  <a:pt x="396" y="265"/>
                  <a:pt x="396" y="193"/>
                  <a:pt x="396" y="19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ea typeface="+mn-ea"/>
              <a:cs typeface="+mn-cs"/>
            </a:endParaRPr>
          </a:p>
        </p:txBody>
      </p:sp>
      <p:sp>
        <p:nvSpPr>
          <p:cNvPr id="48" name="Rounded Rectangle 118">
            <a:hlinkClick r:id="" action="ppaction://noaction"/>
            <a:extLst>
              <a:ext uri="{FF2B5EF4-FFF2-40B4-BE49-F238E27FC236}">
                <a16:creationId xmlns:a16="http://schemas.microsoft.com/office/drawing/2014/main" id="{9DE53C18-E66C-495B-A9BD-DD6E9D17FB68}"/>
              </a:ext>
            </a:extLst>
          </p:cNvPr>
          <p:cNvSpPr/>
          <p:nvPr/>
        </p:nvSpPr>
        <p:spPr bwMode="gray">
          <a:xfrm>
            <a:off x="10355189" y="3432234"/>
            <a:ext cx="1097280" cy="457200"/>
          </a:xfrm>
          <a:prstGeom prst="roundRect">
            <a:avLst/>
          </a:prstGeom>
          <a:solidFill>
            <a:schemeClr val="accent2">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Kalinga" panose="020B0502040204020203" pitchFamily="34" charset="0"/>
              </a:rPr>
              <a:t>Video Replay</a:t>
            </a:r>
          </a:p>
        </p:txBody>
      </p:sp>
      <p:sp>
        <p:nvSpPr>
          <p:cNvPr id="49" name="Rounded Rectangle 119">
            <a:hlinkClick r:id="" action="ppaction://noaction"/>
            <a:extLst>
              <a:ext uri="{FF2B5EF4-FFF2-40B4-BE49-F238E27FC236}">
                <a16:creationId xmlns:a16="http://schemas.microsoft.com/office/drawing/2014/main" id="{7DCCC3C9-295C-41DD-9630-881AF8494BFF}"/>
              </a:ext>
            </a:extLst>
          </p:cNvPr>
          <p:cNvSpPr/>
          <p:nvPr/>
        </p:nvSpPr>
        <p:spPr bwMode="gray">
          <a:xfrm>
            <a:off x="10383807" y="3432234"/>
            <a:ext cx="1097280" cy="457200"/>
          </a:xfrm>
          <a:prstGeom prst="roundRect">
            <a:avLst/>
          </a:prstGeom>
          <a:solidFill>
            <a:schemeClr val="accent2">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Kalinga" panose="020B0502040204020203" pitchFamily="34" charset="0"/>
              </a:rPr>
              <a:t>Peer to Peer Interaction</a:t>
            </a:r>
          </a:p>
        </p:txBody>
      </p:sp>
      <p:sp>
        <p:nvSpPr>
          <p:cNvPr id="50" name="Rounded Rectangle 120">
            <a:hlinkClick r:id="" action="ppaction://noaction"/>
            <a:extLst>
              <a:ext uri="{FF2B5EF4-FFF2-40B4-BE49-F238E27FC236}">
                <a16:creationId xmlns:a16="http://schemas.microsoft.com/office/drawing/2014/main" id="{CA2A8ECB-6DF5-451D-AC4A-878D43DB0AC5}"/>
              </a:ext>
            </a:extLst>
          </p:cNvPr>
          <p:cNvSpPr/>
          <p:nvPr/>
        </p:nvSpPr>
        <p:spPr bwMode="gray">
          <a:xfrm>
            <a:off x="9157594" y="4060551"/>
            <a:ext cx="1097280" cy="457200"/>
          </a:xfrm>
          <a:prstGeom prst="roundRect">
            <a:avLst/>
          </a:prstGeom>
          <a:solidFill>
            <a:schemeClr val="accent2">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Kalinga" panose="020B0502040204020203" pitchFamily="34" charset="0"/>
              </a:rPr>
              <a:t>AR/VR</a:t>
            </a:r>
          </a:p>
        </p:txBody>
      </p:sp>
      <p:sp>
        <p:nvSpPr>
          <p:cNvPr id="51" name="Rounded Rectangle 47">
            <a:hlinkClick r:id="" action="ppaction://noaction"/>
            <a:extLst>
              <a:ext uri="{FF2B5EF4-FFF2-40B4-BE49-F238E27FC236}">
                <a16:creationId xmlns:a16="http://schemas.microsoft.com/office/drawing/2014/main" id="{26970868-2489-4154-BCEB-F096FE16381A}"/>
              </a:ext>
            </a:extLst>
          </p:cNvPr>
          <p:cNvSpPr/>
          <p:nvPr/>
        </p:nvSpPr>
        <p:spPr bwMode="gray">
          <a:xfrm>
            <a:off x="10363084" y="4053665"/>
            <a:ext cx="1097280" cy="457200"/>
          </a:xfrm>
          <a:prstGeom prst="roundRect">
            <a:avLst/>
          </a:prstGeom>
          <a:solidFill>
            <a:schemeClr val="accent2">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Kalinga" panose="020B0502040204020203" pitchFamily="34" charset="0"/>
              </a:rPr>
              <a:t>“Alexa” Assistance</a:t>
            </a:r>
          </a:p>
        </p:txBody>
      </p:sp>
      <p:sp>
        <p:nvSpPr>
          <p:cNvPr id="52" name="Oval 51">
            <a:extLst>
              <a:ext uri="{FF2B5EF4-FFF2-40B4-BE49-F238E27FC236}">
                <a16:creationId xmlns:a16="http://schemas.microsoft.com/office/drawing/2014/main" id="{BB00F764-D55A-4F8F-89FC-82759CC05707}"/>
              </a:ext>
            </a:extLst>
          </p:cNvPr>
          <p:cNvSpPr/>
          <p:nvPr/>
        </p:nvSpPr>
        <p:spPr>
          <a:xfrm>
            <a:off x="6193092" y="2798075"/>
            <a:ext cx="332022" cy="332022"/>
          </a:xfrm>
          <a:prstGeom prst="ellipse">
            <a:avLst/>
          </a:prstGeom>
          <a:noFill/>
          <a:ln w="9525">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53" name="Freeform 159">
            <a:extLst>
              <a:ext uri="{FF2B5EF4-FFF2-40B4-BE49-F238E27FC236}">
                <a16:creationId xmlns:a16="http://schemas.microsoft.com/office/drawing/2014/main" id="{F1B04048-A778-4166-8BC3-353C9394AC24}"/>
              </a:ext>
            </a:extLst>
          </p:cNvPr>
          <p:cNvSpPr>
            <a:spLocks noChangeAspect="1" noEditPoints="1"/>
          </p:cNvSpPr>
          <p:nvPr/>
        </p:nvSpPr>
        <p:spPr bwMode="auto">
          <a:xfrm>
            <a:off x="6231882" y="2826926"/>
            <a:ext cx="274320" cy="274320"/>
          </a:xfrm>
          <a:custGeom>
            <a:avLst/>
            <a:gdLst>
              <a:gd name="T0" fmla="*/ 288 w 512"/>
              <a:gd name="T1" fmla="*/ 220 h 512"/>
              <a:gd name="T2" fmla="*/ 320 w 512"/>
              <a:gd name="T3" fmla="*/ 129 h 512"/>
              <a:gd name="T4" fmla="*/ 320 w 512"/>
              <a:gd name="T5" fmla="*/ 394 h 512"/>
              <a:gd name="T6" fmla="*/ 299 w 512"/>
              <a:gd name="T7" fmla="*/ 384 h 512"/>
              <a:gd name="T8" fmla="*/ 309 w 512"/>
              <a:gd name="T9" fmla="*/ 246 h 512"/>
              <a:gd name="T10" fmla="*/ 306 w 512"/>
              <a:gd name="T11" fmla="*/ 238 h 512"/>
              <a:gd name="T12" fmla="*/ 288 w 512"/>
              <a:gd name="T13" fmla="*/ 220 h 512"/>
              <a:gd name="T14" fmla="*/ 512 w 512"/>
              <a:gd name="T15" fmla="*/ 256 h 512"/>
              <a:gd name="T16" fmla="*/ 256 w 512"/>
              <a:gd name="T17" fmla="*/ 512 h 512"/>
              <a:gd name="T18" fmla="*/ 0 w 512"/>
              <a:gd name="T19" fmla="*/ 256 h 512"/>
              <a:gd name="T20" fmla="*/ 256 w 512"/>
              <a:gd name="T21" fmla="*/ 0 h 512"/>
              <a:gd name="T22" fmla="*/ 512 w 512"/>
              <a:gd name="T23" fmla="*/ 256 h 512"/>
              <a:gd name="T24" fmla="*/ 181 w 512"/>
              <a:gd name="T25" fmla="*/ 160 h 512"/>
              <a:gd name="T26" fmla="*/ 192 w 512"/>
              <a:gd name="T27" fmla="*/ 171 h 512"/>
              <a:gd name="T28" fmla="*/ 203 w 512"/>
              <a:gd name="T29" fmla="*/ 160 h 512"/>
              <a:gd name="T30" fmla="*/ 203 w 512"/>
              <a:gd name="T31" fmla="*/ 107 h 512"/>
              <a:gd name="T32" fmla="*/ 192 w 512"/>
              <a:gd name="T33" fmla="*/ 96 h 512"/>
              <a:gd name="T34" fmla="*/ 181 w 512"/>
              <a:gd name="T35" fmla="*/ 107 h 512"/>
              <a:gd name="T36" fmla="*/ 181 w 512"/>
              <a:gd name="T37" fmla="*/ 160 h 512"/>
              <a:gd name="T38" fmla="*/ 245 w 512"/>
              <a:gd name="T39" fmla="*/ 107 h 512"/>
              <a:gd name="T40" fmla="*/ 235 w 512"/>
              <a:gd name="T41" fmla="*/ 96 h 512"/>
              <a:gd name="T42" fmla="*/ 224 w 512"/>
              <a:gd name="T43" fmla="*/ 107 h 512"/>
              <a:gd name="T44" fmla="*/ 224 w 512"/>
              <a:gd name="T45" fmla="*/ 171 h 512"/>
              <a:gd name="T46" fmla="*/ 213 w 512"/>
              <a:gd name="T47" fmla="*/ 182 h 512"/>
              <a:gd name="T48" fmla="*/ 203 w 512"/>
              <a:gd name="T49" fmla="*/ 192 h 512"/>
              <a:gd name="T50" fmla="*/ 203 w 512"/>
              <a:gd name="T51" fmla="*/ 384 h 512"/>
              <a:gd name="T52" fmla="*/ 192 w 512"/>
              <a:gd name="T53" fmla="*/ 395 h 512"/>
              <a:gd name="T54" fmla="*/ 181 w 512"/>
              <a:gd name="T55" fmla="*/ 384 h 512"/>
              <a:gd name="T56" fmla="*/ 181 w 512"/>
              <a:gd name="T57" fmla="*/ 192 h 512"/>
              <a:gd name="T58" fmla="*/ 171 w 512"/>
              <a:gd name="T59" fmla="*/ 182 h 512"/>
              <a:gd name="T60" fmla="*/ 160 w 512"/>
              <a:gd name="T61" fmla="*/ 171 h 512"/>
              <a:gd name="T62" fmla="*/ 160 w 512"/>
              <a:gd name="T63" fmla="*/ 107 h 512"/>
              <a:gd name="T64" fmla="*/ 149 w 512"/>
              <a:gd name="T65" fmla="*/ 96 h 512"/>
              <a:gd name="T66" fmla="*/ 139 w 512"/>
              <a:gd name="T67" fmla="*/ 107 h 512"/>
              <a:gd name="T68" fmla="*/ 139 w 512"/>
              <a:gd name="T69" fmla="*/ 171 h 512"/>
              <a:gd name="T70" fmla="*/ 160 w 512"/>
              <a:gd name="T71" fmla="*/ 201 h 512"/>
              <a:gd name="T72" fmla="*/ 160 w 512"/>
              <a:gd name="T73" fmla="*/ 385 h 512"/>
              <a:gd name="T74" fmla="*/ 192 w 512"/>
              <a:gd name="T75" fmla="*/ 416 h 512"/>
              <a:gd name="T76" fmla="*/ 192 w 512"/>
              <a:gd name="T77" fmla="*/ 416 h 512"/>
              <a:gd name="T78" fmla="*/ 192 w 512"/>
              <a:gd name="T79" fmla="*/ 416 h 512"/>
              <a:gd name="T80" fmla="*/ 224 w 512"/>
              <a:gd name="T81" fmla="*/ 384 h 512"/>
              <a:gd name="T82" fmla="*/ 224 w 512"/>
              <a:gd name="T83" fmla="*/ 201 h 512"/>
              <a:gd name="T84" fmla="*/ 245 w 512"/>
              <a:gd name="T85" fmla="*/ 171 h 512"/>
              <a:gd name="T86" fmla="*/ 245 w 512"/>
              <a:gd name="T87" fmla="*/ 107 h 512"/>
              <a:gd name="T88" fmla="*/ 341 w 512"/>
              <a:gd name="T89" fmla="*/ 107 h 512"/>
              <a:gd name="T90" fmla="*/ 336 w 512"/>
              <a:gd name="T91" fmla="*/ 98 h 512"/>
              <a:gd name="T92" fmla="*/ 326 w 512"/>
              <a:gd name="T93" fmla="*/ 98 h 512"/>
              <a:gd name="T94" fmla="*/ 267 w 512"/>
              <a:gd name="T95" fmla="*/ 224 h 512"/>
              <a:gd name="T96" fmla="*/ 270 w 512"/>
              <a:gd name="T97" fmla="*/ 232 h 512"/>
              <a:gd name="T98" fmla="*/ 288 w 512"/>
              <a:gd name="T99" fmla="*/ 250 h 512"/>
              <a:gd name="T100" fmla="*/ 277 w 512"/>
              <a:gd name="T101" fmla="*/ 384 h 512"/>
              <a:gd name="T102" fmla="*/ 331 w 512"/>
              <a:gd name="T103" fmla="*/ 416 h 512"/>
              <a:gd name="T104" fmla="*/ 341 w 512"/>
              <a:gd name="T105" fmla="*/ 406 h 512"/>
              <a:gd name="T106" fmla="*/ 341 w 512"/>
              <a:gd name="T107" fmla="*/ 10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88" y="220"/>
                </a:moveTo>
                <a:cubicBezTo>
                  <a:pt x="289" y="172"/>
                  <a:pt x="307" y="144"/>
                  <a:pt x="320" y="129"/>
                </a:cubicBezTo>
                <a:cubicBezTo>
                  <a:pt x="320" y="394"/>
                  <a:pt x="320" y="394"/>
                  <a:pt x="320" y="394"/>
                </a:cubicBezTo>
                <a:cubicBezTo>
                  <a:pt x="305" y="393"/>
                  <a:pt x="299" y="387"/>
                  <a:pt x="299" y="384"/>
                </a:cubicBezTo>
                <a:cubicBezTo>
                  <a:pt x="309" y="246"/>
                  <a:pt x="309" y="246"/>
                  <a:pt x="309" y="246"/>
                </a:cubicBezTo>
                <a:cubicBezTo>
                  <a:pt x="310" y="243"/>
                  <a:pt x="308" y="240"/>
                  <a:pt x="306" y="238"/>
                </a:cubicBezTo>
                <a:lnTo>
                  <a:pt x="288" y="220"/>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181" y="160"/>
                </a:moveTo>
                <a:cubicBezTo>
                  <a:pt x="181" y="166"/>
                  <a:pt x="186" y="171"/>
                  <a:pt x="192" y="171"/>
                </a:cubicBezTo>
                <a:cubicBezTo>
                  <a:pt x="198" y="171"/>
                  <a:pt x="203" y="166"/>
                  <a:pt x="203" y="160"/>
                </a:cubicBezTo>
                <a:cubicBezTo>
                  <a:pt x="203" y="107"/>
                  <a:pt x="203" y="107"/>
                  <a:pt x="203" y="107"/>
                </a:cubicBezTo>
                <a:cubicBezTo>
                  <a:pt x="203" y="101"/>
                  <a:pt x="198" y="96"/>
                  <a:pt x="192" y="96"/>
                </a:cubicBezTo>
                <a:cubicBezTo>
                  <a:pt x="186" y="96"/>
                  <a:pt x="181" y="101"/>
                  <a:pt x="181" y="107"/>
                </a:cubicBezTo>
                <a:lnTo>
                  <a:pt x="181" y="160"/>
                </a:lnTo>
                <a:close/>
                <a:moveTo>
                  <a:pt x="245" y="107"/>
                </a:moveTo>
                <a:cubicBezTo>
                  <a:pt x="245" y="101"/>
                  <a:pt x="241" y="96"/>
                  <a:pt x="235" y="96"/>
                </a:cubicBezTo>
                <a:cubicBezTo>
                  <a:pt x="229" y="96"/>
                  <a:pt x="224" y="101"/>
                  <a:pt x="224" y="107"/>
                </a:cubicBezTo>
                <a:cubicBezTo>
                  <a:pt x="224" y="171"/>
                  <a:pt x="224" y="171"/>
                  <a:pt x="224" y="171"/>
                </a:cubicBezTo>
                <a:cubicBezTo>
                  <a:pt x="224" y="176"/>
                  <a:pt x="222" y="182"/>
                  <a:pt x="213" y="182"/>
                </a:cubicBezTo>
                <a:cubicBezTo>
                  <a:pt x="207" y="182"/>
                  <a:pt x="203" y="186"/>
                  <a:pt x="203" y="192"/>
                </a:cubicBezTo>
                <a:cubicBezTo>
                  <a:pt x="203" y="384"/>
                  <a:pt x="203" y="384"/>
                  <a:pt x="203" y="384"/>
                </a:cubicBezTo>
                <a:cubicBezTo>
                  <a:pt x="203" y="388"/>
                  <a:pt x="201" y="395"/>
                  <a:pt x="192" y="395"/>
                </a:cubicBezTo>
                <a:cubicBezTo>
                  <a:pt x="183" y="395"/>
                  <a:pt x="182" y="388"/>
                  <a:pt x="181" y="384"/>
                </a:cubicBezTo>
                <a:cubicBezTo>
                  <a:pt x="181" y="192"/>
                  <a:pt x="181" y="192"/>
                  <a:pt x="181" y="192"/>
                </a:cubicBezTo>
                <a:cubicBezTo>
                  <a:pt x="181" y="186"/>
                  <a:pt x="177" y="182"/>
                  <a:pt x="171" y="182"/>
                </a:cubicBezTo>
                <a:cubicBezTo>
                  <a:pt x="162" y="182"/>
                  <a:pt x="160" y="176"/>
                  <a:pt x="160" y="171"/>
                </a:cubicBezTo>
                <a:cubicBezTo>
                  <a:pt x="160" y="107"/>
                  <a:pt x="160" y="107"/>
                  <a:pt x="160" y="107"/>
                </a:cubicBezTo>
                <a:cubicBezTo>
                  <a:pt x="160" y="101"/>
                  <a:pt x="155" y="96"/>
                  <a:pt x="149" y="96"/>
                </a:cubicBezTo>
                <a:cubicBezTo>
                  <a:pt x="143" y="96"/>
                  <a:pt x="139" y="101"/>
                  <a:pt x="139" y="107"/>
                </a:cubicBezTo>
                <a:cubicBezTo>
                  <a:pt x="139" y="171"/>
                  <a:pt x="139" y="171"/>
                  <a:pt x="139" y="171"/>
                </a:cubicBezTo>
                <a:cubicBezTo>
                  <a:pt x="139" y="182"/>
                  <a:pt x="149" y="197"/>
                  <a:pt x="160" y="201"/>
                </a:cubicBezTo>
                <a:cubicBezTo>
                  <a:pt x="160" y="385"/>
                  <a:pt x="160" y="385"/>
                  <a:pt x="160" y="385"/>
                </a:cubicBezTo>
                <a:cubicBezTo>
                  <a:pt x="160" y="397"/>
                  <a:pt x="169" y="416"/>
                  <a:pt x="192" y="416"/>
                </a:cubicBezTo>
                <a:cubicBezTo>
                  <a:pt x="192" y="416"/>
                  <a:pt x="192" y="416"/>
                  <a:pt x="192" y="416"/>
                </a:cubicBezTo>
                <a:cubicBezTo>
                  <a:pt x="192" y="416"/>
                  <a:pt x="192" y="416"/>
                  <a:pt x="192" y="416"/>
                </a:cubicBezTo>
                <a:cubicBezTo>
                  <a:pt x="215" y="416"/>
                  <a:pt x="224" y="397"/>
                  <a:pt x="224" y="384"/>
                </a:cubicBezTo>
                <a:cubicBezTo>
                  <a:pt x="224" y="201"/>
                  <a:pt x="224" y="201"/>
                  <a:pt x="224" y="201"/>
                </a:cubicBezTo>
                <a:cubicBezTo>
                  <a:pt x="239" y="197"/>
                  <a:pt x="245" y="182"/>
                  <a:pt x="245" y="171"/>
                </a:cubicBezTo>
                <a:lnTo>
                  <a:pt x="245" y="107"/>
                </a:lnTo>
                <a:close/>
                <a:moveTo>
                  <a:pt x="341" y="107"/>
                </a:moveTo>
                <a:cubicBezTo>
                  <a:pt x="341" y="103"/>
                  <a:pt x="339" y="100"/>
                  <a:pt x="336" y="98"/>
                </a:cubicBezTo>
                <a:cubicBezTo>
                  <a:pt x="333" y="96"/>
                  <a:pt x="329" y="96"/>
                  <a:pt x="326" y="98"/>
                </a:cubicBezTo>
                <a:cubicBezTo>
                  <a:pt x="323" y="99"/>
                  <a:pt x="267" y="130"/>
                  <a:pt x="267" y="224"/>
                </a:cubicBezTo>
                <a:cubicBezTo>
                  <a:pt x="267" y="227"/>
                  <a:pt x="268" y="230"/>
                  <a:pt x="270" y="232"/>
                </a:cubicBezTo>
                <a:cubicBezTo>
                  <a:pt x="288" y="250"/>
                  <a:pt x="288" y="250"/>
                  <a:pt x="288" y="250"/>
                </a:cubicBezTo>
                <a:cubicBezTo>
                  <a:pt x="277" y="384"/>
                  <a:pt x="277" y="384"/>
                  <a:pt x="277" y="384"/>
                </a:cubicBezTo>
                <a:cubicBezTo>
                  <a:pt x="277" y="386"/>
                  <a:pt x="278" y="416"/>
                  <a:pt x="331" y="416"/>
                </a:cubicBezTo>
                <a:cubicBezTo>
                  <a:pt x="337" y="416"/>
                  <a:pt x="341" y="412"/>
                  <a:pt x="341" y="406"/>
                </a:cubicBezTo>
                <a:lnTo>
                  <a:pt x="341" y="107"/>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ea typeface="+mn-ea"/>
              <a:cs typeface="+mn-cs"/>
            </a:endParaRPr>
          </a:p>
        </p:txBody>
      </p:sp>
      <p:sp>
        <p:nvSpPr>
          <p:cNvPr id="54" name="Rounded Rectangle 53">
            <a:hlinkClick r:id="" action="ppaction://noaction"/>
            <a:extLst>
              <a:ext uri="{FF2B5EF4-FFF2-40B4-BE49-F238E27FC236}">
                <a16:creationId xmlns:a16="http://schemas.microsoft.com/office/drawing/2014/main" id="{8643AA00-5F96-436E-BA26-497A7D177FDB}"/>
              </a:ext>
            </a:extLst>
          </p:cNvPr>
          <p:cNvSpPr/>
          <p:nvPr/>
        </p:nvSpPr>
        <p:spPr bwMode="gray">
          <a:xfrm>
            <a:off x="9157594" y="4665336"/>
            <a:ext cx="1097280" cy="457200"/>
          </a:xfrm>
          <a:prstGeom prst="roundRect">
            <a:avLst/>
          </a:prstGeom>
          <a:solidFill>
            <a:schemeClr val="accent2">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Kalinga" panose="020B0502040204020203" pitchFamily="34" charset="0"/>
              </a:rPr>
              <a:t>Exclusive Arena Experiences</a:t>
            </a:r>
          </a:p>
        </p:txBody>
      </p:sp>
    </p:spTree>
    <p:extLst>
      <p:ext uri="{BB962C8B-B14F-4D97-AF65-F5344CB8AC3E}">
        <p14:creationId xmlns:p14="http://schemas.microsoft.com/office/powerpoint/2010/main" val="1956114505"/>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Object 54" hidden="1">
            <a:extLst>
              <a:ext uri="{FF2B5EF4-FFF2-40B4-BE49-F238E27FC236}">
                <a16:creationId xmlns:a16="http://schemas.microsoft.com/office/drawing/2014/main" id="{56AC2798-2F79-4F16-9057-B8A02EB847B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068" name="think-cell Slide" r:id="rId6" imgW="395" imgH="396" progId="TCLayout.ActiveDocument.1">
                  <p:embed/>
                </p:oleObj>
              </mc:Choice>
              <mc:Fallback>
                <p:oleObj name="think-cell Slide" r:id="rId6" imgW="395" imgH="396" progId="TCLayout.ActiveDocument.1">
                  <p:embed/>
                  <p:pic>
                    <p:nvPicPr>
                      <p:cNvPr id="55" name="Object 54" hidden="1">
                        <a:extLst>
                          <a:ext uri="{FF2B5EF4-FFF2-40B4-BE49-F238E27FC236}">
                            <a16:creationId xmlns:a16="http://schemas.microsoft.com/office/drawing/2014/main" id="{56AC2798-2F79-4F16-9057-B8A02EB847B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4" name="Rectangle 53" hidden="1">
            <a:extLst>
              <a:ext uri="{FF2B5EF4-FFF2-40B4-BE49-F238E27FC236}">
                <a16:creationId xmlns:a16="http://schemas.microsoft.com/office/drawing/2014/main" id="{12ECF7CC-3BAB-4F35-B3B6-BF8840F279C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007968FD-C275-49E5-AB50-0ECEC7A09284}"/>
              </a:ext>
            </a:extLst>
          </p:cNvPr>
          <p:cNvSpPr>
            <a:spLocks noGrp="1"/>
          </p:cNvSpPr>
          <p:nvPr>
            <p:ph type="title"/>
          </p:nvPr>
        </p:nvSpPr>
        <p:spPr/>
        <p:txBody>
          <a:bodyPr/>
          <a:lstStyle/>
          <a:p>
            <a:r>
              <a:rPr lang="en-US" dirty="0"/>
              <a:t>Pricing engine uses robust data and algorithms</a:t>
            </a:r>
          </a:p>
        </p:txBody>
      </p:sp>
      <p:sp>
        <p:nvSpPr>
          <p:cNvPr id="3" name="Text Placeholder 2">
            <a:extLst>
              <a:ext uri="{FF2B5EF4-FFF2-40B4-BE49-F238E27FC236}">
                <a16:creationId xmlns:a16="http://schemas.microsoft.com/office/drawing/2014/main" id="{F9181D1B-3AE9-4767-A0E0-EE6E43886488}"/>
              </a:ext>
            </a:extLst>
          </p:cNvPr>
          <p:cNvSpPr>
            <a:spLocks noGrp="1"/>
          </p:cNvSpPr>
          <p:nvPr>
            <p:ph type="body" sz="quarter" idx="14"/>
          </p:nvPr>
        </p:nvSpPr>
        <p:spPr>
          <a:xfrm>
            <a:off x="914721" y="1353312"/>
            <a:ext cx="10362880" cy="475488"/>
          </a:xfrm>
        </p:spPr>
        <p:txBody>
          <a:bodyPr/>
          <a:lstStyle/>
          <a:p>
            <a:r>
              <a:rPr lang="en-US" dirty="0"/>
              <a:t>Subtitle</a:t>
            </a:r>
          </a:p>
        </p:txBody>
      </p:sp>
      <p:sp>
        <p:nvSpPr>
          <p:cNvPr id="4" name="Text Placeholder 3">
            <a:extLst>
              <a:ext uri="{FF2B5EF4-FFF2-40B4-BE49-F238E27FC236}">
                <a16:creationId xmlns:a16="http://schemas.microsoft.com/office/drawing/2014/main" id="{842DBCC2-EAD2-485E-B90C-55F236ADD2BB}"/>
              </a:ext>
            </a:extLst>
          </p:cNvPr>
          <p:cNvSpPr>
            <a:spLocks noGrp="1"/>
          </p:cNvSpPr>
          <p:nvPr>
            <p:ph type="body" sz="quarter" idx="15"/>
          </p:nvPr>
        </p:nvSpPr>
        <p:spPr>
          <a:xfrm>
            <a:off x="914970" y="466343"/>
            <a:ext cx="3596069" cy="221207"/>
          </a:xfrm>
        </p:spPr>
        <p:txBody>
          <a:bodyPr/>
          <a:lstStyle/>
          <a:p>
            <a:r>
              <a:rPr lang="en-US" dirty="0"/>
              <a:t>FRAMEWORKS &amp; CONCEPT ILLUSTRATION</a:t>
            </a:r>
          </a:p>
        </p:txBody>
      </p:sp>
      <p:sp>
        <p:nvSpPr>
          <p:cNvPr id="5" name="Title 1">
            <a:extLst>
              <a:ext uri="{FF2B5EF4-FFF2-40B4-BE49-F238E27FC236}">
                <a16:creationId xmlns:a16="http://schemas.microsoft.com/office/drawing/2014/main" id="{2BC7405A-69BE-4349-A321-B8CA1C1E6047}"/>
              </a:ext>
            </a:extLst>
          </p:cNvPr>
          <p:cNvSpPr txBox="1">
            <a:spLocks/>
          </p:cNvSpPr>
          <p:nvPr/>
        </p:nvSpPr>
        <p:spPr>
          <a:xfrm>
            <a:off x="914400" y="694944"/>
            <a:ext cx="10363200"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grpSp>
        <p:nvGrpSpPr>
          <p:cNvPr id="6" name="Group 5">
            <a:extLst>
              <a:ext uri="{FF2B5EF4-FFF2-40B4-BE49-F238E27FC236}">
                <a16:creationId xmlns:a16="http://schemas.microsoft.com/office/drawing/2014/main" id="{59FF1C2A-FE79-436A-9E03-5CA747F665B7}"/>
              </a:ext>
            </a:extLst>
          </p:cNvPr>
          <p:cNvGrpSpPr/>
          <p:nvPr/>
        </p:nvGrpSpPr>
        <p:grpSpPr>
          <a:xfrm>
            <a:off x="5059680" y="1625569"/>
            <a:ext cx="2225040" cy="3824944"/>
            <a:chOff x="5059680" y="1595120"/>
            <a:chExt cx="2225040" cy="3824944"/>
          </a:xfrm>
        </p:grpSpPr>
        <p:sp>
          <p:nvSpPr>
            <p:cNvPr id="7" name="Rectangle 6">
              <a:extLst>
                <a:ext uri="{FF2B5EF4-FFF2-40B4-BE49-F238E27FC236}">
                  <a16:creationId xmlns:a16="http://schemas.microsoft.com/office/drawing/2014/main" id="{A36C328F-FD83-487A-BEB1-120AACEF30A2}"/>
                </a:ext>
              </a:extLst>
            </p:cNvPr>
            <p:cNvSpPr/>
            <p:nvPr/>
          </p:nvSpPr>
          <p:spPr>
            <a:xfrm>
              <a:off x="5059680" y="1595120"/>
              <a:ext cx="2225040" cy="3824944"/>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ea typeface="+mn-ea"/>
                <a:cs typeface="+mn-cs"/>
              </a:endParaRPr>
            </a:p>
          </p:txBody>
        </p:sp>
        <p:grpSp>
          <p:nvGrpSpPr>
            <p:cNvPr id="8" name="Group 7">
              <a:extLst>
                <a:ext uri="{FF2B5EF4-FFF2-40B4-BE49-F238E27FC236}">
                  <a16:creationId xmlns:a16="http://schemas.microsoft.com/office/drawing/2014/main" id="{A48AA90D-3761-4928-8DCD-26C433A54442}"/>
                </a:ext>
              </a:extLst>
            </p:cNvPr>
            <p:cNvGrpSpPr/>
            <p:nvPr/>
          </p:nvGrpSpPr>
          <p:grpSpPr>
            <a:xfrm>
              <a:off x="5734462" y="2618316"/>
              <a:ext cx="875476" cy="891964"/>
              <a:chOff x="7186613" y="4868863"/>
              <a:chExt cx="796925" cy="800101"/>
            </a:xfrm>
            <a:solidFill>
              <a:schemeClr val="tx1"/>
            </a:solidFill>
          </p:grpSpPr>
          <p:sp>
            <p:nvSpPr>
              <p:cNvPr id="11" name="Freeform 57">
                <a:extLst>
                  <a:ext uri="{FF2B5EF4-FFF2-40B4-BE49-F238E27FC236}">
                    <a16:creationId xmlns:a16="http://schemas.microsoft.com/office/drawing/2014/main" id="{6A210579-36FA-44C1-B10E-4EF370FD6FF5}"/>
                  </a:ext>
                </a:extLst>
              </p:cNvPr>
              <p:cNvSpPr>
                <a:spLocks noEditPoints="1"/>
              </p:cNvSpPr>
              <p:nvPr/>
            </p:nvSpPr>
            <p:spPr bwMode="auto">
              <a:xfrm>
                <a:off x="7343775" y="5300663"/>
                <a:ext cx="214313" cy="214313"/>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54 h 64"/>
                  <a:gd name="T12" fmla="*/ 9 w 64"/>
                  <a:gd name="T13" fmla="*/ 32 h 64"/>
                  <a:gd name="T14" fmla="*/ 32 w 64"/>
                  <a:gd name="T15" fmla="*/ 9 h 64"/>
                  <a:gd name="T16" fmla="*/ 54 w 64"/>
                  <a:gd name="T17" fmla="*/ 32 h 64"/>
                  <a:gd name="T18" fmla="*/ 32 w 64"/>
                  <a:gd name="T19" fmla="*/ 5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50" y="64"/>
                      <a:pt x="64" y="49"/>
                      <a:pt x="64" y="32"/>
                    </a:cubicBezTo>
                    <a:cubicBezTo>
                      <a:pt x="64" y="14"/>
                      <a:pt x="50" y="0"/>
                      <a:pt x="32" y="0"/>
                    </a:cubicBezTo>
                    <a:close/>
                    <a:moveTo>
                      <a:pt x="32" y="54"/>
                    </a:moveTo>
                    <a:cubicBezTo>
                      <a:pt x="19" y="54"/>
                      <a:pt x="9" y="44"/>
                      <a:pt x="9" y="32"/>
                    </a:cubicBezTo>
                    <a:cubicBezTo>
                      <a:pt x="9" y="19"/>
                      <a:pt x="19" y="9"/>
                      <a:pt x="32" y="9"/>
                    </a:cubicBezTo>
                    <a:cubicBezTo>
                      <a:pt x="44" y="9"/>
                      <a:pt x="54" y="19"/>
                      <a:pt x="54" y="32"/>
                    </a:cubicBezTo>
                    <a:cubicBezTo>
                      <a:pt x="54" y="44"/>
                      <a:pt x="44" y="54"/>
                      <a:pt x="32"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ea typeface="+mn-ea"/>
                  <a:cs typeface="+mn-cs"/>
                </a:endParaRPr>
              </a:p>
            </p:txBody>
          </p:sp>
          <p:sp>
            <p:nvSpPr>
              <p:cNvPr id="12" name="Freeform 58">
                <a:extLst>
                  <a:ext uri="{FF2B5EF4-FFF2-40B4-BE49-F238E27FC236}">
                    <a16:creationId xmlns:a16="http://schemas.microsoft.com/office/drawing/2014/main" id="{49696224-A52B-4C9C-945E-9DE6AA43E720}"/>
                  </a:ext>
                </a:extLst>
              </p:cNvPr>
              <p:cNvSpPr>
                <a:spLocks noEditPoints="1"/>
              </p:cNvSpPr>
              <p:nvPr/>
            </p:nvSpPr>
            <p:spPr bwMode="auto">
              <a:xfrm>
                <a:off x="7186613" y="5143501"/>
                <a:ext cx="525463" cy="525463"/>
              </a:xfrm>
              <a:custGeom>
                <a:avLst/>
                <a:gdLst>
                  <a:gd name="T0" fmla="*/ 136 w 157"/>
                  <a:gd name="T1" fmla="*/ 61 h 157"/>
                  <a:gd name="T2" fmla="*/ 141 w 157"/>
                  <a:gd name="T3" fmla="*/ 37 h 157"/>
                  <a:gd name="T4" fmla="*/ 126 w 157"/>
                  <a:gd name="T5" fmla="*/ 16 h 157"/>
                  <a:gd name="T6" fmla="*/ 107 w 157"/>
                  <a:gd name="T7" fmla="*/ 26 h 157"/>
                  <a:gd name="T8" fmla="*/ 94 w 157"/>
                  <a:gd name="T9" fmla="*/ 5 h 157"/>
                  <a:gd name="T10" fmla="*/ 68 w 157"/>
                  <a:gd name="T11" fmla="*/ 1 h 157"/>
                  <a:gd name="T12" fmla="*/ 62 w 157"/>
                  <a:gd name="T13" fmla="*/ 22 h 157"/>
                  <a:gd name="T14" fmla="*/ 37 w 157"/>
                  <a:gd name="T15" fmla="*/ 16 h 157"/>
                  <a:gd name="T16" fmla="*/ 24 w 157"/>
                  <a:gd name="T17" fmla="*/ 23 h 157"/>
                  <a:gd name="T18" fmla="*/ 16 w 157"/>
                  <a:gd name="T19" fmla="*/ 31 h 157"/>
                  <a:gd name="T20" fmla="*/ 27 w 157"/>
                  <a:gd name="T21" fmla="*/ 51 h 157"/>
                  <a:gd name="T22" fmla="*/ 5 w 157"/>
                  <a:gd name="T23" fmla="*/ 64 h 157"/>
                  <a:gd name="T24" fmla="*/ 0 w 157"/>
                  <a:gd name="T25" fmla="*/ 78 h 157"/>
                  <a:gd name="T26" fmla="*/ 1 w 157"/>
                  <a:gd name="T27" fmla="*/ 89 h 157"/>
                  <a:gd name="T28" fmla="*/ 22 w 157"/>
                  <a:gd name="T29" fmla="*/ 96 h 157"/>
                  <a:gd name="T30" fmla="*/ 16 w 157"/>
                  <a:gd name="T31" fmla="*/ 120 h 157"/>
                  <a:gd name="T32" fmla="*/ 23 w 157"/>
                  <a:gd name="T33" fmla="*/ 133 h 157"/>
                  <a:gd name="T34" fmla="*/ 32 w 157"/>
                  <a:gd name="T35" fmla="*/ 141 h 157"/>
                  <a:gd name="T36" fmla="*/ 51 w 157"/>
                  <a:gd name="T37" fmla="*/ 131 h 157"/>
                  <a:gd name="T38" fmla="*/ 64 w 157"/>
                  <a:gd name="T39" fmla="*/ 152 h 157"/>
                  <a:gd name="T40" fmla="*/ 79 w 157"/>
                  <a:gd name="T41" fmla="*/ 157 h 157"/>
                  <a:gd name="T42" fmla="*/ 94 w 157"/>
                  <a:gd name="T43" fmla="*/ 152 h 157"/>
                  <a:gd name="T44" fmla="*/ 107 w 157"/>
                  <a:gd name="T45" fmla="*/ 131 h 157"/>
                  <a:gd name="T46" fmla="*/ 126 w 157"/>
                  <a:gd name="T47" fmla="*/ 141 h 157"/>
                  <a:gd name="T48" fmla="*/ 141 w 157"/>
                  <a:gd name="T49" fmla="*/ 120 h 157"/>
                  <a:gd name="T50" fmla="*/ 136 w 157"/>
                  <a:gd name="T51" fmla="*/ 96 h 157"/>
                  <a:gd name="T52" fmla="*/ 156 w 157"/>
                  <a:gd name="T53" fmla="*/ 89 h 157"/>
                  <a:gd name="T54" fmla="*/ 156 w 157"/>
                  <a:gd name="T55" fmla="*/ 68 h 157"/>
                  <a:gd name="T56" fmla="*/ 147 w 157"/>
                  <a:gd name="T57" fmla="*/ 85 h 157"/>
                  <a:gd name="T58" fmla="*/ 127 w 157"/>
                  <a:gd name="T59" fmla="*/ 90 h 157"/>
                  <a:gd name="T60" fmla="*/ 122 w 157"/>
                  <a:gd name="T61" fmla="*/ 110 h 157"/>
                  <a:gd name="T62" fmla="*/ 123 w 157"/>
                  <a:gd name="T63" fmla="*/ 131 h 157"/>
                  <a:gd name="T64" fmla="*/ 105 w 157"/>
                  <a:gd name="T65" fmla="*/ 121 h 157"/>
                  <a:gd name="T66" fmla="*/ 87 w 157"/>
                  <a:gd name="T67" fmla="*/ 131 h 157"/>
                  <a:gd name="T68" fmla="*/ 73 w 157"/>
                  <a:gd name="T69" fmla="*/ 147 h 157"/>
                  <a:gd name="T70" fmla="*/ 67 w 157"/>
                  <a:gd name="T71" fmla="*/ 127 h 157"/>
                  <a:gd name="T72" fmla="*/ 48 w 157"/>
                  <a:gd name="T73" fmla="*/ 121 h 157"/>
                  <a:gd name="T74" fmla="*/ 31 w 157"/>
                  <a:gd name="T75" fmla="*/ 128 h 157"/>
                  <a:gd name="T76" fmla="*/ 26 w 157"/>
                  <a:gd name="T77" fmla="*/ 123 h 157"/>
                  <a:gd name="T78" fmla="*/ 36 w 157"/>
                  <a:gd name="T79" fmla="*/ 105 h 157"/>
                  <a:gd name="T80" fmla="*/ 27 w 157"/>
                  <a:gd name="T81" fmla="*/ 87 h 157"/>
                  <a:gd name="T82" fmla="*/ 10 w 157"/>
                  <a:gd name="T83" fmla="*/ 80 h 157"/>
                  <a:gd name="T84" fmla="*/ 10 w 157"/>
                  <a:gd name="T85" fmla="*/ 73 h 157"/>
                  <a:gd name="T86" fmla="*/ 31 w 157"/>
                  <a:gd name="T87" fmla="*/ 67 h 157"/>
                  <a:gd name="T88" fmla="*/ 36 w 157"/>
                  <a:gd name="T89" fmla="*/ 47 h 157"/>
                  <a:gd name="T90" fmla="*/ 30 w 157"/>
                  <a:gd name="T91" fmla="*/ 31 h 157"/>
                  <a:gd name="T92" fmla="*/ 35 w 157"/>
                  <a:gd name="T93" fmla="*/ 26 h 157"/>
                  <a:gd name="T94" fmla="*/ 53 w 157"/>
                  <a:gd name="T95" fmla="*/ 36 h 157"/>
                  <a:gd name="T96" fmla="*/ 71 w 157"/>
                  <a:gd name="T97" fmla="*/ 26 h 157"/>
                  <a:gd name="T98" fmla="*/ 85 w 157"/>
                  <a:gd name="T99" fmla="*/ 10 h 157"/>
                  <a:gd name="T100" fmla="*/ 91 w 157"/>
                  <a:gd name="T101" fmla="*/ 30 h 157"/>
                  <a:gd name="T102" fmla="*/ 110 w 157"/>
                  <a:gd name="T103" fmla="*/ 36 h 157"/>
                  <a:gd name="T104" fmla="*/ 131 w 157"/>
                  <a:gd name="T105" fmla="*/ 34 h 157"/>
                  <a:gd name="T106" fmla="*/ 121 w 157"/>
                  <a:gd name="T107" fmla="*/ 53 h 157"/>
                  <a:gd name="T108" fmla="*/ 131 w 157"/>
                  <a:gd name="T109" fmla="*/ 71 h 157"/>
                  <a:gd name="T110" fmla="*/ 148 w 157"/>
                  <a:gd name="T111" fmla="*/ 7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 h="157">
                    <a:moveTo>
                      <a:pt x="152" y="64"/>
                    </a:moveTo>
                    <a:cubicBezTo>
                      <a:pt x="136" y="61"/>
                      <a:pt x="136" y="61"/>
                      <a:pt x="136" y="61"/>
                    </a:cubicBezTo>
                    <a:cubicBezTo>
                      <a:pt x="134" y="58"/>
                      <a:pt x="133" y="54"/>
                      <a:pt x="131" y="51"/>
                    </a:cubicBezTo>
                    <a:cubicBezTo>
                      <a:pt x="141" y="37"/>
                      <a:pt x="141" y="37"/>
                      <a:pt x="141" y="37"/>
                    </a:cubicBezTo>
                    <a:cubicBezTo>
                      <a:pt x="143" y="35"/>
                      <a:pt x="143" y="33"/>
                      <a:pt x="141" y="31"/>
                    </a:cubicBezTo>
                    <a:cubicBezTo>
                      <a:pt x="137" y="26"/>
                      <a:pt x="132" y="20"/>
                      <a:pt x="126" y="16"/>
                    </a:cubicBezTo>
                    <a:cubicBezTo>
                      <a:pt x="124" y="15"/>
                      <a:pt x="122" y="15"/>
                      <a:pt x="120" y="16"/>
                    </a:cubicBezTo>
                    <a:cubicBezTo>
                      <a:pt x="107" y="26"/>
                      <a:pt x="107" y="26"/>
                      <a:pt x="107" y="26"/>
                    </a:cubicBezTo>
                    <a:cubicBezTo>
                      <a:pt x="103" y="25"/>
                      <a:pt x="100" y="23"/>
                      <a:pt x="96" y="22"/>
                    </a:cubicBezTo>
                    <a:cubicBezTo>
                      <a:pt x="94" y="5"/>
                      <a:pt x="94" y="5"/>
                      <a:pt x="94" y="5"/>
                    </a:cubicBezTo>
                    <a:cubicBezTo>
                      <a:pt x="94" y="3"/>
                      <a:pt x="92" y="1"/>
                      <a:pt x="90" y="1"/>
                    </a:cubicBezTo>
                    <a:cubicBezTo>
                      <a:pt x="82" y="0"/>
                      <a:pt x="75" y="0"/>
                      <a:pt x="68" y="1"/>
                    </a:cubicBezTo>
                    <a:cubicBezTo>
                      <a:pt x="66" y="1"/>
                      <a:pt x="64" y="3"/>
                      <a:pt x="64" y="5"/>
                    </a:cubicBezTo>
                    <a:cubicBezTo>
                      <a:pt x="62" y="22"/>
                      <a:pt x="62" y="22"/>
                      <a:pt x="62" y="22"/>
                    </a:cubicBezTo>
                    <a:cubicBezTo>
                      <a:pt x="58" y="23"/>
                      <a:pt x="54" y="25"/>
                      <a:pt x="51" y="26"/>
                    </a:cubicBezTo>
                    <a:cubicBezTo>
                      <a:pt x="37" y="16"/>
                      <a:pt x="37" y="16"/>
                      <a:pt x="37" y="16"/>
                    </a:cubicBezTo>
                    <a:cubicBezTo>
                      <a:pt x="36" y="15"/>
                      <a:pt x="33" y="15"/>
                      <a:pt x="32" y="16"/>
                    </a:cubicBezTo>
                    <a:cubicBezTo>
                      <a:pt x="29" y="18"/>
                      <a:pt x="26" y="20"/>
                      <a:pt x="24" y="23"/>
                    </a:cubicBezTo>
                    <a:cubicBezTo>
                      <a:pt x="23" y="24"/>
                      <a:pt x="23" y="24"/>
                      <a:pt x="23" y="24"/>
                    </a:cubicBezTo>
                    <a:cubicBezTo>
                      <a:pt x="20" y="26"/>
                      <a:pt x="18" y="29"/>
                      <a:pt x="16" y="31"/>
                    </a:cubicBezTo>
                    <a:cubicBezTo>
                      <a:pt x="15" y="33"/>
                      <a:pt x="15" y="35"/>
                      <a:pt x="16" y="37"/>
                    </a:cubicBezTo>
                    <a:cubicBezTo>
                      <a:pt x="27" y="51"/>
                      <a:pt x="27" y="51"/>
                      <a:pt x="27" y="51"/>
                    </a:cubicBezTo>
                    <a:cubicBezTo>
                      <a:pt x="25" y="54"/>
                      <a:pt x="23" y="58"/>
                      <a:pt x="22" y="61"/>
                    </a:cubicBezTo>
                    <a:cubicBezTo>
                      <a:pt x="5" y="64"/>
                      <a:pt x="5" y="64"/>
                      <a:pt x="5" y="64"/>
                    </a:cubicBezTo>
                    <a:cubicBezTo>
                      <a:pt x="3" y="64"/>
                      <a:pt x="2" y="66"/>
                      <a:pt x="1" y="68"/>
                    </a:cubicBezTo>
                    <a:cubicBezTo>
                      <a:pt x="1" y="71"/>
                      <a:pt x="1" y="74"/>
                      <a:pt x="0" y="78"/>
                    </a:cubicBezTo>
                    <a:cubicBezTo>
                      <a:pt x="0" y="80"/>
                      <a:pt x="0" y="80"/>
                      <a:pt x="0" y="80"/>
                    </a:cubicBezTo>
                    <a:cubicBezTo>
                      <a:pt x="1" y="83"/>
                      <a:pt x="1" y="86"/>
                      <a:pt x="1" y="89"/>
                    </a:cubicBezTo>
                    <a:cubicBezTo>
                      <a:pt x="2" y="92"/>
                      <a:pt x="3" y="93"/>
                      <a:pt x="5" y="94"/>
                    </a:cubicBezTo>
                    <a:cubicBezTo>
                      <a:pt x="22" y="96"/>
                      <a:pt x="22" y="96"/>
                      <a:pt x="22" y="96"/>
                    </a:cubicBezTo>
                    <a:cubicBezTo>
                      <a:pt x="23" y="100"/>
                      <a:pt x="25" y="103"/>
                      <a:pt x="27" y="107"/>
                    </a:cubicBezTo>
                    <a:cubicBezTo>
                      <a:pt x="16" y="120"/>
                      <a:pt x="16" y="120"/>
                      <a:pt x="16" y="120"/>
                    </a:cubicBezTo>
                    <a:cubicBezTo>
                      <a:pt x="15" y="122"/>
                      <a:pt x="15" y="124"/>
                      <a:pt x="16" y="126"/>
                    </a:cubicBezTo>
                    <a:cubicBezTo>
                      <a:pt x="18" y="128"/>
                      <a:pt x="20" y="131"/>
                      <a:pt x="23" y="133"/>
                    </a:cubicBezTo>
                    <a:cubicBezTo>
                      <a:pt x="24" y="135"/>
                      <a:pt x="24" y="135"/>
                      <a:pt x="24" y="135"/>
                    </a:cubicBezTo>
                    <a:cubicBezTo>
                      <a:pt x="26" y="137"/>
                      <a:pt x="29" y="139"/>
                      <a:pt x="32" y="141"/>
                    </a:cubicBezTo>
                    <a:cubicBezTo>
                      <a:pt x="33" y="142"/>
                      <a:pt x="36" y="142"/>
                      <a:pt x="37" y="141"/>
                    </a:cubicBezTo>
                    <a:cubicBezTo>
                      <a:pt x="51" y="131"/>
                      <a:pt x="51" y="131"/>
                      <a:pt x="51" y="131"/>
                    </a:cubicBezTo>
                    <a:cubicBezTo>
                      <a:pt x="54" y="133"/>
                      <a:pt x="58" y="134"/>
                      <a:pt x="62" y="135"/>
                    </a:cubicBezTo>
                    <a:cubicBezTo>
                      <a:pt x="64" y="152"/>
                      <a:pt x="64" y="152"/>
                      <a:pt x="64" y="152"/>
                    </a:cubicBezTo>
                    <a:cubicBezTo>
                      <a:pt x="64" y="154"/>
                      <a:pt x="66" y="156"/>
                      <a:pt x="68" y="156"/>
                    </a:cubicBezTo>
                    <a:cubicBezTo>
                      <a:pt x="72" y="157"/>
                      <a:pt x="75" y="157"/>
                      <a:pt x="79" y="157"/>
                    </a:cubicBezTo>
                    <a:cubicBezTo>
                      <a:pt x="82" y="157"/>
                      <a:pt x="86" y="157"/>
                      <a:pt x="90" y="156"/>
                    </a:cubicBezTo>
                    <a:cubicBezTo>
                      <a:pt x="92" y="156"/>
                      <a:pt x="94" y="154"/>
                      <a:pt x="94" y="152"/>
                    </a:cubicBezTo>
                    <a:cubicBezTo>
                      <a:pt x="96" y="135"/>
                      <a:pt x="96" y="135"/>
                      <a:pt x="96" y="135"/>
                    </a:cubicBezTo>
                    <a:cubicBezTo>
                      <a:pt x="100" y="134"/>
                      <a:pt x="103" y="133"/>
                      <a:pt x="107" y="131"/>
                    </a:cubicBezTo>
                    <a:cubicBezTo>
                      <a:pt x="120" y="141"/>
                      <a:pt x="120" y="141"/>
                      <a:pt x="120" y="141"/>
                    </a:cubicBezTo>
                    <a:cubicBezTo>
                      <a:pt x="122" y="142"/>
                      <a:pt x="124" y="142"/>
                      <a:pt x="126" y="141"/>
                    </a:cubicBezTo>
                    <a:cubicBezTo>
                      <a:pt x="132" y="137"/>
                      <a:pt x="137" y="132"/>
                      <a:pt x="141" y="126"/>
                    </a:cubicBezTo>
                    <a:cubicBezTo>
                      <a:pt x="143" y="124"/>
                      <a:pt x="143" y="122"/>
                      <a:pt x="141" y="120"/>
                    </a:cubicBezTo>
                    <a:cubicBezTo>
                      <a:pt x="131" y="107"/>
                      <a:pt x="131" y="107"/>
                      <a:pt x="131" y="107"/>
                    </a:cubicBezTo>
                    <a:cubicBezTo>
                      <a:pt x="133" y="103"/>
                      <a:pt x="134" y="99"/>
                      <a:pt x="136" y="96"/>
                    </a:cubicBezTo>
                    <a:cubicBezTo>
                      <a:pt x="152" y="94"/>
                      <a:pt x="152" y="94"/>
                      <a:pt x="152" y="94"/>
                    </a:cubicBezTo>
                    <a:cubicBezTo>
                      <a:pt x="154" y="93"/>
                      <a:pt x="156" y="92"/>
                      <a:pt x="156" y="89"/>
                    </a:cubicBezTo>
                    <a:cubicBezTo>
                      <a:pt x="157" y="86"/>
                      <a:pt x="157" y="82"/>
                      <a:pt x="157" y="79"/>
                    </a:cubicBezTo>
                    <a:cubicBezTo>
                      <a:pt x="157" y="75"/>
                      <a:pt x="157" y="71"/>
                      <a:pt x="156" y="68"/>
                    </a:cubicBezTo>
                    <a:cubicBezTo>
                      <a:pt x="156" y="66"/>
                      <a:pt x="154" y="64"/>
                      <a:pt x="152" y="64"/>
                    </a:cubicBezTo>
                    <a:close/>
                    <a:moveTo>
                      <a:pt x="147" y="85"/>
                    </a:moveTo>
                    <a:cubicBezTo>
                      <a:pt x="131" y="87"/>
                      <a:pt x="131" y="87"/>
                      <a:pt x="131" y="87"/>
                    </a:cubicBezTo>
                    <a:cubicBezTo>
                      <a:pt x="129" y="87"/>
                      <a:pt x="128" y="88"/>
                      <a:pt x="127" y="90"/>
                    </a:cubicBezTo>
                    <a:cubicBezTo>
                      <a:pt x="126" y="95"/>
                      <a:pt x="124" y="100"/>
                      <a:pt x="121" y="104"/>
                    </a:cubicBezTo>
                    <a:cubicBezTo>
                      <a:pt x="120" y="106"/>
                      <a:pt x="120" y="108"/>
                      <a:pt x="122" y="110"/>
                    </a:cubicBezTo>
                    <a:cubicBezTo>
                      <a:pt x="131" y="123"/>
                      <a:pt x="131" y="123"/>
                      <a:pt x="131" y="123"/>
                    </a:cubicBezTo>
                    <a:cubicBezTo>
                      <a:pt x="129" y="126"/>
                      <a:pt x="126" y="129"/>
                      <a:pt x="123" y="131"/>
                    </a:cubicBezTo>
                    <a:cubicBezTo>
                      <a:pt x="110" y="121"/>
                      <a:pt x="110" y="121"/>
                      <a:pt x="110" y="121"/>
                    </a:cubicBezTo>
                    <a:cubicBezTo>
                      <a:pt x="109" y="120"/>
                      <a:pt x="106" y="120"/>
                      <a:pt x="105" y="121"/>
                    </a:cubicBezTo>
                    <a:cubicBezTo>
                      <a:pt x="100" y="124"/>
                      <a:pt x="96" y="126"/>
                      <a:pt x="91" y="127"/>
                    </a:cubicBezTo>
                    <a:cubicBezTo>
                      <a:pt x="89" y="127"/>
                      <a:pt x="87" y="129"/>
                      <a:pt x="87" y="131"/>
                    </a:cubicBezTo>
                    <a:cubicBezTo>
                      <a:pt x="85" y="147"/>
                      <a:pt x="85" y="147"/>
                      <a:pt x="85" y="147"/>
                    </a:cubicBezTo>
                    <a:cubicBezTo>
                      <a:pt x="81" y="147"/>
                      <a:pt x="77" y="147"/>
                      <a:pt x="73" y="147"/>
                    </a:cubicBezTo>
                    <a:cubicBezTo>
                      <a:pt x="71" y="131"/>
                      <a:pt x="71" y="131"/>
                      <a:pt x="71" y="131"/>
                    </a:cubicBezTo>
                    <a:cubicBezTo>
                      <a:pt x="71" y="129"/>
                      <a:pt x="69" y="127"/>
                      <a:pt x="67" y="127"/>
                    </a:cubicBezTo>
                    <a:cubicBezTo>
                      <a:pt x="62" y="126"/>
                      <a:pt x="57" y="124"/>
                      <a:pt x="53" y="121"/>
                    </a:cubicBezTo>
                    <a:cubicBezTo>
                      <a:pt x="51" y="120"/>
                      <a:pt x="49" y="120"/>
                      <a:pt x="48" y="121"/>
                    </a:cubicBezTo>
                    <a:cubicBezTo>
                      <a:pt x="35" y="131"/>
                      <a:pt x="35" y="131"/>
                      <a:pt x="35" y="131"/>
                    </a:cubicBezTo>
                    <a:cubicBezTo>
                      <a:pt x="33" y="130"/>
                      <a:pt x="32" y="129"/>
                      <a:pt x="31" y="128"/>
                    </a:cubicBezTo>
                    <a:cubicBezTo>
                      <a:pt x="30" y="127"/>
                      <a:pt x="30" y="127"/>
                      <a:pt x="30" y="127"/>
                    </a:cubicBezTo>
                    <a:cubicBezTo>
                      <a:pt x="28" y="125"/>
                      <a:pt x="27" y="124"/>
                      <a:pt x="26" y="123"/>
                    </a:cubicBezTo>
                    <a:cubicBezTo>
                      <a:pt x="36" y="110"/>
                      <a:pt x="36" y="110"/>
                      <a:pt x="36" y="110"/>
                    </a:cubicBezTo>
                    <a:cubicBezTo>
                      <a:pt x="37" y="108"/>
                      <a:pt x="38" y="106"/>
                      <a:pt x="36" y="105"/>
                    </a:cubicBezTo>
                    <a:cubicBezTo>
                      <a:pt x="34" y="100"/>
                      <a:pt x="32" y="95"/>
                      <a:pt x="31" y="90"/>
                    </a:cubicBezTo>
                    <a:cubicBezTo>
                      <a:pt x="30" y="88"/>
                      <a:pt x="28" y="87"/>
                      <a:pt x="27" y="87"/>
                    </a:cubicBezTo>
                    <a:cubicBezTo>
                      <a:pt x="10" y="84"/>
                      <a:pt x="10" y="84"/>
                      <a:pt x="10" y="84"/>
                    </a:cubicBezTo>
                    <a:cubicBezTo>
                      <a:pt x="10" y="83"/>
                      <a:pt x="10" y="81"/>
                      <a:pt x="10" y="80"/>
                    </a:cubicBezTo>
                    <a:cubicBezTo>
                      <a:pt x="10" y="78"/>
                      <a:pt x="10" y="78"/>
                      <a:pt x="10" y="78"/>
                    </a:cubicBezTo>
                    <a:cubicBezTo>
                      <a:pt x="10" y="76"/>
                      <a:pt x="10" y="74"/>
                      <a:pt x="10" y="73"/>
                    </a:cubicBezTo>
                    <a:cubicBezTo>
                      <a:pt x="27" y="71"/>
                      <a:pt x="27" y="71"/>
                      <a:pt x="27" y="71"/>
                    </a:cubicBezTo>
                    <a:cubicBezTo>
                      <a:pt x="28" y="70"/>
                      <a:pt x="30" y="69"/>
                      <a:pt x="31" y="67"/>
                    </a:cubicBezTo>
                    <a:cubicBezTo>
                      <a:pt x="32" y="62"/>
                      <a:pt x="34" y="57"/>
                      <a:pt x="36" y="53"/>
                    </a:cubicBezTo>
                    <a:cubicBezTo>
                      <a:pt x="38" y="51"/>
                      <a:pt x="37" y="49"/>
                      <a:pt x="36" y="47"/>
                    </a:cubicBezTo>
                    <a:cubicBezTo>
                      <a:pt x="26" y="34"/>
                      <a:pt x="26" y="34"/>
                      <a:pt x="26" y="34"/>
                    </a:cubicBezTo>
                    <a:cubicBezTo>
                      <a:pt x="27" y="33"/>
                      <a:pt x="28" y="32"/>
                      <a:pt x="30" y="31"/>
                    </a:cubicBezTo>
                    <a:cubicBezTo>
                      <a:pt x="31" y="29"/>
                      <a:pt x="31" y="29"/>
                      <a:pt x="31" y="29"/>
                    </a:cubicBezTo>
                    <a:cubicBezTo>
                      <a:pt x="32" y="28"/>
                      <a:pt x="33" y="27"/>
                      <a:pt x="35" y="26"/>
                    </a:cubicBezTo>
                    <a:cubicBezTo>
                      <a:pt x="48" y="36"/>
                      <a:pt x="48" y="36"/>
                      <a:pt x="48" y="36"/>
                    </a:cubicBezTo>
                    <a:cubicBezTo>
                      <a:pt x="49" y="37"/>
                      <a:pt x="51" y="37"/>
                      <a:pt x="53" y="36"/>
                    </a:cubicBezTo>
                    <a:cubicBezTo>
                      <a:pt x="57" y="34"/>
                      <a:pt x="62" y="32"/>
                      <a:pt x="67" y="30"/>
                    </a:cubicBezTo>
                    <a:cubicBezTo>
                      <a:pt x="69" y="30"/>
                      <a:pt x="71" y="28"/>
                      <a:pt x="71" y="26"/>
                    </a:cubicBezTo>
                    <a:cubicBezTo>
                      <a:pt x="73" y="10"/>
                      <a:pt x="73" y="10"/>
                      <a:pt x="73" y="10"/>
                    </a:cubicBezTo>
                    <a:cubicBezTo>
                      <a:pt x="77" y="10"/>
                      <a:pt x="81" y="10"/>
                      <a:pt x="85" y="10"/>
                    </a:cubicBezTo>
                    <a:cubicBezTo>
                      <a:pt x="87" y="26"/>
                      <a:pt x="87" y="26"/>
                      <a:pt x="87" y="26"/>
                    </a:cubicBezTo>
                    <a:cubicBezTo>
                      <a:pt x="87" y="28"/>
                      <a:pt x="89" y="30"/>
                      <a:pt x="91" y="30"/>
                    </a:cubicBezTo>
                    <a:cubicBezTo>
                      <a:pt x="96" y="32"/>
                      <a:pt x="100" y="34"/>
                      <a:pt x="105" y="36"/>
                    </a:cubicBezTo>
                    <a:cubicBezTo>
                      <a:pt x="106" y="37"/>
                      <a:pt x="109" y="37"/>
                      <a:pt x="110" y="36"/>
                    </a:cubicBezTo>
                    <a:cubicBezTo>
                      <a:pt x="123" y="26"/>
                      <a:pt x="123" y="26"/>
                      <a:pt x="123" y="26"/>
                    </a:cubicBezTo>
                    <a:cubicBezTo>
                      <a:pt x="126" y="29"/>
                      <a:pt x="129" y="31"/>
                      <a:pt x="131" y="34"/>
                    </a:cubicBezTo>
                    <a:cubicBezTo>
                      <a:pt x="122" y="47"/>
                      <a:pt x="122" y="47"/>
                      <a:pt x="122" y="47"/>
                    </a:cubicBezTo>
                    <a:cubicBezTo>
                      <a:pt x="120" y="49"/>
                      <a:pt x="120" y="51"/>
                      <a:pt x="121" y="53"/>
                    </a:cubicBezTo>
                    <a:cubicBezTo>
                      <a:pt x="124" y="57"/>
                      <a:pt x="126" y="62"/>
                      <a:pt x="127" y="67"/>
                    </a:cubicBezTo>
                    <a:cubicBezTo>
                      <a:pt x="128" y="69"/>
                      <a:pt x="129" y="70"/>
                      <a:pt x="131" y="71"/>
                    </a:cubicBezTo>
                    <a:cubicBezTo>
                      <a:pt x="147" y="73"/>
                      <a:pt x="147" y="73"/>
                      <a:pt x="147" y="73"/>
                    </a:cubicBezTo>
                    <a:cubicBezTo>
                      <a:pt x="148" y="75"/>
                      <a:pt x="148" y="77"/>
                      <a:pt x="148" y="79"/>
                    </a:cubicBezTo>
                    <a:cubicBezTo>
                      <a:pt x="148" y="81"/>
                      <a:pt x="148" y="83"/>
                      <a:pt x="147"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ea typeface="+mn-ea"/>
                  <a:cs typeface="+mn-cs"/>
                </a:endParaRPr>
              </a:p>
            </p:txBody>
          </p:sp>
          <p:sp>
            <p:nvSpPr>
              <p:cNvPr id="13" name="Freeform 59">
                <a:extLst>
                  <a:ext uri="{FF2B5EF4-FFF2-40B4-BE49-F238E27FC236}">
                    <a16:creationId xmlns:a16="http://schemas.microsoft.com/office/drawing/2014/main" id="{73BE84F5-FC1E-4945-8407-26831973F74C}"/>
                  </a:ext>
                </a:extLst>
              </p:cNvPr>
              <p:cNvSpPr>
                <a:spLocks noEditPoints="1"/>
              </p:cNvSpPr>
              <p:nvPr/>
            </p:nvSpPr>
            <p:spPr bwMode="auto">
              <a:xfrm>
                <a:off x="7718425" y="4983163"/>
                <a:ext cx="153988" cy="153988"/>
              </a:xfrm>
              <a:custGeom>
                <a:avLst/>
                <a:gdLst>
                  <a:gd name="T0" fmla="*/ 31 w 46"/>
                  <a:gd name="T1" fmla="*/ 2 h 46"/>
                  <a:gd name="T2" fmla="*/ 23 w 46"/>
                  <a:gd name="T3" fmla="*/ 0 h 46"/>
                  <a:gd name="T4" fmla="*/ 2 w 46"/>
                  <a:gd name="T5" fmla="*/ 14 h 46"/>
                  <a:gd name="T6" fmla="*/ 2 w 46"/>
                  <a:gd name="T7" fmla="*/ 32 h 46"/>
                  <a:gd name="T8" fmla="*/ 14 w 46"/>
                  <a:gd name="T9" fmla="*/ 44 h 46"/>
                  <a:gd name="T10" fmla="*/ 23 w 46"/>
                  <a:gd name="T11" fmla="*/ 46 h 46"/>
                  <a:gd name="T12" fmla="*/ 43 w 46"/>
                  <a:gd name="T13" fmla="*/ 32 h 46"/>
                  <a:gd name="T14" fmla="*/ 43 w 46"/>
                  <a:gd name="T15" fmla="*/ 14 h 46"/>
                  <a:gd name="T16" fmla="*/ 31 w 46"/>
                  <a:gd name="T17" fmla="*/ 2 h 46"/>
                  <a:gd name="T18" fmla="*/ 35 w 46"/>
                  <a:gd name="T19" fmla="*/ 28 h 46"/>
                  <a:gd name="T20" fmla="*/ 23 w 46"/>
                  <a:gd name="T21" fmla="*/ 36 h 46"/>
                  <a:gd name="T22" fmla="*/ 18 w 46"/>
                  <a:gd name="T23" fmla="*/ 35 h 46"/>
                  <a:gd name="T24" fmla="*/ 11 w 46"/>
                  <a:gd name="T25" fmla="*/ 28 h 46"/>
                  <a:gd name="T26" fmla="*/ 11 w 46"/>
                  <a:gd name="T27" fmla="*/ 18 h 46"/>
                  <a:gd name="T28" fmla="*/ 23 w 46"/>
                  <a:gd name="T29" fmla="*/ 10 h 46"/>
                  <a:gd name="T30" fmla="*/ 28 w 46"/>
                  <a:gd name="T31" fmla="*/ 11 h 46"/>
                  <a:gd name="T32" fmla="*/ 35 w 46"/>
                  <a:gd name="T33" fmla="*/ 18 h 46"/>
                  <a:gd name="T34" fmla="*/ 35 w 46"/>
                  <a:gd name="T35" fmla="*/ 2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46">
                    <a:moveTo>
                      <a:pt x="31" y="2"/>
                    </a:moveTo>
                    <a:cubicBezTo>
                      <a:pt x="28" y="1"/>
                      <a:pt x="26" y="0"/>
                      <a:pt x="23" y="0"/>
                    </a:cubicBezTo>
                    <a:cubicBezTo>
                      <a:pt x="13" y="0"/>
                      <a:pt x="5" y="6"/>
                      <a:pt x="2" y="14"/>
                    </a:cubicBezTo>
                    <a:cubicBezTo>
                      <a:pt x="0" y="20"/>
                      <a:pt x="0" y="26"/>
                      <a:pt x="2" y="32"/>
                    </a:cubicBezTo>
                    <a:cubicBezTo>
                      <a:pt x="4" y="37"/>
                      <a:pt x="9" y="42"/>
                      <a:pt x="14" y="44"/>
                    </a:cubicBezTo>
                    <a:cubicBezTo>
                      <a:pt x="17" y="45"/>
                      <a:pt x="20" y="46"/>
                      <a:pt x="23" y="46"/>
                    </a:cubicBezTo>
                    <a:cubicBezTo>
                      <a:pt x="32" y="46"/>
                      <a:pt x="40" y="40"/>
                      <a:pt x="43" y="32"/>
                    </a:cubicBezTo>
                    <a:cubicBezTo>
                      <a:pt x="46" y="26"/>
                      <a:pt x="46" y="20"/>
                      <a:pt x="43" y="14"/>
                    </a:cubicBezTo>
                    <a:cubicBezTo>
                      <a:pt x="41" y="9"/>
                      <a:pt x="37" y="4"/>
                      <a:pt x="31" y="2"/>
                    </a:cubicBezTo>
                    <a:close/>
                    <a:moveTo>
                      <a:pt x="35" y="28"/>
                    </a:moveTo>
                    <a:cubicBezTo>
                      <a:pt x="33" y="33"/>
                      <a:pt x="28" y="36"/>
                      <a:pt x="23" y="36"/>
                    </a:cubicBezTo>
                    <a:cubicBezTo>
                      <a:pt x="21" y="36"/>
                      <a:pt x="19" y="36"/>
                      <a:pt x="18" y="35"/>
                    </a:cubicBezTo>
                    <a:cubicBezTo>
                      <a:pt x="15" y="34"/>
                      <a:pt x="12" y="31"/>
                      <a:pt x="11" y="28"/>
                    </a:cubicBezTo>
                    <a:cubicBezTo>
                      <a:pt x="9" y="25"/>
                      <a:pt x="9" y="21"/>
                      <a:pt x="11" y="18"/>
                    </a:cubicBezTo>
                    <a:cubicBezTo>
                      <a:pt x="13" y="13"/>
                      <a:pt x="17" y="10"/>
                      <a:pt x="23" y="10"/>
                    </a:cubicBezTo>
                    <a:cubicBezTo>
                      <a:pt x="24" y="10"/>
                      <a:pt x="26" y="10"/>
                      <a:pt x="28" y="11"/>
                    </a:cubicBezTo>
                    <a:cubicBezTo>
                      <a:pt x="31" y="12"/>
                      <a:pt x="33" y="15"/>
                      <a:pt x="35" y="18"/>
                    </a:cubicBezTo>
                    <a:cubicBezTo>
                      <a:pt x="36" y="21"/>
                      <a:pt x="36" y="25"/>
                      <a:pt x="35" y="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ea typeface="+mn-ea"/>
                  <a:cs typeface="+mn-cs"/>
                </a:endParaRPr>
              </a:p>
            </p:txBody>
          </p:sp>
          <p:sp>
            <p:nvSpPr>
              <p:cNvPr id="14" name="Freeform 60">
                <a:extLst>
                  <a:ext uri="{FF2B5EF4-FFF2-40B4-BE49-F238E27FC236}">
                    <a16:creationId xmlns:a16="http://schemas.microsoft.com/office/drawing/2014/main" id="{40A5F2B0-07EA-400B-9298-9B95F73396D7}"/>
                  </a:ext>
                </a:extLst>
              </p:cNvPr>
              <p:cNvSpPr>
                <a:spLocks noEditPoints="1"/>
              </p:cNvSpPr>
              <p:nvPr/>
            </p:nvSpPr>
            <p:spPr bwMode="auto">
              <a:xfrm>
                <a:off x="7605713" y="4868863"/>
                <a:ext cx="377825" cy="381000"/>
              </a:xfrm>
              <a:custGeom>
                <a:avLst/>
                <a:gdLst>
                  <a:gd name="T0" fmla="*/ 101 w 113"/>
                  <a:gd name="T1" fmla="*/ 60 h 114"/>
                  <a:gd name="T2" fmla="*/ 110 w 113"/>
                  <a:gd name="T3" fmla="*/ 48 h 114"/>
                  <a:gd name="T4" fmla="*/ 106 w 113"/>
                  <a:gd name="T5" fmla="*/ 27 h 114"/>
                  <a:gd name="T6" fmla="*/ 90 w 113"/>
                  <a:gd name="T7" fmla="*/ 28 h 114"/>
                  <a:gd name="T8" fmla="*/ 88 w 113"/>
                  <a:gd name="T9" fmla="*/ 12 h 114"/>
                  <a:gd name="T10" fmla="*/ 79 w 113"/>
                  <a:gd name="T11" fmla="*/ 3 h 114"/>
                  <a:gd name="T12" fmla="*/ 66 w 113"/>
                  <a:gd name="T13" fmla="*/ 3 h 114"/>
                  <a:gd name="T14" fmla="*/ 53 w 113"/>
                  <a:gd name="T15" fmla="*/ 13 h 114"/>
                  <a:gd name="T16" fmla="*/ 42 w 113"/>
                  <a:gd name="T17" fmla="*/ 1 h 114"/>
                  <a:gd name="T18" fmla="*/ 34 w 113"/>
                  <a:gd name="T19" fmla="*/ 4 h 114"/>
                  <a:gd name="T20" fmla="*/ 25 w 113"/>
                  <a:gd name="T21" fmla="*/ 13 h 114"/>
                  <a:gd name="T22" fmla="*/ 23 w 113"/>
                  <a:gd name="T23" fmla="*/ 29 h 114"/>
                  <a:gd name="T24" fmla="*/ 7 w 113"/>
                  <a:gd name="T25" fmla="*/ 28 h 114"/>
                  <a:gd name="T26" fmla="*/ 3 w 113"/>
                  <a:gd name="T27" fmla="*/ 36 h 114"/>
                  <a:gd name="T28" fmla="*/ 3 w 113"/>
                  <a:gd name="T29" fmla="*/ 48 h 114"/>
                  <a:gd name="T30" fmla="*/ 13 w 113"/>
                  <a:gd name="T31" fmla="*/ 61 h 114"/>
                  <a:gd name="T32" fmla="*/ 1 w 113"/>
                  <a:gd name="T33" fmla="*/ 72 h 114"/>
                  <a:gd name="T34" fmla="*/ 3 w 113"/>
                  <a:gd name="T35" fmla="*/ 80 h 114"/>
                  <a:gd name="T36" fmla="*/ 12 w 113"/>
                  <a:gd name="T37" fmla="*/ 89 h 114"/>
                  <a:gd name="T38" fmla="*/ 28 w 113"/>
                  <a:gd name="T39" fmla="*/ 91 h 114"/>
                  <a:gd name="T40" fmla="*/ 28 w 113"/>
                  <a:gd name="T41" fmla="*/ 107 h 114"/>
                  <a:gd name="T42" fmla="*/ 42 w 113"/>
                  <a:gd name="T43" fmla="*/ 113 h 114"/>
                  <a:gd name="T44" fmla="*/ 48 w 113"/>
                  <a:gd name="T45" fmla="*/ 111 h 114"/>
                  <a:gd name="T46" fmla="*/ 60 w 113"/>
                  <a:gd name="T47" fmla="*/ 101 h 114"/>
                  <a:gd name="T48" fmla="*/ 71 w 113"/>
                  <a:gd name="T49" fmla="*/ 113 h 114"/>
                  <a:gd name="T50" fmla="*/ 88 w 113"/>
                  <a:gd name="T51" fmla="*/ 101 h 114"/>
                  <a:gd name="T52" fmla="*/ 90 w 113"/>
                  <a:gd name="T53" fmla="*/ 85 h 114"/>
                  <a:gd name="T54" fmla="*/ 107 w 113"/>
                  <a:gd name="T55" fmla="*/ 86 h 114"/>
                  <a:gd name="T56" fmla="*/ 113 w 113"/>
                  <a:gd name="T57" fmla="*/ 71 h 114"/>
                  <a:gd name="T58" fmla="*/ 101 w 113"/>
                  <a:gd name="T59" fmla="*/ 75 h 114"/>
                  <a:gd name="T60" fmla="*/ 90 w 113"/>
                  <a:gd name="T61" fmla="*/ 75 h 114"/>
                  <a:gd name="T62" fmla="*/ 77 w 113"/>
                  <a:gd name="T63" fmla="*/ 85 h 114"/>
                  <a:gd name="T64" fmla="*/ 78 w 113"/>
                  <a:gd name="T65" fmla="*/ 100 h 114"/>
                  <a:gd name="T66" fmla="*/ 67 w 113"/>
                  <a:gd name="T67" fmla="*/ 93 h 114"/>
                  <a:gd name="T68" fmla="*/ 51 w 113"/>
                  <a:gd name="T69" fmla="*/ 91 h 114"/>
                  <a:gd name="T70" fmla="*/ 41 w 113"/>
                  <a:gd name="T71" fmla="*/ 103 h 114"/>
                  <a:gd name="T72" fmla="*/ 36 w 113"/>
                  <a:gd name="T73" fmla="*/ 100 h 114"/>
                  <a:gd name="T74" fmla="*/ 36 w 113"/>
                  <a:gd name="T75" fmla="*/ 85 h 114"/>
                  <a:gd name="T76" fmla="*/ 24 w 113"/>
                  <a:gd name="T77" fmla="*/ 76 h 114"/>
                  <a:gd name="T78" fmla="*/ 12 w 113"/>
                  <a:gd name="T79" fmla="*/ 76 h 114"/>
                  <a:gd name="T80" fmla="*/ 11 w 113"/>
                  <a:gd name="T81" fmla="*/ 73 h 114"/>
                  <a:gd name="T82" fmla="*/ 23 w 113"/>
                  <a:gd name="T83" fmla="*/ 63 h 114"/>
                  <a:gd name="T84" fmla="*/ 20 w 113"/>
                  <a:gd name="T85" fmla="*/ 47 h 114"/>
                  <a:gd name="T86" fmla="*/ 12 w 113"/>
                  <a:gd name="T87" fmla="*/ 39 h 114"/>
                  <a:gd name="T88" fmla="*/ 13 w 113"/>
                  <a:gd name="T89" fmla="*/ 36 h 114"/>
                  <a:gd name="T90" fmla="*/ 29 w 113"/>
                  <a:gd name="T91" fmla="*/ 37 h 114"/>
                  <a:gd name="T92" fmla="*/ 38 w 113"/>
                  <a:gd name="T93" fmla="*/ 24 h 114"/>
                  <a:gd name="T94" fmla="*/ 37 w 113"/>
                  <a:gd name="T95" fmla="*/ 13 h 114"/>
                  <a:gd name="T96" fmla="*/ 41 w 113"/>
                  <a:gd name="T97" fmla="*/ 11 h 114"/>
                  <a:gd name="T98" fmla="*/ 51 w 113"/>
                  <a:gd name="T99" fmla="*/ 23 h 114"/>
                  <a:gd name="T100" fmla="*/ 67 w 113"/>
                  <a:gd name="T101" fmla="*/ 21 h 114"/>
                  <a:gd name="T102" fmla="*/ 75 w 113"/>
                  <a:gd name="T103" fmla="*/ 12 h 114"/>
                  <a:gd name="T104" fmla="*/ 75 w 113"/>
                  <a:gd name="T105" fmla="*/ 24 h 114"/>
                  <a:gd name="T106" fmla="*/ 84 w 113"/>
                  <a:gd name="T107" fmla="*/ 37 h 114"/>
                  <a:gd name="T108" fmla="*/ 100 w 113"/>
                  <a:gd name="T109" fmla="*/ 36 h 114"/>
                  <a:gd name="T110" fmla="*/ 93 w 113"/>
                  <a:gd name="T111" fmla="*/ 47 h 114"/>
                  <a:gd name="T112" fmla="*/ 91 w 113"/>
                  <a:gd name="T113" fmla="*/ 62 h 114"/>
                  <a:gd name="T114" fmla="*/ 102 w 113"/>
                  <a:gd name="T115" fmla="*/ 7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3" h="114">
                    <a:moveTo>
                      <a:pt x="110" y="66"/>
                    </a:moveTo>
                    <a:cubicBezTo>
                      <a:pt x="101" y="60"/>
                      <a:pt x="101" y="60"/>
                      <a:pt x="101" y="60"/>
                    </a:cubicBezTo>
                    <a:cubicBezTo>
                      <a:pt x="101" y="58"/>
                      <a:pt x="101" y="56"/>
                      <a:pt x="101" y="53"/>
                    </a:cubicBezTo>
                    <a:cubicBezTo>
                      <a:pt x="110" y="48"/>
                      <a:pt x="110" y="48"/>
                      <a:pt x="110" y="48"/>
                    </a:cubicBezTo>
                    <a:cubicBezTo>
                      <a:pt x="112" y="47"/>
                      <a:pt x="113" y="44"/>
                      <a:pt x="113" y="42"/>
                    </a:cubicBezTo>
                    <a:cubicBezTo>
                      <a:pt x="111" y="37"/>
                      <a:pt x="109" y="32"/>
                      <a:pt x="106" y="27"/>
                    </a:cubicBezTo>
                    <a:cubicBezTo>
                      <a:pt x="105" y="26"/>
                      <a:pt x="103" y="25"/>
                      <a:pt x="101" y="25"/>
                    </a:cubicBezTo>
                    <a:cubicBezTo>
                      <a:pt x="90" y="28"/>
                      <a:pt x="90" y="28"/>
                      <a:pt x="90" y="28"/>
                    </a:cubicBezTo>
                    <a:cubicBezTo>
                      <a:pt x="89" y="26"/>
                      <a:pt x="87" y="25"/>
                      <a:pt x="85" y="23"/>
                    </a:cubicBezTo>
                    <a:cubicBezTo>
                      <a:pt x="88" y="12"/>
                      <a:pt x="88" y="12"/>
                      <a:pt x="88" y="12"/>
                    </a:cubicBezTo>
                    <a:cubicBezTo>
                      <a:pt x="89" y="10"/>
                      <a:pt x="88" y="8"/>
                      <a:pt x="86" y="7"/>
                    </a:cubicBezTo>
                    <a:cubicBezTo>
                      <a:pt x="83" y="6"/>
                      <a:pt x="81" y="4"/>
                      <a:pt x="79" y="3"/>
                    </a:cubicBezTo>
                    <a:cubicBezTo>
                      <a:pt x="76" y="2"/>
                      <a:pt x="74" y="2"/>
                      <a:pt x="71" y="1"/>
                    </a:cubicBezTo>
                    <a:cubicBezTo>
                      <a:pt x="69" y="0"/>
                      <a:pt x="67" y="1"/>
                      <a:pt x="66" y="3"/>
                    </a:cubicBezTo>
                    <a:cubicBezTo>
                      <a:pt x="60" y="13"/>
                      <a:pt x="60" y="13"/>
                      <a:pt x="60" y="13"/>
                    </a:cubicBezTo>
                    <a:cubicBezTo>
                      <a:pt x="58" y="13"/>
                      <a:pt x="55" y="13"/>
                      <a:pt x="53" y="13"/>
                    </a:cubicBezTo>
                    <a:cubicBezTo>
                      <a:pt x="47" y="3"/>
                      <a:pt x="47" y="3"/>
                      <a:pt x="47" y="3"/>
                    </a:cubicBezTo>
                    <a:cubicBezTo>
                      <a:pt x="46" y="1"/>
                      <a:pt x="44" y="0"/>
                      <a:pt x="42" y="1"/>
                    </a:cubicBezTo>
                    <a:cubicBezTo>
                      <a:pt x="39" y="2"/>
                      <a:pt x="37" y="2"/>
                      <a:pt x="35" y="3"/>
                    </a:cubicBezTo>
                    <a:cubicBezTo>
                      <a:pt x="34" y="4"/>
                      <a:pt x="34" y="4"/>
                      <a:pt x="34" y="4"/>
                    </a:cubicBezTo>
                    <a:cubicBezTo>
                      <a:pt x="31" y="5"/>
                      <a:pt x="29" y="6"/>
                      <a:pt x="27" y="7"/>
                    </a:cubicBezTo>
                    <a:cubicBezTo>
                      <a:pt x="25" y="8"/>
                      <a:pt x="24" y="10"/>
                      <a:pt x="25" y="13"/>
                    </a:cubicBezTo>
                    <a:cubicBezTo>
                      <a:pt x="28" y="24"/>
                      <a:pt x="28" y="24"/>
                      <a:pt x="28" y="24"/>
                    </a:cubicBezTo>
                    <a:cubicBezTo>
                      <a:pt x="26" y="25"/>
                      <a:pt x="24" y="27"/>
                      <a:pt x="23" y="29"/>
                    </a:cubicBezTo>
                    <a:cubicBezTo>
                      <a:pt x="12" y="26"/>
                      <a:pt x="12" y="26"/>
                      <a:pt x="12" y="26"/>
                    </a:cubicBezTo>
                    <a:cubicBezTo>
                      <a:pt x="10" y="25"/>
                      <a:pt x="8" y="26"/>
                      <a:pt x="7" y="28"/>
                    </a:cubicBezTo>
                    <a:cubicBezTo>
                      <a:pt x="5" y="30"/>
                      <a:pt x="4" y="32"/>
                      <a:pt x="3" y="34"/>
                    </a:cubicBezTo>
                    <a:cubicBezTo>
                      <a:pt x="3" y="36"/>
                      <a:pt x="3" y="36"/>
                      <a:pt x="3" y="36"/>
                    </a:cubicBezTo>
                    <a:cubicBezTo>
                      <a:pt x="2" y="38"/>
                      <a:pt x="1" y="40"/>
                      <a:pt x="1" y="43"/>
                    </a:cubicBezTo>
                    <a:cubicBezTo>
                      <a:pt x="0" y="45"/>
                      <a:pt x="1" y="47"/>
                      <a:pt x="3" y="48"/>
                    </a:cubicBezTo>
                    <a:cubicBezTo>
                      <a:pt x="13" y="54"/>
                      <a:pt x="13" y="54"/>
                      <a:pt x="13" y="54"/>
                    </a:cubicBezTo>
                    <a:cubicBezTo>
                      <a:pt x="12" y="56"/>
                      <a:pt x="12" y="58"/>
                      <a:pt x="13" y="61"/>
                    </a:cubicBezTo>
                    <a:cubicBezTo>
                      <a:pt x="3" y="66"/>
                      <a:pt x="3" y="66"/>
                      <a:pt x="3" y="66"/>
                    </a:cubicBezTo>
                    <a:cubicBezTo>
                      <a:pt x="1" y="68"/>
                      <a:pt x="0" y="70"/>
                      <a:pt x="1" y="72"/>
                    </a:cubicBezTo>
                    <a:cubicBezTo>
                      <a:pt x="1" y="74"/>
                      <a:pt x="2" y="77"/>
                      <a:pt x="3" y="79"/>
                    </a:cubicBezTo>
                    <a:cubicBezTo>
                      <a:pt x="3" y="80"/>
                      <a:pt x="3" y="80"/>
                      <a:pt x="3" y="80"/>
                    </a:cubicBezTo>
                    <a:cubicBezTo>
                      <a:pt x="4" y="82"/>
                      <a:pt x="6" y="84"/>
                      <a:pt x="7" y="87"/>
                    </a:cubicBezTo>
                    <a:cubicBezTo>
                      <a:pt x="8" y="88"/>
                      <a:pt x="10" y="89"/>
                      <a:pt x="12" y="89"/>
                    </a:cubicBezTo>
                    <a:cubicBezTo>
                      <a:pt x="23" y="86"/>
                      <a:pt x="23" y="86"/>
                      <a:pt x="23" y="86"/>
                    </a:cubicBezTo>
                    <a:cubicBezTo>
                      <a:pt x="25" y="88"/>
                      <a:pt x="26" y="89"/>
                      <a:pt x="28" y="91"/>
                    </a:cubicBezTo>
                    <a:cubicBezTo>
                      <a:pt x="25" y="102"/>
                      <a:pt x="25" y="102"/>
                      <a:pt x="25" y="102"/>
                    </a:cubicBezTo>
                    <a:cubicBezTo>
                      <a:pt x="25" y="104"/>
                      <a:pt x="26" y="106"/>
                      <a:pt x="28" y="107"/>
                    </a:cubicBezTo>
                    <a:cubicBezTo>
                      <a:pt x="30" y="108"/>
                      <a:pt x="32" y="110"/>
                      <a:pt x="35" y="111"/>
                    </a:cubicBezTo>
                    <a:cubicBezTo>
                      <a:pt x="37" y="112"/>
                      <a:pt x="40" y="112"/>
                      <a:pt x="42" y="113"/>
                    </a:cubicBezTo>
                    <a:cubicBezTo>
                      <a:pt x="43" y="113"/>
                      <a:pt x="43" y="113"/>
                      <a:pt x="44" y="113"/>
                    </a:cubicBezTo>
                    <a:cubicBezTo>
                      <a:pt x="45" y="113"/>
                      <a:pt x="47" y="112"/>
                      <a:pt x="48" y="111"/>
                    </a:cubicBezTo>
                    <a:cubicBezTo>
                      <a:pt x="53" y="101"/>
                      <a:pt x="53" y="101"/>
                      <a:pt x="53" y="101"/>
                    </a:cubicBezTo>
                    <a:cubicBezTo>
                      <a:pt x="56" y="101"/>
                      <a:pt x="58" y="101"/>
                      <a:pt x="60" y="101"/>
                    </a:cubicBezTo>
                    <a:cubicBezTo>
                      <a:pt x="66" y="111"/>
                      <a:pt x="66" y="111"/>
                      <a:pt x="66" y="111"/>
                    </a:cubicBezTo>
                    <a:cubicBezTo>
                      <a:pt x="67" y="113"/>
                      <a:pt x="69" y="114"/>
                      <a:pt x="71" y="113"/>
                    </a:cubicBezTo>
                    <a:cubicBezTo>
                      <a:pt x="77" y="112"/>
                      <a:pt x="82" y="110"/>
                      <a:pt x="86" y="107"/>
                    </a:cubicBezTo>
                    <a:cubicBezTo>
                      <a:pt x="88" y="106"/>
                      <a:pt x="89" y="104"/>
                      <a:pt x="88" y="101"/>
                    </a:cubicBezTo>
                    <a:cubicBezTo>
                      <a:pt x="85" y="90"/>
                      <a:pt x="85" y="90"/>
                      <a:pt x="85" y="90"/>
                    </a:cubicBezTo>
                    <a:cubicBezTo>
                      <a:pt x="87" y="89"/>
                      <a:pt x="89" y="87"/>
                      <a:pt x="90" y="85"/>
                    </a:cubicBezTo>
                    <a:cubicBezTo>
                      <a:pt x="101" y="88"/>
                      <a:pt x="101" y="88"/>
                      <a:pt x="101" y="88"/>
                    </a:cubicBezTo>
                    <a:cubicBezTo>
                      <a:pt x="103" y="89"/>
                      <a:pt x="106" y="88"/>
                      <a:pt x="107" y="86"/>
                    </a:cubicBezTo>
                    <a:cubicBezTo>
                      <a:pt x="108" y="84"/>
                      <a:pt x="109" y="81"/>
                      <a:pt x="110" y="79"/>
                    </a:cubicBezTo>
                    <a:cubicBezTo>
                      <a:pt x="111" y="77"/>
                      <a:pt x="112" y="74"/>
                      <a:pt x="113" y="71"/>
                    </a:cubicBezTo>
                    <a:cubicBezTo>
                      <a:pt x="113" y="69"/>
                      <a:pt x="112" y="67"/>
                      <a:pt x="110" y="66"/>
                    </a:cubicBezTo>
                    <a:close/>
                    <a:moveTo>
                      <a:pt x="101" y="75"/>
                    </a:moveTo>
                    <a:cubicBezTo>
                      <a:pt x="101" y="76"/>
                      <a:pt x="101" y="77"/>
                      <a:pt x="100" y="78"/>
                    </a:cubicBezTo>
                    <a:cubicBezTo>
                      <a:pt x="90" y="75"/>
                      <a:pt x="90" y="75"/>
                      <a:pt x="90" y="75"/>
                    </a:cubicBezTo>
                    <a:cubicBezTo>
                      <a:pt x="88" y="75"/>
                      <a:pt x="86" y="76"/>
                      <a:pt x="85" y="77"/>
                    </a:cubicBezTo>
                    <a:cubicBezTo>
                      <a:pt x="83" y="80"/>
                      <a:pt x="80" y="83"/>
                      <a:pt x="77" y="85"/>
                    </a:cubicBezTo>
                    <a:cubicBezTo>
                      <a:pt x="75" y="86"/>
                      <a:pt x="75" y="88"/>
                      <a:pt x="75" y="90"/>
                    </a:cubicBezTo>
                    <a:cubicBezTo>
                      <a:pt x="78" y="100"/>
                      <a:pt x="78" y="100"/>
                      <a:pt x="78" y="100"/>
                    </a:cubicBezTo>
                    <a:cubicBezTo>
                      <a:pt x="76" y="101"/>
                      <a:pt x="74" y="102"/>
                      <a:pt x="72" y="103"/>
                    </a:cubicBezTo>
                    <a:cubicBezTo>
                      <a:pt x="67" y="93"/>
                      <a:pt x="67" y="93"/>
                      <a:pt x="67" y="93"/>
                    </a:cubicBezTo>
                    <a:cubicBezTo>
                      <a:pt x="66" y="92"/>
                      <a:pt x="64" y="91"/>
                      <a:pt x="62" y="91"/>
                    </a:cubicBezTo>
                    <a:cubicBezTo>
                      <a:pt x="59" y="92"/>
                      <a:pt x="55" y="92"/>
                      <a:pt x="51" y="91"/>
                    </a:cubicBezTo>
                    <a:cubicBezTo>
                      <a:pt x="49" y="91"/>
                      <a:pt x="48" y="92"/>
                      <a:pt x="47" y="93"/>
                    </a:cubicBezTo>
                    <a:cubicBezTo>
                      <a:pt x="41" y="103"/>
                      <a:pt x="41" y="103"/>
                      <a:pt x="41" y="103"/>
                    </a:cubicBezTo>
                    <a:cubicBezTo>
                      <a:pt x="40" y="102"/>
                      <a:pt x="39" y="102"/>
                      <a:pt x="38" y="102"/>
                    </a:cubicBezTo>
                    <a:cubicBezTo>
                      <a:pt x="37" y="101"/>
                      <a:pt x="36" y="101"/>
                      <a:pt x="36" y="100"/>
                    </a:cubicBezTo>
                    <a:cubicBezTo>
                      <a:pt x="38" y="90"/>
                      <a:pt x="38" y="90"/>
                      <a:pt x="38" y="90"/>
                    </a:cubicBezTo>
                    <a:cubicBezTo>
                      <a:pt x="39" y="88"/>
                      <a:pt x="38" y="86"/>
                      <a:pt x="36" y="85"/>
                    </a:cubicBezTo>
                    <a:cubicBezTo>
                      <a:pt x="34" y="83"/>
                      <a:pt x="31" y="80"/>
                      <a:pt x="29" y="77"/>
                    </a:cubicBezTo>
                    <a:cubicBezTo>
                      <a:pt x="28" y="76"/>
                      <a:pt x="26" y="75"/>
                      <a:pt x="24" y="76"/>
                    </a:cubicBezTo>
                    <a:cubicBezTo>
                      <a:pt x="13" y="78"/>
                      <a:pt x="13" y="78"/>
                      <a:pt x="13" y="78"/>
                    </a:cubicBezTo>
                    <a:cubicBezTo>
                      <a:pt x="13" y="78"/>
                      <a:pt x="13" y="77"/>
                      <a:pt x="12" y="76"/>
                    </a:cubicBezTo>
                    <a:cubicBezTo>
                      <a:pt x="12" y="75"/>
                      <a:pt x="12" y="75"/>
                      <a:pt x="12" y="75"/>
                    </a:cubicBezTo>
                    <a:cubicBezTo>
                      <a:pt x="12" y="74"/>
                      <a:pt x="11" y="74"/>
                      <a:pt x="11" y="73"/>
                    </a:cubicBezTo>
                    <a:cubicBezTo>
                      <a:pt x="20" y="67"/>
                      <a:pt x="20" y="67"/>
                      <a:pt x="20" y="67"/>
                    </a:cubicBezTo>
                    <a:cubicBezTo>
                      <a:pt x="22" y="66"/>
                      <a:pt x="23" y="64"/>
                      <a:pt x="23" y="63"/>
                    </a:cubicBezTo>
                    <a:cubicBezTo>
                      <a:pt x="22" y="59"/>
                      <a:pt x="22" y="55"/>
                      <a:pt x="23" y="52"/>
                    </a:cubicBezTo>
                    <a:cubicBezTo>
                      <a:pt x="23" y="50"/>
                      <a:pt x="22" y="48"/>
                      <a:pt x="20" y="47"/>
                    </a:cubicBezTo>
                    <a:cubicBezTo>
                      <a:pt x="11" y="42"/>
                      <a:pt x="11" y="42"/>
                      <a:pt x="11" y="42"/>
                    </a:cubicBezTo>
                    <a:cubicBezTo>
                      <a:pt x="11" y="41"/>
                      <a:pt x="11" y="40"/>
                      <a:pt x="12" y="39"/>
                    </a:cubicBezTo>
                    <a:cubicBezTo>
                      <a:pt x="12" y="38"/>
                      <a:pt x="12" y="38"/>
                      <a:pt x="12" y="38"/>
                    </a:cubicBezTo>
                    <a:cubicBezTo>
                      <a:pt x="13" y="37"/>
                      <a:pt x="13" y="37"/>
                      <a:pt x="13" y="36"/>
                    </a:cubicBezTo>
                    <a:cubicBezTo>
                      <a:pt x="24" y="39"/>
                      <a:pt x="24" y="39"/>
                      <a:pt x="24" y="39"/>
                    </a:cubicBezTo>
                    <a:cubicBezTo>
                      <a:pt x="25" y="39"/>
                      <a:pt x="27" y="38"/>
                      <a:pt x="29" y="37"/>
                    </a:cubicBezTo>
                    <a:cubicBezTo>
                      <a:pt x="31" y="34"/>
                      <a:pt x="33" y="31"/>
                      <a:pt x="36" y="29"/>
                    </a:cubicBezTo>
                    <a:cubicBezTo>
                      <a:pt x="38" y="28"/>
                      <a:pt x="39" y="26"/>
                      <a:pt x="38" y="24"/>
                    </a:cubicBezTo>
                    <a:cubicBezTo>
                      <a:pt x="35" y="14"/>
                      <a:pt x="35" y="14"/>
                      <a:pt x="35" y="14"/>
                    </a:cubicBezTo>
                    <a:cubicBezTo>
                      <a:pt x="36" y="13"/>
                      <a:pt x="37" y="13"/>
                      <a:pt x="37" y="13"/>
                    </a:cubicBezTo>
                    <a:cubicBezTo>
                      <a:pt x="38" y="12"/>
                      <a:pt x="38" y="12"/>
                      <a:pt x="38" y="12"/>
                    </a:cubicBezTo>
                    <a:cubicBezTo>
                      <a:pt x="39" y="12"/>
                      <a:pt x="40" y="12"/>
                      <a:pt x="41" y="11"/>
                    </a:cubicBezTo>
                    <a:cubicBezTo>
                      <a:pt x="46" y="21"/>
                      <a:pt x="46" y="21"/>
                      <a:pt x="46" y="21"/>
                    </a:cubicBezTo>
                    <a:cubicBezTo>
                      <a:pt x="47" y="22"/>
                      <a:pt x="49" y="23"/>
                      <a:pt x="51" y="23"/>
                    </a:cubicBezTo>
                    <a:cubicBezTo>
                      <a:pt x="55" y="22"/>
                      <a:pt x="58" y="22"/>
                      <a:pt x="62" y="23"/>
                    </a:cubicBezTo>
                    <a:cubicBezTo>
                      <a:pt x="64" y="23"/>
                      <a:pt x="66" y="22"/>
                      <a:pt x="67" y="21"/>
                    </a:cubicBezTo>
                    <a:cubicBezTo>
                      <a:pt x="72" y="11"/>
                      <a:pt x="72" y="11"/>
                      <a:pt x="72" y="11"/>
                    </a:cubicBezTo>
                    <a:cubicBezTo>
                      <a:pt x="73" y="12"/>
                      <a:pt x="74" y="12"/>
                      <a:pt x="75" y="12"/>
                    </a:cubicBezTo>
                    <a:cubicBezTo>
                      <a:pt x="76" y="13"/>
                      <a:pt x="77" y="13"/>
                      <a:pt x="78" y="14"/>
                    </a:cubicBezTo>
                    <a:cubicBezTo>
                      <a:pt x="75" y="24"/>
                      <a:pt x="75" y="24"/>
                      <a:pt x="75" y="24"/>
                    </a:cubicBezTo>
                    <a:cubicBezTo>
                      <a:pt x="75" y="26"/>
                      <a:pt x="75" y="28"/>
                      <a:pt x="77" y="29"/>
                    </a:cubicBezTo>
                    <a:cubicBezTo>
                      <a:pt x="80" y="31"/>
                      <a:pt x="82" y="34"/>
                      <a:pt x="84" y="37"/>
                    </a:cubicBezTo>
                    <a:cubicBezTo>
                      <a:pt x="86" y="38"/>
                      <a:pt x="88" y="39"/>
                      <a:pt x="90" y="38"/>
                    </a:cubicBezTo>
                    <a:cubicBezTo>
                      <a:pt x="100" y="36"/>
                      <a:pt x="100" y="36"/>
                      <a:pt x="100" y="36"/>
                    </a:cubicBezTo>
                    <a:cubicBezTo>
                      <a:pt x="101" y="37"/>
                      <a:pt x="102" y="39"/>
                      <a:pt x="102" y="41"/>
                    </a:cubicBezTo>
                    <a:cubicBezTo>
                      <a:pt x="93" y="47"/>
                      <a:pt x="93" y="47"/>
                      <a:pt x="93" y="47"/>
                    </a:cubicBezTo>
                    <a:cubicBezTo>
                      <a:pt x="91" y="48"/>
                      <a:pt x="90" y="50"/>
                      <a:pt x="91" y="52"/>
                    </a:cubicBezTo>
                    <a:cubicBezTo>
                      <a:pt x="91" y="55"/>
                      <a:pt x="91" y="59"/>
                      <a:pt x="91" y="62"/>
                    </a:cubicBezTo>
                    <a:cubicBezTo>
                      <a:pt x="90" y="64"/>
                      <a:pt x="91" y="66"/>
                      <a:pt x="93" y="67"/>
                    </a:cubicBezTo>
                    <a:cubicBezTo>
                      <a:pt x="102" y="72"/>
                      <a:pt x="102" y="72"/>
                      <a:pt x="102" y="72"/>
                    </a:cubicBezTo>
                    <a:cubicBezTo>
                      <a:pt x="102" y="73"/>
                      <a:pt x="102" y="74"/>
                      <a:pt x="101" y="7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ea typeface="+mn-ea"/>
                  <a:cs typeface="+mn-cs"/>
                </a:endParaRPr>
              </a:p>
            </p:txBody>
          </p:sp>
        </p:grpSp>
        <p:sp>
          <p:nvSpPr>
            <p:cNvPr id="9" name="TextBox 8">
              <a:extLst>
                <a:ext uri="{FF2B5EF4-FFF2-40B4-BE49-F238E27FC236}">
                  <a16:creationId xmlns:a16="http://schemas.microsoft.com/office/drawing/2014/main" id="{632B437A-18CD-4FD7-B98E-52EE08E2DCBE}"/>
                </a:ext>
              </a:extLst>
            </p:cNvPr>
            <p:cNvSpPr txBox="1"/>
            <p:nvPr/>
          </p:nvSpPr>
          <p:spPr>
            <a:xfrm>
              <a:off x="5146040" y="1778000"/>
              <a:ext cx="205232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ea typeface="+mn-ea"/>
                  <a:cs typeface="+mn-cs"/>
                </a:rPr>
                <a:t>Pricing Engine</a:t>
              </a:r>
            </a:p>
          </p:txBody>
        </p:sp>
        <p:sp>
          <p:nvSpPr>
            <p:cNvPr id="10" name="TextBox 9">
              <a:extLst>
                <a:ext uri="{FF2B5EF4-FFF2-40B4-BE49-F238E27FC236}">
                  <a16:creationId xmlns:a16="http://schemas.microsoft.com/office/drawing/2014/main" id="{74BF72C2-DEE7-4270-8183-9C702FA7EA15}"/>
                </a:ext>
              </a:extLst>
            </p:cNvPr>
            <p:cNvSpPr txBox="1"/>
            <p:nvPr/>
          </p:nvSpPr>
          <p:spPr>
            <a:xfrm>
              <a:off x="5146040" y="3850404"/>
              <a:ext cx="2052320"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Location-specific </a:t>
              </a:r>
              <a:r>
                <a:rPr kumimoji="0" lang="en-US" sz="1200" b="0" i="0" u="none" strike="noStrike" kern="1200" cap="none" spc="0" normalizeH="0" baseline="0" noProof="0" dirty="0">
                  <a:ln>
                    <a:noFill/>
                  </a:ln>
                  <a:solidFill>
                    <a:srgbClr val="000000"/>
                  </a:solidFill>
                  <a:effectLst/>
                  <a:uLnTx/>
                  <a:uFillTx/>
                  <a:ea typeface="+mn-ea"/>
                  <a:cs typeface="+mn-cs"/>
                </a:rPr>
                <a:t>pricing recommendations and </a:t>
              </a:r>
              <a:r>
                <a:rPr kumimoji="0" lang="en-US" sz="1200" b="1" i="0" u="none" strike="noStrike" kern="1200" cap="none" spc="0" normalizeH="0" baseline="0" noProof="0" dirty="0">
                  <a:ln>
                    <a:noFill/>
                  </a:ln>
                  <a:solidFill>
                    <a:srgbClr val="000000"/>
                  </a:solidFill>
                  <a:effectLst/>
                  <a:uLnTx/>
                  <a:uFillTx/>
                  <a:ea typeface="+mn-ea"/>
                  <a:cs typeface="+mn-cs"/>
                </a:rPr>
                <a:t>machine learning capabilities</a:t>
              </a:r>
            </a:p>
          </p:txBody>
        </p:sp>
      </p:grpSp>
      <p:sp>
        <p:nvSpPr>
          <p:cNvPr id="15" name="TextBox 14">
            <a:extLst>
              <a:ext uri="{FF2B5EF4-FFF2-40B4-BE49-F238E27FC236}">
                <a16:creationId xmlns:a16="http://schemas.microsoft.com/office/drawing/2014/main" id="{DAE7C860-4FB6-4A06-BCC2-AFE1949A8CBB}"/>
              </a:ext>
            </a:extLst>
          </p:cNvPr>
          <p:cNvSpPr txBox="1"/>
          <p:nvPr/>
        </p:nvSpPr>
        <p:spPr>
          <a:xfrm>
            <a:off x="1036320" y="1714787"/>
            <a:ext cx="329184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ea typeface="+mn-ea"/>
                <a:cs typeface="+mn-cs"/>
              </a:rPr>
              <a:t>Sample Inputs</a:t>
            </a:r>
          </a:p>
        </p:txBody>
      </p:sp>
      <p:sp>
        <p:nvSpPr>
          <p:cNvPr id="16" name="TextBox 15">
            <a:extLst>
              <a:ext uri="{FF2B5EF4-FFF2-40B4-BE49-F238E27FC236}">
                <a16:creationId xmlns:a16="http://schemas.microsoft.com/office/drawing/2014/main" id="{5263D30D-E5A3-4737-B6FC-A24D363D78EC}"/>
              </a:ext>
            </a:extLst>
          </p:cNvPr>
          <p:cNvSpPr txBox="1"/>
          <p:nvPr/>
        </p:nvSpPr>
        <p:spPr>
          <a:xfrm>
            <a:off x="7599680" y="1714787"/>
            <a:ext cx="329184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ea typeface="+mn-ea"/>
                <a:cs typeface="+mn-cs"/>
              </a:rPr>
              <a:t>Sample Outputs</a:t>
            </a:r>
          </a:p>
        </p:txBody>
      </p:sp>
      <p:sp>
        <p:nvSpPr>
          <p:cNvPr id="17" name="TextBox 16">
            <a:extLst>
              <a:ext uri="{FF2B5EF4-FFF2-40B4-BE49-F238E27FC236}">
                <a16:creationId xmlns:a16="http://schemas.microsoft.com/office/drawing/2014/main" id="{5FAAF15D-7DAA-4B6C-86BB-728D0A6C3CB6}"/>
              </a:ext>
            </a:extLst>
          </p:cNvPr>
          <p:cNvSpPr txBox="1"/>
          <p:nvPr/>
        </p:nvSpPr>
        <p:spPr>
          <a:xfrm>
            <a:off x="1036320" y="2107504"/>
            <a:ext cx="3474720" cy="1996893"/>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mn-cs"/>
              </a:rPr>
              <a:t>Historical Sal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mn-cs"/>
              </a:rPr>
              <a:t>Weather</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mn-cs"/>
              </a:rPr>
              <a:t>Competitive Pric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mn-cs"/>
              </a:rPr>
              <a:t>Promotions Calendar</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mn-cs"/>
              </a:rPr>
              <a:t>Business Rules Logic Check</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mn-cs"/>
              </a:rPr>
              <a:t>Economic Indicators </a:t>
            </a:r>
          </a:p>
        </p:txBody>
      </p:sp>
      <p:sp>
        <p:nvSpPr>
          <p:cNvPr id="18" name="TextBox 17">
            <a:extLst>
              <a:ext uri="{FF2B5EF4-FFF2-40B4-BE49-F238E27FC236}">
                <a16:creationId xmlns:a16="http://schemas.microsoft.com/office/drawing/2014/main" id="{A9F56911-067E-4DFD-9AAD-C7B5850D66DC}"/>
              </a:ext>
            </a:extLst>
          </p:cNvPr>
          <p:cNvSpPr txBox="1"/>
          <p:nvPr/>
        </p:nvSpPr>
        <p:spPr>
          <a:xfrm>
            <a:off x="7599680" y="2107504"/>
            <a:ext cx="3474720"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mn-ea"/>
                <a:cs typeface="+mn-cs"/>
              </a:rPr>
              <a:t>By Ite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mn-cs"/>
              </a:rPr>
              <a:t>Recommended Pri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mn-ea"/>
                <a:cs typeface="+mn-cs"/>
              </a:rPr>
              <a:t>By Sto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mn-cs"/>
              </a:rPr>
              <a:t>Margin and sales growth, estimate and actuals</a:t>
            </a:r>
          </a:p>
        </p:txBody>
      </p:sp>
      <p:grpSp>
        <p:nvGrpSpPr>
          <p:cNvPr id="19" name="Group 18">
            <a:extLst>
              <a:ext uri="{FF2B5EF4-FFF2-40B4-BE49-F238E27FC236}">
                <a16:creationId xmlns:a16="http://schemas.microsoft.com/office/drawing/2014/main" id="{C76A7301-6B95-45F1-B381-D018B58985BD}"/>
              </a:ext>
            </a:extLst>
          </p:cNvPr>
          <p:cNvGrpSpPr/>
          <p:nvPr/>
        </p:nvGrpSpPr>
        <p:grpSpPr>
          <a:xfrm>
            <a:off x="1097280" y="2057023"/>
            <a:ext cx="10064892" cy="50481"/>
            <a:chOff x="1097280" y="2026574"/>
            <a:chExt cx="10064892" cy="50481"/>
          </a:xfrm>
        </p:grpSpPr>
        <p:sp>
          <p:nvSpPr>
            <p:cNvPr id="20" name="object 50">
              <a:extLst>
                <a:ext uri="{FF2B5EF4-FFF2-40B4-BE49-F238E27FC236}">
                  <a16:creationId xmlns:a16="http://schemas.microsoft.com/office/drawing/2014/main" id="{A22B0A2C-1289-443A-A295-D3BFF78C6A95}"/>
                </a:ext>
              </a:extLst>
            </p:cNvPr>
            <p:cNvSpPr/>
            <p:nvPr/>
          </p:nvSpPr>
          <p:spPr>
            <a:xfrm flipV="1">
              <a:off x="1097280" y="2026574"/>
              <a:ext cx="3877452" cy="50481"/>
            </a:xfrm>
            <a:custGeom>
              <a:avLst/>
              <a:gdLst/>
              <a:ahLst/>
              <a:cxnLst/>
              <a:rect l="l" t="t" r="r" b="b"/>
              <a:pathLst>
                <a:path w="13016230">
                  <a:moveTo>
                    <a:pt x="0" y="0"/>
                  </a:moveTo>
                  <a:lnTo>
                    <a:pt x="13015976" y="0"/>
                  </a:lnTo>
                </a:path>
              </a:pathLst>
            </a:custGeom>
            <a:ln w="28575" cmpd="sng">
              <a:solidFill>
                <a:schemeClr val="accent2"/>
              </a:solidFill>
              <a:tailEnd type="triangle" w="med" len="sm"/>
            </a:ln>
          </p:spPr>
          <p:txBody>
            <a:bodyPr wrap="square" lIns="0" tIns="0" rIns="0" bIns="0" rtlCol="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white"/>
                </a:solidFill>
                <a:effectLst/>
                <a:uLnTx/>
                <a:uFillTx/>
                <a:ea typeface="+mn-ea"/>
                <a:cs typeface="Open Sans"/>
              </a:endParaRPr>
            </a:p>
          </p:txBody>
        </p:sp>
        <p:sp>
          <p:nvSpPr>
            <p:cNvPr id="21" name="object 50">
              <a:extLst>
                <a:ext uri="{FF2B5EF4-FFF2-40B4-BE49-F238E27FC236}">
                  <a16:creationId xmlns:a16="http://schemas.microsoft.com/office/drawing/2014/main" id="{9D676226-211B-41FD-9D6E-ED5C923D30E8}"/>
                </a:ext>
              </a:extLst>
            </p:cNvPr>
            <p:cNvSpPr/>
            <p:nvPr/>
          </p:nvSpPr>
          <p:spPr>
            <a:xfrm flipV="1">
              <a:off x="7284720" y="2026574"/>
              <a:ext cx="3877452" cy="50481"/>
            </a:xfrm>
            <a:custGeom>
              <a:avLst/>
              <a:gdLst/>
              <a:ahLst/>
              <a:cxnLst/>
              <a:rect l="l" t="t" r="r" b="b"/>
              <a:pathLst>
                <a:path w="13016230">
                  <a:moveTo>
                    <a:pt x="0" y="0"/>
                  </a:moveTo>
                  <a:lnTo>
                    <a:pt x="13015976" y="0"/>
                  </a:lnTo>
                </a:path>
              </a:pathLst>
            </a:custGeom>
            <a:ln w="28575" cmpd="sng">
              <a:solidFill>
                <a:schemeClr val="accent2"/>
              </a:solidFill>
              <a:tailEnd type="triangle" w="med" len="sm"/>
            </a:ln>
          </p:spPr>
          <p:txBody>
            <a:bodyPr wrap="square" lIns="0" tIns="0" rIns="0" bIns="0" rtlCol="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white"/>
                </a:solidFill>
                <a:effectLst/>
                <a:uLnTx/>
                <a:uFillTx/>
                <a:ea typeface="+mn-ea"/>
                <a:cs typeface="Open Sans"/>
              </a:endParaRPr>
            </a:p>
          </p:txBody>
        </p:sp>
      </p:grpSp>
      <p:grpSp>
        <p:nvGrpSpPr>
          <p:cNvPr id="22" name="Group 21">
            <a:extLst>
              <a:ext uri="{FF2B5EF4-FFF2-40B4-BE49-F238E27FC236}">
                <a16:creationId xmlns:a16="http://schemas.microsoft.com/office/drawing/2014/main" id="{9A3007ED-17F1-4308-B6FF-E384B52B1052}"/>
              </a:ext>
            </a:extLst>
          </p:cNvPr>
          <p:cNvGrpSpPr/>
          <p:nvPr/>
        </p:nvGrpSpPr>
        <p:grpSpPr>
          <a:xfrm>
            <a:off x="1097280" y="5156593"/>
            <a:ext cx="10033000" cy="121186"/>
            <a:chOff x="1097280" y="5126144"/>
            <a:chExt cx="11094720" cy="50481"/>
          </a:xfrm>
        </p:grpSpPr>
        <p:sp>
          <p:nvSpPr>
            <p:cNvPr id="23" name="object 50">
              <a:extLst>
                <a:ext uri="{FF2B5EF4-FFF2-40B4-BE49-F238E27FC236}">
                  <a16:creationId xmlns:a16="http://schemas.microsoft.com/office/drawing/2014/main" id="{13B63E7B-0C29-4912-9A9B-5472169F17E0}"/>
                </a:ext>
              </a:extLst>
            </p:cNvPr>
            <p:cNvSpPr/>
            <p:nvPr/>
          </p:nvSpPr>
          <p:spPr>
            <a:xfrm flipV="1">
              <a:off x="1097280" y="5126144"/>
              <a:ext cx="3877452" cy="50481"/>
            </a:xfrm>
            <a:custGeom>
              <a:avLst/>
              <a:gdLst/>
              <a:ahLst/>
              <a:cxnLst/>
              <a:rect l="l" t="t" r="r" b="b"/>
              <a:pathLst>
                <a:path w="13016230">
                  <a:moveTo>
                    <a:pt x="0" y="0"/>
                  </a:moveTo>
                  <a:lnTo>
                    <a:pt x="13015976" y="0"/>
                  </a:lnTo>
                </a:path>
              </a:pathLst>
            </a:custGeom>
            <a:ln w="28575" cmpd="sng">
              <a:solidFill>
                <a:schemeClr val="accent2"/>
              </a:solidFill>
              <a:tailEnd type="triangle" w="med" len="sm"/>
            </a:ln>
          </p:spPr>
          <p:txBody>
            <a:bodyPr wrap="square" lIns="0" tIns="0" rIns="0" bIns="0" rtlCol="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white"/>
                </a:solidFill>
                <a:effectLst/>
                <a:uLnTx/>
                <a:uFillTx/>
                <a:ea typeface="+mn-ea"/>
                <a:cs typeface="Open Sans"/>
              </a:endParaRPr>
            </a:p>
          </p:txBody>
        </p:sp>
        <p:sp>
          <p:nvSpPr>
            <p:cNvPr id="24" name="object 50">
              <a:extLst>
                <a:ext uri="{FF2B5EF4-FFF2-40B4-BE49-F238E27FC236}">
                  <a16:creationId xmlns:a16="http://schemas.microsoft.com/office/drawing/2014/main" id="{3C086716-0075-4479-90C0-ECE1BFBEC046}"/>
                </a:ext>
              </a:extLst>
            </p:cNvPr>
            <p:cNvSpPr/>
            <p:nvPr/>
          </p:nvSpPr>
          <p:spPr>
            <a:xfrm flipV="1">
              <a:off x="7284720" y="5130906"/>
              <a:ext cx="4907280" cy="45719"/>
            </a:xfrm>
            <a:custGeom>
              <a:avLst/>
              <a:gdLst/>
              <a:ahLst/>
              <a:cxnLst/>
              <a:rect l="l" t="t" r="r" b="b"/>
              <a:pathLst>
                <a:path w="13016230">
                  <a:moveTo>
                    <a:pt x="0" y="0"/>
                  </a:moveTo>
                  <a:lnTo>
                    <a:pt x="13015976" y="0"/>
                  </a:lnTo>
                </a:path>
              </a:pathLst>
            </a:custGeom>
            <a:ln w="28575" cmpd="sng">
              <a:solidFill>
                <a:schemeClr val="accent2"/>
              </a:solidFill>
              <a:tailEnd type="triangle" w="med" len="sm"/>
            </a:ln>
          </p:spPr>
          <p:txBody>
            <a:bodyPr wrap="square" lIns="0" tIns="0" rIns="0" bIns="0" rtlCol="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white"/>
                </a:solidFill>
                <a:effectLst/>
                <a:uLnTx/>
                <a:uFillTx/>
                <a:ea typeface="+mn-ea"/>
                <a:cs typeface="Open Sans"/>
              </a:endParaRPr>
            </a:p>
          </p:txBody>
        </p:sp>
      </p:grpSp>
      <p:grpSp>
        <p:nvGrpSpPr>
          <p:cNvPr id="29" name="Group 28">
            <a:extLst>
              <a:ext uri="{FF2B5EF4-FFF2-40B4-BE49-F238E27FC236}">
                <a16:creationId xmlns:a16="http://schemas.microsoft.com/office/drawing/2014/main" id="{A0DFF129-8662-4194-A0FF-3ABCBCF82D56}"/>
              </a:ext>
            </a:extLst>
          </p:cNvPr>
          <p:cNvGrpSpPr/>
          <p:nvPr/>
        </p:nvGrpSpPr>
        <p:grpSpPr>
          <a:xfrm>
            <a:off x="810873" y="2187902"/>
            <a:ext cx="212434" cy="212434"/>
            <a:chOff x="7211986" y="2505004"/>
            <a:chExt cx="212434" cy="212434"/>
          </a:xfrm>
        </p:grpSpPr>
        <p:sp>
          <p:nvSpPr>
            <p:cNvPr id="30" name="Oval 29">
              <a:extLst>
                <a:ext uri="{FF2B5EF4-FFF2-40B4-BE49-F238E27FC236}">
                  <a16:creationId xmlns:a16="http://schemas.microsoft.com/office/drawing/2014/main" id="{99CD4868-77C5-435E-99C0-4B2F2A602200}"/>
                </a:ext>
              </a:extLst>
            </p:cNvPr>
            <p:cNvSpPr/>
            <p:nvPr/>
          </p:nvSpPr>
          <p:spPr>
            <a:xfrm>
              <a:off x="7211986" y="2505004"/>
              <a:ext cx="212434" cy="212434"/>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31" name="4-Point Star 250">
              <a:extLst>
                <a:ext uri="{FF2B5EF4-FFF2-40B4-BE49-F238E27FC236}">
                  <a16:creationId xmlns:a16="http://schemas.microsoft.com/office/drawing/2014/main" id="{BDC52D3F-0B39-43E7-8203-23AD7D183A3A}"/>
                </a:ext>
              </a:extLst>
            </p:cNvPr>
            <p:cNvSpPr/>
            <p:nvPr/>
          </p:nvSpPr>
          <p:spPr>
            <a:xfrm>
              <a:off x="7243444" y="2536462"/>
              <a:ext cx="149518" cy="149518"/>
            </a:xfrm>
            <a:prstGeom prst="star4">
              <a:avLst>
                <a:gd name="adj" fmla="val 21325"/>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ea typeface="+mn-ea"/>
                <a:cs typeface="+mn-cs"/>
              </a:endParaRPr>
            </a:p>
          </p:txBody>
        </p:sp>
      </p:grpSp>
      <p:grpSp>
        <p:nvGrpSpPr>
          <p:cNvPr id="32" name="Group 31">
            <a:extLst>
              <a:ext uri="{FF2B5EF4-FFF2-40B4-BE49-F238E27FC236}">
                <a16:creationId xmlns:a16="http://schemas.microsoft.com/office/drawing/2014/main" id="{466839B1-4390-4C7A-81C3-C2F259D27D94}"/>
              </a:ext>
            </a:extLst>
          </p:cNvPr>
          <p:cNvGrpSpPr/>
          <p:nvPr/>
        </p:nvGrpSpPr>
        <p:grpSpPr>
          <a:xfrm>
            <a:off x="852491" y="4801633"/>
            <a:ext cx="3936537" cy="285288"/>
            <a:chOff x="852491" y="5988531"/>
            <a:chExt cx="3936537" cy="285288"/>
          </a:xfrm>
        </p:grpSpPr>
        <p:sp>
          <p:nvSpPr>
            <p:cNvPr id="33" name="Rectangle 32">
              <a:extLst>
                <a:ext uri="{FF2B5EF4-FFF2-40B4-BE49-F238E27FC236}">
                  <a16:creationId xmlns:a16="http://schemas.microsoft.com/office/drawing/2014/main" id="{C6461A60-D7AD-4F53-B7BD-EA0200DB8455}"/>
                </a:ext>
              </a:extLst>
            </p:cNvPr>
            <p:cNvSpPr/>
            <p:nvPr/>
          </p:nvSpPr>
          <p:spPr>
            <a:xfrm>
              <a:off x="979028" y="5988531"/>
              <a:ext cx="3810000" cy="2852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dirty="0">
                  <a:ln>
                    <a:noFill/>
                  </a:ln>
                  <a:solidFill>
                    <a:srgbClr val="000000"/>
                  </a:solidFill>
                  <a:effectLst/>
                  <a:uLnTx/>
                  <a:uFillTx/>
                  <a:ea typeface="+mn-ea"/>
                  <a:cs typeface="+mn-cs"/>
                </a:rPr>
                <a:t>Differentiated engine inputs versus current vendor</a:t>
              </a:r>
              <a:endParaRPr kumimoji="0" lang="en-US" sz="1100" b="0" i="0" u="none" strike="noStrike" kern="1200" cap="none" spc="0" normalizeH="0" baseline="0" noProof="0" dirty="0">
                <a:ln>
                  <a:noFill/>
                </a:ln>
                <a:solidFill>
                  <a:srgbClr val="000000"/>
                </a:solidFill>
                <a:effectLst/>
                <a:uLnTx/>
                <a:uFillTx/>
                <a:ea typeface="+mn-ea"/>
                <a:cs typeface="+mn-cs"/>
              </a:endParaRPr>
            </a:p>
          </p:txBody>
        </p:sp>
        <p:grpSp>
          <p:nvGrpSpPr>
            <p:cNvPr id="34" name="Group 33">
              <a:extLst>
                <a:ext uri="{FF2B5EF4-FFF2-40B4-BE49-F238E27FC236}">
                  <a16:creationId xmlns:a16="http://schemas.microsoft.com/office/drawing/2014/main" id="{BE4A8DAE-F6A0-4FD5-BABD-F796CD11C79A}"/>
                </a:ext>
              </a:extLst>
            </p:cNvPr>
            <p:cNvGrpSpPr/>
            <p:nvPr/>
          </p:nvGrpSpPr>
          <p:grpSpPr>
            <a:xfrm>
              <a:off x="852491" y="6014798"/>
              <a:ext cx="212434" cy="212434"/>
              <a:chOff x="7211986" y="2505004"/>
              <a:chExt cx="212434" cy="212434"/>
            </a:xfrm>
          </p:grpSpPr>
          <p:sp>
            <p:nvSpPr>
              <p:cNvPr id="35" name="Oval 34">
                <a:extLst>
                  <a:ext uri="{FF2B5EF4-FFF2-40B4-BE49-F238E27FC236}">
                    <a16:creationId xmlns:a16="http://schemas.microsoft.com/office/drawing/2014/main" id="{DB137850-97EA-4C28-9F25-8E481B83269D}"/>
                  </a:ext>
                </a:extLst>
              </p:cNvPr>
              <p:cNvSpPr/>
              <p:nvPr/>
            </p:nvSpPr>
            <p:spPr>
              <a:xfrm>
                <a:off x="7211986" y="2505004"/>
                <a:ext cx="212434" cy="212434"/>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36" name="4-Point Star 250">
                <a:extLst>
                  <a:ext uri="{FF2B5EF4-FFF2-40B4-BE49-F238E27FC236}">
                    <a16:creationId xmlns:a16="http://schemas.microsoft.com/office/drawing/2014/main" id="{7D3CA3B6-045C-489B-A10D-92C678D633B0}"/>
                  </a:ext>
                </a:extLst>
              </p:cNvPr>
              <p:cNvSpPr/>
              <p:nvPr/>
            </p:nvSpPr>
            <p:spPr>
              <a:xfrm>
                <a:off x="7243444" y="2536462"/>
                <a:ext cx="149518" cy="149518"/>
              </a:xfrm>
              <a:prstGeom prst="star4">
                <a:avLst>
                  <a:gd name="adj" fmla="val 21325"/>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ea typeface="+mn-ea"/>
                  <a:cs typeface="+mn-cs"/>
                </a:endParaRPr>
              </a:p>
            </p:txBody>
          </p:sp>
        </p:grpSp>
      </p:grpSp>
      <p:grpSp>
        <p:nvGrpSpPr>
          <p:cNvPr id="37" name="Group 36">
            <a:extLst>
              <a:ext uri="{FF2B5EF4-FFF2-40B4-BE49-F238E27FC236}">
                <a16:creationId xmlns:a16="http://schemas.microsoft.com/office/drawing/2014/main" id="{91E936D0-9226-4164-BC7C-F32A5EA8A6B1}"/>
              </a:ext>
            </a:extLst>
          </p:cNvPr>
          <p:cNvGrpSpPr/>
          <p:nvPr/>
        </p:nvGrpSpPr>
        <p:grpSpPr>
          <a:xfrm>
            <a:off x="810873" y="2590923"/>
            <a:ext cx="212434" cy="212434"/>
            <a:chOff x="7211986" y="2505004"/>
            <a:chExt cx="212434" cy="212434"/>
          </a:xfrm>
        </p:grpSpPr>
        <p:sp>
          <p:nvSpPr>
            <p:cNvPr id="38" name="Oval 37">
              <a:extLst>
                <a:ext uri="{FF2B5EF4-FFF2-40B4-BE49-F238E27FC236}">
                  <a16:creationId xmlns:a16="http://schemas.microsoft.com/office/drawing/2014/main" id="{BB54B239-0A3F-40D7-8628-523663AB48BF}"/>
                </a:ext>
              </a:extLst>
            </p:cNvPr>
            <p:cNvSpPr/>
            <p:nvPr/>
          </p:nvSpPr>
          <p:spPr>
            <a:xfrm>
              <a:off x="7211986" y="2505004"/>
              <a:ext cx="212434" cy="212434"/>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39" name="4-Point Star 250">
              <a:extLst>
                <a:ext uri="{FF2B5EF4-FFF2-40B4-BE49-F238E27FC236}">
                  <a16:creationId xmlns:a16="http://schemas.microsoft.com/office/drawing/2014/main" id="{ACCAA7D9-9564-4B81-B8C5-9B1BF39EF03C}"/>
                </a:ext>
              </a:extLst>
            </p:cNvPr>
            <p:cNvSpPr/>
            <p:nvPr/>
          </p:nvSpPr>
          <p:spPr>
            <a:xfrm>
              <a:off x="7243444" y="2536462"/>
              <a:ext cx="149518" cy="149518"/>
            </a:xfrm>
            <a:prstGeom prst="star4">
              <a:avLst>
                <a:gd name="adj" fmla="val 21325"/>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ea typeface="+mn-ea"/>
                <a:cs typeface="+mn-cs"/>
              </a:endParaRPr>
            </a:p>
          </p:txBody>
        </p:sp>
      </p:grpSp>
      <p:grpSp>
        <p:nvGrpSpPr>
          <p:cNvPr id="40" name="Group 39">
            <a:extLst>
              <a:ext uri="{FF2B5EF4-FFF2-40B4-BE49-F238E27FC236}">
                <a16:creationId xmlns:a16="http://schemas.microsoft.com/office/drawing/2014/main" id="{18A42981-7D98-4AB0-92EC-59CE94C99A68}"/>
              </a:ext>
            </a:extLst>
          </p:cNvPr>
          <p:cNvGrpSpPr/>
          <p:nvPr/>
        </p:nvGrpSpPr>
        <p:grpSpPr>
          <a:xfrm>
            <a:off x="810873" y="2993943"/>
            <a:ext cx="212434" cy="212434"/>
            <a:chOff x="7211986" y="2505004"/>
            <a:chExt cx="212434" cy="212434"/>
          </a:xfrm>
        </p:grpSpPr>
        <p:sp>
          <p:nvSpPr>
            <p:cNvPr id="41" name="Oval 40">
              <a:extLst>
                <a:ext uri="{FF2B5EF4-FFF2-40B4-BE49-F238E27FC236}">
                  <a16:creationId xmlns:a16="http://schemas.microsoft.com/office/drawing/2014/main" id="{C0680B6B-A373-4252-B847-17C2F8FFCF07}"/>
                </a:ext>
              </a:extLst>
            </p:cNvPr>
            <p:cNvSpPr/>
            <p:nvPr/>
          </p:nvSpPr>
          <p:spPr>
            <a:xfrm>
              <a:off x="7211986" y="2505004"/>
              <a:ext cx="212434" cy="212434"/>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42" name="4-Point Star 250">
              <a:extLst>
                <a:ext uri="{FF2B5EF4-FFF2-40B4-BE49-F238E27FC236}">
                  <a16:creationId xmlns:a16="http://schemas.microsoft.com/office/drawing/2014/main" id="{086F35A1-454E-4616-80A8-7D027B6A0F35}"/>
                </a:ext>
              </a:extLst>
            </p:cNvPr>
            <p:cNvSpPr/>
            <p:nvPr/>
          </p:nvSpPr>
          <p:spPr>
            <a:xfrm>
              <a:off x="7243444" y="2536462"/>
              <a:ext cx="149518" cy="149518"/>
            </a:xfrm>
            <a:prstGeom prst="star4">
              <a:avLst>
                <a:gd name="adj" fmla="val 21325"/>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ea typeface="+mn-ea"/>
                <a:cs typeface="+mn-cs"/>
              </a:endParaRPr>
            </a:p>
          </p:txBody>
        </p:sp>
      </p:grpSp>
      <p:grpSp>
        <p:nvGrpSpPr>
          <p:cNvPr id="43" name="Group 42">
            <a:extLst>
              <a:ext uri="{FF2B5EF4-FFF2-40B4-BE49-F238E27FC236}">
                <a16:creationId xmlns:a16="http://schemas.microsoft.com/office/drawing/2014/main" id="{B86667D1-23CF-4023-9550-D32CAAE0C8AF}"/>
              </a:ext>
            </a:extLst>
          </p:cNvPr>
          <p:cNvGrpSpPr/>
          <p:nvPr/>
        </p:nvGrpSpPr>
        <p:grpSpPr>
          <a:xfrm>
            <a:off x="810873" y="3396963"/>
            <a:ext cx="212434" cy="212434"/>
            <a:chOff x="7211986" y="2505004"/>
            <a:chExt cx="212434" cy="212434"/>
          </a:xfrm>
        </p:grpSpPr>
        <p:sp>
          <p:nvSpPr>
            <p:cNvPr id="44" name="Oval 43">
              <a:extLst>
                <a:ext uri="{FF2B5EF4-FFF2-40B4-BE49-F238E27FC236}">
                  <a16:creationId xmlns:a16="http://schemas.microsoft.com/office/drawing/2014/main" id="{5D060D87-F69C-4942-A985-DB80FFEA1FF7}"/>
                </a:ext>
              </a:extLst>
            </p:cNvPr>
            <p:cNvSpPr/>
            <p:nvPr/>
          </p:nvSpPr>
          <p:spPr>
            <a:xfrm>
              <a:off x="7211986" y="2505004"/>
              <a:ext cx="212434" cy="212434"/>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45" name="4-Point Star 250">
              <a:extLst>
                <a:ext uri="{FF2B5EF4-FFF2-40B4-BE49-F238E27FC236}">
                  <a16:creationId xmlns:a16="http://schemas.microsoft.com/office/drawing/2014/main" id="{EE60BE6C-79A4-4D0A-B2D5-E971E1169426}"/>
                </a:ext>
              </a:extLst>
            </p:cNvPr>
            <p:cNvSpPr/>
            <p:nvPr/>
          </p:nvSpPr>
          <p:spPr>
            <a:xfrm>
              <a:off x="7243444" y="2536462"/>
              <a:ext cx="149518" cy="149518"/>
            </a:xfrm>
            <a:prstGeom prst="star4">
              <a:avLst>
                <a:gd name="adj" fmla="val 21325"/>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ea typeface="+mn-ea"/>
                <a:cs typeface="+mn-cs"/>
              </a:endParaRPr>
            </a:p>
          </p:txBody>
        </p:sp>
      </p:grpSp>
      <p:grpSp>
        <p:nvGrpSpPr>
          <p:cNvPr id="46" name="Group 45">
            <a:extLst>
              <a:ext uri="{FF2B5EF4-FFF2-40B4-BE49-F238E27FC236}">
                <a16:creationId xmlns:a16="http://schemas.microsoft.com/office/drawing/2014/main" id="{9836F9D0-D06D-46DE-B3A4-7EBEEEEE559E}"/>
              </a:ext>
            </a:extLst>
          </p:cNvPr>
          <p:cNvGrpSpPr/>
          <p:nvPr/>
        </p:nvGrpSpPr>
        <p:grpSpPr>
          <a:xfrm>
            <a:off x="810873" y="3799984"/>
            <a:ext cx="212434" cy="212434"/>
            <a:chOff x="7211986" y="2505004"/>
            <a:chExt cx="212434" cy="212434"/>
          </a:xfrm>
        </p:grpSpPr>
        <p:sp>
          <p:nvSpPr>
            <p:cNvPr id="47" name="Oval 46">
              <a:extLst>
                <a:ext uri="{FF2B5EF4-FFF2-40B4-BE49-F238E27FC236}">
                  <a16:creationId xmlns:a16="http://schemas.microsoft.com/office/drawing/2014/main" id="{BC6B871D-DE36-4E2E-8D29-4F20D5743ABD}"/>
                </a:ext>
              </a:extLst>
            </p:cNvPr>
            <p:cNvSpPr/>
            <p:nvPr/>
          </p:nvSpPr>
          <p:spPr>
            <a:xfrm>
              <a:off x="7211986" y="2505004"/>
              <a:ext cx="212434" cy="212434"/>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48" name="4-Point Star 250">
              <a:extLst>
                <a:ext uri="{FF2B5EF4-FFF2-40B4-BE49-F238E27FC236}">
                  <a16:creationId xmlns:a16="http://schemas.microsoft.com/office/drawing/2014/main" id="{2BB8185E-8F68-4343-AAAD-1FDAC7D94A9C}"/>
                </a:ext>
              </a:extLst>
            </p:cNvPr>
            <p:cNvSpPr/>
            <p:nvPr/>
          </p:nvSpPr>
          <p:spPr>
            <a:xfrm>
              <a:off x="7243444" y="2536462"/>
              <a:ext cx="149518" cy="149518"/>
            </a:xfrm>
            <a:prstGeom prst="star4">
              <a:avLst>
                <a:gd name="adj" fmla="val 21325"/>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ea typeface="+mn-ea"/>
                <a:cs typeface="+mn-cs"/>
              </a:endParaRPr>
            </a:p>
          </p:txBody>
        </p:sp>
      </p:grpSp>
      <p:sp>
        <p:nvSpPr>
          <p:cNvPr id="49" name="Kicker">
            <a:extLst>
              <a:ext uri="{FF2B5EF4-FFF2-40B4-BE49-F238E27FC236}">
                <a16:creationId xmlns:a16="http://schemas.microsoft.com/office/drawing/2014/main" id="{FB5336AE-FBF1-4F34-A279-5E4301323C0F}"/>
              </a:ext>
            </a:extLst>
          </p:cNvPr>
          <p:cNvSpPr txBox="1"/>
          <p:nvPr/>
        </p:nvSpPr>
        <p:spPr>
          <a:xfrm>
            <a:off x="914400" y="5693772"/>
            <a:ext cx="10363200" cy="595741"/>
          </a:xfrm>
          <a:prstGeom prst="rect">
            <a:avLst/>
          </a:prstGeom>
          <a:solidFill>
            <a:schemeClr val="accent2">
              <a:lumMod val="20000"/>
              <a:lumOff val="80000"/>
            </a:schemeClr>
          </a:solidFill>
        </p:spPr>
        <p:txBody>
          <a:bodyPr vert="horz" wrap="square" lIns="88900" tIns="88900" rIns="88900" bIns="88900" rtlCol="0" anchor="ctr">
            <a:noAutofit/>
          </a:bodyPr>
          <a:lstStyle/>
          <a:p>
            <a:pPr marL="0" marR="0" lvl="0" indent="0" algn="ctr" defTabSz="914400" rtl="0" eaLnBrk="1" fontAlgn="auto" latinLnBrk="0" hangingPunct="1">
              <a:lnSpc>
                <a:spcPct val="100000"/>
              </a:lnSpc>
              <a:spcBef>
                <a:spcPct val="20000"/>
              </a:spcBef>
              <a:spcAft>
                <a:spcPct val="0"/>
              </a:spcAft>
              <a:buClrTx/>
              <a:buSzTx/>
              <a:buFontTx/>
              <a:buNone/>
              <a:tabLst/>
              <a:defRPr/>
            </a:pPr>
            <a:r>
              <a:rPr kumimoji="0" lang="en-US" sz="1600" i="0" u="none" strike="noStrike" kern="1200" cap="none" spc="0" normalizeH="0" baseline="0" noProof="0" dirty="0">
                <a:ln>
                  <a:noFill/>
                </a:ln>
                <a:solidFill>
                  <a:srgbClr val="000000"/>
                </a:solidFill>
                <a:effectLst/>
                <a:uLnTx/>
                <a:uFillTx/>
                <a:ea typeface="+mn-ea"/>
                <a:cs typeface="+mn-cs"/>
              </a:rPr>
              <a:t>Pricing engine will drive better recommendations through enhanced inputs and outputs</a:t>
            </a:r>
          </a:p>
        </p:txBody>
      </p:sp>
    </p:spTree>
    <p:extLst>
      <p:ext uri="{BB962C8B-B14F-4D97-AF65-F5344CB8AC3E}">
        <p14:creationId xmlns:p14="http://schemas.microsoft.com/office/powerpoint/2010/main" val="434971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28157E2-9353-4D82-8514-BE3C91C7F37D}"/>
              </a:ext>
            </a:extLst>
          </p:cNvPr>
          <p:cNvGraphicFramePr>
            <a:graphicFrameLocks noChangeAspect="1"/>
          </p:cNvGraphicFramePr>
          <p:nvPr>
            <p:custDataLst>
              <p:tags r:id="rId2"/>
            </p:custDataLst>
            <p:extLst>
              <p:ext uri="{D42A27DB-BD31-4B8C-83A1-F6EECF244321}">
                <p14:modId xmlns:p14="http://schemas.microsoft.com/office/powerpoint/2010/main" val="99608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0" name="think-cell Slide" r:id="rId6" imgW="415" imgH="416" progId="TCLayout.ActiveDocument.1">
                  <p:embed/>
                </p:oleObj>
              </mc:Choice>
              <mc:Fallback>
                <p:oleObj name="think-cell Slide" r:id="rId6" imgW="415" imgH="416" progId="TCLayout.ActiveDocument.1">
                  <p:embed/>
                  <p:pic>
                    <p:nvPicPr>
                      <p:cNvPr id="6" name="Object 5" hidden="1">
                        <a:extLst>
                          <a:ext uri="{FF2B5EF4-FFF2-40B4-BE49-F238E27FC236}">
                            <a16:creationId xmlns:a16="http://schemas.microsoft.com/office/drawing/2014/main" id="{D28157E2-9353-4D82-8514-BE3C91C7F37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7F0B35E-93F5-40FD-9C9F-DD342CC3808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36" name="TextBox 35">
            <a:extLst>
              <a:ext uri="{FF2B5EF4-FFF2-40B4-BE49-F238E27FC236}">
                <a16:creationId xmlns:a16="http://schemas.microsoft.com/office/drawing/2014/main" id="{98D8DEE5-A42D-4CFC-A54C-7095382BF91D}"/>
              </a:ext>
            </a:extLst>
          </p:cNvPr>
          <p:cNvSpPr txBox="1"/>
          <p:nvPr/>
        </p:nvSpPr>
        <p:spPr>
          <a:xfrm>
            <a:off x="825952" y="2353346"/>
            <a:ext cx="5847888" cy="461665"/>
          </a:xfrm>
          <a:prstGeom prst="rect">
            <a:avLst/>
          </a:prstGeom>
          <a:noFill/>
        </p:spPr>
        <p:txBody>
          <a:bodyPr wrap="square" rtlCol="0">
            <a:noAutofit/>
          </a:bodyPr>
          <a:lstStyle/>
          <a:p>
            <a:pPr lvl="0">
              <a:defRPr/>
            </a:pPr>
            <a:r>
              <a:rPr lang="en-US" sz="2000" b="1" spc="-50" dirty="0">
                <a:solidFill>
                  <a:srgbClr val="000000"/>
                </a:solidFill>
                <a:cs typeface="Open Sans"/>
              </a:rPr>
              <a:t>Agenda &amp; Table of Contents</a:t>
            </a:r>
          </a:p>
          <a:p>
            <a:pPr lvl="0">
              <a:defRPr/>
            </a:pPr>
            <a:endParaRPr lang="en-US" sz="1000" spc="-50" dirty="0">
              <a:solidFill>
                <a:srgbClr val="000000"/>
              </a:solidFill>
              <a:cs typeface="Open San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50" normalizeH="0" baseline="0" noProof="0" dirty="0">
              <a:ln>
                <a:noFill/>
              </a:ln>
              <a:solidFill>
                <a:srgbClr val="000000"/>
              </a:solidFill>
              <a:effectLst/>
              <a:uLnTx/>
              <a:uFillTx/>
              <a:ea typeface="+mn-ea"/>
              <a:cs typeface="Open Sans"/>
            </a:endParaRPr>
          </a:p>
        </p:txBody>
      </p:sp>
      <p:sp>
        <p:nvSpPr>
          <p:cNvPr id="29" name="TextBox 28">
            <a:extLst>
              <a:ext uri="{FF2B5EF4-FFF2-40B4-BE49-F238E27FC236}">
                <a16:creationId xmlns:a16="http://schemas.microsoft.com/office/drawing/2014/main" id="{21EB4EC4-8CAD-407C-B6F5-F4804B4E4C10}"/>
              </a:ext>
            </a:extLst>
          </p:cNvPr>
          <p:cNvSpPr txBox="1"/>
          <p:nvPr/>
        </p:nvSpPr>
        <p:spPr>
          <a:xfrm>
            <a:off x="825952" y="3062184"/>
            <a:ext cx="1873181" cy="293664"/>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50" normalizeH="0" baseline="0" noProof="0" dirty="0">
                <a:ln>
                  <a:noFill/>
                </a:ln>
                <a:solidFill>
                  <a:srgbClr val="000000"/>
                </a:solidFill>
                <a:effectLst/>
                <a:uLnTx/>
                <a:uFillTx/>
                <a:ea typeface="+mn-ea"/>
                <a:cs typeface="Open Sans"/>
              </a:rPr>
              <a:t>Statement</a:t>
            </a:r>
          </a:p>
        </p:txBody>
      </p:sp>
      <p:sp>
        <p:nvSpPr>
          <p:cNvPr id="33" name="TextBox 32">
            <a:extLst>
              <a:ext uri="{FF2B5EF4-FFF2-40B4-BE49-F238E27FC236}">
                <a16:creationId xmlns:a16="http://schemas.microsoft.com/office/drawing/2014/main" id="{2C74AEED-7B4B-4257-87A5-705AFA8F6E59}"/>
              </a:ext>
            </a:extLst>
          </p:cNvPr>
          <p:cNvSpPr txBox="1"/>
          <p:nvPr/>
        </p:nvSpPr>
        <p:spPr>
          <a:xfrm>
            <a:off x="825952" y="1747248"/>
            <a:ext cx="3059714" cy="462402"/>
          </a:xfrm>
          <a:prstGeom prst="rect">
            <a:avLst/>
          </a:prstGeom>
          <a:noFill/>
        </p:spPr>
        <p:txBody>
          <a:bodyPr wrap="square" rtlCol="0">
            <a:noAutofit/>
          </a:bodyPr>
          <a:lstStyle/>
          <a:p>
            <a:pPr lvl="0">
              <a:defRPr/>
            </a:pPr>
            <a:r>
              <a:rPr lang="en-US" sz="2000" b="1" spc="-50" dirty="0">
                <a:solidFill>
                  <a:srgbClr val="000000"/>
                </a:solidFill>
                <a:cs typeface="Open Sans"/>
              </a:rPr>
              <a:t>Titles &amp; Divid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50" normalizeH="0" baseline="0" noProof="0" dirty="0">
              <a:ln>
                <a:noFill/>
              </a:ln>
              <a:solidFill>
                <a:srgbClr val="000000"/>
              </a:solidFill>
              <a:effectLst/>
              <a:uLnTx/>
              <a:uFillTx/>
              <a:cs typeface="Open Sans"/>
            </a:endParaRPr>
          </a:p>
        </p:txBody>
      </p:sp>
      <p:sp>
        <p:nvSpPr>
          <p:cNvPr id="40" name="TextBox 39">
            <a:extLst>
              <a:ext uri="{FF2B5EF4-FFF2-40B4-BE49-F238E27FC236}">
                <a16:creationId xmlns:a16="http://schemas.microsoft.com/office/drawing/2014/main" id="{2B202BF8-3013-4914-BCA2-A74002F71489}"/>
              </a:ext>
            </a:extLst>
          </p:cNvPr>
          <p:cNvSpPr txBox="1"/>
          <p:nvPr/>
        </p:nvSpPr>
        <p:spPr>
          <a:xfrm>
            <a:off x="825952" y="5035339"/>
            <a:ext cx="6997936" cy="461665"/>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ea typeface="+mn-ea"/>
                <a:cs typeface="+mn-cs"/>
              </a:rPr>
              <a:t>Processes &amp; Journeys</a:t>
            </a:r>
          </a:p>
        </p:txBody>
      </p:sp>
      <p:sp>
        <p:nvSpPr>
          <p:cNvPr id="44" name="TextBox 43">
            <a:extLst>
              <a:ext uri="{FF2B5EF4-FFF2-40B4-BE49-F238E27FC236}">
                <a16:creationId xmlns:a16="http://schemas.microsoft.com/office/drawing/2014/main" id="{7EABA06D-2F0F-4A39-90A8-B5851755B5FA}"/>
              </a:ext>
            </a:extLst>
          </p:cNvPr>
          <p:cNvSpPr txBox="1"/>
          <p:nvPr/>
        </p:nvSpPr>
        <p:spPr>
          <a:xfrm>
            <a:off x="825952" y="4429240"/>
            <a:ext cx="4842416" cy="461665"/>
          </a:xfrm>
          <a:prstGeom prst="rect">
            <a:avLst/>
          </a:prstGeom>
          <a:noFill/>
        </p:spPr>
        <p:txBody>
          <a:bodyPr wrap="square" rtlCol="0">
            <a:no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en-US" sz="2000" b="1" dirty="0">
                <a:solidFill>
                  <a:srgbClr val="000000"/>
                </a:solidFill>
                <a:ea typeface="Chronicle Display Black" charset="0"/>
                <a:cs typeface="Chronicle Display Black" charset="0"/>
              </a:rPr>
              <a:t>Content</a:t>
            </a:r>
            <a:endParaRPr kumimoji="0" lang="en-US" sz="2000" b="1" i="0" u="none" strike="noStrike" kern="1200" cap="none" spc="0" normalizeH="0" baseline="0" noProof="0" dirty="0">
              <a:ln>
                <a:noFill/>
              </a:ln>
              <a:solidFill>
                <a:srgbClr val="000000"/>
              </a:solidFill>
              <a:effectLst/>
              <a:uLnTx/>
              <a:uFillTx/>
              <a:ea typeface="Chronicle Display Black" charset="0"/>
              <a:cs typeface="Chronicle Display Black" charset="0"/>
            </a:endParaRPr>
          </a:p>
        </p:txBody>
      </p:sp>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p:txBody>
          <a:bodyPr/>
          <a:lstStyle/>
          <a:p>
            <a:r>
              <a:rPr lang="en-US" dirty="0"/>
              <a:t>Table of Contents</a:t>
            </a:r>
          </a:p>
        </p:txBody>
      </p:sp>
      <p:sp>
        <p:nvSpPr>
          <p:cNvPr id="56" name="Text Placeholder 55">
            <a:extLst>
              <a:ext uri="{FF2B5EF4-FFF2-40B4-BE49-F238E27FC236}">
                <a16:creationId xmlns:a16="http://schemas.microsoft.com/office/drawing/2014/main" id="{A14D566E-590D-4E1F-A739-07212EFBA8FF}"/>
              </a:ext>
            </a:extLst>
          </p:cNvPr>
          <p:cNvSpPr>
            <a:spLocks noGrp="1"/>
          </p:cNvSpPr>
          <p:nvPr>
            <p:ph type="body" sz="quarter" idx="14"/>
          </p:nvPr>
        </p:nvSpPr>
        <p:spPr/>
        <p:txBody>
          <a:bodyPr/>
          <a:lstStyle/>
          <a:p>
            <a:r>
              <a:rPr lang="en-US" dirty="0"/>
              <a:t>Click the headings to jump to that section in the deck</a:t>
            </a:r>
          </a:p>
        </p:txBody>
      </p:sp>
      <p:sp>
        <p:nvSpPr>
          <p:cNvPr id="8" name="Text Placeholder 7">
            <a:extLst>
              <a:ext uri="{FF2B5EF4-FFF2-40B4-BE49-F238E27FC236}">
                <a16:creationId xmlns:a16="http://schemas.microsoft.com/office/drawing/2014/main" id="{6D3DD0E3-1A00-41E5-83D0-6523748430FE}"/>
              </a:ext>
            </a:extLst>
          </p:cNvPr>
          <p:cNvSpPr>
            <a:spLocks noGrp="1"/>
          </p:cNvSpPr>
          <p:nvPr>
            <p:ph type="body" sz="quarter" idx="15"/>
          </p:nvPr>
        </p:nvSpPr>
        <p:spPr/>
        <p:txBody>
          <a:bodyPr/>
          <a:lstStyle/>
          <a:p>
            <a:r>
              <a:rPr lang="en-US" dirty="0"/>
              <a:t>INTRO</a:t>
            </a:r>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536715"/>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536715"/>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0" name="TextBox 69">
            <a:extLst>
              <a:ext uri="{FF2B5EF4-FFF2-40B4-BE49-F238E27FC236}">
                <a16:creationId xmlns:a16="http://schemas.microsoft.com/office/drawing/2014/main" id="{166F7809-ABDD-43EA-A377-A8DE24791C6E}"/>
              </a:ext>
            </a:extLst>
          </p:cNvPr>
          <p:cNvSpPr txBox="1"/>
          <p:nvPr/>
        </p:nvSpPr>
        <p:spPr>
          <a:xfrm>
            <a:off x="825952" y="5641437"/>
            <a:ext cx="4842416" cy="461665"/>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ea typeface="+mn-ea"/>
                <a:cs typeface="+mn-cs"/>
              </a:rPr>
              <a:t>Data Visualizations &amp; Infographics</a:t>
            </a:r>
          </a:p>
        </p:txBody>
      </p:sp>
      <p:sp>
        <p:nvSpPr>
          <p:cNvPr id="72" name="TextBox 71">
            <a:extLst>
              <a:ext uri="{FF2B5EF4-FFF2-40B4-BE49-F238E27FC236}">
                <a16:creationId xmlns:a16="http://schemas.microsoft.com/office/drawing/2014/main" id="{0661DED8-22A5-4FD0-8E7E-14FA7666773B}"/>
              </a:ext>
            </a:extLst>
          </p:cNvPr>
          <p:cNvSpPr txBox="1"/>
          <p:nvPr/>
        </p:nvSpPr>
        <p:spPr>
          <a:xfrm>
            <a:off x="6441199" y="2500916"/>
            <a:ext cx="3529246" cy="461665"/>
          </a:xfrm>
          <a:prstGeom prst="rect">
            <a:avLst/>
          </a:prstGeom>
          <a:noFill/>
        </p:spPr>
        <p:txBody>
          <a:bodyPr wrap="square" rtlCol="0">
            <a:noAutofit/>
          </a:bodyPr>
          <a:lstStyle/>
          <a:p>
            <a:pPr lvl="0">
              <a:defRPr/>
            </a:pPr>
            <a:r>
              <a:rPr lang="en-US" sz="2000" b="1" spc="-50" dirty="0">
                <a:solidFill>
                  <a:srgbClr val="000000"/>
                </a:solidFill>
                <a:cs typeface="Open Sans"/>
              </a:rPr>
              <a:t>Frameworks</a:t>
            </a:r>
          </a:p>
          <a:p>
            <a:pPr lvl="0">
              <a:defRPr/>
            </a:pPr>
            <a:endParaRPr lang="en-US" sz="1000" spc="-50" dirty="0">
              <a:solidFill>
                <a:srgbClr val="000000"/>
              </a:solidFill>
              <a:cs typeface="Open San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50" normalizeH="0" baseline="0" noProof="0" dirty="0">
              <a:ln>
                <a:noFill/>
              </a:ln>
              <a:solidFill>
                <a:srgbClr val="000000"/>
              </a:solidFill>
              <a:effectLst/>
              <a:uLnTx/>
              <a:uFillTx/>
              <a:ea typeface="+mn-ea"/>
              <a:cs typeface="Open Sans"/>
            </a:endParaRPr>
          </a:p>
        </p:txBody>
      </p:sp>
      <p:sp>
        <p:nvSpPr>
          <p:cNvPr id="73" name="TextBox 72">
            <a:extLst>
              <a:ext uri="{FF2B5EF4-FFF2-40B4-BE49-F238E27FC236}">
                <a16:creationId xmlns:a16="http://schemas.microsoft.com/office/drawing/2014/main" id="{20C76A57-6994-430D-AECA-D40F1720E09B}"/>
              </a:ext>
            </a:extLst>
          </p:cNvPr>
          <p:cNvSpPr txBox="1"/>
          <p:nvPr/>
        </p:nvSpPr>
        <p:spPr>
          <a:xfrm>
            <a:off x="6441201" y="3253847"/>
            <a:ext cx="5020898" cy="590464"/>
          </a:xfrm>
          <a:prstGeom prst="rect">
            <a:avLst/>
          </a:prstGeom>
          <a:noFill/>
          <a:ln>
            <a:no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50" normalizeH="0" baseline="0" noProof="0" dirty="0">
                <a:ln>
                  <a:noFill/>
                </a:ln>
                <a:solidFill>
                  <a:srgbClr val="000000"/>
                </a:solidFill>
                <a:effectLst/>
                <a:uLnTx/>
                <a:uFillTx/>
                <a:ea typeface="+mn-ea"/>
                <a:cs typeface="Open Sans"/>
              </a:rPr>
              <a:t>Project Plans &amp; Timelines</a:t>
            </a:r>
          </a:p>
        </p:txBody>
      </p:sp>
      <p:sp>
        <p:nvSpPr>
          <p:cNvPr id="74" name="TextBox 73">
            <a:extLst>
              <a:ext uri="{FF2B5EF4-FFF2-40B4-BE49-F238E27FC236}">
                <a16:creationId xmlns:a16="http://schemas.microsoft.com/office/drawing/2014/main" id="{6DB9FFF9-1A31-4C91-9BE9-B78A5975734A}"/>
              </a:ext>
            </a:extLst>
          </p:cNvPr>
          <p:cNvSpPr txBox="1"/>
          <p:nvPr/>
        </p:nvSpPr>
        <p:spPr>
          <a:xfrm>
            <a:off x="6441201" y="1747985"/>
            <a:ext cx="3738564" cy="461665"/>
          </a:xfrm>
          <a:prstGeom prst="rect">
            <a:avLst/>
          </a:prstGeom>
          <a:noFill/>
        </p:spPr>
        <p:txBody>
          <a:bodyPr wrap="square" rtlCol="0">
            <a:noAutofit/>
          </a:bodyPr>
          <a:lstStyle/>
          <a:p>
            <a:pPr lvl="0">
              <a:defRPr/>
            </a:pPr>
            <a:r>
              <a:rPr lang="en-US" sz="2000" b="1" spc="-50" dirty="0">
                <a:solidFill>
                  <a:srgbClr val="000000"/>
                </a:solidFill>
                <a:cs typeface="Open Sans"/>
              </a:rPr>
              <a:t>Tabl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50" normalizeH="0" baseline="0" noProof="0" dirty="0">
              <a:ln>
                <a:noFill/>
              </a:ln>
              <a:solidFill>
                <a:srgbClr val="000000"/>
              </a:solidFill>
              <a:effectLst/>
              <a:uLnTx/>
              <a:uFillTx/>
              <a:cs typeface="Open Sans"/>
            </a:endParaRPr>
          </a:p>
        </p:txBody>
      </p:sp>
      <p:sp>
        <p:nvSpPr>
          <p:cNvPr id="78" name="TextBox 77">
            <a:extLst>
              <a:ext uri="{FF2B5EF4-FFF2-40B4-BE49-F238E27FC236}">
                <a16:creationId xmlns:a16="http://schemas.microsoft.com/office/drawing/2014/main" id="{F2E8832C-98ED-4616-9B24-0CA328EC06B6}"/>
              </a:ext>
            </a:extLst>
          </p:cNvPr>
          <p:cNvSpPr txBox="1"/>
          <p:nvPr/>
        </p:nvSpPr>
        <p:spPr>
          <a:xfrm>
            <a:off x="6441198" y="4888508"/>
            <a:ext cx="4223309" cy="461665"/>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ea typeface="+mn-ea"/>
                <a:cs typeface="+mn-cs"/>
              </a:rPr>
              <a:t>Org. Structure &amp; Bios</a:t>
            </a:r>
          </a:p>
        </p:txBody>
      </p:sp>
      <p:sp>
        <p:nvSpPr>
          <p:cNvPr id="79" name="TextBox 78">
            <a:extLst>
              <a:ext uri="{FF2B5EF4-FFF2-40B4-BE49-F238E27FC236}">
                <a16:creationId xmlns:a16="http://schemas.microsoft.com/office/drawing/2014/main" id="{4C44806C-A354-48CC-9214-41A383293B58}"/>
              </a:ext>
            </a:extLst>
          </p:cNvPr>
          <p:cNvSpPr txBox="1"/>
          <p:nvPr/>
        </p:nvSpPr>
        <p:spPr>
          <a:xfrm>
            <a:off x="6441198" y="4135577"/>
            <a:ext cx="4540433" cy="461665"/>
          </a:xfrm>
          <a:prstGeom prst="rect">
            <a:avLst/>
          </a:prstGeom>
          <a:noFill/>
        </p:spPr>
        <p:txBody>
          <a:bodyPr wrap="square" rtlCol="0">
            <a:no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en-US" sz="2000" b="1" dirty="0">
                <a:solidFill>
                  <a:srgbClr val="000000"/>
                </a:solidFill>
                <a:ea typeface="Chronicle Display Black" charset="0"/>
                <a:cs typeface="Chronicle Display Black" charset="0"/>
              </a:rPr>
              <a:t>Case Studies &amp; Market Overview</a:t>
            </a:r>
            <a:endParaRPr kumimoji="0" lang="en-US" sz="2000" b="1" i="0" u="none" strike="noStrike" kern="1200" cap="none" spc="0" normalizeH="0" baseline="0" noProof="0" dirty="0">
              <a:ln>
                <a:noFill/>
              </a:ln>
              <a:solidFill>
                <a:srgbClr val="000000"/>
              </a:solidFill>
              <a:effectLst/>
              <a:uLnTx/>
              <a:uFillTx/>
              <a:ea typeface="Chronicle Display Black" charset="0"/>
              <a:cs typeface="Chronicle Display Black" charset="0"/>
            </a:endParaRPr>
          </a:p>
        </p:txBody>
      </p:sp>
      <p:sp>
        <p:nvSpPr>
          <p:cNvPr id="85" name="Rectangle 84">
            <a:hlinkClick r:id="rId8" action="ppaction://hlinksldjump"/>
            <a:extLst>
              <a:ext uri="{FF2B5EF4-FFF2-40B4-BE49-F238E27FC236}">
                <a16:creationId xmlns:a16="http://schemas.microsoft.com/office/drawing/2014/main" id="{54BC43A3-13A0-4E1B-B3E6-8C5294A34A61}"/>
              </a:ext>
            </a:extLst>
          </p:cNvPr>
          <p:cNvSpPr/>
          <p:nvPr/>
        </p:nvSpPr>
        <p:spPr>
          <a:xfrm>
            <a:off x="920578" y="2319328"/>
            <a:ext cx="4992233"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ctangle 83">
            <a:hlinkClick r:id="rId9" action="ppaction://hlinksldjump"/>
            <a:extLst>
              <a:ext uri="{FF2B5EF4-FFF2-40B4-BE49-F238E27FC236}">
                <a16:creationId xmlns:a16="http://schemas.microsoft.com/office/drawing/2014/main" id="{E26439FC-20A9-4877-B33E-F32B9F5EBB54}"/>
              </a:ext>
            </a:extLst>
          </p:cNvPr>
          <p:cNvSpPr/>
          <p:nvPr/>
        </p:nvSpPr>
        <p:spPr>
          <a:xfrm>
            <a:off x="917081" y="1704967"/>
            <a:ext cx="4984679"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sp>
        <p:nvSpPr>
          <p:cNvPr id="86" name="Rectangle 85">
            <a:hlinkClick r:id="rId10" action="ppaction://hlinksldjump"/>
            <a:extLst>
              <a:ext uri="{FF2B5EF4-FFF2-40B4-BE49-F238E27FC236}">
                <a16:creationId xmlns:a16="http://schemas.microsoft.com/office/drawing/2014/main" id="{974969CC-94B9-448A-BAB3-5516FA0ED923}"/>
              </a:ext>
            </a:extLst>
          </p:cNvPr>
          <p:cNvSpPr/>
          <p:nvPr/>
        </p:nvSpPr>
        <p:spPr>
          <a:xfrm>
            <a:off x="853479" y="3035134"/>
            <a:ext cx="4959679"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tangle 87">
            <a:hlinkClick r:id="rId11" action="ppaction://hlinksldjump"/>
            <a:extLst>
              <a:ext uri="{FF2B5EF4-FFF2-40B4-BE49-F238E27FC236}">
                <a16:creationId xmlns:a16="http://schemas.microsoft.com/office/drawing/2014/main" id="{44F1D50A-7AED-4BF5-B6A6-576A59704F45}"/>
              </a:ext>
            </a:extLst>
          </p:cNvPr>
          <p:cNvSpPr/>
          <p:nvPr/>
        </p:nvSpPr>
        <p:spPr>
          <a:xfrm>
            <a:off x="906479" y="5031363"/>
            <a:ext cx="5028830"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0" name="Rectangle 89">
            <a:hlinkClick r:id="rId12" action="ppaction://hlinksldjump"/>
            <a:extLst>
              <a:ext uri="{FF2B5EF4-FFF2-40B4-BE49-F238E27FC236}">
                <a16:creationId xmlns:a16="http://schemas.microsoft.com/office/drawing/2014/main" id="{861A8BB8-9E5D-44C9-9006-CE9E62D199C1}"/>
              </a:ext>
            </a:extLst>
          </p:cNvPr>
          <p:cNvSpPr/>
          <p:nvPr/>
        </p:nvSpPr>
        <p:spPr>
          <a:xfrm>
            <a:off x="915476" y="5576793"/>
            <a:ext cx="5028830" cy="4925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Rectangle 90">
            <a:hlinkClick r:id="rId13" action="ppaction://hlinksldjump"/>
            <a:extLst>
              <a:ext uri="{FF2B5EF4-FFF2-40B4-BE49-F238E27FC236}">
                <a16:creationId xmlns:a16="http://schemas.microsoft.com/office/drawing/2014/main" id="{968770DC-5E30-4E10-8B13-C446B7564520}"/>
              </a:ext>
            </a:extLst>
          </p:cNvPr>
          <p:cNvSpPr/>
          <p:nvPr/>
        </p:nvSpPr>
        <p:spPr>
          <a:xfrm>
            <a:off x="6491093" y="1679745"/>
            <a:ext cx="4829047" cy="46166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Rectangle 93">
            <a:hlinkClick r:id="rId14" action="ppaction://hlinksldjump"/>
            <a:extLst>
              <a:ext uri="{FF2B5EF4-FFF2-40B4-BE49-F238E27FC236}">
                <a16:creationId xmlns:a16="http://schemas.microsoft.com/office/drawing/2014/main" id="{3986DEC3-6F82-4E13-A665-B9A78D15C114}"/>
              </a:ext>
            </a:extLst>
          </p:cNvPr>
          <p:cNvSpPr/>
          <p:nvPr/>
        </p:nvSpPr>
        <p:spPr>
          <a:xfrm>
            <a:off x="6449558" y="2528815"/>
            <a:ext cx="4870262" cy="46166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Rectangle 94">
            <a:hlinkClick r:id="rId15" action="ppaction://hlinksldjump"/>
            <a:extLst>
              <a:ext uri="{FF2B5EF4-FFF2-40B4-BE49-F238E27FC236}">
                <a16:creationId xmlns:a16="http://schemas.microsoft.com/office/drawing/2014/main" id="{5F22B3D5-5C94-4814-BF62-4824FD599078}"/>
              </a:ext>
            </a:extLst>
          </p:cNvPr>
          <p:cNvSpPr/>
          <p:nvPr/>
        </p:nvSpPr>
        <p:spPr>
          <a:xfrm>
            <a:off x="6470528" y="3180458"/>
            <a:ext cx="4778389" cy="46166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Rectangle 95">
            <a:hlinkClick r:id="rId16" action="ppaction://hlinksldjump"/>
            <a:extLst>
              <a:ext uri="{FF2B5EF4-FFF2-40B4-BE49-F238E27FC236}">
                <a16:creationId xmlns:a16="http://schemas.microsoft.com/office/drawing/2014/main" id="{D71607DD-C782-4E41-A5F3-79557074142F}"/>
              </a:ext>
            </a:extLst>
          </p:cNvPr>
          <p:cNvSpPr/>
          <p:nvPr/>
        </p:nvSpPr>
        <p:spPr>
          <a:xfrm>
            <a:off x="6470528" y="4025891"/>
            <a:ext cx="5093552" cy="46166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Rectangle 96">
            <a:hlinkClick r:id="rId17" action="ppaction://hlinksldjump"/>
            <a:extLst>
              <a:ext uri="{FF2B5EF4-FFF2-40B4-BE49-F238E27FC236}">
                <a16:creationId xmlns:a16="http://schemas.microsoft.com/office/drawing/2014/main" id="{576B69B9-0A24-42CB-A954-5B6F9E2B7253}"/>
              </a:ext>
            </a:extLst>
          </p:cNvPr>
          <p:cNvSpPr/>
          <p:nvPr/>
        </p:nvSpPr>
        <p:spPr>
          <a:xfrm>
            <a:off x="6470528" y="4822820"/>
            <a:ext cx="4868393" cy="46166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0B437A79-6C2B-4381-9CAA-D71B4D4B21F0}"/>
              </a:ext>
            </a:extLst>
          </p:cNvPr>
          <p:cNvSpPr txBox="1"/>
          <p:nvPr/>
        </p:nvSpPr>
        <p:spPr>
          <a:xfrm>
            <a:off x="5257374" y="1840318"/>
            <a:ext cx="748892" cy="400110"/>
          </a:xfrm>
          <a:prstGeom prst="rect">
            <a:avLst/>
          </a:prstGeom>
          <a:noFill/>
        </p:spPr>
        <p:txBody>
          <a:bodyPr wrap="square" rtlCol="0">
            <a:spAutoFit/>
          </a:bodyPr>
          <a:lstStyle/>
          <a:p>
            <a:pPr algn="ctr"/>
            <a:r>
              <a:rPr lang="en-US" sz="2000" b="1" dirty="0"/>
              <a:t>6</a:t>
            </a:r>
          </a:p>
        </p:txBody>
      </p:sp>
      <p:sp>
        <p:nvSpPr>
          <p:cNvPr id="47" name="TextBox 46">
            <a:extLst>
              <a:ext uri="{FF2B5EF4-FFF2-40B4-BE49-F238E27FC236}">
                <a16:creationId xmlns:a16="http://schemas.microsoft.com/office/drawing/2014/main" id="{DE58B254-C527-46D3-9B36-6F34CD65ADD8}"/>
              </a:ext>
            </a:extLst>
          </p:cNvPr>
          <p:cNvSpPr txBox="1"/>
          <p:nvPr/>
        </p:nvSpPr>
        <p:spPr>
          <a:xfrm>
            <a:off x="5257374" y="2443659"/>
            <a:ext cx="748892" cy="400110"/>
          </a:xfrm>
          <a:prstGeom prst="rect">
            <a:avLst/>
          </a:prstGeom>
          <a:noFill/>
        </p:spPr>
        <p:txBody>
          <a:bodyPr wrap="square" rtlCol="0">
            <a:spAutoFit/>
          </a:bodyPr>
          <a:lstStyle/>
          <a:p>
            <a:pPr algn="ctr"/>
            <a:r>
              <a:rPr lang="en-US" sz="2000" b="1" dirty="0"/>
              <a:t>14</a:t>
            </a:r>
          </a:p>
        </p:txBody>
      </p:sp>
      <p:sp>
        <p:nvSpPr>
          <p:cNvPr id="48" name="Rectangle 47">
            <a:hlinkClick r:id="rId18" action="ppaction://hlinksldjump"/>
            <a:extLst>
              <a:ext uri="{FF2B5EF4-FFF2-40B4-BE49-F238E27FC236}">
                <a16:creationId xmlns:a16="http://schemas.microsoft.com/office/drawing/2014/main" id="{4E0A403D-602F-47E9-9471-690540B7B2D0}"/>
              </a:ext>
            </a:extLst>
          </p:cNvPr>
          <p:cNvSpPr/>
          <p:nvPr/>
        </p:nvSpPr>
        <p:spPr>
          <a:xfrm>
            <a:off x="913955" y="4348368"/>
            <a:ext cx="4983835"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sp>
        <p:nvSpPr>
          <p:cNvPr id="49" name="TextBox 48">
            <a:extLst>
              <a:ext uri="{FF2B5EF4-FFF2-40B4-BE49-F238E27FC236}">
                <a16:creationId xmlns:a16="http://schemas.microsoft.com/office/drawing/2014/main" id="{A37E3F48-9152-403A-986C-F1E6389C8BF1}"/>
              </a:ext>
            </a:extLst>
          </p:cNvPr>
          <p:cNvSpPr txBox="1"/>
          <p:nvPr/>
        </p:nvSpPr>
        <p:spPr>
          <a:xfrm>
            <a:off x="5257374" y="4382736"/>
            <a:ext cx="748892" cy="400110"/>
          </a:xfrm>
          <a:prstGeom prst="rect">
            <a:avLst/>
          </a:prstGeom>
          <a:noFill/>
        </p:spPr>
        <p:txBody>
          <a:bodyPr wrap="square" rtlCol="0">
            <a:spAutoFit/>
          </a:bodyPr>
          <a:lstStyle/>
          <a:p>
            <a:pPr algn="ctr"/>
            <a:r>
              <a:rPr lang="en-US" sz="2000" b="1" dirty="0"/>
              <a:t>62</a:t>
            </a:r>
          </a:p>
        </p:txBody>
      </p:sp>
      <p:sp>
        <p:nvSpPr>
          <p:cNvPr id="50" name="TextBox 49">
            <a:extLst>
              <a:ext uri="{FF2B5EF4-FFF2-40B4-BE49-F238E27FC236}">
                <a16:creationId xmlns:a16="http://schemas.microsoft.com/office/drawing/2014/main" id="{F2EE2093-897C-447C-87BF-57A5DE697BF4}"/>
              </a:ext>
            </a:extLst>
          </p:cNvPr>
          <p:cNvSpPr txBox="1"/>
          <p:nvPr/>
        </p:nvSpPr>
        <p:spPr>
          <a:xfrm>
            <a:off x="5257374" y="3090018"/>
            <a:ext cx="748892" cy="400110"/>
          </a:xfrm>
          <a:prstGeom prst="rect">
            <a:avLst/>
          </a:prstGeom>
          <a:noFill/>
        </p:spPr>
        <p:txBody>
          <a:bodyPr wrap="square" rtlCol="0">
            <a:spAutoFit/>
          </a:bodyPr>
          <a:lstStyle/>
          <a:p>
            <a:pPr algn="ctr"/>
            <a:r>
              <a:rPr lang="en-US" sz="2000" b="1" dirty="0"/>
              <a:t>29</a:t>
            </a:r>
          </a:p>
        </p:txBody>
      </p:sp>
      <p:sp>
        <p:nvSpPr>
          <p:cNvPr id="51" name="TextBox 50">
            <a:extLst>
              <a:ext uri="{FF2B5EF4-FFF2-40B4-BE49-F238E27FC236}">
                <a16:creationId xmlns:a16="http://schemas.microsoft.com/office/drawing/2014/main" id="{C34C23E0-4EE9-454B-A1AC-4C0EB6E3032A}"/>
              </a:ext>
            </a:extLst>
          </p:cNvPr>
          <p:cNvSpPr txBox="1"/>
          <p:nvPr/>
        </p:nvSpPr>
        <p:spPr>
          <a:xfrm>
            <a:off x="5257374" y="5029095"/>
            <a:ext cx="748892" cy="400110"/>
          </a:xfrm>
          <a:prstGeom prst="rect">
            <a:avLst/>
          </a:prstGeom>
          <a:noFill/>
        </p:spPr>
        <p:txBody>
          <a:bodyPr wrap="square" rtlCol="0">
            <a:spAutoFit/>
          </a:bodyPr>
          <a:lstStyle/>
          <a:p>
            <a:pPr algn="ctr"/>
            <a:r>
              <a:rPr lang="en-US" sz="2000" b="1" dirty="0"/>
              <a:t>120</a:t>
            </a:r>
          </a:p>
        </p:txBody>
      </p:sp>
      <p:sp>
        <p:nvSpPr>
          <p:cNvPr id="52" name="TextBox 51">
            <a:extLst>
              <a:ext uri="{FF2B5EF4-FFF2-40B4-BE49-F238E27FC236}">
                <a16:creationId xmlns:a16="http://schemas.microsoft.com/office/drawing/2014/main" id="{9328AD7A-3063-4892-BE15-508BB954FFF1}"/>
              </a:ext>
            </a:extLst>
          </p:cNvPr>
          <p:cNvSpPr txBox="1"/>
          <p:nvPr/>
        </p:nvSpPr>
        <p:spPr>
          <a:xfrm>
            <a:off x="5257374" y="5641437"/>
            <a:ext cx="748892" cy="400110"/>
          </a:xfrm>
          <a:prstGeom prst="rect">
            <a:avLst/>
          </a:prstGeom>
          <a:noFill/>
        </p:spPr>
        <p:txBody>
          <a:bodyPr wrap="square" rtlCol="0">
            <a:spAutoFit/>
          </a:bodyPr>
          <a:lstStyle/>
          <a:p>
            <a:pPr algn="ctr"/>
            <a:r>
              <a:rPr lang="en-US" sz="2000" b="1" dirty="0"/>
              <a:t>138</a:t>
            </a:r>
          </a:p>
        </p:txBody>
      </p:sp>
      <p:sp>
        <p:nvSpPr>
          <p:cNvPr id="53" name="TextBox 52">
            <a:extLst>
              <a:ext uri="{FF2B5EF4-FFF2-40B4-BE49-F238E27FC236}">
                <a16:creationId xmlns:a16="http://schemas.microsoft.com/office/drawing/2014/main" id="{0311DF86-FB76-4EC4-A175-F3582E488BF8}"/>
              </a:ext>
            </a:extLst>
          </p:cNvPr>
          <p:cNvSpPr txBox="1"/>
          <p:nvPr/>
        </p:nvSpPr>
        <p:spPr>
          <a:xfrm>
            <a:off x="10713207" y="1747985"/>
            <a:ext cx="748892" cy="400110"/>
          </a:xfrm>
          <a:prstGeom prst="rect">
            <a:avLst/>
          </a:prstGeom>
          <a:noFill/>
        </p:spPr>
        <p:txBody>
          <a:bodyPr wrap="square" rtlCol="0">
            <a:spAutoFit/>
          </a:bodyPr>
          <a:lstStyle/>
          <a:p>
            <a:pPr algn="ctr"/>
            <a:r>
              <a:rPr lang="en-US" sz="2000" b="1" dirty="0"/>
              <a:t>178</a:t>
            </a:r>
          </a:p>
        </p:txBody>
      </p:sp>
      <p:sp>
        <p:nvSpPr>
          <p:cNvPr id="54" name="TextBox 53">
            <a:extLst>
              <a:ext uri="{FF2B5EF4-FFF2-40B4-BE49-F238E27FC236}">
                <a16:creationId xmlns:a16="http://schemas.microsoft.com/office/drawing/2014/main" id="{30019D1B-A85C-417A-8CCD-6145E557347F}"/>
              </a:ext>
            </a:extLst>
          </p:cNvPr>
          <p:cNvSpPr txBox="1"/>
          <p:nvPr/>
        </p:nvSpPr>
        <p:spPr>
          <a:xfrm>
            <a:off x="10713207" y="4097840"/>
            <a:ext cx="748892" cy="400110"/>
          </a:xfrm>
          <a:prstGeom prst="rect">
            <a:avLst/>
          </a:prstGeom>
          <a:noFill/>
        </p:spPr>
        <p:txBody>
          <a:bodyPr wrap="square" rtlCol="0">
            <a:spAutoFit/>
          </a:bodyPr>
          <a:lstStyle/>
          <a:p>
            <a:pPr algn="ctr"/>
            <a:r>
              <a:rPr lang="en-US" sz="2000" b="1" dirty="0"/>
              <a:t>281</a:t>
            </a:r>
          </a:p>
        </p:txBody>
      </p:sp>
      <p:sp>
        <p:nvSpPr>
          <p:cNvPr id="55" name="TextBox 54">
            <a:extLst>
              <a:ext uri="{FF2B5EF4-FFF2-40B4-BE49-F238E27FC236}">
                <a16:creationId xmlns:a16="http://schemas.microsoft.com/office/drawing/2014/main" id="{5319C1A5-A4FD-481A-AC8D-BBAE0A6F8101}"/>
              </a:ext>
            </a:extLst>
          </p:cNvPr>
          <p:cNvSpPr txBox="1"/>
          <p:nvPr/>
        </p:nvSpPr>
        <p:spPr>
          <a:xfrm>
            <a:off x="10713207" y="3268166"/>
            <a:ext cx="748892" cy="400110"/>
          </a:xfrm>
          <a:prstGeom prst="rect">
            <a:avLst/>
          </a:prstGeom>
          <a:noFill/>
        </p:spPr>
        <p:txBody>
          <a:bodyPr wrap="square" rtlCol="0">
            <a:spAutoFit/>
          </a:bodyPr>
          <a:lstStyle/>
          <a:p>
            <a:pPr algn="ctr"/>
            <a:r>
              <a:rPr lang="en-US" sz="2000" b="1" dirty="0"/>
              <a:t>252</a:t>
            </a:r>
          </a:p>
        </p:txBody>
      </p:sp>
      <p:sp>
        <p:nvSpPr>
          <p:cNvPr id="57" name="TextBox 56">
            <a:extLst>
              <a:ext uri="{FF2B5EF4-FFF2-40B4-BE49-F238E27FC236}">
                <a16:creationId xmlns:a16="http://schemas.microsoft.com/office/drawing/2014/main" id="{E9287557-475A-426A-A273-20CC41FC97E6}"/>
              </a:ext>
            </a:extLst>
          </p:cNvPr>
          <p:cNvSpPr txBox="1"/>
          <p:nvPr/>
        </p:nvSpPr>
        <p:spPr>
          <a:xfrm>
            <a:off x="10713207" y="4881214"/>
            <a:ext cx="748892" cy="400110"/>
          </a:xfrm>
          <a:prstGeom prst="rect">
            <a:avLst/>
          </a:prstGeom>
          <a:noFill/>
        </p:spPr>
        <p:txBody>
          <a:bodyPr wrap="square" rtlCol="0">
            <a:spAutoFit/>
          </a:bodyPr>
          <a:lstStyle/>
          <a:p>
            <a:pPr algn="ctr"/>
            <a:r>
              <a:rPr lang="en-US" sz="2000" b="1" dirty="0"/>
              <a:t>292</a:t>
            </a:r>
          </a:p>
        </p:txBody>
      </p:sp>
      <p:sp>
        <p:nvSpPr>
          <p:cNvPr id="58" name="TextBox 57">
            <a:extLst>
              <a:ext uri="{FF2B5EF4-FFF2-40B4-BE49-F238E27FC236}">
                <a16:creationId xmlns:a16="http://schemas.microsoft.com/office/drawing/2014/main" id="{4A5EF829-4580-4081-9507-077B95F61CDF}"/>
              </a:ext>
            </a:extLst>
          </p:cNvPr>
          <p:cNvSpPr txBox="1"/>
          <p:nvPr/>
        </p:nvSpPr>
        <p:spPr>
          <a:xfrm>
            <a:off x="10713207" y="2531092"/>
            <a:ext cx="748892" cy="400110"/>
          </a:xfrm>
          <a:prstGeom prst="rect">
            <a:avLst/>
          </a:prstGeom>
          <a:noFill/>
        </p:spPr>
        <p:txBody>
          <a:bodyPr wrap="square" rtlCol="0">
            <a:spAutoFit/>
          </a:bodyPr>
          <a:lstStyle/>
          <a:p>
            <a:pPr algn="ctr"/>
            <a:r>
              <a:rPr lang="en-US" sz="2000" b="1" dirty="0"/>
              <a:t>207</a:t>
            </a:r>
          </a:p>
        </p:txBody>
      </p:sp>
      <p:sp>
        <p:nvSpPr>
          <p:cNvPr id="59" name="TextBox 58">
            <a:extLst>
              <a:ext uri="{FF2B5EF4-FFF2-40B4-BE49-F238E27FC236}">
                <a16:creationId xmlns:a16="http://schemas.microsoft.com/office/drawing/2014/main" id="{2D80ED7E-68A4-4166-8FCF-C801A62D1484}"/>
              </a:ext>
            </a:extLst>
          </p:cNvPr>
          <p:cNvSpPr txBox="1"/>
          <p:nvPr/>
        </p:nvSpPr>
        <p:spPr>
          <a:xfrm>
            <a:off x="6441198" y="5641437"/>
            <a:ext cx="4223309" cy="461665"/>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ea typeface="+mn-ea"/>
                <a:cs typeface="+mn-cs"/>
              </a:rPr>
              <a:t>Icons</a:t>
            </a:r>
          </a:p>
        </p:txBody>
      </p:sp>
      <p:sp>
        <p:nvSpPr>
          <p:cNvPr id="61" name="TextBox 60">
            <a:extLst>
              <a:ext uri="{FF2B5EF4-FFF2-40B4-BE49-F238E27FC236}">
                <a16:creationId xmlns:a16="http://schemas.microsoft.com/office/drawing/2014/main" id="{CB1669FA-7E90-443B-821C-C4697C1F0FA9}"/>
              </a:ext>
            </a:extLst>
          </p:cNvPr>
          <p:cNvSpPr txBox="1"/>
          <p:nvPr/>
        </p:nvSpPr>
        <p:spPr>
          <a:xfrm>
            <a:off x="10713207" y="5641437"/>
            <a:ext cx="748892" cy="400110"/>
          </a:xfrm>
          <a:prstGeom prst="rect">
            <a:avLst/>
          </a:prstGeom>
          <a:noFill/>
        </p:spPr>
        <p:txBody>
          <a:bodyPr wrap="square" rtlCol="0">
            <a:spAutoFit/>
          </a:bodyPr>
          <a:lstStyle/>
          <a:p>
            <a:pPr algn="ctr"/>
            <a:r>
              <a:rPr lang="en-US" sz="2000" b="1" dirty="0"/>
              <a:t>300</a:t>
            </a:r>
          </a:p>
        </p:txBody>
      </p:sp>
      <p:sp>
        <p:nvSpPr>
          <p:cNvPr id="62" name="Rectangle 61">
            <a:hlinkClick r:id="" action="ppaction://noaction"/>
            <a:extLst>
              <a:ext uri="{FF2B5EF4-FFF2-40B4-BE49-F238E27FC236}">
                <a16:creationId xmlns:a16="http://schemas.microsoft.com/office/drawing/2014/main" id="{E064341F-8761-49CB-B561-5946AD36F864}"/>
              </a:ext>
            </a:extLst>
          </p:cNvPr>
          <p:cNvSpPr/>
          <p:nvPr/>
        </p:nvSpPr>
        <p:spPr>
          <a:xfrm>
            <a:off x="6470529" y="5638348"/>
            <a:ext cx="4952254" cy="46166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angle 62">
            <a:extLst>
              <a:ext uri="{FF2B5EF4-FFF2-40B4-BE49-F238E27FC236}">
                <a16:creationId xmlns:a16="http://schemas.microsoft.com/office/drawing/2014/main" id="{82FBD787-3492-4B03-90E9-78985FEED7E9}"/>
              </a:ext>
            </a:extLst>
          </p:cNvPr>
          <p:cNvSpPr/>
          <p:nvPr/>
        </p:nvSpPr>
        <p:spPr>
          <a:xfrm>
            <a:off x="6104320" y="1641510"/>
            <a:ext cx="45719" cy="44585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64" name="TextBox 63">
            <a:extLst>
              <a:ext uri="{FF2B5EF4-FFF2-40B4-BE49-F238E27FC236}">
                <a16:creationId xmlns:a16="http://schemas.microsoft.com/office/drawing/2014/main" id="{992C6BA5-8B3B-41C8-80F7-E74598729EC9}"/>
              </a:ext>
            </a:extLst>
          </p:cNvPr>
          <p:cNvSpPr txBox="1"/>
          <p:nvPr/>
        </p:nvSpPr>
        <p:spPr>
          <a:xfrm>
            <a:off x="825952" y="3694342"/>
            <a:ext cx="3969199" cy="590464"/>
          </a:xfrm>
          <a:prstGeom prst="rect">
            <a:avLst/>
          </a:prstGeom>
          <a:noFill/>
        </p:spPr>
        <p:txBody>
          <a:bodyPr wrap="square" rtlCol="0">
            <a:noAutofit/>
          </a:bodyPr>
          <a:lstStyle/>
          <a:p>
            <a:pPr lvl="0">
              <a:defRPr/>
            </a:pPr>
            <a:r>
              <a:rPr lang="en-US" sz="2000" b="1" spc="-50" dirty="0">
                <a:solidFill>
                  <a:srgbClr val="000000"/>
                </a:solidFill>
                <a:cs typeface="Open Sans"/>
              </a:rPr>
              <a:t>Approach, Scope &amp; Objectives</a:t>
            </a:r>
          </a:p>
        </p:txBody>
      </p:sp>
      <p:sp>
        <p:nvSpPr>
          <p:cNvPr id="66" name="Rectangle 65">
            <a:hlinkClick r:id="rId19" action="ppaction://hlinksldjump"/>
            <a:extLst>
              <a:ext uri="{FF2B5EF4-FFF2-40B4-BE49-F238E27FC236}">
                <a16:creationId xmlns:a16="http://schemas.microsoft.com/office/drawing/2014/main" id="{F00E651E-54AE-461E-BD43-21C91A298871}"/>
              </a:ext>
            </a:extLst>
          </p:cNvPr>
          <p:cNvSpPr/>
          <p:nvPr/>
        </p:nvSpPr>
        <p:spPr>
          <a:xfrm>
            <a:off x="933537" y="3678412"/>
            <a:ext cx="5006332"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TextBox 66">
            <a:extLst>
              <a:ext uri="{FF2B5EF4-FFF2-40B4-BE49-F238E27FC236}">
                <a16:creationId xmlns:a16="http://schemas.microsoft.com/office/drawing/2014/main" id="{0E73357D-422F-4014-B3BD-B17B47477D94}"/>
              </a:ext>
            </a:extLst>
          </p:cNvPr>
          <p:cNvSpPr txBox="1"/>
          <p:nvPr/>
        </p:nvSpPr>
        <p:spPr>
          <a:xfrm>
            <a:off x="5257374" y="3736377"/>
            <a:ext cx="748892" cy="400110"/>
          </a:xfrm>
          <a:prstGeom prst="rect">
            <a:avLst/>
          </a:prstGeom>
          <a:noFill/>
        </p:spPr>
        <p:txBody>
          <a:bodyPr wrap="square" rtlCol="0">
            <a:spAutoFit/>
          </a:bodyPr>
          <a:lstStyle/>
          <a:p>
            <a:pPr algn="ctr"/>
            <a:r>
              <a:rPr lang="en-US" sz="2000" b="1" dirty="0"/>
              <a:t>47</a:t>
            </a:r>
          </a:p>
        </p:txBody>
      </p:sp>
    </p:spTree>
    <p:extLst>
      <p:ext uri="{BB962C8B-B14F-4D97-AF65-F5344CB8AC3E}">
        <p14:creationId xmlns:p14="http://schemas.microsoft.com/office/powerpoint/2010/main" val="163458398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B451D4C-1312-4274-A47D-3D0783D8BD4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4" name="think-cell Slide" r:id="rId5" imgW="395" imgH="396" progId="TCLayout.ActiveDocument.1">
                  <p:embed/>
                </p:oleObj>
              </mc:Choice>
              <mc:Fallback>
                <p:oleObj name="think-cell Slide" r:id="rId5" imgW="395" imgH="396" progId="TCLayout.ActiveDocument.1">
                  <p:embed/>
                  <p:pic>
                    <p:nvPicPr>
                      <p:cNvPr id="8" name="Object 7" hidden="1">
                        <a:extLst>
                          <a:ext uri="{FF2B5EF4-FFF2-40B4-BE49-F238E27FC236}">
                            <a16:creationId xmlns:a16="http://schemas.microsoft.com/office/drawing/2014/main" id="{6B451D4C-1312-4274-A47D-3D0783D8BD4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ext Placeholder 2">
            <a:extLst>
              <a:ext uri="{FF2B5EF4-FFF2-40B4-BE49-F238E27FC236}">
                <a16:creationId xmlns:a16="http://schemas.microsoft.com/office/drawing/2014/main" id="{975FBDD3-3D56-4AF1-AF35-75ABF9208EB0}"/>
              </a:ext>
            </a:extLst>
          </p:cNvPr>
          <p:cNvSpPr txBox="1">
            <a:spLocks/>
          </p:cNvSpPr>
          <p:nvPr/>
        </p:nvSpPr>
        <p:spPr>
          <a:xfrm>
            <a:off x="4484451" y="276646"/>
            <a:ext cx="7198880" cy="6150288"/>
          </a:xfrm>
          <a:prstGeom prst="rect">
            <a:avLst/>
          </a:prstGeom>
        </p:spPr>
        <p:txBody>
          <a:bodyPr vert="horz" lIns="91440" tIns="45720" rIns="91440" bIns="45720" rtlCol="0" anchor="ctr">
            <a:noAutofit/>
          </a:bodyPr>
          <a:lstStyle>
            <a:defPPr>
              <a:defRPr lang="en-US"/>
            </a:defPPr>
            <a:lvl1pPr indent="0">
              <a:lnSpc>
                <a:spcPct val="110000"/>
              </a:lnSpc>
              <a:spcBef>
                <a:spcPts val="1000"/>
              </a:spcBef>
              <a:buClr>
                <a:schemeClr val="accent5"/>
              </a:buClr>
              <a:buSzPct val="75000"/>
              <a:buFont typeface="Arial" panose="020B0604020202020204" pitchFamily="34" charset="0"/>
              <a:buNone/>
              <a:defRPr sz="2000" baseline="0">
                <a:solidFill>
                  <a:srgbClr val="FFFFFF"/>
                </a:solidFill>
                <a:cs typeface="Frutiger Next Pro Light"/>
              </a:defRPr>
            </a:lvl1pPr>
            <a:lvl2pPr marL="685800" indent="-228600">
              <a:lnSpc>
                <a:spcPct val="100000"/>
              </a:lnSpc>
              <a:spcBef>
                <a:spcPts val="500"/>
              </a:spcBef>
              <a:buClr>
                <a:schemeClr val="accent5"/>
              </a:buClr>
              <a:buSzPct val="75000"/>
              <a:buFont typeface="Arial" panose="020B0604020202020204" pitchFamily="34" charset="0"/>
              <a:buChar char="•"/>
              <a:defRPr>
                <a:solidFill>
                  <a:srgbClr val="E7E7E8"/>
                </a:solidFill>
              </a:defRPr>
            </a:lvl2pPr>
            <a:lvl3pPr marL="1143000" indent="-228600">
              <a:lnSpc>
                <a:spcPct val="100000"/>
              </a:lnSpc>
              <a:spcBef>
                <a:spcPts val="500"/>
              </a:spcBef>
              <a:buClr>
                <a:schemeClr val="accent5"/>
              </a:buClr>
              <a:buSzPct val="75000"/>
              <a:buFont typeface="Arial" panose="020B0604020202020204" pitchFamily="34" charset="0"/>
              <a:buChar char="•"/>
              <a:defRPr sz="1600">
                <a:solidFill>
                  <a:srgbClr val="E7E7E8"/>
                </a:solidFill>
              </a:defRPr>
            </a:lvl3pPr>
            <a:lvl4pPr marL="1600200" indent="-228600">
              <a:lnSpc>
                <a:spcPct val="100000"/>
              </a:lnSpc>
              <a:spcBef>
                <a:spcPts val="500"/>
              </a:spcBef>
              <a:buClr>
                <a:schemeClr val="accent5"/>
              </a:buClr>
              <a:buSzPct val="75000"/>
              <a:buFont typeface="Arial" panose="020B0604020202020204" pitchFamily="34" charset="0"/>
              <a:buChar char="•"/>
              <a:defRPr sz="1400">
                <a:solidFill>
                  <a:srgbClr val="E7E7E8"/>
                </a:solidFill>
              </a:defRPr>
            </a:lvl4pPr>
            <a:lvl5pPr marL="2057400" indent="-228600">
              <a:lnSpc>
                <a:spcPct val="100000"/>
              </a:lnSpc>
              <a:spcBef>
                <a:spcPts val="500"/>
              </a:spcBef>
              <a:buClr>
                <a:schemeClr val="accent5"/>
              </a:buClr>
              <a:buSzPct val="75000"/>
              <a:buFont typeface="Arial" panose="020B0604020202020204" pitchFamily="34" charset="0"/>
              <a:buChar char="•"/>
              <a:defRPr sz="1400">
                <a:solidFill>
                  <a:srgbClr val="E7E7E8"/>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0000"/>
              </a:lnSpc>
              <a:spcBef>
                <a:spcPts val="0"/>
              </a:spcBef>
              <a:spcAft>
                <a:spcPts val="0"/>
              </a:spcAft>
              <a:buClr>
                <a:srgbClr val="81BC00"/>
              </a:buClr>
              <a:buSzPct val="75000"/>
              <a:buFont typeface="Arial" panose="020B0604020202020204" pitchFamily="34" charset="0"/>
              <a:buNone/>
              <a:tabLst/>
              <a:defRPr/>
            </a:pPr>
            <a:r>
              <a:rPr kumimoji="0" lang="en-US" sz="1800" b="1" i="0" u="none" strike="noStrike" kern="1200" cap="none" spc="0" normalizeH="0" baseline="0" noProof="0" dirty="0">
                <a:ln>
                  <a:noFill/>
                </a:ln>
                <a:solidFill>
                  <a:srgbClr val="000000"/>
                </a:solidFill>
                <a:effectLst/>
                <a:uLnTx/>
                <a:uFillTx/>
                <a:latin typeface="Open Sans"/>
                <a:ea typeface="+mn-ea"/>
              </a:rPr>
              <a:t>Digital Continues to Influence </a:t>
            </a:r>
            <a:r>
              <a:rPr kumimoji="0" lang="en-US" sz="1200" b="0" i="0" u="none" strike="noStrike" kern="1200" cap="none" spc="0" normalizeH="0" baseline="0" noProof="0" dirty="0">
                <a:ln>
                  <a:noFill/>
                </a:ln>
                <a:solidFill>
                  <a:srgbClr val="000000"/>
                </a:solidFill>
                <a:effectLst/>
                <a:uLnTx/>
                <a:uFillTx/>
                <a:latin typeface="Open Sans"/>
                <a:ea typeface="Open Sans Extrabold" charset="0"/>
                <a:cs typeface="Open Sans Extrabold" charset="0"/>
              </a:rPr>
              <a:t>consumer behavior</a:t>
            </a:r>
          </a:p>
          <a:p>
            <a:pPr marL="0" marR="0" lvl="0" indent="0" algn="l" defTabSz="914400" rtl="0" eaLnBrk="1" fontAlgn="auto" latinLnBrk="0" hangingPunct="1">
              <a:lnSpc>
                <a:spcPct val="100000"/>
              </a:lnSpc>
              <a:spcBef>
                <a:spcPts val="0"/>
              </a:spcBef>
              <a:spcAft>
                <a:spcPts val="0"/>
              </a:spcAft>
              <a:buClr>
                <a:srgbClr val="81BC00"/>
              </a:buClr>
              <a:buSzPct val="75000"/>
              <a:buFont typeface="Arial" panose="020B0604020202020204" pitchFamily="34" charset="0"/>
              <a:buNone/>
              <a:tabLst/>
              <a:defRPr/>
            </a:pPr>
            <a:endParaRPr kumimoji="0" lang="en-US" sz="2400" b="0" i="0" u="none" strike="noStrike" kern="1200" cap="none" spc="0" normalizeH="0" baseline="0" noProof="0" dirty="0">
              <a:ln>
                <a:noFill/>
              </a:ln>
              <a:solidFill>
                <a:srgbClr val="000000"/>
              </a:solidFill>
              <a:effectLst/>
              <a:uLnTx/>
              <a:uFillTx/>
              <a:latin typeface="Open Sans"/>
              <a:ea typeface="Chronicle Display Light" charset="0"/>
              <a:cs typeface="Chronicle Display Light" charset="0"/>
            </a:endParaRPr>
          </a:p>
          <a:p>
            <a:pPr marL="0" marR="0" lvl="0" indent="0" algn="l" defTabSz="914400" rtl="0" eaLnBrk="1" fontAlgn="auto" latinLnBrk="0" hangingPunct="1">
              <a:lnSpc>
                <a:spcPct val="100000"/>
              </a:lnSpc>
              <a:spcBef>
                <a:spcPts val="0"/>
              </a:spcBef>
              <a:spcAft>
                <a:spcPts val="0"/>
              </a:spcAft>
              <a:buClr>
                <a:srgbClr val="81BC00"/>
              </a:buClr>
              <a:buSzPct val="75000"/>
              <a:buFont typeface="Arial" panose="020B0604020202020204" pitchFamily="34" charset="0"/>
              <a:buNone/>
              <a:tabLst/>
              <a:defRPr/>
            </a:pPr>
            <a:r>
              <a:rPr kumimoji="0" lang="en-US" sz="1200" b="0" i="0" u="none" strike="noStrike" kern="1200" cap="none" spc="0" normalizeH="0" baseline="0" noProof="0" dirty="0">
                <a:ln>
                  <a:noFill/>
                </a:ln>
                <a:solidFill>
                  <a:srgbClr val="000000"/>
                </a:solidFill>
                <a:effectLst/>
                <a:uLnTx/>
                <a:uFillTx/>
                <a:latin typeface="Open Sans"/>
                <a:ea typeface="Open Sans Extrabold" charset="0"/>
                <a:cs typeface="Open Sans Extrabold" charset="0"/>
              </a:rPr>
              <a:t>and is fundamentally evolving </a:t>
            </a:r>
            <a:r>
              <a:rPr kumimoji="0" lang="en-US" sz="1800" b="1" i="0" u="none" strike="noStrike" kern="1200" cap="none" spc="0" normalizeH="0" baseline="0" noProof="0" dirty="0">
                <a:ln>
                  <a:noFill/>
                </a:ln>
                <a:solidFill>
                  <a:srgbClr val="000000"/>
                </a:solidFill>
                <a:effectLst/>
                <a:uLnTx/>
                <a:uFillTx/>
                <a:latin typeface="Open Sans"/>
                <a:ea typeface="+mn-ea"/>
              </a:rPr>
              <a:t>the Path to Purchase</a:t>
            </a:r>
            <a:r>
              <a:rPr kumimoji="0" lang="en-US" sz="2000" b="0" i="0" u="none" strike="noStrike" kern="1200" cap="none" spc="0" normalizeH="0" baseline="0" noProof="0" dirty="0">
                <a:ln>
                  <a:noFill/>
                </a:ln>
                <a:solidFill>
                  <a:srgbClr val="000000"/>
                </a:solidFill>
                <a:effectLst/>
                <a:uLnTx/>
                <a:uFillTx/>
                <a:latin typeface="Open Sans"/>
                <a:ea typeface="+mn-ea"/>
              </a:rPr>
              <a:t>.</a:t>
            </a:r>
          </a:p>
          <a:p>
            <a:pPr marL="0" marR="0" lvl="0" indent="0" algn="l" defTabSz="914400" rtl="0" eaLnBrk="1" fontAlgn="auto" latinLnBrk="0" hangingPunct="1">
              <a:lnSpc>
                <a:spcPct val="100000"/>
              </a:lnSpc>
              <a:spcBef>
                <a:spcPts val="0"/>
              </a:spcBef>
              <a:spcAft>
                <a:spcPts val="0"/>
              </a:spcAft>
              <a:buClr>
                <a:srgbClr val="81BC00"/>
              </a:buClr>
              <a:buSzPct val="75000"/>
              <a:buFont typeface="Arial" panose="020B0604020202020204" pitchFamily="34" charset="0"/>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endParaRPr>
          </a:p>
          <a:p>
            <a:pPr marL="0" marR="0" lvl="0" indent="0" algn="l" defTabSz="914400" rtl="0" eaLnBrk="1" fontAlgn="auto" latinLnBrk="0" hangingPunct="1">
              <a:lnSpc>
                <a:spcPct val="100000"/>
              </a:lnSpc>
              <a:spcBef>
                <a:spcPts val="0"/>
              </a:spcBef>
              <a:spcAft>
                <a:spcPts val="0"/>
              </a:spcAft>
              <a:buClr>
                <a:srgbClr val="81BC00"/>
              </a:buClr>
              <a:buSzPct val="75000"/>
              <a:buFont typeface="Arial" panose="020B0604020202020204" pitchFamily="34" charset="0"/>
              <a:buNone/>
              <a:tabLst/>
              <a:defRPr/>
            </a:pPr>
            <a:r>
              <a:rPr kumimoji="0" lang="en-US" sz="1200" b="0" i="0" u="none" strike="noStrike" kern="1200" cap="none" spc="0" normalizeH="0" baseline="0" noProof="0" dirty="0">
                <a:ln>
                  <a:noFill/>
                </a:ln>
                <a:solidFill>
                  <a:srgbClr val="000000"/>
                </a:solidFill>
                <a:effectLst/>
                <a:uLnTx/>
                <a:uFillTx/>
                <a:latin typeface="Open Sans"/>
                <a:ea typeface="Open Sans Extrabold" charset="0"/>
                <a:cs typeface="Open Sans Extrabold" charset="0"/>
              </a:rPr>
              <a:t>But often </a:t>
            </a:r>
            <a:r>
              <a:rPr kumimoji="0" lang="en-US" sz="1800" b="1" i="0" u="none" strike="noStrike" kern="1200" cap="none" spc="0" normalizeH="0" baseline="0" noProof="0" dirty="0">
                <a:ln>
                  <a:noFill/>
                </a:ln>
                <a:solidFill>
                  <a:srgbClr val="000000"/>
                </a:solidFill>
                <a:effectLst/>
                <a:uLnTx/>
                <a:uFillTx/>
                <a:latin typeface="Open Sans"/>
                <a:ea typeface="+mn-ea"/>
              </a:rPr>
              <a:t>CPGs Don’t Invest Appropriately </a:t>
            </a:r>
            <a:r>
              <a:rPr kumimoji="0" lang="en-US" sz="1200" b="0" i="0" u="none" strike="noStrike" kern="1200" cap="none" spc="0" normalizeH="0" baseline="0" noProof="0" dirty="0">
                <a:ln>
                  <a:noFill/>
                </a:ln>
                <a:solidFill>
                  <a:srgbClr val="000000"/>
                </a:solidFill>
                <a:effectLst/>
                <a:uLnTx/>
                <a:uFillTx/>
                <a:latin typeface="Open Sans"/>
                <a:ea typeface="Open Sans Extrabold" charset="0"/>
                <a:cs typeface="Open Sans Extrabold" charset="0"/>
              </a:rPr>
              <a:t>to meet the change.</a:t>
            </a:r>
          </a:p>
          <a:p>
            <a:pPr marL="0" marR="0" lvl="0" indent="0" algn="l" defTabSz="914400" rtl="0" eaLnBrk="1" fontAlgn="auto" latinLnBrk="0" hangingPunct="1">
              <a:lnSpc>
                <a:spcPct val="100000"/>
              </a:lnSpc>
              <a:spcBef>
                <a:spcPts val="0"/>
              </a:spcBef>
              <a:spcAft>
                <a:spcPts val="0"/>
              </a:spcAft>
              <a:buClr>
                <a:srgbClr val="81BC00"/>
              </a:buClr>
              <a:buSzPct val="75000"/>
              <a:buFont typeface="Arial" panose="020B0604020202020204" pitchFamily="34" charset="0"/>
              <a:buNone/>
              <a:tabLst/>
              <a:defRPr/>
            </a:pPr>
            <a:endParaRPr kumimoji="0" lang="en-US" sz="2400" b="0" i="0" u="none" strike="noStrike" kern="1200" cap="none" spc="0" normalizeH="0" baseline="0" noProof="0" dirty="0">
              <a:ln>
                <a:noFill/>
              </a:ln>
              <a:solidFill>
                <a:srgbClr val="000000"/>
              </a:solidFill>
              <a:effectLst/>
              <a:uLnTx/>
              <a:uFillTx/>
              <a:latin typeface="Open Sans"/>
              <a:ea typeface="Chronicle Display Light" charset="0"/>
              <a:cs typeface="Chronicle Display Light" charset="0"/>
            </a:endParaRPr>
          </a:p>
          <a:p>
            <a:pPr marL="0" marR="0" lvl="0" indent="0" algn="l" defTabSz="914400" rtl="0" eaLnBrk="1" fontAlgn="auto" latinLnBrk="0" hangingPunct="1">
              <a:lnSpc>
                <a:spcPct val="100000"/>
              </a:lnSpc>
              <a:spcBef>
                <a:spcPts val="0"/>
              </a:spcBef>
              <a:spcAft>
                <a:spcPts val="0"/>
              </a:spcAft>
              <a:buClr>
                <a:srgbClr val="81BC00"/>
              </a:buClr>
              <a:buSzPct val="75000"/>
              <a:buFont typeface="Arial" panose="020B0604020202020204" pitchFamily="34" charset="0"/>
              <a:buNone/>
              <a:tabLst/>
              <a:defRPr/>
            </a:pPr>
            <a:r>
              <a:rPr kumimoji="0" lang="en-US" sz="1200" b="0" i="0" u="none" strike="noStrike" kern="1200" cap="none" spc="0" normalizeH="0" baseline="0" noProof="0" dirty="0">
                <a:ln>
                  <a:noFill/>
                </a:ln>
                <a:solidFill>
                  <a:srgbClr val="000000"/>
                </a:solidFill>
                <a:effectLst/>
                <a:uLnTx/>
                <a:uFillTx/>
                <a:latin typeface="Open Sans"/>
                <a:ea typeface="Open Sans Extrabold" charset="0"/>
                <a:cs typeface="Open Sans Extrabold" charset="0"/>
              </a:rPr>
              <a:t>They therefore forgo competitive edge garnered when they </a:t>
            </a:r>
            <a:r>
              <a:rPr kumimoji="0" lang="en-US" sz="1800" b="1" i="0" u="none" strike="noStrike" kern="1200" cap="none" spc="0" normalizeH="0" baseline="0" noProof="0" dirty="0">
                <a:ln>
                  <a:noFill/>
                </a:ln>
                <a:solidFill>
                  <a:srgbClr val="000000"/>
                </a:solidFill>
                <a:effectLst/>
                <a:uLnTx/>
                <a:uFillTx/>
                <a:latin typeface="Open Sans"/>
                <a:ea typeface="+mn-ea"/>
              </a:rPr>
              <a:t>Own the Journey</a:t>
            </a:r>
            <a:endParaRPr kumimoji="0" lang="en-US" sz="2000" b="1" i="0" u="none" strike="noStrike" kern="1200" cap="none" spc="0" normalizeH="0" baseline="0" noProof="0" dirty="0">
              <a:ln>
                <a:noFill/>
              </a:ln>
              <a:solidFill>
                <a:srgbClr val="000000"/>
              </a:solidFill>
              <a:effectLst/>
              <a:uLnTx/>
              <a:uFillTx/>
              <a:latin typeface="Open Sans"/>
              <a:ea typeface="+mn-ea"/>
            </a:endParaRPr>
          </a:p>
          <a:p>
            <a:pPr marL="0" marR="0" lvl="0" indent="0" algn="l" defTabSz="914400" rtl="0" eaLnBrk="1" fontAlgn="auto" latinLnBrk="0" hangingPunct="1">
              <a:lnSpc>
                <a:spcPct val="100000"/>
              </a:lnSpc>
              <a:spcBef>
                <a:spcPts val="0"/>
              </a:spcBef>
              <a:spcAft>
                <a:spcPts val="0"/>
              </a:spcAft>
              <a:buClr>
                <a:srgbClr val="81BC00"/>
              </a:buClr>
              <a:buSzPct val="75000"/>
              <a:buFont typeface="Arial" panose="020B0604020202020204" pitchFamily="34" charset="0"/>
              <a:buNone/>
              <a:tabLst/>
              <a:defRPr/>
            </a:pPr>
            <a:endParaRPr kumimoji="0" lang="en-US" sz="2400" b="0" i="0" u="none" strike="noStrike" kern="1200" cap="none" spc="0" normalizeH="0" baseline="0" noProof="0" dirty="0">
              <a:ln>
                <a:noFill/>
              </a:ln>
              <a:solidFill>
                <a:srgbClr val="000000"/>
              </a:solidFill>
              <a:effectLst/>
              <a:uLnTx/>
              <a:uFillTx/>
              <a:latin typeface="Open Sans"/>
              <a:ea typeface="Chronicle Display Light" charset="0"/>
              <a:cs typeface="Chronicle Display Light" charset="0"/>
            </a:endParaRPr>
          </a:p>
          <a:p>
            <a:pPr marL="0" marR="0" lvl="0" indent="0" algn="l" defTabSz="914400" rtl="0" eaLnBrk="1" fontAlgn="auto" latinLnBrk="0" hangingPunct="1">
              <a:lnSpc>
                <a:spcPct val="100000"/>
              </a:lnSpc>
              <a:spcBef>
                <a:spcPts val="0"/>
              </a:spcBef>
              <a:spcAft>
                <a:spcPts val="0"/>
              </a:spcAft>
              <a:buClr>
                <a:srgbClr val="81BC00"/>
              </a:buClr>
              <a:buSzPct val="75000"/>
              <a:buFont typeface="Arial" panose="020B0604020202020204" pitchFamily="34" charset="0"/>
              <a:buNone/>
              <a:tabLst/>
              <a:defRPr/>
            </a:pPr>
            <a:r>
              <a:rPr kumimoji="0" lang="en-US" sz="1200" b="0" i="0" u="none" strike="noStrike" kern="1200" cap="none" spc="0" normalizeH="0" baseline="0" noProof="0" dirty="0">
                <a:ln>
                  <a:noFill/>
                </a:ln>
                <a:solidFill>
                  <a:srgbClr val="000000"/>
                </a:solidFill>
                <a:effectLst/>
                <a:uLnTx/>
                <a:uFillTx/>
                <a:latin typeface="Open Sans"/>
                <a:ea typeface="Open Sans Extrabold" charset="0"/>
                <a:cs typeface="Open Sans Extrabold" charset="0"/>
              </a:rPr>
              <a:t>best accomplished </a:t>
            </a:r>
            <a:r>
              <a:rPr kumimoji="0" lang="en-US" sz="1800" b="1" i="0" u="none" strike="noStrike" kern="1200" cap="none" spc="0" normalizeH="0" baseline="0" noProof="0" dirty="0">
                <a:ln>
                  <a:noFill/>
                </a:ln>
                <a:solidFill>
                  <a:srgbClr val="000000"/>
                </a:solidFill>
                <a:effectLst/>
                <a:uLnTx/>
                <a:uFillTx/>
                <a:latin typeface="Open Sans"/>
                <a:ea typeface="+mn-ea"/>
              </a:rPr>
              <a:t>by</a:t>
            </a:r>
            <a:r>
              <a:rPr kumimoji="0" lang="en-US" sz="1200" b="0" i="0" u="none" strike="noStrike" kern="1200" cap="none" spc="0" normalizeH="0" baseline="0" noProof="0" dirty="0">
                <a:ln>
                  <a:noFill/>
                </a:ln>
                <a:solidFill>
                  <a:srgbClr val="000000"/>
                </a:solidFill>
                <a:effectLst/>
                <a:uLnTx/>
                <a:uFillTx/>
                <a:latin typeface="Open Sans"/>
                <a:ea typeface="Open Sans Extrabold" charset="0"/>
                <a:cs typeface="Open Sans Extrabold" charset="0"/>
              </a:rPr>
              <a:t> </a:t>
            </a:r>
            <a:r>
              <a:rPr kumimoji="0" lang="en-US" sz="1800" b="1" i="0" u="none" strike="noStrike" kern="1200" cap="none" spc="0" normalizeH="0" baseline="0" noProof="0" dirty="0">
                <a:ln>
                  <a:noFill/>
                </a:ln>
                <a:solidFill>
                  <a:srgbClr val="000000"/>
                </a:solidFill>
                <a:effectLst/>
                <a:uLnTx/>
                <a:uFillTx/>
                <a:latin typeface="Open Sans"/>
                <a:ea typeface="+mn-ea"/>
              </a:rPr>
              <a:t>Building New Muscles </a:t>
            </a:r>
            <a:r>
              <a:rPr kumimoji="0" lang="en-US" sz="1200" b="0" i="0" u="none" strike="noStrike" kern="1200" cap="none" spc="0" normalizeH="0" baseline="0" noProof="0" dirty="0">
                <a:ln>
                  <a:noFill/>
                </a:ln>
                <a:solidFill>
                  <a:srgbClr val="000000"/>
                </a:solidFill>
                <a:effectLst/>
                <a:uLnTx/>
                <a:uFillTx/>
                <a:latin typeface="Open Sans"/>
                <a:ea typeface="Open Sans Extrabold" charset="0"/>
                <a:cs typeface="Open Sans Extrabold" charset="0"/>
              </a:rPr>
              <a:t>and </a:t>
            </a:r>
            <a:r>
              <a:rPr kumimoji="0" lang="en-US" sz="1800" b="1" i="0" u="none" strike="noStrike" kern="1200" cap="none" spc="0" normalizeH="0" baseline="0" noProof="0" dirty="0">
                <a:ln>
                  <a:noFill/>
                </a:ln>
                <a:solidFill>
                  <a:srgbClr val="000000"/>
                </a:solidFill>
                <a:effectLst/>
                <a:uLnTx/>
                <a:uFillTx/>
                <a:latin typeface="Open Sans"/>
                <a:ea typeface="Open Sans Extrabold" charset="0"/>
                <a:cs typeface="Open Sans Extrabold" charset="0"/>
              </a:rPr>
              <a:t>S</a:t>
            </a:r>
            <a:r>
              <a:rPr kumimoji="0" lang="en-US" sz="1800" b="1" i="0" u="none" strike="noStrike" kern="1200" cap="none" spc="0" normalizeH="0" baseline="0" noProof="0" dirty="0">
                <a:ln>
                  <a:noFill/>
                </a:ln>
                <a:solidFill>
                  <a:srgbClr val="000000"/>
                </a:solidFill>
                <a:effectLst/>
                <a:uLnTx/>
                <a:uFillTx/>
                <a:latin typeface="Open Sans"/>
                <a:ea typeface="+mn-ea"/>
              </a:rPr>
              <a:t>tructuring Ecosystem Collaborations</a:t>
            </a:r>
            <a:endParaRPr kumimoji="0" lang="en-US" sz="2000" b="1" i="0" u="none" strike="noStrike" kern="1200" cap="none" spc="0" normalizeH="0" baseline="0" noProof="0" dirty="0">
              <a:ln>
                <a:noFill/>
              </a:ln>
              <a:solidFill>
                <a:srgbClr val="000000"/>
              </a:solidFill>
              <a:effectLst/>
              <a:uLnTx/>
              <a:uFillTx/>
              <a:latin typeface="Open Sans"/>
              <a:ea typeface="+mn-ea"/>
            </a:endParaRPr>
          </a:p>
        </p:txBody>
      </p:sp>
      <p:cxnSp>
        <p:nvCxnSpPr>
          <p:cNvPr id="5" name="Straight Connector 4">
            <a:extLst>
              <a:ext uri="{FF2B5EF4-FFF2-40B4-BE49-F238E27FC236}">
                <a16:creationId xmlns:a16="http://schemas.microsoft.com/office/drawing/2014/main" id="{70223FE4-EB1C-41B5-BD05-DF36A5107FC0}"/>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EFBFBEF4-7973-4BD3-A212-91D1F26B4F1C}"/>
              </a:ext>
            </a:extLst>
          </p:cNvPr>
          <p:cNvSpPr txBox="1"/>
          <p:nvPr/>
        </p:nvSpPr>
        <p:spPr>
          <a:xfrm>
            <a:off x="418961" y="2934182"/>
            <a:ext cx="3822299" cy="824841"/>
          </a:xfrm>
          <a:prstGeom prst="rect">
            <a:avLst/>
          </a:prstGeom>
          <a:noFill/>
        </p:spPr>
        <p:txBody>
          <a:bodyPr wrap="square" rtlCol="0">
            <a:spAutoFit/>
          </a:body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Chronicle Display Black"/>
                <a:ea typeface="Chronicle Display Light" charset="0"/>
                <a:cs typeface="Chronicle Display Light" charset="0"/>
              </a:rPr>
              <a:t>Executive Summary</a:t>
            </a:r>
            <a:endParaRPr kumimoji="0" lang="en-US" sz="2800" b="1" i="0" u="none" strike="noStrike" kern="1200" cap="none" spc="0" normalizeH="0" baseline="0" noProof="0" dirty="0">
              <a:ln>
                <a:noFill/>
              </a:ln>
              <a:solidFill>
                <a:srgbClr val="000000"/>
              </a:solidFill>
              <a:effectLst/>
              <a:uLnTx/>
              <a:uFillTx/>
              <a:latin typeface="Chronicle Display Light" pitchFamily="50" charset="0"/>
              <a:ea typeface="Chronicle Display Light" charset="0"/>
              <a:cs typeface="Chronicle Display Light" charset="0"/>
            </a:endParaRPr>
          </a:p>
        </p:txBody>
      </p:sp>
    </p:spTree>
    <p:extLst>
      <p:ext uri="{BB962C8B-B14F-4D97-AF65-F5344CB8AC3E}">
        <p14:creationId xmlns:p14="http://schemas.microsoft.com/office/powerpoint/2010/main" val="2780331726"/>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ct 42" hidden="1">
            <a:extLst>
              <a:ext uri="{FF2B5EF4-FFF2-40B4-BE49-F238E27FC236}">
                <a16:creationId xmlns:a16="http://schemas.microsoft.com/office/drawing/2014/main" id="{22EC29DC-B502-43F4-BA09-4B7652309B6F}"/>
              </a:ext>
            </a:extLst>
          </p:cNvPr>
          <p:cNvGraphicFramePr>
            <a:graphicFrameLocks noChangeAspect="1"/>
          </p:cNvGraphicFramePr>
          <p:nvPr>
            <p:custDataLst>
              <p:tags r:id="rId2"/>
            </p:custDataLst>
            <p:extLst>
              <p:ext uri="{D42A27DB-BD31-4B8C-83A1-F6EECF244321}">
                <p14:modId xmlns:p14="http://schemas.microsoft.com/office/powerpoint/2010/main" val="2090061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7092" name="think-cell Slide" r:id="rId6" imgW="395" imgH="396" progId="TCLayout.ActiveDocument.1">
                  <p:embed/>
                </p:oleObj>
              </mc:Choice>
              <mc:Fallback>
                <p:oleObj name="think-cell Slide" r:id="rId6" imgW="395" imgH="396" progId="TCLayout.ActiveDocument.1">
                  <p:embed/>
                  <p:pic>
                    <p:nvPicPr>
                      <p:cNvPr id="43" name="Object 42" hidden="1">
                        <a:extLst>
                          <a:ext uri="{FF2B5EF4-FFF2-40B4-BE49-F238E27FC236}">
                            <a16:creationId xmlns:a16="http://schemas.microsoft.com/office/drawing/2014/main" id="{22EC29DC-B502-43F4-BA09-4B7652309B6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2" name="Rectangle 41" hidden="1">
            <a:extLst>
              <a:ext uri="{FF2B5EF4-FFF2-40B4-BE49-F238E27FC236}">
                <a16:creationId xmlns:a16="http://schemas.microsoft.com/office/drawing/2014/main" id="{DB375D78-05E4-4363-A2E8-2CC19F6C3EB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FB80AACE-CB74-4955-AB4B-2163DD0C3BDE}"/>
              </a:ext>
            </a:extLst>
          </p:cNvPr>
          <p:cNvSpPr>
            <a:spLocks noGrp="1"/>
          </p:cNvSpPr>
          <p:nvPr>
            <p:ph type="title"/>
          </p:nvPr>
        </p:nvSpPr>
        <p:spPr/>
        <p:txBody>
          <a:bodyPr/>
          <a:lstStyle/>
          <a:p>
            <a:r>
              <a:rPr lang="en-US" dirty="0"/>
              <a:t>The First Three Weeks</a:t>
            </a:r>
          </a:p>
        </p:txBody>
      </p:sp>
      <p:sp>
        <p:nvSpPr>
          <p:cNvPr id="3" name="Text Placeholder 2">
            <a:extLst>
              <a:ext uri="{FF2B5EF4-FFF2-40B4-BE49-F238E27FC236}">
                <a16:creationId xmlns:a16="http://schemas.microsoft.com/office/drawing/2014/main" id="{B82C2E31-DDB2-4DB8-ADCB-21EB55B4E63F}"/>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5D85A456-2BAF-42AF-A9DB-E81447C7B54A}"/>
              </a:ext>
            </a:extLst>
          </p:cNvPr>
          <p:cNvSpPr>
            <a:spLocks noGrp="1"/>
          </p:cNvSpPr>
          <p:nvPr>
            <p:ph type="body" sz="quarter" idx="15"/>
          </p:nvPr>
        </p:nvSpPr>
        <p:spPr>
          <a:xfrm>
            <a:off x="914971" y="466344"/>
            <a:ext cx="3553334" cy="228600"/>
          </a:xfrm>
        </p:spPr>
        <p:txBody>
          <a:bodyPr/>
          <a:lstStyle/>
          <a:p>
            <a:r>
              <a:rPr lang="en-US" dirty="0"/>
              <a:t>FRAMEWORKS &amp; CONCEPT ILLUSTRATION</a:t>
            </a:r>
          </a:p>
        </p:txBody>
      </p:sp>
      <p:sp>
        <p:nvSpPr>
          <p:cNvPr id="5" name="Title 3">
            <a:extLst>
              <a:ext uri="{FF2B5EF4-FFF2-40B4-BE49-F238E27FC236}">
                <a16:creationId xmlns:a16="http://schemas.microsoft.com/office/drawing/2014/main" id="{59DFEF13-602D-43B8-98CB-D462D6B9406B}"/>
              </a:ext>
            </a:extLst>
          </p:cNvPr>
          <p:cNvSpPr txBox="1">
            <a:spLocks/>
          </p:cNvSpPr>
          <p:nvPr/>
        </p:nvSpPr>
        <p:spPr>
          <a:xfrm>
            <a:off x="469900" y="1147653"/>
            <a:ext cx="11252200"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b="1" dirty="0"/>
          </a:p>
        </p:txBody>
      </p:sp>
      <p:cxnSp>
        <p:nvCxnSpPr>
          <p:cNvPr id="6" name="Straight Connector 5">
            <a:extLst>
              <a:ext uri="{FF2B5EF4-FFF2-40B4-BE49-F238E27FC236}">
                <a16:creationId xmlns:a16="http://schemas.microsoft.com/office/drawing/2014/main" id="{34E40AC7-64D1-4A1F-AE97-BEC956122D18}"/>
              </a:ext>
            </a:extLst>
          </p:cNvPr>
          <p:cNvCxnSpPr/>
          <p:nvPr/>
        </p:nvCxnSpPr>
        <p:spPr>
          <a:xfrm>
            <a:off x="9675543" y="2393096"/>
            <a:ext cx="0" cy="440373"/>
          </a:xfrm>
          <a:prstGeom prst="lin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cxnSp>
      <p:cxnSp>
        <p:nvCxnSpPr>
          <p:cNvPr id="7" name="Straight Connector 6">
            <a:extLst>
              <a:ext uri="{FF2B5EF4-FFF2-40B4-BE49-F238E27FC236}">
                <a16:creationId xmlns:a16="http://schemas.microsoft.com/office/drawing/2014/main" id="{353A5744-17BA-4E61-92A8-49337587D11C}"/>
              </a:ext>
            </a:extLst>
          </p:cNvPr>
          <p:cNvCxnSpPr>
            <a:stCxn id="25" idx="2"/>
          </p:cNvCxnSpPr>
          <p:nvPr/>
        </p:nvCxnSpPr>
        <p:spPr>
          <a:xfrm>
            <a:off x="3023531" y="2205267"/>
            <a:ext cx="1" cy="214402"/>
          </a:xfrm>
          <a:prstGeom prst="lin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cxnSp>
      <p:cxnSp>
        <p:nvCxnSpPr>
          <p:cNvPr id="8" name="Elbow Connector 6">
            <a:extLst>
              <a:ext uri="{FF2B5EF4-FFF2-40B4-BE49-F238E27FC236}">
                <a16:creationId xmlns:a16="http://schemas.microsoft.com/office/drawing/2014/main" id="{94FBAE90-965E-4246-B6B6-89E25FAACC34}"/>
              </a:ext>
            </a:extLst>
          </p:cNvPr>
          <p:cNvCxnSpPr>
            <a:stCxn id="15" idx="4"/>
            <a:endCxn id="23" idx="2"/>
          </p:cNvCxnSpPr>
          <p:nvPr/>
        </p:nvCxnSpPr>
        <p:spPr>
          <a:xfrm rot="5400000" flipH="1" flipV="1">
            <a:off x="4865374" y="1340275"/>
            <a:ext cx="2887450" cy="6315863"/>
          </a:xfrm>
          <a:prstGeom prst="bentConnector4">
            <a:avLst>
              <a:gd name="adj1" fmla="val -7917"/>
              <a:gd name="adj2" fmla="val 78827"/>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cxnSp>
      <p:sp>
        <p:nvSpPr>
          <p:cNvPr id="9" name="Title 1">
            <a:extLst>
              <a:ext uri="{FF2B5EF4-FFF2-40B4-BE49-F238E27FC236}">
                <a16:creationId xmlns:a16="http://schemas.microsoft.com/office/drawing/2014/main" id="{314CA976-2089-4B33-9BE9-2D67D8F26A61}"/>
              </a:ext>
            </a:extLst>
          </p:cNvPr>
          <p:cNvSpPr txBox="1">
            <a:spLocks/>
          </p:cNvSpPr>
          <p:nvPr/>
        </p:nvSpPr>
        <p:spPr bwMode="gray">
          <a:xfrm>
            <a:off x="846189" y="2492847"/>
            <a:ext cx="1293966" cy="983344"/>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mn-lt"/>
                <a:ea typeface="+mj-ea"/>
                <a:cs typeface="+mj-cs"/>
              </a:rPr>
              <a:t>Where we’ve been…</a:t>
            </a:r>
          </a:p>
        </p:txBody>
      </p:sp>
      <p:sp>
        <p:nvSpPr>
          <p:cNvPr id="11" name="TextBox 10">
            <a:extLst>
              <a:ext uri="{FF2B5EF4-FFF2-40B4-BE49-F238E27FC236}">
                <a16:creationId xmlns:a16="http://schemas.microsoft.com/office/drawing/2014/main" id="{76BC968E-B1D6-4A0B-963D-737F69C2ACBB}"/>
              </a:ext>
            </a:extLst>
          </p:cNvPr>
          <p:cNvSpPr txBox="1"/>
          <p:nvPr/>
        </p:nvSpPr>
        <p:spPr>
          <a:xfrm>
            <a:off x="8114461" y="5331019"/>
            <a:ext cx="1589139" cy="500137"/>
          </a:xfrm>
          <a:prstGeom prst="rect">
            <a:avLst/>
          </a:prstGeom>
          <a:noFill/>
        </p:spPr>
        <p:txBody>
          <a:bodyPr wrap="square" rtlCol="0">
            <a:spAutoFit/>
          </a:bodyPr>
          <a:lstStyle/>
          <a:p>
            <a:pPr marL="0" marR="0" lvl="0" indent="0" algn="r" defTabSz="1219170" rtl="0" eaLnBrk="1" fontAlgn="auto" latinLnBrk="0" hangingPunct="1">
              <a:lnSpc>
                <a:spcPct val="80000"/>
              </a:lnSpc>
              <a:spcBef>
                <a:spcPts val="0"/>
              </a:spcBef>
              <a:spcAft>
                <a:spcPts val="300"/>
              </a:spcAft>
              <a:buClrTx/>
              <a:buSzTx/>
              <a:buFontTx/>
              <a:buNone/>
              <a:tabLst/>
              <a:defRPr/>
            </a:pPr>
            <a:r>
              <a:rPr kumimoji="0" lang="en-US" sz="1050" b="1" i="0" u="none" strike="noStrike" kern="1200" cap="none" spc="300" normalizeH="0" baseline="0" noProof="0" dirty="0">
                <a:ln>
                  <a:noFill/>
                </a:ln>
                <a:solidFill>
                  <a:srgbClr val="000000"/>
                </a:solidFill>
                <a:effectLst/>
                <a:uLnTx/>
                <a:uFillTx/>
                <a:ea typeface="Open Sans" charset="0"/>
                <a:cs typeface="Open Sans" charset="0"/>
              </a:rPr>
              <a:t>BUSINESS STRATEGIES</a:t>
            </a:r>
          </a:p>
          <a:p>
            <a:pPr marL="0" marR="0" lvl="0" indent="0" algn="r" defTabSz="1219170" rtl="0" eaLnBrk="1" fontAlgn="auto" latinLnBrk="0" hangingPunct="1">
              <a:lnSpc>
                <a:spcPct val="8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ea typeface="Open Sans" charset="0"/>
                <a:cs typeface="Open Sans" charset="0"/>
              </a:rPr>
              <a:t>Internal</a:t>
            </a:r>
          </a:p>
        </p:txBody>
      </p:sp>
      <p:sp>
        <p:nvSpPr>
          <p:cNvPr id="12" name="TextBox 11">
            <a:extLst>
              <a:ext uri="{FF2B5EF4-FFF2-40B4-BE49-F238E27FC236}">
                <a16:creationId xmlns:a16="http://schemas.microsoft.com/office/drawing/2014/main" id="{2F9F9542-0032-4074-8069-11F8651833EB}"/>
              </a:ext>
            </a:extLst>
          </p:cNvPr>
          <p:cNvSpPr txBox="1"/>
          <p:nvPr/>
        </p:nvSpPr>
        <p:spPr>
          <a:xfrm>
            <a:off x="8890793" y="3996705"/>
            <a:ext cx="1661141" cy="480131"/>
          </a:xfrm>
          <a:prstGeom prst="rect">
            <a:avLst/>
          </a:prstGeom>
          <a:noFill/>
        </p:spPr>
        <p:txBody>
          <a:bodyPr wrap="square" rtlCol="0">
            <a:spAutoFit/>
          </a:bodyP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Chronicle Display Light" charset="0"/>
                <a:cs typeface="Chronicle Display Light" charset="0"/>
              </a:rPr>
              <a:t>Redesigning Trade Terms</a:t>
            </a:r>
          </a:p>
        </p:txBody>
      </p:sp>
      <p:sp>
        <p:nvSpPr>
          <p:cNvPr id="13" name="Oval 12">
            <a:extLst>
              <a:ext uri="{FF2B5EF4-FFF2-40B4-BE49-F238E27FC236}">
                <a16:creationId xmlns:a16="http://schemas.microsoft.com/office/drawing/2014/main" id="{65F36F7D-4CA4-4FF2-BC51-D4FDC24B7159}"/>
              </a:ext>
            </a:extLst>
          </p:cNvPr>
          <p:cNvSpPr/>
          <p:nvPr/>
        </p:nvSpPr>
        <p:spPr>
          <a:xfrm>
            <a:off x="2241521" y="2414654"/>
            <a:ext cx="1760304" cy="1760304"/>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ea typeface="+mn-ea"/>
              <a:cs typeface="+mn-cs"/>
            </a:endParaRPr>
          </a:p>
        </p:txBody>
      </p:sp>
      <p:sp>
        <p:nvSpPr>
          <p:cNvPr id="14" name="TextBox 13">
            <a:extLst>
              <a:ext uri="{FF2B5EF4-FFF2-40B4-BE49-F238E27FC236}">
                <a16:creationId xmlns:a16="http://schemas.microsoft.com/office/drawing/2014/main" id="{1CB88CB7-644B-4629-8E43-7C20C8086855}"/>
              </a:ext>
            </a:extLst>
          </p:cNvPr>
          <p:cNvSpPr txBox="1"/>
          <p:nvPr/>
        </p:nvSpPr>
        <p:spPr>
          <a:xfrm>
            <a:off x="2276550" y="4901343"/>
            <a:ext cx="1731350" cy="286232"/>
          </a:xfrm>
          <a:prstGeom prst="rect">
            <a:avLst/>
          </a:prstGeom>
          <a:noFill/>
        </p:spPr>
        <p:txBody>
          <a:bodyPr wrap="square" rtlCol="0">
            <a:spAutoFit/>
          </a:bodyP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Chronicle Display Light" charset="0"/>
                <a:cs typeface="Chronicle Display Light" charset="0"/>
              </a:rPr>
              <a:t>Initial Analysis</a:t>
            </a:r>
          </a:p>
        </p:txBody>
      </p:sp>
      <p:sp>
        <p:nvSpPr>
          <p:cNvPr id="15" name="Oval 14">
            <a:extLst>
              <a:ext uri="{FF2B5EF4-FFF2-40B4-BE49-F238E27FC236}">
                <a16:creationId xmlns:a16="http://schemas.microsoft.com/office/drawing/2014/main" id="{1428612C-8DC5-455F-93BE-796D71D9E97A}"/>
              </a:ext>
            </a:extLst>
          </p:cNvPr>
          <p:cNvSpPr/>
          <p:nvPr/>
        </p:nvSpPr>
        <p:spPr>
          <a:xfrm>
            <a:off x="2271016" y="4181628"/>
            <a:ext cx="1760304" cy="1760304"/>
          </a:xfrm>
          <a:prstGeom prst="ellipse">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ea typeface="+mn-ea"/>
              <a:cs typeface="+mn-cs"/>
            </a:endParaRPr>
          </a:p>
        </p:txBody>
      </p:sp>
      <p:sp>
        <p:nvSpPr>
          <p:cNvPr id="16" name="Right Triangle 15">
            <a:extLst>
              <a:ext uri="{FF2B5EF4-FFF2-40B4-BE49-F238E27FC236}">
                <a16:creationId xmlns:a16="http://schemas.microsoft.com/office/drawing/2014/main" id="{03C1A55B-A86E-4C3C-BB05-9A10394C761F}"/>
              </a:ext>
            </a:extLst>
          </p:cNvPr>
          <p:cNvSpPr/>
          <p:nvPr/>
        </p:nvSpPr>
        <p:spPr>
          <a:xfrm rot="16370554">
            <a:off x="3631775" y="2554751"/>
            <a:ext cx="132640" cy="132640"/>
          </a:xfrm>
          <a:prstGeom prst="r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ea typeface="+mn-ea"/>
              <a:cs typeface="+mn-cs"/>
            </a:endParaRPr>
          </a:p>
        </p:txBody>
      </p:sp>
      <p:sp>
        <p:nvSpPr>
          <p:cNvPr id="17" name="Right Triangle 16">
            <a:extLst>
              <a:ext uri="{FF2B5EF4-FFF2-40B4-BE49-F238E27FC236}">
                <a16:creationId xmlns:a16="http://schemas.microsoft.com/office/drawing/2014/main" id="{FF8EDA51-B09F-4AEE-B63D-EAB25D994ED9}"/>
              </a:ext>
            </a:extLst>
          </p:cNvPr>
          <p:cNvSpPr/>
          <p:nvPr/>
        </p:nvSpPr>
        <p:spPr>
          <a:xfrm rot="6755954">
            <a:off x="2280714" y="3648343"/>
            <a:ext cx="132640" cy="132640"/>
          </a:xfrm>
          <a:prstGeom prst="r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ea typeface="+mn-ea"/>
              <a:cs typeface="+mn-cs"/>
            </a:endParaRPr>
          </a:p>
        </p:txBody>
      </p:sp>
      <p:sp>
        <p:nvSpPr>
          <p:cNvPr id="18" name="Right Triangle 17">
            <a:extLst>
              <a:ext uri="{FF2B5EF4-FFF2-40B4-BE49-F238E27FC236}">
                <a16:creationId xmlns:a16="http://schemas.microsoft.com/office/drawing/2014/main" id="{AA779DEF-B4D9-4007-87F4-107138D70EE3}"/>
              </a:ext>
            </a:extLst>
          </p:cNvPr>
          <p:cNvSpPr/>
          <p:nvPr/>
        </p:nvSpPr>
        <p:spPr>
          <a:xfrm rot="2497468">
            <a:off x="3093813" y="4116490"/>
            <a:ext cx="132640" cy="132640"/>
          </a:xfrm>
          <a:prstGeom prst="r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ea typeface="+mn-ea"/>
              <a:cs typeface="+mn-cs"/>
            </a:endParaRPr>
          </a:p>
        </p:txBody>
      </p:sp>
      <p:sp>
        <p:nvSpPr>
          <p:cNvPr id="19" name="Right Triangle 18">
            <a:extLst>
              <a:ext uri="{FF2B5EF4-FFF2-40B4-BE49-F238E27FC236}">
                <a16:creationId xmlns:a16="http://schemas.microsoft.com/office/drawing/2014/main" id="{EEE22FDF-AA5E-45CA-A6F1-B047A89A2FD0}"/>
              </a:ext>
            </a:extLst>
          </p:cNvPr>
          <p:cNvSpPr/>
          <p:nvPr/>
        </p:nvSpPr>
        <p:spPr>
          <a:xfrm rot="10006866">
            <a:off x="3701879" y="5648857"/>
            <a:ext cx="132640" cy="132640"/>
          </a:xfrm>
          <a:prstGeom prst="r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ea typeface="+mn-ea"/>
              <a:cs typeface="+mn-cs"/>
            </a:endParaRPr>
          </a:p>
        </p:txBody>
      </p:sp>
      <p:sp>
        <p:nvSpPr>
          <p:cNvPr id="20" name="Arc 19">
            <a:extLst>
              <a:ext uri="{FF2B5EF4-FFF2-40B4-BE49-F238E27FC236}">
                <a16:creationId xmlns:a16="http://schemas.microsoft.com/office/drawing/2014/main" id="{E16563B5-F9C3-4F1B-9DAA-C508E4831F4E}"/>
              </a:ext>
            </a:extLst>
          </p:cNvPr>
          <p:cNvSpPr/>
          <p:nvPr/>
        </p:nvSpPr>
        <p:spPr>
          <a:xfrm>
            <a:off x="8339880" y="2884274"/>
            <a:ext cx="2709842" cy="2709840"/>
          </a:xfrm>
          <a:prstGeom prst="arc">
            <a:avLst>
              <a:gd name="adj1" fmla="val 16200000"/>
              <a:gd name="adj2" fmla="val 20773722"/>
            </a:avLst>
          </a:prstGeom>
          <a:ln w="28575" cmpd="sng">
            <a:solidFill>
              <a:schemeClr val="accent1"/>
            </a:solidFill>
            <a:tailEnd type="ova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121917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Open Sans"/>
            </a:endParaRPr>
          </a:p>
        </p:txBody>
      </p:sp>
      <p:sp>
        <p:nvSpPr>
          <p:cNvPr id="21" name="Arc 20">
            <a:extLst>
              <a:ext uri="{FF2B5EF4-FFF2-40B4-BE49-F238E27FC236}">
                <a16:creationId xmlns:a16="http://schemas.microsoft.com/office/drawing/2014/main" id="{5C5FE68C-BA60-4382-A0F5-3AE6FB882928}"/>
              </a:ext>
            </a:extLst>
          </p:cNvPr>
          <p:cNvSpPr>
            <a:spLocks noChangeAspect="1"/>
          </p:cNvSpPr>
          <p:nvPr/>
        </p:nvSpPr>
        <p:spPr>
          <a:xfrm>
            <a:off x="8510089" y="3054482"/>
            <a:ext cx="2369426" cy="2369424"/>
          </a:xfrm>
          <a:prstGeom prst="arc">
            <a:avLst>
              <a:gd name="adj1" fmla="val 16200000"/>
              <a:gd name="adj2" fmla="val 5330918"/>
            </a:avLst>
          </a:prstGeom>
          <a:ln w="28575" cmpd="sng">
            <a:solidFill>
              <a:schemeClr val="accent1"/>
            </a:solidFill>
            <a:tailEnd type="ova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121917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Open Sans"/>
            </a:endParaRPr>
          </a:p>
        </p:txBody>
      </p:sp>
      <p:sp>
        <p:nvSpPr>
          <p:cNvPr id="22" name="Arc 21">
            <a:extLst>
              <a:ext uri="{FF2B5EF4-FFF2-40B4-BE49-F238E27FC236}">
                <a16:creationId xmlns:a16="http://schemas.microsoft.com/office/drawing/2014/main" id="{EC324F29-6669-4CF5-9EC6-0CABF4D347C4}"/>
              </a:ext>
            </a:extLst>
          </p:cNvPr>
          <p:cNvSpPr>
            <a:spLocks noChangeAspect="1"/>
          </p:cNvSpPr>
          <p:nvPr/>
        </p:nvSpPr>
        <p:spPr>
          <a:xfrm>
            <a:off x="8669960" y="3214352"/>
            <a:ext cx="2049684" cy="2049684"/>
          </a:xfrm>
          <a:prstGeom prst="arc">
            <a:avLst>
              <a:gd name="adj1" fmla="val 16200000"/>
              <a:gd name="adj2" fmla="val 11092377"/>
            </a:avLst>
          </a:prstGeom>
          <a:ln w="28575" cmpd="sng">
            <a:solidFill>
              <a:schemeClr val="accent1"/>
            </a:solidFill>
            <a:tailEnd type="ova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121917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Open Sans"/>
            </a:endParaRPr>
          </a:p>
        </p:txBody>
      </p:sp>
      <p:sp>
        <p:nvSpPr>
          <p:cNvPr id="23" name="Oval 22">
            <a:extLst>
              <a:ext uri="{FF2B5EF4-FFF2-40B4-BE49-F238E27FC236}">
                <a16:creationId xmlns:a16="http://schemas.microsoft.com/office/drawing/2014/main" id="{C4AF4D38-48CB-4D6A-8551-56A0872BE0DD}"/>
              </a:ext>
            </a:extLst>
          </p:cNvPr>
          <p:cNvSpPr/>
          <p:nvPr/>
        </p:nvSpPr>
        <p:spPr>
          <a:xfrm>
            <a:off x="9467031" y="2833469"/>
            <a:ext cx="442026" cy="442026"/>
          </a:xfrm>
          <a:prstGeom prst="ellipse">
            <a:avLst/>
          </a:prstGeom>
          <a:solidFill>
            <a:schemeClr val="bg1"/>
          </a:solidFill>
          <a:ln w="28575" cmpd="sng">
            <a:solidFill>
              <a:schemeClr val="accent1"/>
            </a:solidFill>
            <a:tailEnd type="ova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121917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black"/>
              </a:solidFill>
              <a:effectLst/>
              <a:uLnTx/>
              <a:uFillTx/>
              <a:ea typeface="+mn-ea"/>
              <a:cs typeface="Open Sans"/>
            </a:endParaRPr>
          </a:p>
        </p:txBody>
      </p:sp>
      <p:sp>
        <p:nvSpPr>
          <p:cNvPr id="24" name="Right Triangle 23">
            <a:extLst>
              <a:ext uri="{FF2B5EF4-FFF2-40B4-BE49-F238E27FC236}">
                <a16:creationId xmlns:a16="http://schemas.microsoft.com/office/drawing/2014/main" id="{3B26DA21-424A-41E3-A8D1-FA1DBAF7FA33}"/>
              </a:ext>
            </a:extLst>
          </p:cNvPr>
          <p:cNvSpPr/>
          <p:nvPr/>
        </p:nvSpPr>
        <p:spPr>
          <a:xfrm rot="13464349">
            <a:off x="9574382" y="2973223"/>
            <a:ext cx="158374" cy="158374"/>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ea typeface="+mn-ea"/>
              <a:cs typeface="+mn-cs"/>
            </a:endParaRPr>
          </a:p>
        </p:txBody>
      </p:sp>
      <p:sp>
        <p:nvSpPr>
          <p:cNvPr id="25" name="Rectangle 24">
            <a:extLst>
              <a:ext uri="{FF2B5EF4-FFF2-40B4-BE49-F238E27FC236}">
                <a16:creationId xmlns:a16="http://schemas.microsoft.com/office/drawing/2014/main" id="{B0CFED53-9ECA-4B0E-B532-675D5FE43EEE}"/>
              </a:ext>
            </a:extLst>
          </p:cNvPr>
          <p:cNvSpPr/>
          <p:nvPr/>
        </p:nvSpPr>
        <p:spPr>
          <a:xfrm>
            <a:off x="1629017" y="1743602"/>
            <a:ext cx="2789028" cy="46166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noProof="0" dirty="0">
                <a:ln>
                  <a:noFill/>
                </a:ln>
                <a:solidFill>
                  <a:prstClr val="black"/>
                </a:solidFill>
                <a:effectLst/>
                <a:uLnTx/>
                <a:uFillTx/>
                <a:ea typeface="Open Sans" charset="0"/>
                <a:cs typeface="Open Sans" charset="0"/>
              </a:rPr>
              <a:t>WORKING WITH DATA IN A NEW WAY</a:t>
            </a:r>
          </a:p>
        </p:txBody>
      </p:sp>
      <p:sp>
        <p:nvSpPr>
          <p:cNvPr id="26" name="Right Triangle 25">
            <a:extLst>
              <a:ext uri="{FF2B5EF4-FFF2-40B4-BE49-F238E27FC236}">
                <a16:creationId xmlns:a16="http://schemas.microsoft.com/office/drawing/2014/main" id="{EEB8978D-7D7B-4954-ACA7-F982CAA3E603}"/>
              </a:ext>
            </a:extLst>
          </p:cNvPr>
          <p:cNvSpPr/>
          <p:nvPr/>
        </p:nvSpPr>
        <p:spPr>
          <a:xfrm rot="8055343">
            <a:off x="8065413" y="4345881"/>
            <a:ext cx="132640" cy="132640"/>
          </a:xfrm>
          <a:prstGeom prst="r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ea typeface="+mn-ea"/>
              <a:cs typeface="+mn-cs"/>
            </a:endParaRPr>
          </a:p>
        </p:txBody>
      </p:sp>
      <p:sp>
        <p:nvSpPr>
          <p:cNvPr id="27" name="Right Triangle 26">
            <a:extLst>
              <a:ext uri="{FF2B5EF4-FFF2-40B4-BE49-F238E27FC236}">
                <a16:creationId xmlns:a16="http://schemas.microsoft.com/office/drawing/2014/main" id="{E49D9A01-C41D-433B-9221-ABC7D80A3E4B}"/>
              </a:ext>
            </a:extLst>
          </p:cNvPr>
          <p:cNvSpPr/>
          <p:nvPr/>
        </p:nvSpPr>
        <p:spPr>
          <a:xfrm rot="13506105">
            <a:off x="8569676" y="2989996"/>
            <a:ext cx="132640" cy="132640"/>
          </a:xfrm>
          <a:prstGeom prst="r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ea typeface="+mn-ea"/>
              <a:cs typeface="+mn-cs"/>
            </a:endParaRPr>
          </a:p>
        </p:txBody>
      </p:sp>
      <p:sp>
        <p:nvSpPr>
          <p:cNvPr id="28" name="Right Triangle 27">
            <a:extLst>
              <a:ext uri="{FF2B5EF4-FFF2-40B4-BE49-F238E27FC236}">
                <a16:creationId xmlns:a16="http://schemas.microsoft.com/office/drawing/2014/main" id="{89776074-CF39-4DFF-B14B-141C5BC8D39C}"/>
              </a:ext>
            </a:extLst>
          </p:cNvPr>
          <p:cNvSpPr/>
          <p:nvPr/>
        </p:nvSpPr>
        <p:spPr>
          <a:xfrm rot="13506105">
            <a:off x="1544223" y="2355528"/>
            <a:ext cx="132640" cy="132640"/>
          </a:xfrm>
          <a:prstGeom prst="r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ea typeface="+mn-ea"/>
              <a:cs typeface="+mn-cs"/>
            </a:endParaRPr>
          </a:p>
        </p:txBody>
      </p:sp>
      <p:sp>
        <p:nvSpPr>
          <p:cNvPr id="29" name="Rectangle 28">
            <a:extLst>
              <a:ext uri="{FF2B5EF4-FFF2-40B4-BE49-F238E27FC236}">
                <a16:creationId xmlns:a16="http://schemas.microsoft.com/office/drawing/2014/main" id="{BB127FC3-ED51-4F36-B12D-C24A20AD0915}"/>
              </a:ext>
            </a:extLst>
          </p:cNvPr>
          <p:cNvSpPr/>
          <p:nvPr/>
        </p:nvSpPr>
        <p:spPr>
          <a:xfrm>
            <a:off x="8373313" y="2162264"/>
            <a:ext cx="2631584" cy="46166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noProof="0" dirty="0">
                <a:ln>
                  <a:noFill/>
                </a:ln>
                <a:solidFill>
                  <a:prstClr val="black"/>
                </a:solidFill>
                <a:effectLst/>
                <a:uLnTx/>
                <a:uFillTx/>
                <a:ea typeface="Open Sans" charset="0"/>
                <a:cs typeface="Open Sans" charset="0"/>
              </a:rPr>
              <a:t>THINKING TOWARDS THE FUTURE</a:t>
            </a:r>
          </a:p>
        </p:txBody>
      </p:sp>
      <p:sp>
        <p:nvSpPr>
          <p:cNvPr id="30" name="Freeform 33">
            <a:extLst>
              <a:ext uri="{FF2B5EF4-FFF2-40B4-BE49-F238E27FC236}">
                <a16:creationId xmlns:a16="http://schemas.microsoft.com/office/drawing/2014/main" id="{6F6ADF47-ECD7-48FC-B5C2-FF373695C882}"/>
              </a:ext>
            </a:extLst>
          </p:cNvPr>
          <p:cNvSpPr/>
          <p:nvPr/>
        </p:nvSpPr>
        <p:spPr>
          <a:xfrm>
            <a:off x="852272" y="2417714"/>
            <a:ext cx="2298896" cy="45719"/>
          </a:xfrm>
          <a:custGeom>
            <a:avLst/>
            <a:gdLst>
              <a:gd name="connsiteX0" fmla="*/ 2861733 w 2861733"/>
              <a:gd name="connsiteY0" fmla="*/ 0 h 0"/>
              <a:gd name="connsiteX1" fmla="*/ 0 w 2861733"/>
              <a:gd name="connsiteY1" fmla="*/ 0 h 0"/>
            </a:gdLst>
            <a:ahLst/>
            <a:cxnLst>
              <a:cxn ang="0">
                <a:pos x="connsiteX0" y="connsiteY0"/>
              </a:cxn>
              <a:cxn ang="0">
                <a:pos x="connsiteX1" y="connsiteY1"/>
              </a:cxn>
            </a:cxnLst>
            <a:rect l="l" t="t" r="r" b="b"/>
            <a:pathLst>
              <a:path w="2861733">
                <a:moveTo>
                  <a:pt x="2861733" y="0"/>
                </a:moveTo>
                <a:lnTo>
                  <a:pt x="0" y="0"/>
                </a:lnTo>
              </a:path>
            </a:pathLst>
          </a:cu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ea typeface="+mn-ea"/>
              <a:cs typeface="+mn-cs"/>
            </a:endParaRPr>
          </a:p>
        </p:txBody>
      </p:sp>
      <p:sp>
        <p:nvSpPr>
          <p:cNvPr id="31" name="Right Triangle 30">
            <a:extLst>
              <a:ext uri="{FF2B5EF4-FFF2-40B4-BE49-F238E27FC236}">
                <a16:creationId xmlns:a16="http://schemas.microsoft.com/office/drawing/2014/main" id="{33E6F6D9-BD82-4D29-8FC7-E8C19CFDF1FC}"/>
              </a:ext>
            </a:extLst>
          </p:cNvPr>
          <p:cNvSpPr/>
          <p:nvPr/>
        </p:nvSpPr>
        <p:spPr>
          <a:xfrm rot="13464349">
            <a:off x="697488" y="2335467"/>
            <a:ext cx="158374" cy="158374"/>
          </a:xfrm>
          <a:prstGeom prst="r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ea typeface="+mn-ea"/>
              <a:cs typeface="+mn-cs"/>
            </a:endParaRPr>
          </a:p>
        </p:txBody>
      </p:sp>
      <p:sp>
        <p:nvSpPr>
          <p:cNvPr id="32" name="Rectangle 31">
            <a:extLst>
              <a:ext uri="{FF2B5EF4-FFF2-40B4-BE49-F238E27FC236}">
                <a16:creationId xmlns:a16="http://schemas.microsoft.com/office/drawing/2014/main" id="{CDDAF4EA-87FA-46C0-8ACA-959D49B3FA5B}"/>
              </a:ext>
            </a:extLst>
          </p:cNvPr>
          <p:cNvSpPr/>
          <p:nvPr/>
        </p:nvSpPr>
        <p:spPr>
          <a:xfrm>
            <a:off x="305782" y="5881581"/>
            <a:ext cx="2486676" cy="46166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noProof="0" dirty="0">
                <a:ln>
                  <a:noFill/>
                </a:ln>
                <a:solidFill>
                  <a:prstClr val="black"/>
                </a:solidFill>
                <a:effectLst/>
                <a:uLnTx/>
                <a:uFillTx/>
                <a:ea typeface="Open Sans" charset="0"/>
                <a:cs typeface="Open Sans" charset="0"/>
              </a:rPr>
              <a:t>ESTABLISHING THE BASELINE</a:t>
            </a:r>
          </a:p>
        </p:txBody>
      </p:sp>
      <p:cxnSp>
        <p:nvCxnSpPr>
          <p:cNvPr id="33" name="Straight Connector 32">
            <a:extLst>
              <a:ext uri="{FF2B5EF4-FFF2-40B4-BE49-F238E27FC236}">
                <a16:creationId xmlns:a16="http://schemas.microsoft.com/office/drawing/2014/main" id="{6FFBE8E3-8EDF-4090-B9E2-F4C0C08C3BA1}"/>
              </a:ext>
            </a:extLst>
          </p:cNvPr>
          <p:cNvCxnSpPr/>
          <p:nvPr/>
        </p:nvCxnSpPr>
        <p:spPr>
          <a:xfrm>
            <a:off x="3036370" y="5951801"/>
            <a:ext cx="0" cy="365760"/>
          </a:xfrm>
          <a:prstGeom prst="lin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cxnSp>
      <p:sp>
        <p:nvSpPr>
          <p:cNvPr id="34" name="Right Triangle 33">
            <a:extLst>
              <a:ext uri="{FF2B5EF4-FFF2-40B4-BE49-F238E27FC236}">
                <a16:creationId xmlns:a16="http://schemas.microsoft.com/office/drawing/2014/main" id="{59DEF902-9703-41FA-8A90-593286390A2B}"/>
              </a:ext>
            </a:extLst>
          </p:cNvPr>
          <p:cNvSpPr/>
          <p:nvPr/>
        </p:nvSpPr>
        <p:spPr>
          <a:xfrm rot="16560107">
            <a:off x="2392529" y="5522886"/>
            <a:ext cx="132640" cy="132640"/>
          </a:xfrm>
          <a:prstGeom prst="r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ea typeface="+mn-ea"/>
              <a:cs typeface="+mn-cs"/>
            </a:endParaRPr>
          </a:p>
        </p:txBody>
      </p:sp>
      <p:sp>
        <p:nvSpPr>
          <p:cNvPr id="35" name="Right Triangle 34">
            <a:extLst>
              <a:ext uri="{FF2B5EF4-FFF2-40B4-BE49-F238E27FC236}">
                <a16:creationId xmlns:a16="http://schemas.microsoft.com/office/drawing/2014/main" id="{368F5A74-CA60-4CA5-B9D1-53142F9DB968}"/>
              </a:ext>
            </a:extLst>
          </p:cNvPr>
          <p:cNvSpPr/>
          <p:nvPr/>
        </p:nvSpPr>
        <p:spPr>
          <a:xfrm rot="13506105">
            <a:off x="5900448" y="6113549"/>
            <a:ext cx="132640" cy="132640"/>
          </a:xfrm>
          <a:prstGeom prst="r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ea typeface="+mn-ea"/>
              <a:cs typeface="+mn-cs"/>
            </a:endParaRPr>
          </a:p>
        </p:txBody>
      </p:sp>
      <p:sp>
        <p:nvSpPr>
          <p:cNvPr id="36" name="Rectangle 35">
            <a:extLst>
              <a:ext uri="{FF2B5EF4-FFF2-40B4-BE49-F238E27FC236}">
                <a16:creationId xmlns:a16="http://schemas.microsoft.com/office/drawing/2014/main" id="{00E542E1-1E55-47F0-8FBC-1B417DE291DE}"/>
              </a:ext>
            </a:extLst>
          </p:cNvPr>
          <p:cNvSpPr/>
          <p:nvPr/>
        </p:nvSpPr>
        <p:spPr>
          <a:xfrm>
            <a:off x="4172035" y="2556753"/>
            <a:ext cx="3623344" cy="1292662"/>
          </a:xfrm>
          <a:prstGeom prst="rect">
            <a:avLst/>
          </a:prstGeom>
        </p:spPr>
        <p:txBody>
          <a:bodyPr wrap="square">
            <a:spAutoFit/>
          </a:bodyPr>
          <a:lstStyle/>
          <a:p>
            <a:pPr marL="91440" marR="0" lvl="0" indent="-91440" algn="l" defTabSz="1219170" rtl="0" eaLnBrk="1" fontAlgn="auto" latinLnBrk="0" hangingPunct="1">
              <a:lnSpc>
                <a:spcPct val="100000"/>
              </a:lnSpc>
              <a:spcBef>
                <a:spcPts val="300"/>
              </a:spcBef>
              <a:spcAft>
                <a:spcPts val="300"/>
              </a:spcAft>
              <a:buClrTx/>
              <a:buSzTx/>
              <a:buFont typeface="Arial" charset="0"/>
              <a:buChar char="•"/>
              <a:tabLst/>
              <a:defRPr/>
            </a:pPr>
            <a:r>
              <a:rPr kumimoji="0" lang="en-US" sz="1050" b="0" i="0" u="none" strike="noStrike" kern="1200" cap="none" spc="0" normalizeH="0" baseline="0" noProof="0" dirty="0">
                <a:ln>
                  <a:noFill/>
                </a:ln>
                <a:solidFill>
                  <a:srgbClr val="000000"/>
                </a:solidFill>
                <a:effectLst/>
                <a:uLnTx/>
                <a:uFillTx/>
                <a:ea typeface="Open Sans" charset="0"/>
                <a:cs typeface="Open Sans" charset="0"/>
              </a:rPr>
              <a:t>Collected 59M rows of data</a:t>
            </a:r>
          </a:p>
          <a:p>
            <a:pPr marL="91440" marR="0" lvl="0" indent="-91440" algn="l" defTabSz="1219170" rtl="0" eaLnBrk="1" fontAlgn="auto" latinLnBrk="0" hangingPunct="1">
              <a:lnSpc>
                <a:spcPct val="100000"/>
              </a:lnSpc>
              <a:spcBef>
                <a:spcPts val="300"/>
              </a:spcBef>
              <a:spcAft>
                <a:spcPts val="300"/>
              </a:spcAft>
              <a:buClrTx/>
              <a:buSzTx/>
              <a:buFont typeface="Arial" charset="0"/>
              <a:buChar char="•"/>
              <a:tabLst/>
              <a:defRPr/>
            </a:pPr>
            <a:r>
              <a:rPr kumimoji="0" lang="en-US" sz="1050" b="0" i="0" u="none" strike="noStrike" kern="1200" cap="none" spc="0" normalizeH="0" baseline="0" noProof="0" dirty="0">
                <a:ln>
                  <a:noFill/>
                </a:ln>
                <a:solidFill>
                  <a:srgbClr val="000000"/>
                </a:solidFill>
                <a:effectLst/>
                <a:uLnTx/>
                <a:uFillTx/>
                <a:ea typeface="Open Sans" charset="0"/>
                <a:cs typeface="Open Sans" charset="0"/>
              </a:rPr>
              <a:t>Conducted 20+ business interviews</a:t>
            </a:r>
          </a:p>
          <a:p>
            <a:pPr marL="91440" marR="0" lvl="0" indent="-91440" algn="l" defTabSz="1219170" rtl="0" eaLnBrk="1" fontAlgn="auto" latinLnBrk="0" hangingPunct="1">
              <a:lnSpc>
                <a:spcPct val="100000"/>
              </a:lnSpc>
              <a:spcBef>
                <a:spcPts val="300"/>
              </a:spcBef>
              <a:spcAft>
                <a:spcPts val="300"/>
              </a:spcAft>
              <a:buClrTx/>
              <a:buSzTx/>
              <a:buFont typeface="Arial" charset="0"/>
              <a:buChar char="•"/>
              <a:tabLst/>
              <a:defRPr/>
            </a:pPr>
            <a:r>
              <a:rPr kumimoji="0" lang="en-US" sz="1050" b="0" i="0" u="none" strike="noStrike" kern="1200" cap="none" spc="0" normalizeH="0" baseline="0" noProof="0" dirty="0">
                <a:ln>
                  <a:noFill/>
                </a:ln>
                <a:solidFill>
                  <a:srgbClr val="000000"/>
                </a:solidFill>
                <a:effectLst/>
                <a:uLnTx/>
                <a:uFillTx/>
                <a:ea typeface="Open Sans" charset="0"/>
                <a:cs typeface="Open Sans" charset="0"/>
              </a:rPr>
              <a:t>Core team members have been critical in “translating” data into business processes</a:t>
            </a:r>
          </a:p>
          <a:p>
            <a:pPr marL="91440" marR="0" lvl="0" indent="-91440" algn="l" defTabSz="1219170" rtl="0" eaLnBrk="1" fontAlgn="auto" latinLnBrk="0" hangingPunct="1">
              <a:lnSpc>
                <a:spcPct val="100000"/>
              </a:lnSpc>
              <a:spcBef>
                <a:spcPts val="300"/>
              </a:spcBef>
              <a:spcAft>
                <a:spcPts val="300"/>
              </a:spcAft>
              <a:buClrTx/>
              <a:buSzTx/>
              <a:buFont typeface="Arial" charset="0"/>
              <a:buChar char="•"/>
              <a:tabLst/>
              <a:defRPr/>
            </a:pPr>
            <a:r>
              <a:rPr kumimoji="0" lang="en-US" sz="1050" b="0" i="0" u="none" strike="noStrike" kern="1200" cap="none" spc="0" normalizeH="0" baseline="0" noProof="0" dirty="0">
                <a:ln>
                  <a:noFill/>
                </a:ln>
                <a:solidFill>
                  <a:srgbClr val="000000"/>
                </a:solidFill>
                <a:effectLst/>
                <a:uLnTx/>
                <a:uFillTx/>
                <a:ea typeface="Open Sans" charset="0"/>
                <a:cs typeface="Open Sans" charset="0"/>
              </a:rPr>
              <a:t>Special thanks to </a:t>
            </a:r>
            <a:r>
              <a:rPr kumimoji="0" lang="en-US" sz="1050" b="1" i="0" u="none" strike="noStrike" kern="1200" cap="none" spc="0" normalizeH="0" baseline="0" noProof="0" dirty="0">
                <a:ln>
                  <a:noFill/>
                </a:ln>
                <a:solidFill>
                  <a:schemeClr val="accent1"/>
                </a:solidFill>
                <a:effectLst/>
                <a:uLnTx/>
                <a:uFillTx/>
                <a:ea typeface="Open Sans" charset="0"/>
                <a:cs typeface="Open Sans" charset="0"/>
                <a:sym typeface="Wingdings" panose="05000000000000000000" pitchFamily="2" charset="2"/>
              </a:rPr>
              <a:t>Practitioner Names</a:t>
            </a:r>
            <a:r>
              <a:rPr kumimoji="0" lang="en-US" sz="1050" b="1" i="0" u="none" strike="noStrike" kern="1200" cap="none" spc="0" normalizeH="0" baseline="0" noProof="0" dirty="0">
                <a:ln>
                  <a:noFill/>
                </a:ln>
                <a:solidFill>
                  <a:schemeClr val="accent1"/>
                </a:solidFill>
                <a:effectLst/>
                <a:uLnTx/>
                <a:uFillTx/>
                <a:ea typeface="Open Sans" charset="0"/>
                <a:cs typeface="Open Sans" charset="0"/>
              </a:rPr>
              <a:t> </a:t>
            </a:r>
            <a:r>
              <a:rPr kumimoji="0" lang="en-US" sz="1050" b="0" i="0" u="none" strike="noStrike" kern="1200" cap="none" spc="0" normalizeH="0" baseline="0" noProof="0" dirty="0">
                <a:ln>
                  <a:noFill/>
                </a:ln>
                <a:solidFill>
                  <a:srgbClr val="000000"/>
                </a:solidFill>
                <a:effectLst/>
                <a:uLnTx/>
                <a:uFillTx/>
                <a:ea typeface="Open Sans" charset="0"/>
                <a:cs typeface="Open Sans" charset="0"/>
              </a:rPr>
              <a:t>for leading the data extraction efforts</a:t>
            </a:r>
          </a:p>
        </p:txBody>
      </p:sp>
      <p:sp>
        <p:nvSpPr>
          <p:cNvPr id="37" name="Rectangle 36">
            <a:extLst>
              <a:ext uri="{FF2B5EF4-FFF2-40B4-BE49-F238E27FC236}">
                <a16:creationId xmlns:a16="http://schemas.microsoft.com/office/drawing/2014/main" id="{0F0E7B61-80FA-476C-B206-50DE0E94DF7E}"/>
              </a:ext>
            </a:extLst>
          </p:cNvPr>
          <p:cNvSpPr/>
          <p:nvPr/>
        </p:nvSpPr>
        <p:spPr>
          <a:xfrm>
            <a:off x="4172034" y="4292222"/>
            <a:ext cx="3623344" cy="1615827"/>
          </a:xfrm>
          <a:prstGeom prst="rect">
            <a:avLst/>
          </a:prstGeom>
        </p:spPr>
        <p:txBody>
          <a:bodyPr wrap="square">
            <a:spAutoFit/>
          </a:bodyPr>
          <a:lstStyle/>
          <a:p>
            <a:pPr marL="91440" marR="0" lvl="0" indent="-91440" algn="l" defTabSz="1219170" rtl="0" eaLnBrk="1" fontAlgn="auto" latinLnBrk="0" hangingPunct="1">
              <a:lnSpc>
                <a:spcPct val="100000"/>
              </a:lnSpc>
              <a:spcBef>
                <a:spcPts val="300"/>
              </a:spcBef>
              <a:spcAft>
                <a:spcPts val="300"/>
              </a:spcAft>
              <a:buClrTx/>
              <a:buSzTx/>
              <a:buFont typeface="Arial" charset="0"/>
              <a:buChar char="•"/>
              <a:tabLst/>
              <a:defRPr/>
            </a:pPr>
            <a:r>
              <a:rPr kumimoji="0" lang="en-US" sz="1050" b="0" i="0" u="none" strike="noStrike" kern="1200" cap="none" spc="0" normalizeH="0" baseline="0" noProof="0" dirty="0">
                <a:ln>
                  <a:noFill/>
                </a:ln>
                <a:solidFill>
                  <a:srgbClr val="000000"/>
                </a:solidFill>
                <a:effectLst/>
                <a:uLnTx/>
                <a:uFillTx/>
                <a:ea typeface="Open Sans" charset="0"/>
                <a:cs typeface="Open Sans" charset="0"/>
              </a:rPr>
              <a:t>Developed a “price waterfall” to walk from gross-to-net, identifying each type of discount uniquely</a:t>
            </a:r>
          </a:p>
          <a:p>
            <a:pPr marL="91440" marR="0" lvl="0" indent="-91440" algn="l" defTabSz="1219170" rtl="0" eaLnBrk="1" fontAlgn="auto" latinLnBrk="0" hangingPunct="1">
              <a:lnSpc>
                <a:spcPct val="100000"/>
              </a:lnSpc>
              <a:spcBef>
                <a:spcPts val="300"/>
              </a:spcBef>
              <a:spcAft>
                <a:spcPts val="300"/>
              </a:spcAft>
              <a:buClrTx/>
              <a:buSzTx/>
              <a:buFont typeface="Arial" charset="0"/>
              <a:buChar char="•"/>
              <a:tabLst/>
              <a:defRPr/>
            </a:pPr>
            <a:r>
              <a:rPr kumimoji="0" lang="en-US" sz="1050" b="0" i="0" u="none" strike="noStrike" kern="1200" cap="none" spc="0" normalizeH="0" baseline="0" noProof="0" dirty="0">
                <a:ln>
                  <a:noFill/>
                </a:ln>
                <a:solidFill>
                  <a:srgbClr val="000000"/>
                </a:solidFill>
                <a:effectLst/>
                <a:uLnTx/>
                <a:uFillTx/>
                <a:ea typeface="Open Sans" charset="0"/>
                <a:cs typeface="Open Sans" charset="0"/>
              </a:rPr>
              <a:t>Mapped in documented trade intent in order to isolate unintended behavior</a:t>
            </a:r>
          </a:p>
          <a:p>
            <a:pPr marL="91440" marR="0" lvl="0" indent="-91440" algn="l" defTabSz="1219170" rtl="0" eaLnBrk="1" fontAlgn="auto" latinLnBrk="0" hangingPunct="1">
              <a:lnSpc>
                <a:spcPct val="100000"/>
              </a:lnSpc>
              <a:spcBef>
                <a:spcPts val="300"/>
              </a:spcBef>
              <a:spcAft>
                <a:spcPts val="300"/>
              </a:spcAft>
              <a:buClrTx/>
              <a:buSzTx/>
              <a:buFont typeface="Arial" charset="0"/>
              <a:buChar char="•"/>
              <a:tabLst/>
              <a:defRPr/>
            </a:pPr>
            <a:r>
              <a:rPr kumimoji="0" lang="en-US" sz="1050" b="0" i="0" u="none" strike="noStrike" kern="1200" cap="none" spc="0" normalizeH="0" baseline="0" noProof="0" dirty="0">
                <a:ln>
                  <a:noFill/>
                </a:ln>
                <a:solidFill>
                  <a:srgbClr val="000000"/>
                </a:solidFill>
                <a:effectLst/>
                <a:uLnTx/>
                <a:uFillTx/>
                <a:ea typeface="Open Sans" charset="0"/>
                <a:cs typeface="Open Sans" charset="0"/>
              </a:rPr>
              <a:t>Defined business rules, intent and strategies to validate with data</a:t>
            </a:r>
          </a:p>
          <a:p>
            <a:pPr marL="91440" marR="0" lvl="0" indent="-91440" algn="l" defTabSz="1219170" rtl="0" eaLnBrk="1" fontAlgn="auto" latinLnBrk="0" hangingPunct="1">
              <a:lnSpc>
                <a:spcPct val="100000"/>
              </a:lnSpc>
              <a:spcBef>
                <a:spcPts val="300"/>
              </a:spcBef>
              <a:spcAft>
                <a:spcPts val="300"/>
              </a:spcAft>
              <a:buClrTx/>
              <a:buSzTx/>
              <a:buFont typeface="Arial" charset="0"/>
              <a:buChar char="•"/>
              <a:tabLst/>
              <a:defRPr/>
            </a:pPr>
            <a:r>
              <a:rPr kumimoji="0" lang="en-US" sz="1050" b="0" i="0" u="none" strike="noStrike" kern="1200" cap="none" spc="0" normalizeH="0" baseline="0" noProof="0" dirty="0">
                <a:ln>
                  <a:noFill/>
                </a:ln>
                <a:solidFill>
                  <a:srgbClr val="000000"/>
                </a:solidFill>
                <a:effectLst/>
                <a:uLnTx/>
                <a:uFillTx/>
                <a:ea typeface="Open Sans" charset="0"/>
                <a:cs typeface="Open Sans" charset="0"/>
              </a:rPr>
              <a:t>Created master data in order to “slice and dice” the data at any level of granularity</a:t>
            </a:r>
          </a:p>
        </p:txBody>
      </p:sp>
      <p:sp>
        <p:nvSpPr>
          <p:cNvPr id="38" name="TextBox 37">
            <a:extLst>
              <a:ext uri="{FF2B5EF4-FFF2-40B4-BE49-F238E27FC236}">
                <a16:creationId xmlns:a16="http://schemas.microsoft.com/office/drawing/2014/main" id="{7497BFEF-09EF-4C88-AB6A-46D794E743E3}"/>
              </a:ext>
            </a:extLst>
          </p:cNvPr>
          <p:cNvSpPr txBox="1"/>
          <p:nvPr/>
        </p:nvSpPr>
        <p:spPr>
          <a:xfrm>
            <a:off x="2263407" y="3114844"/>
            <a:ext cx="1731350" cy="286232"/>
          </a:xfrm>
          <a:prstGeom prst="rect">
            <a:avLst/>
          </a:prstGeom>
          <a:noFill/>
        </p:spPr>
        <p:txBody>
          <a:bodyPr wrap="square" rtlCol="0">
            <a:spAutoFit/>
          </a:bodyP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Chronicle Display Light" charset="0"/>
                <a:cs typeface="Chronicle Display Light" charset="0"/>
              </a:rPr>
              <a:t>Data Collection</a:t>
            </a:r>
          </a:p>
        </p:txBody>
      </p:sp>
      <p:sp>
        <p:nvSpPr>
          <p:cNvPr id="10" name="TextBox 9">
            <a:extLst>
              <a:ext uri="{FF2B5EF4-FFF2-40B4-BE49-F238E27FC236}">
                <a16:creationId xmlns:a16="http://schemas.microsoft.com/office/drawing/2014/main" id="{C0D3E51C-F631-4694-8091-5C9FE9731A5F}"/>
              </a:ext>
            </a:extLst>
          </p:cNvPr>
          <p:cNvSpPr txBox="1"/>
          <p:nvPr/>
        </p:nvSpPr>
        <p:spPr>
          <a:xfrm>
            <a:off x="10504029" y="4023584"/>
            <a:ext cx="1466191" cy="500137"/>
          </a:xfrm>
          <a:prstGeom prst="rect">
            <a:avLst/>
          </a:prstGeom>
          <a:solidFill>
            <a:schemeClr val="bg1"/>
          </a:solidFill>
        </p:spPr>
        <p:txBody>
          <a:bodyPr wrap="square" rtlCol="0">
            <a:spAutoFit/>
          </a:bodyPr>
          <a:lstStyle/>
          <a:p>
            <a:pPr marL="0" marR="0" lvl="0" indent="0" algn="l" defTabSz="1219170" rtl="0" eaLnBrk="1" fontAlgn="auto" latinLnBrk="0" hangingPunct="1">
              <a:lnSpc>
                <a:spcPct val="80000"/>
              </a:lnSpc>
              <a:spcBef>
                <a:spcPts val="0"/>
              </a:spcBef>
              <a:spcAft>
                <a:spcPts val="300"/>
              </a:spcAft>
              <a:buClrTx/>
              <a:buSzTx/>
              <a:buFontTx/>
              <a:buNone/>
              <a:tabLst/>
              <a:defRPr/>
            </a:pPr>
            <a:r>
              <a:rPr kumimoji="0" lang="en-US" sz="1050" b="1" i="0" u="none" strike="noStrike" kern="1200" cap="none" spc="300" normalizeH="0" baseline="0" noProof="0" dirty="0">
                <a:ln>
                  <a:noFill/>
                </a:ln>
                <a:solidFill>
                  <a:srgbClr val="000000"/>
                </a:solidFill>
                <a:effectLst/>
                <a:uLnTx/>
                <a:uFillTx/>
                <a:ea typeface="Open Sans" charset="0"/>
                <a:cs typeface="Open Sans" charset="0"/>
              </a:rPr>
              <a:t>LEADING PRACTICES</a:t>
            </a:r>
          </a:p>
          <a:p>
            <a:pPr marL="0" marR="0" lvl="0" indent="0" algn="l" defTabSz="1219170" rtl="0" eaLnBrk="1" fontAlgn="auto" latinLnBrk="0" hangingPunct="1">
              <a:lnSpc>
                <a:spcPct val="8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ea typeface="Open Sans" charset="0"/>
                <a:cs typeface="Open Sans" charset="0"/>
              </a:rPr>
              <a:t>External</a:t>
            </a:r>
          </a:p>
        </p:txBody>
      </p:sp>
    </p:spTree>
    <p:extLst>
      <p:ext uri="{BB962C8B-B14F-4D97-AF65-F5344CB8AC3E}">
        <p14:creationId xmlns:p14="http://schemas.microsoft.com/office/powerpoint/2010/main" val="3642604811"/>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a:extLst>
              <a:ext uri="{FF2B5EF4-FFF2-40B4-BE49-F238E27FC236}">
                <a16:creationId xmlns:a16="http://schemas.microsoft.com/office/drawing/2014/main" id="{38CB91D3-983B-4785-9F1F-F5FD44DCEB36}"/>
              </a:ext>
            </a:extLst>
          </p:cNvPr>
          <p:cNvGraphicFramePr>
            <a:graphicFrameLocks noChangeAspect="1"/>
          </p:cNvGraphicFramePr>
          <p:nvPr>
            <p:custDataLst>
              <p:tags r:id="rId2"/>
            </p:custDataLst>
            <p:extLst>
              <p:ext uri="{D42A27DB-BD31-4B8C-83A1-F6EECF244321}">
                <p14:modId xmlns:p14="http://schemas.microsoft.com/office/powerpoint/2010/main" val="597795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8116" name="think-cell Slide" r:id="rId6" imgW="395" imgH="396" progId="TCLayout.ActiveDocument.1">
                  <p:embed/>
                </p:oleObj>
              </mc:Choice>
              <mc:Fallback>
                <p:oleObj name="think-cell Slide" r:id="rId6" imgW="395" imgH="396" progId="TCLayout.ActiveDocument.1">
                  <p:embed/>
                  <p:pic>
                    <p:nvPicPr>
                      <p:cNvPr id="37" name="Object 36" hidden="1">
                        <a:extLst>
                          <a:ext uri="{FF2B5EF4-FFF2-40B4-BE49-F238E27FC236}">
                            <a16:creationId xmlns:a16="http://schemas.microsoft.com/office/drawing/2014/main" id="{38CB91D3-983B-4785-9F1F-F5FD44DCEB3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Rectangle 35" hidden="1">
            <a:extLst>
              <a:ext uri="{FF2B5EF4-FFF2-40B4-BE49-F238E27FC236}">
                <a16:creationId xmlns:a16="http://schemas.microsoft.com/office/drawing/2014/main" id="{4CE6E713-2B1E-4C37-B749-EBD2B406D00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3C6C78EF-5C38-4FBE-9423-0137392D5EBA}"/>
              </a:ext>
            </a:extLst>
          </p:cNvPr>
          <p:cNvSpPr>
            <a:spLocks noGrp="1"/>
          </p:cNvSpPr>
          <p:nvPr>
            <p:ph type="title"/>
          </p:nvPr>
        </p:nvSpPr>
        <p:spPr/>
        <p:txBody>
          <a:bodyPr/>
          <a:lstStyle/>
          <a:p>
            <a:r>
              <a:rPr lang="en-US" dirty="0"/>
              <a:t>Digital transformations are key to enterprise sales</a:t>
            </a:r>
          </a:p>
        </p:txBody>
      </p:sp>
      <p:sp>
        <p:nvSpPr>
          <p:cNvPr id="3" name="Text Placeholder 2">
            <a:extLst>
              <a:ext uri="{FF2B5EF4-FFF2-40B4-BE49-F238E27FC236}">
                <a16:creationId xmlns:a16="http://schemas.microsoft.com/office/drawing/2014/main" id="{206218AE-02B7-4381-8454-74B9BA53E4E2}"/>
              </a:ext>
            </a:extLst>
          </p:cNvPr>
          <p:cNvSpPr>
            <a:spLocks noGrp="1"/>
          </p:cNvSpPr>
          <p:nvPr>
            <p:ph type="body" sz="quarter" idx="14"/>
          </p:nvPr>
        </p:nvSpPr>
        <p:spPr/>
        <p:txBody>
          <a:bodyPr/>
          <a:lstStyle/>
          <a:p>
            <a:r>
              <a:rPr lang="en-US" dirty="0"/>
              <a:t>Subtitle</a:t>
            </a:r>
          </a:p>
        </p:txBody>
      </p:sp>
      <p:sp>
        <p:nvSpPr>
          <p:cNvPr id="5" name="Title 1">
            <a:extLst>
              <a:ext uri="{FF2B5EF4-FFF2-40B4-BE49-F238E27FC236}">
                <a16:creationId xmlns:a16="http://schemas.microsoft.com/office/drawing/2014/main" id="{940AD7B9-97A2-46A8-ADFA-4BF477EEB9B9}"/>
              </a:ext>
            </a:extLst>
          </p:cNvPr>
          <p:cNvSpPr txBox="1">
            <a:spLocks/>
          </p:cNvSpPr>
          <p:nvPr/>
        </p:nvSpPr>
        <p:spPr>
          <a:xfrm>
            <a:off x="510493" y="466344"/>
            <a:ext cx="11071907" cy="1325563"/>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sz="4400" dirty="0"/>
          </a:p>
        </p:txBody>
      </p:sp>
      <p:sp>
        <p:nvSpPr>
          <p:cNvPr id="6" name="Freeform: Shape 5">
            <a:extLst>
              <a:ext uri="{FF2B5EF4-FFF2-40B4-BE49-F238E27FC236}">
                <a16:creationId xmlns:a16="http://schemas.microsoft.com/office/drawing/2014/main" id="{7A6ACEA2-D01B-49DB-8AAA-999ACF223023}"/>
              </a:ext>
            </a:extLst>
          </p:cNvPr>
          <p:cNvSpPr/>
          <p:nvPr/>
        </p:nvSpPr>
        <p:spPr>
          <a:xfrm>
            <a:off x="0" y="2714167"/>
            <a:ext cx="12167119" cy="405333"/>
          </a:xfrm>
          <a:custGeom>
            <a:avLst/>
            <a:gdLst>
              <a:gd name="connsiteX0" fmla="*/ 0 w 12167119"/>
              <a:gd name="connsiteY0" fmla="*/ 7222 h 405333"/>
              <a:gd name="connsiteX1" fmla="*/ 2146041 w 12167119"/>
              <a:gd name="connsiteY1" fmla="*/ 405329 h 405333"/>
              <a:gd name="connsiteX2" fmla="*/ 6419461 w 12167119"/>
              <a:gd name="connsiteY2" fmla="*/ 1002 h 405333"/>
              <a:gd name="connsiteX3" fmla="*/ 9666515 w 12167119"/>
              <a:gd name="connsiteY3" fmla="*/ 287141 h 405333"/>
              <a:gd name="connsiteX4" fmla="*/ 12167119 w 12167119"/>
              <a:gd name="connsiteY4" fmla="*/ 175173 h 4053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67119" h="405333">
                <a:moveTo>
                  <a:pt x="0" y="7222"/>
                </a:moveTo>
                <a:cubicBezTo>
                  <a:pt x="538065" y="206794"/>
                  <a:pt x="1076131" y="406366"/>
                  <a:pt x="2146041" y="405329"/>
                </a:cubicBezTo>
                <a:cubicBezTo>
                  <a:pt x="3215951" y="404292"/>
                  <a:pt x="5166049" y="20700"/>
                  <a:pt x="6419461" y="1002"/>
                </a:cubicBezTo>
                <a:cubicBezTo>
                  <a:pt x="7672873" y="-18696"/>
                  <a:pt x="8708572" y="258113"/>
                  <a:pt x="9666515" y="287141"/>
                </a:cubicBezTo>
                <a:cubicBezTo>
                  <a:pt x="10624458" y="316169"/>
                  <a:pt x="11395788" y="245671"/>
                  <a:pt x="12167119" y="175173"/>
                </a:cubicBezTo>
              </a:path>
            </a:pathLst>
          </a:custGeom>
          <a:noFill/>
          <a:ln w="28575" cap="flat" cmpd="sng" algn="ctr">
            <a:solidFill>
              <a:schemeClr val="accent5"/>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sp>
        <p:nvSpPr>
          <p:cNvPr id="7" name="Freeform: Shape 7">
            <a:extLst>
              <a:ext uri="{FF2B5EF4-FFF2-40B4-BE49-F238E27FC236}">
                <a16:creationId xmlns:a16="http://schemas.microsoft.com/office/drawing/2014/main" id="{7097C590-5EA2-4B43-8345-0DD46AD7B079}"/>
              </a:ext>
            </a:extLst>
          </p:cNvPr>
          <p:cNvSpPr/>
          <p:nvPr/>
        </p:nvSpPr>
        <p:spPr>
          <a:xfrm>
            <a:off x="-18661" y="2627974"/>
            <a:ext cx="12192000" cy="547505"/>
          </a:xfrm>
          <a:custGeom>
            <a:avLst/>
            <a:gdLst>
              <a:gd name="connsiteX0" fmla="*/ 12192000 w 12192000"/>
              <a:gd name="connsiteY0" fmla="*/ 547505 h 547505"/>
              <a:gd name="connsiteX1" fmla="*/ 8360229 w 12192000"/>
              <a:gd name="connsiteY1" fmla="*/ 109 h 547505"/>
              <a:gd name="connsiteX2" fmla="*/ 3987282 w 12192000"/>
              <a:gd name="connsiteY2" fmla="*/ 497742 h 547505"/>
              <a:gd name="connsiteX3" fmla="*/ 0 w 12192000"/>
              <a:gd name="connsiteY3" fmla="*/ 248926 h 547505"/>
            </a:gdLst>
            <a:ahLst/>
            <a:cxnLst>
              <a:cxn ang="0">
                <a:pos x="connsiteX0" y="connsiteY0"/>
              </a:cxn>
              <a:cxn ang="0">
                <a:pos x="connsiteX1" y="connsiteY1"/>
              </a:cxn>
              <a:cxn ang="0">
                <a:pos x="connsiteX2" y="connsiteY2"/>
              </a:cxn>
              <a:cxn ang="0">
                <a:pos x="connsiteX3" y="connsiteY3"/>
              </a:cxn>
            </a:cxnLst>
            <a:rect l="l" t="t" r="r" b="b"/>
            <a:pathLst>
              <a:path w="12192000" h="547505">
                <a:moveTo>
                  <a:pt x="12192000" y="547505"/>
                </a:moveTo>
                <a:cubicBezTo>
                  <a:pt x="10959841" y="277954"/>
                  <a:pt x="9727682" y="8403"/>
                  <a:pt x="8360229" y="109"/>
                </a:cubicBezTo>
                <a:cubicBezTo>
                  <a:pt x="6992776" y="-8185"/>
                  <a:pt x="5380653" y="456273"/>
                  <a:pt x="3987282" y="497742"/>
                </a:cubicBezTo>
                <a:cubicBezTo>
                  <a:pt x="2593911" y="539211"/>
                  <a:pt x="1296955" y="394068"/>
                  <a:pt x="0" y="248926"/>
                </a:cubicBezTo>
              </a:path>
            </a:pathLst>
          </a:custGeom>
          <a:noFill/>
          <a:ln w="28575" cap="flat" cmpd="sng" algn="ctr">
            <a:solidFill>
              <a:schemeClr val="bg2"/>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sp>
        <p:nvSpPr>
          <p:cNvPr id="8" name="Freeform: Shape 9">
            <a:extLst>
              <a:ext uri="{FF2B5EF4-FFF2-40B4-BE49-F238E27FC236}">
                <a16:creationId xmlns:a16="http://schemas.microsoft.com/office/drawing/2014/main" id="{0DE0F89A-D305-4F54-83CA-0F5454D2B1E6}"/>
              </a:ext>
            </a:extLst>
          </p:cNvPr>
          <p:cNvSpPr/>
          <p:nvPr/>
        </p:nvSpPr>
        <p:spPr>
          <a:xfrm>
            <a:off x="-6220" y="2646544"/>
            <a:ext cx="12185779" cy="462941"/>
          </a:xfrm>
          <a:custGeom>
            <a:avLst/>
            <a:gdLst>
              <a:gd name="connsiteX0" fmla="*/ 0 w 12185779"/>
              <a:gd name="connsiteY0" fmla="*/ 355905 h 557804"/>
              <a:gd name="connsiteX1" fmla="*/ 1418253 w 12185779"/>
              <a:gd name="connsiteY1" fmla="*/ 542517 h 557804"/>
              <a:gd name="connsiteX2" fmla="*/ 4627983 w 12185779"/>
              <a:gd name="connsiteY2" fmla="*/ 1342 h 557804"/>
              <a:gd name="connsiteX3" fmla="*/ 8596604 w 12185779"/>
              <a:gd name="connsiteY3" fmla="*/ 380786 h 557804"/>
              <a:gd name="connsiteX4" fmla="*/ 12185779 w 12185779"/>
              <a:gd name="connsiteY4" fmla="*/ 113309 h 557804"/>
              <a:gd name="connsiteX0" fmla="*/ 0 w 12185779"/>
              <a:gd name="connsiteY0" fmla="*/ 354763 h 471385"/>
              <a:gd name="connsiteX1" fmla="*/ 1564303 w 12185779"/>
              <a:gd name="connsiteY1" fmla="*/ 439775 h 471385"/>
              <a:gd name="connsiteX2" fmla="*/ 4627983 w 12185779"/>
              <a:gd name="connsiteY2" fmla="*/ 200 h 471385"/>
              <a:gd name="connsiteX3" fmla="*/ 8596604 w 12185779"/>
              <a:gd name="connsiteY3" fmla="*/ 379644 h 471385"/>
              <a:gd name="connsiteX4" fmla="*/ 12185779 w 12185779"/>
              <a:gd name="connsiteY4" fmla="*/ 112167 h 471385"/>
              <a:gd name="connsiteX0" fmla="*/ 0 w 12185779"/>
              <a:gd name="connsiteY0" fmla="*/ 354763 h 462941"/>
              <a:gd name="connsiteX1" fmla="*/ 1564303 w 12185779"/>
              <a:gd name="connsiteY1" fmla="*/ 439775 h 462941"/>
              <a:gd name="connsiteX2" fmla="*/ 4627983 w 12185779"/>
              <a:gd name="connsiteY2" fmla="*/ 200 h 462941"/>
              <a:gd name="connsiteX3" fmla="*/ 8596604 w 12185779"/>
              <a:gd name="connsiteY3" fmla="*/ 379644 h 462941"/>
              <a:gd name="connsiteX4" fmla="*/ 12185779 w 12185779"/>
              <a:gd name="connsiteY4" fmla="*/ 112167 h 462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85779" h="462941">
                <a:moveTo>
                  <a:pt x="0" y="354763"/>
                </a:moveTo>
                <a:cubicBezTo>
                  <a:pt x="323461" y="477616"/>
                  <a:pt x="653272" y="479819"/>
                  <a:pt x="1564303" y="439775"/>
                </a:cubicBezTo>
                <a:cubicBezTo>
                  <a:pt x="2475334" y="399731"/>
                  <a:pt x="3455933" y="10222"/>
                  <a:pt x="4627983" y="200"/>
                </a:cubicBezTo>
                <a:cubicBezTo>
                  <a:pt x="5800033" y="-9822"/>
                  <a:pt x="7336971" y="360983"/>
                  <a:pt x="8596604" y="379644"/>
                </a:cubicBezTo>
                <a:cubicBezTo>
                  <a:pt x="9856237" y="398305"/>
                  <a:pt x="11021008" y="255236"/>
                  <a:pt x="12185779" y="112167"/>
                </a:cubicBezTo>
              </a:path>
            </a:pathLst>
          </a:custGeom>
          <a:noFill/>
          <a:ln w="28575" cap="flat" cmpd="sng" algn="ctr">
            <a:solidFill>
              <a:schemeClr val="accent1"/>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cxnSp>
        <p:nvCxnSpPr>
          <p:cNvPr id="9" name="Straight Connector 8">
            <a:extLst>
              <a:ext uri="{FF2B5EF4-FFF2-40B4-BE49-F238E27FC236}">
                <a16:creationId xmlns:a16="http://schemas.microsoft.com/office/drawing/2014/main" id="{86A0529E-3E3A-4C84-B6C3-C8B23BE3CA36}"/>
              </a:ext>
            </a:extLst>
          </p:cNvPr>
          <p:cNvCxnSpPr/>
          <p:nvPr/>
        </p:nvCxnSpPr>
        <p:spPr>
          <a:xfrm flipH="1">
            <a:off x="1004115" y="3094270"/>
            <a:ext cx="5328" cy="645205"/>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6A3C413F-4FCB-4214-BEB7-E73DB02D6053}"/>
              </a:ext>
            </a:extLst>
          </p:cNvPr>
          <p:cNvSpPr txBox="1"/>
          <p:nvPr/>
        </p:nvSpPr>
        <p:spPr>
          <a:xfrm>
            <a:off x="274610" y="4132196"/>
            <a:ext cx="146966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Frutiger Next Pro Light"/>
                <a:ea typeface="+mn-ea"/>
                <a:cs typeface="+mn-cs"/>
              </a:rPr>
              <a:t>REDUCE CYCLE TIME</a:t>
            </a:r>
          </a:p>
        </p:txBody>
      </p:sp>
      <p:sp>
        <p:nvSpPr>
          <p:cNvPr id="11" name="TextBox 10">
            <a:extLst>
              <a:ext uri="{FF2B5EF4-FFF2-40B4-BE49-F238E27FC236}">
                <a16:creationId xmlns:a16="http://schemas.microsoft.com/office/drawing/2014/main" id="{F7ECACCF-21A4-415E-99B6-25B801A71017}"/>
              </a:ext>
            </a:extLst>
          </p:cNvPr>
          <p:cNvSpPr txBox="1"/>
          <p:nvPr/>
        </p:nvSpPr>
        <p:spPr>
          <a:xfrm>
            <a:off x="1682370" y="4661507"/>
            <a:ext cx="161663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Frutiger Next Pro Light"/>
                <a:ea typeface="+mn-ea"/>
                <a:cs typeface="+mn-cs"/>
              </a:rPr>
              <a:t>INCREASE SPEED TO MARKET</a:t>
            </a:r>
          </a:p>
        </p:txBody>
      </p:sp>
      <p:sp>
        <p:nvSpPr>
          <p:cNvPr id="12" name="TextBox 11">
            <a:extLst>
              <a:ext uri="{FF2B5EF4-FFF2-40B4-BE49-F238E27FC236}">
                <a16:creationId xmlns:a16="http://schemas.microsoft.com/office/drawing/2014/main" id="{FD8EF39C-118A-4651-A1FA-592166C3EFBF}"/>
              </a:ext>
            </a:extLst>
          </p:cNvPr>
          <p:cNvSpPr txBox="1"/>
          <p:nvPr/>
        </p:nvSpPr>
        <p:spPr>
          <a:xfrm>
            <a:off x="5177692" y="4388824"/>
            <a:ext cx="173908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Frutiger Next Pro Light"/>
                <a:ea typeface="+mn-ea"/>
                <a:cs typeface="+mn-cs"/>
              </a:rPr>
              <a:t>REDUCE DEMAND / SUPPLY GAPS</a:t>
            </a:r>
          </a:p>
        </p:txBody>
      </p:sp>
      <p:sp>
        <p:nvSpPr>
          <p:cNvPr id="13" name="TextBox 12">
            <a:extLst>
              <a:ext uri="{FF2B5EF4-FFF2-40B4-BE49-F238E27FC236}">
                <a16:creationId xmlns:a16="http://schemas.microsoft.com/office/drawing/2014/main" id="{5E1E98C4-4DD7-4AC7-A5B3-FA7368FF4C8F}"/>
              </a:ext>
            </a:extLst>
          </p:cNvPr>
          <p:cNvSpPr txBox="1"/>
          <p:nvPr/>
        </p:nvSpPr>
        <p:spPr>
          <a:xfrm>
            <a:off x="3237097" y="4040196"/>
            <a:ext cx="1819620"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Frutiger Next Pro Light"/>
                <a:ea typeface="+mn-ea"/>
                <a:cs typeface="+mn-cs"/>
              </a:rPr>
              <a:t>MAINTAIN FLEXIBILITY IN DESIGN CHANGES</a:t>
            </a:r>
          </a:p>
        </p:txBody>
      </p:sp>
      <p:cxnSp>
        <p:nvCxnSpPr>
          <p:cNvPr id="14" name="Straight Connector 13">
            <a:extLst>
              <a:ext uri="{FF2B5EF4-FFF2-40B4-BE49-F238E27FC236}">
                <a16:creationId xmlns:a16="http://schemas.microsoft.com/office/drawing/2014/main" id="{F67BD914-DA16-447D-8373-C4DEEF51C83A}"/>
              </a:ext>
            </a:extLst>
          </p:cNvPr>
          <p:cNvCxnSpPr>
            <a:endCxn id="15" idx="44"/>
          </p:cNvCxnSpPr>
          <p:nvPr/>
        </p:nvCxnSpPr>
        <p:spPr>
          <a:xfrm>
            <a:off x="2497736" y="2963211"/>
            <a:ext cx="0" cy="1168985"/>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Freeform 988">
            <a:extLst>
              <a:ext uri="{FF2B5EF4-FFF2-40B4-BE49-F238E27FC236}">
                <a16:creationId xmlns:a16="http://schemas.microsoft.com/office/drawing/2014/main" id="{D62C8DFC-93C6-4CEA-AAF3-26DB19E8F2B9}"/>
              </a:ext>
            </a:extLst>
          </p:cNvPr>
          <p:cNvSpPr>
            <a:spLocks noChangeAspect="1" noEditPoints="1"/>
          </p:cNvSpPr>
          <p:nvPr/>
        </p:nvSpPr>
        <p:spPr bwMode="auto">
          <a:xfrm>
            <a:off x="2252844" y="4132196"/>
            <a:ext cx="489784" cy="489784"/>
          </a:xfrm>
          <a:custGeom>
            <a:avLst/>
            <a:gdLst>
              <a:gd name="T0" fmla="*/ 256 w 512"/>
              <a:gd name="T1" fmla="*/ 117 h 512"/>
              <a:gd name="T2" fmla="*/ 117 w 512"/>
              <a:gd name="T3" fmla="*/ 256 h 512"/>
              <a:gd name="T4" fmla="*/ 256 w 512"/>
              <a:gd name="T5" fmla="*/ 394 h 512"/>
              <a:gd name="T6" fmla="*/ 394 w 512"/>
              <a:gd name="T7" fmla="*/ 256 h 512"/>
              <a:gd name="T8" fmla="*/ 256 w 512"/>
              <a:gd name="T9" fmla="*/ 117 h 512"/>
              <a:gd name="T10" fmla="*/ 245 w 512"/>
              <a:gd name="T11" fmla="*/ 149 h 512"/>
              <a:gd name="T12" fmla="*/ 256 w 512"/>
              <a:gd name="T13" fmla="*/ 138 h 512"/>
              <a:gd name="T14" fmla="*/ 266 w 512"/>
              <a:gd name="T15" fmla="*/ 149 h 512"/>
              <a:gd name="T16" fmla="*/ 266 w 512"/>
              <a:gd name="T17" fmla="*/ 160 h 512"/>
              <a:gd name="T18" fmla="*/ 256 w 512"/>
              <a:gd name="T19" fmla="*/ 170 h 512"/>
              <a:gd name="T20" fmla="*/ 245 w 512"/>
              <a:gd name="T21" fmla="*/ 160 h 512"/>
              <a:gd name="T22" fmla="*/ 245 w 512"/>
              <a:gd name="T23" fmla="*/ 149 h 512"/>
              <a:gd name="T24" fmla="*/ 160 w 512"/>
              <a:gd name="T25" fmla="*/ 266 h 512"/>
              <a:gd name="T26" fmla="*/ 149 w 512"/>
              <a:gd name="T27" fmla="*/ 266 h 512"/>
              <a:gd name="T28" fmla="*/ 138 w 512"/>
              <a:gd name="T29" fmla="*/ 256 h 512"/>
              <a:gd name="T30" fmla="*/ 149 w 512"/>
              <a:gd name="T31" fmla="*/ 245 h 512"/>
              <a:gd name="T32" fmla="*/ 160 w 512"/>
              <a:gd name="T33" fmla="*/ 245 h 512"/>
              <a:gd name="T34" fmla="*/ 170 w 512"/>
              <a:gd name="T35" fmla="*/ 256 h 512"/>
              <a:gd name="T36" fmla="*/ 160 w 512"/>
              <a:gd name="T37" fmla="*/ 266 h 512"/>
              <a:gd name="T38" fmla="*/ 266 w 512"/>
              <a:gd name="T39" fmla="*/ 362 h 512"/>
              <a:gd name="T40" fmla="*/ 256 w 512"/>
              <a:gd name="T41" fmla="*/ 373 h 512"/>
              <a:gd name="T42" fmla="*/ 245 w 512"/>
              <a:gd name="T43" fmla="*/ 362 h 512"/>
              <a:gd name="T44" fmla="*/ 245 w 512"/>
              <a:gd name="T45" fmla="*/ 352 h 512"/>
              <a:gd name="T46" fmla="*/ 256 w 512"/>
              <a:gd name="T47" fmla="*/ 341 h 512"/>
              <a:gd name="T48" fmla="*/ 266 w 512"/>
              <a:gd name="T49" fmla="*/ 352 h 512"/>
              <a:gd name="T50" fmla="*/ 266 w 512"/>
              <a:gd name="T51" fmla="*/ 362 h 512"/>
              <a:gd name="T52" fmla="*/ 306 w 512"/>
              <a:gd name="T53" fmla="*/ 231 h 512"/>
              <a:gd name="T54" fmla="*/ 263 w 512"/>
              <a:gd name="T55" fmla="*/ 274 h 512"/>
              <a:gd name="T56" fmla="*/ 256 w 512"/>
              <a:gd name="T57" fmla="*/ 277 h 512"/>
              <a:gd name="T58" fmla="*/ 248 w 512"/>
              <a:gd name="T59" fmla="*/ 274 h 512"/>
              <a:gd name="T60" fmla="*/ 173 w 512"/>
              <a:gd name="T61" fmla="*/ 199 h 512"/>
              <a:gd name="T62" fmla="*/ 173 w 512"/>
              <a:gd name="T63" fmla="*/ 184 h 512"/>
              <a:gd name="T64" fmla="*/ 189 w 512"/>
              <a:gd name="T65" fmla="*/ 184 h 512"/>
              <a:gd name="T66" fmla="*/ 256 w 512"/>
              <a:gd name="T67" fmla="*/ 251 h 512"/>
              <a:gd name="T68" fmla="*/ 291 w 512"/>
              <a:gd name="T69" fmla="*/ 216 h 512"/>
              <a:gd name="T70" fmla="*/ 306 w 512"/>
              <a:gd name="T71" fmla="*/ 216 h 512"/>
              <a:gd name="T72" fmla="*/ 306 w 512"/>
              <a:gd name="T73" fmla="*/ 231 h 512"/>
              <a:gd name="T74" fmla="*/ 373 w 512"/>
              <a:gd name="T75" fmla="*/ 256 h 512"/>
              <a:gd name="T76" fmla="*/ 362 w 512"/>
              <a:gd name="T77" fmla="*/ 266 h 512"/>
              <a:gd name="T78" fmla="*/ 352 w 512"/>
              <a:gd name="T79" fmla="*/ 266 h 512"/>
              <a:gd name="T80" fmla="*/ 341 w 512"/>
              <a:gd name="T81" fmla="*/ 256 h 512"/>
              <a:gd name="T82" fmla="*/ 352 w 512"/>
              <a:gd name="T83" fmla="*/ 245 h 512"/>
              <a:gd name="T84" fmla="*/ 362 w 512"/>
              <a:gd name="T85" fmla="*/ 245 h 512"/>
              <a:gd name="T86" fmla="*/ 373 w 512"/>
              <a:gd name="T87" fmla="*/ 256 h 512"/>
              <a:gd name="T88" fmla="*/ 256 w 512"/>
              <a:gd name="T89" fmla="*/ 0 h 512"/>
              <a:gd name="T90" fmla="*/ 0 w 512"/>
              <a:gd name="T91" fmla="*/ 256 h 512"/>
              <a:gd name="T92" fmla="*/ 256 w 512"/>
              <a:gd name="T93" fmla="*/ 512 h 512"/>
              <a:gd name="T94" fmla="*/ 512 w 512"/>
              <a:gd name="T95" fmla="*/ 256 h 512"/>
              <a:gd name="T96" fmla="*/ 256 w 512"/>
              <a:gd name="T97" fmla="*/ 0 h 512"/>
              <a:gd name="T98" fmla="*/ 256 w 512"/>
              <a:gd name="T99" fmla="*/ 416 h 512"/>
              <a:gd name="T100" fmla="*/ 96 w 512"/>
              <a:gd name="T101" fmla="*/ 256 h 512"/>
              <a:gd name="T102" fmla="*/ 256 w 512"/>
              <a:gd name="T103" fmla="*/ 96 h 512"/>
              <a:gd name="T104" fmla="*/ 416 w 512"/>
              <a:gd name="T105" fmla="*/ 256 h 512"/>
              <a:gd name="T106" fmla="*/ 256 w 512"/>
              <a:gd name="T107"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117"/>
                </a:moveTo>
                <a:cubicBezTo>
                  <a:pt x="179" y="117"/>
                  <a:pt x="117" y="179"/>
                  <a:pt x="117" y="256"/>
                </a:cubicBezTo>
                <a:cubicBezTo>
                  <a:pt x="117" y="332"/>
                  <a:pt x="179" y="394"/>
                  <a:pt x="256" y="394"/>
                </a:cubicBezTo>
                <a:cubicBezTo>
                  <a:pt x="332" y="394"/>
                  <a:pt x="394" y="332"/>
                  <a:pt x="394" y="256"/>
                </a:cubicBezTo>
                <a:cubicBezTo>
                  <a:pt x="394" y="179"/>
                  <a:pt x="332" y="117"/>
                  <a:pt x="256" y="117"/>
                </a:cubicBezTo>
                <a:close/>
                <a:moveTo>
                  <a:pt x="245" y="149"/>
                </a:moveTo>
                <a:cubicBezTo>
                  <a:pt x="245" y="143"/>
                  <a:pt x="250" y="138"/>
                  <a:pt x="256" y="138"/>
                </a:cubicBezTo>
                <a:cubicBezTo>
                  <a:pt x="262" y="138"/>
                  <a:pt x="266" y="143"/>
                  <a:pt x="266" y="149"/>
                </a:cubicBezTo>
                <a:cubicBezTo>
                  <a:pt x="266" y="160"/>
                  <a:pt x="266" y="160"/>
                  <a:pt x="266" y="160"/>
                </a:cubicBezTo>
                <a:cubicBezTo>
                  <a:pt x="266" y="166"/>
                  <a:pt x="262" y="170"/>
                  <a:pt x="256" y="170"/>
                </a:cubicBezTo>
                <a:cubicBezTo>
                  <a:pt x="250" y="170"/>
                  <a:pt x="245" y="166"/>
                  <a:pt x="245" y="160"/>
                </a:cubicBezTo>
                <a:lnTo>
                  <a:pt x="245" y="149"/>
                </a:lnTo>
                <a:close/>
                <a:moveTo>
                  <a:pt x="160" y="266"/>
                </a:moveTo>
                <a:cubicBezTo>
                  <a:pt x="149" y="266"/>
                  <a:pt x="149" y="266"/>
                  <a:pt x="149" y="266"/>
                </a:cubicBezTo>
                <a:cubicBezTo>
                  <a:pt x="143" y="266"/>
                  <a:pt x="138" y="262"/>
                  <a:pt x="138" y="256"/>
                </a:cubicBezTo>
                <a:cubicBezTo>
                  <a:pt x="138" y="250"/>
                  <a:pt x="143" y="245"/>
                  <a:pt x="149" y="245"/>
                </a:cubicBezTo>
                <a:cubicBezTo>
                  <a:pt x="160" y="245"/>
                  <a:pt x="160" y="245"/>
                  <a:pt x="160" y="245"/>
                </a:cubicBezTo>
                <a:cubicBezTo>
                  <a:pt x="166" y="245"/>
                  <a:pt x="170" y="250"/>
                  <a:pt x="170" y="256"/>
                </a:cubicBezTo>
                <a:cubicBezTo>
                  <a:pt x="170" y="262"/>
                  <a:pt x="166" y="266"/>
                  <a:pt x="160" y="266"/>
                </a:cubicBezTo>
                <a:close/>
                <a:moveTo>
                  <a:pt x="266" y="362"/>
                </a:moveTo>
                <a:cubicBezTo>
                  <a:pt x="266" y="368"/>
                  <a:pt x="262" y="373"/>
                  <a:pt x="256" y="373"/>
                </a:cubicBezTo>
                <a:cubicBezTo>
                  <a:pt x="250" y="373"/>
                  <a:pt x="245" y="368"/>
                  <a:pt x="245" y="362"/>
                </a:cubicBezTo>
                <a:cubicBezTo>
                  <a:pt x="245" y="352"/>
                  <a:pt x="245" y="352"/>
                  <a:pt x="245" y="352"/>
                </a:cubicBezTo>
                <a:cubicBezTo>
                  <a:pt x="245" y="346"/>
                  <a:pt x="250" y="341"/>
                  <a:pt x="256" y="341"/>
                </a:cubicBezTo>
                <a:cubicBezTo>
                  <a:pt x="262" y="341"/>
                  <a:pt x="266" y="346"/>
                  <a:pt x="266" y="352"/>
                </a:cubicBezTo>
                <a:lnTo>
                  <a:pt x="266" y="362"/>
                </a:lnTo>
                <a:close/>
                <a:moveTo>
                  <a:pt x="306" y="231"/>
                </a:moveTo>
                <a:cubicBezTo>
                  <a:pt x="263" y="274"/>
                  <a:pt x="263" y="274"/>
                  <a:pt x="263" y="274"/>
                </a:cubicBezTo>
                <a:cubicBezTo>
                  <a:pt x="261" y="276"/>
                  <a:pt x="258" y="277"/>
                  <a:pt x="256" y="277"/>
                </a:cubicBezTo>
                <a:cubicBezTo>
                  <a:pt x="253" y="277"/>
                  <a:pt x="250" y="276"/>
                  <a:pt x="248" y="274"/>
                </a:cubicBezTo>
                <a:cubicBezTo>
                  <a:pt x="173" y="199"/>
                  <a:pt x="173" y="199"/>
                  <a:pt x="173" y="199"/>
                </a:cubicBezTo>
                <a:cubicBezTo>
                  <a:pt x="169" y="195"/>
                  <a:pt x="169" y="188"/>
                  <a:pt x="173" y="184"/>
                </a:cubicBezTo>
                <a:cubicBezTo>
                  <a:pt x="178" y="180"/>
                  <a:pt x="184" y="180"/>
                  <a:pt x="189" y="184"/>
                </a:cubicBezTo>
                <a:cubicBezTo>
                  <a:pt x="256" y="251"/>
                  <a:pt x="256" y="251"/>
                  <a:pt x="256" y="251"/>
                </a:cubicBezTo>
                <a:cubicBezTo>
                  <a:pt x="291" y="216"/>
                  <a:pt x="291" y="216"/>
                  <a:pt x="291" y="216"/>
                </a:cubicBezTo>
                <a:cubicBezTo>
                  <a:pt x="295" y="212"/>
                  <a:pt x="302" y="212"/>
                  <a:pt x="306" y="216"/>
                </a:cubicBezTo>
                <a:cubicBezTo>
                  <a:pt x="310" y="220"/>
                  <a:pt x="310" y="227"/>
                  <a:pt x="306" y="231"/>
                </a:cubicBezTo>
                <a:close/>
                <a:moveTo>
                  <a:pt x="373" y="256"/>
                </a:moveTo>
                <a:cubicBezTo>
                  <a:pt x="373" y="262"/>
                  <a:pt x="368" y="266"/>
                  <a:pt x="362" y="266"/>
                </a:cubicBezTo>
                <a:cubicBezTo>
                  <a:pt x="352" y="266"/>
                  <a:pt x="352" y="266"/>
                  <a:pt x="352" y="266"/>
                </a:cubicBezTo>
                <a:cubicBezTo>
                  <a:pt x="346" y="266"/>
                  <a:pt x="341" y="262"/>
                  <a:pt x="341" y="256"/>
                </a:cubicBezTo>
                <a:cubicBezTo>
                  <a:pt x="341" y="250"/>
                  <a:pt x="346" y="245"/>
                  <a:pt x="352" y="245"/>
                </a:cubicBezTo>
                <a:cubicBezTo>
                  <a:pt x="362" y="245"/>
                  <a:pt x="362" y="245"/>
                  <a:pt x="362" y="245"/>
                </a:cubicBezTo>
                <a:cubicBezTo>
                  <a:pt x="368" y="245"/>
                  <a:pt x="373" y="250"/>
                  <a:pt x="373"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167" y="416"/>
                  <a:pt x="96" y="344"/>
                  <a:pt x="96" y="256"/>
                </a:cubicBezTo>
                <a:cubicBezTo>
                  <a:pt x="96" y="167"/>
                  <a:pt x="167" y="96"/>
                  <a:pt x="256" y="96"/>
                </a:cubicBezTo>
                <a:cubicBezTo>
                  <a:pt x="344" y="96"/>
                  <a:pt x="416" y="167"/>
                  <a:pt x="416" y="256"/>
                </a:cubicBezTo>
                <a:cubicBezTo>
                  <a:pt x="416" y="344"/>
                  <a:pt x="344" y="416"/>
                  <a:pt x="256" y="41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Frutiger Next Pro Light"/>
              <a:ea typeface="+mn-ea"/>
              <a:cs typeface="+mn-cs"/>
            </a:endParaRPr>
          </a:p>
        </p:txBody>
      </p:sp>
      <p:sp>
        <p:nvSpPr>
          <p:cNvPr id="16" name="Freeform 223">
            <a:extLst>
              <a:ext uri="{FF2B5EF4-FFF2-40B4-BE49-F238E27FC236}">
                <a16:creationId xmlns:a16="http://schemas.microsoft.com/office/drawing/2014/main" id="{E2EACF5A-421D-4344-B0BF-9F04B83AE31C}"/>
              </a:ext>
            </a:extLst>
          </p:cNvPr>
          <p:cNvSpPr>
            <a:spLocks noChangeAspect="1" noEditPoints="1"/>
          </p:cNvSpPr>
          <p:nvPr/>
        </p:nvSpPr>
        <p:spPr bwMode="auto">
          <a:xfrm>
            <a:off x="763423" y="3548157"/>
            <a:ext cx="492039" cy="492039"/>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39 w 512"/>
              <a:gd name="T11" fmla="*/ 267 h 512"/>
              <a:gd name="T12" fmla="*/ 128 w 512"/>
              <a:gd name="T13" fmla="*/ 256 h 512"/>
              <a:gd name="T14" fmla="*/ 256 w 512"/>
              <a:gd name="T15" fmla="*/ 128 h 512"/>
              <a:gd name="T16" fmla="*/ 331 w 512"/>
              <a:gd name="T17" fmla="*/ 153 h 512"/>
              <a:gd name="T18" fmla="*/ 331 w 512"/>
              <a:gd name="T19" fmla="*/ 128 h 512"/>
              <a:gd name="T20" fmla="*/ 341 w 512"/>
              <a:gd name="T21" fmla="*/ 118 h 512"/>
              <a:gd name="T22" fmla="*/ 352 w 512"/>
              <a:gd name="T23" fmla="*/ 128 h 512"/>
              <a:gd name="T24" fmla="*/ 352 w 512"/>
              <a:gd name="T25" fmla="*/ 182 h 512"/>
              <a:gd name="T26" fmla="*/ 341 w 512"/>
              <a:gd name="T27" fmla="*/ 192 h 512"/>
              <a:gd name="T28" fmla="*/ 288 w 512"/>
              <a:gd name="T29" fmla="*/ 192 h 512"/>
              <a:gd name="T30" fmla="*/ 277 w 512"/>
              <a:gd name="T31" fmla="*/ 182 h 512"/>
              <a:gd name="T32" fmla="*/ 288 w 512"/>
              <a:gd name="T33" fmla="*/ 171 h 512"/>
              <a:gd name="T34" fmla="*/ 320 w 512"/>
              <a:gd name="T35" fmla="*/ 171 h 512"/>
              <a:gd name="T36" fmla="*/ 256 w 512"/>
              <a:gd name="T37" fmla="*/ 150 h 512"/>
              <a:gd name="T38" fmla="*/ 149 w 512"/>
              <a:gd name="T39" fmla="*/ 256 h 512"/>
              <a:gd name="T40" fmla="*/ 139 w 512"/>
              <a:gd name="T41" fmla="*/ 267 h 512"/>
              <a:gd name="T42" fmla="*/ 256 w 512"/>
              <a:gd name="T43" fmla="*/ 384 h 512"/>
              <a:gd name="T44" fmla="*/ 181 w 512"/>
              <a:gd name="T45" fmla="*/ 360 h 512"/>
              <a:gd name="T46" fmla="*/ 181 w 512"/>
              <a:gd name="T47" fmla="*/ 384 h 512"/>
              <a:gd name="T48" fmla="*/ 171 w 512"/>
              <a:gd name="T49" fmla="*/ 395 h 512"/>
              <a:gd name="T50" fmla="*/ 160 w 512"/>
              <a:gd name="T51" fmla="*/ 384 h 512"/>
              <a:gd name="T52" fmla="*/ 160 w 512"/>
              <a:gd name="T53" fmla="*/ 331 h 512"/>
              <a:gd name="T54" fmla="*/ 171 w 512"/>
              <a:gd name="T55" fmla="*/ 320 h 512"/>
              <a:gd name="T56" fmla="*/ 224 w 512"/>
              <a:gd name="T57" fmla="*/ 320 h 512"/>
              <a:gd name="T58" fmla="*/ 235 w 512"/>
              <a:gd name="T59" fmla="*/ 331 h 512"/>
              <a:gd name="T60" fmla="*/ 224 w 512"/>
              <a:gd name="T61" fmla="*/ 342 h 512"/>
              <a:gd name="T62" fmla="*/ 192 w 512"/>
              <a:gd name="T63" fmla="*/ 342 h 512"/>
              <a:gd name="T64" fmla="*/ 256 w 512"/>
              <a:gd name="T65" fmla="*/ 363 h 512"/>
              <a:gd name="T66" fmla="*/ 363 w 512"/>
              <a:gd name="T67" fmla="*/ 256 h 512"/>
              <a:gd name="T68" fmla="*/ 373 w 512"/>
              <a:gd name="T69" fmla="*/ 246 h 512"/>
              <a:gd name="T70" fmla="*/ 384 w 512"/>
              <a:gd name="T71" fmla="*/ 256 h 512"/>
              <a:gd name="T72" fmla="*/ 256 w 512"/>
              <a:gd name="T73"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139" y="267"/>
                </a:moveTo>
                <a:cubicBezTo>
                  <a:pt x="133" y="267"/>
                  <a:pt x="128" y="262"/>
                  <a:pt x="128" y="256"/>
                </a:cubicBezTo>
                <a:cubicBezTo>
                  <a:pt x="128" y="186"/>
                  <a:pt x="185" y="128"/>
                  <a:pt x="256" y="128"/>
                </a:cubicBezTo>
                <a:cubicBezTo>
                  <a:pt x="283" y="128"/>
                  <a:pt x="309" y="137"/>
                  <a:pt x="331" y="153"/>
                </a:cubicBezTo>
                <a:cubicBezTo>
                  <a:pt x="331" y="128"/>
                  <a:pt x="331" y="128"/>
                  <a:pt x="331" y="128"/>
                </a:cubicBezTo>
                <a:cubicBezTo>
                  <a:pt x="331" y="122"/>
                  <a:pt x="335" y="118"/>
                  <a:pt x="341" y="118"/>
                </a:cubicBezTo>
                <a:cubicBezTo>
                  <a:pt x="347" y="118"/>
                  <a:pt x="352" y="122"/>
                  <a:pt x="352" y="128"/>
                </a:cubicBezTo>
                <a:cubicBezTo>
                  <a:pt x="352" y="182"/>
                  <a:pt x="352" y="182"/>
                  <a:pt x="352" y="182"/>
                </a:cubicBezTo>
                <a:cubicBezTo>
                  <a:pt x="352" y="188"/>
                  <a:pt x="347" y="192"/>
                  <a:pt x="341" y="192"/>
                </a:cubicBezTo>
                <a:cubicBezTo>
                  <a:pt x="288" y="192"/>
                  <a:pt x="288" y="192"/>
                  <a:pt x="288" y="192"/>
                </a:cubicBezTo>
                <a:cubicBezTo>
                  <a:pt x="282" y="192"/>
                  <a:pt x="277" y="188"/>
                  <a:pt x="277" y="182"/>
                </a:cubicBezTo>
                <a:cubicBezTo>
                  <a:pt x="277" y="176"/>
                  <a:pt x="282" y="171"/>
                  <a:pt x="288" y="171"/>
                </a:cubicBezTo>
                <a:cubicBezTo>
                  <a:pt x="320" y="171"/>
                  <a:pt x="320" y="171"/>
                  <a:pt x="320" y="171"/>
                </a:cubicBezTo>
                <a:cubicBezTo>
                  <a:pt x="302" y="157"/>
                  <a:pt x="279" y="150"/>
                  <a:pt x="256" y="150"/>
                </a:cubicBezTo>
                <a:cubicBezTo>
                  <a:pt x="197" y="150"/>
                  <a:pt x="149" y="198"/>
                  <a:pt x="149" y="256"/>
                </a:cubicBezTo>
                <a:cubicBezTo>
                  <a:pt x="149" y="262"/>
                  <a:pt x="145" y="267"/>
                  <a:pt x="139" y="267"/>
                </a:cubicBezTo>
                <a:close/>
                <a:moveTo>
                  <a:pt x="256" y="384"/>
                </a:moveTo>
                <a:cubicBezTo>
                  <a:pt x="229" y="384"/>
                  <a:pt x="203" y="376"/>
                  <a:pt x="181" y="360"/>
                </a:cubicBezTo>
                <a:cubicBezTo>
                  <a:pt x="181" y="384"/>
                  <a:pt x="181" y="384"/>
                  <a:pt x="181" y="384"/>
                </a:cubicBezTo>
                <a:cubicBezTo>
                  <a:pt x="181" y="390"/>
                  <a:pt x="177" y="395"/>
                  <a:pt x="171" y="395"/>
                </a:cubicBezTo>
                <a:cubicBezTo>
                  <a:pt x="165" y="395"/>
                  <a:pt x="160" y="390"/>
                  <a:pt x="160" y="384"/>
                </a:cubicBezTo>
                <a:cubicBezTo>
                  <a:pt x="160" y="331"/>
                  <a:pt x="160" y="331"/>
                  <a:pt x="160" y="331"/>
                </a:cubicBezTo>
                <a:cubicBezTo>
                  <a:pt x="160" y="325"/>
                  <a:pt x="165" y="320"/>
                  <a:pt x="171" y="320"/>
                </a:cubicBezTo>
                <a:cubicBezTo>
                  <a:pt x="224" y="320"/>
                  <a:pt x="224" y="320"/>
                  <a:pt x="224" y="320"/>
                </a:cubicBezTo>
                <a:cubicBezTo>
                  <a:pt x="230" y="320"/>
                  <a:pt x="235" y="325"/>
                  <a:pt x="235" y="331"/>
                </a:cubicBezTo>
                <a:cubicBezTo>
                  <a:pt x="235" y="337"/>
                  <a:pt x="230" y="342"/>
                  <a:pt x="224" y="342"/>
                </a:cubicBezTo>
                <a:cubicBezTo>
                  <a:pt x="192" y="342"/>
                  <a:pt x="192" y="342"/>
                  <a:pt x="192" y="342"/>
                </a:cubicBezTo>
                <a:cubicBezTo>
                  <a:pt x="210" y="355"/>
                  <a:pt x="233" y="363"/>
                  <a:pt x="256" y="363"/>
                </a:cubicBezTo>
                <a:cubicBezTo>
                  <a:pt x="315" y="363"/>
                  <a:pt x="363" y="315"/>
                  <a:pt x="363" y="256"/>
                </a:cubicBezTo>
                <a:cubicBezTo>
                  <a:pt x="363" y="250"/>
                  <a:pt x="367" y="246"/>
                  <a:pt x="373" y="246"/>
                </a:cubicBezTo>
                <a:cubicBezTo>
                  <a:pt x="379" y="246"/>
                  <a:pt x="384" y="250"/>
                  <a:pt x="384" y="256"/>
                </a:cubicBezTo>
                <a:cubicBezTo>
                  <a:pt x="384" y="327"/>
                  <a:pt x="327" y="384"/>
                  <a:pt x="256" y="38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Frutiger Next Pro Light"/>
              <a:ea typeface="+mn-ea"/>
              <a:cs typeface="+mn-cs"/>
            </a:endParaRPr>
          </a:p>
        </p:txBody>
      </p:sp>
      <p:cxnSp>
        <p:nvCxnSpPr>
          <p:cNvPr id="17" name="Straight Connector 16">
            <a:extLst>
              <a:ext uri="{FF2B5EF4-FFF2-40B4-BE49-F238E27FC236}">
                <a16:creationId xmlns:a16="http://schemas.microsoft.com/office/drawing/2014/main" id="{EA8B994E-2D0B-44FC-BF4F-07ED3C4FA2EF}"/>
              </a:ext>
            </a:extLst>
          </p:cNvPr>
          <p:cNvCxnSpPr>
            <a:endCxn id="28" idx="11"/>
          </p:cNvCxnSpPr>
          <p:nvPr/>
        </p:nvCxnSpPr>
        <p:spPr>
          <a:xfrm>
            <a:off x="6042991" y="2745971"/>
            <a:ext cx="0" cy="111699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1C964D0E-B444-459F-B0BF-90DEE1221630}"/>
              </a:ext>
            </a:extLst>
          </p:cNvPr>
          <p:cNvCxnSpPr/>
          <p:nvPr/>
        </p:nvCxnSpPr>
        <p:spPr>
          <a:xfrm>
            <a:off x="4175112" y="2669423"/>
            <a:ext cx="0" cy="1012111"/>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Freeform 173">
            <a:extLst>
              <a:ext uri="{FF2B5EF4-FFF2-40B4-BE49-F238E27FC236}">
                <a16:creationId xmlns:a16="http://schemas.microsoft.com/office/drawing/2014/main" id="{B6EEA41F-CBC6-4EF7-8388-0BF6DB730D5E}"/>
              </a:ext>
            </a:extLst>
          </p:cNvPr>
          <p:cNvSpPr>
            <a:spLocks noChangeAspect="1" noEditPoints="1"/>
          </p:cNvSpPr>
          <p:nvPr/>
        </p:nvSpPr>
        <p:spPr bwMode="auto">
          <a:xfrm>
            <a:off x="3929528" y="3509631"/>
            <a:ext cx="491167" cy="491167"/>
          </a:xfrm>
          <a:custGeom>
            <a:avLst/>
            <a:gdLst>
              <a:gd name="T0" fmla="*/ 392 w 512"/>
              <a:gd name="T1" fmla="*/ 188 h 512"/>
              <a:gd name="T2" fmla="*/ 394 w 512"/>
              <a:gd name="T3" fmla="*/ 193 h 512"/>
              <a:gd name="T4" fmla="*/ 393 w 512"/>
              <a:gd name="T5" fmla="*/ 196 h 512"/>
              <a:gd name="T6" fmla="*/ 267 w 512"/>
              <a:gd name="T7" fmla="*/ 325 h 512"/>
              <a:gd name="T8" fmla="*/ 266 w 512"/>
              <a:gd name="T9" fmla="*/ 323 h 512"/>
              <a:gd name="T10" fmla="*/ 254 w 512"/>
              <a:gd name="T11" fmla="*/ 315 h 512"/>
              <a:gd name="T12" fmla="*/ 383 w 512"/>
              <a:gd name="T13" fmla="*/ 186 h 512"/>
              <a:gd name="T14" fmla="*/ 392 w 512"/>
              <a:gd name="T15" fmla="*/ 188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143 w 512"/>
              <a:gd name="T27" fmla="*/ 360 h 512"/>
              <a:gd name="T28" fmla="*/ 149 w 512"/>
              <a:gd name="T29" fmla="*/ 362 h 512"/>
              <a:gd name="T30" fmla="*/ 158 w 512"/>
              <a:gd name="T31" fmla="*/ 358 h 512"/>
              <a:gd name="T32" fmla="*/ 155 w 512"/>
              <a:gd name="T33" fmla="*/ 343 h 512"/>
              <a:gd name="T34" fmla="*/ 143 w 512"/>
              <a:gd name="T35" fmla="*/ 327 h 512"/>
              <a:gd name="T36" fmla="*/ 153 w 512"/>
              <a:gd name="T37" fmla="*/ 319 h 512"/>
              <a:gd name="T38" fmla="*/ 194 w 512"/>
              <a:gd name="T39" fmla="*/ 263 h 512"/>
              <a:gd name="T40" fmla="*/ 105 w 512"/>
              <a:gd name="T41" fmla="*/ 234 h 512"/>
              <a:gd name="T42" fmla="*/ 96 w 512"/>
              <a:gd name="T43" fmla="*/ 246 h 512"/>
              <a:gd name="T44" fmla="*/ 107 w 512"/>
              <a:gd name="T45" fmla="*/ 256 h 512"/>
              <a:gd name="T46" fmla="*/ 174 w 512"/>
              <a:gd name="T47" fmla="*/ 269 h 512"/>
              <a:gd name="T48" fmla="*/ 145 w 512"/>
              <a:gd name="T49" fmla="*/ 299 h 512"/>
              <a:gd name="T50" fmla="*/ 122 w 512"/>
              <a:gd name="T51" fmla="*/ 326 h 512"/>
              <a:gd name="T52" fmla="*/ 143 w 512"/>
              <a:gd name="T53" fmla="*/ 360 h 512"/>
              <a:gd name="T54" fmla="*/ 416 w 512"/>
              <a:gd name="T55" fmla="*/ 191 h 512"/>
              <a:gd name="T56" fmla="*/ 407 w 512"/>
              <a:gd name="T57" fmla="*/ 173 h 512"/>
              <a:gd name="T58" fmla="*/ 368 w 512"/>
              <a:gd name="T59" fmla="*/ 171 h 512"/>
              <a:gd name="T60" fmla="*/ 230 w 512"/>
              <a:gd name="T61" fmla="*/ 309 h 512"/>
              <a:gd name="T62" fmla="*/ 182 w 512"/>
              <a:gd name="T63" fmla="*/ 348 h 512"/>
              <a:gd name="T64" fmla="*/ 150 w 512"/>
              <a:gd name="T65" fmla="*/ 373 h 512"/>
              <a:gd name="T66" fmla="*/ 139 w 512"/>
              <a:gd name="T67" fmla="*/ 381 h 512"/>
              <a:gd name="T68" fmla="*/ 145 w 512"/>
              <a:gd name="T69" fmla="*/ 394 h 512"/>
              <a:gd name="T70" fmla="*/ 212 w 512"/>
              <a:gd name="T71" fmla="*/ 406 h 512"/>
              <a:gd name="T72" fmla="*/ 255 w 512"/>
              <a:gd name="T73" fmla="*/ 395 h 512"/>
              <a:gd name="T74" fmla="*/ 277 w 512"/>
              <a:gd name="T75" fmla="*/ 352 h 512"/>
              <a:gd name="T76" fmla="*/ 277 w 512"/>
              <a:gd name="T77" fmla="*/ 346 h 512"/>
              <a:gd name="T78" fmla="*/ 409 w 512"/>
              <a:gd name="T79" fmla="*/ 211 h 512"/>
              <a:gd name="T80" fmla="*/ 416 w 512"/>
              <a:gd name="T81" fmla="*/ 191 h 512"/>
              <a:gd name="T82" fmla="*/ 234 w 512"/>
              <a:gd name="T83" fmla="*/ 330 h 512"/>
              <a:gd name="T84" fmla="*/ 202 w 512"/>
              <a:gd name="T85" fmla="*/ 355 h 512"/>
              <a:gd name="T86" fmla="*/ 185 w 512"/>
              <a:gd name="T87" fmla="*/ 382 h 512"/>
              <a:gd name="T88" fmla="*/ 243 w 512"/>
              <a:gd name="T89" fmla="*/ 377 h 512"/>
              <a:gd name="T90" fmla="*/ 256 w 512"/>
              <a:gd name="T91" fmla="*/ 351 h 512"/>
              <a:gd name="T92" fmla="*/ 250 w 512"/>
              <a:gd name="T93" fmla="*/ 338 h 512"/>
              <a:gd name="T94" fmla="*/ 234 w 512"/>
              <a:gd name="T95"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392" y="188"/>
                </a:moveTo>
                <a:cubicBezTo>
                  <a:pt x="393" y="189"/>
                  <a:pt x="394" y="191"/>
                  <a:pt x="394" y="193"/>
                </a:cubicBezTo>
                <a:cubicBezTo>
                  <a:pt x="394" y="194"/>
                  <a:pt x="394" y="195"/>
                  <a:pt x="393" y="196"/>
                </a:cubicBezTo>
                <a:cubicBezTo>
                  <a:pt x="267" y="325"/>
                  <a:pt x="267" y="325"/>
                  <a:pt x="267" y="325"/>
                </a:cubicBezTo>
                <a:cubicBezTo>
                  <a:pt x="267" y="324"/>
                  <a:pt x="266" y="324"/>
                  <a:pt x="266" y="323"/>
                </a:cubicBezTo>
                <a:cubicBezTo>
                  <a:pt x="263" y="320"/>
                  <a:pt x="259" y="317"/>
                  <a:pt x="254" y="315"/>
                </a:cubicBezTo>
                <a:cubicBezTo>
                  <a:pt x="383" y="186"/>
                  <a:pt x="383" y="186"/>
                  <a:pt x="383" y="186"/>
                </a:cubicBezTo>
                <a:cubicBezTo>
                  <a:pt x="385" y="184"/>
                  <a:pt x="389" y="185"/>
                  <a:pt x="392" y="18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60"/>
                </a:moveTo>
                <a:cubicBezTo>
                  <a:pt x="145" y="362"/>
                  <a:pt x="147" y="362"/>
                  <a:pt x="149" y="362"/>
                </a:cubicBezTo>
                <a:cubicBezTo>
                  <a:pt x="152" y="362"/>
                  <a:pt x="156" y="361"/>
                  <a:pt x="158" y="358"/>
                </a:cubicBezTo>
                <a:cubicBezTo>
                  <a:pt x="161" y="353"/>
                  <a:pt x="160" y="346"/>
                  <a:pt x="155" y="343"/>
                </a:cubicBezTo>
                <a:cubicBezTo>
                  <a:pt x="151" y="340"/>
                  <a:pt x="143" y="332"/>
                  <a:pt x="143" y="327"/>
                </a:cubicBez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lose/>
                <a:moveTo>
                  <a:pt x="416" y="191"/>
                </a:moveTo>
                <a:cubicBezTo>
                  <a:pt x="415" y="185"/>
                  <a:pt x="412" y="178"/>
                  <a:pt x="407" y="173"/>
                </a:cubicBezTo>
                <a:cubicBezTo>
                  <a:pt x="396" y="162"/>
                  <a:pt x="378" y="161"/>
                  <a:pt x="368" y="171"/>
                </a:cubicBezTo>
                <a:cubicBezTo>
                  <a:pt x="230" y="309"/>
                  <a:pt x="230" y="309"/>
                  <a:pt x="230" y="309"/>
                </a:cubicBezTo>
                <a:cubicBezTo>
                  <a:pt x="217" y="310"/>
                  <a:pt x="193" y="314"/>
                  <a:pt x="182" y="348"/>
                </a:cubicBezTo>
                <a:cubicBezTo>
                  <a:pt x="173" y="374"/>
                  <a:pt x="152" y="373"/>
                  <a:pt x="150" y="373"/>
                </a:cubicBezTo>
                <a:cubicBezTo>
                  <a:pt x="145" y="372"/>
                  <a:pt x="140" y="376"/>
                  <a:pt x="139" y="381"/>
                </a:cubicBezTo>
                <a:cubicBezTo>
                  <a:pt x="137" y="386"/>
                  <a:pt x="140" y="392"/>
                  <a:pt x="145" y="394"/>
                </a:cubicBezTo>
                <a:cubicBezTo>
                  <a:pt x="147" y="394"/>
                  <a:pt x="179" y="406"/>
                  <a:pt x="212" y="406"/>
                </a:cubicBezTo>
                <a:cubicBezTo>
                  <a:pt x="227" y="406"/>
                  <a:pt x="243" y="403"/>
                  <a:pt x="255" y="395"/>
                </a:cubicBezTo>
                <a:cubicBezTo>
                  <a:pt x="269" y="386"/>
                  <a:pt x="276" y="372"/>
                  <a:pt x="277" y="352"/>
                </a:cubicBezTo>
                <a:cubicBezTo>
                  <a:pt x="277" y="350"/>
                  <a:pt x="277" y="348"/>
                  <a:pt x="277" y="346"/>
                </a:cubicBezTo>
                <a:cubicBezTo>
                  <a:pt x="409" y="211"/>
                  <a:pt x="409" y="211"/>
                  <a:pt x="409" y="211"/>
                </a:cubicBezTo>
                <a:cubicBezTo>
                  <a:pt x="414" y="206"/>
                  <a:pt x="416" y="199"/>
                  <a:pt x="416" y="191"/>
                </a:cubicBezTo>
                <a:close/>
                <a:moveTo>
                  <a:pt x="234" y="330"/>
                </a:moveTo>
                <a:cubicBezTo>
                  <a:pt x="222" y="331"/>
                  <a:pt x="209" y="334"/>
                  <a:pt x="202" y="355"/>
                </a:cubicBezTo>
                <a:cubicBezTo>
                  <a:pt x="198" y="367"/>
                  <a:pt x="192" y="376"/>
                  <a:pt x="185" y="382"/>
                </a:cubicBezTo>
                <a:cubicBezTo>
                  <a:pt x="205" y="386"/>
                  <a:pt x="229" y="387"/>
                  <a:pt x="243" y="377"/>
                </a:cubicBezTo>
                <a:cubicBezTo>
                  <a:pt x="251" y="372"/>
                  <a:pt x="255" y="364"/>
                  <a:pt x="256" y="351"/>
                </a:cubicBezTo>
                <a:cubicBezTo>
                  <a:pt x="256" y="346"/>
                  <a:pt x="254" y="342"/>
                  <a:pt x="250" y="338"/>
                </a:cubicBezTo>
                <a:cubicBezTo>
                  <a:pt x="246" y="333"/>
                  <a:pt x="239" y="330"/>
                  <a:pt x="234" y="33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Frutiger Next Pro Light"/>
              <a:ea typeface="+mn-ea"/>
              <a:cs typeface="+mn-cs"/>
            </a:endParaRPr>
          </a:p>
        </p:txBody>
      </p:sp>
      <p:sp>
        <p:nvSpPr>
          <p:cNvPr id="20" name="TextBox 19">
            <a:extLst>
              <a:ext uri="{FF2B5EF4-FFF2-40B4-BE49-F238E27FC236}">
                <a16:creationId xmlns:a16="http://schemas.microsoft.com/office/drawing/2014/main" id="{714F40CD-01A8-4254-8CE7-C901B7F04515}"/>
              </a:ext>
            </a:extLst>
          </p:cNvPr>
          <p:cNvSpPr txBox="1"/>
          <p:nvPr/>
        </p:nvSpPr>
        <p:spPr>
          <a:xfrm>
            <a:off x="10434202" y="4040196"/>
            <a:ext cx="165489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Frutiger Next Pro Light"/>
                <a:ea typeface="+mn-ea"/>
                <a:cs typeface="+mn-cs"/>
              </a:rPr>
              <a:t>CREATE AGILE SUPPLY NETWORK</a:t>
            </a:r>
          </a:p>
        </p:txBody>
      </p:sp>
      <p:sp>
        <p:nvSpPr>
          <p:cNvPr id="21" name="Freeform 174">
            <a:extLst>
              <a:ext uri="{FF2B5EF4-FFF2-40B4-BE49-F238E27FC236}">
                <a16:creationId xmlns:a16="http://schemas.microsoft.com/office/drawing/2014/main" id="{2182F3CF-346A-4E39-9F1D-8AD8F54F0983}"/>
              </a:ext>
            </a:extLst>
          </p:cNvPr>
          <p:cNvSpPr>
            <a:spLocks noChangeAspect="1" noEditPoints="1"/>
          </p:cNvSpPr>
          <p:nvPr/>
        </p:nvSpPr>
        <p:spPr bwMode="auto">
          <a:xfrm>
            <a:off x="10969865" y="3486632"/>
            <a:ext cx="489784" cy="48978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4 w 512"/>
              <a:gd name="T11" fmla="*/ 260 h 512"/>
              <a:gd name="T12" fmla="*/ 402 w 512"/>
              <a:gd name="T13" fmla="*/ 263 h 512"/>
              <a:gd name="T14" fmla="*/ 370 w 512"/>
              <a:gd name="T15" fmla="*/ 295 h 512"/>
              <a:gd name="T16" fmla="*/ 362 w 512"/>
              <a:gd name="T17" fmla="*/ 298 h 512"/>
              <a:gd name="T18" fmla="*/ 355 w 512"/>
              <a:gd name="T19" fmla="*/ 295 h 512"/>
              <a:gd name="T20" fmla="*/ 355 w 512"/>
              <a:gd name="T21" fmla="*/ 280 h 512"/>
              <a:gd name="T22" fmla="*/ 369 w 512"/>
              <a:gd name="T23" fmla="*/ 266 h 512"/>
              <a:gd name="T24" fmla="*/ 341 w 512"/>
              <a:gd name="T25" fmla="*/ 266 h 512"/>
              <a:gd name="T26" fmla="*/ 309 w 512"/>
              <a:gd name="T27" fmla="*/ 234 h 512"/>
              <a:gd name="T28" fmla="*/ 309 w 512"/>
              <a:gd name="T29" fmla="*/ 170 h 512"/>
              <a:gd name="T30" fmla="*/ 298 w 512"/>
              <a:gd name="T31" fmla="*/ 160 h 512"/>
              <a:gd name="T32" fmla="*/ 288 w 512"/>
              <a:gd name="T33" fmla="*/ 170 h 512"/>
              <a:gd name="T34" fmla="*/ 288 w 512"/>
              <a:gd name="T35" fmla="*/ 341 h 512"/>
              <a:gd name="T36" fmla="*/ 256 w 512"/>
              <a:gd name="T37" fmla="*/ 373 h 512"/>
              <a:gd name="T38" fmla="*/ 224 w 512"/>
              <a:gd name="T39" fmla="*/ 341 h 512"/>
              <a:gd name="T40" fmla="*/ 224 w 512"/>
              <a:gd name="T41" fmla="*/ 256 h 512"/>
              <a:gd name="T42" fmla="*/ 224 w 512"/>
              <a:gd name="T43" fmla="*/ 170 h 512"/>
              <a:gd name="T44" fmla="*/ 213 w 512"/>
              <a:gd name="T45" fmla="*/ 160 h 512"/>
              <a:gd name="T46" fmla="*/ 202 w 512"/>
              <a:gd name="T47" fmla="*/ 170 h 512"/>
              <a:gd name="T48" fmla="*/ 202 w 512"/>
              <a:gd name="T49" fmla="*/ 341 h 512"/>
              <a:gd name="T50" fmla="*/ 170 w 512"/>
              <a:gd name="T51" fmla="*/ 373 h 512"/>
              <a:gd name="T52" fmla="*/ 138 w 512"/>
              <a:gd name="T53" fmla="*/ 341 h 512"/>
              <a:gd name="T54" fmla="*/ 138 w 512"/>
              <a:gd name="T55" fmla="*/ 277 h 512"/>
              <a:gd name="T56" fmla="*/ 128 w 512"/>
              <a:gd name="T57" fmla="*/ 266 h 512"/>
              <a:gd name="T58" fmla="*/ 117 w 512"/>
              <a:gd name="T59" fmla="*/ 256 h 512"/>
              <a:gd name="T60" fmla="*/ 128 w 512"/>
              <a:gd name="T61" fmla="*/ 245 h 512"/>
              <a:gd name="T62" fmla="*/ 160 w 512"/>
              <a:gd name="T63" fmla="*/ 277 h 512"/>
              <a:gd name="T64" fmla="*/ 160 w 512"/>
              <a:gd name="T65" fmla="*/ 341 h 512"/>
              <a:gd name="T66" fmla="*/ 170 w 512"/>
              <a:gd name="T67" fmla="*/ 352 h 512"/>
              <a:gd name="T68" fmla="*/ 181 w 512"/>
              <a:gd name="T69" fmla="*/ 341 h 512"/>
              <a:gd name="T70" fmla="*/ 181 w 512"/>
              <a:gd name="T71" fmla="*/ 170 h 512"/>
              <a:gd name="T72" fmla="*/ 213 w 512"/>
              <a:gd name="T73" fmla="*/ 138 h 512"/>
              <a:gd name="T74" fmla="*/ 245 w 512"/>
              <a:gd name="T75" fmla="*/ 170 h 512"/>
              <a:gd name="T76" fmla="*/ 245 w 512"/>
              <a:gd name="T77" fmla="*/ 256 h 512"/>
              <a:gd name="T78" fmla="*/ 245 w 512"/>
              <a:gd name="T79" fmla="*/ 341 h 512"/>
              <a:gd name="T80" fmla="*/ 256 w 512"/>
              <a:gd name="T81" fmla="*/ 352 h 512"/>
              <a:gd name="T82" fmla="*/ 266 w 512"/>
              <a:gd name="T83" fmla="*/ 341 h 512"/>
              <a:gd name="T84" fmla="*/ 266 w 512"/>
              <a:gd name="T85" fmla="*/ 170 h 512"/>
              <a:gd name="T86" fmla="*/ 298 w 512"/>
              <a:gd name="T87" fmla="*/ 138 h 512"/>
              <a:gd name="T88" fmla="*/ 330 w 512"/>
              <a:gd name="T89" fmla="*/ 170 h 512"/>
              <a:gd name="T90" fmla="*/ 330 w 512"/>
              <a:gd name="T91" fmla="*/ 234 h 512"/>
              <a:gd name="T92" fmla="*/ 341 w 512"/>
              <a:gd name="T93" fmla="*/ 245 h 512"/>
              <a:gd name="T94" fmla="*/ 369 w 512"/>
              <a:gd name="T95" fmla="*/ 245 h 512"/>
              <a:gd name="T96" fmla="*/ 355 w 512"/>
              <a:gd name="T97" fmla="*/ 231 h 512"/>
              <a:gd name="T98" fmla="*/ 355 w 512"/>
              <a:gd name="T99" fmla="*/ 216 h 512"/>
              <a:gd name="T100" fmla="*/ 370 w 512"/>
              <a:gd name="T101" fmla="*/ 216 h 512"/>
              <a:gd name="T102" fmla="*/ 402 w 512"/>
              <a:gd name="T103" fmla="*/ 248 h 512"/>
              <a:gd name="T104" fmla="*/ 404 w 512"/>
              <a:gd name="T105" fmla="*/ 252 h 512"/>
              <a:gd name="T106" fmla="*/ 404 w 512"/>
              <a:gd name="T107"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4" y="260"/>
                </a:moveTo>
                <a:cubicBezTo>
                  <a:pt x="404" y="261"/>
                  <a:pt x="403" y="262"/>
                  <a:pt x="402" y="263"/>
                </a:cubicBezTo>
                <a:cubicBezTo>
                  <a:pt x="370" y="295"/>
                  <a:pt x="370" y="295"/>
                  <a:pt x="370" y="295"/>
                </a:cubicBezTo>
                <a:cubicBezTo>
                  <a:pt x="368" y="297"/>
                  <a:pt x="365" y="298"/>
                  <a:pt x="362" y="298"/>
                </a:cubicBezTo>
                <a:cubicBezTo>
                  <a:pt x="360" y="298"/>
                  <a:pt x="357" y="297"/>
                  <a:pt x="355" y="295"/>
                </a:cubicBezTo>
                <a:cubicBezTo>
                  <a:pt x="351" y="291"/>
                  <a:pt x="351" y="284"/>
                  <a:pt x="355" y="280"/>
                </a:cubicBezTo>
                <a:cubicBezTo>
                  <a:pt x="369" y="266"/>
                  <a:pt x="369" y="266"/>
                  <a:pt x="369" y="266"/>
                </a:cubicBezTo>
                <a:cubicBezTo>
                  <a:pt x="341" y="266"/>
                  <a:pt x="341" y="266"/>
                  <a:pt x="341" y="266"/>
                </a:cubicBezTo>
                <a:cubicBezTo>
                  <a:pt x="323" y="266"/>
                  <a:pt x="309" y="252"/>
                  <a:pt x="309" y="234"/>
                </a:cubicBezTo>
                <a:cubicBezTo>
                  <a:pt x="309" y="170"/>
                  <a:pt x="309" y="170"/>
                  <a:pt x="309" y="170"/>
                </a:cubicBezTo>
                <a:cubicBezTo>
                  <a:pt x="309" y="164"/>
                  <a:pt x="304" y="160"/>
                  <a:pt x="298" y="160"/>
                </a:cubicBezTo>
                <a:cubicBezTo>
                  <a:pt x="292" y="160"/>
                  <a:pt x="288" y="164"/>
                  <a:pt x="288" y="170"/>
                </a:cubicBezTo>
                <a:cubicBezTo>
                  <a:pt x="288" y="341"/>
                  <a:pt x="288" y="341"/>
                  <a:pt x="288" y="341"/>
                </a:cubicBezTo>
                <a:cubicBezTo>
                  <a:pt x="288" y="359"/>
                  <a:pt x="273" y="373"/>
                  <a:pt x="256" y="373"/>
                </a:cubicBezTo>
                <a:cubicBezTo>
                  <a:pt x="238" y="373"/>
                  <a:pt x="224" y="359"/>
                  <a:pt x="224" y="341"/>
                </a:cubicBezTo>
                <a:cubicBezTo>
                  <a:pt x="224" y="256"/>
                  <a:pt x="224" y="256"/>
                  <a:pt x="224" y="256"/>
                </a:cubicBezTo>
                <a:cubicBezTo>
                  <a:pt x="224" y="170"/>
                  <a:pt x="224" y="170"/>
                  <a:pt x="224" y="170"/>
                </a:cubicBezTo>
                <a:cubicBezTo>
                  <a:pt x="224" y="164"/>
                  <a:pt x="219" y="160"/>
                  <a:pt x="213" y="160"/>
                </a:cubicBezTo>
                <a:cubicBezTo>
                  <a:pt x="207" y="160"/>
                  <a:pt x="202" y="164"/>
                  <a:pt x="202" y="170"/>
                </a:cubicBezTo>
                <a:cubicBezTo>
                  <a:pt x="202" y="341"/>
                  <a:pt x="202" y="341"/>
                  <a:pt x="202" y="341"/>
                </a:cubicBezTo>
                <a:cubicBezTo>
                  <a:pt x="202" y="359"/>
                  <a:pt x="188" y="373"/>
                  <a:pt x="170" y="373"/>
                </a:cubicBezTo>
                <a:cubicBezTo>
                  <a:pt x="153" y="373"/>
                  <a:pt x="138" y="359"/>
                  <a:pt x="138" y="341"/>
                </a:cubicBezTo>
                <a:cubicBezTo>
                  <a:pt x="138" y="277"/>
                  <a:pt x="138" y="277"/>
                  <a:pt x="138" y="277"/>
                </a:cubicBezTo>
                <a:cubicBezTo>
                  <a:pt x="138" y="271"/>
                  <a:pt x="134" y="266"/>
                  <a:pt x="128" y="266"/>
                </a:cubicBezTo>
                <a:cubicBezTo>
                  <a:pt x="122" y="266"/>
                  <a:pt x="117" y="262"/>
                  <a:pt x="117" y="256"/>
                </a:cubicBezTo>
                <a:cubicBezTo>
                  <a:pt x="117" y="250"/>
                  <a:pt x="122" y="245"/>
                  <a:pt x="128" y="245"/>
                </a:cubicBezTo>
                <a:cubicBezTo>
                  <a:pt x="145" y="245"/>
                  <a:pt x="160" y="259"/>
                  <a:pt x="160" y="277"/>
                </a:cubicBezTo>
                <a:cubicBezTo>
                  <a:pt x="160" y="341"/>
                  <a:pt x="160" y="341"/>
                  <a:pt x="160" y="341"/>
                </a:cubicBezTo>
                <a:cubicBezTo>
                  <a:pt x="160" y="347"/>
                  <a:pt x="164" y="352"/>
                  <a:pt x="170" y="352"/>
                </a:cubicBezTo>
                <a:cubicBezTo>
                  <a:pt x="176" y="352"/>
                  <a:pt x="181" y="347"/>
                  <a:pt x="181" y="341"/>
                </a:cubicBezTo>
                <a:cubicBezTo>
                  <a:pt x="181" y="170"/>
                  <a:pt x="181" y="170"/>
                  <a:pt x="181" y="170"/>
                </a:cubicBezTo>
                <a:cubicBezTo>
                  <a:pt x="181" y="153"/>
                  <a:pt x="195" y="138"/>
                  <a:pt x="213" y="138"/>
                </a:cubicBezTo>
                <a:cubicBezTo>
                  <a:pt x="231" y="138"/>
                  <a:pt x="245" y="153"/>
                  <a:pt x="245" y="170"/>
                </a:cubicBezTo>
                <a:cubicBezTo>
                  <a:pt x="245" y="256"/>
                  <a:pt x="245" y="256"/>
                  <a:pt x="245" y="256"/>
                </a:cubicBezTo>
                <a:cubicBezTo>
                  <a:pt x="245" y="341"/>
                  <a:pt x="245" y="341"/>
                  <a:pt x="245" y="341"/>
                </a:cubicBezTo>
                <a:cubicBezTo>
                  <a:pt x="245" y="347"/>
                  <a:pt x="250" y="352"/>
                  <a:pt x="256" y="352"/>
                </a:cubicBezTo>
                <a:cubicBezTo>
                  <a:pt x="262" y="352"/>
                  <a:pt x="266" y="347"/>
                  <a:pt x="266" y="341"/>
                </a:cubicBezTo>
                <a:cubicBezTo>
                  <a:pt x="266" y="170"/>
                  <a:pt x="266" y="170"/>
                  <a:pt x="266" y="170"/>
                </a:cubicBezTo>
                <a:cubicBezTo>
                  <a:pt x="266" y="153"/>
                  <a:pt x="281" y="138"/>
                  <a:pt x="298" y="138"/>
                </a:cubicBezTo>
                <a:cubicBezTo>
                  <a:pt x="316" y="138"/>
                  <a:pt x="330" y="153"/>
                  <a:pt x="330" y="170"/>
                </a:cubicBezTo>
                <a:cubicBezTo>
                  <a:pt x="330" y="234"/>
                  <a:pt x="330" y="234"/>
                  <a:pt x="330" y="234"/>
                </a:cubicBezTo>
                <a:cubicBezTo>
                  <a:pt x="330" y="240"/>
                  <a:pt x="335" y="245"/>
                  <a:pt x="341" y="245"/>
                </a:cubicBezTo>
                <a:cubicBezTo>
                  <a:pt x="369" y="245"/>
                  <a:pt x="369" y="245"/>
                  <a:pt x="369" y="245"/>
                </a:cubicBezTo>
                <a:cubicBezTo>
                  <a:pt x="355" y="231"/>
                  <a:pt x="355" y="231"/>
                  <a:pt x="355" y="231"/>
                </a:cubicBezTo>
                <a:cubicBezTo>
                  <a:pt x="351" y="227"/>
                  <a:pt x="351" y="220"/>
                  <a:pt x="355" y="216"/>
                </a:cubicBezTo>
                <a:cubicBezTo>
                  <a:pt x="359" y="212"/>
                  <a:pt x="366" y="212"/>
                  <a:pt x="370" y="216"/>
                </a:cubicBezTo>
                <a:cubicBezTo>
                  <a:pt x="402" y="248"/>
                  <a:pt x="402" y="248"/>
                  <a:pt x="402" y="248"/>
                </a:cubicBezTo>
                <a:cubicBezTo>
                  <a:pt x="403" y="249"/>
                  <a:pt x="404" y="250"/>
                  <a:pt x="404" y="252"/>
                </a:cubicBezTo>
                <a:cubicBezTo>
                  <a:pt x="405" y="254"/>
                  <a:pt x="405" y="257"/>
                  <a:pt x="404" y="26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Frutiger Next Pro Light"/>
              <a:ea typeface="+mn-ea"/>
              <a:cs typeface="+mn-cs"/>
            </a:endParaRPr>
          </a:p>
        </p:txBody>
      </p:sp>
      <p:cxnSp>
        <p:nvCxnSpPr>
          <p:cNvPr id="22" name="Straight Connector 21">
            <a:extLst>
              <a:ext uri="{FF2B5EF4-FFF2-40B4-BE49-F238E27FC236}">
                <a16:creationId xmlns:a16="http://schemas.microsoft.com/office/drawing/2014/main" id="{C01EA751-72EE-42AC-85C9-5104EAC142CF}"/>
              </a:ext>
            </a:extLst>
          </p:cNvPr>
          <p:cNvCxnSpPr>
            <a:endCxn id="21" idx="0"/>
          </p:cNvCxnSpPr>
          <p:nvPr/>
        </p:nvCxnSpPr>
        <p:spPr>
          <a:xfrm>
            <a:off x="11214757" y="2871609"/>
            <a:ext cx="0" cy="615023"/>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3" name="object 30">
            <a:extLst>
              <a:ext uri="{FF2B5EF4-FFF2-40B4-BE49-F238E27FC236}">
                <a16:creationId xmlns:a16="http://schemas.microsoft.com/office/drawing/2014/main" id="{720816E2-77C6-4AE3-AF8C-EB2E65089312}"/>
              </a:ext>
            </a:extLst>
          </p:cNvPr>
          <p:cNvSpPr txBox="1"/>
          <p:nvPr/>
        </p:nvSpPr>
        <p:spPr>
          <a:xfrm>
            <a:off x="4420695" y="5504688"/>
            <a:ext cx="7256721" cy="553998"/>
          </a:xfrm>
          <a:prstGeom prst="rect">
            <a:avLst/>
          </a:prstGeom>
        </p:spPr>
        <p:txBody>
          <a:bodyPr vert="horz"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bg1">
                    <a:lumMod val="50000"/>
                  </a:schemeClr>
                </a:solidFill>
                <a:effectLst/>
                <a:uLnTx/>
                <a:uFillTx/>
                <a:latin typeface="Frutiger Next Pro Light"/>
                <a:ea typeface="+mn-ea"/>
                <a:cs typeface="Frutiger Next Pro Light Italic"/>
              </a:rPr>
              <a:t>To target enterprise level sales, we need to remain focused on digital transformations that present a solution to clients’ operational problems.</a:t>
            </a:r>
          </a:p>
        </p:txBody>
      </p:sp>
      <p:sp>
        <p:nvSpPr>
          <p:cNvPr id="24" name="Rectangle 23">
            <a:extLst>
              <a:ext uri="{FF2B5EF4-FFF2-40B4-BE49-F238E27FC236}">
                <a16:creationId xmlns:a16="http://schemas.microsoft.com/office/drawing/2014/main" id="{732B3342-3F21-4F8E-854E-680D93DD5A59}"/>
              </a:ext>
            </a:extLst>
          </p:cNvPr>
          <p:cNvSpPr/>
          <p:nvPr/>
        </p:nvSpPr>
        <p:spPr>
          <a:xfrm>
            <a:off x="510493" y="1783670"/>
            <a:ext cx="663957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1"/>
                </a:solidFill>
                <a:effectLst/>
                <a:uLnTx/>
                <a:uFillTx/>
                <a:latin typeface="Frutiger Next Pro Light"/>
                <a:ea typeface="+mn-ea"/>
                <a:cs typeface="+mn-cs"/>
              </a:rPr>
              <a:t>Clients are not looking to buy technologies, they are looking for solutions to business problems.</a:t>
            </a:r>
          </a:p>
        </p:txBody>
      </p:sp>
      <p:sp>
        <p:nvSpPr>
          <p:cNvPr id="25" name="TextBox 24">
            <a:extLst>
              <a:ext uri="{FF2B5EF4-FFF2-40B4-BE49-F238E27FC236}">
                <a16:creationId xmlns:a16="http://schemas.microsoft.com/office/drawing/2014/main" id="{4B871284-B05F-47A3-BFCC-C98A02C8FA0F}"/>
              </a:ext>
            </a:extLst>
          </p:cNvPr>
          <p:cNvSpPr txBox="1"/>
          <p:nvPr/>
        </p:nvSpPr>
        <p:spPr>
          <a:xfrm>
            <a:off x="8460573" y="4357020"/>
            <a:ext cx="2035534"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Frutiger Next Pro Light"/>
                <a:ea typeface="+mn-ea"/>
                <a:cs typeface="+mn-cs"/>
              </a:rPr>
              <a:t>LESSEN IMPACT FROM ENGINEERING CHANGES</a:t>
            </a:r>
          </a:p>
        </p:txBody>
      </p:sp>
      <p:cxnSp>
        <p:nvCxnSpPr>
          <p:cNvPr id="26" name="Straight Connector 25">
            <a:extLst>
              <a:ext uri="{FF2B5EF4-FFF2-40B4-BE49-F238E27FC236}">
                <a16:creationId xmlns:a16="http://schemas.microsoft.com/office/drawing/2014/main" id="{237A50FA-83EB-487C-895D-312433D75B2D}"/>
              </a:ext>
            </a:extLst>
          </p:cNvPr>
          <p:cNvCxnSpPr/>
          <p:nvPr/>
        </p:nvCxnSpPr>
        <p:spPr>
          <a:xfrm>
            <a:off x="9506553" y="3015375"/>
            <a:ext cx="0" cy="799889"/>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67EDC579-0C06-49AE-9A82-44929F9C16C8}"/>
              </a:ext>
            </a:extLst>
          </p:cNvPr>
          <p:cNvSpPr txBox="1"/>
          <p:nvPr/>
        </p:nvSpPr>
        <p:spPr>
          <a:xfrm>
            <a:off x="6671993" y="4029945"/>
            <a:ext cx="185048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Frutiger Next Pro Light"/>
                <a:ea typeface="+mn-ea"/>
                <a:cs typeface="+mn-cs"/>
              </a:rPr>
              <a:t>DECREASE NPI TIME</a:t>
            </a:r>
          </a:p>
        </p:txBody>
      </p:sp>
      <p:sp>
        <p:nvSpPr>
          <p:cNvPr id="28" name="Freeform 940">
            <a:extLst>
              <a:ext uri="{FF2B5EF4-FFF2-40B4-BE49-F238E27FC236}">
                <a16:creationId xmlns:a16="http://schemas.microsoft.com/office/drawing/2014/main" id="{0A4CA186-B971-46C0-8D6D-73B5318E5E64}"/>
              </a:ext>
            </a:extLst>
          </p:cNvPr>
          <p:cNvSpPr>
            <a:spLocks noChangeAspect="1" noEditPoints="1"/>
          </p:cNvSpPr>
          <p:nvPr/>
        </p:nvSpPr>
        <p:spPr bwMode="auto">
          <a:xfrm>
            <a:off x="5811448" y="3862970"/>
            <a:ext cx="491167" cy="491167"/>
          </a:xfrm>
          <a:custGeom>
            <a:avLst/>
            <a:gdLst>
              <a:gd name="T0" fmla="*/ 361 w 512"/>
              <a:gd name="T1" fmla="*/ 188 h 512"/>
              <a:gd name="T2" fmla="*/ 391 w 512"/>
              <a:gd name="T3" fmla="*/ 309 h 512"/>
              <a:gd name="T4" fmla="*/ 324 w 512"/>
              <a:gd name="T5" fmla="*/ 309 h 512"/>
              <a:gd name="T6" fmla="*/ 361 w 512"/>
              <a:gd name="T7" fmla="*/ 188 h 512"/>
              <a:gd name="T8" fmla="*/ 121 w 512"/>
              <a:gd name="T9" fmla="*/ 309 h 512"/>
              <a:gd name="T10" fmla="*/ 189 w 512"/>
              <a:gd name="T11" fmla="*/ 309 h 512"/>
              <a:gd name="T12" fmla="*/ 159 w 512"/>
              <a:gd name="T13" fmla="*/ 188 h 512"/>
              <a:gd name="T14" fmla="*/ 121 w 512"/>
              <a:gd name="T15" fmla="*/ 309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415 w 512"/>
              <a:gd name="T27" fmla="*/ 317 h 512"/>
              <a:gd name="T28" fmla="*/ 373 w 512"/>
              <a:gd name="T29" fmla="*/ 146 h 512"/>
              <a:gd name="T30" fmla="*/ 372 w 512"/>
              <a:gd name="T31" fmla="*/ 146 h 512"/>
              <a:gd name="T32" fmla="*/ 372 w 512"/>
              <a:gd name="T33" fmla="*/ 144 h 512"/>
              <a:gd name="T34" fmla="*/ 370 w 512"/>
              <a:gd name="T35" fmla="*/ 142 h 512"/>
              <a:gd name="T36" fmla="*/ 369 w 512"/>
              <a:gd name="T37" fmla="*/ 141 h 512"/>
              <a:gd name="T38" fmla="*/ 367 w 512"/>
              <a:gd name="T39" fmla="*/ 140 h 512"/>
              <a:gd name="T40" fmla="*/ 366 w 512"/>
              <a:gd name="T41" fmla="*/ 139 h 512"/>
              <a:gd name="T42" fmla="*/ 363 w 512"/>
              <a:gd name="T43" fmla="*/ 138 h 512"/>
              <a:gd name="T44" fmla="*/ 362 w 512"/>
              <a:gd name="T45" fmla="*/ 138 h 512"/>
              <a:gd name="T46" fmla="*/ 362 w 512"/>
              <a:gd name="T47" fmla="*/ 138 h 512"/>
              <a:gd name="T48" fmla="*/ 266 w 512"/>
              <a:gd name="T49" fmla="*/ 138 h 512"/>
              <a:gd name="T50" fmla="*/ 266 w 512"/>
              <a:gd name="T51" fmla="*/ 106 h 512"/>
              <a:gd name="T52" fmla="*/ 256 w 512"/>
              <a:gd name="T53" fmla="*/ 96 h 512"/>
              <a:gd name="T54" fmla="*/ 245 w 512"/>
              <a:gd name="T55" fmla="*/ 106 h 512"/>
              <a:gd name="T56" fmla="*/ 245 w 512"/>
              <a:gd name="T57" fmla="*/ 138 h 512"/>
              <a:gd name="T58" fmla="*/ 160 w 512"/>
              <a:gd name="T59" fmla="*/ 138 h 512"/>
              <a:gd name="T60" fmla="*/ 159 w 512"/>
              <a:gd name="T61" fmla="*/ 138 h 512"/>
              <a:gd name="T62" fmla="*/ 156 w 512"/>
              <a:gd name="T63" fmla="*/ 139 h 512"/>
              <a:gd name="T64" fmla="*/ 155 w 512"/>
              <a:gd name="T65" fmla="*/ 140 h 512"/>
              <a:gd name="T66" fmla="*/ 153 w 512"/>
              <a:gd name="T67" fmla="*/ 141 h 512"/>
              <a:gd name="T68" fmla="*/ 152 w 512"/>
              <a:gd name="T69" fmla="*/ 142 h 512"/>
              <a:gd name="T70" fmla="*/ 150 w 512"/>
              <a:gd name="T71" fmla="*/ 144 h 512"/>
              <a:gd name="T72" fmla="*/ 150 w 512"/>
              <a:gd name="T73" fmla="*/ 145 h 512"/>
              <a:gd name="T74" fmla="*/ 149 w 512"/>
              <a:gd name="T75" fmla="*/ 146 h 512"/>
              <a:gd name="T76" fmla="*/ 96 w 512"/>
              <a:gd name="T77" fmla="*/ 316 h 512"/>
              <a:gd name="T78" fmla="*/ 98 w 512"/>
              <a:gd name="T79" fmla="*/ 326 h 512"/>
              <a:gd name="T80" fmla="*/ 106 w 512"/>
              <a:gd name="T81" fmla="*/ 330 h 512"/>
              <a:gd name="T82" fmla="*/ 202 w 512"/>
              <a:gd name="T83" fmla="*/ 330 h 512"/>
              <a:gd name="T84" fmla="*/ 211 w 512"/>
              <a:gd name="T85" fmla="*/ 326 h 512"/>
              <a:gd name="T86" fmla="*/ 213 w 512"/>
              <a:gd name="T87" fmla="*/ 317 h 512"/>
              <a:gd name="T88" fmla="*/ 173 w 512"/>
              <a:gd name="T89" fmla="*/ 160 h 512"/>
              <a:gd name="T90" fmla="*/ 245 w 512"/>
              <a:gd name="T91" fmla="*/ 160 h 512"/>
              <a:gd name="T92" fmla="*/ 245 w 512"/>
              <a:gd name="T93" fmla="*/ 394 h 512"/>
              <a:gd name="T94" fmla="*/ 192 w 512"/>
              <a:gd name="T95" fmla="*/ 394 h 512"/>
              <a:gd name="T96" fmla="*/ 181 w 512"/>
              <a:gd name="T97" fmla="*/ 405 h 512"/>
              <a:gd name="T98" fmla="*/ 192 w 512"/>
              <a:gd name="T99" fmla="*/ 416 h 512"/>
              <a:gd name="T100" fmla="*/ 320 w 512"/>
              <a:gd name="T101" fmla="*/ 416 h 512"/>
              <a:gd name="T102" fmla="*/ 330 w 512"/>
              <a:gd name="T103" fmla="*/ 405 h 512"/>
              <a:gd name="T104" fmla="*/ 320 w 512"/>
              <a:gd name="T105" fmla="*/ 394 h 512"/>
              <a:gd name="T106" fmla="*/ 266 w 512"/>
              <a:gd name="T107" fmla="*/ 394 h 512"/>
              <a:gd name="T108" fmla="*/ 266 w 512"/>
              <a:gd name="T109" fmla="*/ 160 h 512"/>
              <a:gd name="T110" fmla="*/ 348 w 512"/>
              <a:gd name="T111" fmla="*/ 160 h 512"/>
              <a:gd name="T112" fmla="*/ 299 w 512"/>
              <a:gd name="T113" fmla="*/ 316 h 512"/>
              <a:gd name="T114" fmla="*/ 300 w 512"/>
              <a:gd name="T115" fmla="*/ 326 h 512"/>
              <a:gd name="T116" fmla="*/ 309 w 512"/>
              <a:gd name="T117" fmla="*/ 330 h 512"/>
              <a:gd name="T118" fmla="*/ 405 w 512"/>
              <a:gd name="T119" fmla="*/ 330 h 512"/>
              <a:gd name="T120" fmla="*/ 413 w 512"/>
              <a:gd name="T121" fmla="*/ 326 h 512"/>
              <a:gd name="T122" fmla="*/ 415 w 512"/>
              <a:gd name="T123" fmla="*/ 3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61" y="188"/>
                </a:moveTo>
                <a:cubicBezTo>
                  <a:pt x="391" y="309"/>
                  <a:pt x="391" y="309"/>
                  <a:pt x="391" y="309"/>
                </a:cubicBezTo>
                <a:cubicBezTo>
                  <a:pt x="324" y="309"/>
                  <a:pt x="324" y="309"/>
                  <a:pt x="324" y="309"/>
                </a:cubicBezTo>
                <a:lnTo>
                  <a:pt x="361" y="188"/>
                </a:lnTo>
                <a:close/>
                <a:moveTo>
                  <a:pt x="121" y="309"/>
                </a:moveTo>
                <a:cubicBezTo>
                  <a:pt x="189" y="309"/>
                  <a:pt x="189" y="309"/>
                  <a:pt x="189" y="309"/>
                </a:cubicBezTo>
                <a:cubicBezTo>
                  <a:pt x="159" y="188"/>
                  <a:pt x="159" y="188"/>
                  <a:pt x="159" y="188"/>
                </a:cubicBezTo>
                <a:lnTo>
                  <a:pt x="121"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317"/>
                </a:moveTo>
                <a:cubicBezTo>
                  <a:pt x="373" y="146"/>
                  <a:pt x="373" y="146"/>
                  <a:pt x="373" y="146"/>
                </a:cubicBezTo>
                <a:cubicBezTo>
                  <a:pt x="373" y="146"/>
                  <a:pt x="372" y="146"/>
                  <a:pt x="372" y="146"/>
                </a:cubicBezTo>
                <a:cubicBezTo>
                  <a:pt x="372" y="145"/>
                  <a:pt x="372" y="145"/>
                  <a:pt x="372" y="144"/>
                </a:cubicBezTo>
                <a:cubicBezTo>
                  <a:pt x="371" y="143"/>
                  <a:pt x="371" y="143"/>
                  <a:pt x="370" y="142"/>
                </a:cubicBezTo>
                <a:cubicBezTo>
                  <a:pt x="370" y="142"/>
                  <a:pt x="370" y="141"/>
                  <a:pt x="369" y="141"/>
                </a:cubicBezTo>
                <a:cubicBezTo>
                  <a:pt x="369" y="141"/>
                  <a:pt x="368" y="140"/>
                  <a:pt x="367" y="140"/>
                </a:cubicBezTo>
                <a:cubicBezTo>
                  <a:pt x="367" y="139"/>
                  <a:pt x="367" y="139"/>
                  <a:pt x="366" y="139"/>
                </a:cubicBezTo>
                <a:cubicBezTo>
                  <a:pt x="365" y="139"/>
                  <a:pt x="364" y="138"/>
                  <a:pt x="363" y="138"/>
                </a:cubicBezTo>
                <a:cubicBezTo>
                  <a:pt x="363" y="138"/>
                  <a:pt x="363" y="138"/>
                  <a:pt x="362" y="138"/>
                </a:cubicBezTo>
                <a:cubicBezTo>
                  <a:pt x="362" y="138"/>
                  <a:pt x="362" y="138"/>
                  <a:pt x="362" y="138"/>
                </a:cubicBezTo>
                <a:cubicBezTo>
                  <a:pt x="266" y="138"/>
                  <a:pt x="266" y="138"/>
                  <a:pt x="266" y="138"/>
                </a:cubicBezTo>
                <a:cubicBezTo>
                  <a:pt x="266" y="106"/>
                  <a:pt x="266" y="106"/>
                  <a:pt x="266" y="106"/>
                </a:cubicBezTo>
                <a:cubicBezTo>
                  <a:pt x="266" y="100"/>
                  <a:pt x="262" y="96"/>
                  <a:pt x="256" y="96"/>
                </a:cubicBezTo>
                <a:cubicBezTo>
                  <a:pt x="250" y="96"/>
                  <a:pt x="245" y="100"/>
                  <a:pt x="245" y="106"/>
                </a:cubicBezTo>
                <a:cubicBezTo>
                  <a:pt x="245" y="138"/>
                  <a:pt x="245" y="138"/>
                  <a:pt x="245" y="138"/>
                </a:cubicBezTo>
                <a:cubicBezTo>
                  <a:pt x="160" y="138"/>
                  <a:pt x="160" y="138"/>
                  <a:pt x="160" y="138"/>
                </a:cubicBezTo>
                <a:cubicBezTo>
                  <a:pt x="159" y="138"/>
                  <a:pt x="159" y="138"/>
                  <a:pt x="159" y="138"/>
                </a:cubicBezTo>
                <a:cubicBezTo>
                  <a:pt x="158" y="139"/>
                  <a:pt x="157" y="139"/>
                  <a:pt x="156" y="139"/>
                </a:cubicBezTo>
                <a:cubicBezTo>
                  <a:pt x="156" y="139"/>
                  <a:pt x="155" y="139"/>
                  <a:pt x="155" y="140"/>
                </a:cubicBezTo>
                <a:cubicBezTo>
                  <a:pt x="154" y="140"/>
                  <a:pt x="153" y="141"/>
                  <a:pt x="153" y="141"/>
                </a:cubicBezTo>
                <a:cubicBezTo>
                  <a:pt x="152" y="141"/>
                  <a:pt x="152" y="142"/>
                  <a:pt x="152" y="142"/>
                </a:cubicBezTo>
                <a:cubicBezTo>
                  <a:pt x="151" y="143"/>
                  <a:pt x="151" y="143"/>
                  <a:pt x="150" y="144"/>
                </a:cubicBezTo>
                <a:cubicBezTo>
                  <a:pt x="150" y="145"/>
                  <a:pt x="150" y="145"/>
                  <a:pt x="150" y="145"/>
                </a:cubicBezTo>
                <a:cubicBezTo>
                  <a:pt x="150" y="145"/>
                  <a:pt x="150" y="146"/>
                  <a:pt x="149" y="146"/>
                </a:cubicBezTo>
                <a:cubicBezTo>
                  <a:pt x="96" y="316"/>
                  <a:pt x="96" y="316"/>
                  <a:pt x="96" y="316"/>
                </a:cubicBezTo>
                <a:cubicBezTo>
                  <a:pt x="95" y="320"/>
                  <a:pt x="96" y="323"/>
                  <a:pt x="98" y="326"/>
                </a:cubicBezTo>
                <a:cubicBezTo>
                  <a:pt x="100" y="329"/>
                  <a:pt x="103" y="330"/>
                  <a:pt x="106" y="330"/>
                </a:cubicBezTo>
                <a:cubicBezTo>
                  <a:pt x="202" y="330"/>
                  <a:pt x="202" y="330"/>
                  <a:pt x="202" y="330"/>
                </a:cubicBezTo>
                <a:cubicBezTo>
                  <a:pt x="206" y="330"/>
                  <a:pt x="209" y="329"/>
                  <a:pt x="211" y="326"/>
                </a:cubicBezTo>
                <a:cubicBezTo>
                  <a:pt x="213" y="324"/>
                  <a:pt x="213" y="320"/>
                  <a:pt x="213" y="317"/>
                </a:cubicBezTo>
                <a:cubicBezTo>
                  <a:pt x="173" y="160"/>
                  <a:pt x="173" y="160"/>
                  <a:pt x="173" y="160"/>
                </a:cubicBezTo>
                <a:cubicBezTo>
                  <a:pt x="245" y="160"/>
                  <a:pt x="245" y="160"/>
                  <a:pt x="245" y="160"/>
                </a:cubicBezTo>
                <a:cubicBezTo>
                  <a:pt x="245" y="394"/>
                  <a:pt x="245" y="394"/>
                  <a:pt x="245" y="394"/>
                </a:cubicBezTo>
                <a:cubicBezTo>
                  <a:pt x="192" y="394"/>
                  <a:pt x="192" y="394"/>
                  <a:pt x="192" y="394"/>
                </a:cubicBezTo>
                <a:cubicBezTo>
                  <a:pt x="186" y="394"/>
                  <a:pt x="181" y="399"/>
                  <a:pt x="181" y="405"/>
                </a:cubicBezTo>
                <a:cubicBezTo>
                  <a:pt x="181" y="411"/>
                  <a:pt x="186" y="416"/>
                  <a:pt x="192" y="416"/>
                </a:cubicBezTo>
                <a:cubicBezTo>
                  <a:pt x="320" y="416"/>
                  <a:pt x="320" y="416"/>
                  <a:pt x="320" y="416"/>
                </a:cubicBezTo>
                <a:cubicBezTo>
                  <a:pt x="326" y="416"/>
                  <a:pt x="330" y="411"/>
                  <a:pt x="330" y="405"/>
                </a:cubicBezTo>
                <a:cubicBezTo>
                  <a:pt x="330" y="399"/>
                  <a:pt x="326" y="394"/>
                  <a:pt x="320" y="394"/>
                </a:cubicBezTo>
                <a:cubicBezTo>
                  <a:pt x="266" y="394"/>
                  <a:pt x="266" y="394"/>
                  <a:pt x="266" y="394"/>
                </a:cubicBezTo>
                <a:cubicBezTo>
                  <a:pt x="266" y="160"/>
                  <a:pt x="266" y="160"/>
                  <a:pt x="266" y="160"/>
                </a:cubicBezTo>
                <a:cubicBezTo>
                  <a:pt x="348" y="160"/>
                  <a:pt x="348" y="160"/>
                  <a:pt x="348" y="160"/>
                </a:cubicBezTo>
                <a:cubicBezTo>
                  <a:pt x="299" y="316"/>
                  <a:pt x="299" y="316"/>
                  <a:pt x="299" y="316"/>
                </a:cubicBezTo>
                <a:cubicBezTo>
                  <a:pt x="298" y="320"/>
                  <a:pt x="298" y="323"/>
                  <a:pt x="300" y="326"/>
                </a:cubicBezTo>
                <a:cubicBezTo>
                  <a:pt x="302" y="329"/>
                  <a:pt x="306" y="330"/>
                  <a:pt x="309" y="330"/>
                </a:cubicBezTo>
                <a:cubicBezTo>
                  <a:pt x="405" y="330"/>
                  <a:pt x="405" y="330"/>
                  <a:pt x="405" y="330"/>
                </a:cubicBezTo>
                <a:cubicBezTo>
                  <a:pt x="408" y="330"/>
                  <a:pt x="411" y="329"/>
                  <a:pt x="413" y="326"/>
                </a:cubicBezTo>
                <a:cubicBezTo>
                  <a:pt x="415" y="324"/>
                  <a:pt x="416" y="320"/>
                  <a:pt x="415" y="317"/>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Frutiger Next Pro Light"/>
              <a:ea typeface="+mn-ea"/>
              <a:cs typeface="+mn-cs"/>
            </a:endParaRPr>
          </a:p>
        </p:txBody>
      </p:sp>
      <p:cxnSp>
        <p:nvCxnSpPr>
          <p:cNvPr id="29" name="Straight Connector 28">
            <a:extLst>
              <a:ext uri="{FF2B5EF4-FFF2-40B4-BE49-F238E27FC236}">
                <a16:creationId xmlns:a16="http://schemas.microsoft.com/office/drawing/2014/main" id="{31F3FCE6-4C58-468D-80AD-9F063BA62295}"/>
              </a:ext>
            </a:extLst>
          </p:cNvPr>
          <p:cNvCxnSpPr/>
          <p:nvPr/>
        </p:nvCxnSpPr>
        <p:spPr>
          <a:xfrm>
            <a:off x="7623419" y="2956987"/>
            <a:ext cx="0" cy="553498"/>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0" name="Freeform 48">
            <a:extLst>
              <a:ext uri="{FF2B5EF4-FFF2-40B4-BE49-F238E27FC236}">
                <a16:creationId xmlns:a16="http://schemas.microsoft.com/office/drawing/2014/main" id="{3F87F975-FA05-408E-B2BC-4EB6C10C9323}"/>
              </a:ext>
            </a:extLst>
          </p:cNvPr>
          <p:cNvSpPr>
            <a:spLocks noChangeAspect="1" noEditPoints="1"/>
          </p:cNvSpPr>
          <p:nvPr/>
        </p:nvSpPr>
        <p:spPr bwMode="auto">
          <a:xfrm>
            <a:off x="7378414" y="3511211"/>
            <a:ext cx="490010" cy="49001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9 w 512"/>
              <a:gd name="T11" fmla="*/ 327 h 512"/>
              <a:gd name="T12" fmla="*/ 263 w 512"/>
              <a:gd name="T13" fmla="*/ 413 h 512"/>
              <a:gd name="T14" fmla="*/ 260 w 512"/>
              <a:gd name="T15" fmla="*/ 415 h 512"/>
              <a:gd name="T16" fmla="*/ 256 w 512"/>
              <a:gd name="T17" fmla="*/ 416 h 512"/>
              <a:gd name="T18" fmla="*/ 252 w 512"/>
              <a:gd name="T19" fmla="*/ 415 h 512"/>
              <a:gd name="T20" fmla="*/ 248 w 512"/>
              <a:gd name="T21" fmla="*/ 413 h 512"/>
              <a:gd name="T22" fmla="*/ 163 w 512"/>
              <a:gd name="T23" fmla="*/ 327 h 512"/>
              <a:gd name="T24" fmla="*/ 163 w 512"/>
              <a:gd name="T25" fmla="*/ 312 h 512"/>
              <a:gd name="T26" fmla="*/ 178 w 512"/>
              <a:gd name="T27" fmla="*/ 312 h 512"/>
              <a:gd name="T28" fmla="*/ 245 w 512"/>
              <a:gd name="T29" fmla="*/ 379 h 512"/>
              <a:gd name="T30" fmla="*/ 245 w 512"/>
              <a:gd name="T31" fmla="*/ 106 h 512"/>
              <a:gd name="T32" fmla="*/ 256 w 512"/>
              <a:gd name="T33" fmla="*/ 96 h 512"/>
              <a:gd name="T34" fmla="*/ 266 w 512"/>
              <a:gd name="T35" fmla="*/ 106 h 512"/>
              <a:gd name="T36" fmla="*/ 266 w 512"/>
              <a:gd name="T37" fmla="*/ 379 h 512"/>
              <a:gd name="T38" fmla="*/ 333 w 512"/>
              <a:gd name="T39" fmla="*/ 312 h 512"/>
              <a:gd name="T40" fmla="*/ 349 w 512"/>
              <a:gd name="T41" fmla="*/ 312 h 512"/>
              <a:gd name="T42" fmla="*/ 349 w 512"/>
              <a:gd name="T43" fmla="*/ 32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9" y="327"/>
                </a:moveTo>
                <a:cubicBezTo>
                  <a:pt x="263" y="413"/>
                  <a:pt x="263" y="413"/>
                  <a:pt x="263" y="413"/>
                </a:cubicBezTo>
                <a:cubicBezTo>
                  <a:pt x="262" y="414"/>
                  <a:pt x="261" y="414"/>
                  <a:pt x="260" y="415"/>
                </a:cubicBezTo>
                <a:cubicBezTo>
                  <a:pt x="258" y="415"/>
                  <a:pt x="257" y="416"/>
                  <a:pt x="256" y="416"/>
                </a:cubicBezTo>
                <a:cubicBezTo>
                  <a:pt x="254" y="416"/>
                  <a:pt x="253" y="415"/>
                  <a:pt x="252" y="415"/>
                </a:cubicBezTo>
                <a:cubicBezTo>
                  <a:pt x="250" y="414"/>
                  <a:pt x="249" y="414"/>
                  <a:pt x="248" y="413"/>
                </a:cubicBezTo>
                <a:cubicBezTo>
                  <a:pt x="163" y="327"/>
                  <a:pt x="163" y="327"/>
                  <a:pt x="163" y="327"/>
                </a:cubicBezTo>
                <a:cubicBezTo>
                  <a:pt x="159" y="323"/>
                  <a:pt x="159" y="316"/>
                  <a:pt x="163" y="312"/>
                </a:cubicBezTo>
                <a:cubicBezTo>
                  <a:pt x="167" y="308"/>
                  <a:pt x="174" y="308"/>
                  <a:pt x="178" y="312"/>
                </a:cubicBezTo>
                <a:cubicBezTo>
                  <a:pt x="245" y="379"/>
                  <a:pt x="245" y="379"/>
                  <a:pt x="245" y="379"/>
                </a:cubicBezTo>
                <a:cubicBezTo>
                  <a:pt x="245" y="106"/>
                  <a:pt x="245" y="106"/>
                  <a:pt x="245" y="106"/>
                </a:cubicBezTo>
                <a:cubicBezTo>
                  <a:pt x="245" y="100"/>
                  <a:pt x="250" y="96"/>
                  <a:pt x="256" y="96"/>
                </a:cubicBezTo>
                <a:cubicBezTo>
                  <a:pt x="262" y="96"/>
                  <a:pt x="266" y="100"/>
                  <a:pt x="266" y="106"/>
                </a:cubicBezTo>
                <a:cubicBezTo>
                  <a:pt x="266" y="379"/>
                  <a:pt x="266" y="379"/>
                  <a:pt x="266" y="379"/>
                </a:cubicBezTo>
                <a:cubicBezTo>
                  <a:pt x="333" y="312"/>
                  <a:pt x="333" y="312"/>
                  <a:pt x="333" y="312"/>
                </a:cubicBezTo>
                <a:cubicBezTo>
                  <a:pt x="338" y="308"/>
                  <a:pt x="344" y="308"/>
                  <a:pt x="349" y="312"/>
                </a:cubicBezTo>
                <a:cubicBezTo>
                  <a:pt x="353" y="316"/>
                  <a:pt x="353" y="323"/>
                  <a:pt x="349" y="327"/>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Frutiger Next Pro Light"/>
              <a:ea typeface="+mn-ea"/>
              <a:cs typeface="+mn-cs"/>
            </a:endParaRPr>
          </a:p>
        </p:txBody>
      </p:sp>
      <p:sp>
        <p:nvSpPr>
          <p:cNvPr id="31" name="Freeform 124">
            <a:extLst>
              <a:ext uri="{FF2B5EF4-FFF2-40B4-BE49-F238E27FC236}">
                <a16:creationId xmlns:a16="http://schemas.microsoft.com/office/drawing/2014/main" id="{3A1C2372-6757-4A54-A031-FF3361CC02EB}"/>
              </a:ext>
            </a:extLst>
          </p:cNvPr>
          <p:cNvSpPr>
            <a:spLocks noChangeAspect="1" noEditPoints="1"/>
          </p:cNvSpPr>
          <p:nvPr/>
        </p:nvSpPr>
        <p:spPr bwMode="auto">
          <a:xfrm>
            <a:off x="9259810" y="3815264"/>
            <a:ext cx="493485" cy="492039"/>
          </a:xfrm>
          <a:custGeom>
            <a:avLst/>
            <a:gdLst>
              <a:gd name="T0" fmla="*/ 0 w 512"/>
              <a:gd name="T1" fmla="*/ 256 h 512"/>
              <a:gd name="T2" fmla="*/ 512 w 512"/>
              <a:gd name="T3" fmla="*/ 256 h 512"/>
              <a:gd name="T4" fmla="*/ 237 w 512"/>
              <a:gd name="T5" fmla="*/ 342 h 512"/>
              <a:gd name="T6" fmla="*/ 206 w 512"/>
              <a:gd name="T7" fmla="*/ 372 h 512"/>
              <a:gd name="T8" fmla="*/ 198 w 512"/>
              <a:gd name="T9" fmla="*/ 372 h 512"/>
              <a:gd name="T10" fmla="*/ 167 w 512"/>
              <a:gd name="T11" fmla="*/ 342 h 512"/>
              <a:gd name="T12" fmla="*/ 182 w 512"/>
              <a:gd name="T13" fmla="*/ 327 h 512"/>
              <a:gd name="T14" fmla="*/ 192 w 512"/>
              <a:gd name="T15" fmla="*/ 149 h 512"/>
              <a:gd name="T16" fmla="*/ 213 w 512"/>
              <a:gd name="T17" fmla="*/ 149 h 512"/>
              <a:gd name="T18" fmla="*/ 222 w 512"/>
              <a:gd name="T19" fmla="*/ 327 h 512"/>
              <a:gd name="T20" fmla="*/ 237 w 512"/>
              <a:gd name="T21" fmla="*/ 342 h 512"/>
              <a:gd name="T22" fmla="*/ 266 w 512"/>
              <a:gd name="T23" fmla="*/ 373 h 512"/>
              <a:gd name="T24" fmla="*/ 266 w 512"/>
              <a:gd name="T25" fmla="*/ 352 h 512"/>
              <a:gd name="T26" fmla="*/ 288 w 512"/>
              <a:gd name="T27" fmla="*/ 362 h 512"/>
              <a:gd name="T28" fmla="*/ 298 w 512"/>
              <a:gd name="T29" fmla="*/ 330 h 512"/>
              <a:gd name="T30" fmla="*/ 256 w 512"/>
              <a:gd name="T31" fmla="*/ 320 h 512"/>
              <a:gd name="T32" fmla="*/ 298 w 512"/>
              <a:gd name="T33" fmla="*/ 309 h 512"/>
              <a:gd name="T34" fmla="*/ 298 w 512"/>
              <a:gd name="T35" fmla="*/ 330 h 512"/>
              <a:gd name="T36" fmla="*/ 266 w 512"/>
              <a:gd name="T37" fmla="*/ 288 h 512"/>
              <a:gd name="T38" fmla="*/ 266 w 512"/>
              <a:gd name="T39" fmla="*/ 266 h 512"/>
              <a:gd name="T40" fmla="*/ 330 w 512"/>
              <a:gd name="T41" fmla="*/ 277 h 512"/>
              <a:gd name="T42" fmla="*/ 341 w 512"/>
              <a:gd name="T43" fmla="*/ 245 h 512"/>
              <a:gd name="T44" fmla="*/ 256 w 512"/>
              <a:gd name="T45" fmla="*/ 234 h 512"/>
              <a:gd name="T46" fmla="*/ 341 w 512"/>
              <a:gd name="T47" fmla="*/ 224 h 512"/>
              <a:gd name="T48" fmla="*/ 341 w 512"/>
              <a:gd name="T49" fmla="*/ 245 h 512"/>
              <a:gd name="T50" fmla="*/ 266 w 512"/>
              <a:gd name="T51" fmla="*/ 202 h 512"/>
              <a:gd name="T52" fmla="*/ 266 w 512"/>
              <a:gd name="T53" fmla="*/ 181 h 512"/>
              <a:gd name="T54" fmla="*/ 373 w 512"/>
              <a:gd name="T55" fmla="*/ 192 h 512"/>
              <a:gd name="T56" fmla="*/ 378 w 512"/>
              <a:gd name="T57" fmla="*/ 160 h 512"/>
              <a:gd name="T58" fmla="*/ 256 w 512"/>
              <a:gd name="T59" fmla="*/ 149 h 512"/>
              <a:gd name="T60" fmla="*/ 378 w 512"/>
              <a:gd name="T61" fmla="*/ 138 h 512"/>
              <a:gd name="T62" fmla="*/ 378 w 512"/>
              <a:gd name="T63"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7" y="342"/>
                </a:moveTo>
                <a:cubicBezTo>
                  <a:pt x="210" y="370"/>
                  <a:pt x="210" y="370"/>
                  <a:pt x="210" y="370"/>
                </a:cubicBezTo>
                <a:cubicBezTo>
                  <a:pt x="209" y="371"/>
                  <a:pt x="208" y="372"/>
                  <a:pt x="206" y="372"/>
                </a:cubicBezTo>
                <a:cubicBezTo>
                  <a:pt x="205" y="373"/>
                  <a:pt x="204" y="373"/>
                  <a:pt x="202" y="373"/>
                </a:cubicBezTo>
                <a:cubicBezTo>
                  <a:pt x="201" y="373"/>
                  <a:pt x="200" y="373"/>
                  <a:pt x="198" y="372"/>
                </a:cubicBezTo>
                <a:cubicBezTo>
                  <a:pt x="197" y="372"/>
                  <a:pt x="196" y="371"/>
                  <a:pt x="195" y="370"/>
                </a:cubicBezTo>
                <a:cubicBezTo>
                  <a:pt x="167" y="342"/>
                  <a:pt x="167" y="342"/>
                  <a:pt x="167" y="342"/>
                </a:cubicBezTo>
                <a:cubicBezTo>
                  <a:pt x="163" y="338"/>
                  <a:pt x="163" y="331"/>
                  <a:pt x="167" y="327"/>
                </a:cubicBezTo>
                <a:cubicBezTo>
                  <a:pt x="171" y="323"/>
                  <a:pt x="178" y="323"/>
                  <a:pt x="182" y="327"/>
                </a:cubicBezTo>
                <a:cubicBezTo>
                  <a:pt x="192" y="337"/>
                  <a:pt x="192" y="337"/>
                  <a:pt x="192" y="337"/>
                </a:cubicBezTo>
                <a:cubicBezTo>
                  <a:pt x="192" y="149"/>
                  <a:pt x="192" y="149"/>
                  <a:pt x="192" y="149"/>
                </a:cubicBezTo>
                <a:cubicBezTo>
                  <a:pt x="192" y="143"/>
                  <a:pt x="196" y="138"/>
                  <a:pt x="202" y="138"/>
                </a:cubicBezTo>
                <a:cubicBezTo>
                  <a:pt x="208" y="138"/>
                  <a:pt x="213" y="143"/>
                  <a:pt x="213" y="149"/>
                </a:cubicBezTo>
                <a:cubicBezTo>
                  <a:pt x="213" y="337"/>
                  <a:pt x="213" y="337"/>
                  <a:pt x="213" y="337"/>
                </a:cubicBezTo>
                <a:cubicBezTo>
                  <a:pt x="222" y="327"/>
                  <a:pt x="222" y="327"/>
                  <a:pt x="222" y="327"/>
                </a:cubicBezTo>
                <a:cubicBezTo>
                  <a:pt x="227" y="323"/>
                  <a:pt x="233" y="323"/>
                  <a:pt x="237" y="327"/>
                </a:cubicBezTo>
                <a:cubicBezTo>
                  <a:pt x="242" y="331"/>
                  <a:pt x="242" y="338"/>
                  <a:pt x="237" y="342"/>
                </a:cubicBezTo>
                <a:close/>
                <a:moveTo>
                  <a:pt x="277" y="373"/>
                </a:moveTo>
                <a:cubicBezTo>
                  <a:pt x="266" y="373"/>
                  <a:pt x="266" y="373"/>
                  <a:pt x="266" y="373"/>
                </a:cubicBezTo>
                <a:cubicBezTo>
                  <a:pt x="260" y="373"/>
                  <a:pt x="256" y="368"/>
                  <a:pt x="256" y="362"/>
                </a:cubicBezTo>
                <a:cubicBezTo>
                  <a:pt x="256" y="356"/>
                  <a:pt x="260" y="352"/>
                  <a:pt x="266" y="352"/>
                </a:cubicBezTo>
                <a:cubicBezTo>
                  <a:pt x="277" y="352"/>
                  <a:pt x="277" y="352"/>
                  <a:pt x="277" y="352"/>
                </a:cubicBezTo>
                <a:cubicBezTo>
                  <a:pt x="283" y="352"/>
                  <a:pt x="288" y="356"/>
                  <a:pt x="288" y="362"/>
                </a:cubicBezTo>
                <a:cubicBezTo>
                  <a:pt x="288" y="368"/>
                  <a:pt x="283" y="373"/>
                  <a:pt x="277" y="373"/>
                </a:cubicBezTo>
                <a:close/>
                <a:moveTo>
                  <a:pt x="298" y="330"/>
                </a:moveTo>
                <a:cubicBezTo>
                  <a:pt x="266" y="330"/>
                  <a:pt x="266" y="330"/>
                  <a:pt x="266" y="330"/>
                </a:cubicBezTo>
                <a:cubicBezTo>
                  <a:pt x="260" y="330"/>
                  <a:pt x="256" y="326"/>
                  <a:pt x="256" y="320"/>
                </a:cubicBezTo>
                <a:cubicBezTo>
                  <a:pt x="256" y="314"/>
                  <a:pt x="260" y="309"/>
                  <a:pt x="266" y="309"/>
                </a:cubicBezTo>
                <a:cubicBezTo>
                  <a:pt x="298" y="309"/>
                  <a:pt x="298" y="309"/>
                  <a:pt x="298" y="309"/>
                </a:cubicBezTo>
                <a:cubicBezTo>
                  <a:pt x="304" y="309"/>
                  <a:pt x="309" y="314"/>
                  <a:pt x="309" y="320"/>
                </a:cubicBezTo>
                <a:cubicBezTo>
                  <a:pt x="309" y="326"/>
                  <a:pt x="304" y="330"/>
                  <a:pt x="298" y="330"/>
                </a:cubicBezTo>
                <a:close/>
                <a:moveTo>
                  <a:pt x="320" y="288"/>
                </a:moveTo>
                <a:cubicBezTo>
                  <a:pt x="266" y="288"/>
                  <a:pt x="266" y="288"/>
                  <a:pt x="266" y="288"/>
                </a:cubicBezTo>
                <a:cubicBezTo>
                  <a:pt x="260" y="288"/>
                  <a:pt x="256" y="283"/>
                  <a:pt x="256" y="277"/>
                </a:cubicBezTo>
                <a:cubicBezTo>
                  <a:pt x="256" y="271"/>
                  <a:pt x="260" y="266"/>
                  <a:pt x="266" y="266"/>
                </a:cubicBezTo>
                <a:cubicBezTo>
                  <a:pt x="320" y="266"/>
                  <a:pt x="320" y="266"/>
                  <a:pt x="320" y="266"/>
                </a:cubicBezTo>
                <a:cubicBezTo>
                  <a:pt x="326" y="266"/>
                  <a:pt x="330" y="271"/>
                  <a:pt x="330" y="277"/>
                </a:cubicBezTo>
                <a:cubicBezTo>
                  <a:pt x="330" y="283"/>
                  <a:pt x="326" y="288"/>
                  <a:pt x="320" y="288"/>
                </a:cubicBezTo>
                <a:close/>
                <a:moveTo>
                  <a:pt x="341" y="245"/>
                </a:moveTo>
                <a:cubicBezTo>
                  <a:pt x="266" y="245"/>
                  <a:pt x="266" y="245"/>
                  <a:pt x="266" y="245"/>
                </a:cubicBezTo>
                <a:cubicBezTo>
                  <a:pt x="260" y="245"/>
                  <a:pt x="256" y="240"/>
                  <a:pt x="256" y="234"/>
                </a:cubicBezTo>
                <a:cubicBezTo>
                  <a:pt x="256" y="228"/>
                  <a:pt x="260" y="224"/>
                  <a:pt x="266" y="224"/>
                </a:cubicBezTo>
                <a:cubicBezTo>
                  <a:pt x="341" y="224"/>
                  <a:pt x="341" y="224"/>
                  <a:pt x="341" y="224"/>
                </a:cubicBezTo>
                <a:cubicBezTo>
                  <a:pt x="347" y="224"/>
                  <a:pt x="352" y="228"/>
                  <a:pt x="352" y="234"/>
                </a:cubicBezTo>
                <a:cubicBezTo>
                  <a:pt x="352" y="240"/>
                  <a:pt x="347" y="245"/>
                  <a:pt x="341" y="245"/>
                </a:cubicBezTo>
                <a:close/>
                <a:moveTo>
                  <a:pt x="362" y="202"/>
                </a:moveTo>
                <a:cubicBezTo>
                  <a:pt x="266" y="202"/>
                  <a:pt x="266" y="202"/>
                  <a:pt x="266" y="202"/>
                </a:cubicBezTo>
                <a:cubicBezTo>
                  <a:pt x="260" y="202"/>
                  <a:pt x="256" y="198"/>
                  <a:pt x="256" y="192"/>
                </a:cubicBezTo>
                <a:cubicBezTo>
                  <a:pt x="256" y="186"/>
                  <a:pt x="260" y="181"/>
                  <a:pt x="266" y="181"/>
                </a:cubicBezTo>
                <a:cubicBezTo>
                  <a:pt x="362" y="181"/>
                  <a:pt x="362" y="181"/>
                  <a:pt x="362" y="181"/>
                </a:cubicBezTo>
                <a:cubicBezTo>
                  <a:pt x="368" y="181"/>
                  <a:pt x="373" y="186"/>
                  <a:pt x="373" y="192"/>
                </a:cubicBezTo>
                <a:cubicBezTo>
                  <a:pt x="373" y="198"/>
                  <a:pt x="368" y="202"/>
                  <a:pt x="362" y="202"/>
                </a:cubicBezTo>
                <a:close/>
                <a:moveTo>
                  <a:pt x="378" y="160"/>
                </a:moveTo>
                <a:cubicBezTo>
                  <a:pt x="266" y="160"/>
                  <a:pt x="266" y="160"/>
                  <a:pt x="266" y="160"/>
                </a:cubicBezTo>
                <a:cubicBezTo>
                  <a:pt x="260" y="160"/>
                  <a:pt x="256" y="155"/>
                  <a:pt x="256" y="149"/>
                </a:cubicBezTo>
                <a:cubicBezTo>
                  <a:pt x="256" y="143"/>
                  <a:pt x="260" y="138"/>
                  <a:pt x="266" y="138"/>
                </a:cubicBezTo>
                <a:cubicBezTo>
                  <a:pt x="378" y="138"/>
                  <a:pt x="378" y="138"/>
                  <a:pt x="378" y="138"/>
                </a:cubicBezTo>
                <a:cubicBezTo>
                  <a:pt x="384" y="138"/>
                  <a:pt x="389" y="143"/>
                  <a:pt x="389" y="149"/>
                </a:cubicBezTo>
                <a:cubicBezTo>
                  <a:pt x="389" y="155"/>
                  <a:pt x="384" y="160"/>
                  <a:pt x="378" y="16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Frutiger Next Pro Light"/>
              <a:ea typeface="+mn-ea"/>
              <a:cs typeface="+mn-cs"/>
            </a:endParaRPr>
          </a:p>
        </p:txBody>
      </p:sp>
      <p:sp>
        <p:nvSpPr>
          <p:cNvPr id="35" name="Text Placeholder 3">
            <a:extLst>
              <a:ext uri="{FF2B5EF4-FFF2-40B4-BE49-F238E27FC236}">
                <a16:creationId xmlns:a16="http://schemas.microsoft.com/office/drawing/2014/main" id="{DEB009EC-6816-471E-AF05-969475337473}"/>
              </a:ext>
            </a:extLst>
          </p:cNvPr>
          <p:cNvSpPr>
            <a:spLocks noGrp="1"/>
          </p:cNvSpPr>
          <p:nvPr>
            <p:ph type="body" sz="quarter" idx="15"/>
          </p:nvPr>
        </p:nvSpPr>
        <p:spPr>
          <a:xfrm>
            <a:off x="914971" y="466344"/>
            <a:ext cx="3694736" cy="161140"/>
          </a:xfrm>
        </p:spPr>
        <p:txBody>
          <a:bodyPr/>
          <a:lstStyle/>
          <a:p>
            <a:r>
              <a:rPr lang="en-US" dirty="0"/>
              <a:t>FRAMEWORKS &amp; CONCEPT ILLUSTRATION</a:t>
            </a:r>
          </a:p>
        </p:txBody>
      </p:sp>
    </p:spTree>
    <p:extLst>
      <p:ext uri="{BB962C8B-B14F-4D97-AF65-F5344CB8AC3E}">
        <p14:creationId xmlns:p14="http://schemas.microsoft.com/office/powerpoint/2010/main" val="325328105"/>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a:extLst>
              <a:ext uri="{FF2B5EF4-FFF2-40B4-BE49-F238E27FC236}">
                <a16:creationId xmlns:a16="http://schemas.microsoft.com/office/drawing/2014/main" id="{431665F0-ADD5-411E-B783-CEFEFF44B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9140" name="think-cell Slide" r:id="rId6" imgW="395" imgH="396" progId="TCLayout.ActiveDocument.1">
                  <p:embed/>
                </p:oleObj>
              </mc:Choice>
              <mc:Fallback>
                <p:oleObj name="think-cell Slide" r:id="rId6" imgW="395" imgH="396" progId="TCLayout.ActiveDocument.1">
                  <p:embed/>
                  <p:pic>
                    <p:nvPicPr>
                      <p:cNvPr id="41" name="Object 40" hidden="1">
                        <a:extLst>
                          <a:ext uri="{FF2B5EF4-FFF2-40B4-BE49-F238E27FC236}">
                            <a16:creationId xmlns:a16="http://schemas.microsoft.com/office/drawing/2014/main" id="{431665F0-ADD5-411E-B783-CEFEFF44BC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0" name="Rectangle 39" hidden="1">
            <a:extLst>
              <a:ext uri="{FF2B5EF4-FFF2-40B4-BE49-F238E27FC236}">
                <a16:creationId xmlns:a16="http://schemas.microsoft.com/office/drawing/2014/main" id="{86F15E96-0579-4CFC-A7AB-B8F8C34B67E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5B6F97FD-DFF0-45A5-BA1E-FCEE90E4F992}"/>
              </a:ext>
            </a:extLst>
          </p:cNvPr>
          <p:cNvSpPr>
            <a:spLocks noGrp="1"/>
          </p:cNvSpPr>
          <p:nvPr>
            <p:ph type="title"/>
          </p:nvPr>
        </p:nvSpPr>
        <p:spPr/>
        <p:txBody>
          <a:bodyPr/>
          <a:lstStyle/>
          <a:p>
            <a:r>
              <a:rPr lang="en-US" dirty="0"/>
              <a:t>Tipping the weight of investment toward the future</a:t>
            </a:r>
          </a:p>
        </p:txBody>
      </p:sp>
      <p:sp>
        <p:nvSpPr>
          <p:cNvPr id="3" name="Text Placeholder 2">
            <a:extLst>
              <a:ext uri="{FF2B5EF4-FFF2-40B4-BE49-F238E27FC236}">
                <a16:creationId xmlns:a16="http://schemas.microsoft.com/office/drawing/2014/main" id="{3D3E57FE-9042-456C-8213-D7A0E59FE6BF}"/>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E2C61F87-7F4A-4728-8714-CF9FA5E8063F}"/>
              </a:ext>
            </a:extLst>
          </p:cNvPr>
          <p:cNvSpPr>
            <a:spLocks noGrp="1"/>
          </p:cNvSpPr>
          <p:nvPr>
            <p:ph type="body" sz="quarter" idx="15"/>
          </p:nvPr>
        </p:nvSpPr>
        <p:spPr>
          <a:xfrm>
            <a:off x="914970" y="466344"/>
            <a:ext cx="3591041" cy="196667"/>
          </a:xfrm>
        </p:spPr>
        <p:txBody>
          <a:bodyPr/>
          <a:lstStyle/>
          <a:p>
            <a:r>
              <a:rPr lang="en-US" dirty="0"/>
              <a:t>FRAMEWORKS &amp; CONCEPT ILLUSTRATION</a:t>
            </a:r>
          </a:p>
        </p:txBody>
      </p:sp>
      <p:sp>
        <p:nvSpPr>
          <p:cNvPr id="5" name="Rectangle 4">
            <a:extLst>
              <a:ext uri="{FF2B5EF4-FFF2-40B4-BE49-F238E27FC236}">
                <a16:creationId xmlns:a16="http://schemas.microsoft.com/office/drawing/2014/main" id="{EBA446BD-77DC-42CA-9A43-CF1C76381C6B}"/>
              </a:ext>
            </a:extLst>
          </p:cNvPr>
          <p:cNvSpPr/>
          <p:nvPr/>
        </p:nvSpPr>
        <p:spPr>
          <a:xfrm>
            <a:off x="469900" y="621139"/>
            <a:ext cx="11252200" cy="71493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dirty="0">
              <a:ln>
                <a:noFill/>
              </a:ln>
              <a:solidFill>
                <a:prstClr val="black"/>
              </a:solidFill>
              <a:effectLst/>
              <a:uLnTx/>
              <a:uFillTx/>
              <a:latin typeface="Calibri Light"/>
              <a:ea typeface="Microsoft YaHei"/>
              <a:cs typeface="Arial" panose="020B0604020202020204" pitchFamily="34" charset="0"/>
            </a:endParaRPr>
          </a:p>
        </p:txBody>
      </p:sp>
      <p:sp>
        <p:nvSpPr>
          <p:cNvPr id="6" name="Title 3">
            <a:extLst>
              <a:ext uri="{FF2B5EF4-FFF2-40B4-BE49-F238E27FC236}">
                <a16:creationId xmlns:a16="http://schemas.microsoft.com/office/drawing/2014/main" id="{1A3E755A-FF13-4A9A-A381-C809834EFA47}"/>
              </a:ext>
            </a:extLst>
          </p:cNvPr>
          <p:cNvSpPr txBox="1">
            <a:spLocks/>
          </p:cNvSpPr>
          <p:nvPr/>
        </p:nvSpPr>
        <p:spPr>
          <a:xfrm>
            <a:off x="508000" y="310114"/>
            <a:ext cx="10972800" cy="502766"/>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pic>
        <p:nvPicPr>
          <p:cNvPr id="8" name="Picture 7">
            <a:extLst>
              <a:ext uri="{FF2B5EF4-FFF2-40B4-BE49-F238E27FC236}">
                <a16:creationId xmlns:a16="http://schemas.microsoft.com/office/drawing/2014/main" id="{52C01DD8-6525-43BD-8138-2E20EE49823A}"/>
              </a:ext>
            </a:extLst>
          </p:cNvPr>
          <p:cNvPicPr>
            <a:picLocks noChangeAspect="1"/>
          </p:cNvPicPr>
          <p:nvPr/>
        </p:nvPicPr>
        <p:blipFill>
          <a:blip r:embed="rId8" cstate="hq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819003" y="3306857"/>
            <a:ext cx="493080" cy="629002"/>
          </a:xfrm>
          <a:prstGeom prst="rect">
            <a:avLst/>
          </a:prstGeom>
        </p:spPr>
      </p:pic>
      <p:sp>
        <p:nvSpPr>
          <p:cNvPr id="9" name="Rectangle 8">
            <a:extLst>
              <a:ext uri="{FF2B5EF4-FFF2-40B4-BE49-F238E27FC236}">
                <a16:creationId xmlns:a16="http://schemas.microsoft.com/office/drawing/2014/main" id="{6C3B7418-076B-4E67-8A7C-16B794445FC1}"/>
              </a:ext>
            </a:extLst>
          </p:cNvPr>
          <p:cNvSpPr/>
          <p:nvPr/>
        </p:nvSpPr>
        <p:spPr>
          <a:xfrm>
            <a:off x="5771356" y="3271719"/>
            <a:ext cx="221001" cy="169277"/>
          </a:xfrm>
          <a:prstGeom prst="rect">
            <a:avLst/>
          </a:prstGeom>
          <a:solidFill>
            <a:schemeClr val="bg1"/>
          </a:solidFill>
        </p:spPr>
        <p:txBody>
          <a:bodyPr wrap="square" lIns="0" tIns="0" rIns="0" bIns="0" anchor="ctr">
            <a:spAutoFit/>
          </a:bodyPr>
          <a:lstStyle/>
          <a:p>
            <a:pPr marL="91440" marR="0" lvl="1"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D79C00"/>
                </a:solidFill>
                <a:effectLst/>
                <a:uLnTx/>
                <a:uFillTx/>
                <a:ea typeface="Microsoft YaHei"/>
                <a:cs typeface="Calibri" panose="020F0502020204030204" pitchFamily="34" charset="0"/>
              </a:rPr>
              <a:t>3</a:t>
            </a:r>
          </a:p>
        </p:txBody>
      </p:sp>
      <p:pic>
        <p:nvPicPr>
          <p:cNvPr id="10" name="Picture 12" descr="Image result for exercising">
            <a:extLst>
              <a:ext uri="{FF2B5EF4-FFF2-40B4-BE49-F238E27FC236}">
                <a16:creationId xmlns:a16="http://schemas.microsoft.com/office/drawing/2014/main" id="{9C8D89BB-D85D-49E5-B627-B6994BB1C376}"/>
              </a:ext>
            </a:extLst>
          </p:cNvPr>
          <p:cNvPicPr>
            <a:picLocks noChangeAspect="1" noChangeArrowheads="1"/>
          </p:cNvPicPr>
          <p:nvPr/>
        </p:nvPicPr>
        <p:blipFill rotWithShape="1">
          <a:blip r:embed="rId9" cstate="hqprint">
            <a:duotone>
              <a:schemeClr val="accent4">
                <a:shade val="45000"/>
                <a:satMod val="135000"/>
              </a:schemeClr>
              <a:prstClr val="white"/>
            </a:duotone>
            <a:extLst>
              <a:ext uri="{28A0092B-C50C-407E-A947-70E740481C1C}">
                <a14:useLocalDpi xmlns:a14="http://schemas.microsoft.com/office/drawing/2010/main" val="0"/>
              </a:ext>
            </a:extLst>
          </a:blip>
          <a:srcRect/>
          <a:stretch/>
        </p:blipFill>
        <p:spPr bwMode="auto">
          <a:xfrm>
            <a:off x="7207027" y="3303151"/>
            <a:ext cx="493909" cy="628548"/>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F708A1DE-ADDA-4FBE-9BC9-2F5E0FFE53A5}"/>
              </a:ext>
            </a:extLst>
          </p:cNvPr>
          <p:cNvSpPr/>
          <p:nvPr/>
        </p:nvSpPr>
        <p:spPr>
          <a:xfrm>
            <a:off x="7165395" y="3271719"/>
            <a:ext cx="221502" cy="169277"/>
          </a:xfrm>
          <a:prstGeom prst="rect">
            <a:avLst/>
          </a:prstGeom>
          <a:solidFill>
            <a:schemeClr val="bg1"/>
          </a:solidFill>
        </p:spPr>
        <p:txBody>
          <a:bodyPr wrap="square" lIns="0" tIns="0" rIns="0" bIns="0" anchor="ctr">
            <a:spAutoFit/>
          </a:bodyPr>
          <a:lstStyle/>
          <a:p>
            <a:pPr marL="91440" marR="0" lvl="1"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C6530A"/>
                </a:solidFill>
                <a:effectLst/>
                <a:uLnTx/>
                <a:uFillTx/>
                <a:ea typeface="Microsoft YaHei"/>
                <a:cs typeface="Calibri" panose="020F0502020204030204" pitchFamily="34" charset="0"/>
              </a:rPr>
              <a:t>4</a:t>
            </a:r>
          </a:p>
        </p:txBody>
      </p:sp>
      <p:sp>
        <p:nvSpPr>
          <p:cNvPr id="12" name="Isosceles Triangle 11">
            <a:extLst>
              <a:ext uri="{FF2B5EF4-FFF2-40B4-BE49-F238E27FC236}">
                <a16:creationId xmlns:a16="http://schemas.microsoft.com/office/drawing/2014/main" id="{0F0F2D5A-A358-44C9-BBED-142F5D48612A}"/>
              </a:ext>
            </a:extLst>
          </p:cNvPr>
          <p:cNvSpPr/>
          <p:nvPr/>
        </p:nvSpPr>
        <p:spPr>
          <a:xfrm>
            <a:off x="4354042" y="4553440"/>
            <a:ext cx="969484" cy="1060667"/>
          </a:xfrm>
          <a:prstGeom prst="triangle">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ea typeface="Microsoft YaHei"/>
              <a:cs typeface="+mn-cs"/>
            </a:endParaRPr>
          </a:p>
        </p:txBody>
      </p:sp>
      <p:sp>
        <p:nvSpPr>
          <p:cNvPr id="13" name="Rectangle 12">
            <a:extLst>
              <a:ext uri="{FF2B5EF4-FFF2-40B4-BE49-F238E27FC236}">
                <a16:creationId xmlns:a16="http://schemas.microsoft.com/office/drawing/2014/main" id="{C0451470-0B7C-49E7-A310-5C132232C231}"/>
              </a:ext>
            </a:extLst>
          </p:cNvPr>
          <p:cNvSpPr/>
          <p:nvPr/>
        </p:nvSpPr>
        <p:spPr>
          <a:xfrm>
            <a:off x="4772764" y="2217282"/>
            <a:ext cx="136479" cy="3068198"/>
          </a:xfrm>
          <a:prstGeom prst="rect">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ea typeface="Microsoft YaHei"/>
              <a:cs typeface="+mn-cs"/>
            </a:endParaRPr>
          </a:p>
        </p:txBody>
      </p:sp>
      <p:sp>
        <p:nvSpPr>
          <p:cNvPr id="14" name="Rectangle 13">
            <a:extLst>
              <a:ext uri="{FF2B5EF4-FFF2-40B4-BE49-F238E27FC236}">
                <a16:creationId xmlns:a16="http://schemas.microsoft.com/office/drawing/2014/main" id="{4B2C7613-8B41-4BCD-9092-819CBF06448B}"/>
              </a:ext>
            </a:extLst>
          </p:cNvPr>
          <p:cNvSpPr/>
          <p:nvPr/>
        </p:nvSpPr>
        <p:spPr>
          <a:xfrm rot="732225">
            <a:off x="2847922" y="2196232"/>
            <a:ext cx="3981723" cy="80010"/>
          </a:xfrm>
          <a:prstGeom prst="rect">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ea typeface="Microsoft YaHei"/>
              <a:cs typeface="+mn-cs"/>
            </a:endParaRPr>
          </a:p>
        </p:txBody>
      </p:sp>
      <p:cxnSp>
        <p:nvCxnSpPr>
          <p:cNvPr id="15" name="Straight Connector 14">
            <a:extLst>
              <a:ext uri="{FF2B5EF4-FFF2-40B4-BE49-F238E27FC236}">
                <a16:creationId xmlns:a16="http://schemas.microsoft.com/office/drawing/2014/main" id="{08ED259D-CF85-49BC-8411-48C0555C92D2}"/>
              </a:ext>
            </a:extLst>
          </p:cNvPr>
          <p:cNvCxnSpPr/>
          <p:nvPr/>
        </p:nvCxnSpPr>
        <p:spPr>
          <a:xfrm flipH="1">
            <a:off x="6112480" y="2677630"/>
            <a:ext cx="648237" cy="1941575"/>
          </a:xfrm>
          <a:prstGeom prst="line">
            <a:avLst/>
          </a:prstGeom>
          <a:ln w="571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666742C-0427-4FD9-A78B-13C18A37F88E}"/>
              </a:ext>
            </a:extLst>
          </p:cNvPr>
          <p:cNvCxnSpPr/>
          <p:nvPr/>
        </p:nvCxnSpPr>
        <p:spPr>
          <a:xfrm>
            <a:off x="6760717" y="2677630"/>
            <a:ext cx="588703" cy="1956090"/>
          </a:xfrm>
          <a:prstGeom prst="line">
            <a:avLst/>
          </a:prstGeom>
          <a:ln w="571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3E370B89-1E91-4782-97FD-931BECEE8871}"/>
              </a:ext>
            </a:extLst>
          </p:cNvPr>
          <p:cNvCxnSpPr/>
          <p:nvPr/>
        </p:nvCxnSpPr>
        <p:spPr>
          <a:xfrm flipH="1">
            <a:off x="2269584" y="1776290"/>
            <a:ext cx="648237" cy="1941575"/>
          </a:xfrm>
          <a:prstGeom prst="line">
            <a:avLst/>
          </a:prstGeom>
          <a:ln w="571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ACFC67B2-CF91-40F5-B2B1-A504235CED91}"/>
              </a:ext>
            </a:extLst>
          </p:cNvPr>
          <p:cNvCxnSpPr/>
          <p:nvPr/>
        </p:nvCxnSpPr>
        <p:spPr>
          <a:xfrm>
            <a:off x="2917821" y="1776290"/>
            <a:ext cx="588703" cy="1956090"/>
          </a:xfrm>
          <a:prstGeom prst="line">
            <a:avLst/>
          </a:prstGeom>
          <a:ln w="571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9" name="Isosceles Triangle 18">
            <a:extLst>
              <a:ext uri="{FF2B5EF4-FFF2-40B4-BE49-F238E27FC236}">
                <a16:creationId xmlns:a16="http://schemas.microsoft.com/office/drawing/2014/main" id="{3CA7D253-527B-45B0-A810-9203CC596BA5}"/>
              </a:ext>
            </a:extLst>
          </p:cNvPr>
          <p:cNvSpPr/>
          <p:nvPr/>
        </p:nvSpPr>
        <p:spPr>
          <a:xfrm rot="10800000">
            <a:off x="1935918" y="3699068"/>
            <a:ext cx="1824717" cy="396240"/>
          </a:xfrm>
          <a:prstGeom prst="triangle">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ea typeface="Microsoft YaHei"/>
              <a:cs typeface="+mn-cs"/>
            </a:endParaRPr>
          </a:p>
        </p:txBody>
      </p:sp>
      <p:sp>
        <p:nvSpPr>
          <p:cNvPr id="20" name="Isosceles Triangle 19">
            <a:extLst>
              <a:ext uri="{FF2B5EF4-FFF2-40B4-BE49-F238E27FC236}">
                <a16:creationId xmlns:a16="http://schemas.microsoft.com/office/drawing/2014/main" id="{467A8785-3F93-46D1-B14E-2F667057CC72}"/>
              </a:ext>
            </a:extLst>
          </p:cNvPr>
          <p:cNvSpPr/>
          <p:nvPr/>
        </p:nvSpPr>
        <p:spPr>
          <a:xfrm rot="10800000">
            <a:off x="5844103" y="4598885"/>
            <a:ext cx="1824717" cy="396240"/>
          </a:xfrm>
          <a:prstGeom prst="triangle">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ea typeface="Microsoft YaHei"/>
              <a:cs typeface="+mn-cs"/>
            </a:endParaRPr>
          </a:p>
        </p:txBody>
      </p:sp>
      <p:pic>
        <p:nvPicPr>
          <p:cNvPr id="21" name="Picture 20">
            <a:extLst>
              <a:ext uri="{FF2B5EF4-FFF2-40B4-BE49-F238E27FC236}">
                <a16:creationId xmlns:a16="http://schemas.microsoft.com/office/drawing/2014/main" id="{3FC53D12-3ACC-4DFA-A4AC-C6A66C280D7E}"/>
              </a:ext>
            </a:extLst>
          </p:cNvPr>
          <p:cNvPicPr>
            <a:picLocks noChangeAspect="1"/>
          </p:cNvPicPr>
          <p:nvPr/>
        </p:nvPicPr>
        <p:blipFill rotWithShape="1">
          <a:blip r:embed="rId10" cstate="email">
            <a:duotone>
              <a:schemeClr val="accent5">
                <a:shade val="45000"/>
                <a:satMod val="135000"/>
              </a:schemeClr>
              <a:prstClr val="white"/>
            </a:duotone>
            <a:extLst>
              <a:ext uri="{28A0092B-C50C-407E-A947-70E740481C1C}">
                <a14:useLocalDpi xmlns:a14="http://schemas.microsoft.com/office/drawing/2010/main" val="0"/>
              </a:ext>
            </a:extLst>
          </a:blip>
          <a:srcRect/>
          <a:stretch/>
        </p:blipFill>
        <p:spPr>
          <a:xfrm>
            <a:off x="7471545" y="3656147"/>
            <a:ext cx="607392" cy="918063"/>
          </a:xfrm>
          <a:prstGeom prst="rect">
            <a:avLst/>
          </a:prstGeom>
        </p:spPr>
      </p:pic>
      <p:sp>
        <p:nvSpPr>
          <p:cNvPr id="22" name="Rectangle 21">
            <a:extLst>
              <a:ext uri="{FF2B5EF4-FFF2-40B4-BE49-F238E27FC236}">
                <a16:creationId xmlns:a16="http://schemas.microsoft.com/office/drawing/2014/main" id="{501593E0-00A2-411D-AE6B-EF41CD80549F}"/>
              </a:ext>
            </a:extLst>
          </p:cNvPr>
          <p:cNvSpPr/>
          <p:nvPr/>
        </p:nvSpPr>
        <p:spPr>
          <a:xfrm>
            <a:off x="7471545" y="3671535"/>
            <a:ext cx="274320" cy="215444"/>
          </a:xfrm>
          <a:prstGeom prst="rect">
            <a:avLst/>
          </a:prstGeom>
          <a:solidFill>
            <a:schemeClr val="bg1"/>
          </a:solidFill>
        </p:spPr>
        <p:txBody>
          <a:bodyPr wrap="square" lIns="0" tIns="0" rIns="0" bIns="0" anchor="ctr">
            <a:spAutoFit/>
          </a:bodyPr>
          <a:lstStyle/>
          <a:p>
            <a:pPr marL="91440" marR="0" lvl="1"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4C91"/>
                </a:solidFill>
                <a:effectLst/>
                <a:uLnTx/>
                <a:uFillTx/>
                <a:ea typeface="Microsoft YaHei"/>
                <a:cs typeface="Calibri" panose="020F0502020204030204" pitchFamily="34" charset="0"/>
              </a:rPr>
              <a:t>7</a:t>
            </a:r>
          </a:p>
        </p:txBody>
      </p:sp>
      <p:pic>
        <p:nvPicPr>
          <p:cNvPr id="23" name="Picture 22">
            <a:extLst>
              <a:ext uri="{FF2B5EF4-FFF2-40B4-BE49-F238E27FC236}">
                <a16:creationId xmlns:a16="http://schemas.microsoft.com/office/drawing/2014/main" id="{2F7C822D-2AA9-4435-999B-E7F96B17A69B}"/>
              </a:ext>
            </a:extLst>
          </p:cNvPr>
          <p:cNvPicPr>
            <a:picLocks noChangeAspect="1"/>
          </p:cNvPicPr>
          <p:nvPr/>
        </p:nvPicPr>
        <p:blipFill rotWithShape="1">
          <a:blip r:embed="rId11" cstate="email">
            <a:duotone>
              <a:schemeClr val="bg2">
                <a:shade val="45000"/>
                <a:satMod val="135000"/>
              </a:schemeClr>
              <a:prstClr val="white"/>
            </a:duotone>
            <a:extLst>
              <a:ext uri="{28A0092B-C50C-407E-A947-70E740481C1C}">
                <a14:useLocalDpi xmlns:a14="http://schemas.microsoft.com/office/drawing/2010/main" val="0"/>
              </a:ext>
            </a:extLst>
          </a:blip>
          <a:srcRect/>
          <a:stretch/>
        </p:blipFill>
        <p:spPr>
          <a:xfrm>
            <a:off x="2545621" y="2749072"/>
            <a:ext cx="620791" cy="918063"/>
          </a:xfrm>
          <a:prstGeom prst="rect">
            <a:avLst/>
          </a:prstGeom>
        </p:spPr>
      </p:pic>
      <p:sp>
        <p:nvSpPr>
          <p:cNvPr id="24" name="Rectangle 23">
            <a:extLst>
              <a:ext uri="{FF2B5EF4-FFF2-40B4-BE49-F238E27FC236}">
                <a16:creationId xmlns:a16="http://schemas.microsoft.com/office/drawing/2014/main" id="{B7785819-3A1F-418B-9DEE-3085778BB052}"/>
              </a:ext>
            </a:extLst>
          </p:cNvPr>
          <p:cNvSpPr/>
          <p:nvPr/>
        </p:nvSpPr>
        <p:spPr>
          <a:xfrm>
            <a:off x="2545621" y="2764460"/>
            <a:ext cx="274320" cy="215444"/>
          </a:xfrm>
          <a:prstGeom prst="rect">
            <a:avLst/>
          </a:prstGeom>
          <a:solidFill>
            <a:schemeClr val="bg1"/>
          </a:solidFill>
        </p:spPr>
        <p:txBody>
          <a:bodyPr wrap="square" lIns="0" tIns="0" rIns="0" bIns="0" anchor="ctr">
            <a:spAutoFit/>
          </a:bodyPr>
          <a:lstStyle/>
          <a:p>
            <a:pPr marL="91440" marR="0" lvl="1"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ea typeface="Microsoft YaHei"/>
                <a:cs typeface="Calibri" panose="020F0502020204030204" pitchFamily="34" charset="0"/>
              </a:rPr>
              <a:t>1</a:t>
            </a:r>
          </a:p>
        </p:txBody>
      </p:sp>
      <p:pic>
        <p:nvPicPr>
          <p:cNvPr id="25" name="Picture 24">
            <a:extLst>
              <a:ext uri="{FF2B5EF4-FFF2-40B4-BE49-F238E27FC236}">
                <a16:creationId xmlns:a16="http://schemas.microsoft.com/office/drawing/2014/main" id="{831039B1-67C6-493C-BE33-5D90835E3508}"/>
              </a:ext>
            </a:extLst>
          </p:cNvPr>
          <p:cNvPicPr>
            <a:picLocks noChangeAspect="1"/>
          </p:cNvPicPr>
          <p:nvPr/>
        </p:nvPicPr>
        <p:blipFill rotWithShape="1">
          <a:blip r:embed="rId12" cstate="email">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399316" y="3656147"/>
            <a:ext cx="612042" cy="918063"/>
          </a:xfrm>
          <a:prstGeom prst="rect">
            <a:avLst/>
          </a:prstGeom>
        </p:spPr>
      </p:pic>
      <p:sp>
        <p:nvSpPr>
          <p:cNvPr id="26" name="Rectangle 25">
            <a:extLst>
              <a:ext uri="{FF2B5EF4-FFF2-40B4-BE49-F238E27FC236}">
                <a16:creationId xmlns:a16="http://schemas.microsoft.com/office/drawing/2014/main" id="{582099D6-DF58-4C6D-B98E-BDC9149BA28F}"/>
              </a:ext>
            </a:extLst>
          </p:cNvPr>
          <p:cNvSpPr/>
          <p:nvPr/>
        </p:nvSpPr>
        <p:spPr>
          <a:xfrm>
            <a:off x="5399316" y="3671535"/>
            <a:ext cx="274320" cy="215444"/>
          </a:xfrm>
          <a:prstGeom prst="rect">
            <a:avLst/>
          </a:prstGeom>
          <a:solidFill>
            <a:schemeClr val="bg1"/>
          </a:solidFill>
        </p:spPr>
        <p:txBody>
          <a:bodyPr wrap="square" lIns="0" tIns="0" rIns="0" bIns="0" anchor="ctr">
            <a:spAutoFit/>
          </a:bodyPr>
          <a:lstStyle/>
          <a:p>
            <a:pPr marL="91440" marR="0" lvl="1"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DC6"/>
                </a:solidFill>
                <a:effectLst/>
                <a:uLnTx/>
                <a:uFillTx/>
                <a:ea typeface="Microsoft YaHei"/>
                <a:cs typeface="Calibri" panose="020F0502020204030204" pitchFamily="34" charset="0"/>
              </a:rPr>
              <a:t>2</a:t>
            </a:r>
          </a:p>
        </p:txBody>
      </p:sp>
      <p:pic>
        <p:nvPicPr>
          <p:cNvPr id="27" name="Picture 26">
            <a:extLst>
              <a:ext uri="{FF2B5EF4-FFF2-40B4-BE49-F238E27FC236}">
                <a16:creationId xmlns:a16="http://schemas.microsoft.com/office/drawing/2014/main" id="{F89F5DCE-679E-4BA9-A3F4-B2517072F5A1}"/>
              </a:ext>
            </a:extLst>
          </p:cNvPr>
          <p:cNvPicPr>
            <a:picLocks noChangeAspect="1"/>
          </p:cNvPicPr>
          <p:nvPr/>
        </p:nvPicPr>
        <p:blipFill rotWithShape="1">
          <a:blip r:embed="rId13" cstate="email">
            <a:grayscl/>
            <a:extLst>
              <a:ext uri="{28A0092B-C50C-407E-A947-70E740481C1C}">
                <a14:useLocalDpi xmlns:a14="http://schemas.microsoft.com/office/drawing/2010/main" val="0"/>
              </a:ext>
            </a:extLst>
          </a:blip>
          <a:srcRect/>
          <a:stretch/>
        </p:blipFill>
        <p:spPr>
          <a:xfrm>
            <a:off x="6088621" y="3656147"/>
            <a:ext cx="619822" cy="918063"/>
          </a:xfrm>
          <a:prstGeom prst="rect">
            <a:avLst/>
          </a:prstGeom>
        </p:spPr>
      </p:pic>
      <p:sp>
        <p:nvSpPr>
          <p:cNvPr id="28" name="Rectangle 27">
            <a:extLst>
              <a:ext uri="{FF2B5EF4-FFF2-40B4-BE49-F238E27FC236}">
                <a16:creationId xmlns:a16="http://schemas.microsoft.com/office/drawing/2014/main" id="{C9CE7281-5A73-40BF-8ABA-88FC4018590D}"/>
              </a:ext>
            </a:extLst>
          </p:cNvPr>
          <p:cNvSpPr/>
          <p:nvPr/>
        </p:nvSpPr>
        <p:spPr>
          <a:xfrm>
            <a:off x="6088621" y="3671535"/>
            <a:ext cx="274320" cy="215444"/>
          </a:xfrm>
          <a:prstGeom prst="rect">
            <a:avLst/>
          </a:prstGeom>
          <a:solidFill>
            <a:schemeClr val="bg1"/>
          </a:solidFill>
        </p:spPr>
        <p:txBody>
          <a:bodyPr wrap="square" lIns="0" tIns="0" rIns="0" bIns="0" anchor="ctr">
            <a:spAutoFit/>
          </a:bodyPr>
          <a:lstStyle/>
          <a:p>
            <a:pPr marL="91440" marR="0" lvl="1"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ea typeface="Microsoft YaHei"/>
                <a:cs typeface="Calibri" panose="020F0502020204030204" pitchFamily="34" charset="0"/>
              </a:rPr>
              <a:t>5</a:t>
            </a:r>
          </a:p>
        </p:txBody>
      </p:sp>
      <p:pic>
        <p:nvPicPr>
          <p:cNvPr id="29" name="Picture 28">
            <a:extLst>
              <a:ext uri="{FF2B5EF4-FFF2-40B4-BE49-F238E27FC236}">
                <a16:creationId xmlns:a16="http://schemas.microsoft.com/office/drawing/2014/main" id="{9F28F457-825C-4CF3-A796-0280F3C0BAC1}"/>
              </a:ext>
            </a:extLst>
          </p:cNvPr>
          <p:cNvPicPr>
            <a:picLocks noChangeAspect="1"/>
          </p:cNvPicPr>
          <p:nvPr/>
        </p:nvPicPr>
        <p:blipFill rotWithShape="1">
          <a:blip r:embed="rId14" cstate="email">
            <a:duotone>
              <a:prstClr val="black"/>
              <a:schemeClr val="accent3">
                <a:tint val="45000"/>
                <a:satMod val="400000"/>
              </a:schemeClr>
            </a:duotone>
            <a:extLst>
              <a:ext uri="{28A0092B-C50C-407E-A947-70E740481C1C}">
                <a14:useLocalDpi xmlns:a14="http://schemas.microsoft.com/office/drawing/2010/main" val="0"/>
              </a:ext>
            </a:extLst>
          </a:blip>
          <a:srcRect/>
          <a:stretch/>
        </p:blipFill>
        <p:spPr>
          <a:xfrm>
            <a:off x="6780363" y="3656147"/>
            <a:ext cx="612042" cy="918063"/>
          </a:xfrm>
          <a:prstGeom prst="rect">
            <a:avLst/>
          </a:prstGeom>
        </p:spPr>
      </p:pic>
      <p:sp>
        <p:nvSpPr>
          <p:cNvPr id="30" name="Rectangle 29">
            <a:extLst>
              <a:ext uri="{FF2B5EF4-FFF2-40B4-BE49-F238E27FC236}">
                <a16:creationId xmlns:a16="http://schemas.microsoft.com/office/drawing/2014/main" id="{8970EA70-B47F-470B-A795-F164E09A59B1}"/>
              </a:ext>
            </a:extLst>
          </p:cNvPr>
          <p:cNvSpPr/>
          <p:nvPr/>
        </p:nvSpPr>
        <p:spPr>
          <a:xfrm>
            <a:off x="6780363" y="3671535"/>
            <a:ext cx="274320" cy="215444"/>
          </a:xfrm>
          <a:prstGeom prst="rect">
            <a:avLst/>
          </a:prstGeom>
          <a:solidFill>
            <a:schemeClr val="bg1"/>
          </a:solidFill>
        </p:spPr>
        <p:txBody>
          <a:bodyPr wrap="square" lIns="0" tIns="0" rIns="0" bIns="0" anchor="ctr">
            <a:spAutoFit/>
          </a:bodyPr>
          <a:lstStyle/>
          <a:p>
            <a:pPr marL="91440" marR="0" lvl="1"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67C2B"/>
                </a:solidFill>
                <a:effectLst/>
                <a:uLnTx/>
                <a:uFillTx/>
                <a:ea typeface="Microsoft YaHei"/>
                <a:cs typeface="Calibri" panose="020F0502020204030204" pitchFamily="34" charset="0"/>
              </a:rPr>
              <a:t>6</a:t>
            </a:r>
          </a:p>
        </p:txBody>
      </p:sp>
      <p:sp>
        <p:nvSpPr>
          <p:cNvPr id="31" name="TextBox 30">
            <a:extLst>
              <a:ext uri="{FF2B5EF4-FFF2-40B4-BE49-F238E27FC236}">
                <a16:creationId xmlns:a16="http://schemas.microsoft.com/office/drawing/2014/main" id="{F6AD8CC4-F108-4787-8CED-AB2BD311EC3E}"/>
              </a:ext>
            </a:extLst>
          </p:cNvPr>
          <p:cNvSpPr txBox="1"/>
          <p:nvPr/>
        </p:nvSpPr>
        <p:spPr>
          <a:xfrm>
            <a:off x="8456026" y="1562224"/>
            <a:ext cx="3483426" cy="4401205"/>
          </a:xfrm>
          <a:prstGeom prst="rect">
            <a:avLst/>
          </a:prstGeom>
          <a:noFill/>
          <a:ln w="9525">
            <a:noFill/>
            <a:miter lim="800000"/>
            <a:headEnd/>
            <a:tailEnd/>
          </a:ln>
          <a:effectLst/>
        </p:spPr>
        <p:txBody>
          <a:bodyPr vert="horz" wrap="square" lIns="0" tIns="60960" rIns="0" bIns="60960" numCol="1" anchor="t" anchorCtr="0" compatLnSpc="1">
            <a:prstTxWarp prst="textNoShape">
              <a:avLst/>
            </a:prstTxWarp>
            <a:spAutoFit/>
          </a:bodyPr>
          <a:lstStyle>
            <a:lvl1pPr>
              <a:defRPr sz="2000" b="0">
                <a:solidFill>
                  <a:schemeClr val="tx2"/>
                </a:solidFill>
                <a:latin typeface="Century Gothic" panose="020B0502020202020204" pitchFamily="34" charset="0"/>
                <a:ea typeface="Lato Light" panose="020F0502020204030203" pitchFamily="34" charset="0"/>
                <a:cs typeface="Lato Light" panose="020F0502020204030203" pitchFamily="34" charset="0"/>
              </a:defRPr>
            </a:lvl1pPr>
            <a:lvl2pPr>
              <a:defRPr b="1">
                <a:solidFill>
                  <a:schemeClr val="accent2"/>
                </a:solidFill>
                <a:ea typeface="ＭＳ Ｐゴシック" charset="-128"/>
              </a:defRPr>
            </a:lvl2pPr>
            <a:lvl3pPr>
              <a:defRPr b="1">
                <a:solidFill>
                  <a:schemeClr val="accent2"/>
                </a:solidFill>
                <a:ea typeface="ＭＳ Ｐゴシック" charset="-128"/>
              </a:defRPr>
            </a:lvl3pPr>
            <a:lvl4pPr>
              <a:defRPr b="1">
                <a:solidFill>
                  <a:schemeClr val="accent2"/>
                </a:solidFill>
                <a:ea typeface="ＭＳ Ｐゴシック" charset="-128"/>
              </a:defRPr>
            </a:lvl4pPr>
            <a:lvl5pPr>
              <a:defRPr b="1">
                <a:solidFill>
                  <a:schemeClr val="accent2"/>
                </a:solidFill>
                <a:ea typeface="ＭＳ Ｐゴシック" charset="-128"/>
              </a:defRPr>
            </a:lvl5pPr>
            <a:lvl6pPr marL="457200" fontAlgn="base">
              <a:spcBef>
                <a:spcPct val="0"/>
              </a:spcBef>
              <a:spcAft>
                <a:spcPct val="0"/>
              </a:spcAft>
              <a:defRPr b="1">
                <a:solidFill>
                  <a:schemeClr val="accent2"/>
                </a:solidFill>
                <a:ea typeface="ＭＳ Ｐゴシック" charset="-128"/>
              </a:defRPr>
            </a:lvl6pPr>
            <a:lvl7pPr marL="914400" fontAlgn="base">
              <a:spcBef>
                <a:spcPct val="0"/>
              </a:spcBef>
              <a:spcAft>
                <a:spcPct val="0"/>
              </a:spcAft>
              <a:defRPr b="1">
                <a:solidFill>
                  <a:schemeClr val="accent2"/>
                </a:solidFill>
                <a:ea typeface="ＭＳ Ｐゴシック" charset="-128"/>
              </a:defRPr>
            </a:lvl7pPr>
            <a:lvl8pPr marL="1371600" fontAlgn="base">
              <a:spcBef>
                <a:spcPct val="0"/>
              </a:spcBef>
              <a:spcAft>
                <a:spcPct val="0"/>
              </a:spcAft>
              <a:defRPr b="1">
                <a:solidFill>
                  <a:schemeClr val="accent2"/>
                </a:solidFill>
                <a:ea typeface="ＭＳ Ｐゴシック" charset="-128"/>
              </a:defRPr>
            </a:lvl8pPr>
            <a:lvl9pPr marL="1828800" fontAlgn="base">
              <a:spcBef>
                <a:spcPct val="0"/>
              </a:spcBef>
              <a:spcAft>
                <a:spcPct val="0"/>
              </a:spcAft>
              <a:defRPr b="1">
                <a:solidFill>
                  <a:schemeClr val="accent2"/>
                </a:solidFill>
                <a:ea typeface="ＭＳ Ｐゴシック" charset="-128"/>
              </a:defRPr>
            </a:lvl9pPr>
          </a:lstStyle>
          <a:p>
            <a:pPr marL="0" marR="0" lvl="1" indent="0" algn="l" defTabSz="914400" rtl="0" eaLnBrk="1" fontAlgn="auto" latinLnBrk="0" hangingPunct="1">
              <a:lnSpc>
                <a:spcPct val="100000"/>
              </a:lnSpc>
              <a:spcBef>
                <a:spcPts val="0"/>
              </a:spcBef>
              <a:spcAft>
                <a:spcPts val="1200"/>
              </a:spcAft>
              <a:buClrTx/>
              <a:buSzPct val="100000"/>
              <a:buFontTx/>
              <a:buNone/>
              <a:tabLst>
                <a:tab pos="115888" algn="l"/>
              </a:tabLst>
              <a:defRPr/>
            </a:pPr>
            <a:r>
              <a:rPr kumimoji="0" lang="en-US" sz="1400" b="0" i="1" u="none" strike="noStrike" kern="1200" cap="none" spc="0" normalizeH="0" baseline="0" noProof="0" dirty="0">
                <a:ln>
                  <a:noFill/>
                </a:ln>
                <a:solidFill>
                  <a:prstClr val="black"/>
                </a:solidFill>
                <a:effectLst/>
                <a:uLnTx/>
                <a:uFillTx/>
                <a:ea typeface="ＭＳ Ｐゴシック" charset="-128"/>
                <a:cs typeface="Calibri" panose="020F0502020204030204" pitchFamily="34" charset="0"/>
              </a:rPr>
              <a:t>We will go deep in… </a:t>
            </a:r>
            <a:br>
              <a:rPr kumimoji="0" lang="en-US" sz="1400" b="0" i="0" u="none" strike="noStrike" kern="1200" cap="none" spc="0" normalizeH="0" baseline="0" noProof="0" dirty="0">
                <a:ln>
                  <a:noFill/>
                </a:ln>
                <a:solidFill>
                  <a:prstClr val="black"/>
                </a:solidFill>
                <a:effectLst/>
                <a:uLnTx/>
                <a:uFillTx/>
                <a:ea typeface="ＭＳ Ｐゴシック" charset="-128"/>
                <a:cs typeface="Calibri" panose="020F0502020204030204" pitchFamily="34" charset="0"/>
              </a:rPr>
            </a:br>
            <a:r>
              <a:rPr kumimoji="0" lang="en-US" sz="1400" b="0" i="0" u="none" strike="noStrike" kern="1200" cap="none" spc="0" normalizeH="0" baseline="0" noProof="0" dirty="0">
                <a:ln>
                  <a:noFill/>
                </a:ln>
                <a:solidFill>
                  <a:prstClr val="black"/>
                </a:solidFill>
                <a:effectLst/>
                <a:uLnTx/>
                <a:uFillTx/>
                <a:ea typeface="ＭＳ Ｐゴシック" charset="-128"/>
                <a:cs typeface="Calibri" panose="020F0502020204030204" pitchFamily="34" charset="0"/>
              </a:rPr>
              <a:t>  </a:t>
            </a:r>
            <a:r>
              <a:rPr kumimoji="0" lang="en-US" sz="1400" b="1" i="0" u="none" strike="noStrike" kern="1200" cap="none" spc="0" normalizeH="0" baseline="0" noProof="0" dirty="0">
                <a:ln>
                  <a:noFill/>
                </a:ln>
                <a:solidFill>
                  <a:schemeClr val="accent1"/>
                </a:solidFill>
                <a:effectLst/>
                <a:uLnTx/>
                <a:uFillTx/>
                <a:ea typeface="ＭＳ Ｐゴシック" charset="-128"/>
                <a:cs typeface="Calibri" panose="020F0502020204030204" pitchFamily="34" charset="0"/>
              </a:rPr>
              <a:t>2. </a:t>
            </a:r>
            <a:r>
              <a:rPr kumimoji="0" lang="en-US" sz="1400" b="1" i="0" u="none" strike="noStrike" kern="1200" cap="none" spc="0" normalizeH="0" baseline="0" noProof="0" dirty="0">
                <a:ln>
                  <a:noFill/>
                </a:ln>
                <a:solidFill>
                  <a:schemeClr val="accent1"/>
                </a:solidFill>
                <a:effectLst/>
                <a:uLnTx/>
                <a:uFillTx/>
                <a:ea typeface="Microsoft YaHei"/>
                <a:cs typeface="Calibri" panose="020F0502020204030204" pitchFamily="34" charset="0"/>
              </a:rPr>
              <a:t>Basic medical services</a:t>
            </a:r>
            <a:br>
              <a:rPr kumimoji="0" lang="en-US" sz="1400" b="0" i="0" u="none" strike="noStrike" kern="1200" cap="none" spc="0" normalizeH="0" baseline="0" noProof="0" dirty="0">
                <a:ln>
                  <a:noFill/>
                </a:ln>
                <a:solidFill>
                  <a:schemeClr val="accent1"/>
                </a:solidFill>
                <a:effectLst/>
                <a:uLnTx/>
                <a:uFillTx/>
                <a:ea typeface="Microsoft YaHei"/>
                <a:cs typeface="Calibri" panose="020F0502020204030204" pitchFamily="34" charset="0"/>
              </a:rPr>
            </a:br>
            <a:r>
              <a:rPr kumimoji="0" lang="en-US" sz="1400" b="0" i="0" u="none" strike="noStrike" kern="1200" cap="none" spc="0" normalizeH="0" baseline="0" noProof="0" dirty="0">
                <a:ln>
                  <a:noFill/>
                </a:ln>
                <a:solidFill>
                  <a:schemeClr val="accent1"/>
                </a:solidFill>
                <a:effectLst/>
                <a:uLnTx/>
                <a:uFillTx/>
                <a:ea typeface="Microsoft YaHei"/>
                <a:cs typeface="Calibri" panose="020F0502020204030204" pitchFamily="34" charset="0"/>
              </a:rPr>
              <a:t>  </a:t>
            </a:r>
            <a:r>
              <a:rPr kumimoji="0" lang="en-US" sz="1400" b="1" i="0" u="none" strike="noStrike" kern="1200" cap="none" spc="0" normalizeH="0" baseline="0" noProof="0" dirty="0">
                <a:ln>
                  <a:noFill/>
                </a:ln>
                <a:solidFill>
                  <a:schemeClr val="accent1"/>
                </a:solidFill>
                <a:effectLst/>
                <a:uLnTx/>
                <a:uFillTx/>
                <a:ea typeface="Microsoft YaHei"/>
                <a:cs typeface="Calibri" panose="020F0502020204030204" pitchFamily="34" charset="0"/>
              </a:rPr>
              <a:t>5. Specialty healthcare services</a:t>
            </a:r>
            <a:br>
              <a:rPr kumimoji="0" lang="en-US" sz="1400" b="1" i="0" u="none" strike="noStrike" kern="1200" cap="none" spc="0" normalizeH="0" baseline="0" noProof="0" dirty="0">
                <a:ln>
                  <a:noFill/>
                </a:ln>
                <a:solidFill>
                  <a:srgbClr val="595959"/>
                </a:solidFill>
                <a:effectLst/>
                <a:uLnTx/>
                <a:uFillTx/>
                <a:ea typeface="Microsoft YaHei"/>
                <a:cs typeface="Calibri" panose="020F0502020204030204" pitchFamily="34" charset="0"/>
              </a:rPr>
            </a:br>
            <a:r>
              <a:rPr kumimoji="0" lang="en-US" sz="1400" b="0" i="0" u="none" strike="noStrike" kern="1200" cap="none" spc="0" normalizeH="0" baseline="0" noProof="0" dirty="0">
                <a:ln>
                  <a:noFill/>
                </a:ln>
                <a:solidFill>
                  <a:prstClr val="black"/>
                </a:solidFill>
                <a:effectLst/>
                <a:uLnTx/>
                <a:uFillTx/>
                <a:ea typeface="Microsoft YaHei"/>
                <a:cs typeface="Calibri" panose="020F0502020204030204" pitchFamily="34" charset="0"/>
              </a:rPr>
              <a:t>as critical value drivers in next 3-5 years</a:t>
            </a:r>
          </a:p>
          <a:p>
            <a:pPr marL="0" marR="0" lvl="1" indent="0" algn="l" defTabSz="914400" rtl="0" eaLnBrk="1" fontAlgn="auto" latinLnBrk="0" hangingPunct="1">
              <a:lnSpc>
                <a:spcPct val="100000"/>
              </a:lnSpc>
              <a:spcBef>
                <a:spcPts val="0"/>
              </a:spcBef>
              <a:spcAft>
                <a:spcPts val="1200"/>
              </a:spcAft>
              <a:buClrTx/>
              <a:buSzPct val="100000"/>
              <a:buFontTx/>
              <a:buNone/>
              <a:tabLst/>
              <a:defRPr/>
            </a:pPr>
            <a:endParaRPr kumimoji="0" lang="en-US" sz="1400" b="0" i="1" u="none" strike="noStrike" kern="1200" cap="none" spc="0" normalizeH="0" baseline="0" noProof="0" dirty="0">
              <a:ln>
                <a:noFill/>
              </a:ln>
              <a:solidFill>
                <a:prstClr val="black"/>
              </a:solidFill>
              <a:effectLst/>
              <a:uLnTx/>
              <a:uFillTx/>
              <a:ea typeface="Microsoft YaHei"/>
              <a:cs typeface="Calibri" panose="020F0502020204030204" pitchFamily="34" charset="0"/>
            </a:endParaRPr>
          </a:p>
          <a:p>
            <a:pPr marL="0" marR="0" lvl="1" indent="0" algn="l" defTabSz="914400" rtl="0" eaLnBrk="1" fontAlgn="auto" latinLnBrk="0" hangingPunct="1">
              <a:lnSpc>
                <a:spcPct val="100000"/>
              </a:lnSpc>
              <a:spcBef>
                <a:spcPts val="0"/>
              </a:spcBef>
              <a:spcAft>
                <a:spcPts val="1200"/>
              </a:spcAft>
              <a:buClrTx/>
              <a:buSzPct val="100000"/>
              <a:buFontTx/>
              <a:buNone/>
              <a:tabLst/>
              <a:defRPr/>
            </a:pPr>
            <a:r>
              <a:rPr kumimoji="0" lang="en-US" sz="1400" b="0" i="1" u="none" strike="noStrike" kern="1200" cap="none" spc="0" normalizeH="0" baseline="0" noProof="0" dirty="0">
                <a:ln>
                  <a:noFill/>
                </a:ln>
                <a:solidFill>
                  <a:prstClr val="black"/>
                </a:solidFill>
                <a:effectLst/>
                <a:uLnTx/>
                <a:uFillTx/>
                <a:ea typeface="Microsoft YaHei"/>
                <a:cs typeface="Calibri" panose="020F0502020204030204" pitchFamily="34" charset="0"/>
              </a:rPr>
              <a:t>We will seed for long-term growth in…</a:t>
            </a:r>
            <a:br>
              <a:rPr kumimoji="0" lang="en-US" sz="1400" b="0" i="0" u="none" strike="noStrike" kern="1200" cap="none" spc="0" normalizeH="0" baseline="0" noProof="0" dirty="0">
                <a:ln>
                  <a:noFill/>
                </a:ln>
                <a:solidFill>
                  <a:prstClr val="black"/>
                </a:solidFill>
                <a:effectLst/>
                <a:uLnTx/>
                <a:uFillTx/>
                <a:ea typeface="Microsoft YaHei"/>
                <a:cs typeface="Calibri" panose="020F0502020204030204" pitchFamily="34" charset="0"/>
              </a:rPr>
            </a:br>
            <a:r>
              <a:rPr kumimoji="0" lang="en-US" sz="1400" b="0" i="0" u="none" strike="noStrike" kern="1200" cap="none" spc="0" normalizeH="0" baseline="0" noProof="0" dirty="0">
                <a:ln>
                  <a:noFill/>
                </a:ln>
                <a:solidFill>
                  <a:schemeClr val="accent3"/>
                </a:solidFill>
                <a:effectLst/>
                <a:uLnTx/>
                <a:uFillTx/>
                <a:ea typeface="Microsoft YaHei"/>
                <a:cs typeface="Calibri" panose="020F0502020204030204" pitchFamily="34" charset="0"/>
              </a:rPr>
              <a:t>  </a:t>
            </a:r>
            <a:r>
              <a:rPr kumimoji="0" lang="en-US" sz="1400" b="1" i="0" u="none" strike="noStrike" kern="1200" cap="none" spc="0" normalizeH="0" baseline="0" noProof="0" dirty="0">
                <a:ln>
                  <a:noFill/>
                </a:ln>
                <a:solidFill>
                  <a:schemeClr val="accent3"/>
                </a:solidFill>
                <a:effectLst/>
                <a:uLnTx/>
                <a:uFillTx/>
                <a:ea typeface="ＭＳ Ｐゴシック" charset="-128"/>
                <a:cs typeface="Calibri" panose="020F0502020204030204" pitchFamily="34" charset="0"/>
              </a:rPr>
              <a:t>6. Connected health products</a:t>
            </a:r>
            <a:br>
              <a:rPr kumimoji="0" lang="en-US" sz="1400" b="1" i="0" u="none" strike="noStrike" kern="1200" cap="none" spc="0" normalizeH="0" baseline="0" noProof="0" dirty="0">
                <a:ln>
                  <a:noFill/>
                </a:ln>
                <a:solidFill>
                  <a:schemeClr val="accent3"/>
                </a:solidFill>
                <a:effectLst/>
                <a:uLnTx/>
                <a:uFillTx/>
                <a:ea typeface="ＭＳ Ｐゴシック" charset="-128"/>
                <a:cs typeface="Calibri" panose="020F0502020204030204" pitchFamily="34" charset="0"/>
              </a:rPr>
            </a:br>
            <a:r>
              <a:rPr kumimoji="0" lang="en-US" sz="1400" b="1" i="0" u="none" strike="noStrike" kern="1200" cap="none" spc="0" normalizeH="0" baseline="0" noProof="0" dirty="0">
                <a:ln>
                  <a:noFill/>
                </a:ln>
                <a:solidFill>
                  <a:schemeClr val="accent3"/>
                </a:solidFill>
                <a:effectLst/>
                <a:uLnTx/>
                <a:uFillTx/>
                <a:ea typeface="ＭＳ Ｐゴシック" charset="-128"/>
                <a:cs typeface="Calibri" panose="020F0502020204030204" pitchFamily="34" charset="0"/>
              </a:rPr>
              <a:t>  7. Financial management services</a:t>
            </a:r>
            <a:r>
              <a:rPr kumimoji="0" lang="en-US" sz="1400" b="0" i="0" u="none" strike="noStrike" kern="1200" cap="none" spc="0" normalizeH="0" baseline="0" noProof="0" dirty="0">
                <a:ln>
                  <a:noFill/>
                </a:ln>
                <a:solidFill>
                  <a:schemeClr val="accent3"/>
                </a:solidFill>
                <a:effectLst/>
                <a:uLnTx/>
                <a:uFillTx/>
                <a:ea typeface="ＭＳ Ｐゴシック" charset="-128"/>
                <a:cs typeface="Calibri" panose="020F0502020204030204" pitchFamily="34" charset="0"/>
              </a:rPr>
              <a:t> </a:t>
            </a:r>
            <a:br>
              <a:rPr kumimoji="0" lang="en-US" sz="1400" b="0" i="0" u="none" strike="noStrike" kern="1200" cap="none" spc="0" normalizeH="0" baseline="0" noProof="0" dirty="0">
                <a:ln>
                  <a:noFill/>
                </a:ln>
                <a:solidFill>
                  <a:prstClr val="black"/>
                </a:solidFill>
                <a:effectLst/>
                <a:uLnTx/>
                <a:uFillTx/>
                <a:ea typeface="ＭＳ Ｐゴシック" charset="-128"/>
                <a:cs typeface="Calibri" panose="020F0502020204030204" pitchFamily="34" charset="0"/>
              </a:rPr>
            </a:br>
            <a:r>
              <a:rPr kumimoji="0" lang="en-US" sz="1400" b="0" i="0" u="none" strike="noStrike" kern="1200" cap="none" spc="0" normalizeH="0" baseline="0" noProof="0" dirty="0">
                <a:ln>
                  <a:noFill/>
                </a:ln>
                <a:solidFill>
                  <a:prstClr val="black"/>
                </a:solidFill>
                <a:effectLst/>
                <a:uLnTx/>
                <a:uFillTx/>
                <a:ea typeface="ＭＳ Ｐゴシック" charset="-128"/>
                <a:cs typeface="Calibri" panose="020F0502020204030204" pitchFamily="34" charset="0"/>
              </a:rPr>
              <a:t>to radically innovate and differentiate in the market</a:t>
            </a:r>
          </a:p>
          <a:p>
            <a:pPr marL="0" marR="0" lvl="1" indent="0" algn="l" defTabSz="914400" rtl="0" eaLnBrk="1" fontAlgn="auto" latinLnBrk="0" hangingPunct="1">
              <a:lnSpc>
                <a:spcPct val="100000"/>
              </a:lnSpc>
              <a:spcBef>
                <a:spcPts val="0"/>
              </a:spcBef>
              <a:spcAft>
                <a:spcPts val="1200"/>
              </a:spcAft>
              <a:buClrTx/>
              <a:buSzPct val="100000"/>
              <a:buFontTx/>
              <a:buNone/>
              <a:tabLst/>
              <a:defRPr/>
            </a:pPr>
            <a:endParaRPr kumimoji="0" lang="en-US" sz="1400" b="0" i="0" u="none" strike="noStrike" kern="1200" cap="none" spc="0" normalizeH="0" baseline="0" noProof="0" dirty="0">
              <a:ln>
                <a:noFill/>
              </a:ln>
              <a:solidFill>
                <a:prstClr val="black"/>
              </a:solidFill>
              <a:effectLst/>
              <a:uLnTx/>
              <a:uFillTx/>
              <a:ea typeface="ＭＳ Ｐゴシック" charset="-128"/>
              <a:cs typeface="Calibri" panose="020F0502020204030204" pitchFamily="34" charset="0"/>
            </a:endParaRPr>
          </a:p>
          <a:p>
            <a:pPr marL="0" marR="0" lvl="1" indent="0" defTabSz="914400" rtl="0" eaLnBrk="1" fontAlgn="auto" latinLnBrk="0" hangingPunct="1">
              <a:lnSpc>
                <a:spcPct val="100000"/>
              </a:lnSpc>
              <a:spcBef>
                <a:spcPts val="0"/>
              </a:spcBef>
              <a:spcAft>
                <a:spcPts val="1200"/>
              </a:spcAft>
              <a:buClrTx/>
              <a:buSzPct val="100000"/>
              <a:buFontTx/>
              <a:buNone/>
              <a:tabLst/>
              <a:defRPr/>
            </a:pPr>
            <a:r>
              <a:rPr kumimoji="0" lang="en-US" sz="1400" b="0" i="1" u="none" strike="noStrike" kern="1200" cap="none" spc="0" normalizeH="0" baseline="0" noProof="0" dirty="0">
                <a:ln>
                  <a:noFill/>
                </a:ln>
                <a:solidFill>
                  <a:prstClr val="black"/>
                </a:solidFill>
                <a:effectLst/>
                <a:uLnTx/>
                <a:uFillTx/>
                <a:ea typeface="Microsoft YaHei"/>
                <a:cs typeface="Calibri" panose="020F0502020204030204" pitchFamily="34" charset="0"/>
              </a:rPr>
              <a:t>We will selectively play in…</a:t>
            </a:r>
            <a:br>
              <a:rPr kumimoji="0" lang="en-US" sz="1400" b="0" i="1" u="none" strike="noStrike" kern="1200" cap="none" spc="0" normalizeH="0" baseline="0" noProof="0" dirty="0">
                <a:ln>
                  <a:noFill/>
                </a:ln>
                <a:solidFill>
                  <a:prstClr val="black"/>
                </a:solidFill>
                <a:effectLst/>
                <a:uLnTx/>
                <a:uFillTx/>
                <a:ea typeface="Microsoft YaHei"/>
                <a:cs typeface="Calibri" panose="020F0502020204030204" pitchFamily="34" charset="0"/>
              </a:rPr>
            </a:br>
            <a:r>
              <a:rPr kumimoji="0" lang="en-US" sz="1400" b="0" i="1" u="none" strike="noStrike" kern="1200" cap="none" spc="0" normalizeH="0" baseline="0" noProof="0" dirty="0">
                <a:ln>
                  <a:noFill/>
                </a:ln>
                <a:solidFill>
                  <a:prstClr val="black"/>
                </a:solidFill>
                <a:effectLst/>
                <a:uLnTx/>
                <a:uFillTx/>
                <a:ea typeface="Microsoft YaHei"/>
                <a:cs typeface="Calibri" panose="020F0502020204030204" pitchFamily="34" charset="0"/>
              </a:rPr>
              <a:t>  </a:t>
            </a:r>
            <a:r>
              <a:rPr kumimoji="0" lang="en-US" sz="1400" b="1" i="0" u="none" strike="noStrike" kern="1200" cap="none" spc="0" normalizeH="0" baseline="0" noProof="0" dirty="0">
                <a:ln>
                  <a:noFill/>
                </a:ln>
                <a:effectLst/>
                <a:uLnTx/>
                <a:uFillTx/>
                <a:ea typeface="ＭＳ Ｐゴシック" charset="-128"/>
                <a:cs typeface="Calibri" panose="020F0502020204030204" pitchFamily="34" charset="0"/>
              </a:rPr>
              <a:t>3. Diagnostic services</a:t>
            </a:r>
            <a:br>
              <a:rPr kumimoji="0" lang="en-US" sz="1400" b="0" i="0" u="none" strike="noStrike" kern="1200" cap="none" spc="0" normalizeH="0" baseline="0" noProof="0" dirty="0">
                <a:ln>
                  <a:noFill/>
                </a:ln>
                <a:solidFill>
                  <a:prstClr val="black"/>
                </a:solidFill>
                <a:effectLst/>
                <a:uLnTx/>
                <a:uFillTx/>
                <a:ea typeface="ＭＳ Ｐゴシック" charset="-128"/>
                <a:cs typeface="Calibri" panose="020F0502020204030204" pitchFamily="34" charset="0"/>
              </a:rPr>
            </a:br>
            <a:r>
              <a:rPr kumimoji="0" lang="en-US" sz="1400" b="0" i="0" u="none" strike="noStrike" kern="1200" cap="none" spc="0" normalizeH="0" baseline="0" noProof="0" dirty="0">
                <a:ln>
                  <a:noFill/>
                </a:ln>
                <a:solidFill>
                  <a:prstClr val="black"/>
                </a:solidFill>
                <a:effectLst/>
                <a:uLnTx/>
                <a:uFillTx/>
                <a:ea typeface="ＭＳ Ｐゴシック" charset="-128"/>
                <a:cs typeface="Calibri" panose="020F0502020204030204" pitchFamily="34" charset="0"/>
              </a:rPr>
              <a:t>  </a:t>
            </a:r>
            <a:r>
              <a:rPr kumimoji="0" lang="en-US" sz="1400" b="1" i="0" u="none" strike="noStrike" kern="1200" cap="none" spc="0" normalizeH="0" baseline="0" noProof="0" dirty="0">
                <a:ln>
                  <a:noFill/>
                </a:ln>
                <a:effectLst/>
                <a:uLnTx/>
                <a:uFillTx/>
                <a:ea typeface="ＭＳ Ｐゴシック" charset="-128"/>
                <a:cs typeface="Calibri" panose="020F0502020204030204" pitchFamily="34" charset="0"/>
              </a:rPr>
              <a:t>4. Fitness &amp; nutrition services </a:t>
            </a:r>
            <a:br>
              <a:rPr kumimoji="0" lang="en-US" sz="1400" b="1" i="0" u="none" strike="noStrike" kern="1200" cap="none" spc="0" normalizeH="0" baseline="0" noProof="0" dirty="0">
                <a:ln>
                  <a:noFill/>
                </a:ln>
                <a:solidFill>
                  <a:srgbClr val="F47321"/>
                </a:solidFill>
                <a:effectLst/>
                <a:uLnTx/>
                <a:uFillTx/>
                <a:ea typeface="ＭＳ Ｐゴシック" charset="-128"/>
                <a:cs typeface="Calibri" panose="020F0502020204030204" pitchFamily="34" charset="0"/>
              </a:rPr>
            </a:br>
            <a:r>
              <a:rPr kumimoji="0" lang="en-US" sz="1400" b="0" i="0" u="none" strike="noStrike" kern="1200" cap="none" spc="0" normalizeH="0" baseline="0" noProof="0" dirty="0">
                <a:ln>
                  <a:noFill/>
                </a:ln>
                <a:solidFill>
                  <a:prstClr val="black"/>
                </a:solidFill>
                <a:effectLst/>
                <a:uLnTx/>
                <a:uFillTx/>
                <a:ea typeface="ＭＳ Ｐゴシック" charset="-128"/>
                <a:cs typeface="Calibri" panose="020F0502020204030204" pitchFamily="34" charset="0"/>
              </a:rPr>
              <a:t>as they help build a comprehensive healthcare offering that would bring in knock-on revenue in stores and online</a:t>
            </a:r>
          </a:p>
        </p:txBody>
      </p:sp>
      <p:sp>
        <p:nvSpPr>
          <p:cNvPr id="32" name="Rectangle 31">
            <a:extLst>
              <a:ext uri="{FF2B5EF4-FFF2-40B4-BE49-F238E27FC236}">
                <a16:creationId xmlns:a16="http://schemas.microsoft.com/office/drawing/2014/main" id="{3356B490-5069-4F19-A082-EFEFB96F9538}"/>
              </a:ext>
            </a:extLst>
          </p:cNvPr>
          <p:cNvSpPr/>
          <p:nvPr/>
        </p:nvSpPr>
        <p:spPr>
          <a:xfrm>
            <a:off x="917811" y="4051543"/>
            <a:ext cx="2196957" cy="954107"/>
          </a:xfrm>
          <a:prstGeom prst="rect">
            <a:avLst/>
          </a:prstGeom>
        </p:spPr>
        <p:txBody>
          <a:bodyPr wrap="square">
            <a:spAutoFit/>
          </a:bodyPr>
          <a:lstStyle/>
          <a:p>
            <a:pPr marL="0" marR="0" lvl="1" indent="0" algn="r" defTabSz="914400" rtl="0" eaLnBrk="1" fontAlgn="auto" latinLnBrk="0" hangingPunct="1">
              <a:lnSpc>
                <a:spcPct val="100000"/>
              </a:lnSpc>
              <a:spcBef>
                <a:spcPts val="0"/>
              </a:spcBef>
              <a:spcAft>
                <a:spcPts val="1200"/>
              </a:spcAft>
              <a:buClrTx/>
              <a:buSzPct val="100000"/>
              <a:buFontTx/>
              <a:buNone/>
              <a:tabLst/>
              <a:defRPr/>
            </a:pPr>
            <a:r>
              <a:rPr kumimoji="0" lang="en-US" sz="1400" b="0" i="0" u="none" strike="noStrike" kern="1200" cap="none" spc="0" normalizeH="0" baseline="0" noProof="0" dirty="0">
                <a:ln>
                  <a:noFill/>
                </a:ln>
                <a:solidFill>
                  <a:prstClr val="black"/>
                </a:solidFill>
                <a:effectLst/>
                <a:uLnTx/>
                <a:uFillTx/>
                <a:ea typeface="Microsoft YaHei"/>
                <a:cs typeface="Calibri" panose="020F0502020204030204" pitchFamily="34" charset="0"/>
              </a:rPr>
              <a:t>We will </a:t>
            </a:r>
            <a:r>
              <a:rPr kumimoji="0" lang="en-US" sz="1400" b="0" i="1" u="none" strike="noStrike" kern="1200" cap="none" spc="0" normalizeH="0" baseline="0" noProof="0" dirty="0">
                <a:ln>
                  <a:noFill/>
                </a:ln>
                <a:solidFill>
                  <a:prstClr val="black"/>
                </a:solidFill>
                <a:effectLst/>
                <a:uLnTx/>
                <a:uFillTx/>
                <a:ea typeface="Microsoft YaHei"/>
                <a:cs typeface="Calibri" panose="020F0502020204030204" pitchFamily="34" charset="0"/>
              </a:rPr>
              <a:t>fix and defend </a:t>
            </a:r>
            <a:r>
              <a:rPr kumimoji="0" lang="en-US" sz="1400" b="0" i="0" u="none" strike="noStrike" kern="1200" cap="none" spc="0" normalizeH="0" baseline="0" noProof="0" dirty="0">
                <a:ln>
                  <a:noFill/>
                </a:ln>
                <a:solidFill>
                  <a:prstClr val="black"/>
                </a:solidFill>
                <a:effectLst/>
                <a:uLnTx/>
                <a:uFillTx/>
                <a:ea typeface="Microsoft YaHei"/>
                <a:cs typeface="Calibri" panose="020F0502020204030204" pitchFamily="34" charset="0"/>
              </a:rPr>
              <a:t>the core </a:t>
            </a:r>
            <a:r>
              <a:rPr kumimoji="0" lang="en-US" sz="1400" b="1" i="0" u="none" strike="noStrike" kern="1200" cap="none" spc="0" normalizeH="0" baseline="0" noProof="0" dirty="0">
                <a:ln>
                  <a:noFill/>
                </a:ln>
                <a:solidFill>
                  <a:prstClr val="black">
                    <a:lumMod val="50000"/>
                    <a:lumOff val="50000"/>
                  </a:prstClr>
                </a:solidFill>
                <a:effectLst/>
                <a:uLnTx/>
                <a:uFillTx/>
                <a:ea typeface="Microsoft YaHei"/>
                <a:cs typeface="Calibri" panose="020F0502020204030204" pitchFamily="34" charset="0"/>
              </a:rPr>
              <a:t>1. Medication &amp; well-being products </a:t>
            </a:r>
            <a:r>
              <a:rPr kumimoji="0" lang="en-US" sz="1400" b="0" i="0" u="none" strike="noStrike" kern="1200" cap="none" spc="0" normalizeH="0" baseline="0" noProof="0" dirty="0">
                <a:ln>
                  <a:noFill/>
                </a:ln>
                <a:solidFill>
                  <a:prstClr val="black"/>
                </a:solidFill>
                <a:effectLst/>
                <a:uLnTx/>
                <a:uFillTx/>
                <a:ea typeface="Microsoft YaHei"/>
                <a:cs typeface="Calibri" panose="020F0502020204030204" pitchFamily="34" charset="0"/>
              </a:rPr>
              <a:t>business to fund growth</a:t>
            </a:r>
          </a:p>
        </p:txBody>
      </p:sp>
      <p:cxnSp>
        <p:nvCxnSpPr>
          <p:cNvPr id="33" name="Straight Connector 32">
            <a:extLst>
              <a:ext uri="{FF2B5EF4-FFF2-40B4-BE49-F238E27FC236}">
                <a16:creationId xmlns:a16="http://schemas.microsoft.com/office/drawing/2014/main" id="{6471D9C5-880F-4BE0-A0DF-48DA01C7EBFD}"/>
              </a:ext>
            </a:extLst>
          </p:cNvPr>
          <p:cNvCxnSpPr>
            <a:cxnSpLocks/>
          </p:cNvCxnSpPr>
          <p:nvPr/>
        </p:nvCxnSpPr>
        <p:spPr>
          <a:xfrm>
            <a:off x="8368937" y="1552459"/>
            <a:ext cx="0" cy="4982923"/>
          </a:xfrm>
          <a:prstGeom prst="line">
            <a:avLst/>
          </a:prstGeom>
          <a:ln w="1905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36E0FF0-8CE9-498A-9428-71C57CB27BBF}"/>
              </a:ext>
            </a:extLst>
          </p:cNvPr>
          <p:cNvCxnSpPr>
            <a:cxnSpLocks/>
          </p:cNvCxnSpPr>
          <p:nvPr/>
        </p:nvCxnSpPr>
        <p:spPr>
          <a:xfrm>
            <a:off x="1062919" y="3982788"/>
            <a:ext cx="1757022" cy="0"/>
          </a:xfrm>
          <a:prstGeom prst="line">
            <a:avLst/>
          </a:prstGeom>
          <a:ln w="19050">
            <a:solidFill>
              <a:schemeClr val="tx1">
                <a:lumMod val="50000"/>
                <a:lumOff val="50000"/>
              </a:schemeClr>
            </a:solidFill>
            <a:prstDash val="sysDash"/>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636D225-4499-49B0-B26A-99E8F10B4E24}"/>
              </a:ext>
            </a:extLst>
          </p:cNvPr>
          <p:cNvCxnSpPr>
            <a:cxnSpLocks/>
          </p:cNvCxnSpPr>
          <p:nvPr/>
        </p:nvCxnSpPr>
        <p:spPr>
          <a:xfrm flipH="1">
            <a:off x="6749570" y="4791997"/>
            <a:ext cx="1593244" cy="0"/>
          </a:xfrm>
          <a:prstGeom prst="line">
            <a:avLst/>
          </a:prstGeom>
          <a:ln w="19050">
            <a:solidFill>
              <a:schemeClr val="tx1">
                <a:lumMod val="50000"/>
                <a:lumOff val="50000"/>
              </a:schemeClr>
            </a:solidFill>
            <a:prstDash val="sysDash"/>
            <a:headEnd type="none"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4604502"/>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01DC5BF6-8D62-40D9-A0FC-1EA97774F08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0164" name="think-cell Slide" r:id="rId6" imgW="395" imgH="396" progId="TCLayout.ActiveDocument.1">
                  <p:embed/>
                </p:oleObj>
              </mc:Choice>
              <mc:Fallback>
                <p:oleObj name="think-cell Slide" r:id="rId6" imgW="395" imgH="396" progId="TCLayout.ActiveDocument.1">
                  <p:embed/>
                  <p:pic>
                    <p:nvPicPr>
                      <p:cNvPr id="32" name="Object 31" hidden="1">
                        <a:extLst>
                          <a:ext uri="{FF2B5EF4-FFF2-40B4-BE49-F238E27FC236}">
                            <a16:creationId xmlns:a16="http://schemas.microsoft.com/office/drawing/2014/main" id="{01DC5BF6-8D62-40D9-A0FC-1EA97774F08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1" name="Rectangle 30" hidden="1">
            <a:extLst>
              <a:ext uri="{FF2B5EF4-FFF2-40B4-BE49-F238E27FC236}">
                <a16:creationId xmlns:a16="http://schemas.microsoft.com/office/drawing/2014/main" id="{336FBC54-B516-4AEA-95B8-AA9483293D9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93F26B0B-E483-49FF-B074-DD6C370C58E6}"/>
              </a:ext>
            </a:extLst>
          </p:cNvPr>
          <p:cNvSpPr>
            <a:spLocks noGrp="1"/>
          </p:cNvSpPr>
          <p:nvPr>
            <p:ph type="title"/>
          </p:nvPr>
        </p:nvSpPr>
        <p:spPr/>
        <p:txBody>
          <a:bodyPr/>
          <a:lstStyle/>
          <a:p>
            <a:r>
              <a:rPr lang="en-US" dirty="0"/>
              <a:t>Step 2: Measure Interactions</a:t>
            </a:r>
          </a:p>
        </p:txBody>
      </p:sp>
      <p:sp>
        <p:nvSpPr>
          <p:cNvPr id="3" name="Text Placeholder 2">
            <a:extLst>
              <a:ext uri="{FF2B5EF4-FFF2-40B4-BE49-F238E27FC236}">
                <a16:creationId xmlns:a16="http://schemas.microsoft.com/office/drawing/2014/main" id="{F5D62E5E-CF4B-4D16-805A-6D8EABFF55F1}"/>
              </a:ext>
            </a:extLst>
          </p:cNvPr>
          <p:cNvSpPr>
            <a:spLocks noGrp="1"/>
          </p:cNvSpPr>
          <p:nvPr>
            <p:ph type="body" sz="quarter" idx="14"/>
          </p:nvPr>
        </p:nvSpPr>
        <p:spPr>
          <a:xfrm>
            <a:off x="914721" y="1513567"/>
            <a:ext cx="10362880" cy="475488"/>
          </a:xfrm>
        </p:spPr>
        <p:txBody>
          <a:bodyPr/>
          <a:lstStyle/>
          <a:p>
            <a:r>
              <a:rPr lang="en-US" dirty="0"/>
              <a:t>Derive an expected value for each interaction based on both customer value opportunity and business value opportunity in line with Client’s priorities</a:t>
            </a:r>
          </a:p>
          <a:p>
            <a:endParaRPr lang="en-US" dirty="0"/>
          </a:p>
        </p:txBody>
      </p:sp>
      <p:sp>
        <p:nvSpPr>
          <p:cNvPr id="4" name="Text Placeholder 3">
            <a:extLst>
              <a:ext uri="{FF2B5EF4-FFF2-40B4-BE49-F238E27FC236}">
                <a16:creationId xmlns:a16="http://schemas.microsoft.com/office/drawing/2014/main" id="{20503CCF-96FB-424E-AA60-600637D4BA81}"/>
              </a:ext>
            </a:extLst>
          </p:cNvPr>
          <p:cNvSpPr>
            <a:spLocks noGrp="1"/>
          </p:cNvSpPr>
          <p:nvPr>
            <p:ph type="body" sz="quarter" idx="15"/>
          </p:nvPr>
        </p:nvSpPr>
        <p:spPr>
          <a:xfrm>
            <a:off x="914971" y="466343"/>
            <a:ext cx="3619322" cy="228599"/>
          </a:xfrm>
        </p:spPr>
        <p:txBody>
          <a:bodyPr/>
          <a:lstStyle/>
          <a:p>
            <a:r>
              <a:rPr lang="en-US" dirty="0"/>
              <a:t>FRAMEWORKS &amp; CONCEPT ILLUSTRATION</a:t>
            </a:r>
          </a:p>
        </p:txBody>
      </p:sp>
      <p:sp>
        <p:nvSpPr>
          <p:cNvPr id="5" name="Title 4">
            <a:extLst>
              <a:ext uri="{FF2B5EF4-FFF2-40B4-BE49-F238E27FC236}">
                <a16:creationId xmlns:a16="http://schemas.microsoft.com/office/drawing/2014/main" id="{BDE2146C-B9A0-4981-8EA4-117466F465AC}"/>
              </a:ext>
            </a:extLst>
          </p:cNvPr>
          <p:cNvSpPr txBox="1">
            <a:spLocks/>
          </p:cNvSpPr>
          <p:nvPr/>
        </p:nvSpPr>
        <p:spPr>
          <a:xfrm>
            <a:off x="501651" y="317500"/>
            <a:ext cx="11162349" cy="334101"/>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sp>
        <p:nvSpPr>
          <p:cNvPr id="6" name="Rounded Rectangle 53">
            <a:extLst>
              <a:ext uri="{FF2B5EF4-FFF2-40B4-BE49-F238E27FC236}">
                <a16:creationId xmlns:a16="http://schemas.microsoft.com/office/drawing/2014/main" id="{7D09FD42-9868-4BCE-BD1F-B50EB953F086}"/>
              </a:ext>
            </a:extLst>
          </p:cNvPr>
          <p:cNvSpPr>
            <a:spLocks/>
          </p:cNvSpPr>
          <p:nvPr/>
        </p:nvSpPr>
        <p:spPr>
          <a:xfrm>
            <a:off x="1620013" y="5306733"/>
            <a:ext cx="8951976" cy="871669"/>
          </a:xfrm>
          <a:prstGeom prst="roundRect">
            <a:avLst/>
          </a:prstGeom>
          <a:solidFill>
            <a:schemeClr val="accent4"/>
          </a:solidFill>
          <a:ln w="25400" cap="flat" cmpd="sng" algn="ctr">
            <a:noFill/>
            <a:prstDash val="solid"/>
          </a:ln>
          <a:effectLst/>
        </p:spPr>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lang="en-US" sz="1400" b="1" i="1" dirty="0">
                <a:solidFill>
                  <a:srgbClr val="FFFFFF"/>
                </a:solidFill>
                <a:ea typeface="Verdana" panose="020B0604030504040204" pitchFamily="34" charset="0"/>
                <a:cs typeface="Verdana" panose="020B0604030504040204" pitchFamily="34" charset="0"/>
              </a:rPr>
              <a:t>Client’s analytics org</a:t>
            </a:r>
            <a:r>
              <a:rPr kumimoji="0" lang="en-US" sz="1400" b="1" i="1"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 should calculate an expected Customer and Business value </a:t>
            </a:r>
            <a:br>
              <a:rPr kumimoji="0" lang="en-US" sz="1400" b="1" i="1"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br>
            <a:r>
              <a:rPr kumimoji="0" lang="en-US" sz="1400" b="1" i="1" u="none" strike="noStrike" kern="1200" cap="none" spc="0" normalizeH="0" baseline="0" noProof="0" dirty="0">
                <a:ln>
                  <a:noFill/>
                </a:ln>
                <a:solidFill>
                  <a:srgbClr val="FFFFFF"/>
                </a:solidFill>
                <a:effectLst/>
                <a:uLnTx/>
                <a:uFillTx/>
                <a:ea typeface="Verdana" panose="020B0604030504040204" pitchFamily="34" charset="0"/>
                <a:cs typeface="Verdana" panose="020B0604030504040204" pitchFamily="34" charset="0"/>
              </a:rPr>
              <a:t>to establish a standardized metric for prioritizing interactions</a:t>
            </a:r>
          </a:p>
        </p:txBody>
      </p:sp>
      <p:grpSp>
        <p:nvGrpSpPr>
          <p:cNvPr id="7" name="Group 6">
            <a:extLst>
              <a:ext uri="{FF2B5EF4-FFF2-40B4-BE49-F238E27FC236}">
                <a16:creationId xmlns:a16="http://schemas.microsoft.com/office/drawing/2014/main" id="{E193C9DE-ADCD-4E46-AA7F-32400A08B148}"/>
              </a:ext>
            </a:extLst>
          </p:cNvPr>
          <p:cNvGrpSpPr/>
          <p:nvPr/>
        </p:nvGrpSpPr>
        <p:grpSpPr>
          <a:xfrm>
            <a:off x="1435996" y="3574989"/>
            <a:ext cx="10390528" cy="1133644"/>
            <a:chOff x="1435995" y="3524365"/>
            <a:chExt cx="10390528" cy="1133644"/>
          </a:xfrm>
        </p:grpSpPr>
        <p:sp>
          <p:nvSpPr>
            <p:cNvPr id="8" name="TextBox 7">
              <a:extLst>
                <a:ext uri="{FF2B5EF4-FFF2-40B4-BE49-F238E27FC236}">
                  <a16:creationId xmlns:a16="http://schemas.microsoft.com/office/drawing/2014/main" id="{10061B17-C30F-4CD5-B2B1-F12C8FC43F77}"/>
                </a:ext>
              </a:extLst>
            </p:cNvPr>
            <p:cNvSpPr txBox="1">
              <a:spLocks/>
            </p:cNvSpPr>
            <p:nvPr/>
          </p:nvSpPr>
          <p:spPr>
            <a:xfrm>
              <a:off x="4195909" y="3524365"/>
              <a:ext cx="2625214" cy="96436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Pct val="100000"/>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Customer Satisfaction</a:t>
              </a:r>
            </a:p>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Harness information from the CX touchpoint survey to understand the level of customer satisfaction associated with each touchpoint</a:t>
              </a:r>
            </a:p>
          </p:txBody>
        </p:sp>
        <p:sp>
          <p:nvSpPr>
            <p:cNvPr id="9" name="TextBox 8">
              <a:extLst>
                <a:ext uri="{FF2B5EF4-FFF2-40B4-BE49-F238E27FC236}">
                  <a16:creationId xmlns:a16="http://schemas.microsoft.com/office/drawing/2014/main" id="{FB79F478-3A91-4E49-A971-CEBED6EAEBFF}"/>
                </a:ext>
              </a:extLst>
            </p:cNvPr>
            <p:cNvSpPr txBox="1">
              <a:spLocks/>
            </p:cNvSpPr>
            <p:nvPr/>
          </p:nvSpPr>
          <p:spPr>
            <a:xfrm>
              <a:off x="1435995" y="3524365"/>
              <a:ext cx="2634257" cy="1133644"/>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Pct val="100000"/>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Customer Importance</a:t>
              </a:r>
            </a:p>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Calculate importance of each touchpoint through the survey and/or by utilizing industry benchmarks and Client’s understanding of customer behavior</a:t>
              </a:r>
            </a:p>
          </p:txBody>
        </p:sp>
        <p:sp>
          <p:nvSpPr>
            <p:cNvPr id="10" name="TextBox 9">
              <a:extLst>
                <a:ext uri="{FF2B5EF4-FFF2-40B4-BE49-F238E27FC236}">
                  <a16:creationId xmlns:a16="http://schemas.microsoft.com/office/drawing/2014/main" id="{408F6DCF-44B4-45F9-9A84-F2B4E4085A05}"/>
                </a:ext>
              </a:extLst>
            </p:cNvPr>
            <p:cNvSpPr txBox="1">
              <a:spLocks/>
            </p:cNvSpPr>
            <p:nvPr/>
          </p:nvSpPr>
          <p:spPr>
            <a:xfrm>
              <a:off x="6883951" y="3524365"/>
              <a:ext cx="2455402" cy="96436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Pct val="100000"/>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Business Value of Interaction</a:t>
              </a:r>
            </a:p>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Leverage historical data and results to quantify the value of a customer response/action based on a touchpoint</a:t>
              </a:r>
            </a:p>
          </p:txBody>
        </p:sp>
        <p:sp>
          <p:nvSpPr>
            <p:cNvPr id="11" name="TextBox 10">
              <a:extLst>
                <a:ext uri="{FF2B5EF4-FFF2-40B4-BE49-F238E27FC236}">
                  <a16:creationId xmlns:a16="http://schemas.microsoft.com/office/drawing/2014/main" id="{980EAD59-4DEE-4AAD-B512-DB9C166E9A0F}"/>
                </a:ext>
              </a:extLst>
            </p:cNvPr>
            <p:cNvSpPr txBox="1">
              <a:spLocks/>
            </p:cNvSpPr>
            <p:nvPr/>
          </p:nvSpPr>
          <p:spPr>
            <a:xfrm>
              <a:off x="9402182" y="3524365"/>
              <a:ext cx="2424341" cy="96436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Pct val="100000"/>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Business Strategies</a:t>
              </a:r>
            </a:p>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Engage business partners and work with executive leadership to comprehend short- and long-term strategic priorities</a:t>
              </a:r>
            </a:p>
          </p:txBody>
        </p:sp>
      </p:grpSp>
      <p:sp>
        <p:nvSpPr>
          <p:cNvPr id="16" name="TextBox 15">
            <a:extLst>
              <a:ext uri="{FF2B5EF4-FFF2-40B4-BE49-F238E27FC236}">
                <a16:creationId xmlns:a16="http://schemas.microsoft.com/office/drawing/2014/main" id="{DE29D7E3-1FEA-4B51-BD04-CDE136361D9D}"/>
              </a:ext>
            </a:extLst>
          </p:cNvPr>
          <p:cNvSpPr txBox="1"/>
          <p:nvPr/>
        </p:nvSpPr>
        <p:spPr>
          <a:xfrm>
            <a:off x="1955321" y="2015582"/>
            <a:ext cx="10236679" cy="1231106"/>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8000" b="0" i="0" u="none" strike="noStrike" kern="1200" cap="none" spc="0" normalizeH="0" baseline="0" noProof="0" dirty="0">
                <a:ln>
                  <a:noFill/>
                </a:ln>
                <a:solidFill>
                  <a:srgbClr val="D0D0CE"/>
                </a:solidFill>
                <a:effectLst/>
                <a:uLnTx/>
                <a:uFillTx/>
                <a:ea typeface="+mn-ea"/>
                <a:cs typeface="+mn-cs"/>
              </a:rPr>
              <a:t>(				   +					)</a:t>
            </a:r>
          </a:p>
        </p:txBody>
      </p:sp>
      <p:sp>
        <p:nvSpPr>
          <p:cNvPr id="17" name="TextBox 16">
            <a:extLst>
              <a:ext uri="{FF2B5EF4-FFF2-40B4-BE49-F238E27FC236}">
                <a16:creationId xmlns:a16="http://schemas.microsoft.com/office/drawing/2014/main" id="{64215DE1-3E7C-4C03-A810-D65E55972645}"/>
              </a:ext>
            </a:extLst>
          </p:cNvPr>
          <p:cNvSpPr txBox="1"/>
          <p:nvPr/>
        </p:nvSpPr>
        <p:spPr>
          <a:xfrm>
            <a:off x="226539" y="2428700"/>
            <a:ext cx="1143794" cy="492443"/>
          </a:xfrm>
          <a:prstGeom prst="rect">
            <a:avLst/>
          </a:prstGeom>
          <a:noFill/>
        </p:spPr>
        <p:txBody>
          <a:bodyPr vert="horz" wrap="square" lIns="0" tIns="0" rIns="0" bIns="0" rtlCol="0">
            <a:spAutoFit/>
          </a:bodyPr>
          <a:lstStyle/>
          <a:p>
            <a:pPr marL="0" marR="0" lvl="0" indent="0" algn="r" defTabSz="914400" rtl="0" eaLnBrk="1" fontAlgn="auto" latinLnBrk="0" hangingPunct="1">
              <a:lnSpc>
                <a:spcPct val="100000"/>
              </a:lnSpc>
              <a:spcBef>
                <a:spcPts val="200"/>
              </a:spcBef>
              <a:spcAft>
                <a:spcPts val="0"/>
              </a:spcAft>
              <a:buClrTx/>
              <a:buSzPct val="100000"/>
              <a:buFontTx/>
              <a:buNone/>
              <a:tabLst/>
              <a:defRPr/>
            </a:pPr>
            <a:r>
              <a:rPr kumimoji="0" lang="en-US" sz="1600" b="0" i="0" u="none" strike="noStrike" kern="1200" cap="none" spc="0" normalizeH="0" baseline="0" noProof="0" dirty="0">
                <a:ln>
                  <a:noFill/>
                </a:ln>
                <a:solidFill>
                  <a:srgbClr val="75787B"/>
                </a:solidFill>
                <a:effectLst/>
                <a:uLnTx/>
                <a:uFillTx/>
                <a:ea typeface="+mn-ea"/>
                <a:cs typeface="+mn-cs"/>
              </a:rPr>
              <a:t>Expected Value</a:t>
            </a:r>
            <a:endParaRPr kumimoji="0" lang="en-US" sz="1200" b="0" i="0" u="none" strike="noStrike" kern="1200" cap="none" spc="0" normalizeH="0" baseline="0" noProof="0" dirty="0">
              <a:ln>
                <a:noFill/>
              </a:ln>
              <a:solidFill>
                <a:srgbClr val="75787B"/>
              </a:solidFill>
              <a:effectLst/>
              <a:uLnTx/>
              <a:uFillTx/>
              <a:ea typeface="+mn-ea"/>
              <a:cs typeface="+mn-cs"/>
            </a:endParaRPr>
          </a:p>
        </p:txBody>
      </p:sp>
      <p:sp>
        <p:nvSpPr>
          <p:cNvPr id="18" name="Rectangle 17">
            <a:extLst>
              <a:ext uri="{FF2B5EF4-FFF2-40B4-BE49-F238E27FC236}">
                <a16:creationId xmlns:a16="http://schemas.microsoft.com/office/drawing/2014/main" id="{A48848D8-1969-415E-A915-53459E4F60DA}"/>
              </a:ext>
            </a:extLst>
          </p:cNvPr>
          <p:cNvSpPr/>
          <p:nvPr/>
        </p:nvSpPr>
        <p:spPr bwMode="gray">
          <a:xfrm>
            <a:off x="2517059" y="2544543"/>
            <a:ext cx="3527126" cy="523601"/>
          </a:xfrm>
          <a:prstGeom prst="rect">
            <a:avLst/>
          </a:prstGeom>
          <a:solidFill>
            <a:schemeClr val="bg1"/>
          </a:solidFill>
          <a:ln w="19050" algn="ctr">
            <a:solidFill>
              <a:schemeClr val="accent3"/>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srgbClr val="62B5E5"/>
                </a:solidFill>
                <a:effectLst/>
                <a:uLnTx/>
                <a:uFillTx/>
                <a:ea typeface="+mn-ea"/>
                <a:cs typeface="+mn-cs"/>
              </a:rPr>
              <a:t>To what extent does this interaction bring satisfaction and value to the customer</a:t>
            </a:r>
          </a:p>
        </p:txBody>
      </p:sp>
      <p:sp>
        <p:nvSpPr>
          <p:cNvPr id="19" name="Rectangle 18">
            <a:extLst>
              <a:ext uri="{FF2B5EF4-FFF2-40B4-BE49-F238E27FC236}">
                <a16:creationId xmlns:a16="http://schemas.microsoft.com/office/drawing/2014/main" id="{AE9935A4-BFC7-41FB-A4F4-6CFCFADD9FAE}"/>
              </a:ext>
            </a:extLst>
          </p:cNvPr>
          <p:cNvSpPr/>
          <p:nvPr/>
        </p:nvSpPr>
        <p:spPr bwMode="gray">
          <a:xfrm>
            <a:off x="2517059" y="2312858"/>
            <a:ext cx="3527126" cy="231685"/>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prstClr val="white"/>
                </a:solidFill>
                <a:effectLst/>
                <a:uLnTx/>
                <a:uFillTx/>
                <a:ea typeface="+mn-ea"/>
                <a:cs typeface="+mn-cs"/>
              </a:rPr>
              <a:t>Customer Experience Opportunity</a:t>
            </a:r>
          </a:p>
        </p:txBody>
      </p:sp>
      <p:sp>
        <p:nvSpPr>
          <p:cNvPr id="20" name="Rectangle 19">
            <a:extLst>
              <a:ext uri="{FF2B5EF4-FFF2-40B4-BE49-F238E27FC236}">
                <a16:creationId xmlns:a16="http://schemas.microsoft.com/office/drawing/2014/main" id="{4D4400FB-1FE6-4106-A597-C22A19A2DB2B}"/>
              </a:ext>
            </a:extLst>
          </p:cNvPr>
          <p:cNvSpPr/>
          <p:nvPr/>
        </p:nvSpPr>
        <p:spPr bwMode="gray">
          <a:xfrm>
            <a:off x="7356792" y="2544543"/>
            <a:ext cx="3527126" cy="523601"/>
          </a:xfrm>
          <a:prstGeom prst="rect">
            <a:avLst/>
          </a:prstGeom>
          <a:solidFill>
            <a:schemeClr val="bg1"/>
          </a:solidFill>
          <a:ln w="19050"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srgbClr val="86BC25"/>
                </a:solidFill>
                <a:effectLst/>
                <a:uLnTx/>
                <a:uFillTx/>
                <a:ea typeface="+mn-ea"/>
                <a:cs typeface="+mn-cs"/>
              </a:rPr>
              <a:t>To what extent can the business gain value by improving this interaction</a:t>
            </a:r>
          </a:p>
        </p:txBody>
      </p:sp>
      <p:sp>
        <p:nvSpPr>
          <p:cNvPr id="21" name="Rectangle 20">
            <a:extLst>
              <a:ext uri="{FF2B5EF4-FFF2-40B4-BE49-F238E27FC236}">
                <a16:creationId xmlns:a16="http://schemas.microsoft.com/office/drawing/2014/main" id="{53D3E73C-23A7-4C46-9788-AC9F9FF277F5}"/>
              </a:ext>
            </a:extLst>
          </p:cNvPr>
          <p:cNvSpPr/>
          <p:nvPr/>
        </p:nvSpPr>
        <p:spPr bwMode="gray">
          <a:xfrm>
            <a:off x="7356792" y="2312858"/>
            <a:ext cx="3527126" cy="231685"/>
          </a:xfrm>
          <a:prstGeom prst="rect">
            <a:avLst/>
          </a:prstGeom>
          <a:solidFill>
            <a:schemeClr val="accent1"/>
          </a:solidFill>
          <a:ln w="19050"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prstClr val="white"/>
                </a:solidFill>
                <a:effectLst/>
                <a:uLnTx/>
                <a:uFillTx/>
                <a:ea typeface="+mn-ea"/>
                <a:cs typeface="+mn-cs"/>
              </a:rPr>
              <a:t>Business Opportunity</a:t>
            </a:r>
          </a:p>
        </p:txBody>
      </p:sp>
      <p:sp>
        <p:nvSpPr>
          <p:cNvPr id="22" name="TextBox 21">
            <a:extLst>
              <a:ext uri="{FF2B5EF4-FFF2-40B4-BE49-F238E27FC236}">
                <a16:creationId xmlns:a16="http://schemas.microsoft.com/office/drawing/2014/main" id="{6C4A7C72-93EB-4A7A-AB09-0E7A646F62F6}"/>
              </a:ext>
            </a:extLst>
          </p:cNvPr>
          <p:cNvSpPr txBox="1"/>
          <p:nvPr/>
        </p:nvSpPr>
        <p:spPr>
          <a:xfrm>
            <a:off x="1472875" y="2376696"/>
            <a:ext cx="1143794" cy="553998"/>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2800" b="0" i="0" u="none" strike="noStrike" kern="1200" cap="none" spc="0" normalizeH="0" baseline="0" noProof="0" dirty="0">
                <a:ln>
                  <a:noFill/>
                </a:ln>
                <a:solidFill>
                  <a:srgbClr val="D0D0CE"/>
                </a:solidFill>
                <a:effectLst/>
                <a:uLnTx/>
                <a:uFillTx/>
                <a:ea typeface="+mn-ea"/>
                <a:cs typeface="+mn-cs"/>
              </a:rPr>
              <a:t>= </a:t>
            </a:r>
            <a:r>
              <a:rPr kumimoji="0" lang="en-US" sz="3600" b="0" i="0" u="none" strike="noStrike" kern="1200" cap="none" spc="0" normalizeH="0" baseline="0" noProof="0" dirty="0">
                <a:ln>
                  <a:noFill/>
                </a:ln>
                <a:solidFill>
                  <a:srgbClr val="D0D0CE"/>
                </a:solidFill>
                <a:effectLst/>
                <a:uLnTx/>
                <a:uFillTx/>
                <a:ea typeface="+mn-ea"/>
                <a:cs typeface="+mn-cs"/>
              </a:rPr>
              <a:t>f</a:t>
            </a:r>
            <a:endParaRPr kumimoji="0" lang="en-US" sz="1200" b="0" i="0" u="none" strike="noStrike" kern="1200" cap="none" spc="0" normalizeH="0" baseline="0" noProof="0" dirty="0">
              <a:ln>
                <a:noFill/>
              </a:ln>
              <a:solidFill>
                <a:srgbClr val="D0D0CE"/>
              </a:solidFill>
              <a:effectLst/>
              <a:uLnTx/>
              <a:uFillTx/>
              <a:ea typeface="+mn-ea"/>
              <a:cs typeface="+mn-cs"/>
            </a:endParaRPr>
          </a:p>
        </p:txBody>
      </p:sp>
      <p:sp>
        <p:nvSpPr>
          <p:cNvPr id="23" name="TextBox 22">
            <a:extLst>
              <a:ext uri="{FF2B5EF4-FFF2-40B4-BE49-F238E27FC236}">
                <a16:creationId xmlns:a16="http://schemas.microsoft.com/office/drawing/2014/main" id="{8CCDD484-01FC-4B6D-9367-AFBB0E77E6CE}"/>
              </a:ext>
            </a:extLst>
          </p:cNvPr>
          <p:cNvSpPr txBox="1"/>
          <p:nvPr/>
        </p:nvSpPr>
        <p:spPr>
          <a:xfrm>
            <a:off x="9239193" y="1996233"/>
            <a:ext cx="2424808" cy="211083"/>
          </a:xfrm>
          <a:prstGeom prst="rect">
            <a:avLst/>
          </a:prstGeom>
          <a:ln>
            <a:noFill/>
          </a:ln>
        </p:spPr>
        <p:txBody>
          <a:bodyPr anchor="ctr"/>
          <a:lstStyle>
            <a:defPPr>
              <a:defRPr lang="en-US"/>
            </a:defPPr>
            <a:lvl1pPr marR="0" lvl="0" indent="0" fontAlgn="auto">
              <a:lnSpc>
                <a:spcPct val="85000"/>
              </a:lnSpc>
              <a:spcBef>
                <a:spcPts val="1000"/>
              </a:spcBef>
              <a:spcAft>
                <a:spcPts val="0"/>
              </a:spcAft>
              <a:buClr>
                <a:srgbClr val="0097A9"/>
              </a:buClr>
              <a:buSzPct val="75000"/>
              <a:buFont typeface="Wingdings" charset="2"/>
              <a:buNone/>
              <a:tabLst/>
              <a:defRPr kumimoji="0" sz="1600" b="0" i="1" u="none" strike="noStrike" cap="none" spc="0" normalizeH="0" baseline="0">
                <a:ln>
                  <a:noFill/>
                </a:ln>
                <a:solidFill>
                  <a:srgbClr val="000000"/>
                </a:solidFill>
                <a:effectLst/>
                <a:uLnTx/>
                <a:uFillTx/>
                <a:latin typeface="Calibri" panose="020F0502020204030204"/>
                <a:ea typeface="Chronicle Display Black" charset="0"/>
                <a:cs typeface="Chronicle Display Black" charset="0"/>
              </a:defRPr>
            </a:lvl1pPr>
            <a:lvl2pPr marL="685800" indent="-228600">
              <a:lnSpc>
                <a:spcPct val="100000"/>
              </a:lnSpc>
              <a:spcBef>
                <a:spcPts val="500"/>
              </a:spcBef>
              <a:buClr>
                <a:schemeClr val="accent5"/>
              </a:buClr>
              <a:buSzPct val="75000"/>
              <a:buFont typeface="Wingdings" charset="2"/>
              <a:buChar char="§"/>
              <a:defRPr>
                <a:solidFill>
                  <a:srgbClr val="3F3F3F"/>
                </a:solidFill>
              </a:defRPr>
            </a:lvl2pPr>
            <a:lvl3pPr marL="1143000" indent="-228600">
              <a:lnSpc>
                <a:spcPct val="100000"/>
              </a:lnSpc>
              <a:spcBef>
                <a:spcPts val="500"/>
              </a:spcBef>
              <a:buClr>
                <a:schemeClr val="accent5"/>
              </a:buClr>
              <a:buSzPct val="75000"/>
              <a:buFont typeface="Wingdings" charset="2"/>
              <a:buChar char="§"/>
              <a:defRPr sz="1600">
                <a:solidFill>
                  <a:srgbClr val="3F3F3F"/>
                </a:solidFill>
              </a:defRPr>
            </a:lvl3pPr>
            <a:lvl4pPr marL="1600200" indent="-228600">
              <a:lnSpc>
                <a:spcPct val="100000"/>
              </a:lnSpc>
              <a:spcBef>
                <a:spcPts val="500"/>
              </a:spcBef>
              <a:buClr>
                <a:schemeClr val="accent5"/>
              </a:buClr>
              <a:buSzPct val="75000"/>
              <a:buFont typeface="Wingdings" charset="2"/>
              <a:buChar char="§"/>
              <a:defRPr sz="1400">
                <a:solidFill>
                  <a:srgbClr val="3F3F3F"/>
                </a:solidFill>
              </a:defRPr>
            </a:lvl4pPr>
            <a:lvl5pPr marL="2057400" indent="-228600">
              <a:lnSpc>
                <a:spcPct val="100000"/>
              </a:lnSpc>
              <a:spcBef>
                <a:spcPts val="500"/>
              </a:spcBef>
              <a:buClr>
                <a:schemeClr val="accent5"/>
              </a:buClr>
              <a:buSzPct val="75000"/>
              <a:buFont typeface="Wingdings" charset="2"/>
              <a:buChar char="§"/>
              <a:defRPr sz="1400">
                <a:solidFill>
                  <a:srgbClr val="3F3F3F"/>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85000"/>
              </a:lnSpc>
              <a:spcBef>
                <a:spcPts val="1000"/>
              </a:spcBef>
              <a:spcAft>
                <a:spcPts val="0"/>
              </a:spcAft>
              <a:buClr>
                <a:srgbClr val="0097A9"/>
              </a:buClr>
              <a:buSzPct val="75000"/>
              <a:buFont typeface="Wingdings" charset="2"/>
              <a:buNone/>
              <a:tabLst/>
              <a:defRPr/>
            </a:pPr>
            <a:r>
              <a:rPr kumimoji="0" lang="en-US" sz="1200" b="0" i="1" u="none" strike="noStrike" kern="1200" cap="none" spc="0" normalizeH="0" baseline="0" noProof="0" dirty="0">
                <a:ln>
                  <a:noFill/>
                </a:ln>
                <a:solidFill>
                  <a:srgbClr val="000000"/>
                </a:solidFill>
                <a:effectLst/>
                <a:uLnTx/>
                <a:uFillTx/>
                <a:latin typeface="+mn-lt"/>
              </a:rPr>
              <a:t>Illustrative Formula</a:t>
            </a:r>
          </a:p>
        </p:txBody>
      </p:sp>
      <p:cxnSp>
        <p:nvCxnSpPr>
          <p:cNvPr id="24" name="Connector: Elbow 10">
            <a:extLst>
              <a:ext uri="{FF2B5EF4-FFF2-40B4-BE49-F238E27FC236}">
                <a16:creationId xmlns:a16="http://schemas.microsoft.com/office/drawing/2014/main" id="{0FCABAB2-C871-4517-9243-FABE0219D3E1}"/>
              </a:ext>
            </a:extLst>
          </p:cNvPr>
          <p:cNvCxnSpPr>
            <a:cxnSpLocks/>
          </p:cNvCxnSpPr>
          <p:nvPr/>
        </p:nvCxnSpPr>
        <p:spPr>
          <a:xfrm rot="5400000">
            <a:off x="3426383" y="2755501"/>
            <a:ext cx="481890" cy="1097280"/>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5" name="Connector: Elbow 26">
            <a:extLst>
              <a:ext uri="{FF2B5EF4-FFF2-40B4-BE49-F238E27FC236}">
                <a16:creationId xmlns:a16="http://schemas.microsoft.com/office/drawing/2014/main" id="{42059815-898E-4AAF-9E6F-6E29895C5FD5}"/>
              </a:ext>
            </a:extLst>
          </p:cNvPr>
          <p:cNvCxnSpPr>
            <a:cxnSpLocks/>
          </p:cNvCxnSpPr>
          <p:nvPr/>
        </p:nvCxnSpPr>
        <p:spPr>
          <a:xfrm rot="16200000" flipH="1">
            <a:off x="4536097" y="2743067"/>
            <a:ext cx="481890" cy="1122149"/>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6" name="Connector: Elbow 10">
            <a:extLst>
              <a:ext uri="{FF2B5EF4-FFF2-40B4-BE49-F238E27FC236}">
                <a16:creationId xmlns:a16="http://schemas.microsoft.com/office/drawing/2014/main" id="{68750325-7C0D-4DA0-91FE-1A6B7A357F05}"/>
              </a:ext>
            </a:extLst>
          </p:cNvPr>
          <p:cNvCxnSpPr>
            <a:cxnSpLocks/>
          </p:cNvCxnSpPr>
          <p:nvPr/>
        </p:nvCxnSpPr>
        <p:spPr>
          <a:xfrm rot="5400000">
            <a:off x="8289328" y="2755501"/>
            <a:ext cx="481890" cy="1097280"/>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B3E1ED45-1814-49AA-88E1-8AFBCB5189AF}"/>
              </a:ext>
            </a:extLst>
          </p:cNvPr>
          <p:cNvCxnSpPr>
            <a:cxnSpLocks/>
          </p:cNvCxnSpPr>
          <p:nvPr/>
        </p:nvCxnSpPr>
        <p:spPr>
          <a:xfrm rot="16200000" flipH="1">
            <a:off x="9399042" y="2743067"/>
            <a:ext cx="481890" cy="1122149"/>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4945594"/>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a:extLst>
              <a:ext uri="{FF2B5EF4-FFF2-40B4-BE49-F238E27FC236}">
                <a16:creationId xmlns:a16="http://schemas.microsoft.com/office/drawing/2014/main" id="{431665F0-ADD5-411E-B783-CEFEFF44B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1188" name="think-cell Slide" r:id="rId6" imgW="395" imgH="396" progId="TCLayout.ActiveDocument.1">
                  <p:embed/>
                </p:oleObj>
              </mc:Choice>
              <mc:Fallback>
                <p:oleObj name="think-cell Slide" r:id="rId6" imgW="395" imgH="396" progId="TCLayout.ActiveDocument.1">
                  <p:embed/>
                  <p:pic>
                    <p:nvPicPr>
                      <p:cNvPr id="41" name="Object 40" hidden="1">
                        <a:extLst>
                          <a:ext uri="{FF2B5EF4-FFF2-40B4-BE49-F238E27FC236}">
                            <a16:creationId xmlns:a16="http://schemas.microsoft.com/office/drawing/2014/main" id="{431665F0-ADD5-411E-B783-CEFEFF44BC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0" name="Rectangle 39" hidden="1">
            <a:extLst>
              <a:ext uri="{FF2B5EF4-FFF2-40B4-BE49-F238E27FC236}">
                <a16:creationId xmlns:a16="http://schemas.microsoft.com/office/drawing/2014/main" id="{86F15E96-0579-4CFC-A7AB-B8F8C34B67E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5B6F97FD-DFF0-45A5-BA1E-FCEE90E4F992}"/>
              </a:ext>
            </a:extLst>
          </p:cNvPr>
          <p:cNvSpPr>
            <a:spLocks noGrp="1"/>
          </p:cNvSpPr>
          <p:nvPr>
            <p:ph type="title"/>
          </p:nvPr>
        </p:nvSpPr>
        <p:spPr/>
        <p:txBody>
          <a:bodyPr/>
          <a:lstStyle/>
          <a:p>
            <a:r>
              <a:rPr lang="en-US" dirty="0"/>
              <a:t>Recommended future state operating model</a:t>
            </a:r>
          </a:p>
        </p:txBody>
      </p:sp>
      <p:sp>
        <p:nvSpPr>
          <p:cNvPr id="3" name="Text Placeholder 2">
            <a:extLst>
              <a:ext uri="{FF2B5EF4-FFF2-40B4-BE49-F238E27FC236}">
                <a16:creationId xmlns:a16="http://schemas.microsoft.com/office/drawing/2014/main" id="{3D3E57FE-9042-456C-8213-D7A0E59FE6BF}"/>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E2C61F87-7F4A-4728-8714-CF9FA5E8063F}"/>
              </a:ext>
            </a:extLst>
          </p:cNvPr>
          <p:cNvSpPr>
            <a:spLocks noGrp="1"/>
          </p:cNvSpPr>
          <p:nvPr>
            <p:ph type="body" sz="quarter" idx="15"/>
          </p:nvPr>
        </p:nvSpPr>
        <p:spPr>
          <a:xfrm>
            <a:off x="914970" y="466344"/>
            <a:ext cx="3591041" cy="196667"/>
          </a:xfrm>
        </p:spPr>
        <p:txBody>
          <a:bodyPr/>
          <a:lstStyle/>
          <a:p>
            <a:r>
              <a:rPr lang="en-US" dirty="0"/>
              <a:t>FRAMEWORKS &amp; CONCEPT ILLUSTRATION</a:t>
            </a:r>
          </a:p>
        </p:txBody>
      </p:sp>
      <p:sp>
        <p:nvSpPr>
          <p:cNvPr id="5" name="Rectangle 4">
            <a:extLst>
              <a:ext uri="{FF2B5EF4-FFF2-40B4-BE49-F238E27FC236}">
                <a16:creationId xmlns:a16="http://schemas.microsoft.com/office/drawing/2014/main" id="{EBA446BD-77DC-42CA-9A43-CF1C76381C6B}"/>
              </a:ext>
            </a:extLst>
          </p:cNvPr>
          <p:cNvSpPr/>
          <p:nvPr/>
        </p:nvSpPr>
        <p:spPr>
          <a:xfrm>
            <a:off x="469900" y="621139"/>
            <a:ext cx="11252200" cy="71493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dirty="0">
              <a:ln>
                <a:noFill/>
              </a:ln>
              <a:solidFill>
                <a:prstClr val="black"/>
              </a:solidFill>
              <a:effectLst/>
              <a:uLnTx/>
              <a:uFillTx/>
              <a:latin typeface="Calibri Light"/>
              <a:ea typeface="Microsoft YaHei"/>
              <a:cs typeface="Arial" panose="020B0604020202020204" pitchFamily="34" charset="0"/>
            </a:endParaRPr>
          </a:p>
        </p:txBody>
      </p:sp>
      <p:sp>
        <p:nvSpPr>
          <p:cNvPr id="6" name="Title 3">
            <a:extLst>
              <a:ext uri="{FF2B5EF4-FFF2-40B4-BE49-F238E27FC236}">
                <a16:creationId xmlns:a16="http://schemas.microsoft.com/office/drawing/2014/main" id="{1A3E755A-FF13-4A9A-A381-C809834EFA47}"/>
              </a:ext>
            </a:extLst>
          </p:cNvPr>
          <p:cNvSpPr txBox="1">
            <a:spLocks/>
          </p:cNvSpPr>
          <p:nvPr/>
        </p:nvSpPr>
        <p:spPr>
          <a:xfrm>
            <a:off x="508000" y="310114"/>
            <a:ext cx="10972800" cy="502766"/>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sp>
        <p:nvSpPr>
          <p:cNvPr id="42" name="Rectangle 41">
            <a:extLst>
              <a:ext uri="{FF2B5EF4-FFF2-40B4-BE49-F238E27FC236}">
                <a16:creationId xmlns:a16="http://schemas.microsoft.com/office/drawing/2014/main" id="{71ABA2EB-31DC-4D02-B992-EC37547DDC7A}"/>
              </a:ext>
            </a:extLst>
          </p:cNvPr>
          <p:cNvSpPr/>
          <p:nvPr/>
        </p:nvSpPr>
        <p:spPr>
          <a:xfrm>
            <a:off x="7120233" y="2149741"/>
            <a:ext cx="4415876" cy="2730064"/>
          </a:xfrm>
          <a:prstGeom prst="rect">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BEA694E0-DCFA-42C8-B4AC-B5AE884FBD17}"/>
              </a:ext>
            </a:extLst>
          </p:cNvPr>
          <p:cNvSpPr/>
          <p:nvPr/>
        </p:nvSpPr>
        <p:spPr>
          <a:xfrm>
            <a:off x="369285" y="2935292"/>
            <a:ext cx="6464134" cy="3465736"/>
          </a:xfrm>
          <a:prstGeom prst="rect">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45E98A42-9701-4645-9AC8-27FE8B5531DF}"/>
              </a:ext>
            </a:extLst>
          </p:cNvPr>
          <p:cNvSpPr/>
          <p:nvPr/>
        </p:nvSpPr>
        <p:spPr>
          <a:xfrm>
            <a:off x="369283" y="2583356"/>
            <a:ext cx="6464135" cy="376010"/>
          </a:xfrm>
          <a:prstGeom prst="rect">
            <a:avLst/>
          </a:prstGeom>
          <a:solidFill>
            <a:schemeClr val="accent3">
              <a:lumMod val="40000"/>
              <a:lumOff val="60000"/>
            </a:schemeClr>
          </a:solidFill>
          <a:ln w="19050">
            <a:solidFill>
              <a:schemeClr val="accent3">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576" tIns="45720" rIns="36576" bIns="45720" numCol="1" spcCol="0" rtlCol="0" fromWordArt="0" anchor="ctr" anchorCtr="1" forceAA="0" compatLnSpc="1">
            <a:prstTxWarp prst="textNoShape">
              <a:avLst/>
            </a:prstTxWarp>
            <a:noAutofit/>
          </a:bodyPr>
          <a:lstStyle/>
          <a:p>
            <a:pPr algn="ctr"/>
            <a:r>
              <a:rPr lang="en-US" sz="1200" b="1" dirty="0">
                <a:solidFill>
                  <a:schemeClr val="tx1"/>
                </a:solidFill>
              </a:rPr>
              <a:t>Creative Production</a:t>
            </a:r>
          </a:p>
        </p:txBody>
      </p:sp>
      <p:sp>
        <p:nvSpPr>
          <p:cNvPr id="45" name="TextBox 44">
            <a:extLst>
              <a:ext uri="{FF2B5EF4-FFF2-40B4-BE49-F238E27FC236}">
                <a16:creationId xmlns:a16="http://schemas.microsoft.com/office/drawing/2014/main" id="{0FD043AA-2558-433F-8C6A-805100E58789}"/>
              </a:ext>
            </a:extLst>
          </p:cNvPr>
          <p:cNvSpPr txBox="1"/>
          <p:nvPr/>
        </p:nvSpPr>
        <p:spPr>
          <a:xfrm>
            <a:off x="8831924" y="2267472"/>
            <a:ext cx="1117487" cy="169277"/>
          </a:xfrm>
          <a:prstGeom prst="rect">
            <a:avLst/>
          </a:prstGeom>
          <a:noFill/>
        </p:spPr>
        <p:txBody>
          <a:bodyPr wrap="square" lIns="0" tIns="0" rIns="0" bIns="0" rtlCol="0">
            <a:spAutoFit/>
          </a:bodyPr>
          <a:lstStyle/>
          <a:p>
            <a:pPr marL="0" algn="ctr"/>
            <a:r>
              <a:rPr lang="en-US" sz="1100" b="1" dirty="0"/>
              <a:t>DEVELOP</a:t>
            </a:r>
          </a:p>
        </p:txBody>
      </p:sp>
      <p:sp>
        <p:nvSpPr>
          <p:cNvPr id="46" name="TextBox 45">
            <a:extLst>
              <a:ext uri="{FF2B5EF4-FFF2-40B4-BE49-F238E27FC236}">
                <a16:creationId xmlns:a16="http://schemas.microsoft.com/office/drawing/2014/main" id="{4EA498A8-AC1C-4BCC-91E7-3BDEA2EBD51A}"/>
              </a:ext>
            </a:extLst>
          </p:cNvPr>
          <p:cNvSpPr txBox="1"/>
          <p:nvPr/>
        </p:nvSpPr>
        <p:spPr>
          <a:xfrm>
            <a:off x="1979050" y="3262380"/>
            <a:ext cx="1117487" cy="169277"/>
          </a:xfrm>
          <a:prstGeom prst="rect">
            <a:avLst/>
          </a:prstGeom>
          <a:noFill/>
        </p:spPr>
        <p:txBody>
          <a:bodyPr wrap="square" lIns="0" tIns="0" rIns="0" bIns="0" rtlCol="0">
            <a:spAutoFit/>
          </a:bodyPr>
          <a:lstStyle/>
          <a:p>
            <a:pPr marL="0" algn="ctr"/>
            <a:r>
              <a:rPr lang="en-US" sz="1100" b="1" dirty="0"/>
              <a:t>PRODUCE</a:t>
            </a:r>
          </a:p>
        </p:txBody>
      </p:sp>
      <p:grpSp>
        <p:nvGrpSpPr>
          <p:cNvPr id="47" name="Group 46">
            <a:extLst>
              <a:ext uri="{FF2B5EF4-FFF2-40B4-BE49-F238E27FC236}">
                <a16:creationId xmlns:a16="http://schemas.microsoft.com/office/drawing/2014/main" id="{1B89BE8E-B408-44B8-B21A-3A3E126E0649}"/>
              </a:ext>
            </a:extLst>
          </p:cNvPr>
          <p:cNvGrpSpPr/>
          <p:nvPr/>
        </p:nvGrpSpPr>
        <p:grpSpPr>
          <a:xfrm>
            <a:off x="1062705" y="3604131"/>
            <a:ext cx="2901647" cy="2545732"/>
            <a:chOff x="748073" y="3594192"/>
            <a:chExt cx="2901647" cy="2545732"/>
          </a:xfrm>
        </p:grpSpPr>
        <p:sp>
          <p:nvSpPr>
            <p:cNvPr id="48" name="Rectangle 47">
              <a:extLst>
                <a:ext uri="{FF2B5EF4-FFF2-40B4-BE49-F238E27FC236}">
                  <a16:creationId xmlns:a16="http://schemas.microsoft.com/office/drawing/2014/main" id="{4A458441-D311-403A-AE44-4EAEFA8F3139}"/>
                </a:ext>
              </a:extLst>
            </p:cNvPr>
            <p:cNvSpPr/>
            <p:nvPr/>
          </p:nvSpPr>
          <p:spPr>
            <a:xfrm>
              <a:off x="771015" y="5531538"/>
              <a:ext cx="1312134" cy="608386"/>
            </a:xfrm>
            <a:prstGeom prst="rect">
              <a:avLst/>
            </a:prstGeom>
            <a:solidFill>
              <a:srgbClr val="F2F2F2"/>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r>
                <a:rPr lang="en-US" sz="1000" b="1" dirty="0">
                  <a:solidFill>
                    <a:schemeClr val="tx1"/>
                  </a:solidFill>
                </a:rPr>
                <a:t>COPY WRITING &amp; EDITING</a:t>
              </a:r>
            </a:p>
          </p:txBody>
        </p:sp>
        <p:sp>
          <p:nvSpPr>
            <p:cNvPr id="49" name="Rectangle 48">
              <a:extLst>
                <a:ext uri="{FF2B5EF4-FFF2-40B4-BE49-F238E27FC236}">
                  <a16:creationId xmlns:a16="http://schemas.microsoft.com/office/drawing/2014/main" id="{D8E878DB-4842-4360-A464-B2D3EAFA2076}"/>
                </a:ext>
              </a:extLst>
            </p:cNvPr>
            <p:cNvSpPr/>
            <p:nvPr/>
          </p:nvSpPr>
          <p:spPr>
            <a:xfrm>
              <a:off x="2337586" y="4572616"/>
              <a:ext cx="1312134" cy="608386"/>
            </a:xfrm>
            <a:prstGeom prst="rect">
              <a:avLst/>
            </a:prstGeom>
            <a:gradFill>
              <a:gsLst>
                <a:gs pos="50000">
                  <a:srgbClr val="B9B9FF"/>
                </a:gs>
                <a:gs pos="50000">
                  <a:schemeClr val="bg1">
                    <a:lumMod val="95000"/>
                  </a:schemeClr>
                </a:gs>
              </a:gsLst>
              <a:lin ang="8100000" scaled="1"/>
            </a:gra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r>
                <a:rPr lang="en-US" sz="1000" b="1" dirty="0">
                  <a:solidFill>
                    <a:schemeClr val="tx1"/>
                  </a:solidFill>
                </a:rPr>
                <a:t>VIDEO / MULTIMEDIA PRODUCTION</a:t>
              </a:r>
            </a:p>
          </p:txBody>
        </p:sp>
        <p:sp>
          <p:nvSpPr>
            <p:cNvPr id="50" name="Rectangle 49">
              <a:extLst>
                <a:ext uri="{FF2B5EF4-FFF2-40B4-BE49-F238E27FC236}">
                  <a16:creationId xmlns:a16="http://schemas.microsoft.com/office/drawing/2014/main" id="{8AA56B52-2A1C-4CE8-9411-7A92DC80BF77}"/>
                </a:ext>
              </a:extLst>
            </p:cNvPr>
            <p:cNvSpPr/>
            <p:nvPr/>
          </p:nvSpPr>
          <p:spPr>
            <a:xfrm>
              <a:off x="748073" y="3594192"/>
              <a:ext cx="1312134" cy="608386"/>
            </a:xfrm>
            <a:prstGeom prst="rect">
              <a:avLst/>
            </a:prstGeom>
            <a:gradFill>
              <a:gsLst>
                <a:gs pos="67000">
                  <a:srgbClr val="B9B9FF"/>
                </a:gs>
                <a:gs pos="33000">
                  <a:schemeClr val="accent3">
                    <a:lumMod val="60000"/>
                    <a:lumOff val="40000"/>
                  </a:schemeClr>
                </a:gs>
                <a:gs pos="63000">
                  <a:schemeClr val="bg1">
                    <a:lumMod val="95000"/>
                  </a:schemeClr>
                </a:gs>
                <a:gs pos="33000">
                  <a:srgbClr val="F2F2F2"/>
                </a:gs>
              </a:gsLst>
              <a:lin ang="8100000" scaled="1"/>
            </a:gra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r>
                <a:rPr lang="en-US" sz="1000" b="1" dirty="0">
                  <a:solidFill>
                    <a:schemeClr val="tx1"/>
                  </a:solidFill>
                </a:rPr>
                <a:t>PHOTOGRAPHY</a:t>
              </a:r>
            </a:p>
          </p:txBody>
        </p:sp>
        <p:sp>
          <p:nvSpPr>
            <p:cNvPr id="51" name="Rectangle 50">
              <a:extLst>
                <a:ext uri="{FF2B5EF4-FFF2-40B4-BE49-F238E27FC236}">
                  <a16:creationId xmlns:a16="http://schemas.microsoft.com/office/drawing/2014/main" id="{C2D753C5-B4B6-4848-99CB-6903B1199F22}"/>
                </a:ext>
              </a:extLst>
            </p:cNvPr>
            <p:cNvSpPr/>
            <p:nvPr/>
          </p:nvSpPr>
          <p:spPr>
            <a:xfrm>
              <a:off x="752574" y="4572616"/>
              <a:ext cx="1312134" cy="608386"/>
            </a:xfrm>
            <a:prstGeom prst="rect">
              <a:avLst/>
            </a:prstGeom>
            <a:solidFill>
              <a:schemeClr val="accent3">
                <a:lumMod val="60000"/>
                <a:lumOff val="40000"/>
              </a:schemeClr>
            </a:solidFill>
            <a:ln w="12700">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r>
                <a:rPr lang="en-US" sz="1000" b="1" dirty="0">
                  <a:solidFill>
                    <a:schemeClr val="tx1"/>
                  </a:solidFill>
                </a:rPr>
                <a:t>RETOUCHING</a:t>
              </a:r>
            </a:p>
          </p:txBody>
        </p:sp>
        <p:sp>
          <p:nvSpPr>
            <p:cNvPr id="52" name="Rectangle 51">
              <a:extLst>
                <a:ext uri="{FF2B5EF4-FFF2-40B4-BE49-F238E27FC236}">
                  <a16:creationId xmlns:a16="http://schemas.microsoft.com/office/drawing/2014/main" id="{6D134EC9-FC22-4E28-B87A-58FCF432E574}"/>
                </a:ext>
              </a:extLst>
            </p:cNvPr>
            <p:cNvSpPr/>
            <p:nvPr/>
          </p:nvSpPr>
          <p:spPr>
            <a:xfrm>
              <a:off x="2337586" y="3594192"/>
              <a:ext cx="1312134" cy="608386"/>
            </a:xfrm>
            <a:prstGeom prst="rect">
              <a:avLst/>
            </a:prstGeom>
            <a:solidFill>
              <a:schemeClr val="accent3">
                <a:lumMod val="60000"/>
                <a:lumOff val="40000"/>
              </a:schemeClr>
            </a:solidFill>
            <a:ln w="12700">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r>
                <a:rPr lang="en-US" sz="1000" b="1" dirty="0">
                  <a:solidFill>
                    <a:schemeClr val="tx1"/>
                  </a:solidFill>
                </a:rPr>
                <a:t>VERSIONING</a:t>
              </a:r>
            </a:p>
          </p:txBody>
        </p:sp>
        <p:sp>
          <p:nvSpPr>
            <p:cNvPr id="53" name="Rectangle 52">
              <a:extLst>
                <a:ext uri="{FF2B5EF4-FFF2-40B4-BE49-F238E27FC236}">
                  <a16:creationId xmlns:a16="http://schemas.microsoft.com/office/drawing/2014/main" id="{8BDD7609-924E-4424-A915-C220BE81680E}"/>
                </a:ext>
              </a:extLst>
            </p:cNvPr>
            <p:cNvSpPr/>
            <p:nvPr/>
          </p:nvSpPr>
          <p:spPr>
            <a:xfrm>
              <a:off x="2337586" y="5531538"/>
              <a:ext cx="1312134" cy="608386"/>
            </a:xfrm>
            <a:prstGeom prst="rect">
              <a:avLst/>
            </a:prstGeom>
            <a:gradFill>
              <a:gsLst>
                <a:gs pos="50000">
                  <a:schemeClr val="accent3">
                    <a:lumMod val="60000"/>
                    <a:lumOff val="40000"/>
                  </a:schemeClr>
                </a:gs>
                <a:gs pos="50000">
                  <a:schemeClr val="bg1">
                    <a:lumMod val="95000"/>
                  </a:schemeClr>
                </a:gs>
              </a:gsLst>
              <a:lin ang="8100000" scaled="1"/>
            </a:gra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r>
                <a:rPr lang="en-US" sz="1000" b="1" dirty="0">
                  <a:solidFill>
                    <a:schemeClr val="tx1"/>
                  </a:solidFill>
                </a:rPr>
                <a:t>DIGITAL ASSET MANAGEMENT</a:t>
              </a:r>
            </a:p>
          </p:txBody>
        </p:sp>
      </p:grpSp>
      <p:grpSp>
        <p:nvGrpSpPr>
          <p:cNvPr id="54" name="Group 53">
            <a:extLst>
              <a:ext uri="{FF2B5EF4-FFF2-40B4-BE49-F238E27FC236}">
                <a16:creationId xmlns:a16="http://schemas.microsoft.com/office/drawing/2014/main" id="{70BC6D03-F178-4AE5-8653-10E406445164}"/>
              </a:ext>
            </a:extLst>
          </p:cNvPr>
          <p:cNvGrpSpPr/>
          <p:nvPr/>
        </p:nvGrpSpPr>
        <p:grpSpPr>
          <a:xfrm>
            <a:off x="7875551" y="2593430"/>
            <a:ext cx="3030233" cy="2108647"/>
            <a:chOff x="7875551" y="2096475"/>
            <a:chExt cx="3030233" cy="2108647"/>
          </a:xfrm>
        </p:grpSpPr>
        <p:sp>
          <p:nvSpPr>
            <p:cNvPr id="55" name="Rectangle 54">
              <a:extLst>
                <a:ext uri="{FF2B5EF4-FFF2-40B4-BE49-F238E27FC236}">
                  <a16:creationId xmlns:a16="http://schemas.microsoft.com/office/drawing/2014/main" id="{275F5FCE-94BA-4C48-81B2-55DA7ADB53DE}"/>
                </a:ext>
              </a:extLst>
            </p:cNvPr>
            <p:cNvSpPr/>
            <p:nvPr/>
          </p:nvSpPr>
          <p:spPr>
            <a:xfrm>
              <a:off x="7877921" y="2109822"/>
              <a:ext cx="1312134" cy="608386"/>
            </a:xfrm>
            <a:prstGeom prst="rect">
              <a:avLst/>
            </a:prstGeom>
            <a:solidFill>
              <a:srgbClr val="F2F2F2"/>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r>
                <a:rPr lang="en-US" sz="1000" b="1" dirty="0">
                  <a:solidFill>
                    <a:schemeClr val="tx1"/>
                  </a:solidFill>
                </a:rPr>
                <a:t>CREATIVE BRIEF DEVELOPMENT</a:t>
              </a:r>
            </a:p>
          </p:txBody>
        </p:sp>
        <p:sp>
          <p:nvSpPr>
            <p:cNvPr id="56" name="Rectangle 55">
              <a:extLst>
                <a:ext uri="{FF2B5EF4-FFF2-40B4-BE49-F238E27FC236}">
                  <a16:creationId xmlns:a16="http://schemas.microsoft.com/office/drawing/2014/main" id="{4A8B1A90-9E95-45A2-81C1-29E27EE9213D}"/>
                </a:ext>
              </a:extLst>
            </p:cNvPr>
            <p:cNvSpPr/>
            <p:nvPr/>
          </p:nvSpPr>
          <p:spPr>
            <a:xfrm>
              <a:off x="7875551" y="2853279"/>
              <a:ext cx="1312134" cy="608386"/>
            </a:xfrm>
            <a:prstGeom prst="rect">
              <a:avLst/>
            </a:prstGeom>
            <a:gradFill>
              <a:gsLst>
                <a:gs pos="50000">
                  <a:srgbClr val="B9B9FF"/>
                </a:gs>
                <a:gs pos="50000">
                  <a:schemeClr val="bg1">
                    <a:lumMod val="95000"/>
                  </a:schemeClr>
                </a:gs>
              </a:gsLst>
              <a:lin ang="8100000" scaled="1"/>
            </a:gra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r>
                <a:rPr lang="en-US" sz="1000" b="1" dirty="0">
                  <a:solidFill>
                    <a:schemeClr val="tx1"/>
                  </a:solidFill>
                </a:rPr>
                <a:t>TAB &amp; SIGNAGE LAYOUT DESIGN</a:t>
              </a:r>
            </a:p>
          </p:txBody>
        </p:sp>
        <p:sp>
          <p:nvSpPr>
            <p:cNvPr id="57" name="Rectangle 56">
              <a:extLst>
                <a:ext uri="{FF2B5EF4-FFF2-40B4-BE49-F238E27FC236}">
                  <a16:creationId xmlns:a16="http://schemas.microsoft.com/office/drawing/2014/main" id="{CFBF70F5-1EE5-4119-B058-4CB8CD7DAC79}"/>
                </a:ext>
              </a:extLst>
            </p:cNvPr>
            <p:cNvSpPr/>
            <p:nvPr/>
          </p:nvSpPr>
          <p:spPr>
            <a:xfrm>
              <a:off x="9593650" y="2846606"/>
              <a:ext cx="1312134" cy="608386"/>
            </a:xfrm>
            <a:prstGeom prst="rect">
              <a:avLst/>
            </a:prstGeom>
            <a:gradFill>
              <a:gsLst>
                <a:gs pos="67000">
                  <a:srgbClr val="B9B9FF"/>
                </a:gs>
                <a:gs pos="33000">
                  <a:schemeClr val="accent3">
                    <a:lumMod val="60000"/>
                    <a:lumOff val="40000"/>
                  </a:schemeClr>
                </a:gs>
                <a:gs pos="63000">
                  <a:schemeClr val="bg1">
                    <a:lumMod val="95000"/>
                  </a:schemeClr>
                </a:gs>
                <a:gs pos="33000">
                  <a:srgbClr val="F2F2F2"/>
                </a:gs>
              </a:gsLst>
              <a:lin ang="8100000" scaled="1"/>
            </a:gra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r>
                <a:rPr lang="en-US" sz="1000" b="1" dirty="0">
                  <a:solidFill>
                    <a:schemeClr val="tx1"/>
                  </a:solidFill>
                </a:rPr>
                <a:t>EMAIL LAYOUT DESIGN</a:t>
              </a:r>
            </a:p>
          </p:txBody>
        </p:sp>
        <p:sp>
          <p:nvSpPr>
            <p:cNvPr id="58" name="Rectangle 57">
              <a:extLst>
                <a:ext uri="{FF2B5EF4-FFF2-40B4-BE49-F238E27FC236}">
                  <a16:creationId xmlns:a16="http://schemas.microsoft.com/office/drawing/2014/main" id="{920D1030-66EE-4B6C-B156-9DDBBFA439FD}"/>
                </a:ext>
              </a:extLst>
            </p:cNvPr>
            <p:cNvSpPr/>
            <p:nvPr/>
          </p:nvSpPr>
          <p:spPr>
            <a:xfrm>
              <a:off x="7875551" y="3596736"/>
              <a:ext cx="1312134" cy="608386"/>
            </a:xfrm>
            <a:prstGeom prst="rect">
              <a:avLst/>
            </a:prstGeom>
            <a:gradFill>
              <a:gsLst>
                <a:gs pos="50000">
                  <a:srgbClr val="B9B9FF"/>
                </a:gs>
                <a:gs pos="50000">
                  <a:schemeClr val="bg1">
                    <a:lumMod val="95000"/>
                  </a:schemeClr>
                </a:gs>
              </a:gsLst>
              <a:lin ang="8100000" scaled="1"/>
            </a:gra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r>
                <a:rPr lang="en-US" sz="1000" b="1" dirty="0">
                  <a:solidFill>
                    <a:schemeClr val="tx1"/>
                  </a:solidFill>
                </a:rPr>
                <a:t>CONTENT DEVELOPMENT</a:t>
              </a:r>
            </a:p>
          </p:txBody>
        </p:sp>
        <p:sp>
          <p:nvSpPr>
            <p:cNvPr id="59" name="Rectangle 58">
              <a:extLst>
                <a:ext uri="{FF2B5EF4-FFF2-40B4-BE49-F238E27FC236}">
                  <a16:creationId xmlns:a16="http://schemas.microsoft.com/office/drawing/2014/main" id="{9318D367-93B1-4952-8BCA-1F32B215575D}"/>
                </a:ext>
              </a:extLst>
            </p:cNvPr>
            <p:cNvSpPr/>
            <p:nvPr/>
          </p:nvSpPr>
          <p:spPr>
            <a:xfrm>
              <a:off x="9593650" y="3596736"/>
              <a:ext cx="1312134" cy="608386"/>
            </a:xfrm>
            <a:prstGeom prst="rect">
              <a:avLst/>
            </a:prstGeom>
            <a:gradFill>
              <a:gsLst>
                <a:gs pos="50000">
                  <a:srgbClr val="B9B9FF"/>
                </a:gs>
                <a:gs pos="50000">
                  <a:schemeClr val="bg1">
                    <a:lumMod val="95000"/>
                  </a:schemeClr>
                </a:gs>
              </a:gsLst>
              <a:lin ang="8100000" scaled="1"/>
            </a:gra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r>
                <a:rPr lang="en-US" sz="1000" b="1" dirty="0">
                  <a:solidFill>
                    <a:schemeClr val="tx1"/>
                  </a:solidFill>
                </a:rPr>
                <a:t>CAMPAIGN DEVELOPMENT</a:t>
              </a:r>
            </a:p>
          </p:txBody>
        </p:sp>
        <p:sp>
          <p:nvSpPr>
            <p:cNvPr id="60" name="Rectangle 59">
              <a:extLst>
                <a:ext uri="{FF2B5EF4-FFF2-40B4-BE49-F238E27FC236}">
                  <a16:creationId xmlns:a16="http://schemas.microsoft.com/office/drawing/2014/main" id="{30A6A4BB-91BA-4752-AAC7-0BC59E32F02D}"/>
                </a:ext>
              </a:extLst>
            </p:cNvPr>
            <p:cNvSpPr/>
            <p:nvPr/>
          </p:nvSpPr>
          <p:spPr>
            <a:xfrm>
              <a:off x="9593650" y="2096475"/>
              <a:ext cx="1312134" cy="608386"/>
            </a:xfrm>
            <a:prstGeom prst="rect">
              <a:avLst/>
            </a:prstGeom>
            <a:gradFill>
              <a:gsLst>
                <a:gs pos="67000">
                  <a:srgbClr val="B9B9FF"/>
                </a:gs>
                <a:gs pos="33000">
                  <a:schemeClr val="accent3">
                    <a:lumMod val="60000"/>
                    <a:lumOff val="40000"/>
                  </a:schemeClr>
                </a:gs>
                <a:gs pos="63000">
                  <a:schemeClr val="bg1">
                    <a:lumMod val="95000"/>
                  </a:schemeClr>
                </a:gs>
                <a:gs pos="33000">
                  <a:srgbClr val="F2F2F2"/>
                </a:gs>
              </a:gsLst>
              <a:lin ang="8100000" scaled="1"/>
            </a:gra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r>
                <a:rPr lang="en-US" sz="1000" b="1" dirty="0">
                  <a:solidFill>
                    <a:schemeClr val="tx1"/>
                  </a:solidFill>
                </a:rPr>
                <a:t>DIGITAL AD DESIGN &amp; EXECUTION</a:t>
              </a:r>
            </a:p>
          </p:txBody>
        </p:sp>
      </p:grpSp>
      <p:grpSp>
        <p:nvGrpSpPr>
          <p:cNvPr id="61" name="Group 60">
            <a:extLst>
              <a:ext uri="{FF2B5EF4-FFF2-40B4-BE49-F238E27FC236}">
                <a16:creationId xmlns:a16="http://schemas.microsoft.com/office/drawing/2014/main" id="{B71AB6CF-C31A-4762-B6EC-5585D813D286}"/>
              </a:ext>
            </a:extLst>
          </p:cNvPr>
          <p:cNvGrpSpPr/>
          <p:nvPr/>
        </p:nvGrpSpPr>
        <p:grpSpPr>
          <a:xfrm>
            <a:off x="4873799" y="3262380"/>
            <a:ext cx="1312134" cy="1928561"/>
            <a:chOff x="4893463" y="3252441"/>
            <a:chExt cx="1312134" cy="1928561"/>
          </a:xfrm>
        </p:grpSpPr>
        <p:sp>
          <p:nvSpPr>
            <p:cNvPr id="62" name="TextBox 61">
              <a:extLst>
                <a:ext uri="{FF2B5EF4-FFF2-40B4-BE49-F238E27FC236}">
                  <a16:creationId xmlns:a16="http://schemas.microsoft.com/office/drawing/2014/main" id="{C7E8F0B9-A31C-4630-9315-64591018F40B}"/>
                </a:ext>
              </a:extLst>
            </p:cNvPr>
            <p:cNvSpPr txBox="1"/>
            <p:nvPr/>
          </p:nvSpPr>
          <p:spPr>
            <a:xfrm>
              <a:off x="4916485" y="3252441"/>
              <a:ext cx="1266091" cy="169277"/>
            </a:xfrm>
            <a:prstGeom prst="rect">
              <a:avLst/>
            </a:prstGeom>
            <a:noFill/>
          </p:spPr>
          <p:txBody>
            <a:bodyPr wrap="square" lIns="0" tIns="0" rIns="0" bIns="0" rtlCol="0">
              <a:spAutoFit/>
            </a:bodyPr>
            <a:lstStyle/>
            <a:p>
              <a:pPr marL="0" algn="ctr"/>
              <a:r>
                <a:rPr lang="en-US" sz="1100" b="1" dirty="0"/>
                <a:t>LAUNCH &amp; TEST</a:t>
              </a:r>
            </a:p>
          </p:txBody>
        </p:sp>
        <p:sp>
          <p:nvSpPr>
            <p:cNvPr id="63" name="Rectangle 62">
              <a:extLst>
                <a:ext uri="{FF2B5EF4-FFF2-40B4-BE49-F238E27FC236}">
                  <a16:creationId xmlns:a16="http://schemas.microsoft.com/office/drawing/2014/main" id="{27C24D81-C4B7-408D-997B-196B2CE4F9CA}"/>
                </a:ext>
              </a:extLst>
            </p:cNvPr>
            <p:cNvSpPr/>
            <p:nvPr/>
          </p:nvSpPr>
          <p:spPr>
            <a:xfrm>
              <a:off x="4893463" y="3594192"/>
              <a:ext cx="1312134" cy="608386"/>
            </a:xfrm>
            <a:prstGeom prst="rect">
              <a:avLst/>
            </a:prstGeom>
            <a:gradFill>
              <a:gsLst>
                <a:gs pos="50000">
                  <a:srgbClr val="B9B9FF"/>
                </a:gs>
                <a:gs pos="50000">
                  <a:schemeClr val="bg1">
                    <a:lumMod val="95000"/>
                  </a:schemeClr>
                </a:gs>
              </a:gsLst>
              <a:lin ang="8100000" scaled="1"/>
            </a:gra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r>
                <a:rPr lang="en-US" sz="1000" b="1" dirty="0">
                  <a:solidFill>
                    <a:schemeClr val="tx1"/>
                  </a:solidFill>
                </a:rPr>
                <a:t>CONTENT SYNDICATION &amp; DISTRIBUTION</a:t>
              </a:r>
            </a:p>
          </p:txBody>
        </p:sp>
        <p:sp>
          <p:nvSpPr>
            <p:cNvPr id="64" name="Rectangle 63">
              <a:extLst>
                <a:ext uri="{FF2B5EF4-FFF2-40B4-BE49-F238E27FC236}">
                  <a16:creationId xmlns:a16="http://schemas.microsoft.com/office/drawing/2014/main" id="{04A55501-8B33-4539-A583-B42B69F4B80E}"/>
                </a:ext>
              </a:extLst>
            </p:cNvPr>
            <p:cNvSpPr/>
            <p:nvPr/>
          </p:nvSpPr>
          <p:spPr>
            <a:xfrm>
              <a:off x="4893463" y="4572616"/>
              <a:ext cx="1312134" cy="608386"/>
            </a:xfrm>
            <a:prstGeom prst="rect">
              <a:avLst/>
            </a:prstGeom>
            <a:gradFill>
              <a:gsLst>
                <a:gs pos="50000">
                  <a:schemeClr val="accent3">
                    <a:lumMod val="60000"/>
                    <a:lumOff val="40000"/>
                  </a:schemeClr>
                </a:gs>
                <a:gs pos="50000">
                  <a:schemeClr val="bg1">
                    <a:lumMod val="95000"/>
                  </a:schemeClr>
                </a:gs>
              </a:gsLst>
              <a:lin ang="8100000" scaled="1"/>
            </a:gra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r>
                <a:rPr lang="en-US" sz="1000" b="1" dirty="0">
                  <a:solidFill>
                    <a:schemeClr val="tx1"/>
                  </a:solidFill>
                </a:rPr>
                <a:t>SEGMENTATION &amp; TESTING</a:t>
              </a:r>
            </a:p>
          </p:txBody>
        </p:sp>
      </p:grpSp>
      <p:grpSp>
        <p:nvGrpSpPr>
          <p:cNvPr id="65" name="Group 64">
            <a:extLst>
              <a:ext uri="{FF2B5EF4-FFF2-40B4-BE49-F238E27FC236}">
                <a16:creationId xmlns:a16="http://schemas.microsoft.com/office/drawing/2014/main" id="{524D5BD1-EE1C-4F3C-8A40-B733FFC1A573}"/>
              </a:ext>
            </a:extLst>
          </p:cNvPr>
          <p:cNvGrpSpPr/>
          <p:nvPr/>
        </p:nvGrpSpPr>
        <p:grpSpPr>
          <a:xfrm>
            <a:off x="9101254" y="5039138"/>
            <a:ext cx="2434854" cy="1428739"/>
            <a:chOff x="9186530" y="5078387"/>
            <a:chExt cx="2434854" cy="1428739"/>
          </a:xfrm>
        </p:grpSpPr>
        <p:grpSp>
          <p:nvGrpSpPr>
            <p:cNvPr id="66" name="Group 65">
              <a:extLst>
                <a:ext uri="{FF2B5EF4-FFF2-40B4-BE49-F238E27FC236}">
                  <a16:creationId xmlns:a16="http://schemas.microsoft.com/office/drawing/2014/main" id="{89F74A3E-BBE2-4F3C-A073-ED4499963F35}"/>
                </a:ext>
              </a:extLst>
            </p:cNvPr>
            <p:cNvGrpSpPr/>
            <p:nvPr/>
          </p:nvGrpSpPr>
          <p:grpSpPr>
            <a:xfrm>
              <a:off x="9186530" y="5177085"/>
              <a:ext cx="2342693" cy="1217058"/>
              <a:chOff x="9218429" y="5379103"/>
              <a:chExt cx="2342693" cy="1217058"/>
            </a:xfrm>
          </p:grpSpPr>
          <p:grpSp>
            <p:nvGrpSpPr>
              <p:cNvPr id="68" name="Group 67">
                <a:extLst>
                  <a:ext uri="{FF2B5EF4-FFF2-40B4-BE49-F238E27FC236}">
                    <a16:creationId xmlns:a16="http://schemas.microsoft.com/office/drawing/2014/main" id="{98B258EC-AC02-4854-A741-098166E03A9C}"/>
                  </a:ext>
                </a:extLst>
              </p:cNvPr>
              <p:cNvGrpSpPr/>
              <p:nvPr/>
            </p:nvGrpSpPr>
            <p:grpSpPr>
              <a:xfrm>
                <a:off x="9218429" y="5792861"/>
                <a:ext cx="2135982" cy="803300"/>
                <a:chOff x="9218429" y="5420721"/>
                <a:chExt cx="2135982" cy="803300"/>
              </a:xfrm>
            </p:grpSpPr>
            <p:sp>
              <p:nvSpPr>
                <p:cNvPr id="71" name="Rectangle 70">
                  <a:extLst>
                    <a:ext uri="{FF2B5EF4-FFF2-40B4-BE49-F238E27FC236}">
                      <a16:creationId xmlns:a16="http://schemas.microsoft.com/office/drawing/2014/main" id="{722F3244-0726-48CF-9F44-716E6D008AE3}"/>
                    </a:ext>
                  </a:extLst>
                </p:cNvPr>
                <p:cNvSpPr/>
                <p:nvPr/>
              </p:nvSpPr>
              <p:spPr>
                <a:xfrm>
                  <a:off x="10058400" y="5587534"/>
                  <a:ext cx="635611" cy="305523"/>
                </a:xfrm>
                <a:prstGeom prst="rect">
                  <a:avLst/>
                </a:prstGeom>
                <a:solidFill>
                  <a:schemeClr val="bg1">
                    <a:lumMod val="95000"/>
                  </a:schemeClr>
                </a:solidFill>
                <a:ln w="12700" algn="ctr">
                  <a:solidFill>
                    <a:schemeClr val="bg1">
                      <a:lumMod val="75000"/>
                    </a:schemeClr>
                  </a:solidFill>
                  <a:prstDash val="solid"/>
                  <a:miter lim="800000"/>
                  <a:headEnd type="none" w="sm" len="sm"/>
                  <a:tailEnd type="none" w="sm" len="sm"/>
                </a:ln>
              </p:spPr>
              <p:txBody>
                <a:bodyPr wrap="square" lIns="0" tIns="0" rIns="0" bIns="0" anchor="ctr"/>
                <a:lstStyle/>
                <a:p>
                  <a:pPr algn="ctr"/>
                  <a:endParaRPr lang="en-US" sz="1100" b="1" dirty="0"/>
                </a:p>
              </p:txBody>
            </p:sp>
            <p:sp>
              <p:nvSpPr>
                <p:cNvPr id="72" name="Rectangle 71">
                  <a:extLst>
                    <a:ext uri="{FF2B5EF4-FFF2-40B4-BE49-F238E27FC236}">
                      <a16:creationId xmlns:a16="http://schemas.microsoft.com/office/drawing/2014/main" id="{0C38A6F6-E7FD-484A-A801-C5AE869CBF7F}"/>
                    </a:ext>
                  </a:extLst>
                </p:cNvPr>
                <p:cNvSpPr/>
                <p:nvPr/>
              </p:nvSpPr>
              <p:spPr>
                <a:xfrm>
                  <a:off x="10718800" y="5588298"/>
                  <a:ext cx="635611" cy="305523"/>
                </a:xfrm>
                <a:prstGeom prst="rect">
                  <a:avLst/>
                </a:prstGeom>
                <a:solidFill>
                  <a:schemeClr val="accent3">
                    <a:lumMod val="60000"/>
                    <a:lumOff val="40000"/>
                  </a:schemeClr>
                </a:solidFill>
                <a:ln w="12700" algn="ctr">
                  <a:solidFill>
                    <a:schemeClr val="accent3"/>
                  </a:solidFill>
                  <a:prstDash val="solid"/>
                  <a:miter lim="800000"/>
                  <a:headEnd type="none" w="sm" len="sm"/>
                  <a:tailEnd type="none" w="sm" len="sm"/>
                </a:ln>
              </p:spPr>
              <p:txBody>
                <a:bodyPr wrap="square" lIns="0" tIns="0" rIns="0" bIns="0" anchor="ctr"/>
                <a:lstStyle/>
                <a:p>
                  <a:pPr algn="ctr"/>
                  <a:endParaRPr lang="en-US" sz="1100" b="1" dirty="0"/>
                </a:p>
              </p:txBody>
            </p:sp>
            <p:sp>
              <p:nvSpPr>
                <p:cNvPr id="73" name="Rectangle 72">
                  <a:extLst>
                    <a:ext uri="{FF2B5EF4-FFF2-40B4-BE49-F238E27FC236}">
                      <a16:creationId xmlns:a16="http://schemas.microsoft.com/office/drawing/2014/main" id="{98DABEED-EB5B-40D9-9E65-B7270526CE5E}"/>
                    </a:ext>
                  </a:extLst>
                </p:cNvPr>
                <p:cNvSpPr/>
                <p:nvPr/>
              </p:nvSpPr>
              <p:spPr>
                <a:xfrm>
                  <a:off x="10718800" y="5918498"/>
                  <a:ext cx="635611" cy="305523"/>
                </a:xfrm>
                <a:prstGeom prst="rect">
                  <a:avLst/>
                </a:prstGeom>
                <a:solidFill>
                  <a:srgbClr val="002060"/>
                </a:solidFill>
                <a:ln w="12700" algn="ctr">
                  <a:solidFill>
                    <a:schemeClr val="tx1"/>
                  </a:solidFill>
                  <a:prstDash val="solid"/>
                  <a:miter lim="800000"/>
                  <a:headEnd type="none" w="sm" len="sm"/>
                  <a:tailEnd type="none" w="sm" len="sm"/>
                </a:ln>
              </p:spPr>
              <p:txBody>
                <a:bodyPr wrap="square" lIns="0" tIns="0" rIns="0" bIns="0" anchor="ctr"/>
                <a:lstStyle/>
                <a:p>
                  <a:pPr algn="ctr"/>
                  <a:endParaRPr lang="en-US" sz="1100" b="1" dirty="0"/>
                </a:p>
              </p:txBody>
            </p:sp>
            <p:sp>
              <p:nvSpPr>
                <p:cNvPr id="74" name="Rectangle 73">
                  <a:extLst>
                    <a:ext uri="{FF2B5EF4-FFF2-40B4-BE49-F238E27FC236}">
                      <a16:creationId xmlns:a16="http://schemas.microsoft.com/office/drawing/2014/main" id="{0F0B04B8-FDCE-487B-A5A7-EFE4AE0B9293}"/>
                    </a:ext>
                  </a:extLst>
                </p:cNvPr>
                <p:cNvSpPr/>
                <p:nvPr/>
              </p:nvSpPr>
              <p:spPr>
                <a:xfrm>
                  <a:off x="10058400" y="5918498"/>
                  <a:ext cx="635611" cy="305523"/>
                </a:xfrm>
                <a:prstGeom prst="rect">
                  <a:avLst/>
                </a:prstGeom>
                <a:solidFill>
                  <a:srgbClr val="B9B9FF"/>
                </a:solidFill>
                <a:ln w="12700" algn="ctr">
                  <a:solidFill>
                    <a:srgbClr val="8F8FFF"/>
                  </a:solidFill>
                  <a:prstDash val="solid"/>
                  <a:miter lim="800000"/>
                  <a:headEnd type="none" w="sm" len="sm"/>
                  <a:tailEnd type="none" w="sm" len="sm"/>
                </a:ln>
              </p:spPr>
              <p:txBody>
                <a:bodyPr wrap="square" lIns="0" tIns="0" rIns="0" bIns="0" anchor="ctr"/>
                <a:lstStyle/>
                <a:p>
                  <a:pPr algn="ctr"/>
                  <a:endParaRPr lang="en-US" sz="1100" b="1" dirty="0"/>
                </a:p>
              </p:txBody>
            </p:sp>
            <p:sp>
              <p:nvSpPr>
                <p:cNvPr id="75" name="TextBox 74">
                  <a:extLst>
                    <a:ext uri="{FF2B5EF4-FFF2-40B4-BE49-F238E27FC236}">
                      <a16:creationId xmlns:a16="http://schemas.microsoft.com/office/drawing/2014/main" id="{8C5C70BA-7161-48F9-B3D0-562929372FE1}"/>
                    </a:ext>
                  </a:extLst>
                </p:cNvPr>
                <p:cNvSpPr txBox="1"/>
                <p:nvPr/>
              </p:nvSpPr>
              <p:spPr>
                <a:xfrm>
                  <a:off x="10106029" y="5420721"/>
                  <a:ext cx="551377" cy="117947"/>
                </a:xfrm>
                <a:prstGeom prst="rect">
                  <a:avLst/>
                </a:prstGeom>
                <a:noFill/>
              </p:spPr>
              <p:txBody>
                <a:bodyPr wrap="square" lIns="0" tIns="0" rIns="0" bIns="0" rtlCol="0">
                  <a:spAutoFit/>
                </a:bodyPr>
                <a:lstStyle/>
                <a:p>
                  <a:pPr marL="0" algn="ctr"/>
                  <a:r>
                    <a:rPr lang="en-US" sz="900" b="1" dirty="0">
                      <a:solidFill>
                        <a:schemeClr val="tx1">
                          <a:lumMod val="65000"/>
                          <a:lumOff val="35000"/>
                        </a:schemeClr>
                      </a:solidFill>
                    </a:rPr>
                    <a:t>Onshore</a:t>
                  </a:r>
                </a:p>
              </p:txBody>
            </p:sp>
            <p:sp>
              <p:nvSpPr>
                <p:cNvPr id="76" name="TextBox 75">
                  <a:extLst>
                    <a:ext uri="{FF2B5EF4-FFF2-40B4-BE49-F238E27FC236}">
                      <a16:creationId xmlns:a16="http://schemas.microsoft.com/office/drawing/2014/main" id="{61EBDD10-2819-41F6-ABF6-09DFC339D3ED}"/>
                    </a:ext>
                  </a:extLst>
                </p:cNvPr>
                <p:cNvSpPr txBox="1"/>
                <p:nvPr/>
              </p:nvSpPr>
              <p:spPr>
                <a:xfrm>
                  <a:off x="10763331" y="5420721"/>
                  <a:ext cx="551377" cy="117947"/>
                </a:xfrm>
                <a:prstGeom prst="rect">
                  <a:avLst/>
                </a:prstGeom>
                <a:noFill/>
              </p:spPr>
              <p:txBody>
                <a:bodyPr wrap="square" lIns="0" tIns="0" rIns="0" bIns="0" rtlCol="0">
                  <a:spAutoFit/>
                </a:bodyPr>
                <a:lstStyle/>
                <a:p>
                  <a:pPr marL="0" algn="ctr"/>
                  <a:r>
                    <a:rPr lang="en-US" sz="900" b="1" dirty="0">
                      <a:solidFill>
                        <a:schemeClr val="tx1">
                          <a:lumMod val="65000"/>
                          <a:lumOff val="35000"/>
                        </a:schemeClr>
                      </a:solidFill>
                    </a:rPr>
                    <a:t>Offshore</a:t>
                  </a:r>
                </a:p>
              </p:txBody>
            </p:sp>
            <p:sp>
              <p:nvSpPr>
                <p:cNvPr id="77" name="TextBox 76">
                  <a:extLst>
                    <a:ext uri="{FF2B5EF4-FFF2-40B4-BE49-F238E27FC236}">
                      <a16:creationId xmlns:a16="http://schemas.microsoft.com/office/drawing/2014/main" id="{F74DDA3E-AF85-4566-A100-311402F9D933}"/>
                    </a:ext>
                  </a:extLst>
                </p:cNvPr>
                <p:cNvSpPr txBox="1"/>
                <p:nvPr/>
              </p:nvSpPr>
              <p:spPr>
                <a:xfrm>
                  <a:off x="9218429" y="5696929"/>
                  <a:ext cx="813585" cy="138499"/>
                </a:xfrm>
                <a:prstGeom prst="rect">
                  <a:avLst/>
                </a:prstGeom>
                <a:noFill/>
              </p:spPr>
              <p:txBody>
                <a:bodyPr wrap="square" lIns="0" tIns="0" rIns="0" bIns="0" rtlCol="0">
                  <a:spAutoFit/>
                </a:bodyPr>
                <a:lstStyle/>
                <a:p>
                  <a:pPr marL="0" algn="r"/>
                  <a:r>
                    <a:rPr lang="en-US" sz="900" b="1" dirty="0">
                      <a:solidFill>
                        <a:schemeClr val="tx1">
                          <a:lumMod val="65000"/>
                          <a:lumOff val="35000"/>
                        </a:schemeClr>
                      </a:solidFill>
                    </a:rPr>
                    <a:t>Associate</a:t>
                  </a:r>
                </a:p>
              </p:txBody>
            </p:sp>
            <p:sp>
              <p:nvSpPr>
                <p:cNvPr id="78" name="TextBox 77">
                  <a:extLst>
                    <a:ext uri="{FF2B5EF4-FFF2-40B4-BE49-F238E27FC236}">
                      <a16:creationId xmlns:a16="http://schemas.microsoft.com/office/drawing/2014/main" id="{ACB5BA3F-CD0F-4CBC-B276-460BC4E03523}"/>
                    </a:ext>
                  </a:extLst>
                </p:cNvPr>
                <p:cNvSpPr txBox="1"/>
                <p:nvPr/>
              </p:nvSpPr>
              <p:spPr>
                <a:xfrm>
                  <a:off x="9374356" y="6017991"/>
                  <a:ext cx="657658" cy="138499"/>
                </a:xfrm>
                <a:prstGeom prst="rect">
                  <a:avLst/>
                </a:prstGeom>
                <a:noFill/>
              </p:spPr>
              <p:txBody>
                <a:bodyPr wrap="square" lIns="0" tIns="0" rIns="0" bIns="0" rtlCol="0">
                  <a:spAutoFit/>
                </a:bodyPr>
                <a:lstStyle/>
                <a:p>
                  <a:pPr marL="0" algn="r"/>
                  <a:r>
                    <a:rPr lang="en-US" sz="900" b="1" dirty="0">
                      <a:solidFill>
                        <a:schemeClr val="tx1">
                          <a:lumMod val="65000"/>
                          <a:lumOff val="35000"/>
                        </a:schemeClr>
                      </a:solidFill>
                    </a:rPr>
                    <a:t>Contractor</a:t>
                  </a:r>
                </a:p>
              </p:txBody>
            </p:sp>
          </p:grpSp>
          <p:sp>
            <p:nvSpPr>
              <p:cNvPr id="69" name="TextBox 68">
                <a:extLst>
                  <a:ext uri="{FF2B5EF4-FFF2-40B4-BE49-F238E27FC236}">
                    <a16:creationId xmlns:a16="http://schemas.microsoft.com/office/drawing/2014/main" id="{4F15B1E9-A276-498F-8724-A6BD6ED364E6}"/>
                  </a:ext>
                </a:extLst>
              </p:cNvPr>
              <p:cNvSpPr txBox="1"/>
              <p:nvPr/>
            </p:nvSpPr>
            <p:spPr>
              <a:xfrm>
                <a:off x="9366562" y="5379103"/>
                <a:ext cx="2194560" cy="161583"/>
              </a:xfrm>
              <a:prstGeom prst="rect">
                <a:avLst/>
              </a:prstGeom>
              <a:solidFill>
                <a:schemeClr val="bg1"/>
              </a:solidFill>
            </p:spPr>
            <p:txBody>
              <a:bodyPr wrap="square" lIns="0" tIns="0" rIns="0" bIns="0" rtlCol="0" anchor="ctr">
                <a:spAutoFit/>
              </a:bodyPr>
              <a:lstStyle/>
              <a:p>
                <a:pPr marL="0"/>
                <a:r>
                  <a:rPr lang="en-US" sz="1050" b="1" dirty="0"/>
                  <a:t>LEGEND</a:t>
                </a:r>
              </a:p>
            </p:txBody>
          </p:sp>
          <p:sp>
            <p:nvSpPr>
              <p:cNvPr id="70" name="TextBox 69">
                <a:extLst>
                  <a:ext uri="{FF2B5EF4-FFF2-40B4-BE49-F238E27FC236}">
                    <a16:creationId xmlns:a16="http://schemas.microsoft.com/office/drawing/2014/main" id="{10769FE1-9F38-4B3A-B987-0684C7CFEC90}"/>
                  </a:ext>
                </a:extLst>
              </p:cNvPr>
              <p:cNvSpPr txBox="1"/>
              <p:nvPr/>
            </p:nvSpPr>
            <p:spPr>
              <a:xfrm>
                <a:off x="9366562" y="5605696"/>
                <a:ext cx="2194560" cy="161583"/>
              </a:xfrm>
              <a:prstGeom prst="rect">
                <a:avLst/>
              </a:prstGeom>
              <a:solidFill>
                <a:schemeClr val="bg1"/>
              </a:solidFill>
            </p:spPr>
            <p:txBody>
              <a:bodyPr wrap="square" lIns="0" tIns="0" rIns="0" bIns="0" rtlCol="0" anchor="ctr">
                <a:spAutoFit/>
              </a:bodyPr>
              <a:lstStyle/>
              <a:p>
                <a:pPr marL="0"/>
                <a:r>
                  <a:rPr lang="en-US" sz="1050" b="1" dirty="0"/>
                  <a:t>Primary Future State Ownership</a:t>
                </a:r>
              </a:p>
            </p:txBody>
          </p:sp>
        </p:grpSp>
        <p:sp>
          <p:nvSpPr>
            <p:cNvPr id="67" name="Rectangle 66">
              <a:extLst>
                <a:ext uri="{FF2B5EF4-FFF2-40B4-BE49-F238E27FC236}">
                  <a16:creationId xmlns:a16="http://schemas.microsoft.com/office/drawing/2014/main" id="{FF2BDD33-C88A-43E0-882D-65E3D91B59B1}"/>
                </a:ext>
              </a:extLst>
            </p:cNvPr>
            <p:cNvSpPr/>
            <p:nvPr/>
          </p:nvSpPr>
          <p:spPr>
            <a:xfrm>
              <a:off x="9218430" y="5078387"/>
              <a:ext cx="2402954" cy="1428739"/>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2" name="Rectangle 81">
            <a:extLst>
              <a:ext uri="{FF2B5EF4-FFF2-40B4-BE49-F238E27FC236}">
                <a16:creationId xmlns:a16="http://schemas.microsoft.com/office/drawing/2014/main" id="{E872802D-64D3-4D46-9118-3186F660463B}"/>
              </a:ext>
            </a:extLst>
          </p:cNvPr>
          <p:cNvSpPr/>
          <p:nvPr/>
        </p:nvSpPr>
        <p:spPr>
          <a:xfrm>
            <a:off x="7120233" y="1797804"/>
            <a:ext cx="4415876" cy="374904"/>
          </a:xfrm>
          <a:prstGeom prst="rect">
            <a:avLst/>
          </a:prstGeom>
          <a:solidFill>
            <a:schemeClr val="accent3">
              <a:lumMod val="40000"/>
              <a:lumOff val="60000"/>
            </a:schemeClr>
          </a:solidFill>
          <a:ln w="19050">
            <a:solidFill>
              <a:schemeClr val="accent3">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576" tIns="45720" rIns="36576" bIns="45720" numCol="1" spcCol="0" rtlCol="0" fromWordArt="0" anchor="ctr" anchorCtr="1" forceAA="0" compatLnSpc="1">
            <a:prstTxWarp prst="textNoShape">
              <a:avLst/>
            </a:prstTxWarp>
            <a:noAutofit/>
          </a:bodyPr>
          <a:lstStyle/>
          <a:p>
            <a:pPr algn="ctr"/>
            <a:r>
              <a:rPr lang="en-US" sz="1200" b="1" dirty="0">
                <a:solidFill>
                  <a:schemeClr val="tx1"/>
                </a:solidFill>
              </a:rPr>
              <a:t>Layout / Design</a:t>
            </a:r>
          </a:p>
        </p:txBody>
      </p:sp>
      <p:sp>
        <p:nvSpPr>
          <p:cNvPr id="83" name="Rectangle 82">
            <a:extLst>
              <a:ext uri="{FF2B5EF4-FFF2-40B4-BE49-F238E27FC236}">
                <a16:creationId xmlns:a16="http://schemas.microsoft.com/office/drawing/2014/main" id="{4A23890A-5B03-415A-81EE-C1FBA2FFA6E3}"/>
              </a:ext>
            </a:extLst>
          </p:cNvPr>
          <p:cNvSpPr/>
          <p:nvPr/>
        </p:nvSpPr>
        <p:spPr>
          <a:xfrm>
            <a:off x="6983272" y="1711438"/>
            <a:ext cx="250911" cy="22403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bIns="45720" rtlCol="0" anchor="ctr"/>
          <a:lstStyle/>
          <a:p>
            <a:pPr algn="ctr"/>
            <a:r>
              <a:rPr lang="en-US" sz="1200" b="1" dirty="0"/>
              <a:t>B</a:t>
            </a:r>
          </a:p>
        </p:txBody>
      </p:sp>
      <p:sp>
        <p:nvSpPr>
          <p:cNvPr id="84" name="Rectangle 83">
            <a:extLst>
              <a:ext uri="{FF2B5EF4-FFF2-40B4-BE49-F238E27FC236}">
                <a16:creationId xmlns:a16="http://schemas.microsoft.com/office/drawing/2014/main" id="{74DE4A08-A717-4C96-9B3F-6B9A070E89E3}"/>
              </a:ext>
            </a:extLst>
          </p:cNvPr>
          <p:cNvSpPr/>
          <p:nvPr/>
        </p:nvSpPr>
        <p:spPr>
          <a:xfrm>
            <a:off x="240414" y="2516724"/>
            <a:ext cx="250911" cy="22403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bIns="45720" rtlCol="0" anchor="ctr"/>
          <a:lstStyle/>
          <a:p>
            <a:pPr algn="ctr"/>
            <a:r>
              <a:rPr lang="en-US" sz="1200" b="1" dirty="0"/>
              <a:t>A</a:t>
            </a:r>
          </a:p>
        </p:txBody>
      </p:sp>
    </p:spTree>
    <p:extLst>
      <p:ext uri="{BB962C8B-B14F-4D97-AF65-F5344CB8AC3E}">
        <p14:creationId xmlns:p14="http://schemas.microsoft.com/office/powerpoint/2010/main" val="743550522"/>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a:extLst>
              <a:ext uri="{FF2B5EF4-FFF2-40B4-BE49-F238E27FC236}">
                <a16:creationId xmlns:a16="http://schemas.microsoft.com/office/drawing/2014/main" id="{D796EAF2-6E76-40FB-8264-D9DDC4D1989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2212" name="think-cell Slide" r:id="rId6" imgW="415" imgH="416" progId="TCLayout.ActiveDocument.1">
                  <p:embed/>
                </p:oleObj>
              </mc:Choice>
              <mc:Fallback>
                <p:oleObj name="think-cell Slide" r:id="rId6" imgW="415" imgH="416" progId="TCLayout.ActiveDocument.1">
                  <p:embed/>
                  <p:pic>
                    <p:nvPicPr>
                      <p:cNvPr id="42" name="Object 41" hidden="1">
                        <a:extLst>
                          <a:ext uri="{FF2B5EF4-FFF2-40B4-BE49-F238E27FC236}">
                            <a16:creationId xmlns:a16="http://schemas.microsoft.com/office/drawing/2014/main" id="{D796EAF2-6E76-40FB-8264-D9DDC4D1989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3" name="Rectangle 42" hidden="1">
            <a:extLst>
              <a:ext uri="{FF2B5EF4-FFF2-40B4-BE49-F238E27FC236}">
                <a16:creationId xmlns:a16="http://schemas.microsoft.com/office/drawing/2014/main" id="{C865B54F-8D14-4C4A-9CC7-84472CFF4C9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object 3">
            <a:extLst>
              <a:ext uri="{FF2B5EF4-FFF2-40B4-BE49-F238E27FC236}">
                <a16:creationId xmlns:a16="http://schemas.microsoft.com/office/drawing/2014/main" id="{B9484A19-1AD7-4619-9A76-0720DD47E518}"/>
              </a:ext>
            </a:extLst>
          </p:cNvPr>
          <p:cNvSpPr/>
          <p:nvPr/>
        </p:nvSpPr>
        <p:spPr>
          <a:xfrm>
            <a:off x="0" y="2179161"/>
            <a:ext cx="2948940" cy="4689346"/>
          </a:xfrm>
          <a:prstGeom prst="rect">
            <a:avLst/>
          </a:prstGeom>
          <a:blipFill>
            <a:blip r:embed="rId8"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 name="object 4">
            <a:extLst>
              <a:ext uri="{FF2B5EF4-FFF2-40B4-BE49-F238E27FC236}">
                <a16:creationId xmlns:a16="http://schemas.microsoft.com/office/drawing/2014/main" id="{670BBC95-742E-4E4F-9F00-1F361F84DF33}"/>
              </a:ext>
            </a:extLst>
          </p:cNvPr>
          <p:cNvSpPr/>
          <p:nvPr/>
        </p:nvSpPr>
        <p:spPr>
          <a:xfrm>
            <a:off x="9055607" y="1773777"/>
            <a:ext cx="3136392" cy="5094730"/>
          </a:xfrm>
          <a:prstGeom prst="rect">
            <a:avLst/>
          </a:prstGeom>
          <a:blipFill>
            <a:blip r:embed="rId9"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 name="object 5">
            <a:extLst>
              <a:ext uri="{FF2B5EF4-FFF2-40B4-BE49-F238E27FC236}">
                <a16:creationId xmlns:a16="http://schemas.microsoft.com/office/drawing/2014/main" id="{14F85EA5-CBEC-4A88-A945-1BA6D307A661}"/>
              </a:ext>
            </a:extLst>
          </p:cNvPr>
          <p:cNvSpPr txBox="1"/>
          <p:nvPr/>
        </p:nvSpPr>
        <p:spPr>
          <a:xfrm>
            <a:off x="2416810" y="4973573"/>
            <a:ext cx="2108200" cy="792480"/>
          </a:xfrm>
          <a:prstGeom prst="rect">
            <a:avLst/>
          </a:prstGeom>
        </p:spPr>
        <p:txBody>
          <a:bodyPr vert="horz" wrap="square" lIns="0" tIns="12700" rIns="0" bIns="0" rtlCol="0">
            <a:spAutoFit/>
          </a:bodyPr>
          <a:lstStyle/>
          <a:p>
            <a:pPr marL="598805" marR="0" lvl="0" indent="0" algn="l" defTabSz="914400" rtl="0" eaLnBrk="1" fontAlgn="auto" latinLnBrk="0" hangingPunct="1">
              <a:lnSpc>
                <a:spcPct val="100000"/>
              </a:lnSpc>
              <a:spcBef>
                <a:spcPts val="100"/>
              </a:spcBef>
              <a:spcAft>
                <a:spcPts val="0"/>
              </a:spcAft>
              <a:buClrTx/>
              <a:buSzTx/>
              <a:buFontTx/>
              <a:buNone/>
              <a:tabLst/>
              <a:defRPr/>
            </a:pPr>
            <a:r>
              <a:rPr kumimoji="0" sz="2000" b="1" i="0" u="none" strike="noStrike" kern="1200" cap="none" spc="-5" normalizeH="0" baseline="0" noProof="0" dirty="0">
                <a:ln>
                  <a:noFill/>
                </a:ln>
                <a:solidFill>
                  <a:prstClr val="black"/>
                </a:solidFill>
                <a:effectLst/>
                <a:uLnTx/>
                <a:uFillTx/>
                <a:latin typeface="Open Sans"/>
                <a:ea typeface="+mn-ea"/>
                <a:cs typeface="Open Sans"/>
              </a:rPr>
              <a:t>FASTER</a:t>
            </a:r>
            <a:endParaRPr kumimoji="0" sz="2000" b="0" i="0" u="none" strike="noStrike" kern="1200" cap="none" spc="0" normalizeH="0" baseline="0" noProof="0" dirty="0">
              <a:ln>
                <a:noFill/>
              </a:ln>
              <a:solidFill>
                <a:prstClr val="black"/>
              </a:solidFill>
              <a:effectLst/>
              <a:uLnTx/>
              <a:uFillTx/>
              <a:latin typeface="Open Sans"/>
              <a:ea typeface="+mn-ea"/>
              <a:cs typeface="Open Sans"/>
            </a:endParaRPr>
          </a:p>
          <a:p>
            <a:pPr marL="12700" marR="5080" lvl="0" indent="0" algn="ctr" defTabSz="914400" rtl="0" eaLnBrk="1" fontAlgn="auto" latinLnBrk="0" hangingPunct="1">
              <a:lnSpc>
                <a:spcPct val="100000"/>
              </a:lnSpc>
              <a:spcBef>
                <a:spcPts val="35"/>
              </a:spcBef>
              <a:spcAft>
                <a:spcPts val="0"/>
              </a:spcAft>
              <a:buClrTx/>
              <a:buSzTx/>
              <a:buFontTx/>
              <a:buNone/>
              <a:tabLst/>
              <a:defRPr/>
            </a:pPr>
            <a:r>
              <a:rPr kumimoji="0" sz="1500" b="0" i="0" u="none" strike="noStrike" kern="1200" cap="none" spc="-5" normalizeH="0" baseline="0" noProof="0" dirty="0">
                <a:ln>
                  <a:noFill/>
                </a:ln>
                <a:solidFill>
                  <a:prstClr val="black"/>
                </a:solidFill>
                <a:effectLst/>
                <a:uLnTx/>
                <a:uFillTx/>
                <a:latin typeface="Open Sans"/>
                <a:ea typeface="+mn-ea"/>
                <a:cs typeface="Open Sans"/>
              </a:rPr>
              <a:t>billions </a:t>
            </a:r>
            <a:r>
              <a:rPr kumimoji="0" sz="1500" b="0" i="0" u="none" strike="noStrike" kern="1200" cap="none" spc="0" normalizeH="0" baseline="0" noProof="0" dirty="0">
                <a:ln>
                  <a:noFill/>
                </a:ln>
                <a:solidFill>
                  <a:prstClr val="black"/>
                </a:solidFill>
                <a:effectLst/>
                <a:uLnTx/>
                <a:uFillTx/>
                <a:latin typeface="Open Sans"/>
                <a:ea typeface="+mn-ea"/>
                <a:cs typeface="Open Sans"/>
              </a:rPr>
              <a:t>of </a:t>
            </a:r>
            <a:r>
              <a:rPr kumimoji="0" sz="1500" b="0" i="0" u="none" strike="noStrike" kern="1200" cap="none" spc="-5" normalizeH="0" baseline="0" noProof="0" dirty="0">
                <a:ln>
                  <a:noFill/>
                </a:ln>
                <a:solidFill>
                  <a:prstClr val="black"/>
                </a:solidFill>
                <a:effectLst/>
                <a:uLnTx/>
                <a:uFillTx/>
                <a:latin typeface="Open Sans"/>
                <a:ea typeface="+mn-ea"/>
                <a:cs typeface="Open Sans"/>
              </a:rPr>
              <a:t>decisions</a:t>
            </a:r>
            <a:r>
              <a:rPr kumimoji="0" sz="1500" b="0" i="0" u="none" strike="noStrike" kern="1200" cap="none" spc="-90" normalizeH="0" baseline="0" noProof="0" dirty="0">
                <a:ln>
                  <a:noFill/>
                </a:ln>
                <a:solidFill>
                  <a:prstClr val="black"/>
                </a:solidFill>
                <a:effectLst/>
                <a:uLnTx/>
                <a:uFillTx/>
                <a:latin typeface="Open Sans"/>
                <a:ea typeface="+mn-ea"/>
                <a:cs typeface="Open Sans"/>
              </a:rPr>
              <a:t> </a:t>
            </a:r>
            <a:r>
              <a:rPr kumimoji="0" sz="1500" b="0" i="0" u="none" strike="noStrike" kern="1200" cap="none" spc="-5" normalizeH="0" baseline="0" noProof="0" dirty="0">
                <a:ln>
                  <a:noFill/>
                </a:ln>
                <a:solidFill>
                  <a:prstClr val="black"/>
                </a:solidFill>
                <a:effectLst/>
                <a:uLnTx/>
                <a:uFillTx/>
                <a:latin typeface="Open Sans"/>
                <a:ea typeface="+mn-ea"/>
                <a:cs typeface="Open Sans"/>
              </a:rPr>
              <a:t>per  second</a:t>
            </a:r>
            <a:endParaRPr kumimoji="0" sz="1500" b="0" i="0" u="none" strike="noStrike" kern="1200" cap="none" spc="0" normalizeH="0" baseline="0" noProof="0" dirty="0">
              <a:ln>
                <a:noFill/>
              </a:ln>
              <a:solidFill>
                <a:prstClr val="black"/>
              </a:solidFill>
              <a:effectLst/>
              <a:uLnTx/>
              <a:uFillTx/>
              <a:latin typeface="Open Sans"/>
              <a:ea typeface="+mn-ea"/>
              <a:cs typeface="Open Sans"/>
            </a:endParaRPr>
          </a:p>
        </p:txBody>
      </p:sp>
      <p:sp>
        <p:nvSpPr>
          <p:cNvPr id="5" name="object 6">
            <a:extLst>
              <a:ext uri="{FF2B5EF4-FFF2-40B4-BE49-F238E27FC236}">
                <a16:creationId xmlns:a16="http://schemas.microsoft.com/office/drawing/2014/main" id="{2D7CD73B-CBCC-46FF-A888-F3468416452B}"/>
              </a:ext>
            </a:extLst>
          </p:cNvPr>
          <p:cNvSpPr txBox="1"/>
          <p:nvPr/>
        </p:nvSpPr>
        <p:spPr>
          <a:xfrm>
            <a:off x="4799838" y="4973573"/>
            <a:ext cx="2281555" cy="793750"/>
          </a:xfrm>
          <a:prstGeom prst="rect">
            <a:avLst/>
          </a:prstGeom>
        </p:spPr>
        <p:txBody>
          <a:bodyPr vert="horz" wrap="square" lIns="0" tIns="12700" rIns="0" bIns="0" rtlCol="0">
            <a:spAutoFit/>
          </a:bodyPr>
          <a:lstStyle/>
          <a:p>
            <a:pPr marL="635" marR="0" lvl="0" indent="0" algn="ctr" defTabSz="914400" rtl="0" eaLnBrk="1" fontAlgn="auto" latinLnBrk="0" hangingPunct="1">
              <a:lnSpc>
                <a:spcPct val="100000"/>
              </a:lnSpc>
              <a:spcBef>
                <a:spcPts val="100"/>
              </a:spcBef>
              <a:spcAft>
                <a:spcPts val="0"/>
              </a:spcAft>
              <a:buClrTx/>
              <a:buSzTx/>
              <a:buFontTx/>
              <a:buNone/>
              <a:tabLst/>
              <a:defRPr/>
            </a:pPr>
            <a:r>
              <a:rPr kumimoji="0" sz="2000" b="1" i="0" u="none" strike="noStrike" kern="1200" cap="none" spc="-5" normalizeH="0" baseline="0" noProof="0" dirty="0">
                <a:ln>
                  <a:noFill/>
                </a:ln>
                <a:solidFill>
                  <a:prstClr val="black"/>
                </a:solidFill>
                <a:effectLst/>
                <a:uLnTx/>
                <a:uFillTx/>
                <a:latin typeface="Open Sans"/>
                <a:ea typeface="+mn-ea"/>
                <a:cs typeface="Open Sans"/>
              </a:rPr>
              <a:t>SMARTER</a:t>
            </a:r>
            <a:endParaRPr kumimoji="0" sz="2000" b="0" i="0" u="none" strike="noStrike" kern="1200" cap="none" spc="0" normalizeH="0" baseline="0" noProof="0" dirty="0">
              <a:ln>
                <a:noFill/>
              </a:ln>
              <a:solidFill>
                <a:prstClr val="black"/>
              </a:solidFill>
              <a:effectLst/>
              <a:uLnTx/>
              <a:uFillTx/>
              <a:latin typeface="Open Sans"/>
              <a:ea typeface="+mn-ea"/>
              <a:cs typeface="Open Sans"/>
            </a:endParaRPr>
          </a:p>
          <a:p>
            <a:pPr marL="0" marR="0" lvl="0" indent="0" algn="ctr" defTabSz="914400" rtl="0" eaLnBrk="1" fontAlgn="auto" latinLnBrk="0" hangingPunct="1">
              <a:lnSpc>
                <a:spcPct val="100000"/>
              </a:lnSpc>
              <a:spcBef>
                <a:spcPts val="35"/>
              </a:spcBef>
              <a:spcAft>
                <a:spcPts val="0"/>
              </a:spcAft>
              <a:buClrTx/>
              <a:buSzTx/>
              <a:buFontTx/>
              <a:buNone/>
              <a:tabLst/>
              <a:defRPr/>
            </a:pPr>
            <a:r>
              <a:rPr kumimoji="0" sz="1500" b="0" i="0" u="none" strike="noStrike" kern="1200" cap="none" spc="0" normalizeH="0" baseline="0" noProof="0" dirty="0">
                <a:ln>
                  <a:noFill/>
                </a:ln>
                <a:solidFill>
                  <a:prstClr val="black"/>
                </a:solidFill>
                <a:effectLst/>
                <a:uLnTx/>
                <a:uFillTx/>
                <a:latin typeface="Open Sans"/>
                <a:ea typeface="+mn-ea"/>
                <a:cs typeface="Open Sans"/>
              </a:rPr>
              <a:t>Thousands of </a:t>
            </a:r>
            <a:r>
              <a:rPr kumimoji="0" sz="1500" b="0" i="0" u="none" strike="noStrike" kern="1200" cap="none" spc="-5" normalizeH="0" baseline="0" noProof="0" dirty="0">
                <a:ln>
                  <a:noFill/>
                </a:ln>
                <a:solidFill>
                  <a:prstClr val="black"/>
                </a:solidFill>
                <a:effectLst/>
                <a:uLnTx/>
                <a:uFillTx/>
                <a:latin typeface="Open Sans"/>
                <a:ea typeface="+mn-ea"/>
                <a:cs typeface="Open Sans"/>
              </a:rPr>
              <a:t>data</a:t>
            </a:r>
            <a:r>
              <a:rPr kumimoji="0" sz="1500" b="0" i="0" u="none" strike="noStrike" kern="1200" cap="none" spc="-110" normalizeH="0" baseline="0" noProof="0" dirty="0">
                <a:ln>
                  <a:noFill/>
                </a:ln>
                <a:solidFill>
                  <a:prstClr val="black"/>
                </a:solidFill>
                <a:effectLst/>
                <a:uLnTx/>
                <a:uFillTx/>
                <a:latin typeface="Open Sans"/>
                <a:ea typeface="+mn-ea"/>
                <a:cs typeface="Open Sans"/>
              </a:rPr>
              <a:t> </a:t>
            </a:r>
            <a:r>
              <a:rPr kumimoji="0" sz="1500" b="0" i="0" u="none" strike="noStrike" kern="1200" cap="none" spc="0" normalizeH="0" baseline="0" noProof="0" dirty="0">
                <a:ln>
                  <a:noFill/>
                </a:ln>
                <a:solidFill>
                  <a:prstClr val="black"/>
                </a:solidFill>
                <a:effectLst/>
                <a:uLnTx/>
                <a:uFillTx/>
                <a:latin typeface="Open Sans"/>
                <a:ea typeface="+mn-ea"/>
                <a:cs typeface="Open Sans"/>
              </a:rPr>
              <a:t>points</a:t>
            </a:r>
          </a:p>
          <a:p>
            <a:pPr marL="1905" marR="0" lvl="0" indent="0" algn="ctr" defTabSz="914400" rtl="0" eaLnBrk="1" fontAlgn="auto" latinLnBrk="0" hangingPunct="1">
              <a:lnSpc>
                <a:spcPct val="100000"/>
              </a:lnSpc>
              <a:spcBef>
                <a:spcPts val="10"/>
              </a:spcBef>
              <a:spcAft>
                <a:spcPts val="0"/>
              </a:spcAft>
              <a:buClrTx/>
              <a:buSzTx/>
              <a:buFontTx/>
              <a:buNone/>
              <a:tabLst/>
              <a:defRPr/>
            </a:pPr>
            <a:r>
              <a:rPr kumimoji="0" sz="1500" b="0" i="0" u="none" strike="noStrike" kern="1200" cap="none" spc="0" normalizeH="0" baseline="0" noProof="0" dirty="0">
                <a:ln>
                  <a:noFill/>
                </a:ln>
                <a:solidFill>
                  <a:prstClr val="black"/>
                </a:solidFill>
                <a:effectLst/>
                <a:uLnTx/>
                <a:uFillTx/>
                <a:latin typeface="Wingdings"/>
                <a:ea typeface="+mn-ea"/>
                <a:cs typeface="Wingdings"/>
              </a:rPr>
              <a:t></a:t>
            </a:r>
            <a:r>
              <a:rPr kumimoji="0" sz="1500" b="0" i="0" u="none" strike="noStrike" kern="1200" cap="none" spc="0" normalizeH="0" baseline="0" noProof="0" dirty="0">
                <a:ln>
                  <a:noFill/>
                </a:ln>
                <a:solidFill>
                  <a:prstClr val="black"/>
                </a:solidFill>
                <a:effectLst/>
                <a:uLnTx/>
                <a:uFillTx/>
                <a:latin typeface="Times New Roman"/>
                <a:ea typeface="+mn-ea"/>
                <a:cs typeface="Times New Roman"/>
              </a:rPr>
              <a:t> </a:t>
            </a:r>
            <a:r>
              <a:rPr kumimoji="0" sz="1500" b="0" i="0" u="none" strike="noStrike" kern="1200" cap="none" spc="0" normalizeH="0" baseline="0" noProof="0" dirty="0">
                <a:ln>
                  <a:noFill/>
                </a:ln>
                <a:solidFill>
                  <a:prstClr val="black"/>
                </a:solidFill>
                <a:effectLst/>
                <a:uLnTx/>
                <a:uFillTx/>
                <a:latin typeface="Open Sans"/>
                <a:ea typeface="+mn-ea"/>
                <a:cs typeface="Open Sans"/>
              </a:rPr>
              <a:t>one </a:t>
            </a:r>
            <a:r>
              <a:rPr kumimoji="0" sz="1500" b="0" i="0" u="none" strike="noStrike" kern="1200" cap="none" spc="-10" normalizeH="0" baseline="0" noProof="0" dirty="0">
                <a:ln>
                  <a:noFill/>
                </a:ln>
                <a:solidFill>
                  <a:prstClr val="black"/>
                </a:solidFill>
                <a:effectLst/>
                <a:uLnTx/>
                <a:uFillTx/>
                <a:latin typeface="Open Sans"/>
                <a:ea typeface="+mn-ea"/>
                <a:cs typeface="Open Sans"/>
              </a:rPr>
              <a:t>marketer</a:t>
            </a:r>
            <a:r>
              <a:rPr kumimoji="0" sz="1500" b="0" i="0" u="none" strike="noStrike" kern="1200" cap="none" spc="-45" normalizeH="0" baseline="0" noProof="0" dirty="0">
                <a:ln>
                  <a:noFill/>
                </a:ln>
                <a:solidFill>
                  <a:prstClr val="black"/>
                </a:solidFill>
                <a:effectLst/>
                <a:uLnTx/>
                <a:uFillTx/>
                <a:latin typeface="Open Sans"/>
                <a:ea typeface="+mn-ea"/>
                <a:cs typeface="Open Sans"/>
              </a:rPr>
              <a:t> </a:t>
            </a:r>
            <a:r>
              <a:rPr kumimoji="0" sz="1500" b="0" i="0" u="none" strike="noStrike" kern="1200" cap="none" spc="0" normalizeH="0" baseline="0" noProof="0" dirty="0">
                <a:ln>
                  <a:noFill/>
                </a:ln>
                <a:solidFill>
                  <a:prstClr val="black"/>
                </a:solidFill>
                <a:effectLst/>
                <a:uLnTx/>
                <a:uFillTx/>
                <a:latin typeface="Open Sans"/>
                <a:ea typeface="+mn-ea"/>
                <a:cs typeface="Open Sans"/>
              </a:rPr>
              <a:t>KPI</a:t>
            </a:r>
          </a:p>
        </p:txBody>
      </p:sp>
      <p:sp>
        <p:nvSpPr>
          <p:cNvPr id="6" name="object 7">
            <a:extLst>
              <a:ext uri="{FF2B5EF4-FFF2-40B4-BE49-F238E27FC236}">
                <a16:creationId xmlns:a16="http://schemas.microsoft.com/office/drawing/2014/main" id="{670FBB1B-66AE-4A1F-BC63-06108849D96A}"/>
              </a:ext>
            </a:extLst>
          </p:cNvPr>
          <p:cNvSpPr txBox="1"/>
          <p:nvPr/>
        </p:nvSpPr>
        <p:spPr>
          <a:xfrm>
            <a:off x="7448168" y="4973573"/>
            <a:ext cx="1861820" cy="563880"/>
          </a:xfrm>
          <a:prstGeom prst="rect">
            <a:avLst/>
          </a:prstGeom>
        </p:spPr>
        <p:txBody>
          <a:bodyPr vert="horz" wrap="square" lIns="0" tIns="12700" rIns="0" bIns="0" rtlCol="0">
            <a:spAutoFit/>
          </a:bodyPr>
          <a:lstStyle/>
          <a:p>
            <a:pPr marL="17145" marR="0" lvl="0" indent="0" algn="l" defTabSz="914400" rtl="0" eaLnBrk="1" fontAlgn="auto" latinLnBrk="0" hangingPunct="1">
              <a:lnSpc>
                <a:spcPct val="100000"/>
              </a:lnSpc>
              <a:spcBef>
                <a:spcPts val="100"/>
              </a:spcBef>
              <a:spcAft>
                <a:spcPts val="0"/>
              </a:spcAft>
              <a:buClrTx/>
              <a:buSzTx/>
              <a:buFontTx/>
              <a:buNone/>
              <a:tabLst/>
              <a:defRPr/>
            </a:pPr>
            <a:r>
              <a:rPr kumimoji="0" sz="2000" b="1" i="0" u="none" strike="noStrike" kern="1200" cap="none" spc="-10" normalizeH="0" baseline="0" noProof="0" dirty="0">
                <a:ln>
                  <a:noFill/>
                </a:ln>
                <a:solidFill>
                  <a:prstClr val="black"/>
                </a:solidFill>
                <a:effectLst/>
                <a:uLnTx/>
                <a:uFillTx/>
                <a:latin typeface="Open Sans"/>
                <a:ea typeface="+mn-ea"/>
                <a:cs typeface="Open Sans"/>
              </a:rPr>
              <a:t>TRANSPARENT</a:t>
            </a:r>
            <a:endParaRPr kumimoji="0" sz="2000" b="0" i="0" u="none" strike="noStrike" kern="1200" cap="none" spc="0" normalizeH="0" baseline="0" noProof="0" dirty="0">
              <a:ln>
                <a:noFill/>
              </a:ln>
              <a:solidFill>
                <a:prstClr val="black"/>
              </a:solidFill>
              <a:effectLst/>
              <a:uLnTx/>
              <a:uFillTx/>
              <a:latin typeface="Open Sans"/>
              <a:ea typeface="+mn-ea"/>
              <a:cs typeface="Open Sans"/>
            </a:endParaRPr>
          </a:p>
          <a:p>
            <a:pPr marL="12700" marR="0" lvl="0" indent="0" algn="l" defTabSz="914400" rtl="0" eaLnBrk="1" fontAlgn="auto" latinLnBrk="0" hangingPunct="1">
              <a:lnSpc>
                <a:spcPct val="100000"/>
              </a:lnSpc>
              <a:spcBef>
                <a:spcPts val="35"/>
              </a:spcBef>
              <a:spcAft>
                <a:spcPts val="0"/>
              </a:spcAft>
              <a:buClrTx/>
              <a:buSzTx/>
              <a:buFontTx/>
              <a:buNone/>
              <a:tabLst/>
              <a:defRPr/>
            </a:pPr>
            <a:r>
              <a:rPr kumimoji="0" sz="1500" b="0" i="0" u="none" strike="noStrike" kern="1200" cap="none" spc="0" normalizeH="0" baseline="0" noProof="0" dirty="0">
                <a:ln>
                  <a:noFill/>
                </a:ln>
                <a:solidFill>
                  <a:prstClr val="black"/>
                </a:solidFill>
                <a:effectLst/>
                <a:uLnTx/>
                <a:uFillTx/>
                <a:latin typeface="Open Sans"/>
                <a:ea typeface="+mn-ea"/>
                <a:cs typeface="Open Sans"/>
              </a:rPr>
              <a:t>no </a:t>
            </a:r>
            <a:r>
              <a:rPr kumimoji="0" sz="1500" b="0" i="0" u="none" strike="noStrike" kern="1200" cap="none" spc="-10" normalizeH="0" baseline="0" noProof="0" dirty="0">
                <a:ln>
                  <a:noFill/>
                </a:ln>
                <a:solidFill>
                  <a:prstClr val="black"/>
                </a:solidFill>
                <a:effectLst/>
                <a:uLnTx/>
                <a:uFillTx/>
                <a:latin typeface="Open Sans"/>
                <a:ea typeface="+mn-ea"/>
                <a:cs typeface="Open Sans"/>
              </a:rPr>
              <a:t>more </a:t>
            </a:r>
            <a:r>
              <a:rPr kumimoji="0" sz="1500" b="0" i="0" u="none" strike="noStrike" kern="1200" cap="none" spc="0" normalizeH="0" baseline="0" noProof="0" dirty="0">
                <a:ln>
                  <a:noFill/>
                </a:ln>
                <a:solidFill>
                  <a:prstClr val="black"/>
                </a:solidFill>
                <a:effectLst/>
                <a:uLnTx/>
                <a:uFillTx/>
                <a:latin typeface="Open Sans"/>
                <a:ea typeface="+mn-ea"/>
                <a:cs typeface="Open Sans"/>
              </a:rPr>
              <a:t>black</a:t>
            </a:r>
            <a:r>
              <a:rPr kumimoji="0" sz="1500" b="0" i="0" u="none" strike="noStrike" kern="1200" cap="none" spc="-120" normalizeH="0" baseline="0" noProof="0" dirty="0">
                <a:ln>
                  <a:noFill/>
                </a:ln>
                <a:solidFill>
                  <a:prstClr val="black"/>
                </a:solidFill>
                <a:effectLst/>
                <a:uLnTx/>
                <a:uFillTx/>
                <a:latin typeface="Open Sans"/>
                <a:ea typeface="+mn-ea"/>
                <a:cs typeface="Open Sans"/>
              </a:rPr>
              <a:t> </a:t>
            </a:r>
            <a:r>
              <a:rPr kumimoji="0" sz="1500" b="0" i="0" u="none" strike="noStrike" kern="1200" cap="none" spc="-15" normalizeH="0" baseline="0" noProof="0" dirty="0">
                <a:ln>
                  <a:noFill/>
                </a:ln>
                <a:solidFill>
                  <a:prstClr val="black"/>
                </a:solidFill>
                <a:effectLst/>
                <a:uLnTx/>
                <a:uFillTx/>
                <a:latin typeface="Open Sans"/>
                <a:ea typeface="+mn-ea"/>
                <a:cs typeface="Open Sans"/>
              </a:rPr>
              <a:t>boxes</a:t>
            </a:r>
            <a:endParaRPr kumimoji="0" sz="1500" b="0" i="0" u="none" strike="noStrike" kern="1200" cap="none" spc="0" normalizeH="0" baseline="0" noProof="0" dirty="0">
              <a:ln>
                <a:noFill/>
              </a:ln>
              <a:solidFill>
                <a:prstClr val="black"/>
              </a:solidFill>
              <a:effectLst/>
              <a:uLnTx/>
              <a:uFillTx/>
              <a:latin typeface="Open Sans"/>
              <a:ea typeface="+mn-ea"/>
              <a:cs typeface="Open Sans"/>
            </a:endParaRPr>
          </a:p>
        </p:txBody>
      </p:sp>
      <p:sp>
        <p:nvSpPr>
          <p:cNvPr id="7" name="object 8">
            <a:extLst>
              <a:ext uri="{FF2B5EF4-FFF2-40B4-BE49-F238E27FC236}">
                <a16:creationId xmlns:a16="http://schemas.microsoft.com/office/drawing/2014/main" id="{3F276AE4-8403-4008-A400-105696BBAFD9}"/>
              </a:ext>
            </a:extLst>
          </p:cNvPr>
          <p:cNvSpPr/>
          <p:nvPr/>
        </p:nvSpPr>
        <p:spPr>
          <a:xfrm>
            <a:off x="2398776" y="2072639"/>
            <a:ext cx="2146300" cy="2146300"/>
          </a:xfrm>
          <a:custGeom>
            <a:avLst/>
            <a:gdLst/>
            <a:ahLst/>
            <a:cxnLst/>
            <a:rect l="l" t="t" r="r" b="b"/>
            <a:pathLst>
              <a:path w="2146300" h="2146300">
                <a:moveTo>
                  <a:pt x="1072896" y="0"/>
                </a:moveTo>
                <a:lnTo>
                  <a:pt x="1025102" y="1045"/>
                </a:lnTo>
                <a:lnTo>
                  <a:pt x="977843" y="4152"/>
                </a:lnTo>
                <a:lnTo>
                  <a:pt x="931164" y="9276"/>
                </a:lnTo>
                <a:lnTo>
                  <a:pt x="885108" y="16375"/>
                </a:lnTo>
                <a:lnTo>
                  <a:pt x="839718" y="25405"/>
                </a:lnTo>
                <a:lnTo>
                  <a:pt x="795039" y="36322"/>
                </a:lnTo>
                <a:lnTo>
                  <a:pt x="751112" y="49082"/>
                </a:lnTo>
                <a:lnTo>
                  <a:pt x="707984" y="63643"/>
                </a:lnTo>
                <a:lnTo>
                  <a:pt x="665696" y="79959"/>
                </a:lnTo>
                <a:lnTo>
                  <a:pt x="624292" y="97989"/>
                </a:lnTo>
                <a:lnTo>
                  <a:pt x="583816" y="117687"/>
                </a:lnTo>
                <a:lnTo>
                  <a:pt x="544312" y="139011"/>
                </a:lnTo>
                <a:lnTo>
                  <a:pt x="505823" y="161917"/>
                </a:lnTo>
                <a:lnTo>
                  <a:pt x="468393" y="186361"/>
                </a:lnTo>
                <a:lnTo>
                  <a:pt x="432065" y="212301"/>
                </a:lnTo>
                <a:lnTo>
                  <a:pt x="396884" y="239691"/>
                </a:lnTo>
                <a:lnTo>
                  <a:pt x="362892" y="268489"/>
                </a:lnTo>
                <a:lnTo>
                  <a:pt x="330133" y="298650"/>
                </a:lnTo>
                <a:lnTo>
                  <a:pt x="298650" y="330133"/>
                </a:lnTo>
                <a:lnTo>
                  <a:pt x="268489" y="362892"/>
                </a:lnTo>
                <a:lnTo>
                  <a:pt x="239691" y="396884"/>
                </a:lnTo>
                <a:lnTo>
                  <a:pt x="212301" y="432065"/>
                </a:lnTo>
                <a:lnTo>
                  <a:pt x="186361" y="468393"/>
                </a:lnTo>
                <a:lnTo>
                  <a:pt x="161917" y="505823"/>
                </a:lnTo>
                <a:lnTo>
                  <a:pt x="139011" y="544312"/>
                </a:lnTo>
                <a:lnTo>
                  <a:pt x="117687" y="583816"/>
                </a:lnTo>
                <a:lnTo>
                  <a:pt x="97989" y="624292"/>
                </a:lnTo>
                <a:lnTo>
                  <a:pt x="79959" y="665696"/>
                </a:lnTo>
                <a:lnTo>
                  <a:pt x="63643" y="707984"/>
                </a:lnTo>
                <a:lnTo>
                  <a:pt x="49082" y="751112"/>
                </a:lnTo>
                <a:lnTo>
                  <a:pt x="36322" y="795039"/>
                </a:lnTo>
                <a:lnTo>
                  <a:pt x="25405" y="839718"/>
                </a:lnTo>
                <a:lnTo>
                  <a:pt x="16375" y="885108"/>
                </a:lnTo>
                <a:lnTo>
                  <a:pt x="9276" y="931164"/>
                </a:lnTo>
                <a:lnTo>
                  <a:pt x="4152" y="977843"/>
                </a:lnTo>
                <a:lnTo>
                  <a:pt x="1045" y="1025102"/>
                </a:lnTo>
                <a:lnTo>
                  <a:pt x="0" y="1072896"/>
                </a:lnTo>
                <a:lnTo>
                  <a:pt x="1045" y="1120689"/>
                </a:lnTo>
                <a:lnTo>
                  <a:pt x="4152" y="1167948"/>
                </a:lnTo>
                <a:lnTo>
                  <a:pt x="9276" y="1214627"/>
                </a:lnTo>
                <a:lnTo>
                  <a:pt x="16375" y="1260683"/>
                </a:lnTo>
                <a:lnTo>
                  <a:pt x="25405" y="1306073"/>
                </a:lnTo>
                <a:lnTo>
                  <a:pt x="36322" y="1350752"/>
                </a:lnTo>
                <a:lnTo>
                  <a:pt x="49082" y="1394679"/>
                </a:lnTo>
                <a:lnTo>
                  <a:pt x="63643" y="1437807"/>
                </a:lnTo>
                <a:lnTo>
                  <a:pt x="79959" y="1480095"/>
                </a:lnTo>
                <a:lnTo>
                  <a:pt x="97989" y="1521499"/>
                </a:lnTo>
                <a:lnTo>
                  <a:pt x="117687" y="1561975"/>
                </a:lnTo>
                <a:lnTo>
                  <a:pt x="139011" y="1601479"/>
                </a:lnTo>
                <a:lnTo>
                  <a:pt x="161917" y="1639968"/>
                </a:lnTo>
                <a:lnTo>
                  <a:pt x="186361" y="1677398"/>
                </a:lnTo>
                <a:lnTo>
                  <a:pt x="212301" y="1713726"/>
                </a:lnTo>
                <a:lnTo>
                  <a:pt x="239691" y="1748907"/>
                </a:lnTo>
                <a:lnTo>
                  <a:pt x="268489" y="1782899"/>
                </a:lnTo>
                <a:lnTo>
                  <a:pt x="298650" y="1815658"/>
                </a:lnTo>
                <a:lnTo>
                  <a:pt x="330133" y="1847141"/>
                </a:lnTo>
                <a:lnTo>
                  <a:pt x="362892" y="1877302"/>
                </a:lnTo>
                <a:lnTo>
                  <a:pt x="396884" y="1906100"/>
                </a:lnTo>
                <a:lnTo>
                  <a:pt x="432065" y="1933490"/>
                </a:lnTo>
                <a:lnTo>
                  <a:pt x="468393" y="1959430"/>
                </a:lnTo>
                <a:lnTo>
                  <a:pt x="505823" y="1983874"/>
                </a:lnTo>
                <a:lnTo>
                  <a:pt x="544312" y="2006780"/>
                </a:lnTo>
                <a:lnTo>
                  <a:pt x="583816" y="2028104"/>
                </a:lnTo>
                <a:lnTo>
                  <a:pt x="624292" y="2047802"/>
                </a:lnTo>
                <a:lnTo>
                  <a:pt x="665696" y="2065832"/>
                </a:lnTo>
                <a:lnTo>
                  <a:pt x="707984" y="2082148"/>
                </a:lnTo>
                <a:lnTo>
                  <a:pt x="751112" y="2096709"/>
                </a:lnTo>
                <a:lnTo>
                  <a:pt x="795039" y="2109469"/>
                </a:lnTo>
                <a:lnTo>
                  <a:pt x="839718" y="2120386"/>
                </a:lnTo>
                <a:lnTo>
                  <a:pt x="885108" y="2129416"/>
                </a:lnTo>
                <a:lnTo>
                  <a:pt x="931164" y="2136515"/>
                </a:lnTo>
                <a:lnTo>
                  <a:pt x="977843" y="2141639"/>
                </a:lnTo>
                <a:lnTo>
                  <a:pt x="1025102" y="2144746"/>
                </a:lnTo>
                <a:lnTo>
                  <a:pt x="1072896" y="2145792"/>
                </a:lnTo>
                <a:lnTo>
                  <a:pt x="1120689" y="2144746"/>
                </a:lnTo>
                <a:lnTo>
                  <a:pt x="1167948" y="2141639"/>
                </a:lnTo>
                <a:lnTo>
                  <a:pt x="1214627" y="2136515"/>
                </a:lnTo>
                <a:lnTo>
                  <a:pt x="1260683" y="2129416"/>
                </a:lnTo>
                <a:lnTo>
                  <a:pt x="1306073" y="2120386"/>
                </a:lnTo>
                <a:lnTo>
                  <a:pt x="1350752" y="2109469"/>
                </a:lnTo>
                <a:lnTo>
                  <a:pt x="1394679" y="2096709"/>
                </a:lnTo>
                <a:lnTo>
                  <a:pt x="1437807" y="2082148"/>
                </a:lnTo>
                <a:lnTo>
                  <a:pt x="1480095" y="2065832"/>
                </a:lnTo>
                <a:lnTo>
                  <a:pt x="1521499" y="2047802"/>
                </a:lnTo>
                <a:lnTo>
                  <a:pt x="1561975" y="2028104"/>
                </a:lnTo>
                <a:lnTo>
                  <a:pt x="1601479" y="2006780"/>
                </a:lnTo>
                <a:lnTo>
                  <a:pt x="1639968" y="1983874"/>
                </a:lnTo>
                <a:lnTo>
                  <a:pt x="1677398" y="1959430"/>
                </a:lnTo>
                <a:lnTo>
                  <a:pt x="1713726" y="1933490"/>
                </a:lnTo>
                <a:lnTo>
                  <a:pt x="1748907" y="1906100"/>
                </a:lnTo>
                <a:lnTo>
                  <a:pt x="1782899" y="1877302"/>
                </a:lnTo>
                <a:lnTo>
                  <a:pt x="1815658" y="1847141"/>
                </a:lnTo>
                <a:lnTo>
                  <a:pt x="1847141" y="1815658"/>
                </a:lnTo>
                <a:lnTo>
                  <a:pt x="1877302" y="1782899"/>
                </a:lnTo>
                <a:lnTo>
                  <a:pt x="1906100" y="1748907"/>
                </a:lnTo>
                <a:lnTo>
                  <a:pt x="1933490" y="1713726"/>
                </a:lnTo>
                <a:lnTo>
                  <a:pt x="1959430" y="1677398"/>
                </a:lnTo>
                <a:lnTo>
                  <a:pt x="1983874" y="1639968"/>
                </a:lnTo>
                <a:lnTo>
                  <a:pt x="2006780" y="1601479"/>
                </a:lnTo>
                <a:lnTo>
                  <a:pt x="2028104" y="1561975"/>
                </a:lnTo>
                <a:lnTo>
                  <a:pt x="2047802" y="1521499"/>
                </a:lnTo>
                <a:lnTo>
                  <a:pt x="2065832" y="1480095"/>
                </a:lnTo>
                <a:lnTo>
                  <a:pt x="2082148" y="1437807"/>
                </a:lnTo>
                <a:lnTo>
                  <a:pt x="2096709" y="1394679"/>
                </a:lnTo>
                <a:lnTo>
                  <a:pt x="2109469" y="1350752"/>
                </a:lnTo>
                <a:lnTo>
                  <a:pt x="2120386" y="1306073"/>
                </a:lnTo>
                <a:lnTo>
                  <a:pt x="2129416" y="1260683"/>
                </a:lnTo>
                <a:lnTo>
                  <a:pt x="2136515" y="1214627"/>
                </a:lnTo>
                <a:lnTo>
                  <a:pt x="2141639" y="1167948"/>
                </a:lnTo>
                <a:lnTo>
                  <a:pt x="2144746" y="1120689"/>
                </a:lnTo>
                <a:lnTo>
                  <a:pt x="2145791" y="1072896"/>
                </a:lnTo>
                <a:lnTo>
                  <a:pt x="2144746" y="1025102"/>
                </a:lnTo>
                <a:lnTo>
                  <a:pt x="2141639" y="977843"/>
                </a:lnTo>
                <a:lnTo>
                  <a:pt x="2136515" y="931164"/>
                </a:lnTo>
                <a:lnTo>
                  <a:pt x="2129416" y="885108"/>
                </a:lnTo>
                <a:lnTo>
                  <a:pt x="2120386" y="839718"/>
                </a:lnTo>
                <a:lnTo>
                  <a:pt x="2109469" y="795039"/>
                </a:lnTo>
                <a:lnTo>
                  <a:pt x="2096709" y="751112"/>
                </a:lnTo>
                <a:lnTo>
                  <a:pt x="2082148" y="707984"/>
                </a:lnTo>
                <a:lnTo>
                  <a:pt x="2065832" y="665696"/>
                </a:lnTo>
                <a:lnTo>
                  <a:pt x="2047802" y="624292"/>
                </a:lnTo>
                <a:lnTo>
                  <a:pt x="2028104" y="583816"/>
                </a:lnTo>
                <a:lnTo>
                  <a:pt x="2006780" y="544312"/>
                </a:lnTo>
                <a:lnTo>
                  <a:pt x="1983874" y="505823"/>
                </a:lnTo>
                <a:lnTo>
                  <a:pt x="1959430" y="468393"/>
                </a:lnTo>
                <a:lnTo>
                  <a:pt x="1933490" y="432065"/>
                </a:lnTo>
                <a:lnTo>
                  <a:pt x="1906100" y="396884"/>
                </a:lnTo>
                <a:lnTo>
                  <a:pt x="1877302" y="362892"/>
                </a:lnTo>
                <a:lnTo>
                  <a:pt x="1847141" y="330133"/>
                </a:lnTo>
                <a:lnTo>
                  <a:pt x="1815658" y="298650"/>
                </a:lnTo>
                <a:lnTo>
                  <a:pt x="1782899" y="268489"/>
                </a:lnTo>
                <a:lnTo>
                  <a:pt x="1748907" y="239691"/>
                </a:lnTo>
                <a:lnTo>
                  <a:pt x="1713726" y="212301"/>
                </a:lnTo>
                <a:lnTo>
                  <a:pt x="1677398" y="186361"/>
                </a:lnTo>
                <a:lnTo>
                  <a:pt x="1639968" y="161917"/>
                </a:lnTo>
                <a:lnTo>
                  <a:pt x="1601479" y="139011"/>
                </a:lnTo>
                <a:lnTo>
                  <a:pt x="1561975" y="117687"/>
                </a:lnTo>
                <a:lnTo>
                  <a:pt x="1521499" y="97989"/>
                </a:lnTo>
                <a:lnTo>
                  <a:pt x="1480095" y="79959"/>
                </a:lnTo>
                <a:lnTo>
                  <a:pt x="1437807" y="63643"/>
                </a:lnTo>
                <a:lnTo>
                  <a:pt x="1394679" y="49082"/>
                </a:lnTo>
                <a:lnTo>
                  <a:pt x="1350752" y="36322"/>
                </a:lnTo>
                <a:lnTo>
                  <a:pt x="1306073" y="25405"/>
                </a:lnTo>
                <a:lnTo>
                  <a:pt x="1260683" y="16375"/>
                </a:lnTo>
                <a:lnTo>
                  <a:pt x="1214627" y="9276"/>
                </a:lnTo>
                <a:lnTo>
                  <a:pt x="1167948" y="4152"/>
                </a:lnTo>
                <a:lnTo>
                  <a:pt x="1120689" y="1045"/>
                </a:lnTo>
                <a:lnTo>
                  <a:pt x="1072896" y="0"/>
                </a:lnTo>
                <a:close/>
              </a:path>
            </a:pathLst>
          </a:custGeom>
          <a:solidFill>
            <a:srgbClr val="34E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 name="object 9">
            <a:extLst>
              <a:ext uri="{FF2B5EF4-FFF2-40B4-BE49-F238E27FC236}">
                <a16:creationId xmlns:a16="http://schemas.microsoft.com/office/drawing/2014/main" id="{90A6FAE3-719D-419F-A72B-9BAE2E923AAC}"/>
              </a:ext>
            </a:extLst>
          </p:cNvPr>
          <p:cNvSpPr/>
          <p:nvPr/>
        </p:nvSpPr>
        <p:spPr>
          <a:xfrm>
            <a:off x="2592323" y="2266188"/>
            <a:ext cx="1840229" cy="1838706"/>
          </a:xfrm>
          <a:prstGeom prst="rect">
            <a:avLst/>
          </a:prstGeom>
          <a:blipFill>
            <a:blip r:embed="rId10"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 name="object 10">
            <a:extLst>
              <a:ext uri="{FF2B5EF4-FFF2-40B4-BE49-F238E27FC236}">
                <a16:creationId xmlns:a16="http://schemas.microsoft.com/office/drawing/2014/main" id="{8F275C9A-2742-49BD-89CC-BEF793D7E0D2}"/>
              </a:ext>
            </a:extLst>
          </p:cNvPr>
          <p:cNvSpPr/>
          <p:nvPr/>
        </p:nvSpPr>
        <p:spPr>
          <a:xfrm>
            <a:off x="2639567" y="2313432"/>
            <a:ext cx="1664335" cy="1663064"/>
          </a:xfrm>
          <a:custGeom>
            <a:avLst/>
            <a:gdLst/>
            <a:ahLst/>
            <a:cxnLst/>
            <a:rect l="l" t="t" r="r" b="b"/>
            <a:pathLst>
              <a:path w="1664335" h="1663064">
                <a:moveTo>
                  <a:pt x="832104" y="0"/>
                </a:moveTo>
                <a:lnTo>
                  <a:pt x="783206" y="1411"/>
                </a:lnTo>
                <a:lnTo>
                  <a:pt x="735052" y="5593"/>
                </a:lnTo>
                <a:lnTo>
                  <a:pt x="687722" y="12468"/>
                </a:lnTo>
                <a:lnTo>
                  <a:pt x="641292" y="21958"/>
                </a:lnTo>
                <a:lnTo>
                  <a:pt x="595842" y="33984"/>
                </a:lnTo>
                <a:lnTo>
                  <a:pt x="551447" y="48469"/>
                </a:lnTo>
                <a:lnTo>
                  <a:pt x="508188" y="65335"/>
                </a:lnTo>
                <a:lnTo>
                  <a:pt x="466141" y="84504"/>
                </a:lnTo>
                <a:lnTo>
                  <a:pt x="425385" y="105897"/>
                </a:lnTo>
                <a:lnTo>
                  <a:pt x="385998" y="129437"/>
                </a:lnTo>
                <a:lnTo>
                  <a:pt x="348058" y="155046"/>
                </a:lnTo>
                <a:lnTo>
                  <a:pt x="311642" y="182646"/>
                </a:lnTo>
                <a:lnTo>
                  <a:pt x="276829" y="212159"/>
                </a:lnTo>
                <a:lnTo>
                  <a:pt x="243697" y="243506"/>
                </a:lnTo>
                <a:lnTo>
                  <a:pt x="212323" y="276610"/>
                </a:lnTo>
                <a:lnTo>
                  <a:pt x="182786" y="311393"/>
                </a:lnTo>
                <a:lnTo>
                  <a:pt x="155164" y="347777"/>
                </a:lnTo>
                <a:lnTo>
                  <a:pt x="129535" y="385683"/>
                </a:lnTo>
                <a:lnTo>
                  <a:pt x="105976" y="425035"/>
                </a:lnTo>
                <a:lnTo>
                  <a:pt x="84566" y="465753"/>
                </a:lnTo>
                <a:lnTo>
                  <a:pt x="65383" y="507759"/>
                </a:lnTo>
                <a:lnTo>
                  <a:pt x="48504" y="550977"/>
                </a:lnTo>
                <a:lnTo>
                  <a:pt x="34008" y="595327"/>
                </a:lnTo>
                <a:lnTo>
                  <a:pt x="21973" y="640733"/>
                </a:lnTo>
                <a:lnTo>
                  <a:pt x="12477" y="687115"/>
                </a:lnTo>
                <a:lnTo>
                  <a:pt x="5597" y="734395"/>
                </a:lnTo>
                <a:lnTo>
                  <a:pt x="1412" y="782497"/>
                </a:lnTo>
                <a:lnTo>
                  <a:pt x="0" y="831341"/>
                </a:lnTo>
                <a:lnTo>
                  <a:pt x="1412" y="880186"/>
                </a:lnTo>
                <a:lnTo>
                  <a:pt x="5597" y="928288"/>
                </a:lnTo>
                <a:lnTo>
                  <a:pt x="12477" y="975568"/>
                </a:lnTo>
                <a:lnTo>
                  <a:pt x="21973" y="1021950"/>
                </a:lnTo>
                <a:lnTo>
                  <a:pt x="34008" y="1067356"/>
                </a:lnTo>
                <a:lnTo>
                  <a:pt x="48504" y="1111706"/>
                </a:lnTo>
                <a:lnTo>
                  <a:pt x="65383" y="1154924"/>
                </a:lnTo>
                <a:lnTo>
                  <a:pt x="84566" y="1196930"/>
                </a:lnTo>
                <a:lnTo>
                  <a:pt x="105976" y="1237648"/>
                </a:lnTo>
                <a:lnTo>
                  <a:pt x="129535" y="1277000"/>
                </a:lnTo>
                <a:lnTo>
                  <a:pt x="155164" y="1314906"/>
                </a:lnTo>
                <a:lnTo>
                  <a:pt x="182786" y="1351290"/>
                </a:lnTo>
                <a:lnTo>
                  <a:pt x="212323" y="1386073"/>
                </a:lnTo>
                <a:lnTo>
                  <a:pt x="243697" y="1419177"/>
                </a:lnTo>
                <a:lnTo>
                  <a:pt x="276829" y="1450524"/>
                </a:lnTo>
                <a:lnTo>
                  <a:pt x="311642" y="1480037"/>
                </a:lnTo>
                <a:lnTo>
                  <a:pt x="348058" y="1507637"/>
                </a:lnTo>
                <a:lnTo>
                  <a:pt x="385998" y="1533246"/>
                </a:lnTo>
                <a:lnTo>
                  <a:pt x="425385" y="1556786"/>
                </a:lnTo>
                <a:lnTo>
                  <a:pt x="466141" y="1578179"/>
                </a:lnTo>
                <a:lnTo>
                  <a:pt x="508188" y="1597348"/>
                </a:lnTo>
                <a:lnTo>
                  <a:pt x="551447" y="1614214"/>
                </a:lnTo>
                <a:lnTo>
                  <a:pt x="595842" y="1628699"/>
                </a:lnTo>
                <a:lnTo>
                  <a:pt x="641292" y="1640725"/>
                </a:lnTo>
                <a:lnTo>
                  <a:pt x="687722" y="1650215"/>
                </a:lnTo>
                <a:lnTo>
                  <a:pt x="735052" y="1657090"/>
                </a:lnTo>
                <a:lnTo>
                  <a:pt x="783206" y="1661272"/>
                </a:lnTo>
                <a:lnTo>
                  <a:pt x="832104" y="1662683"/>
                </a:lnTo>
                <a:lnTo>
                  <a:pt x="881001" y="1661272"/>
                </a:lnTo>
                <a:lnTo>
                  <a:pt x="929155" y="1657090"/>
                </a:lnTo>
                <a:lnTo>
                  <a:pt x="976485" y="1650215"/>
                </a:lnTo>
                <a:lnTo>
                  <a:pt x="1022915" y="1640725"/>
                </a:lnTo>
                <a:lnTo>
                  <a:pt x="1068365" y="1628699"/>
                </a:lnTo>
                <a:lnTo>
                  <a:pt x="1112760" y="1614214"/>
                </a:lnTo>
                <a:lnTo>
                  <a:pt x="1156019" y="1597348"/>
                </a:lnTo>
                <a:lnTo>
                  <a:pt x="1198066" y="1578179"/>
                </a:lnTo>
                <a:lnTo>
                  <a:pt x="1238822" y="1556786"/>
                </a:lnTo>
                <a:lnTo>
                  <a:pt x="1278209" y="1533246"/>
                </a:lnTo>
                <a:lnTo>
                  <a:pt x="1316149" y="1507637"/>
                </a:lnTo>
                <a:lnTo>
                  <a:pt x="1352565" y="1480037"/>
                </a:lnTo>
                <a:lnTo>
                  <a:pt x="1387378" y="1450524"/>
                </a:lnTo>
                <a:lnTo>
                  <a:pt x="1420510" y="1419177"/>
                </a:lnTo>
                <a:lnTo>
                  <a:pt x="1451884" y="1386073"/>
                </a:lnTo>
                <a:lnTo>
                  <a:pt x="1481421" y="1351290"/>
                </a:lnTo>
                <a:lnTo>
                  <a:pt x="1509043" y="1314906"/>
                </a:lnTo>
                <a:lnTo>
                  <a:pt x="1534672" y="1277000"/>
                </a:lnTo>
                <a:lnTo>
                  <a:pt x="1558231" y="1237648"/>
                </a:lnTo>
                <a:lnTo>
                  <a:pt x="1579641" y="1196930"/>
                </a:lnTo>
                <a:lnTo>
                  <a:pt x="1598824" y="1154924"/>
                </a:lnTo>
                <a:lnTo>
                  <a:pt x="1615703" y="1111706"/>
                </a:lnTo>
                <a:lnTo>
                  <a:pt x="1630199" y="1067356"/>
                </a:lnTo>
                <a:lnTo>
                  <a:pt x="1642234" y="1021950"/>
                </a:lnTo>
                <a:lnTo>
                  <a:pt x="1651730" y="975568"/>
                </a:lnTo>
                <a:lnTo>
                  <a:pt x="1658610" y="928288"/>
                </a:lnTo>
                <a:lnTo>
                  <a:pt x="1662795" y="880186"/>
                </a:lnTo>
                <a:lnTo>
                  <a:pt x="1664208" y="831341"/>
                </a:lnTo>
                <a:lnTo>
                  <a:pt x="1662795" y="782497"/>
                </a:lnTo>
                <a:lnTo>
                  <a:pt x="1658610" y="734395"/>
                </a:lnTo>
                <a:lnTo>
                  <a:pt x="1651730" y="687115"/>
                </a:lnTo>
                <a:lnTo>
                  <a:pt x="1642234" y="640733"/>
                </a:lnTo>
                <a:lnTo>
                  <a:pt x="1630199" y="595327"/>
                </a:lnTo>
                <a:lnTo>
                  <a:pt x="1615703" y="550977"/>
                </a:lnTo>
                <a:lnTo>
                  <a:pt x="1598824" y="507759"/>
                </a:lnTo>
                <a:lnTo>
                  <a:pt x="1579641" y="465753"/>
                </a:lnTo>
                <a:lnTo>
                  <a:pt x="1558231" y="425035"/>
                </a:lnTo>
                <a:lnTo>
                  <a:pt x="1534672" y="385683"/>
                </a:lnTo>
                <a:lnTo>
                  <a:pt x="1509043" y="347777"/>
                </a:lnTo>
                <a:lnTo>
                  <a:pt x="1481421" y="311393"/>
                </a:lnTo>
                <a:lnTo>
                  <a:pt x="1451884" y="276610"/>
                </a:lnTo>
                <a:lnTo>
                  <a:pt x="1420510" y="243506"/>
                </a:lnTo>
                <a:lnTo>
                  <a:pt x="1387378" y="212159"/>
                </a:lnTo>
                <a:lnTo>
                  <a:pt x="1352565" y="182646"/>
                </a:lnTo>
                <a:lnTo>
                  <a:pt x="1316149" y="155046"/>
                </a:lnTo>
                <a:lnTo>
                  <a:pt x="1278209" y="129437"/>
                </a:lnTo>
                <a:lnTo>
                  <a:pt x="1238822" y="105897"/>
                </a:lnTo>
                <a:lnTo>
                  <a:pt x="1198066" y="84504"/>
                </a:lnTo>
                <a:lnTo>
                  <a:pt x="1156019" y="65335"/>
                </a:lnTo>
                <a:lnTo>
                  <a:pt x="1112760" y="48469"/>
                </a:lnTo>
                <a:lnTo>
                  <a:pt x="1068365" y="33984"/>
                </a:lnTo>
                <a:lnTo>
                  <a:pt x="1022915" y="21958"/>
                </a:lnTo>
                <a:lnTo>
                  <a:pt x="976485" y="12468"/>
                </a:lnTo>
                <a:lnTo>
                  <a:pt x="929155" y="5593"/>
                </a:lnTo>
                <a:lnTo>
                  <a:pt x="881001" y="1411"/>
                </a:lnTo>
                <a:lnTo>
                  <a:pt x="832104"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object 11">
            <a:extLst>
              <a:ext uri="{FF2B5EF4-FFF2-40B4-BE49-F238E27FC236}">
                <a16:creationId xmlns:a16="http://schemas.microsoft.com/office/drawing/2014/main" id="{9E50BEC4-F3F9-428E-8D98-D69B8795D27F}"/>
              </a:ext>
            </a:extLst>
          </p:cNvPr>
          <p:cNvSpPr/>
          <p:nvPr/>
        </p:nvSpPr>
        <p:spPr>
          <a:xfrm>
            <a:off x="3116579" y="4072128"/>
            <a:ext cx="710565" cy="387350"/>
          </a:xfrm>
          <a:custGeom>
            <a:avLst/>
            <a:gdLst/>
            <a:ahLst/>
            <a:cxnLst/>
            <a:rect l="l" t="t" r="r" b="b"/>
            <a:pathLst>
              <a:path w="710564" h="387350">
                <a:moveTo>
                  <a:pt x="710183" y="0"/>
                </a:moveTo>
                <a:lnTo>
                  <a:pt x="0" y="0"/>
                </a:lnTo>
                <a:lnTo>
                  <a:pt x="355092" y="387096"/>
                </a:lnTo>
                <a:lnTo>
                  <a:pt x="710183" y="0"/>
                </a:lnTo>
                <a:close/>
              </a:path>
            </a:pathLst>
          </a:custGeom>
          <a:solidFill>
            <a:srgbClr val="34E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 name="object 12">
            <a:extLst>
              <a:ext uri="{FF2B5EF4-FFF2-40B4-BE49-F238E27FC236}">
                <a16:creationId xmlns:a16="http://schemas.microsoft.com/office/drawing/2014/main" id="{4C107BF5-D11A-449E-AF2D-C51D79BA1D64}"/>
              </a:ext>
            </a:extLst>
          </p:cNvPr>
          <p:cNvSpPr/>
          <p:nvPr/>
        </p:nvSpPr>
        <p:spPr>
          <a:xfrm>
            <a:off x="4852415" y="2072639"/>
            <a:ext cx="2146300" cy="2146300"/>
          </a:xfrm>
          <a:custGeom>
            <a:avLst/>
            <a:gdLst/>
            <a:ahLst/>
            <a:cxnLst/>
            <a:rect l="l" t="t" r="r" b="b"/>
            <a:pathLst>
              <a:path w="2146300" h="2146300">
                <a:moveTo>
                  <a:pt x="1072896" y="0"/>
                </a:moveTo>
                <a:lnTo>
                  <a:pt x="1025102" y="1045"/>
                </a:lnTo>
                <a:lnTo>
                  <a:pt x="977843" y="4152"/>
                </a:lnTo>
                <a:lnTo>
                  <a:pt x="931164" y="9276"/>
                </a:lnTo>
                <a:lnTo>
                  <a:pt x="885108" y="16375"/>
                </a:lnTo>
                <a:lnTo>
                  <a:pt x="839718" y="25405"/>
                </a:lnTo>
                <a:lnTo>
                  <a:pt x="795039" y="36322"/>
                </a:lnTo>
                <a:lnTo>
                  <a:pt x="751112" y="49082"/>
                </a:lnTo>
                <a:lnTo>
                  <a:pt x="707984" y="63643"/>
                </a:lnTo>
                <a:lnTo>
                  <a:pt x="665696" y="79959"/>
                </a:lnTo>
                <a:lnTo>
                  <a:pt x="624292" y="97989"/>
                </a:lnTo>
                <a:lnTo>
                  <a:pt x="583816" y="117687"/>
                </a:lnTo>
                <a:lnTo>
                  <a:pt x="544312" y="139011"/>
                </a:lnTo>
                <a:lnTo>
                  <a:pt x="505823" y="161917"/>
                </a:lnTo>
                <a:lnTo>
                  <a:pt x="468393" y="186361"/>
                </a:lnTo>
                <a:lnTo>
                  <a:pt x="432065" y="212301"/>
                </a:lnTo>
                <a:lnTo>
                  <a:pt x="396884" y="239691"/>
                </a:lnTo>
                <a:lnTo>
                  <a:pt x="362892" y="268489"/>
                </a:lnTo>
                <a:lnTo>
                  <a:pt x="330133" y="298650"/>
                </a:lnTo>
                <a:lnTo>
                  <a:pt x="298650" y="330133"/>
                </a:lnTo>
                <a:lnTo>
                  <a:pt x="268489" y="362892"/>
                </a:lnTo>
                <a:lnTo>
                  <a:pt x="239691" y="396884"/>
                </a:lnTo>
                <a:lnTo>
                  <a:pt x="212301" y="432065"/>
                </a:lnTo>
                <a:lnTo>
                  <a:pt x="186361" y="468393"/>
                </a:lnTo>
                <a:lnTo>
                  <a:pt x="161917" y="505823"/>
                </a:lnTo>
                <a:lnTo>
                  <a:pt x="139011" y="544312"/>
                </a:lnTo>
                <a:lnTo>
                  <a:pt x="117687" y="583816"/>
                </a:lnTo>
                <a:lnTo>
                  <a:pt x="97989" y="624292"/>
                </a:lnTo>
                <a:lnTo>
                  <a:pt x="79959" y="665696"/>
                </a:lnTo>
                <a:lnTo>
                  <a:pt x="63643" y="707984"/>
                </a:lnTo>
                <a:lnTo>
                  <a:pt x="49082" y="751112"/>
                </a:lnTo>
                <a:lnTo>
                  <a:pt x="36322" y="795039"/>
                </a:lnTo>
                <a:lnTo>
                  <a:pt x="25405" y="839718"/>
                </a:lnTo>
                <a:lnTo>
                  <a:pt x="16375" y="885108"/>
                </a:lnTo>
                <a:lnTo>
                  <a:pt x="9276" y="931164"/>
                </a:lnTo>
                <a:lnTo>
                  <a:pt x="4152" y="977843"/>
                </a:lnTo>
                <a:lnTo>
                  <a:pt x="1045" y="1025102"/>
                </a:lnTo>
                <a:lnTo>
                  <a:pt x="0" y="1072896"/>
                </a:lnTo>
                <a:lnTo>
                  <a:pt x="1045" y="1120689"/>
                </a:lnTo>
                <a:lnTo>
                  <a:pt x="4152" y="1167948"/>
                </a:lnTo>
                <a:lnTo>
                  <a:pt x="9276" y="1214627"/>
                </a:lnTo>
                <a:lnTo>
                  <a:pt x="16375" y="1260683"/>
                </a:lnTo>
                <a:lnTo>
                  <a:pt x="25405" y="1306073"/>
                </a:lnTo>
                <a:lnTo>
                  <a:pt x="36322" y="1350752"/>
                </a:lnTo>
                <a:lnTo>
                  <a:pt x="49082" y="1394679"/>
                </a:lnTo>
                <a:lnTo>
                  <a:pt x="63643" y="1437807"/>
                </a:lnTo>
                <a:lnTo>
                  <a:pt x="79959" y="1480095"/>
                </a:lnTo>
                <a:lnTo>
                  <a:pt x="97989" y="1521499"/>
                </a:lnTo>
                <a:lnTo>
                  <a:pt x="117687" y="1561975"/>
                </a:lnTo>
                <a:lnTo>
                  <a:pt x="139011" y="1601479"/>
                </a:lnTo>
                <a:lnTo>
                  <a:pt x="161917" y="1639968"/>
                </a:lnTo>
                <a:lnTo>
                  <a:pt x="186361" y="1677398"/>
                </a:lnTo>
                <a:lnTo>
                  <a:pt x="212301" y="1713726"/>
                </a:lnTo>
                <a:lnTo>
                  <a:pt x="239691" y="1748907"/>
                </a:lnTo>
                <a:lnTo>
                  <a:pt x="268489" y="1782899"/>
                </a:lnTo>
                <a:lnTo>
                  <a:pt x="298650" y="1815658"/>
                </a:lnTo>
                <a:lnTo>
                  <a:pt x="330133" y="1847141"/>
                </a:lnTo>
                <a:lnTo>
                  <a:pt x="362892" y="1877302"/>
                </a:lnTo>
                <a:lnTo>
                  <a:pt x="396884" y="1906100"/>
                </a:lnTo>
                <a:lnTo>
                  <a:pt x="432065" y="1933490"/>
                </a:lnTo>
                <a:lnTo>
                  <a:pt x="468393" y="1959430"/>
                </a:lnTo>
                <a:lnTo>
                  <a:pt x="505823" y="1983874"/>
                </a:lnTo>
                <a:lnTo>
                  <a:pt x="544312" y="2006780"/>
                </a:lnTo>
                <a:lnTo>
                  <a:pt x="583816" y="2028104"/>
                </a:lnTo>
                <a:lnTo>
                  <a:pt x="624292" y="2047802"/>
                </a:lnTo>
                <a:lnTo>
                  <a:pt x="665696" y="2065832"/>
                </a:lnTo>
                <a:lnTo>
                  <a:pt x="707984" y="2082148"/>
                </a:lnTo>
                <a:lnTo>
                  <a:pt x="751112" y="2096709"/>
                </a:lnTo>
                <a:lnTo>
                  <a:pt x="795039" y="2109469"/>
                </a:lnTo>
                <a:lnTo>
                  <a:pt x="839718" y="2120386"/>
                </a:lnTo>
                <a:lnTo>
                  <a:pt x="885108" y="2129416"/>
                </a:lnTo>
                <a:lnTo>
                  <a:pt x="931164" y="2136515"/>
                </a:lnTo>
                <a:lnTo>
                  <a:pt x="977843" y="2141639"/>
                </a:lnTo>
                <a:lnTo>
                  <a:pt x="1025102" y="2144746"/>
                </a:lnTo>
                <a:lnTo>
                  <a:pt x="1072896" y="2145792"/>
                </a:lnTo>
                <a:lnTo>
                  <a:pt x="1120689" y="2144746"/>
                </a:lnTo>
                <a:lnTo>
                  <a:pt x="1167948" y="2141639"/>
                </a:lnTo>
                <a:lnTo>
                  <a:pt x="1214627" y="2136515"/>
                </a:lnTo>
                <a:lnTo>
                  <a:pt x="1260683" y="2129416"/>
                </a:lnTo>
                <a:lnTo>
                  <a:pt x="1306073" y="2120386"/>
                </a:lnTo>
                <a:lnTo>
                  <a:pt x="1350752" y="2109469"/>
                </a:lnTo>
                <a:lnTo>
                  <a:pt x="1394679" y="2096709"/>
                </a:lnTo>
                <a:lnTo>
                  <a:pt x="1437807" y="2082148"/>
                </a:lnTo>
                <a:lnTo>
                  <a:pt x="1480095" y="2065832"/>
                </a:lnTo>
                <a:lnTo>
                  <a:pt x="1521499" y="2047802"/>
                </a:lnTo>
                <a:lnTo>
                  <a:pt x="1561975" y="2028104"/>
                </a:lnTo>
                <a:lnTo>
                  <a:pt x="1601479" y="2006780"/>
                </a:lnTo>
                <a:lnTo>
                  <a:pt x="1639968" y="1983874"/>
                </a:lnTo>
                <a:lnTo>
                  <a:pt x="1677398" y="1959430"/>
                </a:lnTo>
                <a:lnTo>
                  <a:pt x="1713726" y="1933490"/>
                </a:lnTo>
                <a:lnTo>
                  <a:pt x="1748907" y="1906100"/>
                </a:lnTo>
                <a:lnTo>
                  <a:pt x="1782899" y="1877302"/>
                </a:lnTo>
                <a:lnTo>
                  <a:pt x="1815658" y="1847141"/>
                </a:lnTo>
                <a:lnTo>
                  <a:pt x="1847141" y="1815658"/>
                </a:lnTo>
                <a:lnTo>
                  <a:pt x="1877302" y="1782899"/>
                </a:lnTo>
                <a:lnTo>
                  <a:pt x="1906100" y="1748907"/>
                </a:lnTo>
                <a:lnTo>
                  <a:pt x="1933490" y="1713726"/>
                </a:lnTo>
                <a:lnTo>
                  <a:pt x="1959430" y="1677398"/>
                </a:lnTo>
                <a:lnTo>
                  <a:pt x="1983874" y="1639968"/>
                </a:lnTo>
                <a:lnTo>
                  <a:pt x="2006780" y="1601479"/>
                </a:lnTo>
                <a:lnTo>
                  <a:pt x="2028104" y="1561975"/>
                </a:lnTo>
                <a:lnTo>
                  <a:pt x="2047802" y="1521499"/>
                </a:lnTo>
                <a:lnTo>
                  <a:pt x="2065832" y="1480095"/>
                </a:lnTo>
                <a:lnTo>
                  <a:pt x="2082148" y="1437807"/>
                </a:lnTo>
                <a:lnTo>
                  <a:pt x="2096709" y="1394679"/>
                </a:lnTo>
                <a:lnTo>
                  <a:pt x="2109469" y="1350752"/>
                </a:lnTo>
                <a:lnTo>
                  <a:pt x="2120386" y="1306073"/>
                </a:lnTo>
                <a:lnTo>
                  <a:pt x="2129416" y="1260683"/>
                </a:lnTo>
                <a:lnTo>
                  <a:pt x="2136515" y="1214627"/>
                </a:lnTo>
                <a:lnTo>
                  <a:pt x="2141639" y="1167948"/>
                </a:lnTo>
                <a:lnTo>
                  <a:pt x="2144746" y="1120689"/>
                </a:lnTo>
                <a:lnTo>
                  <a:pt x="2145791" y="1072896"/>
                </a:lnTo>
                <a:lnTo>
                  <a:pt x="2144746" y="1025102"/>
                </a:lnTo>
                <a:lnTo>
                  <a:pt x="2141639" y="977843"/>
                </a:lnTo>
                <a:lnTo>
                  <a:pt x="2136515" y="931164"/>
                </a:lnTo>
                <a:lnTo>
                  <a:pt x="2129416" y="885108"/>
                </a:lnTo>
                <a:lnTo>
                  <a:pt x="2120386" y="839718"/>
                </a:lnTo>
                <a:lnTo>
                  <a:pt x="2109469" y="795039"/>
                </a:lnTo>
                <a:lnTo>
                  <a:pt x="2096709" y="751112"/>
                </a:lnTo>
                <a:lnTo>
                  <a:pt x="2082148" y="707984"/>
                </a:lnTo>
                <a:lnTo>
                  <a:pt x="2065832" y="665696"/>
                </a:lnTo>
                <a:lnTo>
                  <a:pt x="2047802" y="624292"/>
                </a:lnTo>
                <a:lnTo>
                  <a:pt x="2028104" y="583816"/>
                </a:lnTo>
                <a:lnTo>
                  <a:pt x="2006780" y="544312"/>
                </a:lnTo>
                <a:lnTo>
                  <a:pt x="1983874" y="505823"/>
                </a:lnTo>
                <a:lnTo>
                  <a:pt x="1959430" y="468393"/>
                </a:lnTo>
                <a:lnTo>
                  <a:pt x="1933490" y="432065"/>
                </a:lnTo>
                <a:lnTo>
                  <a:pt x="1906100" y="396884"/>
                </a:lnTo>
                <a:lnTo>
                  <a:pt x="1877302" y="362892"/>
                </a:lnTo>
                <a:lnTo>
                  <a:pt x="1847141" y="330133"/>
                </a:lnTo>
                <a:lnTo>
                  <a:pt x="1815658" y="298650"/>
                </a:lnTo>
                <a:lnTo>
                  <a:pt x="1782899" y="268489"/>
                </a:lnTo>
                <a:lnTo>
                  <a:pt x="1748907" y="239691"/>
                </a:lnTo>
                <a:lnTo>
                  <a:pt x="1713726" y="212301"/>
                </a:lnTo>
                <a:lnTo>
                  <a:pt x="1677398" y="186361"/>
                </a:lnTo>
                <a:lnTo>
                  <a:pt x="1639968" y="161917"/>
                </a:lnTo>
                <a:lnTo>
                  <a:pt x="1601479" y="139011"/>
                </a:lnTo>
                <a:lnTo>
                  <a:pt x="1561975" y="117687"/>
                </a:lnTo>
                <a:lnTo>
                  <a:pt x="1521499" y="97989"/>
                </a:lnTo>
                <a:lnTo>
                  <a:pt x="1480095" y="79959"/>
                </a:lnTo>
                <a:lnTo>
                  <a:pt x="1437807" y="63643"/>
                </a:lnTo>
                <a:lnTo>
                  <a:pt x="1394679" y="49082"/>
                </a:lnTo>
                <a:lnTo>
                  <a:pt x="1350752" y="36322"/>
                </a:lnTo>
                <a:lnTo>
                  <a:pt x="1306073" y="25405"/>
                </a:lnTo>
                <a:lnTo>
                  <a:pt x="1260683" y="16375"/>
                </a:lnTo>
                <a:lnTo>
                  <a:pt x="1214627" y="9276"/>
                </a:lnTo>
                <a:lnTo>
                  <a:pt x="1167948" y="4152"/>
                </a:lnTo>
                <a:lnTo>
                  <a:pt x="1120689" y="1045"/>
                </a:lnTo>
                <a:lnTo>
                  <a:pt x="1072896" y="0"/>
                </a:lnTo>
                <a:close/>
              </a:path>
            </a:pathLst>
          </a:custGeom>
          <a:solidFill>
            <a:srgbClr val="FCD2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 name="object 13">
            <a:extLst>
              <a:ext uri="{FF2B5EF4-FFF2-40B4-BE49-F238E27FC236}">
                <a16:creationId xmlns:a16="http://schemas.microsoft.com/office/drawing/2014/main" id="{680C1457-8A26-4D61-A5EB-209BE4005CE1}"/>
              </a:ext>
            </a:extLst>
          </p:cNvPr>
          <p:cNvSpPr/>
          <p:nvPr/>
        </p:nvSpPr>
        <p:spPr>
          <a:xfrm>
            <a:off x="5045964" y="2276855"/>
            <a:ext cx="1840230" cy="1838706"/>
          </a:xfrm>
          <a:prstGeom prst="rect">
            <a:avLst/>
          </a:prstGeom>
          <a:blipFill>
            <a:blip r:embed="rId10"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 name="object 14">
            <a:extLst>
              <a:ext uri="{FF2B5EF4-FFF2-40B4-BE49-F238E27FC236}">
                <a16:creationId xmlns:a16="http://schemas.microsoft.com/office/drawing/2014/main" id="{4CD20220-DD8D-4610-BEF4-AC846914802F}"/>
              </a:ext>
            </a:extLst>
          </p:cNvPr>
          <p:cNvSpPr/>
          <p:nvPr/>
        </p:nvSpPr>
        <p:spPr>
          <a:xfrm>
            <a:off x="5093208" y="2324100"/>
            <a:ext cx="1664335" cy="1663064"/>
          </a:xfrm>
          <a:custGeom>
            <a:avLst/>
            <a:gdLst/>
            <a:ahLst/>
            <a:cxnLst/>
            <a:rect l="l" t="t" r="r" b="b"/>
            <a:pathLst>
              <a:path w="1664334" h="1663064">
                <a:moveTo>
                  <a:pt x="832103" y="0"/>
                </a:moveTo>
                <a:lnTo>
                  <a:pt x="783206" y="1411"/>
                </a:lnTo>
                <a:lnTo>
                  <a:pt x="735052" y="5593"/>
                </a:lnTo>
                <a:lnTo>
                  <a:pt x="687722" y="12468"/>
                </a:lnTo>
                <a:lnTo>
                  <a:pt x="641292" y="21958"/>
                </a:lnTo>
                <a:lnTo>
                  <a:pt x="595842" y="33984"/>
                </a:lnTo>
                <a:lnTo>
                  <a:pt x="551447" y="48469"/>
                </a:lnTo>
                <a:lnTo>
                  <a:pt x="508188" y="65335"/>
                </a:lnTo>
                <a:lnTo>
                  <a:pt x="466141" y="84504"/>
                </a:lnTo>
                <a:lnTo>
                  <a:pt x="425385" y="105897"/>
                </a:lnTo>
                <a:lnTo>
                  <a:pt x="385998" y="129437"/>
                </a:lnTo>
                <a:lnTo>
                  <a:pt x="348058" y="155046"/>
                </a:lnTo>
                <a:lnTo>
                  <a:pt x="311642" y="182646"/>
                </a:lnTo>
                <a:lnTo>
                  <a:pt x="276829" y="212159"/>
                </a:lnTo>
                <a:lnTo>
                  <a:pt x="243697" y="243506"/>
                </a:lnTo>
                <a:lnTo>
                  <a:pt x="212323" y="276610"/>
                </a:lnTo>
                <a:lnTo>
                  <a:pt x="182786" y="311393"/>
                </a:lnTo>
                <a:lnTo>
                  <a:pt x="155164" y="347777"/>
                </a:lnTo>
                <a:lnTo>
                  <a:pt x="129535" y="385683"/>
                </a:lnTo>
                <a:lnTo>
                  <a:pt x="105976" y="425035"/>
                </a:lnTo>
                <a:lnTo>
                  <a:pt x="84566" y="465753"/>
                </a:lnTo>
                <a:lnTo>
                  <a:pt x="65383" y="507759"/>
                </a:lnTo>
                <a:lnTo>
                  <a:pt x="48504" y="550977"/>
                </a:lnTo>
                <a:lnTo>
                  <a:pt x="34008" y="595327"/>
                </a:lnTo>
                <a:lnTo>
                  <a:pt x="21973" y="640733"/>
                </a:lnTo>
                <a:lnTo>
                  <a:pt x="12477" y="687115"/>
                </a:lnTo>
                <a:lnTo>
                  <a:pt x="5597" y="734395"/>
                </a:lnTo>
                <a:lnTo>
                  <a:pt x="1412" y="782497"/>
                </a:lnTo>
                <a:lnTo>
                  <a:pt x="0" y="831341"/>
                </a:lnTo>
                <a:lnTo>
                  <a:pt x="1412" y="880186"/>
                </a:lnTo>
                <a:lnTo>
                  <a:pt x="5597" y="928288"/>
                </a:lnTo>
                <a:lnTo>
                  <a:pt x="12477" y="975568"/>
                </a:lnTo>
                <a:lnTo>
                  <a:pt x="21973" y="1021950"/>
                </a:lnTo>
                <a:lnTo>
                  <a:pt x="34008" y="1067356"/>
                </a:lnTo>
                <a:lnTo>
                  <a:pt x="48504" y="1111706"/>
                </a:lnTo>
                <a:lnTo>
                  <a:pt x="65383" y="1154924"/>
                </a:lnTo>
                <a:lnTo>
                  <a:pt x="84566" y="1196930"/>
                </a:lnTo>
                <a:lnTo>
                  <a:pt x="105976" y="1237648"/>
                </a:lnTo>
                <a:lnTo>
                  <a:pt x="129535" y="1277000"/>
                </a:lnTo>
                <a:lnTo>
                  <a:pt x="155164" y="1314906"/>
                </a:lnTo>
                <a:lnTo>
                  <a:pt x="182786" y="1351290"/>
                </a:lnTo>
                <a:lnTo>
                  <a:pt x="212323" y="1386073"/>
                </a:lnTo>
                <a:lnTo>
                  <a:pt x="243697" y="1419177"/>
                </a:lnTo>
                <a:lnTo>
                  <a:pt x="276829" y="1450524"/>
                </a:lnTo>
                <a:lnTo>
                  <a:pt x="311642" y="1480037"/>
                </a:lnTo>
                <a:lnTo>
                  <a:pt x="348058" y="1507637"/>
                </a:lnTo>
                <a:lnTo>
                  <a:pt x="385998" y="1533246"/>
                </a:lnTo>
                <a:lnTo>
                  <a:pt x="425385" y="1556786"/>
                </a:lnTo>
                <a:lnTo>
                  <a:pt x="466141" y="1578179"/>
                </a:lnTo>
                <a:lnTo>
                  <a:pt x="508188" y="1597348"/>
                </a:lnTo>
                <a:lnTo>
                  <a:pt x="551447" y="1614214"/>
                </a:lnTo>
                <a:lnTo>
                  <a:pt x="595842" y="1628699"/>
                </a:lnTo>
                <a:lnTo>
                  <a:pt x="641292" y="1640725"/>
                </a:lnTo>
                <a:lnTo>
                  <a:pt x="687722" y="1650215"/>
                </a:lnTo>
                <a:lnTo>
                  <a:pt x="735052" y="1657090"/>
                </a:lnTo>
                <a:lnTo>
                  <a:pt x="783206" y="1661272"/>
                </a:lnTo>
                <a:lnTo>
                  <a:pt x="832103" y="1662683"/>
                </a:lnTo>
                <a:lnTo>
                  <a:pt x="881001" y="1661272"/>
                </a:lnTo>
                <a:lnTo>
                  <a:pt x="929155" y="1657090"/>
                </a:lnTo>
                <a:lnTo>
                  <a:pt x="976485" y="1650215"/>
                </a:lnTo>
                <a:lnTo>
                  <a:pt x="1022915" y="1640725"/>
                </a:lnTo>
                <a:lnTo>
                  <a:pt x="1068365" y="1628699"/>
                </a:lnTo>
                <a:lnTo>
                  <a:pt x="1112760" y="1614214"/>
                </a:lnTo>
                <a:lnTo>
                  <a:pt x="1156019" y="1597348"/>
                </a:lnTo>
                <a:lnTo>
                  <a:pt x="1198066" y="1578179"/>
                </a:lnTo>
                <a:lnTo>
                  <a:pt x="1238822" y="1556786"/>
                </a:lnTo>
                <a:lnTo>
                  <a:pt x="1278209" y="1533246"/>
                </a:lnTo>
                <a:lnTo>
                  <a:pt x="1316149" y="1507637"/>
                </a:lnTo>
                <a:lnTo>
                  <a:pt x="1352565" y="1480037"/>
                </a:lnTo>
                <a:lnTo>
                  <a:pt x="1387378" y="1450524"/>
                </a:lnTo>
                <a:lnTo>
                  <a:pt x="1420510" y="1419177"/>
                </a:lnTo>
                <a:lnTo>
                  <a:pt x="1451884" y="1386073"/>
                </a:lnTo>
                <a:lnTo>
                  <a:pt x="1481421" y="1351290"/>
                </a:lnTo>
                <a:lnTo>
                  <a:pt x="1509043" y="1314906"/>
                </a:lnTo>
                <a:lnTo>
                  <a:pt x="1534672" y="1277000"/>
                </a:lnTo>
                <a:lnTo>
                  <a:pt x="1558231" y="1237648"/>
                </a:lnTo>
                <a:lnTo>
                  <a:pt x="1579641" y="1196930"/>
                </a:lnTo>
                <a:lnTo>
                  <a:pt x="1598824" y="1154924"/>
                </a:lnTo>
                <a:lnTo>
                  <a:pt x="1615703" y="1111706"/>
                </a:lnTo>
                <a:lnTo>
                  <a:pt x="1630199" y="1067356"/>
                </a:lnTo>
                <a:lnTo>
                  <a:pt x="1642234" y="1021950"/>
                </a:lnTo>
                <a:lnTo>
                  <a:pt x="1651730" y="975568"/>
                </a:lnTo>
                <a:lnTo>
                  <a:pt x="1658610" y="928288"/>
                </a:lnTo>
                <a:lnTo>
                  <a:pt x="1662795" y="880186"/>
                </a:lnTo>
                <a:lnTo>
                  <a:pt x="1664208" y="831341"/>
                </a:lnTo>
                <a:lnTo>
                  <a:pt x="1662795" y="782497"/>
                </a:lnTo>
                <a:lnTo>
                  <a:pt x="1658610" y="734395"/>
                </a:lnTo>
                <a:lnTo>
                  <a:pt x="1651730" y="687115"/>
                </a:lnTo>
                <a:lnTo>
                  <a:pt x="1642234" y="640733"/>
                </a:lnTo>
                <a:lnTo>
                  <a:pt x="1630199" y="595327"/>
                </a:lnTo>
                <a:lnTo>
                  <a:pt x="1615703" y="550977"/>
                </a:lnTo>
                <a:lnTo>
                  <a:pt x="1598824" y="507759"/>
                </a:lnTo>
                <a:lnTo>
                  <a:pt x="1579641" y="465753"/>
                </a:lnTo>
                <a:lnTo>
                  <a:pt x="1558231" y="425035"/>
                </a:lnTo>
                <a:lnTo>
                  <a:pt x="1534672" y="385683"/>
                </a:lnTo>
                <a:lnTo>
                  <a:pt x="1509043" y="347777"/>
                </a:lnTo>
                <a:lnTo>
                  <a:pt x="1481421" y="311393"/>
                </a:lnTo>
                <a:lnTo>
                  <a:pt x="1451884" y="276610"/>
                </a:lnTo>
                <a:lnTo>
                  <a:pt x="1420510" y="243506"/>
                </a:lnTo>
                <a:lnTo>
                  <a:pt x="1387378" y="212159"/>
                </a:lnTo>
                <a:lnTo>
                  <a:pt x="1352565" y="182646"/>
                </a:lnTo>
                <a:lnTo>
                  <a:pt x="1316149" y="155046"/>
                </a:lnTo>
                <a:lnTo>
                  <a:pt x="1278209" y="129437"/>
                </a:lnTo>
                <a:lnTo>
                  <a:pt x="1238822" y="105897"/>
                </a:lnTo>
                <a:lnTo>
                  <a:pt x="1198066" y="84504"/>
                </a:lnTo>
                <a:lnTo>
                  <a:pt x="1156019" y="65335"/>
                </a:lnTo>
                <a:lnTo>
                  <a:pt x="1112760" y="48469"/>
                </a:lnTo>
                <a:lnTo>
                  <a:pt x="1068365" y="33984"/>
                </a:lnTo>
                <a:lnTo>
                  <a:pt x="1022915" y="21958"/>
                </a:lnTo>
                <a:lnTo>
                  <a:pt x="976485" y="12468"/>
                </a:lnTo>
                <a:lnTo>
                  <a:pt x="929155" y="5593"/>
                </a:lnTo>
                <a:lnTo>
                  <a:pt x="881001" y="1411"/>
                </a:lnTo>
                <a:lnTo>
                  <a:pt x="832103"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 name="object 15">
            <a:extLst>
              <a:ext uri="{FF2B5EF4-FFF2-40B4-BE49-F238E27FC236}">
                <a16:creationId xmlns:a16="http://schemas.microsoft.com/office/drawing/2014/main" id="{902E0601-BE1D-4B46-9318-149A2A810EE1}"/>
              </a:ext>
            </a:extLst>
          </p:cNvPr>
          <p:cNvSpPr/>
          <p:nvPr/>
        </p:nvSpPr>
        <p:spPr>
          <a:xfrm>
            <a:off x="5570220" y="4072128"/>
            <a:ext cx="710565" cy="387350"/>
          </a:xfrm>
          <a:custGeom>
            <a:avLst/>
            <a:gdLst/>
            <a:ahLst/>
            <a:cxnLst/>
            <a:rect l="l" t="t" r="r" b="b"/>
            <a:pathLst>
              <a:path w="710564" h="387350">
                <a:moveTo>
                  <a:pt x="710183" y="0"/>
                </a:moveTo>
                <a:lnTo>
                  <a:pt x="0" y="0"/>
                </a:lnTo>
                <a:lnTo>
                  <a:pt x="355091" y="387096"/>
                </a:lnTo>
                <a:lnTo>
                  <a:pt x="710183" y="0"/>
                </a:lnTo>
                <a:close/>
              </a:path>
            </a:pathLst>
          </a:custGeom>
          <a:solidFill>
            <a:srgbClr val="FCD2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5" name="object 16">
            <a:extLst>
              <a:ext uri="{FF2B5EF4-FFF2-40B4-BE49-F238E27FC236}">
                <a16:creationId xmlns:a16="http://schemas.microsoft.com/office/drawing/2014/main" id="{60FC0FC8-C023-4F2E-B5BF-54BAF3472896}"/>
              </a:ext>
            </a:extLst>
          </p:cNvPr>
          <p:cNvSpPr/>
          <p:nvPr/>
        </p:nvSpPr>
        <p:spPr>
          <a:xfrm>
            <a:off x="7306056" y="2066544"/>
            <a:ext cx="2146300" cy="2147570"/>
          </a:xfrm>
          <a:custGeom>
            <a:avLst/>
            <a:gdLst/>
            <a:ahLst/>
            <a:cxnLst/>
            <a:rect l="l" t="t" r="r" b="b"/>
            <a:pathLst>
              <a:path w="2146300" h="2147570">
                <a:moveTo>
                  <a:pt x="1072896" y="0"/>
                </a:moveTo>
                <a:lnTo>
                  <a:pt x="1025102" y="1046"/>
                </a:lnTo>
                <a:lnTo>
                  <a:pt x="977843" y="4155"/>
                </a:lnTo>
                <a:lnTo>
                  <a:pt x="931164" y="9284"/>
                </a:lnTo>
                <a:lnTo>
                  <a:pt x="885108" y="16388"/>
                </a:lnTo>
                <a:lnTo>
                  <a:pt x="839718" y="25425"/>
                </a:lnTo>
                <a:lnTo>
                  <a:pt x="795039" y="36350"/>
                </a:lnTo>
                <a:lnTo>
                  <a:pt x="751112" y="49121"/>
                </a:lnTo>
                <a:lnTo>
                  <a:pt x="707984" y="63692"/>
                </a:lnTo>
                <a:lnTo>
                  <a:pt x="665696" y="80021"/>
                </a:lnTo>
                <a:lnTo>
                  <a:pt x="624292" y="98065"/>
                </a:lnTo>
                <a:lnTo>
                  <a:pt x="583816" y="117778"/>
                </a:lnTo>
                <a:lnTo>
                  <a:pt x="544312" y="139118"/>
                </a:lnTo>
                <a:lnTo>
                  <a:pt x="505823" y="162042"/>
                </a:lnTo>
                <a:lnTo>
                  <a:pt x="468393" y="186504"/>
                </a:lnTo>
                <a:lnTo>
                  <a:pt x="432065" y="212463"/>
                </a:lnTo>
                <a:lnTo>
                  <a:pt x="396884" y="239874"/>
                </a:lnTo>
                <a:lnTo>
                  <a:pt x="362892" y="268693"/>
                </a:lnTo>
                <a:lnTo>
                  <a:pt x="330133" y="298877"/>
                </a:lnTo>
                <a:lnTo>
                  <a:pt x="298650" y="330382"/>
                </a:lnTo>
                <a:lnTo>
                  <a:pt x="268489" y="363165"/>
                </a:lnTo>
                <a:lnTo>
                  <a:pt x="239691" y="397182"/>
                </a:lnTo>
                <a:lnTo>
                  <a:pt x="212301" y="432389"/>
                </a:lnTo>
                <a:lnTo>
                  <a:pt x="186361" y="468743"/>
                </a:lnTo>
                <a:lnTo>
                  <a:pt x="161917" y="506200"/>
                </a:lnTo>
                <a:lnTo>
                  <a:pt x="139011" y="544716"/>
                </a:lnTo>
                <a:lnTo>
                  <a:pt x="117687" y="584248"/>
                </a:lnTo>
                <a:lnTo>
                  <a:pt x="97989" y="624752"/>
                </a:lnTo>
                <a:lnTo>
                  <a:pt x="79959" y="666185"/>
                </a:lnTo>
                <a:lnTo>
                  <a:pt x="63643" y="708502"/>
                </a:lnTo>
                <a:lnTo>
                  <a:pt x="49082" y="751661"/>
                </a:lnTo>
                <a:lnTo>
                  <a:pt x="36322" y="795617"/>
                </a:lnTo>
                <a:lnTo>
                  <a:pt x="25405" y="840327"/>
                </a:lnTo>
                <a:lnTo>
                  <a:pt x="16375" y="885747"/>
                </a:lnTo>
                <a:lnTo>
                  <a:pt x="9276" y="931834"/>
                </a:lnTo>
                <a:lnTo>
                  <a:pt x="4152" y="978544"/>
                </a:lnTo>
                <a:lnTo>
                  <a:pt x="1045" y="1025833"/>
                </a:lnTo>
                <a:lnTo>
                  <a:pt x="0" y="1073657"/>
                </a:lnTo>
                <a:lnTo>
                  <a:pt x="1045" y="1121482"/>
                </a:lnTo>
                <a:lnTo>
                  <a:pt x="4152" y="1168771"/>
                </a:lnTo>
                <a:lnTo>
                  <a:pt x="9276" y="1215481"/>
                </a:lnTo>
                <a:lnTo>
                  <a:pt x="16375" y="1261568"/>
                </a:lnTo>
                <a:lnTo>
                  <a:pt x="25405" y="1306988"/>
                </a:lnTo>
                <a:lnTo>
                  <a:pt x="36322" y="1351698"/>
                </a:lnTo>
                <a:lnTo>
                  <a:pt x="49082" y="1395654"/>
                </a:lnTo>
                <a:lnTo>
                  <a:pt x="63643" y="1438813"/>
                </a:lnTo>
                <a:lnTo>
                  <a:pt x="79959" y="1481130"/>
                </a:lnTo>
                <a:lnTo>
                  <a:pt x="97989" y="1522563"/>
                </a:lnTo>
                <a:lnTo>
                  <a:pt x="117687" y="1563067"/>
                </a:lnTo>
                <a:lnTo>
                  <a:pt x="139011" y="1602599"/>
                </a:lnTo>
                <a:lnTo>
                  <a:pt x="161917" y="1641115"/>
                </a:lnTo>
                <a:lnTo>
                  <a:pt x="186361" y="1678572"/>
                </a:lnTo>
                <a:lnTo>
                  <a:pt x="212301" y="1714926"/>
                </a:lnTo>
                <a:lnTo>
                  <a:pt x="239691" y="1750133"/>
                </a:lnTo>
                <a:lnTo>
                  <a:pt x="268489" y="1784150"/>
                </a:lnTo>
                <a:lnTo>
                  <a:pt x="298650" y="1816933"/>
                </a:lnTo>
                <a:lnTo>
                  <a:pt x="330133" y="1848438"/>
                </a:lnTo>
                <a:lnTo>
                  <a:pt x="362892" y="1878622"/>
                </a:lnTo>
                <a:lnTo>
                  <a:pt x="396884" y="1907441"/>
                </a:lnTo>
                <a:lnTo>
                  <a:pt x="432065" y="1934852"/>
                </a:lnTo>
                <a:lnTo>
                  <a:pt x="468393" y="1960811"/>
                </a:lnTo>
                <a:lnTo>
                  <a:pt x="505823" y="1985273"/>
                </a:lnTo>
                <a:lnTo>
                  <a:pt x="544312" y="2008197"/>
                </a:lnTo>
                <a:lnTo>
                  <a:pt x="583816" y="2029537"/>
                </a:lnTo>
                <a:lnTo>
                  <a:pt x="624292" y="2049250"/>
                </a:lnTo>
                <a:lnTo>
                  <a:pt x="665696" y="2067294"/>
                </a:lnTo>
                <a:lnTo>
                  <a:pt x="707984" y="2083623"/>
                </a:lnTo>
                <a:lnTo>
                  <a:pt x="751112" y="2098194"/>
                </a:lnTo>
                <a:lnTo>
                  <a:pt x="795039" y="2110965"/>
                </a:lnTo>
                <a:lnTo>
                  <a:pt x="839718" y="2121890"/>
                </a:lnTo>
                <a:lnTo>
                  <a:pt x="885108" y="2130927"/>
                </a:lnTo>
                <a:lnTo>
                  <a:pt x="931164" y="2138031"/>
                </a:lnTo>
                <a:lnTo>
                  <a:pt x="977843" y="2143160"/>
                </a:lnTo>
                <a:lnTo>
                  <a:pt x="1025102" y="2146269"/>
                </a:lnTo>
                <a:lnTo>
                  <a:pt x="1072896" y="2147316"/>
                </a:lnTo>
                <a:lnTo>
                  <a:pt x="1120689" y="2146269"/>
                </a:lnTo>
                <a:lnTo>
                  <a:pt x="1167948" y="2143160"/>
                </a:lnTo>
                <a:lnTo>
                  <a:pt x="1214627" y="2138031"/>
                </a:lnTo>
                <a:lnTo>
                  <a:pt x="1260683" y="2130927"/>
                </a:lnTo>
                <a:lnTo>
                  <a:pt x="1306073" y="2121890"/>
                </a:lnTo>
                <a:lnTo>
                  <a:pt x="1350752" y="2110965"/>
                </a:lnTo>
                <a:lnTo>
                  <a:pt x="1394679" y="2098194"/>
                </a:lnTo>
                <a:lnTo>
                  <a:pt x="1437807" y="2083623"/>
                </a:lnTo>
                <a:lnTo>
                  <a:pt x="1480095" y="2067294"/>
                </a:lnTo>
                <a:lnTo>
                  <a:pt x="1521499" y="2049250"/>
                </a:lnTo>
                <a:lnTo>
                  <a:pt x="1561975" y="2029537"/>
                </a:lnTo>
                <a:lnTo>
                  <a:pt x="1601479" y="2008197"/>
                </a:lnTo>
                <a:lnTo>
                  <a:pt x="1639968" y="1985273"/>
                </a:lnTo>
                <a:lnTo>
                  <a:pt x="1677398" y="1960811"/>
                </a:lnTo>
                <a:lnTo>
                  <a:pt x="1713726" y="1934852"/>
                </a:lnTo>
                <a:lnTo>
                  <a:pt x="1748907" y="1907441"/>
                </a:lnTo>
                <a:lnTo>
                  <a:pt x="1782899" y="1878622"/>
                </a:lnTo>
                <a:lnTo>
                  <a:pt x="1815658" y="1848438"/>
                </a:lnTo>
                <a:lnTo>
                  <a:pt x="1847141" y="1816933"/>
                </a:lnTo>
                <a:lnTo>
                  <a:pt x="1877302" y="1784150"/>
                </a:lnTo>
                <a:lnTo>
                  <a:pt x="1906100" y="1750133"/>
                </a:lnTo>
                <a:lnTo>
                  <a:pt x="1933490" y="1714926"/>
                </a:lnTo>
                <a:lnTo>
                  <a:pt x="1959430" y="1678572"/>
                </a:lnTo>
                <a:lnTo>
                  <a:pt x="1983874" y="1641115"/>
                </a:lnTo>
                <a:lnTo>
                  <a:pt x="2006780" y="1602599"/>
                </a:lnTo>
                <a:lnTo>
                  <a:pt x="2028104" y="1563067"/>
                </a:lnTo>
                <a:lnTo>
                  <a:pt x="2047802" y="1522563"/>
                </a:lnTo>
                <a:lnTo>
                  <a:pt x="2065832" y="1481130"/>
                </a:lnTo>
                <a:lnTo>
                  <a:pt x="2082148" y="1438813"/>
                </a:lnTo>
                <a:lnTo>
                  <a:pt x="2096709" y="1395654"/>
                </a:lnTo>
                <a:lnTo>
                  <a:pt x="2109469" y="1351698"/>
                </a:lnTo>
                <a:lnTo>
                  <a:pt x="2120386" y="1306988"/>
                </a:lnTo>
                <a:lnTo>
                  <a:pt x="2129416" y="1261568"/>
                </a:lnTo>
                <a:lnTo>
                  <a:pt x="2136515" y="1215481"/>
                </a:lnTo>
                <a:lnTo>
                  <a:pt x="2141639" y="1168771"/>
                </a:lnTo>
                <a:lnTo>
                  <a:pt x="2144746" y="1121482"/>
                </a:lnTo>
                <a:lnTo>
                  <a:pt x="2145792" y="1073657"/>
                </a:lnTo>
                <a:lnTo>
                  <a:pt x="2144746" y="1025833"/>
                </a:lnTo>
                <a:lnTo>
                  <a:pt x="2141639" y="978544"/>
                </a:lnTo>
                <a:lnTo>
                  <a:pt x="2136515" y="931834"/>
                </a:lnTo>
                <a:lnTo>
                  <a:pt x="2129416" y="885747"/>
                </a:lnTo>
                <a:lnTo>
                  <a:pt x="2120386" y="840327"/>
                </a:lnTo>
                <a:lnTo>
                  <a:pt x="2109469" y="795617"/>
                </a:lnTo>
                <a:lnTo>
                  <a:pt x="2096709" y="751661"/>
                </a:lnTo>
                <a:lnTo>
                  <a:pt x="2082148" y="708502"/>
                </a:lnTo>
                <a:lnTo>
                  <a:pt x="2065832" y="666185"/>
                </a:lnTo>
                <a:lnTo>
                  <a:pt x="2047802" y="624752"/>
                </a:lnTo>
                <a:lnTo>
                  <a:pt x="2028104" y="584248"/>
                </a:lnTo>
                <a:lnTo>
                  <a:pt x="2006780" y="544716"/>
                </a:lnTo>
                <a:lnTo>
                  <a:pt x="1983874" y="506200"/>
                </a:lnTo>
                <a:lnTo>
                  <a:pt x="1959430" y="468743"/>
                </a:lnTo>
                <a:lnTo>
                  <a:pt x="1933490" y="432389"/>
                </a:lnTo>
                <a:lnTo>
                  <a:pt x="1906100" y="397182"/>
                </a:lnTo>
                <a:lnTo>
                  <a:pt x="1877302" y="363165"/>
                </a:lnTo>
                <a:lnTo>
                  <a:pt x="1847141" y="330382"/>
                </a:lnTo>
                <a:lnTo>
                  <a:pt x="1815658" y="298877"/>
                </a:lnTo>
                <a:lnTo>
                  <a:pt x="1782899" y="268693"/>
                </a:lnTo>
                <a:lnTo>
                  <a:pt x="1748907" y="239874"/>
                </a:lnTo>
                <a:lnTo>
                  <a:pt x="1713726" y="212463"/>
                </a:lnTo>
                <a:lnTo>
                  <a:pt x="1677398" y="186504"/>
                </a:lnTo>
                <a:lnTo>
                  <a:pt x="1639968" y="162042"/>
                </a:lnTo>
                <a:lnTo>
                  <a:pt x="1601479" y="139118"/>
                </a:lnTo>
                <a:lnTo>
                  <a:pt x="1561975" y="117778"/>
                </a:lnTo>
                <a:lnTo>
                  <a:pt x="1521499" y="98065"/>
                </a:lnTo>
                <a:lnTo>
                  <a:pt x="1480095" y="80021"/>
                </a:lnTo>
                <a:lnTo>
                  <a:pt x="1437807" y="63692"/>
                </a:lnTo>
                <a:lnTo>
                  <a:pt x="1394679" y="49121"/>
                </a:lnTo>
                <a:lnTo>
                  <a:pt x="1350752" y="36350"/>
                </a:lnTo>
                <a:lnTo>
                  <a:pt x="1306073" y="25425"/>
                </a:lnTo>
                <a:lnTo>
                  <a:pt x="1260683" y="16388"/>
                </a:lnTo>
                <a:lnTo>
                  <a:pt x="1214627" y="9284"/>
                </a:lnTo>
                <a:lnTo>
                  <a:pt x="1167948" y="4155"/>
                </a:lnTo>
                <a:lnTo>
                  <a:pt x="1120689" y="1046"/>
                </a:lnTo>
                <a:lnTo>
                  <a:pt x="1072896" y="0"/>
                </a:lnTo>
                <a:close/>
              </a:path>
            </a:pathLst>
          </a:custGeom>
          <a:solidFill>
            <a:srgbClr val="3DF9C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 name="object 17">
            <a:extLst>
              <a:ext uri="{FF2B5EF4-FFF2-40B4-BE49-F238E27FC236}">
                <a16:creationId xmlns:a16="http://schemas.microsoft.com/office/drawing/2014/main" id="{DA06398A-FE4A-4BCB-8AEF-53690625326C}"/>
              </a:ext>
            </a:extLst>
          </p:cNvPr>
          <p:cNvSpPr/>
          <p:nvPr/>
        </p:nvSpPr>
        <p:spPr>
          <a:xfrm>
            <a:off x="7499604" y="2261616"/>
            <a:ext cx="1840229" cy="1838705"/>
          </a:xfrm>
          <a:prstGeom prst="rect">
            <a:avLst/>
          </a:prstGeom>
          <a:blipFill>
            <a:blip r:embed="rId10"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 name="object 18">
            <a:extLst>
              <a:ext uri="{FF2B5EF4-FFF2-40B4-BE49-F238E27FC236}">
                <a16:creationId xmlns:a16="http://schemas.microsoft.com/office/drawing/2014/main" id="{4541A341-B481-4C57-8C4A-AF0C5C716351}"/>
              </a:ext>
            </a:extLst>
          </p:cNvPr>
          <p:cNvSpPr/>
          <p:nvPr/>
        </p:nvSpPr>
        <p:spPr>
          <a:xfrm>
            <a:off x="7546847" y="2308860"/>
            <a:ext cx="1664335" cy="1663064"/>
          </a:xfrm>
          <a:custGeom>
            <a:avLst/>
            <a:gdLst/>
            <a:ahLst/>
            <a:cxnLst/>
            <a:rect l="l" t="t" r="r" b="b"/>
            <a:pathLst>
              <a:path w="1664334" h="1663064">
                <a:moveTo>
                  <a:pt x="832103" y="0"/>
                </a:moveTo>
                <a:lnTo>
                  <a:pt x="783206" y="1411"/>
                </a:lnTo>
                <a:lnTo>
                  <a:pt x="735052" y="5593"/>
                </a:lnTo>
                <a:lnTo>
                  <a:pt x="687722" y="12468"/>
                </a:lnTo>
                <a:lnTo>
                  <a:pt x="641292" y="21958"/>
                </a:lnTo>
                <a:lnTo>
                  <a:pt x="595842" y="33984"/>
                </a:lnTo>
                <a:lnTo>
                  <a:pt x="551447" y="48469"/>
                </a:lnTo>
                <a:lnTo>
                  <a:pt x="508188" y="65335"/>
                </a:lnTo>
                <a:lnTo>
                  <a:pt x="466141" y="84504"/>
                </a:lnTo>
                <a:lnTo>
                  <a:pt x="425385" y="105897"/>
                </a:lnTo>
                <a:lnTo>
                  <a:pt x="385998" y="129437"/>
                </a:lnTo>
                <a:lnTo>
                  <a:pt x="348058" y="155046"/>
                </a:lnTo>
                <a:lnTo>
                  <a:pt x="311642" y="182646"/>
                </a:lnTo>
                <a:lnTo>
                  <a:pt x="276829" y="212159"/>
                </a:lnTo>
                <a:lnTo>
                  <a:pt x="243697" y="243506"/>
                </a:lnTo>
                <a:lnTo>
                  <a:pt x="212323" y="276610"/>
                </a:lnTo>
                <a:lnTo>
                  <a:pt x="182786" y="311393"/>
                </a:lnTo>
                <a:lnTo>
                  <a:pt x="155164" y="347777"/>
                </a:lnTo>
                <a:lnTo>
                  <a:pt x="129535" y="385683"/>
                </a:lnTo>
                <a:lnTo>
                  <a:pt x="105976" y="425035"/>
                </a:lnTo>
                <a:lnTo>
                  <a:pt x="84566" y="465753"/>
                </a:lnTo>
                <a:lnTo>
                  <a:pt x="65383" y="507759"/>
                </a:lnTo>
                <a:lnTo>
                  <a:pt x="48504" y="550977"/>
                </a:lnTo>
                <a:lnTo>
                  <a:pt x="34008" y="595327"/>
                </a:lnTo>
                <a:lnTo>
                  <a:pt x="21973" y="640733"/>
                </a:lnTo>
                <a:lnTo>
                  <a:pt x="12477" y="687115"/>
                </a:lnTo>
                <a:lnTo>
                  <a:pt x="5597" y="734395"/>
                </a:lnTo>
                <a:lnTo>
                  <a:pt x="1412" y="782497"/>
                </a:lnTo>
                <a:lnTo>
                  <a:pt x="0" y="831341"/>
                </a:lnTo>
                <a:lnTo>
                  <a:pt x="1412" y="880186"/>
                </a:lnTo>
                <a:lnTo>
                  <a:pt x="5597" y="928288"/>
                </a:lnTo>
                <a:lnTo>
                  <a:pt x="12477" y="975568"/>
                </a:lnTo>
                <a:lnTo>
                  <a:pt x="21973" y="1021950"/>
                </a:lnTo>
                <a:lnTo>
                  <a:pt x="34008" y="1067356"/>
                </a:lnTo>
                <a:lnTo>
                  <a:pt x="48504" y="1111706"/>
                </a:lnTo>
                <a:lnTo>
                  <a:pt x="65383" y="1154924"/>
                </a:lnTo>
                <a:lnTo>
                  <a:pt x="84566" y="1196930"/>
                </a:lnTo>
                <a:lnTo>
                  <a:pt x="105976" y="1237648"/>
                </a:lnTo>
                <a:lnTo>
                  <a:pt x="129535" y="1277000"/>
                </a:lnTo>
                <a:lnTo>
                  <a:pt x="155164" y="1314906"/>
                </a:lnTo>
                <a:lnTo>
                  <a:pt x="182786" y="1351290"/>
                </a:lnTo>
                <a:lnTo>
                  <a:pt x="212323" y="1386073"/>
                </a:lnTo>
                <a:lnTo>
                  <a:pt x="243697" y="1419177"/>
                </a:lnTo>
                <a:lnTo>
                  <a:pt x="276829" y="1450524"/>
                </a:lnTo>
                <a:lnTo>
                  <a:pt x="311642" y="1480037"/>
                </a:lnTo>
                <a:lnTo>
                  <a:pt x="348058" y="1507637"/>
                </a:lnTo>
                <a:lnTo>
                  <a:pt x="385998" y="1533246"/>
                </a:lnTo>
                <a:lnTo>
                  <a:pt x="425385" y="1556786"/>
                </a:lnTo>
                <a:lnTo>
                  <a:pt x="466141" y="1578179"/>
                </a:lnTo>
                <a:lnTo>
                  <a:pt x="508188" y="1597348"/>
                </a:lnTo>
                <a:lnTo>
                  <a:pt x="551447" y="1614214"/>
                </a:lnTo>
                <a:lnTo>
                  <a:pt x="595842" y="1628699"/>
                </a:lnTo>
                <a:lnTo>
                  <a:pt x="641292" y="1640725"/>
                </a:lnTo>
                <a:lnTo>
                  <a:pt x="687722" y="1650215"/>
                </a:lnTo>
                <a:lnTo>
                  <a:pt x="735052" y="1657090"/>
                </a:lnTo>
                <a:lnTo>
                  <a:pt x="783206" y="1661272"/>
                </a:lnTo>
                <a:lnTo>
                  <a:pt x="832103" y="1662683"/>
                </a:lnTo>
                <a:lnTo>
                  <a:pt x="881001" y="1661272"/>
                </a:lnTo>
                <a:lnTo>
                  <a:pt x="929155" y="1657090"/>
                </a:lnTo>
                <a:lnTo>
                  <a:pt x="976485" y="1650215"/>
                </a:lnTo>
                <a:lnTo>
                  <a:pt x="1022915" y="1640725"/>
                </a:lnTo>
                <a:lnTo>
                  <a:pt x="1068365" y="1628699"/>
                </a:lnTo>
                <a:lnTo>
                  <a:pt x="1112760" y="1614214"/>
                </a:lnTo>
                <a:lnTo>
                  <a:pt x="1156019" y="1597348"/>
                </a:lnTo>
                <a:lnTo>
                  <a:pt x="1198066" y="1578179"/>
                </a:lnTo>
                <a:lnTo>
                  <a:pt x="1238822" y="1556786"/>
                </a:lnTo>
                <a:lnTo>
                  <a:pt x="1278209" y="1533246"/>
                </a:lnTo>
                <a:lnTo>
                  <a:pt x="1316149" y="1507637"/>
                </a:lnTo>
                <a:lnTo>
                  <a:pt x="1352565" y="1480037"/>
                </a:lnTo>
                <a:lnTo>
                  <a:pt x="1387378" y="1450524"/>
                </a:lnTo>
                <a:lnTo>
                  <a:pt x="1420510" y="1419177"/>
                </a:lnTo>
                <a:lnTo>
                  <a:pt x="1451884" y="1386073"/>
                </a:lnTo>
                <a:lnTo>
                  <a:pt x="1481421" y="1351290"/>
                </a:lnTo>
                <a:lnTo>
                  <a:pt x="1509043" y="1314906"/>
                </a:lnTo>
                <a:lnTo>
                  <a:pt x="1534672" y="1277000"/>
                </a:lnTo>
                <a:lnTo>
                  <a:pt x="1558231" y="1237648"/>
                </a:lnTo>
                <a:lnTo>
                  <a:pt x="1579641" y="1196930"/>
                </a:lnTo>
                <a:lnTo>
                  <a:pt x="1598824" y="1154924"/>
                </a:lnTo>
                <a:lnTo>
                  <a:pt x="1615703" y="1111706"/>
                </a:lnTo>
                <a:lnTo>
                  <a:pt x="1630199" y="1067356"/>
                </a:lnTo>
                <a:lnTo>
                  <a:pt x="1642234" y="1021950"/>
                </a:lnTo>
                <a:lnTo>
                  <a:pt x="1651730" y="975568"/>
                </a:lnTo>
                <a:lnTo>
                  <a:pt x="1658610" y="928288"/>
                </a:lnTo>
                <a:lnTo>
                  <a:pt x="1662795" y="880186"/>
                </a:lnTo>
                <a:lnTo>
                  <a:pt x="1664207" y="831341"/>
                </a:lnTo>
                <a:lnTo>
                  <a:pt x="1662795" y="782497"/>
                </a:lnTo>
                <a:lnTo>
                  <a:pt x="1658610" y="734395"/>
                </a:lnTo>
                <a:lnTo>
                  <a:pt x="1651730" y="687115"/>
                </a:lnTo>
                <a:lnTo>
                  <a:pt x="1642234" y="640733"/>
                </a:lnTo>
                <a:lnTo>
                  <a:pt x="1630199" y="595327"/>
                </a:lnTo>
                <a:lnTo>
                  <a:pt x="1615703" y="550977"/>
                </a:lnTo>
                <a:lnTo>
                  <a:pt x="1598824" y="507759"/>
                </a:lnTo>
                <a:lnTo>
                  <a:pt x="1579641" y="465753"/>
                </a:lnTo>
                <a:lnTo>
                  <a:pt x="1558231" y="425035"/>
                </a:lnTo>
                <a:lnTo>
                  <a:pt x="1534672" y="385683"/>
                </a:lnTo>
                <a:lnTo>
                  <a:pt x="1509043" y="347777"/>
                </a:lnTo>
                <a:lnTo>
                  <a:pt x="1481421" y="311393"/>
                </a:lnTo>
                <a:lnTo>
                  <a:pt x="1451884" y="276610"/>
                </a:lnTo>
                <a:lnTo>
                  <a:pt x="1420510" y="243506"/>
                </a:lnTo>
                <a:lnTo>
                  <a:pt x="1387378" y="212159"/>
                </a:lnTo>
                <a:lnTo>
                  <a:pt x="1352565" y="182646"/>
                </a:lnTo>
                <a:lnTo>
                  <a:pt x="1316149" y="155046"/>
                </a:lnTo>
                <a:lnTo>
                  <a:pt x="1278209" y="129437"/>
                </a:lnTo>
                <a:lnTo>
                  <a:pt x="1238822" y="105897"/>
                </a:lnTo>
                <a:lnTo>
                  <a:pt x="1198066" y="84504"/>
                </a:lnTo>
                <a:lnTo>
                  <a:pt x="1156019" y="65335"/>
                </a:lnTo>
                <a:lnTo>
                  <a:pt x="1112760" y="48469"/>
                </a:lnTo>
                <a:lnTo>
                  <a:pt x="1068365" y="33984"/>
                </a:lnTo>
                <a:lnTo>
                  <a:pt x="1022915" y="21958"/>
                </a:lnTo>
                <a:lnTo>
                  <a:pt x="976485" y="12468"/>
                </a:lnTo>
                <a:lnTo>
                  <a:pt x="929155" y="5593"/>
                </a:lnTo>
                <a:lnTo>
                  <a:pt x="881001" y="1411"/>
                </a:lnTo>
                <a:lnTo>
                  <a:pt x="832103"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8" name="object 19">
            <a:extLst>
              <a:ext uri="{FF2B5EF4-FFF2-40B4-BE49-F238E27FC236}">
                <a16:creationId xmlns:a16="http://schemas.microsoft.com/office/drawing/2014/main" id="{8F4D6AB0-8FF6-4428-9A1D-19A220E8876F}"/>
              </a:ext>
            </a:extLst>
          </p:cNvPr>
          <p:cNvSpPr/>
          <p:nvPr/>
        </p:nvSpPr>
        <p:spPr>
          <a:xfrm>
            <a:off x="8023859" y="4067555"/>
            <a:ext cx="710565" cy="387350"/>
          </a:xfrm>
          <a:custGeom>
            <a:avLst/>
            <a:gdLst/>
            <a:ahLst/>
            <a:cxnLst/>
            <a:rect l="l" t="t" r="r" b="b"/>
            <a:pathLst>
              <a:path w="710565" h="387350">
                <a:moveTo>
                  <a:pt x="710184" y="0"/>
                </a:moveTo>
                <a:lnTo>
                  <a:pt x="0" y="0"/>
                </a:lnTo>
                <a:lnTo>
                  <a:pt x="355092" y="387096"/>
                </a:lnTo>
                <a:lnTo>
                  <a:pt x="710184" y="0"/>
                </a:lnTo>
                <a:close/>
              </a:path>
            </a:pathLst>
          </a:custGeom>
          <a:solidFill>
            <a:srgbClr val="3DF9C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 name="object 20">
            <a:extLst>
              <a:ext uri="{FF2B5EF4-FFF2-40B4-BE49-F238E27FC236}">
                <a16:creationId xmlns:a16="http://schemas.microsoft.com/office/drawing/2014/main" id="{1D730941-AE4B-42AF-8FD6-BAE5A780DE1B}"/>
              </a:ext>
            </a:extLst>
          </p:cNvPr>
          <p:cNvSpPr/>
          <p:nvPr/>
        </p:nvSpPr>
        <p:spPr>
          <a:xfrm>
            <a:off x="3304794" y="4562094"/>
            <a:ext cx="335280" cy="335280"/>
          </a:xfrm>
          <a:custGeom>
            <a:avLst/>
            <a:gdLst/>
            <a:ahLst/>
            <a:cxnLst/>
            <a:rect l="l" t="t" r="r" b="b"/>
            <a:pathLst>
              <a:path w="335279" h="335279">
                <a:moveTo>
                  <a:pt x="0" y="167639"/>
                </a:moveTo>
                <a:lnTo>
                  <a:pt x="5988" y="123075"/>
                </a:lnTo>
                <a:lnTo>
                  <a:pt x="22888" y="83029"/>
                </a:lnTo>
                <a:lnTo>
                  <a:pt x="49101" y="49101"/>
                </a:lnTo>
                <a:lnTo>
                  <a:pt x="83029" y="22888"/>
                </a:lnTo>
                <a:lnTo>
                  <a:pt x="123075" y="5988"/>
                </a:lnTo>
                <a:lnTo>
                  <a:pt x="167639" y="0"/>
                </a:lnTo>
                <a:lnTo>
                  <a:pt x="212204" y="5988"/>
                </a:lnTo>
                <a:lnTo>
                  <a:pt x="252250" y="22888"/>
                </a:lnTo>
                <a:lnTo>
                  <a:pt x="286178" y="49101"/>
                </a:lnTo>
                <a:lnTo>
                  <a:pt x="312391" y="83029"/>
                </a:lnTo>
                <a:lnTo>
                  <a:pt x="329291" y="123075"/>
                </a:lnTo>
                <a:lnTo>
                  <a:pt x="335279" y="167639"/>
                </a:lnTo>
                <a:lnTo>
                  <a:pt x="329291" y="212204"/>
                </a:lnTo>
                <a:lnTo>
                  <a:pt x="312391" y="252250"/>
                </a:lnTo>
                <a:lnTo>
                  <a:pt x="286178" y="286178"/>
                </a:lnTo>
                <a:lnTo>
                  <a:pt x="252250" y="312391"/>
                </a:lnTo>
                <a:lnTo>
                  <a:pt x="212204" y="329291"/>
                </a:lnTo>
                <a:lnTo>
                  <a:pt x="167639" y="335279"/>
                </a:lnTo>
                <a:lnTo>
                  <a:pt x="123075" y="329291"/>
                </a:lnTo>
                <a:lnTo>
                  <a:pt x="83029" y="312391"/>
                </a:lnTo>
                <a:lnTo>
                  <a:pt x="49101" y="286178"/>
                </a:lnTo>
                <a:lnTo>
                  <a:pt x="22888" y="252250"/>
                </a:lnTo>
                <a:lnTo>
                  <a:pt x="5988" y="212204"/>
                </a:lnTo>
                <a:lnTo>
                  <a:pt x="0" y="167639"/>
                </a:lnTo>
                <a:close/>
              </a:path>
            </a:pathLst>
          </a:custGeom>
          <a:ln w="28955">
            <a:solidFill>
              <a:srgbClr val="F9F8F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 name="object 21">
            <a:extLst>
              <a:ext uri="{FF2B5EF4-FFF2-40B4-BE49-F238E27FC236}">
                <a16:creationId xmlns:a16="http://schemas.microsoft.com/office/drawing/2014/main" id="{CD6F9F7A-C82E-4677-843E-86C7EE954773}"/>
              </a:ext>
            </a:extLst>
          </p:cNvPr>
          <p:cNvSpPr/>
          <p:nvPr/>
        </p:nvSpPr>
        <p:spPr>
          <a:xfrm>
            <a:off x="3354323" y="4611623"/>
            <a:ext cx="237743" cy="237743"/>
          </a:xfrm>
          <a:prstGeom prst="rect">
            <a:avLst/>
          </a:prstGeom>
          <a:blipFill>
            <a:blip r:embed="rId11"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 name="object 22">
            <a:extLst>
              <a:ext uri="{FF2B5EF4-FFF2-40B4-BE49-F238E27FC236}">
                <a16:creationId xmlns:a16="http://schemas.microsoft.com/office/drawing/2014/main" id="{4A84DBE0-670D-4390-8C14-EFA641B40CD4}"/>
              </a:ext>
            </a:extLst>
          </p:cNvPr>
          <p:cNvSpPr/>
          <p:nvPr/>
        </p:nvSpPr>
        <p:spPr>
          <a:xfrm>
            <a:off x="8212073" y="4540758"/>
            <a:ext cx="335280" cy="335280"/>
          </a:xfrm>
          <a:custGeom>
            <a:avLst/>
            <a:gdLst/>
            <a:ahLst/>
            <a:cxnLst/>
            <a:rect l="l" t="t" r="r" b="b"/>
            <a:pathLst>
              <a:path w="335279" h="335279">
                <a:moveTo>
                  <a:pt x="0" y="167640"/>
                </a:moveTo>
                <a:lnTo>
                  <a:pt x="5988" y="123075"/>
                </a:lnTo>
                <a:lnTo>
                  <a:pt x="22888" y="83029"/>
                </a:lnTo>
                <a:lnTo>
                  <a:pt x="49101" y="49101"/>
                </a:lnTo>
                <a:lnTo>
                  <a:pt x="83029" y="22888"/>
                </a:lnTo>
                <a:lnTo>
                  <a:pt x="123075" y="5988"/>
                </a:lnTo>
                <a:lnTo>
                  <a:pt x="167640" y="0"/>
                </a:lnTo>
                <a:lnTo>
                  <a:pt x="212204" y="5988"/>
                </a:lnTo>
                <a:lnTo>
                  <a:pt x="252250" y="22888"/>
                </a:lnTo>
                <a:lnTo>
                  <a:pt x="286178" y="49101"/>
                </a:lnTo>
                <a:lnTo>
                  <a:pt x="312391" y="83029"/>
                </a:lnTo>
                <a:lnTo>
                  <a:pt x="329291" y="123075"/>
                </a:lnTo>
                <a:lnTo>
                  <a:pt x="335279" y="167640"/>
                </a:lnTo>
                <a:lnTo>
                  <a:pt x="329291" y="212204"/>
                </a:lnTo>
                <a:lnTo>
                  <a:pt x="312391" y="252250"/>
                </a:lnTo>
                <a:lnTo>
                  <a:pt x="286178" y="286178"/>
                </a:lnTo>
                <a:lnTo>
                  <a:pt x="252250" y="312391"/>
                </a:lnTo>
                <a:lnTo>
                  <a:pt x="212204" y="329291"/>
                </a:lnTo>
                <a:lnTo>
                  <a:pt x="167640" y="335280"/>
                </a:lnTo>
                <a:lnTo>
                  <a:pt x="123075" y="329291"/>
                </a:lnTo>
                <a:lnTo>
                  <a:pt x="83029" y="312391"/>
                </a:lnTo>
                <a:lnTo>
                  <a:pt x="49101" y="286178"/>
                </a:lnTo>
                <a:lnTo>
                  <a:pt x="22888" y="252250"/>
                </a:lnTo>
                <a:lnTo>
                  <a:pt x="5988" y="212204"/>
                </a:lnTo>
                <a:lnTo>
                  <a:pt x="0" y="167640"/>
                </a:lnTo>
                <a:close/>
              </a:path>
            </a:pathLst>
          </a:custGeom>
          <a:ln w="28955">
            <a:solidFill>
              <a:srgbClr val="F9F8F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 name="object 23">
            <a:extLst>
              <a:ext uri="{FF2B5EF4-FFF2-40B4-BE49-F238E27FC236}">
                <a16:creationId xmlns:a16="http://schemas.microsoft.com/office/drawing/2014/main" id="{601DFC7B-B36C-40ED-B832-53AE67358C09}"/>
              </a:ext>
            </a:extLst>
          </p:cNvPr>
          <p:cNvSpPr/>
          <p:nvPr/>
        </p:nvSpPr>
        <p:spPr>
          <a:xfrm>
            <a:off x="8261604" y="4588764"/>
            <a:ext cx="237744" cy="237743"/>
          </a:xfrm>
          <a:prstGeom prst="rect">
            <a:avLst/>
          </a:prstGeom>
          <a:blipFill>
            <a:blip r:embed="rId12"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 name="object 24">
            <a:extLst>
              <a:ext uri="{FF2B5EF4-FFF2-40B4-BE49-F238E27FC236}">
                <a16:creationId xmlns:a16="http://schemas.microsoft.com/office/drawing/2014/main" id="{157EDE0E-72ED-4EDC-AA8A-4C7BFD4ABA3A}"/>
              </a:ext>
            </a:extLst>
          </p:cNvPr>
          <p:cNvSpPr/>
          <p:nvPr/>
        </p:nvSpPr>
        <p:spPr>
          <a:xfrm>
            <a:off x="3640073" y="4708397"/>
            <a:ext cx="4572000" cy="22225"/>
          </a:xfrm>
          <a:custGeom>
            <a:avLst/>
            <a:gdLst/>
            <a:ahLst/>
            <a:cxnLst/>
            <a:rect l="l" t="t" r="r" b="b"/>
            <a:pathLst>
              <a:path w="4572000" h="22225">
                <a:moveTo>
                  <a:pt x="0" y="21843"/>
                </a:moveTo>
                <a:lnTo>
                  <a:pt x="4571492" y="0"/>
                </a:lnTo>
              </a:path>
            </a:pathLst>
          </a:custGeom>
          <a:ln w="28956">
            <a:solidFill>
              <a:srgbClr val="F9F8F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 name="object 25">
            <a:extLst>
              <a:ext uri="{FF2B5EF4-FFF2-40B4-BE49-F238E27FC236}">
                <a16:creationId xmlns:a16="http://schemas.microsoft.com/office/drawing/2014/main" id="{850B0A23-D898-4E7A-B7CF-A68750556FED}"/>
              </a:ext>
            </a:extLst>
          </p:cNvPr>
          <p:cNvSpPr/>
          <p:nvPr/>
        </p:nvSpPr>
        <p:spPr>
          <a:xfrm>
            <a:off x="5758434" y="4540758"/>
            <a:ext cx="335280" cy="335280"/>
          </a:xfrm>
          <a:custGeom>
            <a:avLst/>
            <a:gdLst/>
            <a:ahLst/>
            <a:cxnLst/>
            <a:rect l="l" t="t" r="r" b="b"/>
            <a:pathLst>
              <a:path w="335279" h="335279">
                <a:moveTo>
                  <a:pt x="167639" y="0"/>
                </a:moveTo>
                <a:lnTo>
                  <a:pt x="123075" y="5988"/>
                </a:lnTo>
                <a:lnTo>
                  <a:pt x="83029" y="22888"/>
                </a:lnTo>
                <a:lnTo>
                  <a:pt x="49101" y="49101"/>
                </a:lnTo>
                <a:lnTo>
                  <a:pt x="22888" y="83029"/>
                </a:lnTo>
                <a:lnTo>
                  <a:pt x="5988" y="123075"/>
                </a:lnTo>
                <a:lnTo>
                  <a:pt x="0" y="167640"/>
                </a:lnTo>
                <a:lnTo>
                  <a:pt x="5988" y="212204"/>
                </a:lnTo>
                <a:lnTo>
                  <a:pt x="22888" y="252250"/>
                </a:lnTo>
                <a:lnTo>
                  <a:pt x="49101" y="286178"/>
                </a:lnTo>
                <a:lnTo>
                  <a:pt x="83029" y="312391"/>
                </a:lnTo>
                <a:lnTo>
                  <a:pt x="123075" y="329291"/>
                </a:lnTo>
                <a:lnTo>
                  <a:pt x="167639" y="335280"/>
                </a:lnTo>
                <a:lnTo>
                  <a:pt x="212204" y="329291"/>
                </a:lnTo>
                <a:lnTo>
                  <a:pt x="252250" y="312391"/>
                </a:lnTo>
                <a:lnTo>
                  <a:pt x="286178" y="286178"/>
                </a:lnTo>
                <a:lnTo>
                  <a:pt x="312391" y="252250"/>
                </a:lnTo>
                <a:lnTo>
                  <a:pt x="329291" y="212204"/>
                </a:lnTo>
                <a:lnTo>
                  <a:pt x="335279" y="167640"/>
                </a:lnTo>
                <a:lnTo>
                  <a:pt x="329291" y="123075"/>
                </a:lnTo>
                <a:lnTo>
                  <a:pt x="312391" y="83029"/>
                </a:lnTo>
                <a:lnTo>
                  <a:pt x="286178" y="49101"/>
                </a:lnTo>
                <a:lnTo>
                  <a:pt x="252250" y="22888"/>
                </a:lnTo>
                <a:lnTo>
                  <a:pt x="212204" y="5988"/>
                </a:lnTo>
                <a:lnTo>
                  <a:pt x="167639"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 name="object 26">
            <a:extLst>
              <a:ext uri="{FF2B5EF4-FFF2-40B4-BE49-F238E27FC236}">
                <a16:creationId xmlns:a16="http://schemas.microsoft.com/office/drawing/2014/main" id="{FDA76A06-1106-472F-AB96-1A75B66B8E48}"/>
              </a:ext>
            </a:extLst>
          </p:cNvPr>
          <p:cNvSpPr/>
          <p:nvPr/>
        </p:nvSpPr>
        <p:spPr>
          <a:xfrm>
            <a:off x="5758434" y="4540758"/>
            <a:ext cx="335280" cy="335280"/>
          </a:xfrm>
          <a:custGeom>
            <a:avLst/>
            <a:gdLst/>
            <a:ahLst/>
            <a:cxnLst/>
            <a:rect l="l" t="t" r="r" b="b"/>
            <a:pathLst>
              <a:path w="335279" h="335279">
                <a:moveTo>
                  <a:pt x="0" y="167640"/>
                </a:moveTo>
                <a:lnTo>
                  <a:pt x="5988" y="123075"/>
                </a:lnTo>
                <a:lnTo>
                  <a:pt x="22888" y="83029"/>
                </a:lnTo>
                <a:lnTo>
                  <a:pt x="49101" y="49101"/>
                </a:lnTo>
                <a:lnTo>
                  <a:pt x="83029" y="22888"/>
                </a:lnTo>
                <a:lnTo>
                  <a:pt x="123075" y="5988"/>
                </a:lnTo>
                <a:lnTo>
                  <a:pt x="167639" y="0"/>
                </a:lnTo>
                <a:lnTo>
                  <a:pt x="212204" y="5988"/>
                </a:lnTo>
                <a:lnTo>
                  <a:pt x="252250" y="22888"/>
                </a:lnTo>
                <a:lnTo>
                  <a:pt x="286178" y="49101"/>
                </a:lnTo>
                <a:lnTo>
                  <a:pt x="312391" y="83029"/>
                </a:lnTo>
                <a:lnTo>
                  <a:pt x="329291" y="123075"/>
                </a:lnTo>
                <a:lnTo>
                  <a:pt x="335279" y="167640"/>
                </a:lnTo>
                <a:lnTo>
                  <a:pt x="329291" y="212204"/>
                </a:lnTo>
                <a:lnTo>
                  <a:pt x="312391" y="252250"/>
                </a:lnTo>
                <a:lnTo>
                  <a:pt x="286178" y="286178"/>
                </a:lnTo>
                <a:lnTo>
                  <a:pt x="252250" y="312391"/>
                </a:lnTo>
                <a:lnTo>
                  <a:pt x="212204" y="329291"/>
                </a:lnTo>
                <a:lnTo>
                  <a:pt x="167639" y="335280"/>
                </a:lnTo>
                <a:lnTo>
                  <a:pt x="123075" y="329291"/>
                </a:lnTo>
                <a:lnTo>
                  <a:pt x="83029" y="312391"/>
                </a:lnTo>
                <a:lnTo>
                  <a:pt x="49101" y="286178"/>
                </a:lnTo>
                <a:lnTo>
                  <a:pt x="22888" y="252250"/>
                </a:lnTo>
                <a:lnTo>
                  <a:pt x="5988" y="212204"/>
                </a:lnTo>
                <a:lnTo>
                  <a:pt x="0" y="167640"/>
                </a:lnTo>
                <a:close/>
              </a:path>
            </a:pathLst>
          </a:custGeom>
          <a:ln w="28955">
            <a:solidFill>
              <a:srgbClr val="F9F8F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 name="object 27">
            <a:extLst>
              <a:ext uri="{FF2B5EF4-FFF2-40B4-BE49-F238E27FC236}">
                <a16:creationId xmlns:a16="http://schemas.microsoft.com/office/drawing/2014/main" id="{97E96461-F42B-4313-A144-D825EED2EDAC}"/>
              </a:ext>
            </a:extLst>
          </p:cNvPr>
          <p:cNvSpPr/>
          <p:nvPr/>
        </p:nvSpPr>
        <p:spPr>
          <a:xfrm>
            <a:off x="5807964" y="4588764"/>
            <a:ext cx="237743" cy="237743"/>
          </a:xfrm>
          <a:prstGeom prst="rect">
            <a:avLst/>
          </a:prstGeom>
          <a:blipFill>
            <a:blip r:embed="rId13"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 name="object 28">
            <a:extLst>
              <a:ext uri="{FF2B5EF4-FFF2-40B4-BE49-F238E27FC236}">
                <a16:creationId xmlns:a16="http://schemas.microsoft.com/office/drawing/2014/main" id="{364A6A4C-2155-4537-95FE-78B3A1DF6E0C}"/>
              </a:ext>
            </a:extLst>
          </p:cNvPr>
          <p:cNvSpPr/>
          <p:nvPr/>
        </p:nvSpPr>
        <p:spPr>
          <a:xfrm>
            <a:off x="3446278" y="2916824"/>
            <a:ext cx="52069" cy="52069"/>
          </a:xfrm>
          <a:custGeom>
            <a:avLst/>
            <a:gdLst/>
            <a:ahLst/>
            <a:cxnLst/>
            <a:rect l="l" t="t" r="r" b="b"/>
            <a:pathLst>
              <a:path w="52070" h="52069">
                <a:moveTo>
                  <a:pt x="25930" y="0"/>
                </a:moveTo>
                <a:lnTo>
                  <a:pt x="15839" y="2030"/>
                </a:lnTo>
                <a:lnTo>
                  <a:pt x="7596" y="7569"/>
                </a:lnTo>
                <a:lnTo>
                  <a:pt x="2038" y="15785"/>
                </a:lnTo>
                <a:lnTo>
                  <a:pt x="0" y="25849"/>
                </a:lnTo>
                <a:lnTo>
                  <a:pt x="2038" y="35909"/>
                </a:lnTo>
                <a:lnTo>
                  <a:pt x="7596" y="44125"/>
                </a:lnTo>
                <a:lnTo>
                  <a:pt x="15839" y="49666"/>
                </a:lnTo>
                <a:lnTo>
                  <a:pt x="25930" y="51699"/>
                </a:lnTo>
                <a:lnTo>
                  <a:pt x="36021" y="49666"/>
                </a:lnTo>
                <a:lnTo>
                  <a:pt x="44263" y="44125"/>
                </a:lnTo>
                <a:lnTo>
                  <a:pt x="49822" y="35909"/>
                </a:lnTo>
                <a:lnTo>
                  <a:pt x="51860" y="25849"/>
                </a:lnTo>
                <a:lnTo>
                  <a:pt x="49822" y="15785"/>
                </a:lnTo>
                <a:lnTo>
                  <a:pt x="44263" y="7569"/>
                </a:lnTo>
                <a:lnTo>
                  <a:pt x="36021" y="2030"/>
                </a:lnTo>
                <a:lnTo>
                  <a:pt x="25930" y="0"/>
                </a:lnTo>
                <a:close/>
              </a:path>
            </a:pathLst>
          </a:custGeom>
          <a:solidFill>
            <a:srgbClr val="66666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8" name="object 29">
            <a:extLst>
              <a:ext uri="{FF2B5EF4-FFF2-40B4-BE49-F238E27FC236}">
                <a16:creationId xmlns:a16="http://schemas.microsoft.com/office/drawing/2014/main" id="{914DF563-3810-456B-B273-E5C08DA38B36}"/>
              </a:ext>
            </a:extLst>
          </p:cNvPr>
          <p:cNvSpPr/>
          <p:nvPr/>
        </p:nvSpPr>
        <p:spPr>
          <a:xfrm>
            <a:off x="3446278" y="3433815"/>
            <a:ext cx="52069" cy="52069"/>
          </a:xfrm>
          <a:custGeom>
            <a:avLst/>
            <a:gdLst/>
            <a:ahLst/>
            <a:cxnLst/>
            <a:rect l="l" t="t" r="r" b="b"/>
            <a:pathLst>
              <a:path w="52070" h="52070">
                <a:moveTo>
                  <a:pt x="25930" y="0"/>
                </a:moveTo>
                <a:lnTo>
                  <a:pt x="15839" y="2030"/>
                </a:lnTo>
                <a:lnTo>
                  <a:pt x="7596" y="7569"/>
                </a:lnTo>
                <a:lnTo>
                  <a:pt x="2038" y="15785"/>
                </a:lnTo>
                <a:lnTo>
                  <a:pt x="0" y="25849"/>
                </a:lnTo>
                <a:lnTo>
                  <a:pt x="2038" y="35909"/>
                </a:lnTo>
                <a:lnTo>
                  <a:pt x="7596" y="44125"/>
                </a:lnTo>
                <a:lnTo>
                  <a:pt x="15839" y="49666"/>
                </a:lnTo>
                <a:lnTo>
                  <a:pt x="25930" y="51699"/>
                </a:lnTo>
                <a:lnTo>
                  <a:pt x="36021" y="49666"/>
                </a:lnTo>
                <a:lnTo>
                  <a:pt x="44263" y="44125"/>
                </a:lnTo>
                <a:lnTo>
                  <a:pt x="49822" y="35909"/>
                </a:lnTo>
                <a:lnTo>
                  <a:pt x="51860" y="25849"/>
                </a:lnTo>
                <a:lnTo>
                  <a:pt x="49822" y="15785"/>
                </a:lnTo>
                <a:lnTo>
                  <a:pt x="44263" y="7569"/>
                </a:lnTo>
                <a:lnTo>
                  <a:pt x="36021" y="2030"/>
                </a:lnTo>
                <a:lnTo>
                  <a:pt x="25930" y="0"/>
                </a:lnTo>
                <a:close/>
              </a:path>
            </a:pathLst>
          </a:custGeom>
          <a:solidFill>
            <a:srgbClr val="66666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 name="object 30">
            <a:extLst>
              <a:ext uri="{FF2B5EF4-FFF2-40B4-BE49-F238E27FC236}">
                <a16:creationId xmlns:a16="http://schemas.microsoft.com/office/drawing/2014/main" id="{19DCE953-407D-498D-A9C3-29856594D91D}"/>
              </a:ext>
            </a:extLst>
          </p:cNvPr>
          <p:cNvSpPr/>
          <p:nvPr/>
        </p:nvSpPr>
        <p:spPr>
          <a:xfrm>
            <a:off x="3705582" y="3162395"/>
            <a:ext cx="52069" cy="52069"/>
          </a:xfrm>
          <a:custGeom>
            <a:avLst/>
            <a:gdLst/>
            <a:ahLst/>
            <a:cxnLst/>
            <a:rect l="l" t="t" r="r" b="b"/>
            <a:pathLst>
              <a:path w="52070" h="52069">
                <a:moveTo>
                  <a:pt x="25930" y="0"/>
                </a:moveTo>
                <a:lnTo>
                  <a:pt x="15839" y="2030"/>
                </a:lnTo>
                <a:lnTo>
                  <a:pt x="7596" y="7569"/>
                </a:lnTo>
                <a:lnTo>
                  <a:pt x="2038" y="15785"/>
                </a:lnTo>
                <a:lnTo>
                  <a:pt x="0" y="25849"/>
                </a:lnTo>
                <a:lnTo>
                  <a:pt x="2038" y="35909"/>
                </a:lnTo>
                <a:lnTo>
                  <a:pt x="7596" y="44125"/>
                </a:lnTo>
                <a:lnTo>
                  <a:pt x="15839" y="49666"/>
                </a:lnTo>
                <a:lnTo>
                  <a:pt x="25930" y="51699"/>
                </a:lnTo>
                <a:lnTo>
                  <a:pt x="36021" y="49666"/>
                </a:lnTo>
                <a:lnTo>
                  <a:pt x="44263" y="44125"/>
                </a:lnTo>
                <a:lnTo>
                  <a:pt x="49822" y="35909"/>
                </a:lnTo>
                <a:lnTo>
                  <a:pt x="51860" y="25849"/>
                </a:lnTo>
                <a:lnTo>
                  <a:pt x="49822" y="15785"/>
                </a:lnTo>
                <a:lnTo>
                  <a:pt x="44263" y="7569"/>
                </a:lnTo>
                <a:lnTo>
                  <a:pt x="36021" y="2030"/>
                </a:lnTo>
                <a:lnTo>
                  <a:pt x="25930" y="0"/>
                </a:lnTo>
                <a:close/>
              </a:path>
            </a:pathLst>
          </a:custGeom>
          <a:solidFill>
            <a:srgbClr val="66666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 name="object 31">
            <a:extLst>
              <a:ext uri="{FF2B5EF4-FFF2-40B4-BE49-F238E27FC236}">
                <a16:creationId xmlns:a16="http://schemas.microsoft.com/office/drawing/2014/main" id="{8C97C800-317E-436D-803E-60D7C9FB9EDB}"/>
              </a:ext>
            </a:extLst>
          </p:cNvPr>
          <p:cNvSpPr/>
          <p:nvPr/>
        </p:nvSpPr>
        <p:spPr>
          <a:xfrm>
            <a:off x="3186975" y="3162395"/>
            <a:ext cx="52069" cy="52069"/>
          </a:xfrm>
          <a:custGeom>
            <a:avLst/>
            <a:gdLst/>
            <a:ahLst/>
            <a:cxnLst/>
            <a:rect l="l" t="t" r="r" b="b"/>
            <a:pathLst>
              <a:path w="52069" h="52069">
                <a:moveTo>
                  <a:pt x="25930" y="0"/>
                </a:moveTo>
                <a:lnTo>
                  <a:pt x="15839" y="2030"/>
                </a:lnTo>
                <a:lnTo>
                  <a:pt x="7596" y="7569"/>
                </a:lnTo>
                <a:lnTo>
                  <a:pt x="2038" y="15785"/>
                </a:lnTo>
                <a:lnTo>
                  <a:pt x="0" y="25849"/>
                </a:lnTo>
                <a:lnTo>
                  <a:pt x="2038" y="35909"/>
                </a:lnTo>
                <a:lnTo>
                  <a:pt x="7596" y="44125"/>
                </a:lnTo>
                <a:lnTo>
                  <a:pt x="15839" y="49666"/>
                </a:lnTo>
                <a:lnTo>
                  <a:pt x="25930" y="51699"/>
                </a:lnTo>
                <a:lnTo>
                  <a:pt x="36021" y="49666"/>
                </a:lnTo>
                <a:lnTo>
                  <a:pt x="44263" y="44125"/>
                </a:lnTo>
                <a:lnTo>
                  <a:pt x="49822" y="35909"/>
                </a:lnTo>
                <a:lnTo>
                  <a:pt x="51860" y="25849"/>
                </a:lnTo>
                <a:lnTo>
                  <a:pt x="49822" y="15785"/>
                </a:lnTo>
                <a:lnTo>
                  <a:pt x="44263" y="7569"/>
                </a:lnTo>
                <a:lnTo>
                  <a:pt x="36021" y="2030"/>
                </a:lnTo>
                <a:lnTo>
                  <a:pt x="25930" y="0"/>
                </a:lnTo>
                <a:close/>
              </a:path>
            </a:pathLst>
          </a:custGeom>
          <a:solidFill>
            <a:srgbClr val="66666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 name="object 32">
            <a:extLst>
              <a:ext uri="{FF2B5EF4-FFF2-40B4-BE49-F238E27FC236}">
                <a16:creationId xmlns:a16="http://schemas.microsoft.com/office/drawing/2014/main" id="{533D0825-1531-4492-A5AB-B1963A21AAF7}"/>
              </a:ext>
            </a:extLst>
          </p:cNvPr>
          <p:cNvSpPr/>
          <p:nvPr/>
        </p:nvSpPr>
        <p:spPr>
          <a:xfrm>
            <a:off x="3446278" y="3007298"/>
            <a:ext cx="172720" cy="327025"/>
          </a:xfrm>
          <a:custGeom>
            <a:avLst/>
            <a:gdLst/>
            <a:ahLst/>
            <a:cxnLst/>
            <a:rect l="l" t="t" r="r" b="b"/>
            <a:pathLst>
              <a:path w="172720" h="327025">
                <a:moveTo>
                  <a:pt x="51860" y="0"/>
                </a:moveTo>
                <a:lnTo>
                  <a:pt x="0" y="0"/>
                </a:lnTo>
                <a:lnTo>
                  <a:pt x="0" y="187409"/>
                </a:lnTo>
                <a:lnTo>
                  <a:pt x="2593" y="193871"/>
                </a:lnTo>
                <a:lnTo>
                  <a:pt x="136134" y="326996"/>
                </a:lnTo>
                <a:lnTo>
                  <a:pt x="172437" y="290807"/>
                </a:lnTo>
                <a:lnTo>
                  <a:pt x="51860" y="170606"/>
                </a:lnTo>
                <a:lnTo>
                  <a:pt x="51860" y="0"/>
                </a:lnTo>
                <a:close/>
              </a:path>
            </a:pathLst>
          </a:custGeom>
          <a:solidFill>
            <a:srgbClr val="66666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2" name="object 33">
            <a:extLst>
              <a:ext uri="{FF2B5EF4-FFF2-40B4-BE49-F238E27FC236}">
                <a16:creationId xmlns:a16="http://schemas.microsoft.com/office/drawing/2014/main" id="{7FFD1B3D-7629-469F-BF8D-6A0A435EBF21}"/>
              </a:ext>
            </a:extLst>
          </p:cNvPr>
          <p:cNvSpPr/>
          <p:nvPr/>
        </p:nvSpPr>
        <p:spPr>
          <a:xfrm>
            <a:off x="3031866" y="2632436"/>
            <a:ext cx="882650" cy="1007744"/>
          </a:xfrm>
          <a:custGeom>
            <a:avLst/>
            <a:gdLst/>
            <a:ahLst/>
            <a:cxnLst/>
            <a:rect l="l" t="t" r="r" b="b"/>
            <a:pathLst>
              <a:path w="882650" h="1007745">
                <a:moveTo>
                  <a:pt x="479238" y="77591"/>
                </a:moveTo>
                <a:lnTo>
                  <a:pt x="401447" y="77591"/>
                </a:lnTo>
                <a:lnTo>
                  <a:pt x="401447" y="130583"/>
                </a:lnTo>
                <a:lnTo>
                  <a:pt x="354633" y="137216"/>
                </a:lnTo>
                <a:lnTo>
                  <a:pt x="309519" y="148594"/>
                </a:lnTo>
                <a:lnTo>
                  <a:pt x="266378" y="164458"/>
                </a:lnTo>
                <a:lnTo>
                  <a:pt x="225481" y="184550"/>
                </a:lnTo>
                <a:lnTo>
                  <a:pt x="187102" y="208614"/>
                </a:lnTo>
                <a:lnTo>
                  <a:pt x="151513" y="236390"/>
                </a:lnTo>
                <a:lnTo>
                  <a:pt x="118987" y="267623"/>
                </a:lnTo>
                <a:lnTo>
                  <a:pt x="89796" y="302053"/>
                </a:lnTo>
                <a:lnTo>
                  <a:pt x="64213" y="339424"/>
                </a:lnTo>
                <a:lnTo>
                  <a:pt x="42511" y="379477"/>
                </a:lnTo>
                <a:lnTo>
                  <a:pt x="24962" y="421955"/>
                </a:lnTo>
                <a:lnTo>
                  <a:pt x="11839" y="466601"/>
                </a:lnTo>
                <a:lnTo>
                  <a:pt x="3415" y="513156"/>
                </a:lnTo>
                <a:lnTo>
                  <a:pt x="0" y="560343"/>
                </a:lnTo>
                <a:lnTo>
                  <a:pt x="1590" y="606846"/>
                </a:lnTo>
                <a:lnTo>
                  <a:pt x="7993" y="652346"/>
                </a:lnTo>
                <a:lnTo>
                  <a:pt x="19014" y="696526"/>
                </a:lnTo>
                <a:lnTo>
                  <a:pt x="34456" y="739069"/>
                </a:lnTo>
                <a:lnTo>
                  <a:pt x="54126" y="779655"/>
                </a:lnTo>
                <a:lnTo>
                  <a:pt x="77830" y="817969"/>
                </a:lnTo>
                <a:lnTo>
                  <a:pt x="105371" y="853692"/>
                </a:lnTo>
                <a:lnTo>
                  <a:pt x="136556" y="886506"/>
                </a:lnTo>
                <a:lnTo>
                  <a:pt x="171190" y="916094"/>
                </a:lnTo>
                <a:lnTo>
                  <a:pt x="209077" y="942139"/>
                </a:lnTo>
                <a:lnTo>
                  <a:pt x="250024" y="964321"/>
                </a:lnTo>
                <a:lnTo>
                  <a:pt x="293835" y="982325"/>
                </a:lnTo>
                <a:lnTo>
                  <a:pt x="339325" y="995605"/>
                </a:lnTo>
                <a:lnTo>
                  <a:pt x="385203" y="1003909"/>
                </a:lnTo>
                <a:lnTo>
                  <a:pt x="431124" y="1007352"/>
                </a:lnTo>
                <a:lnTo>
                  <a:pt x="476741" y="1006051"/>
                </a:lnTo>
                <a:lnTo>
                  <a:pt x="521706" y="1000123"/>
                </a:lnTo>
                <a:lnTo>
                  <a:pt x="565673" y="989684"/>
                </a:lnTo>
                <a:lnTo>
                  <a:pt x="608294" y="974850"/>
                </a:lnTo>
                <a:lnTo>
                  <a:pt x="649222" y="955738"/>
                </a:lnTo>
                <a:lnTo>
                  <a:pt x="688111" y="932465"/>
                </a:lnTo>
                <a:lnTo>
                  <a:pt x="690569" y="930626"/>
                </a:lnTo>
                <a:lnTo>
                  <a:pt x="440342" y="930626"/>
                </a:lnTo>
                <a:lnTo>
                  <a:pt x="390984" y="927331"/>
                </a:lnTo>
                <a:lnTo>
                  <a:pt x="343673" y="917731"/>
                </a:lnTo>
                <a:lnTo>
                  <a:pt x="298839" y="902252"/>
                </a:lnTo>
                <a:lnTo>
                  <a:pt x="256909" y="881320"/>
                </a:lnTo>
                <a:lnTo>
                  <a:pt x="218309" y="855362"/>
                </a:lnTo>
                <a:lnTo>
                  <a:pt x="183469" y="824804"/>
                </a:lnTo>
                <a:lnTo>
                  <a:pt x="152816" y="790073"/>
                </a:lnTo>
                <a:lnTo>
                  <a:pt x="126777" y="751594"/>
                </a:lnTo>
                <a:lnTo>
                  <a:pt x="105779" y="709794"/>
                </a:lnTo>
                <a:lnTo>
                  <a:pt x="90252" y="665100"/>
                </a:lnTo>
                <a:lnTo>
                  <a:pt x="80622" y="617937"/>
                </a:lnTo>
                <a:lnTo>
                  <a:pt x="77317" y="568732"/>
                </a:lnTo>
                <a:lnTo>
                  <a:pt x="80622" y="519528"/>
                </a:lnTo>
                <a:lnTo>
                  <a:pt x="90252" y="472365"/>
                </a:lnTo>
                <a:lnTo>
                  <a:pt x="105779" y="427671"/>
                </a:lnTo>
                <a:lnTo>
                  <a:pt x="126777" y="385871"/>
                </a:lnTo>
                <a:lnTo>
                  <a:pt x="152816" y="347392"/>
                </a:lnTo>
                <a:lnTo>
                  <a:pt x="183469" y="312660"/>
                </a:lnTo>
                <a:lnTo>
                  <a:pt x="218309" y="282102"/>
                </a:lnTo>
                <a:lnTo>
                  <a:pt x="256909" y="256144"/>
                </a:lnTo>
                <a:lnTo>
                  <a:pt x="298839" y="235213"/>
                </a:lnTo>
                <a:lnTo>
                  <a:pt x="343673" y="219734"/>
                </a:lnTo>
                <a:lnTo>
                  <a:pt x="390984" y="210134"/>
                </a:lnTo>
                <a:lnTo>
                  <a:pt x="440342" y="206839"/>
                </a:lnTo>
                <a:lnTo>
                  <a:pt x="791344" y="206839"/>
                </a:lnTo>
                <a:lnTo>
                  <a:pt x="792955" y="204254"/>
                </a:lnTo>
                <a:lnTo>
                  <a:pt x="686681" y="204254"/>
                </a:lnTo>
                <a:lnTo>
                  <a:pt x="638406" y="176223"/>
                </a:lnTo>
                <a:lnTo>
                  <a:pt x="587335" y="154494"/>
                </a:lnTo>
                <a:lnTo>
                  <a:pt x="534076" y="139549"/>
                </a:lnTo>
                <a:lnTo>
                  <a:pt x="479238" y="131875"/>
                </a:lnTo>
                <a:lnTo>
                  <a:pt x="479238" y="77591"/>
                </a:lnTo>
                <a:close/>
              </a:path>
              <a:path w="882650" h="1007745">
                <a:moveTo>
                  <a:pt x="791344" y="206839"/>
                </a:moveTo>
                <a:lnTo>
                  <a:pt x="440342" y="206839"/>
                </a:lnTo>
                <a:lnTo>
                  <a:pt x="489701" y="210134"/>
                </a:lnTo>
                <a:lnTo>
                  <a:pt x="537011" y="219734"/>
                </a:lnTo>
                <a:lnTo>
                  <a:pt x="581845" y="235213"/>
                </a:lnTo>
                <a:lnTo>
                  <a:pt x="623776" y="256144"/>
                </a:lnTo>
                <a:lnTo>
                  <a:pt x="662375" y="282102"/>
                </a:lnTo>
                <a:lnTo>
                  <a:pt x="697215" y="312660"/>
                </a:lnTo>
                <a:lnTo>
                  <a:pt x="727869" y="347392"/>
                </a:lnTo>
                <a:lnTo>
                  <a:pt x="753908" y="385871"/>
                </a:lnTo>
                <a:lnTo>
                  <a:pt x="774905" y="427671"/>
                </a:lnTo>
                <a:lnTo>
                  <a:pt x="790432" y="472365"/>
                </a:lnTo>
                <a:lnTo>
                  <a:pt x="800062" y="519528"/>
                </a:lnTo>
                <a:lnTo>
                  <a:pt x="803368" y="568732"/>
                </a:lnTo>
                <a:lnTo>
                  <a:pt x="800062" y="617937"/>
                </a:lnTo>
                <a:lnTo>
                  <a:pt x="790432" y="665100"/>
                </a:lnTo>
                <a:lnTo>
                  <a:pt x="774905" y="709794"/>
                </a:lnTo>
                <a:lnTo>
                  <a:pt x="753908" y="751594"/>
                </a:lnTo>
                <a:lnTo>
                  <a:pt x="727869" y="790073"/>
                </a:lnTo>
                <a:lnTo>
                  <a:pt x="697215" y="824804"/>
                </a:lnTo>
                <a:lnTo>
                  <a:pt x="662375" y="855362"/>
                </a:lnTo>
                <a:lnTo>
                  <a:pt x="623776" y="881320"/>
                </a:lnTo>
                <a:lnTo>
                  <a:pt x="581845" y="902252"/>
                </a:lnTo>
                <a:lnTo>
                  <a:pt x="537011" y="917731"/>
                </a:lnTo>
                <a:lnTo>
                  <a:pt x="489701" y="927331"/>
                </a:lnTo>
                <a:lnTo>
                  <a:pt x="440342" y="930626"/>
                </a:lnTo>
                <a:lnTo>
                  <a:pt x="690569" y="930626"/>
                </a:lnTo>
                <a:lnTo>
                  <a:pt x="724614" y="905147"/>
                </a:lnTo>
                <a:lnTo>
                  <a:pt x="758383" y="873900"/>
                </a:lnTo>
                <a:lnTo>
                  <a:pt x="789072" y="838840"/>
                </a:lnTo>
                <a:lnTo>
                  <a:pt x="816333" y="800086"/>
                </a:lnTo>
                <a:lnTo>
                  <a:pt x="839267" y="758666"/>
                </a:lnTo>
                <a:lnTo>
                  <a:pt x="857251" y="715781"/>
                </a:lnTo>
                <a:lnTo>
                  <a:pt x="870353" y="671802"/>
                </a:lnTo>
                <a:lnTo>
                  <a:pt x="878639" y="627100"/>
                </a:lnTo>
                <a:lnTo>
                  <a:pt x="882177" y="582044"/>
                </a:lnTo>
                <a:lnTo>
                  <a:pt x="881034" y="537006"/>
                </a:lnTo>
                <a:lnTo>
                  <a:pt x="875277" y="492357"/>
                </a:lnTo>
                <a:lnTo>
                  <a:pt x="864974" y="448466"/>
                </a:lnTo>
                <a:lnTo>
                  <a:pt x="850192" y="405705"/>
                </a:lnTo>
                <a:lnTo>
                  <a:pt x="830998" y="364444"/>
                </a:lnTo>
                <a:lnTo>
                  <a:pt x="807459" y="325054"/>
                </a:lnTo>
                <a:lnTo>
                  <a:pt x="779643" y="287905"/>
                </a:lnTo>
                <a:lnTo>
                  <a:pt x="747617" y="253368"/>
                </a:lnTo>
                <a:lnTo>
                  <a:pt x="786513" y="214594"/>
                </a:lnTo>
                <a:lnTo>
                  <a:pt x="791344" y="206839"/>
                </a:lnTo>
                <a:close/>
              </a:path>
              <a:path w="882650" h="1007745">
                <a:moveTo>
                  <a:pt x="758476" y="149001"/>
                </a:moveTo>
                <a:lnTo>
                  <a:pt x="743829" y="151222"/>
                </a:lnTo>
                <a:lnTo>
                  <a:pt x="730762" y="159017"/>
                </a:lnTo>
                <a:lnTo>
                  <a:pt x="686681" y="204254"/>
                </a:lnTo>
                <a:lnTo>
                  <a:pt x="792955" y="204254"/>
                </a:lnTo>
                <a:lnTo>
                  <a:pt x="794515" y="201750"/>
                </a:lnTo>
                <a:lnTo>
                  <a:pt x="797047" y="187452"/>
                </a:lnTo>
                <a:lnTo>
                  <a:pt x="793988" y="173154"/>
                </a:lnTo>
                <a:lnTo>
                  <a:pt x="785216" y="160310"/>
                </a:lnTo>
                <a:lnTo>
                  <a:pt x="772879" y="152111"/>
                </a:lnTo>
                <a:lnTo>
                  <a:pt x="758476" y="149001"/>
                </a:lnTo>
                <a:close/>
              </a:path>
              <a:path w="882650" h="1007745">
                <a:moveTo>
                  <a:pt x="595924" y="0"/>
                </a:moveTo>
                <a:lnTo>
                  <a:pt x="284760" y="0"/>
                </a:lnTo>
                <a:lnTo>
                  <a:pt x="284760" y="77591"/>
                </a:lnTo>
                <a:lnTo>
                  <a:pt x="595924" y="77591"/>
                </a:lnTo>
                <a:lnTo>
                  <a:pt x="595924" y="0"/>
                </a:lnTo>
                <a:close/>
              </a:path>
            </a:pathLst>
          </a:custGeom>
          <a:solidFill>
            <a:srgbClr val="66666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3" name="object 34">
            <a:extLst>
              <a:ext uri="{FF2B5EF4-FFF2-40B4-BE49-F238E27FC236}">
                <a16:creationId xmlns:a16="http://schemas.microsoft.com/office/drawing/2014/main" id="{64DBB43A-978D-47B7-91C5-48726FED9DC6}"/>
              </a:ext>
            </a:extLst>
          </p:cNvPr>
          <p:cNvSpPr/>
          <p:nvPr/>
        </p:nvSpPr>
        <p:spPr>
          <a:xfrm>
            <a:off x="5774065" y="3343342"/>
            <a:ext cx="337185" cy="78105"/>
          </a:xfrm>
          <a:custGeom>
            <a:avLst/>
            <a:gdLst/>
            <a:ahLst/>
            <a:cxnLst/>
            <a:rect l="l" t="t" r="r" b="b"/>
            <a:pathLst>
              <a:path w="337185" h="78104">
                <a:moveTo>
                  <a:pt x="298199" y="0"/>
                </a:moveTo>
                <a:lnTo>
                  <a:pt x="38895" y="0"/>
                </a:lnTo>
                <a:lnTo>
                  <a:pt x="23519" y="2968"/>
                </a:lnTo>
                <a:lnTo>
                  <a:pt x="11182" y="11147"/>
                </a:lnTo>
                <a:lnTo>
                  <a:pt x="2977" y="23446"/>
                </a:lnTo>
                <a:lnTo>
                  <a:pt x="0" y="38774"/>
                </a:lnTo>
                <a:lnTo>
                  <a:pt x="2977" y="54102"/>
                </a:lnTo>
                <a:lnTo>
                  <a:pt x="11182" y="66400"/>
                </a:lnTo>
                <a:lnTo>
                  <a:pt x="23519" y="74579"/>
                </a:lnTo>
                <a:lnTo>
                  <a:pt x="38895" y="77548"/>
                </a:lnTo>
                <a:lnTo>
                  <a:pt x="298199" y="77548"/>
                </a:lnTo>
                <a:lnTo>
                  <a:pt x="313575" y="74579"/>
                </a:lnTo>
                <a:lnTo>
                  <a:pt x="325912" y="66400"/>
                </a:lnTo>
                <a:lnTo>
                  <a:pt x="334117" y="54102"/>
                </a:lnTo>
                <a:lnTo>
                  <a:pt x="337094" y="38774"/>
                </a:lnTo>
                <a:lnTo>
                  <a:pt x="334117" y="23446"/>
                </a:lnTo>
                <a:lnTo>
                  <a:pt x="325912" y="11147"/>
                </a:lnTo>
                <a:lnTo>
                  <a:pt x="313575" y="2968"/>
                </a:lnTo>
                <a:lnTo>
                  <a:pt x="298199" y="0"/>
                </a:lnTo>
                <a:close/>
              </a:path>
            </a:pathLst>
          </a:custGeom>
          <a:solidFill>
            <a:srgbClr val="C5B8A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4" name="object 35">
            <a:extLst>
              <a:ext uri="{FF2B5EF4-FFF2-40B4-BE49-F238E27FC236}">
                <a16:creationId xmlns:a16="http://schemas.microsoft.com/office/drawing/2014/main" id="{F4391282-BD8C-4CD1-AC3E-C3805810F744}"/>
              </a:ext>
            </a:extLst>
          </p:cNvPr>
          <p:cNvSpPr/>
          <p:nvPr/>
        </p:nvSpPr>
        <p:spPr>
          <a:xfrm>
            <a:off x="5774065" y="3472589"/>
            <a:ext cx="337185" cy="78105"/>
          </a:xfrm>
          <a:custGeom>
            <a:avLst/>
            <a:gdLst/>
            <a:ahLst/>
            <a:cxnLst/>
            <a:rect l="l" t="t" r="r" b="b"/>
            <a:pathLst>
              <a:path w="337185" h="78104">
                <a:moveTo>
                  <a:pt x="298199" y="0"/>
                </a:moveTo>
                <a:lnTo>
                  <a:pt x="38895" y="0"/>
                </a:lnTo>
                <a:lnTo>
                  <a:pt x="23519" y="2968"/>
                </a:lnTo>
                <a:lnTo>
                  <a:pt x="11182" y="11147"/>
                </a:lnTo>
                <a:lnTo>
                  <a:pt x="2977" y="23446"/>
                </a:lnTo>
                <a:lnTo>
                  <a:pt x="0" y="38774"/>
                </a:lnTo>
                <a:lnTo>
                  <a:pt x="2977" y="54102"/>
                </a:lnTo>
                <a:lnTo>
                  <a:pt x="11182" y="66400"/>
                </a:lnTo>
                <a:lnTo>
                  <a:pt x="23519" y="74579"/>
                </a:lnTo>
                <a:lnTo>
                  <a:pt x="38895" y="77548"/>
                </a:lnTo>
                <a:lnTo>
                  <a:pt x="298199" y="77548"/>
                </a:lnTo>
                <a:lnTo>
                  <a:pt x="313575" y="74579"/>
                </a:lnTo>
                <a:lnTo>
                  <a:pt x="325912" y="66400"/>
                </a:lnTo>
                <a:lnTo>
                  <a:pt x="334117" y="54102"/>
                </a:lnTo>
                <a:lnTo>
                  <a:pt x="337094" y="38774"/>
                </a:lnTo>
                <a:lnTo>
                  <a:pt x="334117" y="23446"/>
                </a:lnTo>
                <a:lnTo>
                  <a:pt x="325912" y="11147"/>
                </a:lnTo>
                <a:lnTo>
                  <a:pt x="313575" y="2968"/>
                </a:lnTo>
                <a:lnTo>
                  <a:pt x="298199" y="0"/>
                </a:lnTo>
                <a:close/>
              </a:path>
            </a:pathLst>
          </a:custGeom>
          <a:solidFill>
            <a:srgbClr val="C5B8A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 name="object 36">
            <a:extLst>
              <a:ext uri="{FF2B5EF4-FFF2-40B4-BE49-F238E27FC236}">
                <a16:creationId xmlns:a16="http://schemas.microsoft.com/office/drawing/2014/main" id="{B9489D28-EE0C-4B28-9F17-9689F05CC95B}"/>
              </a:ext>
            </a:extLst>
          </p:cNvPr>
          <p:cNvSpPr/>
          <p:nvPr/>
        </p:nvSpPr>
        <p:spPr>
          <a:xfrm>
            <a:off x="5858339" y="3601837"/>
            <a:ext cx="168547" cy="77547"/>
          </a:xfrm>
          <a:prstGeom prst="rect">
            <a:avLst/>
          </a:prstGeom>
          <a:blipFill>
            <a:blip r:embed="rId14"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6" name="object 37">
            <a:extLst>
              <a:ext uri="{FF2B5EF4-FFF2-40B4-BE49-F238E27FC236}">
                <a16:creationId xmlns:a16="http://schemas.microsoft.com/office/drawing/2014/main" id="{97C5D74F-10DB-4559-AACA-D6B8337C91E7}"/>
              </a:ext>
            </a:extLst>
          </p:cNvPr>
          <p:cNvSpPr/>
          <p:nvPr/>
        </p:nvSpPr>
        <p:spPr>
          <a:xfrm>
            <a:off x="5605518" y="2593662"/>
            <a:ext cx="674370" cy="698500"/>
          </a:xfrm>
          <a:custGeom>
            <a:avLst/>
            <a:gdLst/>
            <a:ahLst/>
            <a:cxnLst/>
            <a:rect l="l" t="t" r="r" b="b"/>
            <a:pathLst>
              <a:path w="674370" h="698500">
                <a:moveTo>
                  <a:pt x="337094" y="0"/>
                </a:moveTo>
                <a:lnTo>
                  <a:pt x="287835" y="3892"/>
                </a:lnTo>
                <a:lnTo>
                  <a:pt x="240807" y="14532"/>
                </a:lnTo>
                <a:lnTo>
                  <a:pt x="196509" y="31426"/>
                </a:lnTo>
                <a:lnTo>
                  <a:pt x="155438" y="54077"/>
                </a:lnTo>
                <a:lnTo>
                  <a:pt x="118089" y="81990"/>
                </a:lnTo>
                <a:lnTo>
                  <a:pt x="84960" y="114669"/>
                </a:lnTo>
                <a:lnTo>
                  <a:pt x="56548" y="151618"/>
                </a:lnTo>
                <a:lnTo>
                  <a:pt x="33349" y="192343"/>
                </a:lnTo>
                <a:lnTo>
                  <a:pt x="15860" y="236346"/>
                </a:lnTo>
                <a:lnTo>
                  <a:pt x="4578" y="283134"/>
                </a:lnTo>
                <a:lnTo>
                  <a:pt x="0" y="332209"/>
                </a:lnTo>
                <a:lnTo>
                  <a:pt x="0" y="343841"/>
                </a:lnTo>
                <a:lnTo>
                  <a:pt x="6806" y="402972"/>
                </a:lnTo>
                <a:lnTo>
                  <a:pt x="23337" y="460164"/>
                </a:lnTo>
                <a:lnTo>
                  <a:pt x="48619" y="510409"/>
                </a:lnTo>
                <a:lnTo>
                  <a:pt x="81680" y="555808"/>
                </a:lnTo>
                <a:lnTo>
                  <a:pt x="105159" y="585979"/>
                </a:lnTo>
                <a:lnTo>
                  <a:pt x="127545" y="621724"/>
                </a:lnTo>
                <a:lnTo>
                  <a:pt x="146770" y="656500"/>
                </a:lnTo>
                <a:lnTo>
                  <a:pt x="160768" y="683763"/>
                </a:lnTo>
                <a:lnTo>
                  <a:pt x="164597" y="689801"/>
                </a:lnTo>
                <a:lnTo>
                  <a:pt x="170006" y="694264"/>
                </a:lnTo>
                <a:lnTo>
                  <a:pt x="176630" y="697031"/>
                </a:lnTo>
                <a:lnTo>
                  <a:pt x="184105" y="697980"/>
                </a:lnTo>
                <a:lnTo>
                  <a:pt x="490084" y="697980"/>
                </a:lnTo>
                <a:lnTo>
                  <a:pt x="527419" y="656500"/>
                </a:lnTo>
                <a:lnTo>
                  <a:pt x="546644" y="621724"/>
                </a:lnTo>
                <a:lnTo>
                  <a:pt x="547454" y="620431"/>
                </a:lnTo>
                <a:lnTo>
                  <a:pt x="216518" y="620431"/>
                </a:lnTo>
                <a:lnTo>
                  <a:pt x="200028" y="589897"/>
                </a:lnTo>
                <a:lnTo>
                  <a:pt x="181836" y="560331"/>
                </a:lnTo>
                <a:lnTo>
                  <a:pt x="162186" y="531735"/>
                </a:lnTo>
                <a:lnTo>
                  <a:pt x="141320" y="504108"/>
                </a:lnTo>
                <a:lnTo>
                  <a:pt x="128233" y="487912"/>
                </a:lnTo>
                <a:lnTo>
                  <a:pt x="116362" y="470504"/>
                </a:lnTo>
                <a:lnTo>
                  <a:pt x="97238" y="433022"/>
                </a:lnTo>
                <a:lnTo>
                  <a:pt x="84273" y="388755"/>
                </a:lnTo>
                <a:lnTo>
                  <a:pt x="79184" y="343841"/>
                </a:lnTo>
                <a:lnTo>
                  <a:pt x="79087" y="332209"/>
                </a:lnTo>
                <a:lnTo>
                  <a:pt x="84010" y="286370"/>
                </a:lnTo>
                <a:lnTo>
                  <a:pt x="96573" y="243241"/>
                </a:lnTo>
                <a:lnTo>
                  <a:pt x="116062" y="203525"/>
                </a:lnTo>
                <a:lnTo>
                  <a:pt x="141761" y="167924"/>
                </a:lnTo>
                <a:lnTo>
                  <a:pt x="172956" y="137142"/>
                </a:lnTo>
                <a:lnTo>
                  <a:pt x="208931" y="111882"/>
                </a:lnTo>
                <a:lnTo>
                  <a:pt x="248972" y="92845"/>
                </a:lnTo>
                <a:lnTo>
                  <a:pt x="292364" y="80736"/>
                </a:lnTo>
                <a:lnTo>
                  <a:pt x="338391" y="76256"/>
                </a:lnTo>
                <a:lnTo>
                  <a:pt x="548427" y="76256"/>
                </a:lnTo>
                <a:lnTo>
                  <a:pt x="518751" y="54077"/>
                </a:lnTo>
                <a:lnTo>
                  <a:pt x="477680" y="31426"/>
                </a:lnTo>
                <a:lnTo>
                  <a:pt x="433382" y="14532"/>
                </a:lnTo>
                <a:lnTo>
                  <a:pt x="386354" y="3892"/>
                </a:lnTo>
                <a:lnTo>
                  <a:pt x="337094" y="0"/>
                </a:lnTo>
                <a:close/>
              </a:path>
              <a:path w="674370" h="698500">
                <a:moveTo>
                  <a:pt x="548427" y="76256"/>
                </a:moveTo>
                <a:lnTo>
                  <a:pt x="338391" y="76256"/>
                </a:lnTo>
                <a:lnTo>
                  <a:pt x="384418" y="80693"/>
                </a:lnTo>
                <a:lnTo>
                  <a:pt x="427810" y="92696"/>
                </a:lnTo>
                <a:lnTo>
                  <a:pt x="467851" y="111594"/>
                </a:lnTo>
                <a:lnTo>
                  <a:pt x="503826" y="136717"/>
                </a:lnTo>
                <a:lnTo>
                  <a:pt x="535021" y="167392"/>
                </a:lnTo>
                <a:lnTo>
                  <a:pt x="560720" y="202950"/>
                </a:lnTo>
                <a:lnTo>
                  <a:pt x="580209" y="242720"/>
                </a:lnTo>
                <a:lnTo>
                  <a:pt x="592772" y="286029"/>
                </a:lnTo>
                <a:lnTo>
                  <a:pt x="597695" y="332209"/>
                </a:lnTo>
                <a:lnTo>
                  <a:pt x="597695" y="342549"/>
                </a:lnTo>
                <a:lnTo>
                  <a:pt x="596398" y="342549"/>
                </a:lnTo>
                <a:lnTo>
                  <a:pt x="594474" y="365773"/>
                </a:lnTo>
                <a:lnTo>
                  <a:pt x="585277" y="411252"/>
                </a:lnTo>
                <a:lnTo>
                  <a:pt x="569718" y="452127"/>
                </a:lnTo>
                <a:lnTo>
                  <a:pt x="547799" y="487912"/>
                </a:lnTo>
                <a:lnTo>
                  <a:pt x="534165" y="504108"/>
                </a:lnTo>
                <a:lnTo>
                  <a:pt x="512570" y="531735"/>
                </a:lnTo>
                <a:lnTo>
                  <a:pt x="492677" y="560331"/>
                </a:lnTo>
                <a:lnTo>
                  <a:pt x="474728" y="589897"/>
                </a:lnTo>
                <a:lnTo>
                  <a:pt x="458967" y="620431"/>
                </a:lnTo>
                <a:lnTo>
                  <a:pt x="547454" y="620431"/>
                </a:lnTo>
                <a:lnTo>
                  <a:pt x="569030" y="585979"/>
                </a:lnTo>
                <a:lnTo>
                  <a:pt x="592509" y="555808"/>
                </a:lnTo>
                <a:lnTo>
                  <a:pt x="626056" y="510409"/>
                </a:lnTo>
                <a:lnTo>
                  <a:pt x="650852" y="460164"/>
                </a:lnTo>
                <a:lnTo>
                  <a:pt x="667383" y="402972"/>
                </a:lnTo>
                <a:lnTo>
                  <a:pt x="674189" y="343841"/>
                </a:lnTo>
                <a:lnTo>
                  <a:pt x="674189" y="332209"/>
                </a:lnTo>
                <a:lnTo>
                  <a:pt x="669611" y="283134"/>
                </a:lnTo>
                <a:lnTo>
                  <a:pt x="658329" y="236346"/>
                </a:lnTo>
                <a:lnTo>
                  <a:pt x="640840" y="192343"/>
                </a:lnTo>
                <a:lnTo>
                  <a:pt x="617641" y="151618"/>
                </a:lnTo>
                <a:lnTo>
                  <a:pt x="589229" y="114669"/>
                </a:lnTo>
                <a:lnTo>
                  <a:pt x="556100" y="81990"/>
                </a:lnTo>
                <a:lnTo>
                  <a:pt x="548427" y="76256"/>
                </a:lnTo>
                <a:close/>
              </a:path>
            </a:pathLst>
          </a:custGeom>
          <a:solidFill>
            <a:srgbClr val="C5B8A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7" name="object 38">
            <a:extLst>
              <a:ext uri="{FF2B5EF4-FFF2-40B4-BE49-F238E27FC236}">
                <a16:creationId xmlns:a16="http://schemas.microsoft.com/office/drawing/2014/main" id="{76A90DDE-DD45-4AD7-9005-97F695C65D18}"/>
              </a:ext>
            </a:extLst>
          </p:cNvPr>
          <p:cNvSpPr/>
          <p:nvPr/>
        </p:nvSpPr>
        <p:spPr>
          <a:xfrm>
            <a:off x="7938672" y="3536915"/>
            <a:ext cx="882015" cy="0"/>
          </a:xfrm>
          <a:custGeom>
            <a:avLst/>
            <a:gdLst/>
            <a:ahLst/>
            <a:cxnLst/>
            <a:rect l="l" t="t" r="r" b="b"/>
            <a:pathLst>
              <a:path w="882015">
                <a:moveTo>
                  <a:pt x="0" y="0"/>
                </a:moveTo>
                <a:lnTo>
                  <a:pt x="881633" y="0"/>
                </a:lnTo>
              </a:path>
            </a:pathLst>
          </a:custGeom>
          <a:ln w="77349">
            <a:solidFill>
              <a:srgbClr val="999999"/>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8" name="object 39">
            <a:extLst>
              <a:ext uri="{FF2B5EF4-FFF2-40B4-BE49-F238E27FC236}">
                <a16:creationId xmlns:a16="http://schemas.microsoft.com/office/drawing/2014/main" id="{CE5ACB2D-7836-4139-81AE-268E5F405D77}"/>
              </a:ext>
            </a:extLst>
          </p:cNvPr>
          <p:cNvSpPr/>
          <p:nvPr/>
        </p:nvSpPr>
        <p:spPr>
          <a:xfrm>
            <a:off x="7977568" y="2696853"/>
            <a:ext cx="0" cy="802005"/>
          </a:xfrm>
          <a:custGeom>
            <a:avLst/>
            <a:gdLst/>
            <a:ahLst/>
            <a:cxnLst/>
            <a:rect l="l" t="t" r="r" b="b"/>
            <a:pathLst>
              <a:path h="802004">
                <a:moveTo>
                  <a:pt x="0" y="0"/>
                </a:moveTo>
                <a:lnTo>
                  <a:pt x="0" y="801386"/>
                </a:lnTo>
              </a:path>
            </a:pathLst>
          </a:custGeom>
          <a:ln w="77791">
            <a:solidFill>
              <a:srgbClr val="999999"/>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9" name="object 40">
            <a:extLst>
              <a:ext uri="{FF2B5EF4-FFF2-40B4-BE49-F238E27FC236}">
                <a16:creationId xmlns:a16="http://schemas.microsoft.com/office/drawing/2014/main" id="{4030C959-C77F-41F2-B4A8-44409730BFF8}"/>
              </a:ext>
            </a:extLst>
          </p:cNvPr>
          <p:cNvSpPr/>
          <p:nvPr/>
        </p:nvSpPr>
        <p:spPr>
          <a:xfrm>
            <a:off x="8067027" y="2916824"/>
            <a:ext cx="753745" cy="441325"/>
          </a:xfrm>
          <a:custGeom>
            <a:avLst/>
            <a:gdLst/>
            <a:ahLst/>
            <a:cxnLst/>
            <a:rect l="l" t="t" r="r" b="b"/>
            <a:pathLst>
              <a:path w="753745" h="441325">
                <a:moveTo>
                  <a:pt x="234669" y="152512"/>
                </a:moveTo>
                <a:lnTo>
                  <a:pt x="0" y="386450"/>
                </a:lnTo>
                <a:lnTo>
                  <a:pt x="54453" y="440734"/>
                </a:lnTo>
                <a:lnTo>
                  <a:pt x="234669" y="261080"/>
                </a:lnTo>
                <a:lnTo>
                  <a:pt x="390252" y="261080"/>
                </a:lnTo>
                <a:lnTo>
                  <a:pt x="421368" y="230060"/>
                </a:lnTo>
                <a:lnTo>
                  <a:pt x="312461" y="230060"/>
                </a:lnTo>
                <a:lnTo>
                  <a:pt x="234669" y="152512"/>
                </a:lnTo>
                <a:close/>
              </a:path>
              <a:path w="753745" h="441325">
                <a:moveTo>
                  <a:pt x="390252" y="261080"/>
                </a:moveTo>
                <a:lnTo>
                  <a:pt x="234669" y="261080"/>
                </a:lnTo>
                <a:lnTo>
                  <a:pt x="312461" y="338628"/>
                </a:lnTo>
                <a:lnTo>
                  <a:pt x="390252" y="261080"/>
                </a:lnTo>
                <a:close/>
              </a:path>
              <a:path w="753745" h="441325">
                <a:moveTo>
                  <a:pt x="597695" y="209381"/>
                </a:moveTo>
                <a:lnTo>
                  <a:pt x="442113" y="209381"/>
                </a:lnTo>
                <a:lnTo>
                  <a:pt x="519904" y="286929"/>
                </a:lnTo>
                <a:lnTo>
                  <a:pt x="597695" y="209381"/>
                </a:lnTo>
                <a:close/>
              </a:path>
              <a:path w="753745" h="441325">
                <a:moveTo>
                  <a:pt x="442113" y="100813"/>
                </a:moveTo>
                <a:lnTo>
                  <a:pt x="312461" y="230060"/>
                </a:lnTo>
                <a:lnTo>
                  <a:pt x="421368" y="230060"/>
                </a:lnTo>
                <a:lnTo>
                  <a:pt x="442113" y="209381"/>
                </a:lnTo>
                <a:lnTo>
                  <a:pt x="597695" y="209381"/>
                </a:lnTo>
                <a:lnTo>
                  <a:pt x="628811" y="178361"/>
                </a:lnTo>
                <a:lnTo>
                  <a:pt x="519904" y="178361"/>
                </a:lnTo>
                <a:lnTo>
                  <a:pt x="442113" y="100813"/>
                </a:lnTo>
                <a:close/>
              </a:path>
              <a:path w="753745" h="441325">
                <a:moveTo>
                  <a:pt x="753277" y="130540"/>
                </a:moveTo>
                <a:lnTo>
                  <a:pt x="676783" y="130540"/>
                </a:lnTo>
                <a:lnTo>
                  <a:pt x="753277" y="206796"/>
                </a:lnTo>
                <a:lnTo>
                  <a:pt x="753277" y="130540"/>
                </a:lnTo>
                <a:close/>
              </a:path>
              <a:path w="753745" h="441325">
                <a:moveTo>
                  <a:pt x="753277" y="0"/>
                </a:moveTo>
                <a:lnTo>
                  <a:pt x="545834" y="0"/>
                </a:lnTo>
                <a:lnTo>
                  <a:pt x="622329" y="76256"/>
                </a:lnTo>
                <a:lnTo>
                  <a:pt x="519904" y="178361"/>
                </a:lnTo>
                <a:lnTo>
                  <a:pt x="628811" y="178361"/>
                </a:lnTo>
                <a:lnTo>
                  <a:pt x="676783" y="130540"/>
                </a:lnTo>
                <a:lnTo>
                  <a:pt x="753277" y="130540"/>
                </a:lnTo>
                <a:lnTo>
                  <a:pt x="753277" y="0"/>
                </a:lnTo>
                <a:close/>
              </a:path>
            </a:pathLst>
          </a:custGeom>
          <a:solidFill>
            <a:srgbClr val="99999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0" name="object 41">
            <a:extLst>
              <a:ext uri="{FF2B5EF4-FFF2-40B4-BE49-F238E27FC236}">
                <a16:creationId xmlns:a16="http://schemas.microsoft.com/office/drawing/2014/main" id="{B1DD4C9A-3657-4850-AE43-A36F513A74C9}"/>
              </a:ext>
            </a:extLst>
          </p:cNvPr>
          <p:cNvSpPr/>
          <p:nvPr/>
        </p:nvSpPr>
        <p:spPr>
          <a:xfrm>
            <a:off x="5320284" y="1513332"/>
            <a:ext cx="1100327" cy="248412"/>
          </a:xfrm>
          <a:prstGeom prst="rect">
            <a:avLst/>
          </a:prstGeom>
          <a:blipFill>
            <a:blip r:embed="rId15"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1" name="Title 40">
            <a:extLst>
              <a:ext uri="{FF2B5EF4-FFF2-40B4-BE49-F238E27FC236}">
                <a16:creationId xmlns:a16="http://schemas.microsoft.com/office/drawing/2014/main" id="{66CE53CF-5EAD-406A-BDF9-E94CA1FEBDF8}"/>
              </a:ext>
            </a:extLst>
          </p:cNvPr>
          <p:cNvSpPr>
            <a:spLocks noGrp="1"/>
          </p:cNvSpPr>
          <p:nvPr>
            <p:ph type="title"/>
          </p:nvPr>
        </p:nvSpPr>
        <p:spPr/>
        <p:txBody>
          <a:bodyPr/>
          <a:lstStyle/>
          <a:p>
            <a:r>
              <a:rPr lang="en-US" spc="-65" dirty="0"/>
              <a:t>AI:</a:t>
            </a:r>
            <a:r>
              <a:rPr lang="en-US" spc="-204" dirty="0"/>
              <a:t> </a:t>
            </a:r>
            <a:r>
              <a:rPr lang="en-US" spc="-70" dirty="0"/>
              <a:t>the</a:t>
            </a:r>
            <a:r>
              <a:rPr lang="en-US" spc="-229" dirty="0"/>
              <a:t> </a:t>
            </a:r>
            <a:r>
              <a:rPr lang="en-US" spc="-100" dirty="0"/>
              <a:t>perfect</a:t>
            </a:r>
            <a:r>
              <a:rPr lang="en-US" spc="-245" dirty="0"/>
              <a:t> </a:t>
            </a:r>
            <a:r>
              <a:rPr lang="en-US" spc="-90" dirty="0"/>
              <a:t>pairing</a:t>
            </a:r>
            <a:r>
              <a:rPr lang="en-US" spc="-229" dirty="0"/>
              <a:t> </a:t>
            </a:r>
            <a:r>
              <a:rPr lang="en-US" spc="-50" dirty="0"/>
              <a:t>of</a:t>
            </a:r>
            <a:r>
              <a:rPr lang="en-US" spc="-210" dirty="0"/>
              <a:t> </a:t>
            </a:r>
            <a:r>
              <a:rPr lang="en-US" spc="-65" dirty="0"/>
              <a:t>man</a:t>
            </a:r>
            <a:r>
              <a:rPr lang="en-US" spc="-225" dirty="0"/>
              <a:t> </a:t>
            </a:r>
            <a:r>
              <a:rPr lang="en-US" spc="-65" dirty="0"/>
              <a:t>and</a:t>
            </a:r>
            <a:r>
              <a:rPr lang="en-US" spc="-225" dirty="0"/>
              <a:t> </a:t>
            </a:r>
            <a:r>
              <a:rPr lang="en-US" spc="-85" dirty="0"/>
              <a:t>machine</a:t>
            </a:r>
            <a:endParaRPr lang="en-US" dirty="0"/>
          </a:p>
        </p:txBody>
      </p:sp>
      <p:sp>
        <p:nvSpPr>
          <p:cNvPr id="46" name="Text Placeholder 45">
            <a:extLst>
              <a:ext uri="{FF2B5EF4-FFF2-40B4-BE49-F238E27FC236}">
                <a16:creationId xmlns:a16="http://schemas.microsoft.com/office/drawing/2014/main" id="{309BBE03-3754-444E-B4C7-BEF966972252}"/>
              </a:ext>
            </a:extLst>
          </p:cNvPr>
          <p:cNvSpPr>
            <a:spLocks noGrp="1"/>
          </p:cNvSpPr>
          <p:nvPr>
            <p:ph type="body" sz="quarter" idx="14"/>
          </p:nvPr>
        </p:nvSpPr>
        <p:spPr/>
        <p:txBody>
          <a:bodyPr/>
          <a:lstStyle/>
          <a:p>
            <a:r>
              <a:rPr lang="en-US" dirty="0"/>
              <a:t>Subheader</a:t>
            </a:r>
          </a:p>
        </p:txBody>
      </p:sp>
      <p:sp>
        <p:nvSpPr>
          <p:cNvPr id="47" name="Text Placeholder 46">
            <a:extLst>
              <a:ext uri="{FF2B5EF4-FFF2-40B4-BE49-F238E27FC236}">
                <a16:creationId xmlns:a16="http://schemas.microsoft.com/office/drawing/2014/main" id="{EE5B7E22-53A9-4BDB-8247-D559C99FDB8A}"/>
              </a:ext>
            </a:extLst>
          </p:cNvPr>
          <p:cNvSpPr>
            <a:spLocks noGrp="1"/>
          </p:cNvSpPr>
          <p:nvPr>
            <p:ph type="body" sz="quarter" idx="15"/>
          </p:nvPr>
        </p:nvSpPr>
        <p:spPr>
          <a:xfrm>
            <a:off x="914970" y="466344"/>
            <a:ext cx="3884867" cy="228600"/>
          </a:xfrm>
        </p:spPr>
        <p:txBody>
          <a:bodyPr/>
          <a:lstStyle/>
          <a:p>
            <a:r>
              <a:rPr lang="en-US" dirty="0"/>
              <a:t>FRAMEWORKS &amp; CONCEPT ILLUSTRATION</a:t>
            </a:r>
          </a:p>
        </p:txBody>
      </p:sp>
    </p:spTree>
    <p:extLst>
      <p:ext uri="{BB962C8B-B14F-4D97-AF65-F5344CB8AC3E}">
        <p14:creationId xmlns:p14="http://schemas.microsoft.com/office/powerpoint/2010/main" val="527729458"/>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182EFAC-9A64-4120-A439-154A3D544E4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3236" name="think-cell Slide" r:id="rId6" imgW="415" imgH="416" progId="TCLayout.ActiveDocument.1">
                  <p:embed/>
                </p:oleObj>
              </mc:Choice>
              <mc:Fallback>
                <p:oleObj name="think-cell Slide" r:id="rId6" imgW="415" imgH="416" progId="TCLayout.ActiveDocument.1">
                  <p:embed/>
                  <p:pic>
                    <p:nvPicPr>
                      <p:cNvPr id="6" name="Object 5" hidden="1">
                        <a:extLst>
                          <a:ext uri="{FF2B5EF4-FFF2-40B4-BE49-F238E27FC236}">
                            <a16:creationId xmlns:a16="http://schemas.microsoft.com/office/drawing/2014/main" id="{0182EFAC-9A64-4120-A439-154A3D544E4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E637603-57A6-4E49-9DD4-90E038C42E7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D27A58FF-A468-4BA1-BB34-D0C4DCBB106E}"/>
              </a:ext>
            </a:extLst>
          </p:cNvPr>
          <p:cNvSpPr>
            <a:spLocks noGrp="1"/>
          </p:cNvSpPr>
          <p:nvPr>
            <p:ph type="title"/>
          </p:nvPr>
        </p:nvSpPr>
        <p:spPr/>
        <p:txBody>
          <a:bodyPr/>
          <a:lstStyle/>
          <a:p>
            <a:r>
              <a:rPr lang="en-US" dirty="0"/>
              <a:t>Commercial Operating Model</a:t>
            </a:r>
          </a:p>
        </p:txBody>
      </p:sp>
      <p:sp>
        <p:nvSpPr>
          <p:cNvPr id="3" name="Text Placeholder 2">
            <a:extLst>
              <a:ext uri="{FF2B5EF4-FFF2-40B4-BE49-F238E27FC236}">
                <a16:creationId xmlns:a16="http://schemas.microsoft.com/office/drawing/2014/main" id="{1877F137-2E05-4987-A929-DD410A87B783}"/>
              </a:ext>
            </a:extLst>
          </p:cNvPr>
          <p:cNvSpPr>
            <a:spLocks noGrp="1"/>
          </p:cNvSpPr>
          <p:nvPr>
            <p:ph type="body" sz="quarter" idx="14"/>
          </p:nvPr>
        </p:nvSpPr>
        <p:spPr>
          <a:xfrm>
            <a:off x="914721" y="1353312"/>
            <a:ext cx="10362880" cy="475488"/>
          </a:xfrm>
        </p:spPr>
        <p:txBody>
          <a:bodyPr/>
          <a:lstStyle/>
          <a:p>
            <a:r>
              <a:rPr lang="en-US" dirty="0"/>
              <a:t>Shifting to Commercial Operations</a:t>
            </a:r>
          </a:p>
        </p:txBody>
      </p:sp>
      <p:sp>
        <p:nvSpPr>
          <p:cNvPr id="4" name="Text Placeholder 3">
            <a:extLst>
              <a:ext uri="{FF2B5EF4-FFF2-40B4-BE49-F238E27FC236}">
                <a16:creationId xmlns:a16="http://schemas.microsoft.com/office/drawing/2014/main" id="{6924E679-10A3-40F4-BA36-901271F5AAC2}"/>
              </a:ext>
            </a:extLst>
          </p:cNvPr>
          <p:cNvSpPr>
            <a:spLocks noGrp="1"/>
          </p:cNvSpPr>
          <p:nvPr>
            <p:ph type="body" sz="quarter" idx="15"/>
          </p:nvPr>
        </p:nvSpPr>
        <p:spPr>
          <a:xfrm>
            <a:off x="914971" y="466343"/>
            <a:ext cx="3807486" cy="257603"/>
          </a:xfrm>
        </p:spPr>
        <p:txBody>
          <a:bodyPr/>
          <a:lstStyle/>
          <a:p>
            <a:r>
              <a:rPr lang="en-US" dirty="0"/>
              <a:t>FRAMEWORKS &amp; CONCEPT ILLUSTRATION</a:t>
            </a:r>
          </a:p>
        </p:txBody>
      </p:sp>
      <p:grpSp>
        <p:nvGrpSpPr>
          <p:cNvPr id="88" name="Group 87">
            <a:extLst>
              <a:ext uri="{FF2B5EF4-FFF2-40B4-BE49-F238E27FC236}">
                <a16:creationId xmlns:a16="http://schemas.microsoft.com/office/drawing/2014/main" id="{68907FCB-184D-48A4-89BA-8AEAC29D613C}"/>
              </a:ext>
            </a:extLst>
          </p:cNvPr>
          <p:cNvGrpSpPr/>
          <p:nvPr/>
        </p:nvGrpSpPr>
        <p:grpSpPr>
          <a:xfrm>
            <a:off x="916873" y="5434234"/>
            <a:ext cx="3611831" cy="588988"/>
            <a:chOff x="916873" y="5434234"/>
            <a:chExt cx="3611831" cy="588988"/>
          </a:xfrm>
        </p:grpSpPr>
        <p:sp>
          <p:nvSpPr>
            <p:cNvPr id="8" name="Rectangle 7">
              <a:extLst>
                <a:ext uri="{FF2B5EF4-FFF2-40B4-BE49-F238E27FC236}">
                  <a16:creationId xmlns:a16="http://schemas.microsoft.com/office/drawing/2014/main" id="{B5A7CDD5-6B4E-406D-8DC6-681CB6B02049}"/>
                </a:ext>
              </a:extLst>
            </p:cNvPr>
            <p:cNvSpPr/>
            <p:nvPr/>
          </p:nvSpPr>
          <p:spPr bwMode="gray">
            <a:xfrm>
              <a:off x="1054033" y="5757529"/>
              <a:ext cx="3474671" cy="265693"/>
            </a:xfrm>
            <a:prstGeom prst="rect">
              <a:avLst/>
            </a:prstGeom>
            <a:noFill/>
            <a:ln w="19050" algn="ctr">
              <a:noFill/>
              <a:prstDash val="sysDot"/>
              <a:miter lim="800000"/>
              <a:headEnd/>
              <a:tailEnd/>
            </a:ln>
          </p:spPr>
          <p:txBody>
            <a:bodyPr wrap="square" lIns="88900" tIns="88900" rIns="88900" bIns="88900" rtlCol="0" anchor="t"/>
            <a:lstStyle/>
            <a:p>
              <a:pPr marL="0" marR="0" lvl="0" indent="0" algn="l" defTabSz="1219170" rtl="0" eaLnBrk="1" fontAlgn="auto" latinLnBrk="0" hangingPunct="1">
                <a:lnSpc>
                  <a:spcPct val="106000"/>
                </a:lnSpc>
                <a:spcBef>
                  <a:spcPts val="0"/>
                </a:spcBef>
                <a:spcAft>
                  <a:spcPts val="0"/>
                </a:spcAft>
                <a:buClrTx/>
                <a:buSzTx/>
                <a:buFontTx/>
                <a:buNone/>
                <a:tabLst/>
                <a:defRPr/>
              </a:pPr>
              <a:r>
                <a:rPr kumimoji="0" lang="en-US" sz="900" b="0" i="1" u="none" strike="noStrike" kern="1200" cap="none" spc="0" normalizeH="0" baseline="0" noProof="0" dirty="0">
                  <a:ln>
                    <a:noFill/>
                  </a:ln>
                  <a:solidFill>
                    <a:prstClr val="black"/>
                  </a:solidFill>
                  <a:effectLst/>
                  <a:uLnTx/>
                  <a:uFillTx/>
                  <a:ea typeface="+mn-ea"/>
                  <a:cs typeface="+mn-cs"/>
                </a:rPr>
                <a:t>Finance</a:t>
              </a:r>
            </a:p>
          </p:txBody>
        </p:sp>
        <p:sp>
          <p:nvSpPr>
            <p:cNvPr id="10" name="Rectangle 9">
              <a:extLst>
                <a:ext uri="{FF2B5EF4-FFF2-40B4-BE49-F238E27FC236}">
                  <a16:creationId xmlns:a16="http://schemas.microsoft.com/office/drawing/2014/main" id="{73F7A868-B9F0-44F1-A13F-794E93C9455C}"/>
                </a:ext>
              </a:extLst>
            </p:cNvPr>
            <p:cNvSpPr/>
            <p:nvPr/>
          </p:nvSpPr>
          <p:spPr bwMode="gray">
            <a:xfrm>
              <a:off x="1054033" y="5593493"/>
              <a:ext cx="3474671" cy="265693"/>
            </a:xfrm>
            <a:prstGeom prst="rect">
              <a:avLst/>
            </a:prstGeom>
            <a:noFill/>
            <a:ln w="19050" algn="ctr">
              <a:noFill/>
              <a:prstDash val="sysDot"/>
              <a:miter lim="800000"/>
              <a:headEnd/>
              <a:tailEnd/>
            </a:ln>
          </p:spPr>
          <p:txBody>
            <a:bodyPr wrap="square" lIns="88900" tIns="88900" rIns="88900" bIns="88900" rtlCol="0" anchor="t"/>
            <a:lstStyle/>
            <a:p>
              <a:pPr marL="0" marR="0" lvl="0" indent="0" algn="l" defTabSz="1219170" rtl="0" eaLnBrk="1" fontAlgn="auto" latinLnBrk="0" hangingPunct="1">
                <a:lnSpc>
                  <a:spcPct val="106000"/>
                </a:lnSpc>
                <a:spcBef>
                  <a:spcPts val="0"/>
                </a:spcBef>
                <a:spcAft>
                  <a:spcPts val="0"/>
                </a:spcAft>
                <a:buClrTx/>
                <a:buSzTx/>
                <a:buFontTx/>
                <a:buNone/>
                <a:tabLst/>
                <a:defRPr/>
              </a:pPr>
              <a:r>
                <a:rPr kumimoji="0" lang="en-US" sz="900" b="0" i="1" u="none" strike="noStrike" kern="1200" cap="none" spc="0" normalizeH="0" baseline="0" noProof="0" dirty="0">
                  <a:ln>
                    <a:noFill/>
                  </a:ln>
                  <a:solidFill>
                    <a:prstClr val="black"/>
                  </a:solidFill>
                  <a:effectLst/>
                  <a:uLnTx/>
                  <a:uFillTx/>
                  <a:ea typeface="+mn-ea"/>
                  <a:cs typeface="+mn-cs"/>
                </a:rPr>
                <a:t>Product</a:t>
              </a:r>
            </a:p>
          </p:txBody>
        </p:sp>
        <p:grpSp>
          <p:nvGrpSpPr>
            <p:cNvPr id="87" name="Group 86">
              <a:extLst>
                <a:ext uri="{FF2B5EF4-FFF2-40B4-BE49-F238E27FC236}">
                  <a16:creationId xmlns:a16="http://schemas.microsoft.com/office/drawing/2014/main" id="{49540A7C-DC10-41E7-A929-EC76BA76E75B}"/>
                </a:ext>
              </a:extLst>
            </p:cNvPr>
            <p:cNvGrpSpPr/>
            <p:nvPr/>
          </p:nvGrpSpPr>
          <p:grpSpPr>
            <a:xfrm>
              <a:off x="916873" y="5540669"/>
              <a:ext cx="137160" cy="460455"/>
              <a:chOff x="916873" y="5540669"/>
              <a:chExt cx="137160" cy="460455"/>
            </a:xfrm>
          </p:grpSpPr>
          <p:sp>
            <p:nvSpPr>
              <p:cNvPr id="7" name="Oval 6">
                <a:extLst>
                  <a:ext uri="{FF2B5EF4-FFF2-40B4-BE49-F238E27FC236}">
                    <a16:creationId xmlns:a16="http://schemas.microsoft.com/office/drawing/2014/main" id="{41CB5C79-6E8F-40FC-932F-DB3CDD13C128}"/>
                  </a:ext>
                </a:extLst>
              </p:cNvPr>
              <p:cNvSpPr/>
              <p:nvPr/>
            </p:nvSpPr>
            <p:spPr bwMode="gray">
              <a:xfrm>
                <a:off x="916873" y="5863964"/>
                <a:ext cx="137160" cy="137160"/>
              </a:xfrm>
              <a:prstGeom prst="ellipse">
                <a:avLst/>
              </a:prstGeom>
              <a:solidFill>
                <a:schemeClr val="accent3"/>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sp>
            <p:nvSpPr>
              <p:cNvPr id="9" name="Oval 8">
                <a:extLst>
                  <a:ext uri="{FF2B5EF4-FFF2-40B4-BE49-F238E27FC236}">
                    <a16:creationId xmlns:a16="http://schemas.microsoft.com/office/drawing/2014/main" id="{34AD89E9-481D-490E-A1C3-5956268771A7}"/>
                  </a:ext>
                </a:extLst>
              </p:cNvPr>
              <p:cNvSpPr/>
              <p:nvPr/>
            </p:nvSpPr>
            <p:spPr bwMode="gray">
              <a:xfrm>
                <a:off x="916873" y="5699928"/>
                <a:ext cx="137160" cy="137160"/>
              </a:xfrm>
              <a:prstGeom prst="ellipse">
                <a:avLst/>
              </a:pr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sp>
            <p:nvSpPr>
              <p:cNvPr id="11" name="Oval 10">
                <a:extLst>
                  <a:ext uri="{FF2B5EF4-FFF2-40B4-BE49-F238E27FC236}">
                    <a16:creationId xmlns:a16="http://schemas.microsoft.com/office/drawing/2014/main" id="{807E89C5-D18C-40A7-A2E2-B00DE35087E3}"/>
                  </a:ext>
                </a:extLst>
              </p:cNvPr>
              <p:cNvSpPr/>
              <p:nvPr/>
            </p:nvSpPr>
            <p:spPr bwMode="gray">
              <a:xfrm>
                <a:off x="916873" y="5540669"/>
                <a:ext cx="137160" cy="137160"/>
              </a:xfrm>
              <a:prstGeom prst="ellipse">
                <a:avLst/>
              </a:prstGeom>
              <a:solidFill>
                <a:schemeClr val="accent2"/>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grpSp>
        <p:sp>
          <p:nvSpPr>
            <p:cNvPr id="12" name="Rectangle 11">
              <a:extLst>
                <a:ext uri="{FF2B5EF4-FFF2-40B4-BE49-F238E27FC236}">
                  <a16:creationId xmlns:a16="http://schemas.microsoft.com/office/drawing/2014/main" id="{CDD635CF-3A39-44F5-B8D9-CDBA699FA9EC}"/>
                </a:ext>
              </a:extLst>
            </p:cNvPr>
            <p:cNvSpPr/>
            <p:nvPr/>
          </p:nvSpPr>
          <p:spPr bwMode="gray">
            <a:xfrm>
              <a:off x="1054033" y="5434234"/>
              <a:ext cx="3474671" cy="265693"/>
            </a:xfrm>
            <a:prstGeom prst="rect">
              <a:avLst/>
            </a:prstGeom>
            <a:noFill/>
            <a:ln w="19050" algn="ctr">
              <a:noFill/>
              <a:prstDash val="sysDot"/>
              <a:miter lim="800000"/>
              <a:headEnd/>
              <a:tailEnd/>
            </a:ln>
          </p:spPr>
          <p:txBody>
            <a:bodyPr wrap="square" lIns="88900" tIns="88900" rIns="88900" bIns="88900" rtlCol="0" anchor="t"/>
            <a:lstStyle/>
            <a:p>
              <a:pPr marL="0" marR="0" lvl="0" indent="0" algn="l" defTabSz="1219170" rtl="0" eaLnBrk="1" fontAlgn="auto" latinLnBrk="0" hangingPunct="1">
                <a:lnSpc>
                  <a:spcPct val="106000"/>
                </a:lnSpc>
                <a:spcBef>
                  <a:spcPts val="0"/>
                </a:spcBef>
                <a:spcAft>
                  <a:spcPts val="0"/>
                </a:spcAft>
                <a:buClrTx/>
                <a:buSzTx/>
                <a:buFontTx/>
                <a:buNone/>
                <a:tabLst/>
                <a:defRPr/>
              </a:pPr>
              <a:r>
                <a:rPr kumimoji="0" lang="en-US" sz="900" b="0" i="1" u="none" strike="noStrike" kern="1200" cap="none" spc="0" normalizeH="0" baseline="0" noProof="0" dirty="0">
                  <a:ln>
                    <a:noFill/>
                  </a:ln>
                  <a:solidFill>
                    <a:prstClr val="black"/>
                  </a:solidFill>
                  <a:effectLst/>
                  <a:uLnTx/>
                  <a:uFillTx/>
                  <a:ea typeface="+mn-ea"/>
                  <a:cs typeface="+mn-cs"/>
                </a:rPr>
                <a:t>Business Model &amp; Operations </a:t>
              </a:r>
            </a:p>
          </p:txBody>
        </p:sp>
      </p:grpSp>
      <p:sp>
        <p:nvSpPr>
          <p:cNvPr id="14" name="TextBox 13">
            <a:extLst>
              <a:ext uri="{FF2B5EF4-FFF2-40B4-BE49-F238E27FC236}">
                <a16:creationId xmlns:a16="http://schemas.microsoft.com/office/drawing/2014/main" id="{EE810560-25E1-4318-AF82-5976619C3BA3}"/>
              </a:ext>
            </a:extLst>
          </p:cNvPr>
          <p:cNvSpPr txBox="1"/>
          <p:nvPr/>
        </p:nvSpPr>
        <p:spPr>
          <a:xfrm>
            <a:off x="1318680" y="5936078"/>
            <a:ext cx="9554641" cy="369332"/>
          </a:xfrm>
          <a:prstGeom prst="rect">
            <a:avLst/>
          </a:prstGeom>
          <a:noFill/>
        </p:spPr>
        <p:txBody>
          <a:bodyPr vert="horz" wrap="square" lIns="0" tIns="0" rIns="0" bIns="0" rtlCol="0">
            <a:spAutoFit/>
          </a:bodyPr>
          <a:lstStyle/>
          <a:p>
            <a:pPr marL="0" marR="0" lvl="0" indent="0" algn="ctr" defTabSz="1219170" rtl="0" eaLnBrk="1" fontAlgn="auto" latinLnBrk="0" hangingPunct="1">
              <a:lnSpc>
                <a:spcPct val="100000"/>
              </a:lnSpc>
              <a:spcBef>
                <a:spcPts val="200"/>
              </a:spcBef>
              <a:spcAft>
                <a:spcPts val="0"/>
              </a:spcAft>
              <a:buClrTx/>
              <a:buSzPct val="100000"/>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Need to develop commercial operating model across Client’s commercial and product-based </a:t>
            </a: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rPr>
              <a:t>business to compete effectively in the commercial market</a:t>
            </a:r>
          </a:p>
        </p:txBody>
      </p:sp>
      <p:sp>
        <p:nvSpPr>
          <p:cNvPr id="16" name="Rectangle: Rounded Corners 101">
            <a:extLst>
              <a:ext uri="{FF2B5EF4-FFF2-40B4-BE49-F238E27FC236}">
                <a16:creationId xmlns:a16="http://schemas.microsoft.com/office/drawing/2014/main" id="{4DA89FD6-03ED-42E6-ACA7-93E17FC933E5}"/>
              </a:ext>
            </a:extLst>
          </p:cNvPr>
          <p:cNvSpPr/>
          <p:nvPr/>
        </p:nvSpPr>
        <p:spPr bwMode="gray">
          <a:xfrm>
            <a:off x="8458871" y="1677852"/>
            <a:ext cx="2582755" cy="3764005"/>
          </a:xfrm>
          <a:prstGeom prst="roundRect">
            <a:avLst>
              <a:gd name="adj" fmla="val 7937"/>
            </a:avLst>
          </a:prstGeom>
          <a:solidFill>
            <a:schemeClr val="bg1">
              <a:lumMod val="75000"/>
            </a:scheme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sp>
        <p:nvSpPr>
          <p:cNvPr id="17" name="Rectangle: Rounded Corners 4">
            <a:extLst>
              <a:ext uri="{FF2B5EF4-FFF2-40B4-BE49-F238E27FC236}">
                <a16:creationId xmlns:a16="http://schemas.microsoft.com/office/drawing/2014/main" id="{FF7C16C9-7F1B-4098-AC61-D8745A3DF554}"/>
              </a:ext>
            </a:extLst>
          </p:cNvPr>
          <p:cNvSpPr/>
          <p:nvPr/>
        </p:nvSpPr>
        <p:spPr bwMode="gray">
          <a:xfrm>
            <a:off x="825909" y="1677852"/>
            <a:ext cx="2582755" cy="3764005"/>
          </a:xfrm>
          <a:prstGeom prst="roundRect">
            <a:avLst>
              <a:gd name="adj" fmla="val 7937"/>
            </a:avLst>
          </a:prstGeom>
          <a:solidFill>
            <a:schemeClr val="tx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sp>
        <p:nvSpPr>
          <p:cNvPr id="82" name="Left-Right Arrow 11">
            <a:extLst>
              <a:ext uri="{FF2B5EF4-FFF2-40B4-BE49-F238E27FC236}">
                <a16:creationId xmlns:a16="http://schemas.microsoft.com/office/drawing/2014/main" id="{3AD20C04-B0A3-45C9-A917-2AC51D9D7C00}"/>
              </a:ext>
            </a:extLst>
          </p:cNvPr>
          <p:cNvSpPr/>
          <p:nvPr/>
        </p:nvSpPr>
        <p:spPr>
          <a:xfrm>
            <a:off x="3408662" y="2665504"/>
            <a:ext cx="5050209" cy="293731"/>
          </a:xfrm>
          <a:prstGeom prst="rect">
            <a:avLst/>
          </a:prstGeom>
          <a:solidFill>
            <a:schemeClr val="accent2">
              <a:alpha val="1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2203" rIns="36000" bIns="42203"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chemeClr val="accent2">
                    <a:lumMod val="75000"/>
                  </a:schemeClr>
                </a:solidFill>
                <a:effectLst/>
                <a:uLnTx/>
                <a:uFillTx/>
                <a:ea typeface="+mn-ea"/>
                <a:cs typeface="+mn-cs"/>
              </a:rPr>
              <a:t>Selling</a:t>
            </a:r>
          </a:p>
        </p:txBody>
      </p:sp>
      <p:sp>
        <p:nvSpPr>
          <p:cNvPr id="83" name="TextBox 82">
            <a:extLst>
              <a:ext uri="{FF2B5EF4-FFF2-40B4-BE49-F238E27FC236}">
                <a16:creationId xmlns:a16="http://schemas.microsoft.com/office/drawing/2014/main" id="{894F3483-E178-462B-9C0C-8E748DDE38F3}"/>
              </a:ext>
            </a:extLst>
          </p:cNvPr>
          <p:cNvSpPr txBox="1"/>
          <p:nvPr/>
        </p:nvSpPr>
        <p:spPr>
          <a:xfrm>
            <a:off x="955046" y="2670466"/>
            <a:ext cx="2324479" cy="298321"/>
          </a:xfrm>
          <a:prstGeom prst="rect">
            <a:avLst/>
          </a:prstGeom>
          <a:solidFill>
            <a:schemeClr val="bg1"/>
          </a:solidFill>
          <a:ln>
            <a:solidFill>
              <a:schemeClr val="bg1"/>
            </a:solidFill>
          </a:ln>
        </p:spPr>
        <p:txBody>
          <a:bodyPr wrap="square" rtlCol="0" anchor="ctr">
            <a:noAutofit/>
          </a:bodyPr>
          <a:lstStyle>
            <a:defPPr>
              <a:defRPr lang="en-US"/>
            </a:defPPr>
            <a:lvl1pPr algn="ctr" eaLnBrk="0" fontAlgn="base" hangingPunct="0">
              <a:spcBef>
                <a:spcPct val="0"/>
              </a:spcBef>
              <a:spcAft>
                <a:spcPct val="0"/>
              </a:spcAft>
              <a:defRPr sz="900">
                <a:solidFill>
                  <a:prstClr val="white">
                    <a:lumMod val="50000"/>
                  </a:prstClr>
                </a:solidFill>
                <a:latin typeface="Frutiger Next Pro Light" panose="020B0303040204020203" pitchFamily="34" charset="0"/>
                <a:ea typeface="ＭＳ Ｐゴシック" charset="0"/>
                <a:cs typeface="Arial" charset="0"/>
              </a:defRPr>
            </a:lvl1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mn-lt"/>
                <a:ea typeface="ＭＳ Ｐゴシック" charset="0"/>
                <a:cs typeface="Arial" charset="0"/>
              </a:rPr>
              <a:t>Driven by pursuit of large government contracts, proposals are reactive </a:t>
            </a:r>
          </a:p>
        </p:txBody>
      </p:sp>
      <p:sp>
        <p:nvSpPr>
          <p:cNvPr id="84" name="TextBox 83">
            <a:extLst>
              <a:ext uri="{FF2B5EF4-FFF2-40B4-BE49-F238E27FC236}">
                <a16:creationId xmlns:a16="http://schemas.microsoft.com/office/drawing/2014/main" id="{65FA484B-6111-4C6B-85FB-EDD5ED5EB105}"/>
              </a:ext>
            </a:extLst>
          </p:cNvPr>
          <p:cNvSpPr txBox="1"/>
          <p:nvPr/>
        </p:nvSpPr>
        <p:spPr>
          <a:xfrm>
            <a:off x="8588009" y="2670466"/>
            <a:ext cx="2324479" cy="298321"/>
          </a:xfrm>
          <a:prstGeom prst="rect">
            <a:avLst/>
          </a:prstGeom>
          <a:solidFill>
            <a:schemeClr val="bg1"/>
          </a:solidFill>
          <a:ln>
            <a:noFill/>
          </a:ln>
        </p:spPr>
        <p:txBody>
          <a:bodyPr wrap="square" rtlCol="0" anchor="ctr">
            <a:noAutofit/>
          </a:bodyPr>
          <a:lstStyle>
            <a:defPPr>
              <a:defRPr lang="en-US"/>
            </a:defPPr>
            <a:lvl1pPr algn="ctr" eaLnBrk="0" fontAlgn="base" hangingPunct="0">
              <a:spcBef>
                <a:spcPct val="0"/>
              </a:spcBef>
              <a:spcAft>
                <a:spcPct val="0"/>
              </a:spcAft>
              <a:defRPr sz="831">
                <a:solidFill>
                  <a:prstClr val="white">
                    <a:lumMod val="50000"/>
                  </a:prstClr>
                </a:solidFill>
                <a:latin typeface="Frutiger Next Pro Light" panose="020B0303040204020203" pitchFamily="34" charset="0"/>
                <a:ea typeface="ＭＳ Ｐゴシック" charset="0"/>
                <a:cs typeface="Arial" charset="0"/>
              </a:defRPr>
            </a:lvl1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mn-lt"/>
                <a:ea typeface="ＭＳ Ｐゴシック" charset="0"/>
                <a:cs typeface="Arial" charset="0"/>
              </a:rPr>
              <a:t>Relationship-based market sales, proactive anticipation of customer needs</a:t>
            </a:r>
          </a:p>
        </p:txBody>
      </p:sp>
      <p:sp>
        <p:nvSpPr>
          <p:cNvPr id="80" name="TextBox 79">
            <a:extLst>
              <a:ext uri="{FF2B5EF4-FFF2-40B4-BE49-F238E27FC236}">
                <a16:creationId xmlns:a16="http://schemas.microsoft.com/office/drawing/2014/main" id="{BE301997-E55A-4F26-9659-26DC6320CECC}"/>
              </a:ext>
            </a:extLst>
          </p:cNvPr>
          <p:cNvSpPr txBox="1"/>
          <p:nvPr/>
        </p:nvSpPr>
        <p:spPr>
          <a:xfrm>
            <a:off x="955046" y="2027580"/>
            <a:ext cx="2324479" cy="298321"/>
          </a:xfrm>
          <a:prstGeom prst="rect">
            <a:avLst/>
          </a:prstGeom>
          <a:solidFill>
            <a:schemeClr val="bg1"/>
          </a:solidFill>
          <a:ln>
            <a:solidFill>
              <a:schemeClr val="bg1"/>
            </a:solidFill>
          </a:ln>
        </p:spPr>
        <p:txBody>
          <a:bodyPr wrap="square" rtlCol="0" anchor="ctr">
            <a:noAutofit/>
          </a:bodyPr>
          <a:lstStyle>
            <a:defPPr>
              <a:defRPr lang="en-US"/>
            </a:defPPr>
            <a:lvl1pPr algn="ctr" eaLnBrk="0" fontAlgn="base" hangingPunct="0">
              <a:spcBef>
                <a:spcPct val="0"/>
              </a:spcBef>
              <a:spcAft>
                <a:spcPct val="0"/>
              </a:spcAft>
              <a:defRPr sz="900">
                <a:solidFill>
                  <a:prstClr val="white">
                    <a:lumMod val="50000"/>
                  </a:prstClr>
                </a:solidFill>
                <a:latin typeface="Frutiger Next Pro Light" panose="020B0303040204020203" pitchFamily="34" charset="0"/>
                <a:ea typeface="ＭＳ Ｐゴシック" charset="0"/>
                <a:cs typeface="Arial" charset="0"/>
              </a:defRPr>
            </a:lvl1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mn-lt"/>
                <a:ea typeface="ＭＳ Ｐゴシック" charset="0"/>
                <a:cs typeface="Arial" charset="0"/>
              </a:rPr>
              <a:t>Function-driven metrics / KPIs and conventional processes</a:t>
            </a:r>
          </a:p>
        </p:txBody>
      </p:sp>
      <p:sp>
        <p:nvSpPr>
          <p:cNvPr id="81" name="TextBox 80">
            <a:extLst>
              <a:ext uri="{FF2B5EF4-FFF2-40B4-BE49-F238E27FC236}">
                <a16:creationId xmlns:a16="http://schemas.microsoft.com/office/drawing/2014/main" id="{67DCE68A-A898-4110-A452-D6A007EFDB66}"/>
              </a:ext>
            </a:extLst>
          </p:cNvPr>
          <p:cNvSpPr txBox="1"/>
          <p:nvPr/>
        </p:nvSpPr>
        <p:spPr>
          <a:xfrm>
            <a:off x="8588009" y="2027580"/>
            <a:ext cx="2324479" cy="298321"/>
          </a:xfrm>
          <a:prstGeom prst="rect">
            <a:avLst/>
          </a:prstGeom>
          <a:solidFill>
            <a:schemeClr val="bg1"/>
          </a:solidFill>
          <a:ln>
            <a:noFill/>
          </a:ln>
        </p:spPr>
        <p:txBody>
          <a:bodyPr wrap="square" rtlCol="0" anchor="ctr">
            <a:noAutofit/>
          </a:bodyPr>
          <a:lstStyle>
            <a:defPPr>
              <a:defRPr lang="en-US"/>
            </a:defPPr>
            <a:lvl1pPr algn="ctr" eaLnBrk="0" fontAlgn="base" hangingPunct="0">
              <a:spcBef>
                <a:spcPct val="0"/>
              </a:spcBef>
              <a:spcAft>
                <a:spcPct val="0"/>
              </a:spcAft>
              <a:defRPr sz="831">
                <a:solidFill>
                  <a:prstClr val="white">
                    <a:lumMod val="50000"/>
                  </a:prstClr>
                </a:solidFill>
                <a:latin typeface="Frutiger Next Pro Light" panose="020B0303040204020203" pitchFamily="34" charset="0"/>
                <a:ea typeface="ＭＳ Ｐゴシック" charset="0"/>
                <a:cs typeface="Arial" charset="0"/>
              </a:defRPr>
            </a:lvl1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mn-lt"/>
                <a:ea typeface="ＭＳ Ｐゴシック" charset="0"/>
                <a:cs typeface="Arial" charset="0"/>
              </a:rPr>
              <a:t>Business-driven metrics / KPIs and flexible processes</a:t>
            </a:r>
          </a:p>
        </p:txBody>
      </p:sp>
      <p:sp>
        <p:nvSpPr>
          <p:cNvPr id="76" name="Left-Right Arrow 11">
            <a:extLst>
              <a:ext uri="{FF2B5EF4-FFF2-40B4-BE49-F238E27FC236}">
                <a16:creationId xmlns:a16="http://schemas.microsoft.com/office/drawing/2014/main" id="{C9C1FBD9-3D83-455A-9D2A-40B6D37804E3}"/>
              </a:ext>
            </a:extLst>
          </p:cNvPr>
          <p:cNvSpPr/>
          <p:nvPr/>
        </p:nvSpPr>
        <p:spPr>
          <a:xfrm>
            <a:off x="3408662" y="2344061"/>
            <a:ext cx="5050209" cy="293731"/>
          </a:xfrm>
          <a:prstGeom prst="rect">
            <a:avLst/>
          </a:prstGeom>
          <a:solidFill>
            <a:schemeClr val="accent2">
              <a:alpha val="1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2203" rIns="36000" bIns="42203"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chemeClr val="accent2">
                    <a:lumMod val="75000"/>
                  </a:schemeClr>
                </a:solidFill>
                <a:effectLst/>
                <a:uLnTx/>
                <a:uFillTx/>
                <a:ea typeface="+mn-ea"/>
                <a:cs typeface="+mn-cs"/>
              </a:rPr>
              <a:t>Governance</a:t>
            </a:r>
          </a:p>
        </p:txBody>
      </p:sp>
      <p:sp>
        <p:nvSpPr>
          <p:cNvPr id="77" name="TextBox 76">
            <a:extLst>
              <a:ext uri="{FF2B5EF4-FFF2-40B4-BE49-F238E27FC236}">
                <a16:creationId xmlns:a16="http://schemas.microsoft.com/office/drawing/2014/main" id="{37659E13-C1B5-48EB-B03E-AEC68EB9E892}"/>
              </a:ext>
            </a:extLst>
          </p:cNvPr>
          <p:cNvSpPr txBox="1"/>
          <p:nvPr/>
        </p:nvSpPr>
        <p:spPr>
          <a:xfrm>
            <a:off x="955046" y="2349023"/>
            <a:ext cx="2324479" cy="298321"/>
          </a:xfrm>
          <a:prstGeom prst="rect">
            <a:avLst/>
          </a:prstGeom>
          <a:solidFill>
            <a:schemeClr val="bg1"/>
          </a:solidFill>
          <a:ln>
            <a:solidFill>
              <a:schemeClr val="bg1"/>
            </a:solidFill>
          </a:ln>
        </p:spPr>
        <p:txBody>
          <a:bodyPr wrap="square" rtlCol="0" anchor="ctr">
            <a:noAutofit/>
          </a:bodyPr>
          <a:lstStyle>
            <a:defPPr>
              <a:defRPr lang="en-US"/>
            </a:defPPr>
            <a:lvl1pPr algn="ctr" eaLnBrk="0" fontAlgn="base" hangingPunct="0">
              <a:spcBef>
                <a:spcPct val="0"/>
              </a:spcBef>
              <a:spcAft>
                <a:spcPct val="0"/>
              </a:spcAft>
              <a:defRPr sz="900">
                <a:solidFill>
                  <a:prstClr val="white">
                    <a:lumMod val="50000"/>
                  </a:prstClr>
                </a:solidFill>
                <a:latin typeface="Frutiger Next Pro Light" panose="020B0303040204020203" pitchFamily="34" charset="0"/>
                <a:ea typeface="ＭＳ Ｐゴシック" charset="0"/>
                <a:cs typeface="Arial" charset="0"/>
              </a:defRPr>
            </a:lvl1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mn-lt"/>
                <a:ea typeface="ＭＳ Ｐゴシック" charset="0"/>
                <a:cs typeface="Arial" charset="0"/>
              </a:rPr>
              <a:t>Hierarchical structure with decentralized, risk averse decision-making</a:t>
            </a:r>
          </a:p>
        </p:txBody>
      </p:sp>
      <p:sp>
        <p:nvSpPr>
          <p:cNvPr id="78" name="TextBox 77">
            <a:extLst>
              <a:ext uri="{FF2B5EF4-FFF2-40B4-BE49-F238E27FC236}">
                <a16:creationId xmlns:a16="http://schemas.microsoft.com/office/drawing/2014/main" id="{3114F594-6290-4094-9051-AA3AB4175B04}"/>
              </a:ext>
            </a:extLst>
          </p:cNvPr>
          <p:cNvSpPr txBox="1"/>
          <p:nvPr/>
        </p:nvSpPr>
        <p:spPr>
          <a:xfrm>
            <a:off x="8588009" y="2349023"/>
            <a:ext cx="2324479" cy="298321"/>
          </a:xfrm>
          <a:prstGeom prst="rect">
            <a:avLst/>
          </a:prstGeom>
          <a:solidFill>
            <a:schemeClr val="bg1"/>
          </a:solidFill>
          <a:ln>
            <a:noFill/>
          </a:ln>
        </p:spPr>
        <p:txBody>
          <a:bodyPr wrap="square" rtlCol="0">
            <a:noAutofit/>
          </a:bodyPr>
          <a:lstStyle>
            <a:defPPr>
              <a:defRPr lang="en-US"/>
            </a:defPPr>
            <a:lvl1pPr algn="ctr" eaLnBrk="0" fontAlgn="base" hangingPunct="0">
              <a:spcBef>
                <a:spcPct val="0"/>
              </a:spcBef>
              <a:spcAft>
                <a:spcPct val="0"/>
              </a:spcAft>
              <a:defRPr sz="831">
                <a:solidFill>
                  <a:prstClr val="white">
                    <a:lumMod val="50000"/>
                  </a:prstClr>
                </a:solidFill>
                <a:latin typeface="Frutiger Next Pro Light" panose="020B0303040204020203" pitchFamily="34" charset="0"/>
                <a:ea typeface="ＭＳ Ｐゴシック" charset="0"/>
                <a:cs typeface="Arial" charset="0"/>
              </a:defRPr>
            </a:lvl1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mn-lt"/>
                <a:ea typeface="ＭＳ Ｐゴシック" charset="0"/>
                <a:cs typeface="Arial" charset="0"/>
              </a:rPr>
              <a:t>Fluid, value-based organization and flexible, risk tolerant decision-making</a:t>
            </a:r>
          </a:p>
        </p:txBody>
      </p:sp>
      <p:sp>
        <p:nvSpPr>
          <p:cNvPr id="73" name="Left-Right Arrow 11">
            <a:extLst>
              <a:ext uri="{FF2B5EF4-FFF2-40B4-BE49-F238E27FC236}">
                <a16:creationId xmlns:a16="http://schemas.microsoft.com/office/drawing/2014/main" id="{BBD0C918-ED61-43BB-AA84-F0B253ABEDDF}"/>
              </a:ext>
            </a:extLst>
          </p:cNvPr>
          <p:cNvSpPr/>
          <p:nvPr/>
        </p:nvSpPr>
        <p:spPr>
          <a:xfrm>
            <a:off x="3408662" y="2986947"/>
            <a:ext cx="5050209" cy="293731"/>
          </a:xfrm>
          <a:prstGeom prst="rect">
            <a:avLst/>
          </a:prstGeom>
          <a:solidFill>
            <a:schemeClr val="accent2">
              <a:alpha val="1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2203" rIns="36000" bIns="42203"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chemeClr val="accent2">
                    <a:lumMod val="75000"/>
                  </a:schemeClr>
                </a:solidFill>
                <a:effectLst/>
                <a:uLnTx/>
                <a:uFillTx/>
                <a:ea typeface="+mn-ea"/>
                <a:cs typeface="+mn-cs"/>
              </a:rPr>
              <a:t>Client Relationships</a:t>
            </a:r>
          </a:p>
        </p:txBody>
      </p:sp>
      <p:sp>
        <p:nvSpPr>
          <p:cNvPr id="74" name="TextBox 73">
            <a:extLst>
              <a:ext uri="{FF2B5EF4-FFF2-40B4-BE49-F238E27FC236}">
                <a16:creationId xmlns:a16="http://schemas.microsoft.com/office/drawing/2014/main" id="{61AE4FCA-B9AF-4515-B3D9-F0C404D9BC94}"/>
              </a:ext>
            </a:extLst>
          </p:cNvPr>
          <p:cNvSpPr txBox="1"/>
          <p:nvPr/>
        </p:nvSpPr>
        <p:spPr>
          <a:xfrm>
            <a:off x="955046" y="2991909"/>
            <a:ext cx="2324479" cy="298321"/>
          </a:xfrm>
          <a:prstGeom prst="rect">
            <a:avLst/>
          </a:prstGeom>
          <a:solidFill>
            <a:schemeClr val="bg1"/>
          </a:solidFill>
          <a:ln>
            <a:solidFill>
              <a:schemeClr val="bg1"/>
            </a:solidFill>
          </a:ln>
        </p:spPr>
        <p:txBody>
          <a:bodyPr wrap="square" rtlCol="0">
            <a:noAutofit/>
          </a:bodyPr>
          <a:lstStyle>
            <a:defPPr>
              <a:defRPr lang="en-US"/>
            </a:defPPr>
            <a:lvl1pPr algn="ctr" eaLnBrk="0" fontAlgn="base" hangingPunct="0">
              <a:spcBef>
                <a:spcPct val="0"/>
              </a:spcBef>
              <a:spcAft>
                <a:spcPct val="0"/>
              </a:spcAft>
              <a:defRPr sz="900">
                <a:solidFill>
                  <a:prstClr val="white">
                    <a:lumMod val="50000"/>
                  </a:prstClr>
                </a:solidFill>
                <a:latin typeface="Frutiger Next Pro Light" panose="020B0303040204020203" pitchFamily="34" charset="0"/>
                <a:ea typeface="ＭＳ Ｐゴシック" charset="0"/>
                <a:cs typeface="Arial" charset="0"/>
              </a:defRPr>
            </a:lvl1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mn-lt"/>
                <a:ea typeface="ＭＳ Ｐゴシック" charset="0"/>
                <a:cs typeface="Arial" charset="0"/>
              </a:rPr>
              <a:t>Contract-driven business relationships with few, large customers</a:t>
            </a:r>
          </a:p>
        </p:txBody>
      </p:sp>
      <p:sp>
        <p:nvSpPr>
          <p:cNvPr id="75" name="TextBox 74">
            <a:extLst>
              <a:ext uri="{FF2B5EF4-FFF2-40B4-BE49-F238E27FC236}">
                <a16:creationId xmlns:a16="http://schemas.microsoft.com/office/drawing/2014/main" id="{B6A8F3D3-9EA7-4F22-8C23-0055D7D48F10}"/>
              </a:ext>
            </a:extLst>
          </p:cNvPr>
          <p:cNvSpPr txBox="1"/>
          <p:nvPr/>
        </p:nvSpPr>
        <p:spPr>
          <a:xfrm>
            <a:off x="8588009" y="2991909"/>
            <a:ext cx="2324479" cy="298321"/>
          </a:xfrm>
          <a:prstGeom prst="rect">
            <a:avLst/>
          </a:prstGeom>
          <a:solidFill>
            <a:schemeClr val="bg1"/>
          </a:solidFill>
          <a:ln>
            <a:noFill/>
          </a:ln>
        </p:spPr>
        <p:txBody>
          <a:bodyPr wrap="square" rtlCol="0">
            <a:noAutofit/>
          </a:bodyPr>
          <a:lstStyle>
            <a:defPPr>
              <a:defRPr lang="en-US"/>
            </a:defPPr>
            <a:lvl1pPr algn="ctr" eaLnBrk="0" fontAlgn="base" hangingPunct="0">
              <a:spcBef>
                <a:spcPct val="0"/>
              </a:spcBef>
              <a:spcAft>
                <a:spcPct val="0"/>
              </a:spcAft>
              <a:defRPr sz="831">
                <a:solidFill>
                  <a:prstClr val="white">
                    <a:lumMod val="50000"/>
                  </a:prstClr>
                </a:solidFill>
                <a:latin typeface="Frutiger Next Pro Light" panose="020B0303040204020203" pitchFamily="34" charset="0"/>
                <a:ea typeface="ＭＳ Ｐゴシック" charset="0"/>
                <a:cs typeface="Arial" charset="0"/>
              </a:defRPr>
            </a:lvl1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mn-lt"/>
                <a:ea typeface="ＭＳ Ｐゴシック" charset="0"/>
                <a:cs typeface="Arial" charset="0"/>
              </a:rPr>
              <a:t>Partnership, frequent engagement with many (large and small) customers </a:t>
            </a:r>
          </a:p>
        </p:txBody>
      </p:sp>
      <p:sp>
        <p:nvSpPr>
          <p:cNvPr id="70" name="Left-Right Arrow 11">
            <a:extLst>
              <a:ext uri="{FF2B5EF4-FFF2-40B4-BE49-F238E27FC236}">
                <a16:creationId xmlns:a16="http://schemas.microsoft.com/office/drawing/2014/main" id="{3922B2F9-064D-4172-8330-96D8ADCECDD5}"/>
              </a:ext>
            </a:extLst>
          </p:cNvPr>
          <p:cNvSpPr/>
          <p:nvPr/>
        </p:nvSpPr>
        <p:spPr>
          <a:xfrm>
            <a:off x="3408662" y="3308390"/>
            <a:ext cx="5050209" cy="406222"/>
          </a:xfrm>
          <a:prstGeom prst="rect">
            <a:avLst/>
          </a:prstGeom>
          <a:solidFill>
            <a:schemeClr val="accent1">
              <a:alpha val="1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2203" rIns="36000" bIns="42203"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chemeClr val="accent1">
                    <a:lumMod val="75000"/>
                  </a:schemeClr>
                </a:solidFill>
                <a:effectLst/>
                <a:uLnTx/>
                <a:uFillTx/>
                <a:ea typeface="+mn-ea"/>
                <a:cs typeface="+mn-cs"/>
              </a:rPr>
              <a:t>Product Requirements &amp;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chemeClr val="accent1">
                    <a:lumMod val="75000"/>
                  </a:schemeClr>
                </a:solidFill>
                <a:effectLst/>
                <a:uLnTx/>
                <a:uFillTx/>
                <a:ea typeface="+mn-ea"/>
                <a:cs typeface="+mn-cs"/>
              </a:rPr>
              <a:t>Portfolio Offering</a:t>
            </a:r>
          </a:p>
        </p:txBody>
      </p:sp>
      <p:sp>
        <p:nvSpPr>
          <p:cNvPr id="71" name="TextBox 70">
            <a:extLst>
              <a:ext uri="{FF2B5EF4-FFF2-40B4-BE49-F238E27FC236}">
                <a16:creationId xmlns:a16="http://schemas.microsoft.com/office/drawing/2014/main" id="{4C7DCFB1-7AB5-44E8-82A3-A1FB74B7DAF0}"/>
              </a:ext>
            </a:extLst>
          </p:cNvPr>
          <p:cNvSpPr txBox="1"/>
          <p:nvPr/>
        </p:nvSpPr>
        <p:spPr>
          <a:xfrm>
            <a:off x="955046" y="3315252"/>
            <a:ext cx="2324479" cy="412570"/>
          </a:xfrm>
          <a:prstGeom prst="rect">
            <a:avLst/>
          </a:prstGeom>
          <a:solidFill>
            <a:schemeClr val="bg1"/>
          </a:solidFill>
          <a:ln>
            <a:solidFill>
              <a:schemeClr val="bg1"/>
            </a:solidFill>
          </a:ln>
        </p:spPr>
        <p:txBody>
          <a:bodyPr wrap="square" rtlCol="0" anchor="ctr">
            <a:noAutofit/>
          </a:bodyPr>
          <a:lstStyle>
            <a:defPPr>
              <a:defRPr lang="en-US"/>
            </a:defPPr>
            <a:lvl1pPr algn="ctr" eaLnBrk="0" fontAlgn="base" hangingPunct="0">
              <a:spcBef>
                <a:spcPct val="0"/>
              </a:spcBef>
              <a:spcAft>
                <a:spcPct val="0"/>
              </a:spcAft>
              <a:defRPr sz="900">
                <a:solidFill>
                  <a:prstClr val="white">
                    <a:lumMod val="50000"/>
                  </a:prstClr>
                </a:solidFill>
                <a:latin typeface="Frutiger Next Pro Light" panose="020B0303040204020203" pitchFamily="34" charset="0"/>
                <a:ea typeface="ＭＳ Ｐゴシック" charset="0"/>
                <a:cs typeface="Arial" charset="0"/>
              </a:defRPr>
            </a:lvl1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mn-lt"/>
                <a:ea typeface="ＭＳ Ｐゴシック" charset="0"/>
                <a:cs typeface="Arial" charset="0"/>
              </a:rPr>
              <a:t>Portfolio shaped to gov’t needs, manufactured to military-grade technical requirements and tolerances</a:t>
            </a:r>
          </a:p>
        </p:txBody>
      </p:sp>
      <p:sp>
        <p:nvSpPr>
          <p:cNvPr id="72" name="TextBox 71">
            <a:extLst>
              <a:ext uri="{FF2B5EF4-FFF2-40B4-BE49-F238E27FC236}">
                <a16:creationId xmlns:a16="http://schemas.microsoft.com/office/drawing/2014/main" id="{A71A608D-4482-454B-B400-314C823E58A0}"/>
              </a:ext>
            </a:extLst>
          </p:cNvPr>
          <p:cNvSpPr txBox="1"/>
          <p:nvPr/>
        </p:nvSpPr>
        <p:spPr>
          <a:xfrm>
            <a:off x="8588009" y="3315252"/>
            <a:ext cx="2324479" cy="412570"/>
          </a:xfrm>
          <a:prstGeom prst="rect">
            <a:avLst/>
          </a:prstGeom>
          <a:solidFill>
            <a:schemeClr val="bg1"/>
          </a:solidFill>
          <a:ln>
            <a:noFill/>
          </a:ln>
        </p:spPr>
        <p:txBody>
          <a:bodyPr wrap="square" rtlCol="0" anchor="ctr">
            <a:noAutofit/>
          </a:bodyPr>
          <a:lstStyle>
            <a:defPPr>
              <a:defRPr lang="en-US"/>
            </a:defPPr>
            <a:lvl1pPr algn="ctr" eaLnBrk="0" fontAlgn="base" hangingPunct="0">
              <a:spcBef>
                <a:spcPct val="0"/>
              </a:spcBef>
              <a:spcAft>
                <a:spcPct val="0"/>
              </a:spcAft>
              <a:defRPr sz="831">
                <a:solidFill>
                  <a:prstClr val="white">
                    <a:lumMod val="50000"/>
                  </a:prstClr>
                </a:solidFill>
                <a:latin typeface="Frutiger Next Pro Light" panose="020B0303040204020203" pitchFamily="34" charset="0"/>
                <a:ea typeface="ＭＳ Ｐゴシック" charset="0"/>
                <a:cs typeface="Arial" charset="0"/>
              </a:defRPr>
            </a:lvl1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mn-lt"/>
                <a:ea typeface="ＭＳ Ｐゴシック" charset="0"/>
                <a:cs typeface="Arial" charset="0"/>
              </a:rPr>
              <a:t>Industry-based or customer-defined requirements</a:t>
            </a:r>
          </a:p>
        </p:txBody>
      </p:sp>
      <p:sp>
        <p:nvSpPr>
          <p:cNvPr id="67" name="Left-Right Arrow 11">
            <a:extLst>
              <a:ext uri="{FF2B5EF4-FFF2-40B4-BE49-F238E27FC236}">
                <a16:creationId xmlns:a16="http://schemas.microsoft.com/office/drawing/2014/main" id="{5670B6A7-C27E-44BA-B0C4-BBBE5589F2E8}"/>
              </a:ext>
            </a:extLst>
          </p:cNvPr>
          <p:cNvSpPr/>
          <p:nvPr/>
        </p:nvSpPr>
        <p:spPr>
          <a:xfrm>
            <a:off x="3408662" y="3745982"/>
            <a:ext cx="5050209" cy="293731"/>
          </a:xfrm>
          <a:prstGeom prst="rect">
            <a:avLst/>
          </a:prstGeom>
          <a:solidFill>
            <a:schemeClr val="accent1">
              <a:alpha val="1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2203" rIns="36000" bIns="42203"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chemeClr val="accent1">
                    <a:lumMod val="75000"/>
                  </a:schemeClr>
                </a:solidFill>
                <a:effectLst/>
                <a:uLnTx/>
                <a:uFillTx/>
                <a:ea typeface="+mn-ea"/>
                <a:cs typeface="+mn-cs"/>
              </a:rPr>
              <a:t>Customization</a:t>
            </a:r>
          </a:p>
        </p:txBody>
      </p:sp>
      <p:sp>
        <p:nvSpPr>
          <p:cNvPr id="68" name="TextBox 67">
            <a:extLst>
              <a:ext uri="{FF2B5EF4-FFF2-40B4-BE49-F238E27FC236}">
                <a16:creationId xmlns:a16="http://schemas.microsoft.com/office/drawing/2014/main" id="{0FEE07E2-99EB-472B-B005-C9CBC1596E6B}"/>
              </a:ext>
            </a:extLst>
          </p:cNvPr>
          <p:cNvSpPr txBox="1"/>
          <p:nvPr/>
        </p:nvSpPr>
        <p:spPr>
          <a:xfrm>
            <a:off x="955046" y="3750944"/>
            <a:ext cx="2324479" cy="298321"/>
          </a:xfrm>
          <a:prstGeom prst="rect">
            <a:avLst/>
          </a:prstGeom>
          <a:solidFill>
            <a:schemeClr val="bg1"/>
          </a:solidFill>
          <a:ln>
            <a:solidFill>
              <a:schemeClr val="bg1"/>
            </a:solidFill>
          </a:ln>
        </p:spPr>
        <p:txBody>
          <a:bodyPr wrap="square" rtlCol="0" anchor="ctr">
            <a:noAutofit/>
          </a:bodyPr>
          <a:lstStyle>
            <a:defPPr>
              <a:defRPr lang="en-US"/>
            </a:defPPr>
            <a:lvl1pPr algn="ctr" eaLnBrk="0" fontAlgn="base" hangingPunct="0">
              <a:spcBef>
                <a:spcPct val="0"/>
              </a:spcBef>
              <a:spcAft>
                <a:spcPct val="0"/>
              </a:spcAft>
              <a:defRPr sz="900">
                <a:solidFill>
                  <a:prstClr val="white">
                    <a:lumMod val="50000"/>
                  </a:prstClr>
                </a:solidFill>
                <a:latin typeface="Frutiger Next Pro Light" panose="020B0303040204020203" pitchFamily="34" charset="0"/>
                <a:ea typeface="ＭＳ Ｐゴシック" charset="0"/>
                <a:cs typeface="Arial" charset="0"/>
              </a:defRPr>
            </a:lvl1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mn-lt"/>
                <a:ea typeface="ＭＳ Ｐゴシック" charset="0"/>
                <a:cs typeface="Arial" charset="0"/>
              </a:rPr>
              <a:t>Custom solution development based on government contract</a:t>
            </a:r>
          </a:p>
        </p:txBody>
      </p:sp>
      <p:sp>
        <p:nvSpPr>
          <p:cNvPr id="69" name="TextBox 68">
            <a:extLst>
              <a:ext uri="{FF2B5EF4-FFF2-40B4-BE49-F238E27FC236}">
                <a16:creationId xmlns:a16="http://schemas.microsoft.com/office/drawing/2014/main" id="{93875430-ECEB-44C8-B8E7-F4607852D914}"/>
              </a:ext>
            </a:extLst>
          </p:cNvPr>
          <p:cNvSpPr txBox="1"/>
          <p:nvPr/>
        </p:nvSpPr>
        <p:spPr>
          <a:xfrm>
            <a:off x="8588009" y="3750944"/>
            <a:ext cx="2324479" cy="298321"/>
          </a:xfrm>
          <a:prstGeom prst="rect">
            <a:avLst/>
          </a:prstGeom>
          <a:solidFill>
            <a:schemeClr val="bg1"/>
          </a:solidFill>
          <a:ln>
            <a:noFill/>
          </a:ln>
        </p:spPr>
        <p:txBody>
          <a:bodyPr wrap="square" rtlCol="0" anchor="ctr">
            <a:noAutofit/>
          </a:bodyPr>
          <a:lstStyle>
            <a:defPPr>
              <a:defRPr lang="en-US"/>
            </a:defPPr>
            <a:lvl1pPr algn="ctr" eaLnBrk="0" fontAlgn="base" hangingPunct="0">
              <a:spcBef>
                <a:spcPct val="0"/>
              </a:spcBef>
              <a:spcAft>
                <a:spcPct val="0"/>
              </a:spcAft>
              <a:defRPr sz="831">
                <a:solidFill>
                  <a:prstClr val="white">
                    <a:lumMod val="50000"/>
                  </a:prstClr>
                </a:solidFill>
                <a:latin typeface="Frutiger Next Pro Light" panose="020B0303040204020203" pitchFamily="34" charset="0"/>
                <a:ea typeface="ＭＳ Ｐゴシック" charset="0"/>
                <a:cs typeface="Arial" charset="0"/>
              </a:defRPr>
            </a:lvl1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mn-lt"/>
                <a:ea typeface="ＭＳ Ｐゴシック" charset="0"/>
                <a:cs typeface="Arial" charset="0"/>
              </a:rPr>
              <a:t>Standard catalog of products and services</a:t>
            </a:r>
          </a:p>
        </p:txBody>
      </p:sp>
      <p:sp>
        <p:nvSpPr>
          <p:cNvPr id="64" name="Left-Right Arrow 11">
            <a:extLst>
              <a:ext uri="{FF2B5EF4-FFF2-40B4-BE49-F238E27FC236}">
                <a16:creationId xmlns:a16="http://schemas.microsoft.com/office/drawing/2014/main" id="{DDAB449B-4212-4184-A986-2404029AF423}"/>
              </a:ext>
            </a:extLst>
          </p:cNvPr>
          <p:cNvSpPr/>
          <p:nvPr/>
        </p:nvSpPr>
        <p:spPr>
          <a:xfrm>
            <a:off x="3408662" y="4388868"/>
            <a:ext cx="5050209" cy="293731"/>
          </a:xfrm>
          <a:prstGeom prst="rect">
            <a:avLst/>
          </a:prstGeom>
          <a:solidFill>
            <a:schemeClr val="accent3">
              <a:alpha val="1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2203" rIns="36000" bIns="42203"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chemeClr val="accent3"/>
                </a:solidFill>
                <a:effectLst/>
                <a:uLnTx/>
                <a:uFillTx/>
                <a:ea typeface="+mn-ea"/>
                <a:cs typeface="+mn-cs"/>
              </a:rPr>
              <a:t>Profitability Targets</a:t>
            </a:r>
          </a:p>
        </p:txBody>
      </p:sp>
      <p:sp>
        <p:nvSpPr>
          <p:cNvPr id="65" name="TextBox 64">
            <a:extLst>
              <a:ext uri="{FF2B5EF4-FFF2-40B4-BE49-F238E27FC236}">
                <a16:creationId xmlns:a16="http://schemas.microsoft.com/office/drawing/2014/main" id="{31750A64-59CD-4FD2-B72B-7DC525C41268}"/>
              </a:ext>
            </a:extLst>
          </p:cNvPr>
          <p:cNvSpPr txBox="1"/>
          <p:nvPr/>
        </p:nvSpPr>
        <p:spPr>
          <a:xfrm>
            <a:off x="955046" y="4393830"/>
            <a:ext cx="2324479" cy="298321"/>
          </a:xfrm>
          <a:prstGeom prst="rect">
            <a:avLst/>
          </a:prstGeom>
          <a:solidFill>
            <a:schemeClr val="bg1"/>
          </a:solidFill>
          <a:ln>
            <a:solidFill>
              <a:schemeClr val="bg1"/>
            </a:solidFill>
          </a:ln>
        </p:spPr>
        <p:txBody>
          <a:bodyPr wrap="square" rtlCol="0" anchor="ctr">
            <a:noAutofit/>
          </a:bodyPr>
          <a:lstStyle>
            <a:defPPr>
              <a:defRPr lang="en-US"/>
            </a:defPPr>
            <a:lvl1pPr algn="ctr" eaLnBrk="0" fontAlgn="base" hangingPunct="0">
              <a:spcBef>
                <a:spcPct val="0"/>
              </a:spcBef>
              <a:spcAft>
                <a:spcPct val="0"/>
              </a:spcAft>
              <a:defRPr sz="900">
                <a:solidFill>
                  <a:prstClr val="white">
                    <a:lumMod val="50000"/>
                  </a:prstClr>
                </a:solidFill>
                <a:latin typeface="Frutiger Next Pro Light" panose="020B0303040204020203" pitchFamily="34" charset="0"/>
                <a:ea typeface="ＭＳ Ｐゴシック" charset="0"/>
                <a:cs typeface="Arial" charset="0"/>
              </a:defRPr>
            </a:lvl1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mn-lt"/>
                <a:ea typeface="ＭＳ Ｐゴシック" charset="0"/>
                <a:cs typeface="Arial" charset="0"/>
              </a:rPr>
              <a:t>Emphasis on contract profitability</a:t>
            </a:r>
          </a:p>
        </p:txBody>
      </p:sp>
      <p:sp>
        <p:nvSpPr>
          <p:cNvPr id="66" name="TextBox 65">
            <a:extLst>
              <a:ext uri="{FF2B5EF4-FFF2-40B4-BE49-F238E27FC236}">
                <a16:creationId xmlns:a16="http://schemas.microsoft.com/office/drawing/2014/main" id="{4DECAAE2-C2C1-4DC1-8BC2-DD24483C2136}"/>
              </a:ext>
            </a:extLst>
          </p:cNvPr>
          <p:cNvSpPr txBox="1"/>
          <p:nvPr/>
        </p:nvSpPr>
        <p:spPr>
          <a:xfrm>
            <a:off x="8588009" y="4393830"/>
            <a:ext cx="2324479" cy="298321"/>
          </a:xfrm>
          <a:prstGeom prst="rect">
            <a:avLst/>
          </a:prstGeom>
          <a:solidFill>
            <a:schemeClr val="bg1"/>
          </a:solidFill>
          <a:ln>
            <a:noFill/>
          </a:ln>
        </p:spPr>
        <p:txBody>
          <a:bodyPr wrap="square" rtlCol="0" anchor="ctr">
            <a:noAutofit/>
          </a:bodyPr>
          <a:lstStyle>
            <a:defPPr>
              <a:defRPr lang="en-US"/>
            </a:defPPr>
            <a:lvl1pPr algn="ctr" eaLnBrk="0" fontAlgn="base" hangingPunct="0">
              <a:spcBef>
                <a:spcPct val="0"/>
              </a:spcBef>
              <a:spcAft>
                <a:spcPct val="0"/>
              </a:spcAft>
              <a:defRPr sz="831">
                <a:solidFill>
                  <a:prstClr val="white">
                    <a:lumMod val="50000"/>
                  </a:prstClr>
                </a:solidFill>
                <a:latin typeface="Frutiger Next Pro Light" panose="020B0303040204020203" pitchFamily="34" charset="0"/>
                <a:ea typeface="ＭＳ Ｐゴシック" charset="0"/>
                <a:cs typeface="Arial" charset="0"/>
              </a:defRPr>
            </a:lvl1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mn-lt"/>
                <a:ea typeface="ＭＳ Ｐゴシック" charset="0"/>
                <a:cs typeface="Arial" charset="0"/>
              </a:rPr>
              <a:t>Emphasis on portfolio or business unit profitability</a:t>
            </a:r>
          </a:p>
        </p:txBody>
      </p:sp>
      <p:sp>
        <p:nvSpPr>
          <p:cNvPr id="61" name="Left-Right Arrow 11">
            <a:extLst>
              <a:ext uri="{FF2B5EF4-FFF2-40B4-BE49-F238E27FC236}">
                <a16:creationId xmlns:a16="http://schemas.microsoft.com/office/drawing/2014/main" id="{673DF7AE-984D-4263-930E-6749AD7D2513}"/>
              </a:ext>
            </a:extLst>
          </p:cNvPr>
          <p:cNvSpPr/>
          <p:nvPr/>
        </p:nvSpPr>
        <p:spPr>
          <a:xfrm>
            <a:off x="3408662" y="5031755"/>
            <a:ext cx="5050209" cy="293731"/>
          </a:xfrm>
          <a:prstGeom prst="rect">
            <a:avLst/>
          </a:prstGeom>
          <a:solidFill>
            <a:schemeClr val="accent3">
              <a:alpha val="1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2203" rIns="36000" bIns="42203"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chemeClr val="accent3"/>
                </a:solidFill>
                <a:effectLst/>
                <a:uLnTx/>
                <a:uFillTx/>
                <a:ea typeface="+mn-ea"/>
                <a:cs typeface="+mn-cs"/>
              </a:rPr>
              <a:t>Pricing</a:t>
            </a:r>
          </a:p>
        </p:txBody>
      </p:sp>
      <p:sp>
        <p:nvSpPr>
          <p:cNvPr id="62" name="TextBox 61">
            <a:extLst>
              <a:ext uri="{FF2B5EF4-FFF2-40B4-BE49-F238E27FC236}">
                <a16:creationId xmlns:a16="http://schemas.microsoft.com/office/drawing/2014/main" id="{CE9179DB-D463-47D3-8239-42B2DF0B5956}"/>
              </a:ext>
            </a:extLst>
          </p:cNvPr>
          <p:cNvSpPr txBox="1"/>
          <p:nvPr/>
        </p:nvSpPr>
        <p:spPr>
          <a:xfrm>
            <a:off x="955046" y="5036717"/>
            <a:ext cx="2324479" cy="298321"/>
          </a:xfrm>
          <a:prstGeom prst="rect">
            <a:avLst/>
          </a:prstGeom>
          <a:solidFill>
            <a:schemeClr val="bg1"/>
          </a:solidFill>
          <a:ln>
            <a:solidFill>
              <a:schemeClr val="bg1"/>
            </a:solidFill>
          </a:ln>
        </p:spPr>
        <p:txBody>
          <a:bodyPr wrap="square" rtlCol="0" anchor="ctr">
            <a:noAutofit/>
          </a:bodyPr>
          <a:lstStyle>
            <a:defPPr>
              <a:defRPr lang="en-US"/>
            </a:defPPr>
            <a:lvl1pPr algn="ctr" eaLnBrk="0" fontAlgn="base" hangingPunct="0">
              <a:spcBef>
                <a:spcPct val="0"/>
              </a:spcBef>
              <a:spcAft>
                <a:spcPct val="0"/>
              </a:spcAft>
              <a:defRPr sz="900">
                <a:solidFill>
                  <a:prstClr val="white">
                    <a:lumMod val="50000"/>
                  </a:prstClr>
                </a:solidFill>
                <a:latin typeface="Frutiger Next Pro Light" panose="020B0303040204020203" pitchFamily="34" charset="0"/>
                <a:ea typeface="ＭＳ Ｐゴシック" charset="0"/>
                <a:cs typeface="Arial" charset="0"/>
              </a:defRPr>
            </a:lvl1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mn-lt"/>
                <a:ea typeface="ＭＳ Ｐゴシック" charset="0"/>
                <a:cs typeface="Arial" charset="0"/>
              </a:rPr>
              <a:t>Bottom-up estimating and fixed pricing</a:t>
            </a:r>
          </a:p>
        </p:txBody>
      </p:sp>
      <p:sp>
        <p:nvSpPr>
          <p:cNvPr id="63" name="TextBox 62">
            <a:extLst>
              <a:ext uri="{FF2B5EF4-FFF2-40B4-BE49-F238E27FC236}">
                <a16:creationId xmlns:a16="http://schemas.microsoft.com/office/drawing/2014/main" id="{D576B0E0-A779-418A-8DDB-374548213C8C}"/>
              </a:ext>
            </a:extLst>
          </p:cNvPr>
          <p:cNvSpPr txBox="1"/>
          <p:nvPr/>
        </p:nvSpPr>
        <p:spPr>
          <a:xfrm>
            <a:off x="8588009" y="5036717"/>
            <a:ext cx="2324479" cy="298321"/>
          </a:xfrm>
          <a:prstGeom prst="rect">
            <a:avLst/>
          </a:prstGeom>
          <a:solidFill>
            <a:schemeClr val="bg1"/>
          </a:solidFill>
          <a:ln>
            <a:noFill/>
          </a:ln>
        </p:spPr>
        <p:txBody>
          <a:bodyPr wrap="square" rtlCol="0" anchor="ctr">
            <a:noAutofit/>
          </a:bodyPr>
          <a:lstStyle>
            <a:defPPr>
              <a:defRPr lang="en-US"/>
            </a:defPPr>
            <a:lvl1pPr algn="ctr" eaLnBrk="0" fontAlgn="base" hangingPunct="0">
              <a:spcBef>
                <a:spcPct val="0"/>
              </a:spcBef>
              <a:spcAft>
                <a:spcPct val="0"/>
              </a:spcAft>
              <a:defRPr sz="831">
                <a:solidFill>
                  <a:prstClr val="white">
                    <a:lumMod val="50000"/>
                  </a:prstClr>
                </a:solidFill>
                <a:latin typeface="Frutiger Next Pro Light" panose="020B0303040204020203" pitchFamily="34" charset="0"/>
                <a:ea typeface="ＭＳ Ｐゴシック" charset="0"/>
                <a:cs typeface="Arial" charset="0"/>
              </a:defRPr>
            </a:lvl1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mn-lt"/>
                <a:ea typeface="ＭＳ Ｐゴシック" charset="0"/>
                <a:cs typeface="Arial" charset="0"/>
              </a:rPr>
              <a:t>Market-driven pricing with discounting</a:t>
            </a:r>
          </a:p>
        </p:txBody>
      </p:sp>
      <p:sp>
        <p:nvSpPr>
          <p:cNvPr id="58" name="Left-Right Arrow 11">
            <a:extLst>
              <a:ext uri="{FF2B5EF4-FFF2-40B4-BE49-F238E27FC236}">
                <a16:creationId xmlns:a16="http://schemas.microsoft.com/office/drawing/2014/main" id="{1E1FE7FE-EBAE-4AF4-8FDA-F42134BA83CB}"/>
              </a:ext>
            </a:extLst>
          </p:cNvPr>
          <p:cNvSpPr/>
          <p:nvPr/>
        </p:nvSpPr>
        <p:spPr>
          <a:xfrm>
            <a:off x="3408662" y="4067425"/>
            <a:ext cx="5050209" cy="293731"/>
          </a:xfrm>
          <a:prstGeom prst="rect">
            <a:avLst/>
          </a:prstGeom>
          <a:solidFill>
            <a:schemeClr val="accent1">
              <a:alpha val="1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2203" rIns="36000" bIns="42203"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chemeClr val="accent1">
                    <a:lumMod val="75000"/>
                  </a:schemeClr>
                </a:solidFill>
                <a:effectLst/>
                <a:uLnTx/>
                <a:uFillTx/>
                <a:ea typeface="+mn-ea"/>
                <a:cs typeface="+mn-cs"/>
              </a:rPr>
              <a:t>Product Innovation</a:t>
            </a:r>
          </a:p>
        </p:txBody>
      </p:sp>
      <p:sp>
        <p:nvSpPr>
          <p:cNvPr id="59" name="TextBox 58">
            <a:extLst>
              <a:ext uri="{FF2B5EF4-FFF2-40B4-BE49-F238E27FC236}">
                <a16:creationId xmlns:a16="http://schemas.microsoft.com/office/drawing/2014/main" id="{4CBFD723-E98E-4644-B4B4-A9734E0D67E5}"/>
              </a:ext>
            </a:extLst>
          </p:cNvPr>
          <p:cNvSpPr txBox="1"/>
          <p:nvPr/>
        </p:nvSpPr>
        <p:spPr>
          <a:xfrm>
            <a:off x="955046" y="4072387"/>
            <a:ext cx="2324479" cy="298321"/>
          </a:xfrm>
          <a:prstGeom prst="rect">
            <a:avLst/>
          </a:prstGeom>
          <a:solidFill>
            <a:schemeClr val="bg1"/>
          </a:solidFill>
          <a:ln>
            <a:solidFill>
              <a:schemeClr val="bg1"/>
            </a:solidFill>
          </a:ln>
        </p:spPr>
        <p:txBody>
          <a:bodyPr wrap="square" rtlCol="0" anchor="ctr">
            <a:noAutofit/>
          </a:bodyPr>
          <a:lstStyle>
            <a:defPPr>
              <a:defRPr lang="en-US"/>
            </a:defPPr>
            <a:lvl1pPr algn="ctr" eaLnBrk="0" fontAlgn="base" hangingPunct="0">
              <a:spcBef>
                <a:spcPct val="0"/>
              </a:spcBef>
              <a:spcAft>
                <a:spcPct val="0"/>
              </a:spcAft>
              <a:defRPr sz="900">
                <a:solidFill>
                  <a:prstClr val="white">
                    <a:lumMod val="50000"/>
                  </a:prstClr>
                </a:solidFill>
                <a:latin typeface="Frutiger Next Pro Light" panose="020B0303040204020203" pitchFamily="34" charset="0"/>
                <a:ea typeface="ＭＳ Ｐゴシック" charset="0"/>
                <a:cs typeface="Arial" charset="0"/>
              </a:defRPr>
            </a:lvl1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mn-lt"/>
                <a:ea typeface="ＭＳ Ｐゴシック" charset="0"/>
                <a:cs typeface="Arial" charset="0"/>
              </a:rPr>
              <a:t>Solutions developed based on customer-defined problems, contract-based</a:t>
            </a:r>
          </a:p>
        </p:txBody>
      </p:sp>
      <p:sp>
        <p:nvSpPr>
          <p:cNvPr id="60" name="TextBox 59">
            <a:extLst>
              <a:ext uri="{FF2B5EF4-FFF2-40B4-BE49-F238E27FC236}">
                <a16:creationId xmlns:a16="http://schemas.microsoft.com/office/drawing/2014/main" id="{EE2F1C19-4DE6-44C5-9253-91ED5A29EDE2}"/>
              </a:ext>
            </a:extLst>
          </p:cNvPr>
          <p:cNvSpPr txBox="1"/>
          <p:nvPr/>
        </p:nvSpPr>
        <p:spPr>
          <a:xfrm>
            <a:off x="8588009" y="4072387"/>
            <a:ext cx="2324479" cy="298321"/>
          </a:xfrm>
          <a:prstGeom prst="rect">
            <a:avLst/>
          </a:prstGeom>
          <a:solidFill>
            <a:schemeClr val="bg1"/>
          </a:solidFill>
          <a:ln>
            <a:noFill/>
          </a:ln>
        </p:spPr>
        <p:txBody>
          <a:bodyPr wrap="square" rtlCol="0" anchor="ctr">
            <a:noAutofit/>
          </a:bodyPr>
          <a:lstStyle>
            <a:defPPr>
              <a:defRPr lang="en-US"/>
            </a:defPPr>
            <a:lvl1pPr algn="ctr" eaLnBrk="0" fontAlgn="base" hangingPunct="0">
              <a:spcBef>
                <a:spcPct val="0"/>
              </a:spcBef>
              <a:spcAft>
                <a:spcPct val="0"/>
              </a:spcAft>
              <a:defRPr sz="831">
                <a:solidFill>
                  <a:prstClr val="white">
                    <a:lumMod val="50000"/>
                  </a:prstClr>
                </a:solidFill>
                <a:latin typeface="Frutiger Next Pro Light" panose="020B0303040204020203" pitchFamily="34" charset="0"/>
                <a:ea typeface="ＭＳ Ｐゴシック" charset="0"/>
                <a:cs typeface="Arial" charset="0"/>
              </a:defRPr>
            </a:lvl1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mn-lt"/>
                <a:ea typeface="ＭＳ Ｐゴシック" charset="0"/>
                <a:cs typeface="Arial" charset="0"/>
              </a:rPr>
              <a:t>R&amp;D </a:t>
            </a:r>
            <a:r>
              <a:rPr kumimoji="0" lang="en-GB" sz="800" b="0" i="1" u="none" strike="noStrike" kern="1200" cap="none" spc="0" normalizeH="0" baseline="0" noProof="0" dirty="0">
                <a:ln>
                  <a:noFill/>
                </a:ln>
                <a:solidFill>
                  <a:prstClr val="black"/>
                </a:solidFill>
                <a:effectLst/>
                <a:uLnTx/>
                <a:uFillTx/>
                <a:latin typeface="+mn-lt"/>
                <a:ea typeface="ＭＳ Ｐゴシック" charset="0"/>
                <a:cs typeface="Arial" charset="0"/>
              </a:rPr>
              <a:t>(IRAD or from profit) </a:t>
            </a:r>
            <a:r>
              <a:rPr kumimoji="0" lang="en-GB" sz="800" b="0" i="0" u="none" strike="noStrike" kern="1200" cap="none" spc="0" normalizeH="0" baseline="0" noProof="0" dirty="0">
                <a:ln>
                  <a:noFill/>
                </a:ln>
                <a:solidFill>
                  <a:prstClr val="black"/>
                </a:solidFill>
                <a:effectLst/>
                <a:uLnTx/>
                <a:uFillTx/>
                <a:latin typeface="+mn-lt"/>
                <a:ea typeface="ＭＳ Ｐゴシック" charset="0"/>
                <a:cs typeface="Arial" charset="0"/>
              </a:rPr>
              <a:t>based on market trends, emerging technologies</a:t>
            </a:r>
          </a:p>
        </p:txBody>
      </p:sp>
      <p:sp>
        <p:nvSpPr>
          <p:cNvPr id="55" name="Left-Right Arrow 11">
            <a:extLst>
              <a:ext uri="{FF2B5EF4-FFF2-40B4-BE49-F238E27FC236}">
                <a16:creationId xmlns:a16="http://schemas.microsoft.com/office/drawing/2014/main" id="{26F8F88D-72C3-4782-9C30-CC2C50FC1D8E}"/>
              </a:ext>
            </a:extLst>
          </p:cNvPr>
          <p:cNvSpPr/>
          <p:nvPr/>
        </p:nvSpPr>
        <p:spPr>
          <a:xfrm>
            <a:off x="3408662" y="4710311"/>
            <a:ext cx="5050209" cy="293731"/>
          </a:xfrm>
          <a:prstGeom prst="rect">
            <a:avLst/>
          </a:prstGeom>
          <a:solidFill>
            <a:schemeClr val="accent3">
              <a:alpha val="1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2203" rIns="36000" bIns="42203"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chemeClr val="accent3"/>
                </a:solidFill>
                <a:effectLst/>
                <a:uLnTx/>
                <a:uFillTx/>
                <a:ea typeface="+mn-ea"/>
                <a:cs typeface="+mn-cs"/>
              </a:rPr>
              <a:t>Costing</a:t>
            </a:r>
          </a:p>
        </p:txBody>
      </p:sp>
      <p:sp>
        <p:nvSpPr>
          <p:cNvPr id="56" name="TextBox 55">
            <a:extLst>
              <a:ext uri="{FF2B5EF4-FFF2-40B4-BE49-F238E27FC236}">
                <a16:creationId xmlns:a16="http://schemas.microsoft.com/office/drawing/2014/main" id="{66115A19-9DEA-45A4-85AF-FD335233B755}"/>
              </a:ext>
            </a:extLst>
          </p:cNvPr>
          <p:cNvSpPr txBox="1"/>
          <p:nvPr/>
        </p:nvSpPr>
        <p:spPr>
          <a:xfrm>
            <a:off x="955046" y="4715273"/>
            <a:ext cx="2324479" cy="298321"/>
          </a:xfrm>
          <a:prstGeom prst="rect">
            <a:avLst/>
          </a:prstGeom>
          <a:solidFill>
            <a:schemeClr val="bg1"/>
          </a:solidFill>
          <a:ln>
            <a:solidFill>
              <a:schemeClr val="bg1"/>
            </a:solidFill>
          </a:ln>
        </p:spPr>
        <p:txBody>
          <a:bodyPr wrap="square" rtlCol="0" anchor="ctr">
            <a:noAutofit/>
          </a:bodyPr>
          <a:lstStyle>
            <a:defPPr>
              <a:defRPr lang="en-US"/>
            </a:defPPr>
            <a:lvl1pPr algn="ctr" eaLnBrk="0" fontAlgn="base" hangingPunct="0">
              <a:spcBef>
                <a:spcPct val="0"/>
              </a:spcBef>
              <a:spcAft>
                <a:spcPct val="0"/>
              </a:spcAft>
              <a:defRPr sz="900">
                <a:solidFill>
                  <a:prstClr val="white">
                    <a:lumMod val="50000"/>
                  </a:prstClr>
                </a:solidFill>
                <a:latin typeface="Frutiger Next Pro Light" panose="020B0303040204020203" pitchFamily="34" charset="0"/>
                <a:ea typeface="ＭＳ Ｐゴシック" charset="0"/>
                <a:cs typeface="Arial" charset="0"/>
              </a:defRPr>
            </a:lvl1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mn-lt"/>
                <a:ea typeface="ＭＳ Ｐゴシック" charset="0"/>
                <a:cs typeface="Arial" charset="0"/>
              </a:rPr>
              <a:t>Contract costing or billing </a:t>
            </a:r>
          </a:p>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GB" sz="800" b="0" i="1" u="none" strike="noStrike" kern="1200" cap="none" spc="0" normalizeH="0" baseline="0" noProof="0" dirty="0">
                <a:ln>
                  <a:noFill/>
                </a:ln>
                <a:solidFill>
                  <a:prstClr val="black"/>
                </a:solidFill>
                <a:effectLst/>
                <a:uLnTx/>
                <a:uFillTx/>
                <a:latin typeface="+mn-lt"/>
                <a:ea typeface="ＭＳ Ｐゴシック" charset="0"/>
                <a:cs typeface="Arial" charset="0"/>
              </a:rPr>
              <a:t>(e.g. CAS cost accounting)</a:t>
            </a:r>
          </a:p>
        </p:txBody>
      </p:sp>
      <p:sp>
        <p:nvSpPr>
          <p:cNvPr id="57" name="TextBox 56">
            <a:extLst>
              <a:ext uri="{FF2B5EF4-FFF2-40B4-BE49-F238E27FC236}">
                <a16:creationId xmlns:a16="http://schemas.microsoft.com/office/drawing/2014/main" id="{0157FBAF-FAE4-454C-B1D8-AB77ACF01FAC}"/>
              </a:ext>
            </a:extLst>
          </p:cNvPr>
          <p:cNvSpPr txBox="1"/>
          <p:nvPr/>
        </p:nvSpPr>
        <p:spPr>
          <a:xfrm>
            <a:off x="8588009" y="4715273"/>
            <a:ext cx="2324479" cy="298321"/>
          </a:xfrm>
          <a:prstGeom prst="rect">
            <a:avLst/>
          </a:prstGeom>
          <a:solidFill>
            <a:schemeClr val="bg1"/>
          </a:solidFill>
          <a:ln>
            <a:noFill/>
          </a:ln>
        </p:spPr>
        <p:txBody>
          <a:bodyPr wrap="square" rtlCol="0" anchor="ctr">
            <a:noAutofit/>
          </a:bodyPr>
          <a:lstStyle>
            <a:defPPr>
              <a:defRPr lang="en-US"/>
            </a:defPPr>
            <a:lvl1pPr algn="ctr" eaLnBrk="0" fontAlgn="base" hangingPunct="0">
              <a:spcBef>
                <a:spcPct val="0"/>
              </a:spcBef>
              <a:spcAft>
                <a:spcPct val="0"/>
              </a:spcAft>
              <a:defRPr sz="831">
                <a:solidFill>
                  <a:prstClr val="white">
                    <a:lumMod val="50000"/>
                  </a:prstClr>
                </a:solidFill>
                <a:latin typeface="Frutiger Next Pro Light" panose="020B0303040204020203" pitchFamily="34" charset="0"/>
                <a:ea typeface="ＭＳ Ｐゴシック" charset="0"/>
                <a:cs typeface="Arial" charset="0"/>
              </a:defRPr>
            </a:lvl1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mn-lt"/>
                <a:ea typeface="ＭＳ Ｐゴシック" charset="0"/>
                <a:cs typeface="Arial" charset="0"/>
              </a:rPr>
              <a:t>Product or solution standard costing</a:t>
            </a:r>
          </a:p>
        </p:txBody>
      </p:sp>
      <p:sp>
        <p:nvSpPr>
          <p:cNvPr id="28" name="TextBox 27">
            <a:extLst>
              <a:ext uri="{FF2B5EF4-FFF2-40B4-BE49-F238E27FC236}">
                <a16:creationId xmlns:a16="http://schemas.microsoft.com/office/drawing/2014/main" id="{E55F3CEF-72BE-4A66-AA48-84A1ED2A8E0B}"/>
              </a:ext>
            </a:extLst>
          </p:cNvPr>
          <p:cNvSpPr txBox="1"/>
          <p:nvPr/>
        </p:nvSpPr>
        <p:spPr>
          <a:xfrm>
            <a:off x="825909" y="1686280"/>
            <a:ext cx="2582755" cy="237426"/>
          </a:xfrm>
          <a:prstGeom prst="rect">
            <a:avLst/>
          </a:prstGeom>
          <a:noFill/>
        </p:spPr>
        <p:txBody>
          <a:bodyPr wrap="square" rtlCol="0">
            <a:spAutoFit/>
          </a:body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prstClr val="white"/>
                </a:solidFill>
                <a:effectLst/>
                <a:uLnTx/>
                <a:uFillTx/>
                <a:ea typeface="ＭＳ Ｐゴシック" charset="0"/>
                <a:cs typeface="Arial" charset="0"/>
              </a:rPr>
              <a:t>Government</a:t>
            </a:r>
          </a:p>
        </p:txBody>
      </p:sp>
      <p:sp>
        <p:nvSpPr>
          <p:cNvPr id="29" name="TextBox 28">
            <a:extLst>
              <a:ext uri="{FF2B5EF4-FFF2-40B4-BE49-F238E27FC236}">
                <a16:creationId xmlns:a16="http://schemas.microsoft.com/office/drawing/2014/main" id="{6F979937-58DC-4906-AE65-254B672BFD54}"/>
              </a:ext>
            </a:extLst>
          </p:cNvPr>
          <p:cNvSpPr txBox="1"/>
          <p:nvPr/>
        </p:nvSpPr>
        <p:spPr>
          <a:xfrm>
            <a:off x="8458871" y="1686280"/>
            <a:ext cx="2582755" cy="237426"/>
          </a:xfrm>
          <a:prstGeom prst="rect">
            <a:avLst/>
          </a:prstGeom>
          <a:noFill/>
        </p:spPr>
        <p:txBody>
          <a:bodyPr wrap="square" rtlCol="0">
            <a:spAutoFit/>
          </a:body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prstClr val="white"/>
                </a:solidFill>
                <a:effectLst/>
                <a:uLnTx/>
                <a:uFillTx/>
                <a:ea typeface="ＭＳ Ｐゴシック" charset="0"/>
                <a:cs typeface="Arial" charset="0"/>
              </a:rPr>
              <a:t>Commercial</a:t>
            </a:r>
          </a:p>
        </p:txBody>
      </p:sp>
      <p:sp>
        <p:nvSpPr>
          <p:cNvPr id="30" name="Oval 29">
            <a:extLst>
              <a:ext uri="{FF2B5EF4-FFF2-40B4-BE49-F238E27FC236}">
                <a16:creationId xmlns:a16="http://schemas.microsoft.com/office/drawing/2014/main" id="{51ACB4CB-CF76-44D7-9938-5403AAF9C2F3}"/>
              </a:ext>
            </a:extLst>
          </p:cNvPr>
          <p:cNvSpPr/>
          <p:nvPr/>
        </p:nvSpPr>
        <p:spPr bwMode="gray">
          <a:xfrm flipH="1">
            <a:off x="3831048" y="2099802"/>
            <a:ext cx="159940" cy="148915"/>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sp>
        <p:nvSpPr>
          <p:cNvPr id="31" name="Oval 30">
            <a:extLst>
              <a:ext uri="{FF2B5EF4-FFF2-40B4-BE49-F238E27FC236}">
                <a16:creationId xmlns:a16="http://schemas.microsoft.com/office/drawing/2014/main" id="{14D68D43-813B-47EB-814C-787B952797D6}"/>
              </a:ext>
            </a:extLst>
          </p:cNvPr>
          <p:cNvSpPr/>
          <p:nvPr/>
        </p:nvSpPr>
        <p:spPr bwMode="gray">
          <a:xfrm flipH="1">
            <a:off x="3716804" y="2415068"/>
            <a:ext cx="159940" cy="148915"/>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sp>
        <p:nvSpPr>
          <p:cNvPr id="32" name="Oval 31">
            <a:extLst>
              <a:ext uri="{FF2B5EF4-FFF2-40B4-BE49-F238E27FC236}">
                <a16:creationId xmlns:a16="http://schemas.microsoft.com/office/drawing/2014/main" id="{DBABA94A-E102-4C86-99CA-A1851C757737}"/>
              </a:ext>
            </a:extLst>
          </p:cNvPr>
          <p:cNvSpPr/>
          <p:nvPr/>
        </p:nvSpPr>
        <p:spPr bwMode="gray">
          <a:xfrm flipH="1">
            <a:off x="6576248" y="3060820"/>
            <a:ext cx="159940" cy="148915"/>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sp>
        <p:nvSpPr>
          <p:cNvPr id="33" name="Oval 32">
            <a:extLst>
              <a:ext uri="{FF2B5EF4-FFF2-40B4-BE49-F238E27FC236}">
                <a16:creationId xmlns:a16="http://schemas.microsoft.com/office/drawing/2014/main" id="{7E1F389F-FD79-4152-8E9A-DAA685480B38}"/>
              </a:ext>
            </a:extLst>
          </p:cNvPr>
          <p:cNvSpPr/>
          <p:nvPr/>
        </p:nvSpPr>
        <p:spPr bwMode="gray">
          <a:xfrm flipH="1">
            <a:off x="4838869" y="3444573"/>
            <a:ext cx="159940" cy="148915"/>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sp>
        <p:nvSpPr>
          <p:cNvPr id="34" name="Oval 33">
            <a:extLst>
              <a:ext uri="{FF2B5EF4-FFF2-40B4-BE49-F238E27FC236}">
                <a16:creationId xmlns:a16="http://schemas.microsoft.com/office/drawing/2014/main" id="{2965B424-C382-48E9-AB43-CD59900B6100}"/>
              </a:ext>
            </a:extLst>
          </p:cNvPr>
          <p:cNvSpPr/>
          <p:nvPr/>
        </p:nvSpPr>
        <p:spPr bwMode="gray">
          <a:xfrm flipH="1">
            <a:off x="5128968" y="3820717"/>
            <a:ext cx="159940" cy="148915"/>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sp>
        <p:nvSpPr>
          <p:cNvPr id="35" name="Oval 34">
            <a:extLst>
              <a:ext uri="{FF2B5EF4-FFF2-40B4-BE49-F238E27FC236}">
                <a16:creationId xmlns:a16="http://schemas.microsoft.com/office/drawing/2014/main" id="{86955672-7439-4744-ACCA-CC27C0ED35D1}"/>
              </a:ext>
            </a:extLst>
          </p:cNvPr>
          <p:cNvSpPr/>
          <p:nvPr/>
        </p:nvSpPr>
        <p:spPr bwMode="gray">
          <a:xfrm flipH="1">
            <a:off x="5084262" y="4447967"/>
            <a:ext cx="159940" cy="148915"/>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sp>
        <p:nvSpPr>
          <p:cNvPr id="36" name="Oval 35">
            <a:extLst>
              <a:ext uri="{FF2B5EF4-FFF2-40B4-BE49-F238E27FC236}">
                <a16:creationId xmlns:a16="http://schemas.microsoft.com/office/drawing/2014/main" id="{72C4448B-F7A4-41FC-9C66-A77412A3C4F2}"/>
              </a:ext>
            </a:extLst>
          </p:cNvPr>
          <p:cNvSpPr/>
          <p:nvPr/>
        </p:nvSpPr>
        <p:spPr bwMode="gray">
          <a:xfrm flipH="1">
            <a:off x="6204654" y="4778452"/>
            <a:ext cx="159940" cy="148915"/>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sp>
        <p:nvSpPr>
          <p:cNvPr id="37" name="Oval 36">
            <a:extLst>
              <a:ext uri="{FF2B5EF4-FFF2-40B4-BE49-F238E27FC236}">
                <a16:creationId xmlns:a16="http://schemas.microsoft.com/office/drawing/2014/main" id="{A9CB83DD-C889-4A0B-ACDB-6FC4058DFF32}"/>
              </a:ext>
            </a:extLst>
          </p:cNvPr>
          <p:cNvSpPr/>
          <p:nvPr/>
        </p:nvSpPr>
        <p:spPr bwMode="gray">
          <a:xfrm flipH="1">
            <a:off x="4722457" y="5108938"/>
            <a:ext cx="159940" cy="148915"/>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sp>
        <p:nvSpPr>
          <p:cNvPr id="38" name="Oval 37">
            <a:extLst>
              <a:ext uri="{FF2B5EF4-FFF2-40B4-BE49-F238E27FC236}">
                <a16:creationId xmlns:a16="http://schemas.microsoft.com/office/drawing/2014/main" id="{2314E8E7-F1B9-4FB0-99A4-455329D63275}"/>
              </a:ext>
            </a:extLst>
          </p:cNvPr>
          <p:cNvSpPr/>
          <p:nvPr/>
        </p:nvSpPr>
        <p:spPr bwMode="gray">
          <a:xfrm flipH="1">
            <a:off x="4090000" y="4130613"/>
            <a:ext cx="159940" cy="148915"/>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sp>
        <p:nvSpPr>
          <p:cNvPr id="39" name="Oval 38">
            <a:extLst>
              <a:ext uri="{FF2B5EF4-FFF2-40B4-BE49-F238E27FC236}">
                <a16:creationId xmlns:a16="http://schemas.microsoft.com/office/drawing/2014/main" id="{2891A530-B57E-4453-9550-655E8B7A1315}"/>
              </a:ext>
            </a:extLst>
          </p:cNvPr>
          <p:cNvSpPr/>
          <p:nvPr/>
        </p:nvSpPr>
        <p:spPr bwMode="gray">
          <a:xfrm flipH="1">
            <a:off x="7747073" y="2099802"/>
            <a:ext cx="159940" cy="148915"/>
          </a:xfrm>
          <a:prstGeom prst="ellipse">
            <a:avLst/>
          </a:prstGeom>
          <a:solidFill>
            <a:schemeClr val="bg1">
              <a:lumMod val="75000"/>
            </a:schemeClr>
          </a:solidFill>
          <a:ln w="19050" algn="ctr">
            <a:solidFill>
              <a:schemeClr val="bg1"/>
            </a:solidFill>
            <a:prstDash val="solid"/>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sp>
        <p:nvSpPr>
          <p:cNvPr id="40" name="Oval 39">
            <a:extLst>
              <a:ext uri="{FF2B5EF4-FFF2-40B4-BE49-F238E27FC236}">
                <a16:creationId xmlns:a16="http://schemas.microsoft.com/office/drawing/2014/main" id="{D7FBD02C-F3AD-4C90-8615-89B736903BEB}"/>
              </a:ext>
            </a:extLst>
          </p:cNvPr>
          <p:cNvSpPr/>
          <p:nvPr/>
        </p:nvSpPr>
        <p:spPr bwMode="gray">
          <a:xfrm flipH="1">
            <a:off x="7093872" y="2415068"/>
            <a:ext cx="159940" cy="148915"/>
          </a:xfrm>
          <a:prstGeom prst="ellipse">
            <a:avLst/>
          </a:prstGeom>
          <a:solidFill>
            <a:schemeClr val="bg1">
              <a:lumMod val="75000"/>
            </a:schemeClr>
          </a:solidFill>
          <a:ln w="19050" algn="ctr">
            <a:solidFill>
              <a:schemeClr val="bg1"/>
            </a:solidFill>
            <a:prstDash val="solid"/>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sp>
        <p:nvSpPr>
          <p:cNvPr id="41" name="Oval 40">
            <a:extLst>
              <a:ext uri="{FF2B5EF4-FFF2-40B4-BE49-F238E27FC236}">
                <a16:creationId xmlns:a16="http://schemas.microsoft.com/office/drawing/2014/main" id="{D88CAA4E-6C96-4807-BBD9-589CFEADAA41}"/>
              </a:ext>
            </a:extLst>
          </p:cNvPr>
          <p:cNvSpPr/>
          <p:nvPr/>
        </p:nvSpPr>
        <p:spPr bwMode="gray">
          <a:xfrm flipH="1">
            <a:off x="7457655" y="3060820"/>
            <a:ext cx="159940" cy="148915"/>
          </a:xfrm>
          <a:prstGeom prst="ellipse">
            <a:avLst/>
          </a:prstGeom>
          <a:solidFill>
            <a:schemeClr val="bg1">
              <a:lumMod val="75000"/>
            </a:schemeClr>
          </a:solidFill>
          <a:ln w="19050" algn="ctr">
            <a:solidFill>
              <a:schemeClr val="bg1"/>
            </a:solidFill>
            <a:prstDash val="solid"/>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sp>
        <p:nvSpPr>
          <p:cNvPr id="42" name="Oval 41">
            <a:extLst>
              <a:ext uri="{FF2B5EF4-FFF2-40B4-BE49-F238E27FC236}">
                <a16:creationId xmlns:a16="http://schemas.microsoft.com/office/drawing/2014/main" id="{75A736A2-A05B-41BE-95E0-54ED14151BA0}"/>
              </a:ext>
            </a:extLst>
          </p:cNvPr>
          <p:cNvSpPr/>
          <p:nvPr/>
        </p:nvSpPr>
        <p:spPr bwMode="gray">
          <a:xfrm flipH="1">
            <a:off x="6833122" y="3444573"/>
            <a:ext cx="159940" cy="148915"/>
          </a:xfrm>
          <a:prstGeom prst="ellipse">
            <a:avLst/>
          </a:prstGeom>
          <a:solidFill>
            <a:schemeClr val="bg1">
              <a:lumMod val="75000"/>
            </a:schemeClr>
          </a:solidFill>
          <a:ln w="19050" algn="ctr">
            <a:solidFill>
              <a:schemeClr val="bg1"/>
            </a:solidFill>
            <a:prstDash val="solid"/>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sp>
        <p:nvSpPr>
          <p:cNvPr id="43" name="Oval 42">
            <a:extLst>
              <a:ext uri="{FF2B5EF4-FFF2-40B4-BE49-F238E27FC236}">
                <a16:creationId xmlns:a16="http://schemas.microsoft.com/office/drawing/2014/main" id="{368DA4A4-DC64-47CF-869E-55BCBD14F9F8}"/>
              </a:ext>
            </a:extLst>
          </p:cNvPr>
          <p:cNvSpPr/>
          <p:nvPr/>
        </p:nvSpPr>
        <p:spPr bwMode="gray">
          <a:xfrm flipH="1">
            <a:off x="6429461" y="3820717"/>
            <a:ext cx="159940" cy="148915"/>
          </a:xfrm>
          <a:prstGeom prst="ellipse">
            <a:avLst/>
          </a:prstGeom>
          <a:solidFill>
            <a:schemeClr val="bg1">
              <a:lumMod val="75000"/>
            </a:schemeClr>
          </a:solidFill>
          <a:ln w="19050" algn="ctr">
            <a:solidFill>
              <a:schemeClr val="bg1"/>
            </a:solidFill>
            <a:prstDash val="solid"/>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sp>
        <p:nvSpPr>
          <p:cNvPr id="44" name="Oval 43">
            <a:extLst>
              <a:ext uri="{FF2B5EF4-FFF2-40B4-BE49-F238E27FC236}">
                <a16:creationId xmlns:a16="http://schemas.microsoft.com/office/drawing/2014/main" id="{7CABF27E-DD52-47D3-8A7E-6A3EF942EDBC}"/>
              </a:ext>
            </a:extLst>
          </p:cNvPr>
          <p:cNvSpPr/>
          <p:nvPr/>
        </p:nvSpPr>
        <p:spPr bwMode="gray">
          <a:xfrm flipH="1">
            <a:off x="7769922" y="4447967"/>
            <a:ext cx="159940" cy="148915"/>
          </a:xfrm>
          <a:prstGeom prst="ellipse">
            <a:avLst/>
          </a:prstGeom>
          <a:solidFill>
            <a:schemeClr val="bg1">
              <a:lumMod val="75000"/>
            </a:schemeClr>
          </a:solidFill>
          <a:ln w="19050" algn="ctr">
            <a:solidFill>
              <a:schemeClr val="bg1"/>
            </a:solidFill>
            <a:prstDash val="solid"/>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sp>
        <p:nvSpPr>
          <p:cNvPr id="45" name="Oval 44">
            <a:extLst>
              <a:ext uri="{FF2B5EF4-FFF2-40B4-BE49-F238E27FC236}">
                <a16:creationId xmlns:a16="http://schemas.microsoft.com/office/drawing/2014/main" id="{0AD9BEF4-26F7-4FA0-9249-B35624F57DE3}"/>
              </a:ext>
            </a:extLst>
          </p:cNvPr>
          <p:cNvSpPr/>
          <p:nvPr/>
        </p:nvSpPr>
        <p:spPr bwMode="gray">
          <a:xfrm flipH="1">
            <a:off x="7769922" y="4778452"/>
            <a:ext cx="159940" cy="148915"/>
          </a:xfrm>
          <a:prstGeom prst="ellipse">
            <a:avLst/>
          </a:prstGeom>
          <a:solidFill>
            <a:schemeClr val="bg1">
              <a:lumMod val="75000"/>
            </a:schemeClr>
          </a:solidFill>
          <a:ln w="19050" algn="ctr">
            <a:solidFill>
              <a:schemeClr val="bg1"/>
            </a:solidFill>
            <a:prstDash val="solid"/>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sp>
        <p:nvSpPr>
          <p:cNvPr id="46" name="Oval 45">
            <a:extLst>
              <a:ext uri="{FF2B5EF4-FFF2-40B4-BE49-F238E27FC236}">
                <a16:creationId xmlns:a16="http://schemas.microsoft.com/office/drawing/2014/main" id="{21A9095A-FADE-4E05-BD81-14199F8C8D63}"/>
              </a:ext>
            </a:extLst>
          </p:cNvPr>
          <p:cNvSpPr/>
          <p:nvPr/>
        </p:nvSpPr>
        <p:spPr bwMode="gray">
          <a:xfrm flipH="1">
            <a:off x="7750973" y="5108938"/>
            <a:ext cx="159940" cy="148915"/>
          </a:xfrm>
          <a:prstGeom prst="ellipse">
            <a:avLst/>
          </a:prstGeom>
          <a:solidFill>
            <a:schemeClr val="bg1">
              <a:lumMod val="75000"/>
            </a:schemeClr>
          </a:solidFill>
          <a:ln w="19050" algn="ctr">
            <a:solidFill>
              <a:schemeClr val="bg1"/>
            </a:solidFill>
            <a:prstDash val="solid"/>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sp>
        <p:nvSpPr>
          <p:cNvPr id="47" name="Oval 46">
            <a:extLst>
              <a:ext uri="{FF2B5EF4-FFF2-40B4-BE49-F238E27FC236}">
                <a16:creationId xmlns:a16="http://schemas.microsoft.com/office/drawing/2014/main" id="{0358E196-44C7-41E0-A98D-79CFE40CFBE1}"/>
              </a:ext>
            </a:extLst>
          </p:cNvPr>
          <p:cNvSpPr/>
          <p:nvPr/>
        </p:nvSpPr>
        <p:spPr bwMode="gray">
          <a:xfrm flipH="1">
            <a:off x="6984021" y="4130613"/>
            <a:ext cx="159940" cy="148915"/>
          </a:xfrm>
          <a:prstGeom prst="ellipse">
            <a:avLst/>
          </a:prstGeom>
          <a:solidFill>
            <a:schemeClr val="bg1">
              <a:lumMod val="75000"/>
            </a:schemeClr>
          </a:solidFill>
          <a:ln w="19050" algn="ctr">
            <a:solidFill>
              <a:schemeClr val="bg1"/>
            </a:solidFill>
            <a:prstDash val="solid"/>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sp>
        <p:nvSpPr>
          <p:cNvPr id="48" name="TextBox 47">
            <a:extLst>
              <a:ext uri="{FF2B5EF4-FFF2-40B4-BE49-F238E27FC236}">
                <a16:creationId xmlns:a16="http://schemas.microsoft.com/office/drawing/2014/main" id="{41BDADA0-4B6F-45F6-9917-277D045EE5A7}"/>
              </a:ext>
            </a:extLst>
          </p:cNvPr>
          <p:cNvSpPr txBox="1"/>
          <p:nvPr/>
        </p:nvSpPr>
        <p:spPr>
          <a:xfrm>
            <a:off x="3143786" y="1816866"/>
            <a:ext cx="1694404" cy="224235"/>
          </a:xfrm>
          <a:prstGeom prst="rect">
            <a:avLst/>
          </a:prstGeom>
          <a:noFill/>
        </p:spPr>
        <p:txBody>
          <a:bodyPr wrap="square" rtlCol="0">
            <a:spAutoFit/>
          </a:body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GB" sz="1100" b="1" i="0" u="none" strike="noStrike" kern="1200" cap="none" spc="0" normalizeH="0" baseline="0" noProof="0" dirty="0">
                <a:ln>
                  <a:noFill/>
                </a:ln>
                <a:solidFill>
                  <a:prstClr val="black"/>
                </a:solidFill>
                <a:effectLst/>
                <a:uLnTx/>
                <a:uFillTx/>
                <a:ea typeface="ＭＳ Ｐゴシック" charset="0"/>
                <a:cs typeface="Arial" charset="0"/>
              </a:rPr>
              <a:t>Current State </a:t>
            </a:r>
          </a:p>
        </p:txBody>
      </p:sp>
      <p:sp>
        <p:nvSpPr>
          <p:cNvPr id="49" name="TextBox 48">
            <a:extLst>
              <a:ext uri="{FF2B5EF4-FFF2-40B4-BE49-F238E27FC236}">
                <a16:creationId xmlns:a16="http://schemas.microsoft.com/office/drawing/2014/main" id="{7325E7FB-0150-4C1B-A326-6A3543403CBF}"/>
              </a:ext>
            </a:extLst>
          </p:cNvPr>
          <p:cNvSpPr txBox="1"/>
          <p:nvPr/>
        </p:nvSpPr>
        <p:spPr>
          <a:xfrm>
            <a:off x="6317119" y="1816866"/>
            <a:ext cx="2481419" cy="224235"/>
          </a:xfrm>
          <a:prstGeom prst="rect">
            <a:avLst/>
          </a:prstGeom>
          <a:noFill/>
        </p:spPr>
        <p:txBody>
          <a:bodyPr wrap="square" rtlCol="0">
            <a:spAutoFit/>
          </a:body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GB" sz="1100" b="1" i="0" u="none" strike="noStrike" kern="1200" cap="none" spc="0" normalizeH="0" baseline="0" noProof="0" dirty="0">
                <a:ln>
                  <a:noFill/>
                </a:ln>
                <a:solidFill>
                  <a:prstClr val="white">
                    <a:lumMod val="75000"/>
                  </a:prstClr>
                </a:solidFill>
                <a:effectLst/>
                <a:uLnTx/>
                <a:uFillTx/>
                <a:ea typeface="ＭＳ Ｐゴシック" charset="0"/>
                <a:cs typeface="Arial" charset="0"/>
              </a:rPr>
              <a:t>Recommended Future</a:t>
            </a:r>
          </a:p>
        </p:txBody>
      </p:sp>
      <p:sp>
        <p:nvSpPr>
          <p:cNvPr id="50" name="Oval 49">
            <a:extLst>
              <a:ext uri="{FF2B5EF4-FFF2-40B4-BE49-F238E27FC236}">
                <a16:creationId xmlns:a16="http://schemas.microsoft.com/office/drawing/2014/main" id="{8D49B8BA-963D-4999-AFC9-8EF9B2985C98}"/>
              </a:ext>
            </a:extLst>
          </p:cNvPr>
          <p:cNvSpPr/>
          <p:nvPr/>
        </p:nvSpPr>
        <p:spPr bwMode="gray">
          <a:xfrm flipH="1">
            <a:off x="6212299" y="2737944"/>
            <a:ext cx="159940" cy="148915"/>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sp>
        <p:nvSpPr>
          <p:cNvPr id="51" name="Oval 50">
            <a:extLst>
              <a:ext uri="{FF2B5EF4-FFF2-40B4-BE49-F238E27FC236}">
                <a16:creationId xmlns:a16="http://schemas.microsoft.com/office/drawing/2014/main" id="{4A9755D9-7409-412F-B6F8-70DFA6C318AA}"/>
              </a:ext>
            </a:extLst>
          </p:cNvPr>
          <p:cNvSpPr/>
          <p:nvPr/>
        </p:nvSpPr>
        <p:spPr bwMode="gray">
          <a:xfrm flipH="1">
            <a:off x="8006989" y="2737944"/>
            <a:ext cx="159940" cy="148915"/>
          </a:xfrm>
          <a:prstGeom prst="ellipse">
            <a:avLst/>
          </a:prstGeom>
          <a:solidFill>
            <a:schemeClr val="bg1">
              <a:lumMod val="75000"/>
            </a:schemeClr>
          </a:solidFill>
          <a:ln w="19050" algn="ctr">
            <a:solidFill>
              <a:schemeClr val="bg1"/>
            </a:solidFill>
            <a:prstDash val="solid"/>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sp>
        <p:nvSpPr>
          <p:cNvPr id="52" name="Arrow: Right 185">
            <a:extLst>
              <a:ext uri="{FF2B5EF4-FFF2-40B4-BE49-F238E27FC236}">
                <a16:creationId xmlns:a16="http://schemas.microsoft.com/office/drawing/2014/main" id="{FDEF2B24-595E-4436-B679-96D69E9DB0C8}"/>
              </a:ext>
            </a:extLst>
          </p:cNvPr>
          <p:cNvSpPr/>
          <p:nvPr/>
        </p:nvSpPr>
        <p:spPr bwMode="gray">
          <a:xfrm>
            <a:off x="4590045" y="1881248"/>
            <a:ext cx="2058486" cy="133221"/>
          </a:xfrm>
          <a:prstGeom prst="rightArrow">
            <a:avLst/>
          </a:prstGeom>
          <a:gradFill flip="none" rotWithShape="1">
            <a:gsLst>
              <a:gs pos="0">
                <a:srgbClr val="000000"/>
              </a:gs>
              <a:gs pos="100000">
                <a:schemeClr val="bg1">
                  <a:lumMod val="85000"/>
                </a:schemeClr>
              </a:gs>
            </a:gsLst>
            <a:lin ang="0" scaled="1"/>
            <a:tileRect/>
          </a:gra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ea typeface="+mn-ea"/>
              <a:cs typeface="+mn-cs"/>
            </a:endParaRPr>
          </a:p>
        </p:txBody>
      </p:sp>
      <p:sp>
        <p:nvSpPr>
          <p:cNvPr id="53" name="Freeform: Shape 11">
            <a:extLst>
              <a:ext uri="{FF2B5EF4-FFF2-40B4-BE49-F238E27FC236}">
                <a16:creationId xmlns:a16="http://schemas.microsoft.com/office/drawing/2014/main" id="{03C11BA5-C489-4428-9375-5B76BB520499}"/>
              </a:ext>
            </a:extLst>
          </p:cNvPr>
          <p:cNvSpPr/>
          <p:nvPr/>
        </p:nvSpPr>
        <p:spPr bwMode="gray">
          <a:xfrm>
            <a:off x="3588428" y="2171804"/>
            <a:ext cx="3179402" cy="3020918"/>
          </a:xfrm>
          <a:custGeom>
            <a:avLst/>
            <a:gdLst>
              <a:gd name="connsiteX0" fmla="*/ 357961 w 3501983"/>
              <a:gd name="connsiteY0" fmla="*/ 0 h 3524435"/>
              <a:gd name="connsiteX1" fmla="*/ 224796 w 3501983"/>
              <a:gd name="connsiteY1" fmla="*/ 363984 h 3524435"/>
              <a:gd name="connsiteX2" fmla="*/ 2976874 w 3501983"/>
              <a:gd name="connsiteY2" fmla="*/ 745724 h 3524435"/>
              <a:gd name="connsiteX3" fmla="*/ 3376369 w 3501983"/>
              <a:gd name="connsiteY3" fmla="*/ 1136342 h 3524435"/>
              <a:gd name="connsiteX4" fmla="*/ 1458792 w 3501983"/>
              <a:gd name="connsiteY4" fmla="*/ 1597980 h 3524435"/>
              <a:gd name="connsiteX5" fmla="*/ 1778388 w 3501983"/>
              <a:gd name="connsiteY5" fmla="*/ 2006353 h 3524435"/>
              <a:gd name="connsiteX6" fmla="*/ 624291 w 3501983"/>
              <a:gd name="connsiteY6" fmla="*/ 2370338 h 3524435"/>
              <a:gd name="connsiteX7" fmla="*/ 1734000 w 3501983"/>
              <a:gd name="connsiteY7" fmla="*/ 2760955 h 3524435"/>
              <a:gd name="connsiteX8" fmla="*/ 2976874 w 3501983"/>
              <a:gd name="connsiteY8" fmla="*/ 3133817 h 3524435"/>
              <a:gd name="connsiteX9" fmla="*/ 1334505 w 3501983"/>
              <a:gd name="connsiteY9" fmla="*/ 3524435 h 3524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1983" h="3524435">
                <a:moveTo>
                  <a:pt x="357961" y="0"/>
                </a:moveTo>
                <a:cubicBezTo>
                  <a:pt x="73136" y="119848"/>
                  <a:pt x="-211689" y="239697"/>
                  <a:pt x="224796" y="363984"/>
                </a:cubicBezTo>
                <a:cubicBezTo>
                  <a:pt x="661281" y="488271"/>
                  <a:pt x="2451612" y="616998"/>
                  <a:pt x="2976874" y="745724"/>
                </a:cubicBezTo>
                <a:cubicBezTo>
                  <a:pt x="3502136" y="874450"/>
                  <a:pt x="3629383" y="994299"/>
                  <a:pt x="3376369" y="1136342"/>
                </a:cubicBezTo>
                <a:cubicBezTo>
                  <a:pt x="3123355" y="1278385"/>
                  <a:pt x="1725122" y="1452978"/>
                  <a:pt x="1458792" y="1597980"/>
                </a:cubicBezTo>
                <a:cubicBezTo>
                  <a:pt x="1192462" y="1742982"/>
                  <a:pt x="1917472" y="1877627"/>
                  <a:pt x="1778388" y="2006353"/>
                </a:cubicBezTo>
                <a:cubicBezTo>
                  <a:pt x="1639305" y="2135079"/>
                  <a:pt x="631689" y="2244571"/>
                  <a:pt x="624291" y="2370338"/>
                </a:cubicBezTo>
                <a:cubicBezTo>
                  <a:pt x="616893" y="2496105"/>
                  <a:pt x="1341903" y="2633709"/>
                  <a:pt x="1734000" y="2760955"/>
                </a:cubicBezTo>
                <a:cubicBezTo>
                  <a:pt x="2126097" y="2888202"/>
                  <a:pt x="3043456" y="3006570"/>
                  <a:pt x="2976874" y="3133817"/>
                </a:cubicBezTo>
                <a:cubicBezTo>
                  <a:pt x="2910292" y="3261064"/>
                  <a:pt x="2122398" y="3392749"/>
                  <a:pt x="1334505" y="3524435"/>
                </a:cubicBezTo>
              </a:path>
            </a:pathLst>
          </a:custGeom>
          <a:noFill/>
          <a:ln w="9525" algn="ctr">
            <a:solidFill>
              <a:schemeClr val="tx1"/>
            </a:solidFill>
            <a:miter lim="800000"/>
            <a:headEnd/>
            <a:tailEnd/>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ea typeface="+mn-ea"/>
              <a:cs typeface="+mn-cs"/>
            </a:endParaRPr>
          </a:p>
        </p:txBody>
      </p:sp>
      <p:sp>
        <p:nvSpPr>
          <p:cNvPr id="54" name="Freeform: Shape 12">
            <a:extLst>
              <a:ext uri="{FF2B5EF4-FFF2-40B4-BE49-F238E27FC236}">
                <a16:creationId xmlns:a16="http://schemas.microsoft.com/office/drawing/2014/main" id="{BA38DE12-3B64-439D-B01F-45B76423FB9F}"/>
              </a:ext>
            </a:extLst>
          </p:cNvPr>
          <p:cNvSpPr/>
          <p:nvPr/>
        </p:nvSpPr>
        <p:spPr bwMode="gray">
          <a:xfrm>
            <a:off x="6506458" y="2179414"/>
            <a:ext cx="1570382" cy="3005698"/>
          </a:xfrm>
          <a:custGeom>
            <a:avLst/>
            <a:gdLst>
              <a:gd name="connsiteX0" fmla="*/ 1449538 w 1729712"/>
              <a:gd name="connsiteY0" fmla="*/ 0 h 3506679"/>
              <a:gd name="connsiteX1" fmla="*/ 730447 w 1729712"/>
              <a:gd name="connsiteY1" fmla="*/ 363984 h 3506679"/>
              <a:gd name="connsiteX2" fmla="*/ 1724746 w 1729712"/>
              <a:gd name="connsiteY2" fmla="*/ 736846 h 3506679"/>
              <a:gd name="connsiteX3" fmla="*/ 1138820 w 1729712"/>
              <a:gd name="connsiteY3" fmla="*/ 1109708 h 3506679"/>
              <a:gd name="connsiteX4" fmla="*/ 428606 w 1729712"/>
              <a:gd name="connsiteY4" fmla="*/ 1562469 h 3506679"/>
              <a:gd name="connsiteX5" fmla="*/ 2478 w 1729712"/>
              <a:gd name="connsiteY5" fmla="*/ 2006353 h 3506679"/>
              <a:gd name="connsiteX6" fmla="*/ 615037 w 1729712"/>
              <a:gd name="connsiteY6" fmla="*/ 2361460 h 3506679"/>
              <a:gd name="connsiteX7" fmla="*/ 1467293 w 1729712"/>
              <a:gd name="connsiteY7" fmla="*/ 2743200 h 3506679"/>
              <a:gd name="connsiteX8" fmla="*/ 1485049 w 1729712"/>
              <a:gd name="connsiteY8" fmla="*/ 3133817 h 3506679"/>
              <a:gd name="connsiteX9" fmla="*/ 1467293 w 1729712"/>
              <a:gd name="connsiteY9" fmla="*/ 3506679 h 3506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9712" h="3506679">
                <a:moveTo>
                  <a:pt x="1449538" y="0"/>
                </a:moveTo>
                <a:cubicBezTo>
                  <a:pt x="1067058" y="120588"/>
                  <a:pt x="684579" y="241176"/>
                  <a:pt x="730447" y="363984"/>
                </a:cubicBezTo>
                <a:cubicBezTo>
                  <a:pt x="776315" y="486792"/>
                  <a:pt x="1656684" y="612559"/>
                  <a:pt x="1724746" y="736846"/>
                </a:cubicBezTo>
                <a:cubicBezTo>
                  <a:pt x="1792808" y="861133"/>
                  <a:pt x="1138820" y="1109708"/>
                  <a:pt x="1138820" y="1109708"/>
                </a:cubicBezTo>
                <a:cubicBezTo>
                  <a:pt x="922797" y="1247312"/>
                  <a:pt x="617996" y="1413028"/>
                  <a:pt x="428606" y="1562469"/>
                </a:cubicBezTo>
                <a:cubicBezTo>
                  <a:pt x="239216" y="1711910"/>
                  <a:pt x="-28594" y="1873188"/>
                  <a:pt x="2478" y="2006353"/>
                </a:cubicBezTo>
                <a:cubicBezTo>
                  <a:pt x="33550" y="2139518"/>
                  <a:pt x="370901" y="2238652"/>
                  <a:pt x="615037" y="2361460"/>
                </a:cubicBezTo>
                <a:cubicBezTo>
                  <a:pt x="859173" y="2484268"/>
                  <a:pt x="1322291" y="2614474"/>
                  <a:pt x="1467293" y="2743200"/>
                </a:cubicBezTo>
                <a:cubicBezTo>
                  <a:pt x="1612295" y="2871926"/>
                  <a:pt x="1485049" y="3006571"/>
                  <a:pt x="1485049" y="3133817"/>
                </a:cubicBezTo>
                <a:cubicBezTo>
                  <a:pt x="1485049" y="3261063"/>
                  <a:pt x="1476171" y="3383871"/>
                  <a:pt x="1467293" y="3506679"/>
                </a:cubicBezTo>
              </a:path>
            </a:pathLst>
          </a:custGeom>
          <a:noFill/>
          <a:ln w="9525" algn="ctr">
            <a:solidFill>
              <a:schemeClr val="bg1">
                <a:lumMod val="75000"/>
              </a:schemeClr>
            </a:solidFill>
            <a:miter lim="800000"/>
            <a:headEnd/>
            <a:tailEnd/>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ea typeface="+mn-ea"/>
              <a:cs typeface="+mn-cs"/>
            </a:endParaRPr>
          </a:p>
        </p:txBody>
      </p:sp>
      <p:sp>
        <p:nvSpPr>
          <p:cNvPr id="86" name="Left-Right Arrow 11">
            <a:extLst>
              <a:ext uri="{FF2B5EF4-FFF2-40B4-BE49-F238E27FC236}">
                <a16:creationId xmlns:a16="http://schemas.microsoft.com/office/drawing/2014/main" id="{2C84AFCE-B123-458F-A1C1-EF3A46544947}"/>
              </a:ext>
            </a:extLst>
          </p:cNvPr>
          <p:cNvSpPr/>
          <p:nvPr/>
        </p:nvSpPr>
        <p:spPr>
          <a:xfrm>
            <a:off x="3403600" y="2019300"/>
            <a:ext cx="5050209" cy="293731"/>
          </a:xfrm>
          <a:prstGeom prst="rect">
            <a:avLst/>
          </a:prstGeom>
          <a:solidFill>
            <a:schemeClr val="accent2">
              <a:alpha val="1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2203" rIns="36000" bIns="42203"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chemeClr val="accent2">
                    <a:lumMod val="75000"/>
                  </a:schemeClr>
                </a:solidFill>
                <a:effectLst/>
                <a:uLnTx/>
                <a:uFillTx/>
                <a:ea typeface="+mn-ea"/>
                <a:cs typeface="+mn-cs"/>
              </a:rPr>
              <a:t>Organization &amp; Processes</a:t>
            </a:r>
          </a:p>
        </p:txBody>
      </p:sp>
    </p:spTree>
    <p:extLst>
      <p:ext uri="{BB962C8B-B14F-4D97-AF65-F5344CB8AC3E}">
        <p14:creationId xmlns:p14="http://schemas.microsoft.com/office/powerpoint/2010/main" val="899062468"/>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133D16D-751B-42ED-A477-C59FE16A7053}"/>
              </a:ext>
            </a:extLst>
          </p:cNvPr>
          <p:cNvSpPr>
            <a:spLocks noGrp="1"/>
          </p:cNvSpPr>
          <p:nvPr>
            <p:ph type="body" sz="quarter" idx="10"/>
          </p:nvPr>
        </p:nvSpPr>
        <p:spPr>
          <a:xfrm>
            <a:off x="952500" y="1206500"/>
            <a:ext cx="5602536" cy="2257425"/>
          </a:xfrm>
        </p:spPr>
        <p:txBody>
          <a:bodyPr/>
          <a:lstStyle/>
          <a:p>
            <a:r>
              <a:rPr lang="en-US" dirty="0"/>
              <a:t>Project Plans, Timelines, &amp; Roadmaps</a:t>
            </a:r>
          </a:p>
        </p:txBody>
      </p:sp>
      <p:grpSp>
        <p:nvGrpSpPr>
          <p:cNvPr id="3" name="Group 2">
            <a:extLst>
              <a:ext uri="{FF2B5EF4-FFF2-40B4-BE49-F238E27FC236}">
                <a16:creationId xmlns:a16="http://schemas.microsoft.com/office/drawing/2014/main" id="{5080C4D5-7D8D-473D-9A45-9BCA3C501B54}"/>
              </a:ext>
            </a:extLst>
          </p:cNvPr>
          <p:cNvGrpSpPr/>
          <p:nvPr/>
        </p:nvGrpSpPr>
        <p:grpSpPr>
          <a:xfrm>
            <a:off x="2277508" y="6274108"/>
            <a:ext cx="7636984" cy="501266"/>
            <a:chOff x="2277508" y="6274107"/>
            <a:chExt cx="7636984" cy="583893"/>
          </a:xfrm>
        </p:grpSpPr>
        <p:sp>
          <p:nvSpPr>
            <p:cNvPr id="4" name="Text Placeholder 1">
              <a:extLst>
                <a:ext uri="{FF2B5EF4-FFF2-40B4-BE49-F238E27FC236}">
                  <a16:creationId xmlns:a16="http://schemas.microsoft.com/office/drawing/2014/main" id="{638E7A3F-23EE-4C9C-8A92-B5A470788C94}"/>
                </a:ext>
              </a:extLst>
            </p:cNvPr>
            <p:cNvSpPr txBox="1">
              <a:spLocks/>
            </p:cNvSpPr>
            <p:nvPr/>
          </p:nvSpPr>
          <p:spPr>
            <a:xfrm>
              <a:off x="2277508" y="6274107"/>
              <a:ext cx="7636984" cy="583893"/>
            </a:xfrm>
            <a:prstGeom prst="rect">
              <a:avLst/>
            </a:prstGeom>
          </p:spPr>
          <p:txBody>
            <a:bodyPr vert="horz"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800" dirty="0">
                  <a:solidFill>
                    <a:srgbClr val="000000"/>
                  </a:solidFill>
                  <a:latin typeface="+mn-lt"/>
                </a:rPr>
                <a:t>Click Here to Return to the Table of Contents</a:t>
              </a:r>
              <a:endParaRPr lang="en-US" sz="2800" dirty="0">
                <a:latin typeface="+mn-lt"/>
              </a:endParaRPr>
            </a:p>
          </p:txBody>
        </p:sp>
        <p:sp>
          <p:nvSpPr>
            <p:cNvPr id="5" name="Rectangle 4">
              <a:hlinkClick r:id="rId2" action="ppaction://hlinksldjump"/>
              <a:extLst>
                <a:ext uri="{FF2B5EF4-FFF2-40B4-BE49-F238E27FC236}">
                  <a16:creationId xmlns:a16="http://schemas.microsoft.com/office/drawing/2014/main" id="{E135E644-3446-4256-BBD2-978372891974}"/>
                </a:ext>
              </a:extLst>
            </p:cNvPr>
            <p:cNvSpPr/>
            <p:nvPr/>
          </p:nvSpPr>
          <p:spPr>
            <a:xfrm>
              <a:off x="2401677" y="6274107"/>
              <a:ext cx="7425369" cy="4792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spTree>
    <p:extLst>
      <p:ext uri="{BB962C8B-B14F-4D97-AF65-F5344CB8AC3E}">
        <p14:creationId xmlns:p14="http://schemas.microsoft.com/office/powerpoint/2010/main" val="3128157321"/>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16F7DB9-A278-4222-AB7F-8EFADFD26E1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4260" name="think-cell Slide" r:id="rId6" imgW="415" imgH="416" progId="TCLayout.ActiveDocument.1">
                  <p:embed/>
                </p:oleObj>
              </mc:Choice>
              <mc:Fallback>
                <p:oleObj name="think-cell Slide" r:id="rId6" imgW="415" imgH="416" progId="TCLayout.ActiveDocument.1">
                  <p:embed/>
                  <p:pic>
                    <p:nvPicPr>
                      <p:cNvPr id="8" name="Object 7" hidden="1">
                        <a:extLst>
                          <a:ext uri="{FF2B5EF4-FFF2-40B4-BE49-F238E27FC236}">
                            <a16:creationId xmlns:a16="http://schemas.microsoft.com/office/drawing/2014/main" id="{D16F7DB9-A278-4222-AB7F-8EFADFD26E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D1E34DC-1A48-4ADC-9404-315EDBCD3C8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783280AB-5C86-4C1A-AE4B-FED9E82B4B15}"/>
              </a:ext>
            </a:extLst>
          </p:cNvPr>
          <p:cNvSpPr>
            <a:spLocks noGrp="1"/>
          </p:cNvSpPr>
          <p:nvPr>
            <p:ph type="title"/>
          </p:nvPr>
        </p:nvSpPr>
        <p:spPr/>
        <p:txBody>
          <a:bodyPr/>
          <a:lstStyle/>
          <a:p>
            <a:r>
              <a:rPr lang="en-US" dirty="0"/>
              <a:t>Building and deploying a new pricing capability</a:t>
            </a:r>
          </a:p>
        </p:txBody>
      </p:sp>
      <p:sp>
        <p:nvSpPr>
          <p:cNvPr id="3" name="Text Placeholder 2">
            <a:extLst>
              <a:ext uri="{FF2B5EF4-FFF2-40B4-BE49-F238E27FC236}">
                <a16:creationId xmlns:a16="http://schemas.microsoft.com/office/drawing/2014/main" id="{E4831F73-9432-4916-A09C-20B9F746FF6E}"/>
              </a:ext>
            </a:extLst>
          </p:cNvPr>
          <p:cNvSpPr>
            <a:spLocks noGrp="1"/>
          </p:cNvSpPr>
          <p:nvPr>
            <p:ph type="body" sz="quarter" idx="14"/>
          </p:nvPr>
        </p:nvSpPr>
        <p:spPr/>
        <p:txBody>
          <a:bodyPr/>
          <a:lstStyle/>
          <a:p>
            <a:r>
              <a:rPr lang="en-US" dirty="0"/>
              <a:t>This effort will comprise a several-year effort to build the new pricing model, create delivery and support infrastructure, and deploy across the globe</a:t>
            </a:r>
          </a:p>
        </p:txBody>
      </p:sp>
      <p:sp>
        <p:nvSpPr>
          <p:cNvPr id="4" name="Text Placeholder 3">
            <a:extLst>
              <a:ext uri="{FF2B5EF4-FFF2-40B4-BE49-F238E27FC236}">
                <a16:creationId xmlns:a16="http://schemas.microsoft.com/office/drawing/2014/main" id="{EAC7A9F0-BBE0-4534-A8F3-A64FBC56FD00}"/>
              </a:ext>
            </a:extLst>
          </p:cNvPr>
          <p:cNvSpPr>
            <a:spLocks noGrp="1"/>
          </p:cNvSpPr>
          <p:nvPr>
            <p:ph type="body" sz="quarter" idx="15"/>
          </p:nvPr>
        </p:nvSpPr>
        <p:spPr/>
        <p:txBody>
          <a:bodyPr/>
          <a:lstStyle/>
          <a:p>
            <a:r>
              <a:rPr lang="en-US" dirty="0"/>
              <a:t>Plans, timelines and roadmaps</a:t>
            </a:r>
          </a:p>
        </p:txBody>
      </p:sp>
      <p:graphicFrame>
        <p:nvGraphicFramePr>
          <p:cNvPr id="9" name="Table 8">
            <a:extLst>
              <a:ext uri="{FF2B5EF4-FFF2-40B4-BE49-F238E27FC236}">
                <a16:creationId xmlns:a16="http://schemas.microsoft.com/office/drawing/2014/main" id="{296EC6CB-2BEC-41D3-9ADF-E3F212F18602}"/>
              </a:ext>
            </a:extLst>
          </p:cNvPr>
          <p:cNvGraphicFramePr>
            <a:graphicFrameLocks noGrp="1"/>
          </p:cNvGraphicFramePr>
          <p:nvPr/>
        </p:nvGraphicFramePr>
        <p:xfrm>
          <a:off x="914400" y="1799792"/>
          <a:ext cx="10363200" cy="4635766"/>
        </p:xfrm>
        <a:graphic>
          <a:graphicData uri="http://schemas.openxmlformats.org/drawingml/2006/table">
            <a:tbl>
              <a:tblPr firstRow="1" bandRow="1">
                <a:tableStyleId>{5C22544A-7EE6-4342-B048-85BDC9FD1C3A}</a:tableStyleId>
              </a:tblPr>
              <a:tblGrid>
                <a:gridCol w="1133856">
                  <a:extLst>
                    <a:ext uri="{9D8B030D-6E8A-4147-A177-3AD203B41FA5}">
                      <a16:colId xmlns:a16="http://schemas.microsoft.com/office/drawing/2014/main" val="20000"/>
                    </a:ext>
                  </a:extLst>
                </a:gridCol>
                <a:gridCol w="3076448">
                  <a:extLst>
                    <a:ext uri="{9D8B030D-6E8A-4147-A177-3AD203B41FA5}">
                      <a16:colId xmlns:a16="http://schemas.microsoft.com/office/drawing/2014/main" val="20001"/>
                    </a:ext>
                  </a:extLst>
                </a:gridCol>
                <a:gridCol w="3076448">
                  <a:extLst>
                    <a:ext uri="{9D8B030D-6E8A-4147-A177-3AD203B41FA5}">
                      <a16:colId xmlns:a16="http://schemas.microsoft.com/office/drawing/2014/main" val="20002"/>
                    </a:ext>
                  </a:extLst>
                </a:gridCol>
                <a:gridCol w="3076448">
                  <a:extLst>
                    <a:ext uri="{9D8B030D-6E8A-4147-A177-3AD203B41FA5}">
                      <a16:colId xmlns:a16="http://schemas.microsoft.com/office/drawing/2014/main" val="20003"/>
                    </a:ext>
                  </a:extLst>
                </a:gridCol>
              </a:tblGrid>
              <a:tr h="408674">
                <a:tc>
                  <a:txBody>
                    <a:bodyPr/>
                    <a:lstStyle/>
                    <a:p>
                      <a:pPr algn="l"/>
                      <a:endParaRPr lang="en-US" sz="1000" b="0" dirty="0">
                        <a:solidFill>
                          <a:schemeClr val="tx1"/>
                        </a:solidFill>
                      </a:endParaRPr>
                    </a:p>
                  </a:txBody>
                  <a:tcPr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accent1"/>
                      </a:solidFill>
                      <a:prstDash val="solid"/>
                      <a:round/>
                      <a:headEnd type="none" w="med" len="med"/>
                      <a:tailEnd type="none" w="med" len="med"/>
                    </a:lnB>
                    <a:noFill/>
                  </a:tcPr>
                </a:tc>
                <a:tc>
                  <a:txBody>
                    <a:bodyPr/>
                    <a:lstStyle/>
                    <a:p>
                      <a:pPr algn="l"/>
                      <a:r>
                        <a:rPr lang="en-US" sz="2000" b="1" dirty="0">
                          <a:solidFill>
                            <a:schemeClr val="tx1"/>
                          </a:solidFill>
                          <a:latin typeface="+mj-lt"/>
                        </a:rPr>
                        <a:t>1.0 </a:t>
                      </a:r>
                      <a:r>
                        <a:rPr lang="en-US" sz="2000" b="0" i="0" dirty="0">
                          <a:solidFill>
                            <a:schemeClr val="tx1"/>
                          </a:solidFill>
                          <a:latin typeface="Chronicle Display Light" charset="0"/>
                          <a:ea typeface="Chronicle Display Light" charset="0"/>
                          <a:cs typeface="Chronicle Display Light" charset="0"/>
                        </a:rPr>
                        <a:t>Design &amp; Test</a:t>
                      </a:r>
                    </a:p>
                  </a:txBody>
                  <a:tcPr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accent1"/>
                      </a:solidFill>
                      <a:prstDash val="solid"/>
                      <a:round/>
                      <a:headEnd type="none" w="med" len="med"/>
                      <a:tailEnd type="none" w="med" len="med"/>
                    </a:lnB>
                    <a:noFill/>
                  </a:tcPr>
                </a:tc>
                <a:tc>
                  <a:txBody>
                    <a:bodyPr/>
                    <a:lstStyle/>
                    <a:p>
                      <a:pPr algn="l"/>
                      <a:r>
                        <a:rPr lang="en-US" sz="2000" b="1" dirty="0">
                          <a:solidFill>
                            <a:schemeClr val="tx1"/>
                          </a:solidFill>
                          <a:latin typeface="+mj-lt"/>
                        </a:rPr>
                        <a:t>2.0</a:t>
                      </a:r>
                      <a:r>
                        <a:rPr lang="en-US" sz="2000" b="1" baseline="0" dirty="0">
                          <a:solidFill>
                            <a:schemeClr val="tx1"/>
                          </a:solidFill>
                          <a:latin typeface="+mj-lt"/>
                        </a:rPr>
                        <a:t> </a:t>
                      </a:r>
                      <a:r>
                        <a:rPr lang="en-US" sz="2000" b="0" i="0" baseline="0" dirty="0">
                          <a:solidFill>
                            <a:schemeClr val="tx1"/>
                          </a:solidFill>
                          <a:latin typeface="Chronicle Display Light" charset="0"/>
                          <a:ea typeface="Chronicle Display Light" charset="0"/>
                          <a:cs typeface="Chronicle Display Light" charset="0"/>
                        </a:rPr>
                        <a:t>Build &amp; Pilot</a:t>
                      </a:r>
                      <a:endParaRPr lang="en-US" sz="2000" b="0" i="0" dirty="0">
                        <a:solidFill>
                          <a:schemeClr val="tx1"/>
                        </a:solidFill>
                        <a:latin typeface="Chronicle Display Light" charset="0"/>
                        <a:ea typeface="Chronicle Display Light" charset="0"/>
                        <a:cs typeface="Chronicle Display Light" charset="0"/>
                      </a:endParaRPr>
                    </a:p>
                  </a:txBody>
                  <a:tcPr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accent1"/>
                      </a:solidFill>
                      <a:prstDash val="solid"/>
                      <a:round/>
                      <a:headEnd type="none" w="med" len="med"/>
                      <a:tailEnd type="none" w="med" len="med"/>
                    </a:lnB>
                    <a:noFill/>
                  </a:tcPr>
                </a:tc>
                <a:tc>
                  <a:txBody>
                    <a:bodyPr/>
                    <a:lstStyle/>
                    <a:p>
                      <a:pPr algn="l"/>
                      <a:r>
                        <a:rPr lang="en-US" sz="2000" b="1" dirty="0">
                          <a:solidFill>
                            <a:schemeClr val="tx1"/>
                          </a:solidFill>
                          <a:latin typeface="+mj-lt"/>
                        </a:rPr>
                        <a:t>3.0 </a:t>
                      </a:r>
                      <a:r>
                        <a:rPr lang="en-US" sz="2000" b="0" i="0" dirty="0">
                          <a:solidFill>
                            <a:schemeClr val="tx1"/>
                          </a:solidFill>
                          <a:latin typeface="Chronicle Display Light" charset="0"/>
                          <a:ea typeface="Chronicle Display Light" charset="0"/>
                          <a:cs typeface="Chronicle Display Light" charset="0"/>
                        </a:rPr>
                        <a:t>Scale &amp; Deploy</a:t>
                      </a:r>
                    </a:p>
                  </a:txBody>
                  <a:tcPr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0000"/>
                  </a:ext>
                </a:extLst>
              </a:tr>
              <a:tr h="40867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rPr>
                        <a:t>Objectiv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tx1"/>
                          </a:solidFill>
                        </a:rPr>
                        <a:t>Define required capabiliti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1200" b="0" dirty="0">
                          <a:solidFill>
                            <a:schemeClr val="tx1"/>
                          </a:solidFill>
                        </a:rPr>
                        <a:t>Win in priority market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tx1"/>
                          </a:solidFill>
                        </a:rPr>
                        <a:t>Drive global scal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279932">
                <a:tc>
                  <a:txBody>
                    <a:bodyPr/>
                    <a:lstStyle/>
                    <a:p>
                      <a:pPr algn="l"/>
                      <a:endParaRPr lang="en-US" sz="1000" b="1" dirty="0">
                        <a:solidFill>
                          <a:schemeClr val="tx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l"/>
                      <a:r>
                        <a:rPr lang="en-US" sz="1000" b="1" spc="300" dirty="0">
                          <a:solidFill>
                            <a:schemeClr val="tx1"/>
                          </a:solidFill>
                        </a:rPr>
                        <a:t>~</a:t>
                      </a:r>
                      <a:r>
                        <a:rPr lang="en-US" sz="1000" b="1" spc="300" baseline="0" dirty="0">
                          <a:solidFill>
                            <a:schemeClr val="tx1"/>
                          </a:solidFill>
                        </a:rPr>
                        <a:t> </a:t>
                      </a:r>
                      <a:r>
                        <a:rPr lang="en-US" sz="1000" b="1" spc="300" dirty="0">
                          <a:solidFill>
                            <a:schemeClr val="tx1"/>
                          </a:solidFill>
                        </a:rPr>
                        <a:t>9</a:t>
                      </a:r>
                      <a:r>
                        <a:rPr lang="en-US" sz="1000" b="1" spc="300" baseline="0" dirty="0">
                          <a:solidFill>
                            <a:schemeClr val="tx1"/>
                          </a:solidFill>
                        </a:rPr>
                        <a:t> – 12 MONTHS</a:t>
                      </a:r>
                      <a:endParaRPr lang="en-US" sz="1000" b="1" spc="300" dirty="0">
                        <a:solidFill>
                          <a:schemeClr val="tx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l"/>
                      <a:r>
                        <a:rPr lang="en-US" sz="1000" b="1" spc="300" dirty="0">
                          <a:solidFill>
                            <a:schemeClr val="tx1"/>
                          </a:solidFill>
                        </a:rPr>
                        <a:t>~ 12 MONTH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l"/>
                      <a:r>
                        <a:rPr lang="en-US" sz="1000" b="1" spc="300" dirty="0">
                          <a:solidFill>
                            <a:schemeClr val="tx1"/>
                          </a:solidFill>
                        </a:rPr>
                        <a:t>~ 12 + MONTH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2"/>
                  </a:ext>
                </a:extLst>
              </a:tr>
              <a:tr h="2935224">
                <a:tc>
                  <a:txBody>
                    <a:bodyPr/>
                    <a:lstStyle/>
                    <a:p>
                      <a:pPr algn="l"/>
                      <a:r>
                        <a:rPr lang="en-US" sz="1200" b="1" dirty="0">
                          <a:solidFill>
                            <a:schemeClr val="tx1"/>
                          </a:solidFill>
                        </a:rPr>
                        <a:t>Activities</a:t>
                      </a:r>
                    </a:p>
                  </a:txBody>
                  <a:tcPr marT="9144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ventory &amp; aggregate existing data sources; identify additional 1</a:t>
                      </a:r>
                      <a:r>
                        <a:rPr kumimoji="0" lang="en-US" sz="1000" b="0" i="0" u="none" strike="noStrike" kern="1200" cap="none" spc="0" normalizeH="0" baseline="30000" noProof="0" dirty="0">
                          <a:ln>
                            <a:noFill/>
                          </a:ln>
                          <a:solidFill>
                            <a:schemeClr val="tx1"/>
                          </a:solidFill>
                          <a:effectLst/>
                          <a:uLnTx/>
                          <a:uFillTx/>
                          <a:latin typeface="+mn-lt"/>
                          <a:ea typeface="+mn-ea"/>
                          <a:cs typeface="+mn-cs"/>
                        </a:rPr>
                        <a:t>st</a:t>
                      </a:r>
                      <a:r>
                        <a:rPr kumimoji="0" lang="en-US" sz="1000" b="0" i="0" u="none" strike="noStrike" kern="1200" cap="none" spc="0" normalizeH="0" baseline="0" noProof="0" dirty="0">
                          <a:ln>
                            <a:noFill/>
                          </a:ln>
                          <a:solidFill>
                            <a:schemeClr val="tx1"/>
                          </a:solidFill>
                          <a:effectLst/>
                          <a:uLnTx/>
                          <a:uFillTx/>
                          <a:latin typeface="+mn-lt"/>
                          <a:ea typeface="+mn-ea"/>
                          <a:cs typeface="+mn-cs"/>
                        </a:rPr>
                        <a:t> and 3</a:t>
                      </a:r>
                      <a:r>
                        <a:rPr kumimoji="0" lang="en-US" sz="1000" b="0" i="0" u="none" strike="noStrike" kern="1200" cap="none" spc="0" normalizeH="0" baseline="30000" noProof="0" dirty="0">
                          <a:ln>
                            <a:noFill/>
                          </a:ln>
                          <a:solidFill>
                            <a:schemeClr val="tx1"/>
                          </a:solidFill>
                          <a:effectLst/>
                          <a:uLnTx/>
                          <a:uFillTx/>
                          <a:latin typeface="+mn-lt"/>
                          <a:ea typeface="+mn-ea"/>
                          <a:cs typeface="+mn-cs"/>
                        </a:rPr>
                        <a:t>rd</a:t>
                      </a:r>
                      <a:r>
                        <a:rPr kumimoji="0" lang="en-US" sz="1000" b="0" i="0" u="none" strike="noStrike" kern="1200" cap="none" spc="0" normalizeH="0" baseline="0" noProof="0" dirty="0">
                          <a:ln>
                            <a:noFill/>
                          </a:ln>
                          <a:solidFill>
                            <a:schemeClr val="tx1"/>
                          </a:solidFill>
                          <a:effectLst/>
                          <a:uLnTx/>
                          <a:uFillTx/>
                          <a:latin typeface="+mn-lt"/>
                          <a:ea typeface="+mn-ea"/>
                          <a:cs typeface="+mn-cs"/>
                        </a:rPr>
                        <a:t> party data feed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Build integrated data model and establish “single source of truth”</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Design and develop pricing analytics engin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Determine future state capabilities:  </a:t>
                      </a:r>
                    </a:p>
                    <a:p>
                      <a:pPr marL="171450" marR="0" lvl="0" indent="-171450"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User personas/use cases</a:t>
                      </a:r>
                    </a:p>
                    <a:p>
                      <a:pPr marL="171450" marR="0" lvl="0" indent="-171450"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Key business questions and requirements</a:t>
                      </a:r>
                    </a:p>
                    <a:p>
                      <a:pPr marL="171450" marR="0" lvl="0" indent="-171450"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System architecture</a:t>
                      </a:r>
                    </a:p>
                    <a:p>
                      <a:pPr marL="171450" marR="0" lvl="0" indent="-171450"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Delivery &amp; support model</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Establish benchmark performance levels through matched market/store testing</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Estimate size of pricing opportunity and develop go/no-go business case  </a:t>
                      </a:r>
                    </a:p>
                  </a:txBody>
                  <a:tcPr marT="9144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Build out pricing engine to support core four priority markets</a:t>
                      </a:r>
                    </a:p>
                    <a:p>
                      <a:pPr marL="171450" marR="0" lvl="0" indent="-171450"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Recommend menu item price points</a:t>
                      </a:r>
                    </a:p>
                    <a:p>
                      <a:pPr marL="171450" marR="0" lvl="0" indent="-171450"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Own- and cross-price elasticity</a:t>
                      </a:r>
                    </a:p>
                    <a:p>
                      <a:pPr marL="171450" marR="0" lvl="0" indent="-171450"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Optimize price against key metrics such as profit, foot traffic, average check</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Build new pricing portal to enable delivery, consumption, and validation of price recommendation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Perform scenario analytics at corporate level</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Design change management campaign </a:t>
                      </a:r>
                      <a:br>
                        <a:rPr kumimoji="0" lang="en-US" sz="1000" b="0" i="0" u="none" strike="noStrike" kern="1200" cap="none" spc="0" normalizeH="0" baseline="0" noProof="0" dirty="0">
                          <a:ln>
                            <a:noFill/>
                          </a:ln>
                          <a:solidFill>
                            <a:schemeClr val="tx1"/>
                          </a:solidFill>
                          <a:effectLst/>
                          <a:uLnTx/>
                          <a:uFillTx/>
                          <a:latin typeface="+mn-lt"/>
                          <a:ea typeface="+mn-ea"/>
                          <a:cs typeface="+mn-cs"/>
                        </a:rPr>
                      </a:br>
                      <a:r>
                        <a:rPr kumimoji="0" lang="en-US" sz="1000" b="0" i="0" u="none" strike="noStrike" kern="1200" cap="none" spc="0" normalizeH="0" baseline="0" noProof="0" dirty="0">
                          <a:ln>
                            <a:noFill/>
                          </a:ln>
                          <a:solidFill>
                            <a:schemeClr val="tx1"/>
                          </a:solidFill>
                          <a:effectLst/>
                          <a:uLnTx/>
                          <a:uFillTx/>
                          <a:latin typeface="+mn-lt"/>
                          <a:ea typeface="+mn-ea"/>
                          <a:cs typeface="+mn-cs"/>
                        </a:rPr>
                        <a:t>to support 4-market rollout</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Transition from incumbent pricing provider as new markets go-live with new pricing platform</a:t>
                      </a:r>
                    </a:p>
                  </a:txBody>
                  <a:tcPr marT="9144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Scale pricing platform to remaining markets </a:t>
                      </a:r>
                    </a:p>
                    <a:p>
                      <a:pPr marL="171450" marR="0" lvl="0" indent="-171450"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mproved model performance through enriched data (competitive, customer etc.)</a:t>
                      </a:r>
                    </a:p>
                    <a:p>
                      <a:pPr marL="171450" marR="0" lvl="0" indent="-171450"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Extend modeling analytics to include digital channels</a:t>
                      </a:r>
                    </a:p>
                    <a:p>
                      <a:pPr marL="171450" marR="0" lvl="0" indent="-171450"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mprove pricing portal to address wider range of use cases, enable mobile interface</a:t>
                      </a:r>
                    </a:p>
                    <a:p>
                      <a:pPr marL="171450" marR="0" lvl="0" indent="-171450"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Scale scenario analytics and optimization to  all franchisee and company-owned stores</a:t>
                      </a:r>
                    </a:p>
                    <a:p>
                      <a:pPr marL="171450" marR="0" lvl="0" indent="-171450"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Scale pricing innovation labs to enable continuous pricing and pricing best practice across regions</a:t>
                      </a:r>
                    </a:p>
                    <a:p>
                      <a:pPr marL="171450" marR="0" lvl="0" indent="-171450" algn="l" defTabSz="914400" rtl="0" eaLnBrk="1" fontAlgn="auto" latinLnBrk="0" hangingPunct="1">
                        <a:lnSpc>
                          <a:spcPct val="100000"/>
                        </a:lnSpc>
                        <a:spcBef>
                          <a:spcPts val="0"/>
                        </a:spcBef>
                        <a:spcAft>
                          <a:spcPts val="600"/>
                        </a:spcAft>
                        <a:buClrTx/>
                        <a:buSzTx/>
                        <a:buFont typeface="Arial"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Complete transition from incumbent pricing provider</a:t>
                      </a:r>
                    </a:p>
                  </a:txBody>
                  <a:tcPr marT="9144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40867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rPr>
                        <a:t>Outcome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latin typeface="+mn-lt"/>
                        </a:rPr>
                        <a:t>Establish what good looks like, measurable performance improvement over current state</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latin typeface="+mn-lt"/>
                        </a:rPr>
                        <a:t>Drive margin growth in key markets, build franchisee trust, and develop pricing infrastructure for delivery and support</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latin typeface="+mn-lt"/>
                        </a:rPr>
                        <a:t>Embed the capability and design for long-term sustainability; refine analytics performance; enhance delivery platforms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100757507"/>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C11BE65-B13A-4390-B044-C47721FE07D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284" name="think-cell Slide" r:id="rId6" imgW="415" imgH="416" progId="TCLayout.ActiveDocument.1">
                  <p:embed/>
                </p:oleObj>
              </mc:Choice>
              <mc:Fallback>
                <p:oleObj name="think-cell Slide" r:id="rId6" imgW="415" imgH="416" progId="TCLayout.ActiveDocument.1">
                  <p:embed/>
                  <p:pic>
                    <p:nvPicPr>
                      <p:cNvPr id="6" name="Object 5" hidden="1">
                        <a:extLst>
                          <a:ext uri="{FF2B5EF4-FFF2-40B4-BE49-F238E27FC236}">
                            <a16:creationId xmlns:a16="http://schemas.microsoft.com/office/drawing/2014/main" id="{8C11BE65-B13A-4390-B044-C47721FE07D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174FD6B-5490-425B-A43D-B73878FFBCA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82ECE625-A4EB-46CB-AA71-F15EC5C3BFE0}"/>
              </a:ext>
            </a:extLst>
          </p:cNvPr>
          <p:cNvSpPr>
            <a:spLocks noGrp="1"/>
          </p:cNvSpPr>
          <p:nvPr>
            <p:ph type="title"/>
          </p:nvPr>
        </p:nvSpPr>
        <p:spPr/>
        <p:txBody>
          <a:bodyPr/>
          <a:lstStyle/>
          <a:p>
            <a:r>
              <a:rPr lang="en-US" dirty="0"/>
              <a:t>Our approach is grounded in consumer insights</a:t>
            </a:r>
          </a:p>
        </p:txBody>
      </p:sp>
      <p:sp>
        <p:nvSpPr>
          <p:cNvPr id="3" name="Text Placeholder 2">
            <a:extLst>
              <a:ext uri="{FF2B5EF4-FFF2-40B4-BE49-F238E27FC236}">
                <a16:creationId xmlns:a16="http://schemas.microsoft.com/office/drawing/2014/main" id="{BC443CB9-B1B7-4F63-A173-CABE558B5E18}"/>
              </a:ext>
            </a:extLst>
          </p:cNvPr>
          <p:cNvSpPr>
            <a:spLocks noGrp="1"/>
          </p:cNvSpPr>
          <p:nvPr>
            <p:ph type="body" sz="quarter" idx="14"/>
          </p:nvPr>
        </p:nvSpPr>
        <p:spPr/>
        <p:txBody>
          <a:bodyPr/>
          <a:lstStyle/>
          <a:p>
            <a:r>
              <a:rPr lang="en-US" dirty="0">
                <a:solidFill>
                  <a:srgbClr val="000000"/>
                </a:solidFill>
              </a:rPr>
              <a:t>Leveraging extensive research already conducted and employing a comprehensive proven approach enables us to design a truly unrivaled consumer experience</a:t>
            </a:r>
          </a:p>
        </p:txBody>
      </p:sp>
      <p:sp>
        <p:nvSpPr>
          <p:cNvPr id="4" name="Text Placeholder 3">
            <a:extLst>
              <a:ext uri="{FF2B5EF4-FFF2-40B4-BE49-F238E27FC236}">
                <a16:creationId xmlns:a16="http://schemas.microsoft.com/office/drawing/2014/main" id="{F24ECC8D-79F7-4961-B820-F17C17719575}"/>
              </a:ext>
            </a:extLst>
          </p:cNvPr>
          <p:cNvSpPr>
            <a:spLocks noGrp="1"/>
          </p:cNvSpPr>
          <p:nvPr>
            <p:ph type="body" sz="quarter" idx="15"/>
          </p:nvPr>
        </p:nvSpPr>
        <p:spPr/>
        <p:txBody>
          <a:bodyPr/>
          <a:lstStyle/>
          <a:p>
            <a:r>
              <a:rPr lang="en-US" dirty="0"/>
              <a:t>Plans, timelines and roadmaps</a:t>
            </a:r>
          </a:p>
        </p:txBody>
      </p:sp>
      <p:sp>
        <p:nvSpPr>
          <p:cNvPr id="7" name="Rectangle 6">
            <a:extLst>
              <a:ext uri="{FF2B5EF4-FFF2-40B4-BE49-F238E27FC236}">
                <a16:creationId xmlns:a16="http://schemas.microsoft.com/office/drawing/2014/main" id="{026757B8-6DD3-42B1-850C-C7FC0135DBFE}"/>
              </a:ext>
            </a:extLst>
          </p:cNvPr>
          <p:cNvSpPr/>
          <p:nvPr/>
        </p:nvSpPr>
        <p:spPr>
          <a:xfrm>
            <a:off x="1196135" y="2101173"/>
            <a:ext cx="8419882" cy="399040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8" name="TextBox 7">
            <a:extLst>
              <a:ext uri="{FF2B5EF4-FFF2-40B4-BE49-F238E27FC236}">
                <a16:creationId xmlns:a16="http://schemas.microsoft.com/office/drawing/2014/main" id="{CCAECC51-EB11-4021-A77A-A9ADAC73558F}"/>
              </a:ext>
            </a:extLst>
          </p:cNvPr>
          <p:cNvSpPr txBox="1"/>
          <p:nvPr/>
        </p:nvSpPr>
        <p:spPr>
          <a:xfrm>
            <a:off x="1196696" y="1922770"/>
            <a:ext cx="3442877"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all" spc="0" normalizeH="0" baseline="0" noProof="0" dirty="0">
                <a:ln>
                  <a:noFill/>
                </a:ln>
                <a:solidFill>
                  <a:srgbClr val="86F200"/>
                </a:solidFill>
                <a:effectLst/>
                <a:uLnTx/>
                <a:uFillTx/>
                <a:latin typeface="Open Sans"/>
                <a:ea typeface="+mn-ea"/>
                <a:cs typeface="Frutiger Next Pro Medium"/>
              </a:rPr>
              <a:t>Phase I: Proposed Approach</a:t>
            </a:r>
          </a:p>
        </p:txBody>
      </p:sp>
      <p:grpSp>
        <p:nvGrpSpPr>
          <p:cNvPr id="9" name="Group 8">
            <a:extLst>
              <a:ext uri="{FF2B5EF4-FFF2-40B4-BE49-F238E27FC236}">
                <a16:creationId xmlns:a16="http://schemas.microsoft.com/office/drawing/2014/main" id="{4BF604E0-F408-406C-AA60-69D5B8C4F573}"/>
              </a:ext>
            </a:extLst>
          </p:cNvPr>
          <p:cNvGrpSpPr/>
          <p:nvPr/>
        </p:nvGrpSpPr>
        <p:grpSpPr>
          <a:xfrm>
            <a:off x="553204" y="2878857"/>
            <a:ext cx="11029196" cy="301374"/>
            <a:chOff x="565882" y="2723262"/>
            <a:chExt cx="11029196" cy="301374"/>
          </a:xfrm>
        </p:grpSpPr>
        <p:grpSp>
          <p:nvGrpSpPr>
            <p:cNvPr id="10" name="Group 9">
              <a:extLst>
                <a:ext uri="{FF2B5EF4-FFF2-40B4-BE49-F238E27FC236}">
                  <a16:creationId xmlns:a16="http://schemas.microsoft.com/office/drawing/2014/main" id="{1FB1192C-9989-4A1A-9D2A-15521BC73800}"/>
                </a:ext>
              </a:extLst>
            </p:cNvPr>
            <p:cNvGrpSpPr/>
            <p:nvPr/>
          </p:nvGrpSpPr>
          <p:grpSpPr>
            <a:xfrm>
              <a:off x="762885" y="2801054"/>
              <a:ext cx="10590916" cy="145790"/>
              <a:chOff x="353223" y="3746924"/>
              <a:chExt cx="11704320" cy="152400"/>
            </a:xfrm>
          </p:grpSpPr>
          <p:cxnSp>
            <p:nvCxnSpPr>
              <p:cNvPr id="13" name="Straight Connector 12">
                <a:extLst>
                  <a:ext uri="{FF2B5EF4-FFF2-40B4-BE49-F238E27FC236}">
                    <a16:creationId xmlns:a16="http://schemas.microsoft.com/office/drawing/2014/main" id="{2501E846-4069-4006-98D9-C0F72A0754C8}"/>
                  </a:ext>
                </a:extLst>
              </p:cNvPr>
              <p:cNvCxnSpPr/>
              <p:nvPr/>
            </p:nvCxnSpPr>
            <p:spPr>
              <a:xfrm>
                <a:off x="353223" y="3746924"/>
                <a:ext cx="11704320" cy="0"/>
              </a:xfrm>
              <a:prstGeom prst="line">
                <a:avLst/>
              </a:prstGeom>
              <a:noFill/>
              <a:ln w="38100" cap="flat" cmpd="sng" algn="ctr">
                <a:solidFill>
                  <a:schemeClr val="accent1"/>
                </a:solidFill>
                <a:prstDash val="solid"/>
                <a:miter lim="800000"/>
              </a:ln>
              <a:effectLst/>
            </p:spPr>
          </p:cxnSp>
          <p:cxnSp>
            <p:nvCxnSpPr>
              <p:cNvPr id="14" name="Straight Connector 13">
                <a:extLst>
                  <a:ext uri="{FF2B5EF4-FFF2-40B4-BE49-F238E27FC236}">
                    <a16:creationId xmlns:a16="http://schemas.microsoft.com/office/drawing/2014/main" id="{6A6C61DA-7DC3-4570-BEE2-FA0828B4EF2D}"/>
                  </a:ext>
                </a:extLst>
              </p:cNvPr>
              <p:cNvCxnSpPr/>
              <p:nvPr/>
            </p:nvCxnSpPr>
            <p:spPr>
              <a:xfrm>
                <a:off x="353223" y="3899324"/>
                <a:ext cx="11704320" cy="0"/>
              </a:xfrm>
              <a:prstGeom prst="line">
                <a:avLst/>
              </a:prstGeom>
              <a:noFill/>
              <a:ln w="38100" cap="flat" cmpd="sng" algn="ctr">
                <a:solidFill>
                  <a:schemeClr val="accent2"/>
                </a:solidFill>
                <a:prstDash val="solid"/>
                <a:miter lim="800000"/>
              </a:ln>
              <a:effectLst/>
            </p:spPr>
          </p:cxnSp>
          <p:cxnSp>
            <p:nvCxnSpPr>
              <p:cNvPr id="15" name="Straight Connector 14">
                <a:extLst>
                  <a:ext uri="{FF2B5EF4-FFF2-40B4-BE49-F238E27FC236}">
                    <a16:creationId xmlns:a16="http://schemas.microsoft.com/office/drawing/2014/main" id="{FCF5C8B6-C86D-4608-A5F7-00C602F59394}"/>
                  </a:ext>
                </a:extLst>
              </p:cNvPr>
              <p:cNvCxnSpPr/>
              <p:nvPr/>
            </p:nvCxnSpPr>
            <p:spPr>
              <a:xfrm>
                <a:off x="353223" y="3823124"/>
                <a:ext cx="11704320" cy="0"/>
              </a:xfrm>
              <a:prstGeom prst="line">
                <a:avLst/>
              </a:prstGeom>
              <a:noFill/>
              <a:ln w="38100" cap="flat" cmpd="sng" algn="ctr">
                <a:solidFill>
                  <a:sysClr val="window" lastClr="FFFFFF">
                    <a:lumMod val="50000"/>
                  </a:sysClr>
                </a:solidFill>
                <a:prstDash val="solid"/>
                <a:miter lim="800000"/>
              </a:ln>
              <a:effectLst/>
            </p:spPr>
          </p:cxnSp>
        </p:grpSp>
        <p:sp>
          <p:nvSpPr>
            <p:cNvPr id="11" name="Chevron 40">
              <a:extLst>
                <a:ext uri="{FF2B5EF4-FFF2-40B4-BE49-F238E27FC236}">
                  <a16:creationId xmlns:a16="http://schemas.microsoft.com/office/drawing/2014/main" id="{E9260B96-6AC9-4F13-971D-951B55BBB75D}"/>
                </a:ext>
              </a:extLst>
            </p:cNvPr>
            <p:cNvSpPr/>
            <p:nvPr/>
          </p:nvSpPr>
          <p:spPr>
            <a:xfrm>
              <a:off x="565882" y="2723262"/>
              <a:ext cx="394004" cy="301374"/>
            </a:xfrm>
            <a:prstGeom prst="chevron">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 name="Chevron 41">
              <a:extLst>
                <a:ext uri="{FF2B5EF4-FFF2-40B4-BE49-F238E27FC236}">
                  <a16:creationId xmlns:a16="http://schemas.microsoft.com/office/drawing/2014/main" id="{B2A5E062-F786-4D24-9048-2514684F8668}"/>
                </a:ext>
              </a:extLst>
            </p:cNvPr>
            <p:cNvSpPr/>
            <p:nvPr/>
          </p:nvSpPr>
          <p:spPr>
            <a:xfrm>
              <a:off x="11213414" y="2723262"/>
              <a:ext cx="381664" cy="301374"/>
            </a:xfrm>
            <a:prstGeom prst="chevron">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6" name="Group 15">
            <a:extLst>
              <a:ext uri="{FF2B5EF4-FFF2-40B4-BE49-F238E27FC236}">
                <a16:creationId xmlns:a16="http://schemas.microsoft.com/office/drawing/2014/main" id="{5FC09C54-B406-40CE-8EA8-4B94912F0021}"/>
              </a:ext>
            </a:extLst>
          </p:cNvPr>
          <p:cNvGrpSpPr/>
          <p:nvPr/>
        </p:nvGrpSpPr>
        <p:grpSpPr>
          <a:xfrm>
            <a:off x="10248563" y="2802432"/>
            <a:ext cx="434687" cy="434687"/>
            <a:chOff x="3421152" y="2986848"/>
            <a:chExt cx="455752" cy="455752"/>
          </a:xfrm>
        </p:grpSpPr>
        <p:sp>
          <p:nvSpPr>
            <p:cNvPr id="17" name="Oval 16">
              <a:extLst>
                <a:ext uri="{FF2B5EF4-FFF2-40B4-BE49-F238E27FC236}">
                  <a16:creationId xmlns:a16="http://schemas.microsoft.com/office/drawing/2014/main" id="{0E34DBB4-05CA-403A-9EC3-7F761A4A8229}"/>
                </a:ext>
              </a:extLst>
            </p:cNvPr>
            <p:cNvSpPr/>
            <p:nvPr/>
          </p:nvSpPr>
          <p:spPr>
            <a:xfrm>
              <a:off x="3421152" y="2986848"/>
              <a:ext cx="455752" cy="455752"/>
            </a:xfrm>
            <a:prstGeom prst="ellipse">
              <a:avLst/>
            </a:prstGeom>
            <a:solidFill>
              <a:srgbClr val="FFFFFF"/>
            </a:solidFill>
            <a:ln w="19050" cap="flat" cmpd="sng" algn="ctr">
              <a:solidFill>
                <a:srgbClr val="B4B4B4"/>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Open Sans"/>
                <a:ea typeface="+mn-ea"/>
                <a:cs typeface="+mn-cs"/>
              </a:endParaRPr>
            </a:p>
          </p:txBody>
        </p:sp>
        <p:grpSp>
          <p:nvGrpSpPr>
            <p:cNvPr id="18" name="Group 17">
              <a:extLst>
                <a:ext uri="{FF2B5EF4-FFF2-40B4-BE49-F238E27FC236}">
                  <a16:creationId xmlns:a16="http://schemas.microsoft.com/office/drawing/2014/main" id="{C6892652-3AD9-47B9-BB31-3EE2B723E58E}"/>
                </a:ext>
              </a:extLst>
            </p:cNvPr>
            <p:cNvGrpSpPr>
              <a:grpSpLocks noChangeAspect="1"/>
            </p:cNvGrpSpPr>
            <p:nvPr/>
          </p:nvGrpSpPr>
          <p:grpSpPr>
            <a:xfrm>
              <a:off x="3530095" y="3093708"/>
              <a:ext cx="246725" cy="247428"/>
              <a:chOff x="12460288" y="158750"/>
              <a:chExt cx="557213" cy="558800"/>
            </a:xfrm>
            <a:solidFill>
              <a:srgbClr val="81BC00"/>
            </a:solidFill>
          </p:grpSpPr>
          <p:sp>
            <p:nvSpPr>
              <p:cNvPr id="19" name="Freeform 330">
                <a:extLst>
                  <a:ext uri="{FF2B5EF4-FFF2-40B4-BE49-F238E27FC236}">
                    <a16:creationId xmlns:a16="http://schemas.microsoft.com/office/drawing/2014/main" id="{BD3577FA-FF1E-4E9D-A58B-301F5DD726B7}"/>
                  </a:ext>
                </a:extLst>
              </p:cNvPr>
              <p:cNvSpPr>
                <a:spLocks noEditPoints="1"/>
              </p:cNvSpPr>
              <p:nvPr/>
            </p:nvSpPr>
            <p:spPr bwMode="auto">
              <a:xfrm>
                <a:off x="12460288" y="158750"/>
                <a:ext cx="557213" cy="558800"/>
              </a:xfrm>
              <a:custGeom>
                <a:avLst/>
                <a:gdLst>
                  <a:gd name="T0" fmla="*/ 229 w 229"/>
                  <a:gd name="T1" fmla="*/ 51 h 229"/>
                  <a:gd name="T2" fmla="*/ 225 w 229"/>
                  <a:gd name="T3" fmla="*/ 42 h 229"/>
                  <a:gd name="T4" fmla="*/ 188 w 229"/>
                  <a:gd name="T5" fmla="*/ 5 h 229"/>
                  <a:gd name="T6" fmla="*/ 170 w 229"/>
                  <a:gd name="T7" fmla="*/ 5 h 229"/>
                  <a:gd name="T8" fmla="*/ 30 w 229"/>
                  <a:gd name="T9" fmla="*/ 145 h 229"/>
                  <a:gd name="T10" fmla="*/ 30 w 229"/>
                  <a:gd name="T11" fmla="*/ 145 h 229"/>
                  <a:gd name="T12" fmla="*/ 30 w 229"/>
                  <a:gd name="T13" fmla="*/ 145 h 229"/>
                  <a:gd name="T14" fmla="*/ 30 w 229"/>
                  <a:gd name="T15" fmla="*/ 145 h 229"/>
                  <a:gd name="T16" fmla="*/ 27 w 229"/>
                  <a:gd name="T17" fmla="*/ 149 h 229"/>
                  <a:gd name="T18" fmla="*/ 2 w 229"/>
                  <a:gd name="T19" fmla="*/ 213 h 229"/>
                  <a:gd name="T20" fmla="*/ 4 w 229"/>
                  <a:gd name="T21" fmla="*/ 226 h 229"/>
                  <a:gd name="T22" fmla="*/ 13 w 229"/>
                  <a:gd name="T23" fmla="*/ 229 h 229"/>
                  <a:gd name="T24" fmla="*/ 13 w 229"/>
                  <a:gd name="T25" fmla="*/ 229 h 229"/>
                  <a:gd name="T26" fmla="*/ 17 w 229"/>
                  <a:gd name="T27" fmla="*/ 228 h 229"/>
                  <a:gd name="T28" fmla="*/ 81 w 229"/>
                  <a:gd name="T29" fmla="*/ 203 h 229"/>
                  <a:gd name="T30" fmla="*/ 85 w 229"/>
                  <a:gd name="T31" fmla="*/ 200 h 229"/>
                  <a:gd name="T32" fmla="*/ 225 w 229"/>
                  <a:gd name="T33" fmla="*/ 60 h 229"/>
                  <a:gd name="T34" fmla="*/ 229 w 229"/>
                  <a:gd name="T35" fmla="*/ 51 h 229"/>
                  <a:gd name="T36" fmla="*/ 34 w 229"/>
                  <a:gd name="T37" fmla="*/ 156 h 229"/>
                  <a:gd name="T38" fmla="*/ 74 w 229"/>
                  <a:gd name="T39" fmla="*/ 196 h 229"/>
                  <a:gd name="T40" fmla="*/ 28 w 229"/>
                  <a:gd name="T41" fmla="*/ 214 h 229"/>
                  <a:gd name="T42" fmla="*/ 16 w 229"/>
                  <a:gd name="T43" fmla="*/ 202 h 229"/>
                  <a:gd name="T44" fmla="*/ 34 w 229"/>
                  <a:gd name="T45" fmla="*/ 156 h 229"/>
                  <a:gd name="T46" fmla="*/ 219 w 229"/>
                  <a:gd name="T47" fmla="*/ 53 h 229"/>
                  <a:gd name="T48" fmla="*/ 81 w 229"/>
                  <a:gd name="T49" fmla="*/ 190 h 229"/>
                  <a:gd name="T50" fmla="*/ 70 w 229"/>
                  <a:gd name="T51" fmla="*/ 179 h 229"/>
                  <a:gd name="T52" fmla="*/ 71 w 229"/>
                  <a:gd name="T53" fmla="*/ 179 h 229"/>
                  <a:gd name="T54" fmla="*/ 193 w 229"/>
                  <a:gd name="T55" fmla="*/ 57 h 229"/>
                  <a:gd name="T56" fmla="*/ 193 w 229"/>
                  <a:gd name="T57" fmla="*/ 51 h 229"/>
                  <a:gd name="T58" fmla="*/ 186 w 229"/>
                  <a:gd name="T59" fmla="*/ 51 h 229"/>
                  <a:gd name="T60" fmla="*/ 65 w 229"/>
                  <a:gd name="T61" fmla="*/ 172 h 229"/>
                  <a:gd name="T62" fmla="*/ 64 w 229"/>
                  <a:gd name="T63" fmla="*/ 173 h 229"/>
                  <a:gd name="T64" fmla="*/ 40 w 229"/>
                  <a:gd name="T65" fmla="*/ 149 h 229"/>
                  <a:gd name="T66" fmla="*/ 177 w 229"/>
                  <a:gd name="T67" fmla="*/ 11 h 229"/>
                  <a:gd name="T68" fmla="*/ 179 w 229"/>
                  <a:gd name="T69" fmla="*/ 10 h 229"/>
                  <a:gd name="T70" fmla="*/ 181 w 229"/>
                  <a:gd name="T71" fmla="*/ 11 h 229"/>
                  <a:gd name="T72" fmla="*/ 219 w 229"/>
                  <a:gd name="T73" fmla="*/ 49 h 229"/>
                  <a:gd name="T74" fmla="*/ 220 w 229"/>
                  <a:gd name="T75" fmla="*/ 51 h 229"/>
                  <a:gd name="T76" fmla="*/ 219 w 229"/>
                  <a:gd name="T77" fmla="*/ 53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9" h="229">
                    <a:moveTo>
                      <a:pt x="229" y="51"/>
                    </a:moveTo>
                    <a:cubicBezTo>
                      <a:pt x="229" y="48"/>
                      <a:pt x="228" y="45"/>
                      <a:pt x="225" y="42"/>
                    </a:cubicBezTo>
                    <a:cubicBezTo>
                      <a:pt x="188" y="5"/>
                      <a:pt x="188" y="5"/>
                      <a:pt x="188" y="5"/>
                    </a:cubicBezTo>
                    <a:cubicBezTo>
                      <a:pt x="183" y="0"/>
                      <a:pt x="175" y="0"/>
                      <a:pt x="170" y="5"/>
                    </a:cubicBezTo>
                    <a:cubicBezTo>
                      <a:pt x="30" y="145"/>
                      <a:pt x="30" y="145"/>
                      <a:pt x="30" y="145"/>
                    </a:cubicBezTo>
                    <a:cubicBezTo>
                      <a:pt x="30" y="145"/>
                      <a:pt x="30" y="145"/>
                      <a:pt x="30" y="145"/>
                    </a:cubicBezTo>
                    <a:cubicBezTo>
                      <a:pt x="30" y="145"/>
                      <a:pt x="30" y="145"/>
                      <a:pt x="30" y="145"/>
                    </a:cubicBezTo>
                    <a:cubicBezTo>
                      <a:pt x="30" y="145"/>
                      <a:pt x="30" y="145"/>
                      <a:pt x="30" y="145"/>
                    </a:cubicBezTo>
                    <a:cubicBezTo>
                      <a:pt x="29" y="146"/>
                      <a:pt x="28" y="148"/>
                      <a:pt x="27" y="149"/>
                    </a:cubicBezTo>
                    <a:cubicBezTo>
                      <a:pt x="2" y="213"/>
                      <a:pt x="2" y="213"/>
                      <a:pt x="2" y="213"/>
                    </a:cubicBezTo>
                    <a:cubicBezTo>
                      <a:pt x="0" y="217"/>
                      <a:pt x="1" y="222"/>
                      <a:pt x="4" y="226"/>
                    </a:cubicBezTo>
                    <a:cubicBezTo>
                      <a:pt x="7" y="228"/>
                      <a:pt x="10" y="229"/>
                      <a:pt x="13" y="229"/>
                    </a:cubicBezTo>
                    <a:cubicBezTo>
                      <a:pt x="13" y="229"/>
                      <a:pt x="13" y="229"/>
                      <a:pt x="13" y="229"/>
                    </a:cubicBezTo>
                    <a:cubicBezTo>
                      <a:pt x="14" y="229"/>
                      <a:pt x="16" y="229"/>
                      <a:pt x="17" y="228"/>
                    </a:cubicBezTo>
                    <a:cubicBezTo>
                      <a:pt x="81" y="203"/>
                      <a:pt x="81" y="203"/>
                      <a:pt x="81" y="203"/>
                    </a:cubicBezTo>
                    <a:cubicBezTo>
                      <a:pt x="82" y="202"/>
                      <a:pt x="84" y="201"/>
                      <a:pt x="85" y="200"/>
                    </a:cubicBezTo>
                    <a:cubicBezTo>
                      <a:pt x="225" y="60"/>
                      <a:pt x="225" y="60"/>
                      <a:pt x="225" y="60"/>
                    </a:cubicBezTo>
                    <a:cubicBezTo>
                      <a:pt x="228" y="57"/>
                      <a:pt x="229" y="54"/>
                      <a:pt x="229" y="51"/>
                    </a:cubicBezTo>
                    <a:close/>
                    <a:moveTo>
                      <a:pt x="34" y="156"/>
                    </a:moveTo>
                    <a:cubicBezTo>
                      <a:pt x="74" y="196"/>
                      <a:pt x="74" y="196"/>
                      <a:pt x="74" y="196"/>
                    </a:cubicBezTo>
                    <a:cubicBezTo>
                      <a:pt x="28" y="214"/>
                      <a:pt x="28" y="214"/>
                      <a:pt x="28" y="214"/>
                    </a:cubicBezTo>
                    <a:cubicBezTo>
                      <a:pt x="16" y="202"/>
                      <a:pt x="16" y="202"/>
                      <a:pt x="16" y="202"/>
                    </a:cubicBezTo>
                    <a:lnTo>
                      <a:pt x="34" y="156"/>
                    </a:lnTo>
                    <a:close/>
                    <a:moveTo>
                      <a:pt x="219" y="53"/>
                    </a:moveTo>
                    <a:cubicBezTo>
                      <a:pt x="81" y="190"/>
                      <a:pt x="81" y="190"/>
                      <a:pt x="81" y="190"/>
                    </a:cubicBezTo>
                    <a:cubicBezTo>
                      <a:pt x="70" y="179"/>
                      <a:pt x="70" y="179"/>
                      <a:pt x="70" y="179"/>
                    </a:cubicBezTo>
                    <a:cubicBezTo>
                      <a:pt x="71" y="179"/>
                      <a:pt x="71" y="179"/>
                      <a:pt x="71" y="179"/>
                    </a:cubicBezTo>
                    <a:cubicBezTo>
                      <a:pt x="193" y="57"/>
                      <a:pt x="193" y="57"/>
                      <a:pt x="193" y="57"/>
                    </a:cubicBezTo>
                    <a:cubicBezTo>
                      <a:pt x="195" y="55"/>
                      <a:pt x="195" y="52"/>
                      <a:pt x="193" y="51"/>
                    </a:cubicBezTo>
                    <a:cubicBezTo>
                      <a:pt x="191" y="49"/>
                      <a:pt x="188" y="49"/>
                      <a:pt x="186" y="51"/>
                    </a:cubicBezTo>
                    <a:cubicBezTo>
                      <a:pt x="65" y="172"/>
                      <a:pt x="65" y="172"/>
                      <a:pt x="65" y="172"/>
                    </a:cubicBezTo>
                    <a:cubicBezTo>
                      <a:pt x="65" y="172"/>
                      <a:pt x="64" y="173"/>
                      <a:pt x="64" y="173"/>
                    </a:cubicBezTo>
                    <a:cubicBezTo>
                      <a:pt x="40" y="149"/>
                      <a:pt x="40" y="149"/>
                      <a:pt x="40" y="149"/>
                    </a:cubicBezTo>
                    <a:cubicBezTo>
                      <a:pt x="177" y="11"/>
                      <a:pt x="177" y="11"/>
                      <a:pt x="177" y="11"/>
                    </a:cubicBezTo>
                    <a:cubicBezTo>
                      <a:pt x="178" y="11"/>
                      <a:pt x="178" y="10"/>
                      <a:pt x="179" y="10"/>
                    </a:cubicBezTo>
                    <a:cubicBezTo>
                      <a:pt x="180" y="10"/>
                      <a:pt x="180" y="11"/>
                      <a:pt x="181" y="11"/>
                    </a:cubicBezTo>
                    <a:cubicBezTo>
                      <a:pt x="219" y="49"/>
                      <a:pt x="219" y="49"/>
                      <a:pt x="219" y="49"/>
                    </a:cubicBezTo>
                    <a:cubicBezTo>
                      <a:pt x="219" y="50"/>
                      <a:pt x="220" y="50"/>
                      <a:pt x="220" y="51"/>
                    </a:cubicBezTo>
                    <a:cubicBezTo>
                      <a:pt x="220" y="52"/>
                      <a:pt x="219" y="52"/>
                      <a:pt x="219" y="53"/>
                    </a:cubicBezTo>
                    <a:close/>
                  </a:path>
                </a:pathLst>
              </a:custGeom>
              <a:solidFill>
                <a:srgbClr val="5C5C5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20" name="Freeform 331">
                <a:extLst>
                  <a:ext uri="{FF2B5EF4-FFF2-40B4-BE49-F238E27FC236}">
                    <a16:creationId xmlns:a16="http://schemas.microsoft.com/office/drawing/2014/main" id="{44B5100B-9A9E-4AB9-9C7C-E4D3A46B3F6E}"/>
                  </a:ext>
                </a:extLst>
              </p:cNvPr>
              <p:cNvSpPr>
                <a:spLocks/>
              </p:cNvSpPr>
              <p:nvPr/>
            </p:nvSpPr>
            <p:spPr bwMode="auto">
              <a:xfrm>
                <a:off x="12465050" y="161925"/>
                <a:ext cx="273050" cy="273050"/>
              </a:xfrm>
              <a:custGeom>
                <a:avLst/>
                <a:gdLst>
                  <a:gd name="T0" fmla="*/ 46 w 112"/>
                  <a:gd name="T1" fmla="*/ 111 h 112"/>
                  <a:gd name="T2" fmla="*/ 49 w 112"/>
                  <a:gd name="T3" fmla="*/ 112 h 112"/>
                  <a:gd name="T4" fmla="*/ 52 w 112"/>
                  <a:gd name="T5" fmla="*/ 111 h 112"/>
                  <a:gd name="T6" fmla="*/ 52 w 112"/>
                  <a:gd name="T7" fmla="*/ 104 h 112"/>
                  <a:gd name="T8" fmla="*/ 51 w 112"/>
                  <a:gd name="T9" fmla="*/ 103 h 112"/>
                  <a:gd name="T10" fmla="*/ 65 w 112"/>
                  <a:gd name="T11" fmla="*/ 88 h 112"/>
                  <a:gd name="T12" fmla="*/ 65 w 112"/>
                  <a:gd name="T13" fmla="*/ 82 h 112"/>
                  <a:gd name="T14" fmla="*/ 58 w 112"/>
                  <a:gd name="T15" fmla="*/ 82 h 112"/>
                  <a:gd name="T16" fmla="*/ 44 w 112"/>
                  <a:gd name="T17" fmla="*/ 96 h 112"/>
                  <a:gd name="T18" fmla="*/ 31 w 112"/>
                  <a:gd name="T19" fmla="*/ 83 h 112"/>
                  <a:gd name="T20" fmla="*/ 61 w 112"/>
                  <a:gd name="T21" fmla="*/ 53 h 112"/>
                  <a:gd name="T22" fmla="*/ 61 w 112"/>
                  <a:gd name="T23" fmla="*/ 46 h 112"/>
                  <a:gd name="T24" fmla="*/ 54 w 112"/>
                  <a:gd name="T25" fmla="*/ 46 h 112"/>
                  <a:gd name="T26" fmla="*/ 24 w 112"/>
                  <a:gd name="T27" fmla="*/ 76 h 112"/>
                  <a:gd name="T28" fmla="*/ 10 w 112"/>
                  <a:gd name="T29" fmla="*/ 62 h 112"/>
                  <a:gd name="T30" fmla="*/ 10 w 112"/>
                  <a:gd name="T31" fmla="*/ 61 h 112"/>
                  <a:gd name="T32" fmla="*/ 10 w 112"/>
                  <a:gd name="T33" fmla="*/ 59 h 112"/>
                  <a:gd name="T34" fmla="*/ 58 w 112"/>
                  <a:gd name="T35" fmla="*/ 11 h 112"/>
                  <a:gd name="T36" fmla="*/ 61 w 112"/>
                  <a:gd name="T37" fmla="*/ 11 h 112"/>
                  <a:gd name="T38" fmla="*/ 103 w 112"/>
                  <a:gd name="T39" fmla="*/ 54 h 112"/>
                  <a:gd name="T40" fmla="*/ 110 w 112"/>
                  <a:gd name="T41" fmla="*/ 54 h 112"/>
                  <a:gd name="T42" fmla="*/ 110 w 112"/>
                  <a:gd name="T43" fmla="*/ 47 h 112"/>
                  <a:gd name="T44" fmla="*/ 68 w 112"/>
                  <a:gd name="T45" fmla="*/ 5 h 112"/>
                  <a:gd name="T46" fmla="*/ 51 w 112"/>
                  <a:gd name="T47" fmla="*/ 5 h 112"/>
                  <a:gd name="T48" fmla="*/ 4 w 112"/>
                  <a:gd name="T49" fmla="*/ 52 h 112"/>
                  <a:gd name="T50" fmla="*/ 0 w 112"/>
                  <a:gd name="T51" fmla="*/ 61 h 112"/>
                  <a:gd name="T52" fmla="*/ 4 w 112"/>
                  <a:gd name="T53" fmla="*/ 69 h 112"/>
                  <a:gd name="T54" fmla="*/ 46 w 112"/>
                  <a:gd name="T55"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2" h="112">
                    <a:moveTo>
                      <a:pt x="46" y="111"/>
                    </a:moveTo>
                    <a:cubicBezTo>
                      <a:pt x="47" y="112"/>
                      <a:pt x="48" y="112"/>
                      <a:pt x="49" y="112"/>
                    </a:cubicBezTo>
                    <a:cubicBezTo>
                      <a:pt x="50" y="112"/>
                      <a:pt x="52" y="112"/>
                      <a:pt x="52" y="111"/>
                    </a:cubicBezTo>
                    <a:cubicBezTo>
                      <a:pt x="54" y="109"/>
                      <a:pt x="54" y="106"/>
                      <a:pt x="52" y="104"/>
                    </a:cubicBezTo>
                    <a:cubicBezTo>
                      <a:pt x="51" y="103"/>
                      <a:pt x="51" y="103"/>
                      <a:pt x="51" y="103"/>
                    </a:cubicBezTo>
                    <a:cubicBezTo>
                      <a:pt x="65" y="88"/>
                      <a:pt x="65" y="88"/>
                      <a:pt x="65" y="88"/>
                    </a:cubicBezTo>
                    <a:cubicBezTo>
                      <a:pt x="66" y="87"/>
                      <a:pt x="66" y="84"/>
                      <a:pt x="65" y="82"/>
                    </a:cubicBezTo>
                    <a:cubicBezTo>
                      <a:pt x="63" y="80"/>
                      <a:pt x="60" y="80"/>
                      <a:pt x="58" y="82"/>
                    </a:cubicBezTo>
                    <a:cubicBezTo>
                      <a:pt x="44" y="96"/>
                      <a:pt x="44" y="96"/>
                      <a:pt x="44" y="96"/>
                    </a:cubicBezTo>
                    <a:cubicBezTo>
                      <a:pt x="31" y="83"/>
                      <a:pt x="31" y="83"/>
                      <a:pt x="31" y="83"/>
                    </a:cubicBezTo>
                    <a:cubicBezTo>
                      <a:pt x="61" y="53"/>
                      <a:pt x="61" y="53"/>
                      <a:pt x="61" y="53"/>
                    </a:cubicBezTo>
                    <a:cubicBezTo>
                      <a:pt x="63" y="51"/>
                      <a:pt x="63" y="48"/>
                      <a:pt x="61" y="46"/>
                    </a:cubicBezTo>
                    <a:cubicBezTo>
                      <a:pt x="59" y="44"/>
                      <a:pt x="56" y="44"/>
                      <a:pt x="54" y="46"/>
                    </a:cubicBezTo>
                    <a:cubicBezTo>
                      <a:pt x="24" y="76"/>
                      <a:pt x="24" y="76"/>
                      <a:pt x="24" y="76"/>
                    </a:cubicBezTo>
                    <a:cubicBezTo>
                      <a:pt x="10" y="62"/>
                      <a:pt x="10" y="62"/>
                      <a:pt x="10" y="62"/>
                    </a:cubicBezTo>
                    <a:cubicBezTo>
                      <a:pt x="10" y="62"/>
                      <a:pt x="10" y="61"/>
                      <a:pt x="10" y="61"/>
                    </a:cubicBezTo>
                    <a:cubicBezTo>
                      <a:pt x="10" y="60"/>
                      <a:pt x="10" y="60"/>
                      <a:pt x="10" y="59"/>
                    </a:cubicBezTo>
                    <a:cubicBezTo>
                      <a:pt x="58" y="11"/>
                      <a:pt x="58" y="11"/>
                      <a:pt x="58" y="11"/>
                    </a:cubicBezTo>
                    <a:cubicBezTo>
                      <a:pt x="58" y="11"/>
                      <a:pt x="60" y="11"/>
                      <a:pt x="61" y="11"/>
                    </a:cubicBezTo>
                    <a:cubicBezTo>
                      <a:pt x="103" y="54"/>
                      <a:pt x="103" y="54"/>
                      <a:pt x="103" y="54"/>
                    </a:cubicBezTo>
                    <a:cubicBezTo>
                      <a:pt x="105" y="56"/>
                      <a:pt x="108" y="56"/>
                      <a:pt x="110" y="54"/>
                    </a:cubicBezTo>
                    <a:cubicBezTo>
                      <a:pt x="112" y="52"/>
                      <a:pt x="112" y="49"/>
                      <a:pt x="110" y="47"/>
                    </a:cubicBezTo>
                    <a:cubicBezTo>
                      <a:pt x="68" y="5"/>
                      <a:pt x="68" y="5"/>
                      <a:pt x="68" y="5"/>
                    </a:cubicBezTo>
                    <a:cubicBezTo>
                      <a:pt x="63" y="0"/>
                      <a:pt x="56" y="0"/>
                      <a:pt x="51" y="5"/>
                    </a:cubicBezTo>
                    <a:cubicBezTo>
                      <a:pt x="4" y="52"/>
                      <a:pt x="4" y="52"/>
                      <a:pt x="4" y="52"/>
                    </a:cubicBezTo>
                    <a:cubicBezTo>
                      <a:pt x="1" y="55"/>
                      <a:pt x="0" y="57"/>
                      <a:pt x="0" y="61"/>
                    </a:cubicBezTo>
                    <a:cubicBezTo>
                      <a:pt x="0" y="64"/>
                      <a:pt x="1" y="67"/>
                      <a:pt x="4" y="69"/>
                    </a:cubicBezTo>
                    <a:lnTo>
                      <a:pt x="46" y="111"/>
                    </a:lnTo>
                    <a:close/>
                  </a:path>
                </a:pathLst>
              </a:custGeom>
              <a:solidFill>
                <a:srgbClr val="5C5C5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21" name="Freeform 332">
                <a:extLst>
                  <a:ext uri="{FF2B5EF4-FFF2-40B4-BE49-F238E27FC236}">
                    <a16:creationId xmlns:a16="http://schemas.microsoft.com/office/drawing/2014/main" id="{6162D6A7-313C-4477-B94A-03FC2AF2ED11}"/>
                  </a:ext>
                </a:extLst>
              </p:cNvPr>
              <p:cNvSpPr>
                <a:spLocks/>
              </p:cNvSpPr>
              <p:nvPr/>
            </p:nvSpPr>
            <p:spPr bwMode="auto">
              <a:xfrm>
                <a:off x="12744450" y="444500"/>
                <a:ext cx="273050" cy="269875"/>
              </a:xfrm>
              <a:custGeom>
                <a:avLst/>
                <a:gdLst>
                  <a:gd name="T0" fmla="*/ 65 w 112"/>
                  <a:gd name="T1" fmla="*/ 2 h 111"/>
                  <a:gd name="T2" fmla="*/ 59 w 112"/>
                  <a:gd name="T3" fmla="*/ 2 h 111"/>
                  <a:gd name="T4" fmla="*/ 59 w 112"/>
                  <a:gd name="T5" fmla="*/ 8 h 111"/>
                  <a:gd name="T6" fmla="*/ 100 w 112"/>
                  <a:gd name="T7" fmla="*/ 50 h 111"/>
                  <a:gd name="T8" fmla="*/ 100 w 112"/>
                  <a:gd name="T9" fmla="*/ 53 h 111"/>
                  <a:gd name="T10" fmla="*/ 53 w 112"/>
                  <a:gd name="T11" fmla="*/ 101 h 111"/>
                  <a:gd name="T12" fmla="*/ 50 w 112"/>
                  <a:gd name="T13" fmla="*/ 101 h 111"/>
                  <a:gd name="T14" fmla="*/ 34 w 112"/>
                  <a:gd name="T15" fmla="*/ 85 h 111"/>
                  <a:gd name="T16" fmla="*/ 64 w 112"/>
                  <a:gd name="T17" fmla="*/ 55 h 111"/>
                  <a:gd name="T18" fmla="*/ 64 w 112"/>
                  <a:gd name="T19" fmla="*/ 49 h 111"/>
                  <a:gd name="T20" fmla="*/ 58 w 112"/>
                  <a:gd name="T21" fmla="*/ 49 h 111"/>
                  <a:gd name="T22" fmla="*/ 28 w 112"/>
                  <a:gd name="T23" fmla="*/ 79 h 111"/>
                  <a:gd name="T24" fmla="*/ 15 w 112"/>
                  <a:gd name="T25" fmla="*/ 65 h 111"/>
                  <a:gd name="T26" fmla="*/ 29 w 112"/>
                  <a:gd name="T27" fmla="*/ 51 h 111"/>
                  <a:gd name="T28" fmla="*/ 29 w 112"/>
                  <a:gd name="T29" fmla="*/ 45 h 111"/>
                  <a:gd name="T30" fmla="*/ 22 w 112"/>
                  <a:gd name="T31" fmla="*/ 45 h 111"/>
                  <a:gd name="T32" fmla="*/ 8 w 112"/>
                  <a:gd name="T33" fmla="*/ 59 h 111"/>
                  <a:gd name="T34" fmla="*/ 8 w 112"/>
                  <a:gd name="T35" fmla="*/ 59 h 111"/>
                  <a:gd name="T36" fmla="*/ 2 w 112"/>
                  <a:gd name="T37" fmla="*/ 60 h 111"/>
                  <a:gd name="T38" fmla="*/ 2 w 112"/>
                  <a:gd name="T39" fmla="*/ 66 h 111"/>
                  <a:gd name="T40" fmla="*/ 26 w 112"/>
                  <a:gd name="T41" fmla="*/ 90 h 111"/>
                  <a:gd name="T42" fmla="*/ 26 w 112"/>
                  <a:gd name="T43" fmla="*/ 90 h 111"/>
                  <a:gd name="T44" fmla="*/ 43 w 112"/>
                  <a:gd name="T45" fmla="*/ 107 h 111"/>
                  <a:gd name="T46" fmla="*/ 51 w 112"/>
                  <a:gd name="T47" fmla="*/ 111 h 111"/>
                  <a:gd name="T48" fmla="*/ 60 w 112"/>
                  <a:gd name="T49" fmla="*/ 107 h 111"/>
                  <a:gd name="T50" fmla="*/ 107 w 112"/>
                  <a:gd name="T51" fmla="*/ 60 h 111"/>
                  <a:gd name="T52" fmla="*/ 107 w 112"/>
                  <a:gd name="T53" fmla="*/ 43 h 111"/>
                  <a:gd name="T54" fmla="*/ 65 w 112"/>
                  <a:gd name="T55" fmla="*/ 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2" h="111">
                    <a:moveTo>
                      <a:pt x="65" y="2"/>
                    </a:moveTo>
                    <a:cubicBezTo>
                      <a:pt x="64" y="0"/>
                      <a:pt x="61" y="0"/>
                      <a:pt x="59" y="2"/>
                    </a:cubicBezTo>
                    <a:cubicBezTo>
                      <a:pt x="57" y="4"/>
                      <a:pt x="57" y="7"/>
                      <a:pt x="59" y="8"/>
                    </a:cubicBezTo>
                    <a:cubicBezTo>
                      <a:pt x="100" y="50"/>
                      <a:pt x="100" y="50"/>
                      <a:pt x="100" y="50"/>
                    </a:cubicBezTo>
                    <a:cubicBezTo>
                      <a:pt x="101" y="51"/>
                      <a:pt x="101" y="52"/>
                      <a:pt x="100" y="53"/>
                    </a:cubicBezTo>
                    <a:cubicBezTo>
                      <a:pt x="53" y="101"/>
                      <a:pt x="53" y="101"/>
                      <a:pt x="53" y="101"/>
                    </a:cubicBezTo>
                    <a:cubicBezTo>
                      <a:pt x="52" y="102"/>
                      <a:pt x="51" y="102"/>
                      <a:pt x="50" y="101"/>
                    </a:cubicBezTo>
                    <a:cubicBezTo>
                      <a:pt x="34" y="85"/>
                      <a:pt x="34" y="85"/>
                      <a:pt x="34" y="85"/>
                    </a:cubicBezTo>
                    <a:cubicBezTo>
                      <a:pt x="64" y="55"/>
                      <a:pt x="64" y="55"/>
                      <a:pt x="64" y="55"/>
                    </a:cubicBezTo>
                    <a:cubicBezTo>
                      <a:pt x="66" y="54"/>
                      <a:pt x="66" y="51"/>
                      <a:pt x="64" y="49"/>
                    </a:cubicBezTo>
                    <a:cubicBezTo>
                      <a:pt x="62" y="47"/>
                      <a:pt x="59" y="47"/>
                      <a:pt x="58" y="49"/>
                    </a:cubicBezTo>
                    <a:cubicBezTo>
                      <a:pt x="28" y="79"/>
                      <a:pt x="28" y="79"/>
                      <a:pt x="28" y="79"/>
                    </a:cubicBezTo>
                    <a:cubicBezTo>
                      <a:pt x="15" y="65"/>
                      <a:pt x="15" y="65"/>
                      <a:pt x="15" y="65"/>
                    </a:cubicBezTo>
                    <a:cubicBezTo>
                      <a:pt x="29" y="51"/>
                      <a:pt x="29" y="51"/>
                      <a:pt x="29" y="51"/>
                    </a:cubicBezTo>
                    <a:cubicBezTo>
                      <a:pt x="30" y="50"/>
                      <a:pt x="30" y="47"/>
                      <a:pt x="29" y="45"/>
                    </a:cubicBezTo>
                    <a:cubicBezTo>
                      <a:pt x="27" y="43"/>
                      <a:pt x="24" y="43"/>
                      <a:pt x="22" y="45"/>
                    </a:cubicBezTo>
                    <a:cubicBezTo>
                      <a:pt x="8" y="59"/>
                      <a:pt x="8" y="59"/>
                      <a:pt x="8" y="59"/>
                    </a:cubicBezTo>
                    <a:cubicBezTo>
                      <a:pt x="8" y="59"/>
                      <a:pt x="8" y="59"/>
                      <a:pt x="8" y="59"/>
                    </a:cubicBezTo>
                    <a:cubicBezTo>
                      <a:pt x="6" y="58"/>
                      <a:pt x="4" y="58"/>
                      <a:pt x="2" y="60"/>
                    </a:cubicBezTo>
                    <a:cubicBezTo>
                      <a:pt x="0" y="61"/>
                      <a:pt x="0" y="64"/>
                      <a:pt x="2" y="66"/>
                    </a:cubicBezTo>
                    <a:cubicBezTo>
                      <a:pt x="26" y="90"/>
                      <a:pt x="26" y="90"/>
                      <a:pt x="26" y="90"/>
                    </a:cubicBezTo>
                    <a:cubicBezTo>
                      <a:pt x="26" y="90"/>
                      <a:pt x="26" y="90"/>
                      <a:pt x="26" y="90"/>
                    </a:cubicBezTo>
                    <a:cubicBezTo>
                      <a:pt x="43" y="107"/>
                      <a:pt x="43" y="107"/>
                      <a:pt x="43" y="107"/>
                    </a:cubicBezTo>
                    <a:cubicBezTo>
                      <a:pt x="45" y="109"/>
                      <a:pt x="48" y="111"/>
                      <a:pt x="51" y="111"/>
                    </a:cubicBezTo>
                    <a:cubicBezTo>
                      <a:pt x="54" y="111"/>
                      <a:pt x="57" y="109"/>
                      <a:pt x="60" y="107"/>
                    </a:cubicBezTo>
                    <a:cubicBezTo>
                      <a:pt x="107" y="60"/>
                      <a:pt x="107" y="60"/>
                      <a:pt x="107" y="60"/>
                    </a:cubicBezTo>
                    <a:cubicBezTo>
                      <a:pt x="112" y="55"/>
                      <a:pt x="112" y="48"/>
                      <a:pt x="107" y="43"/>
                    </a:cubicBezTo>
                    <a:lnTo>
                      <a:pt x="65" y="2"/>
                    </a:lnTo>
                    <a:close/>
                  </a:path>
                </a:pathLst>
              </a:custGeom>
              <a:solidFill>
                <a:srgbClr val="5C5C5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grpSp>
      </p:grpSp>
      <p:grpSp>
        <p:nvGrpSpPr>
          <p:cNvPr id="22" name="Group 21">
            <a:extLst>
              <a:ext uri="{FF2B5EF4-FFF2-40B4-BE49-F238E27FC236}">
                <a16:creationId xmlns:a16="http://schemas.microsoft.com/office/drawing/2014/main" id="{8B7C05EF-9123-4F22-995D-7CC1227CBA56}"/>
              </a:ext>
            </a:extLst>
          </p:cNvPr>
          <p:cNvGrpSpPr/>
          <p:nvPr/>
        </p:nvGrpSpPr>
        <p:grpSpPr>
          <a:xfrm>
            <a:off x="6944398" y="2802432"/>
            <a:ext cx="434687" cy="434687"/>
            <a:chOff x="7356443" y="4951113"/>
            <a:chExt cx="455752" cy="455752"/>
          </a:xfrm>
        </p:grpSpPr>
        <p:sp>
          <p:nvSpPr>
            <p:cNvPr id="23" name="Oval 22">
              <a:extLst>
                <a:ext uri="{FF2B5EF4-FFF2-40B4-BE49-F238E27FC236}">
                  <a16:creationId xmlns:a16="http://schemas.microsoft.com/office/drawing/2014/main" id="{52560FC2-C1AC-493A-8923-6BCDBB0389A0}"/>
                </a:ext>
              </a:extLst>
            </p:cNvPr>
            <p:cNvSpPr/>
            <p:nvPr/>
          </p:nvSpPr>
          <p:spPr>
            <a:xfrm>
              <a:off x="7356443" y="4951113"/>
              <a:ext cx="455752" cy="455752"/>
            </a:xfrm>
            <a:prstGeom prst="ellipse">
              <a:avLst/>
            </a:prstGeom>
            <a:solidFill>
              <a:sysClr val="window" lastClr="FFFFFF"/>
            </a:solidFill>
            <a:ln w="19050" cap="flat" cmpd="sng" algn="ctr">
              <a:solidFill>
                <a:schemeClr val="accent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Open Sans"/>
                <a:ea typeface="+mn-ea"/>
                <a:cs typeface="+mn-cs"/>
              </a:endParaRPr>
            </a:p>
          </p:txBody>
        </p:sp>
        <p:sp>
          <p:nvSpPr>
            <p:cNvPr id="24" name="Freeform 77">
              <a:extLst>
                <a:ext uri="{FF2B5EF4-FFF2-40B4-BE49-F238E27FC236}">
                  <a16:creationId xmlns:a16="http://schemas.microsoft.com/office/drawing/2014/main" id="{4A8403F8-8CBE-4182-9788-D2DA3FADDD1E}"/>
                </a:ext>
              </a:extLst>
            </p:cNvPr>
            <p:cNvSpPr>
              <a:spLocks noChangeAspect="1" noEditPoints="1"/>
            </p:cNvSpPr>
            <p:nvPr/>
          </p:nvSpPr>
          <p:spPr bwMode="auto">
            <a:xfrm>
              <a:off x="7436391" y="5109595"/>
              <a:ext cx="308300" cy="180602"/>
            </a:xfrm>
            <a:custGeom>
              <a:avLst/>
              <a:gdLst>
                <a:gd name="T0" fmla="*/ 211 w 244"/>
                <a:gd name="T1" fmla="*/ 49 h 142"/>
                <a:gd name="T2" fmla="*/ 164 w 244"/>
                <a:gd name="T3" fmla="*/ 110 h 142"/>
                <a:gd name="T4" fmla="*/ 153 w 244"/>
                <a:gd name="T5" fmla="*/ 109 h 142"/>
                <a:gd name="T6" fmla="*/ 104 w 244"/>
                <a:gd name="T7" fmla="*/ 17 h 142"/>
                <a:gd name="T8" fmla="*/ 70 w 244"/>
                <a:gd name="T9" fmla="*/ 17 h 142"/>
                <a:gd name="T10" fmla="*/ 28 w 244"/>
                <a:gd name="T11" fmla="*/ 49 h 142"/>
                <a:gd name="T12" fmla="*/ 0 w 244"/>
                <a:gd name="T13" fmla="*/ 61 h 142"/>
                <a:gd name="T14" fmla="*/ 17 w 244"/>
                <a:gd name="T15" fmla="*/ 78 h 142"/>
                <a:gd name="T16" fmla="*/ 33 w 244"/>
                <a:gd name="T17" fmla="*/ 57 h 142"/>
                <a:gd name="T18" fmla="*/ 87 w 244"/>
                <a:gd name="T19" fmla="*/ 34 h 142"/>
                <a:gd name="T20" fmla="*/ 92 w 244"/>
                <a:gd name="T21" fmla="*/ 33 h 142"/>
                <a:gd name="T22" fmla="*/ 140 w 244"/>
                <a:gd name="T23" fmla="*/ 125 h 142"/>
                <a:gd name="T24" fmla="*/ 174 w 244"/>
                <a:gd name="T25" fmla="*/ 125 h 142"/>
                <a:gd name="T26" fmla="*/ 220 w 244"/>
                <a:gd name="T27" fmla="*/ 64 h 142"/>
                <a:gd name="T28" fmla="*/ 228 w 244"/>
                <a:gd name="T29" fmla="*/ 66 h 142"/>
                <a:gd name="T30" fmla="*/ 228 w 244"/>
                <a:gd name="T31" fmla="*/ 32 h 142"/>
                <a:gd name="T32" fmla="*/ 10 w 244"/>
                <a:gd name="T33" fmla="*/ 61 h 142"/>
                <a:gd name="T34" fmla="*/ 17 w 244"/>
                <a:gd name="T35" fmla="*/ 55 h 142"/>
                <a:gd name="T36" fmla="*/ 23 w 244"/>
                <a:gd name="T37" fmla="*/ 58 h 142"/>
                <a:gd name="T38" fmla="*/ 24 w 244"/>
                <a:gd name="T39" fmla="*/ 61 h 142"/>
                <a:gd name="T40" fmla="*/ 87 w 244"/>
                <a:gd name="T41" fmla="*/ 24 h 142"/>
                <a:gd name="T42" fmla="*/ 82 w 244"/>
                <a:gd name="T43" fmla="*/ 12 h 142"/>
                <a:gd name="T44" fmla="*/ 94 w 244"/>
                <a:gd name="T45" fmla="*/ 17 h 142"/>
                <a:gd name="T46" fmla="*/ 91 w 244"/>
                <a:gd name="T47" fmla="*/ 23 h 142"/>
                <a:gd name="T48" fmla="*/ 87 w 244"/>
                <a:gd name="T49" fmla="*/ 24 h 142"/>
                <a:gd name="T50" fmla="*/ 150 w 244"/>
                <a:gd name="T51" fmla="*/ 125 h 142"/>
                <a:gd name="T52" fmla="*/ 157 w 244"/>
                <a:gd name="T53" fmla="*/ 118 h 142"/>
                <a:gd name="T54" fmla="*/ 162 w 244"/>
                <a:gd name="T55" fmla="*/ 120 h 142"/>
                <a:gd name="T56" fmla="*/ 164 w 244"/>
                <a:gd name="T57" fmla="*/ 125 h 142"/>
                <a:gd name="T58" fmla="*/ 228 w 244"/>
                <a:gd name="T59" fmla="*/ 56 h 142"/>
                <a:gd name="T60" fmla="*/ 223 w 244"/>
                <a:gd name="T61" fmla="*/ 44 h 142"/>
                <a:gd name="T62" fmla="*/ 234 w 244"/>
                <a:gd name="T63" fmla="*/ 4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4" h="142">
                  <a:moveTo>
                    <a:pt x="228" y="32"/>
                  </a:moveTo>
                  <a:cubicBezTo>
                    <a:pt x="218" y="32"/>
                    <a:pt x="211" y="39"/>
                    <a:pt x="211" y="49"/>
                  </a:cubicBezTo>
                  <a:cubicBezTo>
                    <a:pt x="211" y="52"/>
                    <a:pt x="211" y="55"/>
                    <a:pt x="213" y="57"/>
                  </a:cubicBezTo>
                  <a:cubicBezTo>
                    <a:pt x="164" y="110"/>
                    <a:pt x="164" y="110"/>
                    <a:pt x="164" y="110"/>
                  </a:cubicBezTo>
                  <a:cubicBezTo>
                    <a:pt x="162" y="109"/>
                    <a:pt x="160" y="108"/>
                    <a:pt x="157" y="108"/>
                  </a:cubicBezTo>
                  <a:cubicBezTo>
                    <a:pt x="156" y="108"/>
                    <a:pt x="154" y="109"/>
                    <a:pt x="153" y="109"/>
                  </a:cubicBezTo>
                  <a:cubicBezTo>
                    <a:pt x="100" y="28"/>
                    <a:pt x="100" y="28"/>
                    <a:pt x="100" y="28"/>
                  </a:cubicBezTo>
                  <a:cubicBezTo>
                    <a:pt x="102" y="25"/>
                    <a:pt x="104" y="21"/>
                    <a:pt x="104" y="17"/>
                  </a:cubicBezTo>
                  <a:cubicBezTo>
                    <a:pt x="104" y="7"/>
                    <a:pt x="96" y="0"/>
                    <a:pt x="87" y="0"/>
                  </a:cubicBezTo>
                  <a:cubicBezTo>
                    <a:pt x="78" y="0"/>
                    <a:pt x="70" y="7"/>
                    <a:pt x="70" y="17"/>
                  </a:cubicBezTo>
                  <a:cubicBezTo>
                    <a:pt x="70" y="18"/>
                    <a:pt x="70" y="20"/>
                    <a:pt x="71" y="21"/>
                  </a:cubicBezTo>
                  <a:cubicBezTo>
                    <a:pt x="28" y="49"/>
                    <a:pt x="28" y="49"/>
                    <a:pt x="28" y="49"/>
                  </a:cubicBezTo>
                  <a:cubicBezTo>
                    <a:pt x="25" y="46"/>
                    <a:pt x="21" y="44"/>
                    <a:pt x="17" y="44"/>
                  </a:cubicBezTo>
                  <a:cubicBezTo>
                    <a:pt x="7" y="44"/>
                    <a:pt x="0" y="52"/>
                    <a:pt x="0" y="61"/>
                  </a:cubicBezTo>
                  <a:cubicBezTo>
                    <a:pt x="0" y="71"/>
                    <a:pt x="7" y="78"/>
                    <a:pt x="17" y="78"/>
                  </a:cubicBezTo>
                  <a:cubicBezTo>
                    <a:pt x="17" y="78"/>
                    <a:pt x="17" y="78"/>
                    <a:pt x="17" y="78"/>
                  </a:cubicBezTo>
                  <a:cubicBezTo>
                    <a:pt x="26" y="78"/>
                    <a:pt x="34" y="71"/>
                    <a:pt x="34" y="61"/>
                  </a:cubicBezTo>
                  <a:cubicBezTo>
                    <a:pt x="34" y="60"/>
                    <a:pt x="33" y="58"/>
                    <a:pt x="33" y="57"/>
                  </a:cubicBezTo>
                  <a:cubicBezTo>
                    <a:pt x="76" y="30"/>
                    <a:pt x="76" y="30"/>
                    <a:pt x="76" y="30"/>
                  </a:cubicBezTo>
                  <a:cubicBezTo>
                    <a:pt x="79" y="32"/>
                    <a:pt x="83" y="34"/>
                    <a:pt x="87" y="34"/>
                  </a:cubicBezTo>
                  <a:cubicBezTo>
                    <a:pt x="87" y="34"/>
                    <a:pt x="87" y="34"/>
                    <a:pt x="87" y="34"/>
                  </a:cubicBezTo>
                  <a:cubicBezTo>
                    <a:pt x="89" y="34"/>
                    <a:pt x="90" y="33"/>
                    <a:pt x="92" y="33"/>
                  </a:cubicBezTo>
                  <a:cubicBezTo>
                    <a:pt x="144" y="115"/>
                    <a:pt x="144" y="115"/>
                    <a:pt x="144" y="115"/>
                  </a:cubicBezTo>
                  <a:cubicBezTo>
                    <a:pt x="142" y="117"/>
                    <a:pt x="140" y="121"/>
                    <a:pt x="140" y="125"/>
                  </a:cubicBezTo>
                  <a:cubicBezTo>
                    <a:pt x="140" y="135"/>
                    <a:pt x="148" y="142"/>
                    <a:pt x="157" y="142"/>
                  </a:cubicBezTo>
                  <a:cubicBezTo>
                    <a:pt x="167" y="142"/>
                    <a:pt x="174" y="135"/>
                    <a:pt x="174" y="125"/>
                  </a:cubicBezTo>
                  <a:cubicBezTo>
                    <a:pt x="174" y="122"/>
                    <a:pt x="173" y="119"/>
                    <a:pt x="172" y="117"/>
                  </a:cubicBezTo>
                  <a:cubicBezTo>
                    <a:pt x="220" y="64"/>
                    <a:pt x="220" y="64"/>
                    <a:pt x="220" y="64"/>
                  </a:cubicBezTo>
                  <a:cubicBezTo>
                    <a:pt x="223" y="65"/>
                    <a:pt x="225" y="66"/>
                    <a:pt x="228" y="66"/>
                  </a:cubicBezTo>
                  <a:cubicBezTo>
                    <a:pt x="228" y="66"/>
                    <a:pt x="228" y="66"/>
                    <a:pt x="228" y="66"/>
                  </a:cubicBezTo>
                  <a:cubicBezTo>
                    <a:pt x="237" y="66"/>
                    <a:pt x="244" y="58"/>
                    <a:pt x="244" y="49"/>
                  </a:cubicBezTo>
                  <a:cubicBezTo>
                    <a:pt x="244" y="39"/>
                    <a:pt x="237" y="32"/>
                    <a:pt x="228" y="32"/>
                  </a:cubicBezTo>
                  <a:close/>
                  <a:moveTo>
                    <a:pt x="17" y="68"/>
                  </a:moveTo>
                  <a:cubicBezTo>
                    <a:pt x="13" y="68"/>
                    <a:pt x="10" y="65"/>
                    <a:pt x="10" y="61"/>
                  </a:cubicBezTo>
                  <a:cubicBezTo>
                    <a:pt x="10" y="60"/>
                    <a:pt x="11" y="58"/>
                    <a:pt x="12" y="57"/>
                  </a:cubicBezTo>
                  <a:cubicBezTo>
                    <a:pt x="13" y="55"/>
                    <a:pt x="15" y="55"/>
                    <a:pt x="17" y="55"/>
                  </a:cubicBezTo>
                  <a:cubicBezTo>
                    <a:pt x="19" y="55"/>
                    <a:pt x="21" y="56"/>
                    <a:pt x="23" y="58"/>
                  </a:cubicBezTo>
                  <a:cubicBezTo>
                    <a:pt x="23" y="58"/>
                    <a:pt x="23" y="58"/>
                    <a:pt x="23" y="58"/>
                  </a:cubicBezTo>
                  <a:cubicBezTo>
                    <a:pt x="23" y="58"/>
                    <a:pt x="23" y="58"/>
                    <a:pt x="23" y="58"/>
                  </a:cubicBezTo>
                  <a:cubicBezTo>
                    <a:pt x="23" y="59"/>
                    <a:pt x="24" y="60"/>
                    <a:pt x="24" y="61"/>
                  </a:cubicBezTo>
                  <a:cubicBezTo>
                    <a:pt x="24" y="65"/>
                    <a:pt x="21" y="68"/>
                    <a:pt x="17" y="68"/>
                  </a:cubicBezTo>
                  <a:close/>
                  <a:moveTo>
                    <a:pt x="87" y="24"/>
                  </a:moveTo>
                  <a:cubicBezTo>
                    <a:pt x="83" y="24"/>
                    <a:pt x="80" y="21"/>
                    <a:pt x="80" y="17"/>
                  </a:cubicBezTo>
                  <a:cubicBezTo>
                    <a:pt x="80" y="15"/>
                    <a:pt x="81" y="13"/>
                    <a:pt x="82" y="12"/>
                  </a:cubicBezTo>
                  <a:cubicBezTo>
                    <a:pt x="83" y="11"/>
                    <a:pt x="85" y="10"/>
                    <a:pt x="87" y="10"/>
                  </a:cubicBezTo>
                  <a:cubicBezTo>
                    <a:pt x="91" y="10"/>
                    <a:pt x="94" y="13"/>
                    <a:pt x="94" y="17"/>
                  </a:cubicBezTo>
                  <a:cubicBezTo>
                    <a:pt x="94" y="19"/>
                    <a:pt x="93" y="21"/>
                    <a:pt x="91" y="23"/>
                  </a:cubicBezTo>
                  <a:cubicBezTo>
                    <a:pt x="91" y="23"/>
                    <a:pt x="91" y="23"/>
                    <a:pt x="91" y="23"/>
                  </a:cubicBezTo>
                  <a:cubicBezTo>
                    <a:pt x="91" y="23"/>
                    <a:pt x="91" y="23"/>
                    <a:pt x="91" y="23"/>
                  </a:cubicBezTo>
                  <a:cubicBezTo>
                    <a:pt x="90" y="23"/>
                    <a:pt x="88" y="24"/>
                    <a:pt x="87" y="24"/>
                  </a:cubicBezTo>
                  <a:close/>
                  <a:moveTo>
                    <a:pt x="157" y="132"/>
                  </a:moveTo>
                  <a:cubicBezTo>
                    <a:pt x="153" y="132"/>
                    <a:pt x="150" y="129"/>
                    <a:pt x="150" y="125"/>
                  </a:cubicBezTo>
                  <a:cubicBezTo>
                    <a:pt x="150" y="123"/>
                    <a:pt x="151" y="122"/>
                    <a:pt x="152" y="120"/>
                  </a:cubicBezTo>
                  <a:cubicBezTo>
                    <a:pt x="154" y="119"/>
                    <a:pt x="155" y="118"/>
                    <a:pt x="157" y="118"/>
                  </a:cubicBezTo>
                  <a:cubicBezTo>
                    <a:pt x="159" y="118"/>
                    <a:pt x="161" y="119"/>
                    <a:pt x="162" y="120"/>
                  </a:cubicBezTo>
                  <a:cubicBezTo>
                    <a:pt x="162" y="120"/>
                    <a:pt x="162" y="120"/>
                    <a:pt x="162" y="120"/>
                  </a:cubicBezTo>
                  <a:cubicBezTo>
                    <a:pt x="162" y="120"/>
                    <a:pt x="162" y="120"/>
                    <a:pt x="162" y="120"/>
                  </a:cubicBezTo>
                  <a:cubicBezTo>
                    <a:pt x="163" y="122"/>
                    <a:pt x="164" y="123"/>
                    <a:pt x="164" y="125"/>
                  </a:cubicBezTo>
                  <a:cubicBezTo>
                    <a:pt x="164" y="129"/>
                    <a:pt x="161" y="132"/>
                    <a:pt x="157" y="132"/>
                  </a:cubicBezTo>
                  <a:close/>
                  <a:moveTo>
                    <a:pt x="228" y="56"/>
                  </a:moveTo>
                  <a:cubicBezTo>
                    <a:pt x="224" y="56"/>
                    <a:pt x="221" y="52"/>
                    <a:pt x="221" y="49"/>
                  </a:cubicBezTo>
                  <a:cubicBezTo>
                    <a:pt x="221" y="47"/>
                    <a:pt x="221" y="45"/>
                    <a:pt x="223" y="44"/>
                  </a:cubicBezTo>
                  <a:cubicBezTo>
                    <a:pt x="224" y="42"/>
                    <a:pt x="226" y="42"/>
                    <a:pt x="228" y="42"/>
                  </a:cubicBezTo>
                  <a:cubicBezTo>
                    <a:pt x="231" y="42"/>
                    <a:pt x="234" y="45"/>
                    <a:pt x="234" y="49"/>
                  </a:cubicBezTo>
                  <a:cubicBezTo>
                    <a:pt x="234" y="52"/>
                    <a:pt x="231" y="56"/>
                    <a:pt x="228" y="56"/>
                  </a:cubicBezTo>
                  <a:close/>
                </a:path>
              </a:pathLst>
            </a:custGeom>
            <a:solidFill>
              <a:srgbClr val="5C5C5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grpSp>
      <p:grpSp>
        <p:nvGrpSpPr>
          <p:cNvPr id="25" name="Group 24">
            <a:extLst>
              <a:ext uri="{FF2B5EF4-FFF2-40B4-BE49-F238E27FC236}">
                <a16:creationId xmlns:a16="http://schemas.microsoft.com/office/drawing/2014/main" id="{A49B7450-0DB6-4D63-BE8D-B2FDBC1515CA}"/>
              </a:ext>
            </a:extLst>
          </p:cNvPr>
          <p:cNvGrpSpPr/>
          <p:nvPr/>
        </p:nvGrpSpPr>
        <p:grpSpPr>
          <a:xfrm>
            <a:off x="3603604" y="2802432"/>
            <a:ext cx="434687" cy="434687"/>
            <a:chOff x="7163683" y="1355410"/>
            <a:chExt cx="455752" cy="455752"/>
          </a:xfrm>
        </p:grpSpPr>
        <p:sp>
          <p:nvSpPr>
            <p:cNvPr id="26" name="Oval 25">
              <a:extLst>
                <a:ext uri="{FF2B5EF4-FFF2-40B4-BE49-F238E27FC236}">
                  <a16:creationId xmlns:a16="http://schemas.microsoft.com/office/drawing/2014/main" id="{2AD14646-761B-4D19-AD0D-C4B575F6C3A4}"/>
                </a:ext>
              </a:extLst>
            </p:cNvPr>
            <p:cNvSpPr/>
            <p:nvPr/>
          </p:nvSpPr>
          <p:spPr>
            <a:xfrm>
              <a:off x="7163683" y="1355410"/>
              <a:ext cx="455752" cy="455752"/>
            </a:xfrm>
            <a:prstGeom prst="ellipse">
              <a:avLst/>
            </a:prstGeom>
            <a:solidFill>
              <a:sysClr val="window" lastClr="FFFFFF"/>
            </a:solidFill>
            <a:ln w="19050" cap="flat" cmpd="sng" algn="ctr">
              <a:solidFill>
                <a:schemeClr val="accent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Open Sans"/>
                <a:ea typeface="+mn-ea"/>
                <a:cs typeface="+mn-cs"/>
              </a:endParaRPr>
            </a:p>
          </p:txBody>
        </p:sp>
        <p:grpSp>
          <p:nvGrpSpPr>
            <p:cNvPr id="27" name="Group 26">
              <a:extLst>
                <a:ext uri="{FF2B5EF4-FFF2-40B4-BE49-F238E27FC236}">
                  <a16:creationId xmlns:a16="http://schemas.microsoft.com/office/drawing/2014/main" id="{F347D217-B461-443B-9A27-A5950126CEF4}"/>
                </a:ext>
              </a:extLst>
            </p:cNvPr>
            <p:cNvGrpSpPr/>
            <p:nvPr/>
          </p:nvGrpSpPr>
          <p:grpSpPr>
            <a:xfrm>
              <a:off x="7261244" y="1425430"/>
              <a:ext cx="260958" cy="297893"/>
              <a:chOff x="3593972" y="1776453"/>
              <a:chExt cx="320357" cy="365699"/>
            </a:xfrm>
            <a:solidFill>
              <a:srgbClr val="81BC00"/>
            </a:solidFill>
          </p:grpSpPr>
          <p:sp>
            <p:nvSpPr>
              <p:cNvPr id="28" name="Freeform 430">
                <a:extLst>
                  <a:ext uri="{FF2B5EF4-FFF2-40B4-BE49-F238E27FC236}">
                    <a16:creationId xmlns:a16="http://schemas.microsoft.com/office/drawing/2014/main" id="{6A01538D-84AA-4D94-B4E0-78C5B47F32D6}"/>
                  </a:ext>
                </a:extLst>
              </p:cNvPr>
              <p:cNvSpPr>
                <a:spLocks noEditPoints="1"/>
              </p:cNvSpPr>
              <p:nvPr/>
            </p:nvSpPr>
            <p:spPr bwMode="auto">
              <a:xfrm>
                <a:off x="3672829" y="1809967"/>
                <a:ext cx="203057" cy="168557"/>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solidFill>
                <a:srgbClr val="5C5C5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29" name="Freeform 431">
                <a:extLst>
                  <a:ext uri="{FF2B5EF4-FFF2-40B4-BE49-F238E27FC236}">
                    <a16:creationId xmlns:a16="http://schemas.microsoft.com/office/drawing/2014/main" id="{05DB7CF3-EF86-4D67-8E45-14DC8E533944}"/>
                  </a:ext>
                </a:extLst>
              </p:cNvPr>
              <p:cNvSpPr>
                <a:spLocks noEditPoints="1"/>
              </p:cNvSpPr>
              <p:nvPr/>
            </p:nvSpPr>
            <p:spPr bwMode="auto">
              <a:xfrm>
                <a:off x="3593972" y="1776453"/>
                <a:ext cx="320357" cy="365699"/>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solidFill>
                <a:srgbClr val="5C5C5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grpSp>
      </p:grpSp>
      <p:grpSp>
        <p:nvGrpSpPr>
          <p:cNvPr id="30" name="Group 29">
            <a:extLst>
              <a:ext uri="{FF2B5EF4-FFF2-40B4-BE49-F238E27FC236}">
                <a16:creationId xmlns:a16="http://schemas.microsoft.com/office/drawing/2014/main" id="{047030B5-55BD-44A4-8DCC-7DAA1F927540}"/>
              </a:ext>
            </a:extLst>
          </p:cNvPr>
          <p:cNvGrpSpPr/>
          <p:nvPr/>
        </p:nvGrpSpPr>
        <p:grpSpPr>
          <a:xfrm>
            <a:off x="1933207" y="2802432"/>
            <a:ext cx="434687" cy="434687"/>
            <a:chOff x="4108838" y="1376201"/>
            <a:chExt cx="455752" cy="455752"/>
          </a:xfrm>
        </p:grpSpPr>
        <p:sp>
          <p:nvSpPr>
            <p:cNvPr id="31" name="Oval 30">
              <a:extLst>
                <a:ext uri="{FF2B5EF4-FFF2-40B4-BE49-F238E27FC236}">
                  <a16:creationId xmlns:a16="http://schemas.microsoft.com/office/drawing/2014/main" id="{B5368E5D-C22F-4840-8214-25E4C32930D4}"/>
                </a:ext>
              </a:extLst>
            </p:cNvPr>
            <p:cNvSpPr/>
            <p:nvPr/>
          </p:nvSpPr>
          <p:spPr>
            <a:xfrm>
              <a:off x="4108838" y="1376201"/>
              <a:ext cx="455752" cy="455752"/>
            </a:xfrm>
            <a:prstGeom prst="ellipse">
              <a:avLst/>
            </a:prstGeom>
            <a:solidFill>
              <a:sysClr val="window" lastClr="FFFFFF"/>
            </a:solidFill>
            <a:ln w="19050" cap="flat" cmpd="sng" algn="ctr">
              <a:solidFill>
                <a:schemeClr val="accent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Open Sans"/>
                <a:ea typeface="+mn-ea"/>
                <a:cs typeface="+mn-cs"/>
              </a:endParaRPr>
            </a:p>
          </p:txBody>
        </p:sp>
        <p:sp>
          <p:nvSpPr>
            <p:cNvPr id="32" name="Freeform 71">
              <a:extLst>
                <a:ext uri="{FF2B5EF4-FFF2-40B4-BE49-F238E27FC236}">
                  <a16:creationId xmlns:a16="http://schemas.microsoft.com/office/drawing/2014/main" id="{FDAFB2F1-46FF-4B8A-BDD4-FD1A9AE0A573}"/>
                </a:ext>
              </a:extLst>
            </p:cNvPr>
            <p:cNvSpPr>
              <a:spLocks noEditPoints="1"/>
            </p:cNvSpPr>
            <p:nvPr/>
          </p:nvSpPr>
          <p:spPr bwMode="auto">
            <a:xfrm>
              <a:off x="4270287" y="1478871"/>
              <a:ext cx="148452" cy="282172"/>
            </a:xfrm>
            <a:custGeom>
              <a:avLst/>
              <a:gdLst>
                <a:gd name="T0" fmla="*/ 86 w 107"/>
                <a:gd name="T1" fmla="*/ 118 h 203"/>
                <a:gd name="T2" fmla="*/ 82 w 107"/>
                <a:gd name="T3" fmla="*/ 115 h 203"/>
                <a:gd name="T4" fmla="*/ 63 w 107"/>
                <a:gd name="T5" fmla="*/ 115 h 203"/>
                <a:gd name="T6" fmla="*/ 106 w 107"/>
                <a:gd name="T7" fmla="*/ 54 h 203"/>
                <a:gd name="T8" fmla="*/ 106 w 107"/>
                <a:gd name="T9" fmla="*/ 49 h 203"/>
                <a:gd name="T10" fmla="*/ 102 w 107"/>
                <a:gd name="T11" fmla="*/ 46 h 203"/>
                <a:gd name="T12" fmla="*/ 82 w 107"/>
                <a:gd name="T13" fmla="*/ 46 h 203"/>
                <a:gd name="T14" fmla="*/ 98 w 107"/>
                <a:gd name="T15" fmla="*/ 7 h 203"/>
                <a:gd name="T16" fmla="*/ 98 w 107"/>
                <a:gd name="T17" fmla="*/ 2 h 203"/>
                <a:gd name="T18" fmla="*/ 94 w 107"/>
                <a:gd name="T19" fmla="*/ 0 h 203"/>
                <a:gd name="T20" fmla="*/ 34 w 107"/>
                <a:gd name="T21" fmla="*/ 0 h 203"/>
                <a:gd name="T22" fmla="*/ 29 w 107"/>
                <a:gd name="T23" fmla="*/ 3 h 203"/>
                <a:gd name="T24" fmla="*/ 1 w 107"/>
                <a:gd name="T25" fmla="*/ 73 h 203"/>
                <a:gd name="T26" fmla="*/ 1 w 107"/>
                <a:gd name="T27" fmla="*/ 78 h 203"/>
                <a:gd name="T28" fmla="*/ 5 w 107"/>
                <a:gd name="T29" fmla="*/ 80 h 203"/>
                <a:gd name="T30" fmla="*/ 25 w 107"/>
                <a:gd name="T31" fmla="*/ 80 h 203"/>
                <a:gd name="T32" fmla="*/ 1 w 107"/>
                <a:gd name="T33" fmla="*/ 142 h 203"/>
                <a:gd name="T34" fmla="*/ 1 w 107"/>
                <a:gd name="T35" fmla="*/ 147 h 203"/>
                <a:gd name="T36" fmla="*/ 5 w 107"/>
                <a:gd name="T37" fmla="*/ 149 h 203"/>
                <a:gd name="T38" fmla="*/ 29 w 107"/>
                <a:gd name="T39" fmla="*/ 149 h 203"/>
                <a:gd name="T40" fmla="*/ 29 w 107"/>
                <a:gd name="T41" fmla="*/ 198 h 203"/>
                <a:gd name="T42" fmla="*/ 33 w 107"/>
                <a:gd name="T43" fmla="*/ 202 h 203"/>
                <a:gd name="T44" fmla="*/ 34 w 107"/>
                <a:gd name="T45" fmla="*/ 203 h 203"/>
                <a:gd name="T46" fmla="*/ 38 w 107"/>
                <a:gd name="T47" fmla="*/ 200 h 203"/>
                <a:gd name="T48" fmla="*/ 86 w 107"/>
                <a:gd name="T49" fmla="*/ 123 h 203"/>
                <a:gd name="T50" fmla="*/ 86 w 107"/>
                <a:gd name="T51" fmla="*/ 118 h 203"/>
                <a:gd name="T52" fmla="*/ 39 w 107"/>
                <a:gd name="T53" fmla="*/ 181 h 203"/>
                <a:gd name="T54" fmla="*/ 39 w 107"/>
                <a:gd name="T55" fmla="*/ 144 h 203"/>
                <a:gd name="T56" fmla="*/ 34 w 107"/>
                <a:gd name="T57" fmla="*/ 139 h 203"/>
                <a:gd name="T58" fmla="*/ 13 w 107"/>
                <a:gd name="T59" fmla="*/ 139 h 203"/>
                <a:gd name="T60" fmla="*/ 36 w 107"/>
                <a:gd name="T61" fmla="*/ 77 h 203"/>
                <a:gd name="T62" fmla="*/ 36 w 107"/>
                <a:gd name="T63" fmla="*/ 72 h 203"/>
                <a:gd name="T64" fmla="*/ 32 w 107"/>
                <a:gd name="T65" fmla="*/ 70 h 203"/>
                <a:gd name="T66" fmla="*/ 13 w 107"/>
                <a:gd name="T67" fmla="*/ 70 h 203"/>
                <a:gd name="T68" fmla="*/ 37 w 107"/>
                <a:gd name="T69" fmla="*/ 10 h 203"/>
                <a:gd name="T70" fmla="*/ 87 w 107"/>
                <a:gd name="T71" fmla="*/ 10 h 203"/>
                <a:gd name="T72" fmla="*/ 70 w 107"/>
                <a:gd name="T73" fmla="*/ 49 h 203"/>
                <a:gd name="T74" fmla="*/ 71 w 107"/>
                <a:gd name="T75" fmla="*/ 54 h 203"/>
                <a:gd name="T76" fmla="*/ 75 w 107"/>
                <a:gd name="T77" fmla="*/ 56 h 203"/>
                <a:gd name="T78" fmla="*/ 93 w 107"/>
                <a:gd name="T79" fmla="*/ 56 h 203"/>
                <a:gd name="T80" fmla="*/ 50 w 107"/>
                <a:gd name="T81" fmla="*/ 118 h 203"/>
                <a:gd name="T82" fmla="*/ 49 w 107"/>
                <a:gd name="T83" fmla="*/ 123 h 203"/>
                <a:gd name="T84" fmla="*/ 54 w 107"/>
                <a:gd name="T85" fmla="*/ 125 h 203"/>
                <a:gd name="T86" fmla="*/ 73 w 107"/>
                <a:gd name="T87" fmla="*/ 125 h 203"/>
                <a:gd name="T88" fmla="*/ 39 w 107"/>
                <a:gd name="T89" fmla="*/ 18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7" h="203">
                  <a:moveTo>
                    <a:pt x="86" y="118"/>
                  </a:moveTo>
                  <a:cubicBezTo>
                    <a:pt x="86" y="116"/>
                    <a:pt x="84" y="115"/>
                    <a:pt x="82" y="115"/>
                  </a:cubicBezTo>
                  <a:cubicBezTo>
                    <a:pt x="63" y="115"/>
                    <a:pt x="63" y="115"/>
                    <a:pt x="63" y="115"/>
                  </a:cubicBezTo>
                  <a:cubicBezTo>
                    <a:pt x="106" y="54"/>
                    <a:pt x="106" y="54"/>
                    <a:pt x="106" y="54"/>
                  </a:cubicBezTo>
                  <a:cubicBezTo>
                    <a:pt x="107" y="52"/>
                    <a:pt x="107" y="50"/>
                    <a:pt x="106" y="49"/>
                  </a:cubicBezTo>
                  <a:cubicBezTo>
                    <a:pt x="106" y="47"/>
                    <a:pt x="104" y="46"/>
                    <a:pt x="102" y="46"/>
                  </a:cubicBezTo>
                  <a:cubicBezTo>
                    <a:pt x="82" y="46"/>
                    <a:pt x="82" y="46"/>
                    <a:pt x="82" y="46"/>
                  </a:cubicBezTo>
                  <a:cubicBezTo>
                    <a:pt x="98" y="7"/>
                    <a:pt x="98" y="7"/>
                    <a:pt x="98" y="7"/>
                  </a:cubicBezTo>
                  <a:cubicBezTo>
                    <a:pt x="99" y="5"/>
                    <a:pt x="99" y="3"/>
                    <a:pt x="98" y="2"/>
                  </a:cubicBezTo>
                  <a:cubicBezTo>
                    <a:pt x="97" y="1"/>
                    <a:pt x="96" y="0"/>
                    <a:pt x="94" y="0"/>
                  </a:cubicBezTo>
                  <a:cubicBezTo>
                    <a:pt x="34" y="0"/>
                    <a:pt x="34" y="0"/>
                    <a:pt x="34" y="0"/>
                  </a:cubicBezTo>
                  <a:cubicBezTo>
                    <a:pt x="32" y="0"/>
                    <a:pt x="30" y="1"/>
                    <a:pt x="29" y="3"/>
                  </a:cubicBezTo>
                  <a:cubicBezTo>
                    <a:pt x="1" y="73"/>
                    <a:pt x="1" y="73"/>
                    <a:pt x="1" y="73"/>
                  </a:cubicBezTo>
                  <a:cubicBezTo>
                    <a:pt x="0" y="75"/>
                    <a:pt x="0" y="77"/>
                    <a:pt x="1" y="78"/>
                  </a:cubicBezTo>
                  <a:cubicBezTo>
                    <a:pt x="2" y="79"/>
                    <a:pt x="4" y="80"/>
                    <a:pt x="5" y="80"/>
                  </a:cubicBezTo>
                  <a:cubicBezTo>
                    <a:pt x="25" y="80"/>
                    <a:pt x="25" y="80"/>
                    <a:pt x="25" y="80"/>
                  </a:cubicBezTo>
                  <a:cubicBezTo>
                    <a:pt x="1" y="142"/>
                    <a:pt x="1" y="142"/>
                    <a:pt x="1" y="142"/>
                  </a:cubicBezTo>
                  <a:cubicBezTo>
                    <a:pt x="0" y="144"/>
                    <a:pt x="1" y="146"/>
                    <a:pt x="1" y="147"/>
                  </a:cubicBezTo>
                  <a:cubicBezTo>
                    <a:pt x="2" y="148"/>
                    <a:pt x="4" y="149"/>
                    <a:pt x="5" y="149"/>
                  </a:cubicBezTo>
                  <a:cubicBezTo>
                    <a:pt x="29" y="149"/>
                    <a:pt x="29" y="149"/>
                    <a:pt x="29" y="149"/>
                  </a:cubicBezTo>
                  <a:cubicBezTo>
                    <a:pt x="29" y="198"/>
                    <a:pt x="29" y="198"/>
                    <a:pt x="29" y="198"/>
                  </a:cubicBezTo>
                  <a:cubicBezTo>
                    <a:pt x="29" y="200"/>
                    <a:pt x="30" y="202"/>
                    <a:pt x="33" y="202"/>
                  </a:cubicBezTo>
                  <a:cubicBezTo>
                    <a:pt x="33" y="203"/>
                    <a:pt x="33" y="203"/>
                    <a:pt x="34" y="203"/>
                  </a:cubicBezTo>
                  <a:cubicBezTo>
                    <a:pt x="36" y="203"/>
                    <a:pt x="37" y="202"/>
                    <a:pt x="38" y="200"/>
                  </a:cubicBezTo>
                  <a:cubicBezTo>
                    <a:pt x="86" y="123"/>
                    <a:pt x="86" y="123"/>
                    <a:pt x="86" y="123"/>
                  </a:cubicBezTo>
                  <a:cubicBezTo>
                    <a:pt x="87" y="121"/>
                    <a:pt x="87" y="120"/>
                    <a:pt x="86" y="118"/>
                  </a:cubicBezTo>
                  <a:close/>
                  <a:moveTo>
                    <a:pt x="39" y="181"/>
                  </a:moveTo>
                  <a:cubicBezTo>
                    <a:pt x="39" y="144"/>
                    <a:pt x="39" y="144"/>
                    <a:pt x="39" y="144"/>
                  </a:cubicBezTo>
                  <a:cubicBezTo>
                    <a:pt x="39" y="141"/>
                    <a:pt x="37" y="139"/>
                    <a:pt x="34" y="139"/>
                  </a:cubicBezTo>
                  <a:cubicBezTo>
                    <a:pt x="13" y="139"/>
                    <a:pt x="13" y="139"/>
                    <a:pt x="13" y="139"/>
                  </a:cubicBezTo>
                  <a:cubicBezTo>
                    <a:pt x="36" y="77"/>
                    <a:pt x="36" y="77"/>
                    <a:pt x="36" y="77"/>
                  </a:cubicBezTo>
                  <a:cubicBezTo>
                    <a:pt x="37" y="75"/>
                    <a:pt x="37" y="74"/>
                    <a:pt x="36" y="72"/>
                  </a:cubicBezTo>
                  <a:cubicBezTo>
                    <a:pt x="35" y="71"/>
                    <a:pt x="33" y="70"/>
                    <a:pt x="32" y="70"/>
                  </a:cubicBezTo>
                  <a:cubicBezTo>
                    <a:pt x="13" y="70"/>
                    <a:pt x="13" y="70"/>
                    <a:pt x="13" y="70"/>
                  </a:cubicBezTo>
                  <a:cubicBezTo>
                    <a:pt x="37" y="10"/>
                    <a:pt x="37" y="10"/>
                    <a:pt x="37" y="10"/>
                  </a:cubicBezTo>
                  <a:cubicBezTo>
                    <a:pt x="87" y="10"/>
                    <a:pt x="87" y="10"/>
                    <a:pt x="87" y="10"/>
                  </a:cubicBezTo>
                  <a:cubicBezTo>
                    <a:pt x="70" y="49"/>
                    <a:pt x="70" y="49"/>
                    <a:pt x="70" y="49"/>
                  </a:cubicBezTo>
                  <a:cubicBezTo>
                    <a:pt x="70" y="50"/>
                    <a:pt x="70" y="52"/>
                    <a:pt x="71" y="54"/>
                  </a:cubicBezTo>
                  <a:cubicBezTo>
                    <a:pt x="72" y="55"/>
                    <a:pt x="73" y="56"/>
                    <a:pt x="75" y="56"/>
                  </a:cubicBezTo>
                  <a:cubicBezTo>
                    <a:pt x="93" y="56"/>
                    <a:pt x="93" y="56"/>
                    <a:pt x="93" y="56"/>
                  </a:cubicBezTo>
                  <a:cubicBezTo>
                    <a:pt x="50" y="118"/>
                    <a:pt x="50" y="118"/>
                    <a:pt x="50" y="118"/>
                  </a:cubicBezTo>
                  <a:cubicBezTo>
                    <a:pt x="49" y="119"/>
                    <a:pt x="49" y="121"/>
                    <a:pt x="49" y="123"/>
                  </a:cubicBezTo>
                  <a:cubicBezTo>
                    <a:pt x="50" y="124"/>
                    <a:pt x="52" y="125"/>
                    <a:pt x="54" y="125"/>
                  </a:cubicBezTo>
                  <a:cubicBezTo>
                    <a:pt x="73" y="125"/>
                    <a:pt x="73" y="125"/>
                    <a:pt x="73" y="125"/>
                  </a:cubicBezTo>
                  <a:lnTo>
                    <a:pt x="39" y="181"/>
                  </a:lnTo>
                  <a:close/>
                </a:path>
              </a:pathLst>
            </a:custGeom>
            <a:solidFill>
              <a:srgbClr val="61616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grpSp>
      <p:grpSp>
        <p:nvGrpSpPr>
          <p:cNvPr id="33" name="Group 32">
            <a:extLst>
              <a:ext uri="{FF2B5EF4-FFF2-40B4-BE49-F238E27FC236}">
                <a16:creationId xmlns:a16="http://schemas.microsoft.com/office/drawing/2014/main" id="{0DCA6192-D68E-47C6-81EC-C34D509CC0B4}"/>
              </a:ext>
            </a:extLst>
          </p:cNvPr>
          <p:cNvGrpSpPr/>
          <p:nvPr/>
        </p:nvGrpSpPr>
        <p:grpSpPr>
          <a:xfrm>
            <a:off x="5274001" y="2802432"/>
            <a:ext cx="434687" cy="434687"/>
            <a:chOff x="9214329" y="3610067"/>
            <a:chExt cx="434687" cy="434687"/>
          </a:xfrm>
        </p:grpSpPr>
        <p:sp>
          <p:nvSpPr>
            <p:cNvPr id="34" name="Oval 33">
              <a:extLst>
                <a:ext uri="{FF2B5EF4-FFF2-40B4-BE49-F238E27FC236}">
                  <a16:creationId xmlns:a16="http://schemas.microsoft.com/office/drawing/2014/main" id="{DE34B0A2-A4CB-4B2C-AA2B-E5C8F71F404F}"/>
                </a:ext>
              </a:extLst>
            </p:cNvPr>
            <p:cNvSpPr/>
            <p:nvPr/>
          </p:nvSpPr>
          <p:spPr>
            <a:xfrm>
              <a:off x="9214329" y="3610067"/>
              <a:ext cx="434687" cy="434687"/>
            </a:xfrm>
            <a:prstGeom prst="ellipse">
              <a:avLst/>
            </a:prstGeom>
            <a:solidFill>
              <a:srgbClr val="FFFFFF"/>
            </a:solidFill>
            <a:ln w="19050" cap="flat" cmpd="sng" algn="ctr">
              <a:solidFill>
                <a:schemeClr val="accent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Open Sans"/>
                <a:ea typeface="+mn-ea"/>
                <a:cs typeface="+mn-cs"/>
              </a:endParaRPr>
            </a:p>
          </p:txBody>
        </p:sp>
        <p:pic>
          <p:nvPicPr>
            <p:cNvPr id="35" name="Picture 34">
              <a:extLst>
                <a:ext uri="{FF2B5EF4-FFF2-40B4-BE49-F238E27FC236}">
                  <a16:creationId xmlns:a16="http://schemas.microsoft.com/office/drawing/2014/main" id="{A50DD689-8594-4B88-900D-2DCA3D2471A1}"/>
                </a:ext>
              </a:extLst>
            </p:cNvPr>
            <p:cNvPicPr>
              <a:picLocks noChangeAspect="1"/>
            </p:cNvPicPr>
            <p:nvPr/>
          </p:nvPicPr>
          <p:blipFill>
            <a:blip r:embed="rId8" cstate="screen">
              <a:duotone>
                <a:prstClr val="black"/>
                <a:srgbClr val="000000">
                  <a:tint val="45000"/>
                  <a:satMod val="400000"/>
                </a:srgbClr>
              </a:duotone>
              <a:extLst>
                <a:ext uri="{28A0092B-C50C-407E-A947-70E740481C1C}">
                  <a14:useLocalDpi xmlns:a14="http://schemas.microsoft.com/office/drawing/2010/main" val="0"/>
                </a:ext>
              </a:extLst>
            </a:blip>
            <a:stretch>
              <a:fillRect/>
            </a:stretch>
          </p:blipFill>
          <p:spPr>
            <a:xfrm>
              <a:off x="9357631" y="3685573"/>
              <a:ext cx="172988" cy="278285"/>
            </a:xfrm>
            <a:prstGeom prst="rect">
              <a:avLst/>
            </a:prstGeom>
            <a:solidFill>
              <a:sysClr val="window" lastClr="FFFFFF"/>
            </a:solidFill>
          </p:spPr>
        </p:pic>
      </p:grpSp>
      <p:grpSp>
        <p:nvGrpSpPr>
          <p:cNvPr id="36" name="Group 35">
            <a:extLst>
              <a:ext uri="{FF2B5EF4-FFF2-40B4-BE49-F238E27FC236}">
                <a16:creationId xmlns:a16="http://schemas.microsoft.com/office/drawing/2014/main" id="{63A5F5D2-8961-4BC8-8526-F6A7C4836E8C}"/>
              </a:ext>
            </a:extLst>
          </p:cNvPr>
          <p:cNvGrpSpPr/>
          <p:nvPr/>
        </p:nvGrpSpPr>
        <p:grpSpPr>
          <a:xfrm>
            <a:off x="8614795" y="2820746"/>
            <a:ext cx="398059" cy="398059"/>
            <a:chOff x="6254358" y="6094930"/>
            <a:chExt cx="398059" cy="398059"/>
          </a:xfrm>
        </p:grpSpPr>
        <p:sp>
          <p:nvSpPr>
            <p:cNvPr id="37" name="Oval 36">
              <a:extLst>
                <a:ext uri="{FF2B5EF4-FFF2-40B4-BE49-F238E27FC236}">
                  <a16:creationId xmlns:a16="http://schemas.microsoft.com/office/drawing/2014/main" id="{BEC64497-4EB0-4EDA-BC91-EE9979BC1585}"/>
                </a:ext>
              </a:extLst>
            </p:cNvPr>
            <p:cNvSpPr/>
            <p:nvPr/>
          </p:nvSpPr>
          <p:spPr>
            <a:xfrm>
              <a:off x="6254358" y="6094930"/>
              <a:ext cx="398059" cy="398059"/>
            </a:xfrm>
            <a:prstGeom prst="ellipse">
              <a:avLst/>
            </a:prstGeom>
            <a:solidFill>
              <a:srgbClr val="FFFFFF"/>
            </a:solidFill>
            <a:ln w="19050" cap="flat" cmpd="sng" algn="ctr">
              <a:solidFill>
                <a:schemeClr val="accent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Open Sans"/>
                <a:ea typeface="+mn-ea"/>
                <a:cs typeface="+mn-cs"/>
              </a:endParaRPr>
            </a:p>
          </p:txBody>
        </p:sp>
        <p:grpSp>
          <p:nvGrpSpPr>
            <p:cNvPr id="38" name="Group 37">
              <a:extLst>
                <a:ext uri="{FF2B5EF4-FFF2-40B4-BE49-F238E27FC236}">
                  <a16:creationId xmlns:a16="http://schemas.microsoft.com/office/drawing/2014/main" id="{61AA41E6-A912-4F36-994A-F48AE424339B}"/>
                </a:ext>
              </a:extLst>
            </p:cNvPr>
            <p:cNvGrpSpPr>
              <a:grpSpLocks noChangeAspect="1"/>
            </p:cNvGrpSpPr>
            <p:nvPr/>
          </p:nvGrpSpPr>
          <p:grpSpPr>
            <a:xfrm>
              <a:off x="6352392" y="6161267"/>
              <a:ext cx="214372" cy="233287"/>
              <a:chOff x="1662118" y="1679567"/>
              <a:chExt cx="485777" cy="528635"/>
            </a:xfrm>
            <a:solidFill>
              <a:srgbClr val="3F3F3F"/>
            </a:solidFill>
          </p:grpSpPr>
          <p:sp>
            <p:nvSpPr>
              <p:cNvPr id="39" name="Freeform 24">
                <a:extLst>
                  <a:ext uri="{FF2B5EF4-FFF2-40B4-BE49-F238E27FC236}">
                    <a16:creationId xmlns:a16="http://schemas.microsoft.com/office/drawing/2014/main" id="{5347C367-EB0C-4EB7-B8DC-853CE4F7F9FD}"/>
                  </a:ext>
                </a:extLst>
              </p:cNvPr>
              <p:cNvSpPr>
                <a:spLocks noEditPoints="1"/>
              </p:cNvSpPr>
              <p:nvPr/>
            </p:nvSpPr>
            <p:spPr bwMode="auto">
              <a:xfrm>
                <a:off x="1662118" y="1679567"/>
                <a:ext cx="485777" cy="528635"/>
              </a:xfrm>
              <a:custGeom>
                <a:avLst/>
                <a:gdLst>
                  <a:gd name="T0" fmla="*/ 215 w 220"/>
                  <a:gd name="T1" fmla="*/ 54 h 240"/>
                  <a:gd name="T2" fmla="*/ 161 w 220"/>
                  <a:gd name="T3" fmla="*/ 54 h 240"/>
                  <a:gd name="T4" fmla="*/ 126 w 220"/>
                  <a:gd name="T5" fmla="*/ 25 h 240"/>
                  <a:gd name="T6" fmla="*/ 127 w 220"/>
                  <a:gd name="T7" fmla="*/ 18 h 240"/>
                  <a:gd name="T8" fmla="*/ 110 w 220"/>
                  <a:gd name="T9" fmla="*/ 0 h 240"/>
                  <a:gd name="T10" fmla="*/ 92 w 220"/>
                  <a:gd name="T11" fmla="*/ 18 h 240"/>
                  <a:gd name="T12" fmla="*/ 94 w 220"/>
                  <a:gd name="T13" fmla="*/ 25 h 240"/>
                  <a:gd name="T14" fmla="*/ 59 w 220"/>
                  <a:gd name="T15" fmla="*/ 54 h 240"/>
                  <a:gd name="T16" fmla="*/ 5 w 220"/>
                  <a:gd name="T17" fmla="*/ 54 h 240"/>
                  <a:gd name="T18" fmla="*/ 0 w 220"/>
                  <a:gd name="T19" fmla="*/ 58 h 240"/>
                  <a:gd name="T20" fmla="*/ 0 w 220"/>
                  <a:gd name="T21" fmla="*/ 235 h 240"/>
                  <a:gd name="T22" fmla="*/ 5 w 220"/>
                  <a:gd name="T23" fmla="*/ 240 h 240"/>
                  <a:gd name="T24" fmla="*/ 215 w 220"/>
                  <a:gd name="T25" fmla="*/ 240 h 240"/>
                  <a:gd name="T26" fmla="*/ 220 w 220"/>
                  <a:gd name="T27" fmla="*/ 235 h 240"/>
                  <a:gd name="T28" fmla="*/ 220 w 220"/>
                  <a:gd name="T29" fmla="*/ 58 h 240"/>
                  <a:gd name="T30" fmla="*/ 215 w 220"/>
                  <a:gd name="T31" fmla="*/ 54 h 240"/>
                  <a:gd name="T32" fmla="*/ 110 w 220"/>
                  <a:gd name="T33" fmla="*/ 10 h 240"/>
                  <a:gd name="T34" fmla="*/ 118 w 220"/>
                  <a:gd name="T35" fmla="*/ 18 h 240"/>
                  <a:gd name="T36" fmla="*/ 110 w 220"/>
                  <a:gd name="T37" fmla="*/ 25 h 240"/>
                  <a:gd name="T38" fmla="*/ 102 w 220"/>
                  <a:gd name="T39" fmla="*/ 18 h 240"/>
                  <a:gd name="T40" fmla="*/ 110 w 220"/>
                  <a:gd name="T41" fmla="*/ 10 h 240"/>
                  <a:gd name="T42" fmla="*/ 100 w 220"/>
                  <a:gd name="T43" fmla="*/ 32 h 240"/>
                  <a:gd name="T44" fmla="*/ 110 w 220"/>
                  <a:gd name="T45" fmla="*/ 35 h 240"/>
                  <a:gd name="T46" fmla="*/ 120 w 220"/>
                  <a:gd name="T47" fmla="*/ 32 h 240"/>
                  <a:gd name="T48" fmla="*/ 146 w 220"/>
                  <a:gd name="T49" fmla="*/ 54 h 240"/>
                  <a:gd name="T50" fmla="*/ 74 w 220"/>
                  <a:gd name="T51" fmla="*/ 54 h 240"/>
                  <a:gd name="T52" fmla="*/ 100 w 220"/>
                  <a:gd name="T53" fmla="*/ 32 h 240"/>
                  <a:gd name="T54" fmla="*/ 210 w 220"/>
                  <a:gd name="T55" fmla="*/ 230 h 240"/>
                  <a:gd name="T56" fmla="*/ 10 w 220"/>
                  <a:gd name="T57" fmla="*/ 230 h 240"/>
                  <a:gd name="T58" fmla="*/ 10 w 220"/>
                  <a:gd name="T59" fmla="*/ 98 h 240"/>
                  <a:gd name="T60" fmla="*/ 210 w 220"/>
                  <a:gd name="T61" fmla="*/ 98 h 240"/>
                  <a:gd name="T62" fmla="*/ 210 w 220"/>
                  <a:gd name="T63" fmla="*/ 230 h 240"/>
                  <a:gd name="T64" fmla="*/ 210 w 220"/>
                  <a:gd name="T65" fmla="*/ 89 h 240"/>
                  <a:gd name="T66" fmla="*/ 10 w 220"/>
                  <a:gd name="T67" fmla="*/ 89 h 240"/>
                  <a:gd name="T68" fmla="*/ 10 w 220"/>
                  <a:gd name="T69" fmla="*/ 63 h 240"/>
                  <a:gd name="T70" fmla="*/ 210 w 220"/>
                  <a:gd name="T71" fmla="*/ 63 h 240"/>
                  <a:gd name="T72" fmla="*/ 210 w 220"/>
                  <a:gd name="T73" fmla="*/ 89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0" h="240">
                    <a:moveTo>
                      <a:pt x="215" y="54"/>
                    </a:moveTo>
                    <a:cubicBezTo>
                      <a:pt x="161" y="54"/>
                      <a:pt x="161" y="54"/>
                      <a:pt x="161" y="54"/>
                    </a:cubicBezTo>
                    <a:cubicBezTo>
                      <a:pt x="126" y="25"/>
                      <a:pt x="126" y="25"/>
                      <a:pt x="126" y="25"/>
                    </a:cubicBezTo>
                    <a:cubicBezTo>
                      <a:pt x="127" y="23"/>
                      <a:pt x="127" y="20"/>
                      <a:pt x="127" y="18"/>
                    </a:cubicBezTo>
                    <a:cubicBezTo>
                      <a:pt x="127" y="8"/>
                      <a:pt x="119" y="0"/>
                      <a:pt x="110" y="0"/>
                    </a:cubicBezTo>
                    <a:cubicBezTo>
                      <a:pt x="100" y="0"/>
                      <a:pt x="92" y="8"/>
                      <a:pt x="92" y="18"/>
                    </a:cubicBezTo>
                    <a:cubicBezTo>
                      <a:pt x="92" y="20"/>
                      <a:pt x="93" y="23"/>
                      <a:pt x="94" y="25"/>
                    </a:cubicBezTo>
                    <a:cubicBezTo>
                      <a:pt x="59" y="54"/>
                      <a:pt x="59" y="54"/>
                      <a:pt x="59" y="54"/>
                    </a:cubicBezTo>
                    <a:cubicBezTo>
                      <a:pt x="5" y="54"/>
                      <a:pt x="5" y="54"/>
                      <a:pt x="5" y="54"/>
                    </a:cubicBezTo>
                    <a:cubicBezTo>
                      <a:pt x="2" y="54"/>
                      <a:pt x="0" y="56"/>
                      <a:pt x="0" y="58"/>
                    </a:cubicBezTo>
                    <a:cubicBezTo>
                      <a:pt x="0" y="235"/>
                      <a:pt x="0" y="235"/>
                      <a:pt x="0" y="235"/>
                    </a:cubicBezTo>
                    <a:cubicBezTo>
                      <a:pt x="0" y="238"/>
                      <a:pt x="2" y="240"/>
                      <a:pt x="5" y="240"/>
                    </a:cubicBezTo>
                    <a:cubicBezTo>
                      <a:pt x="215" y="240"/>
                      <a:pt x="215" y="240"/>
                      <a:pt x="215" y="240"/>
                    </a:cubicBezTo>
                    <a:cubicBezTo>
                      <a:pt x="218" y="240"/>
                      <a:pt x="220" y="238"/>
                      <a:pt x="220" y="235"/>
                    </a:cubicBezTo>
                    <a:cubicBezTo>
                      <a:pt x="220" y="58"/>
                      <a:pt x="220" y="58"/>
                      <a:pt x="220" y="58"/>
                    </a:cubicBezTo>
                    <a:cubicBezTo>
                      <a:pt x="220" y="56"/>
                      <a:pt x="218" y="54"/>
                      <a:pt x="215" y="54"/>
                    </a:cubicBezTo>
                    <a:close/>
                    <a:moveTo>
                      <a:pt x="110" y="10"/>
                    </a:moveTo>
                    <a:cubicBezTo>
                      <a:pt x="114" y="10"/>
                      <a:pt x="118" y="13"/>
                      <a:pt x="118" y="18"/>
                    </a:cubicBezTo>
                    <a:cubicBezTo>
                      <a:pt x="118" y="22"/>
                      <a:pt x="114" y="25"/>
                      <a:pt x="110" y="25"/>
                    </a:cubicBezTo>
                    <a:cubicBezTo>
                      <a:pt x="106" y="25"/>
                      <a:pt x="102" y="22"/>
                      <a:pt x="102" y="18"/>
                    </a:cubicBezTo>
                    <a:cubicBezTo>
                      <a:pt x="102" y="13"/>
                      <a:pt x="106" y="10"/>
                      <a:pt x="110" y="10"/>
                    </a:cubicBezTo>
                    <a:close/>
                    <a:moveTo>
                      <a:pt x="100" y="32"/>
                    </a:moveTo>
                    <a:cubicBezTo>
                      <a:pt x="103" y="34"/>
                      <a:pt x="106" y="35"/>
                      <a:pt x="110" y="35"/>
                    </a:cubicBezTo>
                    <a:cubicBezTo>
                      <a:pt x="113" y="35"/>
                      <a:pt x="117" y="34"/>
                      <a:pt x="120" y="32"/>
                    </a:cubicBezTo>
                    <a:cubicBezTo>
                      <a:pt x="146" y="54"/>
                      <a:pt x="146" y="54"/>
                      <a:pt x="146" y="54"/>
                    </a:cubicBezTo>
                    <a:cubicBezTo>
                      <a:pt x="74" y="54"/>
                      <a:pt x="74" y="54"/>
                      <a:pt x="74" y="54"/>
                    </a:cubicBezTo>
                    <a:lnTo>
                      <a:pt x="100" y="32"/>
                    </a:lnTo>
                    <a:close/>
                    <a:moveTo>
                      <a:pt x="210" y="230"/>
                    </a:moveTo>
                    <a:cubicBezTo>
                      <a:pt x="10" y="230"/>
                      <a:pt x="10" y="230"/>
                      <a:pt x="10" y="230"/>
                    </a:cubicBezTo>
                    <a:cubicBezTo>
                      <a:pt x="10" y="98"/>
                      <a:pt x="10" y="98"/>
                      <a:pt x="10" y="98"/>
                    </a:cubicBezTo>
                    <a:cubicBezTo>
                      <a:pt x="210" y="98"/>
                      <a:pt x="210" y="98"/>
                      <a:pt x="210" y="98"/>
                    </a:cubicBezTo>
                    <a:lnTo>
                      <a:pt x="210" y="230"/>
                    </a:lnTo>
                    <a:close/>
                    <a:moveTo>
                      <a:pt x="210" y="89"/>
                    </a:moveTo>
                    <a:cubicBezTo>
                      <a:pt x="10" y="89"/>
                      <a:pt x="10" y="89"/>
                      <a:pt x="10" y="89"/>
                    </a:cubicBezTo>
                    <a:cubicBezTo>
                      <a:pt x="10" y="63"/>
                      <a:pt x="10" y="63"/>
                      <a:pt x="10" y="63"/>
                    </a:cubicBezTo>
                    <a:cubicBezTo>
                      <a:pt x="210" y="63"/>
                      <a:pt x="210" y="63"/>
                      <a:pt x="210" y="63"/>
                    </a:cubicBezTo>
                    <a:lnTo>
                      <a:pt x="210" y="8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40" name="Freeform 25">
                <a:extLst>
                  <a:ext uri="{FF2B5EF4-FFF2-40B4-BE49-F238E27FC236}">
                    <a16:creationId xmlns:a16="http://schemas.microsoft.com/office/drawing/2014/main" id="{EDFE29C3-460D-4C7B-ACC6-FA2953182FFB}"/>
                  </a:ext>
                </a:extLst>
              </p:cNvPr>
              <p:cNvSpPr>
                <a:spLocks/>
              </p:cNvSpPr>
              <p:nvPr/>
            </p:nvSpPr>
            <p:spPr bwMode="auto">
              <a:xfrm>
                <a:off x="1944694" y="1935150"/>
                <a:ext cx="28575" cy="28575"/>
              </a:xfrm>
              <a:custGeom>
                <a:avLst/>
                <a:gdLst>
                  <a:gd name="T0" fmla="*/ 5 w 13"/>
                  <a:gd name="T1" fmla="*/ 13 h 13"/>
                  <a:gd name="T2" fmla="*/ 8 w 13"/>
                  <a:gd name="T3" fmla="*/ 13 h 13"/>
                  <a:gd name="T4" fmla="*/ 13 w 13"/>
                  <a:gd name="T5" fmla="*/ 8 h 13"/>
                  <a:gd name="T6" fmla="*/ 13 w 13"/>
                  <a:gd name="T7" fmla="*/ 5 h 13"/>
                  <a:gd name="T8" fmla="*/ 8 w 13"/>
                  <a:gd name="T9" fmla="*/ 0 h 13"/>
                  <a:gd name="T10" fmla="*/ 5 w 13"/>
                  <a:gd name="T11" fmla="*/ 0 h 13"/>
                  <a:gd name="T12" fmla="*/ 0 w 13"/>
                  <a:gd name="T13" fmla="*/ 5 h 13"/>
                  <a:gd name="T14" fmla="*/ 0 w 13"/>
                  <a:gd name="T15" fmla="*/ 8 h 13"/>
                  <a:gd name="T16" fmla="*/ 5 w 13"/>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3">
                    <a:moveTo>
                      <a:pt x="5" y="13"/>
                    </a:moveTo>
                    <a:cubicBezTo>
                      <a:pt x="8" y="13"/>
                      <a:pt x="8" y="13"/>
                      <a:pt x="8" y="13"/>
                    </a:cubicBezTo>
                    <a:cubicBezTo>
                      <a:pt x="10" y="13"/>
                      <a:pt x="13" y="10"/>
                      <a:pt x="13" y="8"/>
                    </a:cubicBezTo>
                    <a:cubicBezTo>
                      <a:pt x="13" y="5"/>
                      <a:pt x="13" y="5"/>
                      <a:pt x="13" y="5"/>
                    </a:cubicBezTo>
                    <a:cubicBezTo>
                      <a:pt x="13" y="2"/>
                      <a:pt x="10" y="0"/>
                      <a:pt x="8" y="0"/>
                    </a:cubicBezTo>
                    <a:cubicBezTo>
                      <a:pt x="5" y="0"/>
                      <a:pt x="5" y="0"/>
                      <a:pt x="5" y="0"/>
                    </a:cubicBezTo>
                    <a:cubicBezTo>
                      <a:pt x="2" y="0"/>
                      <a:pt x="0" y="2"/>
                      <a:pt x="0" y="5"/>
                    </a:cubicBezTo>
                    <a:cubicBezTo>
                      <a:pt x="0" y="8"/>
                      <a:pt x="0" y="8"/>
                      <a:pt x="0" y="8"/>
                    </a:cubicBezTo>
                    <a:cubicBezTo>
                      <a:pt x="0" y="10"/>
                      <a:pt x="2" y="13"/>
                      <a:pt x="5" y="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41" name="Freeform 26">
                <a:extLst>
                  <a:ext uri="{FF2B5EF4-FFF2-40B4-BE49-F238E27FC236}">
                    <a16:creationId xmlns:a16="http://schemas.microsoft.com/office/drawing/2014/main" id="{608BD750-55D9-4DC4-83D2-A546B363BA2E}"/>
                  </a:ext>
                </a:extLst>
              </p:cNvPr>
              <p:cNvSpPr>
                <a:spLocks/>
              </p:cNvSpPr>
              <p:nvPr/>
            </p:nvSpPr>
            <p:spPr bwMode="auto">
              <a:xfrm>
                <a:off x="2001846" y="1935150"/>
                <a:ext cx="26989" cy="28575"/>
              </a:xfrm>
              <a:custGeom>
                <a:avLst/>
                <a:gdLst>
                  <a:gd name="T0" fmla="*/ 4 w 12"/>
                  <a:gd name="T1" fmla="*/ 13 h 13"/>
                  <a:gd name="T2" fmla="*/ 7 w 12"/>
                  <a:gd name="T3" fmla="*/ 13 h 13"/>
                  <a:gd name="T4" fmla="*/ 12 w 12"/>
                  <a:gd name="T5" fmla="*/ 8 h 13"/>
                  <a:gd name="T6" fmla="*/ 12 w 12"/>
                  <a:gd name="T7" fmla="*/ 5 h 13"/>
                  <a:gd name="T8" fmla="*/ 7 w 12"/>
                  <a:gd name="T9" fmla="*/ 0 h 13"/>
                  <a:gd name="T10" fmla="*/ 4 w 12"/>
                  <a:gd name="T11" fmla="*/ 0 h 13"/>
                  <a:gd name="T12" fmla="*/ 0 w 12"/>
                  <a:gd name="T13" fmla="*/ 5 h 13"/>
                  <a:gd name="T14" fmla="*/ 0 w 12"/>
                  <a:gd name="T15" fmla="*/ 8 h 13"/>
                  <a:gd name="T16" fmla="*/ 4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4" y="13"/>
                    </a:moveTo>
                    <a:cubicBezTo>
                      <a:pt x="7" y="13"/>
                      <a:pt x="7" y="13"/>
                      <a:pt x="7" y="13"/>
                    </a:cubicBezTo>
                    <a:cubicBezTo>
                      <a:pt x="10" y="13"/>
                      <a:pt x="12" y="10"/>
                      <a:pt x="12" y="8"/>
                    </a:cubicBezTo>
                    <a:cubicBezTo>
                      <a:pt x="12" y="5"/>
                      <a:pt x="12" y="5"/>
                      <a:pt x="12" y="5"/>
                    </a:cubicBezTo>
                    <a:cubicBezTo>
                      <a:pt x="12" y="2"/>
                      <a:pt x="10" y="0"/>
                      <a:pt x="7" y="0"/>
                    </a:cubicBezTo>
                    <a:cubicBezTo>
                      <a:pt x="4" y="0"/>
                      <a:pt x="4" y="0"/>
                      <a:pt x="4" y="0"/>
                    </a:cubicBezTo>
                    <a:cubicBezTo>
                      <a:pt x="2" y="0"/>
                      <a:pt x="0" y="2"/>
                      <a:pt x="0" y="5"/>
                    </a:cubicBezTo>
                    <a:cubicBezTo>
                      <a:pt x="0" y="8"/>
                      <a:pt x="0" y="8"/>
                      <a:pt x="0" y="8"/>
                    </a:cubicBezTo>
                    <a:cubicBezTo>
                      <a:pt x="0" y="10"/>
                      <a:pt x="2" y="13"/>
                      <a:pt x="4" y="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42" name="Freeform 27">
                <a:extLst>
                  <a:ext uri="{FF2B5EF4-FFF2-40B4-BE49-F238E27FC236}">
                    <a16:creationId xmlns:a16="http://schemas.microsoft.com/office/drawing/2014/main" id="{96B491DF-2F8A-4229-8A6A-013C554CFBAF}"/>
                  </a:ext>
                </a:extLst>
              </p:cNvPr>
              <p:cNvSpPr>
                <a:spLocks/>
              </p:cNvSpPr>
              <p:nvPr/>
            </p:nvSpPr>
            <p:spPr bwMode="auto">
              <a:xfrm>
                <a:off x="2057407" y="1935148"/>
                <a:ext cx="25400" cy="28575"/>
              </a:xfrm>
              <a:custGeom>
                <a:avLst/>
                <a:gdLst>
                  <a:gd name="T0" fmla="*/ 5 w 12"/>
                  <a:gd name="T1" fmla="*/ 13 h 13"/>
                  <a:gd name="T2" fmla="*/ 7 w 12"/>
                  <a:gd name="T3" fmla="*/ 13 h 13"/>
                  <a:gd name="T4" fmla="*/ 12 w 12"/>
                  <a:gd name="T5" fmla="*/ 8 h 13"/>
                  <a:gd name="T6" fmla="*/ 12 w 12"/>
                  <a:gd name="T7" fmla="*/ 5 h 13"/>
                  <a:gd name="T8" fmla="*/ 7 w 12"/>
                  <a:gd name="T9" fmla="*/ 0 h 13"/>
                  <a:gd name="T10" fmla="*/ 5 w 12"/>
                  <a:gd name="T11" fmla="*/ 0 h 13"/>
                  <a:gd name="T12" fmla="*/ 0 w 12"/>
                  <a:gd name="T13" fmla="*/ 5 h 13"/>
                  <a:gd name="T14" fmla="*/ 0 w 12"/>
                  <a:gd name="T15" fmla="*/ 8 h 13"/>
                  <a:gd name="T16" fmla="*/ 5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5" y="13"/>
                    </a:moveTo>
                    <a:cubicBezTo>
                      <a:pt x="7" y="13"/>
                      <a:pt x="7" y="13"/>
                      <a:pt x="7" y="13"/>
                    </a:cubicBezTo>
                    <a:cubicBezTo>
                      <a:pt x="10" y="13"/>
                      <a:pt x="12" y="10"/>
                      <a:pt x="12" y="8"/>
                    </a:cubicBezTo>
                    <a:cubicBezTo>
                      <a:pt x="12" y="5"/>
                      <a:pt x="12" y="5"/>
                      <a:pt x="12" y="5"/>
                    </a:cubicBezTo>
                    <a:cubicBezTo>
                      <a:pt x="12" y="2"/>
                      <a:pt x="10" y="0"/>
                      <a:pt x="7" y="0"/>
                    </a:cubicBezTo>
                    <a:cubicBezTo>
                      <a:pt x="5" y="0"/>
                      <a:pt x="5" y="0"/>
                      <a:pt x="5" y="0"/>
                    </a:cubicBezTo>
                    <a:cubicBezTo>
                      <a:pt x="2" y="0"/>
                      <a:pt x="0" y="2"/>
                      <a:pt x="0" y="5"/>
                    </a:cubicBezTo>
                    <a:cubicBezTo>
                      <a:pt x="0" y="8"/>
                      <a:pt x="0" y="8"/>
                      <a:pt x="0" y="8"/>
                    </a:cubicBezTo>
                    <a:cubicBezTo>
                      <a:pt x="0" y="10"/>
                      <a:pt x="2" y="13"/>
                      <a:pt x="5" y="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43" name="Freeform 28">
                <a:extLst>
                  <a:ext uri="{FF2B5EF4-FFF2-40B4-BE49-F238E27FC236}">
                    <a16:creationId xmlns:a16="http://schemas.microsoft.com/office/drawing/2014/main" id="{69C31F63-0807-41A6-9E1C-29F28E68D0E9}"/>
                  </a:ext>
                </a:extLst>
              </p:cNvPr>
              <p:cNvSpPr>
                <a:spLocks/>
              </p:cNvSpPr>
              <p:nvPr/>
            </p:nvSpPr>
            <p:spPr bwMode="auto">
              <a:xfrm>
                <a:off x="1722447" y="1998647"/>
                <a:ext cx="25400" cy="26988"/>
              </a:xfrm>
              <a:custGeom>
                <a:avLst/>
                <a:gdLst>
                  <a:gd name="T0" fmla="*/ 5 w 12"/>
                  <a:gd name="T1" fmla="*/ 12 h 12"/>
                  <a:gd name="T2" fmla="*/ 7 w 12"/>
                  <a:gd name="T3" fmla="*/ 12 h 12"/>
                  <a:gd name="T4" fmla="*/ 12 w 12"/>
                  <a:gd name="T5" fmla="*/ 7 h 12"/>
                  <a:gd name="T6" fmla="*/ 12 w 12"/>
                  <a:gd name="T7" fmla="*/ 4 h 12"/>
                  <a:gd name="T8" fmla="*/ 7 w 12"/>
                  <a:gd name="T9" fmla="*/ 0 h 12"/>
                  <a:gd name="T10" fmla="*/ 5 w 12"/>
                  <a:gd name="T11" fmla="*/ 0 h 12"/>
                  <a:gd name="T12" fmla="*/ 0 w 12"/>
                  <a:gd name="T13" fmla="*/ 4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7"/>
                    </a:cubicBezTo>
                    <a:cubicBezTo>
                      <a:pt x="12" y="4"/>
                      <a:pt x="12" y="4"/>
                      <a:pt x="12" y="4"/>
                    </a:cubicBezTo>
                    <a:cubicBezTo>
                      <a:pt x="12" y="2"/>
                      <a:pt x="10" y="0"/>
                      <a:pt x="7" y="0"/>
                    </a:cubicBezTo>
                    <a:cubicBezTo>
                      <a:pt x="5" y="0"/>
                      <a:pt x="5" y="0"/>
                      <a:pt x="5" y="0"/>
                    </a:cubicBezTo>
                    <a:cubicBezTo>
                      <a:pt x="2" y="0"/>
                      <a:pt x="0" y="2"/>
                      <a:pt x="0" y="4"/>
                    </a:cubicBezTo>
                    <a:cubicBezTo>
                      <a:pt x="0" y="7"/>
                      <a:pt x="0" y="7"/>
                      <a:pt x="0" y="7"/>
                    </a:cubicBezTo>
                    <a:cubicBezTo>
                      <a:pt x="0" y="10"/>
                      <a:pt x="2" y="12"/>
                      <a:pt x="5"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44" name="Freeform 29">
                <a:extLst>
                  <a:ext uri="{FF2B5EF4-FFF2-40B4-BE49-F238E27FC236}">
                    <a16:creationId xmlns:a16="http://schemas.microsoft.com/office/drawing/2014/main" id="{6B47772C-63ED-4EBB-A8F6-A0A04A706697}"/>
                  </a:ext>
                </a:extLst>
              </p:cNvPr>
              <p:cNvSpPr>
                <a:spLocks/>
              </p:cNvSpPr>
              <p:nvPr/>
            </p:nvSpPr>
            <p:spPr bwMode="auto">
              <a:xfrm>
                <a:off x="1776422" y="1998647"/>
                <a:ext cx="26989" cy="26988"/>
              </a:xfrm>
              <a:custGeom>
                <a:avLst/>
                <a:gdLst>
                  <a:gd name="T0" fmla="*/ 5 w 12"/>
                  <a:gd name="T1" fmla="*/ 12 h 12"/>
                  <a:gd name="T2" fmla="*/ 8 w 12"/>
                  <a:gd name="T3" fmla="*/ 12 h 12"/>
                  <a:gd name="T4" fmla="*/ 12 w 12"/>
                  <a:gd name="T5" fmla="*/ 7 h 12"/>
                  <a:gd name="T6" fmla="*/ 12 w 12"/>
                  <a:gd name="T7" fmla="*/ 4 h 12"/>
                  <a:gd name="T8" fmla="*/ 8 w 12"/>
                  <a:gd name="T9" fmla="*/ 0 h 12"/>
                  <a:gd name="T10" fmla="*/ 5 w 12"/>
                  <a:gd name="T11" fmla="*/ 0 h 12"/>
                  <a:gd name="T12" fmla="*/ 0 w 12"/>
                  <a:gd name="T13" fmla="*/ 4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8" y="12"/>
                      <a:pt x="8" y="12"/>
                      <a:pt x="8" y="12"/>
                    </a:cubicBezTo>
                    <a:cubicBezTo>
                      <a:pt x="10" y="12"/>
                      <a:pt x="12" y="10"/>
                      <a:pt x="12" y="7"/>
                    </a:cubicBezTo>
                    <a:cubicBezTo>
                      <a:pt x="12" y="4"/>
                      <a:pt x="12" y="4"/>
                      <a:pt x="12" y="4"/>
                    </a:cubicBezTo>
                    <a:cubicBezTo>
                      <a:pt x="12" y="2"/>
                      <a:pt x="10" y="0"/>
                      <a:pt x="8" y="0"/>
                    </a:cubicBezTo>
                    <a:cubicBezTo>
                      <a:pt x="5" y="0"/>
                      <a:pt x="5" y="0"/>
                      <a:pt x="5" y="0"/>
                    </a:cubicBezTo>
                    <a:cubicBezTo>
                      <a:pt x="2" y="0"/>
                      <a:pt x="0" y="2"/>
                      <a:pt x="0" y="4"/>
                    </a:cubicBezTo>
                    <a:cubicBezTo>
                      <a:pt x="0" y="7"/>
                      <a:pt x="0" y="7"/>
                      <a:pt x="0" y="7"/>
                    </a:cubicBezTo>
                    <a:cubicBezTo>
                      <a:pt x="0" y="10"/>
                      <a:pt x="2" y="12"/>
                      <a:pt x="5"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45" name="Freeform 30">
                <a:extLst>
                  <a:ext uri="{FF2B5EF4-FFF2-40B4-BE49-F238E27FC236}">
                    <a16:creationId xmlns:a16="http://schemas.microsoft.com/office/drawing/2014/main" id="{8A260253-3D23-4740-9D7F-B0BB762CE40D}"/>
                  </a:ext>
                </a:extLst>
              </p:cNvPr>
              <p:cNvSpPr>
                <a:spLocks/>
              </p:cNvSpPr>
              <p:nvPr/>
            </p:nvSpPr>
            <p:spPr bwMode="auto">
              <a:xfrm>
                <a:off x="1833572" y="1998647"/>
                <a:ext cx="26989" cy="26988"/>
              </a:xfrm>
              <a:custGeom>
                <a:avLst/>
                <a:gdLst>
                  <a:gd name="T0" fmla="*/ 4 w 12"/>
                  <a:gd name="T1" fmla="*/ 12 h 12"/>
                  <a:gd name="T2" fmla="*/ 7 w 12"/>
                  <a:gd name="T3" fmla="*/ 12 h 12"/>
                  <a:gd name="T4" fmla="*/ 12 w 12"/>
                  <a:gd name="T5" fmla="*/ 7 h 12"/>
                  <a:gd name="T6" fmla="*/ 12 w 12"/>
                  <a:gd name="T7" fmla="*/ 4 h 12"/>
                  <a:gd name="T8" fmla="*/ 7 w 12"/>
                  <a:gd name="T9" fmla="*/ 0 h 12"/>
                  <a:gd name="T10" fmla="*/ 4 w 12"/>
                  <a:gd name="T11" fmla="*/ 0 h 12"/>
                  <a:gd name="T12" fmla="*/ 0 w 12"/>
                  <a:gd name="T13" fmla="*/ 4 h 12"/>
                  <a:gd name="T14" fmla="*/ 0 w 12"/>
                  <a:gd name="T15" fmla="*/ 7 h 12"/>
                  <a:gd name="T16" fmla="*/ 4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4" y="12"/>
                    </a:moveTo>
                    <a:cubicBezTo>
                      <a:pt x="7" y="12"/>
                      <a:pt x="7" y="12"/>
                      <a:pt x="7" y="12"/>
                    </a:cubicBezTo>
                    <a:cubicBezTo>
                      <a:pt x="10" y="12"/>
                      <a:pt x="12" y="10"/>
                      <a:pt x="12" y="7"/>
                    </a:cubicBezTo>
                    <a:cubicBezTo>
                      <a:pt x="12" y="4"/>
                      <a:pt x="12" y="4"/>
                      <a:pt x="12" y="4"/>
                    </a:cubicBezTo>
                    <a:cubicBezTo>
                      <a:pt x="12" y="2"/>
                      <a:pt x="10" y="0"/>
                      <a:pt x="7" y="0"/>
                    </a:cubicBezTo>
                    <a:cubicBezTo>
                      <a:pt x="4" y="0"/>
                      <a:pt x="4" y="0"/>
                      <a:pt x="4" y="0"/>
                    </a:cubicBezTo>
                    <a:cubicBezTo>
                      <a:pt x="2" y="0"/>
                      <a:pt x="0" y="2"/>
                      <a:pt x="0" y="4"/>
                    </a:cubicBezTo>
                    <a:cubicBezTo>
                      <a:pt x="0" y="7"/>
                      <a:pt x="0" y="7"/>
                      <a:pt x="0" y="7"/>
                    </a:cubicBezTo>
                    <a:cubicBezTo>
                      <a:pt x="0" y="10"/>
                      <a:pt x="2" y="12"/>
                      <a:pt x="4"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46" name="Freeform 31">
                <a:extLst>
                  <a:ext uri="{FF2B5EF4-FFF2-40B4-BE49-F238E27FC236}">
                    <a16:creationId xmlns:a16="http://schemas.microsoft.com/office/drawing/2014/main" id="{4B1929A5-5CC3-4E2B-B81A-D01AC4FF3268}"/>
                  </a:ext>
                </a:extLst>
              </p:cNvPr>
              <p:cNvSpPr>
                <a:spLocks/>
              </p:cNvSpPr>
              <p:nvPr/>
            </p:nvSpPr>
            <p:spPr bwMode="auto">
              <a:xfrm>
                <a:off x="1889135" y="1998647"/>
                <a:ext cx="26989" cy="26988"/>
              </a:xfrm>
              <a:custGeom>
                <a:avLst/>
                <a:gdLst>
                  <a:gd name="T0" fmla="*/ 5 w 12"/>
                  <a:gd name="T1" fmla="*/ 12 h 12"/>
                  <a:gd name="T2" fmla="*/ 7 w 12"/>
                  <a:gd name="T3" fmla="*/ 12 h 12"/>
                  <a:gd name="T4" fmla="*/ 12 w 12"/>
                  <a:gd name="T5" fmla="*/ 7 h 12"/>
                  <a:gd name="T6" fmla="*/ 12 w 12"/>
                  <a:gd name="T7" fmla="*/ 4 h 12"/>
                  <a:gd name="T8" fmla="*/ 7 w 12"/>
                  <a:gd name="T9" fmla="*/ 0 h 12"/>
                  <a:gd name="T10" fmla="*/ 5 w 12"/>
                  <a:gd name="T11" fmla="*/ 0 h 12"/>
                  <a:gd name="T12" fmla="*/ 0 w 12"/>
                  <a:gd name="T13" fmla="*/ 4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7"/>
                    </a:cubicBezTo>
                    <a:cubicBezTo>
                      <a:pt x="12" y="4"/>
                      <a:pt x="12" y="4"/>
                      <a:pt x="12" y="4"/>
                    </a:cubicBezTo>
                    <a:cubicBezTo>
                      <a:pt x="12" y="2"/>
                      <a:pt x="10" y="0"/>
                      <a:pt x="7" y="0"/>
                    </a:cubicBezTo>
                    <a:cubicBezTo>
                      <a:pt x="5" y="0"/>
                      <a:pt x="5" y="0"/>
                      <a:pt x="5" y="0"/>
                    </a:cubicBezTo>
                    <a:cubicBezTo>
                      <a:pt x="2" y="0"/>
                      <a:pt x="0" y="2"/>
                      <a:pt x="0" y="4"/>
                    </a:cubicBezTo>
                    <a:cubicBezTo>
                      <a:pt x="0" y="7"/>
                      <a:pt x="0" y="7"/>
                      <a:pt x="0" y="7"/>
                    </a:cubicBezTo>
                    <a:cubicBezTo>
                      <a:pt x="0" y="10"/>
                      <a:pt x="2" y="12"/>
                      <a:pt x="5"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47" name="Freeform 32">
                <a:extLst>
                  <a:ext uri="{FF2B5EF4-FFF2-40B4-BE49-F238E27FC236}">
                    <a16:creationId xmlns:a16="http://schemas.microsoft.com/office/drawing/2014/main" id="{0974F9C5-963D-46EB-A4FD-60A1A6EBE7A7}"/>
                  </a:ext>
                </a:extLst>
              </p:cNvPr>
              <p:cNvSpPr>
                <a:spLocks/>
              </p:cNvSpPr>
              <p:nvPr/>
            </p:nvSpPr>
            <p:spPr bwMode="auto">
              <a:xfrm>
                <a:off x="1944696" y="1998647"/>
                <a:ext cx="28575" cy="26988"/>
              </a:xfrm>
              <a:custGeom>
                <a:avLst/>
                <a:gdLst>
                  <a:gd name="T0" fmla="*/ 5 w 13"/>
                  <a:gd name="T1" fmla="*/ 12 h 12"/>
                  <a:gd name="T2" fmla="*/ 8 w 13"/>
                  <a:gd name="T3" fmla="*/ 12 h 12"/>
                  <a:gd name="T4" fmla="*/ 13 w 13"/>
                  <a:gd name="T5" fmla="*/ 7 h 12"/>
                  <a:gd name="T6" fmla="*/ 13 w 13"/>
                  <a:gd name="T7" fmla="*/ 4 h 12"/>
                  <a:gd name="T8" fmla="*/ 8 w 13"/>
                  <a:gd name="T9" fmla="*/ 0 h 12"/>
                  <a:gd name="T10" fmla="*/ 5 w 13"/>
                  <a:gd name="T11" fmla="*/ 0 h 12"/>
                  <a:gd name="T12" fmla="*/ 0 w 13"/>
                  <a:gd name="T13" fmla="*/ 4 h 12"/>
                  <a:gd name="T14" fmla="*/ 0 w 13"/>
                  <a:gd name="T15" fmla="*/ 7 h 12"/>
                  <a:gd name="T16" fmla="*/ 5 w 13"/>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2">
                    <a:moveTo>
                      <a:pt x="5" y="12"/>
                    </a:moveTo>
                    <a:cubicBezTo>
                      <a:pt x="8" y="12"/>
                      <a:pt x="8" y="12"/>
                      <a:pt x="8" y="12"/>
                    </a:cubicBezTo>
                    <a:cubicBezTo>
                      <a:pt x="10" y="12"/>
                      <a:pt x="13" y="10"/>
                      <a:pt x="13" y="7"/>
                    </a:cubicBezTo>
                    <a:cubicBezTo>
                      <a:pt x="13" y="4"/>
                      <a:pt x="13" y="4"/>
                      <a:pt x="13" y="4"/>
                    </a:cubicBezTo>
                    <a:cubicBezTo>
                      <a:pt x="13" y="2"/>
                      <a:pt x="10" y="0"/>
                      <a:pt x="8" y="0"/>
                    </a:cubicBezTo>
                    <a:cubicBezTo>
                      <a:pt x="5" y="0"/>
                      <a:pt x="5" y="0"/>
                      <a:pt x="5" y="0"/>
                    </a:cubicBezTo>
                    <a:cubicBezTo>
                      <a:pt x="2" y="0"/>
                      <a:pt x="0" y="2"/>
                      <a:pt x="0" y="4"/>
                    </a:cubicBezTo>
                    <a:cubicBezTo>
                      <a:pt x="0" y="7"/>
                      <a:pt x="0" y="7"/>
                      <a:pt x="0" y="7"/>
                    </a:cubicBezTo>
                    <a:cubicBezTo>
                      <a:pt x="0" y="10"/>
                      <a:pt x="2" y="12"/>
                      <a:pt x="5"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48" name="Freeform 33">
                <a:extLst>
                  <a:ext uri="{FF2B5EF4-FFF2-40B4-BE49-F238E27FC236}">
                    <a16:creationId xmlns:a16="http://schemas.microsoft.com/office/drawing/2014/main" id="{6F822A95-3A22-4402-8972-6CC5DB102A3C}"/>
                  </a:ext>
                </a:extLst>
              </p:cNvPr>
              <p:cNvSpPr>
                <a:spLocks/>
              </p:cNvSpPr>
              <p:nvPr/>
            </p:nvSpPr>
            <p:spPr bwMode="auto">
              <a:xfrm>
                <a:off x="2001848" y="1998640"/>
                <a:ext cx="26989" cy="26988"/>
              </a:xfrm>
              <a:custGeom>
                <a:avLst/>
                <a:gdLst>
                  <a:gd name="T0" fmla="*/ 4 w 12"/>
                  <a:gd name="T1" fmla="*/ 12 h 12"/>
                  <a:gd name="T2" fmla="*/ 7 w 12"/>
                  <a:gd name="T3" fmla="*/ 12 h 12"/>
                  <a:gd name="T4" fmla="*/ 12 w 12"/>
                  <a:gd name="T5" fmla="*/ 7 h 12"/>
                  <a:gd name="T6" fmla="*/ 12 w 12"/>
                  <a:gd name="T7" fmla="*/ 4 h 12"/>
                  <a:gd name="T8" fmla="*/ 7 w 12"/>
                  <a:gd name="T9" fmla="*/ 0 h 12"/>
                  <a:gd name="T10" fmla="*/ 4 w 12"/>
                  <a:gd name="T11" fmla="*/ 0 h 12"/>
                  <a:gd name="T12" fmla="*/ 0 w 12"/>
                  <a:gd name="T13" fmla="*/ 4 h 12"/>
                  <a:gd name="T14" fmla="*/ 0 w 12"/>
                  <a:gd name="T15" fmla="*/ 7 h 12"/>
                  <a:gd name="T16" fmla="*/ 4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4" y="12"/>
                    </a:moveTo>
                    <a:cubicBezTo>
                      <a:pt x="7" y="12"/>
                      <a:pt x="7" y="12"/>
                      <a:pt x="7" y="12"/>
                    </a:cubicBezTo>
                    <a:cubicBezTo>
                      <a:pt x="10" y="12"/>
                      <a:pt x="12" y="10"/>
                      <a:pt x="12" y="7"/>
                    </a:cubicBezTo>
                    <a:cubicBezTo>
                      <a:pt x="12" y="4"/>
                      <a:pt x="12" y="4"/>
                      <a:pt x="12" y="4"/>
                    </a:cubicBezTo>
                    <a:cubicBezTo>
                      <a:pt x="12" y="2"/>
                      <a:pt x="10" y="0"/>
                      <a:pt x="7" y="0"/>
                    </a:cubicBezTo>
                    <a:cubicBezTo>
                      <a:pt x="4" y="0"/>
                      <a:pt x="4" y="0"/>
                      <a:pt x="4" y="0"/>
                    </a:cubicBezTo>
                    <a:cubicBezTo>
                      <a:pt x="2" y="0"/>
                      <a:pt x="0" y="2"/>
                      <a:pt x="0" y="4"/>
                    </a:cubicBezTo>
                    <a:cubicBezTo>
                      <a:pt x="0" y="7"/>
                      <a:pt x="0" y="7"/>
                      <a:pt x="0" y="7"/>
                    </a:cubicBezTo>
                    <a:cubicBezTo>
                      <a:pt x="0" y="10"/>
                      <a:pt x="2" y="12"/>
                      <a:pt x="4"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49" name="Freeform 34">
                <a:extLst>
                  <a:ext uri="{FF2B5EF4-FFF2-40B4-BE49-F238E27FC236}">
                    <a16:creationId xmlns:a16="http://schemas.microsoft.com/office/drawing/2014/main" id="{9232BA03-7AFA-4A5B-BD2E-1ACAE8507691}"/>
                  </a:ext>
                </a:extLst>
              </p:cNvPr>
              <p:cNvSpPr>
                <a:spLocks/>
              </p:cNvSpPr>
              <p:nvPr/>
            </p:nvSpPr>
            <p:spPr bwMode="auto">
              <a:xfrm>
                <a:off x="2057410" y="1998645"/>
                <a:ext cx="25400" cy="26988"/>
              </a:xfrm>
              <a:custGeom>
                <a:avLst/>
                <a:gdLst>
                  <a:gd name="T0" fmla="*/ 5 w 12"/>
                  <a:gd name="T1" fmla="*/ 12 h 12"/>
                  <a:gd name="T2" fmla="*/ 7 w 12"/>
                  <a:gd name="T3" fmla="*/ 12 h 12"/>
                  <a:gd name="T4" fmla="*/ 12 w 12"/>
                  <a:gd name="T5" fmla="*/ 7 h 12"/>
                  <a:gd name="T6" fmla="*/ 12 w 12"/>
                  <a:gd name="T7" fmla="*/ 4 h 12"/>
                  <a:gd name="T8" fmla="*/ 7 w 12"/>
                  <a:gd name="T9" fmla="*/ 0 h 12"/>
                  <a:gd name="T10" fmla="*/ 5 w 12"/>
                  <a:gd name="T11" fmla="*/ 0 h 12"/>
                  <a:gd name="T12" fmla="*/ 0 w 12"/>
                  <a:gd name="T13" fmla="*/ 4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7"/>
                    </a:cubicBezTo>
                    <a:cubicBezTo>
                      <a:pt x="12" y="4"/>
                      <a:pt x="12" y="4"/>
                      <a:pt x="12" y="4"/>
                    </a:cubicBezTo>
                    <a:cubicBezTo>
                      <a:pt x="12" y="2"/>
                      <a:pt x="10" y="0"/>
                      <a:pt x="7" y="0"/>
                    </a:cubicBezTo>
                    <a:cubicBezTo>
                      <a:pt x="5" y="0"/>
                      <a:pt x="5" y="0"/>
                      <a:pt x="5" y="0"/>
                    </a:cubicBezTo>
                    <a:cubicBezTo>
                      <a:pt x="2" y="0"/>
                      <a:pt x="0" y="2"/>
                      <a:pt x="0" y="4"/>
                    </a:cubicBezTo>
                    <a:cubicBezTo>
                      <a:pt x="0" y="7"/>
                      <a:pt x="0" y="7"/>
                      <a:pt x="0" y="7"/>
                    </a:cubicBezTo>
                    <a:cubicBezTo>
                      <a:pt x="0" y="10"/>
                      <a:pt x="2" y="12"/>
                      <a:pt x="5"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50" name="Freeform 35">
                <a:extLst>
                  <a:ext uri="{FF2B5EF4-FFF2-40B4-BE49-F238E27FC236}">
                    <a16:creationId xmlns:a16="http://schemas.microsoft.com/office/drawing/2014/main" id="{7A6472AB-367F-4F3C-92FB-BE52BE818F0D}"/>
                  </a:ext>
                </a:extLst>
              </p:cNvPr>
              <p:cNvSpPr>
                <a:spLocks/>
              </p:cNvSpPr>
              <p:nvPr/>
            </p:nvSpPr>
            <p:spPr bwMode="auto">
              <a:xfrm>
                <a:off x="1722449" y="2060557"/>
                <a:ext cx="25400" cy="26988"/>
              </a:xfrm>
              <a:custGeom>
                <a:avLst/>
                <a:gdLst>
                  <a:gd name="T0" fmla="*/ 5 w 12"/>
                  <a:gd name="T1" fmla="*/ 12 h 12"/>
                  <a:gd name="T2" fmla="*/ 7 w 12"/>
                  <a:gd name="T3" fmla="*/ 12 h 12"/>
                  <a:gd name="T4" fmla="*/ 12 w 12"/>
                  <a:gd name="T5" fmla="*/ 7 h 12"/>
                  <a:gd name="T6" fmla="*/ 12 w 12"/>
                  <a:gd name="T7" fmla="*/ 5 h 12"/>
                  <a:gd name="T8" fmla="*/ 7 w 12"/>
                  <a:gd name="T9" fmla="*/ 0 h 12"/>
                  <a:gd name="T10" fmla="*/ 5 w 12"/>
                  <a:gd name="T11" fmla="*/ 0 h 12"/>
                  <a:gd name="T12" fmla="*/ 0 w 12"/>
                  <a:gd name="T13" fmla="*/ 5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7"/>
                    </a:cubicBezTo>
                    <a:cubicBezTo>
                      <a:pt x="12" y="5"/>
                      <a:pt x="12" y="5"/>
                      <a:pt x="12" y="5"/>
                    </a:cubicBezTo>
                    <a:cubicBezTo>
                      <a:pt x="12" y="2"/>
                      <a:pt x="10" y="0"/>
                      <a:pt x="7" y="0"/>
                    </a:cubicBezTo>
                    <a:cubicBezTo>
                      <a:pt x="5" y="0"/>
                      <a:pt x="5" y="0"/>
                      <a:pt x="5" y="0"/>
                    </a:cubicBezTo>
                    <a:cubicBezTo>
                      <a:pt x="2" y="0"/>
                      <a:pt x="0" y="2"/>
                      <a:pt x="0" y="5"/>
                    </a:cubicBezTo>
                    <a:cubicBezTo>
                      <a:pt x="0" y="7"/>
                      <a:pt x="0" y="7"/>
                      <a:pt x="0" y="7"/>
                    </a:cubicBezTo>
                    <a:cubicBezTo>
                      <a:pt x="0" y="10"/>
                      <a:pt x="2" y="12"/>
                      <a:pt x="5"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51" name="Freeform 36">
                <a:extLst>
                  <a:ext uri="{FF2B5EF4-FFF2-40B4-BE49-F238E27FC236}">
                    <a16:creationId xmlns:a16="http://schemas.microsoft.com/office/drawing/2014/main" id="{BCA614B1-5B4E-4F11-AB80-A53491F31712}"/>
                  </a:ext>
                </a:extLst>
              </p:cNvPr>
              <p:cNvSpPr>
                <a:spLocks/>
              </p:cNvSpPr>
              <p:nvPr/>
            </p:nvSpPr>
            <p:spPr bwMode="auto">
              <a:xfrm>
                <a:off x="1776424" y="2060557"/>
                <a:ext cx="26989" cy="26988"/>
              </a:xfrm>
              <a:custGeom>
                <a:avLst/>
                <a:gdLst>
                  <a:gd name="T0" fmla="*/ 5 w 12"/>
                  <a:gd name="T1" fmla="*/ 12 h 12"/>
                  <a:gd name="T2" fmla="*/ 8 w 12"/>
                  <a:gd name="T3" fmla="*/ 12 h 12"/>
                  <a:gd name="T4" fmla="*/ 12 w 12"/>
                  <a:gd name="T5" fmla="*/ 7 h 12"/>
                  <a:gd name="T6" fmla="*/ 12 w 12"/>
                  <a:gd name="T7" fmla="*/ 5 h 12"/>
                  <a:gd name="T8" fmla="*/ 8 w 12"/>
                  <a:gd name="T9" fmla="*/ 0 h 12"/>
                  <a:gd name="T10" fmla="*/ 5 w 12"/>
                  <a:gd name="T11" fmla="*/ 0 h 12"/>
                  <a:gd name="T12" fmla="*/ 0 w 12"/>
                  <a:gd name="T13" fmla="*/ 5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8" y="12"/>
                      <a:pt x="8" y="12"/>
                      <a:pt x="8" y="12"/>
                    </a:cubicBezTo>
                    <a:cubicBezTo>
                      <a:pt x="10" y="12"/>
                      <a:pt x="12" y="10"/>
                      <a:pt x="12" y="7"/>
                    </a:cubicBezTo>
                    <a:cubicBezTo>
                      <a:pt x="12" y="5"/>
                      <a:pt x="12" y="5"/>
                      <a:pt x="12" y="5"/>
                    </a:cubicBezTo>
                    <a:cubicBezTo>
                      <a:pt x="12" y="2"/>
                      <a:pt x="10" y="0"/>
                      <a:pt x="8" y="0"/>
                    </a:cubicBezTo>
                    <a:cubicBezTo>
                      <a:pt x="5" y="0"/>
                      <a:pt x="5" y="0"/>
                      <a:pt x="5" y="0"/>
                    </a:cubicBezTo>
                    <a:cubicBezTo>
                      <a:pt x="2" y="0"/>
                      <a:pt x="0" y="2"/>
                      <a:pt x="0" y="5"/>
                    </a:cubicBezTo>
                    <a:cubicBezTo>
                      <a:pt x="0" y="7"/>
                      <a:pt x="0" y="7"/>
                      <a:pt x="0" y="7"/>
                    </a:cubicBezTo>
                    <a:cubicBezTo>
                      <a:pt x="0" y="10"/>
                      <a:pt x="2" y="12"/>
                      <a:pt x="5"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52" name="Freeform 37">
                <a:extLst>
                  <a:ext uri="{FF2B5EF4-FFF2-40B4-BE49-F238E27FC236}">
                    <a16:creationId xmlns:a16="http://schemas.microsoft.com/office/drawing/2014/main" id="{56C35D83-CEB9-422F-8813-8BCAC7DF614F}"/>
                  </a:ext>
                </a:extLst>
              </p:cNvPr>
              <p:cNvSpPr>
                <a:spLocks/>
              </p:cNvSpPr>
              <p:nvPr/>
            </p:nvSpPr>
            <p:spPr bwMode="auto">
              <a:xfrm>
                <a:off x="1833574" y="2060557"/>
                <a:ext cx="26989" cy="26988"/>
              </a:xfrm>
              <a:custGeom>
                <a:avLst/>
                <a:gdLst>
                  <a:gd name="T0" fmla="*/ 4 w 12"/>
                  <a:gd name="T1" fmla="*/ 12 h 12"/>
                  <a:gd name="T2" fmla="*/ 7 w 12"/>
                  <a:gd name="T3" fmla="*/ 12 h 12"/>
                  <a:gd name="T4" fmla="*/ 12 w 12"/>
                  <a:gd name="T5" fmla="*/ 7 h 12"/>
                  <a:gd name="T6" fmla="*/ 12 w 12"/>
                  <a:gd name="T7" fmla="*/ 5 h 12"/>
                  <a:gd name="T8" fmla="*/ 7 w 12"/>
                  <a:gd name="T9" fmla="*/ 0 h 12"/>
                  <a:gd name="T10" fmla="*/ 4 w 12"/>
                  <a:gd name="T11" fmla="*/ 0 h 12"/>
                  <a:gd name="T12" fmla="*/ 0 w 12"/>
                  <a:gd name="T13" fmla="*/ 5 h 12"/>
                  <a:gd name="T14" fmla="*/ 0 w 12"/>
                  <a:gd name="T15" fmla="*/ 7 h 12"/>
                  <a:gd name="T16" fmla="*/ 4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4" y="12"/>
                    </a:moveTo>
                    <a:cubicBezTo>
                      <a:pt x="7" y="12"/>
                      <a:pt x="7" y="12"/>
                      <a:pt x="7" y="12"/>
                    </a:cubicBezTo>
                    <a:cubicBezTo>
                      <a:pt x="10" y="12"/>
                      <a:pt x="12" y="10"/>
                      <a:pt x="12" y="7"/>
                    </a:cubicBezTo>
                    <a:cubicBezTo>
                      <a:pt x="12" y="5"/>
                      <a:pt x="12" y="5"/>
                      <a:pt x="12" y="5"/>
                    </a:cubicBezTo>
                    <a:cubicBezTo>
                      <a:pt x="12" y="2"/>
                      <a:pt x="10" y="0"/>
                      <a:pt x="7" y="0"/>
                    </a:cubicBezTo>
                    <a:cubicBezTo>
                      <a:pt x="4" y="0"/>
                      <a:pt x="4" y="0"/>
                      <a:pt x="4" y="0"/>
                    </a:cubicBezTo>
                    <a:cubicBezTo>
                      <a:pt x="2" y="0"/>
                      <a:pt x="0" y="2"/>
                      <a:pt x="0" y="5"/>
                    </a:cubicBezTo>
                    <a:cubicBezTo>
                      <a:pt x="0" y="7"/>
                      <a:pt x="0" y="7"/>
                      <a:pt x="0" y="7"/>
                    </a:cubicBezTo>
                    <a:cubicBezTo>
                      <a:pt x="0" y="10"/>
                      <a:pt x="2" y="12"/>
                      <a:pt x="4"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53" name="Freeform 38">
                <a:extLst>
                  <a:ext uri="{FF2B5EF4-FFF2-40B4-BE49-F238E27FC236}">
                    <a16:creationId xmlns:a16="http://schemas.microsoft.com/office/drawing/2014/main" id="{35B36435-7A1A-47F7-824D-B079F115B34C}"/>
                  </a:ext>
                </a:extLst>
              </p:cNvPr>
              <p:cNvSpPr>
                <a:spLocks/>
              </p:cNvSpPr>
              <p:nvPr/>
            </p:nvSpPr>
            <p:spPr bwMode="auto">
              <a:xfrm>
                <a:off x="1889137" y="2060557"/>
                <a:ext cx="26989" cy="26988"/>
              </a:xfrm>
              <a:custGeom>
                <a:avLst/>
                <a:gdLst>
                  <a:gd name="T0" fmla="*/ 5 w 12"/>
                  <a:gd name="T1" fmla="*/ 12 h 12"/>
                  <a:gd name="T2" fmla="*/ 7 w 12"/>
                  <a:gd name="T3" fmla="*/ 12 h 12"/>
                  <a:gd name="T4" fmla="*/ 12 w 12"/>
                  <a:gd name="T5" fmla="*/ 7 h 12"/>
                  <a:gd name="T6" fmla="*/ 12 w 12"/>
                  <a:gd name="T7" fmla="*/ 5 h 12"/>
                  <a:gd name="T8" fmla="*/ 7 w 12"/>
                  <a:gd name="T9" fmla="*/ 0 h 12"/>
                  <a:gd name="T10" fmla="*/ 5 w 12"/>
                  <a:gd name="T11" fmla="*/ 0 h 12"/>
                  <a:gd name="T12" fmla="*/ 0 w 12"/>
                  <a:gd name="T13" fmla="*/ 5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7"/>
                    </a:cubicBezTo>
                    <a:cubicBezTo>
                      <a:pt x="12" y="5"/>
                      <a:pt x="12" y="5"/>
                      <a:pt x="12" y="5"/>
                    </a:cubicBezTo>
                    <a:cubicBezTo>
                      <a:pt x="12" y="2"/>
                      <a:pt x="10" y="0"/>
                      <a:pt x="7" y="0"/>
                    </a:cubicBezTo>
                    <a:cubicBezTo>
                      <a:pt x="5" y="0"/>
                      <a:pt x="5" y="0"/>
                      <a:pt x="5" y="0"/>
                    </a:cubicBezTo>
                    <a:cubicBezTo>
                      <a:pt x="2" y="0"/>
                      <a:pt x="0" y="2"/>
                      <a:pt x="0" y="5"/>
                    </a:cubicBezTo>
                    <a:cubicBezTo>
                      <a:pt x="0" y="7"/>
                      <a:pt x="0" y="7"/>
                      <a:pt x="0" y="7"/>
                    </a:cubicBezTo>
                    <a:cubicBezTo>
                      <a:pt x="0" y="10"/>
                      <a:pt x="2" y="12"/>
                      <a:pt x="5"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54" name="Freeform 39">
                <a:extLst>
                  <a:ext uri="{FF2B5EF4-FFF2-40B4-BE49-F238E27FC236}">
                    <a16:creationId xmlns:a16="http://schemas.microsoft.com/office/drawing/2014/main" id="{4FB1F62F-9577-482A-AFA0-090776C607CE}"/>
                  </a:ext>
                </a:extLst>
              </p:cNvPr>
              <p:cNvSpPr>
                <a:spLocks/>
              </p:cNvSpPr>
              <p:nvPr/>
            </p:nvSpPr>
            <p:spPr bwMode="auto">
              <a:xfrm>
                <a:off x="1944698" y="2060557"/>
                <a:ext cx="28575" cy="26988"/>
              </a:xfrm>
              <a:custGeom>
                <a:avLst/>
                <a:gdLst>
                  <a:gd name="T0" fmla="*/ 5 w 13"/>
                  <a:gd name="T1" fmla="*/ 12 h 12"/>
                  <a:gd name="T2" fmla="*/ 8 w 13"/>
                  <a:gd name="T3" fmla="*/ 12 h 12"/>
                  <a:gd name="T4" fmla="*/ 13 w 13"/>
                  <a:gd name="T5" fmla="*/ 7 h 12"/>
                  <a:gd name="T6" fmla="*/ 13 w 13"/>
                  <a:gd name="T7" fmla="*/ 5 h 12"/>
                  <a:gd name="T8" fmla="*/ 8 w 13"/>
                  <a:gd name="T9" fmla="*/ 0 h 12"/>
                  <a:gd name="T10" fmla="*/ 5 w 13"/>
                  <a:gd name="T11" fmla="*/ 0 h 12"/>
                  <a:gd name="T12" fmla="*/ 0 w 13"/>
                  <a:gd name="T13" fmla="*/ 5 h 12"/>
                  <a:gd name="T14" fmla="*/ 0 w 13"/>
                  <a:gd name="T15" fmla="*/ 7 h 12"/>
                  <a:gd name="T16" fmla="*/ 5 w 13"/>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2">
                    <a:moveTo>
                      <a:pt x="5" y="12"/>
                    </a:moveTo>
                    <a:cubicBezTo>
                      <a:pt x="8" y="12"/>
                      <a:pt x="8" y="12"/>
                      <a:pt x="8" y="12"/>
                    </a:cubicBezTo>
                    <a:cubicBezTo>
                      <a:pt x="10" y="12"/>
                      <a:pt x="13" y="10"/>
                      <a:pt x="13" y="7"/>
                    </a:cubicBezTo>
                    <a:cubicBezTo>
                      <a:pt x="13" y="5"/>
                      <a:pt x="13" y="5"/>
                      <a:pt x="13" y="5"/>
                    </a:cubicBezTo>
                    <a:cubicBezTo>
                      <a:pt x="13" y="2"/>
                      <a:pt x="10" y="0"/>
                      <a:pt x="8" y="0"/>
                    </a:cubicBezTo>
                    <a:cubicBezTo>
                      <a:pt x="5" y="0"/>
                      <a:pt x="5" y="0"/>
                      <a:pt x="5" y="0"/>
                    </a:cubicBezTo>
                    <a:cubicBezTo>
                      <a:pt x="2" y="0"/>
                      <a:pt x="0" y="2"/>
                      <a:pt x="0" y="5"/>
                    </a:cubicBezTo>
                    <a:cubicBezTo>
                      <a:pt x="0" y="7"/>
                      <a:pt x="0" y="7"/>
                      <a:pt x="0" y="7"/>
                    </a:cubicBezTo>
                    <a:cubicBezTo>
                      <a:pt x="0" y="10"/>
                      <a:pt x="2" y="12"/>
                      <a:pt x="5"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55" name="Freeform 40">
                <a:extLst>
                  <a:ext uri="{FF2B5EF4-FFF2-40B4-BE49-F238E27FC236}">
                    <a16:creationId xmlns:a16="http://schemas.microsoft.com/office/drawing/2014/main" id="{14DBFA15-38CE-424D-B505-E2143061E443}"/>
                  </a:ext>
                </a:extLst>
              </p:cNvPr>
              <p:cNvSpPr>
                <a:spLocks/>
              </p:cNvSpPr>
              <p:nvPr/>
            </p:nvSpPr>
            <p:spPr bwMode="auto">
              <a:xfrm>
                <a:off x="2001851" y="2060557"/>
                <a:ext cx="26989" cy="26988"/>
              </a:xfrm>
              <a:custGeom>
                <a:avLst/>
                <a:gdLst>
                  <a:gd name="T0" fmla="*/ 4 w 12"/>
                  <a:gd name="T1" fmla="*/ 12 h 12"/>
                  <a:gd name="T2" fmla="*/ 7 w 12"/>
                  <a:gd name="T3" fmla="*/ 12 h 12"/>
                  <a:gd name="T4" fmla="*/ 12 w 12"/>
                  <a:gd name="T5" fmla="*/ 7 h 12"/>
                  <a:gd name="T6" fmla="*/ 12 w 12"/>
                  <a:gd name="T7" fmla="*/ 5 h 12"/>
                  <a:gd name="T8" fmla="*/ 7 w 12"/>
                  <a:gd name="T9" fmla="*/ 0 h 12"/>
                  <a:gd name="T10" fmla="*/ 4 w 12"/>
                  <a:gd name="T11" fmla="*/ 0 h 12"/>
                  <a:gd name="T12" fmla="*/ 0 w 12"/>
                  <a:gd name="T13" fmla="*/ 5 h 12"/>
                  <a:gd name="T14" fmla="*/ 0 w 12"/>
                  <a:gd name="T15" fmla="*/ 7 h 12"/>
                  <a:gd name="T16" fmla="*/ 4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4" y="12"/>
                    </a:moveTo>
                    <a:cubicBezTo>
                      <a:pt x="7" y="12"/>
                      <a:pt x="7" y="12"/>
                      <a:pt x="7" y="12"/>
                    </a:cubicBezTo>
                    <a:cubicBezTo>
                      <a:pt x="10" y="12"/>
                      <a:pt x="12" y="10"/>
                      <a:pt x="12" y="7"/>
                    </a:cubicBezTo>
                    <a:cubicBezTo>
                      <a:pt x="12" y="5"/>
                      <a:pt x="12" y="5"/>
                      <a:pt x="12" y="5"/>
                    </a:cubicBezTo>
                    <a:cubicBezTo>
                      <a:pt x="12" y="2"/>
                      <a:pt x="10" y="0"/>
                      <a:pt x="7" y="0"/>
                    </a:cubicBezTo>
                    <a:cubicBezTo>
                      <a:pt x="4" y="0"/>
                      <a:pt x="4" y="0"/>
                      <a:pt x="4" y="0"/>
                    </a:cubicBezTo>
                    <a:cubicBezTo>
                      <a:pt x="2" y="0"/>
                      <a:pt x="0" y="2"/>
                      <a:pt x="0" y="5"/>
                    </a:cubicBezTo>
                    <a:cubicBezTo>
                      <a:pt x="0" y="7"/>
                      <a:pt x="0" y="7"/>
                      <a:pt x="0" y="7"/>
                    </a:cubicBezTo>
                    <a:cubicBezTo>
                      <a:pt x="0" y="10"/>
                      <a:pt x="2" y="12"/>
                      <a:pt x="4"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56" name="Freeform 41">
                <a:extLst>
                  <a:ext uri="{FF2B5EF4-FFF2-40B4-BE49-F238E27FC236}">
                    <a16:creationId xmlns:a16="http://schemas.microsoft.com/office/drawing/2014/main" id="{8754AB18-5008-4ABF-91A7-5FF68F1DD94B}"/>
                  </a:ext>
                </a:extLst>
              </p:cNvPr>
              <p:cNvSpPr>
                <a:spLocks/>
              </p:cNvSpPr>
              <p:nvPr/>
            </p:nvSpPr>
            <p:spPr bwMode="auto">
              <a:xfrm>
                <a:off x="2057412" y="2060548"/>
                <a:ext cx="25400" cy="26988"/>
              </a:xfrm>
              <a:custGeom>
                <a:avLst/>
                <a:gdLst>
                  <a:gd name="T0" fmla="*/ 5 w 12"/>
                  <a:gd name="T1" fmla="*/ 12 h 12"/>
                  <a:gd name="T2" fmla="*/ 7 w 12"/>
                  <a:gd name="T3" fmla="*/ 12 h 12"/>
                  <a:gd name="T4" fmla="*/ 12 w 12"/>
                  <a:gd name="T5" fmla="*/ 7 h 12"/>
                  <a:gd name="T6" fmla="*/ 12 w 12"/>
                  <a:gd name="T7" fmla="*/ 5 h 12"/>
                  <a:gd name="T8" fmla="*/ 7 w 12"/>
                  <a:gd name="T9" fmla="*/ 0 h 12"/>
                  <a:gd name="T10" fmla="*/ 5 w 12"/>
                  <a:gd name="T11" fmla="*/ 0 h 12"/>
                  <a:gd name="T12" fmla="*/ 0 w 12"/>
                  <a:gd name="T13" fmla="*/ 5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7"/>
                    </a:cubicBezTo>
                    <a:cubicBezTo>
                      <a:pt x="12" y="5"/>
                      <a:pt x="12" y="5"/>
                      <a:pt x="12" y="5"/>
                    </a:cubicBezTo>
                    <a:cubicBezTo>
                      <a:pt x="12" y="2"/>
                      <a:pt x="10" y="0"/>
                      <a:pt x="7" y="0"/>
                    </a:cubicBezTo>
                    <a:cubicBezTo>
                      <a:pt x="5" y="0"/>
                      <a:pt x="5" y="0"/>
                      <a:pt x="5" y="0"/>
                    </a:cubicBezTo>
                    <a:cubicBezTo>
                      <a:pt x="2" y="0"/>
                      <a:pt x="0" y="2"/>
                      <a:pt x="0" y="5"/>
                    </a:cubicBezTo>
                    <a:cubicBezTo>
                      <a:pt x="0" y="7"/>
                      <a:pt x="0" y="7"/>
                      <a:pt x="0" y="7"/>
                    </a:cubicBezTo>
                    <a:cubicBezTo>
                      <a:pt x="0" y="10"/>
                      <a:pt x="2" y="12"/>
                      <a:pt x="5"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57" name="Freeform 42">
                <a:extLst>
                  <a:ext uri="{FF2B5EF4-FFF2-40B4-BE49-F238E27FC236}">
                    <a16:creationId xmlns:a16="http://schemas.microsoft.com/office/drawing/2014/main" id="{DEB82B01-E6B3-4138-9115-2CB73EA93D71}"/>
                  </a:ext>
                </a:extLst>
              </p:cNvPr>
              <p:cNvSpPr>
                <a:spLocks/>
              </p:cNvSpPr>
              <p:nvPr/>
            </p:nvSpPr>
            <p:spPr bwMode="auto">
              <a:xfrm>
                <a:off x="1722451" y="2122465"/>
                <a:ext cx="25400" cy="28575"/>
              </a:xfrm>
              <a:custGeom>
                <a:avLst/>
                <a:gdLst>
                  <a:gd name="T0" fmla="*/ 5 w 12"/>
                  <a:gd name="T1" fmla="*/ 13 h 13"/>
                  <a:gd name="T2" fmla="*/ 7 w 12"/>
                  <a:gd name="T3" fmla="*/ 13 h 13"/>
                  <a:gd name="T4" fmla="*/ 12 w 12"/>
                  <a:gd name="T5" fmla="*/ 8 h 13"/>
                  <a:gd name="T6" fmla="*/ 12 w 12"/>
                  <a:gd name="T7" fmla="*/ 5 h 13"/>
                  <a:gd name="T8" fmla="*/ 7 w 12"/>
                  <a:gd name="T9" fmla="*/ 0 h 13"/>
                  <a:gd name="T10" fmla="*/ 5 w 12"/>
                  <a:gd name="T11" fmla="*/ 0 h 13"/>
                  <a:gd name="T12" fmla="*/ 0 w 12"/>
                  <a:gd name="T13" fmla="*/ 5 h 13"/>
                  <a:gd name="T14" fmla="*/ 0 w 12"/>
                  <a:gd name="T15" fmla="*/ 8 h 13"/>
                  <a:gd name="T16" fmla="*/ 5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5" y="13"/>
                    </a:moveTo>
                    <a:cubicBezTo>
                      <a:pt x="7" y="13"/>
                      <a:pt x="7" y="13"/>
                      <a:pt x="7" y="13"/>
                    </a:cubicBezTo>
                    <a:cubicBezTo>
                      <a:pt x="10" y="13"/>
                      <a:pt x="12" y="10"/>
                      <a:pt x="12" y="8"/>
                    </a:cubicBezTo>
                    <a:cubicBezTo>
                      <a:pt x="12" y="5"/>
                      <a:pt x="12" y="5"/>
                      <a:pt x="12" y="5"/>
                    </a:cubicBezTo>
                    <a:cubicBezTo>
                      <a:pt x="12" y="3"/>
                      <a:pt x="10" y="0"/>
                      <a:pt x="7" y="0"/>
                    </a:cubicBezTo>
                    <a:cubicBezTo>
                      <a:pt x="5" y="0"/>
                      <a:pt x="5" y="0"/>
                      <a:pt x="5" y="0"/>
                    </a:cubicBezTo>
                    <a:cubicBezTo>
                      <a:pt x="2" y="0"/>
                      <a:pt x="0" y="3"/>
                      <a:pt x="0" y="5"/>
                    </a:cubicBezTo>
                    <a:cubicBezTo>
                      <a:pt x="0" y="8"/>
                      <a:pt x="0" y="8"/>
                      <a:pt x="0" y="8"/>
                    </a:cubicBezTo>
                    <a:cubicBezTo>
                      <a:pt x="0" y="10"/>
                      <a:pt x="2" y="13"/>
                      <a:pt x="5" y="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58" name="Freeform 43">
                <a:extLst>
                  <a:ext uri="{FF2B5EF4-FFF2-40B4-BE49-F238E27FC236}">
                    <a16:creationId xmlns:a16="http://schemas.microsoft.com/office/drawing/2014/main" id="{23DAC1E6-91A6-4540-9AF8-D4D72D330A86}"/>
                  </a:ext>
                </a:extLst>
              </p:cNvPr>
              <p:cNvSpPr>
                <a:spLocks/>
              </p:cNvSpPr>
              <p:nvPr/>
            </p:nvSpPr>
            <p:spPr bwMode="auto">
              <a:xfrm>
                <a:off x="1776428" y="2122503"/>
                <a:ext cx="26989" cy="28575"/>
              </a:xfrm>
              <a:custGeom>
                <a:avLst/>
                <a:gdLst>
                  <a:gd name="T0" fmla="*/ 5 w 12"/>
                  <a:gd name="T1" fmla="*/ 13 h 13"/>
                  <a:gd name="T2" fmla="*/ 8 w 12"/>
                  <a:gd name="T3" fmla="*/ 13 h 13"/>
                  <a:gd name="T4" fmla="*/ 12 w 12"/>
                  <a:gd name="T5" fmla="*/ 8 h 13"/>
                  <a:gd name="T6" fmla="*/ 12 w 12"/>
                  <a:gd name="T7" fmla="*/ 5 h 13"/>
                  <a:gd name="T8" fmla="*/ 8 w 12"/>
                  <a:gd name="T9" fmla="*/ 0 h 13"/>
                  <a:gd name="T10" fmla="*/ 5 w 12"/>
                  <a:gd name="T11" fmla="*/ 0 h 13"/>
                  <a:gd name="T12" fmla="*/ 0 w 12"/>
                  <a:gd name="T13" fmla="*/ 5 h 13"/>
                  <a:gd name="T14" fmla="*/ 0 w 12"/>
                  <a:gd name="T15" fmla="*/ 8 h 13"/>
                  <a:gd name="T16" fmla="*/ 5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5" y="13"/>
                    </a:moveTo>
                    <a:cubicBezTo>
                      <a:pt x="8" y="13"/>
                      <a:pt x="8" y="13"/>
                      <a:pt x="8" y="13"/>
                    </a:cubicBezTo>
                    <a:cubicBezTo>
                      <a:pt x="10" y="13"/>
                      <a:pt x="12" y="10"/>
                      <a:pt x="12" y="8"/>
                    </a:cubicBezTo>
                    <a:cubicBezTo>
                      <a:pt x="12" y="5"/>
                      <a:pt x="12" y="5"/>
                      <a:pt x="12" y="5"/>
                    </a:cubicBezTo>
                    <a:cubicBezTo>
                      <a:pt x="12" y="3"/>
                      <a:pt x="10" y="0"/>
                      <a:pt x="8" y="0"/>
                    </a:cubicBezTo>
                    <a:cubicBezTo>
                      <a:pt x="5" y="0"/>
                      <a:pt x="5" y="0"/>
                      <a:pt x="5" y="0"/>
                    </a:cubicBezTo>
                    <a:cubicBezTo>
                      <a:pt x="2" y="0"/>
                      <a:pt x="0" y="3"/>
                      <a:pt x="0" y="5"/>
                    </a:cubicBezTo>
                    <a:cubicBezTo>
                      <a:pt x="0" y="8"/>
                      <a:pt x="0" y="8"/>
                      <a:pt x="0" y="8"/>
                    </a:cubicBezTo>
                    <a:cubicBezTo>
                      <a:pt x="0" y="10"/>
                      <a:pt x="2" y="13"/>
                      <a:pt x="5" y="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59" name="Freeform 44">
                <a:extLst>
                  <a:ext uri="{FF2B5EF4-FFF2-40B4-BE49-F238E27FC236}">
                    <a16:creationId xmlns:a16="http://schemas.microsoft.com/office/drawing/2014/main" id="{D460CD68-EDB6-4959-8B17-5F5375FB94A0}"/>
                  </a:ext>
                </a:extLst>
              </p:cNvPr>
              <p:cNvSpPr>
                <a:spLocks/>
              </p:cNvSpPr>
              <p:nvPr/>
            </p:nvSpPr>
            <p:spPr bwMode="auto">
              <a:xfrm>
                <a:off x="1833571" y="2122474"/>
                <a:ext cx="26989" cy="28575"/>
              </a:xfrm>
              <a:custGeom>
                <a:avLst/>
                <a:gdLst>
                  <a:gd name="T0" fmla="*/ 4 w 12"/>
                  <a:gd name="T1" fmla="*/ 13 h 13"/>
                  <a:gd name="T2" fmla="*/ 7 w 12"/>
                  <a:gd name="T3" fmla="*/ 13 h 13"/>
                  <a:gd name="T4" fmla="*/ 12 w 12"/>
                  <a:gd name="T5" fmla="*/ 8 h 13"/>
                  <a:gd name="T6" fmla="*/ 12 w 12"/>
                  <a:gd name="T7" fmla="*/ 5 h 13"/>
                  <a:gd name="T8" fmla="*/ 7 w 12"/>
                  <a:gd name="T9" fmla="*/ 0 h 13"/>
                  <a:gd name="T10" fmla="*/ 4 w 12"/>
                  <a:gd name="T11" fmla="*/ 0 h 13"/>
                  <a:gd name="T12" fmla="*/ 0 w 12"/>
                  <a:gd name="T13" fmla="*/ 5 h 13"/>
                  <a:gd name="T14" fmla="*/ 0 w 12"/>
                  <a:gd name="T15" fmla="*/ 8 h 13"/>
                  <a:gd name="T16" fmla="*/ 4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4" y="13"/>
                    </a:moveTo>
                    <a:cubicBezTo>
                      <a:pt x="7" y="13"/>
                      <a:pt x="7" y="13"/>
                      <a:pt x="7" y="13"/>
                    </a:cubicBezTo>
                    <a:cubicBezTo>
                      <a:pt x="10" y="13"/>
                      <a:pt x="12" y="10"/>
                      <a:pt x="12" y="8"/>
                    </a:cubicBezTo>
                    <a:cubicBezTo>
                      <a:pt x="12" y="5"/>
                      <a:pt x="12" y="5"/>
                      <a:pt x="12" y="5"/>
                    </a:cubicBezTo>
                    <a:cubicBezTo>
                      <a:pt x="12" y="3"/>
                      <a:pt x="10" y="0"/>
                      <a:pt x="7" y="0"/>
                    </a:cubicBezTo>
                    <a:cubicBezTo>
                      <a:pt x="4" y="0"/>
                      <a:pt x="4" y="0"/>
                      <a:pt x="4" y="0"/>
                    </a:cubicBezTo>
                    <a:cubicBezTo>
                      <a:pt x="2" y="0"/>
                      <a:pt x="0" y="3"/>
                      <a:pt x="0" y="5"/>
                    </a:cubicBezTo>
                    <a:cubicBezTo>
                      <a:pt x="0" y="8"/>
                      <a:pt x="0" y="8"/>
                      <a:pt x="0" y="8"/>
                    </a:cubicBezTo>
                    <a:cubicBezTo>
                      <a:pt x="0" y="10"/>
                      <a:pt x="2" y="13"/>
                      <a:pt x="4" y="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60" name="Freeform 45">
                <a:extLst>
                  <a:ext uri="{FF2B5EF4-FFF2-40B4-BE49-F238E27FC236}">
                    <a16:creationId xmlns:a16="http://schemas.microsoft.com/office/drawing/2014/main" id="{3F127E1A-61EA-4487-A925-BD0333701148}"/>
                  </a:ext>
                </a:extLst>
              </p:cNvPr>
              <p:cNvSpPr>
                <a:spLocks/>
              </p:cNvSpPr>
              <p:nvPr/>
            </p:nvSpPr>
            <p:spPr bwMode="auto">
              <a:xfrm>
                <a:off x="1889144" y="2122499"/>
                <a:ext cx="26989" cy="28575"/>
              </a:xfrm>
              <a:custGeom>
                <a:avLst/>
                <a:gdLst>
                  <a:gd name="T0" fmla="*/ 5 w 12"/>
                  <a:gd name="T1" fmla="*/ 13 h 13"/>
                  <a:gd name="T2" fmla="*/ 7 w 12"/>
                  <a:gd name="T3" fmla="*/ 13 h 13"/>
                  <a:gd name="T4" fmla="*/ 12 w 12"/>
                  <a:gd name="T5" fmla="*/ 8 h 13"/>
                  <a:gd name="T6" fmla="*/ 12 w 12"/>
                  <a:gd name="T7" fmla="*/ 5 h 13"/>
                  <a:gd name="T8" fmla="*/ 7 w 12"/>
                  <a:gd name="T9" fmla="*/ 0 h 13"/>
                  <a:gd name="T10" fmla="*/ 5 w 12"/>
                  <a:gd name="T11" fmla="*/ 0 h 13"/>
                  <a:gd name="T12" fmla="*/ 0 w 12"/>
                  <a:gd name="T13" fmla="*/ 5 h 13"/>
                  <a:gd name="T14" fmla="*/ 0 w 12"/>
                  <a:gd name="T15" fmla="*/ 8 h 13"/>
                  <a:gd name="T16" fmla="*/ 5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5" y="13"/>
                    </a:moveTo>
                    <a:cubicBezTo>
                      <a:pt x="7" y="13"/>
                      <a:pt x="7" y="13"/>
                      <a:pt x="7" y="13"/>
                    </a:cubicBezTo>
                    <a:cubicBezTo>
                      <a:pt x="10" y="13"/>
                      <a:pt x="12" y="10"/>
                      <a:pt x="12" y="8"/>
                    </a:cubicBezTo>
                    <a:cubicBezTo>
                      <a:pt x="12" y="5"/>
                      <a:pt x="12" y="5"/>
                      <a:pt x="12" y="5"/>
                    </a:cubicBezTo>
                    <a:cubicBezTo>
                      <a:pt x="12" y="3"/>
                      <a:pt x="10" y="0"/>
                      <a:pt x="7" y="0"/>
                    </a:cubicBezTo>
                    <a:cubicBezTo>
                      <a:pt x="5" y="0"/>
                      <a:pt x="5" y="0"/>
                      <a:pt x="5" y="0"/>
                    </a:cubicBezTo>
                    <a:cubicBezTo>
                      <a:pt x="2" y="0"/>
                      <a:pt x="0" y="3"/>
                      <a:pt x="0" y="5"/>
                    </a:cubicBezTo>
                    <a:cubicBezTo>
                      <a:pt x="0" y="8"/>
                      <a:pt x="0" y="8"/>
                      <a:pt x="0" y="8"/>
                    </a:cubicBezTo>
                    <a:cubicBezTo>
                      <a:pt x="0" y="10"/>
                      <a:pt x="2" y="13"/>
                      <a:pt x="5" y="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61" name="Freeform 46">
                <a:extLst>
                  <a:ext uri="{FF2B5EF4-FFF2-40B4-BE49-F238E27FC236}">
                    <a16:creationId xmlns:a16="http://schemas.microsoft.com/office/drawing/2014/main" id="{E96422C8-03F1-48B4-95E5-A73FAE8AE434}"/>
                  </a:ext>
                </a:extLst>
              </p:cNvPr>
              <p:cNvSpPr>
                <a:spLocks/>
              </p:cNvSpPr>
              <p:nvPr/>
            </p:nvSpPr>
            <p:spPr bwMode="auto">
              <a:xfrm>
                <a:off x="1944687" y="2122488"/>
                <a:ext cx="28575" cy="28575"/>
              </a:xfrm>
              <a:custGeom>
                <a:avLst/>
                <a:gdLst>
                  <a:gd name="T0" fmla="*/ 5 w 13"/>
                  <a:gd name="T1" fmla="*/ 13 h 13"/>
                  <a:gd name="T2" fmla="*/ 8 w 13"/>
                  <a:gd name="T3" fmla="*/ 13 h 13"/>
                  <a:gd name="T4" fmla="*/ 13 w 13"/>
                  <a:gd name="T5" fmla="*/ 8 h 13"/>
                  <a:gd name="T6" fmla="*/ 13 w 13"/>
                  <a:gd name="T7" fmla="*/ 5 h 13"/>
                  <a:gd name="T8" fmla="*/ 8 w 13"/>
                  <a:gd name="T9" fmla="*/ 0 h 13"/>
                  <a:gd name="T10" fmla="*/ 5 w 13"/>
                  <a:gd name="T11" fmla="*/ 0 h 13"/>
                  <a:gd name="T12" fmla="*/ 0 w 13"/>
                  <a:gd name="T13" fmla="*/ 5 h 13"/>
                  <a:gd name="T14" fmla="*/ 0 w 13"/>
                  <a:gd name="T15" fmla="*/ 8 h 13"/>
                  <a:gd name="T16" fmla="*/ 5 w 13"/>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3">
                    <a:moveTo>
                      <a:pt x="5" y="13"/>
                    </a:moveTo>
                    <a:cubicBezTo>
                      <a:pt x="8" y="13"/>
                      <a:pt x="8" y="13"/>
                      <a:pt x="8" y="13"/>
                    </a:cubicBezTo>
                    <a:cubicBezTo>
                      <a:pt x="10" y="13"/>
                      <a:pt x="13" y="10"/>
                      <a:pt x="13" y="8"/>
                    </a:cubicBezTo>
                    <a:cubicBezTo>
                      <a:pt x="13" y="5"/>
                      <a:pt x="13" y="5"/>
                      <a:pt x="13" y="5"/>
                    </a:cubicBezTo>
                    <a:cubicBezTo>
                      <a:pt x="13" y="3"/>
                      <a:pt x="10" y="0"/>
                      <a:pt x="8" y="0"/>
                    </a:cubicBezTo>
                    <a:cubicBezTo>
                      <a:pt x="5" y="0"/>
                      <a:pt x="5" y="0"/>
                      <a:pt x="5" y="0"/>
                    </a:cubicBezTo>
                    <a:cubicBezTo>
                      <a:pt x="2" y="0"/>
                      <a:pt x="0" y="3"/>
                      <a:pt x="0" y="5"/>
                    </a:cubicBezTo>
                    <a:cubicBezTo>
                      <a:pt x="0" y="8"/>
                      <a:pt x="0" y="8"/>
                      <a:pt x="0" y="8"/>
                    </a:cubicBezTo>
                    <a:cubicBezTo>
                      <a:pt x="0" y="10"/>
                      <a:pt x="2" y="13"/>
                      <a:pt x="5" y="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grpSp>
      </p:grpSp>
      <p:sp>
        <p:nvSpPr>
          <p:cNvPr id="62" name="TextBox 61">
            <a:extLst>
              <a:ext uri="{FF2B5EF4-FFF2-40B4-BE49-F238E27FC236}">
                <a16:creationId xmlns:a16="http://schemas.microsoft.com/office/drawing/2014/main" id="{E026B8AC-6440-4997-80D2-E09502300BB0}"/>
              </a:ext>
            </a:extLst>
          </p:cNvPr>
          <p:cNvSpPr txBox="1"/>
          <p:nvPr/>
        </p:nvSpPr>
        <p:spPr>
          <a:xfrm>
            <a:off x="3199751" y="2251095"/>
            <a:ext cx="123037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Open Sans"/>
                <a:ea typeface="+mn-ea"/>
                <a:cs typeface="Frutiger Next Pro Medium"/>
              </a:rPr>
              <a:t>Gather Insights</a:t>
            </a:r>
          </a:p>
        </p:txBody>
      </p:sp>
      <p:sp>
        <p:nvSpPr>
          <p:cNvPr id="63" name="TextBox 62">
            <a:extLst>
              <a:ext uri="{FF2B5EF4-FFF2-40B4-BE49-F238E27FC236}">
                <a16:creationId xmlns:a16="http://schemas.microsoft.com/office/drawing/2014/main" id="{9396BF63-5FD3-4081-BADD-A0805A0E0928}"/>
              </a:ext>
            </a:extLst>
          </p:cNvPr>
          <p:cNvSpPr txBox="1"/>
          <p:nvPr/>
        </p:nvSpPr>
        <p:spPr>
          <a:xfrm>
            <a:off x="4864137" y="2251095"/>
            <a:ext cx="123037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Open Sans"/>
                <a:ea typeface="+mn-ea"/>
                <a:cs typeface="Frutiger Next Pro Medium"/>
              </a:rPr>
              <a:t>Develop Strategy</a:t>
            </a:r>
          </a:p>
        </p:txBody>
      </p:sp>
      <p:sp>
        <p:nvSpPr>
          <p:cNvPr id="64" name="TextBox 63">
            <a:extLst>
              <a:ext uri="{FF2B5EF4-FFF2-40B4-BE49-F238E27FC236}">
                <a16:creationId xmlns:a16="http://schemas.microsoft.com/office/drawing/2014/main" id="{DAC46352-BC55-4C0C-BB07-DB16A0198464}"/>
              </a:ext>
            </a:extLst>
          </p:cNvPr>
          <p:cNvSpPr txBox="1"/>
          <p:nvPr/>
        </p:nvSpPr>
        <p:spPr>
          <a:xfrm>
            <a:off x="6528523" y="2251095"/>
            <a:ext cx="123037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Open Sans"/>
                <a:ea typeface="+mn-ea"/>
                <a:cs typeface="Frutiger Next Pro Medium"/>
              </a:rPr>
              <a:t>Model the Experience</a:t>
            </a:r>
          </a:p>
        </p:txBody>
      </p:sp>
      <p:sp>
        <p:nvSpPr>
          <p:cNvPr id="65" name="TextBox 64">
            <a:extLst>
              <a:ext uri="{FF2B5EF4-FFF2-40B4-BE49-F238E27FC236}">
                <a16:creationId xmlns:a16="http://schemas.microsoft.com/office/drawing/2014/main" id="{87CA904F-4D85-437B-8FCC-3DAD312F5A7A}"/>
              </a:ext>
            </a:extLst>
          </p:cNvPr>
          <p:cNvSpPr txBox="1"/>
          <p:nvPr/>
        </p:nvSpPr>
        <p:spPr>
          <a:xfrm>
            <a:off x="8192909" y="2251095"/>
            <a:ext cx="123037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Open Sans"/>
                <a:ea typeface="+mn-ea"/>
                <a:cs typeface="Frutiger Next Pro Medium"/>
              </a:rPr>
              <a:t>Pla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dirty="0">
                <a:ln>
                  <a:noFill/>
                </a:ln>
                <a:solidFill>
                  <a:srgbClr val="FFFFFF">
                    <a:lumMod val="50000"/>
                  </a:srgbClr>
                </a:solidFill>
                <a:effectLst/>
                <a:uLnTx/>
                <a:uFillTx/>
                <a:latin typeface="Open Sans"/>
                <a:ea typeface="+mn-ea"/>
                <a:cs typeface="Frutiger Next Pro Medium"/>
              </a:rPr>
              <a:t>and Execute</a:t>
            </a:r>
            <a:endParaRPr kumimoji="0" lang="en-US" sz="1400" b="0" i="1" u="none" strike="noStrike" kern="0" cap="none" spc="0" normalizeH="0" baseline="30000" noProof="0" dirty="0">
              <a:ln>
                <a:noFill/>
              </a:ln>
              <a:solidFill>
                <a:srgbClr val="FFFFFF">
                  <a:lumMod val="50000"/>
                </a:srgbClr>
              </a:solidFill>
              <a:effectLst/>
              <a:uLnTx/>
              <a:uFillTx/>
              <a:latin typeface="Open Sans"/>
              <a:ea typeface="+mn-ea"/>
              <a:cs typeface="Frutiger Next Pro Medium"/>
            </a:endParaRPr>
          </a:p>
        </p:txBody>
      </p:sp>
      <p:sp>
        <p:nvSpPr>
          <p:cNvPr id="66" name="TextBox 65">
            <a:extLst>
              <a:ext uri="{FF2B5EF4-FFF2-40B4-BE49-F238E27FC236}">
                <a16:creationId xmlns:a16="http://schemas.microsoft.com/office/drawing/2014/main" id="{1759667A-4E05-4EC1-9220-F674423FA8B5}"/>
              </a:ext>
            </a:extLst>
          </p:cNvPr>
          <p:cNvSpPr txBox="1"/>
          <p:nvPr/>
        </p:nvSpPr>
        <p:spPr>
          <a:xfrm>
            <a:off x="9857293" y="2251095"/>
            <a:ext cx="123037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dirty="0">
                <a:ln>
                  <a:noFill/>
                </a:ln>
                <a:solidFill>
                  <a:srgbClr val="FFFFFF">
                    <a:lumMod val="50000"/>
                  </a:srgbClr>
                </a:solidFill>
                <a:effectLst/>
                <a:uLnTx/>
                <a:uFillTx/>
                <a:latin typeface="Open Sans"/>
                <a:ea typeface="+mn-ea"/>
                <a:cs typeface="Frutiger Next Pro Medium"/>
              </a:rPr>
              <a:t>Measure and Adapt</a:t>
            </a:r>
          </a:p>
        </p:txBody>
      </p:sp>
      <p:graphicFrame>
        <p:nvGraphicFramePr>
          <p:cNvPr id="67" name="Table 66">
            <a:extLst>
              <a:ext uri="{FF2B5EF4-FFF2-40B4-BE49-F238E27FC236}">
                <a16:creationId xmlns:a16="http://schemas.microsoft.com/office/drawing/2014/main" id="{22440331-88F8-4D33-84C3-BDAD9AD9B7CE}"/>
              </a:ext>
            </a:extLst>
          </p:cNvPr>
          <p:cNvGraphicFramePr>
            <a:graphicFrameLocks noGrp="1"/>
          </p:cNvGraphicFramePr>
          <p:nvPr/>
        </p:nvGraphicFramePr>
        <p:xfrm>
          <a:off x="1324365" y="3241695"/>
          <a:ext cx="10051206" cy="2849880"/>
        </p:xfrm>
        <a:graphic>
          <a:graphicData uri="http://schemas.openxmlformats.org/drawingml/2006/table">
            <a:tbl>
              <a:tblPr firstRow="1" bandRow="1">
                <a:tableStyleId>{5940675A-B579-460E-94D1-54222C63F5DA}</a:tableStyleId>
              </a:tblPr>
              <a:tblGrid>
                <a:gridCol w="1657350">
                  <a:extLst>
                    <a:ext uri="{9D8B030D-6E8A-4147-A177-3AD203B41FA5}">
                      <a16:colId xmlns:a16="http://schemas.microsoft.com/office/drawing/2014/main" val="1040821723"/>
                    </a:ext>
                  </a:extLst>
                </a:gridCol>
                <a:gridCol w="1657350">
                  <a:extLst>
                    <a:ext uri="{9D8B030D-6E8A-4147-A177-3AD203B41FA5}">
                      <a16:colId xmlns:a16="http://schemas.microsoft.com/office/drawing/2014/main" val="1795523250"/>
                    </a:ext>
                  </a:extLst>
                </a:gridCol>
                <a:gridCol w="1657350">
                  <a:extLst>
                    <a:ext uri="{9D8B030D-6E8A-4147-A177-3AD203B41FA5}">
                      <a16:colId xmlns:a16="http://schemas.microsoft.com/office/drawing/2014/main" val="2300389847"/>
                    </a:ext>
                  </a:extLst>
                </a:gridCol>
                <a:gridCol w="1657350">
                  <a:extLst>
                    <a:ext uri="{9D8B030D-6E8A-4147-A177-3AD203B41FA5}">
                      <a16:colId xmlns:a16="http://schemas.microsoft.com/office/drawing/2014/main" val="1161517295"/>
                    </a:ext>
                  </a:extLst>
                </a:gridCol>
                <a:gridCol w="1657350">
                  <a:extLst>
                    <a:ext uri="{9D8B030D-6E8A-4147-A177-3AD203B41FA5}">
                      <a16:colId xmlns:a16="http://schemas.microsoft.com/office/drawing/2014/main" val="1136408609"/>
                    </a:ext>
                  </a:extLst>
                </a:gridCol>
                <a:gridCol w="1764456">
                  <a:extLst>
                    <a:ext uri="{9D8B030D-6E8A-4147-A177-3AD203B41FA5}">
                      <a16:colId xmlns:a16="http://schemas.microsoft.com/office/drawing/2014/main" val="3551540976"/>
                    </a:ext>
                  </a:extLst>
                </a:gridCol>
              </a:tblGrid>
              <a:tr h="21302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cs typeface="Arial" pitchFamily="34" charset="0"/>
                        </a:rPr>
                        <a:t>Align on their winning ambition to guide all consumer engagement going forward </a:t>
                      </a:r>
                      <a:endParaRPr lang="en-US" sz="1100" baseline="0" dirty="0">
                        <a:solidFill>
                          <a:schemeClr val="tx1"/>
                        </a:solidFill>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aseline="0" dirty="0">
                        <a:solidFill>
                          <a:schemeClr val="tx1"/>
                        </a:solidFill>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dirty="0">
                        <a:solidFill>
                          <a:schemeClr val="tx1"/>
                        </a:solidFill>
                        <a:cs typeface="Arial" pitchFamily="34" charset="0"/>
                      </a:endParaRPr>
                    </a:p>
                  </a:txBody>
                  <a:tcPr marT="274320">
                    <a:lnL w="12700" cmpd="sng">
                      <a:noFill/>
                    </a:lnL>
                    <a:lnR w="635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l"/>
                      <a:r>
                        <a:rPr lang="en-US" sz="1100" dirty="0">
                          <a:solidFill>
                            <a:schemeClr val="tx1"/>
                          </a:solidFill>
                        </a:rPr>
                        <a:t>Identify the differentiated needs</a:t>
                      </a:r>
                      <a:r>
                        <a:rPr lang="en-US" sz="1100" baseline="0" dirty="0">
                          <a:solidFill>
                            <a:schemeClr val="tx1"/>
                          </a:solidFill>
                        </a:rPr>
                        <a:t> and </a:t>
                      </a:r>
                      <a:r>
                        <a:rPr lang="en-US" sz="1100" dirty="0">
                          <a:solidFill>
                            <a:schemeClr val="tx1"/>
                          </a:solidFill>
                        </a:rPr>
                        <a:t>wants across their consumers, </a:t>
                      </a:r>
                      <a:r>
                        <a:rPr lang="en-US" sz="1100" baseline="0" dirty="0">
                          <a:solidFill>
                            <a:schemeClr val="tx1"/>
                          </a:solidFill>
                        </a:rPr>
                        <a:t>including archetypal journeys and key moments that matter that define priority consumer experiences</a:t>
                      </a:r>
                    </a:p>
                  </a:txBody>
                  <a:tcPr marT="2743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l"/>
                      <a:r>
                        <a:rPr lang="en-US" sz="1100" dirty="0">
                          <a:solidFill>
                            <a:schemeClr val="tx1"/>
                          </a:solidFill>
                        </a:rPr>
                        <a:t>Define the holistic consumer experience</a:t>
                      </a:r>
                      <a:r>
                        <a:rPr lang="en-US" sz="1100" baseline="0" dirty="0">
                          <a:solidFill>
                            <a:schemeClr val="tx1"/>
                          </a:solidFill>
                        </a:rPr>
                        <a:t> strategy to deliver an unrivaled consumer experience, including aspirational consumer journeys with actionable touchpoints to measure and monitor</a:t>
                      </a:r>
                      <a:endParaRPr lang="en-US" sz="1100" dirty="0">
                        <a:solidFill>
                          <a:schemeClr val="tx1"/>
                        </a:solidFill>
                      </a:endParaRPr>
                    </a:p>
                  </a:txBody>
                  <a:tcPr marT="2743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l"/>
                      <a:r>
                        <a:rPr lang="en-US" sz="1100" dirty="0">
                          <a:solidFill>
                            <a:schemeClr val="tx1"/>
                          </a:solidFill>
                        </a:rPr>
                        <a:t>Utilize</a:t>
                      </a:r>
                      <a:r>
                        <a:rPr lang="en-US" sz="1100" baseline="0" dirty="0">
                          <a:solidFill>
                            <a:schemeClr val="tx1"/>
                          </a:solidFill>
                        </a:rPr>
                        <a:t> consumer data and human-centered </a:t>
                      </a:r>
                      <a:r>
                        <a:rPr lang="en-US" sz="1100" dirty="0">
                          <a:solidFill>
                            <a:schemeClr val="tx1"/>
                          </a:solidFill>
                        </a:rPr>
                        <a:t>design</a:t>
                      </a:r>
                      <a:r>
                        <a:rPr lang="en-US" sz="1100" baseline="0" dirty="0">
                          <a:solidFill>
                            <a:schemeClr val="tx1"/>
                          </a:solidFill>
                        </a:rPr>
                        <a:t> thinking to define ‘signature experiences’ at the key moments that matter and design pilots to rapidly test-and-learn and refine based on real consumer feedback</a:t>
                      </a:r>
                    </a:p>
                  </a:txBody>
                  <a:tcPr marT="2743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l"/>
                      <a:r>
                        <a:rPr lang="en-US" sz="1100" dirty="0">
                          <a:solidFill>
                            <a:schemeClr val="tx1"/>
                          </a:solidFill>
                        </a:rPr>
                        <a:t>Develop high-level CX roadmap and identify</a:t>
                      </a:r>
                      <a:r>
                        <a:rPr lang="en-US" sz="1100" baseline="0" dirty="0">
                          <a:solidFill>
                            <a:schemeClr val="tx1"/>
                          </a:solidFill>
                        </a:rPr>
                        <a:t> success measures </a:t>
                      </a:r>
                      <a:r>
                        <a:rPr lang="en-US" sz="1100" dirty="0">
                          <a:solidFill>
                            <a:schemeClr val="tx1"/>
                          </a:solidFill>
                        </a:rPr>
                        <a:t>to guide transition of the business from launch to steady state</a:t>
                      </a:r>
                      <a:r>
                        <a:rPr lang="en-US" sz="1100" dirty="0">
                          <a:solidFill>
                            <a:schemeClr val="bg1">
                              <a:lumMod val="50000"/>
                            </a:schemeClr>
                          </a:solidFill>
                        </a:rPr>
                        <a:t> </a:t>
                      </a:r>
                    </a:p>
                    <a:p>
                      <a:pPr algn="l"/>
                      <a:endParaRPr lang="en-US" sz="1100" b="1" dirty="0">
                        <a:solidFill>
                          <a:schemeClr val="bg1">
                            <a:lumMod val="65000"/>
                          </a:schemeClr>
                        </a:solidFill>
                      </a:endParaRPr>
                    </a:p>
                    <a:p>
                      <a:pPr algn="l"/>
                      <a:r>
                        <a:rPr lang="en-US" sz="1100" b="0" i="1" dirty="0">
                          <a:solidFill>
                            <a:schemeClr val="bg1">
                              <a:lumMod val="65000"/>
                            </a:schemeClr>
                          </a:solidFill>
                        </a:rPr>
                        <a:t>Execute</a:t>
                      </a:r>
                      <a:r>
                        <a:rPr lang="en-US" sz="1100" b="1" i="1" dirty="0">
                          <a:solidFill>
                            <a:schemeClr val="bg1">
                              <a:lumMod val="65000"/>
                            </a:schemeClr>
                          </a:solidFill>
                        </a:rPr>
                        <a:t>: </a:t>
                      </a:r>
                      <a:r>
                        <a:rPr lang="en-US" sz="1100" b="0" i="1" baseline="0" dirty="0">
                          <a:solidFill>
                            <a:schemeClr val="bg1">
                              <a:lumMod val="65000"/>
                            </a:schemeClr>
                          </a:solidFill>
                        </a:rPr>
                        <a:t>Implement plan that will continuously improve </a:t>
                      </a:r>
                      <a:r>
                        <a:rPr lang="en-US" sz="1100" i="1" baseline="0" dirty="0">
                          <a:solidFill>
                            <a:schemeClr val="bg1">
                              <a:lumMod val="65000"/>
                            </a:schemeClr>
                          </a:solidFill>
                        </a:rPr>
                        <a:t>CX and fuel ongoing innovation</a:t>
                      </a:r>
                      <a:endParaRPr lang="en-US" sz="1100" i="1" dirty="0">
                        <a:solidFill>
                          <a:schemeClr val="bg1">
                            <a:lumMod val="65000"/>
                          </a:schemeClr>
                        </a:solidFill>
                      </a:endParaRPr>
                    </a:p>
                  </a:txBody>
                  <a:tcPr marT="274320">
                    <a:lnL w="6350" cap="flat" cmpd="sng" algn="ctr">
                      <a:solidFill>
                        <a:schemeClr val="bg1">
                          <a:lumMod val="75000"/>
                        </a:schemeClr>
                      </a:solidFill>
                      <a:prstDash val="solid"/>
                      <a:round/>
                      <a:headEnd type="none" w="med" len="med"/>
                      <a:tailEnd type="none" w="med" len="med"/>
                    </a:lnL>
                    <a:lnR w="381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ctr"/>
                      <a:endParaRPr lang="en-US" sz="1100" baseline="0" dirty="0">
                        <a:solidFill>
                          <a:schemeClr val="bg1">
                            <a:lumMod val="65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i="1" baseline="0" dirty="0">
                          <a:solidFill>
                            <a:schemeClr val="bg1">
                              <a:lumMod val="65000"/>
                            </a:schemeClr>
                          </a:solidFill>
                        </a:rPr>
                        <a:t>Conduct ongoing measurement of the consumer experience and specific activities going forward, including developing the tools and dashboards to simplify CX tracking and reporting</a:t>
                      </a:r>
                    </a:p>
                  </a:txBody>
                  <a:tcPr marT="274320">
                    <a:lnL w="38100" cap="flat" cmpd="sng" algn="ctr">
                      <a:noFill/>
                      <a:prstDash val="solid"/>
                      <a:round/>
                      <a:headEnd type="none" w="med" len="med"/>
                      <a:tailEnd type="none" w="med" len="med"/>
                    </a:lnL>
                    <a:lnR w="12700" cmpd="sng">
                      <a:noFill/>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8134258"/>
                  </a:ext>
                </a:extLst>
              </a:tr>
              <a:tr h="518160">
                <a:tc>
                  <a:txBody>
                    <a:bodyPr/>
                    <a:lstStyle/>
                    <a:p>
                      <a:pPr algn="ctr"/>
                      <a:r>
                        <a:rPr lang="en-US" sz="1200" b="0" baseline="0" dirty="0"/>
                        <a:t>2 weeks</a:t>
                      </a:r>
                      <a:endParaRPr lang="en-US" sz="1200" b="0" dirty="0"/>
                    </a:p>
                  </a:txBody>
                  <a:tcPr anchor="ctr">
                    <a:lnL w="12700" cmpd="sng">
                      <a:noFill/>
                    </a:lnL>
                    <a:lnR w="635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ctr"/>
                      <a:r>
                        <a:rPr lang="en-US" sz="1200" b="0" dirty="0"/>
                        <a:t>5 week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ctr"/>
                      <a:r>
                        <a:rPr lang="en-US" sz="1200" b="0" dirty="0"/>
                        <a:t>3 week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tx1"/>
                          </a:solidFill>
                        </a:rPr>
                        <a:t>2 week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ctr"/>
                      <a:r>
                        <a:rPr lang="en-US" sz="1200" b="0" baseline="0" dirty="0">
                          <a:solidFill>
                            <a:schemeClr val="tx1"/>
                          </a:solidFill>
                        </a:rPr>
                        <a:t>2 weeks</a:t>
                      </a:r>
                      <a:endParaRPr lang="en-US" sz="1200" b="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381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ctr"/>
                      <a:endParaRPr lang="en-US" sz="1200" b="1" dirty="0"/>
                    </a:p>
                  </a:txBody>
                  <a:tcPr anchor="ctr">
                    <a:lnL w="38100" cap="flat" cmpd="sng" algn="ctr">
                      <a:noFill/>
                      <a:prstDash val="solid"/>
                      <a:round/>
                      <a:headEnd type="none" w="med" len="med"/>
                      <a:tailEnd type="none" w="med" len="med"/>
                    </a:lnL>
                    <a:lnR w="12700" cmpd="sng">
                      <a:noFill/>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21069616"/>
                  </a:ext>
                </a:extLst>
              </a:tr>
            </a:tbl>
          </a:graphicData>
        </a:graphic>
      </p:graphicFrame>
      <p:sp>
        <p:nvSpPr>
          <p:cNvPr id="68" name="Text Placeholder 2">
            <a:extLst>
              <a:ext uri="{FF2B5EF4-FFF2-40B4-BE49-F238E27FC236}">
                <a16:creationId xmlns:a16="http://schemas.microsoft.com/office/drawing/2014/main" id="{C8043DAB-F62F-4983-97FD-2FA2001F1AF6}"/>
              </a:ext>
            </a:extLst>
          </p:cNvPr>
          <p:cNvSpPr txBox="1">
            <a:spLocks/>
          </p:cNvSpPr>
          <p:nvPr/>
        </p:nvSpPr>
        <p:spPr>
          <a:xfrm>
            <a:off x="7509265" y="6236870"/>
            <a:ext cx="3984645"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12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900" b="0" i="0" u="none" strike="noStrike" kern="1200" cap="none" spc="-30" normalizeH="0" baseline="30000" noProof="0" dirty="0">
                <a:ln>
                  <a:noFill/>
                </a:ln>
                <a:solidFill>
                  <a:srgbClr val="000000"/>
                </a:solidFill>
                <a:effectLst/>
                <a:uLnTx/>
                <a:uFillTx/>
                <a:latin typeface="Open Sans"/>
                <a:ea typeface="Open Sans" charset="0"/>
                <a:cs typeface="Open Sans" charset="0"/>
              </a:rPr>
              <a:t>1</a:t>
            </a:r>
            <a:r>
              <a:rPr kumimoji="0" lang="en-US" sz="900" b="0" i="0" u="none" strike="noStrike" kern="1200" cap="none" spc="-30" normalizeH="0" baseline="0" noProof="0" dirty="0">
                <a:ln>
                  <a:noFill/>
                </a:ln>
                <a:solidFill>
                  <a:srgbClr val="000000"/>
                </a:solidFill>
                <a:effectLst/>
                <a:uLnTx/>
                <a:uFillTx/>
                <a:latin typeface="Open Sans"/>
                <a:ea typeface="Open Sans" charset="0"/>
                <a:cs typeface="Open Sans" charset="0"/>
              </a:rPr>
              <a:t>Total timing is ~10 weeks; weeks do not add due to overlapping workstreams</a:t>
            </a:r>
          </a:p>
          <a:p>
            <a:pPr marL="0" marR="0" lvl="0" indent="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endParaRPr kumimoji="0" lang="en-US" sz="900" b="0" i="0" u="none" strike="noStrike" kern="1200" cap="none" spc="-30" normalizeH="0" baseline="0" noProof="0" dirty="0">
              <a:ln>
                <a:noFill/>
              </a:ln>
              <a:solidFill>
                <a:srgbClr val="000000"/>
              </a:solidFill>
              <a:effectLst/>
              <a:uLnTx/>
              <a:uFillTx/>
              <a:latin typeface="Open Sans"/>
              <a:ea typeface="Open Sans" charset="0"/>
              <a:cs typeface="Open Sans" charset="0"/>
            </a:endParaRPr>
          </a:p>
        </p:txBody>
      </p:sp>
      <p:sp>
        <p:nvSpPr>
          <p:cNvPr id="69" name="TextBox 68">
            <a:extLst>
              <a:ext uri="{FF2B5EF4-FFF2-40B4-BE49-F238E27FC236}">
                <a16:creationId xmlns:a16="http://schemas.microsoft.com/office/drawing/2014/main" id="{25ECB860-15DF-4C81-9EAE-CCE91E3A9F72}"/>
              </a:ext>
            </a:extLst>
          </p:cNvPr>
          <p:cNvSpPr txBox="1"/>
          <p:nvPr/>
        </p:nvSpPr>
        <p:spPr>
          <a:xfrm>
            <a:off x="1547303" y="2251095"/>
            <a:ext cx="123037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Open Sans"/>
                <a:ea typeface="+mn-ea"/>
                <a:cs typeface="Frutiger Next Pro Medium"/>
              </a:rPr>
              <a:t>Spark </a:t>
            </a:r>
            <a:br>
              <a:rPr kumimoji="0" lang="en-US" sz="1400" b="1" i="0" u="none" strike="noStrike" kern="0" cap="none" spc="0" normalizeH="0" baseline="0" noProof="0" dirty="0">
                <a:ln>
                  <a:noFill/>
                </a:ln>
                <a:solidFill>
                  <a:srgbClr val="000000"/>
                </a:solidFill>
                <a:effectLst/>
                <a:uLnTx/>
                <a:uFillTx/>
                <a:latin typeface="Open Sans"/>
                <a:ea typeface="+mn-ea"/>
                <a:cs typeface="Frutiger Next Pro Medium"/>
              </a:rPr>
            </a:br>
            <a:r>
              <a:rPr kumimoji="0" lang="en-US" sz="1400" b="1" i="0" u="none" strike="noStrike" kern="0" cap="none" spc="0" normalizeH="0" baseline="0" noProof="0" dirty="0">
                <a:ln>
                  <a:noFill/>
                </a:ln>
                <a:solidFill>
                  <a:srgbClr val="000000"/>
                </a:solidFill>
                <a:effectLst/>
                <a:uLnTx/>
                <a:uFillTx/>
                <a:latin typeface="Open Sans"/>
                <a:ea typeface="+mn-ea"/>
                <a:cs typeface="Frutiger Next Pro Medium"/>
              </a:rPr>
              <a:t>Ambition</a:t>
            </a:r>
          </a:p>
        </p:txBody>
      </p:sp>
      <p:sp>
        <p:nvSpPr>
          <p:cNvPr id="70" name="TextBox 69">
            <a:extLst>
              <a:ext uri="{FF2B5EF4-FFF2-40B4-BE49-F238E27FC236}">
                <a16:creationId xmlns:a16="http://schemas.microsoft.com/office/drawing/2014/main" id="{C02E526E-F47E-45FF-9522-1B65E132E017}"/>
              </a:ext>
            </a:extLst>
          </p:cNvPr>
          <p:cNvSpPr txBox="1"/>
          <p:nvPr/>
        </p:nvSpPr>
        <p:spPr>
          <a:xfrm rot="16200000">
            <a:off x="58187" y="3877135"/>
            <a:ext cx="2016369"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Open Sans"/>
                <a:ea typeface="+mn-ea"/>
                <a:cs typeface="Frutiger Next Pro Medium"/>
              </a:rPr>
              <a:t>Overview</a:t>
            </a:r>
          </a:p>
        </p:txBody>
      </p:sp>
      <p:sp>
        <p:nvSpPr>
          <p:cNvPr id="71" name="TextBox 70">
            <a:extLst>
              <a:ext uri="{FF2B5EF4-FFF2-40B4-BE49-F238E27FC236}">
                <a16:creationId xmlns:a16="http://schemas.microsoft.com/office/drawing/2014/main" id="{78A17AA1-8124-404E-AF24-94924E9A8047}"/>
              </a:ext>
            </a:extLst>
          </p:cNvPr>
          <p:cNvSpPr txBox="1"/>
          <p:nvPr/>
        </p:nvSpPr>
        <p:spPr>
          <a:xfrm rot="16200000">
            <a:off x="67320" y="5652392"/>
            <a:ext cx="2016369"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Open Sans"/>
                <a:ea typeface="+mn-ea"/>
                <a:cs typeface="Frutiger Next Pro Medium"/>
              </a:rPr>
              <a:t>Timing</a:t>
            </a:r>
            <a:r>
              <a:rPr kumimoji="0" lang="en-US" sz="1100" b="0" i="0" u="none" strike="noStrike" kern="0" cap="none" spc="0" normalizeH="0" baseline="30000" noProof="0" dirty="0">
                <a:ln>
                  <a:noFill/>
                </a:ln>
                <a:solidFill>
                  <a:srgbClr val="000000"/>
                </a:solidFill>
                <a:effectLst/>
                <a:uLnTx/>
                <a:uFillTx/>
                <a:latin typeface="Open Sans"/>
                <a:ea typeface="+mn-ea"/>
                <a:cs typeface="Frutiger Next Pro Medium"/>
              </a:rPr>
              <a:t>1</a:t>
            </a:r>
          </a:p>
        </p:txBody>
      </p:sp>
      <p:sp>
        <p:nvSpPr>
          <p:cNvPr id="75" name="Rectangle 74">
            <a:extLst>
              <a:ext uri="{FF2B5EF4-FFF2-40B4-BE49-F238E27FC236}">
                <a16:creationId xmlns:a16="http://schemas.microsoft.com/office/drawing/2014/main" id="{3E011A35-F183-4BBC-AEC7-CB46E18E6AD2}"/>
              </a:ext>
            </a:extLst>
          </p:cNvPr>
          <p:cNvSpPr/>
          <p:nvPr/>
        </p:nvSpPr>
        <p:spPr>
          <a:xfrm>
            <a:off x="9691693" y="244114"/>
            <a:ext cx="2357341" cy="410150"/>
          </a:xfrm>
          <a:prstGeom prst="rect">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76" name="Text Placeholder 2">
            <a:extLst>
              <a:ext uri="{FF2B5EF4-FFF2-40B4-BE49-F238E27FC236}">
                <a16:creationId xmlns:a16="http://schemas.microsoft.com/office/drawing/2014/main" id="{7CE6DB78-AF04-4821-8F53-A6F08E0D8EE9}"/>
              </a:ext>
            </a:extLst>
          </p:cNvPr>
          <p:cNvSpPr txBox="1">
            <a:spLocks/>
          </p:cNvSpPr>
          <p:nvPr/>
        </p:nvSpPr>
        <p:spPr>
          <a:xfrm>
            <a:off x="9747527" y="286736"/>
            <a:ext cx="2245673" cy="338554"/>
          </a:xfrm>
          <a:prstGeom prst="rect">
            <a:avLst/>
          </a:prstGeom>
        </p:spPr>
        <p:txBody>
          <a:bodyPr vert="horz" wrap="square" lIns="0" tIns="0" rIns="0" bIns="0" rtlCol="0" anchor="ctr">
            <a:sp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12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1100" b="0" i="1" u="none" strike="noStrike" kern="1200" cap="none" spc="-30" normalizeH="0" baseline="0" noProof="0" dirty="0">
                <a:ln>
                  <a:noFill/>
                </a:ln>
                <a:solidFill>
                  <a:srgbClr val="FFFFFF">
                    <a:lumMod val="50000"/>
                  </a:srgbClr>
                </a:solidFill>
                <a:effectLst/>
                <a:uLnTx/>
                <a:uFillTx/>
                <a:latin typeface="Open Sans"/>
                <a:ea typeface="Open Sans" charset="0"/>
                <a:cs typeface="Open Sans" charset="0"/>
              </a:rPr>
              <a:t>Grey, Italic text indicates not in proposed scope </a:t>
            </a:r>
          </a:p>
        </p:txBody>
      </p:sp>
    </p:spTree>
    <p:extLst>
      <p:ext uri="{BB962C8B-B14F-4D97-AF65-F5344CB8AC3E}">
        <p14:creationId xmlns:p14="http://schemas.microsoft.com/office/powerpoint/2010/main" val="35082481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6" name="Object 95" hidden="1">
            <a:extLst>
              <a:ext uri="{FF2B5EF4-FFF2-40B4-BE49-F238E27FC236}">
                <a16:creationId xmlns:a16="http://schemas.microsoft.com/office/drawing/2014/main" id="{62B78595-3F87-4810-8A87-39B93865399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2" name="think-cell Slide" r:id="rId5" imgW="395" imgH="396" progId="TCLayout.ActiveDocument.1">
                  <p:embed/>
                </p:oleObj>
              </mc:Choice>
              <mc:Fallback>
                <p:oleObj name="think-cell Slide" r:id="rId5" imgW="395" imgH="396" progId="TCLayout.ActiveDocument.1">
                  <p:embed/>
                  <p:pic>
                    <p:nvPicPr>
                      <p:cNvPr id="96" name="Object 95" hidden="1">
                        <a:extLst>
                          <a:ext uri="{FF2B5EF4-FFF2-40B4-BE49-F238E27FC236}">
                            <a16:creationId xmlns:a16="http://schemas.microsoft.com/office/drawing/2014/main" id="{62B78595-3F87-4810-8A87-39B93865399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0" name="Group 9">
            <a:extLst>
              <a:ext uri="{FF2B5EF4-FFF2-40B4-BE49-F238E27FC236}">
                <a16:creationId xmlns:a16="http://schemas.microsoft.com/office/drawing/2014/main" id="{AE918486-A269-4100-8866-ED6FA7D7E3B5}"/>
              </a:ext>
            </a:extLst>
          </p:cNvPr>
          <p:cNvGrpSpPr/>
          <p:nvPr/>
        </p:nvGrpSpPr>
        <p:grpSpPr>
          <a:xfrm>
            <a:off x="0" y="-290492"/>
            <a:ext cx="12511119" cy="7735190"/>
            <a:chOff x="-147414" y="-375333"/>
            <a:chExt cx="12511119" cy="7735190"/>
          </a:xfrm>
        </p:grpSpPr>
        <p:grpSp>
          <p:nvGrpSpPr>
            <p:cNvPr id="11" name="Group 10">
              <a:extLst>
                <a:ext uri="{FF2B5EF4-FFF2-40B4-BE49-F238E27FC236}">
                  <a16:creationId xmlns:a16="http://schemas.microsoft.com/office/drawing/2014/main" id="{EB2F810F-1875-421E-8FA9-BAEA6F2070A8}"/>
                </a:ext>
              </a:extLst>
            </p:cNvPr>
            <p:cNvGrpSpPr/>
            <p:nvPr/>
          </p:nvGrpSpPr>
          <p:grpSpPr>
            <a:xfrm>
              <a:off x="-147414" y="-375333"/>
              <a:ext cx="6706519" cy="3637124"/>
              <a:chOff x="-147414" y="-375333"/>
              <a:chExt cx="6706519" cy="3637124"/>
            </a:xfrm>
          </p:grpSpPr>
          <p:grpSp>
            <p:nvGrpSpPr>
              <p:cNvPr id="56" name="Group 55">
                <a:extLst>
                  <a:ext uri="{FF2B5EF4-FFF2-40B4-BE49-F238E27FC236}">
                    <a16:creationId xmlns:a16="http://schemas.microsoft.com/office/drawing/2014/main" id="{8C0D7CB8-2E2B-4DD8-8E19-4583B85B5894}"/>
                  </a:ext>
                </a:extLst>
              </p:cNvPr>
              <p:cNvGrpSpPr/>
              <p:nvPr/>
            </p:nvGrpSpPr>
            <p:grpSpPr>
              <a:xfrm>
                <a:off x="-147414" y="-375333"/>
                <a:ext cx="6257205" cy="3330837"/>
                <a:chOff x="-147414" y="-375333"/>
                <a:chExt cx="6257205" cy="3330837"/>
              </a:xfrm>
            </p:grpSpPr>
            <p:cxnSp>
              <p:nvCxnSpPr>
                <p:cNvPr id="58" name="Straight Connector 57">
                  <a:extLst>
                    <a:ext uri="{FF2B5EF4-FFF2-40B4-BE49-F238E27FC236}">
                      <a16:creationId xmlns:a16="http://schemas.microsoft.com/office/drawing/2014/main" id="{2D156949-8A58-4261-8103-BE2629116CF8}"/>
                    </a:ext>
                  </a:extLst>
                </p:cNvPr>
                <p:cNvCxnSpPr/>
                <p:nvPr/>
              </p:nvCxnSpPr>
              <p:spPr>
                <a:xfrm flipV="1">
                  <a:off x="256903" y="1689352"/>
                  <a:ext cx="122058" cy="1151801"/>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659799F2-DED9-43D0-A127-9F48F5516461}"/>
                    </a:ext>
                  </a:extLst>
                </p:cNvPr>
                <p:cNvCxnSpPr/>
                <p:nvPr/>
              </p:nvCxnSpPr>
              <p:spPr>
                <a:xfrm flipH="1">
                  <a:off x="1942257" y="462305"/>
                  <a:ext cx="1905984" cy="1166026"/>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4A11916D-48AD-48A7-A547-56BD1C6E6F09}"/>
                    </a:ext>
                  </a:extLst>
                </p:cNvPr>
                <p:cNvCxnSpPr/>
                <p:nvPr/>
              </p:nvCxnSpPr>
              <p:spPr>
                <a:xfrm>
                  <a:off x="357099" y="1698796"/>
                  <a:ext cx="840669" cy="37731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509332B1-0285-4065-95A2-A883633E12B9}"/>
                    </a:ext>
                  </a:extLst>
                </p:cNvPr>
                <p:cNvCxnSpPr/>
                <p:nvPr/>
              </p:nvCxnSpPr>
              <p:spPr>
                <a:xfrm flipV="1">
                  <a:off x="342578" y="1622011"/>
                  <a:ext cx="1573564" cy="11430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130D4CE6-56BD-4D6E-8F30-8B7711EB029C}"/>
                    </a:ext>
                  </a:extLst>
                </p:cNvPr>
                <p:cNvCxnSpPr/>
                <p:nvPr/>
              </p:nvCxnSpPr>
              <p:spPr>
                <a:xfrm flipV="1">
                  <a:off x="601134" y="824146"/>
                  <a:ext cx="503252" cy="29060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5625652-71CC-41FB-A34E-ABBFDAF56C5E}"/>
                    </a:ext>
                  </a:extLst>
                </p:cNvPr>
                <p:cNvCxnSpPr/>
                <p:nvPr/>
              </p:nvCxnSpPr>
              <p:spPr>
                <a:xfrm>
                  <a:off x="1622058" y="333785"/>
                  <a:ext cx="2170628" cy="15971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D513F2A-225F-431B-9CD6-E2063A1381B7}"/>
                    </a:ext>
                  </a:extLst>
                </p:cNvPr>
                <p:cNvCxnSpPr/>
                <p:nvPr/>
              </p:nvCxnSpPr>
              <p:spPr>
                <a:xfrm rot="10800000" flipH="1" flipV="1">
                  <a:off x="1664614" y="403635"/>
                  <a:ext cx="310507" cy="1210568"/>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9FF253-E9EB-4149-B363-458DC9DC6AE7}"/>
                    </a:ext>
                  </a:extLst>
                </p:cNvPr>
                <p:cNvCxnSpPr/>
                <p:nvPr/>
              </p:nvCxnSpPr>
              <p:spPr>
                <a:xfrm rot="10800000" flipV="1">
                  <a:off x="1231404" y="281125"/>
                  <a:ext cx="433210" cy="175031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FF20BE2-6CD1-4827-9B18-2A9D0F76C5F1}"/>
                    </a:ext>
                  </a:extLst>
                </p:cNvPr>
                <p:cNvCxnSpPr/>
                <p:nvPr/>
              </p:nvCxnSpPr>
              <p:spPr>
                <a:xfrm rot="10800000" flipH="1">
                  <a:off x="1161554" y="383176"/>
                  <a:ext cx="453669" cy="39828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44BDE5E4-6608-4749-92BD-1CB11183580C}"/>
                    </a:ext>
                  </a:extLst>
                </p:cNvPr>
                <p:cNvCxnSpPr/>
                <p:nvPr/>
              </p:nvCxnSpPr>
              <p:spPr>
                <a:xfrm>
                  <a:off x="3746752" y="-375333"/>
                  <a:ext cx="79392" cy="86428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C46EED2-A9D0-4178-9171-A7268D6CFFA8}"/>
                    </a:ext>
                  </a:extLst>
                </p:cNvPr>
                <p:cNvCxnSpPr/>
                <p:nvPr/>
              </p:nvCxnSpPr>
              <p:spPr>
                <a:xfrm flipH="1">
                  <a:off x="3844786" y="186949"/>
                  <a:ext cx="964053" cy="286231"/>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E52CD252-F9BF-46CC-9639-2A0D8D811E3A}"/>
                    </a:ext>
                  </a:extLst>
                </p:cNvPr>
                <p:cNvCxnSpPr/>
                <p:nvPr/>
              </p:nvCxnSpPr>
              <p:spPr>
                <a:xfrm rot="10800000" flipV="1">
                  <a:off x="1680735" y="-195747"/>
                  <a:ext cx="825150" cy="53886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32FCAA9-7F53-434D-8DA1-2682A186FC36}"/>
                    </a:ext>
                  </a:extLst>
                </p:cNvPr>
                <p:cNvCxnSpPr/>
                <p:nvPr/>
              </p:nvCxnSpPr>
              <p:spPr>
                <a:xfrm rot="10800000" flipH="1" flipV="1">
                  <a:off x="1080414" y="-137025"/>
                  <a:ext cx="94307" cy="2168467"/>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39E8A80B-C44C-4424-9542-A2DBF1972F9D}"/>
                    </a:ext>
                  </a:extLst>
                </p:cNvPr>
                <p:cNvCxnSpPr/>
                <p:nvPr/>
              </p:nvCxnSpPr>
              <p:spPr>
                <a:xfrm rot="10800000" flipH="1" flipV="1">
                  <a:off x="267519" y="-79994"/>
                  <a:ext cx="110501" cy="1792636"/>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EE9C65F-482F-400C-9D4F-1FCD9AE21EB4}"/>
                    </a:ext>
                  </a:extLst>
                </p:cNvPr>
                <p:cNvCxnSpPr/>
                <p:nvPr/>
              </p:nvCxnSpPr>
              <p:spPr>
                <a:xfrm flipV="1">
                  <a:off x="394813" y="709385"/>
                  <a:ext cx="849751" cy="1017846"/>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2490269F-5872-46C0-96DE-667A73DAB882}"/>
                    </a:ext>
                  </a:extLst>
                </p:cNvPr>
                <p:cNvCxnSpPr/>
                <p:nvPr/>
              </p:nvCxnSpPr>
              <p:spPr>
                <a:xfrm rot="10800000" flipH="1" flipV="1">
                  <a:off x="-102021" y="1644851"/>
                  <a:ext cx="543407" cy="7310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661B74CE-EA5B-42EB-AEC9-3212CA26AF63}"/>
                    </a:ext>
                  </a:extLst>
                </p:cNvPr>
                <p:cNvCxnSpPr/>
                <p:nvPr/>
              </p:nvCxnSpPr>
              <p:spPr>
                <a:xfrm flipV="1">
                  <a:off x="-108443" y="1118686"/>
                  <a:ext cx="657129" cy="8372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E0D501EC-8E02-4C7F-8E2F-AD1619FF3C47}"/>
                    </a:ext>
                  </a:extLst>
                </p:cNvPr>
                <p:cNvCxnSpPr/>
                <p:nvPr/>
              </p:nvCxnSpPr>
              <p:spPr>
                <a:xfrm flipH="1" flipV="1">
                  <a:off x="-147414" y="797422"/>
                  <a:ext cx="547897" cy="980577"/>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89B2C421-7D59-48B2-B4E8-1A1EEA2B437F}"/>
                    </a:ext>
                  </a:extLst>
                </p:cNvPr>
                <p:cNvCxnSpPr/>
                <p:nvPr/>
              </p:nvCxnSpPr>
              <p:spPr>
                <a:xfrm>
                  <a:off x="543160" y="1110218"/>
                  <a:ext cx="692918" cy="1002164"/>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77" name="Oval 76">
                  <a:extLst>
                    <a:ext uri="{FF2B5EF4-FFF2-40B4-BE49-F238E27FC236}">
                      <a16:creationId xmlns:a16="http://schemas.microsoft.com/office/drawing/2014/main" id="{31146305-AD8C-4C7A-8894-4D08D025C778}"/>
                    </a:ext>
                  </a:extLst>
                </p:cNvPr>
                <p:cNvSpPr/>
                <p:nvPr/>
              </p:nvSpPr>
              <p:spPr>
                <a:xfrm rot="10800000">
                  <a:off x="1123664" y="1993809"/>
                  <a:ext cx="167500" cy="1675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78" name="Oval 77">
                  <a:extLst>
                    <a:ext uri="{FF2B5EF4-FFF2-40B4-BE49-F238E27FC236}">
                      <a16:creationId xmlns:a16="http://schemas.microsoft.com/office/drawing/2014/main" id="{8F247BBC-2462-4FFF-B56E-974955CCBF93}"/>
                    </a:ext>
                  </a:extLst>
                </p:cNvPr>
                <p:cNvSpPr/>
                <p:nvPr/>
              </p:nvSpPr>
              <p:spPr>
                <a:xfrm rot="10800000">
                  <a:off x="479248" y="1044900"/>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79" name="Oval 78">
                  <a:extLst>
                    <a:ext uri="{FF2B5EF4-FFF2-40B4-BE49-F238E27FC236}">
                      <a16:creationId xmlns:a16="http://schemas.microsoft.com/office/drawing/2014/main" id="{10D8762D-86EB-412D-9CD7-9BDC8001E644}"/>
                    </a:ext>
                  </a:extLst>
                </p:cNvPr>
                <p:cNvSpPr/>
                <p:nvPr/>
              </p:nvSpPr>
              <p:spPr>
                <a:xfrm rot="10800000">
                  <a:off x="324764" y="1654585"/>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80" name="Oval 79">
                  <a:extLst>
                    <a:ext uri="{FF2B5EF4-FFF2-40B4-BE49-F238E27FC236}">
                      <a16:creationId xmlns:a16="http://schemas.microsoft.com/office/drawing/2014/main" id="{D07C20BA-87B7-4B67-AA92-49CC5F437C5B}"/>
                    </a:ext>
                  </a:extLst>
                </p:cNvPr>
                <p:cNvSpPr/>
                <p:nvPr/>
              </p:nvSpPr>
              <p:spPr>
                <a:xfrm rot="10800000">
                  <a:off x="1880514" y="1540285"/>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81" name="Oval 80">
                  <a:extLst>
                    <a:ext uri="{FF2B5EF4-FFF2-40B4-BE49-F238E27FC236}">
                      <a16:creationId xmlns:a16="http://schemas.microsoft.com/office/drawing/2014/main" id="{FC711098-7D33-4345-8085-A20505CA549F}"/>
                    </a:ext>
                  </a:extLst>
                </p:cNvPr>
                <p:cNvSpPr/>
                <p:nvPr/>
              </p:nvSpPr>
              <p:spPr>
                <a:xfrm rot="10800000">
                  <a:off x="3765392" y="423650"/>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82" name="Oval 81">
                  <a:extLst>
                    <a:ext uri="{FF2B5EF4-FFF2-40B4-BE49-F238E27FC236}">
                      <a16:creationId xmlns:a16="http://schemas.microsoft.com/office/drawing/2014/main" id="{C80D95F9-0118-484D-9DB8-2756043A9C82}"/>
                    </a:ext>
                  </a:extLst>
                </p:cNvPr>
                <p:cNvSpPr/>
                <p:nvPr/>
              </p:nvSpPr>
              <p:spPr>
                <a:xfrm rot="10800000">
                  <a:off x="1016903" y="670324"/>
                  <a:ext cx="266722" cy="266722"/>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83" name="Oval 82">
                  <a:extLst>
                    <a:ext uri="{FF2B5EF4-FFF2-40B4-BE49-F238E27FC236}">
                      <a16:creationId xmlns:a16="http://schemas.microsoft.com/office/drawing/2014/main" id="{F5A118AE-4BF2-46DB-9AEC-22B91B1A1F1C}"/>
                    </a:ext>
                  </a:extLst>
                </p:cNvPr>
                <p:cNvSpPr/>
                <p:nvPr/>
              </p:nvSpPr>
              <p:spPr>
                <a:xfrm rot="10800000">
                  <a:off x="1594764" y="263935"/>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84" name="Oval 83">
                  <a:extLst>
                    <a:ext uri="{FF2B5EF4-FFF2-40B4-BE49-F238E27FC236}">
                      <a16:creationId xmlns:a16="http://schemas.microsoft.com/office/drawing/2014/main" id="{D7E0E66E-BF91-4041-94BF-29B0CF0B805E}"/>
                    </a:ext>
                  </a:extLst>
                </p:cNvPr>
                <p:cNvSpPr/>
                <p:nvPr/>
              </p:nvSpPr>
              <p:spPr>
                <a:xfrm rot="10800000">
                  <a:off x="2464968" y="-236664"/>
                  <a:ext cx="279400" cy="2794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cxnSp>
              <p:nvCxnSpPr>
                <p:cNvPr id="85" name="Straight Connector 84">
                  <a:extLst>
                    <a:ext uri="{FF2B5EF4-FFF2-40B4-BE49-F238E27FC236}">
                      <a16:creationId xmlns:a16="http://schemas.microsoft.com/office/drawing/2014/main" id="{C3C58B42-FA6B-4E8B-9FE9-B19D949514E0}"/>
                    </a:ext>
                  </a:extLst>
                </p:cNvPr>
                <p:cNvCxnSpPr/>
                <p:nvPr/>
              </p:nvCxnSpPr>
              <p:spPr>
                <a:xfrm flipV="1">
                  <a:off x="566913" y="-155465"/>
                  <a:ext cx="291583" cy="1277561"/>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96B1C3DA-9AF3-4E0B-A99B-0CE5711F2601}"/>
                    </a:ext>
                  </a:extLst>
                </p:cNvPr>
                <p:cNvCxnSpPr/>
                <p:nvPr/>
              </p:nvCxnSpPr>
              <p:spPr>
                <a:xfrm rot="10800000" flipH="1">
                  <a:off x="1981559" y="-83917"/>
                  <a:ext cx="605149" cy="1662857"/>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2A57A136-BE04-4566-A235-C0C8B243FF26}"/>
                    </a:ext>
                  </a:extLst>
                </p:cNvPr>
                <p:cNvCxnSpPr/>
                <p:nvPr/>
              </p:nvCxnSpPr>
              <p:spPr>
                <a:xfrm flipV="1">
                  <a:off x="1266634" y="-104215"/>
                  <a:ext cx="1306029" cy="2122554"/>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D9868860-A6B9-490F-89F4-10109DD19595}"/>
                    </a:ext>
                  </a:extLst>
                </p:cNvPr>
                <p:cNvCxnSpPr/>
                <p:nvPr/>
              </p:nvCxnSpPr>
              <p:spPr>
                <a:xfrm>
                  <a:off x="2505885" y="-195747"/>
                  <a:ext cx="1305585" cy="665326"/>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24F217D3-C274-46A8-BA75-3D58397B08F2}"/>
                    </a:ext>
                  </a:extLst>
                </p:cNvPr>
                <p:cNvCxnSpPr/>
                <p:nvPr/>
              </p:nvCxnSpPr>
              <p:spPr>
                <a:xfrm>
                  <a:off x="-120171" y="445781"/>
                  <a:ext cx="1264332" cy="351641"/>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AE91DCFF-08B6-47F7-8AAC-18E0DD3D5023}"/>
                    </a:ext>
                  </a:extLst>
                </p:cNvPr>
                <p:cNvCxnSpPr/>
                <p:nvPr/>
              </p:nvCxnSpPr>
              <p:spPr>
                <a:xfrm>
                  <a:off x="1534457" y="-155465"/>
                  <a:ext cx="104318" cy="44522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91" name="Oval 90">
                  <a:extLst>
                    <a:ext uri="{FF2B5EF4-FFF2-40B4-BE49-F238E27FC236}">
                      <a16:creationId xmlns:a16="http://schemas.microsoft.com/office/drawing/2014/main" id="{C92230CE-61CC-411A-8176-F838D267160E}"/>
                    </a:ext>
                  </a:extLst>
                </p:cNvPr>
                <p:cNvSpPr/>
                <p:nvPr/>
              </p:nvSpPr>
              <p:spPr>
                <a:xfrm rot="10800000">
                  <a:off x="4788380" y="67708"/>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cxnSp>
              <p:nvCxnSpPr>
                <p:cNvPr id="92" name="Straight Connector 91">
                  <a:extLst>
                    <a:ext uri="{FF2B5EF4-FFF2-40B4-BE49-F238E27FC236}">
                      <a16:creationId xmlns:a16="http://schemas.microsoft.com/office/drawing/2014/main" id="{D8D45AAF-C4A5-4B15-B447-AD225578EE5B}"/>
                    </a:ext>
                  </a:extLst>
                </p:cNvPr>
                <p:cNvCxnSpPr/>
                <p:nvPr/>
              </p:nvCxnSpPr>
              <p:spPr>
                <a:xfrm flipV="1">
                  <a:off x="4858230" y="-137025"/>
                  <a:ext cx="1251561" cy="288693"/>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D4B49420-315B-4DE4-9DE7-CE17A11230B7}"/>
                    </a:ext>
                  </a:extLst>
                </p:cNvPr>
                <p:cNvCxnSpPr/>
                <p:nvPr/>
              </p:nvCxnSpPr>
              <p:spPr>
                <a:xfrm flipV="1">
                  <a:off x="4863928" y="-235954"/>
                  <a:ext cx="195989" cy="336064"/>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BDB8181F-B77C-40FF-85A3-E9F4CF7310F8}"/>
                    </a:ext>
                  </a:extLst>
                </p:cNvPr>
                <p:cNvCxnSpPr/>
                <p:nvPr/>
              </p:nvCxnSpPr>
              <p:spPr>
                <a:xfrm flipV="1">
                  <a:off x="1640623" y="151668"/>
                  <a:ext cx="3206316" cy="177176"/>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95" name="Oval 94">
                  <a:extLst>
                    <a:ext uri="{FF2B5EF4-FFF2-40B4-BE49-F238E27FC236}">
                      <a16:creationId xmlns:a16="http://schemas.microsoft.com/office/drawing/2014/main" id="{32B8A159-CE5E-4CE9-963B-0D6B1919B66F}"/>
                    </a:ext>
                  </a:extLst>
                </p:cNvPr>
                <p:cNvSpPr/>
                <p:nvPr/>
              </p:nvSpPr>
              <p:spPr>
                <a:xfrm rot="10800000">
                  <a:off x="187971" y="2815804"/>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sp>
            <p:nvSpPr>
              <p:cNvPr id="57" name="Rectangle 56">
                <a:extLst>
                  <a:ext uri="{FF2B5EF4-FFF2-40B4-BE49-F238E27FC236}">
                    <a16:creationId xmlns:a16="http://schemas.microsoft.com/office/drawing/2014/main" id="{675CDEBB-8C58-4F92-8218-00A468A92316}"/>
                  </a:ext>
                </a:extLst>
              </p:cNvPr>
              <p:cNvSpPr/>
              <p:nvPr/>
            </p:nvSpPr>
            <p:spPr>
              <a:xfrm>
                <a:off x="1" y="0"/>
                <a:ext cx="6559104" cy="3261791"/>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grpSp>
          <p:nvGrpSpPr>
            <p:cNvPr id="12" name="Group 11">
              <a:extLst>
                <a:ext uri="{FF2B5EF4-FFF2-40B4-BE49-F238E27FC236}">
                  <a16:creationId xmlns:a16="http://schemas.microsoft.com/office/drawing/2014/main" id="{0C054AA6-26D6-487A-9790-09E3B6BCE313}"/>
                </a:ext>
              </a:extLst>
            </p:cNvPr>
            <p:cNvGrpSpPr/>
            <p:nvPr/>
          </p:nvGrpSpPr>
          <p:grpSpPr>
            <a:xfrm>
              <a:off x="5632896" y="3592523"/>
              <a:ext cx="6730809" cy="3767334"/>
              <a:chOff x="5632896" y="3592523"/>
              <a:chExt cx="6730809" cy="3767334"/>
            </a:xfrm>
          </p:grpSpPr>
          <p:grpSp>
            <p:nvGrpSpPr>
              <p:cNvPr id="13" name="Group 12">
                <a:extLst>
                  <a:ext uri="{FF2B5EF4-FFF2-40B4-BE49-F238E27FC236}">
                    <a16:creationId xmlns:a16="http://schemas.microsoft.com/office/drawing/2014/main" id="{2A2BC630-808E-4F85-AC0E-848DDCCD2444}"/>
                  </a:ext>
                </a:extLst>
              </p:cNvPr>
              <p:cNvGrpSpPr/>
              <p:nvPr/>
            </p:nvGrpSpPr>
            <p:grpSpPr>
              <a:xfrm>
                <a:off x="6387489" y="4192258"/>
                <a:ext cx="5976216" cy="3167599"/>
                <a:chOff x="6387489" y="3896424"/>
                <a:chExt cx="5976216" cy="3167599"/>
              </a:xfrm>
            </p:grpSpPr>
            <p:cxnSp>
              <p:nvCxnSpPr>
                <p:cNvPr id="15" name="Straight Connector 14">
                  <a:extLst>
                    <a:ext uri="{FF2B5EF4-FFF2-40B4-BE49-F238E27FC236}">
                      <a16:creationId xmlns:a16="http://schemas.microsoft.com/office/drawing/2014/main" id="{7CA44FCB-1E48-4474-A0FF-039963A356BE}"/>
                    </a:ext>
                  </a:extLst>
                </p:cNvPr>
                <p:cNvCxnSpPr>
                  <a:stCxn id="84" idx="6"/>
                  <a:endCxn id="83" idx="2"/>
                </p:cNvCxnSpPr>
                <p:nvPr/>
              </p:nvCxnSpPr>
              <p:spPr>
                <a:xfrm flipV="1">
                  <a:off x="6978650" y="5680774"/>
                  <a:ext cx="2368550" cy="15240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F9CED22-5915-4E1A-8DA6-25B6470E6CEF}"/>
                    </a:ext>
                  </a:extLst>
                </p:cNvPr>
                <p:cNvCxnSpPr/>
                <p:nvPr/>
              </p:nvCxnSpPr>
              <p:spPr>
                <a:xfrm flipH="1">
                  <a:off x="9466441" y="5245292"/>
                  <a:ext cx="680859" cy="414159"/>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803C808-BDC7-4420-A198-31F832E3F6A2}"/>
                    </a:ext>
                  </a:extLst>
                </p:cNvPr>
                <p:cNvCxnSpPr>
                  <a:stCxn id="81" idx="2"/>
                  <a:endCxn id="82" idx="2"/>
                </p:cNvCxnSpPr>
                <p:nvPr/>
              </p:nvCxnSpPr>
              <p:spPr>
                <a:xfrm flipH="1" flipV="1">
                  <a:off x="10147300" y="5217224"/>
                  <a:ext cx="622300" cy="4445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3032FEC-09B4-44B9-ABE9-7990C4175F83}"/>
                    </a:ext>
                  </a:extLst>
                </p:cNvPr>
                <p:cNvCxnSpPr/>
                <p:nvPr/>
              </p:nvCxnSpPr>
              <p:spPr>
                <a:xfrm flipH="1" flipV="1">
                  <a:off x="11017250" y="4774997"/>
                  <a:ext cx="1202332" cy="258077"/>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B341816-7B85-45C8-8484-06138E62BA9E}"/>
                    </a:ext>
                  </a:extLst>
                </p:cNvPr>
                <p:cNvCxnSpPr>
                  <a:stCxn id="80" idx="2"/>
                </p:cNvCxnSpPr>
                <p:nvPr/>
              </p:nvCxnSpPr>
              <p:spPr>
                <a:xfrm flipH="1">
                  <a:off x="10839450" y="5102924"/>
                  <a:ext cx="863600" cy="158751"/>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7FF6CAC-6DC9-4E42-89A0-AEA4AC67B3DF}"/>
                    </a:ext>
                  </a:extLst>
                </p:cNvPr>
                <p:cNvCxnSpPr/>
                <p:nvPr/>
              </p:nvCxnSpPr>
              <p:spPr>
                <a:xfrm flipH="1">
                  <a:off x="11069066" y="5710416"/>
                  <a:ext cx="1179081" cy="292799"/>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0B2B403-1E32-4198-A7E7-1DB4183E0E65}"/>
                    </a:ext>
                  </a:extLst>
                </p:cNvPr>
                <p:cNvCxnSpPr>
                  <a:stCxn id="86" idx="1"/>
                </p:cNvCxnSpPr>
                <p:nvPr/>
              </p:nvCxnSpPr>
              <p:spPr>
                <a:xfrm flipH="1" flipV="1">
                  <a:off x="9417051" y="5703515"/>
                  <a:ext cx="1036458" cy="74066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28142A55-F006-42D6-B587-0A836C6C8006}"/>
                    </a:ext>
                  </a:extLst>
                </p:cNvPr>
                <p:cNvCxnSpPr>
                  <a:stCxn id="86" idx="0"/>
                </p:cNvCxnSpPr>
                <p:nvPr/>
              </p:nvCxnSpPr>
              <p:spPr>
                <a:xfrm flipH="1" flipV="1">
                  <a:off x="10192393" y="5213156"/>
                  <a:ext cx="310507" cy="1210568"/>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4EF4425-A7A0-4A52-B5A0-DC8E5ED5823E}"/>
                    </a:ext>
                  </a:extLst>
                </p:cNvPr>
                <p:cNvCxnSpPr/>
                <p:nvPr/>
              </p:nvCxnSpPr>
              <p:spPr>
                <a:xfrm flipV="1">
                  <a:off x="10502900" y="4795916"/>
                  <a:ext cx="433210" cy="175031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8546992-3FF8-4D5F-93AE-66A2F7A41AD9}"/>
                    </a:ext>
                  </a:extLst>
                </p:cNvPr>
                <p:cNvCxnSpPr>
                  <a:endCxn id="86" idx="7"/>
                </p:cNvCxnSpPr>
                <p:nvPr/>
              </p:nvCxnSpPr>
              <p:spPr>
                <a:xfrm flipH="1">
                  <a:off x="10552291" y="6045899"/>
                  <a:ext cx="453669" cy="39828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3690AC3-9E5D-4C69-8DFE-9AE3F48820D5}"/>
                    </a:ext>
                  </a:extLst>
                </p:cNvPr>
                <p:cNvCxnSpPr>
                  <a:endCxn id="81" idx="7"/>
                </p:cNvCxnSpPr>
                <p:nvPr/>
              </p:nvCxnSpPr>
              <p:spPr>
                <a:xfrm flipH="1">
                  <a:off x="10888841" y="3973874"/>
                  <a:ext cx="977544" cy="1238409"/>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8BCA792-4C34-493F-95CD-CD0685072437}"/>
                    </a:ext>
                  </a:extLst>
                </p:cNvPr>
                <p:cNvCxnSpPr>
                  <a:endCxn id="84" idx="5"/>
                </p:cNvCxnSpPr>
                <p:nvPr/>
              </p:nvCxnSpPr>
              <p:spPr>
                <a:xfrm flipH="1" flipV="1">
                  <a:off x="6958191" y="5882565"/>
                  <a:ext cx="601079" cy="101840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77FB81D-5B61-47FB-9FE1-1E840C2A3D90}"/>
                    </a:ext>
                  </a:extLst>
                </p:cNvPr>
                <p:cNvCxnSpPr/>
                <p:nvPr/>
              </p:nvCxnSpPr>
              <p:spPr>
                <a:xfrm flipH="1" flipV="1">
                  <a:off x="6918768" y="5882564"/>
                  <a:ext cx="214015" cy="1018402"/>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1158F76-4728-44A3-93F7-920D4C4A8812}"/>
                    </a:ext>
                  </a:extLst>
                </p:cNvPr>
                <p:cNvCxnSpPr/>
                <p:nvPr/>
              </p:nvCxnSpPr>
              <p:spPr>
                <a:xfrm flipV="1">
                  <a:off x="6862621" y="5856977"/>
                  <a:ext cx="22078" cy="1026071"/>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1DB3492-36C1-4FF5-A0CC-99DFD51CEDE5}"/>
                    </a:ext>
                  </a:extLst>
                </p:cNvPr>
                <p:cNvCxnSpPr/>
                <p:nvPr/>
              </p:nvCxnSpPr>
              <p:spPr>
                <a:xfrm flipV="1">
                  <a:off x="6387489" y="5831930"/>
                  <a:ext cx="489704" cy="105111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486117B-DD42-49A5-9183-A2619C960C38}"/>
                    </a:ext>
                  </a:extLst>
                </p:cNvPr>
                <p:cNvCxnSpPr>
                  <a:stCxn id="87" idx="5"/>
                </p:cNvCxnSpPr>
                <p:nvPr/>
              </p:nvCxnSpPr>
              <p:spPr>
                <a:xfrm flipV="1">
                  <a:off x="9661629" y="6484244"/>
                  <a:ext cx="825150" cy="53886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A24349F6-0102-4C14-85BC-2E89CCE7F336}"/>
                    </a:ext>
                  </a:extLst>
                </p:cNvPr>
                <p:cNvCxnSpPr/>
                <p:nvPr/>
              </p:nvCxnSpPr>
              <p:spPr>
                <a:xfrm flipV="1">
                  <a:off x="10201070" y="5261674"/>
                  <a:ext cx="585720" cy="1702711"/>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A43868E7-EE25-425E-AE92-0FA4240BB986}"/>
                    </a:ext>
                  </a:extLst>
                </p:cNvPr>
                <p:cNvCxnSpPr/>
                <p:nvPr/>
              </p:nvCxnSpPr>
              <p:spPr>
                <a:xfrm flipH="1" flipV="1">
                  <a:off x="10992793" y="4795917"/>
                  <a:ext cx="94307" cy="2168467"/>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1C14AD8-B316-4F18-A4E5-0696D85DDE49}"/>
                    </a:ext>
                  </a:extLst>
                </p:cNvPr>
                <p:cNvCxnSpPr/>
                <p:nvPr/>
              </p:nvCxnSpPr>
              <p:spPr>
                <a:xfrm flipH="1" flipV="1">
                  <a:off x="11789494" y="5114717"/>
                  <a:ext cx="110501" cy="1792636"/>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6F80769C-FBDC-4ACB-A350-0D1838B72B54}"/>
                    </a:ext>
                  </a:extLst>
                </p:cNvPr>
                <p:cNvCxnSpPr/>
                <p:nvPr/>
              </p:nvCxnSpPr>
              <p:spPr>
                <a:xfrm flipH="1">
                  <a:off x="8057794" y="5699512"/>
                  <a:ext cx="1319967" cy="132359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83396B1-FADF-4D21-9033-72812B0AB7D2}"/>
                    </a:ext>
                  </a:extLst>
                </p:cNvPr>
                <p:cNvCxnSpPr>
                  <a:endCxn id="85" idx="3"/>
                </p:cNvCxnSpPr>
                <p:nvPr/>
              </p:nvCxnSpPr>
              <p:spPr>
                <a:xfrm flipH="1">
                  <a:off x="10967859" y="5100130"/>
                  <a:ext cx="804842" cy="97293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4590018-1267-4ED3-A092-D9C6015FC9AF}"/>
                    </a:ext>
                  </a:extLst>
                </p:cNvPr>
                <p:cNvCxnSpPr/>
                <p:nvPr/>
              </p:nvCxnSpPr>
              <p:spPr>
                <a:xfrm flipH="1" flipV="1">
                  <a:off x="11732066" y="5109403"/>
                  <a:ext cx="543407" cy="7310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F989CB4-334D-4985-A90F-5E0977028EA8}"/>
                    </a:ext>
                  </a:extLst>
                </p:cNvPr>
                <p:cNvCxnSpPr/>
                <p:nvPr/>
              </p:nvCxnSpPr>
              <p:spPr>
                <a:xfrm flipH="1">
                  <a:off x="11772701" y="4837247"/>
                  <a:ext cx="591004" cy="27132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5486D1F-1FDC-4873-8685-88F5B883E96F}"/>
                    </a:ext>
                  </a:extLst>
                </p:cNvPr>
                <p:cNvCxnSpPr/>
                <p:nvPr/>
              </p:nvCxnSpPr>
              <p:spPr>
                <a:xfrm flipV="1">
                  <a:off x="11796966" y="3920490"/>
                  <a:ext cx="110336" cy="1136651"/>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DD5118E-656A-4011-AD2E-EDB78B36CD3A}"/>
                    </a:ext>
                  </a:extLst>
                </p:cNvPr>
                <p:cNvCxnSpPr/>
                <p:nvPr/>
              </p:nvCxnSpPr>
              <p:spPr>
                <a:xfrm flipH="1" flipV="1">
                  <a:off x="11869325" y="3972460"/>
                  <a:ext cx="390814" cy="119038"/>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EB31C914-B29D-4A6B-854B-B5D4BCF0094F}"/>
                    </a:ext>
                  </a:extLst>
                </p:cNvPr>
                <p:cNvGrpSpPr/>
                <p:nvPr/>
              </p:nvGrpSpPr>
              <p:grpSpPr>
                <a:xfrm>
                  <a:off x="6838950" y="3896424"/>
                  <a:ext cx="5124450" cy="3167599"/>
                  <a:chOff x="6838950" y="3896424"/>
                  <a:chExt cx="5124450" cy="3167599"/>
                </a:xfrm>
                <a:solidFill>
                  <a:schemeClr val="bg1">
                    <a:lumMod val="85000"/>
                  </a:schemeClr>
                </a:solidFill>
              </p:grpSpPr>
              <p:sp>
                <p:nvSpPr>
                  <p:cNvPr id="46" name="Oval 45">
                    <a:extLst>
                      <a:ext uri="{FF2B5EF4-FFF2-40B4-BE49-F238E27FC236}">
                        <a16:creationId xmlns:a16="http://schemas.microsoft.com/office/drawing/2014/main" id="{8900C817-BAD2-4FCF-9384-C8FC3D847C71}"/>
                      </a:ext>
                    </a:extLst>
                  </p:cNvPr>
                  <p:cNvSpPr/>
                  <p:nvPr/>
                </p:nvSpPr>
                <p:spPr>
                  <a:xfrm>
                    <a:off x="10820400" y="4610100"/>
                    <a:ext cx="279400" cy="2794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7" name="Oval 46">
                    <a:extLst>
                      <a:ext uri="{FF2B5EF4-FFF2-40B4-BE49-F238E27FC236}">
                        <a16:creationId xmlns:a16="http://schemas.microsoft.com/office/drawing/2014/main" id="{88D3DC52-6A43-419B-9DD7-41DC72531721}"/>
                      </a:ext>
                    </a:extLst>
                  </p:cNvPr>
                  <p:cNvSpPr/>
                  <p:nvPr/>
                </p:nvSpPr>
                <p:spPr>
                  <a:xfrm>
                    <a:off x="11823700" y="38964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8" name="Oval 47">
                    <a:extLst>
                      <a:ext uri="{FF2B5EF4-FFF2-40B4-BE49-F238E27FC236}">
                        <a16:creationId xmlns:a16="http://schemas.microsoft.com/office/drawing/2014/main" id="{074F7684-7A9B-46BA-A1C7-182D2D7CB17B}"/>
                      </a:ext>
                    </a:extLst>
                  </p:cNvPr>
                  <p:cNvSpPr/>
                  <p:nvPr/>
                </p:nvSpPr>
                <p:spPr>
                  <a:xfrm>
                    <a:off x="11703050" y="503307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9" name="Oval 48">
                    <a:extLst>
                      <a:ext uri="{FF2B5EF4-FFF2-40B4-BE49-F238E27FC236}">
                        <a16:creationId xmlns:a16="http://schemas.microsoft.com/office/drawing/2014/main" id="{1BC76D96-6992-42EB-B179-92ACB3B39D5A}"/>
                      </a:ext>
                    </a:extLst>
                  </p:cNvPr>
                  <p:cNvSpPr/>
                  <p:nvPr/>
                </p:nvSpPr>
                <p:spPr>
                  <a:xfrm>
                    <a:off x="10769600" y="51918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50" name="Oval 49">
                    <a:extLst>
                      <a:ext uri="{FF2B5EF4-FFF2-40B4-BE49-F238E27FC236}">
                        <a16:creationId xmlns:a16="http://schemas.microsoft.com/office/drawing/2014/main" id="{F2394DDF-ADED-4CBE-9D58-4FC4C0E703A6}"/>
                      </a:ext>
                    </a:extLst>
                  </p:cNvPr>
                  <p:cNvSpPr/>
                  <p:nvPr/>
                </p:nvSpPr>
                <p:spPr>
                  <a:xfrm>
                    <a:off x="10147300" y="514737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51" name="Oval 50">
                    <a:extLst>
                      <a:ext uri="{FF2B5EF4-FFF2-40B4-BE49-F238E27FC236}">
                        <a16:creationId xmlns:a16="http://schemas.microsoft.com/office/drawing/2014/main" id="{E6C558A6-F9E6-4B9C-B4AB-489B98993963}"/>
                      </a:ext>
                    </a:extLst>
                  </p:cNvPr>
                  <p:cNvSpPr/>
                  <p:nvPr/>
                </p:nvSpPr>
                <p:spPr>
                  <a:xfrm>
                    <a:off x="9347200" y="56109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52" name="Oval 51">
                    <a:extLst>
                      <a:ext uri="{FF2B5EF4-FFF2-40B4-BE49-F238E27FC236}">
                        <a16:creationId xmlns:a16="http://schemas.microsoft.com/office/drawing/2014/main" id="{7727B3AB-7376-44DC-9673-84DCF0BEEEC0}"/>
                      </a:ext>
                    </a:extLst>
                  </p:cNvPr>
                  <p:cNvSpPr/>
                  <p:nvPr/>
                </p:nvSpPr>
                <p:spPr>
                  <a:xfrm>
                    <a:off x="6838950" y="57633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53" name="Oval 52">
                    <a:extLst>
                      <a:ext uri="{FF2B5EF4-FFF2-40B4-BE49-F238E27FC236}">
                        <a16:creationId xmlns:a16="http://schemas.microsoft.com/office/drawing/2014/main" id="{35F1FD6B-BA33-49F6-91D7-03EEAE4DA124}"/>
                      </a:ext>
                    </a:extLst>
                  </p:cNvPr>
                  <p:cNvSpPr/>
                  <p:nvPr/>
                </p:nvSpPr>
                <p:spPr>
                  <a:xfrm>
                    <a:off x="10947400" y="59538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54" name="Oval 53">
                    <a:extLst>
                      <a:ext uri="{FF2B5EF4-FFF2-40B4-BE49-F238E27FC236}">
                        <a16:creationId xmlns:a16="http://schemas.microsoft.com/office/drawing/2014/main" id="{E54C38B3-897A-49CF-8E7C-3BBADDBD8B59}"/>
                      </a:ext>
                    </a:extLst>
                  </p:cNvPr>
                  <p:cNvSpPr/>
                  <p:nvPr/>
                </p:nvSpPr>
                <p:spPr>
                  <a:xfrm>
                    <a:off x="10433050" y="64237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55" name="Oval 54">
                    <a:extLst>
                      <a:ext uri="{FF2B5EF4-FFF2-40B4-BE49-F238E27FC236}">
                        <a16:creationId xmlns:a16="http://schemas.microsoft.com/office/drawing/2014/main" id="{3DDD7D8E-DFD8-4D3E-BE61-590B33224344}"/>
                      </a:ext>
                    </a:extLst>
                  </p:cNvPr>
                  <p:cNvSpPr/>
                  <p:nvPr/>
                </p:nvSpPr>
                <p:spPr>
                  <a:xfrm>
                    <a:off x="9423146" y="6784623"/>
                    <a:ext cx="279400" cy="2794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cxnSp>
              <p:nvCxnSpPr>
                <p:cNvPr id="41" name="Straight Connector 40">
                  <a:extLst>
                    <a:ext uri="{FF2B5EF4-FFF2-40B4-BE49-F238E27FC236}">
                      <a16:creationId xmlns:a16="http://schemas.microsoft.com/office/drawing/2014/main" id="{2732B0AD-FA69-4B30-A138-01D9C48294BE}"/>
                    </a:ext>
                  </a:extLst>
                </p:cNvPr>
                <p:cNvCxnSpPr/>
                <p:nvPr/>
              </p:nvCxnSpPr>
              <p:spPr>
                <a:xfrm flipH="1">
                  <a:off x="10837739" y="3976996"/>
                  <a:ext cx="1046625" cy="2987388"/>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069D817-2AA5-47B7-BE32-8240DAFEFF12}"/>
                    </a:ext>
                  </a:extLst>
                </p:cNvPr>
                <p:cNvCxnSpPr>
                  <a:stCxn id="82" idx="3"/>
                </p:cNvCxnSpPr>
                <p:nvPr/>
              </p:nvCxnSpPr>
              <p:spPr>
                <a:xfrm flipH="1">
                  <a:off x="9562610" y="5266615"/>
                  <a:ext cx="605149" cy="1662857"/>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3753689-CC2F-4234-8E54-9716DDF57A0F}"/>
                    </a:ext>
                  </a:extLst>
                </p:cNvPr>
                <p:cNvCxnSpPr>
                  <a:stCxn id="77" idx="3"/>
                </p:cNvCxnSpPr>
                <p:nvPr/>
              </p:nvCxnSpPr>
              <p:spPr>
                <a:xfrm flipH="1">
                  <a:off x="9594851" y="4848583"/>
                  <a:ext cx="1266466" cy="2082992"/>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DCD61AF-42C9-4786-8074-C1B6F0A738D1}"/>
                    </a:ext>
                  </a:extLst>
                </p:cNvPr>
                <p:cNvCxnSpPr>
                  <a:stCxn id="87" idx="2"/>
                </p:cNvCxnSpPr>
                <p:nvPr/>
              </p:nvCxnSpPr>
              <p:spPr>
                <a:xfrm flipH="1" flipV="1">
                  <a:off x="6897510" y="5830633"/>
                  <a:ext cx="2525636" cy="109369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8131966F-9021-4521-95D7-9FCA486B0F7D}"/>
                    </a:ext>
                  </a:extLst>
                </p:cNvPr>
                <p:cNvCxnSpPr/>
                <p:nvPr/>
              </p:nvCxnSpPr>
              <p:spPr>
                <a:xfrm flipH="1" flipV="1">
                  <a:off x="11023353" y="6029937"/>
                  <a:ext cx="819397" cy="862723"/>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14" name="Rectangle 13">
                <a:extLst>
                  <a:ext uri="{FF2B5EF4-FFF2-40B4-BE49-F238E27FC236}">
                    <a16:creationId xmlns:a16="http://schemas.microsoft.com/office/drawing/2014/main" id="{FFDD8960-F0B9-4331-868A-18CF912B3282}"/>
                  </a:ext>
                </a:extLst>
              </p:cNvPr>
              <p:cNvSpPr/>
              <p:nvPr/>
            </p:nvSpPr>
            <p:spPr>
              <a:xfrm>
                <a:off x="5632896" y="3592523"/>
                <a:ext cx="6559104" cy="3261792"/>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grpSp>
      <p:sp>
        <p:nvSpPr>
          <p:cNvPr id="2" name="Title 1">
            <a:extLst>
              <a:ext uri="{FF2B5EF4-FFF2-40B4-BE49-F238E27FC236}">
                <a16:creationId xmlns:a16="http://schemas.microsoft.com/office/drawing/2014/main" id="{96196052-F1D3-430A-8FBB-335298B00C9A}"/>
              </a:ext>
            </a:extLst>
          </p:cNvPr>
          <p:cNvSpPr txBox="1">
            <a:spLocks/>
          </p:cNvSpPr>
          <p:nvPr/>
        </p:nvSpPr>
        <p:spPr>
          <a:xfrm>
            <a:off x="1055878" y="1518981"/>
            <a:ext cx="10102850" cy="3674052"/>
          </a:xfrm>
          <a:prstGeom prst="rect">
            <a:avLst/>
          </a:prstGeom>
        </p:spPr>
        <p:txBody>
          <a:bodyPr vert="horz" lIns="0" tIns="45720" rIns="91440" bIns="0" rtlCol="0" anchor="t" anchorCtr="0">
            <a:noAutofit/>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100" normalizeH="0" baseline="0" noProof="0" dirty="0">
                <a:ln>
                  <a:noFill/>
                </a:ln>
                <a:solidFill>
                  <a:srgbClr val="000000"/>
                </a:solidFill>
                <a:effectLst/>
                <a:uLnTx/>
                <a:uFillTx/>
                <a:latin typeface="Chronicle Display Black"/>
                <a:ea typeface="Georgia" charset="0"/>
                <a:cs typeface="Georgia" charset="0"/>
              </a:rPr>
              <a:t>It’s more than 	  </a:t>
            </a:r>
            <a:r>
              <a:rPr kumimoji="0" lang="en-US" sz="4400" b="1" i="0" u="none" strike="noStrike" kern="1200" cap="none" spc="-100" normalizeH="0" baseline="0" noProof="0" dirty="0">
                <a:ln>
                  <a:noFill/>
                </a:ln>
                <a:solidFill>
                  <a:srgbClr val="FFFFFF"/>
                </a:solidFill>
                <a:effectLst/>
                <a:uLnTx/>
                <a:uFillTx/>
                <a:latin typeface="Chronicle Display Black"/>
                <a:ea typeface="Georgia" charset="0"/>
                <a:cs typeface="Georgia" charset="0"/>
              </a:rPr>
              <a:t>. </a:t>
            </a:r>
            <a:r>
              <a:rPr kumimoji="0" lang="en-US" sz="4400" b="1" i="0" u="none" strike="noStrike" kern="1200" cap="none" spc="-100" normalizeH="0" baseline="0" noProof="0" dirty="0">
                <a:ln>
                  <a:noFill/>
                </a:ln>
                <a:solidFill>
                  <a:srgbClr val="000000"/>
                </a:solidFill>
                <a:effectLst/>
                <a:uLnTx/>
                <a:uFillTx/>
                <a:latin typeface="Chronicle Display Black"/>
                <a:ea typeface="Georgia" charset="0"/>
                <a:cs typeface="Georgia" charset="0"/>
              </a:rPr>
              <a:t>                </a:t>
            </a:r>
            <a:br>
              <a:rPr kumimoji="0" lang="en-US" sz="4400" b="1" i="0" u="none" strike="noStrike" kern="1200" cap="none" spc="-100" normalizeH="0" baseline="0" noProof="0" dirty="0">
                <a:ln>
                  <a:noFill/>
                </a:ln>
                <a:solidFill>
                  <a:srgbClr val="000000"/>
                </a:solidFill>
                <a:effectLst/>
                <a:uLnTx/>
                <a:uFillTx/>
                <a:latin typeface="Chronicle Display Black"/>
                <a:ea typeface="Georgia" charset="0"/>
                <a:cs typeface="Georgia" charset="0"/>
              </a:rPr>
            </a:br>
            <a:r>
              <a:rPr kumimoji="0" lang="en-US" sz="4400" b="1" i="0" u="none" strike="noStrike" kern="1200" cap="none" spc="-100" normalizeH="0" baseline="0" noProof="0" dirty="0">
                <a:ln>
                  <a:noFill/>
                </a:ln>
                <a:solidFill>
                  <a:srgbClr val="000000"/>
                </a:solidFill>
                <a:effectLst/>
                <a:uLnTx/>
                <a:uFillTx/>
                <a:latin typeface="Chronicle Display Black"/>
                <a:ea typeface="Georgia" charset="0"/>
                <a:cs typeface="Georgia" charset="0"/>
              </a:rPr>
              <a:t>the consumer experience. </a:t>
            </a:r>
            <a:br>
              <a:rPr kumimoji="0" lang="en-US" sz="4400" b="1" i="0" u="none" strike="noStrike" kern="1200" cap="none" spc="-100" normalizeH="0" baseline="0" noProof="0" dirty="0">
                <a:ln>
                  <a:noFill/>
                </a:ln>
                <a:solidFill>
                  <a:srgbClr val="000000"/>
                </a:solidFill>
                <a:effectLst/>
                <a:uLnTx/>
                <a:uFillTx/>
                <a:latin typeface="Chronicle Display Black"/>
                <a:ea typeface="Georgia" charset="0"/>
                <a:cs typeface="Georgia" charset="0"/>
              </a:rPr>
            </a:br>
            <a:r>
              <a:rPr kumimoji="0" lang="en-US" sz="4400" b="1" i="0" u="none" strike="noStrike" kern="1200" cap="none" spc="-100" normalizeH="0" baseline="0" noProof="0" dirty="0">
                <a:ln>
                  <a:noFill/>
                </a:ln>
                <a:solidFill>
                  <a:srgbClr val="000000"/>
                </a:solidFill>
                <a:effectLst/>
                <a:uLnTx/>
                <a:uFillTx/>
                <a:latin typeface="Chronicle Display Black"/>
                <a:ea typeface="Georgia" charset="0"/>
                <a:cs typeface="Georgia" charset="0"/>
              </a:rPr>
              <a:t>It’s about                                  during </a:t>
            </a:r>
            <a:br>
              <a:rPr kumimoji="0" lang="en-US" sz="4400" b="1" i="0" u="none" strike="noStrike" kern="1200" cap="none" spc="-100" normalizeH="0" baseline="0" noProof="0" dirty="0">
                <a:ln>
                  <a:noFill/>
                </a:ln>
                <a:solidFill>
                  <a:srgbClr val="000000"/>
                </a:solidFill>
                <a:effectLst/>
                <a:uLnTx/>
                <a:uFillTx/>
                <a:latin typeface="Chronicle Display Black"/>
                <a:ea typeface="Georgia" charset="0"/>
                <a:cs typeface="Georgia" charset="0"/>
              </a:rPr>
            </a:br>
            <a:r>
              <a:rPr kumimoji="0" lang="en-US" sz="4400" b="1" i="0" u="none" strike="noStrike" kern="1200" cap="none" spc="-100" normalizeH="0" baseline="0" noProof="0" dirty="0">
                <a:ln>
                  <a:noFill/>
                </a:ln>
                <a:solidFill>
                  <a:srgbClr val="000000"/>
                </a:solidFill>
                <a:effectLst/>
                <a:uLnTx/>
                <a:uFillTx/>
                <a:latin typeface="Chronicle Display Black"/>
                <a:ea typeface="Georgia" charset="0"/>
                <a:cs typeface="Georgia" charset="0"/>
              </a:rPr>
              <a:t>the moments that matter most </a:t>
            </a:r>
            <a:br>
              <a:rPr kumimoji="0" lang="en-US" sz="4400" b="1" i="0" u="none" strike="noStrike" kern="1200" cap="none" spc="-100" normalizeH="0" baseline="0" noProof="0" dirty="0">
                <a:ln>
                  <a:noFill/>
                </a:ln>
                <a:solidFill>
                  <a:srgbClr val="000000"/>
                </a:solidFill>
                <a:effectLst/>
                <a:uLnTx/>
                <a:uFillTx/>
                <a:latin typeface="Chronicle Display Black"/>
                <a:ea typeface="Georgia" charset="0"/>
                <a:cs typeface="Georgia" charset="0"/>
              </a:rPr>
            </a:br>
            <a:r>
              <a:rPr kumimoji="0" lang="en-US" sz="4400" b="1" i="0" u="none" strike="noStrike" kern="1200" cap="none" spc="-100" normalizeH="0" baseline="0" noProof="0" dirty="0">
                <a:ln>
                  <a:noFill/>
                </a:ln>
                <a:solidFill>
                  <a:srgbClr val="000000"/>
                </a:solidFill>
                <a:effectLst/>
                <a:uLnTx/>
                <a:uFillTx/>
                <a:latin typeface="Chronicle Display Black"/>
                <a:ea typeface="Georgia" charset="0"/>
                <a:cs typeface="Georgia" charset="0"/>
              </a:rPr>
              <a:t>to consumers along their       </a:t>
            </a:r>
            <a:br>
              <a:rPr kumimoji="0" lang="en-US" sz="4400" b="1" i="0" u="none" strike="noStrike" kern="1200" cap="none" spc="-100" normalizeH="0" baseline="0" noProof="0" dirty="0">
                <a:ln>
                  <a:noFill/>
                </a:ln>
                <a:solidFill>
                  <a:srgbClr val="000000"/>
                </a:solidFill>
                <a:effectLst/>
                <a:uLnTx/>
                <a:uFillTx/>
                <a:latin typeface="Chronicle Display Black"/>
                <a:ea typeface="Georgia" charset="0"/>
                <a:cs typeface="Georgia" charset="0"/>
              </a:rPr>
            </a:br>
            <a:r>
              <a:rPr kumimoji="0" lang="en-US" sz="4400" b="1" i="0" u="none" strike="noStrike" kern="1200" cap="none" spc="-100" normalizeH="0" baseline="0" noProof="0" dirty="0">
                <a:ln>
                  <a:noFill/>
                </a:ln>
                <a:solidFill>
                  <a:srgbClr val="000000"/>
                </a:solidFill>
                <a:effectLst/>
                <a:uLnTx/>
                <a:uFillTx/>
                <a:latin typeface="Chronicle Display Black"/>
                <a:ea typeface="Georgia" charset="0"/>
                <a:cs typeface="Georgia" charset="0"/>
              </a:rPr>
              <a:t>   </a:t>
            </a:r>
            <a:r>
              <a:rPr kumimoji="0" lang="en-US" sz="4400" b="1" i="0" u="none" strike="noStrike" kern="1200" cap="none" spc="-100" normalizeH="0" baseline="0" noProof="0" dirty="0">
                <a:ln>
                  <a:noFill/>
                </a:ln>
                <a:solidFill>
                  <a:srgbClr val="FFFFFF"/>
                </a:solidFill>
                <a:effectLst/>
                <a:uLnTx/>
                <a:uFillTx/>
                <a:latin typeface="Chronicle Display Black"/>
                <a:ea typeface="Georgia" charset="0"/>
                <a:cs typeface="Georgia" charset="0"/>
              </a:rPr>
              <a:t>.     </a:t>
            </a:r>
            <a:r>
              <a:rPr kumimoji="0" lang="en-US" sz="4400" b="1" i="0" u="none" strike="noStrike" kern="1200" cap="none" spc="-100" normalizeH="0" baseline="0" noProof="0" dirty="0">
                <a:ln>
                  <a:noFill/>
                </a:ln>
                <a:solidFill>
                  <a:srgbClr val="000000"/>
                </a:solidFill>
                <a:effectLst/>
                <a:uLnTx/>
                <a:uFillTx/>
                <a:latin typeface="Chronicle Display Black"/>
                <a:ea typeface="Georgia" charset="0"/>
                <a:cs typeface="Georgia" charset="0"/>
              </a:rPr>
              <a:t>           journeys.</a:t>
            </a:r>
            <a:endParaRPr kumimoji="0" lang="en-US" sz="4400" b="0" i="0" u="none" strike="noStrike" kern="1200" cap="none" spc="-100" normalizeH="0" baseline="0" noProof="0" dirty="0">
              <a:ln>
                <a:noFill/>
              </a:ln>
              <a:solidFill>
                <a:srgbClr val="000000"/>
              </a:solidFill>
              <a:effectLst/>
              <a:uLnTx/>
              <a:uFillTx/>
              <a:latin typeface="Chronicle Display Black"/>
              <a:ea typeface="Calibri" charset="0"/>
              <a:cs typeface="Calibri" charset="0"/>
            </a:endParaRPr>
          </a:p>
        </p:txBody>
      </p:sp>
      <p:sp>
        <p:nvSpPr>
          <p:cNvPr id="3" name="Rectangle 2">
            <a:extLst>
              <a:ext uri="{FF2B5EF4-FFF2-40B4-BE49-F238E27FC236}">
                <a16:creationId xmlns:a16="http://schemas.microsoft.com/office/drawing/2014/main" id="{A1A9B9EB-06F0-49CA-936B-ED7D12BF5170}"/>
              </a:ext>
            </a:extLst>
          </p:cNvPr>
          <p:cNvSpPr/>
          <p:nvPr/>
        </p:nvSpPr>
        <p:spPr>
          <a:xfrm>
            <a:off x="7599809" y="1653536"/>
            <a:ext cx="2250802" cy="475488"/>
          </a:xfrm>
          <a:prstGeom prst="rect">
            <a:avLst/>
          </a:prstGeom>
          <a:solidFill>
            <a:schemeClr val="bg1"/>
          </a:solidFill>
          <a:ln w="6096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300" normalizeH="0" baseline="0" noProof="0" dirty="0">
                <a:ln>
                  <a:noFill/>
                </a:ln>
                <a:solidFill>
                  <a:srgbClr val="000000"/>
                </a:solidFill>
                <a:effectLst/>
                <a:uLnTx/>
                <a:uFillTx/>
                <a:latin typeface="Open Sans"/>
                <a:ea typeface="+mn-ea"/>
                <a:cs typeface="+mn-cs"/>
              </a:rPr>
              <a:t>MANAGING</a:t>
            </a:r>
          </a:p>
        </p:txBody>
      </p:sp>
      <p:sp>
        <p:nvSpPr>
          <p:cNvPr id="4" name="Rectangle 3">
            <a:extLst>
              <a:ext uri="{FF2B5EF4-FFF2-40B4-BE49-F238E27FC236}">
                <a16:creationId xmlns:a16="http://schemas.microsoft.com/office/drawing/2014/main" id="{C6A573E1-650B-431B-828E-7E9C6C3B81D2}"/>
              </a:ext>
            </a:extLst>
          </p:cNvPr>
          <p:cNvSpPr/>
          <p:nvPr/>
        </p:nvSpPr>
        <p:spPr>
          <a:xfrm>
            <a:off x="4735119" y="2868222"/>
            <a:ext cx="3342081" cy="475488"/>
          </a:xfrm>
          <a:prstGeom prst="rect">
            <a:avLst/>
          </a:prstGeom>
          <a:solidFill>
            <a:schemeClr val="bg1"/>
          </a:solidFill>
          <a:ln w="6096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300" normalizeH="0" baseline="0" noProof="0" dirty="0">
                <a:ln>
                  <a:noFill/>
                </a:ln>
                <a:solidFill>
                  <a:srgbClr val="000000"/>
                </a:solidFill>
                <a:effectLst/>
                <a:uLnTx/>
                <a:uFillTx/>
                <a:latin typeface="Open Sans"/>
                <a:ea typeface="+mn-ea"/>
                <a:cs typeface="+mn-cs"/>
              </a:rPr>
              <a:t>CREATING VALUE</a:t>
            </a:r>
          </a:p>
        </p:txBody>
      </p:sp>
      <p:sp>
        <p:nvSpPr>
          <p:cNvPr id="5" name="Rectangle 4">
            <a:extLst>
              <a:ext uri="{FF2B5EF4-FFF2-40B4-BE49-F238E27FC236}">
                <a16:creationId xmlns:a16="http://schemas.microsoft.com/office/drawing/2014/main" id="{A19036D3-3996-4C93-900E-11A566D9C934}"/>
              </a:ext>
            </a:extLst>
          </p:cNvPr>
          <p:cNvSpPr/>
          <p:nvPr/>
        </p:nvSpPr>
        <p:spPr>
          <a:xfrm>
            <a:off x="4225752" y="4659079"/>
            <a:ext cx="1699483" cy="475488"/>
          </a:xfrm>
          <a:prstGeom prst="rect">
            <a:avLst/>
          </a:prstGeom>
          <a:solidFill>
            <a:schemeClr val="bg1"/>
          </a:solidFill>
          <a:ln w="6096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300" normalizeH="0" baseline="0" noProof="0" dirty="0">
                <a:ln>
                  <a:noFill/>
                </a:ln>
                <a:solidFill>
                  <a:srgbClr val="000000"/>
                </a:solidFill>
                <a:effectLst/>
                <a:uLnTx/>
                <a:uFillTx/>
                <a:latin typeface="Open Sans"/>
                <a:ea typeface="+mn-ea"/>
                <a:cs typeface="+mn-cs"/>
              </a:rPr>
              <a:t>UNIQUE</a:t>
            </a:r>
          </a:p>
        </p:txBody>
      </p:sp>
      <p:sp>
        <p:nvSpPr>
          <p:cNvPr id="6" name="Rectangle 5">
            <a:extLst>
              <a:ext uri="{FF2B5EF4-FFF2-40B4-BE49-F238E27FC236}">
                <a16:creationId xmlns:a16="http://schemas.microsoft.com/office/drawing/2014/main" id="{377D2971-BC21-4669-961F-FA9EDA94C6BF}"/>
              </a:ext>
            </a:extLst>
          </p:cNvPr>
          <p:cNvSpPr/>
          <p:nvPr/>
        </p:nvSpPr>
        <p:spPr>
          <a:xfrm>
            <a:off x="4060962" y="5484717"/>
            <a:ext cx="4088363" cy="3693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s-IS" sz="1800" b="1" i="0" u="none" strike="noStrike" kern="1200" cap="none" spc="0" normalizeH="0" baseline="0" noProof="0" dirty="0">
                <a:ln>
                  <a:noFill/>
                </a:ln>
                <a:solidFill>
                  <a:srgbClr val="000000"/>
                </a:solidFill>
                <a:effectLst/>
                <a:uLnTx/>
                <a:uFillTx/>
                <a:latin typeface="Open Sans"/>
                <a:ea typeface="Calibri" charset="0"/>
                <a:cs typeface="Calibri" charset="0"/>
              </a:rPr>
              <a:t>It is that simple. But it is not easy.</a:t>
            </a:r>
            <a:endParaRPr kumimoji="0" lang="en-US" sz="1800" b="1" i="0" u="none" strike="noStrike" kern="1200" cap="none" spc="0" normalizeH="0" baseline="0" noProof="0" dirty="0">
              <a:ln>
                <a:noFill/>
              </a:ln>
              <a:solidFill>
                <a:srgbClr val="000000"/>
              </a:solidFill>
              <a:effectLst/>
              <a:uLnTx/>
              <a:uFillTx/>
              <a:latin typeface="Open Sans"/>
              <a:ea typeface="+mn-ea"/>
              <a:cs typeface="+mn-cs"/>
            </a:endParaRPr>
          </a:p>
        </p:txBody>
      </p:sp>
    </p:spTree>
    <p:extLst>
      <p:ext uri="{BB962C8B-B14F-4D97-AF65-F5344CB8AC3E}">
        <p14:creationId xmlns:p14="http://schemas.microsoft.com/office/powerpoint/2010/main" val="4164941566"/>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F762957D-B8AF-496D-B752-88DC711CD98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308" name="think-cell Slide" r:id="rId6" imgW="415" imgH="416" progId="TCLayout.ActiveDocument.1">
                  <p:embed/>
                </p:oleObj>
              </mc:Choice>
              <mc:Fallback>
                <p:oleObj name="think-cell Slide" r:id="rId6" imgW="415" imgH="416" progId="TCLayout.ActiveDocument.1">
                  <p:embed/>
                  <p:pic>
                    <p:nvPicPr>
                      <p:cNvPr id="13" name="Object 12" hidden="1">
                        <a:extLst>
                          <a:ext uri="{FF2B5EF4-FFF2-40B4-BE49-F238E27FC236}">
                            <a16:creationId xmlns:a16="http://schemas.microsoft.com/office/drawing/2014/main" id="{F762957D-B8AF-496D-B752-88DC711CD98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111C8909-3545-40EE-A027-584B07AAE04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8A6B1AB3-597B-4028-8C7C-B7C1E391FD49}"/>
              </a:ext>
            </a:extLst>
          </p:cNvPr>
          <p:cNvSpPr>
            <a:spLocks noGrp="1"/>
          </p:cNvSpPr>
          <p:nvPr>
            <p:ph type="title"/>
          </p:nvPr>
        </p:nvSpPr>
        <p:spPr/>
        <p:txBody>
          <a:bodyPr/>
          <a:lstStyle/>
          <a:p>
            <a:r>
              <a:rPr lang="en-US" dirty="0"/>
              <a:t>Ways to evolve a brand</a:t>
            </a:r>
          </a:p>
        </p:txBody>
      </p:sp>
      <p:sp>
        <p:nvSpPr>
          <p:cNvPr id="3" name="Text Placeholder 2">
            <a:extLst>
              <a:ext uri="{FF2B5EF4-FFF2-40B4-BE49-F238E27FC236}">
                <a16:creationId xmlns:a16="http://schemas.microsoft.com/office/drawing/2014/main" id="{AB86BDE9-8EA1-4BF4-94C5-3C6D7517ED50}"/>
              </a:ext>
            </a:extLst>
          </p:cNvPr>
          <p:cNvSpPr>
            <a:spLocks noGrp="1"/>
          </p:cNvSpPr>
          <p:nvPr>
            <p:ph type="body" sz="quarter" idx="14"/>
          </p:nvPr>
        </p:nvSpPr>
        <p:spPr/>
        <p:txBody>
          <a:bodyPr/>
          <a:lstStyle/>
          <a:p>
            <a:r>
              <a:rPr lang="en-US" dirty="0"/>
              <a:t>There has been a broad undertaking to evolve the brand to deliver a modern approach to luxury, leveraging the brand’s iconic heritage and legacy; our culture change findings are a key component of this process and will inform parallel initiatives</a:t>
            </a:r>
          </a:p>
        </p:txBody>
      </p:sp>
      <p:sp>
        <p:nvSpPr>
          <p:cNvPr id="4" name="Text Placeholder 3">
            <a:extLst>
              <a:ext uri="{FF2B5EF4-FFF2-40B4-BE49-F238E27FC236}">
                <a16:creationId xmlns:a16="http://schemas.microsoft.com/office/drawing/2014/main" id="{FB458AD0-D562-4ED5-A8D7-9BDD98BED19E}"/>
              </a:ext>
            </a:extLst>
          </p:cNvPr>
          <p:cNvSpPr>
            <a:spLocks noGrp="1"/>
          </p:cNvSpPr>
          <p:nvPr>
            <p:ph type="body" sz="quarter" idx="15"/>
          </p:nvPr>
        </p:nvSpPr>
        <p:spPr/>
        <p:txBody>
          <a:bodyPr/>
          <a:lstStyle/>
          <a:p>
            <a:r>
              <a:rPr lang="en-US" dirty="0"/>
              <a:t>Plans, timelines and roadmaps</a:t>
            </a:r>
          </a:p>
        </p:txBody>
      </p:sp>
      <p:cxnSp>
        <p:nvCxnSpPr>
          <p:cNvPr id="14" name="Elbow Connector 41">
            <a:extLst>
              <a:ext uri="{FF2B5EF4-FFF2-40B4-BE49-F238E27FC236}">
                <a16:creationId xmlns:a16="http://schemas.microsoft.com/office/drawing/2014/main" id="{C0AAF5DF-1285-431A-9A8A-0580BAF2B8EC}"/>
              </a:ext>
            </a:extLst>
          </p:cNvPr>
          <p:cNvCxnSpPr/>
          <p:nvPr/>
        </p:nvCxnSpPr>
        <p:spPr>
          <a:xfrm rot="16200000" flipH="1">
            <a:off x="7904590" y="1345656"/>
            <a:ext cx="1920240" cy="4114800"/>
          </a:xfrm>
          <a:prstGeom prst="bentConnector4">
            <a:avLst>
              <a:gd name="adj1" fmla="val 99964"/>
              <a:gd name="adj2" fmla="val 51111"/>
            </a:avLst>
          </a:prstGeom>
          <a:ln w="9525">
            <a:solidFill>
              <a:schemeClr val="bg1">
                <a:lumMod val="50000"/>
              </a:schemeClr>
            </a:solidFill>
            <a:prstDash val="dashDot"/>
            <a:tailEnd type="oval"/>
          </a:ln>
        </p:spPr>
        <p:style>
          <a:lnRef idx="1">
            <a:schemeClr val="accent1"/>
          </a:lnRef>
          <a:fillRef idx="0">
            <a:schemeClr val="accent1"/>
          </a:fillRef>
          <a:effectRef idx="0">
            <a:schemeClr val="accent1"/>
          </a:effectRef>
          <a:fontRef idx="minor">
            <a:schemeClr val="tx1"/>
          </a:fontRef>
        </p:style>
      </p:cxnSp>
      <p:cxnSp>
        <p:nvCxnSpPr>
          <p:cNvPr id="15" name="Elbow Connector 40">
            <a:extLst>
              <a:ext uri="{FF2B5EF4-FFF2-40B4-BE49-F238E27FC236}">
                <a16:creationId xmlns:a16="http://schemas.microsoft.com/office/drawing/2014/main" id="{0ED0660E-D2CD-42F4-8E09-9C176257EFAB}"/>
              </a:ext>
            </a:extLst>
          </p:cNvPr>
          <p:cNvCxnSpPr/>
          <p:nvPr/>
        </p:nvCxnSpPr>
        <p:spPr>
          <a:xfrm rot="16200000" flipH="1">
            <a:off x="7564254" y="794979"/>
            <a:ext cx="365760" cy="4480560"/>
          </a:xfrm>
          <a:prstGeom prst="bentConnector4">
            <a:avLst>
              <a:gd name="adj1" fmla="val 99964"/>
              <a:gd name="adj2" fmla="val 51111"/>
            </a:avLst>
          </a:prstGeom>
          <a:ln w="28575">
            <a:solidFill>
              <a:schemeClr val="accent1"/>
            </a:solidFill>
            <a:prstDash val="solid"/>
            <a:tailEnd type="oval"/>
          </a:ln>
        </p:spPr>
        <p:style>
          <a:lnRef idx="1">
            <a:schemeClr val="accent1"/>
          </a:lnRef>
          <a:fillRef idx="0">
            <a:schemeClr val="accent1"/>
          </a:fillRef>
          <a:effectRef idx="0">
            <a:schemeClr val="accent1"/>
          </a:effectRef>
          <a:fontRef idx="minor">
            <a:schemeClr val="tx1"/>
          </a:fontRef>
        </p:style>
      </p:cxnSp>
      <p:sp>
        <p:nvSpPr>
          <p:cNvPr id="16" name="Freeform 5">
            <a:extLst>
              <a:ext uri="{FF2B5EF4-FFF2-40B4-BE49-F238E27FC236}">
                <a16:creationId xmlns:a16="http://schemas.microsoft.com/office/drawing/2014/main" id="{03C5A7A0-B78D-4955-9AEE-C0AB58F45819}"/>
              </a:ext>
            </a:extLst>
          </p:cNvPr>
          <p:cNvSpPr/>
          <p:nvPr/>
        </p:nvSpPr>
        <p:spPr>
          <a:xfrm>
            <a:off x="998483" y="2217343"/>
            <a:ext cx="10216055" cy="3678620"/>
          </a:xfrm>
          <a:custGeom>
            <a:avLst/>
            <a:gdLst>
              <a:gd name="connsiteX0" fmla="*/ 0 w 10216055"/>
              <a:gd name="connsiteY0" fmla="*/ 3867807 h 3867807"/>
              <a:gd name="connsiteX1" fmla="*/ 2911365 w 10216055"/>
              <a:gd name="connsiteY1" fmla="*/ 2900856 h 3867807"/>
              <a:gd name="connsiteX2" fmla="*/ 4929351 w 10216055"/>
              <a:gd name="connsiteY2" fmla="*/ 462456 h 3867807"/>
              <a:gd name="connsiteX3" fmla="*/ 10216055 w 10216055"/>
              <a:gd name="connsiteY3" fmla="*/ 0 h 3867807"/>
            </a:gdLst>
            <a:ahLst/>
            <a:cxnLst>
              <a:cxn ang="0">
                <a:pos x="connsiteX0" y="connsiteY0"/>
              </a:cxn>
              <a:cxn ang="0">
                <a:pos x="connsiteX1" y="connsiteY1"/>
              </a:cxn>
              <a:cxn ang="0">
                <a:pos x="connsiteX2" y="connsiteY2"/>
              </a:cxn>
              <a:cxn ang="0">
                <a:pos x="connsiteX3" y="connsiteY3"/>
              </a:cxn>
            </a:cxnLst>
            <a:rect l="l" t="t" r="r" b="b"/>
            <a:pathLst>
              <a:path w="10216055" h="3867807">
                <a:moveTo>
                  <a:pt x="0" y="3867807"/>
                </a:moveTo>
                <a:cubicBezTo>
                  <a:pt x="1044903" y="3668110"/>
                  <a:pt x="2089807" y="3468414"/>
                  <a:pt x="2911365" y="2900856"/>
                </a:cubicBezTo>
                <a:cubicBezTo>
                  <a:pt x="3732924" y="2333297"/>
                  <a:pt x="3711903" y="945932"/>
                  <a:pt x="4929351" y="462456"/>
                </a:cubicBezTo>
                <a:cubicBezTo>
                  <a:pt x="6146799" y="-21020"/>
                  <a:pt x="9389241" y="75324"/>
                  <a:pt x="10216055" y="0"/>
                </a:cubicBezTo>
              </a:path>
            </a:pathLst>
          </a:custGeom>
          <a:noFill/>
          <a:ln w="41275">
            <a:solidFill>
              <a:schemeClr val="tx1">
                <a:lumMod val="65000"/>
                <a:lumOff val="3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Oval 16">
            <a:extLst>
              <a:ext uri="{FF2B5EF4-FFF2-40B4-BE49-F238E27FC236}">
                <a16:creationId xmlns:a16="http://schemas.microsoft.com/office/drawing/2014/main" id="{F9F3C1CC-20AF-46AC-B5D8-5186BDFAEF85}"/>
              </a:ext>
            </a:extLst>
          </p:cNvPr>
          <p:cNvSpPr/>
          <p:nvPr/>
        </p:nvSpPr>
        <p:spPr>
          <a:xfrm>
            <a:off x="1218674" y="5770047"/>
            <a:ext cx="137160"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79C82BEF-72A6-425E-8CD6-9BE1FFA22E15}"/>
              </a:ext>
            </a:extLst>
          </p:cNvPr>
          <p:cNvSpPr/>
          <p:nvPr/>
        </p:nvSpPr>
        <p:spPr>
          <a:xfrm>
            <a:off x="591753" y="4754384"/>
            <a:ext cx="1528161" cy="1015663"/>
          </a:xfrm>
          <a:prstGeom prst="rect">
            <a:avLst/>
          </a:prstGeom>
        </p:spPr>
        <p:txBody>
          <a:bodyPr wrap="square">
            <a:spAutoFit/>
          </a:bodyPr>
          <a:lstStyle/>
          <a:p>
            <a:pPr marL="0" marR="0" lvl="0" indent="-285739"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Brand team assessment of the company’s portfolio opportunities</a:t>
            </a:r>
          </a:p>
        </p:txBody>
      </p:sp>
      <p:sp>
        <p:nvSpPr>
          <p:cNvPr id="19" name="Oval 18">
            <a:extLst>
              <a:ext uri="{FF2B5EF4-FFF2-40B4-BE49-F238E27FC236}">
                <a16:creationId xmlns:a16="http://schemas.microsoft.com/office/drawing/2014/main" id="{274C7501-3FD3-450C-A28A-B4ECCBF684DF}"/>
              </a:ext>
            </a:extLst>
          </p:cNvPr>
          <p:cNvSpPr/>
          <p:nvPr/>
        </p:nvSpPr>
        <p:spPr>
          <a:xfrm>
            <a:off x="4317911" y="4417906"/>
            <a:ext cx="137160" cy="13716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182D9A35-9556-4A5F-B32C-96128EF1EDB2}"/>
              </a:ext>
            </a:extLst>
          </p:cNvPr>
          <p:cNvSpPr/>
          <p:nvPr/>
        </p:nvSpPr>
        <p:spPr>
          <a:xfrm>
            <a:off x="2055292" y="3948949"/>
            <a:ext cx="2262620" cy="1015663"/>
          </a:xfrm>
          <a:prstGeom prst="rect">
            <a:avLst/>
          </a:prstGeom>
        </p:spPr>
        <p:txBody>
          <a:bodyPr wrap="square">
            <a:spAutoFit/>
          </a:bodyPr>
          <a:lstStyle/>
          <a:p>
            <a:pPr marL="0" marR="0" lvl="0" indent="-285739"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Deloitte was engaged to develop and articulate the service culture strategy and supporting signature services and gestures</a:t>
            </a:r>
          </a:p>
        </p:txBody>
      </p:sp>
      <p:sp>
        <p:nvSpPr>
          <p:cNvPr id="21" name="Oval 20">
            <a:extLst>
              <a:ext uri="{FF2B5EF4-FFF2-40B4-BE49-F238E27FC236}">
                <a16:creationId xmlns:a16="http://schemas.microsoft.com/office/drawing/2014/main" id="{6086B5C9-7DC1-4F1C-B7D1-60CFB16C439E}"/>
              </a:ext>
            </a:extLst>
          </p:cNvPr>
          <p:cNvSpPr/>
          <p:nvPr/>
        </p:nvSpPr>
        <p:spPr>
          <a:xfrm>
            <a:off x="5121948" y="3087519"/>
            <a:ext cx="137160"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53D46E20-1CC4-493A-88F8-12CDB93A1202}"/>
              </a:ext>
            </a:extLst>
          </p:cNvPr>
          <p:cNvSpPr/>
          <p:nvPr/>
        </p:nvSpPr>
        <p:spPr>
          <a:xfrm>
            <a:off x="2545613" y="2584471"/>
            <a:ext cx="2547072" cy="1200329"/>
          </a:xfrm>
          <a:prstGeom prst="rect">
            <a:avLst/>
          </a:prstGeom>
        </p:spPr>
        <p:txBody>
          <a:bodyPr wrap="square">
            <a:spAutoFit/>
          </a:bodyPr>
          <a:lstStyle/>
          <a:p>
            <a:pPr marL="0" marR="0" lvl="0" indent="-285739"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1">
                    <a:lumMod val="75000"/>
                  </a:schemeClr>
                </a:solidFill>
                <a:effectLst/>
                <a:uLnTx/>
                <a:uFillTx/>
                <a:ea typeface="+mn-ea"/>
                <a:cs typeface="+mn-cs"/>
              </a:rPr>
              <a:t>Deloitte Consulting was engaged to assist with conducting a current state culture assessment, in order to identify opportunities and define </a:t>
            </a:r>
            <a:r>
              <a:rPr kumimoji="0" lang="en-US" sz="1200" b="0" i="0" u="none" strike="noStrike" kern="0" cap="none" spc="0" normalizeH="0" baseline="0" noProof="0" dirty="0">
                <a:ln>
                  <a:noFill/>
                </a:ln>
                <a:solidFill>
                  <a:schemeClr val="accent1">
                    <a:lumMod val="75000"/>
                  </a:schemeClr>
                </a:solidFill>
                <a:effectLst/>
                <a:uLnTx/>
                <a:uFillTx/>
                <a:ea typeface="ＭＳ Ｐゴシック" pitchFamily="50" charset="-128"/>
                <a:cs typeface="+mn-cs"/>
              </a:rPr>
              <a:t>an activation strategy for implementation</a:t>
            </a:r>
            <a:endParaRPr kumimoji="0" lang="en-US" sz="1200" b="0" i="0" u="none" strike="noStrike" kern="1200" cap="none" spc="0" normalizeH="0" baseline="0" noProof="0" dirty="0">
              <a:ln>
                <a:noFill/>
              </a:ln>
              <a:solidFill>
                <a:schemeClr val="accent1">
                  <a:lumMod val="75000"/>
                </a:schemeClr>
              </a:solidFill>
              <a:effectLst/>
              <a:uLnTx/>
              <a:uFillTx/>
              <a:cs typeface="+mn-cs"/>
            </a:endParaRPr>
          </a:p>
        </p:txBody>
      </p:sp>
      <p:cxnSp>
        <p:nvCxnSpPr>
          <p:cNvPr id="23" name="Straight Connector 22">
            <a:extLst>
              <a:ext uri="{FF2B5EF4-FFF2-40B4-BE49-F238E27FC236}">
                <a16:creationId xmlns:a16="http://schemas.microsoft.com/office/drawing/2014/main" id="{CF22EED5-AD2D-4DE1-8259-AC3A8471265E}"/>
              </a:ext>
            </a:extLst>
          </p:cNvPr>
          <p:cNvCxnSpPr/>
          <p:nvPr/>
        </p:nvCxnSpPr>
        <p:spPr>
          <a:xfrm>
            <a:off x="914400" y="2007136"/>
            <a:ext cx="10363200" cy="0"/>
          </a:xfrm>
          <a:prstGeom prst="line">
            <a:avLst/>
          </a:prstGeom>
          <a:ln>
            <a:solidFill>
              <a:schemeClr val="bg1">
                <a:lumMod val="75000"/>
              </a:schemeClr>
            </a:solidFill>
            <a:headEnd type="ova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6FCD1CAC-3F21-42B5-B6DC-4A612BC431D6}"/>
              </a:ext>
            </a:extLst>
          </p:cNvPr>
          <p:cNvSpPr txBox="1"/>
          <p:nvPr/>
        </p:nvSpPr>
        <p:spPr>
          <a:xfrm>
            <a:off x="2717345" y="1859994"/>
            <a:ext cx="795376" cy="276999"/>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Roos St Regis Display" panose="02000000000000000000" pitchFamily="50" charset="0"/>
                <a:ea typeface="+mn-ea"/>
                <a:cs typeface="+mn-cs"/>
              </a:rPr>
              <a:t>2017</a:t>
            </a:r>
          </a:p>
        </p:txBody>
      </p:sp>
      <p:sp>
        <p:nvSpPr>
          <p:cNvPr id="25" name="TextBox 24">
            <a:extLst>
              <a:ext uri="{FF2B5EF4-FFF2-40B4-BE49-F238E27FC236}">
                <a16:creationId xmlns:a16="http://schemas.microsoft.com/office/drawing/2014/main" id="{A2375AF1-9381-4872-AE51-39564E2FE1AB}"/>
              </a:ext>
            </a:extLst>
          </p:cNvPr>
          <p:cNvSpPr txBox="1"/>
          <p:nvPr/>
        </p:nvSpPr>
        <p:spPr>
          <a:xfrm>
            <a:off x="7468023" y="1859994"/>
            <a:ext cx="795376" cy="276999"/>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Roos St Regis Display" panose="02000000000000000000" pitchFamily="50" charset="0"/>
                <a:ea typeface="+mn-ea"/>
                <a:cs typeface="+mn-cs"/>
              </a:rPr>
              <a:t>2019</a:t>
            </a:r>
          </a:p>
        </p:txBody>
      </p:sp>
      <p:sp>
        <p:nvSpPr>
          <p:cNvPr id="26" name="TextBox 25">
            <a:extLst>
              <a:ext uri="{FF2B5EF4-FFF2-40B4-BE49-F238E27FC236}">
                <a16:creationId xmlns:a16="http://schemas.microsoft.com/office/drawing/2014/main" id="{5C7262A4-1CCA-48AA-99CB-0850CCE4082B}"/>
              </a:ext>
            </a:extLst>
          </p:cNvPr>
          <p:cNvSpPr txBox="1"/>
          <p:nvPr/>
        </p:nvSpPr>
        <p:spPr>
          <a:xfrm>
            <a:off x="5092684" y="1859994"/>
            <a:ext cx="795376" cy="276999"/>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Roos St Regis Display" panose="02000000000000000000" pitchFamily="50" charset="0"/>
                <a:ea typeface="+mn-ea"/>
                <a:cs typeface="+mn-cs"/>
              </a:rPr>
              <a:t>Today</a:t>
            </a:r>
          </a:p>
        </p:txBody>
      </p:sp>
      <p:sp>
        <p:nvSpPr>
          <p:cNvPr id="27" name="TextBox 26">
            <a:extLst>
              <a:ext uri="{FF2B5EF4-FFF2-40B4-BE49-F238E27FC236}">
                <a16:creationId xmlns:a16="http://schemas.microsoft.com/office/drawing/2014/main" id="{5F7580A6-A8C9-4386-BCE7-3968A92801F5}"/>
              </a:ext>
            </a:extLst>
          </p:cNvPr>
          <p:cNvSpPr txBox="1"/>
          <p:nvPr/>
        </p:nvSpPr>
        <p:spPr>
          <a:xfrm>
            <a:off x="9843362" y="1859994"/>
            <a:ext cx="795376" cy="276999"/>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Roos St Regis Display" panose="02000000000000000000" pitchFamily="50" charset="0"/>
                <a:ea typeface="+mn-ea"/>
                <a:cs typeface="+mn-cs"/>
              </a:rPr>
              <a:t>2020</a:t>
            </a:r>
          </a:p>
        </p:txBody>
      </p:sp>
      <p:sp>
        <p:nvSpPr>
          <p:cNvPr id="28" name="Rectangle 27">
            <a:extLst>
              <a:ext uri="{FF2B5EF4-FFF2-40B4-BE49-F238E27FC236}">
                <a16:creationId xmlns:a16="http://schemas.microsoft.com/office/drawing/2014/main" id="{6AF8E8E8-F8E9-4C8F-ADE4-D6BEDEC18501}"/>
              </a:ext>
            </a:extLst>
          </p:cNvPr>
          <p:cNvSpPr/>
          <p:nvPr/>
        </p:nvSpPr>
        <p:spPr>
          <a:xfrm>
            <a:off x="5505924" y="4483548"/>
            <a:ext cx="6094323" cy="1221873"/>
          </a:xfrm>
          <a:prstGeom prst="rect">
            <a:avLst/>
          </a:prstGeom>
        </p:spPr>
        <p:txBody>
          <a:bodyPr wrap="square">
            <a:spAutoFit/>
          </a:bodyPr>
          <a:lstStyle/>
          <a:p>
            <a:pPr marL="0" marR="0" lvl="0" indent="0" algn="l" defTabSz="795042" rtl="0" eaLnBrk="1" fontAlgn="auto" latinLnBrk="0" hangingPunct="1">
              <a:lnSpc>
                <a:spcPct val="95000"/>
              </a:lnSpc>
              <a:spcBef>
                <a:spcPts val="0"/>
              </a:spcBef>
              <a:spcAft>
                <a:spcPts val="600"/>
              </a:spcAft>
              <a:buClrTx/>
              <a:buSzTx/>
              <a:buFontTx/>
              <a:buNone/>
              <a:tabLst/>
              <a:defRPr/>
            </a:pPr>
            <a:r>
              <a:rPr kumimoji="0" lang="en-US" sz="1200" b="0" i="0" u="none" strike="noStrike" kern="0" cap="none" spc="0" normalizeH="0" baseline="0" noProof="0" dirty="0">
                <a:ln>
                  <a:noFill/>
                </a:ln>
                <a:solidFill>
                  <a:prstClr val="black"/>
                </a:solidFill>
                <a:effectLst/>
                <a:uLnTx/>
                <a:uFillTx/>
                <a:ea typeface="ＭＳ Ｐゴシック" pitchFamily="50" charset="-128"/>
                <a:cs typeface="+mn-cs"/>
              </a:rPr>
              <a:t>Across the portfolio there is an opportunity to </a:t>
            </a:r>
            <a:r>
              <a:rPr kumimoji="0" lang="en-US" sz="1200" b="1" i="0" u="none" strike="noStrike" kern="0" cap="none" spc="0" normalizeH="0" baseline="0" noProof="0" dirty="0">
                <a:ln>
                  <a:noFill/>
                </a:ln>
                <a:solidFill>
                  <a:prstClr val="black"/>
                </a:solidFill>
                <a:effectLst/>
                <a:uLnTx/>
                <a:uFillTx/>
                <a:ea typeface="ＭＳ Ｐゴシック" pitchFamily="50" charset="-128"/>
                <a:cs typeface="+mn-cs"/>
              </a:rPr>
              <a:t>leverage the culture assessment findings</a:t>
            </a:r>
            <a:r>
              <a:rPr kumimoji="0" lang="en-US" sz="1200" b="0" i="0" u="none" strike="noStrike" kern="0" cap="none" spc="0" normalizeH="0" baseline="0" noProof="0" dirty="0">
                <a:ln>
                  <a:noFill/>
                </a:ln>
                <a:solidFill>
                  <a:prstClr val="black"/>
                </a:solidFill>
                <a:effectLst/>
                <a:uLnTx/>
                <a:uFillTx/>
                <a:ea typeface="ＭＳ Ｐゴシック" pitchFamily="50" charset="-128"/>
                <a:cs typeface="+mn-cs"/>
              </a:rPr>
              <a:t> to inform a number of ongoing initiatives in the brand space: </a:t>
            </a:r>
          </a:p>
          <a:p>
            <a:pPr marL="171450" marR="0" lvl="0" indent="-171450" algn="l" defTabSz="795042"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ea typeface="ＭＳ Ｐゴシック" pitchFamily="50" charset="-128"/>
                <a:cs typeface="+mn-cs"/>
              </a:rPr>
              <a:t>Operating Model</a:t>
            </a:r>
          </a:p>
          <a:p>
            <a:pPr marL="171450" marR="0" lvl="0" indent="-171450" algn="l" defTabSz="795042"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ea typeface="ＭＳ Ｐゴシック" pitchFamily="50" charset="-128"/>
                <a:cs typeface="+mn-cs"/>
              </a:rPr>
              <a:t>GM / Hotel Manager Onboarding</a:t>
            </a:r>
          </a:p>
          <a:p>
            <a:pPr marL="171450" marR="0" lvl="0" indent="-171450" algn="l" defTabSz="795042"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ea typeface="ＭＳ Ｐゴシック" pitchFamily="50" charset="-128"/>
                <a:cs typeface="+mn-cs"/>
              </a:rPr>
              <a:t>Hotel Openings Process</a:t>
            </a:r>
          </a:p>
          <a:p>
            <a:pPr marL="171450" marR="0" lvl="0" indent="-171450" algn="l" defTabSz="795042"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ea typeface="ＭＳ Ｐゴシック" pitchFamily="50" charset="-128"/>
                <a:cs typeface="+mn-cs"/>
              </a:rPr>
              <a:t>Technology Roadmap</a:t>
            </a:r>
          </a:p>
        </p:txBody>
      </p:sp>
      <p:cxnSp>
        <p:nvCxnSpPr>
          <p:cNvPr id="29" name="Elbow Connector 26">
            <a:extLst>
              <a:ext uri="{FF2B5EF4-FFF2-40B4-BE49-F238E27FC236}">
                <a16:creationId xmlns:a16="http://schemas.microsoft.com/office/drawing/2014/main" id="{E8A4629F-0A69-4AA5-B4A0-1C20368DD916}"/>
              </a:ext>
            </a:extLst>
          </p:cNvPr>
          <p:cNvCxnSpPr/>
          <p:nvPr/>
        </p:nvCxnSpPr>
        <p:spPr>
          <a:xfrm rot="16200000" flipH="1">
            <a:off x="7196129" y="1415512"/>
            <a:ext cx="2560320" cy="5943600"/>
          </a:xfrm>
          <a:prstGeom prst="bentConnector4">
            <a:avLst>
              <a:gd name="adj1" fmla="val 99964"/>
              <a:gd name="adj2" fmla="val 51111"/>
            </a:avLst>
          </a:prstGeom>
          <a:ln w="9525">
            <a:solidFill>
              <a:schemeClr val="accent1"/>
            </a:solidFill>
            <a:prstDash val="dashDot"/>
            <a:tailEnd type="triangle"/>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C88DBAA6-207F-4951-8E67-907EBF316C16}"/>
              </a:ext>
            </a:extLst>
          </p:cNvPr>
          <p:cNvSpPr/>
          <p:nvPr/>
        </p:nvSpPr>
        <p:spPr>
          <a:xfrm>
            <a:off x="6835812" y="3366568"/>
            <a:ext cx="3007549" cy="969496"/>
          </a:xfrm>
          <a:prstGeom prst="rect">
            <a:avLst/>
          </a:prstGeom>
          <a:solidFill>
            <a:schemeClr val="bg1"/>
          </a:solidFill>
        </p:spPr>
        <p:txBody>
          <a:bodyPr wrap="square">
            <a:spAutoFit/>
          </a:bodyPr>
          <a:lstStyle/>
          <a:p>
            <a:pPr marL="0" marR="0" lvl="0" indent="0" algn="l" defTabSz="795042" rtl="0" eaLnBrk="1" fontAlgn="auto" latinLnBrk="0" hangingPunct="1">
              <a:lnSpc>
                <a:spcPct val="95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ea typeface="ＭＳ Ｐゴシック" pitchFamily="50" charset="-128"/>
                <a:cs typeface="+mn-cs"/>
              </a:rPr>
              <a:t>Finalizing recommendations for Signature Services , including </a:t>
            </a:r>
            <a:r>
              <a:rPr kumimoji="0" lang="en-US" sz="1200" b="1" i="0" u="none" strike="noStrike" kern="0" cap="none" spc="0" normalizeH="0" baseline="0" noProof="0" dirty="0">
                <a:ln>
                  <a:noFill/>
                </a:ln>
                <a:solidFill>
                  <a:prstClr val="black"/>
                </a:solidFill>
                <a:effectLst/>
                <a:uLnTx/>
                <a:uFillTx/>
                <a:ea typeface="ＭＳ Ｐゴシック" pitchFamily="50" charset="-128"/>
                <a:cs typeface="+mn-cs"/>
              </a:rPr>
              <a:t>alignment with the culture roadmap</a:t>
            </a:r>
            <a:r>
              <a:rPr kumimoji="0" lang="en-US" sz="1200" b="0" i="0" u="none" strike="noStrike" kern="0" cap="none" spc="0" normalizeH="0" baseline="0" noProof="0" dirty="0">
                <a:ln>
                  <a:noFill/>
                </a:ln>
                <a:solidFill>
                  <a:prstClr val="black"/>
                </a:solidFill>
                <a:effectLst/>
                <a:uLnTx/>
                <a:uFillTx/>
                <a:ea typeface="ＭＳ Ｐゴシック" pitchFamily="50" charset="-128"/>
                <a:cs typeface="+mn-cs"/>
              </a:rPr>
              <a:t>, and conducting pilots for brand wide launch in 2019</a:t>
            </a:r>
          </a:p>
        </p:txBody>
      </p:sp>
      <p:sp>
        <p:nvSpPr>
          <p:cNvPr id="31" name="Oval 30">
            <a:extLst>
              <a:ext uri="{FF2B5EF4-FFF2-40B4-BE49-F238E27FC236}">
                <a16:creationId xmlns:a16="http://schemas.microsoft.com/office/drawing/2014/main" id="{05D9B4F7-78CF-4B54-9A2F-78C33CC79149}"/>
              </a:ext>
            </a:extLst>
          </p:cNvPr>
          <p:cNvSpPr/>
          <p:nvPr/>
        </p:nvSpPr>
        <p:spPr>
          <a:xfrm>
            <a:off x="6751816" y="2377341"/>
            <a:ext cx="137160" cy="13716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Oval 31">
            <a:extLst>
              <a:ext uri="{FF2B5EF4-FFF2-40B4-BE49-F238E27FC236}">
                <a16:creationId xmlns:a16="http://schemas.microsoft.com/office/drawing/2014/main" id="{8CADC459-FB55-42D4-8015-55F497DCD933}"/>
              </a:ext>
            </a:extLst>
          </p:cNvPr>
          <p:cNvSpPr/>
          <p:nvPr/>
        </p:nvSpPr>
        <p:spPr>
          <a:xfrm>
            <a:off x="5446434" y="2803727"/>
            <a:ext cx="137160"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Rectangle 32">
            <a:extLst>
              <a:ext uri="{FF2B5EF4-FFF2-40B4-BE49-F238E27FC236}">
                <a16:creationId xmlns:a16="http://schemas.microsoft.com/office/drawing/2014/main" id="{E0C279D8-ABDF-48D1-B95B-AD45170888A0}"/>
              </a:ext>
            </a:extLst>
          </p:cNvPr>
          <p:cNvSpPr/>
          <p:nvPr/>
        </p:nvSpPr>
        <p:spPr>
          <a:xfrm>
            <a:off x="5584651" y="2907749"/>
            <a:ext cx="4489787" cy="269304"/>
          </a:xfrm>
          <a:prstGeom prst="rect">
            <a:avLst/>
          </a:prstGeom>
          <a:solidFill>
            <a:schemeClr val="bg1"/>
          </a:solidFill>
        </p:spPr>
        <p:txBody>
          <a:bodyPr wrap="square">
            <a:spAutoFit/>
          </a:bodyPr>
          <a:lstStyle/>
          <a:p>
            <a:pPr marL="0" marR="0" lvl="0" indent="0" algn="l" defTabSz="795042" rtl="0" eaLnBrk="1" fontAlgn="auto" latinLnBrk="0" hangingPunct="1">
              <a:lnSpc>
                <a:spcPct val="95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accent1">
                    <a:lumMod val="75000"/>
                  </a:schemeClr>
                </a:solidFill>
                <a:effectLst/>
                <a:uLnTx/>
                <a:uFillTx/>
                <a:ea typeface="ＭＳ Ｐゴシック" pitchFamily="50" charset="-128"/>
                <a:cs typeface="+mn-cs"/>
              </a:rPr>
              <a:t>Development of culture framework and activation strategy</a:t>
            </a:r>
          </a:p>
        </p:txBody>
      </p:sp>
      <p:sp>
        <p:nvSpPr>
          <p:cNvPr id="34" name="Arc 33">
            <a:extLst>
              <a:ext uri="{FF2B5EF4-FFF2-40B4-BE49-F238E27FC236}">
                <a16:creationId xmlns:a16="http://schemas.microsoft.com/office/drawing/2014/main" id="{AD49FCF6-FACE-420A-A050-CE7932E4475F}"/>
              </a:ext>
            </a:extLst>
          </p:cNvPr>
          <p:cNvSpPr/>
          <p:nvPr/>
        </p:nvSpPr>
        <p:spPr>
          <a:xfrm rot="11055815">
            <a:off x="6465806" y="2915386"/>
            <a:ext cx="598715" cy="914941"/>
          </a:xfrm>
          <a:prstGeom prst="arc">
            <a:avLst/>
          </a:prstGeom>
          <a:ln>
            <a:solidFill>
              <a:schemeClr val="accent1"/>
            </a:solidFill>
            <a:head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35" name="Straight Connector 34">
            <a:extLst>
              <a:ext uri="{FF2B5EF4-FFF2-40B4-BE49-F238E27FC236}">
                <a16:creationId xmlns:a16="http://schemas.microsoft.com/office/drawing/2014/main" id="{179B3C1E-F2DD-465A-8201-119280F07C86}"/>
              </a:ext>
            </a:extLst>
          </p:cNvPr>
          <p:cNvCxnSpPr/>
          <p:nvPr/>
        </p:nvCxnSpPr>
        <p:spPr>
          <a:xfrm>
            <a:off x="4049486" y="6365540"/>
            <a:ext cx="405585"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834F22B-662F-42C1-9836-B4420A0B4EBA}"/>
              </a:ext>
            </a:extLst>
          </p:cNvPr>
          <p:cNvCxnSpPr/>
          <p:nvPr/>
        </p:nvCxnSpPr>
        <p:spPr>
          <a:xfrm>
            <a:off x="6027038" y="6365540"/>
            <a:ext cx="405585" cy="0"/>
          </a:xfrm>
          <a:prstGeom prst="line">
            <a:avLst/>
          </a:prstGeom>
          <a:ln w="19050">
            <a:solidFill>
              <a:schemeClr val="accent1"/>
            </a:solidFill>
            <a:prstDash val="dashDot"/>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2D2BDCD9-9195-4223-A9D0-F116E527B1FF}"/>
              </a:ext>
            </a:extLst>
          </p:cNvPr>
          <p:cNvSpPr txBox="1"/>
          <p:nvPr/>
        </p:nvSpPr>
        <p:spPr>
          <a:xfrm>
            <a:off x="4455071" y="6242430"/>
            <a:ext cx="1640929"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ea typeface="+mn-ea"/>
                <a:cs typeface="+mn-cs"/>
              </a:rPr>
              <a:t>Culture Change Initiative</a:t>
            </a:r>
          </a:p>
        </p:txBody>
      </p:sp>
      <p:sp>
        <p:nvSpPr>
          <p:cNvPr id="38" name="TextBox 37">
            <a:extLst>
              <a:ext uri="{FF2B5EF4-FFF2-40B4-BE49-F238E27FC236}">
                <a16:creationId xmlns:a16="http://schemas.microsoft.com/office/drawing/2014/main" id="{B1B1AB42-249D-48D7-A57F-2F4155A2DD18}"/>
              </a:ext>
            </a:extLst>
          </p:cNvPr>
          <p:cNvSpPr txBox="1"/>
          <p:nvPr/>
        </p:nvSpPr>
        <p:spPr>
          <a:xfrm>
            <a:off x="6478876" y="6242430"/>
            <a:ext cx="227183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ea typeface="+mn-ea"/>
                <a:cs typeface="+mn-cs"/>
              </a:rPr>
              <a:t>Leverage Culture Change Findings </a:t>
            </a:r>
          </a:p>
        </p:txBody>
      </p:sp>
    </p:spTree>
    <p:extLst>
      <p:ext uri="{BB962C8B-B14F-4D97-AF65-F5344CB8AC3E}">
        <p14:creationId xmlns:p14="http://schemas.microsoft.com/office/powerpoint/2010/main" val="3238053241"/>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17FF6A20-142A-4BB5-BFD3-DD0B6A706D1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332" name="think-cell Slide" r:id="rId6" imgW="415" imgH="416" progId="TCLayout.ActiveDocument.1">
                  <p:embed/>
                </p:oleObj>
              </mc:Choice>
              <mc:Fallback>
                <p:oleObj name="think-cell Slide" r:id="rId6" imgW="415" imgH="416" progId="TCLayout.ActiveDocument.1">
                  <p:embed/>
                  <p:pic>
                    <p:nvPicPr>
                      <p:cNvPr id="27" name="Object 26" hidden="1">
                        <a:extLst>
                          <a:ext uri="{FF2B5EF4-FFF2-40B4-BE49-F238E27FC236}">
                            <a16:creationId xmlns:a16="http://schemas.microsoft.com/office/drawing/2014/main" id="{17FF6A20-142A-4BB5-BFD3-DD0B6A706D1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6" name="Rectangle 25" hidden="1">
            <a:extLst>
              <a:ext uri="{FF2B5EF4-FFF2-40B4-BE49-F238E27FC236}">
                <a16:creationId xmlns:a16="http://schemas.microsoft.com/office/drawing/2014/main" id="{E3D83A21-90F2-49A8-A4EB-8D49A83982F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488FF56D-B5B0-4937-8DA9-2BFC9C3F33F6}"/>
              </a:ext>
            </a:extLst>
          </p:cNvPr>
          <p:cNvSpPr>
            <a:spLocks noGrp="1"/>
          </p:cNvSpPr>
          <p:nvPr>
            <p:ph type="title"/>
          </p:nvPr>
        </p:nvSpPr>
        <p:spPr/>
        <p:txBody>
          <a:bodyPr/>
          <a:lstStyle/>
          <a:p>
            <a:r>
              <a:rPr lang="en-US" dirty="0"/>
              <a:t>Resourcing Check-Points</a:t>
            </a:r>
          </a:p>
        </p:txBody>
      </p:sp>
      <p:sp>
        <p:nvSpPr>
          <p:cNvPr id="3" name="Text Placeholder 2">
            <a:extLst>
              <a:ext uri="{FF2B5EF4-FFF2-40B4-BE49-F238E27FC236}">
                <a16:creationId xmlns:a16="http://schemas.microsoft.com/office/drawing/2014/main" id="{B04EC170-3D8D-4878-BA8D-53183578DB33}"/>
              </a:ext>
            </a:extLst>
          </p:cNvPr>
          <p:cNvSpPr>
            <a:spLocks noGrp="1"/>
          </p:cNvSpPr>
          <p:nvPr>
            <p:ph type="body" sz="quarter" idx="14"/>
          </p:nvPr>
        </p:nvSpPr>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Professional fees assume an average of standard approach for value capture across markets.  We will work together to confirm the market-level value capture approach at two resource check-points </a:t>
            </a:r>
            <a:endParaRPr lang="en-US" dirty="0"/>
          </a:p>
        </p:txBody>
      </p:sp>
      <p:sp>
        <p:nvSpPr>
          <p:cNvPr id="4" name="Text Placeholder 3">
            <a:extLst>
              <a:ext uri="{FF2B5EF4-FFF2-40B4-BE49-F238E27FC236}">
                <a16:creationId xmlns:a16="http://schemas.microsoft.com/office/drawing/2014/main" id="{42F6041D-6711-473A-B945-197DCAA70DF7}"/>
              </a:ext>
            </a:extLst>
          </p:cNvPr>
          <p:cNvSpPr>
            <a:spLocks noGrp="1"/>
          </p:cNvSpPr>
          <p:nvPr>
            <p:ph type="body" sz="quarter" idx="15"/>
          </p:nvPr>
        </p:nvSpPr>
        <p:spPr/>
        <p:txBody>
          <a:bodyPr/>
          <a:lstStyle/>
          <a:p>
            <a:r>
              <a:rPr lang="en-US" dirty="0"/>
              <a:t>Plans, timelines and roadmaps </a:t>
            </a:r>
          </a:p>
        </p:txBody>
      </p:sp>
      <p:sp>
        <p:nvSpPr>
          <p:cNvPr id="5" name="Rectangle 4">
            <a:extLst>
              <a:ext uri="{FF2B5EF4-FFF2-40B4-BE49-F238E27FC236}">
                <a16:creationId xmlns:a16="http://schemas.microsoft.com/office/drawing/2014/main" id="{D0907063-6717-4AD6-84EE-E35E63919D9F}"/>
              </a:ext>
            </a:extLst>
          </p:cNvPr>
          <p:cNvSpPr/>
          <p:nvPr/>
        </p:nvSpPr>
        <p:spPr>
          <a:xfrm>
            <a:off x="1866899" y="2080631"/>
            <a:ext cx="9514117" cy="3865919"/>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6" name="Left Bracket 5">
            <a:extLst>
              <a:ext uri="{FF2B5EF4-FFF2-40B4-BE49-F238E27FC236}">
                <a16:creationId xmlns:a16="http://schemas.microsoft.com/office/drawing/2014/main" id="{AD1EC34F-C063-4DBE-BB38-0CC722B1D062}"/>
              </a:ext>
            </a:extLst>
          </p:cNvPr>
          <p:cNvSpPr/>
          <p:nvPr/>
        </p:nvSpPr>
        <p:spPr>
          <a:xfrm rot="5400000" flipV="1">
            <a:off x="2839903" y="1500048"/>
            <a:ext cx="274320" cy="1893755"/>
          </a:xfrm>
          <a:prstGeom prst="leftBracket">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 name="Text Placeholder 1">
            <a:extLst>
              <a:ext uri="{FF2B5EF4-FFF2-40B4-BE49-F238E27FC236}">
                <a16:creationId xmlns:a16="http://schemas.microsoft.com/office/drawing/2014/main" id="{A061BAFA-21F2-422A-85B1-A10707DD676D}"/>
              </a:ext>
            </a:extLst>
          </p:cNvPr>
          <p:cNvSpPr txBox="1">
            <a:spLocks/>
          </p:cNvSpPr>
          <p:nvPr/>
        </p:nvSpPr>
        <p:spPr>
          <a:xfrm>
            <a:off x="1921329" y="2675475"/>
            <a:ext cx="1987472" cy="258532"/>
          </a:xfrm>
          <a:prstGeom prst="rect">
            <a:avLst/>
          </a:prstGeom>
          <a:noFill/>
        </p:spPr>
        <p:txBody>
          <a:bodyPr vert="horz" wrap="square" lIns="0" tIns="0" rIns="0" bIns="0" rtlCol="0">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1219170" rtl="0" eaLnBrk="1" fontAlgn="base" latinLnBrk="0" hangingPunct="1">
              <a:lnSpc>
                <a:spcPct val="80000"/>
              </a:lnSpc>
              <a:spcBef>
                <a:spcPct val="0"/>
              </a:spcBef>
              <a:spcAft>
                <a:spcPct val="0"/>
              </a:spcAft>
              <a:buClr>
                <a:srgbClr val="787878"/>
              </a:buClr>
              <a:buSzPct val="75000"/>
              <a:buFont typeface="Arial" panose="020B0604020202020204" pitchFamily="34" charset="0"/>
              <a:buNone/>
              <a:tabLst/>
              <a:defRPr/>
            </a:pPr>
            <a:r>
              <a:rPr kumimoji="0" lang="en-US" sz="1050" b="1" i="0" u="none" strike="noStrike" kern="1200" cap="none" spc="0" normalizeH="0" baseline="0" noProof="0" dirty="0">
                <a:ln>
                  <a:noFill/>
                </a:ln>
                <a:solidFill>
                  <a:srgbClr val="000000"/>
                </a:solidFill>
                <a:effectLst/>
                <a:uLnTx/>
                <a:uFillTx/>
                <a:latin typeface="Open Sans"/>
                <a:ea typeface="+mn-ea"/>
                <a:cs typeface="Knockout-HTF27-JuniorBantamwt"/>
                <a:sym typeface="Gill Sans" charset="0"/>
              </a:rPr>
              <a:t>GLOBAL LAUNCH &amp; </a:t>
            </a:r>
          </a:p>
          <a:p>
            <a:pPr marL="0" marR="0" lvl="0" indent="0" algn="ctr" defTabSz="1219170" rtl="0" eaLnBrk="1" fontAlgn="base" latinLnBrk="0" hangingPunct="1">
              <a:lnSpc>
                <a:spcPct val="80000"/>
              </a:lnSpc>
              <a:spcBef>
                <a:spcPct val="0"/>
              </a:spcBef>
              <a:spcAft>
                <a:spcPct val="0"/>
              </a:spcAft>
              <a:buClr>
                <a:srgbClr val="787878"/>
              </a:buClr>
              <a:buSzPct val="75000"/>
              <a:buFont typeface="Arial" panose="020B0604020202020204" pitchFamily="34" charset="0"/>
              <a:buNone/>
              <a:tabLst/>
              <a:defRPr/>
            </a:pPr>
            <a:r>
              <a:rPr kumimoji="0" lang="en-US" sz="1050" b="1" i="0" u="none" strike="noStrike" kern="1200" cap="none" spc="0" normalizeH="0" baseline="0" noProof="0" dirty="0">
                <a:ln>
                  <a:noFill/>
                </a:ln>
                <a:solidFill>
                  <a:srgbClr val="000000"/>
                </a:solidFill>
                <a:effectLst/>
                <a:uLnTx/>
                <a:uFillTx/>
                <a:latin typeface="Open Sans"/>
                <a:ea typeface="+mn-ea"/>
                <a:cs typeface="Knockout-HTF27-JuniorBantamwt"/>
                <a:sym typeface="Gill Sans" charset="0"/>
              </a:rPr>
              <a:t>IN-MARKET ACCELERATION</a:t>
            </a:r>
          </a:p>
        </p:txBody>
      </p:sp>
      <p:sp>
        <p:nvSpPr>
          <p:cNvPr id="8" name="Left Bracket 7">
            <a:extLst>
              <a:ext uri="{FF2B5EF4-FFF2-40B4-BE49-F238E27FC236}">
                <a16:creationId xmlns:a16="http://schemas.microsoft.com/office/drawing/2014/main" id="{594282BC-5BB8-4013-9FE2-D2C4A895F2B0}"/>
              </a:ext>
            </a:extLst>
          </p:cNvPr>
          <p:cNvSpPr/>
          <p:nvPr/>
        </p:nvSpPr>
        <p:spPr>
          <a:xfrm rot="5400000" flipV="1">
            <a:off x="7560678" y="-1067610"/>
            <a:ext cx="274322" cy="7029074"/>
          </a:xfrm>
          <a:prstGeom prst="leftBracket">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 name="Text Placeholder 1">
            <a:extLst>
              <a:ext uri="{FF2B5EF4-FFF2-40B4-BE49-F238E27FC236}">
                <a16:creationId xmlns:a16="http://schemas.microsoft.com/office/drawing/2014/main" id="{3EFBF2F8-035E-4719-AD56-751E68BBD607}"/>
              </a:ext>
            </a:extLst>
          </p:cNvPr>
          <p:cNvSpPr txBox="1">
            <a:spLocks/>
          </p:cNvSpPr>
          <p:nvPr/>
        </p:nvSpPr>
        <p:spPr>
          <a:xfrm>
            <a:off x="4478068" y="2690454"/>
            <a:ext cx="1566942" cy="260969"/>
          </a:xfrm>
          <a:prstGeom prst="rect">
            <a:avLst/>
          </a:prstGeom>
          <a:noFill/>
        </p:spPr>
        <p:txBody>
          <a:bodyPr vert="horz" wrap="square" lIns="0" tIns="0" rIns="0" bIns="0" rtlCol="0">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1219170" rtl="0" eaLnBrk="1" fontAlgn="base" latinLnBrk="0" hangingPunct="1">
              <a:lnSpc>
                <a:spcPct val="80000"/>
              </a:lnSpc>
              <a:spcBef>
                <a:spcPct val="0"/>
              </a:spcBef>
              <a:spcAft>
                <a:spcPct val="0"/>
              </a:spcAft>
              <a:buClr>
                <a:srgbClr val="787878"/>
              </a:buClr>
              <a:buSzPct val="75000"/>
              <a:buFont typeface="Arial" panose="020B0604020202020204" pitchFamily="34" charset="0"/>
              <a:buNone/>
              <a:tabLst/>
              <a:defRPr/>
            </a:pPr>
            <a:r>
              <a:rPr kumimoji="0" lang="en-US" sz="1050" b="1" i="0" u="none" strike="noStrike" kern="1200" cap="none" spc="0" normalizeH="0" baseline="0" noProof="0" dirty="0">
                <a:ln>
                  <a:noFill/>
                </a:ln>
                <a:solidFill>
                  <a:srgbClr val="000000"/>
                </a:solidFill>
                <a:effectLst/>
                <a:uLnTx/>
                <a:uFillTx/>
                <a:latin typeface="Open Sans"/>
                <a:ea typeface="+mn-ea"/>
                <a:cs typeface="Knockout-HTF27-JuniorBantamwt"/>
                <a:sym typeface="Gill Sans" charset="0"/>
              </a:rPr>
              <a:t>VALUE CAPTURE – LIGHT</a:t>
            </a:r>
          </a:p>
        </p:txBody>
      </p:sp>
      <p:sp>
        <p:nvSpPr>
          <p:cNvPr id="11" name="Rectangle: Rounded Corners 79">
            <a:extLst>
              <a:ext uri="{FF2B5EF4-FFF2-40B4-BE49-F238E27FC236}">
                <a16:creationId xmlns:a16="http://schemas.microsoft.com/office/drawing/2014/main" id="{A7A2D02B-0AEA-474F-B43D-7C81503C312A}"/>
              </a:ext>
            </a:extLst>
          </p:cNvPr>
          <p:cNvSpPr/>
          <p:nvPr/>
        </p:nvSpPr>
        <p:spPr>
          <a:xfrm>
            <a:off x="7206530" y="2187698"/>
            <a:ext cx="943134" cy="209550"/>
          </a:xfrm>
          <a:prstGeom prst="roundRect">
            <a:avLst/>
          </a:prstGeom>
          <a:solidFill>
            <a:schemeClr val="accent4"/>
          </a:solidFill>
          <a:ln w="19050">
            <a:solidFill>
              <a:schemeClr val="accent2"/>
            </a:solidFill>
          </a:ln>
        </p:spPr>
        <p:txBody>
          <a:bodyPr wrap="none" lIns="0" tIns="0" rIns="0" bIns="0" anchor="ctr">
            <a:noAutofit/>
          </a:bodyPr>
          <a:lstStyle/>
          <a:p>
            <a:pPr marL="0" marR="0" lvl="0" indent="0" algn="ctr" defTabSz="684213" rtl="0" eaLnBrk="1" fontAlgn="auto" latinLnBrk="0" hangingPunct="1">
              <a:lnSpc>
                <a:spcPct val="100000"/>
              </a:lnSpc>
              <a:spcBef>
                <a:spcPts val="0"/>
              </a:spcBef>
              <a:spcAft>
                <a:spcPts val="0"/>
              </a:spcAft>
              <a:buClrTx/>
              <a:buSzPct val="25000"/>
              <a:buFontTx/>
              <a:buNone/>
              <a:tabLst/>
              <a:defRPr/>
            </a:pPr>
            <a:r>
              <a:rPr kumimoji="0" lang="en-US" sz="1100" b="1" i="0" u="none" strike="noStrike" kern="0" cap="none" spc="0" normalizeH="0" baseline="0" noProof="0" dirty="0">
                <a:ln>
                  <a:noFill/>
                </a:ln>
                <a:solidFill>
                  <a:srgbClr val="000000"/>
                </a:solidFill>
                <a:effectLst/>
                <a:uLnTx/>
                <a:uFillTx/>
                <a:latin typeface="Open Sans"/>
                <a:ea typeface="+mn-ea"/>
                <a:cs typeface="+mn-cs"/>
              </a:rPr>
              <a:t>PHASE 2</a:t>
            </a:r>
          </a:p>
        </p:txBody>
      </p:sp>
      <p:sp>
        <p:nvSpPr>
          <p:cNvPr id="12" name="Rectangle 11">
            <a:extLst>
              <a:ext uri="{FF2B5EF4-FFF2-40B4-BE49-F238E27FC236}">
                <a16:creationId xmlns:a16="http://schemas.microsoft.com/office/drawing/2014/main" id="{3568C8C4-BCDE-41EA-B0FA-124FBDC8EEDF}"/>
              </a:ext>
            </a:extLst>
          </p:cNvPr>
          <p:cNvSpPr/>
          <p:nvPr/>
        </p:nvSpPr>
        <p:spPr>
          <a:xfrm>
            <a:off x="2030186" y="3025396"/>
            <a:ext cx="1899560" cy="1833932"/>
          </a:xfrm>
          <a:prstGeom prst="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srgbClr val="000000"/>
                </a:solidFill>
                <a:effectLst/>
                <a:uLnTx/>
                <a:uFillTx/>
                <a:latin typeface="Open Sans"/>
                <a:ea typeface="+mn-ea"/>
                <a:cs typeface="+mn-cs"/>
              </a:rPr>
              <a:t>Team size as described herein</a:t>
            </a:r>
          </a:p>
        </p:txBody>
      </p:sp>
      <p:sp>
        <p:nvSpPr>
          <p:cNvPr id="13" name="Rectangle 12">
            <a:extLst>
              <a:ext uri="{FF2B5EF4-FFF2-40B4-BE49-F238E27FC236}">
                <a16:creationId xmlns:a16="http://schemas.microsoft.com/office/drawing/2014/main" id="{38866ED0-3140-44FE-8D22-744246232910}"/>
              </a:ext>
            </a:extLst>
          </p:cNvPr>
          <p:cNvSpPr/>
          <p:nvPr/>
        </p:nvSpPr>
        <p:spPr>
          <a:xfrm>
            <a:off x="2030186" y="5028709"/>
            <a:ext cx="1893755" cy="773805"/>
          </a:xfrm>
          <a:prstGeom prst="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srgbClr val="000000"/>
                </a:solidFill>
                <a:effectLst/>
                <a:uLnTx/>
                <a:uFillTx/>
                <a:latin typeface="Open Sans"/>
                <a:ea typeface="+mn-ea"/>
                <a:cs typeface="+mn-cs"/>
              </a:rPr>
              <a:t>4 week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srgbClr val="000000"/>
                </a:solidFill>
                <a:effectLst/>
                <a:uLnTx/>
                <a:uFillTx/>
                <a:latin typeface="Open Sans"/>
                <a:ea typeface="+mn-ea"/>
                <a:cs typeface="+mn-cs"/>
              </a:rPr>
              <a:t>&lt;10% of total fees</a:t>
            </a:r>
          </a:p>
        </p:txBody>
      </p:sp>
      <p:sp>
        <p:nvSpPr>
          <p:cNvPr id="14" name="Rectangle 13">
            <a:extLst>
              <a:ext uri="{FF2B5EF4-FFF2-40B4-BE49-F238E27FC236}">
                <a16:creationId xmlns:a16="http://schemas.microsoft.com/office/drawing/2014/main" id="{02014DBC-56AB-4615-AA6A-7BCB7DDEC010}"/>
              </a:ext>
            </a:extLst>
          </p:cNvPr>
          <p:cNvSpPr/>
          <p:nvPr/>
        </p:nvSpPr>
        <p:spPr>
          <a:xfrm>
            <a:off x="4189107" y="3040902"/>
            <a:ext cx="2130053" cy="1833932"/>
          </a:xfrm>
          <a:prstGeom prst="rect">
            <a:avLst/>
          </a:prstGeom>
          <a:solidFill>
            <a:schemeClr val="accent4">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srgbClr val="000000"/>
                </a:solidFill>
                <a:effectLst/>
                <a:uLnTx/>
                <a:uFillTx/>
                <a:latin typeface="Open Sans"/>
                <a:ea typeface="+mn-ea"/>
                <a:cs typeface="+mn-cs"/>
              </a:rPr>
              <a:t>Adequate resourcing available</a:t>
            </a:r>
          </a:p>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srgbClr val="000000"/>
                </a:solidFill>
                <a:effectLst/>
                <a:uLnTx/>
                <a:uFillTx/>
                <a:latin typeface="Open Sans"/>
                <a:ea typeface="+mn-ea"/>
                <a:cs typeface="+mn-cs"/>
              </a:rPr>
              <a:t>Data accessible and available and harmonised</a:t>
            </a:r>
          </a:p>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srgbClr val="000000"/>
                </a:solidFill>
                <a:effectLst/>
                <a:uLnTx/>
                <a:uFillTx/>
                <a:latin typeface="Open Sans"/>
                <a:ea typeface="+mn-ea"/>
                <a:cs typeface="+mn-cs"/>
              </a:rPr>
              <a:t>Trade spend previously analysed and tackled</a:t>
            </a:r>
          </a:p>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srgbClr val="000000"/>
                </a:solidFill>
                <a:effectLst/>
                <a:uLnTx/>
                <a:uFillTx/>
                <a:latin typeface="Open Sans"/>
                <a:ea typeface="+mn-ea"/>
                <a:cs typeface="+mn-cs"/>
              </a:rPr>
              <a:t>Confirmed value target based on top-down prioritisation is reduced</a:t>
            </a:r>
          </a:p>
        </p:txBody>
      </p:sp>
      <p:sp>
        <p:nvSpPr>
          <p:cNvPr id="15" name="Rectangle 14">
            <a:extLst>
              <a:ext uri="{FF2B5EF4-FFF2-40B4-BE49-F238E27FC236}">
                <a16:creationId xmlns:a16="http://schemas.microsoft.com/office/drawing/2014/main" id="{AFAAB4A4-A60E-4E98-9D68-26BC7B454D86}"/>
              </a:ext>
            </a:extLst>
          </p:cNvPr>
          <p:cNvSpPr/>
          <p:nvPr/>
        </p:nvSpPr>
        <p:spPr>
          <a:xfrm>
            <a:off x="4183302" y="5044215"/>
            <a:ext cx="2130053" cy="773805"/>
          </a:xfrm>
          <a:prstGeom prst="rect">
            <a:avLst/>
          </a:prstGeom>
          <a:solidFill>
            <a:schemeClr val="accent4">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mn-cs"/>
              </a:rPr>
              <a:t>6-8 weeks per market</a:t>
            </a:r>
          </a:p>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mn-cs"/>
              </a:rPr>
              <a:t>Reduced team size</a:t>
            </a:r>
          </a:p>
        </p:txBody>
      </p:sp>
      <p:sp>
        <p:nvSpPr>
          <p:cNvPr id="16" name="Rectangle 15">
            <a:extLst>
              <a:ext uri="{FF2B5EF4-FFF2-40B4-BE49-F238E27FC236}">
                <a16:creationId xmlns:a16="http://schemas.microsoft.com/office/drawing/2014/main" id="{4444F024-2C1F-46BE-B29C-5980D82512A0}"/>
              </a:ext>
            </a:extLst>
          </p:cNvPr>
          <p:cNvSpPr/>
          <p:nvPr/>
        </p:nvSpPr>
        <p:spPr>
          <a:xfrm>
            <a:off x="6632808" y="3052007"/>
            <a:ext cx="2130053" cy="1833932"/>
          </a:xfrm>
          <a:prstGeom prst="rect">
            <a:avLst/>
          </a:prstGeom>
          <a:solidFill>
            <a:schemeClr val="accent4">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srgbClr val="000000"/>
                </a:solidFill>
                <a:effectLst/>
                <a:uLnTx/>
                <a:uFillTx/>
                <a:latin typeface="Open Sans"/>
                <a:ea typeface="+mn-ea"/>
                <a:cs typeface="+mn-cs"/>
              </a:rPr>
              <a:t>Adequate resourcing available</a:t>
            </a:r>
          </a:p>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srgbClr val="000000"/>
                </a:solidFill>
                <a:effectLst/>
                <a:uLnTx/>
                <a:uFillTx/>
                <a:latin typeface="Open Sans"/>
                <a:ea typeface="+mn-ea"/>
                <a:cs typeface="+mn-cs"/>
              </a:rPr>
              <a:t>Data accessible, available, light cleansing required</a:t>
            </a:r>
          </a:p>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srgbClr val="000000"/>
                </a:solidFill>
                <a:effectLst/>
                <a:uLnTx/>
                <a:uFillTx/>
                <a:latin typeface="Open Sans"/>
                <a:ea typeface="+mn-ea"/>
                <a:cs typeface="+mn-cs"/>
              </a:rPr>
              <a:t>Some trade spend previously analysed</a:t>
            </a:r>
          </a:p>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srgbClr val="000000"/>
                </a:solidFill>
                <a:effectLst/>
                <a:uLnTx/>
                <a:uFillTx/>
                <a:latin typeface="Open Sans"/>
                <a:ea typeface="+mn-ea"/>
                <a:cs typeface="+mn-cs"/>
              </a:rPr>
              <a:t>Confirmed value target based on top-down prioritisation as expected</a:t>
            </a:r>
          </a:p>
        </p:txBody>
      </p:sp>
      <p:sp>
        <p:nvSpPr>
          <p:cNvPr id="17" name="Rectangle 16">
            <a:extLst>
              <a:ext uri="{FF2B5EF4-FFF2-40B4-BE49-F238E27FC236}">
                <a16:creationId xmlns:a16="http://schemas.microsoft.com/office/drawing/2014/main" id="{83B8BD51-0C1A-42ED-A0E4-CD6C0083A304}"/>
              </a:ext>
            </a:extLst>
          </p:cNvPr>
          <p:cNvSpPr/>
          <p:nvPr/>
        </p:nvSpPr>
        <p:spPr>
          <a:xfrm>
            <a:off x="6627002" y="5055320"/>
            <a:ext cx="2130053" cy="773805"/>
          </a:xfrm>
          <a:prstGeom prst="rect">
            <a:avLst/>
          </a:prstGeom>
          <a:solidFill>
            <a:schemeClr val="accent4">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mn-cs"/>
              </a:rPr>
              <a:t>12 weeks per market</a:t>
            </a:r>
          </a:p>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mn-cs"/>
              </a:rPr>
              <a:t>Standard team size</a:t>
            </a:r>
          </a:p>
        </p:txBody>
      </p:sp>
      <p:sp>
        <p:nvSpPr>
          <p:cNvPr id="18" name="TextBox 17">
            <a:extLst>
              <a:ext uri="{FF2B5EF4-FFF2-40B4-BE49-F238E27FC236}">
                <a16:creationId xmlns:a16="http://schemas.microsoft.com/office/drawing/2014/main" id="{EB69954C-1D84-4A46-B89F-355D32A5FA35}"/>
              </a:ext>
            </a:extLst>
          </p:cNvPr>
          <p:cNvSpPr txBox="1"/>
          <p:nvPr/>
        </p:nvSpPr>
        <p:spPr>
          <a:xfrm>
            <a:off x="758672" y="5251020"/>
            <a:ext cx="1035766"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Open Sans"/>
                <a:ea typeface="+mn-ea"/>
                <a:cs typeface="+mn-cs"/>
              </a:rPr>
              <a:t>Timing and Team Size</a:t>
            </a:r>
          </a:p>
        </p:txBody>
      </p:sp>
      <p:sp>
        <p:nvSpPr>
          <p:cNvPr id="19" name="TextBox 18">
            <a:extLst>
              <a:ext uri="{FF2B5EF4-FFF2-40B4-BE49-F238E27FC236}">
                <a16:creationId xmlns:a16="http://schemas.microsoft.com/office/drawing/2014/main" id="{274B56F8-AA20-4BB8-A9D6-674F5F5D57DC}"/>
              </a:ext>
            </a:extLst>
          </p:cNvPr>
          <p:cNvSpPr txBox="1"/>
          <p:nvPr/>
        </p:nvSpPr>
        <p:spPr>
          <a:xfrm>
            <a:off x="740671" y="3630465"/>
            <a:ext cx="1053767"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Open Sans"/>
                <a:ea typeface="+mn-ea"/>
                <a:cs typeface="+mn-cs"/>
              </a:rPr>
              <a:t>Potential Drivers for Resourcing</a:t>
            </a:r>
          </a:p>
        </p:txBody>
      </p:sp>
      <p:sp>
        <p:nvSpPr>
          <p:cNvPr id="20" name="Text Placeholder 1">
            <a:extLst>
              <a:ext uri="{FF2B5EF4-FFF2-40B4-BE49-F238E27FC236}">
                <a16:creationId xmlns:a16="http://schemas.microsoft.com/office/drawing/2014/main" id="{FF2B1472-C19D-4EE3-8DEB-4740FB4F47E4}"/>
              </a:ext>
            </a:extLst>
          </p:cNvPr>
          <p:cNvSpPr txBox="1">
            <a:spLocks/>
          </p:cNvSpPr>
          <p:nvPr/>
        </p:nvSpPr>
        <p:spPr>
          <a:xfrm>
            <a:off x="6847611" y="2675475"/>
            <a:ext cx="1896001" cy="260969"/>
          </a:xfrm>
          <a:prstGeom prst="rect">
            <a:avLst/>
          </a:prstGeom>
          <a:noFill/>
        </p:spPr>
        <p:txBody>
          <a:bodyPr vert="horz" wrap="square" lIns="0" tIns="0" rIns="0" bIns="0" rtlCol="0">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1219170" rtl="0" eaLnBrk="1" fontAlgn="base" latinLnBrk="0" hangingPunct="1">
              <a:lnSpc>
                <a:spcPct val="80000"/>
              </a:lnSpc>
              <a:spcBef>
                <a:spcPct val="0"/>
              </a:spcBef>
              <a:spcAft>
                <a:spcPct val="0"/>
              </a:spcAft>
              <a:buClr>
                <a:srgbClr val="787878"/>
              </a:buClr>
              <a:buSzPct val="75000"/>
              <a:buFont typeface="Arial" panose="020B0604020202020204" pitchFamily="34" charset="0"/>
              <a:buNone/>
              <a:tabLst/>
              <a:defRPr/>
            </a:pPr>
            <a:r>
              <a:rPr kumimoji="0" lang="en-US" sz="1050" b="1" i="0" u="none" strike="noStrike" kern="1200" cap="none" spc="0" normalizeH="0" baseline="0" noProof="0" dirty="0">
                <a:ln>
                  <a:noFill/>
                </a:ln>
                <a:solidFill>
                  <a:srgbClr val="000000"/>
                </a:solidFill>
                <a:effectLst/>
                <a:uLnTx/>
                <a:uFillTx/>
                <a:latin typeface="Open Sans"/>
                <a:ea typeface="+mn-ea"/>
                <a:cs typeface="Knockout-HTF27-JuniorBantamwt"/>
                <a:sym typeface="Gill Sans" charset="0"/>
              </a:rPr>
              <a:t>VALUE CAPTURE – STANDARD</a:t>
            </a:r>
          </a:p>
        </p:txBody>
      </p:sp>
      <p:sp>
        <p:nvSpPr>
          <p:cNvPr id="21" name="Rectangle 20">
            <a:extLst>
              <a:ext uri="{FF2B5EF4-FFF2-40B4-BE49-F238E27FC236}">
                <a16:creationId xmlns:a16="http://schemas.microsoft.com/office/drawing/2014/main" id="{CDA95D10-3640-4FFF-8589-06D1799C5EAC}"/>
              </a:ext>
            </a:extLst>
          </p:cNvPr>
          <p:cNvSpPr/>
          <p:nvPr/>
        </p:nvSpPr>
        <p:spPr>
          <a:xfrm>
            <a:off x="9088129" y="3052007"/>
            <a:ext cx="2130053" cy="1833932"/>
          </a:xfrm>
          <a:prstGeom prst="rect">
            <a:avLst/>
          </a:prstGeom>
          <a:solidFill>
            <a:schemeClr val="accent4">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srgbClr val="000000"/>
                </a:solidFill>
                <a:effectLst/>
                <a:uLnTx/>
                <a:uFillTx/>
                <a:latin typeface="Open Sans"/>
                <a:ea typeface="+mn-ea"/>
                <a:cs typeface="+mn-cs"/>
              </a:rPr>
              <a:t>Limited resourcing available</a:t>
            </a:r>
          </a:p>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srgbClr val="000000"/>
                </a:solidFill>
                <a:effectLst/>
                <a:uLnTx/>
                <a:uFillTx/>
                <a:latin typeface="Open Sans"/>
                <a:ea typeface="+mn-ea"/>
                <a:cs typeface="+mn-cs"/>
              </a:rPr>
              <a:t>Data limited, requires heavy cleansing, data capture and validation </a:t>
            </a:r>
          </a:p>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srgbClr val="000000"/>
                </a:solidFill>
                <a:effectLst/>
                <a:uLnTx/>
                <a:uFillTx/>
                <a:latin typeface="Open Sans"/>
                <a:ea typeface="+mn-ea"/>
                <a:cs typeface="+mn-cs"/>
              </a:rPr>
              <a:t>Limited trade spend analysis complete to date</a:t>
            </a:r>
          </a:p>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srgbClr val="000000"/>
                </a:solidFill>
                <a:effectLst/>
                <a:uLnTx/>
                <a:uFillTx/>
                <a:latin typeface="Open Sans"/>
                <a:ea typeface="+mn-ea"/>
                <a:cs typeface="+mn-cs"/>
              </a:rPr>
              <a:t>Confirmed value target based on top-down prioritisation is higher</a:t>
            </a:r>
          </a:p>
        </p:txBody>
      </p:sp>
      <p:sp>
        <p:nvSpPr>
          <p:cNvPr id="22" name="Rectangle 21">
            <a:extLst>
              <a:ext uri="{FF2B5EF4-FFF2-40B4-BE49-F238E27FC236}">
                <a16:creationId xmlns:a16="http://schemas.microsoft.com/office/drawing/2014/main" id="{08C1E67D-E1CA-443F-B403-362A06782D82}"/>
              </a:ext>
            </a:extLst>
          </p:cNvPr>
          <p:cNvSpPr/>
          <p:nvPr/>
        </p:nvSpPr>
        <p:spPr>
          <a:xfrm>
            <a:off x="9082323" y="5055320"/>
            <a:ext cx="2130053" cy="773805"/>
          </a:xfrm>
          <a:prstGeom prst="rect">
            <a:avLst/>
          </a:prstGeom>
          <a:solidFill>
            <a:schemeClr val="accent4">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mn-cs"/>
              </a:rPr>
              <a:t>12-16 weeks per market</a:t>
            </a:r>
          </a:p>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mn-cs"/>
              </a:rPr>
              <a:t>Increased team size</a:t>
            </a:r>
          </a:p>
        </p:txBody>
      </p:sp>
      <p:sp>
        <p:nvSpPr>
          <p:cNvPr id="23" name="Text Placeholder 1">
            <a:extLst>
              <a:ext uri="{FF2B5EF4-FFF2-40B4-BE49-F238E27FC236}">
                <a16:creationId xmlns:a16="http://schemas.microsoft.com/office/drawing/2014/main" id="{EB183254-BF9A-44CD-A887-3B02D474FC9F}"/>
              </a:ext>
            </a:extLst>
          </p:cNvPr>
          <p:cNvSpPr txBox="1">
            <a:spLocks/>
          </p:cNvSpPr>
          <p:nvPr/>
        </p:nvSpPr>
        <p:spPr>
          <a:xfrm>
            <a:off x="9215844" y="2675475"/>
            <a:ext cx="1896001" cy="260969"/>
          </a:xfrm>
          <a:prstGeom prst="rect">
            <a:avLst/>
          </a:prstGeom>
          <a:noFill/>
        </p:spPr>
        <p:txBody>
          <a:bodyPr vert="horz" wrap="square" lIns="0" tIns="0" rIns="0" bIns="0" rtlCol="0">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1219170" rtl="0" eaLnBrk="1" fontAlgn="base" latinLnBrk="0" hangingPunct="1">
              <a:lnSpc>
                <a:spcPct val="80000"/>
              </a:lnSpc>
              <a:spcBef>
                <a:spcPct val="0"/>
              </a:spcBef>
              <a:spcAft>
                <a:spcPct val="0"/>
              </a:spcAft>
              <a:buClr>
                <a:srgbClr val="787878"/>
              </a:buClr>
              <a:buSzPct val="75000"/>
              <a:buFont typeface="Arial" panose="020B0604020202020204" pitchFamily="34" charset="0"/>
              <a:buNone/>
              <a:tabLst/>
              <a:defRPr/>
            </a:pPr>
            <a:r>
              <a:rPr kumimoji="0" lang="en-US" sz="1050" b="1" i="0" u="none" strike="noStrike" kern="1200" cap="none" spc="0" normalizeH="0" baseline="0" noProof="0" dirty="0">
                <a:ln>
                  <a:noFill/>
                </a:ln>
                <a:solidFill>
                  <a:srgbClr val="000000"/>
                </a:solidFill>
                <a:effectLst/>
                <a:uLnTx/>
                <a:uFillTx/>
                <a:latin typeface="Open Sans"/>
                <a:ea typeface="+mn-ea"/>
                <a:cs typeface="Knockout-HTF27-JuniorBantamwt"/>
                <a:sym typeface="Gill Sans" charset="0"/>
              </a:rPr>
              <a:t>VALUE CAPTURE – </a:t>
            </a:r>
          </a:p>
          <a:p>
            <a:pPr marL="0" marR="0" lvl="0" indent="0" algn="ctr" defTabSz="1219170" rtl="0" eaLnBrk="1" fontAlgn="base" latinLnBrk="0" hangingPunct="1">
              <a:lnSpc>
                <a:spcPct val="80000"/>
              </a:lnSpc>
              <a:spcBef>
                <a:spcPct val="0"/>
              </a:spcBef>
              <a:spcAft>
                <a:spcPct val="0"/>
              </a:spcAft>
              <a:buClr>
                <a:srgbClr val="787878"/>
              </a:buClr>
              <a:buSzPct val="75000"/>
              <a:buFont typeface="Arial" panose="020B0604020202020204" pitchFamily="34" charset="0"/>
              <a:buNone/>
              <a:tabLst/>
              <a:defRPr/>
            </a:pPr>
            <a:r>
              <a:rPr kumimoji="0" lang="en-US" sz="1050" b="1" i="0" u="none" strike="noStrike" kern="1200" cap="none" spc="0" normalizeH="0" baseline="0" noProof="0" dirty="0">
                <a:ln>
                  <a:noFill/>
                </a:ln>
                <a:solidFill>
                  <a:srgbClr val="000000"/>
                </a:solidFill>
                <a:effectLst/>
                <a:uLnTx/>
                <a:uFillTx/>
                <a:latin typeface="Open Sans"/>
                <a:ea typeface="+mn-ea"/>
                <a:cs typeface="Knockout-HTF27-JuniorBantamwt"/>
                <a:sym typeface="Gill Sans" charset="0"/>
              </a:rPr>
              <a:t>HEAVY</a:t>
            </a:r>
          </a:p>
        </p:txBody>
      </p:sp>
      <p:sp>
        <p:nvSpPr>
          <p:cNvPr id="24" name="TextBox 23">
            <a:extLst>
              <a:ext uri="{FF2B5EF4-FFF2-40B4-BE49-F238E27FC236}">
                <a16:creationId xmlns:a16="http://schemas.microsoft.com/office/drawing/2014/main" id="{3833650D-D9E8-4C21-9F6D-DC88F16CB2E6}"/>
              </a:ext>
            </a:extLst>
          </p:cNvPr>
          <p:cNvSpPr txBox="1"/>
          <p:nvPr/>
        </p:nvSpPr>
        <p:spPr>
          <a:xfrm>
            <a:off x="6627002" y="5951994"/>
            <a:ext cx="213005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Open Sans"/>
                <a:ea typeface="+mn-ea"/>
                <a:cs typeface="+mn-cs"/>
              </a:rPr>
              <a:t>Not to exceed estimate based on standard approach for all markets</a:t>
            </a:r>
          </a:p>
        </p:txBody>
      </p:sp>
      <p:sp>
        <p:nvSpPr>
          <p:cNvPr id="25" name="Rectangle 24">
            <a:extLst>
              <a:ext uri="{FF2B5EF4-FFF2-40B4-BE49-F238E27FC236}">
                <a16:creationId xmlns:a16="http://schemas.microsoft.com/office/drawing/2014/main" id="{166527E7-7E86-4AC6-94A8-6351D6C62A79}"/>
              </a:ext>
            </a:extLst>
          </p:cNvPr>
          <p:cNvSpPr/>
          <p:nvPr/>
        </p:nvSpPr>
        <p:spPr>
          <a:xfrm>
            <a:off x="6487886" y="2526087"/>
            <a:ext cx="2394857" cy="4211790"/>
          </a:xfrm>
          <a:prstGeom prst="rect">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9" name="Rectangle: Rounded Corners 79">
            <a:extLst>
              <a:ext uri="{FF2B5EF4-FFF2-40B4-BE49-F238E27FC236}">
                <a16:creationId xmlns:a16="http://schemas.microsoft.com/office/drawing/2014/main" id="{E732ADFB-1371-4B4E-A686-D4E7736EAEF0}"/>
              </a:ext>
            </a:extLst>
          </p:cNvPr>
          <p:cNvSpPr/>
          <p:nvPr/>
        </p:nvSpPr>
        <p:spPr>
          <a:xfrm>
            <a:off x="2443498" y="2187698"/>
            <a:ext cx="943134" cy="209550"/>
          </a:xfrm>
          <a:prstGeom prst="roundRect">
            <a:avLst/>
          </a:prstGeom>
          <a:solidFill>
            <a:schemeClr val="accent1"/>
          </a:solidFill>
          <a:ln w="19050">
            <a:solidFill>
              <a:schemeClr val="accent1"/>
            </a:solidFill>
          </a:ln>
        </p:spPr>
        <p:txBody>
          <a:bodyPr wrap="none" lIns="0" tIns="0" rIns="0" bIns="0" anchor="ctr">
            <a:noAutofit/>
          </a:bodyPr>
          <a:lstStyle/>
          <a:p>
            <a:pPr marL="0" marR="0" lvl="0" indent="0" algn="ctr" defTabSz="684213" rtl="0" eaLnBrk="1" fontAlgn="auto" latinLnBrk="0" hangingPunct="1">
              <a:lnSpc>
                <a:spcPct val="100000"/>
              </a:lnSpc>
              <a:spcBef>
                <a:spcPts val="0"/>
              </a:spcBef>
              <a:spcAft>
                <a:spcPts val="0"/>
              </a:spcAft>
              <a:buClrTx/>
              <a:buSzPct val="25000"/>
              <a:buFontTx/>
              <a:buNone/>
              <a:tabLst/>
              <a:defRPr/>
            </a:pPr>
            <a:r>
              <a:rPr kumimoji="0" lang="en-US" sz="1100" b="1" i="0" u="none" strike="noStrike" kern="0" cap="none" spc="0" normalizeH="0" baseline="0" noProof="0" dirty="0">
                <a:ln>
                  <a:noFill/>
                </a:ln>
                <a:solidFill>
                  <a:srgbClr val="000000"/>
                </a:solidFill>
                <a:effectLst/>
                <a:uLnTx/>
                <a:uFillTx/>
                <a:latin typeface="Open Sans"/>
                <a:ea typeface="+mn-ea"/>
                <a:cs typeface="+mn-cs"/>
              </a:rPr>
              <a:t>PHASE 1</a:t>
            </a:r>
          </a:p>
        </p:txBody>
      </p:sp>
    </p:spTree>
    <p:extLst>
      <p:ext uri="{BB962C8B-B14F-4D97-AF65-F5344CB8AC3E}">
        <p14:creationId xmlns:p14="http://schemas.microsoft.com/office/powerpoint/2010/main" val="823279649"/>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7F5C273-6FF5-4436-A4EF-D4B9882E34C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8356" name="think-cell Slide" r:id="rId6" imgW="415" imgH="416" progId="TCLayout.ActiveDocument.1">
                  <p:embed/>
                </p:oleObj>
              </mc:Choice>
              <mc:Fallback>
                <p:oleObj name="think-cell Slide" r:id="rId6" imgW="415" imgH="416" progId="TCLayout.ActiveDocument.1">
                  <p:embed/>
                  <p:pic>
                    <p:nvPicPr>
                      <p:cNvPr id="6" name="Object 5" hidden="1">
                        <a:extLst>
                          <a:ext uri="{FF2B5EF4-FFF2-40B4-BE49-F238E27FC236}">
                            <a16:creationId xmlns:a16="http://schemas.microsoft.com/office/drawing/2014/main" id="{17F5C273-6FF5-4436-A4EF-D4B9882E34C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41730C7-D5BA-4241-B9E8-42AB8CE95A8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5357CADB-BA3D-4963-9EC6-8DB022FF9BD8}"/>
              </a:ext>
            </a:extLst>
          </p:cNvPr>
          <p:cNvSpPr>
            <a:spLocks noGrp="1"/>
          </p:cNvSpPr>
          <p:nvPr>
            <p:ph type="title"/>
          </p:nvPr>
        </p:nvSpPr>
        <p:spPr/>
        <p:txBody>
          <a:bodyPr/>
          <a:lstStyle/>
          <a:p>
            <a:r>
              <a:rPr lang="en-US" dirty="0"/>
              <a:t>We know your company</a:t>
            </a:r>
          </a:p>
        </p:txBody>
      </p:sp>
      <p:sp>
        <p:nvSpPr>
          <p:cNvPr id="3" name="Text Placeholder 2">
            <a:extLst>
              <a:ext uri="{FF2B5EF4-FFF2-40B4-BE49-F238E27FC236}">
                <a16:creationId xmlns:a16="http://schemas.microsoft.com/office/drawing/2014/main" id="{221161B7-A1CB-4652-B749-A91D345FC606}"/>
              </a:ext>
            </a:extLst>
          </p:cNvPr>
          <p:cNvSpPr>
            <a:spLocks noGrp="1"/>
          </p:cNvSpPr>
          <p:nvPr>
            <p:ph type="body" sz="quarter" idx="14"/>
          </p:nvPr>
        </p:nvSpPr>
        <p:spPr/>
        <p:txBody>
          <a:bodyPr/>
          <a:lstStyle/>
          <a:p>
            <a:r>
              <a:rPr lang="en-US" dirty="0"/>
              <a:t>Subheader placeholder</a:t>
            </a:r>
          </a:p>
        </p:txBody>
      </p:sp>
      <p:sp>
        <p:nvSpPr>
          <p:cNvPr id="4" name="Text Placeholder 3">
            <a:extLst>
              <a:ext uri="{FF2B5EF4-FFF2-40B4-BE49-F238E27FC236}">
                <a16:creationId xmlns:a16="http://schemas.microsoft.com/office/drawing/2014/main" id="{3FE4B993-8F21-4803-A132-60E676E03466}"/>
              </a:ext>
            </a:extLst>
          </p:cNvPr>
          <p:cNvSpPr>
            <a:spLocks noGrp="1"/>
          </p:cNvSpPr>
          <p:nvPr>
            <p:ph type="body" sz="quarter" idx="15"/>
          </p:nvPr>
        </p:nvSpPr>
        <p:spPr/>
        <p:txBody>
          <a:bodyPr/>
          <a:lstStyle/>
          <a:p>
            <a:r>
              <a:rPr lang="en-US" dirty="0"/>
              <a:t>Plans, timelines and roadmaps</a:t>
            </a:r>
          </a:p>
        </p:txBody>
      </p:sp>
      <p:sp>
        <p:nvSpPr>
          <p:cNvPr id="7" name="Rectangle 6">
            <a:extLst>
              <a:ext uri="{FF2B5EF4-FFF2-40B4-BE49-F238E27FC236}">
                <a16:creationId xmlns:a16="http://schemas.microsoft.com/office/drawing/2014/main" id="{3FB90A42-0706-413C-A351-22872A584C4F}"/>
              </a:ext>
            </a:extLst>
          </p:cNvPr>
          <p:cNvSpPr/>
          <p:nvPr/>
        </p:nvSpPr>
        <p:spPr>
          <a:xfrm>
            <a:off x="1" y="2158504"/>
            <a:ext cx="12192000" cy="273214"/>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361B1EF5-F10B-4FC3-852D-F5236014C3CA}"/>
              </a:ext>
            </a:extLst>
          </p:cNvPr>
          <p:cNvGrpSpPr/>
          <p:nvPr/>
        </p:nvGrpSpPr>
        <p:grpSpPr>
          <a:xfrm>
            <a:off x="302819" y="1635664"/>
            <a:ext cx="851246" cy="1301578"/>
            <a:chOff x="302819" y="1301368"/>
            <a:chExt cx="851246" cy="1301578"/>
          </a:xfrm>
        </p:grpSpPr>
        <p:sp>
          <p:nvSpPr>
            <p:cNvPr id="9" name="Oval 8">
              <a:extLst>
                <a:ext uri="{FF2B5EF4-FFF2-40B4-BE49-F238E27FC236}">
                  <a16:creationId xmlns:a16="http://schemas.microsoft.com/office/drawing/2014/main" id="{FF402611-D281-47D4-AEFE-24B4CBA17BAF}"/>
                </a:ext>
              </a:extLst>
            </p:cNvPr>
            <p:cNvSpPr/>
            <p:nvPr/>
          </p:nvSpPr>
          <p:spPr>
            <a:xfrm>
              <a:off x="494795" y="1726225"/>
              <a:ext cx="467295" cy="473151"/>
            </a:xfrm>
            <a:prstGeom prst="ellipse">
              <a:avLst/>
            </a:prstGeom>
            <a:solidFill>
              <a:schemeClr val="bg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chemeClr val="tx1"/>
                </a:solidFill>
                <a:effectLst/>
                <a:uLnTx/>
                <a:uFillTx/>
                <a:latin typeface="Open Sans"/>
                <a:ea typeface="+mn-ea"/>
                <a:cs typeface="+mn-cs"/>
              </a:endParaRPr>
            </a:p>
          </p:txBody>
        </p:sp>
        <p:sp>
          <p:nvSpPr>
            <p:cNvPr id="10" name="Isosceles Triangle 9">
              <a:extLst>
                <a:ext uri="{FF2B5EF4-FFF2-40B4-BE49-F238E27FC236}">
                  <a16:creationId xmlns:a16="http://schemas.microsoft.com/office/drawing/2014/main" id="{80C3E3CA-7983-4763-AA44-BAE6741E91D2}"/>
                </a:ext>
              </a:extLst>
            </p:cNvPr>
            <p:cNvSpPr/>
            <p:nvPr/>
          </p:nvSpPr>
          <p:spPr>
            <a:xfrm flipV="1">
              <a:off x="594450" y="2280087"/>
              <a:ext cx="308582" cy="322859"/>
            </a:xfrm>
            <a:prstGeom prst="triangl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Open Sans"/>
                <a:ea typeface="+mn-ea"/>
                <a:cs typeface="+mn-cs"/>
              </a:endParaRPr>
            </a:p>
          </p:txBody>
        </p:sp>
        <p:sp>
          <p:nvSpPr>
            <p:cNvPr id="11" name="TextBox 10">
              <a:extLst>
                <a:ext uri="{FF2B5EF4-FFF2-40B4-BE49-F238E27FC236}">
                  <a16:creationId xmlns:a16="http://schemas.microsoft.com/office/drawing/2014/main" id="{C50252B8-76CB-481D-900B-D82B1971A87B}"/>
                </a:ext>
              </a:extLst>
            </p:cNvPr>
            <p:cNvSpPr txBox="1"/>
            <p:nvPr/>
          </p:nvSpPr>
          <p:spPr>
            <a:xfrm>
              <a:off x="302819" y="1301368"/>
              <a:ext cx="851246"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effectLst/>
                  <a:uLnTx/>
                  <a:uFillTx/>
                  <a:latin typeface="Open Sans"/>
                  <a:ea typeface="+mn-ea"/>
                  <a:cs typeface="+mn-cs"/>
                </a:rPr>
                <a:t>2015</a:t>
              </a:r>
            </a:p>
          </p:txBody>
        </p:sp>
      </p:grpSp>
      <p:grpSp>
        <p:nvGrpSpPr>
          <p:cNvPr id="12" name="Group 11">
            <a:extLst>
              <a:ext uri="{FF2B5EF4-FFF2-40B4-BE49-F238E27FC236}">
                <a16:creationId xmlns:a16="http://schemas.microsoft.com/office/drawing/2014/main" id="{6C9B27D7-4F3A-4A05-BA46-9B01A2DCA0D5}"/>
              </a:ext>
            </a:extLst>
          </p:cNvPr>
          <p:cNvGrpSpPr/>
          <p:nvPr/>
        </p:nvGrpSpPr>
        <p:grpSpPr>
          <a:xfrm>
            <a:off x="2721814" y="1635664"/>
            <a:ext cx="851246" cy="1301578"/>
            <a:chOff x="2819225" y="1301368"/>
            <a:chExt cx="851246" cy="1301578"/>
          </a:xfrm>
        </p:grpSpPr>
        <p:sp>
          <p:nvSpPr>
            <p:cNvPr id="13" name="Oval 12">
              <a:extLst>
                <a:ext uri="{FF2B5EF4-FFF2-40B4-BE49-F238E27FC236}">
                  <a16:creationId xmlns:a16="http://schemas.microsoft.com/office/drawing/2014/main" id="{79DE9EB2-DB7E-4819-AB19-CA94CCC75C76}"/>
                </a:ext>
              </a:extLst>
            </p:cNvPr>
            <p:cNvSpPr/>
            <p:nvPr/>
          </p:nvSpPr>
          <p:spPr>
            <a:xfrm>
              <a:off x="3011201" y="1726225"/>
              <a:ext cx="467295" cy="473151"/>
            </a:xfrm>
            <a:prstGeom prst="ellipse">
              <a:avLst/>
            </a:prstGeom>
            <a:solidFill>
              <a:schemeClr val="bg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chemeClr val="tx1"/>
                </a:solidFill>
                <a:effectLst/>
                <a:uLnTx/>
                <a:uFillTx/>
                <a:latin typeface="Open Sans"/>
                <a:ea typeface="+mn-ea"/>
                <a:cs typeface="+mn-cs"/>
              </a:endParaRPr>
            </a:p>
          </p:txBody>
        </p:sp>
        <p:sp>
          <p:nvSpPr>
            <p:cNvPr id="14" name="Isosceles Triangle 13">
              <a:extLst>
                <a:ext uri="{FF2B5EF4-FFF2-40B4-BE49-F238E27FC236}">
                  <a16:creationId xmlns:a16="http://schemas.microsoft.com/office/drawing/2014/main" id="{197644D3-C99E-4847-94A5-75DDDB1BD6B0}"/>
                </a:ext>
              </a:extLst>
            </p:cNvPr>
            <p:cNvSpPr/>
            <p:nvPr/>
          </p:nvSpPr>
          <p:spPr>
            <a:xfrm flipV="1">
              <a:off x="3110856" y="2280087"/>
              <a:ext cx="308582" cy="322859"/>
            </a:xfrm>
            <a:prstGeom prst="triangl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Open Sans"/>
                <a:ea typeface="+mn-ea"/>
                <a:cs typeface="+mn-cs"/>
              </a:endParaRPr>
            </a:p>
          </p:txBody>
        </p:sp>
        <p:sp>
          <p:nvSpPr>
            <p:cNvPr id="15" name="TextBox 14">
              <a:extLst>
                <a:ext uri="{FF2B5EF4-FFF2-40B4-BE49-F238E27FC236}">
                  <a16:creationId xmlns:a16="http://schemas.microsoft.com/office/drawing/2014/main" id="{63B318D1-091E-47E5-AD46-1DB6F0D70751}"/>
                </a:ext>
              </a:extLst>
            </p:cNvPr>
            <p:cNvSpPr txBox="1"/>
            <p:nvPr/>
          </p:nvSpPr>
          <p:spPr>
            <a:xfrm>
              <a:off x="2819225" y="1301368"/>
              <a:ext cx="851246"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effectLst/>
                  <a:uLnTx/>
                  <a:uFillTx/>
                  <a:latin typeface="Open Sans"/>
                  <a:ea typeface="+mn-ea"/>
                  <a:cs typeface="+mn-cs"/>
                </a:rPr>
                <a:t>2016</a:t>
              </a:r>
            </a:p>
          </p:txBody>
        </p:sp>
      </p:grpSp>
      <p:sp>
        <p:nvSpPr>
          <p:cNvPr id="17" name="Rectangle 16">
            <a:extLst>
              <a:ext uri="{FF2B5EF4-FFF2-40B4-BE49-F238E27FC236}">
                <a16:creationId xmlns:a16="http://schemas.microsoft.com/office/drawing/2014/main" id="{A33CD41C-7ADE-498D-9E8E-178EB8963EB2}"/>
              </a:ext>
            </a:extLst>
          </p:cNvPr>
          <p:cNvSpPr/>
          <p:nvPr/>
        </p:nvSpPr>
        <p:spPr>
          <a:xfrm>
            <a:off x="2704985" y="3602078"/>
            <a:ext cx="2194560" cy="1631216"/>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latin typeface="Open Sans"/>
                <a:ea typeface="+mn-ea"/>
                <a:cs typeface="+mn-cs"/>
              </a:rPr>
              <a:t>The Client is currently </a:t>
            </a:r>
            <a:r>
              <a:rPr kumimoji="0" lang="en-US" sz="1000" b="1" i="0" u="none" strike="noStrike" kern="1200" cap="none" spc="0" normalizeH="0" baseline="0" noProof="0" dirty="0">
                <a:ln>
                  <a:noFill/>
                </a:ln>
                <a:effectLst/>
                <a:uLnTx/>
                <a:uFillTx/>
                <a:latin typeface="Open Sans"/>
                <a:ea typeface="+mn-ea"/>
                <a:cs typeface="+mn-cs"/>
              </a:rPr>
              <a:t>integrating with Company B </a:t>
            </a:r>
            <a:r>
              <a:rPr kumimoji="0" lang="en-US" sz="1000" b="0" i="0" u="none" strike="noStrike" kern="1200" cap="none" spc="0" normalizeH="0" baseline="0" noProof="0" dirty="0">
                <a:ln>
                  <a:noFill/>
                </a:ln>
                <a:effectLst/>
                <a:uLnTx/>
                <a:uFillTx/>
                <a:latin typeface="Open Sans"/>
                <a:ea typeface="+mn-ea"/>
                <a:cs typeface="+mn-cs"/>
              </a:rPr>
              <a:t>in order to realize its vision of being a global leader. Deloitte </a:t>
            </a:r>
            <a:r>
              <a:rPr kumimoji="0" lang="en-US" sz="1000" b="1" i="0" u="none" strike="noStrike" kern="1200" cap="none" spc="0" normalizeH="0" baseline="0" noProof="0" dirty="0">
                <a:ln>
                  <a:noFill/>
                </a:ln>
                <a:effectLst/>
                <a:uLnTx/>
                <a:uFillTx/>
                <a:latin typeface="Open Sans"/>
                <a:ea typeface="+mn-ea"/>
                <a:cs typeface="+mn-cs"/>
              </a:rPr>
              <a:t>advised the regional integration in Americas and Europe</a:t>
            </a:r>
            <a:r>
              <a:rPr kumimoji="0" lang="en-US" sz="1000" b="0" i="0" u="none" strike="noStrike" kern="1200" cap="none" spc="0" normalizeH="0" baseline="0" noProof="0" dirty="0">
                <a:ln>
                  <a:noFill/>
                </a:ln>
                <a:effectLst/>
                <a:uLnTx/>
                <a:uFillTx/>
                <a:latin typeface="Open Sans"/>
                <a:ea typeface="+mn-ea"/>
                <a:cs typeface="+mn-cs"/>
              </a:rPr>
              <a:t> including set-up of regional </a:t>
            </a:r>
            <a:r>
              <a:rPr kumimoji="0" lang="en-US" sz="1000" b="1" i="0" u="none" strike="noStrike" kern="1200" cap="none" spc="0" normalizeH="0" baseline="0" noProof="0" dirty="0">
                <a:ln>
                  <a:noFill/>
                </a:ln>
                <a:effectLst/>
                <a:uLnTx/>
                <a:uFillTx/>
                <a:latin typeface="Open Sans"/>
                <a:ea typeface="+mn-ea"/>
                <a:cs typeface="+mn-cs"/>
              </a:rPr>
              <a:t>integration governance, project planning, and approach for roll-out of regional operating model.</a:t>
            </a:r>
          </a:p>
        </p:txBody>
      </p:sp>
      <p:sp>
        <p:nvSpPr>
          <p:cNvPr id="18" name="Rectangle 17">
            <a:extLst>
              <a:ext uri="{FF2B5EF4-FFF2-40B4-BE49-F238E27FC236}">
                <a16:creationId xmlns:a16="http://schemas.microsoft.com/office/drawing/2014/main" id="{50D046DB-9BAA-4360-AAD0-34E18DF7517C}"/>
              </a:ext>
            </a:extLst>
          </p:cNvPr>
          <p:cNvSpPr/>
          <p:nvPr/>
        </p:nvSpPr>
        <p:spPr bwMode="gray">
          <a:xfrm>
            <a:off x="2699643" y="3032701"/>
            <a:ext cx="1860262" cy="569377"/>
          </a:xfrm>
          <a:prstGeom prst="rect">
            <a:avLst/>
          </a:prstGeom>
          <a:noFill/>
          <a:ln w="3810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1200" cap="none" spc="0" normalizeH="0" baseline="0" noProof="0" dirty="0">
                <a:ln>
                  <a:noFill/>
                </a:ln>
                <a:effectLst/>
                <a:uLnTx/>
                <a:uFillTx/>
                <a:latin typeface="Open Sans"/>
                <a:ea typeface="+mn-ea"/>
                <a:cs typeface="+mn-cs"/>
              </a:rPr>
              <a:t>Industry Integration</a:t>
            </a:r>
          </a:p>
        </p:txBody>
      </p:sp>
      <p:cxnSp>
        <p:nvCxnSpPr>
          <p:cNvPr id="19" name="Straight Connector 18">
            <a:extLst>
              <a:ext uri="{FF2B5EF4-FFF2-40B4-BE49-F238E27FC236}">
                <a16:creationId xmlns:a16="http://schemas.microsoft.com/office/drawing/2014/main" id="{D4FF68F3-2E32-45AE-B2E2-C1C9B69355C9}"/>
              </a:ext>
            </a:extLst>
          </p:cNvPr>
          <p:cNvCxnSpPr/>
          <p:nvPr/>
        </p:nvCxnSpPr>
        <p:spPr>
          <a:xfrm>
            <a:off x="2721720" y="3109394"/>
            <a:ext cx="0" cy="2913321"/>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9CCC3D22-3A81-410B-9244-B3E36422A75B}"/>
              </a:ext>
            </a:extLst>
          </p:cNvPr>
          <p:cNvSpPr/>
          <p:nvPr/>
        </p:nvSpPr>
        <p:spPr bwMode="gray">
          <a:xfrm>
            <a:off x="300476" y="3032701"/>
            <a:ext cx="1860262" cy="569377"/>
          </a:xfrm>
          <a:prstGeom prst="rect">
            <a:avLst/>
          </a:prstGeom>
          <a:noFill/>
          <a:ln w="3810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1200" cap="none" spc="0" normalizeH="0" baseline="0" noProof="0" dirty="0">
                <a:ln>
                  <a:noFill/>
                </a:ln>
                <a:effectLst/>
                <a:uLnTx/>
                <a:uFillTx/>
                <a:latin typeface="Open Sans"/>
                <a:ea typeface="+mn-ea"/>
                <a:cs typeface="+mn-cs"/>
              </a:rPr>
              <a:t>Transformation</a:t>
            </a: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lang="en-US" sz="1400" b="1" dirty="0">
                <a:latin typeface="Open Sans"/>
              </a:rPr>
              <a:t>Redesign</a:t>
            </a:r>
            <a:endParaRPr kumimoji="0" lang="en-US" sz="1400" b="1" i="0" u="none" strike="noStrike" kern="1200" cap="none" spc="0" normalizeH="0" baseline="0" noProof="0" dirty="0">
              <a:ln>
                <a:noFill/>
              </a:ln>
              <a:effectLst/>
              <a:uLnTx/>
              <a:uFillTx/>
              <a:latin typeface="Open Sans"/>
              <a:ea typeface="+mn-ea"/>
              <a:cs typeface="+mn-cs"/>
            </a:endParaRPr>
          </a:p>
        </p:txBody>
      </p:sp>
      <p:sp>
        <p:nvSpPr>
          <p:cNvPr id="22" name="Rectangle 21">
            <a:extLst>
              <a:ext uri="{FF2B5EF4-FFF2-40B4-BE49-F238E27FC236}">
                <a16:creationId xmlns:a16="http://schemas.microsoft.com/office/drawing/2014/main" id="{46E17D8A-0504-4A18-9133-30315919AEB7}"/>
              </a:ext>
            </a:extLst>
          </p:cNvPr>
          <p:cNvSpPr/>
          <p:nvPr/>
        </p:nvSpPr>
        <p:spPr>
          <a:xfrm>
            <a:off x="305817" y="3602078"/>
            <a:ext cx="2194560" cy="16312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latin typeface="Open Sans"/>
                <a:ea typeface="+mn-ea"/>
                <a:cs typeface="+mn-cs"/>
              </a:rPr>
              <a:t>Deloitte supported with all aspects of the Transformation program including the </a:t>
            </a:r>
            <a:r>
              <a:rPr kumimoji="0" lang="en-US" sz="1000" b="1" i="0" u="none" strike="noStrike" kern="1200" cap="none" spc="0" normalizeH="0" baseline="0" noProof="0" dirty="0">
                <a:ln>
                  <a:noFill/>
                </a:ln>
                <a:effectLst/>
                <a:uLnTx/>
                <a:uFillTx/>
                <a:latin typeface="Open Sans"/>
                <a:ea typeface="+mn-ea"/>
                <a:cs typeface="+mn-cs"/>
              </a:rPr>
              <a:t>redesign of the operating model</a:t>
            </a:r>
            <a:r>
              <a:rPr kumimoji="0" lang="en-US" sz="1000" b="0" i="0" u="none" strike="noStrike" kern="1200" cap="none" spc="0" normalizeH="0" baseline="0" noProof="0" dirty="0">
                <a:ln>
                  <a:noFill/>
                </a:ln>
                <a:effectLst/>
                <a:uLnTx/>
                <a:uFillTx/>
                <a:latin typeface="Open Sans"/>
                <a:ea typeface="+mn-ea"/>
                <a:cs typeface="+mn-cs"/>
              </a:rPr>
              <a:t>, standardization of global processes, </a:t>
            </a:r>
            <a:r>
              <a:rPr kumimoji="0" lang="en-US" sz="1000" b="1" i="0" u="none" strike="noStrike" kern="1200" cap="none" spc="0" normalizeH="0" baseline="0" noProof="0" dirty="0">
                <a:ln>
                  <a:noFill/>
                </a:ln>
                <a:effectLst/>
                <a:uLnTx/>
                <a:uFillTx/>
                <a:latin typeface="Open Sans"/>
                <a:ea typeface="+mn-ea"/>
                <a:cs typeface="+mn-cs"/>
              </a:rPr>
              <a:t>implementation of global Service Centers</a:t>
            </a:r>
            <a:r>
              <a:rPr kumimoji="0" lang="en-US" sz="1000" b="0" i="0" u="none" strike="noStrike" kern="1200" cap="none" spc="0" normalizeH="0" baseline="0" noProof="0" dirty="0">
                <a:ln>
                  <a:noFill/>
                </a:ln>
                <a:effectLst/>
                <a:uLnTx/>
                <a:uFillTx/>
                <a:latin typeface="Open Sans"/>
                <a:ea typeface="+mn-ea"/>
                <a:cs typeface="+mn-cs"/>
              </a:rPr>
              <a:t>, launch of </a:t>
            </a:r>
            <a:r>
              <a:rPr kumimoji="0" lang="en-US" sz="1000" b="1" i="0" u="none" strike="noStrike" kern="1200" cap="none" spc="0" normalizeH="0" baseline="0" noProof="0" dirty="0">
                <a:ln>
                  <a:noFill/>
                </a:ln>
                <a:effectLst/>
                <a:uLnTx/>
                <a:uFillTx/>
                <a:latin typeface="Open Sans"/>
                <a:ea typeface="+mn-ea"/>
                <a:cs typeface="+mn-cs"/>
              </a:rPr>
              <a:t>Success Factors,</a:t>
            </a:r>
            <a:r>
              <a:rPr kumimoji="0" lang="en-US" sz="1000" b="0" i="0" u="none" strike="noStrike" kern="1200" cap="none" spc="0" normalizeH="0" baseline="0" noProof="0" dirty="0">
                <a:ln>
                  <a:noFill/>
                </a:ln>
                <a:effectLst/>
                <a:uLnTx/>
                <a:uFillTx/>
                <a:latin typeface="Open Sans"/>
                <a:ea typeface="+mn-ea"/>
                <a:cs typeface="+mn-cs"/>
              </a:rPr>
              <a:t> and launch of an </a:t>
            </a:r>
            <a:r>
              <a:rPr kumimoji="0" lang="en-US" sz="1000" b="1" i="0" u="none" strike="noStrike" kern="1200" cap="none" spc="0" normalizeH="0" baseline="0" noProof="0" dirty="0">
                <a:ln>
                  <a:noFill/>
                </a:ln>
                <a:effectLst/>
                <a:uLnTx/>
                <a:uFillTx/>
                <a:latin typeface="Open Sans"/>
                <a:ea typeface="+mn-ea"/>
                <a:cs typeface="+mn-cs"/>
              </a:rPr>
              <a:t>employee portal using salesforce.com platform.</a:t>
            </a:r>
          </a:p>
        </p:txBody>
      </p:sp>
      <p:cxnSp>
        <p:nvCxnSpPr>
          <p:cNvPr id="23" name="Straight Connector 22">
            <a:extLst>
              <a:ext uri="{FF2B5EF4-FFF2-40B4-BE49-F238E27FC236}">
                <a16:creationId xmlns:a16="http://schemas.microsoft.com/office/drawing/2014/main" id="{FB3BDDB1-9167-4CD6-B87D-DFCD3431302B}"/>
              </a:ext>
            </a:extLst>
          </p:cNvPr>
          <p:cNvCxnSpPr/>
          <p:nvPr/>
        </p:nvCxnSpPr>
        <p:spPr>
          <a:xfrm>
            <a:off x="306030" y="3109394"/>
            <a:ext cx="0" cy="2519916"/>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8F1FA178-8203-4CA2-B700-8365DCAE1659}"/>
              </a:ext>
            </a:extLst>
          </p:cNvPr>
          <p:cNvSpPr/>
          <p:nvPr/>
        </p:nvSpPr>
        <p:spPr bwMode="gray">
          <a:xfrm>
            <a:off x="7645337" y="3032701"/>
            <a:ext cx="1860262" cy="569377"/>
          </a:xfrm>
          <a:prstGeom prst="rect">
            <a:avLst/>
          </a:prstGeom>
          <a:noFill/>
          <a:ln w="3810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1200" cap="none" spc="0" normalizeH="0" baseline="0" noProof="0" dirty="0">
                <a:ln>
                  <a:noFill/>
                </a:ln>
                <a:effectLst/>
                <a:uLnTx/>
                <a:uFillTx/>
                <a:latin typeface="Open Sans"/>
                <a:ea typeface="+mn-ea"/>
                <a:cs typeface="+mn-cs"/>
              </a:rPr>
              <a:t>Cloud</a:t>
            </a:r>
          </a:p>
        </p:txBody>
      </p:sp>
      <p:cxnSp>
        <p:nvCxnSpPr>
          <p:cNvPr id="32" name="Straight Connector 31">
            <a:extLst>
              <a:ext uri="{FF2B5EF4-FFF2-40B4-BE49-F238E27FC236}">
                <a16:creationId xmlns:a16="http://schemas.microsoft.com/office/drawing/2014/main" id="{25D4FFFD-92F5-44FF-87C5-D938632A5E18}"/>
              </a:ext>
            </a:extLst>
          </p:cNvPr>
          <p:cNvCxnSpPr/>
          <p:nvPr/>
        </p:nvCxnSpPr>
        <p:spPr>
          <a:xfrm>
            <a:off x="7650679" y="3109394"/>
            <a:ext cx="0" cy="3551274"/>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3B0F0B99-56CA-4F91-9A85-1278C9EF9029}"/>
              </a:ext>
            </a:extLst>
          </p:cNvPr>
          <p:cNvSpPr/>
          <p:nvPr/>
        </p:nvSpPr>
        <p:spPr>
          <a:xfrm>
            <a:off x="7492637" y="3602078"/>
            <a:ext cx="2194560" cy="3016210"/>
          </a:xfrm>
          <a:prstGeom prst="rect">
            <a:avLst/>
          </a:prstGeom>
        </p:spPr>
        <p:txBody>
          <a:bodyPr>
            <a:spAutoFit/>
          </a:bodyPr>
          <a:lstStyle/>
          <a:p>
            <a:pPr marL="152400" marR="0" lvl="2" indent="0" algn="l" defTabSz="914400" rtl="0" eaLnBrk="1" fontAlgn="auto" latinLnBrk="0" hangingPunct="1">
              <a:lnSpc>
                <a:spcPct val="100000"/>
              </a:lnSpc>
              <a:spcBef>
                <a:spcPts val="0"/>
              </a:spcBef>
              <a:spcAft>
                <a:spcPts val="600"/>
              </a:spcAft>
              <a:buClrTx/>
              <a:buSzPct val="80000"/>
              <a:buFontTx/>
              <a:buNone/>
              <a:tabLst/>
              <a:defRPr/>
            </a:pPr>
            <a:r>
              <a:rPr kumimoji="0" lang="en-US" sz="1000" b="0" i="0" u="none" strike="noStrike" kern="1200" cap="none" spc="0" normalizeH="0" baseline="0" noProof="0" dirty="0">
                <a:ln>
                  <a:noFill/>
                </a:ln>
                <a:effectLst/>
                <a:uLnTx/>
                <a:uFillTx/>
                <a:latin typeface="Open Sans"/>
                <a:ea typeface="+mn-ea"/>
                <a:cs typeface="+mn-cs"/>
              </a:rPr>
              <a:t>The Client is transforming its Finance and HR business processes and replacing legacy applications with </a:t>
            </a:r>
            <a:r>
              <a:rPr kumimoji="0" lang="en-US" sz="1000" b="1" i="0" u="none" strike="noStrike" kern="1200" cap="none" spc="0" normalizeH="0" baseline="0" noProof="0" dirty="0">
                <a:ln>
                  <a:noFill/>
                </a:ln>
                <a:effectLst/>
                <a:uLnTx/>
                <a:uFillTx/>
                <a:latin typeface="Open Sans"/>
                <a:ea typeface="+mn-ea"/>
                <a:cs typeface="+mn-cs"/>
              </a:rPr>
              <a:t>Oracle’s Cloud software platform</a:t>
            </a:r>
            <a:r>
              <a:rPr kumimoji="0" lang="en-US" sz="1000" b="0" i="0" u="none" strike="noStrike" kern="1200" cap="none" spc="0" normalizeH="0" baseline="0" noProof="0" dirty="0">
                <a:ln>
                  <a:noFill/>
                </a:ln>
                <a:effectLst/>
                <a:uLnTx/>
                <a:uFillTx/>
                <a:latin typeface="Open Sans"/>
                <a:ea typeface="+mn-ea"/>
                <a:cs typeface="+mn-cs"/>
              </a:rPr>
              <a:t>. Deloitte is helping to standardize and </a:t>
            </a:r>
            <a:r>
              <a:rPr kumimoji="0" lang="en-US" sz="1000" b="1" i="0" u="none" strike="noStrike" kern="1200" cap="none" spc="0" normalizeH="0" baseline="0" noProof="0" dirty="0">
                <a:ln>
                  <a:noFill/>
                </a:ln>
                <a:effectLst/>
                <a:uLnTx/>
                <a:uFillTx/>
                <a:latin typeface="Open Sans"/>
                <a:ea typeface="+mn-ea"/>
                <a:cs typeface="+mn-cs"/>
              </a:rPr>
              <a:t>simplify processes</a:t>
            </a:r>
            <a:r>
              <a:rPr kumimoji="0" lang="en-US" sz="1000" b="0" i="0" u="none" strike="noStrike" kern="1200" cap="none" spc="0" normalizeH="0" baseline="0" noProof="0" dirty="0">
                <a:ln>
                  <a:noFill/>
                </a:ln>
                <a:effectLst/>
                <a:uLnTx/>
                <a:uFillTx/>
                <a:latin typeface="Open Sans"/>
                <a:ea typeface="+mn-ea"/>
                <a:cs typeface="+mn-cs"/>
              </a:rPr>
              <a:t>, </a:t>
            </a:r>
            <a:r>
              <a:rPr kumimoji="0" lang="en-US" sz="1000" b="1" i="0" u="none" strike="noStrike" kern="1200" cap="none" spc="0" normalizeH="0" baseline="0" noProof="0" dirty="0">
                <a:ln>
                  <a:noFill/>
                </a:ln>
                <a:effectLst/>
                <a:uLnTx/>
                <a:uFillTx/>
                <a:latin typeface="Open Sans"/>
                <a:ea typeface="+mn-ea"/>
                <a:cs typeface="+mn-cs"/>
              </a:rPr>
              <a:t>increase efficiencies </a:t>
            </a:r>
            <a:r>
              <a:rPr kumimoji="0" lang="en-US" sz="1000" b="0" i="0" u="none" strike="noStrike" kern="1200" cap="none" spc="0" normalizeH="0" baseline="0" noProof="0" dirty="0">
                <a:ln>
                  <a:noFill/>
                </a:ln>
                <a:effectLst/>
                <a:uLnTx/>
                <a:uFillTx/>
                <a:latin typeface="Open Sans"/>
                <a:ea typeface="+mn-ea"/>
                <a:cs typeface="+mn-cs"/>
              </a:rPr>
              <a:t>through </a:t>
            </a:r>
            <a:r>
              <a:rPr kumimoji="0" lang="en-US" sz="1000" b="1" i="0" u="none" strike="noStrike" kern="1200" cap="none" spc="0" normalizeH="0" baseline="0" noProof="0" dirty="0">
                <a:ln>
                  <a:noFill/>
                </a:ln>
                <a:effectLst/>
                <a:uLnTx/>
                <a:uFillTx/>
                <a:latin typeface="Open Sans"/>
                <a:ea typeface="+mn-ea"/>
                <a:cs typeface="+mn-cs"/>
              </a:rPr>
              <a:t>automation and process improvements</a:t>
            </a:r>
            <a:r>
              <a:rPr kumimoji="0" lang="en-US" sz="1000" b="0" i="0" u="none" strike="noStrike" kern="1200" cap="none" spc="0" normalizeH="0" baseline="0" noProof="0" dirty="0">
                <a:ln>
                  <a:noFill/>
                </a:ln>
                <a:effectLst/>
                <a:uLnTx/>
                <a:uFillTx/>
                <a:latin typeface="Open Sans"/>
                <a:ea typeface="+mn-ea"/>
                <a:cs typeface="+mn-cs"/>
              </a:rPr>
              <a:t>, implement a system</a:t>
            </a:r>
            <a:r>
              <a:rPr kumimoji="0" lang="en-US" sz="1000" b="1" i="0" u="none" strike="noStrike" kern="1200" cap="none" spc="0" normalizeH="0" baseline="0" noProof="0" dirty="0">
                <a:ln>
                  <a:noFill/>
                </a:ln>
                <a:effectLst/>
                <a:uLnTx/>
                <a:uFillTx/>
                <a:latin typeface="Open Sans"/>
                <a:ea typeface="+mn-ea"/>
                <a:cs typeface="+mn-cs"/>
              </a:rPr>
              <a:t> </a:t>
            </a:r>
            <a:r>
              <a:rPr kumimoji="0" lang="en-US" sz="1000" b="0" i="0" u="none" strike="noStrike" kern="1200" cap="none" spc="0" normalizeH="0" baseline="0" noProof="0" dirty="0">
                <a:ln>
                  <a:noFill/>
                </a:ln>
                <a:effectLst/>
                <a:uLnTx/>
                <a:uFillTx/>
                <a:latin typeface="Open Sans"/>
                <a:ea typeface="+mn-ea"/>
                <a:cs typeface="+mn-cs"/>
              </a:rPr>
              <a:t>to enable future growth, increase the </a:t>
            </a:r>
            <a:r>
              <a:rPr kumimoji="0" lang="en-US" sz="1000" b="1" i="0" u="none" strike="noStrike" kern="1200" cap="none" spc="0" normalizeH="0" baseline="0" noProof="0" dirty="0">
                <a:ln>
                  <a:noFill/>
                </a:ln>
                <a:effectLst/>
                <a:uLnTx/>
                <a:uFillTx/>
                <a:latin typeface="Open Sans"/>
                <a:ea typeface="+mn-ea"/>
                <a:cs typeface="+mn-cs"/>
              </a:rPr>
              <a:t>visibility of operational information </a:t>
            </a:r>
            <a:r>
              <a:rPr kumimoji="0" lang="en-US" sz="1000" b="0" i="0" u="none" strike="noStrike" kern="1200" cap="none" spc="0" normalizeH="0" baseline="0" noProof="0" dirty="0">
                <a:ln>
                  <a:noFill/>
                </a:ln>
                <a:effectLst/>
                <a:uLnTx/>
                <a:uFillTx/>
                <a:latin typeface="Open Sans"/>
                <a:ea typeface="+mn-ea"/>
                <a:cs typeface="+mn-cs"/>
              </a:rPr>
              <a:t>across the organization, and use </a:t>
            </a:r>
            <a:r>
              <a:rPr kumimoji="0" lang="en-US" sz="1000" b="1" i="0" u="none" strike="noStrike" kern="1200" cap="none" spc="0" normalizeH="0" baseline="0" noProof="0" dirty="0">
                <a:ln>
                  <a:noFill/>
                </a:ln>
                <a:effectLst/>
                <a:uLnTx/>
                <a:uFillTx/>
                <a:latin typeface="Open Sans"/>
                <a:ea typeface="+mn-ea"/>
                <a:cs typeface="+mn-cs"/>
              </a:rPr>
              <a:t>value-added analytics </a:t>
            </a:r>
            <a:r>
              <a:rPr kumimoji="0" lang="en-US" sz="1000" b="0" i="0" u="none" strike="noStrike" kern="1200" cap="none" spc="0" normalizeH="0" baseline="0" noProof="0" dirty="0">
                <a:ln>
                  <a:noFill/>
                </a:ln>
                <a:effectLst/>
                <a:uLnTx/>
                <a:uFillTx/>
                <a:latin typeface="Open Sans"/>
                <a:ea typeface="+mn-ea"/>
                <a:cs typeface="+mn-cs"/>
              </a:rPr>
              <a:t>to improve the ability to perform financial and risk analysis of operations. </a:t>
            </a:r>
          </a:p>
        </p:txBody>
      </p:sp>
      <p:sp>
        <p:nvSpPr>
          <p:cNvPr id="27" name="Oval 26">
            <a:extLst>
              <a:ext uri="{FF2B5EF4-FFF2-40B4-BE49-F238E27FC236}">
                <a16:creationId xmlns:a16="http://schemas.microsoft.com/office/drawing/2014/main" id="{AE56BBFC-5711-4C51-AFC0-79312064916E}"/>
              </a:ext>
            </a:extLst>
          </p:cNvPr>
          <p:cNvSpPr/>
          <p:nvPr/>
        </p:nvSpPr>
        <p:spPr>
          <a:xfrm>
            <a:off x="7726613" y="2060521"/>
            <a:ext cx="467295" cy="473151"/>
          </a:xfrm>
          <a:prstGeom prst="ellipse">
            <a:avLst/>
          </a:prstGeom>
          <a:solidFill>
            <a:schemeClr val="bg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chemeClr val="tx1"/>
              </a:solidFill>
              <a:effectLst/>
              <a:uLnTx/>
              <a:uFillTx/>
              <a:latin typeface="Open Sans"/>
              <a:ea typeface="+mn-ea"/>
              <a:cs typeface="+mn-cs"/>
            </a:endParaRPr>
          </a:p>
        </p:txBody>
      </p:sp>
      <p:sp>
        <p:nvSpPr>
          <p:cNvPr id="28" name="Isosceles Triangle 27">
            <a:extLst>
              <a:ext uri="{FF2B5EF4-FFF2-40B4-BE49-F238E27FC236}">
                <a16:creationId xmlns:a16="http://schemas.microsoft.com/office/drawing/2014/main" id="{B8C7F60A-A4E1-4698-948D-D5697CD5141B}"/>
              </a:ext>
            </a:extLst>
          </p:cNvPr>
          <p:cNvSpPr/>
          <p:nvPr/>
        </p:nvSpPr>
        <p:spPr>
          <a:xfrm flipV="1">
            <a:off x="7826268" y="2614383"/>
            <a:ext cx="308582" cy="322859"/>
          </a:xfrm>
          <a:prstGeom prst="triangl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Open Sans"/>
              <a:ea typeface="+mn-ea"/>
              <a:cs typeface="+mn-cs"/>
            </a:endParaRPr>
          </a:p>
        </p:txBody>
      </p:sp>
      <p:sp>
        <p:nvSpPr>
          <p:cNvPr id="39" name="Oval 38">
            <a:extLst>
              <a:ext uri="{FF2B5EF4-FFF2-40B4-BE49-F238E27FC236}">
                <a16:creationId xmlns:a16="http://schemas.microsoft.com/office/drawing/2014/main" id="{6A196377-BEDD-48C2-965D-7AD45B6124B0}"/>
              </a:ext>
            </a:extLst>
          </p:cNvPr>
          <p:cNvSpPr/>
          <p:nvPr/>
        </p:nvSpPr>
        <p:spPr>
          <a:xfrm>
            <a:off x="5357957" y="2060521"/>
            <a:ext cx="467295" cy="473151"/>
          </a:xfrm>
          <a:prstGeom prst="ellipse">
            <a:avLst/>
          </a:prstGeom>
          <a:solidFill>
            <a:schemeClr val="bg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chemeClr val="tx1"/>
              </a:solidFill>
              <a:effectLst/>
              <a:uLnTx/>
              <a:uFillTx/>
              <a:latin typeface="Open Sans"/>
              <a:ea typeface="+mn-ea"/>
              <a:cs typeface="+mn-cs"/>
            </a:endParaRPr>
          </a:p>
        </p:txBody>
      </p:sp>
      <p:sp>
        <p:nvSpPr>
          <p:cNvPr id="40" name="Isosceles Triangle 39">
            <a:extLst>
              <a:ext uri="{FF2B5EF4-FFF2-40B4-BE49-F238E27FC236}">
                <a16:creationId xmlns:a16="http://schemas.microsoft.com/office/drawing/2014/main" id="{DD8375CA-1BB0-4528-ADAC-8AFCFA732B2B}"/>
              </a:ext>
            </a:extLst>
          </p:cNvPr>
          <p:cNvSpPr/>
          <p:nvPr/>
        </p:nvSpPr>
        <p:spPr>
          <a:xfrm flipV="1">
            <a:off x="5457612" y="2614383"/>
            <a:ext cx="308582" cy="322859"/>
          </a:xfrm>
          <a:prstGeom prst="triangl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Open Sans"/>
              <a:ea typeface="+mn-ea"/>
              <a:cs typeface="+mn-cs"/>
            </a:endParaRPr>
          </a:p>
        </p:txBody>
      </p:sp>
      <p:sp>
        <p:nvSpPr>
          <p:cNvPr id="41" name="TextBox 40">
            <a:extLst>
              <a:ext uri="{FF2B5EF4-FFF2-40B4-BE49-F238E27FC236}">
                <a16:creationId xmlns:a16="http://schemas.microsoft.com/office/drawing/2014/main" id="{E2A98C3F-1D0A-4BE2-A4C3-A896B8AA4B27}"/>
              </a:ext>
            </a:extLst>
          </p:cNvPr>
          <p:cNvSpPr txBox="1"/>
          <p:nvPr/>
        </p:nvSpPr>
        <p:spPr>
          <a:xfrm>
            <a:off x="7618252" y="1631347"/>
            <a:ext cx="851246"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effectLst/>
                <a:uLnTx/>
                <a:uFillTx/>
                <a:latin typeface="Open Sans"/>
                <a:ea typeface="+mn-ea"/>
                <a:cs typeface="+mn-cs"/>
              </a:rPr>
              <a:t>2017</a:t>
            </a:r>
          </a:p>
        </p:txBody>
      </p:sp>
      <p:sp>
        <p:nvSpPr>
          <p:cNvPr id="36" name="Rectangle 35">
            <a:extLst>
              <a:ext uri="{FF2B5EF4-FFF2-40B4-BE49-F238E27FC236}">
                <a16:creationId xmlns:a16="http://schemas.microsoft.com/office/drawing/2014/main" id="{5A9BE1A4-4B96-419E-A845-0DDB94F4846C}"/>
              </a:ext>
            </a:extLst>
          </p:cNvPr>
          <p:cNvSpPr/>
          <p:nvPr/>
        </p:nvSpPr>
        <p:spPr bwMode="gray">
          <a:xfrm>
            <a:off x="5251511" y="3032701"/>
            <a:ext cx="1860262" cy="569377"/>
          </a:xfrm>
          <a:prstGeom prst="rect">
            <a:avLst/>
          </a:prstGeom>
          <a:noFill/>
          <a:ln w="3810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1200" cap="none" spc="0" normalizeH="0" baseline="0" noProof="0" dirty="0">
                <a:ln>
                  <a:noFill/>
                </a:ln>
                <a:effectLst/>
                <a:uLnTx/>
                <a:uFillTx/>
                <a:latin typeface="Open Sans"/>
                <a:ea typeface="+mn-ea"/>
                <a:cs typeface="+mn-cs"/>
              </a:rPr>
              <a:t>Innovation Strategy Playbook</a:t>
            </a:r>
          </a:p>
        </p:txBody>
      </p:sp>
      <p:cxnSp>
        <p:nvCxnSpPr>
          <p:cNvPr id="37" name="Straight Connector 36">
            <a:extLst>
              <a:ext uri="{FF2B5EF4-FFF2-40B4-BE49-F238E27FC236}">
                <a16:creationId xmlns:a16="http://schemas.microsoft.com/office/drawing/2014/main" id="{619401CD-C0E1-4271-9B76-03FAEEC4A555}"/>
              </a:ext>
            </a:extLst>
          </p:cNvPr>
          <p:cNvCxnSpPr/>
          <p:nvPr/>
        </p:nvCxnSpPr>
        <p:spPr>
          <a:xfrm>
            <a:off x="5256853" y="3109394"/>
            <a:ext cx="0" cy="3662783"/>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A1BCCB19-F8E7-4B14-ABDE-EC4A8193382F}"/>
              </a:ext>
            </a:extLst>
          </p:cNvPr>
          <p:cNvSpPr/>
          <p:nvPr/>
        </p:nvSpPr>
        <p:spPr>
          <a:xfrm>
            <a:off x="5098811" y="3602078"/>
            <a:ext cx="2194560" cy="2862322"/>
          </a:xfrm>
          <a:prstGeom prst="rect">
            <a:avLst/>
          </a:prstGeom>
        </p:spPr>
        <p:txBody>
          <a:bodyPr>
            <a:spAutoFit/>
          </a:bodyPr>
          <a:lstStyle/>
          <a:p>
            <a:pPr marL="152400" marR="0" lvl="2" indent="0" algn="l" defTabSz="914400" rtl="0" eaLnBrk="1" fontAlgn="auto" latinLnBrk="0" hangingPunct="1">
              <a:lnSpc>
                <a:spcPct val="100000"/>
              </a:lnSpc>
              <a:spcBef>
                <a:spcPts val="0"/>
              </a:spcBef>
              <a:spcAft>
                <a:spcPts val="600"/>
              </a:spcAft>
              <a:buClrTx/>
              <a:buSzPct val="80000"/>
              <a:buFontTx/>
              <a:buNone/>
              <a:tabLst/>
              <a:defRPr/>
            </a:pPr>
            <a:r>
              <a:rPr kumimoji="0" lang="en-US" sz="1000" b="0" i="0" u="none" strike="noStrike" kern="1200" cap="none" spc="0" normalizeH="0" baseline="0" noProof="0" dirty="0">
                <a:ln>
                  <a:noFill/>
                </a:ln>
                <a:effectLst/>
                <a:uLnTx/>
                <a:uFillTx/>
                <a:latin typeface="Open Sans"/>
                <a:ea typeface="+mn-ea"/>
                <a:cs typeface="+mn-cs"/>
              </a:rPr>
              <a:t>They wanted to establish </a:t>
            </a:r>
            <a:r>
              <a:rPr kumimoji="0" lang="en-US" sz="1000" b="1" i="0" u="none" strike="noStrike" kern="1200" cap="none" spc="0" normalizeH="0" baseline="0" noProof="0" dirty="0">
                <a:ln>
                  <a:noFill/>
                </a:ln>
                <a:effectLst/>
                <a:uLnTx/>
                <a:uFillTx/>
                <a:latin typeface="Open Sans"/>
                <a:ea typeface="+mn-ea"/>
                <a:cs typeface="+mn-cs"/>
              </a:rPr>
              <a:t>greater alignment between the innovation efforts happening within each business segment</a:t>
            </a:r>
            <a:r>
              <a:rPr kumimoji="0" lang="en-US" sz="1000" b="0" i="0" u="none" strike="noStrike" kern="1200" cap="none" spc="0" normalizeH="0" baseline="0" noProof="0" dirty="0">
                <a:ln>
                  <a:noFill/>
                </a:ln>
                <a:effectLst/>
                <a:uLnTx/>
                <a:uFillTx/>
                <a:latin typeface="Open Sans"/>
                <a:ea typeface="+mn-ea"/>
                <a:cs typeface="+mn-cs"/>
              </a:rPr>
              <a:t>, and the business segment’s strategy / LROP. Doblin, Deloitte’s innovation practice, </a:t>
            </a:r>
            <a:r>
              <a:rPr kumimoji="0" lang="en-US" sz="1000" b="1" i="0" u="none" strike="noStrike" kern="1200" cap="none" spc="0" normalizeH="0" baseline="0" noProof="0" dirty="0">
                <a:ln>
                  <a:noFill/>
                </a:ln>
                <a:effectLst/>
                <a:uLnTx/>
                <a:uFillTx/>
                <a:latin typeface="Open Sans"/>
                <a:ea typeface="+mn-ea"/>
                <a:cs typeface="+mn-cs"/>
              </a:rPr>
              <a:t>partnered with them to develop a methodology for developing innovation strategies</a:t>
            </a:r>
            <a:r>
              <a:rPr kumimoji="0" lang="en-US" sz="1000" b="0" i="0" u="none" strike="noStrike" kern="1200" cap="none" spc="0" normalizeH="0" baseline="0" noProof="0" dirty="0">
                <a:ln>
                  <a:noFill/>
                </a:ln>
                <a:effectLst/>
                <a:uLnTx/>
                <a:uFillTx/>
                <a:latin typeface="Open Sans"/>
                <a:ea typeface="+mn-ea"/>
                <a:cs typeface="+mn-cs"/>
              </a:rPr>
              <a:t>, and simultaneously </a:t>
            </a:r>
            <a:r>
              <a:rPr kumimoji="0" lang="en-US" sz="1000" b="1" i="0" u="none" strike="noStrike" kern="1200" cap="none" spc="0" normalizeH="0" baseline="0" noProof="0" dirty="0">
                <a:ln>
                  <a:noFill/>
                </a:ln>
                <a:effectLst/>
                <a:uLnTx/>
                <a:uFillTx/>
                <a:latin typeface="Open Sans"/>
                <a:ea typeface="+mn-ea"/>
                <a:cs typeface="+mn-cs"/>
              </a:rPr>
              <a:t>piloted the approach with three business segments</a:t>
            </a:r>
            <a:r>
              <a:rPr kumimoji="0" lang="en-US" sz="1000" b="0" i="0" u="none" strike="noStrike" kern="1200" cap="none" spc="0" normalizeH="0" baseline="0" noProof="0" dirty="0">
                <a:ln>
                  <a:noFill/>
                </a:ln>
                <a:effectLst/>
                <a:uLnTx/>
                <a:uFillTx/>
                <a:latin typeface="Open Sans"/>
                <a:ea typeface="+mn-ea"/>
                <a:cs typeface="+mn-cs"/>
              </a:rPr>
              <a:t>. The resulting playbook has since been used to successfully develop the innovation strategy.</a:t>
            </a:r>
          </a:p>
        </p:txBody>
      </p:sp>
      <p:cxnSp>
        <p:nvCxnSpPr>
          <p:cNvPr id="43" name="Straight Connector 42">
            <a:extLst>
              <a:ext uri="{FF2B5EF4-FFF2-40B4-BE49-F238E27FC236}">
                <a16:creationId xmlns:a16="http://schemas.microsoft.com/office/drawing/2014/main" id="{8C2370DF-B31B-4CFF-9CC5-3C767EB00BE3}"/>
              </a:ext>
            </a:extLst>
          </p:cNvPr>
          <p:cNvCxnSpPr/>
          <p:nvPr/>
        </p:nvCxnSpPr>
        <p:spPr>
          <a:xfrm>
            <a:off x="10044503" y="3109394"/>
            <a:ext cx="0" cy="2739453"/>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51ABC45E-F9A6-4F8F-8C69-49255053C69E}"/>
              </a:ext>
            </a:extLst>
          </p:cNvPr>
          <p:cNvSpPr/>
          <p:nvPr/>
        </p:nvSpPr>
        <p:spPr bwMode="gray">
          <a:xfrm>
            <a:off x="10039161" y="3032701"/>
            <a:ext cx="1860262" cy="569377"/>
          </a:xfrm>
          <a:prstGeom prst="rect">
            <a:avLst/>
          </a:prstGeom>
          <a:noFill/>
          <a:ln w="3810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1200" cap="none" spc="0" normalizeH="0" baseline="0" noProof="0" dirty="0">
                <a:ln>
                  <a:noFill/>
                </a:ln>
                <a:effectLst/>
                <a:uLnTx/>
                <a:uFillTx/>
                <a:latin typeface="Open Sans"/>
                <a:ea typeface="+mn-ea"/>
                <a:cs typeface="+mn-cs"/>
              </a:rPr>
              <a:t>White Space Innovation Group</a:t>
            </a:r>
          </a:p>
        </p:txBody>
      </p:sp>
      <p:sp>
        <p:nvSpPr>
          <p:cNvPr id="46" name="Rectangle 45">
            <a:extLst>
              <a:ext uri="{FF2B5EF4-FFF2-40B4-BE49-F238E27FC236}">
                <a16:creationId xmlns:a16="http://schemas.microsoft.com/office/drawing/2014/main" id="{BD214029-B845-4738-99E6-4CA0083F04C6}"/>
              </a:ext>
            </a:extLst>
          </p:cNvPr>
          <p:cNvSpPr/>
          <p:nvPr/>
        </p:nvSpPr>
        <p:spPr>
          <a:xfrm>
            <a:off x="9886461" y="3602078"/>
            <a:ext cx="2194560" cy="2246769"/>
          </a:xfrm>
          <a:prstGeom prst="rect">
            <a:avLst/>
          </a:prstGeom>
        </p:spPr>
        <p:txBody>
          <a:bodyPr>
            <a:spAutoFit/>
          </a:bodyPr>
          <a:lstStyle/>
          <a:p>
            <a:pPr marL="152400" marR="0" lvl="2" indent="0" algn="l" defTabSz="914400" rtl="0" eaLnBrk="1" fontAlgn="auto" latinLnBrk="0" hangingPunct="1">
              <a:lnSpc>
                <a:spcPct val="100000"/>
              </a:lnSpc>
              <a:spcBef>
                <a:spcPts val="0"/>
              </a:spcBef>
              <a:spcAft>
                <a:spcPts val="600"/>
              </a:spcAft>
              <a:buClrTx/>
              <a:buSzPct val="80000"/>
              <a:buFontTx/>
              <a:buNone/>
              <a:tabLst/>
              <a:defRPr/>
            </a:pPr>
            <a:r>
              <a:rPr kumimoji="0" lang="en-US" sz="1000" b="0" i="0" u="none" strike="noStrike" kern="1200" cap="none" spc="0" normalizeH="0" baseline="0" noProof="0" dirty="0">
                <a:ln>
                  <a:noFill/>
                </a:ln>
                <a:effectLst/>
                <a:uLnTx/>
                <a:uFillTx/>
                <a:latin typeface="Open Sans"/>
                <a:ea typeface="+mn-ea"/>
                <a:cs typeface="+mn-cs"/>
              </a:rPr>
              <a:t>They wanted to invest in and build disruptive new businesses to complement its core, which had experienced a stagnate growth rate.  Deloitte utilized a series of </a:t>
            </a:r>
            <a:r>
              <a:rPr kumimoji="0" lang="en-US" sz="1000" b="1" i="0" u="none" strike="noStrike" kern="1200" cap="none" spc="0" normalizeH="0" baseline="0" noProof="0" dirty="0">
                <a:ln>
                  <a:noFill/>
                </a:ln>
                <a:effectLst/>
                <a:uLnTx/>
                <a:uFillTx/>
                <a:latin typeface="Open Sans"/>
                <a:ea typeface="+mn-ea"/>
                <a:cs typeface="+mn-cs"/>
              </a:rPr>
              <a:t>executive team labs </a:t>
            </a:r>
            <a:r>
              <a:rPr kumimoji="0" lang="en-US" sz="1000" b="0" i="0" u="none" strike="noStrike" kern="1200" cap="none" spc="0" normalizeH="0" baseline="0" noProof="0" dirty="0">
                <a:ln>
                  <a:noFill/>
                </a:ln>
                <a:effectLst/>
                <a:uLnTx/>
                <a:uFillTx/>
                <a:latin typeface="Open Sans"/>
                <a:ea typeface="+mn-ea"/>
                <a:cs typeface="+mn-cs"/>
              </a:rPr>
              <a:t>and the expertise of Deloitte’s Center for the Edge to </a:t>
            </a:r>
            <a:r>
              <a:rPr kumimoji="0" lang="en-US" sz="1000" b="1" i="0" u="none" strike="noStrike" kern="1200" cap="none" spc="0" normalizeH="0" baseline="0" noProof="0" dirty="0">
                <a:ln>
                  <a:noFill/>
                </a:ln>
                <a:effectLst/>
                <a:uLnTx/>
                <a:uFillTx/>
                <a:latin typeface="Open Sans"/>
                <a:ea typeface="+mn-ea"/>
                <a:cs typeface="+mn-cs"/>
              </a:rPr>
              <a:t>explore new opportunity spaces</a:t>
            </a:r>
            <a:r>
              <a:rPr kumimoji="0" lang="en-US" sz="1000" b="0" i="0" u="none" strike="noStrike" kern="1200" cap="none" spc="0" normalizeH="0" baseline="0" noProof="0" dirty="0">
                <a:ln>
                  <a:noFill/>
                </a:ln>
                <a:effectLst/>
                <a:uLnTx/>
                <a:uFillTx/>
                <a:latin typeface="Open Sans"/>
                <a:ea typeface="+mn-ea"/>
                <a:cs typeface="+mn-cs"/>
              </a:rPr>
              <a:t>.  We aligned leaders on the need to create difference businesses and an </a:t>
            </a:r>
            <a:r>
              <a:rPr kumimoji="0" lang="en-US" sz="1000" b="1" i="0" u="none" strike="noStrike" kern="1200" cap="none" spc="0" normalizeH="0" baseline="0" noProof="0" dirty="0">
                <a:ln>
                  <a:noFill/>
                </a:ln>
                <a:effectLst/>
                <a:uLnTx/>
                <a:uFillTx/>
                <a:latin typeface="Open Sans"/>
                <a:ea typeface="+mn-ea"/>
                <a:cs typeface="+mn-cs"/>
              </a:rPr>
              <a:t>operating model </a:t>
            </a:r>
            <a:r>
              <a:rPr kumimoji="0" lang="en-US" sz="1000" b="0" i="0" u="none" strike="noStrike" kern="1200" cap="none" spc="0" normalizeH="0" baseline="0" noProof="0" dirty="0">
                <a:ln>
                  <a:noFill/>
                </a:ln>
                <a:effectLst/>
                <a:uLnTx/>
                <a:uFillTx/>
                <a:latin typeface="Open Sans"/>
                <a:ea typeface="+mn-ea"/>
                <a:cs typeface="+mn-cs"/>
              </a:rPr>
              <a:t>to pursue new business opportunities.</a:t>
            </a:r>
          </a:p>
        </p:txBody>
      </p:sp>
      <p:grpSp>
        <p:nvGrpSpPr>
          <p:cNvPr id="47" name="Group 46">
            <a:extLst>
              <a:ext uri="{FF2B5EF4-FFF2-40B4-BE49-F238E27FC236}">
                <a16:creationId xmlns:a16="http://schemas.microsoft.com/office/drawing/2014/main" id="{B5015335-15AE-4BD3-9315-27EEB8C30844}"/>
              </a:ext>
            </a:extLst>
          </p:cNvPr>
          <p:cNvGrpSpPr/>
          <p:nvPr/>
        </p:nvGrpSpPr>
        <p:grpSpPr>
          <a:xfrm>
            <a:off x="10170774" y="2060521"/>
            <a:ext cx="467295" cy="876721"/>
            <a:chOff x="10170774" y="1726225"/>
            <a:chExt cx="467295" cy="876721"/>
          </a:xfrm>
        </p:grpSpPr>
        <p:sp>
          <p:nvSpPr>
            <p:cNvPr id="48" name="Oval 47">
              <a:extLst>
                <a:ext uri="{FF2B5EF4-FFF2-40B4-BE49-F238E27FC236}">
                  <a16:creationId xmlns:a16="http://schemas.microsoft.com/office/drawing/2014/main" id="{FC1D3FD9-1BF0-46B2-A886-FC1818744FDB}"/>
                </a:ext>
              </a:extLst>
            </p:cNvPr>
            <p:cNvSpPr/>
            <p:nvPr/>
          </p:nvSpPr>
          <p:spPr>
            <a:xfrm>
              <a:off x="10170774" y="1726225"/>
              <a:ext cx="467295" cy="473151"/>
            </a:xfrm>
            <a:prstGeom prst="ellipse">
              <a:avLst/>
            </a:prstGeom>
            <a:solidFill>
              <a:schemeClr val="bg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F7F5F3"/>
                </a:solidFill>
                <a:effectLst/>
                <a:uLnTx/>
                <a:uFillTx/>
                <a:latin typeface="Open Sans"/>
                <a:ea typeface="+mn-ea"/>
                <a:cs typeface="+mn-cs"/>
              </a:endParaRPr>
            </a:p>
          </p:txBody>
        </p:sp>
        <p:sp>
          <p:nvSpPr>
            <p:cNvPr id="49" name="Isosceles Triangle 48">
              <a:extLst>
                <a:ext uri="{FF2B5EF4-FFF2-40B4-BE49-F238E27FC236}">
                  <a16:creationId xmlns:a16="http://schemas.microsoft.com/office/drawing/2014/main" id="{5FC1F98D-07F5-4276-A28B-3B49663EE686}"/>
                </a:ext>
              </a:extLst>
            </p:cNvPr>
            <p:cNvSpPr/>
            <p:nvPr/>
          </p:nvSpPr>
          <p:spPr>
            <a:xfrm flipV="1">
              <a:off x="10270429" y="2280087"/>
              <a:ext cx="308582" cy="322859"/>
            </a:xfrm>
            <a:prstGeom prst="triangl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Open Sans"/>
                <a:ea typeface="+mn-ea"/>
                <a:cs typeface="+mn-cs"/>
              </a:endParaRPr>
            </a:p>
          </p:txBody>
        </p:sp>
      </p:grpSp>
      <p:cxnSp>
        <p:nvCxnSpPr>
          <p:cNvPr id="50" name="Straight Connector 49">
            <a:extLst>
              <a:ext uri="{FF2B5EF4-FFF2-40B4-BE49-F238E27FC236}">
                <a16:creationId xmlns:a16="http://schemas.microsoft.com/office/drawing/2014/main" id="{BA46272B-8BBE-4911-A1F5-8BE70DE0E881}"/>
              </a:ext>
            </a:extLst>
          </p:cNvPr>
          <p:cNvCxnSpPr/>
          <p:nvPr/>
        </p:nvCxnSpPr>
        <p:spPr>
          <a:xfrm>
            <a:off x="7657977" y="1947794"/>
            <a:ext cx="310896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AB2D9FAE-9134-4276-9954-EB26474D3AC9}"/>
              </a:ext>
            </a:extLst>
          </p:cNvPr>
          <p:cNvCxnSpPr/>
          <p:nvPr/>
        </p:nvCxnSpPr>
        <p:spPr>
          <a:xfrm>
            <a:off x="2837767" y="1947794"/>
            <a:ext cx="310896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35082900"/>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 name="Object 69" hidden="1">
            <a:extLst>
              <a:ext uri="{FF2B5EF4-FFF2-40B4-BE49-F238E27FC236}">
                <a16:creationId xmlns:a16="http://schemas.microsoft.com/office/drawing/2014/main" id="{7AA8E79A-2095-4240-BACC-F1FFE2280B7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9380" name="think-cell Slide" r:id="rId6" imgW="415" imgH="416" progId="TCLayout.ActiveDocument.1">
                  <p:embed/>
                </p:oleObj>
              </mc:Choice>
              <mc:Fallback>
                <p:oleObj name="think-cell Slide" r:id="rId6" imgW="415" imgH="416" progId="TCLayout.ActiveDocument.1">
                  <p:embed/>
                  <p:pic>
                    <p:nvPicPr>
                      <p:cNvPr id="70" name="Object 69" hidden="1">
                        <a:extLst>
                          <a:ext uri="{FF2B5EF4-FFF2-40B4-BE49-F238E27FC236}">
                            <a16:creationId xmlns:a16="http://schemas.microsoft.com/office/drawing/2014/main" id="{7AA8E79A-2095-4240-BACC-F1FFE2280B7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9" name="Rectangle 68" hidden="1">
            <a:extLst>
              <a:ext uri="{FF2B5EF4-FFF2-40B4-BE49-F238E27FC236}">
                <a16:creationId xmlns:a16="http://schemas.microsoft.com/office/drawing/2014/main" id="{C8535288-14D8-4E70-92FF-FDACDC54BD7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1FE9DCC1-3598-4295-9350-5039648D1BF9}"/>
              </a:ext>
            </a:extLst>
          </p:cNvPr>
          <p:cNvSpPr>
            <a:spLocks noGrp="1"/>
          </p:cNvSpPr>
          <p:nvPr>
            <p:ph type="title"/>
          </p:nvPr>
        </p:nvSpPr>
        <p:spPr/>
        <p:txBody>
          <a:bodyPr/>
          <a:lstStyle/>
          <a:p>
            <a:r>
              <a:rPr lang="en-US" dirty="0"/>
              <a:t>Where we have been; where we are going</a:t>
            </a:r>
          </a:p>
        </p:txBody>
      </p:sp>
      <p:sp>
        <p:nvSpPr>
          <p:cNvPr id="3" name="Text Placeholder 2">
            <a:extLst>
              <a:ext uri="{FF2B5EF4-FFF2-40B4-BE49-F238E27FC236}">
                <a16:creationId xmlns:a16="http://schemas.microsoft.com/office/drawing/2014/main" id="{CEEA831E-B7E5-4C70-AE69-93FC89E84A61}"/>
              </a:ext>
            </a:extLst>
          </p:cNvPr>
          <p:cNvSpPr>
            <a:spLocks noGrp="1"/>
          </p:cNvSpPr>
          <p:nvPr>
            <p:ph type="body" sz="quarter" idx="14"/>
          </p:nvPr>
        </p:nvSpPr>
        <p:spPr/>
        <p:txBody>
          <a:bodyPr/>
          <a:lstStyle/>
          <a:p>
            <a:r>
              <a:rPr lang="en-US" dirty="0"/>
              <a:t>Subheader placeholder</a:t>
            </a:r>
          </a:p>
        </p:txBody>
      </p:sp>
      <p:sp>
        <p:nvSpPr>
          <p:cNvPr id="4" name="Text Placeholder 3">
            <a:extLst>
              <a:ext uri="{FF2B5EF4-FFF2-40B4-BE49-F238E27FC236}">
                <a16:creationId xmlns:a16="http://schemas.microsoft.com/office/drawing/2014/main" id="{05F982B8-63BF-4A1A-9940-DAA93091C8DB}"/>
              </a:ext>
            </a:extLst>
          </p:cNvPr>
          <p:cNvSpPr>
            <a:spLocks noGrp="1"/>
          </p:cNvSpPr>
          <p:nvPr>
            <p:ph type="body" sz="quarter" idx="15"/>
          </p:nvPr>
        </p:nvSpPr>
        <p:spPr/>
        <p:txBody>
          <a:bodyPr/>
          <a:lstStyle/>
          <a:p>
            <a:r>
              <a:rPr lang="en-US" dirty="0"/>
              <a:t>Plans, timelines and roadmaps </a:t>
            </a:r>
          </a:p>
        </p:txBody>
      </p:sp>
      <p:sp>
        <p:nvSpPr>
          <p:cNvPr id="5" name="TextBox 4">
            <a:extLst>
              <a:ext uri="{FF2B5EF4-FFF2-40B4-BE49-F238E27FC236}">
                <a16:creationId xmlns:a16="http://schemas.microsoft.com/office/drawing/2014/main" id="{80BD333A-04AF-4483-A9EA-197A9BA35A7E}"/>
              </a:ext>
            </a:extLst>
          </p:cNvPr>
          <p:cNvSpPr txBox="1"/>
          <p:nvPr/>
        </p:nvSpPr>
        <p:spPr>
          <a:xfrm>
            <a:off x="1423622" y="4351620"/>
            <a:ext cx="1133324" cy="328231"/>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2133" b="1" i="0" u="none" strike="noStrike" kern="1200" cap="none" spc="0" normalizeH="0" baseline="0" noProof="0" dirty="0">
                <a:ln>
                  <a:noFill/>
                </a:ln>
                <a:effectLst/>
                <a:uLnTx/>
                <a:uFillTx/>
                <a:latin typeface="Open Sans"/>
                <a:ea typeface="Microsoft YaHei"/>
                <a:cs typeface="+mn-cs"/>
              </a:rPr>
              <a:t>July 9-10</a:t>
            </a:r>
            <a:endParaRPr kumimoji="0" lang="en-US" sz="2133" b="0" i="0" u="none" strike="noStrike" kern="1200" cap="none" spc="0" normalizeH="0" baseline="0" noProof="0" dirty="0">
              <a:ln>
                <a:noFill/>
              </a:ln>
              <a:effectLst/>
              <a:uLnTx/>
              <a:uFillTx/>
              <a:latin typeface="Open Sans"/>
              <a:ea typeface="Microsoft YaHei"/>
              <a:cs typeface="+mn-cs"/>
            </a:endParaRPr>
          </a:p>
        </p:txBody>
      </p:sp>
      <p:grpSp>
        <p:nvGrpSpPr>
          <p:cNvPr id="6" name="Group 88">
            <a:extLst>
              <a:ext uri="{FF2B5EF4-FFF2-40B4-BE49-F238E27FC236}">
                <a16:creationId xmlns:a16="http://schemas.microsoft.com/office/drawing/2014/main" id="{4669640E-E558-4712-AEAA-1D90C65697FF}"/>
              </a:ext>
            </a:extLst>
          </p:cNvPr>
          <p:cNvGrpSpPr/>
          <p:nvPr/>
        </p:nvGrpSpPr>
        <p:grpSpPr>
          <a:xfrm>
            <a:off x="985944" y="4851922"/>
            <a:ext cx="2008675" cy="1110651"/>
            <a:chOff x="590510" y="661615"/>
            <a:chExt cx="1470132" cy="452698"/>
          </a:xfrm>
        </p:grpSpPr>
        <p:sp>
          <p:nvSpPr>
            <p:cNvPr id="7" name="TextBox 6">
              <a:extLst>
                <a:ext uri="{FF2B5EF4-FFF2-40B4-BE49-F238E27FC236}">
                  <a16:creationId xmlns:a16="http://schemas.microsoft.com/office/drawing/2014/main" id="{510D489D-A311-4279-8561-2FFA3E285EAC}"/>
                </a:ext>
              </a:extLst>
            </p:cNvPr>
            <p:cNvSpPr txBox="1"/>
            <p:nvPr/>
          </p:nvSpPr>
          <p:spPr>
            <a:xfrm>
              <a:off x="1081139" y="661615"/>
              <a:ext cx="588958" cy="10035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Open Sans"/>
                  <a:ea typeface="Microsoft YaHei"/>
                  <a:cs typeface="+mn-cs"/>
                </a:rPr>
                <a:t>Summit</a:t>
              </a:r>
            </a:p>
          </p:txBody>
        </p:sp>
        <p:sp>
          <p:nvSpPr>
            <p:cNvPr id="8" name="TextBox 7">
              <a:extLst>
                <a:ext uri="{FF2B5EF4-FFF2-40B4-BE49-F238E27FC236}">
                  <a16:creationId xmlns:a16="http://schemas.microsoft.com/office/drawing/2014/main" id="{1C1612FF-208B-4810-834F-848D75A1D02F}"/>
                </a:ext>
              </a:extLst>
            </p:cNvPr>
            <p:cNvSpPr txBox="1"/>
            <p:nvPr/>
          </p:nvSpPr>
          <p:spPr>
            <a:xfrm>
              <a:off x="590510" y="779887"/>
              <a:ext cx="1470132" cy="334426"/>
            </a:xfrm>
            <a:prstGeom prst="rect">
              <a:avLst/>
            </a:prstGeom>
            <a:noFill/>
          </p:spPr>
          <p:txBody>
            <a:bodyPr wrap="square" lIns="0" tIns="0" rIns="0" bIns="0" rtlCol="0" anchor="t">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1333" b="0" i="0" u="none" strike="noStrike" kern="1200" cap="none" spc="0" normalizeH="0" baseline="0" noProof="0" dirty="0">
                  <a:ln>
                    <a:noFill/>
                  </a:ln>
                  <a:effectLst/>
                  <a:uLnTx/>
                  <a:uFillTx/>
                  <a:latin typeface="Open Sans"/>
                  <a:ea typeface="Microsoft YaHei"/>
                  <a:cs typeface="+mn-cs"/>
                </a:rPr>
                <a:t>Kickoff up/downstream alignment, integration points and initial timelines</a:t>
              </a:r>
            </a:p>
          </p:txBody>
        </p:sp>
      </p:grpSp>
      <p:grpSp>
        <p:nvGrpSpPr>
          <p:cNvPr id="9" name="Group 8">
            <a:extLst>
              <a:ext uri="{FF2B5EF4-FFF2-40B4-BE49-F238E27FC236}">
                <a16:creationId xmlns:a16="http://schemas.microsoft.com/office/drawing/2014/main" id="{B2CE8B4D-8B62-4B39-9107-D82F07614C89}"/>
              </a:ext>
            </a:extLst>
          </p:cNvPr>
          <p:cNvGrpSpPr/>
          <p:nvPr/>
        </p:nvGrpSpPr>
        <p:grpSpPr>
          <a:xfrm>
            <a:off x="985944" y="2282930"/>
            <a:ext cx="2151288" cy="1950811"/>
            <a:chOff x="1026584" y="1710589"/>
            <a:chExt cx="2151288" cy="1950811"/>
          </a:xfrm>
        </p:grpSpPr>
        <p:grpSp>
          <p:nvGrpSpPr>
            <p:cNvPr id="10" name="Group 35">
              <a:extLst>
                <a:ext uri="{FF2B5EF4-FFF2-40B4-BE49-F238E27FC236}">
                  <a16:creationId xmlns:a16="http://schemas.microsoft.com/office/drawing/2014/main" id="{8D5B65A1-1B4E-4B69-836A-54BDBA2FF353}"/>
                </a:ext>
              </a:extLst>
            </p:cNvPr>
            <p:cNvGrpSpPr/>
            <p:nvPr/>
          </p:nvGrpSpPr>
          <p:grpSpPr>
            <a:xfrm>
              <a:off x="1026584" y="3200544"/>
              <a:ext cx="2151288" cy="460856"/>
              <a:chOff x="769938" y="2456536"/>
              <a:chExt cx="1613466" cy="345642"/>
            </a:xfrm>
          </p:grpSpPr>
          <p:sp>
            <p:nvSpPr>
              <p:cNvPr id="15" name="Notched Right Arrow 5">
                <a:extLst>
                  <a:ext uri="{FF2B5EF4-FFF2-40B4-BE49-F238E27FC236}">
                    <a16:creationId xmlns:a16="http://schemas.microsoft.com/office/drawing/2014/main" id="{C087DDC4-5A07-45E5-954D-D46BC0AD55EB}"/>
                  </a:ext>
                </a:extLst>
              </p:cNvPr>
              <p:cNvSpPr/>
              <p:nvPr/>
            </p:nvSpPr>
            <p:spPr>
              <a:xfrm>
                <a:off x="769938" y="2456536"/>
                <a:ext cx="1613466" cy="345642"/>
              </a:xfrm>
              <a:prstGeom prst="notchedRightArrow">
                <a:avLst>
                  <a:gd name="adj1" fmla="val 100000"/>
                  <a:gd name="adj2" fmla="val 9102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sp>
            <p:nvSpPr>
              <p:cNvPr id="16" name="Oval 15">
                <a:extLst>
                  <a:ext uri="{FF2B5EF4-FFF2-40B4-BE49-F238E27FC236}">
                    <a16:creationId xmlns:a16="http://schemas.microsoft.com/office/drawing/2014/main" id="{0E728F19-0D1F-41FA-A8BA-D82A52AA6E57}"/>
                  </a:ext>
                </a:extLst>
              </p:cNvPr>
              <p:cNvSpPr>
                <a:spLocks noChangeAspect="1"/>
              </p:cNvSpPr>
              <p:nvPr/>
            </p:nvSpPr>
            <p:spPr>
              <a:xfrm>
                <a:off x="1482001" y="2534688"/>
                <a:ext cx="189341" cy="189339"/>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7AC142">
                      <a:lumMod val="75000"/>
                    </a:srgbClr>
                  </a:solidFill>
                  <a:effectLst/>
                  <a:uLnTx/>
                  <a:uFillTx/>
                  <a:latin typeface="Open Sans"/>
                  <a:ea typeface="Microsoft YaHei"/>
                  <a:cs typeface="+mn-cs"/>
                </a:endParaRPr>
              </a:p>
            </p:txBody>
          </p:sp>
        </p:grpSp>
        <p:cxnSp>
          <p:nvCxnSpPr>
            <p:cNvPr id="11" name="Straight Connector 10">
              <a:extLst>
                <a:ext uri="{FF2B5EF4-FFF2-40B4-BE49-F238E27FC236}">
                  <a16:creationId xmlns:a16="http://schemas.microsoft.com/office/drawing/2014/main" id="{491D8391-842B-43D9-A1FE-975208535120}"/>
                </a:ext>
              </a:extLst>
            </p:cNvPr>
            <p:cNvCxnSpPr>
              <a:stCxn id="13" idx="7"/>
            </p:cNvCxnSpPr>
            <p:nvPr/>
          </p:nvCxnSpPr>
          <p:spPr>
            <a:xfrm flipH="1">
              <a:off x="2099288" y="2610141"/>
              <a:ext cx="1" cy="819864"/>
            </a:xfrm>
            <a:prstGeom prst="line">
              <a:avLst/>
            </a:prstGeom>
            <a:ln w="19050">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12" name="Group 68">
              <a:extLst>
                <a:ext uri="{FF2B5EF4-FFF2-40B4-BE49-F238E27FC236}">
                  <a16:creationId xmlns:a16="http://schemas.microsoft.com/office/drawing/2014/main" id="{ED2A135B-05F2-4ABF-A9ED-C25D0D0007FF}"/>
                </a:ext>
              </a:extLst>
            </p:cNvPr>
            <p:cNvGrpSpPr/>
            <p:nvPr/>
          </p:nvGrpSpPr>
          <p:grpSpPr>
            <a:xfrm>
              <a:off x="1726681" y="1710589"/>
              <a:ext cx="745215" cy="745215"/>
              <a:chOff x="1295010" y="1424373"/>
              <a:chExt cx="558911" cy="558911"/>
            </a:xfrm>
          </p:grpSpPr>
          <p:sp>
            <p:nvSpPr>
              <p:cNvPr id="13" name="Teardrop 12">
                <a:extLst>
                  <a:ext uri="{FF2B5EF4-FFF2-40B4-BE49-F238E27FC236}">
                    <a16:creationId xmlns:a16="http://schemas.microsoft.com/office/drawing/2014/main" id="{6FE893F6-1F36-40B7-9459-4E9CA459CF8C}"/>
                  </a:ext>
                </a:extLst>
              </p:cNvPr>
              <p:cNvSpPr/>
              <p:nvPr/>
            </p:nvSpPr>
            <p:spPr>
              <a:xfrm rot="8100000">
                <a:off x="1295010" y="1424373"/>
                <a:ext cx="558911" cy="558911"/>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sp>
            <p:nvSpPr>
              <p:cNvPr id="14" name="Freeform 116">
                <a:extLst>
                  <a:ext uri="{FF2B5EF4-FFF2-40B4-BE49-F238E27FC236}">
                    <a16:creationId xmlns:a16="http://schemas.microsoft.com/office/drawing/2014/main" id="{7DE5FEF3-C6DD-4C50-A000-59A46987954D}"/>
                  </a:ext>
                </a:extLst>
              </p:cNvPr>
              <p:cNvSpPr>
                <a:spLocks noEditPoints="1"/>
              </p:cNvSpPr>
              <p:nvPr/>
            </p:nvSpPr>
            <p:spPr bwMode="auto">
              <a:xfrm>
                <a:off x="1420657" y="1575878"/>
                <a:ext cx="307301" cy="247823"/>
              </a:xfrm>
              <a:custGeom>
                <a:avLst/>
                <a:gdLst/>
                <a:ahLst/>
                <a:cxnLst>
                  <a:cxn ang="0">
                    <a:pos x="55" y="27"/>
                  </a:cxn>
                  <a:cxn ang="0">
                    <a:pos x="54" y="27"/>
                  </a:cxn>
                  <a:cxn ang="0">
                    <a:pos x="54" y="27"/>
                  </a:cxn>
                  <a:cxn ang="0">
                    <a:pos x="53" y="27"/>
                  </a:cxn>
                  <a:cxn ang="0">
                    <a:pos x="28" y="6"/>
                  </a:cxn>
                  <a:cxn ang="0">
                    <a:pos x="4" y="27"/>
                  </a:cxn>
                  <a:cxn ang="0">
                    <a:pos x="3" y="27"/>
                  </a:cxn>
                  <a:cxn ang="0">
                    <a:pos x="2" y="27"/>
                  </a:cxn>
                  <a:cxn ang="0">
                    <a:pos x="0" y="24"/>
                  </a:cxn>
                  <a:cxn ang="0">
                    <a:pos x="0" y="23"/>
                  </a:cxn>
                  <a:cxn ang="0">
                    <a:pos x="26" y="1"/>
                  </a:cxn>
                  <a:cxn ang="0">
                    <a:pos x="31" y="1"/>
                  </a:cxn>
                  <a:cxn ang="0">
                    <a:pos x="40" y="8"/>
                  </a:cxn>
                  <a:cxn ang="0">
                    <a:pos x="40" y="1"/>
                  </a:cxn>
                  <a:cxn ang="0">
                    <a:pos x="41" y="0"/>
                  </a:cxn>
                  <a:cxn ang="0">
                    <a:pos x="48" y="0"/>
                  </a:cxn>
                  <a:cxn ang="0">
                    <a:pos x="49" y="1"/>
                  </a:cxn>
                  <a:cxn ang="0">
                    <a:pos x="49" y="16"/>
                  </a:cxn>
                  <a:cxn ang="0">
                    <a:pos x="57" y="23"/>
                  </a:cxn>
                  <a:cxn ang="0">
                    <a:pos x="57" y="24"/>
                  </a:cxn>
                  <a:cxn ang="0">
                    <a:pos x="55" y="27"/>
                  </a:cxn>
                  <a:cxn ang="0">
                    <a:pos x="49" y="44"/>
                  </a:cxn>
                  <a:cxn ang="0">
                    <a:pos x="47" y="46"/>
                  </a:cxn>
                  <a:cxn ang="0">
                    <a:pos x="33" y="46"/>
                  </a:cxn>
                  <a:cxn ang="0">
                    <a:pos x="33" y="32"/>
                  </a:cxn>
                  <a:cxn ang="0">
                    <a:pos x="24" y="32"/>
                  </a:cxn>
                  <a:cxn ang="0">
                    <a:pos x="24" y="46"/>
                  </a:cxn>
                  <a:cxn ang="0">
                    <a:pos x="10" y="46"/>
                  </a:cxn>
                  <a:cxn ang="0">
                    <a:pos x="8" y="44"/>
                  </a:cxn>
                  <a:cxn ang="0">
                    <a:pos x="8" y="27"/>
                  </a:cxn>
                  <a:cxn ang="0">
                    <a:pos x="8" y="26"/>
                  </a:cxn>
                  <a:cxn ang="0">
                    <a:pos x="28" y="9"/>
                  </a:cxn>
                  <a:cxn ang="0">
                    <a:pos x="49" y="26"/>
                  </a:cxn>
                  <a:cxn ang="0">
                    <a:pos x="49" y="27"/>
                  </a:cxn>
                  <a:cxn ang="0">
                    <a:pos x="49" y="44"/>
                  </a:cxn>
                </a:cxnLst>
                <a:rect l="0" t="0" r="r" b="b"/>
                <a:pathLst>
                  <a:path w="57" h="46">
                    <a:moveTo>
                      <a:pt x="55" y="27"/>
                    </a:moveTo>
                    <a:cubicBezTo>
                      <a:pt x="55" y="27"/>
                      <a:pt x="54" y="27"/>
                      <a:pt x="54" y="27"/>
                    </a:cubicBezTo>
                    <a:cubicBezTo>
                      <a:pt x="54" y="27"/>
                      <a:pt x="54" y="27"/>
                      <a:pt x="54" y="27"/>
                    </a:cubicBezTo>
                    <a:cubicBezTo>
                      <a:pt x="54" y="27"/>
                      <a:pt x="53" y="27"/>
                      <a:pt x="53" y="27"/>
                    </a:cubicBezTo>
                    <a:cubicBezTo>
                      <a:pt x="28" y="6"/>
                      <a:pt x="28" y="6"/>
                      <a:pt x="28" y="6"/>
                    </a:cubicBezTo>
                    <a:cubicBezTo>
                      <a:pt x="4" y="27"/>
                      <a:pt x="4" y="27"/>
                      <a:pt x="4" y="27"/>
                    </a:cubicBezTo>
                    <a:cubicBezTo>
                      <a:pt x="4" y="27"/>
                      <a:pt x="3" y="27"/>
                      <a:pt x="3" y="27"/>
                    </a:cubicBezTo>
                    <a:cubicBezTo>
                      <a:pt x="3" y="27"/>
                      <a:pt x="2" y="27"/>
                      <a:pt x="2" y="27"/>
                    </a:cubicBezTo>
                    <a:cubicBezTo>
                      <a:pt x="0" y="24"/>
                      <a:pt x="0" y="24"/>
                      <a:pt x="0" y="24"/>
                    </a:cubicBezTo>
                    <a:cubicBezTo>
                      <a:pt x="0" y="24"/>
                      <a:pt x="0" y="23"/>
                      <a:pt x="0" y="23"/>
                    </a:cubicBezTo>
                    <a:cubicBezTo>
                      <a:pt x="26" y="1"/>
                      <a:pt x="26" y="1"/>
                      <a:pt x="26" y="1"/>
                    </a:cubicBezTo>
                    <a:cubicBezTo>
                      <a:pt x="27" y="0"/>
                      <a:pt x="30" y="0"/>
                      <a:pt x="31" y="1"/>
                    </a:cubicBezTo>
                    <a:cubicBezTo>
                      <a:pt x="40" y="8"/>
                      <a:pt x="40" y="8"/>
                      <a:pt x="40" y="8"/>
                    </a:cubicBezTo>
                    <a:cubicBezTo>
                      <a:pt x="40" y="1"/>
                      <a:pt x="40" y="1"/>
                      <a:pt x="40" y="1"/>
                    </a:cubicBezTo>
                    <a:cubicBezTo>
                      <a:pt x="40" y="1"/>
                      <a:pt x="40" y="0"/>
                      <a:pt x="41" y="0"/>
                    </a:cubicBezTo>
                    <a:cubicBezTo>
                      <a:pt x="48" y="0"/>
                      <a:pt x="48" y="0"/>
                      <a:pt x="48" y="0"/>
                    </a:cubicBezTo>
                    <a:cubicBezTo>
                      <a:pt x="49" y="0"/>
                      <a:pt x="49" y="1"/>
                      <a:pt x="49" y="1"/>
                    </a:cubicBezTo>
                    <a:cubicBezTo>
                      <a:pt x="49" y="16"/>
                      <a:pt x="49" y="16"/>
                      <a:pt x="49" y="16"/>
                    </a:cubicBezTo>
                    <a:cubicBezTo>
                      <a:pt x="57" y="23"/>
                      <a:pt x="57" y="23"/>
                      <a:pt x="57" y="23"/>
                    </a:cubicBezTo>
                    <a:cubicBezTo>
                      <a:pt x="57" y="23"/>
                      <a:pt x="57" y="24"/>
                      <a:pt x="57" y="24"/>
                    </a:cubicBezTo>
                    <a:lnTo>
                      <a:pt x="55" y="27"/>
                    </a:lnTo>
                    <a:close/>
                    <a:moveTo>
                      <a:pt x="49" y="44"/>
                    </a:moveTo>
                    <a:cubicBezTo>
                      <a:pt x="49" y="45"/>
                      <a:pt x="48" y="46"/>
                      <a:pt x="47" y="46"/>
                    </a:cubicBezTo>
                    <a:cubicBezTo>
                      <a:pt x="33" y="46"/>
                      <a:pt x="33" y="46"/>
                      <a:pt x="33" y="46"/>
                    </a:cubicBezTo>
                    <a:cubicBezTo>
                      <a:pt x="33" y="32"/>
                      <a:pt x="33" y="32"/>
                      <a:pt x="33" y="32"/>
                    </a:cubicBezTo>
                    <a:cubicBezTo>
                      <a:pt x="24" y="32"/>
                      <a:pt x="24" y="32"/>
                      <a:pt x="24" y="32"/>
                    </a:cubicBezTo>
                    <a:cubicBezTo>
                      <a:pt x="24" y="46"/>
                      <a:pt x="24" y="46"/>
                      <a:pt x="24" y="46"/>
                    </a:cubicBezTo>
                    <a:cubicBezTo>
                      <a:pt x="10" y="46"/>
                      <a:pt x="10" y="46"/>
                      <a:pt x="10" y="46"/>
                    </a:cubicBezTo>
                    <a:cubicBezTo>
                      <a:pt x="9" y="46"/>
                      <a:pt x="8" y="45"/>
                      <a:pt x="8" y="44"/>
                    </a:cubicBezTo>
                    <a:cubicBezTo>
                      <a:pt x="8" y="27"/>
                      <a:pt x="8" y="27"/>
                      <a:pt x="8" y="27"/>
                    </a:cubicBezTo>
                    <a:cubicBezTo>
                      <a:pt x="8" y="27"/>
                      <a:pt x="8" y="26"/>
                      <a:pt x="8" y="26"/>
                    </a:cubicBezTo>
                    <a:cubicBezTo>
                      <a:pt x="28" y="9"/>
                      <a:pt x="28" y="9"/>
                      <a:pt x="28" y="9"/>
                    </a:cubicBezTo>
                    <a:cubicBezTo>
                      <a:pt x="49" y="26"/>
                      <a:pt x="49" y="26"/>
                      <a:pt x="49" y="26"/>
                    </a:cubicBezTo>
                    <a:cubicBezTo>
                      <a:pt x="49" y="26"/>
                      <a:pt x="49" y="27"/>
                      <a:pt x="49" y="27"/>
                    </a:cubicBezTo>
                    <a:lnTo>
                      <a:pt x="49" y="44"/>
                    </a:ln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icrosoft YaHei"/>
                  <a:cs typeface="+mn-cs"/>
                </a:endParaRPr>
              </a:p>
            </p:txBody>
          </p:sp>
        </p:grpSp>
      </p:grpSp>
      <p:sp>
        <p:nvSpPr>
          <p:cNvPr id="17" name="TextBox 16">
            <a:extLst>
              <a:ext uri="{FF2B5EF4-FFF2-40B4-BE49-F238E27FC236}">
                <a16:creationId xmlns:a16="http://schemas.microsoft.com/office/drawing/2014/main" id="{E60941E5-A582-4229-A87C-F597998CE259}"/>
              </a:ext>
            </a:extLst>
          </p:cNvPr>
          <p:cNvSpPr txBox="1"/>
          <p:nvPr/>
        </p:nvSpPr>
        <p:spPr>
          <a:xfrm>
            <a:off x="5623584" y="4351620"/>
            <a:ext cx="904095" cy="328231"/>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2133" b="1" i="0" u="none" strike="noStrike" kern="1200" cap="none" spc="0" normalizeH="0" baseline="0" noProof="0" dirty="0">
                <a:ln>
                  <a:noFill/>
                </a:ln>
                <a:effectLst/>
                <a:uLnTx/>
                <a:uFillTx/>
                <a:latin typeface="Open Sans"/>
                <a:ea typeface="Microsoft YaHei"/>
                <a:cs typeface="+mn-cs"/>
              </a:rPr>
              <a:t>Aug 14</a:t>
            </a:r>
            <a:endParaRPr kumimoji="0" lang="en-US" sz="2133" b="0" i="0" u="none" strike="noStrike" kern="1200" cap="none" spc="0" normalizeH="0" baseline="0" noProof="0" dirty="0">
              <a:ln>
                <a:noFill/>
              </a:ln>
              <a:effectLst/>
              <a:uLnTx/>
              <a:uFillTx/>
              <a:latin typeface="Open Sans"/>
              <a:ea typeface="Microsoft YaHei"/>
              <a:cs typeface="+mn-cs"/>
            </a:endParaRPr>
          </a:p>
        </p:txBody>
      </p:sp>
      <p:grpSp>
        <p:nvGrpSpPr>
          <p:cNvPr id="18" name="Group 88">
            <a:extLst>
              <a:ext uri="{FF2B5EF4-FFF2-40B4-BE49-F238E27FC236}">
                <a16:creationId xmlns:a16="http://schemas.microsoft.com/office/drawing/2014/main" id="{13CF6C09-F9DD-4F87-8586-811FBC561257}"/>
              </a:ext>
            </a:extLst>
          </p:cNvPr>
          <p:cNvGrpSpPr/>
          <p:nvPr/>
        </p:nvGrpSpPr>
        <p:grpSpPr>
          <a:xfrm>
            <a:off x="5056733" y="4851921"/>
            <a:ext cx="2037788" cy="1110649"/>
            <a:chOff x="569202" y="661615"/>
            <a:chExt cx="1491440" cy="452698"/>
          </a:xfrm>
        </p:grpSpPr>
        <p:sp>
          <p:nvSpPr>
            <p:cNvPr id="19" name="TextBox 18">
              <a:extLst>
                <a:ext uri="{FF2B5EF4-FFF2-40B4-BE49-F238E27FC236}">
                  <a16:creationId xmlns:a16="http://schemas.microsoft.com/office/drawing/2014/main" id="{291BE06D-11E6-46AB-8C04-689851E8B48A}"/>
                </a:ext>
              </a:extLst>
            </p:cNvPr>
            <p:cNvSpPr txBox="1"/>
            <p:nvPr/>
          </p:nvSpPr>
          <p:spPr>
            <a:xfrm>
              <a:off x="665878" y="661615"/>
              <a:ext cx="1298103" cy="10035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Open Sans"/>
                  <a:ea typeface="Microsoft YaHei"/>
                  <a:cs typeface="+mn-cs"/>
                </a:rPr>
                <a:t>Working Sessions</a:t>
              </a:r>
            </a:p>
          </p:txBody>
        </p:sp>
        <p:sp>
          <p:nvSpPr>
            <p:cNvPr id="20" name="TextBox 19">
              <a:extLst>
                <a:ext uri="{FF2B5EF4-FFF2-40B4-BE49-F238E27FC236}">
                  <a16:creationId xmlns:a16="http://schemas.microsoft.com/office/drawing/2014/main" id="{6FEB877B-61F2-4304-AF2F-64F4C46AE161}"/>
                </a:ext>
              </a:extLst>
            </p:cNvPr>
            <p:cNvSpPr txBox="1"/>
            <p:nvPr/>
          </p:nvSpPr>
          <p:spPr>
            <a:xfrm>
              <a:off x="569202" y="779887"/>
              <a:ext cx="1491440" cy="334426"/>
            </a:xfrm>
            <a:prstGeom prst="rect">
              <a:avLst/>
            </a:prstGeom>
            <a:noFill/>
          </p:spPr>
          <p:txBody>
            <a:bodyPr wrap="square" lIns="0" tIns="0" rIns="0" bIns="0" rtlCol="0" anchor="t">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1333" b="0" i="0" u="none" strike="noStrike" kern="1200" cap="none" spc="0" normalizeH="0" baseline="0" noProof="0" dirty="0">
                  <a:ln>
                    <a:noFill/>
                  </a:ln>
                  <a:effectLst/>
                  <a:uLnTx/>
                  <a:uFillTx/>
                  <a:latin typeface="Open Sans"/>
                  <a:ea typeface="Microsoft YaHei"/>
                  <a:cs typeface="+mn-cs"/>
                </a:rPr>
                <a:t>Begin series of working sessions with SMEs to align project plans for integration </a:t>
              </a:r>
            </a:p>
          </p:txBody>
        </p:sp>
      </p:grpSp>
      <p:grpSp>
        <p:nvGrpSpPr>
          <p:cNvPr id="21" name="Group 20">
            <a:extLst>
              <a:ext uri="{FF2B5EF4-FFF2-40B4-BE49-F238E27FC236}">
                <a16:creationId xmlns:a16="http://schemas.microsoft.com/office/drawing/2014/main" id="{67BC566F-58C8-4382-8772-7313A47809E5}"/>
              </a:ext>
            </a:extLst>
          </p:cNvPr>
          <p:cNvGrpSpPr/>
          <p:nvPr/>
        </p:nvGrpSpPr>
        <p:grpSpPr>
          <a:xfrm>
            <a:off x="5002499" y="2276579"/>
            <a:ext cx="2151288" cy="1957162"/>
            <a:chOff x="5002499" y="1704238"/>
            <a:chExt cx="2151288" cy="1957162"/>
          </a:xfrm>
        </p:grpSpPr>
        <p:grpSp>
          <p:nvGrpSpPr>
            <p:cNvPr id="22" name="Group 40">
              <a:extLst>
                <a:ext uri="{FF2B5EF4-FFF2-40B4-BE49-F238E27FC236}">
                  <a16:creationId xmlns:a16="http://schemas.microsoft.com/office/drawing/2014/main" id="{261808D7-E320-46B3-A8BC-C4386401113E}"/>
                </a:ext>
              </a:extLst>
            </p:cNvPr>
            <p:cNvGrpSpPr/>
            <p:nvPr/>
          </p:nvGrpSpPr>
          <p:grpSpPr>
            <a:xfrm>
              <a:off x="5002499" y="3200544"/>
              <a:ext cx="2151288" cy="460856"/>
              <a:chOff x="769938" y="2456536"/>
              <a:chExt cx="1613466" cy="345642"/>
            </a:xfrm>
          </p:grpSpPr>
          <p:sp>
            <p:nvSpPr>
              <p:cNvPr id="27" name="Notched Right Arrow 11">
                <a:extLst>
                  <a:ext uri="{FF2B5EF4-FFF2-40B4-BE49-F238E27FC236}">
                    <a16:creationId xmlns:a16="http://schemas.microsoft.com/office/drawing/2014/main" id="{2829A50F-029E-4F15-B215-365B161E35C9}"/>
                  </a:ext>
                </a:extLst>
              </p:cNvPr>
              <p:cNvSpPr/>
              <p:nvPr/>
            </p:nvSpPr>
            <p:spPr>
              <a:xfrm>
                <a:off x="769938" y="2456536"/>
                <a:ext cx="1613466" cy="345642"/>
              </a:xfrm>
              <a:prstGeom prst="notchedRightArrow">
                <a:avLst>
                  <a:gd name="adj1" fmla="val 100000"/>
                  <a:gd name="adj2" fmla="val 9102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sp>
            <p:nvSpPr>
              <p:cNvPr id="28" name="Oval 27">
                <a:extLst>
                  <a:ext uri="{FF2B5EF4-FFF2-40B4-BE49-F238E27FC236}">
                    <a16:creationId xmlns:a16="http://schemas.microsoft.com/office/drawing/2014/main" id="{B49DEBF8-DAA7-4F08-82F4-C86F053FCD23}"/>
                  </a:ext>
                </a:extLst>
              </p:cNvPr>
              <p:cNvSpPr>
                <a:spLocks noChangeAspect="1"/>
              </p:cNvSpPr>
              <p:nvPr/>
            </p:nvSpPr>
            <p:spPr>
              <a:xfrm>
                <a:off x="1482001" y="2534688"/>
                <a:ext cx="189341" cy="189339"/>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7AC142">
                      <a:lumMod val="75000"/>
                    </a:srgbClr>
                  </a:solidFill>
                  <a:effectLst/>
                  <a:uLnTx/>
                  <a:uFillTx/>
                  <a:latin typeface="Open Sans"/>
                  <a:ea typeface="Microsoft YaHei"/>
                  <a:cs typeface="+mn-cs"/>
                </a:endParaRPr>
              </a:p>
            </p:txBody>
          </p:sp>
        </p:grpSp>
        <p:cxnSp>
          <p:nvCxnSpPr>
            <p:cNvPr id="23" name="Straight Connector 22">
              <a:extLst>
                <a:ext uri="{FF2B5EF4-FFF2-40B4-BE49-F238E27FC236}">
                  <a16:creationId xmlns:a16="http://schemas.microsoft.com/office/drawing/2014/main" id="{656DE703-C00B-42CD-9B47-91C80512009D}"/>
                </a:ext>
              </a:extLst>
            </p:cNvPr>
            <p:cNvCxnSpPr>
              <a:stCxn id="25" idx="7"/>
            </p:cNvCxnSpPr>
            <p:nvPr/>
          </p:nvCxnSpPr>
          <p:spPr>
            <a:xfrm flipH="1">
              <a:off x="6078792" y="2603791"/>
              <a:ext cx="1" cy="819864"/>
            </a:xfrm>
            <a:prstGeom prst="line">
              <a:avLst/>
            </a:prstGeom>
            <a:ln w="19050">
              <a:solidFill>
                <a:schemeClr val="accent3"/>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24" name="Group 75">
              <a:extLst>
                <a:ext uri="{FF2B5EF4-FFF2-40B4-BE49-F238E27FC236}">
                  <a16:creationId xmlns:a16="http://schemas.microsoft.com/office/drawing/2014/main" id="{40BC652C-F8E1-40C3-A1CD-1B92908504AC}"/>
                </a:ext>
              </a:extLst>
            </p:cNvPr>
            <p:cNvGrpSpPr/>
            <p:nvPr/>
          </p:nvGrpSpPr>
          <p:grpSpPr>
            <a:xfrm>
              <a:off x="5706185" y="1704238"/>
              <a:ext cx="745215" cy="745215"/>
              <a:chOff x="4279638" y="1419610"/>
              <a:chExt cx="558911" cy="558911"/>
            </a:xfrm>
          </p:grpSpPr>
          <p:sp>
            <p:nvSpPr>
              <p:cNvPr id="25" name="Teardrop 24">
                <a:extLst>
                  <a:ext uri="{FF2B5EF4-FFF2-40B4-BE49-F238E27FC236}">
                    <a16:creationId xmlns:a16="http://schemas.microsoft.com/office/drawing/2014/main" id="{B3FF6FC7-3281-46BD-B861-38D2A3AE99F1}"/>
                  </a:ext>
                </a:extLst>
              </p:cNvPr>
              <p:cNvSpPr/>
              <p:nvPr/>
            </p:nvSpPr>
            <p:spPr>
              <a:xfrm rot="8100000">
                <a:off x="4279638" y="1419610"/>
                <a:ext cx="558911" cy="558911"/>
              </a:xfrm>
              <a:prstGeom prst="teardrop">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sp>
            <p:nvSpPr>
              <p:cNvPr id="26" name="Freeform 15">
                <a:extLst>
                  <a:ext uri="{FF2B5EF4-FFF2-40B4-BE49-F238E27FC236}">
                    <a16:creationId xmlns:a16="http://schemas.microsoft.com/office/drawing/2014/main" id="{5EC9909B-C528-4156-AB85-92D326AEACBE}"/>
                  </a:ext>
                </a:extLst>
              </p:cNvPr>
              <p:cNvSpPr>
                <a:spLocks noEditPoints="1"/>
              </p:cNvSpPr>
              <p:nvPr/>
            </p:nvSpPr>
            <p:spPr bwMode="auto">
              <a:xfrm>
                <a:off x="4433364" y="1598738"/>
                <a:ext cx="266700" cy="200025"/>
              </a:xfrm>
              <a:custGeom>
                <a:avLst/>
                <a:gdLst/>
                <a:ahLst/>
                <a:cxnLst>
                  <a:cxn ang="0">
                    <a:pos x="168" y="126"/>
                  </a:cxn>
                  <a:cxn ang="0">
                    <a:pos x="0" y="126"/>
                  </a:cxn>
                  <a:cxn ang="0">
                    <a:pos x="0" y="0"/>
                  </a:cxn>
                  <a:cxn ang="0">
                    <a:pos x="10" y="0"/>
                  </a:cxn>
                  <a:cxn ang="0">
                    <a:pos x="10" y="115"/>
                  </a:cxn>
                  <a:cxn ang="0">
                    <a:pos x="168" y="115"/>
                  </a:cxn>
                  <a:cxn ang="0">
                    <a:pos x="168" y="126"/>
                  </a:cxn>
                  <a:cxn ang="0">
                    <a:pos x="54" y="104"/>
                  </a:cxn>
                  <a:cxn ang="0">
                    <a:pos x="32" y="104"/>
                  </a:cxn>
                  <a:cxn ang="0">
                    <a:pos x="32" y="63"/>
                  </a:cxn>
                  <a:cxn ang="0">
                    <a:pos x="54" y="63"/>
                  </a:cxn>
                  <a:cxn ang="0">
                    <a:pos x="54" y="104"/>
                  </a:cxn>
                  <a:cxn ang="0">
                    <a:pos x="84" y="104"/>
                  </a:cxn>
                  <a:cxn ang="0">
                    <a:pos x="64" y="104"/>
                  </a:cxn>
                  <a:cxn ang="0">
                    <a:pos x="64" y="19"/>
                  </a:cxn>
                  <a:cxn ang="0">
                    <a:pos x="84" y="19"/>
                  </a:cxn>
                  <a:cxn ang="0">
                    <a:pos x="84" y="104"/>
                  </a:cxn>
                  <a:cxn ang="0">
                    <a:pos x="116" y="104"/>
                  </a:cxn>
                  <a:cxn ang="0">
                    <a:pos x="95" y="104"/>
                  </a:cxn>
                  <a:cxn ang="0">
                    <a:pos x="95" y="41"/>
                  </a:cxn>
                  <a:cxn ang="0">
                    <a:pos x="116" y="41"/>
                  </a:cxn>
                  <a:cxn ang="0">
                    <a:pos x="116" y="104"/>
                  </a:cxn>
                  <a:cxn ang="0">
                    <a:pos x="147" y="104"/>
                  </a:cxn>
                  <a:cxn ang="0">
                    <a:pos x="127" y="104"/>
                  </a:cxn>
                  <a:cxn ang="0">
                    <a:pos x="127" y="9"/>
                  </a:cxn>
                  <a:cxn ang="0">
                    <a:pos x="147" y="9"/>
                  </a:cxn>
                  <a:cxn ang="0">
                    <a:pos x="147" y="104"/>
                  </a:cxn>
                </a:cxnLst>
                <a:rect l="0" t="0" r="r" b="b"/>
                <a:pathLst>
                  <a:path w="168" h="126">
                    <a:moveTo>
                      <a:pt x="168" y="126"/>
                    </a:moveTo>
                    <a:lnTo>
                      <a:pt x="0" y="126"/>
                    </a:lnTo>
                    <a:lnTo>
                      <a:pt x="0" y="0"/>
                    </a:lnTo>
                    <a:lnTo>
                      <a:pt x="10" y="0"/>
                    </a:lnTo>
                    <a:lnTo>
                      <a:pt x="10" y="115"/>
                    </a:lnTo>
                    <a:lnTo>
                      <a:pt x="168" y="115"/>
                    </a:lnTo>
                    <a:lnTo>
                      <a:pt x="168" y="126"/>
                    </a:lnTo>
                    <a:close/>
                    <a:moveTo>
                      <a:pt x="54" y="104"/>
                    </a:moveTo>
                    <a:lnTo>
                      <a:pt x="32" y="104"/>
                    </a:lnTo>
                    <a:lnTo>
                      <a:pt x="32" y="63"/>
                    </a:lnTo>
                    <a:lnTo>
                      <a:pt x="54" y="63"/>
                    </a:lnTo>
                    <a:lnTo>
                      <a:pt x="54" y="104"/>
                    </a:lnTo>
                    <a:close/>
                    <a:moveTo>
                      <a:pt x="84" y="104"/>
                    </a:moveTo>
                    <a:lnTo>
                      <a:pt x="64" y="104"/>
                    </a:lnTo>
                    <a:lnTo>
                      <a:pt x="64" y="19"/>
                    </a:lnTo>
                    <a:lnTo>
                      <a:pt x="84" y="19"/>
                    </a:lnTo>
                    <a:lnTo>
                      <a:pt x="84" y="104"/>
                    </a:lnTo>
                    <a:close/>
                    <a:moveTo>
                      <a:pt x="116" y="104"/>
                    </a:moveTo>
                    <a:lnTo>
                      <a:pt x="95" y="104"/>
                    </a:lnTo>
                    <a:lnTo>
                      <a:pt x="95" y="41"/>
                    </a:lnTo>
                    <a:lnTo>
                      <a:pt x="116" y="41"/>
                    </a:lnTo>
                    <a:lnTo>
                      <a:pt x="116" y="104"/>
                    </a:lnTo>
                    <a:close/>
                    <a:moveTo>
                      <a:pt x="147" y="104"/>
                    </a:moveTo>
                    <a:lnTo>
                      <a:pt x="127" y="104"/>
                    </a:lnTo>
                    <a:lnTo>
                      <a:pt x="127" y="9"/>
                    </a:lnTo>
                    <a:lnTo>
                      <a:pt x="147" y="9"/>
                    </a:lnTo>
                    <a:lnTo>
                      <a:pt x="147" y="104"/>
                    </a:ln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icrosoft YaHei"/>
                  <a:cs typeface="+mn-cs"/>
                </a:endParaRPr>
              </a:p>
            </p:txBody>
          </p:sp>
        </p:grpSp>
      </p:grpSp>
      <p:grpSp>
        <p:nvGrpSpPr>
          <p:cNvPr id="29" name="Group 49">
            <a:extLst>
              <a:ext uri="{FF2B5EF4-FFF2-40B4-BE49-F238E27FC236}">
                <a16:creationId xmlns:a16="http://schemas.microsoft.com/office/drawing/2014/main" id="{E96B8241-77F2-474C-B5D9-43B60A94DBA9}"/>
              </a:ext>
            </a:extLst>
          </p:cNvPr>
          <p:cNvGrpSpPr/>
          <p:nvPr/>
        </p:nvGrpSpPr>
        <p:grpSpPr>
          <a:xfrm>
            <a:off x="8978415" y="3772885"/>
            <a:ext cx="2151288" cy="460856"/>
            <a:chOff x="769938" y="2456536"/>
            <a:chExt cx="1613466" cy="345642"/>
          </a:xfrm>
        </p:grpSpPr>
        <p:sp>
          <p:nvSpPr>
            <p:cNvPr id="30" name="Notched Right Arrow 17">
              <a:extLst>
                <a:ext uri="{FF2B5EF4-FFF2-40B4-BE49-F238E27FC236}">
                  <a16:creationId xmlns:a16="http://schemas.microsoft.com/office/drawing/2014/main" id="{3B438A78-8906-47C0-92D7-34D95283948E}"/>
                </a:ext>
              </a:extLst>
            </p:cNvPr>
            <p:cNvSpPr/>
            <p:nvPr/>
          </p:nvSpPr>
          <p:spPr>
            <a:xfrm>
              <a:off x="769938" y="2456536"/>
              <a:ext cx="1613466" cy="345642"/>
            </a:xfrm>
            <a:prstGeom prst="notchedRightArrow">
              <a:avLst>
                <a:gd name="adj1" fmla="val 100000"/>
                <a:gd name="adj2" fmla="val 9102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sp>
          <p:nvSpPr>
            <p:cNvPr id="31" name="Oval 30">
              <a:extLst>
                <a:ext uri="{FF2B5EF4-FFF2-40B4-BE49-F238E27FC236}">
                  <a16:creationId xmlns:a16="http://schemas.microsoft.com/office/drawing/2014/main" id="{0E73C223-8099-4299-89CD-079A6711ADFB}"/>
                </a:ext>
              </a:extLst>
            </p:cNvPr>
            <p:cNvSpPr>
              <a:spLocks noChangeAspect="1"/>
            </p:cNvSpPr>
            <p:nvPr/>
          </p:nvSpPr>
          <p:spPr>
            <a:xfrm>
              <a:off x="1482001" y="2534688"/>
              <a:ext cx="189341" cy="189339"/>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7AC142">
                    <a:lumMod val="75000"/>
                  </a:srgbClr>
                </a:solidFill>
                <a:effectLst/>
                <a:uLnTx/>
                <a:uFillTx/>
                <a:latin typeface="Open Sans"/>
                <a:ea typeface="Microsoft YaHei"/>
                <a:cs typeface="+mn-cs"/>
              </a:endParaRPr>
            </a:p>
          </p:txBody>
        </p:sp>
      </p:grpSp>
      <p:sp>
        <p:nvSpPr>
          <p:cNvPr id="32" name="TextBox 31">
            <a:extLst>
              <a:ext uri="{FF2B5EF4-FFF2-40B4-BE49-F238E27FC236}">
                <a16:creationId xmlns:a16="http://schemas.microsoft.com/office/drawing/2014/main" id="{1EA7660A-8268-4332-99D7-7CB5F240B895}"/>
              </a:ext>
            </a:extLst>
          </p:cNvPr>
          <p:cNvSpPr txBox="1"/>
          <p:nvPr/>
        </p:nvSpPr>
        <p:spPr>
          <a:xfrm>
            <a:off x="9637360" y="4351620"/>
            <a:ext cx="867225" cy="328231"/>
          </a:xfrm>
          <a:prstGeom prst="rect">
            <a:avLst/>
          </a:prstGeom>
          <a:noFill/>
          <a:ln>
            <a:noFill/>
          </a:ln>
        </p:spPr>
        <p:txBody>
          <a:bodyPr wrap="none" lIns="0" tIns="0" rIns="0" bIns="0" rtlCol="0" anchor="ctr">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2133" b="1" i="0" u="none" strike="noStrike" kern="1200" cap="none" spc="0" normalizeH="0" baseline="0" noProof="0" dirty="0">
                <a:ln>
                  <a:noFill/>
                </a:ln>
                <a:effectLst/>
                <a:uLnTx/>
                <a:uFillTx/>
                <a:latin typeface="Open Sans"/>
                <a:ea typeface="Microsoft YaHei"/>
                <a:cs typeface="+mn-cs"/>
              </a:rPr>
              <a:t>Sep 26</a:t>
            </a:r>
            <a:endParaRPr kumimoji="0" lang="en-US" sz="2133" b="0" i="0" u="none" strike="noStrike" kern="1200" cap="none" spc="0" normalizeH="0" baseline="0" noProof="0" dirty="0">
              <a:ln>
                <a:noFill/>
              </a:ln>
              <a:effectLst/>
              <a:uLnTx/>
              <a:uFillTx/>
              <a:latin typeface="Open Sans"/>
              <a:ea typeface="Microsoft YaHei"/>
              <a:cs typeface="+mn-cs"/>
            </a:endParaRPr>
          </a:p>
        </p:txBody>
      </p:sp>
      <p:cxnSp>
        <p:nvCxnSpPr>
          <p:cNvPr id="33" name="Straight Connector 32">
            <a:extLst>
              <a:ext uri="{FF2B5EF4-FFF2-40B4-BE49-F238E27FC236}">
                <a16:creationId xmlns:a16="http://schemas.microsoft.com/office/drawing/2014/main" id="{B10F257C-3F2C-49BE-A222-7253350B1D55}"/>
              </a:ext>
            </a:extLst>
          </p:cNvPr>
          <p:cNvCxnSpPr>
            <a:stCxn id="38" idx="7"/>
          </p:cNvCxnSpPr>
          <p:nvPr/>
        </p:nvCxnSpPr>
        <p:spPr>
          <a:xfrm flipH="1">
            <a:off x="10051248" y="3176132"/>
            <a:ext cx="1" cy="819864"/>
          </a:xfrm>
          <a:prstGeom prst="line">
            <a:avLst/>
          </a:prstGeom>
          <a:ln w="19050">
            <a:solidFill>
              <a:schemeClr val="accent5"/>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34" name="Group 88">
            <a:extLst>
              <a:ext uri="{FF2B5EF4-FFF2-40B4-BE49-F238E27FC236}">
                <a16:creationId xmlns:a16="http://schemas.microsoft.com/office/drawing/2014/main" id="{DAF29D92-636A-49F3-9BA5-3BB9838D2A42}"/>
              </a:ext>
            </a:extLst>
          </p:cNvPr>
          <p:cNvGrpSpPr/>
          <p:nvPr/>
        </p:nvGrpSpPr>
        <p:grpSpPr>
          <a:xfrm>
            <a:off x="9053336" y="4851921"/>
            <a:ext cx="2035276" cy="905530"/>
            <a:chOff x="571042" y="661615"/>
            <a:chExt cx="1489599" cy="369092"/>
          </a:xfrm>
        </p:grpSpPr>
        <p:sp>
          <p:nvSpPr>
            <p:cNvPr id="35" name="TextBox 34">
              <a:extLst>
                <a:ext uri="{FF2B5EF4-FFF2-40B4-BE49-F238E27FC236}">
                  <a16:creationId xmlns:a16="http://schemas.microsoft.com/office/drawing/2014/main" id="{F1ABA796-BB69-4E6B-978B-19FD57DED42E}"/>
                </a:ext>
              </a:extLst>
            </p:cNvPr>
            <p:cNvSpPr txBox="1"/>
            <p:nvPr/>
          </p:nvSpPr>
          <p:spPr>
            <a:xfrm>
              <a:off x="1061784" y="661615"/>
              <a:ext cx="627674" cy="10035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Open Sans"/>
                  <a:ea typeface="Microsoft YaHei"/>
                  <a:cs typeface="+mn-cs"/>
                </a:rPr>
                <a:t>SteerCo.</a:t>
              </a:r>
            </a:p>
          </p:txBody>
        </p:sp>
        <p:sp>
          <p:nvSpPr>
            <p:cNvPr id="36" name="TextBox 35">
              <a:extLst>
                <a:ext uri="{FF2B5EF4-FFF2-40B4-BE49-F238E27FC236}">
                  <a16:creationId xmlns:a16="http://schemas.microsoft.com/office/drawing/2014/main" id="{5FCF84D6-EEEB-4B40-AB89-15091FB0FCDC}"/>
                </a:ext>
              </a:extLst>
            </p:cNvPr>
            <p:cNvSpPr txBox="1"/>
            <p:nvPr/>
          </p:nvSpPr>
          <p:spPr>
            <a:xfrm>
              <a:off x="571042" y="779887"/>
              <a:ext cx="1489599" cy="250820"/>
            </a:xfrm>
            <a:prstGeom prst="rect">
              <a:avLst/>
            </a:prstGeom>
            <a:noFill/>
          </p:spPr>
          <p:txBody>
            <a:bodyPr wrap="square" lIns="0" tIns="0" rIns="0" bIns="0" rtlCol="0" anchor="t">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1333" b="0" i="0" u="none" strike="noStrike" kern="1200" cap="none" spc="0" normalizeH="0" baseline="0" noProof="0" dirty="0">
                  <a:ln>
                    <a:noFill/>
                  </a:ln>
                  <a:effectLst/>
                  <a:uLnTx/>
                  <a:uFillTx/>
                  <a:latin typeface="Open Sans"/>
                  <a:ea typeface="Microsoft YaHei"/>
                  <a:cs typeface="+mn-cs"/>
                </a:rPr>
                <a:t>Present progress of the workstream in SteerCo. meeting</a:t>
              </a:r>
            </a:p>
          </p:txBody>
        </p:sp>
      </p:grpSp>
      <p:grpSp>
        <p:nvGrpSpPr>
          <p:cNvPr id="37" name="Group 78">
            <a:extLst>
              <a:ext uri="{FF2B5EF4-FFF2-40B4-BE49-F238E27FC236}">
                <a16:creationId xmlns:a16="http://schemas.microsoft.com/office/drawing/2014/main" id="{1D35B1F2-CB97-4D61-AE5E-E6DC3F535F01}"/>
              </a:ext>
            </a:extLst>
          </p:cNvPr>
          <p:cNvGrpSpPr/>
          <p:nvPr/>
        </p:nvGrpSpPr>
        <p:grpSpPr>
          <a:xfrm>
            <a:off x="9678641" y="2276579"/>
            <a:ext cx="745215" cy="745215"/>
            <a:chOff x="7258980" y="1419610"/>
            <a:chExt cx="558911" cy="558911"/>
          </a:xfrm>
        </p:grpSpPr>
        <p:sp>
          <p:nvSpPr>
            <p:cNvPr id="38" name="Teardrop 37">
              <a:extLst>
                <a:ext uri="{FF2B5EF4-FFF2-40B4-BE49-F238E27FC236}">
                  <a16:creationId xmlns:a16="http://schemas.microsoft.com/office/drawing/2014/main" id="{6ABD4AAA-794C-434C-9498-7BC440ABA152}"/>
                </a:ext>
              </a:extLst>
            </p:cNvPr>
            <p:cNvSpPr/>
            <p:nvPr/>
          </p:nvSpPr>
          <p:spPr>
            <a:xfrm rot="8100000">
              <a:off x="7258980" y="1419610"/>
              <a:ext cx="558911" cy="558911"/>
            </a:xfrm>
            <a:prstGeom prst="teardrop">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sp>
          <p:nvSpPr>
            <p:cNvPr id="39" name="Freeform 152">
              <a:extLst>
                <a:ext uri="{FF2B5EF4-FFF2-40B4-BE49-F238E27FC236}">
                  <a16:creationId xmlns:a16="http://schemas.microsoft.com/office/drawing/2014/main" id="{56C7B179-02E8-4ACF-B5DF-A8A0F9B4C701}"/>
                </a:ext>
              </a:extLst>
            </p:cNvPr>
            <p:cNvSpPr>
              <a:spLocks noEditPoints="1"/>
            </p:cNvSpPr>
            <p:nvPr/>
          </p:nvSpPr>
          <p:spPr bwMode="auto">
            <a:xfrm>
              <a:off x="7397225" y="1605088"/>
              <a:ext cx="276028" cy="255087"/>
            </a:xfrm>
            <a:custGeom>
              <a:avLst/>
              <a:gdLst/>
              <a:ahLst/>
              <a:cxnLst>
                <a:cxn ang="0">
                  <a:pos x="67" y="20"/>
                </a:cxn>
                <a:cxn ang="0">
                  <a:pos x="46" y="36"/>
                </a:cxn>
                <a:cxn ang="0">
                  <a:pos x="42" y="40"/>
                </a:cxn>
                <a:cxn ang="0">
                  <a:pos x="39" y="47"/>
                </a:cxn>
                <a:cxn ang="0">
                  <a:pos x="44" y="52"/>
                </a:cxn>
                <a:cxn ang="0">
                  <a:pos x="52" y="58"/>
                </a:cxn>
                <a:cxn ang="0">
                  <a:pos x="52" y="61"/>
                </a:cxn>
                <a:cxn ang="0">
                  <a:pos x="51" y="62"/>
                </a:cxn>
                <a:cxn ang="0">
                  <a:pos x="17" y="62"/>
                </a:cxn>
                <a:cxn ang="0">
                  <a:pos x="16" y="61"/>
                </a:cxn>
                <a:cxn ang="0">
                  <a:pos x="16" y="58"/>
                </a:cxn>
                <a:cxn ang="0">
                  <a:pos x="24" y="52"/>
                </a:cxn>
                <a:cxn ang="0">
                  <a:pos x="29" y="47"/>
                </a:cxn>
                <a:cxn ang="0">
                  <a:pos x="26" y="40"/>
                </a:cxn>
                <a:cxn ang="0">
                  <a:pos x="22" y="36"/>
                </a:cxn>
                <a:cxn ang="0">
                  <a:pos x="0" y="20"/>
                </a:cxn>
                <a:cxn ang="0">
                  <a:pos x="0" y="15"/>
                </a:cxn>
                <a:cxn ang="0">
                  <a:pos x="4" y="11"/>
                </a:cxn>
                <a:cxn ang="0">
                  <a:pos x="16" y="11"/>
                </a:cxn>
                <a:cxn ang="0">
                  <a:pos x="16" y="7"/>
                </a:cxn>
                <a:cxn ang="0">
                  <a:pos x="22" y="0"/>
                </a:cxn>
                <a:cxn ang="0">
                  <a:pos x="45" y="0"/>
                </a:cxn>
                <a:cxn ang="0">
                  <a:pos x="52" y="7"/>
                </a:cxn>
                <a:cxn ang="0">
                  <a:pos x="52" y="11"/>
                </a:cxn>
                <a:cxn ang="0">
                  <a:pos x="63" y="11"/>
                </a:cxn>
                <a:cxn ang="0">
                  <a:pos x="67" y="15"/>
                </a:cxn>
                <a:cxn ang="0">
                  <a:pos x="67" y="20"/>
                </a:cxn>
                <a:cxn ang="0">
                  <a:pos x="16" y="16"/>
                </a:cxn>
                <a:cxn ang="0">
                  <a:pos x="6" y="16"/>
                </a:cxn>
                <a:cxn ang="0">
                  <a:pos x="6" y="20"/>
                </a:cxn>
                <a:cxn ang="0">
                  <a:pos x="19" y="31"/>
                </a:cxn>
                <a:cxn ang="0">
                  <a:pos x="16" y="16"/>
                </a:cxn>
                <a:cxn ang="0">
                  <a:pos x="62" y="16"/>
                </a:cxn>
                <a:cxn ang="0">
                  <a:pos x="52" y="16"/>
                </a:cxn>
                <a:cxn ang="0">
                  <a:pos x="49" y="31"/>
                </a:cxn>
                <a:cxn ang="0">
                  <a:pos x="62" y="20"/>
                </a:cxn>
                <a:cxn ang="0">
                  <a:pos x="62" y="16"/>
                </a:cxn>
              </a:cxnLst>
              <a:rect l="0" t="0" r="r" b="b"/>
              <a:pathLst>
                <a:path w="67" h="62">
                  <a:moveTo>
                    <a:pt x="67" y="20"/>
                  </a:moveTo>
                  <a:cubicBezTo>
                    <a:pt x="67" y="27"/>
                    <a:pt x="58" y="36"/>
                    <a:pt x="46" y="36"/>
                  </a:cubicBezTo>
                  <a:cubicBezTo>
                    <a:pt x="44" y="38"/>
                    <a:pt x="42" y="40"/>
                    <a:pt x="42" y="40"/>
                  </a:cubicBezTo>
                  <a:cubicBezTo>
                    <a:pt x="40" y="42"/>
                    <a:pt x="39" y="44"/>
                    <a:pt x="39" y="47"/>
                  </a:cubicBezTo>
                  <a:cubicBezTo>
                    <a:pt x="39" y="49"/>
                    <a:pt x="40" y="52"/>
                    <a:pt x="44" y="52"/>
                  </a:cubicBezTo>
                  <a:cubicBezTo>
                    <a:pt x="48" y="52"/>
                    <a:pt x="52" y="54"/>
                    <a:pt x="52" y="58"/>
                  </a:cubicBezTo>
                  <a:cubicBezTo>
                    <a:pt x="52" y="61"/>
                    <a:pt x="52" y="61"/>
                    <a:pt x="52" y="61"/>
                  </a:cubicBezTo>
                  <a:cubicBezTo>
                    <a:pt x="52" y="62"/>
                    <a:pt x="51" y="62"/>
                    <a:pt x="51" y="62"/>
                  </a:cubicBezTo>
                  <a:cubicBezTo>
                    <a:pt x="17" y="62"/>
                    <a:pt x="17" y="62"/>
                    <a:pt x="17" y="62"/>
                  </a:cubicBezTo>
                  <a:cubicBezTo>
                    <a:pt x="16" y="62"/>
                    <a:pt x="16" y="62"/>
                    <a:pt x="16" y="61"/>
                  </a:cubicBezTo>
                  <a:cubicBezTo>
                    <a:pt x="16" y="58"/>
                    <a:pt x="16" y="58"/>
                    <a:pt x="16" y="58"/>
                  </a:cubicBezTo>
                  <a:cubicBezTo>
                    <a:pt x="16" y="54"/>
                    <a:pt x="20" y="52"/>
                    <a:pt x="24" y="52"/>
                  </a:cubicBezTo>
                  <a:cubicBezTo>
                    <a:pt x="27" y="52"/>
                    <a:pt x="29" y="49"/>
                    <a:pt x="29" y="47"/>
                  </a:cubicBezTo>
                  <a:cubicBezTo>
                    <a:pt x="29" y="44"/>
                    <a:pt x="28" y="42"/>
                    <a:pt x="26" y="40"/>
                  </a:cubicBezTo>
                  <a:cubicBezTo>
                    <a:pt x="25" y="40"/>
                    <a:pt x="24" y="38"/>
                    <a:pt x="22" y="36"/>
                  </a:cubicBezTo>
                  <a:cubicBezTo>
                    <a:pt x="10" y="36"/>
                    <a:pt x="0" y="27"/>
                    <a:pt x="0" y="20"/>
                  </a:cubicBezTo>
                  <a:cubicBezTo>
                    <a:pt x="0" y="15"/>
                    <a:pt x="0" y="15"/>
                    <a:pt x="0" y="15"/>
                  </a:cubicBezTo>
                  <a:cubicBezTo>
                    <a:pt x="0" y="12"/>
                    <a:pt x="2" y="11"/>
                    <a:pt x="4" y="11"/>
                  </a:cubicBezTo>
                  <a:cubicBezTo>
                    <a:pt x="16" y="11"/>
                    <a:pt x="16" y="11"/>
                    <a:pt x="16" y="11"/>
                  </a:cubicBezTo>
                  <a:cubicBezTo>
                    <a:pt x="16" y="7"/>
                    <a:pt x="16" y="7"/>
                    <a:pt x="16" y="7"/>
                  </a:cubicBezTo>
                  <a:cubicBezTo>
                    <a:pt x="16" y="3"/>
                    <a:pt x="19" y="0"/>
                    <a:pt x="22" y="0"/>
                  </a:cubicBezTo>
                  <a:cubicBezTo>
                    <a:pt x="45" y="0"/>
                    <a:pt x="45" y="0"/>
                    <a:pt x="45" y="0"/>
                  </a:cubicBezTo>
                  <a:cubicBezTo>
                    <a:pt x="49" y="0"/>
                    <a:pt x="52" y="3"/>
                    <a:pt x="52" y="7"/>
                  </a:cubicBezTo>
                  <a:cubicBezTo>
                    <a:pt x="52" y="11"/>
                    <a:pt x="52" y="11"/>
                    <a:pt x="52" y="11"/>
                  </a:cubicBezTo>
                  <a:cubicBezTo>
                    <a:pt x="63" y="11"/>
                    <a:pt x="63" y="11"/>
                    <a:pt x="63" y="11"/>
                  </a:cubicBezTo>
                  <a:cubicBezTo>
                    <a:pt x="66" y="11"/>
                    <a:pt x="67" y="12"/>
                    <a:pt x="67" y="15"/>
                  </a:cubicBezTo>
                  <a:lnTo>
                    <a:pt x="67" y="20"/>
                  </a:lnTo>
                  <a:close/>
                  <a:moveTo>
                    <a:pt x="16" y="16"/>
                  </a:moveTo>
                  <a:cubicBezTo>
                    <a:pt x="6" y="16"/>
                    <a:pt x="6" y="16"/>
                    <a:pt x="6" y="16"/>
                  </a:cubicBezTo>
                  <a:cubicBezTo>
                    <a:pt x="6" y="20"/>
                    <a:pt x="6" y="20"/>
                    <a:pt x="6" y="20"/>
                  </a:cubicBezTo>
                  <a:cubicBezTo>
                    <a:pt x="6" y="24"/>
                    <a:pt x="11" y="29"/>
                    <a:pt x="19" y="31"/>
                  </a:cubicBezTo>
                  <a:cubicBezTo>
                    <a:pt x="17" y="27"/>
                    <a:pt x="16" y="22"/>
                    <a:pt x="16" y="16"/>
                  </a:cubicBezTo>
                  <a:close/>
                  <a:moveTo>
                    <a:pt x="62" y="16"/>
                  </a:moveTo>
                  <a:cubicBezTo>
                    <a:pt x="52" y="16"/>
                    <a:pt x="52" y="16"/>
                    <a:pt x="52" y="16"/>
                  </a:cubicBezTo>
                  <a:cubicBezTo>
                    <a:pt x="52" y="22"/>
                    <a:pt x="51" y="27"/>
                    <a:pt x="49" y="31"/>
                  </a:cubicBezTo>
                  <a:cubicBezTo>
                    <a:pt x="57" y="29"/>
                    <a:pt x="62" y="24"/>
                    <a:pt x="62" y="20"/>
                  </a:cubicBezTo>
                  <a:lnTo>
                    <a:pt x="62" y="16"/>
                  </a:ln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icrosoft YaHei"/>
                <a:cs typeface="+mn-cs"/>
              </a:endParaRPr>
            </a:p>
          </p:txBody>
        </p:sp>
      </p:grpSp>
      <p:sp>
        <p:nvSpPr>
          <p:cNvPr id="40" name="TextBox 39">
            <a:extLst>
              <a:ext uri="{FF2B5EF4-FFF2-40B4-BE49-F238E27FC236}">
                <a16:creationId xmlns:a16="http://schemas.microsoft.com/office/drawing/2014/main" id="{75D20D6E-7640-4658-9FAE-2F881BB763E3}"/>
              </a:ext>
            </a:extLst>
          </p:cNvPr>
          <p:cNvSpPr txBox="1"/>
          <p:nvPr/>
        </p:nvSpPr>
        <p:spPr>
          <a:xfrm>
            <a:off x="7619319" y="3380496"/>
            <a:ext cx="867225" cy="328231"/>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2133" b="1" i="0" u="none" strike="noStrike" kern="1200" cap="none" spc="0" normalizeH="0" baseline="0" noProof="0" dirty="0">
                <a:ln>
                  <a:noFill/>
                </a:ln>
                <a:effectLst/>
                <a:uLnTx/>
                <a:uFillTx/>
                <a:latin typeface="Open Sans"/>
                <a:ea typeface="Microsoft YaHei"/>
                <a:cs typeface="+mn-cs"/>
              </a:rPr>
              <a:t>Sep 19</a:t>
            </a:r>
            <a:endParaRPr kumimoji="0" lang="en-US" sz="2133" b="0" i="0" u="none" strike="noStrike" kern="1200" cap="none" spc="0" normalizeH="0" baseline="0" noProof="0" dirty="0">
              <a:ln>
                <a:noFill/>
              </a:ln>
              <a:effectLst/>
              <a:uLnTx/>
              <a:uFillTx/>
              <a:latin typeface="Open Sans"/>
              <a:ea typeface="Microsoft YaHei"/>
              <a:cs typeface="+mn-cs"/>
            </a:endParaRPr>
          </a:p>
        </p:txBody>
      </p:sp>
      <p:grpSp>
        <p:nvGrpSpPr>
          <p:cNvPr id="41" name="Group 88">
            <a:extLst>
              <a:ext uri="{FF2B5EF4-FFF2-40B4-BE49-F238E27FC236}">
                <a16:creationId xmlns:a16="http://schemas.microsoft.com/office/drawing/2014/main" id="{C3E7BD28-7D81-4630-9110-15DDD4AF0953}"/>
              </a:ext>
            </a:extLst>
          </p:cNvPr>
          <p:cNvGrpSpPr/>
          <p:nvPr/>
        </p:nvGrpSpPr>
        <p:grpSpPr>
          <a:xfrm>
            <a:off x="7058951" y="2046147"/>
            <a:ext cx="1987959" cy="905530"/>
            <a:chOff x="605672" y="661615"/>
            <a:chExt cx="1454970" cy="369092"/>
          </a:xfrm>
        </p:grpSpPr>
        <p:sp>
          <p:nvSpPr>
            <p:cNvPr id="42" name="TextBox 41">
              <a:extLst>
                <a:ext uri="{FF2B5EF4-FFF2-40B4-BE49-F238E27FC236}">
                  <a16:creationId xmlns:a16="http://schemas.microsoft.com/office/drawing/2014/main" id="{4071E174-0088-4D54-BDD1-9A18F84E7576}"/>
                </a:ext>
              </a:extLst>
            </p:cNvPr>
            <p:cNvSpPr txBox="1"/>
            <p:nvPr/>
          </p:nvSpPr>
          <p:spPr>
            <a:xfrm>
              <a:off x="701725" y="661615"/>
              <a:ext cx="1262906" cy="10035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Open Sans"/>
                  <a:ea typeface="Microsoft YaHei"/>
                  <a:cs typeface="+mn-cs"/>
                </a:rPr>
                <a:t>Kickoff Standups</a:t>
              </a:r>
            </a:p>
          </p:txBody>
        </p:sp>
        <p:sp>
          <p:nvSpPr>
            <p:cNvPr id="43" name="TextBox 42">
              <a:extLst>
                <a:ext uri="{FF2B5EF4-FFF2-40B4-BE49-F238E27FC236}">
                  <a16:creationId xmlns:a16="http://schemas.microsoft.com/office/drawing/2014/main" id="{009810EA-A707-48E9-B888-3DC17A959B88}"/>
                </a:ext>
              </a:extLst>
            </p:cNvPr>
            <p:cNvSpPr txBox="1"/>
            <p:nvPr/>
          </p:nvSpPr>
          <p:spPr>
            <a:xfrm>
              <a:off x="605672" y="779887"/>
              <a:ext cx="1454970" cy="250820"/>
            </a:xfrm>
            <a:prstGeom prst="rect">
              <a:avLst/>
            </a:prstGeom>
            <a:noFill/>
          </p:spPr>
          <p:txBody>
            <a:bodyPr wrap="square" lIns="0" tIns="0" rIns="0" bIns="0" rtlCol="0" anchor="t">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1333" b="0" i="0" u="none" strike="noStrike" kern="1200" cap="none" spc="0" normalizeH="0" baseline="0" noProof="0" dirty="0">
                  <a:ln>
                    <a:noFill/>
                  </a:ln>
                  <a:effectLst/>
                  <a:uLnTx/>
                  <a:uFillTx/>
                  <a:latin typeface="Open Sans"/>
                  <a:ea typeface="Microsoft YaHei"/>
                  <a:cs typeface="+mn-cs"/>
                </a:rPr>
                <a:t>Begin bi-weekly standups with workstream leads</a:t>
              </a:r>
            </a:p>
          </p:txBody>
        </p:sp>
      </p:grpSp>
      <p:grpSp>
        <p:nvGrpSpPr>
          <p:cNvPr id="44" name="Group 43">
            <a:extLst>
              <a:ext uri="{FF2B5EF4-FFF2-40B4-BE49-F238E27FC236}">
                <a16:creationId xmlns:a16="http://schemas.microsoft.com/office/drawing/2014/main" id="{6AECD288-C7A6-450C-B3B2-1AAED0D5D3E0}"/>
              </a:ext>
            </a:extLst>
          </p:cNvPr>
          <p:cNvGrpSpPr/>
          <p:nvPr/>
        </p:nvGrpSpPr>
        <p:grpSpPr>
          <a:xfrm>
            <a:off x="6990456" y="3772885"/>
            <a:ext cx="2151288" cy="1955229"/>
            <a:chOff x="6990456" y="3200544"/>
            <a:chExt cx="2151288" cy="1955229"/>
          </a:xfrm>
        </p:grpSpPr>
        <p:grpSp>
          <p:nvGrpSpPr>
            <p:cNvPr id="45" name="Group 43">
              <a:extLst>
                <a:ext uri="{FF2B5EF4-FFF2-40B4-BE49-F238E27FC236}">
                  <a16:creationId xmlns:a16="http://schemas.microsoft.com/office/drawing/2014/main" id="{E36DFCA1-212A-4FF4-82E3-049FBB57C921}"/>
                </a:ext>
              </a:extLst>
            </p:cNvPr>
            <p:cNvGrpSpPr/>
            <p:nvPr/>
          </p:nvGrpSpPr>
          <p:grpSpPr>
            <a:xfrm>
              <a:off x="6990456" y="3200544"/>
              <a:ext cx="2151288" cy="460856"/>
              <a:chOff x="769938" y="2456536"/>
              <a:chExt cx="1613466" cy="345642"/>
            </a:xfrm>
          </p:grpSpPr>
          <p:sp>
            <p:nvSpPr>
              <p:cNvPr id="50" name="Notched Right Arrow 14">
                <a:extLst>
                  <a:ext uri="{FF2B5EF4-FFF2-40B4-BE49-F238E27FC236}">
                    <a16:creationId xmlns:a16="http://schemas.microsoft.com/office/drawing/2014/main" id="{09202202-BFAF-4899-B810-FB5CBA0BEB2B}"/>
                  </a:ext>
                </a:extLst>
              </p:cNvPr>
              <p:cNvSpPr/>
              <p:nvPr/>
            </p:nvSpPr>
            <p:spPr>
              <a:xfrm>
                <a:off x="769938" y="2456536"/>
                <a:ext cx="1613466" cy="345642"/>
              </a:xfrm>
              <a:prstGeom prst="notchedRightArrow">
                <a:avLst>
                  <a:gd name="adj1" fmla="val 100000"/>
                  <a:gd name="adj2" fmla="val 9102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sp>
            <p:nvSpPr>
              <p:cNvPr id="51" name="Oval 50">
                <a:extLst>
                  <a:ext uri="{FF2B5EF4-FFF2-40B4-BE49-F238E27FC236}">
                    <a16:creationId xmlns:a16="http://schemas.microsoft.com/office/drawing/2014/main" id="{5278F916-1590-4E14-9FE0-ED21B11A74D5}"/>
                  </a:ext>
                </a:extLst>
              </p:cNvPr>
              <p:cNvSpPr>
                <a:spLocks noChangeAspect="1"/>
              </p:cNvSpPr>
              <p:nvPr/>
            </p:nvSpPr>
            <p:spPr>
              <a:xfrm>
                <a:off x="1482001" y="2534688"/>
                <a:ext cx="189341" cy="189339"/>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7AC142">
                      <a:lumMod val="75000"/>
                    </a:srgbClr>
                  </a:solidFill>
                  <a:effectLst/>
                  <a:uLnTx/>
                  <a:uFillTx/>
                  <a:latin typeface="Open Sans"/>
                  <a:ea typeface="Microsoft YaHei"/>
                  <a:cs typeface="+mn-cs"/>
                </a:endParaRPr>
              </a:p>
            </p:txBody>
          </p:sp>
        </p:grpSp>
        <p:cxnSp>
          <p:nvCxnSpPr>
            <p:cNvPr id="46" name="Straight Connector 45">
              <a:extLst>
                <a:ext uri="{FF2B5EF4-FFF2-40B4-BE49-F238E27FC236}">
                  <a16:creationId xmlns:a16="http://schemas.microsoft.com/office/drawing/2014/main" id="{422F2C34-518E-4880-89C0-407956B01C5B}"/>
                </a:ext>
              </a:extLst>
            </p:cNvPr>
            <p:cNvCxnSpPr>
              <a:stCxn id="48" idx="7"/>
            </p:cNvCxnSpPr>
            <p:nvPr/>
          </p:nvCxnSpPr>
          <p:spPr>
            <a:xfrm rot="10800000" flipH="1">
              <a:off x="8064481" y="3436355"/>
              <a:ext cx="1" cy="819864"/>
            </a:xfrm>
            <a:prstGeom prst="line">
              <a:avLst/>
            </a:prstGeom>
            <a:ln w="19050">
              <a:solidFill>
                <a:schemeClr val="accent4"/>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47" name="Group 76">
              <a:extLst>
                <a:ext uri="{FF2B5EF4-FFF2-40B4-BE49-F238E27FC236}">
                  <a16:creationId xmlns:a16="http://schemas.microsoft.com/office/drawing/2014/main" id="{5C3D3E14-819B-412E-B76A-1D22B05CE120}"/>
                </a:ext>
              </a:extLst>
            </p:cNvPr>
            <p:cNvGrpSpPr/>
            <p:nvPr/>
          </p:nvGrpSpPr>
          <p:grpSpPr>
            <a:xfrm>
              <a:off x="7691874" y="4410558"/>
              <a:ext cx="745215" cy="745215"/>
              <a:chOff x="5768905" y="3449350"/>
              <a:chExt cx="558911" cy="558911"/>
            </a:xfrm>
          </p:grpSpPr>
          <p:sp>
            <p:nvSpPr>
              <p:cNvPr id="48" name="Teardrop 47">
                <a:extLst>
                  <a:ext uri="{FF2B5EF4-FFF2-40B4-BE49-F238E27FC236}">
                    <a16:creationId xmlns:a16="http://schemas.microsoft.com/office/drawing/2014/main" id="{1332DFD0-F94D-4377-88F4-60C305D9D9EC}"/>
                  </a:ext>
                </a:extLst>
              </p:cNvPr>
              <p:cNvSpPr/>
              <p:nvPr/>
            </p:nvSpPr>
            <p:spPr>
              <a:xfrm rot="18900000">
                <a:off x="5768905" y="3449350"/>
                <a:ext cx="558911" cy="558911"/>
              </a:xfrm>
              <a:prstGeom prst="teardrop">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sp>
            <p:nvSpPr>
              <p:cNvPr id="49" name="Freeform 57">
                <a:extLst>
                  <a:ext uri="{FF2B5EF4-FFF2-40B4-BE49-F238E27FC236}">
                    <a16:creationId xmlns:a16="http://schemas.microsoft.com/office/drawing/2014/main" id="{530367C2-C6FC-4A67-98C1-9902AD52FE31}"/>
                  </a:ext>
                </a:extLst>
              </p:cNvPr>
              <p:cNvSpPr>
                <a:spLocks noEditPoints="1"/>
              </p:cNvSpPr>
              <p:nvPr/>
            </p:nvSpPr>
            <p:spPr bwMode="auto">
              <a:xfrm>
                <a:off x="5935988" y="3605501"/>
                <a:ext cx="231093" cy="231093"/>
              </a:xfrm>
              <a:custGeom>
                <a:avLst/>
                <a:gdLst/>
                <a:ahLst/>
                <a:cxnLst>
                  <a:cxn ang="0">
                    <a:pos x="55" y="31"/>
                  </a:cxn>
                  <a:cxn ang="0">
                    <a:pos x="54" y="33"/>
                  </a:cxn>
                  <a:cxn ang="0">
                    <a:pos x="47" y="34"/>
                  </a:cxn>
                  <a:cxn ang="0">
                    <a:pos x="46" y="37"/>
                  </a:cxn>
                  <a:cxn ang="0">
                    <a:pos x="49" y="42"/>
                  </a:cxn>
                  <a:cxn ang="0">
                    <a:pos x="50" y="43"/>
                  </a:cxn>
                  <a:cxn ang="0">
                    <a:pos x="49" y="44"/>
                  </a:cxn>
                  <a:cxn ang="0">
                    <a:pos x="43" y="50"/>
                  </a:cxn>
                  <a:cxn ang="0">
                    <a:pos x="42" y="50"/>
                  </a:cxn>
                  <a:cxn ang="0">
                    <a:pos x="37" y="46"/>
                  </a:cxn>
                  <a:cxn ang="0">
                    <a:pos x="33" y="47"/>
                  </a:cxn>
                  <a:cxn ang="0">
                    <a:pos x="32" y="54"/>
                  </a:cxn>
                  <a:cxn ang="0">
                    <a:pos x="31" y="55"/>
                  </a:cxn>
                  <a:cxn ang="0">
                    <a:pos x="23" y="55"/>
                  </a:cxn>
                  <a:cxn ang="0">
                    <a:pos x="22" y="54"/>
                  </a:cxn>
                  <a:cxn ang="0">
                    <a:pos x="21" y="47"/>
                  </a:cxn>
                  <a:cxn ang="0">
                    <a:pos x="18" y="46"/>
                  </a:cxn>
                  <a:cxn ang="0">
                    <a:pos x="13" y="50"/>
                  </a:cxn>
                  <a:cxn ang="0">
                    <a:pos x="12" y="50"/>
                  </a:cxn>
                  <a:cxn ang="0">
                    <a:pos x="11" y="50"/>
                  </a:cxn>
                  <a:cxn ang="0">
                    <a:pos x="5" y="44"/>
                  </a:cxn>
                  <a:cxn ang="0">
                    <a:pos x="5" y="43"/>
                  </a:cxn>
                  <a:cxn ang="0">
                    <a:pos x="5" y="42"/>
                  </a:cxn>
                  <a:cxn ang="0">
                    <a:pos x="9" y="37"/>
                  </a:cxn>
                  <a:cxn ang="0">
                    <a:pos x="7" y="33"/>
                  </a:cxn>
                  <a:cxn ang="0">
                    <a:pos x="1" y="33"/>
                  </a:cxn>
                  <a:cxn ang="0">
                    <a:pos x="0" y="31"/>
                  </a:cxn>
                  <a:cxn ang="0">
                    <a:pos x="0" y="23"/>
                  </a:cxn>
                  <a:cxn ang="0">
                    <a:pos x="1" y="22"/>
                  </a:cxn>
                  <a:cxn ang="0">
                    <a:pos x="7" y="21"/>
                  </a:cxn>
                  <a:cxn ang="0">
                    <a:pos x="9" y="18"/>
                  </a:cxn>
                  <a:cxn ang="0">
                    <a:pos x="5" y="13"/>
                  </a:cxn>
                  <a:cxn ang="0">
                    <a:pos x="5" y="12"/>
                  </a:cxn>
                  <a:cxn ang="0">
                    <a:pos x="5" y="11"/>
                  </a:cxn>
                  <a:cxn ang="0">
                    <a:pos x="12" y="5"/>
                  </a:cxn>
                  <a:cxn ang="0">
                    <a:pos x="13" y="5"/>
                  </a:cxn>
                  <a:cxn ang="0">
                    <a:pos x="18" y="9"/>
                  </a:cxn>
                  <a:cxn ang="0">
                    <a:pos x="21" y="8"/>
                  </a:cxn>
                  <a:cxn ang="0">
                    <a:pos x="22" y="1"/>
                  </a:cxn>
                  <a:cxn ang="0">
                    <a:pos x="23" y="0"/>
                  </a:cxn>
                  <a:cxn ang="0">
                    <a:pos x="31" y="0"/>
                  </a:cxn>
                  <a:cxn ang="0">
                    <a:pos x="32" y="1"/>
                  </a:cxn>
                  <a:cxn ang="0">
                    <a:pos x="33" y="8"/>
                  </a:cxn>
                  <a:cxn ang="0">
                    <a:pos x="37" y="9"/>
                  </a:cxn>
                  <a:cxn ang="0">
                    <a:pos x="42" y="5"/>
                  </a:cxn>
                  <a:cxn ang="0">
                    <a:pos x="43" y="5"/>
                  </a:cxn>
                  <a:cxn ang="0">
                    <a:pos x="43" y="5"/>
                  </a:cxn>
                  <a:cxn ang="0">
                    <a:pos x="49" y="11"/>
                  </a:cxn>
                  <a:cxn ang="0">
                    <a:pos x="50" y="12"/>
                  </a:cxn>
                  <a:cxn ang="0">
                    <a:pos x="49" y="13"/>
                  </a:cxn>
                  <a:cxn ang="0">
                    <a:pos x="46" y="18"/>
                  </a:cxn>
                  <a:cxn ang="0">
                    <a:pos x="47" y="21"/>
                  </a:cxn>
                  <a:cxn ang="0">
                    <a:pos x="54" y="22"/>
                  </a:cxn>
                  <a:cxn ang="0">
                    <a:pos x="55" y="23"/>
                  </a:cxn>
                  <a:cxn ang="0">
                    <a:pos x="55" y="31"/>
                  </a:cxn>
                  <a:cxn ang="0">
                    <a:pos x="27" y="18"/>
                  </a:cxn>
                  <a:cxn ang="0">
                    <a:pos x="18" y="27"/>
                  </a:cxn>
                  <a:cxn ang="0">
                    <a:pos x="27" y="36"/>
                  </a:cxn>
                  <a:cxn ang="0">
                    <a:pos x="36" y="27"/>
                  </a:cxn>
                  <a:cxn ang="0">
                    <a:pos x="27" y="18"/>
                  </a:cxn>
                </a:cxnLst>
                <a:rect l="0" t="0" r="r" b="b"/>
                <a:pathLst>
                  <a:path w="55" h="55">
                    <a:moveTo>
                      <a:pt x="55" y="31"/>
                    </a:moveTo>
                    <a:cubicBezTo>
                      <a:pt x="55" y="32"/>
                      <a:pt x="54" y="33"/>
                      <a:pt x="54" y="33"/>
                    </a:cubicBezTo>
                    <a:cubicBezTo>
                      <a:pt x="47" y="34"/>
                      <a:pt x="47" y="34"/>
                      <a:pt x="47" y="34"/>
                    </a:cubicBezTo>
                    <a:cubicBezTo>
                      <a:pt x="47" y="35"/>
                      <a:pt x="46" y="36"/>
                      <a:pt x="46" y="37"/>
                    </a:cubicBezTo>
                    <a:cubicBezTo>
                      <a:pt x="47" y="39"/>
                      <a:pt x="48" y="40"/>
                      <a:pt x="49" y="42"/>
                    </a:cubicBezTo>
                    <a:cubicBezTo>
                      <a:pt x="50" y="42"/>
                      <a:pt x="50" y="42"/>
                      <a:pt x="50" y="43"/>
                    </a:cubicBezTo>
                    <a:cubicBezTo>
                      <a:pt x="50" y="43"/>
                      <a:pt x="50" y="43"/>
                      <a:pt x="49" y="44"/>
                    </a:cubicBezTo>
                    <a:cubicBezTo>
                      <a:pt x="49" y="45"/>
                      <a:pt x="44" y="50"/>
                      <a:pt x="43" y="50"/>
                    </a:cubicBezTo>
                    <a:cubicBezTo>
                      <a:pt x="42" y="50"/>
                      <a:pt x="42" y="50"/>
                      <a:pt x="42" y="50"/>
                    </a:cubicBezTo>
                    <a:cubicBezTo>
                      <a:pt x="37" y="46"/>
                      <a:pt x="37" y="46"/>
                      <a:pt x="37" y="46"/>
                    </a:cubicBezTo>
                    <a:cubicBezTo>
                      <a:pt x="36" y="46"/>
                      <a:pt x="35" y="47"/>
                      <a:pt x="33" y="47"/>
                    </a:cubicBezTo>
                    <a:cubicBezTo>
                      <a:pt x="33" y="49"/>
                      <a:pt x="33" y="52"/>
                      <a:pt x="32" y="54"/>
                    </a:cubicBezTo>
                    <a:cubicBezTo>
                      <a:pt x="32" y="54"/>
                      <a:pt x="32" y="55"/>
                      <a:pt x="31" y="55"/>
                    </a:cubicBezTo>
                    <a:cubicBezTo>
                      <a:pt x="23" y="55"/>
                      <a:pt x="23" y="55"/>
                      <a:pt x="23" y="55"/>
                    </a:cubicBezTo>
                    <a:cubicBezTo>
                      <a:pt x="23" y="55"/>
                      <a:pt x="22" y="54"/>
                      <a:pt x="22" y="54"/>
                    </a:cubicBezTo>
                    <a:cubicBezTo>
                      <a:pt x="21" y="47"/>
                      <a:pt x="21" y="47"/>
                      <a:pt x="21" y="47"/>
                    </a:cubicBezTo>
                    <a:cubicBezTo>
                      <a:pt x="20" y="47"/>
                      <a:pt x="19" y="46"/>
                      <a:pt x="18" y="46"/>
                    </a:cubicBezTo>
                    <a:cubicBezTo>
                      <a:pt x="13" y="50"/>
                      <a:pt x="13" y="50"/>
                      <a:pt x="13" y="50"/>
                    </a:cubicBezTo>
                    <a:cubicBezTo>
                      <a:pt x="12" y="50"/>
                      <a:pt x="12" y="50"/>
                      <a:pt x="12" y="50"/>
                    </a:cubicBezTo>
                    <a:cubicBezTo>
                      <a:pt x="11" y="50"/>
                      <a:pt x="11" y="50"/>
                      <a:pt x="11" y="50"/>
                    </a:cubicBezTo>
                    <a:cubicBezTo>
                      <a:pt x="9" y="48"/>
                      <a:pt x="7" y="46"/>
                      <a:pt x="5" y="44"/>
                    </a:cubicBezTo>
                    <a:cubicBezTo>
                      <a:pt x="5" y="43"/>
                      <a:pt x="5" y="43"/>
                      <a:pt x="5" y="43"/>
                    </a:cubicBezTo>
                    <a:cubicBezTo>
                      <a:pt x="5" y="42"/>
                      <a:pt x="5" y="42"/>
                      <a:pt x="5" y="42"/>
                    </a:cubicBezTo>
                    <a:cubicBezTo>
                      <a:pt x="6" y="40"/>
                      <a:pt x="8" y="39"/>
                      <a:pt x="9" y="37"/>
                    </a:cubicBezTo>
                    <a:cubicBezTo>
                      <a:pt x="8" y="36"/>
                      <a:pt x="8" y="35"/>
                      <a:pt x="7" y="33"/>
                    </a:cubicBezTo>
                    <a:cubicBezTo>
                      <a:pt x="1" y="33"/>
                      <a:pt x="1" y="33"/>
                      <a:pt x="1" y="33"/>
                    </a:cubicBezTo>
                    <a:cubicBezTo>
                      <a:pt x="0" y="32"/>
                      <a:pt x="0" y="32"/>
                      <a:pt x="0" y="31"/>
                    </a:cubicBezTo>
                    <a:cubicBezTo>
                      <a:pt x="0" y="23"/>
                      <a:pt x="0" y="23"/>
                      <a:pt x="0" y="23"/>
                    </a:cubicBezTo>
                    <a:cubicBezTo>
                      <a:pt x="0" y="23"/>
                      <a:pt x="0" y="22"/>
                      <a:pt x="1" y="22"/>
                    </a:cubicBezTo>
                    <a:cubicBezTo>
                      <a:pt x="7" y="21"/>
                      <a:pt x="7" y="21"/>
                      <a:pt x="7" y="21"/>
                    </a:cubicBezTo>
                    <a:cubicBezTo>
                      <a:pt x="8" y="20"/>
                      <a:pt x="8" y="19"/>
                      <a:pt x="9" y="18"/>
                    </a:cubicBezTo>
                    <a:cubicBezTo>
                      <a:pt x="8" y="16"/>
                      <a:pt x="6" y="14"/>
                      <a:pt x="5" y="13"/>
                    </a:cubicBezTo>
                    <a:cubicBezTo>
                      <a:pt x="5" y="13"/>
                      <a:pt x="5" y="12"/>
                      <a:pt x="5" y="12"/>
                    </a:cubicBezTo>
                    <a:cubicBezTo>
                      <a:pt x="5" y="12"/>
                      <a:pt x="5" y="11"/>
                      <a:pt x="5" y="11"/>
                    </a:cubicBezTo>
                    <a:cubicBezTo>
                      <a:pt x="6" y="10"/>
                      <a:pt x="11" y="5"/>
                      <a:pt x="12" y="5"/>
                    </a:cubicBezTo>
                    <a:cubicBezTo>
                      <a:pt x="12" y="5"/>
                      <a:pt x="12" y="5"/>
                      <a:pt x="13" y="5"/>
                    </a:cubicBezTo>
                    <a:cubicBezTo>
                      <a:pt x="18" y="9"/>
                      <a:pt x="18" y="9"/>
                      <a:pt x="18" y="9"/>
                    </a:cubicBezTo>
                    <a:cubicBezTo>
                      <a:pt x="19" y="8"/>
                      <a:pt x="20" y="8"/>
                      <a:pt x="21" y="8"/>
                    </a:cubicBezTo>
                    <a:cubicBezTo>
                      <a:pt x="21" y="5"/>
                      <a:pt x="21" y="3"/>
                      <a:pt x="22" y="1"/>
                    </a:cubicBezTo>
                    <a:cubicBezTo>
                      <a:pt x="22" y="0"/>
                      <a:pt x="23" y="0"/>
                      <a:pt x="23" y="0"/>
                    </a:cubicBezTo>
                    <a:cubicBezTo>
                      <a:pt x="31" y="0"/>
                      <a:pt x="31" y="0"/>
                      <a:pt x="31" y="0"/>
                    </a:cubicBezTo>
                    <a:cubicBezTo>
                      <a:pt x="32" y="0"/>
                      <a:pt x="32" y="0"/>
                      <a:pt x="32" y="1"/>
                    </a:cubicBezTo>
                    <a:cubicBezTo>
                      <a:pt x="33" y="8"/>
                      <a:pt x="33" y="8"/>
                      <a:pt x="33" y="8"/>
                    </a:cubicBezTo>
                    <a:cubicBezTo>
                      <a:pt x="35" y="8"/>
                      <a:pt x="36" y="8"/>
                      <a:pt x="37" y="9"/>
                    </a:cubicBezTo>
                    <a:cubicBezTo>
                      <a:pt x="42" y="5"/>
                      <a:pt x="42" y="5"/>
                      <a:pt x="42" y="5"/>
                    </a:cubicBezTo>
                    <a:cubicBezTo>
                      <a:pt x="42" y="5"/>
                      <a:pt x="42" y="5"/>
                      <a:pt x="43" y="5"/>
                    </a:cubicBezTo>
                    <a:cubicBezTo>
                      <a:pt x="43" y="5"/>
                      <a:pt x="43" y="5"/>
                      <a:pt x="43" y="5"/>
                    </a:cubicBezTo>
                    <a:cubicBezTo>
                      <a:pt x="45" y="7"/>
                      <a:pt x="48" y="9"/>
                      <a:pt x="49" y="11"/>
                    </a:cubicBezTo>
                    <a:cubicBezTo>
                      <a:pt x="50" y="11"/>
                      <a:pt x="50" y="12"/>
                      <a:pt x="50" y="12"/>
                    </a:cubicBezTo>
                    <a:cubicBezTo>
                      <a:pt x="50" y="12"/>
                      <a:pt x="49" y="13"/>
                      <a:pt x="49" y="13"/>
                    </a:cubicBezTo>
                    <a:cubicBezTo>
                      <a:pt x="48" y="14"/>
                      <a:pt x="47" y="16"/>
                      <a:pt x="46" y="18"/>
                    </a:cubicBezTo>
                    <a:cubicBezTo>
                      <a:pt x="46" y="19"/>
                      <a:pt x="47" y="20"/>
                      <a:pt x="47" y="21"/>
                    </a:cubicBezTo>
                    <a:cubicBezTo>
                      <a:pt x="54" y="22"/>
                      <a:pt x="54" y="22"/>
                      <a:pt x="54" y="22"/>
                    </a:cubicBezTo>
                    <a:cubicBezTo>
                      <a:pt x="54" y="22"/>
                      <a:pt x="55" y="23"/>
                      <a:pt x="55" y="23"/>
                    </a:cubicBezTo>
                    <a:lnTo>
                      <a:pt x="55" y="31"/>
                    </a:lnTo>
                    <a:close/>
                    <a:moveTo>
                      <a:pt x="27" y="18"/>
                    </a:moveTo>
                    <a:cubicBezTo>
                      <a:pt x="22" y="18"/>
                      <a:pt x="18" y="22"/>
                      <a:pt x="18" y="27"/>
                    </a:cubicBezTo>
                    <a:cubicBezTo>
                      <a:pt x="18" y="32"/>
                      <a:pt x="22" y="36"/>
                      <a:pt x="27" y="36"/>
                    </a:cubicBezTo>
                    <a:cubicBezTo>
                      <a:pt x="32" y="36"/>
                      <a:pt x="36" y="32"/>
                      <a:pt x="36" y="27"/>
                    </a:cubicBezTo>
                    <a:cubicBezTo>
                      <a:pt x="36" y="22"/>
                      <a:pt x="32" y="18"/>
                      <a:pt x="27" y="18"/>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icrosoft YaHei"/>
                  <a:cs typeface="+mn-cs"/>
                </a:endParaRPr>
              </a:p>
            </p:txBody>
          </p:sp>
        </p:grpSp>
      </p:grpSp>
      <p:sp>
        <p:nvSpPr>
          <p:cNvPr id="52" name="TextBox 51">
            <a:extLst>
              <a:ext uri="{FF2B5EF4-FFF2-40B4-BE49-F238E27FC236}">
                <a16:creationId xmlns:a16="http://schemas.microsoft.com/office/drawing/2014/main" id="{37FA7799-4692-48C2-98D4-970276588A23}"/>
              </a:ext>
            </a:extLst>
          </p:cNvPr>
          <p:cNvSpPr txBox="1"/>
          <p:nvPr/>
        </p:nvSpPr>
        <p:spPr>
          <a:xfrm>
            <a:off x="3229302" y="3380496"/>
            <a:ext cx="1668727" cy="328231"/>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2133" b="1" i="0" u="none" strike="noStrike" kern="1200" cap="none" spc="0" normalizeH="0" baseline="0" noProof="0" dirty="0">
                <a:ln>
                  <a:noFill/>
                </a:ln>
                <a:effectLst/>
                <a:uLnTx/>
                <a:uFillTx/>
                <a:latin typeface="Open Sans"/>
                <a:ea typeface="Microsoft YaHei"/>
                <a:cs typeface="+mn-cs"/>
              </a:rPr>
              <a:t>Aug 8, 13, 20</a:t>
            </a:r>
            <a:endParaRPr kumimoji="0" lang="en-US" sz="2133" b="0" i="0" u="none" strike="noStrike" kern="1200" cap="none" spc="0" normalizeH="0" baseline="0" noProof="0" dirty="0">
              <a:ln>
                <a:noFill/>
              </a:ln>
              <a:effectLst/>
              <a:uLnTx/>
              <a:uFillTx/>
              <a:latin typeface="Open Sans"/>
              <a:ea typeface="Microsoft YaHei"/>
              <a:cs typeface="+mn-cs"/>
            </a:endParaRPr>
          </a:p>
        </p:txBody>
      </p:sp>
      <p:grpSp>
        <p:nvGrpSpPr>
          <p:cNvPr id="53" name="Group 88">
            <a:extLst>
              <a:ext uri="{FF2B5EF4-FFF2-40B4-BE49-F238E27FC236}">
                <a16:creationId xmlns:a16="http://schemas.microsoft.com/office/drawing/2014/main" id="{03F6E4B3-A9FF-4FE9-AD11-F962B92BF3A3}"/>
              </a:ext>
            </a:extLst>
          </p:cNvPr>
          <p:cNvGrpSpPr/>
          <p:nvPr/>
        </p:nvGrpSpPr>
        <p:grpSpPr>
          <a:xfrm>
            <a:off x="3070939" y="1969339"/>
            <a:ext cx="1985444" cy="1315770"/>
            <a:chOff x="607512" y="661615"/>
            <a:chExt cx="1453130" cy="536304"/>
          </a:xfrm>
        </p:grpSpPr>
        <p:sp>
          <p:nvSpPr>
            <p:cNvPr id="54" name="TextBox 53">
              <a:extLst>
                <a:ext uri="{FF2B5EF4-FFF2-40B4-BE49-F238E27FC236}">
                  <a16:creationId xmlns:a16="http://schemas.microsoft.com/office/drawing/2014/main" id="{78DEB511-CECB-4CF4-B1A4-F35F0953E7C6}"/>
                </a:ext>
              </a:extLst>
            </p:cNvPr>
            <p:cNvSpPr txBox="1"/>
            <p:nvPr/>
          </p:nvSpPr>
          <p:spPr>
            <a:xfrm>
              <a:off x="997841" y="661615"/>
              <a:ext cx="755557" cy="10035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Open Sans"/>
                  <a:ea typeface="Microsoft YaHei"/>
                  <a:cs typeface="+mn-cs"/>
                </a:rPr>
                <a:t>Deep Dive</a:t>
              </a:r>
            </a:p>
          </p:txBody>
        </p:sp>
        <p:sp>
          <p:nvSpPr>
            <p:cNvPr id="55" name="TextBox 54">
              <a:extLst>
                <a:ext uri="{FF2B5EF4-FFF2-40B4-BE49-F238E27FC236}">
                  <a16:creationId xmlns:a16="http://schemas.microsoft.com/office/drawing/2014/main" id="{97C8F2AA-BF14-4144-A9E8-F00B9C084A54}"/>
                </a:ext>
              </a:extLst>
            </p:cNvPr>
            <p:cNvSpPr txBox="1"/>
            <p:nvPr/>
          </p:nvSpPr>
          <p:spPr>
            <a:xfrm>
              <a:off x="607512" y="779887"/>
              <a:ext cx="1453130" cy="418032"/>
            </a:xfrm>
            <a:prstGeom prst="rect">
              <a:avLst/>
            </a:prstGeom>
            <a:noFill/>
          </p:spPr>
          <p:txBody>
            <a:bodyPr wrap="square" lIns="0" tIns="0" rIns="0" bIns="0" rtlCol="0" anchor="t">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1333" b="0" i="0" u="none" strike="noStrike" kern="1200" cap="none" spc="0" normalizeH="0" baseline="0" noProof="0" dirty="0">
                  <a:ln>
                    <a:noFill/>
                  </a:ln>
                  <a:effectLst/>
                  <a:uLnTx/>
                  <a:uFillTx/>
                  <a:latin typeface="Open Sans"/>
                  <a:ea typeface="Microsoft YaHei"/>
                  <a:cs typeface="+mn-cs"/>
                </a:rPr>
                <a:t>Host two hour sessions with SMEs of the up/downstream systems on the architecture and model</a:t>
              </a:r>
            </a:p>
          </p:txBody>
        </p:sp>
      </p:grpSp>
      <p:grpSp>
        <p:nvGrpSpPr>
          <p:cNvPr id="56" name="Group 55">
            <a:extLst>
              <a:ext uri="{FF2B5EF4-FFF2-40B4-BE49-F238E27FC236}">
                <a16:creationId xmlns:a16="http://schemas.microsoft.com/office/drawing/2014/main" id="{A73E751A-5219-490F-B6F3-A41F17133DD6}"/>
              </a:ext>
            </a:extLst>
          </p:cNvPr>
          <p:cNvGrpSpPr/>
          <p:nvPr/>
        </p:nvGrpSpPr>
        <p:grpSpPr>
          <a:xfrm>
            <a:off x="3014541" y="3772885"/>
            <a:ext cx="2151288" cy="1955229"/>
            <a:chOff x="3014541" y="3200544"/>
            <a:chExt cx="2151288" cy="1955229"/>
          </a:xfrm>
        </p:grpSpPr>
        <p:grpSp>
          <p:nvGrpSpPr>
            <p:cNvPr id="57" name="Group 36">
              <a:extLst>
                <a:ext uri="{FF2B5EF4-FFF2-40B4-BE49-F238E27FC236}">
                  <a16:creationId xmlns:a16="http://schemas.microsoft.com/office/drawing/2014/main" id="{2179FA16-F7A3-4F89-8201-AF4AD589BDE0}"/>
                </a:ext>
              </a:extLst>
            </p:cNvPr>
            <p:cNvGrpSpPr/>
            <p:nvPr/>
          </p:nvGrpSpPr>
          <p:grpSpPr>
            <a:xfrm>
              <a:off x="3014541" y="3200544"/>
              <a:ext cx="2151288" cy="460856"/>
              <a:chOff x="769938" y="2456536"/>
              <a:chExt cx="1613466" cy="345642"/>
            </a:xfrm>
          </p:grpSpPr>
          <p:sp>
            <p:nvSpPr>
              <p:cNvPr id="62" name="Notched Right Arrow 8">
                <a:extLst>
                  <a:ext uri="{FF2B5EF4-FFF2-40B4-BE49-F238E27FC236}">
                    <a16:creationId xmlns:a16="http://schemas.microsoft.com/office/drawing/2014/main" id="{D1B7B6CE-7738-4E75-B000-CAB704CB2BD3}"/>
                  </a:ext>
                </a:extLst>
              </p:cNvPr>
              <p:cNvSpPr/>
              <p:nvPr/>
            </p:nvSpPr>
            <p:spPr>
              <a:xfrm>
                <a:off x="769938" y="2456536"/>
                <a:ext cx="1613466" cy="345642"/>
              </a:xfrm>
              <a:prstGeom prst="notchedRightArrow">
                <a:avLst>
                  <a:gd name="adj1" fmla="val 100000"/>
                  <a:gd name="adj2" fmla="val 9102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sp>
            <p:nvSpPr>
              <p:cNvPr id="63" name="Oval 62">
                <a:extLst>
                  <a:ext uri="{FF2B5EF4-FFF2-40B4-BE49-F238E27FC236}">
                    <a16:creationId xmlns:a16="http://schemas.microsoft.com/office/drawing/2014/main" id="{473D541B-85C2-4D25-B0CD-56DC4F54DAE1}"/>
                  </a:ext>
                </a:extLst>
              </p:cNvPr>
              <p:cNvSpPr>
                <a:spLocks noChangeAspect="1"/>
              </p:cNvSpPr>
              <p:nvPr/>
            </p:nvSpPr>
            <p:spPr>
              <a:xfrm>
                <a:off x="1482001" y="2534688"/>
                <a:ext cx="189341" cy="189339"/>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7AC142">
                      <a:lumMod val="75000"/>
                    </a:srgbClr>
                  </a:solidFill>
                  <a:effectLst/>
                  <a:uLnTx/>
                  <a:uFillTx/>
                  <a:latin typeface="Open Sans"/>
                  <a:ea typeface="Microsoft YaHei"/>
                  <a:cs typeface="+mn-cs"/>
                </a:endParaRPr>
              </a:p>
            </p:txBody>
          </p:sp>
        </p:grpSp>
        <p:cxnSp>
          <p:nvCxnSpPr>
            <p:cNvPr id="58" name="Straight Connector 57">
              <a:extLst>
                <a:ext uri="{FF2B5EF4-FFF2-40B4-BE49-F238E27FC236}">
                  <a16:creationId xmlns:a16="http://schemas.microsoft.com/office/drawing/2014/main" id="{0A211FDB-E4CB-4870-BFF7-8FD267CE8AFD}"/>
                </a:ext>
              </a:extLst>
            </p:cNvPr>
            <p:cNvCxnSpPr>
              <a:stCxn id="60" idx="7"/>
            </p:cNvCxnSpPr>
            <p:nvPr/>
          </p:nvCxnSpPr>
          <p:spPr>
            <a:xfrm flipV="1">
              <a:off x="4088247" y="3436355"/>
              <a:ext cx="0" cy="819864"/>
            </a:xfrm>
            <a:prstGeom prst="line">
              <a:avLst/>
            </a:prstGeom>
            <a:ln w="19050">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59" name="Group 72">
              <a:extLst>
                <a:ext uri="{FF2B5EF4-FFF2-40B4-BE49-F238E27FC236}">
                  <a16:creationId xmlns:a16="http://schemas.microsoft.com/office/drawing/2014/main" id="{7024C9AD-B4FE-40C3-BC63-5A544E85768A}"/>
                </a:ext>
              </a:extLst>
            </p:cNvPr>
            <p:cNvGrpSpPr/>
            <p:nvPr/>
          </p:nvGrpSpPr>
          <p:grpSpPr>
            <a:xfrm>
              <a:off x="3715639" y="4410558"/>
              <a:ext cx="745215" cy="745215"/>
              <a:chOff x="2786729" y="3449350"/>
              <a:chExt cx="558911" cy="558911"/>
            </a:xfrm>
          </p:grpSpPr>
          <p:sp>
            <p:nvSpPr>
              <p:cNvPr id="60" name="Teardrop 59">
                <a:extLst>
                  <a:ext uri="{FF2B5EF4-FFF2-40B4-BE49-F238E27FC236}">
                    <a16:creationId xmlns:a16="http://schemas.microsoft.com/office/drawing/2014/main" id="{F8837951-F39A-4017-BF3A-DDD419F4E555}"/>
                  </a:ext>
                </a:extLst>
              </p:cNvPr>
              <p:cNvSpPr/>
              <p:nvPr/>
            </p:nvSpPr>
            <p:spPr>
              <a:xfrm rot="18900000">
                <a:off x="2786729" y="3449350"/>
                <a:ext cx="558911" cy="558911"/>
              </a:xfrm>
              <a:prstGeom prst="teardrop">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sp>
            <p:nvSpPr>
              <p:cNvPr id="61" name="Freeform 105">
                <a:extLst>
                  <a:ext uri="{FF2B5EF4-FFF2-40B4-BE49-F238E27FC236}">
                    <a16:creationId xmlns:a16="http://schemas.microsoft.com/office/drawing/2014/main" id="{4CB00B7A-3ACB-4E10-8953-EF50AFE8E3AD}"/>
                  </a:ext>
                </a:extLst>
              </p:cNvPr>
              <p:cNvSpPr>
                <a:spLocks noEditPoints="1"/>
              </p:cNvSpPr>
              <p:nvPr/>
            </p:nvSpPr>
            <p:spPr bwMode="auto">
              <a:xfrm>
                <a:off x="2965282" y="3615692"/>
                <a:ext cx="224150" cy="220902"/>
              </a:xfrm>
              <a:custGeom>
                <a:avLst/>
                <a:gdLst/>
                <a:ahLst/>
                <a:cxnLst>
                  <a:cxn ang="0">
                    <a:pos x="59" y="63"/>
                  </a:cxn>
                  <a:cxn ang="0">
                    <a:pos x="55" y="61"/>
                  </a:cxn>
                  <a:cxn ang="0">
                    <a:pos x="42" y="48"/>
                  </a:cxn>
                  <a:cxn ang="0">
                    <a:pos x="27" y="53"/>
                  </a:cxn>
                  <a:cxn ang="0">
                    <a:pos x="0" y="26"/>
                  </a:cxn>
                  <a:cxn ang="0">
                    <a:pos x="27" y="0"/>
                  </a:cxn>
                  <a:cxn ang="0">
                    <a:pos x="54" y="26"/>
                  </a:cxn>
                  <a:cxn ang="0">
                    <a:pos x="49" y="41"/>
                  </a:cxn>
                  <a:cxn ang="0">
                    <a:pos x="62" y="54"/>
                  </a:cxn>
                  <a:cxn ang="0">
                    <a:pos x="64" y="58"/>
                  </a:cxn>
                  <a:cxn ang="0">
                    <a:pos x="59" y="63"/>
                  </a:cxn>
                  <a:cxn ang="0">
                    <a:pos x="27" y="9"/>
                  </a:cxn>
                  <a:cxn ang="0">
                    <a:pos x="10" y="26"/>
                  </a:cxn>
                  <a:cxn ang="0">
                    <a:pos x="27" y="43"/>
                  </a:cxn>
                  <a:cxn ang="0">
                    <a:pos x="44" y="26"/>
                  </a:cxn>
                  <a:cxn ang="0">
                    <a:pos x="27" y="9"/>
                  </a:cxn>
                </a:cxnLst>
                <a:rect l="0" t="0" r="r" b="b"/>
                <a:pathLst>
                  <a:path w="64" h="63">
                    <a:moveTo>
                      <a:pt x="59" y="63"/>
                    </a:moveTo>
                    <a:cubicBezTo>
                      <a:pt x="57" y="63"/>
                      <a:pt x="56" y="62"/>
                      <a:pt x="55" y="61"/>
                    </a:cubicBezTo>
                    <a:cubicBezTo>
                      <a:pt x="42" y="48"/>
                      <a:pt x="42" y="48"/>
                      <a:pt x="42" y="48"/>
                    </a:cubicBezTo>
                    <a:cubicBezTo>
                      <a:pt x="38" y="51"/>
                      <a:pt x="33" y="53"/>
                      <a:pt x="27" y="53"/>
                    </a:cubicBezTo>
                    <a:cubicBezTo>
                      <a:pt x="12" y="53"/>
                      <a:pt x="0" y="41"/>
                      <a:pt x="0" y="26"/>
                    </a:cubicBezTo>
                    <a:cubicBezTo>
                      <a:pt x="0" y="12"/>
                      <a:pt x="12" y="0"/>
                      <a:pt x="27" y="0"/>
                    </a:cubicBezTo>
                    <a:cubicBezTo>
                      <a:pt x="42" y="0"/>
                      <a:pt x="54" y="12"/>
                      <a:pt x="54" y="26"/>
                    </a:cubicBezTo>
                    <a:cubicBezTo>
                      <a:pt x="54" y="32"/>
                      <a:pt x="52" y="37"/>
                      <a:pt x="49" y="41"/>
                    </a:cubicBezTo>
                    <a:cubicBezTo>
                      <a:pt x="62" y="54"/>
                      <a:pt x="62" y="54"/>
                      <a:pt x="62" y="54"/>
                    </a:cubicBezTo>
                    <a:cubicBezTo>
                      <a:pt x="63" y="55"/>
                      <a:pt x="64" y="57"/>
                      <a:pt x="64" y="58"/>
                    </a:cubicBezTo>
                    <a:cubicBezTo>
                      <a:pt x="64" y="61"/>
                      <a:pt x="61" y="63"/>
                      <a:pt x="59" y="63"/>
                    </a:cubicBezTo>
                    <a:close/>
                    <a:moveTo>
                      <a:pt x="27" y="9"/>
                    </a:moveTo>
                    <a:cubicBezTo>
                      <a:pt x="18" y="9"/>
                      <a:pt x="10" y="17"/>
                      <a:pt x="10" y="26"/>
                    </a:cubicBezTo>
                    <a:cubicBezTo>
                      <a:pt x="10" y="36"/>
                      <a:pt x="18" y="43"/>
                      <a:pt x="27" y="43"/>
                    </a:cubicBezTo>
                    <a:cubicBezTo>
                      <a:pt x="37" y="43"/>
                      <a:pt x="44" y="36"/>
                      <a:pt x="44" y="26"/>
                    </a:cubicBezTo>
                    <a:cubicBezTo>
                      <a:pt x="44" y="17"/>
                      <a:pt x="37" y="9"/>
                      <a:pt x="27" y="9"/>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47B20">
                      <a:lumMod val="50000"/>
                    </a:srgbClr>
                  </a:solidFill>
                  <a:effectLst/>
                  <a:uLnTx/>
                  <a:uFillTx/>
                  <a:latin typeface="Open Sans"/>
                  <a:ea typeface="Microsoft YaHei"/>
                  <a:cs typeface="+mn-cs"/>
                </a:endParaRPr>
              </a:p>
            </p:txBody>
          </p:sp>
        </p:grpSp>
      </p:grpSp>
      <p:sp>
        <p:nvSpPr>
          <p:cNvPr id="64" name="Rectangle 63">
            <a:extLst>
              <a:ext uri="{FF2B5EF4-FFF2-40B4-BE49-F238E27FC236}">
                <a16:creationId xmlns:a16="http://schemas.microsoft.com/office/drawing/2014/main" id="{BA6AEDE7-CB9C-4F41-865D-2043AF829693}"/>
              </a:ext>
            </a:extLst>
          </p:cNvPr>
          <p:cNvSpPr/>
          <p:nvPr/>
        </p:nvSpPr>
        <p:spPr>
          <a:xfrm>
            <a:off x="2999416" y="1844210"/>
            <a:ext cx="4078939" cy="4276560"/>
          </a:xfrm>
          <a:prstGeom prst="rect">
            <a:avLst/>
          </a:prstGeom>
          <a:noFill/>
          <a:ln w="1905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icrosoft YaHei"/>
              <a:cs typeface="+mn-cs"/>
            </a:endParaRPr>
          </a:p>
        </p:txBody>
      </p:sp>
    </p:spTree>
    <p:extLst>
      <p:ext uri="{BB962C8B-B14F-4D97-AF65-F5344CB8AC3E}">
        <p14:creationId xmlns:p14="http://schemas.microsoft.com/office/powerpoint/2010/main" val="2199124580"/>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A8BACA4-4E2D-454A-8D80-8EB53FDC9AF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0404" name="think-cell Slide" r:id="rId6" imgW="415" imgH="416" progId="TCLayout.ActiveDocument.1">
                  <p:embed/>
                </p:oleObj>
              </mc:Choice>
              <mc:Fallback>
                <p:oleObj name="think-cell Slide" r:id="rId6" imgW="415" imgH="416" progId="TCLayout.ActiveDocument.1">
                  <p:embed/>
                  <p:pic>
                    <p:nvPicPr>
                      <p:cNvPr id="6" name="Object 5" hidden="1">
                        <a:extLst>
                          <a:ext uri="{FF2B5EF4-FFF2-40B4-BE49-F238E27FC236}">
                            <a16:creationId xmlns:a16="http://schemas.microsoft.com/office/drawing/2014/main" id="{5A8BACA4-4E2D-454A-8D80-8EB53FDC9AF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6D5F5A8-6D77-47CD-892D-60DC5C45490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9C251D7-CF59-43C5-B64C-64862BE5A9FA}"/>
              </a:ext>
            </a:extLst>
          </p:cNvPr>
          <p:cNvSpPr>
            <a:spLocks noGrp="1"/>
          </p:cNvSpPr>
          <p:nvPr>
            <p:ph type="title"/>
          </p:nvPr>
        </p:nvSpPr>
        <p:spPr/>
        <p:txBody>
          <a:bodyPr/>
          <a:lstStyle/>
          <a:p>
            <a:r>
              <a:rPr lang="en-US" dirty="0"/>
              <a:t>Our Path to Today</a:t>
            </a:r>
          </a:p>
        </p:txBody>
      </p:sp>
      <p:sp>
        <p:nvSpPr>
          <p:cNvPr id="3" name="Text Placeholder 2">
            <a:extLst>
              <a:ext uri="{FF2B5EF4-FFF2-40B4-BE49-F238E27FC236}">
                <a16:creationId xmlns:a16="http://schemas.microsoft.com/office/drawing/2014/main" id="{8B3D41EB-B977-4A73-B48A-F92974579D85}"/>
              </a:ext>
            </a:extLst>
          </p:cNvPr>
          <p:cNvSpPr>
            <a:spLocks noGrp="1"/>
          </p:cNvSpPr>
          <p:nvPr>
            <p:ph type="body" sz="quarter" idx="14"/>
          </p:nvPr>
        </p:nvSpPr>
        <p:spPr/>
        <p:txBody>
          <a:bodyPr/>
          <a:lstStyle/>
          <a:p>
            <a:r>
              <a:rPr lang="en-US" dirty="0"/>
              <a:t>Subheader placeholder</a:t>
            </a:r>
          </a:p>
          <a:p>
            <a:endParaRPr lang="en-US" dirty="0"/>
          </a:p>
        </p:txBody>
      </p:sp>
      <p:sp>
        <p:nvSpPr>
          <p:cNvPr id="4" name="Text Placeholder 3">
            <a:extLst>
              <a:ext uri="{FF2B5EF4-FFF2-40B4-BE49-F238E27FC236}">
                <a16:creationId xmlns:a16="http://schemas.microsoft.com/office/drawing/2014/main" id="{205FF2FA-FA26-4CF1-9C57-238A35284E77}"/>
              </a:ext>
            </a:extLst>
          </p:cNvPr>
          <p:cNvSpPr>
            <a:spLocks noGrp="1"/>
          </p:cNvSpPr>
          <p:nvPr>
            <p:ph type="body" sz="quarter" idx="15"/>
          </p:nvPr>
        </p:nvSpPr>
        <p:spPr/>
        <p:txBody>
          <a:bodyPr/>
          <a:lstStyle/>
          <a:p>
            <a:r>
              <a:rPr lang="en-US" dirty="0"/>
              <a:t>Plans, timelines and roadmaps</a:t>
            </a:r>
          </a:p>
        </p:txBody>
      </p:sp>
      <p:pic>
        <p:nvPicPr>
          <p:cNvPr id="7" name="Picture 6">
            <a:extLst>
              <a:ext uri="{FF2B5EF4-FFF2-40B4-BE49-F238E27FC236}">
                <a16:creationId xmlns:a16="http://schemas.microsoft.com/office/drawing/2014/main" id="{D2A330F2-E865-4CA6-81A0-366197D31A86}"/>
              </a:ext>
            </a:extLst>
          </p:cNvPr>
          <p:cNvPicPr>
            <a:picLocks noChangeAspect="1"/>
          </p:cNvPicPr>
          <p:nvPr/>
        </p:nvPicPr>
        <p:blipFill>
          <a:blip r:embed="rId8"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475696" y="0"/>
            <a:ext cx="10716304" cy="6858000"/>
          </a:xfrm>
          <a:prstGeom prst="rect">
            <a:avLst/>
          </a:prstGeom>
        </p:spPr>
      </p:pic>
      <p:sp>
        <p:nvSpPr>
          <p:cNvPr id="8" name="Rectangle: Rounded Corners 7">
            <a:extLst>
              <a:ext uri="{FF2B5EF4-FFF2-40B4-BE49-F238E27FC236}">
                <a16:creationId xmlns:a16="http://schemas.microsoft.com/office/drawing/2014/main" id="{7C1CB2F8-24E8-44F0-8695-757F381190F9}"/>
              </a:ext>
            </a:extLst>
          </p:cNvPr>
          <p:cNvSpPr/>
          <p:nvPr/>
        </p:nvSpPr>
        <p:spPr>
          <a:xfrm>
            <a:off x="952835" y="3905778"/>
            <a:ext cx="3124200" cy="1313483"/>
          </a:xfrm>
          <a:prstGeom prst="roundRect">
            <a:avLst/>
          </a:prstGeom>
          <a:solidFill>
            <a:schemeClr val="accent1">
              <a:lumMod val="40000"/>
              <a:lumOff val="60000"/>
            </a:schemeClr>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0" cap="all" spc="200" normalizeH="0" baseline="0" noProof="0" dirty="0">
                <a:ln>
                  <a:noFill/>
                </a:ln>
                <a:solidFill>
                  <a:srgbClr val="000000"/>
                </a:solidFill>
                <a:effectLst/>
                <a:uLnTx/>
                <a:uFillTx/>
                <a:latin typeface="Open Sans"/>
                <a:ea typeface="Open Sans" charset="0"/>
                <a:cs typeface="Open Sans" charset="0"/>
              </a:rPr>
              <a:t>2018 Leadership forum (Aug, 15)</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Open Sans Light" panose="020B0306030504020204" pitchFamily="34" charset="0"/>
              </a:rPr>
              <a:t>Review findings from ‘Voice of Retail’ research and discuss potential areas of collaboration</a:t>
            </a:r>
          </a:p>
        </p:txBody>
      </p:sp>
      <p:sp>
        <p:nvSpPr>
          <p:cNvPr id="9" name="Rectangle 8">
            <a:extLst>
              <a:ext uri="{FF2B5EF4-FFF2-40B4-BE49-F238E27FC236}">
                <a16:creationId xmlns:a16="http://schemas.microsoft.com/office/drawing/2014/main" id="{55E3FCD0-63BF-42BF-9AC2-84B2311CED99}"/>
              </a:ext>
            </a:extLst>
          </p:cNvPr>
          <p:cNvSpPr/>
          <p:nvPr/>
        </p:nvSpPr>
        <p:spPr>
          <a:xfrm>
            <a:off x="2462038" y="5217476"/>
            <a:ext cx="105794" cy="75111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49DF06B0-65A2-4564-928E-EA0FE23B3AA4}"/>
              </a:ext>
            </a:extLst>
          </p:cNvPr>
          <p:cNvSpPr/>
          <p:nvPr/>
        </p:nvSpPr>
        <p:spPr>
          <a:xfrm>
            <a:off x="5445972" y="2279264"/>
            <a:ext cx="105794" cy="5660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1" name="Rectangle: Rounded Corners 10">
            <a:extLst>
              <a:ext uri="{FF2B5EF4-FFF2-40B4-BE49-F238E27FC236}">
                <a16:creationId xmlns:a16="http://schemas.microsoft.com/office/drawing/2014/main" id="{55CD4FE1-2C22-4A6D-AB7F-3BC3F74F6BC6}"/>
              </a:ext>
            </a:extLst>
          </p:cNvPr>
          <p:cNvSpPr/>
          <p:nvPr/>
        </p:nvSpPr>
        <p:spPr>
          <a:xfrm>
            <a:off x="8893628" y="227671"/>
            <a:ext cx="2714172" cy="1007858"/>
          </a:xfrm>
          <a:prstGeom prst="roundRect">
            <a:avLst/>
          </a:prstGeom>
          <a:solidFill>
            <a:schemeClr val="accent3">
              <a:lumMod val="40000"/>
              <a:lumOff val="60000"/>
              <a:alpha val="45882"/>
            </a:schemeClr>
          </a:solidFill>
          <a:ln w="762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0" cap="all" spc="200" normalizeH="0" baseline="0" noProof="0" dirty="0">
                <a:ln>
                  <a:noFill/>
                </a:ln>
                <a:solidFill>
                  <a:srgbClr val="000000"/>
                </a:solidFill>
                <a:effectLst/>
                <a:uLnTx/>
                <a:uFillTx/>
                <a:latin typeface="Open Sans"/>
                <a:ea typeface="Open Sans" charset="0"/>
                <a:cs typeface="Open Sans" charset="0"/>
              </a:rPr>
              <a:t>2017 Leadership Forum</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Open Sans Light" panose="020B0306030504020204" pitchFamily="34" charset="0"/>
              </a:rPr>
              <a:t>Defined our strategic pillar and aligned on workstreams</a:t>
            </a:r>
          </a:p>
        </p:txBody>
      </p:sp>
      <p:sp>
        <p:nvSpPr>
          <p:cNvPr id="12" name="Rectangle 11">
            <a:extLst>
              <a:ext uri="{FF2B5EF4-FFF2-40B4-BE49-F238E27FC236}">
                <a16:creationId xmlns:a16="http://schemas.microsoft.com/office/drawing/2014/main" id="{576E9BF9-7247-47B1-878E-FE79F323CEED}"/>
              </a:ext>
            </a:extLst>
          </p:cNvPr>
          <p:cNvSpPr/>
          <p:nvPr/>
        </p:nvSpPr>
        <p:spPr>
          <a:xfrm>
            <a:off x="10197817" y="1235530"/>
            <a:ext cx="105794" cy="45719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3" name="Rectangle: Rounded Corners 22">
            <a:extLst>
              <a:ext uri="{FF2B5EF4-FFF2-40B4-BE49-F238E27FC236}">
                <a16:creationId xmlns:a16="http://schemas.microsoft.com/office/drawing/2014/main" id="{62600402-EF1F-48E7-8B36-5F84FC3D10E9}"/>
              </a:ext>
            </a:extLst>
          </p:cNvPr>
          <p:cNvSpPr/>
          <p:nvPr/>
        </p:nvSpPr>
        <p:spPr>
          <a:xfrm>
            <a:off x="6256651" y="3772032"/>
            <a:ext cx="2636977" cy="916235"/>
          </a:xfrm>
          <a:prstGeom prst="roundRect">
            <a:avLst/>
          </a:prstGeom>
          <a:solidFill>
            <a:schemeClr val="accent4">
              <a:alpha val="45882"/>
            </a:schemeClr>
          </a:solidFill>
          <a:ln w="762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US" sz="1400" b="1" kern="0" cap="all" spc="200" dirty="0">
                <a:solidFill>
                  <a:srgbClr val="000000"/>
                </a:solidFill>
                <a:latin typeface="Open Sans"/>
                <a:ea typeface="Open Sans" charset="0"/>
                <a:cs typeface="Open Sans" charset="0"/>
              </a:rPr>
              <a:t>2019 </a:t>
            </a:r>
            <a:r>
              <a:rPr kumimoji="0" lang="en-US" sz="1400" b="1" i="0" u="none" strike="noStrike" kern="0" cap="all" spc="200" normalizeH="0" baseline="0" noProof="0" dirty="0">
                <a:ln>
                  <a:noFill/>
                </a:ln>
                <a:solidFill>
                  <a:srgbClr val="000000"/>
                </a:solidFill>
                <a:effectLst/>
                <a:uLnTx/>
                <a:uFillTx/>
                <a:latin typeface="Open Sans"/>
                <a:ea typeface="Open Sans" charset="0"/>
                <a:cs typeface="Open Sans" charset="0"/>
              </a:rPr>
              <a:t>Meeting</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Open Sans Light" panose="020B0306030504020204" pitchFamily="34" charset="0"/>
              </a:rPr>
              <a:t>Review focus and approach given the revised strategy</a:t>
            </a:r>
          </a:p>
        </p:txBody>
      </p:sp>
      <p:sp>
        <p:nvSpPr>
          <p:cNvPr id="14" name="Rectangle 13">
            <a:extLst>
              <a:ext uri="{FF2B5EF4-FFF2-40B4-BE49-F238E27FC236}">
                <a16:creationId xmlns:a16="http://schemas.microsoft.com/office/drawing/2014/main" id="{97EFE726-31F5-40F3-BCA4-CCD314220E95}"/>
              </a:ext>
            </a:extLst>
          </p:cNvPr>
          <p:cNvSpPr/>
          <p:nvPr/>
        </p:nvSpPr>
        <p:spPr>
          <a:xfrm>
            <a:off x="7491683" y="4691210"/>
            <a:ext cx="105794" cy="45719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5" name="Rectangle: Rounded Corners 14">
            <a:extLst>
              <a:ext uri="{FF2B5EF4-FFF2-40B4-BE49-F238E27FC236}">
                <a16:creationId xmlns:a16="http://schemas.microsoft.com/office/drawing/2014/main" id="{A4431FBD-E49B-404E-BDF7-F77774A2A2EB}"/>
              </a:ext>
            </a:extLst>
          </p:cNvPr>
          <p:cNvSpPr/>
          <p:nvPr/>
        </p:nvSpPr>
        <p:spPr>
          <a:xfrm>
            <a:off x="4204252" y="1506873"/>
            <a:ext cx="2589234" cy="989610"/>
          </a:xfrm>
          <a:prstGeom prst="roundRect">
            <a:avLst/>
          </a:prstGeom>
          <a:solidFill>
            <a:schemeClr val="accent2">
              <a:lumMod val="20000"/>
              <a:lumOff val="80000"/>
            </a:schemeClr>
          </a:solid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0" cap="all" spc="200" normalizeH="0" baseline="0" noProof="0" dirty="0">
                <a:ln>
                  <a:noFill/>
                </a:ln>
                <a:solidFill>
                  <a:srgbClr val="000000"/>
                </a:solidFill>
                <a:effectLst/>
                <a:uLnTx/>
                <a:uFillTx/>
                <a:latin typeface="Open Sans"/>
                <a:ea typeface="Open Sans" charset="0"/>
                <a:cs typeface="Open Sans" charset="0"/>
              </a:rPr>
              <a:t>2018 mid-winter (jan, 25)</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Open Sans Light" panose="020B0306030504020204" pitchFamily="34" charset="0"/>
              </a:rPr>
              <a:t>Selected deep dive topics and created framework</a:t>
            </a:r>
          </a:p>
        </p:txBody>
      </p:sp>
    </p:spTree>
    <p:extLst>
      <p:ext uri="{BB962C8B-B14F-4D97-AF65-F5344CB8AC3E}">
        <p14:creationId xmlns:p14="http://schemas.microsoft.com/office/powerpoint/2010/main" val="835744685"/>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549FCEC-8D68-4138-B1BC-C48B3272291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1428" name="think-cell Slide" r:id="rId6" imgW="415" imgH="416" progId="TCLayout.ActiveDocument.1">
                  <p:embed/>
                </p:oleObj>
              </mc:Choice>
              <mc:Fallback>
                <p:oleObj name="think-cell Slide" r:id="rId6" imgW="415" imgH="416" progId="TCLayout.ActiveDocument.1">
                  <p:embed/>
                  <p:pic>
                    <p:nvPicPr>
                      <p:cNvPr id="8" name="Object 7" hidden="1">
                        <a:extLst>
                          <a:ext uri="{FF2B5EF4-FFF2-40B4-BE49-F238E27FC236}">
                            <a16:creationId xmlns:a16="http://schemas.microsoft.com/office/drawing/2014/main" id="{1549FCEC-8D68-4138-B1BC-C48B3272291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D1F9EE3-A42D-481A-B487-51DEB8E2401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C4E4DFEA-B047-4423-AEC2-28F0263A5DFA}"/>
              </a:ext>
            </a:extLst>
          </p:cNvPr>
          <p:cNvSpPr>
            <a:spLocks noGrp="1"/>
          </p:cNvSpPr>
          <p:nvPr>
            <p:ph type="title"/>
          </p:nvPr>
        </p:nvSpPr>
        <p:spPr>
          <a:xfrm>
            <a:off x="914400" y="694944"/>
            <a:ext cx="10363200" cy="594360"/>
          </a:xfrm>
        </p:spPr>
        <p:txBody>
          <a:bodyPr/>
          <a:lstStyle/>
          <a:p>
            <a:r>
              <a:rPr lang="en-US" dirty="0"/>
              <a:t>Planning Overview</a:t>
            </a:r>
          </a:p>
        </p:txBody>
      </p:sp>
      <p:sp>
        <p:nvSpPr>
          <p:cNvPr id="3" name="Text Placeholder 2">
            <a:extLst>
              <a:ext uri="{FF2B5EF4-FFF2-40B4-BE49-F238E27FC236}">
                <a16:creationId xmlns:a16="http://schemas.microsoft.com/office/drawing/2014/main" id="{3A28ADF5-CE50-4387-AA5F-F498805869E7}"/>
              </a:ext>
            </a:extLst>
          </p:cNvPr>
          <p:cNvSpPr>
            <a:spLocks noGrp="1"/>
          </p:cNvSpPr>
          <p:nvPr>
            <p:ph type="body" sz="quarter" idx="14"/>
          </p:nvPr>
        </p:nvSpPr>
        <p:spPr/>
        <p:txBody>
          <a:bodyPr/>
          <a:lstStyle/>
          <a:p>
            <a:r>
              <a:rPr lang="en-US" dirty="0"/>
              <a:t>Subheader placeholder</a:t>
            </a:r>
          </a:p>
        </p:txBody>
      </p:sp>
      <p:sp>
        <p:nvSpPr>
          <p:cNvPr id="4" name="Text Placeholder 3">
            <a:extLst>
              <a:ext uri="{FF2B5EF4-FFF2-40B4-BE49-F238E27FC236}">
                <a16:creationId xmlns:a16="http://schemas.microsoft.com/office/drawing/2014/main" id="{0FCF0657-BFC6-4770-97BF-D40C7C489486}"/>
              </a:ext>
            </a:extLst>
          </p:cNvPr>
          <p:cNvSpPr>
            <a:spLocks noGrp="1"/>
          </p:cNvSpPr>
          <p:nvPr>
            <p:ph type="body" sz="quarter" idx="15"/>
          </p:nvPr>
        </p:nvSpPr>
        <p:spPr/>
        <p:txBody>
          <a:bodyPr/>
          <a:lstStyle/>
          <a:p>
            <a:r>
              <a:rPr lang="en-US" dirty="0"/>
              <a:t>Plans, timelines and roadmaps</a:t>
            </a:r>
          </a:p>
        </p:txBody>
      </p:sp>
      <p:sp>
        <p:nvSpPr>
          <p:cNvPr id="10" name="Rectangle 9">
            <a:extLst>
              <a:ext uri="{FF2B5EF4-FFF2-40B4-BE49-F238E27FC236}">
                <a16:creationId xmlns:a16="http://schemas.microsoft.com/office/drawing/2014/main" id="{BF53FF2E-D8F0-478C-AF3B-0274F41C0D88}"/>
              </a:ext>
            </a:extLst>
          </p:cNvPr>
          <p:cNvSpPr/>
          <p:nvPr/>
        </p:nvSpPr>
        <p:spPr bwMode="gray">
          <a:xfrm>
            <a:off x="9661236" y="5815371"/>
            <a:ext cx="2244437" cy="764712"/>
          </a:xfrm>
          <a:prstGeom prst="rect">
            <a:avLst/>
          </a:prstGeom>
          <a:solidFill>
            <a:schemeClr val="bg1"/>
          </a:solidFill>
          <a:ln w="19050" algn="ctr">
            <a:solidFill>
              <a:schemeClr val="bg1">
                <a:lumMod val="85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cxnSp>
        <p:nvCxnSpPr>
          <p:cNvPr id="11" name="Straight Connector 10">
            <a:extLst>
              <a:ext uri="{FF2B5EF4-FFF2-40B4-BE49-F238E27FC236}">
                <a16:creationId xmlns:a16="http://schemas.microsoft.com/office/drawing/2014/main" id="{7CE83F75-2328-41A5-AF74-AD55E9B4953D}"/>
              </a:ext>
            </a:extLst>
          </p:cNvPr>
          <p:cNvCxnSpPr/>
          <p:nvPr/>
        </p:nvCxnSpPr>
        <p:spPr>
          <a:xfrm>
            <a:off x="9836046" y="5912374"/>
            <a:ext cx="218756" cy="0"/>
          </a:xfrm>
          <a:prstGeom prst="line">
            <a:avLst/>
          </a:prstGeom>
          <a:ln w="25400" cap="rnd">
            <a:solidFill>
              <a:schemeClr val="accent3"/>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7CEF898-8F3D-4BF4-9A7E-5421F0E7749F}"/>
              </a:ext>
            </a:extLst>
          </p:cNvPr>
          <p:cNvCxnSpPr/>
          <p:nvPr/>
        </p:nvCxnSpPr>
        <p:spPr>
          <a:xfrm>
            <a:off x="9836046" y="6084130"/>
            <a:ext cx="218756" cy="0"/>
          </a:xfrm>
          <a:prstGeom prst="line">
            <a:avLst/>
          </a:prstGeom>
          <a:ln w="25400" cap="rnd">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21290174-73AE-4850-B1CE-A64C07D40254}"/>
              </a:ext>
            </a:extLst>
          </p:cNvPr>
          <p:cNvCxnSpPr/>
          <p:nvPr/>
        </p:nvCxnSpPr>
        <p:spPr>
          <a:xfrm>
            <a:off x="9836046" y="6255886"/>
            <a:ext cx="218756" cy="0"/>
          </a:xfrm>
          <a:prstGeom prst="line">
            <a:avLst/>
          </a:prstGeom>
          <a:ln w="25400" cap="rnd">
            <a:solidFill>
              <a:schemeClr val="bg2"/>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BA5F566C-0242-48EB-BE42-8D164A799B90}"/>
              </a:ext>
            </a:extLst>
          </p:cNvPr>
          <p:cNvSpPr/>
          <p:nvPr/>
        </p:nvSpPr>
        <p:spPr bwMode="gray">
          <a:xfrm>
            <a:off x="10139044" y="5845242"/>
            <a:ext cx="1733945" cy="151892"/>
          </a:xfrm>
          <a:prstGeom prst="rect">
            <a:avLst/>
          </a:prstGeom>
          <a:noFill/>
          <a:ln w="1905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0" i="0" u="none" strike="noStrike" kern="1200" cap="none" spc="0" normalizeH="0" baseline="0" noProof="0" dirty="0">
                <a:ln>
                  <a:noFill/>
                </a:ln>
                <a:solidFill>
                  <a:prstClr val="black"/>
                </a:solidFill>
                <a:effectLst/>
                <a:uLnTx/>
                <a:uFillTx/>
                <a:ea typeface="+mn-ea"/>
                <a:cs typeface="+mn-cs"/>
              </a:rPr>
              <a:t>Event Activities</a:t>
            </a:r>
          </a:p>
        </p:txBody>
      </p:sp>
      <p:sp>
        <p:nvSpPr>
          <p:cNvPr id="15" name="Rectangle 14">
            <a:extLst>
              <a:ext uri="{FF2B5EF4-FFF2-40B4-BE49-F238E27FC236}">
                <a16:creationId xmlns:a16="http://schemas.microsoft.com/office/drawing/2014/main" id="{252EB014-C17E-4AA8-878B-ABEA0E240913}"/>
              </a:ext>
            </a:extLst>
          </p:cNvPr>
          <p:cNvSpPr/>
          <p:nvPr/>
        </p:nvSpPr>
        <p:spPr bwMode="gray">
          <a:xfrm>
            <a:off x="10139044" y="6020747"/>
            <a:ext cx="1733945" cy="151892"/>
          </a:xfrm>
          <a:prstGeom prst="rect">
            <a:avLst/>
          </a:prstGeom>
          <a:noFill/>
          <a:ln w="1905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0" i="0" u="none" strike="noStrike" kern="1200" cap="none" spc="0" normalizeH="0" baseline="0" noProof="0" dirty="0">
                <a:ln>
                  <a:noFill/>
                </a:ln>
                <a:solidFill>
                  <a:prstClr val="black"/>
                </a:solidFill>
                <a:effectLst/>
                <a:uLnTx/>
                <a:uFillTx/>
                <a:ea typeface="+mn-ea"/>
                <a:cs typeface="+mn-cs"/>
              </a:rPr>
              <a:t>TMO Activities</a:t>
            </a:r>
          </a:p>
        </p:txBody>
      </p:sp>
      <p:sp>
        <p:nvSpPr>
          <p:cNvPr id="16" name="Rectangle 15">
            <a:extLst>
              <a:ext uri="{FF2B5EF4-FFF2-40B4-BE49-F238E27FC236}">
                <a16:creationId xmlns:a16="http://schemas.microsoft.com/office/drawing/2014/main" id="{5A1C0CAB-CE1D-4A69-A97C-4ADA60CCCE44}"/>
              </a:ext>
            </a:extLst>
          </p:cNvPr>
          <p:cNvSpPr/>
          <p:nvPr/>
        </p:nvSpPr>
        <p:spPr bwMode="gray">
          <a:xfrm>
            <a:off x="10139044" y="6196252"/>
            <a:ext cx="1733945" cy="151892"/>
          </a:xfrm>
          <a:prstGeom prst="rect">
            <a:avLst/>
          </a:prstGeom>
          <a:noFill/>
          <a:ln w="1905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0" i="0" u="none" strike="noStrike" kern="1200" cap="none" spc="0" normalizeH="0" baseline="0" noProof="0" dirty="0">
                <a:ln>
                  <a:noFill/>
                </a:ln>
                <a:solidFill>
                  <a:prstClr val="black"/>
                </a:solidFill>
                <a:effectLst/>
                <a:uLnTx/>
                <a:uFillTx/>
                <a:ea typeface="+mn-ea"/>
                <a:cs typeface="+mn-cs"/>
              </a:rPr>
              <a:t>Program Activities</a:t>
            </a:r>
          </a:p>
        </p:txBody>
      </p:sp>
      <p:sp>
        <p:nvSpPr>
          <p:cNvPr id="17" name="Rectangle 16">
            <a:extLst>
              <a:ext uri="{FF2B5EF4-FFF2-40B4-BE49-F238E27FC236}">
                <a16:creationId xmlns:a16="http://schemas.microsoft.com/office/drawing/2014/main" id="{BDB99004-9586-40ED-8608-8ACBC68245F9}"/>
              </a:ext>
            </a:extLst>
          </p:cNvPr>
          <p:cNvSpPr/>
          <p:nvPr/>
        </p:nvSpPr>
        <p:spPr bwMode="gray">
          <a:xfrm>
            <a:off x="10230868" y="5627714"/>
            <a:ext cx="723719" cy="157446"/>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dirty="0">
                <a:ln>
                  <a:noFill/>
                </a:ln>
                <a:solidFill>
                  <a:prstClr val="black"/>
                </a:solidFill>
                <a:effectLst/>
                <a:uLnTx/>
                <a:uFillTx/>
                <a:ea typeface="+mn-ea"/>
                <a:cs typeface="+mn-cs"/>
              </a:rPr>
              <a:t>Legend</a:t>
            </a:r>
          </a:p>
        </p:txBody>
      </p:sp>
      <p:sp>
        <p:nvSpPr>
          <p:cNvPr id="18" name="Freeform 14">
            <a:extLst>
              <a:ext uri="{FF2B5EF4-FFF2-40B4-BE49-F238E27FC236}">
                <a16:creationId xmlns:a16="http://schemas.microsoft.com/office/drawing/2014/main" id="{39893D9D-A793-4BFF-B936-A1C4D2A8C6EA}"/>
              </a:ext>
            </a:extLst>
          </p:cNvPr>
          <p:cNvSpPr>
            <a:spLocks/>
          </p:cNvSpPr>
          <p:nvPr/>
        </p:nvSpPr>
        <p:spPr bwMode="auto">
          <a:xfrm>
            <a:off x="986118" y="4205227"/>
            <a:ext cx="10345270" cy="0"/>
          </a:xfrm>
          <a:custGeom>
            <a:avLst/>
            <a:gdLst>
              <a:gd name="T0" fmla="*/ 0 w 4490"/>
              <a:gd name="T1" fmla="*/ 2147483647 h 91"/>
              <a:gd name="T2" fmla="*/ 0 w 4490"/>
              <a:gd name="T3" fmla="*/ 0 h 91"/>
              <a:gd name="T4" fmla="*/ 2147483647 w 4490"/>
              <a:gd name="T5" fmla="*/ 0 h 91"/>
              <a:gd name="T6" fmla="*/ 2147483647 w 4490"/>
              <a:gd name="T7" fmla="*/ 2147483647 h 91"/>
              <a:gd name="T8" fmla="*/ 0 60000 65536"/>
              <a:gd name="T9" fmla="*/ 0 60000 65536"/>
              <a:gd name="T10" fmla="*/ 0 60000 65536"/>
              <a:gd name="T11" fmla="*/ 0 60000 65536"/>
              <a:gd name="T12" fmla="*/ 0 w 4490"/>
              <a:gd name="T13" fmla="*/ 0 h 91"/>
              <a:gd name="T14" fmla="*/ 4490 w 4490"/>
              <a:gd name="T15" fmla="*/ 91 h 91"/>
            </a:gdLst>
            <a:ahLst/>
            <a:cxnLst>
              <a:cxn ang="T8">
                <a:pos x="T0" y="T1"/>
              </a:cxn>
              <a:cxn ang="T9">
                <a:pos x="T2" y="T3"/>
              </a:cxn>
              <a:cxn ang="T10">
                <a:pos x="T4" y="T5"/>
              </a:cxn>
              <a:cxn ang="T11">
                <a:pos x="T6" y="T7"/>
              </a:cxn>
            </a:cxnLst>
            <a:rect l="T12" t="T13" r="T14" b="T15"/>
            <a:pathLst>
              <a:path w="4490" h="91">
                <a:moveTo>
                  <a:pt x="0" y="91"/>
                </a:moveTo>
                <a:lnTo>
                  <a:pt x="0" y="0"/>
                </a:lnTo>
                <a:lnTo>
                  <a:pt x="4490" y="0"/>
                </a:lnTo>
                <a:lnTo>
                  <a:pt x="4490" y="91"/>
                </a:lnTo>
              </a:path>
            </a:pathLst>
          </a:custGeom>
          <a:noFill/>
          <a:ln w="6350">
            <a:solidFill>
              <a:srgbClr val="969696"/>
            </a:solidFill>
            <a:round/>
            <a:headEnd type="none" w="med" len="med"/>
            <a:tailEnd type="triangle" w="med" len="me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19" name="Rectangle 18">
            <a:extLst>
              <a:ext uri="{FF2B5EF4-FFF2-40B4-BE49-F238E27FC236}">
                <a16:creationId xmlns:a16="http://schemas.microsoft.com/office/drawing/2014/main" id="{0C05B3FA-2FD9-45E1-B210-F3F754B8AF66}"/>
              </a:ext>
            </a:extLst>
          </p:cNvPr>
          <p:cNvSpPr/>
          <p:nvPr/>
        </p:nvSpPr>
        <p:spPr bwMode="gray">
          <a:xfrm>
            <a:off x="559984" y="4398005"/>
            <a:ext cx="857693" cy="423885"/>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prstClr val="black"/>
                </a:solidFill>
                <a:effectLst/>
                <a:uLnTx/>
                <a:uFillTx/>
                <a:ea typeface="+mn-ea"/>
                <a:cs typeface="+mn-cs"/>
              </a:rPr>
              <a:t>Day 1 </a:t>
            </a:r>
            <a:r>
              <a:rPr kumimoji="0" lang="en-US" sz="900" b="0" i="1" u="none" strike="noStrike" kern="1200" cap="none" spc="0" normalizeH="0" baseline="0" noProof="0" dirty="0">
                <a:ln>
                  <a:noFill/>
                </a:ln>
                <a:solidFill>
                  <a:prstClr val="black"/>
                </a:solidFill>
                <a:effectLst/>
                <a:uLnTx/>
                <a:uFillTx/>
                <a:ea typeface="+mn-ea"/>
                <a:cs typeface="+mn-cs"/>
              </a:rPr>
              <a:t>10/16/17</a:t>
            </a:r>
          </a:p>
        </p:txBody>
      </p:sp>
      <p:sp>
        <p:nvSpPr>
          <p:cNvPr id="20" name="Rectangle 19">
            <a:extLst>
              <a:ext uri="{FF2B5EF4-FFF2-40B4-BE49-F238E27FC236}">
                <a16:creationId xmlns:a16="http://schemas.microsoft.com/office/drawing/2014/main" id="{5197BE84-173F-47AA-9AE0-96DB72086B05}"/>
              </a:ext>
            </a:extLst>
          </p:cNvPr>
          <p:cNvSpPr/>
          <p:nvPr/>
        </p:nvSpPr>
        <p:spPr bwMode="gray">
          <a:xfrm>
            <a:off x="9962540" y="4398005"/>
            <a:ext cx="857693" cy="423885"/>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prstClr val="black"/>
                </a:solidFill>
                <a:effectLst/>
                <a:uLnTx/>
                <a:uFillTx/>
                <a:ea typeface="+mn-ea"/>
                <a:cs typeface="+mn-cs"/>
              </a:rPr>
              <a:t>Day 90</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0" i="1" u="none" strike="noStrike" kern="1200" cap="none" spc="0" normalizeH="0" baseline="0" noProof="0" dirty="0">
                <a:ln>
                  <a:noFill/>
                </a:ln>
                <a:solidFill>
                  <a:prstClr val="black"/>
                </a:solidFill>
                <a:effectLst/>
                <a:uLnTx/>
                <a:uFillTx/>
                <a:ea typeface="+mn-ea"/>
                <a:cs typeface="+mn-cs"/>
              </a:rPr>
              <a:t>1/14/18</a:t>
            </a:r>
          </a:p>
        </p:txBody>
      </p:sp>
      <p:cxnSp>
        <p:nvCxnSpPr>
          <p:cNvPr id="21" name="Straight Connector 20">
            <a:extLst>
              <a:ext uri="{FF2B5EF4-FFF2-40B4-BE49-F238E27FC236}">
                <a16:creationId xmlns:a16="http://schemas.microsoft.com/office/drawing/2014/main" id="{51F8EC1D-6C1B-4650-B112-A2C54E8D5796}"/>
              </a:ext>
            </a:extLst>
          </p:cNvPr>
          <p:cNvCxnSpPr/>
          <p:nvPr/>
        </p:nvCxnSpPr>
        <p:spPr>
          <a:xfrm>
            <a:off x="4122763" y="4205227"/>
            <a:ext cx="0" cy="137160"/>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9C132BE-295D-4DE1-A336-564B3E60E057}"/>
              </a:ext>
            </a:extLst>
          </p:cNvPr>
          <p:cNvCxnSpPr/>
          <p:nvPr/>
        </p:nvCxnSpPr>
        <p:spPr>
          <a:xfrm>
            <a:off x="7255986" y="4211323"/>
            <a:ext cx="0" cy="137160"/>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277BC4D-1C65-4C83-BA22-EDFE054733D2}"/>
              </a:ext>
            </a:extLst>
          </p:cNvPr>
          <p:cNvCxnSpPr/>
          <p:nvPr/>
        </p:nvCxnSpPr>
        <p:spPr>
          <a:xfrm flipH="1" flipV="1">
            <a:off x="8148728" y="2522148"/>
            <a:ext cx="1" cy="1675063"/>
          </a:xfrm>
          <a:prstGeom prst="line">
            <a:avLst/>
          </a:prstGeom>
          <a:ln w="25400" cap="rnd">
            <a:solidFill>
              <a:schemeClr val="accent3"/>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0088C37-9794-4CC6-93E3-6A5EC1F48D0B}"/>
              </a:ext>
            </a:extLst>
          </p:cNvPr>
          <p:cNvCxnSpPr/>
          <p:nvPr/>
        </p:nvCxnSpPr>
        <p:spPr>
          <a:xfrm flipH="1" flipV="1">
            <a:off x="2892543" y="3664497"/>
            <a:ext cx="3411" cy="548640"/>
          </a:xfrm>
          <a:prstGeom prst="line">
            <a:avLst/>
          </a:prstGeom>
          <a:ln w="25400" cap="rnd">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921324F0-4493-4372-B760-3935637D663D}"/>
              </a:ext>
            </a:extLst>
          </p:cNvPr>
          <p:cNvSpPr/>
          <p:nvPr/>
        </p:nvSpPr>
        <p:spPr bwMode="gray">
          <a:xfrm>
            <a:off x="4744093" y="2524821"/>
            <a:ext cx="1144478" cy="734355"/>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dirty="0">
                <a:ln>
                  <a:noFill/>
                </a:ln>
                <a:solidFill>
                  <a:prstClr val="black"/>
                </a:solidFill>
                <a:effectLst/>
                <a:uLnTx/>
                <a:uFillTx/>
                <a:ea typeface="+mn-ea"/>
                <a:cs typeface="+mn-cs"/>
              </a:rPr>
              <a:t>Complete Future-State Blueprinting</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dirty="0">
                <a:ln>
                  <a:noFill/>
                </a:ln>
                <a:solidFill>
                  <a:prstClr val="black"/>
                </a:solidFill>
                <a:effectLst/>
                <a:uLnTx/>
                <a:uFillTx/>
                <a:ea typeface="+mn-ea"/>
                <a:cs typeface="+mn-cs"/>
              </a:rPr>
              <a:t>(11/30)</a:t>
            </a:r>
          </a:p>
        </p:txBody>
      </p:sp>
      <p:cxnSp>
        <p:nvCxnSpPr>
          <p:cNvPr id="26" name="Straight Connector 25">
            <a:extLst>
              <a:ext uri="{FF2B5EF4-FFF2-40B4-BE49-F238E27FC236}">
                <a16:creationId xmlns:a16="http://schemas.microsoft.com/office/drawing/2014/main" id="{B4BA9D5B-FBF7-40C9-908C-6BD2D1522C84}"/>
              </a:ext>
            </a:extLst>
          </p:cNvPr>
          <p:cNvCxnSpPr/>
          <p:nvPr/>
        </p:nvCxnSpPr>
        <p:spPr>
          <a:xfrm flipV="1">
            <a:off x="5316332" y="3330911"/>
            <a:ext cx="0" cy="878534"/>
          </a:xfrm>
          <a:prstGeom prst="line">
            <a:avLst/>
          </a:prstGeom>
          <a:ln w="25400" cap="rnd">
            <a:solidFill>
              <a:schemeClr val="accent3"/>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C1145F0C-AD2A-429B-BB51-46EC04C4E158}"/>
              </a:ext>
            </a:extLst>
          </p:cNvPr>
          <p:cNvSpPr/>
          <p:nvPr/>
        </p:nvSpPr>
        <p:spPr bwMode="gray">
          <a:xfrm>
            <a:off x="6827139" y="4398005"/>
            <a:ext cx="857693" cy="423885"/>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prstClr val="black"/>
                </a:solidFill>
                <a:effectLst/>
                <a:uLnTx/>
                <a:uFillTx/>
                <a:ea typeface="+mn-ea"/>
                <a:cs typeface="+mn-cs"/>
              </a:rPr>
              <a:t>Day 60</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0" i="1" u="none" strike="noStrike" kern="1200" cap="none" spc="0" normalizeH="0" baseline="0" noProof="0" dirty="0">
                <a:ln>
                  <a:noFill/>
                </a:ln>
                <a:solidFill>
                  <a:prstClr val="black"/>
                </a:solidFill>
                <a:effectLst/>
                <a:uLnTx/>
                <a:uFillTx/>
                <a:ea typeface="+mn-ea"/>
                <a:cs typeface="+mn-cs"/>
              </a:rPr>
              <a:t>12/14/17</a:t>
            </a:r>
          </a:p>
        </p:txBody>
      </p:sp>
      <p:cxnSp>
        <p:nvCxnSpPr>
          <p:cNvPr id="28" name="Straight Connector 27">
            <a:extLst>
              <a:ext uri="{FF2B5EF4-FFF2-40B4-BE49-F238E27FC236}">
                <a16:creationId xmlns:a16="http://schemas.microsoft.com/office/drawing/2014/main" id="{0341DB8F-77EC-4E32-B240-E6C7DB78F0ED}"/>
              </a:ext>
            </a:extLst>
          </p:cNvPr>
          <p:cNvCxnSpPr/>
          <p:nvPr/>
        </p:nvCxnSpPr>
        <p:spPr>
          <a:xfrm flipH="1">
            <a:off x="5415798" y="4205227"/>
            <a:ext cx="5080" cy="671669"/>
          </a:xfrm>
          <a:prstGeom prst="line">
            <a:avLst/>
          </a:prstGeom>
          <a:ln w="25400" cap="rnd">
            <a:solidFill>
              <a:schemeClr val="accent3"/>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94D51DEC-9006-44A7-9ABB-195B64801636}"/>
              </a:ext>
            </a:extLst>
          </p:cNvPr>
          <p:cNvSpPr/>
          <p:nvPr/>
        </p:nvSpPr>
        <p:spPr bwMode="gray">
          <a:xfrm>
            <a:off x="4637125" y="4912957"/>
            <a:ext cx="1582957" cy="919946"/>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dirty="0">
                <a:ln>
                  <a:noFill/>
                </a:ln>
                <a:solidFill>
                  <a:prstClr val="black"/>
                </a:solidFill>
                <a:effectLst/>
                <a:uLnTx/>
                <a:uFillTx/>
                <a:ea typeface="+mn-ea"/>
                <a:cs typeface="+mn-cs"/>
              </a:rPr>
              <a:t>Begin high-level joint capabilities gathering</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dirty="0">
                <a:ln>
                  <a:noFill/>
                </a:ln>
                <a:solidFill>
                  <a:prstClr val="black"/>
                </a:solidFill>
                <a:effectLst/>
                <a:uLnTx/>
                <a:uFillTx/>
                <a:ea typeface="+mn-ea"/>
                <a:cs typeface="+mn-cs"/>
              </a:rPr>
              <a:t>(12/1)</a:t>
            </a:r>
          </a:p>
        </p:txBody>
      </p:sp>
      <p:cxnSp>
        <p:nvCxnSpPr>
          <p:cNvPr id="30" name="Straight Connector 29">
            <a:extLst>
              <a:ext uri="{FF2B5EF4-FFF2-40B4-BE49-F238E27FC236}">
                <a16:creationId xmlns:a16="http://schemas.microsoft.com/office/drawing/2014/main" id="{09022810-3349-4636-A29B-6FD531424783}"/>
              </a:ext>
            </a:extLst>
          </p:cNvPr>
          <p:cNvCxnSpPr/>
          <p:nvPr/>
        </p:nvCxnSpPr>
        <p:spPr>
          <a:xfrm flipV="1">
            <a:off x="7521062" y="3812563"/>
            <a:ext cx="0" cy="392259"/>
          </a:xfrm>
          <a:prstGeom prst="line">
            <a:avLst/>
          </a:prstGeom>
          <a:ln w="25400" cap="rnd">
            <a:solidFill>
              <a:schemeClr val="accent3"/>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0F71EB15-9438-41AB-902D-877671CB0E80}"/>
              </a:ext>
            </a:extLst>
          </p:cNvPr>
          <p:cNvSpPr/>
          <p:nvPr/>
        </p:nvSpPr>
        <p:spPr bwMode="gray">
          <a:xfrm>
            <a:off x="6935662" y="2744600"/>
            <a:ext cx="1170799" cy="919946"/>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dirty="0">
                <a:ln>
                  <a:noFill/>
                </a:ln>
                <a:solidFill>
                  <a:prstClr val="black"/>
                </a:solidFill>
                <a:effectLst/>
                <a:uLnTx/>
                <a:uFillTx/>
                <a:ea typeface="+mn-ea"/>
                <a:cs typeface="+mn-cs"/>
              </a:rPr>
              <a:t>Complete high-level capabilities gathering Sessions</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dirty="0">
                <a:ln>
                  <a:noFill/>
                </a:ln>
                <a:solidFill>
                  <a:prstClr val="black"/>
                </a:solidFill>
                <a:effectLst/>
                <a:uLnTx/>
                <a:uFillTx/>
                <a:ea typeface="+mn-ea"/>
                <a:cs typeface="+mn-cs"/>
              </a:rPr>
              <a:t>(12/15)</a:t>
            </a:r>
          </a:p>
        </p:txBody>
      </p:sp>
      <p:sp>
        <p:nvSpPr>
          <p:cNvPr id="32" name="Rectangle 31">
            <a:extLst>
              <a:ext uri="{FF2B5EF4-FFF2-40B4-BE49-F238E27FC236}">
                <a16:creationId xmlns:a16="http://schemas.microsoft.com/office/drawing/2014/main" id="{14A55C08-8EBF-4EC6-B754-3998BC867F3A}"/>
              </a:ext>
            </a:extLst>
          </p:cNvPr>
          <p:cNvSpPr/>
          <p:nvPr/>
        </p:nvSpPr>
        <p:spPr bwMode="gray">
          <a:xfrm>
            <a:off x="7323922" y="1734271"/>
            <a:ext cx="1649612" cy="919946"/>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dirty="0">
                <a:ln>
                  <a:noFill/>
                </a:ln>
                <a:solidFill>
                  <a:prstClr val="black"/>
                </a:solidFill>
                <a:effectLst/>
                <a:uLnTx/>
                <a:uFillTx/>
                <a:ea typeface="+mn-ea"/>
                <a:cs typeface="+mn-cs"/>
              </a:rPr>
              <a:t>Finalize Event Level Joint Transition Plan</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dirty="0">
                <a:ln>
                  <a:noFill/>
                </a:ln>
                <a:solidFill>
                  <a:prstClr val="black"/>
                </a:solidFill>
                <a:effectLst/>
                <a:uLnTx/>
                <a:uFillTx/>
                <a:ea typeface="+mn-ea"/>
                <a:cs typeface="+mn-cs"/>
              </a:rPr>
              <a:t>(12/18)</a:t>
            </a:r>
          </a:p>
        </p:txBody>
      </p:sp>
      <p:sp>
        <p:nvSpPr>
          <p:cNvPr id="33" name="Rectangle 32">
            <a:extLst>
              <a:ext uri="{FF2B5EF4-FFF2-40B4-BE49-F238E27FC236}">
                <a16:creationId xmlns:a16="http://schemas.microsoft.com/office/drawing/2014/main" id="{5ACCD0E6-AAA7-4C71-99C0-DDA2AFE6F50D}"/>
              </a:ext>
            </a:extLst>
          </p:cNvPr>
          <p:cNvSpPr/>
          <p:nvPr/>
        </p:nvSpPr>
        <p:spPr bwMode="gray">
          <a:xfrm>
            <a:off x="7323922" y="4953950"/>
            <a:ext cx="1707122" cy="410474"/>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dirty="0">
                <a:ln>
                  <a:noFill/>
                </a:ln>
                <a:solidFill>
                  <a:prstClr val="black"/>
                </a:solidFill>
                <a:effectLst/>
                <a:uLnTx/>
                <a:uFillTx/>
                <a:ea typeface="+mn-ea"/>
                <a:cs typeface="+mn-cs"/>
              </a:rPr>
              <a:t>Provide Detailed Status on In-Flight Projects</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dirty="0">
                <a:ln>
                  <a:noFill/>
                </a:ln>
                <a:solidFill>
                  <a:prstClr val="black"/>
                </a:solidFill>
                <a:effectLst/>
                <a:uLnTx/>
                <a:uFillTx/>
                <a:ea typeface="+mn-ea"/>
                <a:cs typeface="+mn-cs"/>
              </a:rPr>
              <a:t>(12/18)</a:t>
            </a:r>
          </a:p>
        </p:txBody>
      </p:sp>
      <p:sp>
        <p:nvSpPr>
          <p:cNvPr id="34" name="Rectangle 33">
            <a:extLst>
              <a:ext uri="{FF2B5EF4-FFF2-40B4-BE49-F238E27FC236}">
                <a16:creationId xmlns:a16="http://schemas.microsoft.com/office/drawing/2014/main" id="{110E1130-A1E2-4D1F-AFCE-319D4E026230}"/>
              </a:ext>
            </a:extLst>
          </p:cNvPr>
          <p:cNvSpPr/>
          <p:nvPr/>
        </p:nvSpPr>
        <p:spPr bwMode="gray">
          <a:xfrm>
            <a:off x="471449" y="2693798"/>
            <a:ext cx="1055431" cy="621039"/>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dirty="0">
                <a:ln>
                  <a:noFill/>
                </a:ln>
                <a:solidFill>
                  <a:prstClr val="black"/>
                </a:solidFill>
                <a:effectLst/>
                <a:uLnTx/>
                <a:uFillTx/>
                <a:ea typeface="+mn-ea"/>
                <a:cs typeface="+mn-cs"/>
              </a:rPr>
              <a:t>Contract signed</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dirty="0">
                <a:ln>
                  <a:noFill/>
                </a:ln>
                <a:solidFill>
                  <a:prstClr val="black"/>
                </a:solidFill>
                <a:effectLst/>
                <a:uLnTx/>
                <a:uFillTx/>
                <a:ea typeface="+mn-ea"/>
                <a:cs typeface="+mn-cs"/>
              </a:rPr>
              <a:t>(10/16)</a:t>
            </a:r>
          </a:p>
        </p:txBody>
      </p:sp>
      <p:cxnSp>
        <p:nvCxnSpPr>
          <p:cNvPr id="35" name="Straight Connector 34">
            <a:extLst>
              <a:ext uri="{FF2B5EF4-FFF2-40B4-BE49-F238E27FC236}">
                <a16:creationId xmlns:a16="http://schemas.microsoft.com/office/drawing/2014/main" id="{3D775C88-EEF1-4CE2-A8D2-E5453CEC9811}"/>
              </a:ext>
            </a:extLst>
          </p:cNvPr>
          <p:cNvCxnSpPr/>
          <p:nvPr/>
        </p:nvCxnSpPr>
        <p:spPr>
          <a:xfrm flipH="1">
            <a:off x="982797" y="3314837"/>
            <a:ext cx="6743" cy="890390"/>
          </a:xfrm>
          <a:prstGeom prst="line">
            <a:avLst/>
          </a:prstGeom>
          <a:ln w="25400" cap="rnd">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FE8EF241-643A-41B2-BD6B-3E711BCC0572}"/>
              </a:ext>
            </a:extLst>
          </p:cNvPr>
          <p:cNvSpPr/>
          <p:nvPr/>
        </p:nvSpPr>
        <p:spPr bwMode="gray">
          <a:xfrm>
            <a:off x="9266190" y="2208227"/>
            <a:ext cx="2244436" cy="587969"/>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Approve Joint Transition Plan</a:t>
            </a:r>
          </a:p>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100" b="1" i="1" u="none" strike="noStrike" kern="1200" cap="none" spc="0" normalizeH="0" baseline="0" noProof="0" dirty="0">
                <a:ln>
                  <a:noFill/>
                </a:ln>
                <a:solidFill>
                  <a:prstClr val="black"/>
                </a:solidFill>
                <a:effectLst/>
                <a:uLnTx/>
                <a:uFillTx/>
                <a:ea typeface="+mn-ea"/>
                <a:cs typeface="+mn-cs"/>
              </a:rPr>
              <a:t>(1/14) </a:t>
            </a:r>
          </a:p>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100" b="0" i="1" u="none" strike="noStrike" kern="1200" cap="none" spc="0" normalizeH="0" baseline="0" noProof="0" dirty="0">
                <a:ln>
                  <a:noFill/>
                </a:ln>
                <a:solidFill>
                  <a:prstClr val="black"/>
                </a:solidFill>
                <a:effectLst/>
                <a:uLnTx/>
                <a:uFillTx/>
                <a:ea typeface="+mn-ea"/>
                <a:cs typeface="+mn-cs"/>
              </a:rPr>
              <a:t>(90 Days per contract)</a:t>
            </a:r>
          </a:p>
        </p:txBody>
      </p:sp>
      <p:cxnSp>
        <p:nvCxnSpPr>
          <p:cNvPr id="37" name="Straight Connector 36">
            <a:extLst>
              <a:ext uri="{FF2B5EF4-FFF2-40B4-BE49-F238E27FC236}">
                <a16:creationId xmlns:a16="http://schemas.microsoft.com/office/drawing/2014/main" id="{3AED51F2-D6EA-4527-A2F6-88AB3639CC9A}"/>
              </a:ext>
            </a:extLst>
          </p:cNvPr>
          <p:cNvCxnSpPr/>
          <p:nvPr/>
        </p:nvCxnSpPr>
        <p:spPr>
          <a:xfrm>
            <a:off x="10388408" y="2873875"/>
            <a:ext cx="0" cy="1331018"/>
          </a:xfrm>
          <a:prstGeom prst="line">
            <a:avLst/>
          </a:prstGeom>
          <a:ln w="25400" cap="rnd">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A39F0181-9327-4A68-8ECC-A09A76AF79E4}"/>
              </a:ext>
            </a:extLst>
          </p:cNvPr>
          <p:cNvCxnSpPr/>
          <p:nvPr/>
        </p:nvCxnSpPr>
        <p:spPr>
          <a:xfrm flipH="1">
            <a:off x="4737851" y="2485373"/>
            <a:ext cx="10842" cy="1722903"/>
          </a:xfrm>
          <a:prstGeom prst="line">
            <a:avLst/>
          </a:prstGeom>
          <a:ln w="25400" cap="rnd">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CA4763FD-0B69-41BA-B9BE-1BC108D64AF1}"/>
              </a:ext>
            </a:extLst>
          </p:cNvPr>
          <p:cNvSpPr/>
          <p:nvPr/>
        </p:nvSpPr>
        <p:spPr bwMode="gray">
          <a:xfrm>
            <a:off x="3964760" y="1685837"/>
            <a:ext cx="1574663" cy="859544"/>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dirty="0">
                <a:ln>
                  <a:noFill/>
                </a:ln>
                <a:solidFill>
                  <a:prstClr val="black"/>
                </a:solidFill>
                <a:effectLst/>
                <a:uLnTx/>
                <a:uFillTx/>
                <a:ea typeface="+mn-ea"/>
                <a:cs typeface="+mn-cs"/>
              </a:rPr>
              <a:t>Create Initial Joint Transition Plan</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dirty="0">
                <a:ln>
                  <a:noFill/>
                </a:ln>
                <a:solidFill>
                  <a:prstClr val="black"/>
                </a:solidFill>
                <a:effectLst/>
                <a:uLnTx/>
                <a:uFillTx/>
                <a:ea typeface="+mn-ea"/>
                <a:cs typeface="+mn-cs"/>
              </a:rPr>
              <a:t>(11/20)</a:t>
            </a:r>
          </a:p>
        </p:txBody>
      </p:sp>
      <p:sp>
        <p:nvSpPr>
          <p:cNvPr id="40" name="Rectangle 39">
            <a:extLst>
              <a:ext uri="{FF2B5EF4-FFF2-40B4-BE49-F238E27FC236}">
                <a16:creationId xmlns:a16="http://schemas.microsoft.com/office/drawing/2014/main" id="{2FA4718E-CD99-46C6-A3CC-27C5FC4FC0D0}"/>
              </a:ext>
            </a:extLst>
          </p:cNvPr>
          <p:cNvSpPr/>
          <p:nvPr/>
        </p:nvSpPr>
        <p:spPr bwMode="gray">
          <a:xfrm>
            <a:off x="1983587" y="2896917"/>
            <a:ext cx="2038557" cy="914400"/>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prstClr val="black"/>
                </a:solidFill>
                <a:effectLst/>
                <a:uLnTx/>
                <a:uFillTx/>
                <a:ea typeface="+mn-ea"/>
                <a:cs typeface="+mn-cs"/>
              </a:rPr>
              <a:t>Joint Transition Planning Session, Atlanta</a:t>
            </a:r>
            <a:br>
              <a:rPr kumimoji="0" lang="en-US" sz="1100" b="1" i="0" u="none" strike="noStrike" kern="1200" cap="none" spc="0" normalizeH="0" baseline="0" noProof="0" dirty="0">
                <a:ln>
                  <a:noFill/>
                </a:ln>
                <a:solidFill>
                  <a:prstClr val="black"/>
                </a:solidFill>
                <a:effectLst/>
                <a:uLnTx/>
                <a:uFillTx/>
                <a:ea typeface="+mn-ea"/>
                <a:cs typeface="+mn-cs"/>
              </a:rPr>
            </a:br>
            <a:r>
              <a:rPr kumimoji="0" lang="en-US" sz="1100" b="0" i="1" u="none" strike="noStrike" kern="1200" cap="none" spc="0" normalizeH="0" baseline="0" noProof="0" dirty="0">
                <a:ln>
                  <a:noFill/>
                </a:ln>
                <a:solidFill>
                  <a:prstClr val="black"/>
                </a:solidFill>
                <a:effectLst/>
                <a:uLnTx/>
                <a:uFillTx/>
                <a:ea typeface="+mn-ea"/>
                <a:cs typeface="+mn-cs"/>
              </a:rPr>
              <a:t>(11/1 - 11/2)</a:t>
            </a:r>
          </a:p>
        </p:txBody>
      </p:sp>
      <p:sp>
        <p:nvSpPr>
          <p:cNvPr id="41" name="Rectangle 40">
            <a:extLst>
              <a:ext uri="{FF2B5EF4-FFF2-40B4-BE49-F238E27FC236}">
                <a16:creationId xmlns:a16="http://schemas.microsoft.com/office/drawing/2014/main" id="{BC34AE4A-86E8-4EC4-80B6-0FFD6D990BB0}"/>
              </a:ext>
            </a:extLst>
          </p:cNvPr>
          <p:cNvSpPr/>
          <p:nvPr/>
        </p:nvSpPr>
        <p:spPr bwMode="gray">
          <a:xfrm>
            <a:off x="866181" y="4848668"/>
            <a:ext cx="1299791" cy="621039"/>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dirty="0">
                <a:ln>
                  <a:noFill/>
                </a:ln>
                <a:solidFill>
                  <a:prstClr val="black"/>
                </a:solidFill>
                <a:effectLst/>
                <a:uLnTx/>
                <a:uFillTx/>
                <a:ea typeface="+mn-ea"/>
                <a:cs typeface="+mn-cs"/>
              </a:rPr>
              <a:t>Public announcement</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dirty="0">
                <a:ln>
                  <a:noFill/>
                </a:ln>
                <a:solidFill>
                  <a:prstClr val="black"/>
                </a:solidFill>
                <a:effectLst/>
                <a:uLnTx/>
                <a:uFillTx/>
                <a:ea typeface="+mn-ea"/>
                <a:cs typeface="+mn-cs"/>
              </a:rPr>
              <a:t>(10/18)</a:t>
            </a:r>
          </a:p>
        </p:txBody>
      </p:sp>
      <p:sp>
        <p:nvSpPr>
          <p:cNvPr id="42" name="Rectangle 41">
            <a:extLst>
              <a:ext uri="{FF2B5EF4-FFF2-40B4-BE49-F238E27FC236}">
                <a16:creationId xmlns:a16="http://schemas.microsoft.com/office/drawing/2014/main" id="{64DFDE18-E3C0-4E04-A798-A80B075DFDA4}"/>
              </a:ext>
            </a:extLst>
          </p:cNvPr>
          <p:cNvSpPr/>
          <p:nvPr/>
        </p:nvSpPr>
        <p:spPr bwMode="gray">
          <a:xfrm>
            <a:off x="1039974" y="1951504"/>
            <a:ext cx="1511662" cy="836220"/>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dirty="0">
                <a:ln>
                  <a:noFill/>
                </a:ln>
                <a:solidFill>
                  <a:prstClr val="black"/>
                </a:solidFill>
                <a:effectLst/>
                <a:uLnTx/>
                <a:uFillTx/>
                <a:ea typeface="+mn-ea"/>
                <a:cs typeface="+mn-cs"/>
              </a:rPr>
              <a:t>Governance Discussion</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dirty="0">
                <a:ln>
                  <a:noFill/>
                </a:ln>
                <a:solidFill>
                  <a:prstClr val="black"/>
                </a:solidFill>
                <a:effectLst/>
                <a:uLnTx/>
                <a:uFillTx/>
                <a:ea typeface="+mn-ea"/>
                <a:cs typeface="+mn-cs"/>
              </a:rPr>
              <a:t>(10/19)</a:t>
            </a:r>
          </a:p>
        </p:txBody>
      </p:sp>
      <p:cxnSp>
        <p:nvCxnSpPr>
          <p:cNvPr id="43" name="Straight Connector 42">
            <a:extLst>
              <a:ext uri="{FF2B5EF4-FFF2-40B4-BE49-F238E27FC236}">
                <a16:creationId xmlns:a16="http://schemas.microsoft.com/office/drawing/2014/main" id="{AF55E3C5-5810-42EF-9A3F-EB9D045EFB8F}"/>
              </a:ext>
            </a:extLst>
          </p:cNvPr>
          <p:cNvCxnSpPr/>
          <p:nvPr/>
        </p:nvCxnSpPr>
        <p:spPr>
          <a:xfrm>
            <a:off x="1798662" y="2816788"/>
            <a:ext cx="0" cy="1380421"/>
          </a:xfrm>
          <a:prstGeom prst="line">
            <a:avLst/>
          </a:prstGeom>
          <a:ln w="25400" cap="rnd">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C5188627-2E51-4EE0-9989-32D1D166681C}"/>
              </a:ext>
            </a:extLst>
          </p:cNvPr>
          <p:cNvCxnSpPr/>
          <p:nvPr/>
        </p:nvCxnSpPr>
        <p:spPr>
          <a:xfrm flipH="1">
            <a:off x="1500005" y="4208731"/>
            <a:ext cx="1" cy="559761"/>
          </a:xfrm>
          <a:prstGeom prst="line">
            <a:avLst/>
          </a:prstGeom>
          <a:ln w="25400" cap="rnd">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AD1406C-6DBB-4D58-A15A-98FA862C2FDA}"/>
              </a:ext>
            </a:extLst>
          </p:cNvPr>
          <p:cNvCxnSpPr>
            <a:cxnSpLocks/>
          </p:cNvCxnSpPr>
          <p:nvPr/>
        </p:nvCxnSpPr>
        <p:spPr>
          <a:xfrm flipV="1">
            <a:off x="2888669" y="2138179"/>
            <a:ext cx="0" cy="2074958"/>
          </a:xfrm>
          <a:prstGeom prst="line">
            <a:avLst/>
          </a:prstGeom>
          <a:ln w="9525" cap="rnd">
            <a:solidFill>
              <a:schemeClr val="accent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167DEC79-2CB1-4C72-89D4-75C8B37A0A3F}"/>
              </a:ext>
            </a:extLst>
          </p:cNvPr>
          <p:cNvSpPr/>
          <p:nvPr/>
        </p:nvSpPr>
        <p:spPr bwMode="gray">
          <a:xfrm>
            <a:off x="2206859" y="1820199"/>
            <a:ext cx="1388686" cy="331272"/>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1" u="none" strike="noStrike" kern="1200" cap="none" spc="0" normalizeH="0" baseline="0" noProof="0" dirty="0">
                <a:ln>
                  <a:noFill/>
                </a:ln>
                <a:solidFill>
                  <a:schemeClr val="accent1"/>
                </a:solidFill>
                <a:effectLst/>
                <a:uLnTx/>
                <a:uFillTx/>
                <a:ea typeface="+mn-ea"/>
                <a:cs typeface="+mn-cs"/>
              </a:rPr>
              <a:t>Today</a:t>
            </a:r>
            <a:endParaRPr kumimoji="0" lang="en-US" sz="900" b="0" i="1" u="none" strike="noStrike" kern="1200" cap="none" spc="0" normalizeH="0" baseline="0" noProof="0" dirty="0">
              <a:ln>
                <a:noFill/>
              </a:ln>
              <a:solidFill>
                <a:schemeClr val="accent1"/>
              </a:solidFill>
              <a:effectLst/>
              <a:uLnTx/>
              <a:uFillTx/>
              <a:ea typeface="+mn-ea"/>
              <a:cs typeface="+mn-cs"/>
            </a:endParaRPr>
          </a:p>
        </p:txBody>
      </p:sp>
      <p:cxnSp>
        <p:nvCxnSpPr>
          <p:cNvPr id="47" name="Straight Connector 46">
            <a:extLst>
              <a:ext uri="{FF2B5EF4-FFF2-40B4-BE49-F238E27FC236}">
                <a16:creationId xmlns:a16="http://schemas.microsoft.com/office/drawing/2014/main" id="{F257F2B5-78F7-4D45-857C-3C394714AFF8}"/>
              </a:ext>
            </a:extLst>
          </p:cNvPr>
          <p:cNvCxnSpPr/>
          <p:nvPr/>
        </p:nvCxnSpPr>
        <p:spPr>
          <a:xfrm flipV="1">
            <a:off x="8143195" y="4197210"/>
            <a:ext cx="0" cy="570719"/>
          </a:xfrm>
          <a:prstGeom prst="line">
            <a:avLst/>
          </a:prstGeom>
          <a:ln w="25400" cap="rnd">
            <a:solidFill>
              <a:schemeClr val="accent3"/>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BA33DAF3-0210-4742-8A87-46266307D63D}"/>
              </a:ext>
            </a:extLst>
          </p:cNvPr>
          <p:cNvCxnSpPr/>
          <p:nvPr/>
        </p:nvCxnSpPr>
        <p:spPr>
          <a:xfrm flipH="1">
            <a:off x="2423063" y="4219289"/>
            <a:ext cx="15082" cy="1221147"/>
          </a:xfrm>
          <a:prstGeom prst="line">
            <a:avLst/>
          </a:prstGeom>
          <a:ln w="25400" cap="rnd">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BA3C5260-ACAD-42F5-97F6-6508BD5642BC}"/>
              </a:ext>
            </a:extLst>
          </p:cNvPr>
          <p:cNvSpPr/>
          <p:nvPr/>
        </p:nvSpPr>
        <p:spPr bwMode="gray">
          <a:xfrm>
            <a:off x="1591134" y="5443211"/>
            <a:ext cx="1682540" cy="859544"/>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prstClr val="black"/>
                </a:solidFill>
                <a:effectLst/>
                <a:uLnTx/>
                <a:uFillTx/>
                <a:ea typeface="+mn-ea"/>
                <a:cs typeface="+mn-cs"/>
              </a:rPr>
              <a:t>TMO Planning Meeting</a:t>
            </a:r>
            <a:endParaRPr kumimoji="0" lang="en-US" sz="1100" b="0" i="0" u="none" strike="noStrike" kern="1200" cap="none" spc="0" normalizeH="0" baseline="0" noProof="0" dirty="0">
              <a:ln>
                <a:noFill/>
              </a:ln>
              <a:solidFill>
                <a:prstClr val="black"/>
              </a:solidFill>
              <a:effectLst/>
              <a:uLnTx/>
              <a:uFillTx/>
              <a:ea typeface="+mn-ea"/>
              <a:cs typeface="+mn-cs"/>
            </a:endParaRP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1" u="none" strike="noStrike" kern="1200" cap="none" spc="0" normalizeH="0" baseline="0" noProof="0" dirty="0">
                <a:ln>
                  <a:noFill/>
                </a:ln>
                <a:solidFill>
                  <a:prstClr val="black"/>
                </a:solidFill>
                <a:effectLst/>
                <a:uLnTx/>
                <a:uFillTx/>
                <a:ea typeface="+mn-ea"/>
                <a:cs typeface="+mn-cs"/>
              </a:rPr>
              <a:t>(10/25)</a:t>
            </a:r>
          </a:p>
        </p:txBody>
      </p:sp>
      <p:cxnSp>
        <p:nvCxnSpPr>
          <p:cNvPr id="50" name="Straight Connector 49">
            <a:extLst>
              <a:ext uri="{FF2B5EF4-FFF2-40B4-BE49-F238E27FC236}">
                <a16:creationId xmlns:a16="http://schemas.microsoft.com/office/drawing/2014/main" id="{14538F34-ED4D-43CD-B543-62ECDCB9ECB3}"/>
              </a:ext>
            </a:extLst>
          </p:cNvPr>
          <p:cNvCxnSpPr/>
          <p:nvPr/>
        </p:nvCxnSpPr>
        <p:spPr>
          <a:xfrm>
            <a:off x="10389209" y="4211323"/>
            <a:ext cx="0" cy="137160"/>
          </a:xfrm>
          <a:prstGeom prst="line">
            <a:avLst/>
          </a:prstGeom>
          <a:ln>
            <a:solidFill>
              <a:srgbClr val="969696"/>
            </a:solidFill>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2D19B869-0F86-434E-830E-0E61535A6C3A}"/>
              </a:ext>
            </a:extLst>
          </p:cNvPr>
          <p:cNvSpPr/>
          <p:nvPr/>
        </p:nvSpPr>
        <p:spPr bwMode="gray">
          <a:xfrm>
            <a:off x="3666510" y="4398005"/>
            <a:ext cx="857693" cy="423885"/>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prstClr val="black"/>
                </a:solidFill>
                <a:effectLst/>
                <a:uLnTx/>
                <a:uFillTx/>
                <a:ea typeface="+mn-ea"/>
                <a:cs typeface="+mn-cs"/>
              </a:rPr>
              <a:t>Day 30</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0" i="1" u="none" strike="noStrike" kern="1200" cap="none" spc="0" normalizeH="0" baseline="0" noProof="0" dirty="0">
                <a:ln>
                  <a:noFill/>
                </a:ln>
                <a:solidFill>
                  <a:prstClr val="black"/>
                </a:solidFill>
                <a:effectLst/>
                <a:uLnTx/>
                <a:uFillTx/>
                <a:ea typeface="+mn-ea"/>
                <a:cs typeface="+mn-cs"/>
              </a:rPr>
              <a:t>11/14/17</a:t>
            </a:r>
          </a:p>
        </p:txBody>
      </p:sp>
      <p:sp>
        <p:nvSpPr>
          <p:cNvPr id="52" name="Rectangle 51">
            <a:extLst>
              <a:ext uri="{FF2B5EF4-FFF2-40B4-BE49-F238E27FC236}">
                <a16:creationId xmlns:a16="http://schemas.microsoft.com/office/drawing/2014/main" id="{D674158F-5535-4278-BFE8-A059C1F29E5C}"/>
              </a:ext>
            </a:extLst>
          </p:cNvPr>
          <p:cNvSpPr/>
          <p:nvPr/>
        </p:nvSpPr>
        <p:spPr bwMode="gray">
          <a:xfrm>
            <a:off x="5689868" y="2947654"/>
            <a:ext cx="1394641" cy="587969"/>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Draft Joint Transition Plan Review</a:t>
            </a:r>
            <a:r>
              <a:rPr kumimoji="0" lang="en-US" sz="1100" b="1" i="0" u="none" strike="noStrike" kern="1200" cap="none" spc="0" normalizeH="0" baseline="30000" noProof="0" dirty="0">
                <a:ln>
                  <a:noFill/>
                </a:ln>
                <a:solidFill>
                  <a:prstClr val="black"/>
                </a:solidFill>
                <a:effectLst/>
                <a:uLnTx/>
                <a:uFillTx/>
                <a:ea typeface="+mn-ea"/>
                <a:cs typeface="+mn-cs"/>
              </a:rPr>
              <a:t>1</a:t>
            </a:r>
          </a:p>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100" b="0" i="1" u="none" strike="noStrike" kern="1200" cap="none" spc="0" normalizeH="0" baseline="0" noProof="0" dirty="0">
                <a:ln>
                  <a:noFill/>
                </a:ln>
                <a:solidFill>
                  <a:prstClr val="black"/>
                </a:solidFill>
                <a:effectLst/>
                <a:uLnTx/>
                <a:uFillTx/>
                <a:ea typeface="+mn-ea"/>
                <a:cs typeface="+mn-cs"/>
              </a:rPr>
              <a:t>(~12/13-12/14)</a:t>
            </a:r>
          </a:p>
        </p:txBody>
      </p:sp>
      <p:cxnSp>
        <p:nvCxnSpPr>
          <p:cNvPr id="53" name="Straight Connector 52">
            <a:extLst>
              <a:ext uri="{FF2B5EF4-FFF2-40B4-BE49-F238E27FC236}">
                <a16:creationId xmlns:a16="http://schemas.microsoft.com/office/drawing/2014/main" id="{296EBCD8-57E7-4B9C-BAE0-7BF69DF73EA0}"/>
              </a:ext>
            </a:extLst>
          </p:cNvPr>
          <p:cNvCxnSpPr/>
          <p:nvPr/>
        </p:nvCxnSpPr>
        <p:spPr>
          <a:xfrm>
            <a:off x="6412111" y="3670649"/>
            <a:ext cx="0" cy="548640"/>
          </a:xfrm>
          <a:prstGeom prst="line">
            <a:avLst/>
          </a:prstGeom>
          <a:ln w="25400" cap="rnd">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Rectangle 3">
            <a:extLst>
              <a:ext uri="{FF2B5EF4-FFF2-40B4-BE49-F238E27FC236}">
                <a16:creationId xmlns:a16="http://schemas.microsoft.com/office/drawing/2014/main" id="{048F218B-887D-496F-A908-2BB42BC7107C}"/>
              </a:ext>
            </a:extLst>
          </p:cNvPr>
          <p:cNvSpPr>
            <a:spLocks noChangeArrowheads="1"/>
          </p:cNvSpPr>
          <p:nvPr/>
        </p:nvSpPr>
        <p:spPr bwMode="auto">
          <a:xfrm>
            <a:off x="469900" y="2700573"/>
            <a:ext cx="201978" cy="307777"/>
          </a:xfrm>
          <a:prstGeom prst="rect">
            <a:avLst/>
          </a:prstGeom>
          <a:noFill/>
          <a:ln w="6350">
            <a:noFill/>
            <a:miter lim="800000"/>
            <a:headEnd/>
            <a:tailEnd/>
          </a:ln>
          <a:effectLst/>
        </p:spPr>
        <p:txBody>
          <a:bodyPr wrap="none" lIns="0" tIns="0" rIns="0" bIns="0">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AU" sz="2000" b="1" i="0" u="none" strike="noStrike" kern="1200" cap="none" spc="0" normalizeH="0" baseline="0" noProof="0" dirty="0">
                <a:ln>
                  <a:noFill/>
                </a:ln>
                <a:solidFill>
                  <a:srgbClr val="002060"/>
                </a:solidFill>
                <a:effectLst/>
                <a:uLnTx/>
                <a:uFillTx/>
                <a:ea typeface="+mn-ea"/>
                <a:cs typeface="+mn-cs"/>
                <a:sym typeface="Wingdings" pitchFamily="2" charset="2"/>
              </a:rPr>
              <a:t></a:t>
            </a:r>
          </a:p>
        </p:txBody>
      </p:sp>
      <p:sp>
        <p:nvSpPr>
          <p:cNvPr id="56" name="Rectangle 3">
            <a:extLst>
              <a:ext uri="{FF2B5EF4-FFF2-40B4-BE49-F238E27FC236}">
                <a16:creationId xmlns:a16="http://schemas.microsoft.com/office/drawing/2014/main" id="{8BCA939C-8B3F-4BD4-9736-CC70EA58B051}"/>
              </a:ext>
            </a:extLst>
          </p:cNvPr>
          <p:cNvSpPr>
            <a:spLocks noChangeArrowheads="1"/>
          </p:cNvSpPr>
          <p:nvPr/>
        </p:nvSpPr>
        <p:spPr bwMode="auto">
          <a:xfrm>
            <a:off x="9854854" y="6310773"/>
            <a:ext cx="181140" cy="276999"/>
          </a:xfrm>
          <a:prstGeom prst="rect">
            <a:avLst/>
          </a:prstGeom>
          <a:noFill/>
          <a:ln w="6350">
            <a:noFill/>
            <a:miter lim="800000"/>
            <a:headEnd/>
            <a:tailEnd/>
          </a:ln>
          <a:effectLst/>
        </p:spPr>
        <p:txBody>
          <a:bodyPr wrap="none" lIns="0" tIns="0" rIns="0" bIns="0">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002060"/>
                </a:solidFill>
                <a:effectLst/>
                <a:uLnTx/>
                <a:uFillTx/>
                <a:ea typeface="+mn-ea"/>
                <a:cs typeface="+mn-cs"/>
                <a:sym typeface="Wingdings" pitchFamily="2" charset="2"/>
              </a:rPr>
              <a:t></a:t>
            </a:r>
          </a:p>
        </p:txBody>
      </p:sp>
      <p:sp>
        <p:nvSpPr>
          <p:cNvPr id="57" name="Rectangle 56">
            <a:extLst>
              <a:ext uri="{FF2B5EF4-FFF2-40B4-BE49-F238E27FC236}">
                <a16:creationId xmlns:a16="http://schemas.microsoft.com/office/drawing/2014/main" id="{824754BB-884D-4FF6-BC2D-AB9D9ADDA7C9}"/>
              </a:ext>
            </a:extLst>
          </p:cNvPr>
          <p:cNvSpPr/>
          <p:nvPr/>
        </p:nvSpPr>
        <p:spPr bwMode="gray">
          <a:xfrm>
            <a:off x="10127904" y="6371758"/>
            <a:ext cx="1733945" cy="151892"/>
          </a:xfrm>
          <a:prstGeom prst="rect">
            <a:avLst/>
          </a:prstGeom>
          <a:noFill/>
          <a:ln w="1905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0" i="0" u="none" strike="noStrike" kern="1200" cap="none" spc="0" normalizeH="0" baseline="0" noProof="0" dirty="0">
                <a:ln>
                  <a:noFill/>
                </a:ln>
                <a:solidFill>
                  <a:prstClr val="black"/>
                </a:solidFill>
                <a:effectLst/>
                <a:uLnTx/>
                <a:uFillTx/>
                <a:ea typeface="+mn-ea"/>
                <a:cs typeface="+mn-cs"/>
              </a:rPr>
              <a:t>Completed Program Activities</a:t>
            </a:r>
          </a:p>
        </p:txBody>
      </p:sp>
      <p:sp>
        <p:nvSpPr>
          <p:cNvPr id="58" name="Rectangle 3">
            <a:extLst>
              <a:ext uri="{FF2B5EF4-FFF2-40B4-BE49-F238E27FC236}">
                <a16:creationId xmlns:a16="http://schemas.microsoft.com/office/drawing/2014/main" id="{B4B3F51D-4662-4B33-AA58-6C935CEEDDE1}"/>
              </a:ext>
            </a:extLst>
          </p:cNvPr>
          <p:cNvSpPr>
            <a:spLocks noChangeArrowheads="1"/>
          </p:cNvSpPr>
          <p:nvPr/>
        </p:nvSpPr>
        <p:spPr bwMode="auto">
          <a:xfrm>
            <a:off x="1026701" y="4861806"/>
            <a:ext cx="201978" cy="307777"/>
          </a:xfrm>
          <a:prstGeom prst="rect">
            <a:avLst/>
          </a:prstGeom>
          <a:noFill/>
          <a:ln w="6350">
            <a:noFill/>
            <a:miter lim="800000"/>
            <a:headEnd/>
            <a:tailEnd/>
          </a:ln>
          <a:effectLst/>
        </p:spPr>
        <p:txBody>
          <a:bodyPr wrap="none" lIns="0" tIns="0" rIns="0" bIns="0">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AU" sz="2000" b="1" i="0" u="none" strike="noStrike" kern="1200" cap="none" spc="0" normalizeH="0" baseline="0" noProof="0" dirty="0">
                <a:ln>
                  <a:noFill/>
                </a:ln>
                <a:solidFill>
                  <a:srgbClr val="002060"/>
                </a:solidFill>
                <a:effectLst/>
                <a:uLnTx/>
                <a:uFillTx/>
                <a:ea typeface="+mn-ea"/>
                <a:cs typeface="+mn-cs"/>
                <a:sym typeface="Wingdings" pitchFamily="2" charset="2"/>
              </a:rPr>
              <a:t></a:t>
            </a:r>
          </a:p>
        </p:txBody>
      </p:sp>
      <p:sp>
        <p:nvSpPr>
          <p:cNvPr id="59" name="Rectangle 3">
            <a:extLst>
              <a:ext uri="{FF2B5EF4-FFF2-40B4-BE49-F238E27FC236}">
                <a16:creationId xmlns:a16="http://schemas.microsoft.com/office/drawing/2014/main" id="{992C55C6-5F7B-4620-84B6-1EB2383307A7}"/>
              </a:ext>
            </a:extLst>
          </p:cNvPr>
          <p:cNvSpPr>
            <a:spLocks noChangeArrowheads="1"/>
          </p:cNvSpPr>
          <p:nvPr/>
        </p:nvSpPr>
        <p:spPr bwMode="auto">
          <a:xfrm>
            <a:off x="996932" y="2066671"/>
            <a:ext cx="201978" cy="307777"/>
          </a:xfrm>
          <a:prstGeom prst="rect">
            <a:avLst/>
          </a:prstGeom>
          <a:noFill/>
          <a:ln w="6350">
            <a:noFill/>
            <a:miter lim="800000"/>
            <a:headEnd/>
            <a:tailEnd/>
          </a:ln>
          <a:effectLst/>
        </p:spPr>
        <p:txBody>
          <a:bodyPr wrap="none" lIns="0" tIns="0" rIns="0" bIns="0">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AU" sz="2000" b="1" i="0" u="none" strike="noStrike" kern="1200" cap="none" spc="0" normalizeH="0" baseline="0" noProof="0" dirty="0">
                <a:ln>
                  <a:noFill/>
                </a:ln>
                <a:solidFill>
                  <a:srgbClr val="002060"/>
                </a:solidFill>
                <a:effectLst/>
                <a:uLnTx/>
                <a:uFillTx/>
                <a:ea typeface="+mn-ea"/>
                <a:cs typeface="+mn-cs"/>
                <a:sym typeface="Wingdings" pitchFamily="2" charset="2"/>
              </a:rPr>
              <a:t></a:t>
            </a:r>
          </a:p>
        </p:txBody>
      </p:sp>
      <p:sp>
        <p:nvSpPr>
          <p:cNvPr id="60" name="Rectangle 3">
            <a:extLst>
              <a:ext uri="{FF2B5EF4-FFF2-40B4-BE49-F238E27FC236}">
                <a16:creationId xmlns:a16="http://schemas.microsoft.com/office/drawing/2014/main" id="{3A9D491D-2A1D-456A-951A-477309609B8A}"/>
              </a:ext>
            </a:extLst>
          </p:cNvPr>
          <p:cNvSpPr>
            <a:spLocks noChangeArrowheads="1"/>
          </p:cNvSpPr>
          <p:nvPr/>
        </p:nvSpPr>
        <p:spPr bwMode="auto">
          <a:xfrm>
            <a:off x="1697673" y="5552548"/>
            <a:ext cx="201978" cy="307777"/>
          </a:xfrm>
          <a:prstGeom prst="rect">
            <a:avLst/>
          </a:prstGeom>
          <a:noFill/>
          <a:ln w="6350">
            <a:noFill/>
            <a:miter lim="800000"/>
            <a:headEnd/>
            <a:tailEnd/>
          </a:ln>
          <a:effectLst/>
        </p:spPr>
        <p:txBody>
          <a:bodyPr wrap="none" lIns="0" tIns="0" rIns="0" bIns="0">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AU" sz="2000" b="1" i="0" u="none" strike="noStrike" kern="1200" cap="none" spc="0" normalizeH="0" baseline="0" noProof="0" dirty="0">
                <a:ln>
                  <a:noFill/>
                </a:ln>
                <a:solidFill>
                  <a:srgbClr val="002060"/>
                </a:solidFill>
                <a:effectLst/>
                <a:uLnTx/>
                <a:uFillTx/>
                <a:ea typeface="+mn-ea"/>
                <a:cs typeface="+mn-cs"/>
                <a:sym typeface="Wingdings" pitchFamily="2" charset="2"/>
              </a:rPr>
              <a:t></a:t>
            </a:r>
          </a:p>
        </p:txBody>
      </p:sp>
    </p:spTree>
    <p:extLst>
      <p:ext uri="{BB962C8B-B14F-4D97-AF65-F5344CB8AC3E}">
        <p14:creationId xmlns:p14="http://schemas.microsoft.com/office/powerpoint/2010/main" val="2923563566"/>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A1DE136-788D-4E73-ACCD-867B1AE2309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2452" name="think-cell Slide" r:id="rId6" imgW="415" imgH="416" progId="TCLayout.ActiveDocument.1">
                  <p:embed/>
                </p:oleObj>
              </mc:Choice>
              <mc:Fallback>
                <p:oleObj name="think-cell Slide" r:id="rId6" imgW="415" imgH="416" progId="TCLayout.ActiveDocument.1">
                  <p:embed/>
                  <p:pic>
                    <p:nvPicPr>
                      <p:cNvPr id="8" name="Object 7" hidden="1">
                        <a:extLst>
                          <a:ext uri="{FF2B5EF4-FFF2-40B4-BE49-F238E27FC236}">
                            <a16:creationId xmlns:a16="http://schemas.microsoft.com/office/drawing/2014/main" id="{DA1DE136-788D-4E73-ACCD-867B1AE2309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122C239-FE11-4AAF-8D76-BC3F427DFD2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74F3C0A-3027-4D84-B4BA-F40819EE810B}"/>
              </a:ext>
            </a:extLst>
          </p:cNvPr>
          <p:cNvSpPr>
            <a:spLocks noGrp="1"/>
          </p:cNvSpPr>
          <p:nvPr>
            <p:ph type="title"/>
          </p:nvPr>
        </p:nvSpPr>
        <p:spPr/>
        <p:txBody>
          <a:bodyPr/>
          <a:lstStyle/>
          <a:p>
            <a:r>
              <a:rPr lang="en-US" dirty="0"/>
              <a:t>So the journey to get here started last fall</a:t>
            </a:r>
          </a:p>
        </p:txBody>
      </p:sp>
      <p:sp>
        <p:nvSpPr>
          <p:cNvPr id="3" name="Text Placeholder 2">
            <a:extLst>
              <a:ext uri="{FF2B5EF4-FFF2-40B4-BE49-F238E27FC236}">
                <a16:creationId xmlns:a16="http://schemas.microsoft.com/office/drawing/2014/main" id="{2A4E79C2-ED67-4C4F-A69F-750A5FEFE73D}"/>
              </a:ext>
            </a:extLst>
          </p:cNvPr>
          <p:cNvSpPr>
            <a:spLocks noGrp="1"/>
          </p:cNvSpPr>
          <p:nvPr>
            <p:ph type="body" sz="quarter" idx="14"/>
          </p:nvPr>
        </p:nvSpPr>
        <p:spPr/>
        <p:txBody>
          <a:bodyPr/>
          <a:lstStyle/>
          <a:p>
            <a:r>
              <a:rPr lang="en-US" dirty="0"/>
              <a:t>Development of the policy was a cross-functional effort from initial assessment through implementation prep</a:t>
            </a:r>
          </a:p>
        </p:txBody>
      </p:sp>
      <p:sp>
        <p:nvSpPr>
          <p:cNvPr id="4" name="Text Placeholder 3">
            <a:extLst>
              <a:ext uri="{FF2B5EF4-FFF2-40B4-BE49-F238E27FC236}">
                <a16:creationId xmlns:a16="http://schemas.microsoft.com/office/drawing/2014/main" id="{7CD09561-5C4D-4494-B3E4-6371DCB0761D}"/>
              </a:ext>
            </a:extLst>
          </p:cNvPr>
          <p:cNvSpPr>
            <a:spLocks noGrp="1"/>
          </p:cNvSpPr>
          <p:nvPr>
            <p:ph type="body" sz="quarter" idx="15"/>
          </p:nvPr>
        </p:nvSpPr>
        <p:spPr/>
        <p:txBody>
          <a:bodyPr/>
          <a:lstStyle/>
          <a:p>
            <a:r>
              <a:rPr lang="en-US" dirty="0"/>
              <a:t>Plans, timelines and roadmaps</a:t>
            </a:r>
          </a:p>
        </p:txBody>
      </p:sp>
      <p:grpSp>
        <p:nvGrpSpPr>
          <p:cNvPr id="12" name="Group 11">
            <a:extLst>
              <a:ext uri="{FF2B5EF4-FFF2-40B4-BE49-F238E27FC236}">
                <a16:creationId xmlns:a16="http://schemas.microsoft.com/office/drawing/2014/main" id="{31F6C073-CCF3-4E3A-9D7C-9E0F525695D4}"/>
              </a:ext>
            </a:extLst>
          </p:cNvPr>
          <p:cNvGrpSpPr/>
          <p:nvPr/>
        </p:nvGrpSpPr>
        <p:grpSpPr>
          <a:xfrm>
            <a:off x="464319" y="2730634"/>
            <a:ext cx="5540812" cy="1071509"/>
            <a:chOff x="464319" y="2327510"/>
            <a:chExt cx="5540812" cy="1071509"/>
          </a:xfrm>
        </p:grpSpPr>
        <p:sp>
          <p:nvSpPr>
            <p:cNvPr id="13" name="Oval 12">
              <a:extLst>
                <a:ext uri="{FF2B5EF4-FFF2-40B4-BE49-F238E27FC236}">
                  <a16:creationId xmlns:a16="http://schemas.microsoft.com/office/drawing/2014/main" id="{31F731CB-4DE7-4EF5-9029-6162CF80B746}"/>
                </a:ext>
              </a:extLst>
            </p:cNvPr>
            <p:cNvSpPr/>
            <p:nvPr/>
          </p:nvSpPr>
          <p:spPr>
            <a:xfrm>
              <a:off x="5409550" y="2477851"/>
              <a:ext cx="484632" cy="487435"/>
            </a:xfrm>
            <a:prstGeom prst="ellips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Open Sans"/>
              </a:endParaRPr>
            </a:p>
          </p:txBody>
        </p:sp>
        <p:cxnSp>
          <p:nvCxnSpPr>
            <p:cNvPr id="14" name="Straight Connector 13">
              <a:extLst>
                <a:ext uri="{FF2B5EF4-FFF2-40B4-BE49-F238E27FC236}">
                  <a16:creationId xmlns:a16="http://schemas.microsoft.com/office/drawing/2014/main" id="{AFF9ECCA-3F99-4ADA-B8C0-2D6701CC0A37}"/>
                </a:ext>
              </a:extLst>
            </p:cNvPr>
            <p:cNvCxnSpPr>
              <a:stCxn id="13" idx="2"/>
            </p:cNvCxnSpPr>
            <p:nvPr/>
          </p:nvCxnSpPr>
          <p:spPr>
            <a:xfrm flipH="1">
              <a:off x="520724" y="2721569"/>
              <a:ext cx="4888826" cy="7039"/>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F6C5183E-7AAE-4393-90B3-2C0D938242F5}"/>
                </a:ext>
              </a:extLst>
            </p:cNvPr>
            <p:cNvSpPr/>
            <p:nvPr/>
          </p:nvSpPr>
          <p:spPr>
            <a:xfrm>
              <a:off x="469900" y="2327510"/>
              <a:ext cx="5020736" cy="477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bIns="91440" rtlCol="0" anchor="ct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400" b="1" i="0" u="none" strike="noStrike" kern="1200" cap="none" spc="-50" normalizeH="0" baseline="0" noProof="0" dirty="0">
                  <a:ln>
                    <a:noFill/>
                  </a:ln>
                  <a:solidFill>
                    <a:srgbClr val="000000"/>
                  </a:solidFill>
                  <a:effectLst/>
                  <a:uLnTx/>
                  <a:uFillTx/>
                  <a:latin typeface="Open Sans"/>
                  <a:ea typeface="+mn-ea"/>
                  <a:cs typeface="Open Sans"/>
                </a:rPr>
                <a:t>Current State Assessment</a:t>
              </a:r>
              <a:endParaRPr kumimoji="0" lang="en-US" sz="1000" b="1" i="0" u="none" strike="noStrike" kern="1200" cap="none" spc="-50" normalizeH="0" baseline="0" noProof="0" dirty="0">
                <a:ln>
                  <a:noFill/>
                </a:ln>
                <a:solidFill>
                  <a:srgbClr val="000000"/>
                </a:solidFill>
                <a:effectLst/>
                <a:uLnTx/>
                <a:uFillTx/>
                <a:latin typeface="Open Sans"/>
                <a:ea typeface="+mn-ea"/>
                <a:cs typeface="Open Sans"/>
              </a:endParaRPr>
            </a:p>
          </p:txBody>
        </p:sp>
        <p:sp>
          <p:nvSpPr>
            <p:cNvPr id="16" name="Oval 15">
              <a:extLst>
                <a:ext uri="{FF2B5EF4-FFF2-40B4-BE49-F238E27FC236}">
                  <a16:creationId xmlns:a16="http://schemas.microsoft.com/office/drawing/2014/main" id="{5FA71093-E92A-4AE4-AA92-CE0AC480E868}"/>
                </a:ext>
              </a:extLst>
            </p:cNvPr>
            <p:cNvSpPr/>
            <p:nvPr/>
          </p:nvSpPr>
          <p:spPr>
            <a:xfrm>
              <a:off x="5291899" y="2364742"/>
              <a:ext cx="713232" cy="713653"/>
            </a:xfrm>
            <a:prstGeom prst="ellipse">
              <a:avLst/>
            </a:prstGeom>
            <a:noFill/>
            <a:ln w="2857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Open Sans"/>
              </a:endParaRPr>
            </a:p>
          </p:txBody>
        </p:sp>
        <p:sp>
          <p:nvSpPr>
            <p:cNvPr id="17" name="Text Placeholder 14">
              <a:extLst>
                <a:ext uri="{FF2B5EF4-FFF2-40B4-BE49-F238E27FC236}">
                  <a16:creationId xmlns:a16="http://schemas.microsoft.com/office/drawing/2014/main" id="{BAE6BF40-0B84-45B6-8C1D-7316EF0C7956}"/>
                </a:ext>
              </a:extLst>
            </p:cNvPr>
            <p:cNvSpPr txBox="1">
              <a:spLocks/>
            </p:cNvSpPr>
            <p:nvPr/>
          </p:nvSpPr>
          <p:spPr>
            <a:xfrm>
              <a:off x="464319" y="2805407"/>
              <a:ext cx="5026317" cy="593612"/>
            </a:xfrm>
            <a:prstGeom prst="rect">
              <a:avLst/>
            </a:prstGeom>
          </p:spPr>
          <p:txBody>
            <a:bodyP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37160" marR="0" lvl="0" indent="-13716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Char char="•"/>
                <a:tabLst>
                  <a:tab pos="182880" algn="l"/>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Open Sans"/>
                </a:rPr>
                <a:t>Analyzed current state application of trade terms </a:t>
              </a:r>
            </a:p>
            <a:p>
              <a:pPr marL="137160" marR="0" lvl="0" indent="-13716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Char char="•"/>
                <a:tabLst>
                  <a:tab pos="182880" algn="l"/>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Open Sans"/>
                </a:rPr>
                <a:t>Defined strategic objectives to align with trade terms </a:t>
              </a:r>
            </a:p>
          </p:txBody>
        </p:sp>
      </p:grpSp>
      <p:sp>
        <p:nvSpPr>
          <p:cNvPr id="18" name="Rectangle 17">
            <a:extLst>
              <a:ext uri="{FF2B5EF4-FFF2-40B4-BE49-F238E27FC236}">
                <a16:creationId xmlns:a16="http://schemas.microsoft.com/office/drawing/2014/main" id="{0373C615-395A-4E5F-9A3B-D11681A6CDDA}"/>
              </a:ext>
            </a:extLst>
          </p:cNvPr>
          <p:cNvSpPr/>
          <p:nvPr/>
        </p:nvSpPr>
        <p:spPr>
          <a:xfrm>
            <a:off x="983398" y="1954893"/>
            <a:ext cx="2537634" cy="477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bIns="9144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Chronicle Display Black"/>
              </a:rPr>
              <a:t>Fall 2017</a:t>
            </a:r>
            <a:endParaRPr kumimoji="0" lang="en-US" sz="1050" b="1" i="0" u="none" strike="noStrike" kern="1200" cap="none" spc="0" normalizeH="0" baseline="0" noProof="0" dirty="0">
              <a:ln>
                <a:noFill/>
              </a:ln>
              <a:solidFill>
                <a:srgbClr val="000000"/>
              </a:solidFill>
              <a:effectLst/>
              <a:uLnTx/>
              <a:uFillTx/>
              <a:latin typeface="Open Sans"/>
              <a:ea typeface="+mn-ea"/>
              <a:cs typeface="Chronicle Display Black"/>
            </a:endParaRPr>
          </a:p>
        </p:txBody>
      </p:sp>
      <p:sp>
        <p:nvSpPr>
          <p:cNvPr id="19" name="Rectangle 18">
            <a:extLst>
              <a:ext uri="{FF2B5EF4-FFF2-40B4-BE49-F238E27FC236}">
                <a16:creationId xmlns:a16="http://schemas.microsoft.com/office/drawing/2014/main" id="{1E9FAAF0-43FB-4EC4-949F-18C83A8DB3AF}"/>
              </a:ext>
            </a:extLst>
          </p:cNvPr>
          <p:cNvSpPr/>
          <p:nvPr/>
        </p:nvSpPr>
        <p:spPr>
          <a:xfrm>
            <a:off x="4673106" y="1954893"/>
            <a:ext cx="2537634" cy="477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bIns="9144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Chronicle Display Black"/>
              </a:rPr>
              <a:t>Winter/Spring 2018</a:t>
            </a:r>
          </a:p>
        </p:txBody>
      </p:sp>
      <p:sp>
        <p:nvSpPr>
          <p:cNvPr id="20" name="Rectangle 19">
            <a:extLst>
              <a:ext uri="{FF2B5EF4-FFF2-40B4-BE49-F238E27FC236}">
                <a16:creationId xmlns:a16="http://schemas.microsoft.com/office/drawing/2014/main" id="{67BEFB8B-F1EC-4EC6-B2EC-8B9E9A016449}"/>
              </a:ext>
            </a:extLst>
          </p:cNvPr>
          <p:cNvSpPr/>
          <p:nvPr/>
        </p:nvSpPr>
        <p:spPr>
          <a:xfrm>
            <a:off x="8362814" y="1954893"/>
            <a:ext cx="2537634" cy="477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bIns="9144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Chronicle Display Black"/>
              </a:rPr>
              <a:t>Summer 2018</a:t>
            </a:r>
          </a:p>
        </p:txBody>
      </p:sp>
      <p:sp>
        <p:nvSpPr>
          <p:cNvPr id="21" name="Rectangle 20">
            <a:extLst>
              <a:ext uri="{FF2B5EF4-FFF2-40B4-BE49-F238E27FC236}">
                <a16:creationId xmlns:a16="http://schemas.microsoft.com/office/drawing/2014/main" id="{493D012F-F4B5-4070-BB45-35A49ECC53AD}"/>
              </a:ext>
            </a:extLst>
          </p:cNvPr>
          <p:cNvSpPr>
            <a:spLocks/>
          </p:cNvSpPr>
          <p:nvPr/>
        </p:nvSpPr>
        <p:spPr>
          <a:xfrm>
            <a:off x="544521" y="2458292"/>
            <a:ext cx="3415388" cy="61875"/>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4869CF0B-8AEE-43B3-8351-A59783C376C9}"/>
              </a:ext>
            </a:extLst>
          </p:cNvPr>
          <p:cNvSpPr>
            <a:spLocks/>
          </p:cNvSpPr>
          <p:nvPr/>
        </p:nvSpPr>
        <p:spPr>
          <a:xfrm>
            <a:off x="4234229" y="2458292"/>
            <a:ext cx="3415388" cy="61875"/>
          </a:xfrm>
          <a:prstGeom prst="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3E261310-E701-4D0C-9DA5-C4728F2E2B11}"/>
              </a:ext>
            </a:extLst>
          </p:cNvPr>
          <p:cNvSpPr>
            <a:spLocks/>
          </p:cNvSpPr>
          <p:nvPr/>
        </p:nvSpPr>
        <p:spPr>
          <a:xfrm>
            <a:off x="7923936" y="2458292"/>
            <a:ext cx="3415388" cy="61875"/>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24" name="Group 23">
            <a:extLst>
              <a:ext uri="{FF2B5EF4-FFF2-40B4-BE49-F238E27FC236}">
                <a16:creationId xmlns:a16="http://schemas.microsoft.com/office/drawing/2014/main" id="{511B95A1-DB79-4E3A-A353-B41CC4A47A9E}"/>
              </a:ext>
            </a:extLst>
          </p:cNvPr>
          <p:cNvGrpSpPr/>
          <p:nvPr/>
        </p:nvGrpSpPr>
        <p:grpSpPr>
          <a:xfrm>
            <a:off x="2497480" y="4030543"/>
            <a:ext cx="5627999" cy="994602"/>
            <a:chOff x="2497480" y="3619599"/>
            <a:chExt cx="5627999" cy="994602"/>
          </a:xfrm>
        </p:grpSpPr>
        <p:cxnSp>
          <p:nvCxnSpPr>
            <p:cNvPr id="25" name="Straight Connector 24">
              <a:extLst>
                <a:ext uri="{FF2B5EF4-FFF2-40B4-BE49-F238E27FC236}">
                  <a16:creationId xmlns:a16="http://schemas.microsoft.com/office/drawing/2014/main" id="{87DC8880-1B54-46BF-9847-E8D350D82CBA}"/>
                </a:ext>
              </a:extLst>
            </p:cNvPr>
            <p:cNvCxnSpPr/>
            <p:nvPr/>
          </p:nvCxnSpPr>
          <p:spPr>
            <a:xfrm flipH="1">
              <a:off x="2548283" y="4013657"/>
              <a:ext cx="4975514" cy="7040"/>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0A05FA95-C2FE-486B-8EF1-B5923C1D04CC}"/>
                </a:ext>
              </a:extLst>
            </p:cNvPr>
            <p:cNvSpPr/>
            <p:nvPr/>
          </p:nvSpPr>
          <p:spPr>
            <a:xfrm>
              <a:off x="2497480" y="3619599"/>
              <a:ext cx="5020736" cy="477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bIns="91440" rtlCol="0" anchor="ct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400" b="1" i="0" u="none" strike="noStrike" kern="1200" cap="none" spc="-50" normalizeH="0" baseline="0" noProof="0" dirty="0">
                  <a:ln>
                    <a:noFill/>
                  </a:ln>
                  <a:solidFill>
                    <a:srgbClr val="000000"/>
                  </a:solidFill>
                  <a:effectLst/>
                  <a:uLnTx/>
                  <a:uFillTx/>
                  <a:latin typeface="Open Sans"/>
                  <a:ea typeface="+mn-ea"/>
                  <a:cs typeface="Open Sans"/>
                </a:rPr>
                <a:t>Development of New Framework</a:t>
              </a:r>
              <a:endParaRPr kumimoji="0" lang="en-US" sz="1000" b="1" i="0" u="none" strike="noStrike" kern="1200" cap="none" spc="-50" normalizeH="0" baseline="0" noProof="0" dirty="0">
                <a:ln>
                  <a:noFill/>
                </a:ln>
                <a:solidFill>
                  <a:srgbClr val="000000"/>
                </a:solidFill>
                <a:effectLst/>
                <a:uLnTx/>
                <a:uFillTx/>
                <a:latin typeface="Open Sans"/>
                <a:ea typeface="+mn-ea"/>
                <a:cs typeface="Open Sans"/>
              </a:endParaRPr>
            </a:p>
          </p:txBody>
        </p:sp>
        <p:sp>
          <p:nvSpPr>
            <p:cNvPr id="27" name="Oval 26">
              <a:extLst>
                <a:ext uri="{FF2B5EF4-FFF2-40B4-BE49-F238E27FC236}">
                  <a16:creationId xmlns:a16="http://schemas.microsoft.com/office/drawing/2014/main" id="{266A6AD6-EA70-4652-ACC8-C14D56E44401}"/>
                </a:ext>
              </a:extLst>
            </p:cNvPr>
            <p:cNvSpPr/>
            <p:nvPr/>
          </p:nvSpPr>
          <p:spPr>
            <a:xfrm>
              <a:off x="7529898" y="3749184"/>
              <a:ext cx="484632" cy="487435"/>
            </a:xfrm>
            <a:prstGeom prst="ellips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Open Sans"/>
              </a:endParaRPr>
            </a:p>
          </p:txBody>
        </p:sp>
        <p:sp>
          <p:nvSpPr>
            <p:cNvPr id="28" name="Oval 27">
              <a:extLst>
                <a:ext uri="{FF2B5EF4-FFF2-40B4-BE49-F238E27FC236}">
                  <a16:creationId xmlns:a16="http://schemas.microsoft.com/office/drawing/2014/main" id="{2E7F98F9-DB31-4266-835C-913C4CD85E70}"/>
                </a:ext>
              </a:extLst>
            </p:cNvPr>
            <p:cNvSpPr/>
            <p:nvPr/>
          </p:nvSpPr>
          <p:spPr>
            <a:xfrm>
              <a:off x="7412247" y="3636075"/>
              <a:ext cx="713232" cy="713653"/>
            </a:xfrm>
            <a:prstGeom prst="ellipse">
              <a:avLst/>
            </a:prstGeom>
            <a:noFill/>
            <a:ln w="2857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Open Sans"/>
              </a:endParaRPr>
            </a:p>
          </p:txBody>
        </p:sp>
        <p:sp>
          <p:nvSpPr>
            <p:cNvPr id="29" name="Text Placeholder 14">
              <a:extLst>
                <a:ext uri="{FF2B5EF4-FFF2-40B4-BE49-F238E27FC236}">
                  <a16:creationId xmlns:a16="http://schemas.microsoft.com/office/drawing/2014/main" id="{AD476A07-5AFF-49B1-AB50-C125CD077638}"/>
                </a:ext>
              </a:extLst>
            </p:cNvPr>
            <p:cNvSpPr txBox="1">
              <a:spLocks/>
            </p:cNvSpPr>
            <p:nvPr/>
          </p:nvSpPr>
          <p:spPr>
            <a:xfrm>
              <a:off x="2503581" y="4062206"/>
              <a:ext cx="5026317" cy="551995"/>
            </a:xfrm>
            <a:prstGeom prst="rect">
              <a:avLst/>
            </a:prstGeom>
          </p:spPr>
          <p:txBody>
            <a:bodyP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37160" marR="0" lvl="0" indent="-13716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Char char="•"/>
                <a:tabLst>
                  <a:tab pos="182880" algn="l"/>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Open Sans"/>
                </a:rPr>
                <a:t>Developed new policy aligned with strategic objectives </a:t>
              </a:r>
            </a:p>
            <a:p>
              <a:pPr marL="137160" marR="0" lvl="0" indent="-13716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Char char="•"/>
                <a:tabLst>
                  <a:tab pos="182880" algn="l"/>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Open Sans"/>
                </a:rPr>
                <a:t>Vetted policy with cross-functional stakeholders</a:t>
              </a:r>
            </a:p>
          </p:txBody>
        </p:sp>
      </p:grpSp>
      <p:grpSp>
        <p:nvGrpSpPr>
          <p:cNvPr id="30" name="Group 29">
            <a:extLst>
              <a:ext uri="{FF2B5EF4-FFF2-40B4-BE49-F238E27FC236}">
                <a16:creationId xmlns:a16="http://schemas.microsoft.com/office/drawing/2014/main" id="{E7637C65-807F-4A9A-B694-DEA6E088CFFC}"/>
              </a:ext>
            </a:extLst>
          </p:cNvPr>
          <p:cNvGrpSpPr/>
          <p:nvPr/>
        </p:nvGrpSpPr>
        <p:grpSpPr>
          <a:xfrm>
            <a:off x="5757507" y="5253544"/>
            <a:ext cx="5628010" cy="1213555"/>
            <a:chOff x="5757507" y="4850420"/>
            <a:chExt cx="5628010" cy="1213555"/>
          </a:xfrm>
        </p:grpSpPr>
        <p:cxnSp>
          <p:nvCxnSpPr>
            <p:cNvPr id="31" name="Straight Connector 30">
              <a:extLst>
                <a:ext uri="{FF2B5EF4-FFF2-40B4-BE49-F238E27FC236}">
                  <a16:creationId xmlns:a16="http://schemas.microsoft.com/office/drawing/2014/main" id="{0920E9E9-A229-4591-96D3-D3F43E57F7B8}"/>
                </a:ext>
              </a:extLst>
            </p:cNvPr>
            <p:cNvCxnSpPr/>
            <p:nvPr/>
          </p:nvCxnSpPr>
          <p:spPr>
            <a:xfrm flipH="1">
              <a:off x="5808310" y="5244478"/>
              <a:ext cx="4975514" cy="7040"/>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B189DD32-D32A-4426-9516-E7E4EF40671B}"/>
                </a:ext>
              </a:extLst>
            </p:cNvPr>
            <p:cNvSpPr/>
            <p:nvPr/>
          </p:nvSpPr>
          <p:spPr>
            <a:xfrm>
              <a:off x="5757507" y="4850420"/>
              <a:ext cx="5020736" cy="477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bIns="91440" rtlCol="0" anchor="ct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400" b="1" i="0" u="none" strike="noStrike" kern="1200" cap="none" spc="-50" normalizeH="0" baseline="0" noProof="0" dirty="0">
                  <a:ln>
                    <a:noFill/>
                  </a:ln>
                  <a:solidFill>
                    <a:srgbClr val="000000"/>
                  </a:solidFill>
                  <a:effectLst/>
                  <a:uLnTx/>
                  <a:uFillTx/>
                  <a:latin typeface="Open Sans"/>
                  <a:ea typeface="+mn-ea"/>
                  <a:cs typeface="Open Sans"/>
                </a:rPr>
                <a:t>Application to Customers</a:t>
              </a:r>
              <a:endParaRPr kumimoji="0" lang="en-US" sz="1000" b="1" i="0" u="none" strike="noStrike" kern="1200" cap="none" spc="-50" normalizeH="0" baseline="0" noProof="0" dirty="0">
                <a:ln>
                  <a:noFill/>
                </a:ln>
                <a:solidFill>
                  <a:srgbClr val="000000"/>
                </a:solidFill>
                <a:effectLst/>
                <a:uLnTx/>
                <a:uFillTx/>
                <a:latin typeface="Open Sans"/>
                <a:ea typeface="+mn-ea"/>
                <a:cs typeface="Open Sans"/>
              </a:endParaRPr>
            </a:p>
          </p:txBody>
        </p:sp>
        <p:sp>
          <p:nvSpPr>
            <p:cNvPr id="33" name="Oval 32">
              <a:extLst>
                <a:ext uri="{FF2B5EF4-FFF2-40B4-BE49-F238E27FC236}">
                  <a16:creationId xmlns:a16="http://schemas.microsoft.com/office/drawing/2014/main" id="{C27FF238-45ED-4C9B-888D-8DBA20BE99C8}"/>
                </a:ext>
              </a:extLst>
            </p:cNvPr>
            <p:cNvSpPr/>
            <p:nvPr/>
          </p:nvSpPr>
          <p:spPr>
            <a:xfrm>
              <a:off x="10789936" y="5000760"/>
              <a:ext cx="484632" cy="487435"/>
            </a:xfrm>
            <a:prstGeom prst="ellips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Open Sans"/>
              </a:endParaRPr>
            </a:p>
          </p:txBody>
        </p:sp>
        <p:sp>
          <p:nvSpPr>
            <p:cNvPr id="34" name="Oval 33">
              <a:extLst>
                <a:ext uri="{FF2B5EF4-FFF2-40B4-BE49-F238E27FC236}">
                  <a16:creationId xmlns:a16="http://schemas.microsoft.com/office/drawing/2014/main" id="{54D38519-F008-4D3B-A25B-1796ED019336}"/>
                </a:ext>
              </a:extLst>
            </p:cNvPr>
            <p:cNvSpPr/>
            <p:nvPr/>
          </p:nvSpPr>
          <p:spPr>
            <a:xfrm>
              <a:off x="10672285" y="4887651"/>
              <a:ext cx="713232" cy="713653"/>
            </a:xfrm>
            <a:prstGeom prst="ellipse">
              <a:avLst/>
            </a:prstGeom>
            <a:noFill/>
            <a:ln w="2857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Open Sans"/>
              </a:endParaRPr>
            </a:p>
          </p:txBody>
        </p:sp>
        <p:sp>
          <p:nvSpPr>
            <p:cNvPr id="35" name="Text Placeholder 14">
              <a:extLst>
                <a:ext uri="{FF2B5EF4-FFF2-40B4-BE49-F238E27FC236}">
                  <a16:creationId xmlns:a16="http://schemas.microsoft.com/office/drawing/2014/main" id="{C294CE01-D68B-4B91-8FD2-D73EC6CCD90C}"/>
                </a:ext>
              </a:extLst>
            </p:cNvPr>
            <p:cNvSpPr txBox="1">
              <a:spLocks/>
            </p:cNvSpPr>
            <p:nvPr/>
          </p:nvSpPr>
          <p:spPr>
            <a:xfrm>
              <a:off x="5763619" y="5296679"/>
              <a:ext cx="5026317" cy="767296"/>
            </a:xfrm>
            <a:prstGeom prst="rect">
              <a:avLst/>
            </a:prstGeom>
          </p:spPr>
          <p:txBody>
            <a:bodyP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37160" marR="0" lvl="0" indent="-13716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Char char="•"/>
                <a:tabLst>
                  <a:tab pos="182880" algn="l"/>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Open Sans"/>
                </a:rPr>
                <a:t>Assessed impact on our customers</a:t>
              </a:r>
            </a:p>
            <a:p>
              <a:pPr marL="137160" marR="0" lvl="0" indent="-13716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Char char="•"/>
                <a:tabLst>
                  <a:tab pos="182880" algn="l"/>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Open Sans"/>
                </a:rPr>
                <a:t>Worked with business and technology to develop the tools and processes for successful implementation</a:t>
              </a:r>
            </a:p>
          </p:txBody>
        </p:sp>
      </p:grpSp>
    </p:spTree>
    <p:extLst>
      <p:ext uri="{BB962C8B-B14F-4D97-AF65-F5344CB8AC3E}">
        <p14:creationId xmlns:p14="http://schemas.microsoft.com/office/powerpoint/2010/main" val="1324426600"/>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52F0A98-EAFC-4B8E-95A7-ABEEC810EEF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3476" name="think-cell Slide" r:id="rId6" imgW="415" imgH="416" progId="TCLayout.ActiveDocument.1">
                  <p:embed/>
                </p:oleObj>
              </mc:Choice>
              <mc:Fallback>
                <p:oleObj name="think-cell Slide" r:id="rId6" imgW="415" imgH="416" progId="TCLayout.ActiveDocument.1">
                  <p:embed/>
                  <p:pic>
                    <p:nvPicPr>
                      <p:cNvPr id="6" name="Object 5" hidden="1">
                        <a:extLst>
                          <a:ext uri="{FF2B5EF4-FFF2-40B4-BE49-F238E27FC236}">
                            <a16:creationId xmlns:a16="http://schemas.microsoft.com/office/drawing/2014/main" id="{552F0A98-EAFC-4B8E-95A7-ABEEC810EEF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3CD8EC4-64FF-4311-BC71-314EEB67E83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EEA16F5C-B7EC-4FAA-8646-DCD5CEB852BD}"/>
              </a:ext>
            </a:extLst>
          </p:cNvPr>
          <p:cNvSpPr>
            <a:spLocks noGrp="1"/>
          </p:cNvSpPr>
          <p:nvPr>
            <p:ph type="title"/>
          </p:nvPr>
        </p:nvSpPr>
        <p:spPr/>
        <p:txBody>
          <a:bodyPr/>
          <a:lstStyle/>
          <a:p>
            <a:r>
              <a:rPr lang="en-US" dirty="0"/>
              <a:t>Release Cycle</a:t>
            </a:r>
          </a:p>
        </p:txBody>
      </p:sp>
      <p:sp>
        <p:nvSpPr>
          <p:cNvPr id="3" name="Text Placeholder 2">
            <a:extLst>
              <a:ext uri="{FF2B5EF4-FFF2-40B4-BE49-F238E27FC236}">
                <a16:creationId xmlns:a16="http://schemas.microsoft.com/office/drawing/2014/main" id="{E3066996-867B-4175-BDAC-A3AC7FAEFC48}"/>
              </a:ext>
            </a:extLst>
          </p:cNvPr>
          <p:cNvSpPr>
            <a:spLocks noGrp="1"/>
          </p:cNvSpPr>
          <p:nvPr>
            <p:ph type="body" sz="quarter" idx="15"/>
          </p:nvPr>
        </p:nvSpPr>
        <p:spPr/>
        <p:txBody>
          <a:bodyPr/>
          <a:lstStyle/>
          <a:p>
            <a:r>
              <a:rPr lang="en-US" dirty="0"/>
              <a:t>Plans, timelines and roadmaps</a:t>
            </a:r>
          </a:p>
        </p:txBody>
      </p:sp>
      <p:sp>
        <p:nvSpPr>
          <p:cNvPr id="7" name="Rectangle: Rounded Corners 6">
            <a:extLst>
              <a:ext uri="{FF2B5EF4-FFF2-40B4-BE49-F238E27FC236}">
                <a16:creationId xmlns:a16="http://schemas.microsoft.com/office/drawing/2014/main" id="{6EBD480C-69A1-4FA2-9758-1FF752E99EEA}"/>
              </a:ext>
            </a:extLst>
          </p:cNvPr>
          <p:cNvSpPr/>
          <p:nvPr/>
        </p:nvSpPr>
        <p:spPr>
          <a:xfrm>
            <a:off x="4802736" y="384561"/>
            <a:ext cx="6715717" cy="2667208"/>
          </a:xfrm>
          <a:prstGeom prst="roundRect">
            <a:avLst>
              <a:gd name="adj" fmla="val 0"/>
            </a:avLst>
          </a:prstGeom>
          <a:noFill/>
          <a:ln w="19050">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cxnSp>
        <p:nvCxnSpPr>
          <p:cNvPr id="8" name="Straight Connector 7">
            <a:extLst>
              <a:ext uri="{FF2B5EF4-FFF2-40B4-BE49-F238E27FC236}">
                <a16:creationId xmlns:a16="http://schemas.microsoft.com/office/drawing/2014/main" id="{4BF9861C-E3EF-4E37-BCEA-05F2E23DCEF7}"/>
              </a:ext>
            </a:extLst>
          </p:cNvPr>
          <p:cNvCxnSpPr/>
          <p:nvPr/>
        </p:nvCxnSpPr>
        <p:spPr>
          <a:xfrm>
            <a:off x="914400" y="3506849"/>
            <a:ext cx="10565176"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3713B085-CABA-42ED-9C87-742DFAA80F4F}"/>
              </a:ext>
            </a:extLst>
          </p:cNvPr>
          <p:cNvGrpSpPr/>
          <p:nvPr/>
        </p:nvGrpSpPr>
        <p:grpSpPr>
          <a:xfrm>
            <a:off x="1085401" y="3877007"/>
            <a:ext cx="10302240" cy="531594"/>
            <a:chOff x="1085401" y="5440822"/>
            <a:chExt cx="10302240" cy="349817"/>
          </a:xfrm>
        </p:grpSpPr>
        <p:cxnSp>
          <p:nvCxnSpPr>
            <p:cNvPr id="10" name="Straight Connector 9">
              <a:extLst>
                <a:ext uri="{FF2B5EF4-FFF2-40B4-BE49-F238E27FC236}">
                  <a16:creationId xmlns:a16="http://schemas.microsoft.com/office/drawing/2014/main" id="{65448F83-A28B-41AD-8AAB-C68F18232043}"/>
                </a:ext>
              </a:extLst>
            </p:cNvPr>
            <p:cNvCxnSpPr/>
            <p:nvPr/>
          </p:nvCxnSpPr>
          <p:spPr>
            <a:xfrm>
              <a:off x="1085401" y="5440822"/>
              <a:ext cx="0" cy="349817"/>
            </a:xfrm>
            <a:prstGeom prst="line">
              <a:avLst/>
            </a:prstGeom>
            <a:ln w="1905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7072D10-1F20-466A-9B0A-989DC4B55806}"/>
                </a:ext>
              </a:extLst>
            </p:cNvPr>
            <p:cNvCxnSpPr/>
            <p:nvPr/>
          </p:nvCxnSpPr>
          <p:spPr>
            <a:xfrm>
              <a:off x="4278181" y="5440822"/>
              <a:ext cx="0" cy="349817"/>
            </a:xfrm>
            <a:prstGeom prst="line">
              <a:avLst/>
            </a:prstGeom>
            <a:ln w="1905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0941673-5D17-4D55-A4EA-149F637123A9}"/>
                </a:ext>
              </a:extLst>
            </p:cNvPr>
            <p:cNvCxnSpPr/>
            <p:nvPr/>
          </p:nvCxnSpPr>
          <p:spPr>
            <a:xfrm>
              <a:off x="6114601" y="5440822"/>
              <a:ext cx="0" cy="349817"/>
            </a:xfrm>
            <a:prstGeom prst="line">
              <a:avLst/>
            </a:prstGeom>
            <a:ln w="1905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3F02D6A-ECEC-4FB0-AAF7-7DE9B53F6494}"/>
                </a:ext>
              </a:extLst>
            </p:cNvPr>
            <p:cNvCxnSpPr/>
            <p:nvPr/>
          </p:nvCxnSpPr>
          <p:spPr>
            <a:xfrm>
              <a:off x="8255821" y="5440822"/>
              <a:ext cx="0" cy="349817"/>
            </a:xfrm>
            <a:prstGeom prst="line">
              <a:avLst/>
            </a:prstGeom>
            <a:ln w="1905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341CA-0E04-48BF-A8B0-E812C1068CD0}"/>
                </a:ext>
              </a:extLst>
            </p:cNvPr>
            <p:cNvCxnSpPr/>
            <p:nvPr/>
          </p:nvCxnSpPr>
          <p:spPr>
            <a:xfrm>
              <a:off x="11387641" y="5440822"/>
              <a:ext cx="0" cy="349817"/>
            </a:xfrm>
            <a:prstGeom prst="line">
              <a:avLst/>
            </a:prstGeom>
            <a:ln w="1905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cxnSp>
        <p:nvCxnSpPr>
          <p:cNvPr id="15" name="Straight Connector 14">
            <a:extLst>
              <a:ext uri="{FF2B5EF4-FFF2-40B4-BE49-F238E27FC236}">
                <a16:creationId xmlns:a16="http://schemas.microsoft.com/office/drawing/2014/main" id="{C6D6D103-76FF-428E-9FBF-3D0B142EDA56}"/>
              </a:ext>
            </a:extLst>
          </p:cNvPr>
          <p:cNvCxnSpPr>
            <a:cxnSpLocks/>
          </p:cNvCxnSpPr>
          <p:nvPr/>
        </p:nvCxnSpPr>
        <p:spPr>
          <a:xfrm>
            <a:off x="3522242" y="5947180"/>
            <a:ext cx="5465004" cy="0"/>
          </a:xfrm>
          <a:prstGeom prst="line">
            <a:avLst/>
          </a:prstGeom>
          <a:ln w="1270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6B2B324B-97BD-41B8-8E51-179F97E312A0}"/>
              </a:ext>
            </a:extLst>
          </p:cNvPr>
          <p:cNvSpPr txBox="1"/>
          <p:nvPr/>
        </p:nvSpPr>
        <p:spPr>
          <a:xfrm>
            <a:off x="8210440" y="1790950"/>
            <a:ext cx="3122874" cy="606489"/>
          </a:xfrm>
          <a:prstGeom prst="rect">
            <a:avLst/>
          </a:prstGeom>
          <a:noFill/>
        </p:spPr>
        <p:txBody>
          <a:bodyPr wrap="square" lIns="91440" rIns="91440" rtlCol="0" anchor="t" anchorCtr="0">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llect Feedbac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Gathered feedback from stakeholders internally &amp; externally to document requirements for development</a:t>
            </a:r>
          </a:p>
        </p:txBody>
      </p:sp>
      <p:sp>
        <p:nvSpPr>
          <p:cNvPr id="17" name="TextBox 16">
            <a:extLst>
              <a:ext uri="{FF2B5EF4-FFF2-40B4-BE49-F238E27FC236}">
                <a16:creationId xmlns:a16="http://schemas.microsoft.com/office/drawing/2014/main" id="{0E722284-4B4A-4176-AA7F-C5C8500C35B8}"/>
              </a:ext>
            </a:extLst>
          </p:cNvPr>
          <p:cNvSpPr txBox="1"/>
          <p:nvPr/>
        </p:nvSpPr>
        <p:spPr>
          <a:xfrm>
            <a:off x="8212540" y="688645"/>
            <a:ext cx="2770149" cy="476855"/>
          </a:xfrm>
          <a:prstGeom prst="rect">
            <a:avLst/>
          </a:prstGeom>
          <a:noFill/>
        </p:spPr>
        <p:txBody>
          <a:bodyPr wrap="square" lIns="91440" rIns="91440" rtlCol="0" anchor="t">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fine Requirem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ranslated feedback into specific user stories</a:t>
            </a:r>
          </a:p>
        </p:txBody>
      </p:sp>
      <p:sp>
        <p:nvSpPr>
          <p:cNvPr id="18" name="TextBox 17">
            <a:extLst>
              <a:ext uri="{FF2B5EF4-FFF2-40B4-BE49-F238E27FC236}">
                <a16:creationId xmlns:a16="http://schemas.microsoft.com/office/drawing/2014/main" id="{2E46A2EB-09CF-430F-8D70-E303A6820A58}"/>
              </a:ext>
            </a:extLst>
          </p:cNvPr>
          <p:cNvSpPr txBox="1"/>
          <p:nvPr/>
        </p:nvSpPr>
        <p:spPr>
          <a:xfrm>
            <a:off x="8189699" y="1187546"/>
            <a:ext cx="2985085" cy="585875"/>
          </a:xfrm>
          <a:prstGeom prst="rect">
            <a:avLst/>
          </a:prstGeom>
          <a:noFill/>
        </p:spPr>
        <p:txBody>
          <a:bodyPr wrap="square" lIns="91440" rIns="91440" rtlCol="0" anchor="t">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reate Desig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Gathered and transformed underlying data into visual designs </a:t>
            </a:r>
          </a:p>
        </p:txBody>
      </p:sp>
      <p:sp>
        <p:nvSpPr>
          <p:cNvPr id="19" name="TextBox 18">
            <a:extLst>
              <a:ext uri="{FF2B5EF4-FFF2-40B4-BE49-F238E27FC236}">
                <a16:creationId xmlns:a16="http://schemas.microsoft.com/office/drawing/2014/main" id="{E4B955D9-B42A-479A-AA2E-0CC1D906D53D}"/>
              </a:ext>
            </a:extLst>
          </p:cNvPr>
          <p:cNvSpPr txBox="1"/>
          <p:nvPr/>
        </p:nvSpPr>
        <p:spPr>
          <a:xfrm>
            <a:off x="8190281" y="2401361"/>
            <a:ext cx="3347390" cy="465836"/>
          </a:xfrm>
          <a:prstGeom prst="rect">
            <a:avLst/>
          </a:prstGeom>
          <a:noFill/>
        </p:spPr>
        <p:txBody>
          <a:bodyPr wrap="square" lIns="91440" rIns="91440" rtlCol="0" anchor="t">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aunch Solu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monstrated new functionalities to Stakeholders</a:t>
            </a:r>
          </a:p>
        </p:txBody>
      </p:sp>
      <p:sp>
        <p:nvSpPr>
          <p:cNvPr id="20" name="TextBox 19">
            <a:extLst>
              <a:ext uri="{FF2B5EF4-FFF2-40B4-BE49-F238E27FC236}">
                <a16:creationId xmlns:a16="http://schemas.microsoft.com/office/drawing/2014/main" id="{C048527D-F83D-4EBC-BC6F-AEC803AE045F}"/>
              </a:ext>
            </a:extLst>
          </p:cNvPr>
          <p:cNvSpPr txBox="1"/>
          <p:nvPr/>
        </p:nvSpPr>
        <p:spPr>
          <a:xfrm>
            <a:off x="3467396" y="5411734"/>
            <a:ext cx="5531001"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000000"/>
                </a:solidFill>
                <a:effectLst/>
                <a:uLnTx/>
                <a:uFillTx/>
                <a:latin typeface="Chronicle Display Black"/>
                <a:ea typeface="+mn-ea"/>
                <a:cs typeface="+mn-cs"/>
              </a:rPr>
              <a:t>3 Month Release Cycle</a:t>
            </a:r>
          </a:p>
        </p:txBody>
      </p:sp>
      <p:grpSp>
        <p:nvGrpSpPr>
          <p:cNvPr id="21" name="Group 20">
            <a:extLst>
              <a:ext uri="{FF2B5EF4-FFF2-40B4-BE49-F238E27FC236}">
                <a16:creationId xmlns:a16="http://schemas.microsoft.com/office/drawing/2014/main" id="{591A37F4-EB4A-47C4-950E-7B471602CF64}"/>
              </a:ext>
            </a:extLst>
          </p:cNvPr>
          <p:cNvGrpSpPr/>
          <p:nvPr/>
        </p:nvGrpSpPr>
        <p:grpSpPr>
          <a:xfrm>
            <a:off x="7956010" y="751277"/>
            <a:ext cx="269452" cy="269452"/>
            <a:chOff x="7491774" y="856026"/>
            <a:chExt cx="521208" cy="521208"/>
          </a:xfrm>
        </p:grpSpPr>
        <p:sp>
          <p:nvSpPr>
            <p:cNvPr id="22" name="Oval 21">
              <a:extLst>
                <a:ext uri="{FF2B5EF4-FFF2-40B4-BE49-F238E27FC236}">
                  <a16:creationId xmlns:a16="http://schemas.microsoft.com/office/drawing/2014/main" id="{744C3061-454C-4CB5-8D0C-491B18A7F1D1}"/>
                </a:ext>
              </a:extLst>
            </p:cNvPr>
            <p:cNvSpPr/>
            <p:nvPr/>
          </p:nvSpPr>
          <p:spPr>
            <a:xfrm>
              <a:off x="7491774" y="856026"/>
              <a:ext cx="521208" cy="5212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23" name="Group 22">
              <a:extLst>
                <a:ext uri="{FF2B5EF4-FFF2-40B4-BE49-F238E27FC236}">
                  <a16:creationId xmlns:a16="http://schemas.microsoft.com/office/drawing/2014/main" id="{6C519A66-7E90-4AC6-B548-D03172D451B1}"/>
                </a:ext>
              </a:extLst>
            </p:cNvPr>
            <p:cNvGrpSpPr>
              <a:grpSpLocks noChangeAspect="1"/>
            </p:cNvGrpSpPr>
            <p:nvPr/>
          </p:nvGrpSpPr>
          <p:grpSpPr>
            <a:xfrm>
              <a:off x="7492028" y="856280"/>
              <a:ext cx="520700" cy="520700"/>
              <a:chOff x="7588251" y="3340100"/>
              <a:chExt cx="520700" cy="520700"/>
            </a:xfrm>
          </p:grpSpPr>
          <p:sp>
            <p:nvSpPr>
              <p:cNvPr id="24" name="Freeform 70">
                <a:extLst>
                  <a:ext uri="{FF2B5EF4-FFF2-40B4-BE49-F238E27FC236}">
                    <a16:creationId xmlns:a16="http://schemas.microsoft.com/office/drawing/2014/main" id="{B4B1860E-1504-4EFB-88BD-772832F4DFD1}"/>
                  </a:ext>
                </a:extLst>
              </p:cNvPr>
              <p:cNvSpPr>
                <a:spLocks noEditPoints="1"/>
              </p:cNvSpPr>
              <p:nvPr/>
            </p:nvSpPr>
            <p:spPr bwMode="auto">
              <a:xfrm>
                <a:off x="7588251" y="3340100"/>
                <a:ext cx="520700" cy="520700"/>
              </a:xfrm>
              <a:custGeom>
                <a:avLst/>
                <a:gdLst>
                  <a:gd name="T0" fmla="*/ 312 w 657"/>
                  <a:gd name="T1" fmla="*/ 657 h 657"/>
                  <a:gd name="T2" fmla="*/ 262 w 657"/>
                  <a:gd name="T3" fmla="*/ 650 h 657"/>
                  <a:gd name="T4" fmla="*/ 200 w 657"/>
                  <a:gd name="T5" fmla="*/ 632 h 657"/>
                  <a:gd name="T6" fmla="*/ 120 w 657"/>
                  <a:gd name="T7" fmla="*/ 582 h 657"/>
                  <a:gd name="T8" fmla="*/ 55 w 657"/>
                  <a:gd name="T9" fmla="*/ 512 h 657"/>
                  <a:gd name="T10" fmla="*/ 15 w 657"/>
                  <a:gd name="T11" fmla="*/ 426 h 657"/>
                  <a:gd name="T12" fmla="*/ 3 w 657"/>
                  <a:gd name="T13" fmla="*/ 379 h 657"/>
                  <a:gd name="T14" fmla="*/ 0 w 657"/>
                  <a:gd name="T15" fmla="*/ 328 h 657"/>
                  <a:gd name="T16" fmla="*/ 1 w 657"/>
                  <a:gd name="T17" fmla="*/ 294 h 657"/>
                  <a:gd name="T18" fmla="*/ 10 w 657"/>
                  <a:gd name="T19" fmla="*/ 246 h 657"/>
                  <a:gd name="T20" fmla="*/ 39 w 657"/>
                  <a:gd name="T21" fmla="*/ 172 h 657"/>
                  <a:gd name="T22" fmla="*/ 96 w 657"/>
                  <a:gd name="T23" fmla="*/ 96 h 657"/>
                  <a:gd name="T24" fmla="*/ 172 w 657"/>
                  <a:gd name="T25" fmla="*/ 39 h 657"/>
                  <a:gd name="T26" fmla="*/ 246 w 657"/>
                  <a:gd name="T27" fmla="*/ 10 h 657"/>
                  <a:gd name="T28" fmla="*/ 294 w 657"/>
                  <a:gd name="T29" fmla="*/ 2 h 657"/>
                  <a:gd name="T30" fmla="*/ 328 w 657"/>
                  <a:gd name="T31" fmla="*/ 0 h 657"/>
                  <a:gd name="T32" fmla="*/ 378 w 657"/>
                  <a:gd name="T33" fmla="*/ 3 h 657"/>
                  <a:gd name="T34" fmla="*/ 426 w 657"/>
                  <a:gd name="T35" fmla="*/ 15 h 657"/>
                  <a:gd name="T36" fmla="*/ 512 w 657"/>
                  <a:gd name="T37" fmla="*/ 57 h 657"/>
                  <a:gd name="T38" fmla="*/ 582 w 657"/>
                  <a:gd name="T39" fmla="*/ 120 h 657"/>
                  <a:gd name="T40" fmla="*/ 631 w 657"/>
                  <a:gd name="T41" fmla="*/ 200 h 657"/>
                  <a:gd name="T42" fmla="*/ 650 w 657"/>
                  <a:gd name="T43" fmla="*/ 262 h 657"/>
                  <a:gd name="T44" fmla="*/ 657 w 657"/>
                  <a:gd name="T45" fmla="*/ 312 h 657"/>
                  <a:gd name="T46" fmla="*/ 657 w 657"/>
                  <a:gd name="T47" fmla="*/ 345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8 w 657"/>
                  <a:gd name="T59" fmla="*/ 653 h 657"/>
                  <a:gd name="T60" fmla="*/ 328 w 657"/>
                  <a:gd name="T61" fmla="*/ 657 h 657"/>
                  <a:gd name="T62" fmla="*/ 328 w 657"/>
                  <a:gd name="T63" fmla="*/ 38 h 657"/>
                  <a:gd name="T64" fmla="*/ 242 w 657"/>
                  <a:gd name="T65" fmla="*/ 50 h 657"/>
                  <a:gd name="T66" fmla="*/ 165 w 657"/>
                  <a:gd name="T67" fmla="*/ 88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5 w 657"/>
                  <a:gd name="T81" fmla="*/ 570 h 657"/>
                  <a:gd name="T82" fmla="*/ 242 w 657"/>
                  <a:gd name="T83" fmla="*/ 606 h 657"/>
                  <a:gd name="T84" fmla="*/ 328 w 657"/>
                  <a:gd name="T85" fmla="*/ 619 h 657"/>
                  <a:gd name="T86" fmla="*/ 387 w 657"/>
                  <a:gd name="T87" fmla="*/ 614 h 657"/>
                  <a:gd name="T88" fmla="*/ 468 w 657"/>
                  <a:gd name="T89" fmla="*/ 585 h 657"/>
                  <a:gd name="T90" fmla="*/ 533 w 657"/>
                  <a:gd name="T91" fmla="*/ 535 h 657"/>
                  <a:gd name="T92" fmla="*/ 584 w 657"/>
                  <a:gd name="T93" fmla="*/ 468 h 657"/>
                  <a:gd name="T94" fmla="*/ 614 w 657"/>
                  <a:gd name="T95" fmla="*/ 387 h 657"/>
                  <a:gd name="T96" fmla="*/ 619 w 657"/>
                  <a:gd name="T97" fmla="*/ 328 h 657"/>
                  <a:gd name="T98" fmla="*/ 606 w 657"/>
                  <a:gd name="T99" fmla="*/ 242 h 657"/>
                  <a:gd name="T100" fmla="*/ 570 w 657"/>
                  <a:gd name="T101" fmla="*/ 165 h 657"/>
                  <a:gd name="T102" fmla="*/ 513 w 657"/>
                  <a:gd name="T103" fmla="*/ 104 h 657"/>
                  <a:gd name="T104" fmla="*/ 442 w 657"/>
                  <a:gd name="T105" fmla="*/ 61 h 657"/>
                  <a:gd name="T106" fmla="*/ 357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4" y="656"/>
                    </a:lnTo>
                    <a:lnTo>
                      <a:pt x="278" y="653"/>
                    </a:lnTo>
                    <a:lnTo>
                      <a:pt x="262" y="650"/>
                    </a:lnTo>
                    <a:lnTo>
                      <a:pt x="246" y="646"/>
                    </a:lnTo>
                    <a:lnTo>
                      <a:pt x="231" y="642"/>
                    </a:lnTo>
                    <a:lnTo>
                      <a:pt x="200" y="632"/>
                    </a:lnTo>
                    <a:lnTo>
                      <a:pt x="172" y="618"/>
                    </a:lnTo>
                    <a:lnTo>
                      <a:pt x="145" y="601"/>
                    </a:lnTo>
                    <a:lnTo>
                      <a:pt x="120" y="582"/>
                    </a:lnTo>
                    <a:lnTo>
                      <a:pt x="96" y="560"/>
                    </a:lnTo>
                    <a:lnTo>
                      <a:pt x="74" y="538"/>
                    </a:lnTo>
                    <a:lnTo>
                      <a:pt x="55" y="512"/>
                    </a:lnTo>
                    <a:lnTo>
                      <a:pt x="39" y="485"/>
                    </a:lnTo>
                    <a:lnTo>
                      <a:pt x="26" y="457"/>
                    </a:lnTo>
                    <a:lnTo>
                      <a:pt x="15" y="426"/>
                    </a:lnTo>
                    <a:lnTo>
                      <a:pt x="10" y="411"/>
                    </a:lnTo>
                    <a:lnTo>
                      <a:pt x="6" y="395"/>
                    </a:lnTo>
                    <a:lnTo>
                      <a:pt x="3" y="379"/>
                    </a:lnTo>
                    <a:lnTo>
                      <a:pt x="1" y="362"/>
                    </a:lnTo>
                    <a:lnTo>
                      <a:pt x="0" y="345"/>
                    </a:lnTo>
                    <a:lnTo>
                      <a:pt x="0" y="328"/>
                    </a:lnTo>
                    <a:lnTo>
                      <a:pt x="0" y="328"/>
                    </a:lnTo>
                    <a:lnTo>
                      <a:pt x="0" y="312"/>
                    </a:lnTo>
                    <a:lnTo>
                      <a:pt x="1" y="294"/>
                    </a:lnTo>
                    <a:lnTo>
                      <a:pt x="3" y="278"/>
                    </a:lnTo>
                    <a:lnTo>
                      <a:pt x="6" y="262"/>
                    </a:lnTo>
                    <a:lnTo>
                      <a:pt x="10" y="246"/>
                    </a:lnTo>
                    <a:lnTo>
                      <a:pt x="15" y="231"/>
                    </a:lnTo>
                    <a:lnTo>
                      <a:pt x="26" y="200"/>
                    </a:lnTo>
                    <a:lnTo>
                      <a:pt x="39" y="172"/>
                    </a:lnTo>
                    <a:lnTo>
                      <a:pt x="55" y="145"/>
                    </a:lnTo>
                    <a:lnTo>
                      <a:pt x="74" y="120"/>
                    </a:lnTo>
                    <a:lnTo>
                      <a:pt x="96" y="96"/>
                    </a:lnTo>
                    <a:lnTo>
                      <a:pt x="120" y="75"/>
                    </a:lnTo>
                    <a:lnTo>
                      <a:pt x="145" y="57"/>
                    </a:lnTo>
                    <a:lnTo>
                      <a:pt x="172" y="39"/>
                    </a:lnTo>
                    <a:lnTo>
                      <a:pt x="200" y="26"/>
                    </a:lnTo>
                    <a:lnTo>
                      <a:pt x="231" y="15"/>
                    </a:lnTo>
                    <a:lnTo>
                      <a:pt x="246" y="10"/>
                    </a:lnTo>
                    <a:lnTo>
                      <a:pt x="262" y="7"/>
                    </a:lnTo>
                    <a:lnTo>
                      <a:pt x="278" y="3"/>
                    </a:lnTo>
                    <a:lnTo>
                      <a:pt x="294" y="2"/>
                    </a:lnTo>
                    <a:lnTo>
                      <a:pt x="312" y="0"/>
                    </a:lnTo>
                    <a:lnTo>
                      <a:pt x="328" y="0"/>
                    </a:lnTo>
                    <a:lnTo>
                      <a:pt x="328" y="0"/>
                    </a:lnTo>
                    <a:lnTo>
                      <a:pt x="345" y="0"/>
                    </a:lnTo>
                    <a:lnTo>
                      <a:pt x="361" y="2"/>
                    </a:lnTo>
                    <a:lnTo>
                      <a:pt x="378" y="3"/>
                    </a:lnTo>
                    <a:lnTo>
                      <a:pt x="395" y="7"/>
                    </a:lnTo>
                    <a:lnTo>
                      <a:pt x="410" y="10"/>
                    </a:lnTo>
                    <a:lnTo>
                      <a:pt x="426" y="15"/>
                    </a:lnTo>
                    <a:lnTo>
                      <a:pt x="455" y="26"/>
                    </a:lnTo>
                    <a:lnTo>
                      <a:pt x="485" y="39"/>
                    </a:lnTo>
                    <a:lnTo>
                      <a:pt x="512" y="57"/>
                    </a:lnTo>
                    <a:lnTo>
                      <a:pt x="537" y="75"/>
                    </a:lnTo>
                    <a:lnTo>
                      <a:pt x="560" y="96"/>
                    </a:lnTo>
                    <a:lnTo>
                      <a:pt x="582" y="120"/>
                    </a:lnTo>
                    <a:lnTo>
                      <a:pt x="601" y="145"/>
                    </a:lnTo>
                    <a:lnTo>
                      <a:pt x="617" y="172"/>
                    </a:lnTo>
                    <a:lnTo>
                      <a:pt x="631" y="200"/>
                    </a:lnTo>
                    <a:lnTo>
                      <a:pt x="642" y="231"/>
                    </a:lnTo>
                    <a:lnTo>
                      <a:pt x="646" y="246"/>
                    </a:lnTo>
                    <a:lnTo>
                      <a:pt x="650" y="262"/>
                    </a:lnTo>
                    <a:lnTo>
                      <a:pt x="653" y="278"/>
                    </a:lnTo>
                    <a:lnTo>
                      <a:pt x="656" y="294"/>
                    </a:lnTo>
                    <a:lnTo>
                      <a:pt x="657" y="312"/>
                    </a:lnTo>
                    <a:lnTo>
                      <a:pt x="657" y="328"/>
                    </a:lnTo>
                    <a:lnTo>
                      <a:pt x="657" y="328"/>
                    </a:lnTo>
                    <a:lnTo>
                      <a:pt x="657" y="345"/>
                    </a:lnTo>
                    <a:lnTo>
                      <a:pt x="656" y="362"/>
                    </a:lnTo>
                    <a:lnTo>
                      <a:pt x="653" y="379"/>
                    </a:lnTo>
                    <a:lnTo>
                      <a:pt x="650" y="395"/>
                    </a:lnTo>
                    <a:lnTo>
                      <a:pt x="646" y="411"/>
                    </a:lnTo>
                    <a:lnTo>
                      <a:pt x="642" y="426"/>
                    </a:lnTo>
                    <a:lnTo>
                      <a:pt x="631" y="457"/>
                    </a:lnTo>
                    <a:lnTo>
                      <a:pt x="617" y="485"/>
                    </a:lnTo>
                    <a:lnTo>
                      <a:pt x="601" y="512"/>
                    </a:lnTo>
                    <a:lnTo>
                      <a:pt x="582" y="538"/>
                    </a:lnTo>
                    <a:lnTo>
                      <a:pt x="560" y="560"/>
                    </a:lnTo>
                    <a:lnTo>
                      <a:pt x="537" y="582"/>
                    </a:lnTo>
                    <a:lnTo>
                      <a:pt x="512" y="601"/>
                    </a:lnTo>
                    <a:lnTo>
                      <a:pt x="485" y="618"/>
                    </a:lnTo>
                    <a:lnTo>
                      <a:pt x="455" y="632"/>
                    </a:lnTo>
                    <a:lnTo>
                      <a:pt x="426" y="642"/>
                    </a:lnTo>
                    <a:lnTo>
                      <a:pt x="410" y="646"/>
                    </a:lnTo>
                    <a:lnTo>
                      <a:pt x="395" y="650"/>
                    </a:lnTo>
                    <a:lnTo>
                      <a:pt x="378" y="653"/>
                    </a:lnTo>
                    <a:lnTo>
                      <a:pt x="361" y="656"/>
                    </a:lnTo>
                    <a:lnTo>
                      <a:pt x="345" y="657"/>
                    </a:lnTo>
                    <a:lnTo>
                      <a:pt x="328" y="657"/>
                    </a:lnTo>
                    <a:lnTo>
                      <a:pt x="328" y="657"/>
                    </a:lnTo>
                    <a:close/>
                    <a:moveTo>
                      <a:pt x="328" y="38"/>
                    </a:moveTo>
                    <a:lnTo>
                      <a:pt x="328" y="38"/>
                    </a:lnTo>
                    <a:lnTo>
                      <a:pt x="298" y="39"/>
                    </a:lnTo>
                    <a:lnTo>
                      <a:pt x="270" y="43"/>
                    </a:lnTo>
                    <a:lnTo>
                      <a:pt x="242" y="50"/>
                    </a:lnTo>
                    <a:lnTo>
                      <a:pt x="215" y="61"/>
                    </a:lnTo>
                    <a:lnTo>
                      <a:pt x="190" y="73"/>
                    </a:lnTo>
                    <a:lnTo>
                      <a:pt x="165" y="88"/>
                    </a:lnTo>
                    <a:lnTo>
                      <a:pt x="143" y="104"/>
                    </a:lnTo>
                    <a:lnTo>
                      <a:pt x="122" y="122"/>
                    </a:lnTo>
                    <a:lnTo>
                      <a:pt x="104" y="144"/>
                    </a:lnTo>
                    <a:lnTo>
                      <a:pt x="87" y="165"/>
                    </a:lnTo>
                    <a:lnTo>
                      <a:pt x="73" y="190"/>
                    </a:lnTo>
                    <a:lnTo>
                      <a:pt x="61" y="215"/>
                    </a:lnTo>
                    <a:lnTo>
                      <a:pt x="50" y="242"/>
                    </a:lnTo>
                    <a:lnTo>
                      <a:pt x="43" y="270"/>
                    </a:lnTo>
                    <a:lnTo>
                      <a:pt x="39" y="298"/>
                    </a:lnTo>
                    <a:lnTo>
                      <a:pt x="38" y="328"/>
                    </a:lnTo>
                    <a:lnTo>
                      <a:pt x="38" y="328"/>
                    </a:lnTo>
                    <a:lnTo>
                      <a:pt x="39" y="359"/>
                    </a:lnTo>
                    <a:lnTo>
                      <a:pt x="43" y="387"/>
                    </a:lnTo>
                    <a:lnTo>
                      <a:pt x="50" y="415"/>
                    </a:lnTo>
                    <a:lnTo>
                      <a:pt x="61" y="442"/>
                    </a:lnTo>
                    <a:lnTo>
                      <a:pt x="73" y="468"/>
                    </a:lnTo>
                    <a:lnTo>
                      <a:pt x="87" y="492"/>
                    </a:lnTo>
                    <a:lnTo>
                      <a:pt x="104" y="513"/>
                    </a:lnTo>
                    <a:lnTo>
                      <a:pt x="122" y="535"/>
                    </a:lnTo>
                    <a:lnTo>
                      <a:pt x="143" y="554"/>
                    </a:lnTo>
                    <a:lnTo>
                      <a:pt x="165" y="570"/>
                    </a:lnTo>
                    <a:lnTo>
                      <a:pt x="190" y="585"/>
                    </a:lnTo>
                    <a:lnTo>
                      <a:pt x="215" y="597"/>
                    </a:lnTo>
                    <a:lnTo>
                      <a:pt x="242" y="606"/>
                    </a:lnTo>
                    <a:lnTo>
                      <a:pt x="270" y="614"/>
                    </a:lnTo>
                    <a:lnTo>
                      <a:pt x="298" y="618"/>
                    </a:lnTo>
                    <a:lnTo>
                      <a:pt x="328" y="619"/>
                    </a:lnTo>
                    <a:lnTo>
                      <a:pt x="328" y="619"/>
                    </a:lnTo>
                    <a:lnTo>
                      <a:pt x="357" y="618"/>
                    </a:lnTo>
                    <a:lnTo>
                      <a:pt x="387" y="614"/>
                    </a:lnTo>
                    <a:lnTo>
                      <a:pt x="415" y="606"/>
                    </a:lnTo>
                    <a:lnTo>
                      <a:pt x="442" y="597"/>
                    </a:lnTo>
                    <a:lnTo>
                      <a:pt x="468" y="585"/>
                    </a:lnTo>
                    <a:lnTo>
                      <a:pt x="490" y="570"/>
                    </a:lnTo>
                    <a:lnTo>
                      <a:pt x="513" y="554"/>
                    </a:lnTo>
                    <a:lnTo>
                      <a:pt x="533" y="535"/>
                    </a:lnTo>
                    <a:lnTo>
                      <a:pt x="552" y="513"/>
                    </a:lnTo>
                    <a:lnTo>
                      <a:pt x="570" y="492"/>
                    </a:lnTo>
                    <a:lnTo>
                      <a:pt x="584" y="468"/>
                    </a:lnTo>
                    <a:lnTo>
                      <a:pt x="597" y="442"/>
                    </a:lnTo>
                    <a:lnTo>
                      <a:pt x="606" y="415"/>
                    </a:lnTo>
                    <a:lnTo>
                      <a:pt x="614" y="387"/>
                    </a:lnTo>
                    <a:lnTo>
                      <a:pt x="618" y="359"/>
                    </a:lnTo>
                    <a:lnTo>
                      <a:pt x="619" y="328"/>
                    </a:lnTo>
                    <a:lnTo>
                      <a:pt x="619" y="328"/>
                    </a:lnTo>
                    <a:lnTo>
                      <a:pt x="618" y="298"/>
                    </a:lnTo>
                    <a:lnTo>
                      <a:pt x="614" y="270"/>
                    </a:lnTo>
                    <a:lnTo>
                      <a:pt x="606" y="242"/>
                    </a:lnTo>
                    <a:lnTo>
                      <a:pt x="597" y="215"/>
                    </a:lnTo>
                    <a:lnTo>
                      <a:pt x="584" y="190"/>
                    </a:lnTo>
                    <a:lnTo>
                      <a:pt x="570" y="165"/>
                    </a:lnTo>
                    <a:lnTo>
                      <a:pt x="552" y="144"/>
                    </a:lnTo>
                    <a:lnTo>
                      <a:pt x="533" y="122"/>
                    </a:lnTo>
                    <a:lnTo>
                      <a:pt x="513" y="104"/>
                    </a:lnTo>
                    <a:lnTo>
                      <a:pt x="490" y="88"/>
                    </a:lnTo>
                    <a:lnTo>
                      <a:pt x="468" y="73"/>
                    </a:lnTo>
                    <a:lnTo>
                      <a:pt x="442" y="61"/>
                    </a:lnTo>
                    <a:lnTo>
                      <a:pt x="415" y="50"/>
                    </a:lnTo>
                    <a:lnTo>
                      <a:pt x="387" y="43"/>
                    </a:lnTo>
                    <a:lnTo>
                      <a:pt x="357" y="39"/>
                    </a:lnTo>
                    <a:lnTo>
                      <a:pt x="328" y="38"/>
                    </a:lnTo>
                    <a:lnTo>
                      <a:pt x="328"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5" name="Freeform 378">
                <a:extLst>
                  <a:ext uri="{FF2B5EF4-FFF2-40B4-BE49-F238E27FC236}">
                    <a16:creationId xmlns:a16="http://schemas.microsoft.com/office/drawing/2014/main" id="{C1FB2D6A-125D-4074-88C9-69CE62252C85}"/>
                  </a:ext>
                </a:extLst>
              </p:cNvPr>
              <p:cNvSpPr>
                <a:spLocks/>
              </p:cNvSpPr>
              <p:nvPr/>
            </p:nvSpPr>
            <p:spPr bwMode="auto">
              <a:xfrm>
                <a:off x="7734301" y="3698875"/>
                <a:ext cx="41275" cy="14288"/>
              </a:xfrm>
              <a:custGeom>
                <a:avLst/>
                <a:gdLst>
                  <a:gd name="T0" fmla="*/ 44 w 54"/>
                  <a:gd name="T1" fmla="*/ 17 h 17"/>
                  <a:gd name="T2" fmla="*/ 10 w 54"/>
                  <a:gd name="T3" fmla="*/ 17 h 17"/>
                  <a:gd name="T4" fmla="*/ 10 w 54"/>
                  <a:gd name="T5" fmla="*/ 17 h 17"/>
                  <a:gd name="T6" fmla="*/ 6 w 54"/>
                  <a:gd name="T7" fmla="*/ 17 h 17"/>
                  <a:gd name="T8" fmla="*/ 3 w 54"/>
                  <a:gd name="T9" fmla="*/ 15 h 17"/>
                  <a:gd name="T10" fmla="*/ 0 w 54"/>
                  <a:gd name="T11" fmla="*/ 12 h 17"/>
                  <a:gd name="T12" fmla="*/ 0 w 54"/>
                  <a:gd name="T13" fmla="*/ 8 h 17"/>
                  <a:gd name="T14" fmla="*/ 0 w 54"/>
                  <a:gd name="T15" fmla="*/ 8 h 17"/>
                  <a:gd name="T16" fmla="*/ 0 w 54"/>
                  <a:gd name="T17" fmla="*/ 5 h 17"/>
                  <a:gd name="T18" fmla="*/ 3 w 54"/>
                  <a:gd name="T19" fmla="*/ 1 h 17"/>
                  <a:gd name="T20" fmla="*/ 6 w 54"/>
                  <a:gd name="T21" fmla="*/ 0 h 17"/>
                  <a:gd name="T22" fmla="*/ 10 w 54"/>
                  <a:gd name="T23" fmla="*/ 0 h 17"/>
                  <a:gd name="T24" fmla="*/ 44 w 54"/>
                  <a:gd name="T25" fmla="*/ 0 h 17"/>
                  <a:gd name="T26" fmla="*/ 44 w 54"/>
                  <a:gd name="T27" fmla="*/ 0 h 17"/>
                  <a:gd name="T28" fmla="*/ 49 w 54"/>
                  <a:gd name="T29" fmla="*/ 0 h 17"/>
                  <a:gd name="T30" fmla="*/ 51 w 54"/>
                  <a:gd name="T31" fmla="*/ 1 h 17"/>
                  <a:gd name="T32" fmla="*/ 53 w 54"/>
                  <a:gd name="T33" fmla="*/ 5 h 17"/>
                  <a:gd name="T34" fmla="*/ 54 w 54"/>
                  <a:gd name="T35" fmla="*/ 8 h 17"/>
                  <a:gd name="T36" fmla="*/ 54 w 54"/>
                  <a:gd name="T37" fmla="*/ 8 h 17"/>
                  <a:gd name="T38" fmla="*/ 53 w 54"/>
                  <a:gd name="T39" fmla="*/ 12 h 17"/>
                  <a:gd name="T40" fmla="*/ 51 w 54"/>
                  <a:gd name="T41" fmla="*/ 15 h 17"/>
                  <a:gd name="T42" fmla="*/ 49 w 54"/>
                  <a:gd name="T43" fmla="*/ 17 h 17"/>
                  <a:gd name="T44" fmla="*/ 44 w 54"/>
                  <a:gd name="T45" fmla="*/ 17 h 17"/>
                  <a:gd name="T46" fmla="*/ 44 w 54"/>
                  <a:gd name="T4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17">
                    <a:moveTo>
                      <a:pt x="44" y="17"/>
                    </a:moveTo>
                    <a:lnTo>
                      <a:pt x="10" y="17"/>
                    </a:lnTo>
                    <a:lnTo>
                      <a:pt x="10" y="17"/>
                    </a:lnTo>
                    <a:lnTo>
                      <a:pt x="6" y="17"/>
                    </a:lnTo>
                    <a:lnTo>
                      <a:pt x="3" y="15"/>
                    </a:lnTo>
                    <a:lnTo>
                      <a:pt x="0" y="12"/>
                    </a:lnTo>
                    <a:lnTo>
                      <a:pt x="0" y="8"/>
                    </a:lnTo>
                    <a:lnTo>
                      <a:pt x="0" y="8"/>
                    </a:lnTo>
                    <a:lnTo>
                      <a:pt x="0" y="5"/>
                    </a:lnTo>
                    <a:lnTo>
                      <a:pt x="3" y="1"/>
                    </a:lnTo>
                    <a:lnTo>
                      <a:pt x="6" y="0"/>
                    </a:lnTo>
                    <a:lnTo>
                      <a:pt x="10" y="0"/>
                    </a:lnTo>
                    <a:lnTo>
                      <a:pt x="44" y="0"/>
                    </a:lnTo>
                    <a:lnTo>
                      <a:pt x="44" y="0"/>
                    </a:lnTo>
                    <a:lnTo>
                      <a:pt x="49" y="0"/>
                    </a:lnTo>
                    <a:lnTo>
                      <a:pt x="51" y="1"/>
                    </a:lnTo>
                    <a:lnTo>
                      <a:pt x="53" y="5"/>
                    </a:lnTo>
                    <a:lnTo>
                      <a:pt x="54" y="8"/>
                    </a:lnTo>
                    <a:lnTo>
                      <a:pt x="54" y="8"/>
                    </a:lnTo>
                    <a:lnTo>
                      <a:pt x="53" y="12"/>
                    </a:lnTo>
                    <a:lnTo>
                      <a:pt x="51" y="15"/>
                    </a:lnTo>
                    <a:lnTo>
                      <a:pt x="49" y="17"/>
                    </a:lnTo>
                    <a:lnTo>
                      <a:pt x="44" y="17"/>
                    </a:lnTo>
                    <a:lnTo>
                      <a:pt x="44"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6" name="Freeform 379">
                <a:extLst>
                  <a:ext uri="{FF2B5EF4-FFF2-40B4-BE49-F238E27FC236}">
                    <a16:creationId xmlns:a16="http://schemas.microsoft.com/office/drawing/2014/main" id="{9D568F50-91AB-4BC1-8FE0-1F350C8941EC}"/>
                  </a:ext>
                </a:extLst>
              </p:cNvPr>
              <p:cNvSpPr>
                <a:spLocks/>
              </p:cNvSpPr>
              <p:nvPr/>
            </p:nvSpPr>
            <p:spPr bwMode="auto">
              <a:xfrm>
                <a:off x="7831138" y="3697288"/>
                <a:ext cx="134938" cy="15875"/>
              </a:xfrm>
              <a:custGeom>
                <a:avLst/>
                <a:gdLst>
                  <a:gd name="T0" fmla="*/ 157 w 169"/>
                  <a:gd name="T1" fmla="*/ 20 h 20"/>
                  <a:gd name="T2" fmla="*/ 10 w 169"/>
                  <a:gd name="T3" fmla="*/ 20 h 20"/>
                  <a:gd name="T4" fmla="*/ 10 w 169"/>
                  <a:gd name="T5" fmla="*/ 20 h 20"/>
                  <a:gd name="T6" fmla="*/ 5 w 169"/>
                  <a:gd name="T7" fmla="*/ 19 h 20"/>
                  <a:gd name="T8" fmla="*/ 1 w 169"/>
                  <a:gd name="T9" fmla="*/ 18 h 20"/>
                  <a:gd name="T10" fmla="*/ 0 w 169"/>
                  <a:gd name="T11" fmla="*/ 15 h 20"/>
                  <a:gd name="T12" fmla="*/ 0 w 169"/>
                  <a:gd name="T13" fmla="*/ 11 h 20"/>
                  <a:gd name="T14" fmla="*/ 0 w 169"/>
                  <a:gd name="T15" fmla="*/ 11 h 20"/>
                  <a:gd name="T16" fmla="*/ 0 w 169"/>
                  <a:gd name="T17" fmla="*/ 7 h 20"/>
                  <a:gd name="T18" fmla="*/ 1 w 169"/>
                  <a:gd name="T19" fmla="*/ 4 h 20"/>
                  <a:gd name="T20" fmla="*/ 5 w 169"/>
                  <a:gd name="T21" fmla="*/ 2 h 20"/>
                  <a:gd name="T22" fmla="*/ 10 w 169"/>
                  <a:gd name="T23" fmla="*/ 0 h 20"/>
                  <a:gd name="T24" fmla="*/ 157 w 169"/>
                  <a:gd name="T25" fmla="*/ 0 h 20"/>
                  <a:gd name="T26" fmla="*/ 157 w 169"/>
                  <a:gd name="T27" fmla="*/ 0 h 20"/>
                  <a:gd name="T28" fmla="*/ 164 w 169"/>
                  <a:gd name="T29" fmla="*/ 2 h 20"/>
                  <a:gd name="T30" fmla="*/ 166 w 169"/>
                  <a:gd name="T31" fmla="*/ 4 h 20"/>
                  <a:gd name="T32" fmla="*/ 168 w 169"/>
                  <a:gd name="T33" fmla="*/ 7 h 20"/>
                  <a:gd name="T34" fmla="*/ 169 w 169"/>
                  <a:gd name="T35" fmla="*/ 11 h 20"/>
                  <a:gd name="T36" fmla="*/ 169 w 169"/>
                  <a:gd name="T37" fmla="*/ 11 h 20"/>
                  <a:gd name="T38" fmla="*/ 168 w 169"/>
                  <a:gd name="T39" fmla="*/ 15 h 20"/>
                  <a:gd name="T40" fmla="*/ 166 w 169"/>
                  <a:gd name="T41" fmla="*/ 18 h 20"/>
                  <a:gd name="T42" fmla="*/ 164 w 169"/>
                  <a:gd name="T43" fmla="*/ 19 h 20"/>
                  <a:gd name="T44" fmla="*/ 157 w 169"/>
                  <a:gd name="T45" fmla="*/ 20 h 20"/>
                  <a:gd name="T46" fmla="*/ 157 w 169"/>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20">
                    <a:moveTo>
                      <a:pt x="157" y="20"/>
                    </a:moveTo>
                    <a:lnTo>
                      <a:pt x="10" y="20"/>
                    </a:lnTo>
                    <a:lnTo>
                      <a:pt x="10" y="20"/>
                    </a:lnTo>
                    <a:lnTo>
                      <a:pt x="5" y="19"/>
                    </a:lnTo>
                    <a:lnTo>
                      <a:pt x="1" y="18"/>
                    </a:lnTo>
                    <a:lnTo>
                      <a:pt x="0" y="15"/>
                    </a:lnTo>
                    <a:lnTo>
                      <a:pt x="0" y="11"/>
                    </a:lnTo>
                    <a:lnTo>
                      <a:pt x="0" y="11"/>
                    </a:lnTo>
                    <a:lnTo>
                      <a:pt x="0" y="7"/>
                    </a:lnTo>
                    <a:lnTo>
                      <a:pt x="1" y="4"/>
                    </a:lnTo>
                    <a:lnTo>
                      <a:pt x="5" y="2"/>
                    </a:lnTo>
                    <a:lnTo>
                      <a:pt x="10" y="0"/>
                    </a:lnTo>
                    <a:lnTo>
                      <a:pt x="157" y="0"/>
                    </a:lnTo>
                    <a:lnTo>
                      <a:pt x="157" y="0"/>
                    </a:lnTo>
                    <a:lnTo>
                      <a:pt x="164" y="2"/>
                    </a:lnTo>
                    <a:lnTo>
                      <a:pt x="166" y="4"/>
                    </a:lnTo>
                    <a:lnTo>
                      <a:pt x="168" y="7"/>
                    </a:lnTo>
                    <a:lnTo>
                      <a:pt x="169" y="11"/>
                    </a:lnTo>
                    <a:lnTo>
                      <a:pt x="169" y="11"/>
                    </a:lnTo>
                    <a:lnTo>
                      <a:pt x="168" y="15"/>
                    </a:lnTo>
                    <a:lnTo>
                      <a:pt x="166" y="18"/>
                    </a:lnTo>
                    <a:lnTo>
                      <a:pt x="164" y="19"/>
                    </a:lnTo>
                    <a:lnTo>
                      <a:pt x="157" y="20"/>
                    </a:lnTo>
                    <a:lnTo>
                      <a:pt x="157"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7" name="Freeform 380">
                <a:extLst>
                  <a:ext uri="{FF2B5EF4-FFF2-40B4-BE49-F238E27FC236}">
                    <a16:creationId xmlns:a16="http://schemas.microsoft.com/office/drawing/2014/main" id="{109A27CC-A7B3-47D5-AB45-8BB3B849F36B}"/>
                  </a:ext>
                </a:extLst>
              </p:cNvPr>
              <p:cNvSpPr>
                <a:spLocks/>
              </p:cNvSpPr>
              <p:nvPr/>
            </p:nvSpPr>
            <p:spPr bwMode="auto">
              <a:xfrm>
                <a:off x="7734301" y="3573463"/>
                <a:ext cx="69850" cy="57150"/>
              </a:xfrm>
              <a:custGeom>
                <a:avLst/>
                <a:gdLst>
                  <a:gd name="T0" fmla="*/ 86 w 89"/>
                  <a:gd name="T1" fmla="*/ 15 h 71"/>
                  <a:gd name="T2" fmla="*/ 34 w 89"/>
                  <a:gd name="T3" fmla="*/ 68 h 71"/>
                  <a:gd name="T4" fmla="*/ 34 w 89"/>
                  <a:gd name="T5" fmla="*/ 68 h 71"/>
                  <a:gd name="T6" fmla="*/ 30 w 89"/>
                  <a:gd name="T7" fmla="*/ 71 h 71"/>
                  <a:gd name="T8" fmla="*/ 27 w 89"/>
                  <a:gd name="T9" fmla="*/ 71 h 71"/>
                  <a:gd name="T10" fmla="*/ 27 w 89"/>
                  <a:gd name="T11" fmla="*/ 71 h 71"/>
                  <a:gd name="T12" fmla="*/ 23 w 89"/>
                  <a:gd name="T13" fmla="*/ 71 h 71"/>
                  <a:gd name="T14" fmla="*/ 20 w 89"/>
                  <a:gd name="T15" fmla="*/ 68 h 71"/>
                  <a:gd name="T16" fmla="*/ 3 w 89"/>
                  <a:gd name="T17" fmla="*/ 51 h 71"/>
                  <a:gd name="T18" fmla="*/ 3 w 89"/>
                  <a:gd name="T19" fmla="*/ 51 h 71"/>
                  <a:gd name="T20" fmla="*/ 0 w 89"/>
                  <a:gd name="T21" fmla="*/ 48 h 71"/>
                  <a:gd name="T22" fmla="*/ 0 w 89"/>
                  <a:gd name="T23" fmla="*/ 44 h 71"/>
                  <a:gd name="T24" fmla="*/ 0 w 89"/>
                  <a:gd name="T25" fmla="*/ 41 h 71"/>
                  <a:gd name="T26" fmla="*/ 3 w 89"/>
                  <a:gd name="T27" fmla="*/ 37 h 71"/>
                  <a:gd name="T28" fmla="*/ 3 w 89"/>
                  <a:gd name="T29" fmla="*/ 37 h 71"/>
                  <a:gd name="T30" fmla="*/ 6 w 89"/>
                  <a:gd name="T31" fmla="*/ 36 h 71"/>
                  <a:gd name="T32" fmla="*/ 10 w 89"/>
                  <a:gd name="T33" fmla="*/ 35 h 71"/>
                  <a:gd name="T34" fmla="*/ 12 w 89"/>
                  <a:gd name="T35" fmla="*/ 36 h 71"/>
                  <a:gd name="T36" fmla="*/ 15 w 89"/>
                  <a:gd name="T37" fmla="*/ 37 h 71"/>
                  <a:gd name="T38" fmla="*/ 27 w 89"/>
                  <a:gd name="T39" fmla="*/ 49 h 71"/>
                  <a:gd name="T40" fmla="*/ 74 w 89"/>
                  <a:gd name="T41" fmla="*/ 2 h 71"/>
                  <a:gd name="T42" fmla="*/ 74 w 89"/>
                  <a:gd name="T43" fmla="*/ 2 h 71"/>
                  <a:gd name="T44" fmla="*/ 77 w 89"/>
                  <a:gd name="T45" fmla="*/ 0 h 71"/>
                  <a:gd name="T46" fmla="*/ 81 w 89"/>
                  <a:gd name="T47" fmla="*/ 0 h 71"/>
                  <a:gd name="T48" fmla="*/ 83 w 89"/>
                  <a:gd name="T49" fmla="*/ 0 h 71"/>
                  <a:gd name="T50" fmla="*/ 86 w 89"/>
                  <a:gd name="T51" fmla="*/ 2 h 71"/>
                  <a:gd name="T52" fmla="*/ 86 w 89"/>
                  <a:gd name="T53" fmla="*/ 2 h 71"/>
                  <a:gd name="T54" fmla="*/ 89 w 89"/>
                  <a:gd name="T55" fmla="*/ 5 h 71"/>
                  <a:gd name="T56" fmla="*/ 89 w 89"/>
                  <a:gd name="T57" fmla="*/ 9 h 71"/>
                  <a:gd name="T58" fmla="*/ 89 w 89"/>
                  <a:gd name="T59" fmla="*/ 12 h 71"/>
                  <a:gd name="T60" fmla="*/ 86 w 89"/>
                  <a:gd name="T61" fmla="*/ 15 h 71"/>
                  <a:gd name="T62" fmla="*/ 86 w 89"/>
                  <a:gd name="T63" fmla="*/ 1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 h="71">
                    <a:moveTo>
                      <a:pt x="86" y="15"/>
                    </a:moveTo>
                    <a:lnTo>
                      <a:pt x="34" y="68"/>
                    </a:lnTo>
                    <a:lnTo>
                      <a:pt x="34" y="68"/>
                    </a:lnTo>
                    <a:lnTo>
                      <a:pt x="30" y="71"/>
                    </a:lnTo>
                    <a:lnTo>
                      <a:pt x="27" y="71"/>
                    </a:lnTo>
                    <a:lnTo>
                      <a:pt x="27" y="71"/>
                    </a:lnTo>
                    <a:lnTo>
                      <a:pt x="23" y="71"/>
                    </a:lnTo>
                    <a:lnTo>
                      <a:pt x="20" y="68"/>
                    </a:lnTo>
                    <a:lnTo>
                      <a:pt x="3" y="51"/>
                    </a:lnTo>
                    <a:lnTo>
                      <a:pt x="3" y="51"/>
                    </a:lnTo>
                    <a:lnTo>
                      <a:pt x="0" y="48"/>
                    </a:lnTo>
                    <a:lnTo>
                      <a:pt x="0" y="44"/>
                    </a:lnTo>
                    <a:lnTo>
                      <a:pt x="0" y="41"/>
                    </a:lnTo>
                    <a:lnTo>
                      <a:pt x="3" y="37"/>
                    </a:lnTo>
                    <a:lnTo>
                      <a:pt x="3" y="37"/>
                    </a:lnTo>
                    <a:lnTo>
                      <a:pt x="6" y="36"/>
                    </a:lnTo>
                    <a:lnTo>
                      <a:pt x="10" y="35"/>
                    </a:lnTo>
                    <a:lnTo>
                      <a:pt x="12" y="36"/>
                    </a:lnTo>
                    <a:lnTo>
                      <a:pt x="15" y="37"/>
                    </a:lnTo>
                    <a:lnTo>
                      <a:pt x="27" y="49"/>
                    </a:lnTo>
                    <a:lnTo>
                      <a:pt x="74" y="2"/>
                    </a:lnTo>
                    <a:lnTo>
                      <a:pt x="74" y="2"/>
                    </a:lnTo>
                    <a:lnTo>
                      <a:pt x="77" y="0"/>
                    </a:lnTo>
                    <a:lnTo>
                      <a:pt x="81" y="0"/>
                    </a:lnTo>
                    <a:lnTo>
                      <a:pt x="83" y="0"/>
                    </a:lnTo>
                    <a:lnTo>
                      <a:pt x="86" y="2"/>
                    </a:lnTo>
                    <a:lnTo>
                      <a:pt x="86" y="2"/>
                    </a:lnTo>
                    <a:lnTo>
                      <a:pt x="89" y="5"/>
                    </a:lnTo>
                    <a:lnTo>
                      <a:pt x="89" y="9"/>
                    </a:lnTo>
                    <a:lnTo>
                      <a:pt x="89" y="12"/>
                    </a:lnTo>
                    <a:lnTo>
                      <a:pt x="86" y="15"/>
                    </a:lnTo>
                    <a:lnTo>
                      <a:pt x="86"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8" name="Freeform 381">
                <a:extLst>
                  <a:ext uri="{FF2B5EF4-FFF2-40B4-BE49-F238E27FC236}">
                    <a16:creationId xmlns:a16="http://schemas.microsoft.com/office/drawing/2014/main" id="{C2EBD1C7-4362-4353-B57F-C5314B480146}"/>
                  </a:ext>
                </a:extLst>
              </p:cNvPr>
              <p:cNvSpPr>
                <a:spLocks/>
              </p:cNvSpPr>
              <p:nvPr/>
            </p:nvSpPr>
            <p:spPr bwMode="auto">
              <a:xfrm>
                <a:off x="7831138" y="3602038"/>
                <a:ext cx="134938" cy="14288"/>
              </a:xfrm>
              <a:custGeom>
                <a:avLst/>
                <a:gdLst>
                  <a:gd name="T0" fmla="*/ 157 w 169"/>
                  <a:gd name="T1" fmla="*/ 18 h 18"/>
                  <a:gd name="T2" fmla="*/ 10 w 169"/>
                  <a:gd name="T3" fmla="*/ 18 h 18"/>
                  <a:gd name="T4" fmla="*/ 10 w 169"/>
                  <a:gd name="T5" fmla="*/ 18 h 18"/>
                  <a:gd name="T6" fmla="*/ 5 w 169"/>
                  <a:gd name="T7" fmla="*/ 18 h 18"/>
                  <a:gd name="T8" fmla="*/ 1 w 169"/>
                  <a:gd name="T9" fmla="*/ 16 h 18"/>
                  <a:gd name="T10" fmla="*/ 0 w 169"/>
                  <a:gd name="T11" fmla="*/ 13 h 18"/>
                  <a:gd name="T12" fmla="*/ 0 w 169"/>
                  <a:gd name="T13" fmla="*/ 9 h 18"/>
                  <a:gd name="T14" fmla="*/ 0 w 169"/>
                  <a:gd name="T15" fmla="*/ 9 h 18"/>
                  <a:gd name="T16" fmla="*/ 0 w 169"/>
                  <a:gd name="T17" fmla="*/ 5 h 18"/>
                  <a:gd name="T18" fmla="*/ 1 w 169"/>
                  <a:gd name="T19" fmla="*/ 2 h 18"/>
                  <a:gd name="T20" fmla="*/ 5 w 169"/>
                  <a:gd name="T21" fmla="*/ 0 h 18"/>
                  <a:gd name="T22" fmla="*/ 10 w 169"/>
                  <a:gd name="T23" fmla="*/ 0 h 18"/>
                  <a:gd name="T24" fmla="*/ 157 w 169"/>
                  <a:gd name="T25" fmla="*/ 0 h 18"/>
                  <a:gd name="T26" fmla="*/ 157 w 169"/>
                  <a:gd name="T27" fmla="*/ 0 h 18"/>
                  <a:gd name="T28" fmla="*/ 164 w 169"/>
                  <a:gd name="T29" fmla="*/ 0 h 18"/>
                  <a:gd name="T30" fmla="*/ 166 w 169"/>
                  <a:gd name="T31" fmla="*/ 2 h 18"/>
                  <a:gd name="T32" fmla="*/ 168 w 169"/>
                  <a:gd name="T33" fmla="*/ 5 h 18"/>
                  <a:gd name="T34" fmla="*/ 169 w 169"/>
                  <a:gd name="T35" fmla="*/ 9 h 18"/>
                  <a:gd name="T36" fmla="*/ 169 w 169"/>
                  <a:gd name="T37" fmla="*/ 9 h 18"/>
                  <a:gd name="T38" fmla="*/ 168 w 169"/>
                  <a:gd name="T39" fmla="*/ 13 h 18"/>
                  <a:gd name="T40" fmla="*/ 166 w 169"/>
                  <a:gd name="T41" fmla="*/ 16 h 18"/>
                  <a:gd name="T42" fmla="*/ 164 w 169"/>
                  <a:gd name="T43" fmla="*/ 18 h 18"/>
                  <a:gd name="T44" fmla="*/ 157 w 169"/>
                  <a:gd name="T45" fmla="*/ 18 h 18"/>
                  <a:gd name="T46" fmla="*/ 157 w 169"/>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18">
                    <a:moveTo>
                      <a:pt x="157" y="18"/>
                    </a:moveTo>
                    <a:lnTo>
                      <a:pt x="10" y="18"/>
                    </a:lnTo>
                    <a:lnTo>
                      <a:pt x="10" y="18"/>
                    </a:lnTo>
                    <a:lnTo>
                      <a:pt x="5" y="18"/>
                    </a:lnTo>
                    <a:lnTo>
                      <a:pt x="1" y="16"/>
                    </a:lnTo>
                    <a:lnTo>
                      <a:pt x="0" y="13"/>
                    </a:lnTo>
                    <a:lnTo>
                      <a:pt x="0" y="9"/>
                    </a:lnTo>
                    <a:lnTo>
                      <a:pt x="0" y="9"/>
                    </a:lnTo>
                    <a:lnTo>
                      <a:pt x="0" y="5"/>
                    </a:lnTo>
                    <a:lnTo>
                      <a:pt x="1" y="2"/>
                    </a:lnTo>
                    <a:lnTo>
                      <a:pt x="5" y="0"/>
                    </a:lnTo>
                    <a:lnTo>
                      <a:pt x="10" y="0"/>
                    </a:lnTo>
                    <a:lnTo>
                      <a:pt x="157" y="0"/>
                    </a:lnTo>
                    <a:lnTo>
                      <a:pt x="157" y="0"/>
                    </a:lnTo>
                    <a:lnTo>
                      <a:pt x="164" y="0"/>
                    </a:lnTo>
                    <a:lnTo>
                      <a:pt x="166" y="2"/>
                    </a:lnTo>
                    <a:lnTo>
                      <a:pt x="168" y="5"/>
                    </a:lnTo>
                    <a:lnTo>
                      <a:pt x="169" y="9"/>
                    </a:lnTo>
                    <a:lnTo>
                      <a:pt x="169" y="9"/>
                    </a:lnTo>
                    <a:lnTo>
                      <a:pt x="168" y="13"/>
                    </a:lnTo>
                    <a:lnTo>
                      <a:pt x="166" y="16"/>
                    </a:lnTo>
                    <a:lnTo>
                      <a:pt x="164" y="18"/>
                    </a:lnTo>
                    <a:lnTo>
                      <a:pt x="157" y="18"/>
                    </a:lnTo>
                    <a:lnTo>
                      <a:pt x="15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9" name="Freeform 382">
                <a:extLst>
                  <a:ext uri="{FF2B5EF4-FFF2-40B4-BE49-F238E27FC236}">
                    <a16:creationId xmlns:a16="http://schemas.microsoft.com/office/drawing/2014/main" id="{78E132EB-4F66-4769-B8F4-C2FD78CD30B9}"/>
                  </a:ext>
                </a:extLst>
              </p:cNvPr>
              <p:cNvSpPr>
                <a:spLocks/>
              </p:cNvSpPr>
              <p:nvPr/>
            </p:nvSpPr>
            <p:spPr bwMode="auto">
              <a:xfrm>
                <a:off x="7734301" y="3471863"/>
                <a:ext cx="69850" cy="55563"/>
              </a:xfrm>
              <a:custGeom>
                <a:avLst/>
                <a:gdLst>
                  <a:gd name="T0" fmla="*/ 86 w 89"/>
                  <a:gd name="T1" fmla="*/ 15 h 71"/>
                  <a:gd name="T2" fmla="*/ 34 w 89"/>
                  <a:gd name="T3" fmla="*/ 68 h 71"/>
                  <a:gd name="T4" fmla="*/ 34 w 89"/>
                  <a:gd name="T5" fmla="*/ 68 h 71"/>
                  <a:gd name="T6" fmla="*/ 30 w 89"/>
                  <a:gd name="T7" fmla="*/ 70 h 71"/>
                  <a:gd name="T8" fmla="*/ 27 w 89"/>
                  <a:gd name="T9" fmla="*/ 71 h 71"/>
                  <a:gd name="T10" fmla="*/ 27 w 89"/>
                  <a:gd name="T11" fmla="*/ 71 h 71"/>
                  <a:gd name="T12" fmla="*/ 23 w 89"/>
                  <a:gd name="T13" fmla="*/ 70 h 71"/>
                  <a:gd name="T14" fmla="*/ 20 w 89"/>
                  <a:gd name="T15" fmla="*/ 68 h 71"/>
                  <a:gd name="T16" fmla="*/ 3 w 89"/>
                  <a:gd name="T17" fmla="*/ 51 h 71"/>
                  <a:gd name="T18" fmla="*/ 3 w 89"/>
                  <a:gd name="T19" fmla="*/ 51 h 71"/>
                  <a:gd name="T20" fmla="*/ 0 w 89"/>
                  <a:gd name="T21" fmla="*/ 47 h 71"/>
                  <a:gd name="T22" fmla="*/ 0 w 89"/>
                  <a:gd name="T23" fmla="*/ 44 h 71"/>
                  <a:gd name="T24" fmla="*/ 0 w 89"/>
                  <a:gd name="T25" fmla="*/ 40 h 71"/>
                  <a:gd name="T26" fmla="*/ 3 w 89"/>
                  <a:gd name="T27" fmla="*/ 37 h 71"/>
                  <a:gd name="T28" fmla="*/ 3 w 89"/>
                  <a:gd name="T29" fmla="*/ 37 h 71"/>
                  <a:gd name="T30" fmla="*/ 6 w 89"/>
                  <a:gd name="T31" fmla="*/ 36 h 71"/>
                  <a:gd name="T32" fmla="*/ 10 w 89"/>
                  <a:gd name="T33" fmla="*/ 35 h 71"/>
                  <a:gd name="T34" fmla="*/ 12 w 89"/>
                  <a:gd name="T35" fmla="*/ 36 h 71"/>
                  <a:gd name="T36" fmla="*/ 15 w 89"/>
                  <a:gd name="T37" fmla="*/ 37 h 71"/>
                  <a:gd name="T38" fmla="*/ 27 w 89"/>
                  <a:gd name="T39" fmla="*/ 50 h 71"/>
                  <a:gd name="T40" fmla="*/ 74 w 89"/>
                  <a:gd name="T41" fmla="*/ 2 h 71"/>
                  <a:gd name="T42" fmla="*/ 74 w 89"/>
                  <a:gd name="T43" fmla="*/ 2 h 71"/>
                  <a:gd name="T44" fmla="*/ 77 w 89"/>
                  <a:gd name="T45" fmla="*/ 0 h 71"/>
                  <a:gd name="T46" fmla="*/ 81 w 89"/>
                  <a:gd name="T47" fmla="*/ 0 h 71"/>
                  <a:gd name="T48" fmla="*/ 83 w 89"/>
                  <a:gd name="T49" fmla="*/ 0 h 71"/>
                  <a:gd name="T50" fmla="*/ 86 w 89"/>
                  <a:gd name="T51" fmla="*/ 2 h 71"/>
                  <a:gd name="T52" fmla="*/ 86 w 89"/>
                  <a:gd name="T53" fmla="*/ 2 h 71"/>
                  <a:gd name="T54" fmla="*/ 89 w 89"/>
                  <a:gd name="T55" fmla="*/ 5 h 71"/>
                  <a:gd name="T56" fmla="*/ 89 w 89"/>
                  <a:gd name="T57" fmla="*/ 8 h 71"/>
                  <a:gd name="T58" fmla="*/ 89 w 89"/>
                  <a:gd name="T59" fmla="*/ 12 h 71"/>
                  <a:gd name="T60" fmla="*/ 86 w 89"/>
                  <a:gd name="T61" fmla="*/ 15 h 71"/>
                  <a:gd name="T62" fmla="*/ 86 w 89"/>
                  <a:gd name="T63" fmla="*/ 1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 h="71">
                    <a:moveTo>
                      <a:pt x="86" y="15"/>
                    </a:moveTo>
                    <a:lnTo>
                      <a:pt x="34" y="68"/>
                    </a:lnTo>
                    <a:lnTo>
                      <a:pt x="34" y="68"/>
                    </a:lnTo>
                    <a:lnTo>
                      <a:pt x="30" y="70"/>
                    </a:lnTo>
                    <a:lnTo>
                      <a:pt x="27" y="71"/>
                    </a:lnTo>
                    <a:lnTo>
                      <a:pt x="27" y="71"/>
                    </a:lnTo>
                    <a:lnTo>
                      <a:pt x="23" y="70"/>
                    </a:lnTo>
                    <a:lnTo>
                      <a:pt x="20" y="68"/>
                    </a:lnTo>
                    <a:lnTo>
                      <a:pt x="3" y="51"/>
                    </a:lnTo>
                    <a:lnTo>
                      <a:pt x="3" y="51"/>
                    </a:lnTo>
                    <a:lnTo>
                      <a:pt x="0" y="47"/>
                    </a:lnTo>
                    <a:lnTo>
                      <a:pt x="0" y="44"/>
                    </a:lnTo>
                    <a:lnTo>
                      <a:pt x="0" y="40"/>
                    </a:lnTo>
                    <a:lnTo>
                      <a:pt x="3" y="37"/>
                    </a:lnTo>
                    <a:lnTo>
                      <a:pt x="3" y="37"/>
                    </a:lnTo>
                    <a:lnTo>
                      <a:pt x="6" y="36"/>
                    </a:lnTo>
                    <a:lnTo>
                      <a:pt x="10" y="35"/>
                    </a:lnTo>
                    <a:lnTo>
                      <a:pt x="12" y="36"/>
                    </a:lnTo>
                    <a:lnTo>
                      <a:pt x="15" y="37"/>
                    </a:lnTo>
                    <a:lnTo>
                      <a:pt x="27" y="50"/>
                    </a:lnTo>
                    <a:lnTo>
                      <a:pt x="74" y="2"/>
                    </a:lnTo>
                    <a:lnTo>
                      <a:pt x="74" y="2"/>
                    </a:lnTo>
                    <a:lnTo>
                      <a:pt x="77" y="0"/>
                    </a:lnTo>
                    <a:lnTo>
                      <a:pt x="81" y="0"/>
                    </a:lnTo>
                    <a:lnTo>
                      <a:pt x="83" y="0"/>
                    </a:lnTo>
                    <a:lnTo>
                      <a:pt x="86" y="2"/>
                    </a:lnTo>
                    <a:lnTo>
                      <a:pt x="86" y="2"/>
                    </a:lnTo>
                    <a:lnTo>
                      <a:pt x="89" y="5"/>
                    </a:lnTo>
                    <a:lnTo>
                      <a:pt x="89" y="8"/>
                    </a:lnTo>
                    <a:lnTo>
                      <a:pt x="89" y="12"/>
                    </a:lnTo>
                    <a:lnTo>
                      <a:pt x="86" y="15"/>
                    </a:lnTo>
                    <a:lnTo>
                      <a:pt x="86"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0" name="Freeform 383">
                <a:extLst>
                  <a:ext uri="{FF2B5EF4-FFF2-40B4-BE49-F238E27FC236}">
                    <a16:creationId xmlns:a16="http://schemas.microsoft.com/office/drawing/2014/main" id="{FF9E786F-ECBE-44BE-8E22-2A7B15303F9C}"/>
                  </a:ext>
                </a:extLst>
              </p:cNvPr>
              <p:cNvSpPr>
                <a:spLocks/>
              </p:cNvSpPr>
              <p:nvPr/>
            </p:nvSpPr>
            <p:spPr bwMode="auto">
              <a:xfrm>
                <a:off x="7831138" y="3498850"/>
                <a:ext cx="134938" cy="15875"/>
              </a:xfrm>
              <a:custGeom>
                <a:avLst/>
                <a:gdLst>
                  <a:gd name="T0" fmla="*/ 157 w 169"/>
                  <a:gd name="T1" fmla="*/ 20 h 20"/>
                  <a:gd name="T2" fmla="*/ 10 w 169"/>
                  <a:gd name="T3" fmla="*/ 20 h 20"/>
                  <a:gd name="T4" fmla="*/ 10 w 169"/>
                  <a:gd name="T5" fmla="*/ 20 h 20"/>
                  <a:gd name="T6" fmla="*/ 5 w 169"/>
                  <a:gd name="T7" fmla="*/ 19 h 20"/>
                  <a:gd name="T8" fmla="*/ 1 w 169"/>
                  <a:gd name="T9" fmla="*/ 17 h 20"/>
                  <a:gd name="T10" fmla="*/ 0 w 169"/>
                  <a:gd name="T11" fmla="*/ 15 h 20"/>
                  <a:gd name="T12" fmla="*/ 0 w 169"/>
                  <a:gd name="T13" fmla="*/ 10 h 20"/>
                  <a:gd name="T14" fmla="*/ 0 w 169"/>
                  <a:gd name="T15" fmla="*/ 10 h 20"/>
                  <a:gd name="T16" fmla="*/ 0 w 169"/>
                  <a:gd name="T17" fmla="*/ 6 h 20"/>
                  <a:gd name="T18" fmla="*/ 1 w 169"/>
                  <a:gd name="T19" fmla="*/ 4 h 20"/>
                  <a:gd name="T20" fmla="*/ 5 w 169"/>
                  <a:gd name="T21" fmla="*/ 1 h 20"/>
                  <a:gd name="T22" fmla="*/ 10 w 169"/>
                  <a:gd name="T23" fmla="*/ 0 h 20"/>
                  <a:gd name="T24" fmla="*/ 157 w 169"/>
                  <a:gd name="T25" fmla="*/ 0 h 20"/>
                  <a:gd name="T26" fmla="*/ 157 w 169"/>
                  <a:gd name="T27" fmla="*/ 0 h 20"/>
                  <a:gd name="T28" fmla="*/ 164 w 169"/>
                  <a:gd name="T29" fmla="*/ 1 h 20"/>
                  <a:gd name="T30" fmla="*/ 166 w 169"/>
                  <a:gd name="T31" fmla="*/ 4 h 20"/>
                  <a:gd name="T32" fmla="*/ 168 w 169"/>
                  <a:gd name="T33" fmla="*/ 6 h 20"/>
                  <a:gd name="T34" fmla="*/ 169 w 169"/>
                  <a:gd name="T35" fmla="*/ 10 h 20"/>
                  <a:gd name="T36" fmla="*/ 169 w 169"/>
                  <a:gd name="T37" fmla="*/ 10 h 20"/>
                  <a:gd name="T38" fmla="*/ 168 w 169"/>
                  <a:gd name="T39" fmla="*/ 15 h 20"/>
                  <a:gd name="T40" fmla="*/ 166 w 169"/>
                  <a:gd name="T41" fmla="*/ 17 h 20"/>
                  <a:gd name="T42" fmla="*/ 164 w 169"/>
                  <a:gd name="T43" fmla="*/ 19 h 20"/>
                  <a:gd name="T44" fmla="*/ 157 w 169"/>
                  <a:gd name="T45" fmla="*/ 20 h 20"/>
                  <a:gd name="T46" fmla="*/ 157 w 169"/>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20">
                    <a:moveTo>
                      <a:pt x="157" y="20"/>
                    </a:moveTo>
                    <a:lnTo>
                      <a:pt x="10" y="20"/>
                    </a:lnTo>
                    <a:lnTo>
                      <a:pt x="10" y="20"/>
                    </a:lnTo>
                    <a:lnTo>
                      <a:pt x="5" y="19"/>
                    </a:lnTo>
                    <a:lnTo>
                      <a:pt x="1" y="17"/>
                    </a:lnTo>
                    <a:lnTo>
                      <a:pt x="0" y="15"/>
                    </a:lnTo>
                    <a:lnTo>
                      <a:pt x="0" y="10"/>
                    </a:lnTo>
                    <a:lnTo>
                      <a:pt x="0" y="10"/>
                    </a:lnTo>
                    <a:lnTo>
                      <a:pt x="0" y="6"/>
                    </a:lnTo>
                    <a:lnTo>
                      <a:pt x="1" y="4"/>
                    </a:lnTo>
                    <a:lnTo>
                      <a:pt x="5" y="1"/>
                    </a:lnTo>
                    <a:lnTo>
                      <a:pt x="10" y="0"/>
                    </a:lnTo>
                    <a:lnTo>
                      <a:pt x="157" y="0"/>
                    </a:lnTo>
                    <a:lnTo>
                      <a:pt x="157" y="0"/>
                    </a:lnTo>
                    <a:lnTo>
                      <a:pt x="164" y="1"/>
                    </a:lnTo>
                    <a:lnTo>
                      <a:pt x="166" y="4"/>
                    </a:lnTo>
                    <a:lnTo>
                      <a:pt x="168" y="6"/>
                    </a:lnTo>
                    <a:lnTo>
                      <a:pt x="169" y="10"/>
                    </a:lnTo>
                    <a:lnTo>
                      <a:pt x="169" y="10"/>
                    </a:lnTo>
                    <a:lnTo>
                      <a:pt x="168" y="15"/>
                    </a:lnTo>
                    <a:lnTo>
                      <a:pt x="166" y="17"/>
                    </a:lnTo>
                    <a:lnTo>
                      <a:pt x="164" y="19"/>
                    </a:lnTo>
                    <a:lnTo>
                      <a:pt x="157" y="20"/>
                    </a:lnTo>
                    <a:lnTo>
                      <a:pt x="157"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31" name="Group 30">
            <a:extLst>
              <a:ext uri="{FF2B5EF4-FFF2-40B4-BE49-F238E27FC236}">
                <a16:creationId xmlns:a16="http://schemas.microsoft.com/office/drawing/2014/main" id="{FDECF29D-343C-469F-8494-7127EA15A480}"/>
              </a:ext>
            </a:extLst>
          </p:cNvPr>
          <p:cNvGrpSpPr/>
          <p:nvPr/>
        </p:nvGrpSpPr>
        <p:grpSpPr>
          <a:xfrm>
            <a:off x="7948341" y="1237066"/>
            <a:ext cx="270010" cy="270010"/>
            <a:chOff x="8707963" y="1150075"/>
            <a:chExt cx="522288" cy="522288"/>
          </a:xfrm>
        </p:grpSpPr>
        <p:sp>
          <p:nvSpPr>
            <p:cNvPr id="32" name="Oval 31">
              <a:extLst>
                <a:ext uri="{FF2B5EF4-FFF2-40B4-BE49-F238E27FC236}">
                  <a16:creationId xmlns:a16="http://schemas.microsoft.com/office/drawing/2014/main" id="{2F57C2BB-98C6-4F66-B479-FB8551000CDF}"/>
                </a:ext>
              </a:extLst>
            </p:cNvPr>
            <p:cNvSpPr/>
            <p:nvPr/>
          </p:nvSpPr>
          <p:spPr>
            <a:xfrm>
              <a:off x="8708503" y="1150615"/>
              <a:ext cx="521208" cy="5212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33" name="Group 32">
              <a:extLst>
                <a:ext uri="{FF2B5EF4-FFF2-40B4-BE49-F238E27FC236}">
                  <a16:creationId xmlns:a16="http://schemas.microsoft.com/office/drawing/2014/main" id="{808F8FD3-9BC8-437A-B4E7-91FDBBC671F6}"/>
                </a:ext>
              </a:extLst>
            </p:cNvPr>
            <p:cNvGrpSpPr>
              <a:grpSpLocks noChangeAspect="1"/>
            </p:cNvGrpSpPr>
            <p:nvPr/>
          </p:nvGrpSpPr>
          <p:grpSpPr>
            <a:xfrm>
              <a:off x="8707963" y="1150075"/>
              <a:ext cx="522288" cy="522288"/>
              <a:chOff x="563563" y="1674813"/>
              <a:chExt cx="522288" cy="522288"/>
            </a:xfrm>
          </p:grpSpPr>
          <p:sp>
            <p:nvSpPr>
              <p:cNvPr id="34" name="Freeform 14">
                <a:extLst>
                  <a:ext uri="{FF2B5EF4-FFF2-40B4-BE49-F238E27FC236}">
                    <a16:creationId xmlns:a16="http://schemas.microsoft.com/office/drawing/2014/main" id="{D166C037-CDA6-48CA-B6DE-781204A9DCC1}"/>
                  </a:ext>
                </a:extLst>
              </p:cNvPr>
              <p:cNvSpPr>
                <a:spLocks noEditPoints="1"/>
              </p:cNvSpPr>
              <p:nvPr/>
            </p:nvSpPr>
            <p:spPr bwMode="auto">
              <a:xfrm>
                <a:off x="563563" y="1674813"/>
                <a:ext cx="522288" cy="522288"/>
              </a:xfrm>
              <a:custGeom>
                <a:avLst/>
                <a:gdLst>
                  <a:gd name="T0" fmla="*/ 313 w 658"/>
                  <a:gd name="T1" fmla="*/ 657 h 657"/>
                  <a:gd name="T2" fmla="*/ 263 w 658"/>
                  <a:gd name="T3" fmla="*/ 650 h 657"/>
                  <a:gd name="T4" fmla="*/ 201 w 658"/>
                  <a:gd name="T5" fmla="*/ 632 h 657"/>
                  <a:gd name="T6" fmla="*/ 121 w 658"/>
                  <a:gd name="T7" fmla="*/ 582 h 657"/>
                  <a:gd name="T8" fmla="*/ 56 w 658"/>
                  <a:gd name="T9" fmla="*/ 512 h 657"/>
                  <a:gd name="T10" fmla="*/ 15 w 658"/>
                  <a:gd name="T11" fmla="*/ 426 h 657"/>
                  <a:gd name="T12" fmla="*/ 4 w 658"/>
                  <a:gd name="T13" fmla="*/ 379 h 657"/>
                  <a:gd name="T14" fmla="*/ 0 w 658"/>
                  <a:gd name="T15" fmla="*/ 328 h 657"/>
                  <a:gd name="T16" fmla="*/ 3 w 658"/>
                  <a:gd name="T17" fmla="*/ 294 h 657"/>
                  <a:gd name="T18" fmla="*/ 11 w 658"/>
                  <a:gd name="T19" fmla="*/ 246 h 657"/>
                  <a:gd name="T20" fmla="*/ 40 w 658"/>
                  <a:gd name="T21" fmla="*/ 172 h 657"/>
                  <a:gd name="T22" fmla="*/ 97 w 658"/>
                  <a:gd name="T23" fmla="*/ 96 h 657"/>
                  <a:gd name="T24" fmla="*/ 173 w 658"/>
                  <a:gd name="T25" fmla="*/ 39 h 657"/>
                  <a:gd name="T26" fmla="*/ 247 w 658"/>
                  <a:gd name="T27" fmla="*/ 10 h 657"/>
                  <a:gd name="T28" fmla="*/ 295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2 w 658"/>
                  <a:gd name="T41" fmla="*/ 200 h 657"/>
                  <a:gd name="T42" fmla="*/ 651 w 658"/>
                  <a:gd name="T43" fmla="*/ 262 h 657"/>
                  <a:gd name="T44" fmla="*/ 658 w 658"/>
                  <a:gd name="T45" fmla="*/ 312 h 657"/>
                  <a:gd name="T46" fmla="*/ 658 w 658"/>
                  <a:gd name="T47" fmla="*/ 346 h 657"/>
                  <a:gd name="T48" fmla="*/ 651 w 658"/>
                  <a:gd name="T49" fmla="*/ 395 h 657"/>
                  <a:gd name="T50" fmla="*/ 632 w 658"/>
                  <a:gd name="T51" fmla="*/ 457 h 657"/>
                  <a:gd name="T52" fmla="*/ 583 w 658"/>
                  <a:gd name="T53" fmla="*/ 538 h 657"/>
                  <a:gd name="T54" fmla="*/ 513 w 658"/>
                  <a:gd name="T55" fmla="*/ 601 h 657"/>
                  <a:gd name="T56" fmla="*/ 427 w 658"/>
                  <a:gd name="T57" fmla="*/ 642 h 657"/>
                  <a:gd name="T58" fmla="*/ 379 w 658"/>
                  <a:gd name="T59" fmla="*/ 653 h 657"/>
                  <a:gd name="T60" fmla="*/ 329 w 658"/>
                  <a:gd name="T61" fmla="*/ 657 h 657"/>
                  <a:gd name="T62" fmla="*/ 329 w 658"/>
                  <a:gd name="T63" fmla="*/ 38 h 657"/>
                  <a:gd name="T64" fmla="*/ 243 w 658"/>
                  <a:gd name="T65" fmla="*/ 50 h 657"/>
                  <a:gd name="T66" fmla="*/ 167 w 658"/>
                  <a:gd name="T67" fmla="*/ 88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6 h 657"/>
                  <a:gd name="T84" fmla="*/ 329 w 658"/>
                  <a:gd name="T85" fmla="*/ 619 h 657"/>
                  <a:gd name="T86" fmla="*/ 388 w 658"/>
                  <a:gd name="T87" fmla="*/ 614 h 657"/>
                  <a:gd name="T88" fmla="*/ 467 w 658"/>
                  <a:gd name="T89" fmla="*/ 585 h 657"/>
                  <a:gd name="T90" fmla="*/ 534 w 658"/>
                  <a:gd name="T91" fmla="*/ 535 h 657"/>
                  <a:gd name="T92" fmla="*/ 585 w 658"/>
                  <a:gd name="T93" fmla="*/ 468 h 657"/>
                  <a:gd name="T94" fmla="*/ 615 w 658"/>
                  <a:gd name="T95" fmla="*/ 387 h 657"/>
                  <a:gd name="T96" fmla="*/ 620 w 658"/>
                  <a:gd name="T97" fmla="*/ 328 h 657"/>
                  <a:gd name="T98" fmla="*/ 607 w 658"/>
                  <a:gd name="T99" fmla="*/ 242 h 657"/>
                  <a:gd name="T100" fmla="*/ 571 w 658"/>
                  <a:gd name="T101" fmla="*/ 166 h 657"/>
                  <a:gd name="T102" fmla="*/ 514 w 658"/>
                  <a:gd name="T103" fmla="*/ 104 h 657"/>
                  <a:gd name="T104" fmla="*/ 443 w 658"/>
                  <a:gd name="T105" fmla="*/ 61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5" y="656"/>
                    </a:lnTo>
                    <a:lnTo>
                      <a:pt x="279" y="653"/>
                    </a:lnTo>
                    <a:lnTo>
                      <a:pt x="263" y="650"/>
                    </a:lnTo>
                    <a:lnTo>
                      <a:pt x="247" y="648"/>
                    </a:lnTo>
                    <a:lnTo>
                      <a:pt x="232" y="642"/>
                    </a:lnTo>
                    <a:lnTo>
                      <a:pt x="201" y="632"/>
                    </a:lnTo>
                    <a:lnTo>
                      <a:pt x="173" y="618"/>
                    </a:lnTo>
                    <a:lnTo>
                      <a:pt x="145" y="601"/>
                    </a:lnTo>
                    <a:lnTo>
                      <a:pt x="121" y="582"/>
                    </a:lnTo>
                    <a:lnTo>
                      <a:pt x="97" y="560"/>
                    </a:lnTo>
                    <a:lnTo>
                      <a:pt x="75" y="538"/>
                    </a:lnTo>
                    <a:lnTo>
                      <a:pt x="56" y="512"/>
                    </a:lnTo>
                    <a:lnTo>
                      <a:pt x="40" y="485"/>
                    </a:lnTo>
                    <a:lnTo>
                      <a:pt x="27" y="457"/>
                    </a:lnTo>
                    <a:lnTo>
                      <a:pt x="15" y="426"/>
                    </a:lnTo>
                    <a:lnTo>
                      <a:pt x="11" y="411"/>
                    </a:lnTo>
                    <a:lnTo>
                      <a:pt x="7" y="395"/>
                    </a:lnTo>
                    <a:lnTo>
                      <a:pt x="4" y="379"/>
                    </a:lnTo>
                    <a:lnTo>
                      <a:pt x="3" y="362"/>
                    </a:lnTo>
                    <a:lnTo>
                      <a:pt x="1" y="346"/>
                    </a:lnTo>
                    <a:lnTo>
                      <a:pt x="0" y="328"/>
                    </a:lnTo>
                    <a:lnTo>
                      <a:pt x="0" y="328"/>
                    </a:lnTo>
                    <a:lnTo>
                      <a:pt x="1" y="312"/>
                    </a:lnTo>
                    <a:lnTo>
                      <a:pt x="3" y="294"/>
                    </a:lnTo>
                    <a:lnTo>
                      <a:pt x="4" y="278"/>
                    </a:lnTo>
                    <a:lnTo>
                      <a:pt x="7" y="262"/>
                    </a:lnTo>
                    <a:lnTo>
                      <a:pt x="11" y="246"/>
                    </a:lnTo>
                    <a:lnTo>
                      <a:pt x="15" y="231"/>
                    </a:lnTo>
                    <a:lnTo>
                      <a:pt x="27" y="200"/>
                    </a:lnTo>
                    <a:lnTo>
                      <a:pt x="40" y="172"/>
                    </a:lnTo>
                    <a:lnTo>
                      <a:pt x="56" y="145"/>
                    </a:lnTo>
                    <a:lnTo>
                      <a:pt x="75" y="120"/>
                    </a:lnTo>
                    <a:lnTo>
                      <a:pt x="97" y="96"/>
                    </a:lnTo>
                    <a:lnTo>
                      <a:pt x="121" y="76"/>
                    </a:lnTo>
                    <a:lnTo>
                      <a:pt x="145" y="57"/>
                    </a:lnTo>
                    <a:lnTo>
                      <a:pt x="173" y="39"/>
                    </a:lnTo>
                    <a:lnTo>
                      <a:pt x="201" y="26"/>
                    </a:lnTo>
                    <a:lnTo>
                      <a:pt x="232" y="15"/>
                    </a:lnTo>
                    <a:lnTo>
                      <a:pt x="247" y="10"/>
                    </a:lnTo>
                    <a:lnTo>
                      <a:pt x="263" y="7"/>
                    </a:lnTo>
                    <a:lnTo>
                      <a:pt x="279" y="4"/>
                    </a:lnTo>
                    <a:lnTo>
                      <a:pt x="295" y="2"/>
                    </a:lnTo>
                    <a:lnTo>
                      <a:pt x="313" y="0"/>
                    </a:lnTo>
                    <a:lnTo>
                      <a:pt x="329" y="0"/>
                    </a:lnTo>
                    <a:lnTo>
                      <a:pt x="329" y="0"/>
                    </a:lnTo>
                    <a:lnTo>
                      <a:pt x="346" y="0"/>
                    </a:lnTo>
                    <a:lnTo>
                      <a:pt x="363" y="2"/>
                    </a:lnTo>
                    <a:lnTo>
                      <a:pt x="379" y="4"/>
                    </a:lnTo>
                    <a:lnTo>
                      <a:pt x="396" y="7"/>
                    </a:lnTo>
                    <a:lnTo>
                      <a:pt x="411" y="10"/>
                    </a:lnTo>
                    <a:lnTo>
                      <a:pt x="427" y="15"/>
                    </a:lnTo>
                    <a:lnTo>
                      <a:pt x="457" y="26"/>
                    </a:lnTo>
                    <a:lnTo>
                      <a:pt x="486" y="39"/>
                    </a:lnTo>
                    <a:lnTo>
                      <a:pt x="513" y="57"/>
                    </a:lnTo>
                    <a:lnTo>
                      <a:pt x="539" y="76"/>
                    </a:lnTo>
                    <a:lnTo>
                      <a:pt x="561" y="96"/>
                    </a:lnTo>
                    <a:lnTo>
                      <a:pt x="583" y="120"/>
                    </a:lnTo>
                    <a:lnTo>
                      <a:pt x="602" y="145"/>
                    </a:lnTo>
                    <a:lnTo>
                      <a:pt x="618" y="172"/>
                    </a:lnTo>
                    <a:lnTo>
                      <a:pt x="632" y="200"/>
                    </a:lnTo>
                    <a:lnTo>
                      <a:pt x="643" y="231"/>
                    </a:lnTo>
                    <a:lnTo>
                      <a:pt x="647" y="246"/>
                    </a:lnTo>
                    <a:lnTo>
                      <a:pt x="651" y="262"/>
                    </a:lnTo>
                    <a:lnTo>
                      <a:pt x="654" y="278"/>
                    </a:lnTo>
                    <a:lnTo>
                      <a:pt x="657" y="294"/>
                    </a:lnTo>
                    <a:lnTo>
                      <a:pt x="658" y="312"/>
                    </a:lnTo>
                    <a:lnTo>
                      <a:pt x="658" y="328"/>
                    </a:lnTo>
                    <a:lnTo>
                      <a:pt x="658" y="328"/>
                    </a:lnTo>
                    <a:lnTo>
                      <a:pt x="658" y="346"/>
                    </a:lnTo>
                    <a:lnTo>
                      <a:pt x="657" y="362"/>
                    </a:lnTo>
                    <a:lnTo>
                      <a:pt x="654" y="379"/>
                    </a:lnTo>
                    <a:lnTo>
                      <a:pt x="651" y="395"/>
                    </a:lnTo>
                    <a:lnTo>
                      <a:pt x="647" y="411"/>
                    </a:lnTo>
                    <a:lnTo>
                      <a:pt x="643" y="426"/>
                    </a:lnTo>
                    <a:lnTo>
                      <a:pt x="632" y="457"/>
                    </a:lnTo>
                    <a:lnTo>
                      <a:pt x="618" y="485"/>
                    </a:lnTo>
                    <a:lnTo>
                      <a:pt x="602" y="512"/>
                    </a:lnTo>
                    <a:lnTo>
                      <a:pt x="583" y="538"/>
                    </a:lnTo>
                    <a:lnTo>
                      <a:pt x="561" y="560"/>
                    </a:lnTo>
                    <a:lnTo>
                      <a:pt x="539" y="582"/>
                    </a:lnTo>
                    <a:lnTo>
                      <a:pt x="513" y="601"/>
                    </a:lnTo>
                    <a:lnTo>
                      <a:pt x="486" y="618"/>
                    </a:lnTo>
                    <a:lnTo>
                      <a:pt x="457" y="632"/>
                    </a:lnTo>
                    <a:lnTo>
                      <a:pt x="427" y="642"/>
                    </a:lnTo>
                    <a:lnTo>
                      <a:pt x="411" y="648"/>
                    </a:lnTo>
                    <a:lnTo>
                      <a:pt x="396" y="650"/>
                    </a:lnTo>
                    <a:lnTo>
                      <a:pt x="379" y="653"/>
                    </a:lnTo>
                    <a:lnTo>
                      <a:pt x="363" y="656"/>
                    </a:lnTo>
                    <a:lnTo>
                      <a:pt x="346" y="657"/>
                    </a:lnTo>
                    <a:lnTo>
                      <a:pt x="329" y="657"/>
                    </a:lnTo>
                    <a:lnTo>
                      <a:pt x="329" y="657"/>
                    </a:lnTo>
                    <a:close/>
                    <a:moveTo>
                      <a:pt x="329" y="38"/>
                    </a:moveTo>
                    <a:lnTo>
                      <a:pt x="329" y="38"/>
                    </a:lnTo>
                    <a:lnTo>
                      <a:pt x="300" y="39"/>
                    </a:lnTo>
                    <a:lnTo>
                      <a:pt x="271" y="43"/>
                    </a:lnTo>
                    <a:lnTo>
                      <a:pt x="243" y="50"/>
                    </a:lnTo>
                    <a:lnTo>
                      <a:pt x="216" y="61"/>
                    </a:lnTo>
                    <a:lnTo>
                      <a:pt x="191" y="73"/>
                    </a:lnTo>
                    <a:lnTo>
                      <a:pt x="167" y="88"/>
                    </a:lnTo>
                    <a:lnTo>
                      <a:pt x="144" y="104"/>
                    </a:lnTo>
                    <a:lnTo>
                      <a:pt x="124" y="123"/>
                    </a:lnTo>
                    <a:lnTo>
                      <a:pt x="105" y="144"/>
                    </a:lnTo>
                    <a:lnTo>
                      <a:pt x="89" y="166"/>
                    </a:lnTo>
                    <a:lnTo>
                      <a:pt x="74" y="190"/>
                    </a:lnTo>
                    <a:lnTo>
                      <a:pt x="62" y="215"/>
                    </a:lnTo>
                    <a:lnTo>
                      <a:pt x="51" y="242"/>
                    </a:lnTo>
                    <a:lnTo>
                      <a:pt x="44" y="270"/>
                    </a:lnTo>
                    <a:lnTo>
                      <a:pt x="40" y="298"/>
                    </a:lnTo>
                    <a:lnTo>
                      <a:pt x="38" y="328"/>
                    </a:lnTo>
                    <a:lnTo>
                      <a:pt x="38" y="328"/>
                    </a:lnTo>
                    <a:lnTo>
                      <a:pt x="40" y="359"/>
                    </a:lnTo>
                    <a:lnTo>
                      <a:pt x="44" y="387"/>
                    </a:lnTo>
                    <a:lnTo>
                      <a:pt x="51" y="415"/>
                    </a:lnTo>
                    <a:lnTo>
                      <a:pt x="62" y="442"/>
                    </a:lnTo>
                    <a:lnTo>
                      <a:pt x="74" y="468"/>
                    </a:lnTo>
                    <a:lnTo>
                      <a:pt x="89" y="492"/>
                    </a:lnTo>
                    <a:lnTo>
                      <a:pt x="105" y="513"/>
                    </a:lnTo>
                    <a:lnTo>
                      <a:pt x="124" y="535"/>
                    </a:lnTo>
                    <a:lnTo>
                      <a:pt x="144" y="554"/>
                    </a:lnTo>
                    <a:lnTo>
                      <a:pt x="167" y="570"/>
                    </a:lnTo>
                    <a:lnTo>
                      <a:pt x="191" y="585"/>
                    </a:lnTo>
                    <a:lnTo>
                      <a:pt x="216" y="597"/>
                    </a:lnTo>
                    <a:lnTo>
                      <a:pt x="243" y="606"/>
                    </a:lnTo>
                    <a:lnTo>
                      <a:pt x="271" y="614"/>
                    </a:lnTo>
                    <a:lnTo>
                      <a:pt x="300" y="618"/>
                    </a:lnTo>
                    <a:lnTo>
                      <a:pt x="329" y="619"/>
                    </a:lnTo>
                    <a:lnTo>
                      <a:pt x="329" y="619"/>
                    </a:lnTo>
                    <a:lnTo>
                      <a:pt x="359" y="618"/>
                    </a:lnTo>
                    <a:lnTo>
                      <a:pt x="388" y="614"/>
                    </a:lnTo>
                    <a:lnTo>
                      <a:pt x="416" y="606"/>
                    </a:lnTo>
                    <a:lnTo>
                      <a:pt x="443" y="597"/>
                    </a:lnTo>
                    <a:lnTo>
                      <a:pt x="467" y="585"/>
                    </a:lnTo>
                    <a:lnTo>
                      <a:pt x="492" y="570"/>
                    </a:lnTo>
                    <a:lnTo>
                      <a:pt x="514" y="554"/>
                    </a:lnTo>
                    <a:lnTo>
                      <a:pt x="534" y="535"/>
                    </a:lnTo>
                    <a:lnTo>
                      <a:pt x="553" y="513"/>
                    </a:lnTo>
                    <a:lnTo>
                      <a:pt x="571" y="492"/>
                    </a:lnTo>
                    <a:lnTo>
                      <a:pt x="585" y="468"/>
                    </a:lnTo>
                    <a:lnTo>
                      <a:pt x="598" y="442"/>
                    </a:lnTo>
                    <a:lnTo>
                      <a:pt x="607" y="415"/>
                    </a:lnTo>
                    <a:lnTo>
                      <a:pt x="615" y="387"/>
                    </a:lnTo>
                    <a:lnTo>
                      <a:pt x="619" y="359"/>
                    </a:lnTo>
                    <a:lnTo>
                      <a:pt x="620" y="328"/>
                    </a:lnTo>
                    <a:lnTo>
                      <a:pt x="620" y="328"/>
                    </a:lnTo>
                    <a:lnTo>
                      <a:pt x="619" y="298"/>
                    </a:lnTo>
                    <a:lnTo>
                      <a:pt x="615" y="270"/>
                    </a:lnTo>
                    <a:lnTo>
                      <a:pt x="607" y="242"/>
                    </a:lnTo>
                    <a:lnTo>
                      <a:pt x="598" y="215"/>
                    </a:lnTo>
                    <a:lnTo>
                      <a:pt x="585" y="190"/>
                    </a:lnTo>
                    <a:lnTo>
                      <a:pt x="571" y="166"/>
                    </a:lnTo>
                    <a:lnTo>
                      <a:pt x="553" y="144"/>
                    </a:lnTo>
                    <a:lnTo>
                      <a:pt x="534" y="123"/>
                    </a:lnTo>
                    <a:lnTo>
                      <a:pt x="514" y="104"/>
                    </a:lnTo>
                    <a:lnTo>
                      <a:pt x="492" y="88"/>
                    </a:lnTo>
                    <a:lnTo>
                      <a:pt x="467" y="73"/>
                    </a:lnTo>
                    <a:lnTo>
                      <a:pt x="443" y="61"/>
                    </a:lnTo>
                    <a:lnTo>
                      <a:pt x="416" y="50"/>
                    </a:lnTo>
                    <a:lnTo>
                      <a:pt x="388" y="43"/>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5" name="Freeform 265">
                <a:extLst>
                  <a:ext uri="{FF2B5EF4-FFF2-40B4-BE49-F238E27FC236}">
                    <a16:creationId xmlns:a16="http://schemas.microsoft.com/office/drawing/2014/main" id="{8604C6C7-7252-45F8-ABA3-AE8FB561A5E2}"/>
                  </a:ext>
                </a:extLst>
              </p:cNvPr>
              <p:cNvSpPr>
                <a:spLocks/>
              </p:cNvSpPr>
              <p:nvPr/>
            </p:nvSpPr>
            <p:spPr bwMode="auto">
              <a:xfrm>
                <a:off x="890588" y="1998663"/>
                <a:ext cx="57150" cy="57150"/>
              </a:xfrm>
              <a:custGeom>
                <a:avLst/>
                <a:gdLst>
                  <a:gd name="T0" fmla="*/ 61 w 71"/>
                  <a:gd name="T1" fmla="*/ 0 h 71"/>
                  <a:gd name="T2" fmla="*/ 0 w 71"/>
                  <a:gd name="T3" fmla="*/ 60 h 71"/>
                  <a:gd name="T4" fmla="*/ 65 w 71"/>
                  <a:gd name="T5" fmla="*/ 71 h 71"/>
                  <a:gd name="T6" fmla="*/ 65 w 71"/>
                  <a:gd name="T7" fmla="*/ 71 h 71"/>
                  <a:gd name="T8" fmla="*/ 66 w 71"/>
                  <a:gd name="T9" fmla="*/ 71 h 71"/>
                  <a:gd name="T10" fmla="*/ 66 w 71"/>
                  <a:gd name="T11" fmla="*/ 71 h 71"/>
                  <a:gd name="T12" fmla="*/ 66 w 71"/>
                  <a:gd name="T13" fmla="*/ 71 h 71"/>
                  <a:gd name="T14" fmla="*/ 66 w 71"/>
                  <a:gd name="T15" fmla="*/ 71 h 71"/>
                  <a:gd name="T16" fmla="*/ 67 w 71"/>
                  <a:gd name="T17" fmla="*/ 71 h 71"/>
                  <a:gd name="T18" fmla="*/ 70 w 71"/>
                  <a:gd name="T19" fmla="*/ 69 h 71"/>
                  <a:gd name="T20" fmla="*/ 71 w 71"/>
                  <a:gd name="T21" fmla="*/ 67 h 71"/>
                  <a:gd name="T22" fmla="*/ 71 w 71"/>
                  <a:gd name="T23" fmla="*/ 65 h 71"/>
                  <a:gd name="T24" fmla="*/ 71 w 71"/>
                  <a:gd name="T25" fmla="*/ 65 h 71"/>
                  <a:gd name="T26" fmla="*/ 71 w 71"/>
                  <a:gd name="T27" fmla="*/ 63 h 71"/>
                  <a:gd name="T28" fmla="*/ 61 w 71"/>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1" h="71">
                    <a:moveTo>
                      <a:pt x="61" y="0"/>
                    </a:moveTo>
                    <a:lnTo>
                      <a:pt x="0" y="60"/>
                    </a:lnTo>
                    <a:lnTo>
                      <a:pt x="65" y="71"/>
                    </a:lnTo>
                    <a:lnTo>
                      <a:pt x="65" y="71"/>
                    </a:lnTo>
                    <a:lnTo>
                      <a:pt x="66" y="71"/>
                    </a:lnTo>
                    <a:lnTo>
                      <a:pt x="66" y="71"/>
                    </a:lnTo>
                    <a:lnTo>
                      <a:pt x="66" y="71"/>
                    </a:lnTo>
                    <a:lnTo>
                      <a:pt x="66" y="71"/>
                    </a:lnTo>
                    <a:lnTo>
                      <a:pt x="67" y="71"/>
                    </a:lnTo>
                    <a:lnTo>
                      <a:pt x="70" y="69"/>
                    </a:lnTo>
                    <a:lnTo>
                      <a:pt x="71" y="67"/>
                    </a:lnTo>
                    <a:lnTo>
                      <a:pt x="71" y="65"/>
                    </a:lnTo>
                    <a:lnTo>
                      <a:pt x="71" y="65"/>
                    </a:lnTo>
                    <a:lnTo>
                      <a:pt x="71" y="63"/>
                    </a:lnTo>
                    <a:lnTo>
                      <a:pt x="6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6" name="Freeform 266">
                <a:extLst>
                  <a:ext uri="{FF2B5EF4-FFF2-40B4-BE49-F238E27FC236}">
                    <a16:creationId xmlns:a16="http://schemas.microsoft.com/office/drawing/2014/main" id="{680C64B8-ED02-44B2-91A3-BF4B3F781B50}"/>
                  </a:ext>
                </a:extLst>
              </p:cNvPr>
              <p:cNvSpPr>
                <a:spLocks/>
              </p:cNvSpPr>
              <p:nvPr/>
            </p:nvSpPr>
            <p:spPr bwMode="auto">
              <a:xfrm>
                <a:off x="688976" y="1797050"/>
                <a:ext cx="74613" cy="74613"/>
              </a:xfrm>
              <a:custGeom>
                <a:avLst/>
                <a:gdLst>
                  <a:gd name="T0" fmla="*/ 96 w 96"/>
                  <a:gd name="T1" fmla="*/ 31 h 96"/>
                  <a:gd name="T2" fmla="*/ 66 w 96"/>
                  <a:gd name="T3" fmla="*/ 2 h 96"/>
                  <a:gd name="T4" fmla="*/ 66 w 96"/>
                  <a:gd name="T5" fmla="*/ 2 h 96"/>
                  <a:gd name="T6" fmla="*/ 63 w 96"/>
                  <a:gd name="T7" fmla="*/ 0 h 96"/>
                  <a:gd name="T8" fmla="*/ 62 w 96"/>
                  <a:gd name="T9" fmla="*/ 0 h 96"/>
                  <a:gd name="T10" fmla="*/ 59 w 96"/>
                  <a:gd name="T11" fmla="*/ 0 h 96"/>
                  <a:gd name="T12" fmla="*/ 58 w 96"/>
                  <a:gd name="T13" fmla="*/ 2 h 96"/>
                  <a:gd name="T14" fmla="*/ 2 w 96"/>
                  <a:gd name="T15" fmla="*/ 58 h 96"/>
                  <a:gd name="T16" fmla="*/ 2 w 96"/>
                  <a:gd name="T17" fmla="*/ 58 h 96"/>
                  <a:gd name="T18" fmla="*/ 0 w 96"/>
                  <a:gd name="T19" fmla="*/ 60 h 96"/>
                  <a:gd name="T20" fmla="*/ 0 w 96"/>
                  <a:gd name="T21" fmla="*/ 62 h 96"/>
                  <a:gd name="T22" fmla="*/ 0 w 96"/>
                  <a:gd name="T23" fmla="*/ 65 h 96"/>
                  <a:gd name="T24" fmla="*/ 2 w 96"/>
                  <a:gd name="T25" fmla="*/ 66 h 96"/>
                  <a:gd name="T26" fmla="*/ 31 w 96"/>
                  <a:gd name="T27" fmla="*/ 96 h 96"/>
                  <a:gd name="T28" fmla="*/ 96 w 96"/>
                  <a:gd name="T29" fmla="*/ 3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96">
                    <a:moveTo>
                      <a:pt x="96" y="31"/>
                    </a:moveTo>
                    <a:lnTo>
                      <a:pt x="66" y="2"/>
                    </a:lnTo>
                    <a:lnTo>
                      <a:pt x="66" y="2"/>
                    </a:lnTo>
                    <a:lnTo>
                      <a:pt x="63" y="0"/>
                    </a:lnTo>
                    <a:lnTo>
                      <a:pt x="62" y="0"/>
                    </a:lnTo>
                    <a:lnTo>
                      <a:pt x="59" y="0"/>
                    </a:lnTo>
                    <a:lnTo>
                      <a:pt x="58" y="2"/>
                    </a:lnTo>
                    <a:lnTo>
                      <a:pt x="2" y="58"/>
                    </a:lnTo>
                    <a:lnTo>
                      <a:pt x="2" y="58"/>
                    </a:lnTo>
                    <a:lnTo>
                      <a:pt x="0" y="60"/>
                    </a:lnTo>
                    <a:lnTo>
                      <a:pt x="0" y="62"/>
                    </a:lnTo>
                    <a:lnTo>
                      <a:pt x="0" y="65"/>
                    </a:lnTo>
                    <a:lnTo>
                      <a:pt x="2" y="66"/>
                    </a:lnTo>
                    <a:lnTo>
                      <a:pt x="31" y="96"/>
                    </a:lnTo>
                    <a:lnTo>
                      <a:pt x="9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7" name="Freeform 267">
                <a:extLst>
                  <a:ext uri="{FF2B5EF4-FFF2-40B4-BE49-F238E27FC236}">
                    <a16:creationId xmlns:a16="http://schemas.microsoft.com/office/drawing/2014/main" id="{8526391E-BDFC-4842-8A24-5CFA1F7C07CB}"/>
                  </a:ext>
                </a:extLst>
              </p:cNvPr>
              <p:cNvSpPr>
                <a:spLocks noEditPoints="1"/>
              </p:cNvSpPr>
              <p:nvPr/>
            </p:nvSpPr>
            <p:spPr bwMode="auto">
              <a:xfrm>
                <a:off x="688976" y="1797050"/>
                <a:ext cx="258763" cy="258763"/>
              </a:xfrm>
              <a:custGeom>
                <a:avLst/>
                <a:gdLst>
                  <a:gd name="T0" fmla="*/ 257 w 326"/>
                  <a:gd name="T1" fmla="*/ 2 h 327"/>
                  <a:gd name="T2" fmla="*/ 255 w 326"/>
                  <a:gd name="T3" fmla="*/ 0 h 327"/>
                  <a:gd name="T4" fmla="*/ 251 w 326"/>
                  <a:gd name="T5" fmla="*/ 0 h 327"/>
                  <a:gd name="T6" fmla="*/ 198 w 326"/>
                  <a:gd name="T7" fmla="*/ 54 h 327"/>
                  <a:gd name="T8" fmla="*/ 218 w 326"/>
                  <a:gd name="T9" fmla="*/ 76 h 327"/>
                  <a:gd name="T10" fmla="*/ 219 w 326"/>
                  <a:gd name="T11" fmla="*/ 80 h 327"/>
                  <a:gd name="T12" fmla="*/ 218 w 326"/>
                  <a:gd name="T13" fmla="*/ 82 h 327"/>
                  <a:gd name="T14" fmla="*/ 216 w 326"/>
                  <a:gd name="T15" fmla="*/ 84 h 327"/>
                  <a:gd name="T16" fmla="*/ 212 w 326"/>
                  <a:gd name="T17" fmla="*/ 84 h 327"/>
                  <a:gd name="T18" fmla="*/ 189 w 326"/>
                  <a:gd name="T19" fmla="*/ 62 h 327"/>
                  <a:gd name="T20" fmla="*/ 173 w 326"/>
                  <a:gd name="T21" fmla="*/ 97 h 327"/>
                  <a:gd name="T22" fmla="*/ 173 w 326"/>
                  <a:gd name="T23" fmla="*/ 100 h 327"/>
                  <a:gd name="T24" fmla="*/ 173 w 326"/>
                  <a:gd name="T25" fmla="*/ 104 h 327"/>
                  <a:gd name="T26" fmla="*/ 173 w 326"/>
                  <a:gd name="T27" fmla="*/ 105 h 327"/>
                  <a:gd name="T28" fmla="*/ 169 w 326"/>
                  <a:gd name="T29" fmla="*/ 107 h 327"/>
                  <a:gd name="T30" fmla="*/ 165 w 326"/>
                  <a:gd name="T31" fmla="*/ 105 h 327"/>
                  <a:gd name="T32" fmla="*/ 129 w 326"/>
                  <a:gd name="T33" fmla="*/ 121 h 327"/>
                  <a:gd name="T34" fmla="*/ 151 w 326"/>
                  <a:gd name="T35" fmla="*/ 143 h 327"/>
                  <a:gd name="T36" fmla="*/ 152 w 326"/>
                  <a:gd name="T37" fmla="*/ 147 h 327"/>
                  <a:gd name="T38" fmla="*/ 151 w 326"/>
                  <a:gd name="T39" fmla="*/ 151 h 327"/>
                  <a:gd name="T40" fmla="*/ 148 w 326"/>
                  <a:gd name="T41" fmla="*/ 152 h 327"/>
                  <a:gd name="T42" fmla="*/ 144 w 326"/>
                  <a:gd name="T43" fmla="*/ 152 h 327"/>
                  <a:gd name="T44" fmla="*/ 121 w 326"/>
                  <a:gd name="T45" fmla="*/ 129 h 327"/>
                  <a:gd name="T46" fmla="*/ 105 w 326"/>
                  <a:gd name="T47" fmla="*/ 166 h 327"/>
                  <a:gd name="T48" fmla="*/ 106 w 326"/>
                  <a:gd name="T49" fmla="*/ 167 h 327"/>
                  <a:gd name="T50" fmla="*/ 106 w 326"/>
                  <a:gd name="T51" fmla="*/ 171 h 327"/>
                  <a:gd name="T52" fmla="*/ 105 w 326"/>
                  <a:gd name="T53" fmla="*/ 174 h 327"/>
                  <a:gd name="T54" fmla="*/ 101 w 326"/>
                  <a:gd name="T55" fmla="*/ 175 h 327"/>
                  <a:gd name="T56" fmla="*/ 97 w 326"/>
                  <a:gd name="T57" fmla="*/ 174 h 327"/>
                  <a:gd name="T58" fmla="*/ 62 w 326"/>
                  <a:gd name="T59" fmla="*/ 190 h 327"/>
                  <a:gd name="T60" fmla="*/ 82 w 326"/>
                  <a:gd name="T61" fmla="*/ 210 h 327"/>
                  <a:gd name="T62" fmla="*/ 85 w 326"/>
                  <a:gd name="T63" fmla="*/ 214 h 327"/>
                  <a:gd name="T64" fmla="*/ 82 w 326"/>
                  <a:gd name="T65" fmla="*/ 218 h 327"/>
                  <a:gd name="T66" fmla="*/ 81 w 326"/>
                  <a:gd name="T67" fmla="*/ 219 h 327"/>
                  <a:gd name="T68" fmla="*/ 77 w 326"/>
                  <a:gd name="T69" fmla="*/ 219 h 327"/>
                  <a:gd name="T70" fmla="*/ 54 w 326"/>
                  <a:gd name="T71" fmla="*/ 198 h 327"/>
                  <a:gd name="T72" fmla="*/ 2 w 326"/>
                  <a:gd name="T73" fmla="*/ 250 h 327"/>
                  <a:gd name="T74" fmla="*/ 0 w 326"/>
                  <a:gd name="T75" fmla="*/ 254 h 327"/>
                  <a:gd name="T76" fmla="*/ 2 w 326"/>
                  <a:gd name="T77" fmla="*/ 257 h 327"/>
                  <a:gd name="T78" fmla="*/ 69 w 326"/>
                  <a:gd name="T79" fmla="*/ 325 h 327"/>
                  <a:gd name="T80" fmla="*/ 73 w 326"/>
                  <a:gd name="T81" fmla="*/ 327 h 327"/>
                  <a:gd name="T82" fmla="*/ 75 w 326"/>
                  <a:gd name="T83" fmla="*/ 327 h 327"/>
                  <a:gd name="T84" fmla="*/ 325 w 326"/>
                  <a:gd name="T85" fmla="*/ 77 h 327"/>
                  <a:gd name="T86" fmla="*/ 326 w 326"/>
                  <a:gd name="T87" fmla="*/ 76 h 327"/>
                  <a:gd name="T88" fmla="*/ 326 w 326"/>
                  <a:gd name="T89" fmla="*/ 72 h 327"/>
                  <a:gd name="T90" fmla="*/ 325 w 326"/>
                  <a:gd name="T91" fmla="*/ 69 h 327"/>
                  <a:gd name="T92" fmla="*/ 267 w 326"/>
                  <a:gd name="T93" fmla="*/ 96 h 327"/>
                  <a:gd name="T94" fmla="*/ 258 w 326"/>
                  <a:gd name="T95" fmla="*/ 92 h 327"/>
                  <a:gd name="T96" fmla="*/ 253 w 326"/>
                  <a:gd name="T97" fmla="*/ 82 h 327"/>
                  <a:gd name="T98" fmla="*/ 254 w 326"/>
                  <a:gd name="T99" fmla="*/ 77 h 327"/>
                  <a:gd name="T100" fmla="*/ 262 w 326"/>
                  <a:gd name="T101" fmla="*/ 69 h 327"/>
                  <a:gd name="T102" fmla="*/ 267 w 326"/>
                  <a:gd name="T103" fmla="*/ 68 h 327"/>
                  <a:gd name="T104" fmla="*/ 277 w 326"/>
                  <a:gd name="T105" fmla="*/ 72 h 327"/>
                  <a:gd name="T106" fmla="*/ 281 w 326"/>
                  <a:gd name="T107" fmla="*/ 82 h 327"/>
                  <a:gd name="T108" fmla="*/ 281 w 326"/>
                  <a:gd name="T109" fmla="*/ 88 h 327"/>
                  <a:gd name="T110" fmla="*/ 273 w 326"/>
                  <a:gd name="T111" fmla="*/ 94 h 327"/>
                  <a:gd name="T112" fmla="*/ 267 w 326"/>
                  <a:gd name="T113" fmla="*/ 9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6" h="327">
                    <a:moveTo>
                      <a:pt x="325" y="69"/>
                    </a:moveTo>
                    <a:lnTo>
                      <a:pt x="257" y="2"/>
                    </a:lnTo>
                    <a:lnTo>
                      <a:pt x="257" y="2"/>
                    </a:lnTo>
                    <a:lnTo>
                      <a:pt x="255" y="0"/>
                    </a:lnTo>
                    <a:lnTo>
                      <a:pt x="253" y="0"/>
                    </a:lnTo>
                    <a:lnTo>
                      <a:pt x="251" y="0"/>
                    </a:lnTo>
                    <a:lnTo>
                      <a:pt x="249" y="2"/>
                    </a:lnTo>
                    <a:lnTo>
                      <a:pt x="198" y="54"/>
                    </a:lnTo>
                    <a:lnTo>
                      <a:pt x="218" y="76"/>
                    </a:lnTo>
                    <a:lnTo>
                      <a:pt x="218" y="76"/>
                    </a:lnTo>
                    <a:lnTo>
                      <a:pt x="219" y="77"/>
                    </a:lnTo>
                    <a:lnTo>
                      <a:pt x="219" y="80"/>
                    </a:lnTo>
                    <a:lnTo>
                      <a:pt x="219" y="81"/>
                    </a:lnTo>
                    <a:lnTo>
                      <a:pt x="218" y="82"/>
                    </a:lnTo>
                    <a:lnTo>
                      <a:pt x="218" y="82"/>
                    </a:lnTo>
                    <a:lnTo>
                      <a:pt x="216" y="84"/>
                    </a:lnTo>
                    <a:lnTo>
                      <a:pt x="214" y="85"/>
                    </a:lnTo>
                    <a:lnTo>
                      <a:pt x="212" y="84"/>
                    </a:lnTo>
                    <a:lnTo>
                      <a:pt x="210" y="82"/>
                    </a:lnTo>
                    <a:lnTo>
                      <a:pt x="189" y="62"/>
                    </a:lnTo>
                    <a:lnTo>
                      <a:pt x="163" y="88"/>
                    </a:lnTo>
                    <a:lnTo>
                      <a:pt x="173" y="97"/>
                    </a:lnTo>
                    <a:lnTo>
                      <a:pt x="173" y="97"/>
                    </a:lnTo>
                    <a:lnTo>
                      <a:pt x="173" y="100"/>
                    </a:lnTo>
                    <a:lnTo>
                      <a:pt x="175" y="101"/>
                    </a:lnTo>
                    <a:lnTo>
                      <a:pt x="173" y="104"/>
                    </a:lnTo>
                    <a:lnTo>
                      <a:pt x="173" y="105"/>
                    </a:lnTo>
                    <a:lnTo>
                      <a:pt x="173" y="105"/>
                    </a:lnTo>
                    <a:lnTo>
                      <a:pt x="171" y="107"/>
                    </a:lnTo>
                    <a:lnTo>
                      <a:pt x="169" y="107"/>
                    </a:lnTo>
                    <a:lnTo>
                      <a:pt x="167" y="107"/>
                    </a:lnTo>
                    <a:lnTo>
                      <a:pt x="165" y="105"/>
                    </a:lnTo>
                    <a:lnTo>
                      <a:pt x="155" y="96"/>
                    </a:lnTo>
                    <a:lnTo>
                      <a:pt x="129" y="121"/>
                    </a:lnTo>
                    <a:lnTo>
                      <a:pt x="151" y="143"/>
                    </a:lnTo>
                    <a:lnTo>
                      <a:pt x="151" y="143"/>
                    </a:lnTo>
                    <a:lnTo>
                      <a:pt x="152" y="144"/>
                    </a:lnTo>
                    <a:lnTo>
                      <a:pt x="152" y="147"/>
                    </a:lnTo>
                    <a:lnTo>
                      <a:pt x="152" y="148"/>
                    </a:lnTo>
                    <a:lnTo>
                      <a:pt x="151" y="151"/>
                    </a:lnTo>
                    <a:lnTo>
                      <a:pt x="151" y="151"/>
                    </a:lnTo>
                    <a:lnTo>
                      <a:pt x="148" y="152"/>
                    </a:lnTo>
                    <a:lnTo>
                      <a:pt x="147" y="152"/>
                    </a:lnTo>
                    <a:lnTo>
                      <a:pt x="144" y="152"/>
                    </a:lnTo>
                    <a:lnTo>
                      <a:pt x="143" y="151"/>
                    </a:lnTo>
                    <a:lnTo>
                      <a:pt x="121" y="129"/>
                    </a:lnTo>
                    <a:lnTo>
                      <a:pt x="96" y="155"/>
                    </a:lnTo>
                    <a:lnTo>
                      <a:pt x="105" y="166"/>
                    </a:lnTo>
                    <a:lnTo>
                      <a:pt x="105" y="166"/>
                    </a:lnTo>
                    <a:lnTo>
                      <a:pt x="106" y="167"/>
                    </a:lnTo>
                    <a:lnTo>
                      <a:pt x="106" y="170"/>
                    </a:lnTo>
                    <a:lnTo>
                      <a:pt x="106" y="171"/>
                    </a:lnTo>
                    <a:lnTo>
                      <a:pt x="105" y="174"/>
                    </a:lnTo>
                    <a:lnTo>
                      <a:pt x="105" y="174"/>
                    </a:lnTo>
                    <a:lnTo>
                      <a:pt x="104" y="174"/>
                    </a:lnTo>
                    <a:lnTo>
                      <a:pt x="101" y="175"/>
                    </a:lnTo>
                    <a:lnTo>
                      <a:pt x="100" y="174"/>
                    </a:lnTo>
                    <a:lnTo>
                      <a:pt x="97" y="174"/>
                    </a:lnTo>
                    <a:lnTo>
                      <a:pt x="87" y="163"/>
                    </a:lnTo>
                    <a:lnTo>
                      <a:pt x="62" y="190"/>
                    </a:lnTo>
                    <a:lnTo>
                      <a:pt x="82" y="210"/>
                    </a:lnTo>
                    <a:lnTo>
                      <a:pt x="82" y="210"/>
                    </a:lnTo>
                    <a:lnTo>
                      <a:pt x="83" y="213"/>
                    </a:lnTo>
                    <a:lnTo>
                      <a:pt x="85" y="214"/>
                    </a:lnTo>
                    <a:lnTo>
                      <a:pt x="83" y="217"/>
                    </a:lnTo>
                    <a:lnTo>
                      <a:pt x="82" y="218"/>
                    </a:lnTo>
                    <a:lnTo>
                      <a:pt x="82" y="218"/>
                    </a:lnTo>
                    <a:lnTo>
                      <a:pt x="81" y="219"/>
                    </a:lnTo>
                    <a:lnTo>
                      <a:pt x="78" y="219"/>
                    </a:lnTo>
                    <a:lnTo>
                      <a:pt x="77" y="219"/>
                    </a:lnTo>
                    <a:lnTo>
                      <a:pt x="75" y="218"/>
                    </a:lnTo>
                    <a:lnTo>
                      <a:pt x="54" y="198"/>
                    </a:lnTo>
                    <a:lnTo>
                      <a:pt x="2" y="250"/>
                    </a:lnTo>
                    <a:lnTo>
                      <a:pt x="2" y="250"/>
                    </a:lnTo>
                    <a:lnTo>
                      <a:pt x="0" y="252"/>
                    </a:lnTo>
                    <a:lnTo>
                      <a:pt x="0" y="254"/>
                    </a:lnTo>
                    <a:lnTo>
                      <a:pt x="0" y="256"/>
                    </a:lnTo>
                    <a:lnTo>
                      <a:pt x="2" y="257"/>
                    </a:lnTo>
                    <a:lnTo>
                      <a:pt x="69" y="325"/>
                    </a:lnTo>
                    <a:lnTo>
                      <a:pt x="69" y="325"/>
                    </a:lnTo>
                    <a:lnTo>
                      <a:pt x="71" y="327"/>
                    </a:lnTo>
                    <a:lnTo>
                      <a:pt x="73" y="327"/>
                    </a:lnTo>
                    <a:lnTo>
                      <a:pt x="73" y="327"/>
                    </a:lnTo>
                    <a:lnTo>
                      <a:pt x="75" y="327"/>
                    </a:lnTo>
                    <a:lnTo>
                      <a:pt x="77" y="325"/>
                    </a:lnTo>
                    <a:lnTo>
                      <a:pt x="325" y="77"/>
                    </a:lnTo>
                    <a:lnTo>
                      <a:pt x="325" y="77"/>
                    </a:lnTo>
                    <a:lnTo>
                      <a:pt x="326" y="76"/>
                    </a:lnTo>
                    <a:lnTo>
                      <a:pt x="326" y="73"/>
                    </a:lnTo>
                    <a:lnTo>
                      <a:pt x="326" y="72"/>
                    </a:lnTo>
                    <a:lnTo>
                      <a:pt x="325" y="69"/>
                    </a:lnTo>
                    <a:lnTo>
                      <a:pt x="325" y="69"/>
                    </a:lnTo>
                    <a:close/>
                    <a:moveTo>
                      <a:pt x="267" y="96"/>
                    </a:moveTo>
                    <a:lnTo>
                      <a:pt x="267" y="96"/>
                    </a:lnTo>
                    <a:lnTo>
                      <a:pt x="262" y="94"/>
                    </a:lnTo>
                    <a:lnTo>
                      <a:pt x="258" y="92"/>
                    </a:lnTo>
                    <a:lnTo>
                      <a:pt x="254" y="88"/>
                    </a:lnTo>
                    <a:lnTo>
                      <a:pt x="253" y="82"/>
                    </a:lnTo>
                    <a:lnTo>
                      <a:pt x="253" y="82"/>
                    </a:lnTo>
                    <a:lnTo>
                      <a:pt x="254" y="77"/>
                    </a:lnTo>
                    <a:lnTo>
                      <a:pt x="258" y="72"/>
                    </a:lnTo>
                    <a:lnTo>
                      <a:pt x="262" y="69"/>
                    </a:lnTo>
                    <a:lnTo>
                      <a:pt x="267" y="68"/>
                    </a:lnTo>
                    <a:lnTo>
                      <a:pt x="267" y="68"/>
                    </a:lnTo>
                    <a:lnTo>
                      <a:pt x="273" y="69"/>
                    </a:lnTo>
                    <a:lnTo>
                      <a:pt x="277" y="72"/>
                    </a:lnTo>
                    <a:lnTo>
                      <a:pt x="281" y="77"/>
                    </a:lnTo>
                    <a:lnTo>
                      <a:pt x="281" y="82"/>
                    </a:lnTo>
                    <a:lnTo>
                      <a:pt x="281" y="82"/>
                    </a:lnTo>
                    <a:lnTo>
                      <a:pt x="281" y="88"/>
                    </a:lnTo>
                    <a:lnTo>
                      <a:pt x="277" y="92"/>
                    </a:lnTo>
                    <a:lnTo>
                      <a:pt x="273" y="94"/>
                    </a:lnTo>
                    <a:lnTo>
                      <a:pt x="267" y="96"/>
                    </a:lnTo>
                    <a:lnTo>
                      <a:pt x="267"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8" name="Freeform 268">
                <a:extLst>
                  <a:ext uri="{FF2B5EF4-FFF2-40B4-BE49-F238E27FC236}">
                    <a16:creationId xmlns:a16="http://schemas.microsoft.com/office/drawing/2014/main" id="{84BE0148-7B20-4650-AB41-8914A4C3010D}"/>
                  </a:ext>
                </a:extLst>
              </p:cNvPr>
              <p:cNvSpPr>
                <a:spLocks/>
              </p:cNvSpPr>
              <p:nvPr/>
            </p:nvSpPr>
            <p:spPr bwMode="auto">
              <a:xfrm>
                <a:off x="828676" y="1936750"/>
                <a:ext cx="104775" cy="104775"/>
              </a:xfrm>
              <a:custGeom>
                <a:avLst/>
                <a:gdLst>
                  <a:gd name="T0" fmla="*/ 0 w 133"/>
                  <a:gd name="T1" fmla="*/ 63 h 131"/>
                  <a:gd name="T2" fmla="*/ 65 w 133"/>
                  <a:gd name="T3" fmla="*/ 0 h 131"/>
                  <a:gd name="T4" fmla="*/ 133 w 133"/>
                  <a:gd name="T5" fmla="*/ 68 h 131"/>
                  <a:gd name="T6" fmla="*/ 69 w 133"/>
                  <a:gd name="T7" fmla="*/ 131 h 131"/>
                  <a:gd name="T8" fmla="*/ 0 w 133"/>
                  <a:gd name="T9" fmla="*/ 63 h 131"/>
                </a:gdLst>
                <a:ahLst/>
                <a:cxnLst>
                  <a:cxn ang="0">
                    <a:pos x="T0" y="T1"/>
                  </a:cxn>
                  <a:cxn ang="0">
                    <a:pos x="T2" y="T3"/>
                  </a:cxn>
                  <a:cxn ang="0">
                    <a:pos x="T4" y="T5"/>
                  </a:cxn>
                  <a:cxn ang="0">
                    <a:pos x="T6" y="T7"/>
                  </a:cxn>
                  <a:cxn ang="0">
                    <a:pos x="T8" y="T9"/>
                  </a:cxn>
                </a:cxnLst>
                <a:rect l="0" t="0" r="r" b="b"/>
                <a:pathLst>
                  <a:path w="133" h="131">
                    <a:moveTo>
                      <a:pt x="0" y="63"/>
                    </a:moveTo>
                    <a:lnTo>
                      <a:pt x="65" y="0"/>
                    </a:lnTo>
                    <a:lnTo>
                      <a:pt x="133" y="68"/>
                    </a:lnTo>
                    <a:lnTo>
                      <a:pt x="69" y="131"/>
                    </a:lnTo>
                    <a:lnTo>
                      <a:pt x="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9" name="Freeform 269">
                <a:extLst>
                  <a:ext uri="{FF2B5EF4-FFF2-40B4-BE49-F238E27FC236}">
                    <a16:creationId xmlns:a16="http://schemas.microsoft.com/office/drawing/2014/main" id="{A519BF35-8286-479F-B6D7-C77B74D86F59}"/>
                  </a:ext>
                </a:extLst>
              </p:cNvPr>
              <p:cNvSpPr>
                <a:spLocks/>
              </p:cNvSpPr>
              <p:nvPr/>
            </p:nvSpPr>
            <p:spPr bwMode="auto">
              <a:xfrm>
                <a:off x="719138" y="1827213"/>
                <a:ext cx="87313" cy="87313"/>
              </a:xfrm>
              <a:custGeom>
                <a:avLst/>
                <a:gdLst>
                  <a:gd name="T0" fmla="*/ 0 w 110"/>
                  <a:gd name="T1" fmla="*/ 65 h 111"/>
                  <a:gd name="T2" fmla="*/ 65 w 110"/>
                  <a:gd name="T3" fmla="*/ 0 h 111"/>
                  <a:gd name="T4" fmla="*/ 110 w 110"/>
                  <a:gd name="T5" fmla="*/ 46 h 111"/>
                  <a:gd name="T6" fmla="*/ 46 w 110"/>
                  <a:gd name="T7" fmla="*/ 111 h 111"/>
                  <a:gd name="T8" fmla="*/ 0 w 110"/>
                  <a:gd name="T9" fmla="*/ 65 h 111"/>
                </a:gdLst>
                <a:ahLst/>
                <a:cxnLst>
                  <a:cxn ang="0">
                    <a:pos x="T0" y="T1"/>
                  </a:cxn>
                  <a:cxn ang="0">
                    <a:pos x="T2" y="T3"/>
                  </a:cxn>
                  <a:cxn ang="0">
                    <a:pos x="T4" y="T5"/>
                  </a:cxn>
                  <a:cxn ang="0">
                    <a:pos x="T6" y="T7"/>
                  </a:cxn>
                  <a:cxn ang="0">
                    <a:pos x="T8" y="T9"/>
                  </a:cxn>
                </a:cxnLst>
                <a:rect l="0" t="0" r="r" b="b"/>
                <a:pathLst>
                  <a:path w="110" h="111">
                    <a:moveTo>
                      <a:pt x="0" y="65"/>
                    </a:moveTo>
                    <a:lnTo>
                      <a:pt x="65" y="0"/>
                    </a:lnTo>
                    <a:lnTo>
                      <a:pt x="110" y="46"/>
                    </a:lnTo>
                    <a:lnTo>
                      <a:pt x="46" y="111"/>
                    </a:lnTo>
                    <a:lnTo>
                      <a:pt x="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40" name="Group 39">
            <a:extLst>
              <a:ext uri="{FF2B5EF4-FFF2-40B4-BE49-F238E27FC236}">
                <a16:creationId xmlns:a16="http://schemas.microsoft.com/office/drawing/2014/main" id="{25DE510B-8EC9-4B4B-9CF8-6A13F83470A6}"/>
              </a:ext>
            </a:extLst>
          </p:cNvPr>
          <p:cNvGrpSpPr/>
          <p:nvPr/>
        </p:nvGrpSpPr>
        <p:grpSpPr>
          <a:xfrm>
            <a:off x="7971077" y="1853582"/>
            <a:ext cx="270010" cy="270010"/>
            <a:chOff x="11168831" y="1181428"/>
            <a:chExt cx="522288" cy="522288"/>
          </a:xfrm>
        </p:grpSpPr>
        <p:sp>
          <p:nvSpPr>
            <p:cNvPr id="41" name="Oval 40">
              <a:extLst>
                <a:ext uri="{FF2B5EF4-FFF2-40B4-BE49-F238E27FC236}">
                  <a16:creationId xmlns:a16="http://schemas.microsoft.com/office/drawing/2014/main" id="{C6E94CCA-2623-4C5E-84EE-2754F0D5BC3E}"/>
                </a:ext>
              </a:extLst>
            </p:cNvPr>
            <p:cNvSpPr/>
            <p:nvPr/>
          </p:nvSpPr>
          <p:spPr>
            <a:xfrm>
              <a:off x="11169371" y="1181968"/>
              <a:ext cx="521208" cy="5212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42" name="Group 41">
              <a:extLst>
                <a:ext uri="{FF2B5EF4-FFF2-40B4-BE49-F238E27FC236}">
                  <a16:creationId xmlns:a16="http://schemas.microsoft.com/office/drawing/2014/main" id="{D82D978D-63E1-4AA3-843E-6353BCD6C9E1}"/>
                </a:ext>
              </a:extLst>
            </p:cNvPr>
            <p:cNvGrpSpPr>
              <a:grpSpLocks noChangeAspect="1"/>
            </p:cNvGrpSpPr>
            <p:nvPr/>
          </p:nvGrpSpPr>
          <p:grpSpPr>
            <a:xfrm>
              <a:off x="11168831" y="1181428"/>
              <a:ext cx="522288" cy="522288"/>
              <a:chOff x="9356726" y="5013960"/>
              <a:chExt cx="522288" cy="522288"/>
            </a:xfrm>
          </p:grpSpPr>
          <p:sp>
            <p:nvSpPr>
              <p:cNvPr id="43" name="Freeform 87">
                <a:extLst>
                  <a:ext uri="{FF2B5EF4-FFF2-40B4-BE49-F238E27FC236}">
                    <a16:creationId xmlns:a16="http://schemas.microsoft.com/office/drawing/2014/main" id="{AFC077C4-7968-4A46-943A-0A99760BC274}"/>
                  </a:ext>
                </a:extLst>
              </p:cNvPr>
              <p:cNvSpPr>
                <a:spLocks noEditPoints="1"/>
              </p:cNvSpPr>
              <p:nvPr/>
            </p:nvSpPr>
            <p:spPr bwMode="auto">
              <a:xfrm>
                <a:off x="9356726" y="5013960"/>
                <a:ext cx="522288" cy="522288"/>
              </a:xfrm>
              <a:custGeom>
                <a:avLst/>
                <a:gdLst>
                  <a:gd name="T0" fmla="*/ 311 w 657"/>
                  <a:gd name="T1" fmla="*/ 657 h 658"/>
                  <a:gd name="T2" fmla="*/ 262 w 657"/>
                  <a:gd name="T3" fmla="*/ 651 h 658"/>
                  <a:gd name="T4" fmla="*/ 200 w 657"/>
                  <a:gd name="T5" fmla="*/ 631 h 658"/>
                  <a:gd name="T6" fmla="*/ 119 w 657"/>
                  <a:gd name="T7" fmla="*/ 583 h 658"/>
                  <a:gd name="T8" fmla="*/ 56 w 657"/>
                  <a:gd name="T9" fmla="*/ 513 h 658"/>
                  <a:gd name="T10" fmla="*/ 14 w 657"/>
                  <a:gd name="T11" fmla="*/ 427 h 658"/>
                  <a:gd name="T12" fmla="*/ 4 w 657"/>
                  <a:gd name="T13" fmla="*/ 379 h 658"/>
                  <a:gd name="T14" fmla="*/ 0 w 657"/>
                  <a:gd name="T15" fmla="*/ 329 h 658"/>
                  <a:gd name="T16" fmla="*/ 1 w 657"/>
                  <a:gd name="T17" fmla="*/ 295 h 658"/>
                  <a:gd name="T18" fmla="*/ 10 w 657"/>
                  <a:gd name="T19" fmla="*/ 247 h 658"/>
                  <a:gd name="T20" fmla="*/ 39 w 657"/>
                  <a:gd name="T21" fmla="*/ 172 h 658"/>
                  <a:gd name="T22" fmla="*/ 96 w 657"/>
                  <a:gd name="T23" fmla="*/ 96 h 658"/>
                  <a:gd name="T24" fmla="*/ 172 w 657"/>
                  <a:gd name="T25" fmla="*/ 40 h 658"/>
                  <a:gd name="T26" fmla="*/ 247 w 657"/>
                  <a:gd name="T27" fmla="*/ 10 h 658"/>
                  <a:gd name="T28" fmla="*/ 295 w 657"/>
                  <a:gd name="T29" fmla="*/ 1 h 658"/>
                  <a:gd name="T30" fmla="*/ 329 w 657"/>
                  <a:gd name="T31" fmla="*/ 0 h 658"/>
                  <a:gd name="T32" fmla="*/ 379 w 657"/>
                  <a:gd name="T33" fmla="*/ 4 h 658"/>
                  <a:gd name="T34" fmla="*/ 426 w 657"/>
                  <a:gd name="T35" fmla="*/ 14 h 658"/>
                  <a:gd name="T36" fmla="*/ 512 w 657"/>
                  <a:gd name="T37" fmla="*/ 56 h 658"/>
                  <a:gd name="T38" fmla="*/ 582 w 657"/>
                  <a:gd name="T39" fmla="*/ 119 h 658"/>
                  <a:gd name="T40" fmla="*/ 631 w 657"/>
                  <a:gd name="T41" fmla="*/ 201 h 658"/>
                  <a:gd name="T42" fmla="*/ 650 w 657"/>
                  <a:gd name="T43" fmla="*/ 263 h 658"/>
                  <a:gd name="T44" fmla="*/ 657 w 657"/>
                  <a:gd name="T45" fmla="*/ 311 h 658"/>
                  <a:gd name="T46" fmla="*/ 657 w 657"/>
                  <a:gd name="T47" fmla="*/ 345 h 658"/>
                  <a:gd name="T48" fmla="*/ 650 w 657"/>
                  <a:gd name="T49" fmla="*/ 395 h 658"/>
                  <a:gd name="T50" fmla="*/ 631 w 657"/>
                  <a:gd name="T51" fmla="*/ 457 h 658"/>
                  <a:gd name="T52" fmla="*/ 582 w 657"/>
                  <a:gd name="T53" fmla="*/ 539 h 658"/>
                  <a:gd name="T54" fmla="*/ 512 w 657"/>
                  <a:gd name="T55" fmla="*/ 602 h 658"/>
                  <a:gd name="T56" fmla="*/ 426 w 657"/>
                  <a:gd name="T57" fmla="*/ 643 h 658"/>
                  <a:gd name="T58" fmla="*/ 379 w 657"/>
                  <a:gd name="T59" fmla="*/ 654 h 658"/>
                  <a:gd name="T60" fmla="*/ 329 w 657"/>
                  <a:gd name="T61" fmla="*/ 658 h 658"/>
                  <a:gd name="T62" fmla="*/ 329 w 657"/>
                  <a:gd name="T63" fmla="*/ 37 h 658"/>
                  <a:gd name="T64" fmla="*/ 241 w 657"/>
                  <a:gd name="T65" fmla="*/ 51 h 658"/>
                  <a:gd name="T66" fmla="*/ 166 w 657"/>
                  <a:gd name="T67" fmla="*/ 87 h 658"/>
                  <a:gd name="T68" fmla="*/ 103 w 657"/>
                  <a:gd name="T69" fmla="*/ 143 h 658"/>
                  <a:gd name="T70" fmla="*/ 60 w 657"/>
                  <a:gd name="T71" fmla="*/ 216 h 658"/>
                  <a:gd name="T72" fmla="*/ 39 w 657"/>
                  <a:gd name="T73" fmla="*/ 299 h 658"/>
                  <a:gd name="T74" fmla="*/ 39 w 657"/>
                  <a:gd name="T75" fmla="*/ 358 h 658"/>
                  <a:gd name="T76" fmla="*/ 60 w 657"/>
                  <a:gd name="T77" fmla="*/ 442 h 658"/>
                  <a:gd name="T78" fmla="*/ 103 w 657"/>
                  <a:gd name="T79" fmla="*/ 514 h 658"/>
                  <a:gd name="T80" fmla="*/ 166 w 657"/>
                  <a:gd name="T81" fmla="*/ 571 h 658"/>
                  <a:gd name="T82" fmla="*/ 241 w 657"/>
                  <a:gd name="T83" fmla="*/ 607 h 658"/>
                  <a:gd name="T84" fmla="*/ 329 w 657"/>
                  <a:gd name="T85" fmla="*/ 621 h 658"/>
                  <a:gd name="T86" fmla="*/ 387 w 657"/>
                  <a:gd name="T87" fmla="*/ 614 h 658"/>
                  <a:gd name="T88" fmla="*/ 467 w 657"/>
                  <a:gd name="T89" fmla="*/ 584 h 658"/>
                  <a:gd name="T90" fmla="*/ 534 w 657"/>
                  <a:gd name="T91" fmla="*/ 534 h 658"/>
                  <a:gd name="T92" fmla="*/ 584 w 657"/>
                  <a:gd name="T93" fmla="*/ 467 h 658"/>
                  <a:gd name="T94" fmla="*/ 614 w 657"/>
                  <a:gd name="T95" fmla="*/ 388 h 658"/>
                  <a:gd name="T96" fmla="*/ 619 w 657"/>
                  <a:gd name="T97" fmla="*/ 329 h 658"/>
                  <a:gd name="T98" fmla="*/ 607 w 657"/>
                  <a:gd name="T99" fmla="*/ 243 h 658"/>
                  <a:gd name="T100" fmla="*/ 569 w 657"/>
                  <a:gd name="T101" fmla="*/ 166 h 658"/>
                  <a:gd name="T102" fmla="*/ 513 w 657"/>
                  <a:gd name="T103" fmla="*/ 104 h 658"/>
                  <a:gd name="T104" fmla="*/ 442 w 657"/>
                  <a:gd name="T105" fmla="*/ 60 h 658"/>
                  <a:gd name="T106" fmla="*/ 358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1" y="657"/>
                    </a:lnTo>
                    <a:lnTo>
                      <a:pt x="295" y="655"/>
                    </a:lnTo>
                    <a:lnTo>
                      <a:pt x="278" y="654"/>
                    </a:lnTo>
                    <a:lnTo>
                      <a:pt x="262" y="651"/>
                    </a:lnTo>
                    <a:lnTo>
                      <a:pt x="247" y="647"/>
                    </a:lnTo>
                    <a:lnTo>
                      <a:pt x="231" y="643"/>
                    </a:lnTo>
                    <a:lnTo>
                      <a:pt x="200" y="631"/>
                    </a:lnTo>
                    <a:lnTo>
                      <a:pt x="172" y="618"/>
                    </a:lnTo>
                    <a:lnTo>
                      <a:pt x="145" y="602"/>
                    </a:lnTo>
                    <a:lnTo>
                      <a:pt x="119" y="583"/>
                    </a:lnTo>
                    <a:lnTo>
                      <a:pt x="96" y="561"/>
                    </a:lnTo>
                    <a:lnTo>
                      <a:pt x="75" y="539"/>
                    </a:lnTo>
                    <a:lnTo>
                      <a:pt x="56" y="513"/>
                    </a:lnTo>
                    <a:lnTo>
                      <a:pt x="39" y="485"/>
                    </a:lnTo>
                    <a:lnTo>
                      <a:pt x="25" y="457"/>
                    </a:lnTo>
                    <a:lnTo>
                      <a:pt x="14" y="427"/>
                    </a:lnTo>
                    <a:lnTo>
                      <a:pt x="10" y="411"/>
                    </a:lnTo>
                    <a:lnTo>
                      <a:pt x="6" y="395"/>
                    </a:lnTo>
                    <a:lnTo>
                      <a:pt x="4" y="379"/>
                    </a:lnTo>
                    <a:lnTo>
                      <a:pt x="1" y="362"/>
                    </a:lnTo>
                    <a:lnTo>
                      <a:pt x="0" y="345"/>
                    </a:lnTo>
                    <a:lnTo>
                      <a:pt x="0" y="329"/>
                    </a:lnTo>
                    <a:lnTo>
                      <a:pt x="0" y="329"/>
                    </a:lnTo>
                    <a:lnTo>
                      <a:pt x="0" y="311"/>
                    </a:lnTo>
                    <a:lnTo>
                      <a:pt x="1" y="295"/>
                    </a:lnTo>
                    <a:lnTo>
                      <a:pt x="4" y="279"/>
                    </a:lnTo>
                    <a:lnTo>
                      <a:pt x="6" y="263"/>
                    </a:lnTo>
                    <a:lnTo>
                      <a:pt x="10" y="247"/>
                    </a:lnTo>
                    <a:lnTo>
                      <a:pt x="14" y="231"/>
                    </a:lnTo>
                    <a:lnTo>
                      <a:pt x="25" y="201"/>
                    </a:lnTo>
                    <a:lnTo>
                      <a:pt x="39" y="172"/>
                    </a:lnTo>
                    <a:lnTo>
                      <a:pt x="56" y="145"/>
                    </a:lnTo>
                    <a:lnTo>
                      <a:pt x="75" y="119"/>
                    </a:lnTo>
                    <a:lnTo>
                      <a:pt x="96" y="96"/>
                    </a:lnTo>
                    <a:lnTo>
                      <a:pt x="119" y="75"/>
                    </a:lnTo>
                    <a:lnTo>
                      <a:pt x="145" y="56"/>
                    </a:lnTo>
                    <a:lnTo>
                      <a:pt x="172" y="40"/>
                    </a:lnTo>
                    <a:lnTo>
                      <a:pt x="200" y="25"/>
                    </a:lnTo>
                    <a:lnTo>
                      <a:pt x="231" y="14"/>
                    </a:lnTo>
                    <a:lnTo>
                      <a:pt x="247" y="10"/>
                    </a:lnTo>
                    <a:lnTo>
                      <a:pt x="262" y="6"/>
                    </a:lnTo>
                    <a:lnTo>
                      <a:pt x="278" y="4"/>
                    </a:lnTo>
                    <a:lnTo>
                      <a:pt x="295" y="1"/>
                    </a:lnTo>
                    <a:lnTo>
                      <a:pt x="311" y="0"/>
                    </a:lnTo>
                    <a:lnTo>
                      <a:pt x="329" y="0"/>
                    </a:lnTo>
                    <a:lnTo>
                      <a:pt x="329" y="0"/>
                    </a:lnTo>
                    <a:lnTo>
                      <a:pt x="345" y="0"/>
                    </a:lnTo>
                    <a:lnTo>
                      <a:pt x="362" y="1"/>
                    </a:lnTo>
                    <a:lnTo>
                      <a:pt x="379" y="4"/>
                    </a:lnTo>
                    <a:lnTo>
                      <a:pt x="395" y="6"/>
                    </a:lnTo>
                    <a:lnTo>
                      <a:pt x="411" y="10"/>
                    </a:lnTo>
                    <a:lnTo>
                      <a:pt x="426" y="14"/>
                    </a:lnTo>
                    <a:lnTo>
                      <a:pt x="457" y="25"/>
                    </a:lnTo>
                    <a:lnTo>
                      <a:pt x="485" y="40"/>
                    </a:lnTo>
                    <a:lnTo>
                      <a:pt x="512" y="56"/>
                    </a:lnTo>
                    <a:lnTo>
                      <a:pt x="537" y="75"/>
                    </a:lnTo>
                    <a:lnTo>
                      <a:pt x="561" y="96"/>
                    </a:lnTo>
                    <a:lnTo>
                      <a:pt x="582" y="119"/>
                    </a:lnTo>
                    <a:lnTo>
                      <a:pt x="602" y="145"/>
                    </a:lnTo>
                    <a:lnTo>
                      <a:pt x="618" y="172"/>
                    </a:lnTo>
                    <a:lnTo>
                      <a:pt x="631" y="201"/>
                    </a:lnTo>
                    <a:lnTo>
                      <a:pt x="642" y="231"/>
                    </a:lnTo>
                    <a:lnTo>
                      <a:pt x="647" y="247"/>
                    </a:lnTo>
                    <a:lnTo>
                      <a:pt x="650" y="263"/>
                    </a:lnTo>
                    <a:lnTo>
                      <a:pt x="654" y="279"/>
                    </a:lnTo>
                    <a:lnTo>
                      <a:pt x="655" y="295"/>
                    </a:lnTo>
                    <a:lnTo>
                      <a:pt x="657" y="311"/>
                    </a:lnTo>
                    <a:lnTo>
                      <a:pt x="657" y="329"/>
                    </a:lnTo>
                    <a:lnTo>
                      <a:pt x="657" y="329"/>
                    </a:lnTo>
                    <a:lnTo>
                      <a:pt x="657" y="345"/>
                    </a:lnTo>
                    <a:lnTo>
                      <a:pt x="655" y="362"/>
                    </a:lnTo>
                    <a:lnTo>
                      <a:pt x="654" y="379"/>
                    </a:lnTo>
                    <a:lnTo>
                      <a:pt x="650" y="395"/>
                    </a:lnTo>
                    <a:lnTo>
                      <a:pt x="647" y="411"/>
                    </a:lnTo>
                    <a:lnTo>
                      <a:pt x="642" y="427"/>
                    </a:lnTo>
                    <a:lnTo>
                      <a:pt x="631" y="457"/>
                    </a:lnTo>
                    <a:lnTo>
                      <a:pt x="618" y="485"/>
                    </a:lnTo>
                    <a:lnTo>
                      <a:pt x="602" y="513"/>
                    </a:lnTo>
                    <a:lnTo>
                      <a:pt x="582" y="539"/>
                    </a:lnTo>
                    <a:lnTo>
                      <a:pt x="561" y="561"/>
                    </a:lnTo>
                    <a:lnTo>
                      <a:pt x="537" y="583"/>
                    </a:lnTo>
                    <a:lnTo>
                      <a:pt x="512" y="602"/>
                    </a:lnTo>
                    <a:lnTo>
                      <a:pt x="485" y="618"/>
                    </a:lnTo>
                    <a:lnTo>
                      <a:pt x="457" y="631"/>
                    </a:lnTo>
                    <a:lnTo>
                      <a:pt x="426" y="643"/>
                    </a:lnTo>
                    <a:lnTo>
                      <a:pt x="411" y="647"/>
                    </a:lnTo>
                    <a:lnTo>
                      <a:pt x="395" y="651"/>
                    </a:lnTo>
                    <a:lnTo>
                      <a:pt x="379" y="654"/>
                    </a:lnTo>
                    <a:lnTo>
                      <a:pt x="362" y="655"/>
                    </a:lnTo>
                    <a:lnTo>
                      <a:pt x="345" y="657"/>
                    </a:lnTo>
                    <a:lnTo>
                      <a:pt x="329" y="658"/>
                    </a:lnTo>
                    <a:lnTo>
                      <a:pt x="329" y="658"/>
                    </a:lnTo>
                    <a:close/>
                    <a:moveTo>
                      <a:pt x="329" y="37"/>
                    </a:moveTo>
                    <a:lnTo>
                      <a:pt x="329" y="37"/>
                    </a:lnTo>
                    <a:lnTo>
                      <a:pt x="299" y="39"/>
                    </a:lnTo>
                    <a:lnTo>
                      <a:pt x="270" y="44"/>
                    </a:lnTo>
                    <a:lnTo>
                      <a:pt x="241" y="51"/>
                    </a:lnTo>
                    <a:lnTo>
                      <a:pt x="215" y="60"/>
                    </a:lnTo>
                    <a:lnTo>
                      <a:pt x="189" y="72"/>
                    </a:lnTo>
                    <a:lnTo>
                      <a:pt x="166" y="87"/>
                    </a:lnTo>
                    <a:lnTo>
                      <a:pt x="143" y="104"/>
                    </a:lnTo>
                    <a:lnTo>
                      <a:pt x="122" y="123"/>
                    </a:lnTo>
                    <a:lnTo>
                      <a:pt x="103" y="143"/>
                    </a:lnTo>
                    <a:lnTo>
                      <a:pt x="87" y="166"/>
                    </a:lnTo>
                    <a:lnTo>
                      <a:pt x="72" y="190"/>
                    </a:lnTo>
                    <a:lnTo>
                      <a:pt x="60" y="216"/>
                    </a:lnTo>
                    <a:lnTo>
                      <a:pt x="51" y="243"/>
                    </a:lnTo>
                    <a:lnTo>
                      <a:pt x="43" y="270"/>
                    </a:lnTo>
                    <a:lnTo>
                      <a:pt x="39" y="299"/>
                    </a:lnTo>
                    <a:lnTo>
                      <a:pt x="37" y="329"/>
                    </a:lnTo>
                    <a:lnTo>
                      <a:pt x="37" y="329"/>
                    </a:lnTo>
                    <a:lnTo>
                      <a:pt x="39" y="358"/>
                    </a:lnTo>
                    <a:lnTo>
                      <a:pt x="43" y="388"/>
                    </a:lnTo>
                    <a:lnTo>
                      <a:pt x="51" y="415"/>
                    </a:lnTo>
                    <a:lnTo>
                      <a:pt x="60" y="442"/>
                    </a:lnTo>
                    <a:lnTo>
                      <a:pt x="72" y="467"/>
                    </a:lnTo>
                    <a:lnTo>
                      <a:pt x="87" y="491"/>
                    </a:lnTo>
                    <a:lnTo>
                      <a:pt x="103" y="514"/>
                    </a:lnTo>
                    <a:lnTo>
                      <a:pt x="122" y="534"/>
                    </a:lnTo>
                    <a:lnTo>
                      <a:pt x="143" y="553"/>
                    </a:lnTo>
                    <a:lnTo>
                      <a:pt x="166" y="571"/>
                    </a:lnTo>
                    <a:lnTo>
                      <a:pt x="189" y="584"/>
                    </a:lnTo>
                    <a:lnTo>
                      <a:pt x="215" y="598"/>
                    </a:lnTo>
                    <a:lnTo>
                      <a:pt x="241" y="607"/>
                    </a:lnTo>
                    <a:lnTo>
                      <a:pt x="270" y="614"/>
                    </a:lnTo>
                    <a:lnTo>
                      <a:pt x="299" y="619"/>
                    </a:lnTo>
                    <a:lnTo>
                      <a:pt x="329" y="621"/>
                    </a:lnTo>
                    <a:lnTo>
                      <a:pt x="329" y="621"/>
                    </a:lnTo>
                    <a:lnTo>
                      <a:pt x="358" y="619"/>
                    </a:lnTo>
                    <a:lnTo>
                      <a:pt x="387" y="614"/>
                    </a:lnTo>
                    <a:lnTo>
                      <a:pt x="415" y="607"/>
                    </a:lnTo>
                    <a:lnTo>
                      <a:pt x="442" y="598"/>
                    </a:lnTo>
                    <a:lnTo>
                      <a:pt x="467" y="584"/>
                    </a:lnTo>
                    <a:lnTo>
                      <a:pt x="491" y="571"/>
                    </a:lnTo>
                    <a:lnTo>
                      <a:pt x="513" y="553"/>
                    </a:lnTo>
                    <a:lnTo>
                      <a:pt x="534" y="534"/>
                    </a:lnTo>
                    <a:lnTo>
                      <a:pt x="553" y="514"/>
                    </a:lnTo>
                    <a:lnTo>
                      <a:pt x="569" y="491"/>
                    </a:lnTo>
                    <a:lnTo>
                      <a:pt x="584" y="467"/>
                    </a:lnTo>
                    <a:lnTo>
                      <a:pt x="596" y="442"/>
                    </a:lnTo>
                    <a:lnTo>
                      <a:pt x="607" y="415"/>
                    </a:lnTo>
                    <a:lnTo>
                      <a:pt x="614" y="388"/>
                    </a:lnTo>
                    <a:lnTo>
                      <a:pt x="618" y="358"/>
                    </a:lnTo>
                    <a:lnTo>
                      <a:pt x="619" y="329"/>
                    </a:lnTo>
                    <a:lnTo>
                      <a:pt x="619" y="329"/>
                    </a:lnTo>
                    <a:lnTo>
                      <a:pt x="618" y="299"/>
                    </a:lnTo>
                    <a:lnTo>
                      <a:pt x="614" y="270"/>
                    </a:lnTo>
                    <a:lnTo>
                      <a:pt x="607" y="243"/>
                    </a:lnTo>
                    <a:lnTo>
                      <a:pt x="596" y="216"/>
                    </a:lnTo>
                    <a:lnTo>
                      <a:pt x="584" y="190"/>
                    </a:lnTo>
                    <a:lnTo>
                      <a:pt x="569" y="166"/>
                    </a:lnTo>
                    <a:lnTo>
                      <a:pt x="553" y="143"/>
                    </a:lnTo>
                    <a:lnTo>
                      <a:pt x="534" y="123"/>
                    </a:lnTo>
                    <a:lnTo>
                      <a:pt x="513" y="104"/>
                    </a:lnTo>
                    <a:lnTo>
                      <a:pt x="491" y="87"/>
                    </a:lnTo>
                    <a:lnTo>
                      <a:pt x="467" y="72"/>
                    </a:lnTo>
                    <a:lnTo>
                      <a:pt x="442" y="60"/>
                    </a:lnTo>
                    <a:lnTo>
                      <a:pt x="415" y="51"/>
                    </a:lnTo>
                    <a:lnTo>
                      <a:pt x="387" y="44"/>
                    </a:lnTo>
                    <a:lnTo>
                      <a:pt x="358"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4" name="Freeform 279">
                <a:extLst>
                  <a:ext uri="{FF2B5EF4-FFF2-40B4-BE49-F238E27FC236}">
                    <a16:creationId xmlns:a16="http://schemas.microsoft.com/office/drawing/2014/main" id="{EE1C2B51-6B32-4A51-86E6-E56D5531BD3C}"/>
                  </a:ext>
                </a:extLst>
              </p:cNvPr>
              <p:cNvSpPr>
                <a:spLocks/>
              </p:cNvSpPr>
              <p:nvPr/>
            </p:nvSpPr>
            <p:spPr bwMode="auto">
              <a:xfrm>
                <a:off x="9571038" y="5223510"/>
                <a:ext cx="182563" cy="177800"/>
              </a:xfrm>
              <a:custGeom>
                <a:avLst/>
                <a:gdLst>
                  <a:gd name="T0" fmla="*/ 219 w 230"/>
                  <a:gd name="T1" fmla="*/ 0 h 225"/>
                  <a:gd name="T2" fmla="*/ 178 w 230"/>
                  <a:gd name="T3" fmla="*/ 0 h 225"/>
                  <a:gd name="T4" fmla="*/ 178 w 230"/>
                  <a:gd name="T5" fmla="*/ 117 h 225"/>
                  <a:gd name="T6" fmla="*/ 178 w 230"/>
                  <a:gd name="T7" fmla="*/ 117 h 225"/>
                  <a:gd name="T8" fmla="*/ 176 w 230"/>
                  <a:gd name="T9" fmla="*/ 123 h 225"/>
                  <a:gd name="T10" fmla="*/ 174 w 230"/>
                  <a:gd name="T11" fmla="*/ 125 h 225"/>
                  <a:gd name="T12" fmla="*/ 171 w 230"/>
                  <a:gd name="T13" fmla="*/ 128 h 225"/>
                  <a:gd name="T14" fmla="*/ 167 w 230"/>
                  <a:gd name="T15" fmla="*/ 128 h 225"/>
                  <a:gd name="T16" fmla="*/ 50 w 230"/>
                  <a:gd name="T17" fmla="*/ 128 h 225"/>
                  <a:gd name="T18" fmla="*/ 0 w 230"/>
                  <a:gd name="T19" fmla="*/ 171 h 225"/>
                  <a:gd name="T20" fmla="*/ 107 w 230"/>
                  <a:gd name="T21" fmla="*/ 171 h 225"/>
                  <a:gd name="T22" fmla="*/ 179 w 230"/>
                  <a:gd name="T23" fmla="*/ 223 h 225"/>
                  <a:gd name="T24" fmla="*/ 179 w 230"/>
                  <a:gd name="T25" fmla="*/ 223 h 225"/>
                  <a:gd name="T26" fmla="*/ 183 w 230"/>
                  <a:gd name="T27" fmla="*/ 225 h 225"/>
                  <a:gd name="T28" fmla="*/ 183 w 230"/>
                  <a:gd name="T29" fmla="*/ 225 h 225"/>
                  <a:gd name="T30" fmla="*/ 184 w 230"/>
                  <a:gd name="T31" fmla="*/ 225 h 225"/>
                  <a:gd name="T32" fmla="*/ 184 w 230"/>
                  <a:gd name="T33" fmla="*/ 225 h 225"/>
                  <a:gd name="T34" fmla="*/ 187 w 230"/>
                  <a:gd name="T35" fmla="*/ 222 h 225"/>
                  <a:gd name="T36" fmla="*/ 187 w 230"/>
                  <a:gd name="T37" fmla="*/ 219 h 225"/>
                  <a:gd name="T38" fmla="*/ 187 w 230"/>
                  <a:gd name="T39" fmla="*/ 171 h 225"/>
                  <a:gd name="T40" fmla="*/ 219 w 230"/>
                  <a:gd name="T41" fmla="*/ 171 h 225"/>
                  <a:gd name="T42" fmla="*/ 219 w 230"/>
                  <a:gd name="T43" fmla="*/ 171 h 225"/>
                  <a:gd name="T44" fmla="*/ 223 w 230"/>
                  <a:gd name="T45" fmla="*/ 171 h 225"/>
                  <a:gd name="T46" fmla="*/ 227 w 230"/>
                  <a:gd name="T47" fmla="*/ 168 h 225"/>
                  <a:gd name="T48" fmla="*/ 230 w 230"/>
                  <a:gd name="T49" fmla="*/ 164 h 225"/>
                  <a:gd name="T50" fmla="*/ 230 w 230"/>
                  <a:gd name="T51" fmla="*/ 160 h 225"/>
                  <a:gd name="T52" fmla="*/ 230 w 230"/>
                  <a:gd name="T53" fmla="*/ 11 h 225"/>
                  <a:gd name="T54" fmla="*/ 230 w 230"/>
                  <a:gd name="T55" fmla="*/ 11 h 225"/>
                  <a:gd name="T56" fmla="*/ 230 w 230"/>
                  <a:gd name="T57" fmla="*/ 7 h 225"/>
                  <a:gd name="T58" fmla="*/ 227 w 230"/>
                  <a:gd name="T59" fmla="*/ 3 h 225"/>
                  <a:gd name="T60" fmla="*/ 223 w 230"/>
                  <a:gd name="T61" fmla="*/ 2 h 225"/>
                  <a:gd name="T62" fmla="*/ 219 w 230"/>
                  <a:gd name="T63" fmla="*/ 0 h 225"/>
                  <a:gd name="T64" fmla="*/ 219 w 230"/>
                  <a:gd name="T65"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0" h="225">
                    <a:moveTo>
                      <a:pt x="219" y="0"/>
                    </a:moveTo>
                    <a:lnTo>
                      <a:pt x="178" y="0"/>
                    </a:lnTo>
                    <a:lnTo>
                      <a:pt x="178" y="117"/>
                    </a:lnTo>
                    <a:lnTo>
                      <a:pt x="178" y="117"/>
                    </a:lnTo>
                    <a:lnTo>
                      <a:pt x="176" y="123"/>
                    </a:lnTo>
                    <a:lnTo>
                      <a:pt x="174" y="125"/>
                    </a:lnTo>
                    <a:lnTo>
                      <a:pt x="171" y="128"/>
                    </a:lnTo>
                    <a:lnTo>
                      <a:pt x="167" y="128"/>
                    </a:lnTo>
                    <a:lnTo>
                      <a:pt x="50" y="128"/>
                    </a:lnTo>
                    <a:lnTo>
                      <a:pt x="0" y="171"/>
                    </a:lnTo>
                    <a:lnTo>
                      <a:pt x="107" y="171"/>
                    </a:lnTo>
                    <a:lnTo>
                      <a:pt x="179" y="223"/>
                    </a:lnTo>
                    <a:lnTo>
                      <a:pt x="179" y="223"/>
                    </a:lnTo>
                    <a:lnTo>
                      <a:pt x="183" y="225"/>
                    </a:lnTo>
                    <a:lnTo>
                      <a:pt x="183" y="225"/>
                    </a:lnTo>
                    <a:lnTo>
                      <a:pt x="184" y="225"/>
                    </a:lnTo>
                    <a:lnTo>
                      <a:pt x="184" y="225"/>
                    </a:lnTo>
                    <a:lnTo>
                      <a:pt x="187" y="222"/>
                    </a:lnTo>
                    <a:lnTo>
                      <a:pt x="187" y="219"/>
                    </a:lnTo>
                    <a:lnTo>
                      <a:pt x="187" y="171"/>
                    </a:lnTo>
                    <a:lnTo>
                      <a:pt x="219" y="171"/>
                    </a:lnTo>
                    <a:lnTo>
                      <a:pt x="219" y="171"/>
                    </a:lnTo>
                    <a:lnTo>
                      <a:pt x="223" y="171"/>
                    </a:lnTo>
                    <a:lnTo>
                      <a:pt x="227" y="168"/>
                    </a:lnTo>
                    <a:lnTo>
                      <a:pt x="230" y="164"/>
                    </a:lnTo>
                    <a:lnTo>
                      <a:pt x="230" y="160"/>
                    </a:lnTo>
                    <a:lnTo>
                      <a:pt x="230" y="11"/>
                    </a:lnTo>
                    <a:lnTo>
                      <a:pt x="230" y="11"/>
                    </a:lnTo>
                    <a:lnTo>
                      <a:pt x="230" y="7"/>
                    </a:lnTo>
                    <a:lnTo>
                      <a:pt x="227" y="3"/>
                    </a:lnTo>
                    <a:lnTo>
                      <a:pt x="223" y="2"/>
                    </a:lnTo>
                    <a:lnTo>
                      <a:pt x="219" y="0"/>
                    </a:lnTo>
                    <a:lnTo>
                      <a:pt x="21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5" name="Freeform 280">
                <a:extLst>
                  <a:ext uri="{FF2B5EF4-FFF2-40B4-BE49-F238E27FC236}">
                    <a16:creationId xmlns:a16="http://schemas.microsoft.com/office/drawing/2014/main" id="{CFBDADA3-DD13-4AB4-A218-AFE599449634}"/>
                  </a:ext>
                </a:extLst>
              </p:cNvPr>
              <p:cNvSpPr>
                <a:spLocks/>
              </p:cNvSpPr>
              <p:nvPr/>
            </p:nvSpPr>
            <p:spPr bwMode="auto">
              <a:xfrm>
                <a:off x="9483726" y="5160010"/>
                <a:ext cx="211138" cy="212725"/>
              </a:xfrm>
              <a:custGeom>
                <a:avLst/>
                <a:gdLst>
                  <a:gd name="T0" fmla="*/ 257 w 268"/>
                  <a:gd name="T1" fmla="*/ 192 h 267"/>
                  <a:gd name="T2" fmla="*/ 257 w 268"/>
                  <a:gd name="T3" fmla="*/ 192 h 267"/>
                  <a:gd name="T4" fmla="*/ 261 w 268"/>
                  <a:gd name="T5" fmla="*/ 191 h 267"/>
                  <a:gd name="T6" fmla="*/ 264 w 268"/>
                  <a:gd name="T7" fmla="*/ 189 h 267"/>
                  <a:gd name="T8" fmla="*/ 266 w 268"/>
                  <a:gd name="T9" fmla="*/ 185 h 267"/>
                  <a:gd name="T10" fmla="*/ 268 w 268"/>
                  <a:gd name="T11" fmla="*/ 181 h 267"/>
                  <a:gd name="T12" fmla="*/ 268 w 268"/>
                  <a:gd name="T13" fmla="*/ 10 h 267"/>
                  <a:gd name="T14" fmla="*/ 268 w 268"/>
                  <a:gd name="T15" fmla="*/ 10 h 267"/>
                  <a:gd name="T16" fmla="*/ 266 w 268"/>
                  <a:gd name="T17" fmla="*/ 6 h 267"/>
                  <a:gd name="T18" fmla="*/ 264 w 268"/>
                  <a:gd name="T19" fmla="*/ 2 h 267"/>
                  <a:gd name="T20" fmla="*/ 261 w 268"/>
                  <a:gd name="T21" fmla="*/ 1 h 267"/>
                  <a:gd name="T22" fmla="*/ 257 w 268"/>
                  <a:gd name="T23" fmla="*/ 0 h 267"/>
                  <a:gd name="T24" fmla="*/ 11 w 268"/>
                  <a:gd name="T25" fmla="*/ 0 h 267"/>
                  <a:gd name="T26" fmla="*/ 11 w 268"/>
                  <a:gd name="T27" fmla="*/ 0 h 267"/>
                  <a:gd name="T28" fmla="*/ 7 w 268"/>
                  <a:gd name="T29" fmla="*/ 1 h 267"/>
                  <a:gd name="T30" fmla="*/ 3 w 268"/>
                  <a:gd name="T31" fmla="*/ 2 h 267"/>
                  <a:gd name="T32" fmla="*/ 1 w 268"/>
                  <a:gd name="T33" fmla="*/ 6 h 267"/>
                  <a:gd name="T34" fmla="*/ 0 w 268"/>
                  <a:gd name="T35" fmla="*/ 10 h 267"/>
                  <a:gd name="T36" fmla="*/ 0 w 268"/>
                  <a:gd name="T37" fmla="*/ 181 h 267"/>
                  <a:gd name="T38" fmla="*/ 0 w 268"/>
                  <a:gd name="T39" fmla="*/ 181 h 267"/>
                  <a:gd name="T40" fmla="*/ 1 w 268"/>
                  <a:gd name="T41" fmla="*/ 185 h 267"/>
                  <a:gd name="T42" fmla="*/ 3 w 268"/>
                  <a:gd name="T43" fmla="*/ 189 h 267"/>
                  <a:gd name="T44" fmla="*/ 7 w 268"/>
                  <a:gd name="T45" fmla="*/ 191 h 267"/>
                  <a:gd name="T46" fmla="*/ 11 w 268"/>
                  <a:gd name="T47" fmla="*/ 192 h 267"/>
                  <a:gd name="T48" fmla="*/ 54 w 268"/>
                  <a:gd name="T49" fmla="*/ 192 h 267"/>
                  <a:gd name="T50" fmla="*/ 54 w 268"/>
                  <a:gd name="T51" fmla="*/ 262 h 267"/>
                  <a:gd name="T52" fmla="*/ 54 w 268"/>
                  <a:gd name="T53" fmla="*/ 262 h 267"/>
                  <a:gd name="T54" fmla="*/ 54 w 268"/>
                  <a:gd name="T55" fmla="*/ 264 h 267"/>
                  <a:gd name="T56" fmla="*/ 57 w 268"/>
                  <a:gd name="T57" fmla="*/ 266 h 267"/>
                  <a:gd name="T58" fmla="*/ 57 w 268"/>
                  <a:gd name="T59" fmla="*/ 266 h 267"/>
                  <a:gd name="T60" fmla="*/ 59 w 268"/>
                  <a:gd name="T61" fmla="*/ 267 h 267"/>
                  <a:gd name="T62" fmla="*/ 59 w 268"/>
                  <a:gd name="T63" fmla="*/ 267 h 267"/>
                  <a:gd name="T64" fmla="*/ 62 w 268"/>
                  <a:gd name="T65" fmla="*/ 266 h 267"/>
                  <a:gd name="T66" fmla="*/ 147 w 268"/>
                  <a:gd name="T67" fmla="*/ 192 h 267"/>
                  <a:gd name="T68" fmla="*/ 257 w 268"/>
                  <a:gd name="T69" fmla="*/ 19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8" h="267">
                    <a:moveTo>
                      <a:pt x="257" y="192"/>
                    </a:moveTo>
                    <a:lnTo>
                      <a:pt x="257" y="192"/>
                    </a:lnTo>
                    <a:lnTo>
                      <a:pt x="261" y="191"/>
                    </a:lnTo>
                    <a:lnTo>
                      <a:pt x="264" y="189"/>
                    </a:lnTo>
                    <a:lnTo>
                      <a:pt x="266" y="185"/>
                    </a:lnTo>
                    <a:lnTo>
                      <a:pt x="268" y="181"/>
                    </a:lnTo>
                    <a:lnTo>
                      <a:pt x="268" y="10"/>
                    </a:lnTo>
                    <a:lnTo>
                      <a:pt x="268" y="10"/>
                    </a:lnTo>
                    <a:lnTo>
                      <a:pt x="266" y="6"/>
                    </a:lnTo>
                    <a:lnTo>
                      <a:pt x="264" y="2"/>
                    </a:lnTo>
                    <a:lnTo>
                      <a:pt x="261" y="1"/>
                    </a:lnTo>
                    <a:lnTo>
                      <a:pt x="257" y="0"/>
                    </a:lnTo>
                    <a:lnTo>
                      <a:pt x="11" y="0"/>
                    </a:lnTo>
                    <a:lnTo>
                      <a:pt x="11" y="0"/>
                    </a:lnTo>
                    <a:lnTo>
                      <a:pt x="7" y="1"/>
                    </a:lnTo>
                    <a:lnTo>
                      <a:pt x="3" y="2"/>
                    </a:lnTo>
                    <a:lnTo>
                      <a:pt x="1" y="6"/>
                    </a:lnTo>
                    <a:lnTo>
                      <a:pt x="0" y="10"/>
                    </a:lnTo>
                    <a:lnTo>
                      <a:pt x="0" y="181"/>
                    </a:lnTo>
                    <a:lnTo>
                      <a:pt x="0" y="181"/>
                    </a:lnTo>
                    <a:lnTo>
                      <a:pt x="1" y="185"/>
                    </a:lnTo>
                    <a:lnTo>
                      <a:pt x="3" y="189"/>
                    </a:lnTo>
                    <a:lnTo>
                      <a:pt x="7" y="191"/>
                    </a:lnTo>
                    <a:lnTo>
                      <a:pt x="11" y="192"/>
                    </a:lnTo>
                    <a:lnTo>
                      <a:pt x="54" y="192"/>
                    </a:lnTo>
                    <a:lnTo>
                      <a:pt x="54" y="262"/>
                    </a:lnTo>
                    <a:lnTo>
                      <a:pt x="54" y="262"/>
                    </a:lnTo>
                    <a:lnTo>
                      <a:pt x="54" y="264"/>
                    </a:lnTo>
                    <a:lnTo>
                      <a:pt x="57" y="266"/>
                    </a:lnTo>
                    <a:lnTo>
                      <a:pt x="57" y="266"/>
                    </a:lnTo>
                    <a:lnTo>
                      <a:pt x="59" y="267"/>
                    </a:lnTo>
                    <a:lnTo>
                      <a:pt x="59" y="267"/>
                    </a:lnTo>
                    <a:lnTo>
                      <a:pt x="62" y="266"/>
                    </a:lnTo>
                    <a:lnTo>
                      <a:pt x="147" y="192"/>
                    </a:lnTo>
                    <a:lnTo>
                      <a:pt x="257" y="19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46" name="Group 45">
            <a:extLst>
              <a:ext uri="{FF2B5EF4-FFF2-40B4-BE49-F238E27FC236}">
                <a16:creationId xmlns:a16="http://schemas.microsoft.com/office/drawing/2014/main" id="{511AECDB-C05E-402A-8D05-B7FA0786A1B8}"/>
              </a:ext>
            </a:extLst>
          </p:cNvPr>
          <p:cNvGrpSpPr/>
          <p:nvPr/>
        </p:nvGrpSpPr>
        <p:grpSpPr>
          <a:xfrm>
            <a:off x="7956725" y="2435294"/>
            <a:ext cx="269452" cy="269452"/>
            <a:chOff x="10105882" y="2477542"/>
            <a:chExt cx="521208" cy="521208"/>
          </a:xfrm>
        </p:grpSpPr>
        <p:sp>
          <p:nvSpPr>
            <p:cNvPr id="47" name="Oval 46">
              <a:extLst>
                <a:ext uri="{FF2B5EF4-FFF2-40B4-BE49-F238E27FC236}">
                  <a16:creationId xmlns:a16="http://schemas.microsoft.com/office/drawing/2014/main" id="{7DF22FB0-2161-485F-A593-A58BA860F8D7}"/>
                </a:ext>
              </a:extLst>
            </p:cNvPr>
            <p:cNvSpPr/>
            <p:nvPr/>
          </p:nvSpPr>
          <p:spPr>
            <a:xfrm>
              <a:off x="10105882" y="2477542"/>
              <a:ext cx="521208" cy="5212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48" name="Group 47">
              <a:extLst>
                <a:ext uri="{FF2B5EF4-FFF2-40B4-BE49-F238E27FC236}">
                  <a16:creationId xmlns:a16="http://schemas.microsoft.com/office/drawing/2014/main" id="{6DD29771-D3A9-4B38-A4DB-E3A67F345650}"/>
                </a:ext>
              </a:extLst>
            </p:cNvPr>
            <p:cNvGrpSpPr>
              <a:grpSpLocks noChangeAspect="1"/>
            </p:cNvGrpSpPr>
            <p:nvPr/>
          </p:nvGrpSpPr>
          <p:grpSpPr>
            <a:xfrm>
              <a:off x="10106136" y="2477796"/>
              <a:ext cx="520700" cy="520700"/>
              <a:chOff x="3195638" y="2503488"/>
              <a:chExt cx="520700" cy="520700"/>
            </a:xfrm>
          </p:grpSpPr>
          <p:sp>
            <p:nvSpPr>
              <p:cNvPr id="49" name="Freeform 73">
                <a:extLst>
                  <a:ext uri="{FF2B5EF4-FFF2-40B4-BE49-F238E27FC236}">
                    <a16:creationId xmlns:a16="http://schemas.microsoft.com/office/drawing/2014/main" id="{3CE79C75-42CC-4941-8ECA-C0E79962BA11}"/>
                  </a:ext>
                </a:extLst>
              </p:cNvPr>
              <p:cNvSpPr>
                <a:spLocks noEditPoints="1"/>
              </p:cNvSpPr>
              <p:nvPr/>
            </p:nvSpPr>
            <p:spPr bwMode="auto">
              <a:xfrm>
                <a:off x="3195638" y="2503488"/>
                <a:ext cx="520700" cy="520700"/>
              </a:xfrm>
              <a:custGeom>
                <a:avLst/>
                <a:gdLst>
                  <a:gd name="T0" fmla="*/ 312 w 657"/>
                  <a:gd name="T1" fmla="*/ 658 h 658"/>
                  <a:gd name="T2" fmla="*/ 262 w 657"/>
                  <a:gd name="T3" fmla="*/ 651 h 658"/>
                  <a:gd name="T4" fmla="*/ 200 w 657"/>
                  <a:gd name="T5" fmla="*/ 632 h 658"/>
                  <a:gd name="T6" fmla="*/ 120 w 657"/>
                  <a:gd name="T7" fmla="*/ 583 h 658"/>
                  <a:gd name="T8" fmla="*/ 55 w 657"/>
                  <a:gd name="T9" fmla="*/ 513 h 658"/>
                  <a:gd name="T10" fmla="*/ 15 w 657"/>
                  <a:gd name="T11" fmla="*/ 427 h 658"/>
                  <a:gd name="T12" fmla="*/ 3 w 657"/>
                  <a:gd name="T13" fmla="*/ 379 h 658"/>
                  <a:gd name="T14" fmla="*/ 0 w 657"/>
                  <a:gd name="T15" fmla="*/ 329 h 658"/>
                  <a:gd name="T16" fmla="*/ 2 w 657"/>
                  <a:gd name="T17" fmla="*/ 296 h 658"/>
                  <a:gd name="T18" fmla="*/ 10 w 657"/>
                  <a:gd name="T19" fmla="*/ 247 h 658"/>
                  <a:gd name="T20" fmla="*/ 39 w 657"/>
                  <a:gd name="T21" fmla="*/ 173 h 658"/>
                  <a:gd name="T22" fmla="*/ 96 w 657"/>
                  <a:gd name="T23" fmla="*/ 97 h 658"/>
                  <a:gd name="T24" fmla="*/ 172 w 657"/>
                  <a:gd name="T25" fmla="*/ 40 h 658"/>
                  <a:gd name="T26" fmla="*/ 246 w 657"/>
                  <a:gd name="T27" fmla="*/ 11 h 658"/>
                  <a:gd name="T28" fmla="*/ 294 w 657"/>
                  <a:gd name="T29" fmla="*/ 3 h 658"/>
                  <a:gd name="T30" fmla="*/ 328 w 657"/>
                  <a:gd name="T31" fmla="*/ 0 h 658"/>
                  <a:gd name="T32" fmla="*/ 379 w 657"/>
                  <a:gd name="T33" fmla="*/ 4 h 658"/>
                  <a:gd name="T34" fmla="*/ 426 w 657"/>
                  <a:gd name="T35" fmla="*/ 15 h 658"/>
                  <a:gd name="T36" fmla="*/ 512 w 657"/>
                  <a:gd name="T37" fmla="*/ 57 h 658"/>
                  <a:gd name="T38" fmla="*/ 582 w 657"/>
                  <a:gd name="T39" fmla="*/ 120 h 658"/>
                  <a:gd name="T40" fmla="*/ 631 w 657"/>
                  <a:gd name="T41" fmla="*/ 202 h 658"/>
                  <a:gd name="T42" fmla="*/ 650 w 657"/>
                  <a:gd name="T43" fmla="*/ 263 h 658"/>
                  <a:gd name="T44" fmla="*/ 657 w 657"/>
                  <a:gd name="T45" fmla="*/ 313 h 658"/>
                  <a:gd name="T46" fmla="*/ 657 w 657"/>
                  <a:gd name="T47" fmla="*/ 347 h 658"/>
                  <a:gd name="T48" fmla="*/ 650 w 657"/>
                  <a:gd name="T49" fmla="*/ 395 h 658"/>
                  <a:gd name="T50" fmla="*/ 631 w 657"/>
                  <a:gd name="T51" fmla="*/ 457 h 658"/>
                  <a:gd name="T52" fmla="*/ 582 w 657"/>
                  <a:gd name="T53" fmla="*/ 539 h 658"/>
                  <a:gd name="T54" fmla="*/ 512 w 657"/>
                  <a:gd name="T55" fmla="*/ 602 h 658"/>
                  <a:gd name="T56" fmla="*/ 426 w 657"/>
                  <a:gd name="T57" fmla="*/ 643 h 658"/>
                  <a:gd name="T58" fmla="*/ 379 w 657"/>
                  <a:gd name="T59" fmla="*/ 654 h 658"/>
                  <a:gd name="T60" fmla="*/ 328 w 657"/>
                  <a:gd name="T61" fmla="*/ 658 h 658"/>
                  <a:gd name="T62" fmla="*/ 328 w 657"/>
                  <a:gd name="T63" fmla="*/ 38 h 658"/>
                  <a:gd name="T64" fmla="*/ 242 w 657"/>
                  <a:gd name="T65" fmla="*/ 51 h 658"/>
                  <a:gd name="T66" fmla="*/ 165 w 657"/>
                  <a:gd name="T67" fmla="*/ 87 h 658"/>
                  <a:gd name="T68" fmla="*/ 104 w 657"/>
                  <a:gd name="T69" fmla="*/ 144 h 658"/>
                  <a:gd name="T70" fmla="*/ 61 w 657"/>
                  <a:gd name="T71" fmla="*/ 216 h 658"/>
                  <a:gd name="T72" fmla="*/ 39 w 657"/>
                  <a:gd name="T73" fmla="*/ 300 h 658"/>
                  <a:gd name="T74" fmla="*/ 39 w 657"/>
                  <a:gd name="T75" fmla="*/ 359 h 658"/>
                  <a:gd name="T76" fmla="*/ 61 w 657"/>
                  <a:gd name="T77" fmla="*/ 442 h 658"/>
                  <a:gd name="T78" fmla="*/ 104 w 657"/>
                  <a:gd name="T79" fmla="*/ 514 h 658"/>
                  <a:gd name="T80" fmla="*/ 165 w 657"/>
                  <a:gd name="T81" fmla="*/ 571 h 658"/>
                  <a:gd name="T82" fmla="*/ 242 w 657"/>
                  <a:gd name="T83" fmla="*/ 607 h 658"/>
                  <a:gd name="T84" fmla="*/ 328 w 657"/>
                  <a:gd name="T85" fmla="*/ 620 h 658"/>
                  <a:gd name="T86" fmla="*/ 387 w 657"/>
                  <a:gd name="T87" fmla="*/ 614 h 658"/>
                  <a:gd name="T88" fmla="*/ 467 w 657"/>
                  <a:gd name="T89" fmla="*/ 585 h 658"/>
                  <a:gd name="T90" fmla="*/ 533 w 657"/>
                  <a:gd name="T91" fmla="*/ 534 h 658"/>
                  <a:gd name="T92" fmla="*/ 584 w 657"/>
                  <a:gd name="T93" fmla="*/ 467 h 658"/>
                  <a:gd name="T94" fmla="*/ 614 w 657"/>
                  <a:gd name="T95" fmla="*/ 388 h 658"/>
                  <a:gd name="T96" fmla="*/ 619 w 657"/>
                  <a:gd name="T97" fmla="*/ 329 h 658"/>
                  <a:gd name="T98" fmla="*/ 606 w 657"/>
                  <a:gd name="T99" fmla="*/ 243 h 658"/>
                  <a:gd name="T100" fmla="*/ 569 w 657"/>
                  <a:gd name="T101" fmla="*/ 167 h 658"/>
                  <a:gd name="T102" fmla="*/ 513 w 657"/>
                  <a:gd name="T103" fmla="*/ 105 h 658"/>
                  <a:gd name="T104" fmla="*/ 442 w 657"/>
                  <a:gd name="T105" fmla="*/ 61 h 658"/>
                  <a:gd name="T106" fmla="*/ 357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8" y="658"/>
                    </a:moveTo>
                    <a:lnTo>
                      <a:pt x="328" y="658"/>
                    </a:lnTo>
                    <a:lnTo>
                      <a:pt x="312" y="658"/>
                    </a:lnTo>
                    <a:lnTo>
                      <a:pt x="294" y="657"/>
                    </a:lnTo>
                    <a:lnTo>
                      <a:pt x="278" y="654"/>
                    </a:lnTo>
                    <a:lnTo>
                      <a:pt x="262" y="651"/>
                    </a:lnTo>
                    <a:lnTo>
                      <a:pt x="246" y="647"/>
                    </a:lnTo>
                    <a:lnTo>
                      <a:pt x="231" y="643"/>
                    </a:lnTo>
                    <a:lnTo>
                      <a:pt x="200" y="632"/>
                    </a:lnTo>
                    <a:lnTo>
                      <a:pt x="172" y="618"/>
                    </a:lnTo>
                    <a:lnTo>
                      <a:pt x="145" y="602"/>
                    </a:lnTo>
                    <a:lnTo>
                      <a:pt x="120" y="583"/>
                    </a:lnTo>
                    <a:lnTo>
                      <a:pt x="96" y="561"/>
                    </a:lnTo>
                    <a:lnTo>
                      <a:pt x="74" y="539"/>
                    </a:lnTo>
                    <a:lnTo>
                      <a:pt x="55" y="513"/>
                    </a:lnTo>
                    <a:lnTo>
                      <a:pt x="39" y="486"/>
                    </a:lnTo>
                    <a:lnTo>
                      <a:pt x="26" y="457"/>
                    </a:lnTo>
                    <a:lnTo>
                      <a:pt x="15" y="427"/>
                    </a:lnTo>
                    <a:lnTo>
                      <a:pt x="10" y="411"/>
                    </a:lnTo>
                    <a:lnTo>
                      <a:pt x="6" y="395"/>
                    </a:lnTo>
                    <a:lnTo>
                      <a:pt x="3" y="379"/>
                    </a:lnTo>
                    <a:lnTo>
                      <a:pt x="2" y="363"/>
                    </a:lnTo>
                    <a:lnTo>
                      <a:pt x="0" y="347"/>
                    </a:lnTo>
                    <a:lnTo>
                      <a:pt x="0" y="329"/>
                    </a:lnTo>
                    <a:lnTo>
                      <a:pt x="0" y="329"/>
                    </a:lnTo>
                    <a:lnTo>
                      <a:pt x="0" y="313"/>
                    </a:lnTo>
                    <a:lnTo>
                      <a:pt x="2" y="296"/>
                    </a:lnTo>
                    <a:lnTo>
                      <a:pt x="3" y="279"/>
                    </a:lnTo>
                    <a:lnTo>
                      <a:pt x="6" y="263"/>
                    </a:lnTo>
                    <a:lnTo>
                      <a:pt x="10" y="247"/>
                    </a:lnTo>
                    <a:lnTo>
                      <a:pt x="15" y="231"/>
                    </a:lnTo>
                    <a:lnTo>
                      <a:pt x="26" y="202"/>
                    </a:lnTo>
                    <a:lnTo>
                      <a:pt x="39" y="173"/>
                    </a:lnTo>
                    <a:lnTo>
                      <a:pt x="55" y="145"/>
                    </a:lnTo>
                    <a:lnTo>
                      <a:pt x="74" y="120"/>
                    </a:lnTo>
                    <a:lnTo>
                      <a:pt x="96" y="97"/>
                    </a:lnTo>
                    <a:lnTo>
                      <a:pt x="120" y="75"/>
                    </a:lnTo>
                    <a:lnTo>
                      <a:pt x="145" y="57"/>
                    </a:lnTo>
                    <a:lnTo>
                      <a:pt x="172" y="40"/>
                    </a:lnTo>
                    <a:lnTo>
                      <a:pt x="200" y="27"/>
                    </a:lnTo>
                    <a:lnTo>
                      <a:pt x="231" y="15"/>
                    </a:lnTo>
                    <a:lnTo>
                      <a:pt x="246" y="11"/>
                    </a:lnTo>
                    <a:lnTo>
                      <a:pt x="262" y="7"/>
                    </a:lnTo>
                    <a:lnTo>
                      <a:pt x="278" y="4"/>
                    </a:lnTo>
                    <a:lnTo>
                      <a:pt x="294" y="3"/>
                    </a:lnTo>
                    <a:lnTo>
                      <a:pt x="312" y="1"/>
                    </a:lnTo>
                    <a:lnTo>
                      <a:pt x="328" y="0"/>
                    </a:lnTo>
                    <a:lnTo>
                      <a:pt x="328" y="0"/>
                    </a:lnTo>
                    <a:lnTo>
                      <a:pt x="345" y="1"/>
                    </a:lnTo>
                    <a:lnTo>
                      <a:pt x="361" y="3"/>
                    </a:lnTo>
                    <a:lnTo>
                      <a:pt x="379" y="4"/>
                    </a:lnTo>
                    <a:lnTo>
                      <a:pt x="395" y="7"/>
                    </a:lnTo>
                    <a:lnTo>
                      <a:pt x="410" y="11"/>
                    </a:lnTo>
                    <a:lnTo>
                      <a:pt x="426" y="15"/>
                    </a:lnTo>
                    <a:lnTo>
                      <a:pt x="455" y="27"/>
                    </a:lnTo>
                    <a:lnTo>
                      <a:pt x="485" y="40"/>
                    </a:lnTo>
                    <a:lnTo>
                      <a:pt x="512" y="57"/>
                    </a:lnTo>
                    <a:lnTo>
                      <a:pt x="537" y="75"/>
                    </a:lnTo>
                    <a:lnTo>
                      <a:pt x="560" y="97"/>
                    </a:lnTo>
                    <a:lnTo>
                      <a:pt x="582" y="120"/>
                    </a:lnTo>
                    <a:lnTo>
                      <a:pt x="600" y="145"/>
                    </a:lnTo>
                    <a:lnTo>
                      <a:pt x="616" y="173"/>
                    </a:lnTo>
                    <a:lnTo>
                      <a:pt x="631" y="202"/>
                    </a:lnTo>
                    <a:lnTo>
                      <a:pt x="642" y="231"/>
                    </a:lnTo>
                    <a:lnTo>
                      <a:pt x="646" y="247"/>
                    </a:lnTo>
                    <a:lnTo>
                      <a:pt x="650" y="263"/>
                    </a:lnTo>
                    <a:lnTo>
                      <a:pt x="653" y="279"/>
                    </a:lnTo>
                    <a:lnTo>
                      <a:pt x="655" y="296"/>
                    </a:lnTo>
                    <a:lnTo>
                      <a:pt x="657" y="313"/>
                    </a:lnTo>
                    <a:lnTo>
                      <a:pt x="657" y="329"/>
                    </a:lnTo>
                    <a:lnTo>
                      <a:pt x="657" y="329"/>
                    </a:lnTo>
                    <a:lnTo>
                      <a:pt x="657" y="347"/>
                    </a:lnTo>
                    <a:lnTo>
                      <a:pt x="655" y="363"/>
                    </a:lnTo>
                    <a:lnTo>
                      <a:pt x="653" y="379"/>
                    </a:lnTo>
                    <a:lnTo>
                      <a:pt x="650" y="395"/>
                    </a:lnTo>
                    <a:lnTo>
                      <a:pt x="646" y="411"/>
                    </a:lnTo>
                    <a:lnTo>
                      <a:pt x="642" y="427"/>
                    </a:lnTo>
                    <a:lnTo>
                      <a:pt x="631" y="457"/>
                    </a:lnTo>
                    <a:lnTo>
                      <a:pt x="616" y="486"/>
                    </a:lnTo>
                    <a:lnTo>
                      <a:pt x="600" y="513"/>
                    </a:lnTo>
                    <a:lnTo>
                      <a:pt x="582" y="539"/>
                    </a:lnTo>
                    <a:lnTo>
                      <a:pt x="560" y="561"/>
                    </a:lnTo>
                    <a:lnTo>
                      <a:pt x="537" y="583"/>
                    </a:lnTo>
                    <a:lnTo>
                      <a:pt x="512" y="602"/>
                    </a:lnTo>
                    <a:lnTo>
                      <a:pt x="485" y="618"/>
                    </a:lnTo>
                    <a:lnTo>
                      <a:pt x="455" y="632"/>
                    </a:lnTo>
                    <a:lnTo>
                      <a:pt x="426" y="643"/>
                    </a:lnTo>
                    <a:lnTo>
                      <a:pt x="410" y="647"/>
                    </a:lnTo>
                    <a:lnTo>
                      <a:pt x="395" y="651"/>
                    </a:lnTo>
                    <a:lnTo>
                      <a:pt x="379" y="654"/>
                    </a:lnTo>
                    <a:lnTo>
                      <a:pt x="361" y="657"/>
                    </a:lnTo>
                    <a:lnTo>
                      <a:pt x="345" y="658"/>
                    </a:lnTo>
                    <a:lnTo>
                      <a:pt x="328" y="658"/>
                    </a:lnTo>
                    <a:lnTo>
                      <a:pt x="328" y="658"/>
                    </a:lnTo>
                    <a:close/>
                    <a:moveTo>
                      <a:pt x="328" y="38"/>
                    </a:moveTo>
                    <a:lnTo>
                      <a:pt x="328" y="38"/>
                    </a:lnTo>
                    <a:lnTo>
                      <a:pt x="298" y="39"/>
                    </a:lnTo>
                    <a:lnTo>
                      <a:pt x="270" y="44"/>
                    </a:lnTo>
                    <a:lnTo>
                      <a:pt x="242" y="51"/>
                    </a:lnTo>
                    <a:lnTo>
                      <a:pt x="215" y="61"/>
                    </a:lnTo>
                    <a:lnTo>
                      <a:pt x="190" y="74"/>
                    </a:lnTo>
                    <a:lnTo>
                      <a:pt x="165" y="87"/>
                    </a:lnTo>
                    <a:lnTo>
                      <a:pt x="143" y="105"/>
                    </a:lnTo>
                    <a:lnTo>
                      <a:pt x="122" y="124"/>
                    </a:lnTo>
                    <a:lnTo>
                      <a:pt x="104" y="144"/>
                    </a:lnTo>
                    <a:lnTo>
                      <a:pt x="87" y="167"/>
                    </a:lnTo>
                    <a:lnTo>
                      <a:pt x="73" y="191"/>
                    </a:lnTo>
                    <a:lnTo>
                      <a:pt x="61" y="216"/>
                    </a:lnTo>
                    <a:lnTo>
                      <a:pt x="50" y="243"/>
                    </a:lnTo>
                    <a:lnTo>
                      <a:pt x="43" y="270"/>
                    </a:lnTo>
                    <a:lnTo>
                      <a:pt x="39" y="300"/>
                    </a:lnTo>
                    <a:lnTo>
                      <a:pt x="38" y="329"/>
                    </a:lnTo>
                    <a:lnTo>
                      <a:pt x="38" y="329"/>
                    </a:lnTo>
                    <a:lnTo>
                      <a:pt x="39" y="359"/>
                    </a:lnTo>
                    <a:lnTo>
                      <a:pt x="43" y="388"/>
                    </a:lnTo>
                    <a:lnTo>
                      <a:pt x="50" y="415"/>
                    </a:lnTo>
                    <a:lnTo>
                      <a:pt x="61" y="442"/>
                    </a:lnTo>
                    <a:lnTo>
                      <a:pt x="73" y="467"/>
                    </a:lnTo>
                    <a:lnTo>
                      <a:pt x="87" y="492"/>
                    </a:lnTo>
                    <a:lnTo>
                      <a:pt x="104" y="514"/>
                    </a:lnTo>
                    <a:lnTo>
                      <a:pt x="122" y="534"/>
                    </a:lnTo>
                    <a:lnTo>
                      <a:pt x="143" y="553"/>
                    </a:lnTo>
                    <a:lnTo>
                      <a:pt x="165" y="571"/>
                    </a:lnTo>
                    <a:lnTo>
                      <a:pt x="190" y="585"/>
                    </a:lnTo>
                    <a:lnTo>
                      <a:pt x="215" y="598"/>
                    </a:lnTo>
                    <a:lnTo>
                      <a:pt x="242" y="607"/>
                    </a:lnTo>
                    <a:lnTo>
                      <a:pt x="270" y="614"/>
                    </a:lnTo>
                    <a:lnTo>
                      <a:pt x="298" y="619"/>
                    </a:lnTo>
                    <a:lnTo>
                      <a:pt x="328" y="620"/>
                    </a:lnTo>
                    <a:lnTo>
                      <a:pt x="328" y="620"/>
                    </a:lnTo>
                    <a:lnTo>
                      <a:pt x="357" y="619"/>
                    </a:lnTo>
                    <a:lnTo>
                      <a:pt x="387" y="614"/>
                    </a:lnTo>
                    <a:lnTo>
                      <a:pt x="415" y="607"/>
                    </a:lnTo>
                    <a:lnTo>
                      <a:pt x="442" y="598"/>
                    </a:lnTo>
                    <a:lnTo>
                      <a:pt x="467" y="585"/>
                    </a:lnTo>
                    <a:lnTo>
                      <a:pt x="490" y="571"/>
                    </a:lnTo>
                    <a:lnTo>
                      <a:pt x="513" y="553"/>
                    </a:lnTo>
                    <a:lnTo>
                      <a:pt x="533" y="534"/>
                    </a:lnTo>
                    <a:lnTo>
                      <a:pt x="552" y="514"/>
                    </a:lnTo>
                    <a:lnTo>
                      <a:pt x="569" y="492"/>
                    </a:lnTo>
                    <a:lnTo>
                      <a:pt x="584" y="467"/>
                    </a:lnTo>
                    <a:lnTo>
                      <a:pt x="596" y="442"/>
                    </a:lnTo>
                    <a:lnTo>
                      <a:pt x="606" y="415"/>
                    </a:lnTo>
                    <a:lnTo>
                      <a:pt x="614" y="388"/>
                    </a:lnTo>
                    <a:lnTo>
                      <a:pt x="618" y="359"/>
                    </a:lnTo>
                    <a:lnTo>
                      <a:pt x="619" y="329"/>
                    </a:lnTo>
                    <a:lnTo>
                      <a:pt x="619" y="329"/>
                    </a:lnTo>
                    <a:lnTo>
                      <a:pt x="618" y="300"/>
                    </a:lnTo>
                    <a:lnTo>
                      <a:pt x="614" y="270"/>
                    </a:lnTo>
                    <a:lnTo>
                      <a:pt x="606" y="243"/>
                    </a:lnTo>
                    <a:lnTo>
                      <a:pt x="596" y="216"/>
                    </a:lnTo>
                    <a:lnTo>
                      <a:pt x="584" y="191"/>
                    </a:lnTo>
                    <a:lnTo>
                      <a:pt x="569" y="167"/>
                    </a:lnTo>
                    <a:lnTo>
                      <a:pt x="552" y="144"/>
                    </a:lnTo>
                    <a:lnTo>
                      <a:pt x="533" y="124"/>
                    </a:lnTo>
                    <a:lnTo>
                      <a:pt x="513" y="105"/>
                    </a:lnTo>
                    <a:lnTo>
                      <a:pt x="490" y="87"/>
                    </a:lnTo>
                    <a:lnTo>
                      <a:pt x="467" y="74"/>
                    </a:lnTo>
                    <a:lnTo>
                      <a:pt x="442" y="61"/>
                    </a:lnTo>
                    <a:lnTo>
                      <a:pt x="415" y="51"/>
                    </a:lnTo>
                    <a:lnTo>
                      <a:pt x="387" y="44"/>
                    </a:lnTo>
                    <a:lnTo>
                      <a:pt x="357" y="39"/>
                    </a:lnTo>
                    <a:lnTo>
                      <a:pt x="328" y="38"/>
                    </a:lnTo>
                    <a:lnTo>
                      <a:pt x="328"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0" name="Freeform 238">
                <a:extLst>
                  <a:ext uri="{FF2B5EF4-FFF2-40B4-BE49-F238E27FC236}">
                    <a16:creationId xmlns:a16="http://schemas.microsoft.com/office/drawing/2014/main" id="{4FA6E447-D428-4924-B4DA-94A208D7EE6F}"/>
                  </a:ext>
                </a:extLst>
              </p:cNvPr>
              <p:cNvSpPr>
                <a:spLocks/>
              </p:cNvSpPr>
              <p:nvPr/>
            </p:nvSpPr>
            <p:spPr bwMode="auto">
              <a:xfrm>
                <a:off x="3333751" y="2668588"/>
                <a:ext cx="101600" cy="77788"/>
              </a:xfrm>
              <a:custGeom>
                <a:avLst/>
                <a:gdLst>
                  <a:gd name="T0" fmla="*/ 38 w 129"/>
                  <a:gd name="T1" fmla="*/ 98 h 98"/>
                  <a:gd name="T2" fmla="*/ 38 w 129"/>
                  <a:gd name="T3" fmla="*/ 98 h 98"/>
                  <a:gd name="T4" fmla="*/ 53 w 129"/>
                  <a:gd name="T5" fmla="*/ 76 h 98"/>
                  <a:gd name="T6" fmla="*/ 73 w 129"/>
                  <a:gd name="T7" fmla="*/ 52 h 98"/>
                  <a:gd name="T8" fmla="*/ 85 w 129"/>
                  <a:gd name="T9" fmla="*/ 40 h 98"/>
                  <a:gd name="T10" fmla="*/ 98 w 129"/>
                  <a:gd name="T11" fmla="*/ 28 h 98"/>
                  <a:gd name="T12" fmla="*/ 113 w 129"/>
                  <a:gd name="T13" fmla="*/ 16 h 98"/>
                  <a:gd name="T14" fmla="*/ 129 w 129"/>
                  <a:gd name="T15" fmla="*/ 4 h 98"/>
                  <a:gd name="T16" fmla="*/ 129 w 129"/>
                  <a:gd name="T17" fmla="*/ 4 h 98"/>
                  <a:gd name="T18" fmla="*/ 115 w 129"/>
                  <a:gd name="T19" fmla="*/ 1 h 98"/>
                  <a:gd name="T20" fmla="*/ 100 w 129"/>
                  <a:gd name="T21" fmla="*/ 0 h 98"/>
                  <a:gd name="T22" fmla="*/ 85 w 129"/>
                  <a:gd name="T23" fmla="*/ 1 h 98"/>
                  <a:gd name="T24" fmla="*/ 70 w 129"/>
                  <a:gd name="T25" fmla="*/ 4 h 98"/>
                  <a:gd name="T26" fmla="*/ 55 w 129"/>
                  <a:gd name="T27" fmla="*/ 8 h 98"/>
                  <a:gd name="T28" fmla="*/ 42 w 129"/>
                  <a:gd name="T29" fmla="*/ 14 h 98"/>
                  <a:gd name="T30" fmla="*/ 30 w 129"/>
                  <a:gd name="T31" fmla="*/ 22 h 98"/>
                  <a:gd name="T32" fmla="*/ 18 w 129"/>
                  <a:gd name="T33" fmla="*/ 33 h 98"/>
                  <a:gd name="T34" fmla="*/ 18 w 129"/>
                  <a:gd name="T35" fmla="*/ 33 h 98"/>
                  <a:gd name="T36" fmla="*/ 8 w 129"/>
                  <a:gd name="T37" fmla="*/ 44 h 98"/>
                  <a:gd name="T38" fmla="*/ 0 w 129"/>
                  <a:gd name="T39" fmla="*/ 56 h 98"/>
                  <a:gd name="T40" fmla="*/ 0 w 129"/>
                  <a:gd name="T41" fmla="*/ 56 h 98"/>
                  <a:gd name="T42" fmla="*/ 0 w 129"/>
                  <a:gd name="T43" fmla="*/ 59 h 98"/>
                  <a:gd name="T44" fmla="*/ 2 w 129"/>
                  <a:gd name="T45" fmla="*/ 61 h 98"/>
                  <a:gd name="T46" fmla="*/ 38 w 129"/>
                  <a:gd name="T4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9" h="98">
                    <a:moveTo>
                      <a:pt x="38" y="98"/>
                    </a:moveTo>
                    <a:lnTo>
                      <a:pt x="38" y="98"/>
                    </a:lnTo>
                    <a:lnTo>
                      <a:pt x="53" y="76"/>
                    </a:lnTo>
                    <a:lnTo>
                      <a:pt x="73" y="52"/>
                    </a:lnTo>
                    <a:lnTo>
                      <a:pt x="85" y="40"/>
                    </a:lnTo>
                    <a:lnTo>
                      <a:pt x="98" y="28"/>
                    </a:lnTo>
                    <a:lnTo>
                      <a:pt x="113" y="16"/>
                    </a:lnTo>
                    <a:lnTo>
                      <a:pt x="129" y="4"/>
                    </a:lnTo>
                    <a:lnTo>
                      <a:pt x="129" y="4"/>
                    </a:lnTo>
                    <a:lnTo>
                      <a:pt x="115" y="1"/>
                    </a:lnTo>
                    <a:lnTo>
                      <a:pt x="100" y="0"/>
                    </a:lnTo>
                    <a:lnTo>
                      <a:pt x="85" y="1"/>
                    </a:lnTo>
                    <a:lnTo>
                      <a:pt x="70" y="4"/>
                    </a:lnTo>
                    <a:lnTo>
                      <a:pt x="55" y="8"/>
                    </a:lnTo>
                    <a:lnTo>
                      <a:pt x="42" y="14"/>
                    </a:lnTo>
                    <a:lnTo>
                      <a:pt x="30" y="22"/>
                    </a:lnTo>
                    <a:lnTo>
                      <a:pt x="18" y="33"/>
                    </a:lnTo>
                    <a:lnTo>
                      <a:pt x="18" y="33"/>
                    </a:lnTo>
                    <a:lnTo>
                      <a:pt x="8" y="44"/>
                    </a:lnTo>
                    <a:lnTo>
                      <a:pt x="0" y="56"/>
                    </a:lnTo>
                    <a:lnTo>
                      <a:pt x="0" y="56"/>
                    </a:lnTo>
                    <a:lnTo>
                      <a:pt x="0" y="59"/>
                    </a:lnTo>
                    <a:lnTo>
                      <a:pt x="2" y="61"/>
                    </a:lnTo>
                    <a:lnTo>
                      <a:pt x="38" y="9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1" name="Freeform 239">
                <a:extLst>
                  <a:ext uri="{FF2B5EF4-FFF2-40B4-BE49-F238E27FC236}">
                    <a16:creationId xmlns:a16="http://schemas.microsoft.com/office/drawing/2014/main" id="{6902ED99-8455-4793-942A-5D9DFE0913AC}"/>
                  </a:ext>
                </a:extLst>
              </p:cNvPr>
              <p:cNvSpPr>
                <a:spLocks/>
              </p:cNvSpPr>
              <p:nvPr/>
            </p:nvSpPr>
            <p:spPr bwMode="auto">
              <a:xfrm>
                <a:off x="3463926" y="2774950"/>
                <a:ext cx="79375" cy="104775"/>
              </a:xfrm>
              <a:custGeom>
                <a:avLst/>
                <a:gdLst>
                  <a:gd name="T0" fmla="*/ 0 w 99"/>
                  <a:gd name="T1" fmla="*/ 92 h 130"/>
                  <a:gd name="T2" fmla="*/ 37 w 99"/>
                  <a:gd name="T3" fmla="*/ 129 h 130"/>
                  <a:gd name="T4" fmla="*/ 37 w 99"/>
                  <a:gd name="T5" fmla="*/ 129 h 130"/>
                  <a:gd name="T6" fmla="*/ 40 w 99"/>
                  <a:gd name="T7" fmla="*/ 130 h 130"/>
                  <a:gd name="T8" fmla="*/ 40 w 99"/>
                  <a:gd name="T9" fmla="*/ 130 h 130"/>
                  <a:gd name="T10" fmla="*/ 43 w 99"/>
                  <a:gd name="T11" fmla="*/ 129 h 130"/>
                  <a:gd name="T12" fmla="*/ 43 w 99"/>
                  <a:gd name="T13" fmla="*/ 129 h 130"/>
                  <a:gd name="T14" fmla="*/ 55 w 99"/>
                  <a:gd name="T15" fmla="*/ 121 h 130"/>
                  <a:gd name="T16" fmla="*/ 65 w 99"/>
                  <a:gd name="T17" fmla="*/ 111 h 130"/>
                  <a:gd name="T18" fmla="*/ 65 w 99"/>
                  <a:gd name="T19" fmla="*/ 111 h 130"/>
                  <a:gd name="T20" fmla="*/ 76 w 99"/>
                  <a:gd name="T21" fmla="*/ 101 h 130"/>
                  <a:gd name="T22" fmla="*/ 84 w 99"/>
                  <a:gd name="T23" fmla="*/ 87 h 130"/>
                  <a:gd name="T24" fmla="*/ 91 w 99"/>
                  <a:gd name="T25" fmla="*/ 74 h 130"/>
                  <a:gd name="T26" fmla="*/ 95 w 99"/>
                  <a:gd name="T27" fmla="*/ 60 h 130"/>
                  <a:gd name="T28" fmla="*/ 98 w 99"/>
                  <a:gd name="T29" fmla="*/ 45 h 130"/>
                  <a:gd name="T30" fmla="*/ 99 w 99"/>
                  <a:gd name="T31" fmla="*/ 31 h 130"/>
                  <a:gd name="T32" fmla="*/ 98 w 99"/>
                  <a:gd name="T33" fmla="*/ 16 h 130"/>
                  <a:gd name="T34" fmla="*/ 94 w 99"/>
                  <a:gd name="T35" fmla="*/ 0 h 130"/>
                  <a:gd name="T36" fmla="*/ 94 w 99"/>
                  <a:gd name="T37" fmla="*/ 0 h 130"/>
                  <a:gd name="T38" fmla="*/ 83 w 99"/>
                  <a:gd name="T39" fmla="*/ 16 h 130"/>
                  <a:gd name="T40" fmla="*/ 71 w 99"/>
                  <a:gd name="T41" fmla="*/ 31 h 130"/>
                  <a:gd name="T42" fmla="*/ 59 w 99"/>
                  <a:gd name="T43" fmla="*/ 44 h 130"/>
                  <a:gd name="T44" fmla="*/ 47 w 99"/>
                  <a:gd name="T45" fmla="*/ 56 h 130"/>
                  <a:gd name="T46" fmla="*/ 22 w 99"/>
                  <a:gd name="T47" fmla="*/ 76 h 130"/>
                  <a:gd name="T48" fmla="*/ 0 w 99"/>
                  <a:gd name="T49" fmla="*/ 92 h 130"/>
                  <a:gd name="T50" fmla="*/ 0 w 99"/>
                  <a:gd name="T51" fmla="*/ 92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9" h="130">
                    <a:moveTo>
                      <a:pt x="0" y="92"/>
                    </a:moveTo>
                    <a:lnTo>
                      <a:pt x="37" y="129"/>
                    </a:lnTo>
                    <a:lnTo>
                      <a:pt x="37" y="129"/>
                    </a:lnTo>
                    <a:lnTo>
                      <a:pt x="40" y="130"/>
                    </a:lnTo>
                    <a:lnTo>
                      <a:pt x="40" y="130"/>
                    </a:lnTo>
                    <a:lnTo>
                      <a:pt x="43" y="129"/>
                    </a:lnTo>
                    <a:lnTo>
                      <a:pt x="43" y="129"/>
                    </a:lnTo>
                    <a:lnTo>
                      <a:pt x="55" y="121"/>
                    </a:lnTo>
                    <a:lnTo>
                      <a:pt x="65" y="111"/>
                    </a:lnTo>
                    <a:lnTo>
                      <a:pt x="65" y="111"/>
                    </a:lnTo>
                    <a:lnTo>
                      <a:pt x="76" y="101"/>
                    </a:lnTo>
                    <a:lnTo>
                      <a:pt x="84" y="87"/>
                    </a:lnTo>
                    <a:lnTo>
                      <a:pt x="91" y="74"/>
                    </a:lnTo>
                    <a:lnTo>
                      <a:pt x="95" y="60"/>
                    </a:lnTo>
                    <a:lnTo>
                      <a:pt x="98" y="45"/>
                    </a:lnTo>
                    <a:lnTo>
                      <a:pt x="99" y="31"/>
                    </a:lnTo>
                    <a:lnTo>
                      <a:pt x="98" y="16"/>
                    </a:lnTo>
                    <a:lnTo>
                      <a:pt x="94" y="0"/>
                    </a:lnTo>
                    <a:lnTo>
                      <a:pt x="94" y="0"/>
                    </a:lnTo>
                    <a:lnTo>
                      <a:pt x="83" y="16"/>
                    </a:lnTo>
                    <a:lnTo>
                      <a:pt x="71" y="31"/>
                    </a:lnTo>
                    <a:lnTo>
                      <a:pt x="59" y="44"/>
                    </a:lnTo>
                    <a:lnTo>
                      <a:pt x="47" y="56"/>
                    </a:lnTo>
                    <a:lnTo>
                      <a:pt x="22" y="76"/>
                    </a:lnTo>
                    <a:lnTo>
                      <a:pt x="0" y="92"/>
                    </a:lnTo>
                    <a:lnTo>
                      <a:pt x="0" y="9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2" name="Freeform 240">
                <a:extLst>
                  <a:ext uri="{FF2B5EF4-FFF2-40B4-BE49-F238E27FC236}">
                    <a16:creationId xmlns:a16="http://schemas.microsoft.com/office/drawing/2014/main" id="{D188F5AD-4FF4-4964-9FD2-3CE195404B74}"/>
                  </a:ext>
                </a:extLst>
              </p:cNvPr>
              <p:cNvSpPr>
                <a:spLocks/>
              </p:cNvSpPr>
              <p:nvPr/>
            </p:nvSpPr>
            <p:spPr bwMode="auto">
              <a:xfrm>
                <a:off x="3330576" y="2828925"/>
                <a:ext cx="52388" cy="50800"/>
              </a:xfrm>
              <a:custGeom>
                <a:avLst/>
                <a:gdLst>
                  <a:gd name="T0" fmla="*/ 5 w 64"/>
                  <a:gd name="T1" fmla="*/ 64 h 64"/>
                  <a:gd name="T2" fmla="*/ 5 w 64"/>
                  <a:gd name="T3" fmla="*/ 64 h 64"/>
                  <a:gd name="T4" fmla="*/ 14 w 64"/>
                  <a:gd name="T5" fmla="*/ 64 h 64"/>
                  <a:gd name="T6" fmla="*/ 14 w 64"/>
                  <a:gd name="T7" fmla="*/ 64 h 64"/>
                  <a:gd name="T8" fmla="*/ 29 w 64"/>
                  <a:gd name="T9" fmla="*/ 64 h 64"/>
                  <a:gd name="T10" fmla="*/ 40 w 64"/>
                  <a:gd name="T11" fmla="*/ 63 h 64"/>
                  <a:gd name="T12" fmla="*/ 49 w 64"/>
                  <a:gd name="T13" fmla="*/ 59 h 64"/>
                  <a:gd name="T14" fmla="*/ 55 w 64"/>
                  <a:gd name="T15" fmla="*/ 55 h 64"/>
                  <a:gd name="T16" fmla="*/ 55 w 64"/>
                  <a:gd name="T17" fmla="*/ 55 h 64"/>
                  <a:gd name="T18" fmla="*/ 59 w 64"/>
                  <a:gd name="T19" fmla="*/ 50 h 64"/>
                  <a:gd name="T20" fmla="*/ 61 w 64"/>
                  <a:gd name="T21" fmla="*/ 44 h 64"/>
                  <a:gd name="T22" fmla="*/ 64 w 64"/>
                  <a:gd name="T23" fmla="*/ 39 h 64"/>
                  <a:gd name="T24" fmla="*/ 64 w 64"/>
                  <a:gd name="T25" fmla="*/ 32 h 64"/>
                  <a:gd name="T26" fmla="*/ 64 w 64"/>
                  <a:gd name="T27" fmla="*/ 32 h 64"/>
                  <a:gd name="T28" fmla="*/ 64 w 64"/>
                  <a:gd name="T29" fmla="*/ 27 h 64"/>
                  <a:gd name="T30" fmla="*/ 61 w 64"/>
                  <a:gd name="T31" fmla="*/ 20 h 64"/>
                  <a:gd name="T32" fmla="*/ 59 w 64"/>
                  <a:gd name="T33" fmla="*/ 15 h 64"/>
                  <a:gd name="T34" fmla="*/ 55 w 64"/>
                  <a:gd name="T35" fmla="*/ 9 h 64"/>
                  <a:gd name="T36" fmla="*/ 55 w 64"/>
                  <a:gd name="T37" fmla="*/ 9 h 64"/>
                  <a:gd name="T38" fmla="*/ 51 w 64"/>
                  <a:gd name="T39" fmla="*/ 5 h 64"/>
                  <a:gd name="T40" fmla="*/ 45 w 64"/>
                  <a:gd name="T41" fmla="*/ 3 h 64"/>
                  <a:gd name="T42" fmla="*/ 39 w 64"/>
                  <a:gd name="T43" fmla="*/ 1 h 64"/>
                  <a:gd name="T44" fmla="*/ 32 w 64"/>
                  <a:gd name="T45" fmla="*/ 0 h 64"/>
                  <a:gd name="T46" fmla="*/ 32 w 64"/>
                  <a:gd name="T47" fmla="*/ 0 h 64"/>
                  <a:gd name="T48" fmla="*/ 27 w 64"/>
                  <a:gd name="T49" fmla="*/ 1 h 64"/>
                  <a:gd name="T50" fmla="*/ 20 w 64"/>
                  <a:gd name="T51" fmla="*/ 3 h 64"/>
                  <a:gd name="T52" fmla="*/ 14 w 64"/>
                  <a:gd name="T53" fmla="*/ 5 h 64"/>
                  <a:gd name="T54" fmla="*/ 10 w 64"/>
                  <a:gd name="T55" fmla="*/ 9 h 64"/>
                  <a:gd name="T56" fmla="*/ 10 w 64"/>
                  <a:gd name="T57" fmla="*/ 9 h 64"/>
                  <a:gd name="T58" fmla="*/ 6 w 64"/>
                  <a:gd name="T59" fmla="*/ 15 h 64"/>
                  <a:gd name="T60" fmla="*/ 4 w 64"/>
                  <a:gd name="T61" fmla="*/ 23 h 64"/>
                  <a:gd name="T62" fmla="*/ 1 w 64"/>
                  <a:gd name="T63" fmla="*/ 30 h 64"/>
                  <a:gd name="T64" fmla="*/ 1 w 64"/>
                  <a:gd name="T65" fmla="*/ 38 h 64"/>
                  <a:gd name="T66" fmla="*/ 0 w 64"/>
                  <a:gd name="T67" fmla="*/ 52 h 64"/>
                  <a:gd name="T68" fmla="*/ 1 w 64"/>
                  <a:gd name="T69" fmla="*/ 60 h 64"/>
                  <a:gd name="T70" fmla="*/ 1 w 64"/>
                  <a:gd name="T71" fmla="*/ 60 h 64"/>
                  <a:gd name="T72" fmla="*/ 2 w 64"/>
                  <a:gd name="T73" fmla="*/ 63 h 64"/>
                  <a:gd name="T74" fmla="*/ 5 w 64"/>
                  <a:gd name="T75" fmla="*/ 64 h 64"/>
                  <a:gd name="T76" fmla="*/ 5 w 64"/>
                  <a:gd name="T7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4" h="64">
                    <a:moveTo>
                      <a:pt x="5" y="64"/>
                    </a:moveTo>
                    <a:lnTo>
                      <a:pt x="5" y="64"/>
                    </a:lnTo>
                    <a:lnTo>
                      <a:pt x="14" y="64"/>
                    </a:lnTo>
                    <a:lnTo>
                      <a:pt x="14" y="64"/>
                    </a:lnTo>
                    <a:lnTo>
                      <a:pt x="29" y="64"/>
                    </a:lnTo>
                    <a:lnTo>
                      <a:pt x="40" y="63"/>
                    </a:lnTo>
                    <a:lnTo>
                      <a:pt x="49" y="59"/>
                    </a:lnTo>
                    <a:lnTo>
                      <a:pt x="55" y="55"/>
                    </a:lnTo>
                    <a:lnTo>
                      <a:pt x="55" y="55"/>
                    </a:lnTo>
                    <a:lnTo>
                      <a:pt x="59" y="50"/>
                    </a:lnTo>
                    <a:lnTo>
                      <a:pt x="61" y="44"/>
                    </a:lnTo>
                    <a:lnTo>
                      <a:pt x="64" y="39"/>
                    </a:lnTo>
                    <a:lnTo>
                      <a:pt x="64" y="32"/>
                    </a:lnTo>
                    <a:lnTo>
                      <a:pt x="64" y="32"/>
                    </a:lnTo>
                    <a:lnTo>
                      <a:pt x="64" y="27"/>
                    </a:lnTo>
                    <a:lnTo>
                      <a:pt x="61" y="20"/>
                    </a:lnTo>
                    <a:lnTo>
                      <a:pt x="59" y="15"/>
                    </a:lnTo>
                    <a:lnTo>
                      <a:pt x="55" y="9"/>
                    </a:lnTo>
                    <a:lnTo>
                      <a:pt x="55" y="9"/>
                    </a:lnTo>
                    <a:lnTo>
                      <a:pt x="51" y="5"/>
                    </a:lnTo>
                    <a:lnTo>
                      <a:pt x="45" y="3"/>
                    </a:lnTo>
                    <a:lnTo>
                      <a:pt x="39" y="1"/>
                    </a:lnTo>
                    <a:lnTo>
                      <a:pt x="32" y="0"/>
                    </a:lnTo>
                    <a:lnTo>
                      <a:pt x="32" y="0"/>
                    </a:lnTo>
                    <a:lnTo>
                      <a:pt x="27" y="1"/>
                    </a:lnTo>
                    <a:lnTo>
                      <a:pt x="20" y="3"/>
                    </a:lnTo>
                    <a:lnTo>
                      <a:pt x="14" y="5"/>
                    </a:lnTo>
                    <a:lnTo>
                      <a:pt x="10" y="9"/>
                    </a:lnTo>
                    <a:lnTo>
                      <a:pt x="10" y="9"/>
                    </a:lnTo>
                    <a:lnTo>
                      <a:pt x="6" y="15"/>
                    </a:lnTo>
                    <a:lnTo>
                      <a:pt x="4" y="23"/>
                    </a:lnTo>
                    <a:lnTo>
                      <a:pt x="1" y="30"/>
                    </a:lnTo>
                    <a:lnTo>
                      <a:pt x="1" y="38"/>
                    </a:lnTo>
                    <a:lnTo>
                      <a:pt x="0" y="52"/>
                    </a:lnTo>
                    <a:lnTo>
                      <a:pt x="1" y="60"/>
                    </a:lnTo>
                    <a:lnTo>
                      <a:pt x="1" y="60"/>
                    </a:lnTo>
                    <a:lnTo>
                      <a:pt x="2" y="63"/>
                    </a:lnTo>
                    <a:lnTo>
                      <a:pt x="5" y="64"/>
                    </a:lnTo>
                    <a:lnTo>
                      <a:pt x="5" y="6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3" name="Freeform 241">
                <a:extLst>
                  <a:ext uri="{FF2B5EF4-FFF2-40B4-BE49-F238E27FC236}">
                    <a16:creationId xmlns:a16="http://schemas.microsoft.com/office/drawing/2014/main" id="{35616313-B624-47FF-B5E2-C14E481E5E18}"/>
                  </a:ext>
                </a:extLst>
              </p:cNvPr>
              <p:cNvSpPr>
                <a:spLocks/>
              </p:cNvSpPr>
              <p:nvPr/>
            </p:nvSpPr>
            <p:spPr bwMode="auto">
              <a:xfrm>
                <a:off x="3492501" y="2638425"/>
                <a:ext cx="80963" cy="80963"/>
              </a:xfrm>
              <a:custGeom>
                <a:avLst/>
                <a:gdLst>
                  <a:gd name="T0" fmla="*/ 79 w 102"/>
                  <a:gd name="T1" fmla="*/ 102 h 102"/>
                  <a:gd name="T2" fmla="*/ 79 w 102"/>
                  <a:gd name="T3" fmla="*/ 102 h 102"/>
                  <a:gd name="T4" fmla="*/ 87 w 102"/>
                  <a:gd name="T5" fmla="*/ 80 h 102"/>
                  <a:gd name="T6" fmla="*/ 94 w 102"/>
                  <a:gd name="T7" fmla="*/ 56 h 102"/>
                  <a:gd name="T8" fmla="*/ 99 w 102"/>
                  <a:gd name="T9" fmla="*/ 32 h 102"/>
                  <a:gd name="T10" fmla="*/ 102 w 102"/>
                  <a:gd name="T11" fmla="*/ 5 h 102"/>
                  <a:gd name="T12" fmla="*/ 102 w 102"/>
                  <a:gd name="T13" fmla="*/ 5 h 102"/>
                  <a:gd name="T14" fmla="*/ 100 w 102"/>
                  <a:gd name="T15" fmla="*/ 4 h 102"/>
                  <a:gd name="T16" fmla="*/ 99 w 102"/>
                  <a:gd name="T17" fmla="*/ 1 h 102"/>
                  <a:gd name="T18" fmla="*/ 99 w 102"/>
                  <a:gd name="T19" fmla="*/ 1 h 102"/>
                  <a:gd name="T20" fmla="*/ 98 w 102"/>
                  <a:gd name="T21" fmla="*/ 0 h 102"/>
                  <a:gd name="T22" fmla="*/ 96 w 102"/>
                  <a:gd name="T23" fmla="*/ 0 h 102"/>
                  <a:gd name="T24" fmla="*/ 96 w 102"/>
                  <a:gd name="T25" fmla="*/ 0 h 102"/>
                  <a:gd name="T26" fmla="*/ 70 w 102"/>
                  <a:gd name="T27" fmla="*/ 2 h 102"/>
                  <a:gd name="T28" fmla="*/ 44 w 102"/>
                  <a:gd name="T29" fmla="*/ 6 h 102"/>
                  <a:gd name="T30" fmla="*/ 21 w 102"/>
                  <a:gd name="T31" fmla="*/ 13 h 102"/>
                  <a:gd name="T32" fmla="*/ 0 w 102"/>
                  <a:gd name="T33" fmla="*/ 21 h 102"/>
                  <a:gd name="T34" fmla="*/ 79 w 102"/>
                  <a:gd name="T35"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2" h="102">
                    <a:moveTo>
                      <a:pt x="79" y="102"/>
                    </a:moveTo>
                    <a:lnTo>
                      <a:pt x="79" y="102"/>
                    </a:lnTo>
                    <a:lnTo>
                      <a:pt x="87" y="80"/>
                    </a:lnTo>
                    <a:lnTo>
                      <a:pt x="94" y="56"/>
                    </a:lnTo>
                    <a:lnTo>
                      <a:pt x="99" y="32"/>
                    </a:lnTo>
                    <a:lnTo>
                      <a:pt x="102" y="5"/>
                    </a:lnTo>
                    <a:lnTo>
                      <a:pt x="102" y="5"/>
                    </a:lnTo>
                    <a:lnTo>
                      <a:pt x="100" y="4"/>
                    </a:lnTo>
                    <a:lnTo>
                      <a:pt x="99" y="1"/>
                    </a:lnTo>
                    <a:lnTo>
                      <a:pt x="99" y="1"/>
                    </a:lnTo>
                    <a:lnTo>
                      <a:pt x="98" y="0"/>
                    </a:lnTo>
                    <a:lnTo>
                      <a:pt x="96" y="0"/>
                    </a:lnTo>
                    <a:lnTo>
                      <a:pt x="96" y="0"/>
                    </a:lnTo>
                    <a:lnTo>
                      <a:pt x="70" y="2"/>
                    </a:lnTo>
                    <a:lnTo>
                      <a:pt x="44" y="6"/>
                    </a:lnTo>
                    <a:lnTo>
                      <a:pt x="21" y="13"/>
                    </a:lnTo>
                    <a:lnTo>
                      <a:pt x="0" y="21"/>
                    </a:lnTo>
                    <a:lnTo>
                      <a:pt x="79" y="10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4" name="Freeform 242">
                <a:extLst>
                  <a:ext uri="{FF2B5EF4-FFF2-40B4-BE49-F238E27FC236}">
                    <a16:creationId xmlns:a16="http://schemas.microsoft.com/office/drawing/2014/main" id="{D4735DA3-3EA5-4395-893D-8050CFA96418}"/>
                  </a:ext>
                </a:extLst>
              </p:cNvPr>
              <p:cNvSpPr>
                <a:spLocks noEditPoints="1"/>
              </p:cNvSpPr>
              <p:nvPr/>
            </p:nvSpPr>
            <p:spPr bwMode="auto">
              <a:xfrm>
                <a:off x="3360738" y="2667000"/>
                <a:ext cx="184150" cy="184150"/>
              </a:xfrm>
              <a:custGeom>
                <a:avLst/>
                <a:gdLst>
                  <a:gd name="T0" fmla="*/ 147 w 231"/>
                  <a:gd name="T1" fmla="*/ 0 h 232"/>
                  <a:gd name="T2" fmla="*/ 110 w 231"/>
                  <a:gd name="T3" fmla="*/ 20 h 232"/>
                  <a:gd name="T4" fmla="*/ 80 w 231"/>
                  <a:gd name="T5" fmla="*/ 44 h 232"/>
                  <a:gd name="T6" fmla="*/ 54 w 231"/>
                  <a:gd name="T7" fmla="*/ 68 h 232"/>
                  <a:gd name="T8" fmla="*/ 19 w 231"/>
                  <a:gd name="T9" fmla="*/ 114 h 232"/>
                  <a:gd name="T10" fmla="*/ 0 w 231"/>
                  <a:gd name="T11" fmla="*/ 149 h 232"/>
                  <a:gd name="T12" fmla="*/ 0 w 231"/>
                  <a:gd name="T13" fmla="*/ 152 h 232"/>
                  <a:gd name="T14" fmla="*/ 78 w 231"/>
                  <a:gd name="T15" fmla="*/ 231 h 232"/>
                  <a:gd name="T16" fmla="*/ 81 w 231"/>
                  <a:gd name="T17" fmla="*/ 232 h 232"/>
                  <a:gd name="T18" fmla="*/ 84 w 231"/>
                  <a:gd name="T19" fmla="*/ 232 h 232"/>
                  <a:gd name="T20" fmla="*/ 100 w 231"/>
                  <a:gd name="T21" fmla="*/ 223 h 232"/>
                  <a:gd name="T22" fmla="*/ 140 w 231"/>
                  <a:gd name="T23" fmla="*/ 197 h 232"/>
                  <a:gd name="T24" fmla="*/ 176 w 231"/>
                  <a:gd name="T25" fmla="*/ 165 h 232"/>
                  <a:gd name="T26" fmla="*/ 200 w 231"/>
                  <a:gd name="T27" fmla="*/ 138 h 232"/>
                  <a:gd name="T28" fmla="*/ 222 w 231"/>
                  <a:gd name="T29" fmla="*/ 105 h 232"/>
                  <a:gd name="T30" fmla="*/ 147 w 231"/>
                  <a:gd name="T31" fmla="*/ 0 h 232"/>
                  <a:gd name="T32" fmla="*/ 152 w 231"/>
                  <a:gd name="T33" fmla="*/ 126 h 232"/>
                  <a:gd name="T34" fmla="*/ 141 w 231"/>
                  <a:gd name="T35" fmla="*/ 133 h 232"/>
                  <a:gd name="T36" fmla="*/ 129 w 231"/>
                  <a:gd name="T37" fmla="*/ 135 h 232"/>
                  <a:gd name="T38" fmla="*/ 122 w 231"/>
                  <a:gd name="T39" fmla="*/ 134 h 232"/>
                  <a:gd name="T40" fmla="*/ 112 w 231"/>
                  <a:gd name="T41" fmla="*/ 130 h 232"/>
                  <a:gd name="T42" fmla="*/ 106 w 231"/>
                  <a:gd name="T43" fmla="*/ 126 h 232"/>
                  <a:gd name="T44" fmla="*/ 100 w 231"/>
                  <a:gd name="T45" fmla="*/ 115 h 232"/>
                  <a:gd name="T46" fmla="*/ 97 w 231"/>
                  <a:gd name="T47" fmla="*/ 103 h 232"/>
                  <a:gd name="T48" fmla="*/ 100 w 231"/>
                  <a:gd name="T49" fmla="*/ 91 h 232"/>
                  <a:gd name="T50" fmla="*/ 106 w 231"/>
                  <a:gd name="T51" fmla="*/ 80 h 232"/>
                  <a:gd name="T52" fmla="*/ 112 w 231"/>
                  <a:gd name="T53" fmla="*/ 76 h 232"/>
                  <a:gd name="T54" fmla="*/ 122 w 231"/>
                  <a:gd name="T55" fmla="*/ 71 h 232"/>
                  <a:gd name="T56" fmla="*/ 129 w 231"/>
                  <a:gd name="T57" fmla="*/ 71 h 232"/>
                  <a:gd name="T58" fmla="*/ 141 w 231"/>
                  <a:gd name="T59" fmla="*/ 74 h 232"/>
                  <a:gd name="T60" fmla="*/ 152 w 231"/>
                  <a:gd name="T61" fmla="*/ 80 h 232"/>
                  <a:gd name="T62" fmla="*/ 156 w 231"/>
                  <a:gd name="T63" fmla="*/ 86 h 232"/>
                  <a:gd name="T64" fmla="*/ 160 w 231"/>
                  <a:gd name="T65" fmla="*/ 97 h 232"/>
                  <a:gd name="T66" fmla="*/ 160 w 231"/>
                  <a:gd name="T67" fmla="*/ 109 h 232"/>
                  <a:gd name="T68" fmla="*/ 156 w 231"/>
                  <a:gd name="T69" fmla="*/ 121 h 232"/>
                  <a:gd name="T70" fmla="*/ 152 w 231"/>
                  <a:gd name="T71" fmla="*/ 12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1" h="232">
                    <a:moveTo>
                      <a:pt x="147" y="0"/>
                    </a:moveTo>
                    <a:lnTo>
                      <a:pt x="147" y="0"/>
                    </a:lnTo>
                    <a:lnTo>
                      <a:pt x="128" y="9"/>
                    </a:lnTo>
                    <a:lnTo>
                      <a:pt x="110" y="20"/>
                    </a:lnTo>
                    <a:lnTo>
                      <a:pt x="94" y="32"/>
                    </a:lnTo>
                    <a:lnTo>
                      <a:pt x="80" y="44"/>
                    </a:lnTo>
                    <a:lnTo>
                      <a:pt x="66" y="56"/>
                    </a:lnTo>
                    <a:lnTo>
                      <a:pt x="54" y="68"/>
                    </a:lnTo>
                    <a:lnTo>
                      <a:pt x="34" y="93"/>
                    </a:lnTo>
                    <a:lnTo>
                      <a:pt x="19" y="114"/>
                    </a:lnTo>
                    <a:lnTo>
                      <a:pt x="8" y="131"/>
                    </a:lnTo>
                    <a:lnTo>
                      <a:pt x="0" y="149"/>
                    </a:lnTo>
                    <a:lnTo>
                      <a:pt x="0" y="149"/>
                    </a:lnTo>
                    <a:lnTo>
                      <a:pt x="0" y="152"/>
                    </a:lnTo>
                    <a:lnTo>
                      <a:pt x="2" y="154"/>
                    </a:lnTo>
                    <a:lnTo>
                      <a:pt x="78" y="231"/>
                    </a:lnTo>
                    <a:lnTo>
                      <a:pt x="78" y="231"/>
                    </a:lnTo>
                    <a:lnTo>
                      <a:pt x="81" y="232"/>
                    </a:lnTo>
                    <a:lnTo>
                      <a:pt x="81" y="232"/>
                    </a:lnTo>
                    <a:lnTo>
                      <a:pt x="84" y="232"/>
                    </a:lnTo>
                    <a:lnTo>
                      <a:pt x="84" y="232"/>
                    </a:lnTo>
                    <a:lnTo>
                      <a:pt x="100" y="223"/>
                    </a:lnTo>
                    <a:lnTo>
                      <a:pt x="118" y="212"/>
                    </a:lnTo>
                    <a:lnTo>
                      <a:pt x="140" y="197"/>
                    </a:lnTo>
                    <a:lnTo>
                      <a:pt x="164" y="177"/>
                    </a:lnTo>
                    <a:lnTo>
                      <a:pt x="176" y="165"/>
                    </a:lnTo>
                    <a:lnTo>
                      <a:pt x="188" y="152"/>
                    </a:lnTo>
                    <a:lnTo>
                      <a:pt x="200" y="138"/>
                    </a:lnTo>
                    <a:lnTo>
                      <a:pt x="211" y="122"/>
                    </a:lnTo>
                    <a:lnTo>
                      <a:pt x="222" y="105"/>
                    </a:lnTo>
                    <a:lnTo>
                      <a:pt x="231" y="86"/>
                    </a:lnTo>
                    <a:lnTo>
                      <a:pt x="147" y="0"/>
                    </a:lnTo>
                    <a:close/>
                    <a:moveTo>
                      <a:pt x="152" y="126"/>
                    </a:moveTo>
                    <a:lnTo>
                      <a:pt x="152" y="126"/>
                    </a:lnTo>
                    <a:lnTo>
                      <a:pt x="147" y="130"/>
                    </a:lnTo>
                    <a:lnTo>
                      <a:pt x="141" y="133"/>
                    </a:lnTo>
                    <a:lnTo>
                      <a:pt x="136" y="134"/>
                    </a:lnTo>
                    <a:lnTo>
                      <a:pt x="129" y="135"/>
                    </a:lnTo>
                    <a:lnTo>
                      <a:pt x="129" y="135"/>
                    </a:lnTo>
                    <a:lnTo>
                      <a:pt x="122" y="134"/>
                    </a:lnTo>
                    <a:lnTo>
                      <a:pt x="117" y="133"/>
                    </a:lnTo>
                    <a:lnTo>
                      <a:pt x="112" y="130"/>
                    </a:lnTo>
                    <a:lnTo>
                      <a:pt x="106" y="126"/>
                    </a:lnTo>
                    <a:lnTo>
                      <a:pt x="106" y="126"/>
                    </a:lnTo>
                    <a:lnTo>
                      <a:pt x="102" y="121"/>
                    </a:lnTo>
                    <a:lnTo>
                      <a:pt x="100" y="115"/>
                    </a:lnTo>
                    <a:lnTo>
                      <a:pt x="97" y="109"/>
                    </a:lnTo>
                    <a:lnTo>
                      <a:pt x="97" y="103"/>
                    </a:lnTo>
                    <a:lnTo>
                      <a:pt x="97" y="97"/>
                    </a:lnTo>
                    <a:lnTo>
                      <a:pt x="100" y="91"/>
                    </a:lnTo>
                    <a:lnTo>
                      <a:pt x="102" y="86"/>
                    </a:lnTo>
                    <a:lnTo>
                      <a:pt x="106" y="80"/>
                    </a:lnTo>
                    <a:lnTo>
                      <a:pt x="106" y="80"/>
                    </a:lnTo>
                    <a:lnTo>
                      <a:pt x="112" y="76"/>
                    </a:lnTo>
                    <a:lnTo>
                      <a:pt x="117" y="74"/>
                    </a:lnTo>
                    <a:lnTo>
                      <a:pt x="122" y="71"/>
                    </a:lnTo>
                    <a:lnTo>
                      <a:pt x="129" y="71"/>
                    </a:lnTo>
                    <a:lnTo>
                      <a:pt x="129" y="71"/>
                    </a:lnTo>
                    <a:lnTo>
                      <a:pt x="136" y="71"/>
                    </a:lnTo>
                    <a:lnTo>
                      <a:pt x="141" y="74"/>
                    </a:lnTo>
                    <a:lnTo>
                      <a:pt x="147" y="76"/>
                    </a:lnTo>
                    <a:lnTo>
                      <a:pt x="152" y="80"/>
                    </a:lnTo>
                    <a:lnTo>
                      <a:pt x="152" y="80"/>
                    </a:lnTo>
                    <a:lnTo>
                      <a:pt x="156" y="86"/>
                    </a:lnTo>
                    <a:lnTo>
                      <a:pt x="159" y="91"/>
                    </a:lnTo>
                    <a:lnTo>
                      <a:pt x="160" y="97"/>
                    </a:lnTo>
                    <a:lnTo>
                      <a:pt x="161" y="103"/>
                    </a:lnTo>
                    <a:lnTo>
                      <a:pt x="160" y="109"/>
                    </a:lnTo>
                    <a:lnTo>
                      <a:pt x="159" y="115"/>
                    </a:lnTo>
                    <a:lnTo>
                      <a:pt x="156" y="121"/>
                    </a:lnTo>
                    <a:lnTo>
                      <a:pt x="152" y="126"/>
                    </a:lnTo>
                    <a:lnTo>
                      <a:pt x="152" y="1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55" name="Group 54">
            <a:extLst>
              <a:ext uri="{FF2B5EF4-FFF2-40B4-BE49-F238E27FC236}">
                <a16:creationId xmlns:a16="http://schemas.microsoft.com/office/drawing/2014/main" id="{877C8C0D-FB0D-4B4B-A93A-1F3D4D32CF82}"/>
              </a:ext>
            </a:extLst>
          </p:cNvPr>
          <p:cNvGrpSpPr/>
          <p:nvPr/>
        </p:nvGrpSpPr>
        <p:grpSpPr>
          <a:xfrm>
            <a:off x="4923595" y="591836"/>
            <a:ext cx="2736039" cy="2315410"/>
            <a:chOff x="5277796" y="591836"/>
            <a:chExt cx="2290209" cy="1938120"/>
          </a:xfrm>
        </p:grpSpPr>
        <p:cxnSp>
          <p:nvCxnSpPr>
            <p:cNvPr id="56" name="Straight Arrow Connector 55">
              <a:extLst>
                <a:ext uri="{FF2B5EF4-FFF2-40B4-BE49-F238E27FC236}">
                  <a16:creationId xmlns:a16="http://schemas.microsoft.com/office/drawing/2014/main" id="{57BDFE01-A95E-4024-9702-35B89572CE95}"/>
                </a:ext>
              </a:extLst>
            </p:cNvPr>
            <p:cNvCxnSpPr>
              <a:cxnSpLocks/>
            </p:cNvCxnSpPr>
            <p:nvPr/>
          </p:nvCxnSpPr>
          <p:spPr>
            <a:xfrm>
              <a:off x="6568560" y="2342671"/>
              <a:ext cx="999445" cy="0"/>
            </a:xfrm>
            <a:prstGeom prst="straightConnector1">
              <a:avLst/>
            </a:prstGeom>
            <a:ln w="79375">
              <a:gradFill>
                <a:gsLst>
                  <a:gs pos="0">
                    <a:schemeClr val="accent2"/>
                  </a:gs>
                  <a:gs pos="100000">
                    <a:schemeClr val="accent2"/>
                  </a:gs>
                </a:gsLst>
                <a:lin ang="0" scaled="0"/>
              </a:gradFill>
              <a:tailEnd type="triangle" w="sm" len="sm"/>
            </a:ln>
          </p:spPr>
          <p:style>
            <a:lnRef idx="1">
              <a:schemeClr val="accent1"/>
            </a:lnRef>
            <a:fillRef idx="0">
              <a:schemeClr val="accent1"/>
            </a:fillRef>
            <a:effectRef idx="0">
              <a:schemeClr val="accent1"/>
            </a:effectRef>
            <a:fontRef idx="minor">
              <a:schemeClr val="tx1"/>
            </a:fontRef>
          </p:style>
        </p:cxnSp>
        <p:sp>
          <p:nvSpPr>
            <p:cNvPr id="57" name="Rectangle: Rounded Corners 56">
              <a:extLst>
                <a:ext uri="{FF2B5EF4-FFF2-40B4-BE49-F238E27FC236}">
                  <a16:creationId xmlns:a16="http://schemas.microsoft.com/office/drawing/2014/main" id="{7026E6E1-6229-4EF2-83AC-5E9F62B04A5D}"/>
                </a:ext>
              </a:extLst>
            </p:cNvPr>
            <p:cNvSpPr/>
            <p:nvPr/>
          </p:nvSpPr>
          <p:spPr>
            <a:xfrm>
              <a:off x="5465469" y="772182"/>
              <a:ext cx="1623245" cy="1570489"/>
            </a:xfrm>
            <a:prstGeom prst="roundRect">
              <a:avLst/>
            </a:prstGeom>
            <a:noFill/>
            <a:ln w="79375">
              <a:gradFill>
                <a:gsLst>
                  <a:gs pos="0">
                    <a:schemeClr val="accent1"/>
                  </a:gs>
                  <a:gs pos="59000">
                    <a:schemeClr val="accent4"/>
                  </a:gs>
                  <a:gs pos="100000">
                    <a:schemeClr val="accent2"/>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58" name="Isosceles Triangle 57">
              <a:extLst>
                <a:ext uri="{FF2B5EF4-FFF2-40B4-BE49-F238E27FC236}">
                  <a16:creationId xmlns:a16="http://schemas.microsoft.com/office/drawing/2014/main" id="{DF83D4DD-D832-42B8-BDC4-48953A29784E}"/>
                </a:ext>
              </a:extLst>
            </p:cNvPr>
            <p:cNvSpPr/>
            <p:nvPr/>
          </p:nvSpPr>
          <p:spPr>
            <a:xfrm rot="10800000">
              <a:off x="5422193" y="1965911"/>
              <a:ext cx="92498" cy="79740"/>
            </a:xfrm>
            <a:prstGeom prst="triangle">
              <a:avLst/>
            </a:prstGeom>
            <a:solidFill>
              <a:schemeClr val="tx1"/>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59" name="Isosceles Triangle 58">
              <a:extLst>
                <a:ext uri="{FF2B5EF4-FFF2-40B4-BE49-F238E27FC236}">
                  <a16:creationId xmlns:a16="http://schemas.microsoft.com/office/drawing/2014/main" id="{9D44BC9E-57FD-4DDF-B2A1-1FCF9EA06884}"/>
                </a:ext>
              </a:extLst>
            </p:cNvPr>
            <p:cNvSpPr/>
            <p:nvPr/>
          </p:nvSpPr>
          <p:spPr>
            <a:xfrm>
              <a:off x="7043908" y="1038113"/>
              <a:ext cx="92498" cy="79740"/>
            </a:xfrm>
            <a:prstGeom prst="triangle">
              <a:avLst/>
            </a:prstGeom>
            <a:solidFill>
              <a:schemeClr val="tx1"/>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60" name="Group 59">
              <a:extLst>
                <a:ext uri="{FF2B5EF4-FFF2-40B4-BE49-F238E27FC236}">
                  <a16:creationId xmlns:a16="http://schemas.microsoft.com/office/drawing/2014/main" id="{7ED21AE7-7EB6-4DC7-8319-EE6730959C29}"/>
                </a:ext>
              </a:extLst>
            </p:cNvPr>
            <p:cNvGrpSpPr/>
            <p:nvPr/>
          </p:nvGrpSpPr>
          <p:grpSpPr>
            <a:xfrm>
              <a:off x="5277796" y="1369753"/>
              <a:ext cx="375346" cy="375346"/>
              <a:chOff x="8707963" y="1150075"/>
              <a:chExt cx="522288" cy="522288"/>
            </a:xfrm>
          </p:grpSpPr>
          <p:sp>
            <p:nvSpPr>
              <p:cNvPr id="88" name="Oval 87">
                <a:extLst>
                  <a:ext uri="{FF2B5EF4-FFF2-40B4-BE49-F238E27FC236}">
                    <a16:creationId xmlns:a16="http://schemas.microsoft.com/office/drawing/2014/main" id="{D8FFF86A-58B2-4CD7-9322-B0A9BEBBDA67}"/>
                  </a:ext>
                </a:extLst>
              </p:cNvPr>
              <p:cNvSpPr/>
              <p:nvPr/>
            </p:nvSpPr>
            <p:spPr>
              <a:xfrm>
                <a:off x="8708503" y="1150615"/>
                <a:ext cx="521208" cy="5212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89" name="Group 88">
                <a:extLst>
                  <a:ext uri="{FF2B5EF4-FFF2-40B4-BE49-F238E27FC236}">
                    <a16:creationId xmlns:a16="http://schemas.microsoft.com/office/drawing/2014/main" id="{AFD2C187-2CAB-457C-98B9-1AEA585BAEC5}"/>
                  </a:ext>
                </a:extLst>
              </p:cNvPr>
              <p:cNvGrpSpPr>
                <a:grpSpLocks noChangeAspect="1"/>
              </p:cNvGrpSpPr>
              <p:nvPr/>
            </p:nvGrpSpPr>
            <p:grpSpPr>
              <a:xfrm>
                <a:off x="8707963" y="1150075"/>
                <a:ext cx="522288" cy="522288"/>
                <a:chOff x="563563" y="1674813"/>
                <a:chExt cx="522288" cy="522288"/>
              </a:xfrm>
            </p:grpSpPr>
            <p:sp>
              <p:nvSpPr>
                <p:cNvPr id="90" name="Freeform 14">
                  <a:extLst>
                    <a:ext uri="{FF2B5EF4-FFF2-40B4-BE49-F238E27FC236}">
                      <a16:creationId xmlns:a16="http://schemas.microsoft.com/office/drawing/2014/main" id="{D0F5CB73-0C7C-4D68-92C0-F20D6F9BA97C}"/>
                    </a:ext>
                  </a:extLst>
                </p:cNvPr>
                <p:cNvSpPr>
                  <a:spLocks noEditPoints="1"/>
                </p:cNvSpPr>
                <p:nvPr/>
              </p:nvSpPr>
              <p:spPr bwMode="auto">
                <a:xfrm>
                  <a:off x="563563" y="1674813"/>
                  <a:ext cx="522288" cy="522288"/>
                </a:xfrm>
                <a:custGeom>
                  <a:avLst/>
                  <a:gdLst>
                    <a:gd name="T0" fmla="*/ 313 w 658"/>
                    <a:gd name="T1" fmla="*/ 657 h 657"/>
                    <a:gd name="T2" fmla="*/ 263 w 658"/>
                    <a:gd name="T3" fmla="*/ 650 h 657"/>
                    <a:gd name="T4" fmla="*/ 201 w 658"/>
                    <a:gd name="T5" fmla="*/ 632 h 657"/>
                    <a:gd name="T6" fmla="*/ 121 w 658"/>
                    <a:gd name="T7" fmla="*/ 582 h 657"/>
                    <a:gd name="T8" fmla="*/ 56 w 658"/>
                    <a:gd name="T9" fmla="*/ 512 h 657"/>
                    <a:gd name="T10" fmla="*/ 15 w 658"/>
                    <a:gd name="T11" fmla="*/ 426 h 657"/>
                    <a:gd name="T12" fmla="*/ 4 w 658"/>
                    <a:gd name="T13" fmla="*/ 379 h 657"/>
                    <a:gd name="T14" fmla="*/ 0 w 658"/>
                    <a:gd name="T15" fmla="*/ 328 h 657"/>
                    <a:gd name="T16" fmla="*/ 3 w 658"/>
                    <a:gd name="T17" fmla="*/ 294 h 657"/>
                    <a:gd name="T18" fmla="*/ 11 w 658"/>
                    <a:gd name="T19" fmla="*/ 246 h 657"/>
                    <a:gd name="T20" fmla="*/ 40 w 658"/>
                    <a:gd name="T21" fmla="*/ 172 h 657"/>
                    <a:gd name="T22" fmla="*/ 97 w 658"/>
                    <a:gd name="T23" fmla="*/ 96 h 657"/>
                    <a:gd name="T24" fmla="*/ 173 w 658"/>
                    <a:gd name="T25" fmla="*/ 39 h 657"/>
                    <a:gd name="T26" fmla="*/ 247 w 658"/>
                    <a:gd name="T27" fmla="*/ 10 h 657"/>
                    <a:gd name="T28" fmla="*/ 295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2 w 658"/>
                    <a:gd name="T41" fmla="*/ 200 h 657"/>
                    <a:gd name="T42" fmla="*/ 651 w 658"/>
                    <a:gd name="T43" fmla="*/ 262 h 657"/>
                    <a:gd name="T44" fmla="*/ 658 w 658"/>
                    <a:gd name="T45" fmla="*/ 312 h 657"/>
                    <a:gd name="T46" fmla="*/ 658 w 658"/>
                    <a:gd name="T47" fmla="*/ 346 h 657"/>
                    <a:gd name="T48" fmla="*/ 651 w 658"/>
                    <a:gd name="T49" fmla="*/ 395 h 657"/>
                    <a:gd name="T50" fmla="*/ 632 w 658"/>
                    <a:gd name="T51" fmla="*/ 457 h 657"/>
                    <a:gd name="T52" fmla="*/ 583 w 658"/>
                    <a:gd name="T53" fmla="*/ 538 h 657"/>
                    <a:gd name="T54" fmla="*/ 513 w 658"/>
                    <a:gd name="T55" fmla="*/ 601 h 657"/>
                    <a:gd name="T56" fmla="*/ 427 w 658"/>
                    <a:gd name="T57" fmla="*/ 642 h 657"/>
                    <a:gd name="T58" fmla="*/ 379 w 658"/>
                    <a:gd name="T59" fmla="*/ 653 h 657"/>
                    <a:gd name="T60" fmla="*/ 329 w 658"/>
                    <a:gd name="T61" fmla="*/ 657 h 657"/>
                    <a:gd name="T62" fmla="*/ 329 w 658"/>
                    <a:gd name="T63" fmla="*/ 38 h 657"/>
                    <a:gd name="T64" fmla="*/ 243 w 658"/>
                    <a:gd name="T65" fmla="*/ 50 h 657"/>
                    <a:gd name="T66" fmla="*/ 167 w 658"/>
                    <a:gd name="T67" fmla="*/ 88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6 h 657"/>
                    <a:gd name="T84" fmla="*/ 329 w 658"/>
                    <a:gd name="T85" fmla="*/ 619 h 657"/>
                    <a:gd name="T86" fmla="*/ 388 w 658"/>
                    <a:gd name="T87" fmla="*/ 614 h 657"/>
                    <a:gd name="T88" fmla="*/ 467 w 658"/>
                    <a:gd name="T89" fmla="*/ 585 h 657"/>
                    <a:gd name="T90" fmla="*/ 534 w 658"/>
                    <a:gd name="T91" fmla="*/ 535 h 657"/>
                    <a:gd name="T92" fmla="*/ 585 w 658"/>
                    <a:gd name="T93" fmla="*/ 468 h 657"/>
                    <a:gd name="T94" fmla="*/ 615 w 658"/>
                    <a:gd name="T95" fmla="*/ 387 h 657"/>
                    <a:gd name="T96" fmla="*/ 620 w 658"/>
                    <a:gd name="T97" fmla="*/ 328 h 657"/>
                    <a:gd name="T98" fmla="*/ 607 w 658"/>
                    <a:gd name="T99" fmla="*/ 242 h 657"/>
                    <a:gd name="T100" fmla="*/ 571 w 658"/>
                    <a:gd name="T101" fmla="*/ 166 h 657"/>
                    <a:gd name="T102" fmla="*/ 514 w 658"/>
                    <a:gd name="T103" fmla="*/ 104 h 657"/>
                    <a:gd name="T104" fmla="*/ 443 w 658"/>
                    <a:gd name="T105" fmla="*/ 61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5" y="656"/>
                      </a:lnTo>
                      <a:lnTo>
                        <a:pt x="279" y="653"/>
                      </a:lnTo>
                      <a:lnTo>
                        <a:pt x="263" y="650"/>
                      </a:lnTo>
                      <a:lnTo>
                        <a:pt x="247" y="648"/>
                      </a:lnTo>
                      <a:lnTo>
                        <a:pt x="232" y="642"/>
                      </a:lnTo>
                      <a:lnTo>
                        <a:pt x="201" y="632"/>
                      </a:lnTo>
                      <a:lnTo>
                        <a:pt x="173" y="618"/>
                      </a:lnTo>
                      <a:lnTo>
                        <a:pt x="145" y="601"/>
                      </a:lnTo>
                      <a:lnTo>
                        <a:pt x="121" y="582"/>
                      </a:lnTo>
                      <a:lnTo>
                        <a:pt x="97" y="560"/>
                      </a:lnTo>
                      <a:lnTo>
                        <a:pt x="75" y="538"/>
                      </a:lnTo>
                      <a:lnTo>
                        <a:pt x="56" y="512"/>
                      </a:lnTo>
                      <a:lnTo>
                        <a:pt x="40" y="485"/>
                      </a:lnTo>
                      <a:lnTo>
                        <a:pt x="27" y="457"/>
                      </a:lnTo>
                      <a:lnTo>
                        <a:pt x="15" y="426"/>
                      </a:lnTo>
                      <a:lnTo>
                        <a:pt x="11" y="411"/>
                      </a:lnTo>
                      <a:lnTo>
                        <a:pt x="7" y="395"/>
                      </a:lnTo>
                      <a:lnTo>
                        <a:pt x="4" y="379"/>
                      </a:lnTo>
                      <a:lnTo>
                        <a:pt x="3" y="362"/>
                      </a:lnTo>
                      <a:lnTo>
                        <a:pt x="1" y="346"/>
                      </a:lnTo>
                      <a:lnTo>
                        <a:pt x="0" y="328"/>
                      </a:lnTo>
                      <a:lnTo>
                        <a:pt x="0" y="328"/>
                      </a:lnTo>
                      <a:lnTo>
                        <a:pt x="1" y="312"/>
                      </a:lnTo>
                      <a:lnTo>
                        <a:pt x="3" y="294"/>
                      </a:lnTo>
                      <a:lnTo>
                        <a:pt x="4" y="278"/>
                      </a:lnTo>
                      <a:lnTo>
                        <a:pt x="7" y="262"/>
                      </a:lnTo>
                      <a:lnTo>
                        <a:pt x="11" y="246"/>
                      </a:lnTo>
                      <a:lnTo>
                        <a:pt x="15" y="231"/>
                      </a:lnTo>
                      <a:lnTo>
                        <a:pt x="27" y="200"/>
                      </a:lnTo>
                      <a:lnTo>
                        <a:pt x="40" y="172"/>
                      </a:lnTo>
                      <a:lnTo>
                        <a:pt x="56" y="145"/>
                      </a:lnTo>
                      <a:lnTo>
                        <a:pt x="75" y="120"/>
                      </a:lnTo>
                      <a:lnTo>
                        <a:pt x="97" y="96"/>
                      </a:lnTo>
                      <a:lnTo>
                        <a:pt x="121" y="76"/>
                      </a:lnTo>
                      <a:lnTo>
                        <a:pt x="145" y="57"/>
                      </a:lnTo>
                      <a:lnTo>
                        <a:pt x="173" y="39"/>
                      </a:lnTo>
                      <a:lnTo>
                        <a:pt x="201" y="26"/>
                      </a:lnTo>
                      <a:lnTo>
                        <a:pt x="232" y="15"/>
                      </a:lnTo>
                      <a:lnTo>
                        <a:pt x="247" y="10"/>
                      </a:lnTo>
                      <a:lnTo>
                        <a:pt x="263" y="7"/>
                      </a:lnTo>
                      <a:lnTo>
                        <a:pt x="279" y="4"/>
                      </a:lnTo>
                      <a:lnTo>
                        <a:pt x="295" y="2"/>
                      </a:lnTo>
                      <a:lnTo>
                        <a:pt x="313" y="0"/>
                      </a:lnTo>
                      <a:lnTo>
                        <a:pt x="329" y="0"/>
                      </a:lnTo>
                      <a:lnTo>
                        <a:pt x="329" y="0"/>
                      </a:lnTo>
                      <a:lnTo>
                        <a:pt x="346" y="0"/>
                      </a:lnTo>
                      <a:lnTo>
                        <a:pt x="363" y="2"/>
                      </a:lnTo>
                      <a:lnTo>
                        <a:pt x="379" y="4"/>
                      </a:lnTo>
                      <a:lnTo>
                        <a:pt x="396" y="7"/>
                      </a:lnTo>
                      <a:lnTo>
                        <a:pt x="411" y="10"/>
                      </a:lnTo>
                      <a:lnTo>
                        <a:pt x="427" y="15"/>
                      </a:lnTo>
                      <a:lnTo>
                        <a:pt x="457" y="26"/>
                      </a:lnTo>
                      <a:lnTo>
                        <a:pt x="486" y="39"/>
                      </a:lnTo>
                      <a:lnTo>
                        <a:pt x="513" y="57"/>
                      </a:lnTo>
                      <a:lnTo>
                        <a:pt x="539" y="76"/>
                      </a:lnTo>
                      <a:lnTo>
                        <a:pt x="561" y="96"/>
                      </a:lnTo>
                      <a:lnTo>
                        <a:pt x="583" y="120"/>
                      </a:lnTo>
                      <a:lnTo>
                        <a:pt x="602" y="145"/>
                      </a:lnTo>
                      <a:lnTo>
                        <a:pt x="618" y="172"/>
                      </a:lnTo>
                      <a:lnTo>
                        <a:pt x="632" y="200"/>
                      </a:lnTo>
                      <a:lnTo>
                        <a:pt x="643" y="231"/>
                      </a:lnTo>
                      <a:lnTo>
                        <a:pt x="647" y="246"/>
                      </a:lnTo>
                      <a:lnTo>
                        <a:pt x="651" y="262"/>
                      </a:lnTo>
                      <a:lnTo>
                        <a:pt x="654" y="278"/>
                      </a:lnTo>
                      <a:lnTo>
                        <a:pt x="657" y="294"/>
                      </a:lnTo>
                      <a:lnTo>
                        <a:pt x="658" y="312"/>
                      </a:lnTo>
                      <a:lnTo>
                        <a:pt x="658" y="328"/>
                      </a:lnTo>
                      <a:lnTo>
                        <a:pt x="658" y="328"/>
                      </a:lnTo>
                      <a:lnTo>
                        <a:pt x="658" y="346"/>
                      </a:lnTo>
                      <a:lnTo>
                        <a:pt x="657" y="362"/>
                      </a:lnTo>
                      <a:lnTo>
                        <a:pt x="654" y="379"/>
                      </a:lnTo>
                      <a:lnTo>
                        <a:pt x="651" y="395"/>
                      </a:lnTo>
                      <a:lnTo>
                        <a:pt x="647" y="411"/>
                      </a:lnTo>
                      <a:lnTo>
                        <a:pt x="643" y="426"/>
                      </a:lnTo>
                      <a:lnTo>
                        <a:pt x="632" y="457"/>
                      </a:lnTo>
                      <a:lnTo>
                        <a:pt x="618" y="485"/>
                      </a:lnTo>
                      <a:lnTo>
                        <a:pt x="602" y="512"/>
                      </a:lnTo>
                      <a:lnTo>
                        <a:pt x="583" y="538"/>
                      </a:lnTo>
                      <a:lnTo>
                        <a:pt x="561" y="560"/>
                      </a:lnTo>
                      <a:lnTo>
                        <a:pt x="539" y="582"/>
                      </a:lnTo>
                      <a:lnTo>
                        <a:pt x="513" y="601"/>
                      </a:lnTo>
                      <a:lnTo>
                        <a:pt x="486" y="618"/>
                      </a:lnTo>
                      <a:lnTo>
                        <a:pt x="457" y="632"/>
                      </a:lnTo>
                      <a:lnTo>
                        <a:pt x="427" y="642"/>
                      </a:lnTo>
                      <a:lnTo>
                        <a:pt x="411" y="648"/>
                      </a:lnTo>
                      <a:lnTo>
                        <a:pt x="396" y="650"/>
                      </a:lnTo>
                      <a:lnTo>
                        <a:pt x="379" y="653"/>
                      </a:lnTo>
                      <a:lnTo>
                        <a:pt x="363" y="656"/>
                      </a:lnTo>
                      <a:lnTo>
                        <a:pt x="346" y="657"/>
                      </a:lnTo>
                      <a:lnTo>
                        <a:pt x="329" y="657"/>
                      </a:lnTo>
                      <a:lnTo>
                        <a:pt x="329" y="657"/>
                      </a:lnTo>
                      <a:close/>
                      <a:moveTo>
                        <a:pt x="329" y="38"/>
                      </a:moveTo>
                      <a:lnTo>
                        <a:pt x="329" y="38"/>
                      </a:lnTo>
                      <a:lnTo>
                        <a:pt x="300" y="39"/>
                      </a:lnTo>
                      <a:lnTo>
                        <a:pt x="271" y="43"/>
                      </a:lnTo>
                      <a:lnTo>
                        <a:pt x="243" y="50"/>
                      </a:lnTo>
                      <a:lnTo>
                        <a:pt x="216" y="61"/>
                      </a:lnTo>
                      <a:lnTo>
                        <a:pt x="191" y="73"/>
                      </a:lnTo>
                      <a:lnTo>
                        <a:pt x="167" y="88"/>
                      </a:lnTo>
                      <a:lnTo>
                        <a:pt x="144" y="104"/>
                      </a:lnTo>
                      <a:lnTo>
                        <a:pt x="124" y="123"/>
                      </a:lnTo>
                      <a:lnTo>
                        <a:pt x="105" y="144"/>
                      </a:lnTo>
                      <a:lnTo>
                        <a:pt x="89" y="166"/>
                      </a:lnTo>
                      <a:lnTo>
                        <a:pt x="74" y="190"/>
                      </a:lnTo>
                      <a:lnTo>
                        <a:pt x="62" y="215"/>
                      </a:lnTo>
                      <a:lnTo>
                        <a:pt x="51" y="242"/>
                      </a:lnTo>
                      <a:lnTo>
                        <a:pt x="44" y="270"/>
                      </a:lnTo>
                      <a:lnTo>
                        <a:pt x="40" y="298"/>
                      </a:lnTo>
                      <a:lnTo>
                        <a:pt x="38" y="328"/>
                      </a:lnTo>
                      <a:lnTo>
                        <a:pt x="38" y="328"/>
                      </a:lnTo>
                      <a:lnTo>
                        <a:pt x="40" y="359"/>
                      </a:lnTo>
                      <a:lnTo>
                        <a:pt x="44" y="387"/>
                      </a:lnTo>
                      <a:lnTo>
                        <a:pt x="51" y="415"/>
                      </a:lnTo>
                      <a:lnTo>
                        <a:pt x="62" y="442"/>
                      </a:lnTo>
                      <a:lnTo>
                        <a:pt x="74" y="468"/>
                      </a:lnTo>
                      <a:lnTo>
                        <a:pt x="89" y="492"/>
                      </a:lnTo>
                      <a:lnTo>
                        <a:pt x="105" y="513"/>
                      </a:lnTo>
                      <a:lnTo>
                        <a:pt x="124" y="535"/>
                      </a:lnTo>
                      <a:lnTo>
                        <a:pt x="144" y="554"/>
                      </a:lnTo>
                      <a:lnTo>
                        <a:pt x="167" y="570"/>
                      </a:lnTo>
                      <a:lnTo>
                        <a:pt x="191" y="585"/>
                      </a:lnTo>
                      <a:lnTo>
                        <a:pt x="216" y="597"/>
                      </a:lnTo>
                      <a:lnTo>
                        <a:pt x="243" y="606"/>
                      </a:lnTo>
                      <a:lnTo>
                        <a:pt x="271" y="614"/>
                      </a:lnTo>
                      <a:lnTo>
                        <a:pt x="300" y="618"/>
                      </a:lnTo>
                      <a:lnTo>
                        <a:pt x="329" y="619"/>
                      </a:lnTo>
                      <a:lnTo>
                        <a:pt x="329" y="619"/>
                      </a:lnTo>
                      <a:lnTo>
                        <a:pt x="359" y="618"/>
                      </a:lnTo>
                      <a:lnTo>
                        <a:pt x="388" y="614"/>
                      </a:lnTo>
                      <a:lnTo>
                        <a:pt x="416" y="606"/>
                      </a:lnTo>
                      <a:lnTo>
                        <a:pt x="443" y="597"/>
                      </a:lnTo>
                      <a:lnTo>
                        <a:pt x="467" y="585"/>
                      </a:lnTo>
                      <a:lnTo>
                        <a:pt x="492" y="570"/>
                      </a:lnTo>
                      <a:lnTo>
                        <a:pt x="514" y="554"/>
                      </a:lnTo>
                      <a:lnTo>
                        <a:pt x="534" y="535"/>
                      </a:lnTo>
                      <a:lnTo>
                        <a:pt x="553" y="513"/>
                      </a:lnTo>
                      <a:lnTo>
                        <a:pt x="571" y="492"/>
                      </a:lnTo>
                      <a:lnTo>
                        <a:pt x="585" y="468"/>
                      </a:lnTo>
                      <a:lnTo>
                        <a:pt x="598" y="442"/>
                      </a:lnTo>
                      <a:lnTo>
                        <a:pt x="607" y="415"/>
                      </a:lnTo>
                      <a:lnTo>
                        <a:pt x="615" y="387"/>
                      </a:lnTo>
                      <a:lnTo>
                        <a:pt x="619" y="359"/>
                      </a:lnTo>
                      <a:lnTo>
                        <a:pt x="620" y="328"/>
                      </a:lnTo>
                      <a:lnTo>
                        <a:pt x="620" y="328"/>
                      </a:lnTo>
                      <a:lnTo>
                        <a:pt x="619" y="298"/>
                      </a:lnTo>
                      <a:lnTo>
                        <a:pt x="615" y="270"/>
                      </a:lnTo>
                      <a:lnTo>
                        <a:pt x="607" y="242"/>
                      </a:lnTo>
                      <a:lnTo>
                        <a:pt x="598" y="215"/>
                      </a:lnTo>
                      <a:lnTo>
                        <a:pt x="585" y="190"/>
                      </a:lnTo>
                      <a:lnTo>
                        <a:pt x="571" y="166"/>
                      </a:lnTo>
                      <a:lnTo>
                        <a:pt x="553" y="144"/>
                      </a:lnTo>
                      <a:lnTo>
                        <a:pt x="534" y="123"/>
                      </a:lnTo>
                      <a:lnTo>
                        <a:pt x="514" y="104"/>
                      </a:lnTo>
                      <a:lnTo>
                        <a:pt x="492" y="88"/>
                      </a:lnTo>
                      <a:lnTo>
                        <a:pt x="467" y="73"/>
                      </a:lnTo>
                      <a:lnTo>
                        <a:pt x="443" y="61"/>
                      </a:lnTo>
                      <a:lnTo>
                        <a:pt x="416" y="50"/>
                      </a:lnTo>
                      <a:lnTo>
                        <a:pt x="388" y="43"/>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1" name="Freeform 265">
                  <a:extLst>
                    <a:ext uri="{FF2B5EF4-FFF2-40B4-BE49-F238E27FC236}">
                      <a16:creationId xmlns:a16="http://schemas.microsoft.com/office/drawing/2014/main" id="{4372E247-D6DB-423F-BE8A-1E31822558C1}"/>
                    </a:ext>
                  </a:extLst>
                </p:cNvPr>
                <p:cNvSpPr>
                  <a:spLocks/>
                </p:cNvSpPr>
                <p:nvPr/>
              </p:nvSpPr>
              <p:spPr bwMode="auto">
                <a:xfrm>
                  <a:off x="890588" y="1998663"/>
                  <a:ext cx="57150" cy="57150"/>
                </a:xfrm>
                <a:custGeom>
                  <a:avLst/>
                  <a:gdLst>
                    <a:gd name="T0" fmla="*/ 61 w 71"/>
                    <a:gd name="T1" fmla="*/ 0 h 71"/>
                    <a:gd name="T2" fmla="*/ 0 w 71"/>
                    <a:gd name="T3" fmla="*/ 60 h 71"/>
                    <a:gd name="T4" fmla="*/ 65 w 71"/>
                    <a:gd name="T5" fmla="*/ 71 h 71"/>
                    <a:gd name="T6" fmla="*/ 65 w 71"/>
                    <a:gd name="T7" fmla="*/ 71 h 71"/>
                    <a:gd name="T8" fmla="*/ 66 w 71"/>
                    <a:gd name="T9" fmla="*/ 71 h 71"/>
                    <a:gd name="T10" fmla="*/ 66 w 71"/>
                    <a:gd name="T11" fmla="*/ 71 h 71"/>
                    <a:gd name="T12" fmla="*/ 66 w 71"/>
                    <a:gd name="T13" fmla="*/ 71 h 71"/>
                    <a:gd name="T14" fmla="*/ 66 w 71"/>
                    <a:gd name="T15" fmla="*/ 71 h 71"/>
                    <a:gd name="T16" fmla="*/ 67 w 71"/>
                    <a:gd name="T17" fmla="*/ 71 h 71"/>
                    <a:gd name="T18" fmla="*/ 70 w 71"/>
                    <a:gd name="T19" fmla="*/ 69 h 71"/>
                    <a:gd name="T20" fmla="*/ 71 w 71"/>
                    <a:gd name="T21" fmla="*/ 67 h 71"/>
                    <a:gd name="T22" fmla="*/ 71 w 71"/>
                    <a:gd name="T23" fmla="*/ 65 h 71"/>
                    <a:gd name="T24" fmla="*/ 71 w 71"/>
                    <a:gd name="T25" fmla="*/ 65 h 71"/>
                    <a:gd name="T26" fmla="*/ 71 w 71"/>
                    <a:gd name="T27" fmla="*/ 63 h 71"/>
                    <a:gd name="T28" fmla="*/ 61 w 71"/>
                    <a:gd name="T2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1" h="71">
                      <a:moveTo>
                        <a:pt x="61" y="0"/>
                      </a:moveTo>
                      <a:lnTo>
                        <a:pt x="0" y="60"/>
                      </a:lnTo>
                      <a:lnTo>
                        <a:pt x="65" y="71"/>
                      </a:lnTo>
                      <a:lnTo>
                        <a:pt x="65" y="71"/>
                      </a:lnTo>
                      <a:lnTo>
                        <a:pt x="66" y="71"/>
                      </a:lnTo>
                      <a:lnTo>
                        <a:pt x="66" y="71"/>
                      </a:lnTo>
                      <a:lnTo>
                        <a:pt x="66" y="71"/>
                      </a:lnTo>
                      <a:lnTo>
                        <a:pt x="66" y="71"/>
                      </a:lnTo>
                      <a:lnTo>
                        <a:pt x="67" y="71"/>
                      </a:lnTo>
                      <a:lnTo>
                        <a:pt x="70" y="69"/>
                      </a:lnTo>
                      <a:lnTo>
                        <a:pt x="71" y="67"/>
                      </a:lnTo>
                      <a:lnTo>
                        <a:pt x="71" y="65"/>
                      </a:lnTo>
                      <a:lnTo>
                        <a:pt x="71" y="65"/>
                      </a:lnTo>
                      <a:lnTo>
                        <a:pt x="71" y="63"/>
                      </a:lnTo>
                      <a:lnTo>
                        <a:pt x="6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2" name="Freeform 266">
                  <a:extLst>
                    <a:ext uri="{FF2B5EF4-FFF2-40B4-BE49-F238E27FC236}">
                      <a16:creationId xmlns:a16="http://schemas.microsoft.com/office/drawing/2014/main" id="{C00F9A07-CD93-42C2-B6D3-3125F492FE7C}"/>
                    </a:ext>
                  </a:extLst>
                </p:cNvPr>
                <p:cNvSpPr>
                  <a:spLocks/>
                </p:cNvSpPr>
                <p:nvPr/>
              </p:nvSpPr>
              <p:spPr bwMode="auto">
                <a:xfrm>
                  <a:off x="688976" y="1797050"/>
                  <a:ext cx="74613" cy="74613"/>
                </a:xfrm>
                <a:custGeom>
                  <a:avLst/>
                  <a:gdLst>
                    <a:gd name="T0" fmla="*/ 96 w 96"/>
                    <a:gd name="T1" fmla="*/ 31 h 96"/>
                    <a:gd name="T2" fmla="*/ 66 w 96"/>
                    <a:gd name="T3" fmla="*/ 2 h 96"/>
                    <a:gd name="T4" fmla="*/ 66 w 96"/>
                    <a:gd name="T5" fmla="*/ 2 h 96"/>
                    <a:gd name="T6" fmla="*/ 63 w 96"/>
                    <a:gd name="T7" fmla="*/ 0 h 96"/>
                    <a:gd name="T8" fmla="*/ 62 w 96"/>
                    <a:gd name="T9" fmla="*/ 0 h 96"/>
                    <a:gd name="T10" fmla="*/ 59 w 96"/>
                    <a:gd name="T11" fmla="*/ 0 h 96"/>
                    <a:gd name="T12" fmla="*/ 58 w 96"/>
                    <a:gd name="T13" fmla="*/ 2 h 96"/>
                    <a:gd name="T14" fmla="*/ 2 w 96"/>
                    <a:gd name="T15" fmla="*/ 58 h 96"/>
                    <a:gd name="T16" fmla="*/ 2 w 96"/>
                    <a:gd name="T17" fmla="*/ 58 h 96"/>
                    <a:gd name="T18" fmla="*/ 0 w 96"/>
                    <a:gd name="T19" fmla="*/ 60 h 96"/>
                    <a:gd name="T20" fmla="*/ 0 w 96"/>
                    <a:gd name="T21" fmla="*/ 62 h 96"/>
                    <a:gd name="T22" fmla="*/ 0 w 96"/>
                    <a:gd name="T23" fmla="*/ 65 h 96"/>
                    <a:gd name="T24" fmla="*/ 2 w 96"/>
                    <a:gd name="T25" fmla="*/ 66 h 96"/>
                    <a:gd name="T26" fmla="*/ 31 w 96"/>
                    <a:gd name="T27" fmla="*/ 96 h 96"/>
                    <a:gd name="T28" fmla="*/ 96 w 96"/>
                    <a:gd name="T29" fmla="*/ 3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96">
                      <a:moveTo>
                        <a:pt x="96" y="31"/>
                      </a:moveTo>
                      <a:lnTo>
                        <a:pt x="66" y="2"/>
                      </a:lnTo>
                      <a:lnTo>
                        <a:pt x="66" y="2"/>
                      </a:lnTo>
                      <a:lnTo>
                        <a:pt x="63" y="0"/>
                      </a:lnTo>
                      <a:lnTo>
                        <a:pt x="62" y="0"/>
                      </a:lnTo>
                      <a:lnTo>
                        <a:pt x="59" y="0"/>
                      </a:lnTo>
                      <a:lnTo>
                        <a:pt x="58" y="2"/>
                      </a:lnTo>
                      <a:lnTo>
                        <a:pt x="2" y="58"/>
                      </a:lnTo>
                      <a:lnTo>
                        <a:pt x="2" y="58"/>
                      </a:lnTo>
                      <a:lnTo>
                        <a:pt x="0" y="60"/>
                      </a:lnTo>
                      <a:lnTo>
                        <a:pt x="0" y="62"/>
                      </a:lnTo>
                      <a:lnTo>
                        <a:pt x="0" y="65"/>
                      </a:lnTo>
                      <a:lnTo>
                        <a:pt x="2" y="66"/>
                      </a:lnTo>
                      <a:lnTo>
                        <a:pt x="31" y="96"/>
                      </a:lnTo>
                      <a:lnTo>
                        <a:pt x="9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3" name="Freeform 267">
                  <a:extLst>
                    <a:ext uri="{FF2B5EF4-FFF2-40B4-BE49-F238E27FC236}">
                      <a16:creationId xmlns:a16="http://schemas.microsoft.com/office/drawing/2014/main" id="{3F6DD257-2DD8-47A5-A496-7EA34031BFD1}"/>
                    </a:ext>
                  </a:extLst>
                </p:cNvPr>
                <p:cNvSpPr>
                  <a:spLocks noEditPoints="1"/>
                </p:cNvSpPr>
                <p:nvPr/>
              </p:nvSpPr>
              <p:spPr bwMode="auto">
                <a:xfrm>
                  <a:off x="688976" y="1797050"/>
                  <a:ext cx="258763" cy="258763"/>
                </a:xfrm>
                <a:custGeom>
                  <a:avLst/>
                  <a:gdLst>
                    <a:gd name="T0" fmla="*/ 257 w 326"/>
                    <a:gd name="T1" fmla="*/ 2 h 327"/>
                    <a:gd name="T2" fmla="*/ 255 w 326"/>
                    <a:gd name="T3" fmla="*/ 0 h 327"/>
                    <a:gd name="T4" fmla="*/ 251 w 326"/>
                    <a:gd name="T5" fmla="*/ 0 h 327"/>
                    <a:gd name="T6" fmla="*/ 198 w 326"/>
                    <a:gd name="T7" fmla="*/ 54 h 327"/>
                    <a:gd name="T8" fmla="*/ 218 w 326"/>
                    <a:gd name="T9" fmla="*/ 76 h 327"/>
                    <a:gd name="T10" fmla="*/ 219 w 326"/>
                    <a:gd name="T11" fmla="*/ 80 h 327"/>
                    <a:gd name="T12" fmla="*/ 218 w 326"/>
                    <a:gd name="T13" fmla="*/ 82 h 327"/>
                    <a:gd name="T14" fmla="*/ 216 w 326"/>
                    <a:gd name="T15" fmla="*/ 84 h 327"/>
                    <a:gd name="T16" fmla="*/ 212 w 326"/>
                    <a:gd name="T17" fmla="*/ 84 h 327"/>
                    <a:gd name="T18" fmla="*/ 189 w 326"/>
                    <a:gd name="T19" fmla="*/ 62 h 327"/>
                    <a:gd name="T20" fmla="*/ 173 w 326"/>
                    <a:gd name="T21" fmla="*/ 97 h 327"/>
                    <a:gd name="T22" fmla="*/ 173 w 326"/>
                    <a:gd name="T23" fmla="*/ 100 h 327"/>
                    <a:gd name="T24" fmla="*/ 173 w 326"/>
                    <a:gd name="T25" fmla="*/ 104 h 327"/>
                    <a:gd name="T26" fmla="*/ 173 w 326"/>
                    <a:gd name="T27" fmla="*/ 105 h 327"/>
                    <a:gd name="T28" fmla="*/ 169 w 326"/>
                    <a:gd name="T29" fmla="*/ 107 h 327"/>
                    <a:gd name="T30" fmla="*/ 165 w 326"/>
                    <a:gd name="T31" fmla="*/ 105 h 327"/>
                    <a:gd name="T32" fmla="*/ 129 w 326"/>
                    <a:gd name="T33" fmla="*/ 121 h 327"/>
                    <a:gd name="T34" fmla="*/ 151 w 326"/>
                    <a:gd name="T35" fmla="*/ 143 h 327"/>
                    <a:gd name="T36" fmla="*/ 152 w 326"/>
                    <a:gd name="T37" fmla="*/ 147 h 327"/>
                    <a:gd name="T38" fmla="*/ 151 w 326"/>
                    <a:gd name="T39" fmla="*/ 151 h 327"/>
                    <a:gd name="T40" fmla="*/ 148 w 326"/>
                    <a:gd name="T41" fmla="*/ 152 h 327"/>
                    <a:gd name="T42" fmla="*/ 144 w 326"/>
                    <a:gd name="T43" fmla="*/ 152 h 327"/>
                    <a:gd name="T44" fmla="*/ 121 w 326"/>
                    <a:gd name="T45" fmla="*/ 129 h 327"/>
                    <a:gd name="T46" fmla="*/ 105 w 326"/>
                    <a:gd name="T47" fmla="*/ 166 h 327"/>
                    <a:gd name="T48" fmla="*/ 106 w 326"/>
                    <a:gd name="T49" fmla="*/ 167 h 327"/>
                    <a:gd name="T50" fmla="*/ 106 w 326"/>
                    <a:gd name="T51" fmla="*/ 171 h 327"/>
                    <a:gd name="T52" fmla="*/ 105 w 326"/>
                    <a:gd name="T53" fmla="*/ 174 h 327"/>
                    <a:gd name="T54" fmla="*/ 101 w 326"/>
                    <a:gd name="T55" fmla="*/ 175 h 327"/>
                    <a:gd name="T56" fmla="*/ 97 w 326"/>
                    <a:gd name="T57" fmla="*/ 174 h 327"/>
                    <a:gd name="T58" fmla="*/ 62 w 326"/>
                    <a:gd name="T59" fmla="*/ 190 h 327"/>
                    <a:gd name="T60" fmla="*/ 82 w 326"/>
                    <a:gd name="T61" fmla="*/ 210 h 327"/>
                    <a:gd name="T62" fmla="*/ 85 w 326"/>
                    <a:gd name="T63" fmla="*/ 214 h 327"/>
                    <a:gd name="T64" fmla="*/ 82 w 326"/>
                    <a:gd name="T65" fmla="*/ 218 h 327"/>
                    <a:gd name="T66" fmla="*/ 81 w 326"/>
                    <a:gd name="T67" fmla="*/ 219 h 327"/>
                    <a:gd name="T68" fmla="*/ 77 w 326"/>
                    <a:gd name="T69" fmla="*/ 219 h 327"/>
                    <a:gd name="T70" fmla="*/ 54 w 326"/>
                    <a:gd name="T71" fmla="*/ 198 h 327"/>
                    <a:gd name="T72" fmla="*/ 2 w 326"/>
                    <a:gd name="T73" fmla="*/ 250 h 327"/>
                    <a:gd name="T74" fmla="*/ 0 w 326"/>
                    <a:gd name="T75" fmla="*/ 254 h 327"/>
                    <a:gd name="T76" fmla="*/ 2 w 326"/>
                    <a:gd name="T77" fmla="*/ 257 h 327"/>
                    <a:gd name="T78" fmla="*/ 69 w 326"/>
                    <a:gd name="T79" fmla="*/ 325 h 327"/>
                    <a:gd name="T80" fmla="*/ 73 w 326"/>
                    <a:gd name="T81" fmla="*/ 327 h 327"/>
                    <a:gd name="T82" fmla="*/ 75 w 326"/>
                    <a:gd name="T83" fmla="*/ 327 h 327"/>
                    <a:gd name="T84" fmla="*/ 325 w 326"/>
                    <a:gd name="T85" fmla="*/ 77 h 327"/>
                    <a:gd name="T86" fmla="*/ 326 w 326"/>
                    <a:gd name="T87" fmla="*/ 76 h 327"/>
                    <a:gd name="T88" fmla="*/ 326 w 326"/>
                    <a:gd name="T89" fmla="*/ 72 h 327"/>
                    <a:gd name="T90" fmla="*/ 325 w 326"/>
                    <a:gd name="T91" fmla="*/ 69 h 327"/>
                    <a:gd name="T92" fmla="*/ 267 w 326"/>
                    <a:gd name="T93" fmla="*/ 96 h 327"/>
                    <a:gd name="T94" fmla="*/ 258 w 326"/>
                    <a:gd name="T95" fmla="*/ 92 h 327"/>
                    <a:gd name="T96" fmla="*/ 253 w 326"/>
                    <a:gd name="T97" fmla="*/ 82 h 327"/>
                    <a:gd name="T98" fmla="*/ 254 w 326"/>
                    <a:gd name="T99" fmla="*/ 77 h 327"/>
                    <a:gd name="T100" fmla="*/ 262 w 326"/>
                    <a:gd name="T101" fmla="*/ 69 h 327"/>
                    <a:gd name="T102" fmla="*/ 267 w 326"/>
                    <a:gd name="T103" fmla="*/ 68 h 327"/>
                    <a:gd name="T104" fmla="*/ 277 w 326"/>
                    <a:gd name="T105" fmla="*/ 72 h 327"/>
                    <a:gd name="T106" fmla="*/ 281 w 326"/>
                    <a:gd name="T107" fmla="*/ 82 h 327"/>
                    <a:gd name="T108" fmla="*/ 281 w 326"/>
                    <a:gd name="T109" fmla="*/ 88 h 327"/>
                    <a:gd name="T110" fmla="*/ 273 w 326"/>
                    <a:gd name="T111" fmla="*/ 94 h 327"/>
                    <a:gd name="T112" fmla="*/ 267 w 326"/>
                    <a:gd name="T113" fmla="*/ 9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6" h="327">
                      <a:moveTo>
                        <a:pt x="325" y="69"/>
                      </a:moveTo>
                      <a:lnTo>
                        <a:pt x="257" y="2"/>
                      </a:lnTo>
                      <a:lnTo>
                        <a:pt x="257" y="2"/>
                      </a:lnTo>
                      <a:lnTo>
                        <a:pt x="255" y="0"/>
                      </a:lnTo>
                      <a:lnTo>
                        <a:pt x="253" y="0"/>
                      </a:lnTo>
                      <a:lnTo>
                        <a:pt x="251" y="0"/>
                      </a:lnTo>
                      <a:lnTo>
                        <a:pt x="249" y="2"/>
                      </a:lnTo>
                      <a:lnTo>
                        <a:pt x="198" y="54"/>
                      </a:lnTo>
                      <a:lnTo>
                        <a:pt x="218" y="76"/>
                      </a:lnTo>
                      <a:lnTo>
                        <a:pt x="218" y="76"/>
                      </a:lnTo>
                      <a:lnTo>
                        <a:pt x="219" y="77"/>
                      </a:lnTo>
                      <a:lnTo>
                        <a:pt x="219" y="80"/>
                      </a:lnTo>
                      <a:lnTo>
                        <a:pt x="219" y="81"/>
                      </a:lnTo>
                      <a:lnTo>
                        <a:pt x="218" y="82"/>
                      </a:lnTo>
                      <a:lnTo>
                        <a:pt x="218" y="82"/>
                      </a:lnTo>
                      <a:lnTo>
                        <a:pt x="216" y="84"/>
                      </a:lnTo>
                      <a:lnTo>
                        <a:pt x="214" y="85"/>
                      </a:lnTo>
                      <a:lnTo>
                        <a:pt x="212" y="84"/>
                      </a:lnTo>
                      <a:lnTo>
                        <a:pt x="210" y="82"/>
                      </a:lnTo>
                      <a:lnTo>
                        <a:pt x="189" y="62"/>
                      </a:lnTo>
                      <a:lnTo>
                        <a:pt x="163" y="88"/>
                      </a:lnTo>
                      <a:lnTo>
                        <a:pt x="173" y="97"/>
                      </a:lnTo>
                      <a:lnTo>
                        <a:pt x="173" y="97"/>
                      </a:lnTo>
                      <a:lnTo>
                        <a:pt x="173" y="100"/>
                      </a:lnTo>
                      <a:lnTo>
                        <a:pt x="175" y="101"/>
                      </a:lnTo>
                      <a:lnTo>
                        <a:pt x="173" y="104"/>
                      </a:lnTo>
                      <a:lnTo>
                        <a:pt x="173" y="105"/>
                      </a:lnTo>
                      <a:lnTo>
                        <a:pt x="173" y="105"/>
                      </a:lnTo>
                      <a:lnTo>
                        <a:pt x="171" y="107"/>
                      </a:lnTo>
                      <a:lnTo>
                        <a:pt x="169" y="107"/>
                      </a:lnTo>
                      <a:lnTo>
                        <a:pt x="167" y="107"/>
                      </a:lnTo>
                      <a:lnTo>
                        <a:pt x="165" y="105"/>
                      </a:lnTo>
                      <a:lnTo>
                        <a:pt x="155" y="96"/>
                      </a:lnTo>
                      <a:lnTo>
                        <a:pt x="129" y="121"/>
                      </a:lnTo>
                      <a:lnTo>
                        <a:pt x="151" y="143"/>
                      </a:lnTo>
                      <a:lnTo>
                        <a:pt x="151" y="143"/>
                      </a:lnTo>
                      <a:lnTo>
                        <a:pt x="152" y="144"/>
                      </a:lnTo>
                      <a:lnTo>
                        <a:pt x="152" y="147"/>
                      </a:lnTo>
                      <a:lnTo>
                        <a:pt x="152" y="148"/>
                      </a:lnTo>
                      <a:lnTo>
                        <a:pt x="151" y="151"/>
                      </a:lnTo>
                      <a:lnTo>
                        <a:pt x="151" y="151"/>
                      </a:lnTo>
                      <a:lnTo>
                        <a:pt x="148" y="152"/>
                      </a:lnTo>
                      <a:lnTo>
                        <a:pt x="147" y="152"/>
                      </a:lnTo>
                      <a:lnTo>
                        <a:pt x="144" y="152"/>
                      </a:lnTo>
                      <a:lnTo>
                        <a:pt x="143" y="151"/>
                      </a:lnTo>
                      <a:lnTo>
                        <a:pt x="121" y="129"/>
                      </a:lnTo>
                      <a:lnTo>
                        <a:pt x="96" y="155"/>
                      </a:lnTo>
                      <a:lnTo>
                        <a:pt x="105" y="166"/>
                      </a:lnTo>
                      <a:lnTo>
                        <a:pt x="105" y="166"/>
                      </a:lnTo>
                      <a:lnTo>
                        <a:pt x="106" y="167"/>
                      </a:lnTo>
                      <a:lnTo>
                        <a:pt x="106" y="170"/>
                      </a:lnTo>
                      <a:lnTo>
                        <a:pt x="106" y="171"/>
                      </a:lnTo>
                      <a:lnTo>
                        <a:pt x="105" y="174"/>
                      </a:lnTo>
                      <a:lnTo>
                        <a:pt x="105" y="174"/>
                      </a:lnTo>
                      <a:lnTo>
                        <a:pt x="104" y="174"/>
                      </a:lnTo>
                      <a:lnTo>
                        <a:pt x="101" y="175"/>
                      </a:lnTo>
                      <a:lnTo>
                        <a:pt x="100" y="174"/>
                      </a:lnTo>
                      <a:lnTo>
                        <a:pt x="97" y="174"/>
                      </a:lnTo>
                      <a:lnTo>
                        <a:pt x="87" y="163"/>
                      </a:lnTo>
                      <a:lnTo>
                        <a:pt x="62" y="190"/>
                      </a:lnTo>
                      <a:lnTo>
                        <a:pt x="82" y="210"/>
                      </a:lnTo>
                      <a:lnTo>
                        <a:pt x="82" y="210"/>
                      </a:lnTo>
                      <a:lnTo>
                        <a:pt x="83" y="213"/>
                      </a:lnTo>
                      <a:lnTo>
                        <a:pt x="85" y="214"/>
                      </a:lnTo>
                      <a:lnTo>
                        <a:pt x="83" y="217"/>
                      </a:lnTo>
                      <a:lnTo>
                        <a:pt x="82" y="218"/>
                      </a:lnTo>
                      <a:lnTo>
                        <a:pt x="82" y="218"/>
                      </a:lnTo>
                      <a:lnTo>
                        <a:pt x="81" y="219"/>
                      </a:lnTo>
                      <a:lnTo>
                        <a:pt x="78" y="219"/>
                      </a:lnTo>
                      <a:lnTo>
                        <a:pt x="77" y="219"/>
                      </a:lnTo>
                      <a:lnTo>
                        <a:pt x="75" y="218"/>
                      </a:lnTo>
                      <a:lnTo>
                        <a:pt x="54" y="198"/>
                      </a:lnTo>
                      <a:lnTo>
                        <a:pt x="2" y="250"/>
                      </a:lnTo>
                      <a:lnTo>
                        <a:pt x="2" y="250"/>
                      </a:lnTo>
                      <a:lnTo>
                        <a:pt x="0" y="252"/>
                      </a:lnTo>
                      <a:lnTo>
                        <a:pt x="0" y="254"/>
                      </a:lnTo>
                      <a:lnTo>
                        <a:pt x="0" y="256"/>
                      </a:lnTo>
                      <a:lnTo>
                        <a:pt x="2" y="257"/>
                      </a:lnTo>
                      <a:lnTo>
                        <a:pt x="69" y="325"/>
                      </a:lnTo>
                      <a:lnTo>
                        <a:pt x="69" y="325"/>
                      </a:lnTo>
                      <a:lnTo>
                        <a:pt x="71" y="327"/>
                      </a:lnTo>
                      <a:lnTo>
                        <a:pt x="73" y="327"/>
                      </a:lnTo>
                      <a:lnTo>
                        <a:pt x="73" y="327"/>
                      </a:lnTo>
                      <a:lnTo>
                        <a:pt x="75" y="327"/>
                      </a:lnTo>
                      <a:lnTo>
                        <a:pt x="77" y="325"/>
                      </a:lnTo>
                      <a:lnTo>
                        <a:pt x="325" y="77"/>
                      </a:lnTo>
                      <a:lnTo>
                        <a:pt x="325" y="77"/>
                      </a:lnTo>
                      <a:lnTo>
                        <a:pt x="326" y="76"/>
                      </a:lnTo>
                      <a:lnTo>
                        <a:pt x="326" y="73"/>
                      </a:lnTo>
                      <a:lnTo>
                        <a:pt x="326" y="72"/>
                      </a:lnTo>
                      <a:lnTo>
                        <a:pt x="325" y="69"/>
                      </a:lnTo>
                      <a:lnTo>
                        <a:pt x="325" y="69"/>
                      </a:lnTo>
                      <a:close/>
                      <a:moveTo>
                        <a:pt x="267" y="96"/>
                      </a:moveTo>
                      <a:lnTo>
                        <a:pt x="267" y="96"/>
                      </a:lnTo>
                      <a:lnTo>
                        <a:pt x="262" y="94"/>
                      </a:lnTo>
                      <a:lnTo>
                        <a:pt x="258" y="92"/>
                      </a:lnTo>
                      <a:lnTo>
                        <a:pt x="254" y="88"/>
                      </a:lnTo>
                      <a:lnTo>
                        <a:pt x="253" y="82"/>
                      </a:lnTo>
                      <a:lnTo>
                        <a:pt x="253" y="82"/>
                      </a:lnTo>
                      <a:lnTo>
                        <a:pt x="254" y="77"/>
                      </a:lnTo>
                      <a:lnTo>
                        <a:pt x="258" y="72"/>
                      </a:lnTo>
                      <a:lnTo>
                        <a:pt x="262" y="69"/>
                      </a:lnTo>
                      <a:lnTo>
                        <a:pt x="267" y="68"/>
                      </a:lnTo>
                      <a:lnTo>
                        <a:pt x="267" y="68"/>
                      </a:lnTo>
                      <a:lnTo>
                        <a:pt x="273" y="69"/>
                      </a:lnTo>
                      <a:lnTo>
                        <a:pt x="277" y="72"/>
                      </a:lnTo>
                      <a:lnTo>
                        <a:pt x="281" y="77"/>
                      </a:lnTo>
                      <a:lnTo>
                        <a:pt x="281" y="82"/>
                      </a:lnTo>
                      <a:lnTo>
                        <a:pt x="281" y="82"/>
                      </a:lnTo>
                      <a:lnTo>
                        <a:pt x="281" y="88"/>
                      </a:lnTo>
                      <a:lnTo>
                        <a:pt x="277" y="92"/>
                      </a:lnTo>
                      <a:lnTo>
                        <a:pt x="273" y="94"/>
                      </a:lnTo>
                      <a:lnTo>
                        <a:pt x="267" y="96"/>
                      </a:lnTo>
                      <a:lnTo>
                        <a:pt x="267"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4" name="Freeform 268">
                  <a:extLst>
                    <a:ext uri="{FF2B5EF4-FFF2-40B4-BE49-F238E27FC236}">
                      <a16:creationId xmlns:a16="http://schemas.microsoft.com/office/drawing/2014/main" id="{4CA5322A-CAC4-4347-B6CC-E2C09451E1E5}"/>
                    </a:ext>
                  </a:extLst>
                </p:cNvPr>
                <p:cNvSpPr>
                  <a:spLocks/>
                </p:cNvSpPr>
                <p:nvPr/>
              </p:nvSpPr>
              <p:spPr bwMode="auto">
                <a:xfrm>
                  <a:off x="828676" y="1936750"/>
                  <a:ext cx="104775" cy="104775"/>
                </a:xfrm>
                <a:custGeom>
                  <a:avLst/>
                  <a:gdLst>
                    <a:gd name="T0" fmla="*/ 0 w 133"/>
                    <a:gd name="T1" fmla="*/ 63 h 131"/>
                    <a:gd name="T2" fmla="*/ 65 w 133"/>
                    <a:gd name="T3" fmla="*/ 0 h 131"/>
                    <a:gd name="T4" fmla="*/ 133 w 133"/>
                    <a:gd name="T5" fmla="*/ 68 h 131"/>
                    <a:gd name="T6" fmla="*/ 69 w 133"/>
                    <a:gd name="T7" fmla="*/ 131 h 131"/>
                    <a:gd name="T8" fmla="*/ 0 w 133"/>
                    <a:gd name="T9" fmla="*/ 63 h 131"/>
                  </a:gdLst>
                  <a:ahLst/>
                  <a:cxnLst>
                    <a:cxn ang="0">
                      <a:pos x="T0" y="T1"/>
                    </a:cxn>
                    <a:cxn ang="0">
                      <a:pos x="T2" y="T3"/>
                    </a:cxn>
                    <a:cxn ang="0">
                      <a:pos x="T4" y="T5"/>
                    </a:cxn>
                    <a:cxn ang="0">
                      <a:pos x="T6" y="T7"/>
                    </a:cxn>
                    <a:cxn ang="0">
                      <a:pos x="T8" y="T9"/>
                    </a:cxn>
                  </a:cxnLst>
                  <a:rect l="0" t="0" r="r" b="b"/>
                  <a:pathLst>
                    <a:path w="133" h="131">
                      <a:moveTo>
                        <a:pt x="0" y="63"/>
                      </a:moveTo>
                      <a:lnTo>
                        <a:pt x="65" y="0"/>
                      </a:lnTo>
                      <a:lnTo>
                        <a:pt x="133" y="68"/>
                      </a:lnTo>
                      <a:lnTo>
                        <a:pt x="69" y="131"/>
                      </a:lnTo>
                      <a:lnTo>
                        <a:pt x="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5" name="Freeform 269">
                  <a:extLst>
                    <a:ext uri="{FF2B5EF4-FFF2-40B4-BE49-F238E27FC236}">
                      <a16:creationId xmlns:a16="http://schemas.microsoft.com/office/drawing/2014/main" id="{15D271F4-E980-493C-BD7D-2706F19A85DE}"/>
                    </a:ext>
                  </a:extLst>
                </p:cNvPr>
                <p:cNvSpPr>
                  <a:spLocks/>
                </p:cNvSpPr>
                <p:nvPr/>
              </p:nvSpPr>
              <p:spPr bwMode="auto">
                <a:xfrm>
                  <a:off x="719138" y="1827213"/>
                  <a:ext cx="87313" cy="87313"/>
                </a:xfrm>
                <a:custGeom>
                  <a:avLst/>
                  <a:gdLst>
                    <a:gd name="T0" fmla="*/ 0 w 110"/>
                    <a:gd name="T1" fmla="*/ 65 h 111"/>
                    <a:gd name="T2" fmla="*/ 65 w 110"/>
                    <a:gd name="T3" fmla="*/ 0 h 111"/>
                    <a:gd name="T4" fmla="*/ 110 w 110"/>
                    <a:gd name="T5" fmla="*/ 46 h 111"/>
                    <a:gd name="T6" fmla="*/ 46 w 110"/>
                    <a:gd name="T7" fmla="*/ 111 h 111"/>
                    <a:gd name="T8" fmla="*/ 0 w 110"/>
                    <a:gd name="T9" fmla="*/ 65 h 111"/>
                  </a:gdLst>
                  <a:ahLst/>
                  <a:cxnLst>
                    <a:cxn ang="0">
                      <a:pos x="T0" y="T1"/>
                    </a:cxn>
                    <a:cxn ang="0">
                      <a:pos x="T2" y="T3"/>
                    </a:cxn>
                    <a:cxn ang="0">
                      <a:pos x="T4" y="T5"/>
                    </a:cxn>
                    <a:cxn ang="0">
                      <a:pos x="T6" y="T7"/>
                    </a:cxn>
                    <a:cxn ang="0">
                      <a:pos x="T8" y="T9"/>
                    </a:cxn>
                  </a:cxnLst>
                  <a:rect l="0" t="0" r="r" b="b"/>
                  <a:pathLst>
                    <a:path w="110" h="111">
                      <a:moveTo>
                        <a:pt x="0" y="65"/>
                      </a:moveTo>
                      <a:lnTo>
                        <a:pt x="65" y="0"/>
                      </a:lnTo>
                      <a:lnTo>
                        <a:pt x="110" y="46"/>
                      </a:lnTo>
                      <a:lnTo>
                        <a:pt x="46" y="111"/>
                      </a:lnTo>
                      <a:lnTo>
                        <a:pt x="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61" name="Group 60">
              <a:extLst>
                <a:ext uri="{FF2B5EF4-FFF2-40B4-BE49-F238E27FC236}">
                  <a16:creationId xmlns:a16="http://schemas.microsoft.com/office/drawing/2014/main" id="{3EEE7F22-02CE-4F33-B0F8-48E1829EF4A0}"/>
                </a:ext>
              </a:extLst>
            </p:cNvPr>
            <p:cNvGrpSpPr/>
            <p:nvPr/>
          </p:nvGrpSpPr>
          <p:grpSpPr>
            <a:xfrm>
              <a:off x="6089806" y="591836"/>
              <a:ext cx="374570" cy="374570"/>
              <a:chOff x="7491774" y="856026"/>
              <a:chExt cx="521208" cy="521208"/>
            </a:xfrm>
          </p:grpSpPr>
          <p:sp>
            <p:nvSpPr>
              <p:cNvPr id="79" name="Oval 78">
                <a:extLst>
                  <a:ext uri="{FF2B5EF4-FFF2-40B4-BE49-F238E27FC236}">
                    <a16:creationId xmlns:a16="http://schemas.microsoft.com/office/drawing/2014/main" id="{4B2794B5-0DF3-470D-9C48-A22BAE243AC7}"/>
                  </a:ext>
                </a:extLst>
              </p:cNvPr>
              <p:cNvSpPr/>
              <p:nvPr/>
            </p:nvSpPr>
            <p:spPr>
              <a:xfrm>
                <a:off x="7491774" y="856026"/>
                <a:ext cx="521208" cy="5212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80" name="Group 79">
                <a:extLst>
                  <a:ext uri="{FF2B5EF4-FFF2-40B4-BE49-F238E27FC236}">
                    <a16:creationId xmlns:a16="http://schemas.microsoft.com/office/drawing/2014/main" id="{8540B8C7-C93E-4424-8D24-BDA9914C435A}"/>
                  </a:ext>
                </a:extLst>
              </p:cNvPr>
              <p:cNvGrpSpPr>
                <a:grpSpLocks noChangeAspect="1"/>
              </p:cNvGrpSpPr>
              <p:nvPr/>
            </p:nvGrpSpPr>
            <p:grpSpPr>
              <a:xfrm>
                <a:off x="7492028" y="856280"/>
                <a:ext cx="520700" cy="520700"/>
                <a:chOff x="7588251" y="3340100"/>
                <a:chExt cx="520700" cy="520700"/>
              </a:xfrm>
            </p:grpSpPr>
            <p:sp>
              <p:nvSpPr>
                <p:cNvPr id="81" name="Freeform 70">
                  <a:extLst>
                    <a:ext uri="{FF2B5EF4-FFF2-40B4-BE49-F238E27FC236}">
                      <a16:creationId xmlns:a16="http://schemas.microsoft.com/office/drawing/2014/main" id="{7C43CE2A-4B08-401F-8882-94B9FD9824E4}"/>
                    </a:ext>
                  </a:extLst>
                </p:cNvPr>
                <p:cNvSpPr>
                  <a:spLocks noEditPoints="1"/>
                </p:cNvSpPr>
                <p:nvPr/>
              </p:nvSpPr>
              <p:spPr bwMode="auto">
                <a:xfrm>
                  <a:off x="7588251" y="3340100"/>
                  <a:ext cx="520700" cy="520700"/>
                </a:xfrm>
                <a:custGeom>
                  <a:avLst/>
                  <a:gdLst>
                    <a:gd name="T0" fmla="*/ 312 w 657"/>
                    <a:gd name="T1" fmla="*/ 657 h 657"/>
                    <a:gd name="T2" fmla="*/ 262 w 657"/>
                    <a:gd name="T3" fmla="*/ 650 h 657"/>
                    <a:gd name="T4" fmla="*/ 200 w 657"/>
                    <a:gd name="T5" fmla="*/ 632 h 657"/>
                    <a:gd name="T6" fmla="*/ 120 w 657"/>
                    <a:gd name="T7" fmla="*/ 582 h 657"/>
                    <a:gd name="T8" fmla="*/ 55 w 657"/>
                    <a:gd name="T9" fmla="*/ 512 h 657"/>
                    <a:gd name="T10" fmla="*/ 15 w 657"/>
                    <a:gd name="T11" fmla="*/ 426 h 657"/>
                    <a:gd name="T12" fmla="*/ 3 w 657"/>
                    <a:gd name="T13" fmla="*/ 379 h 657"/>
                    <a:gd name="T14" fmla="*/ 0 w 657"/>
                    <a:gd name="T15" fmla="*/ 328 h 657"/>
                    <a:gd name="T16" fmla="*/ 1 w 657"/>
                    <a:gd name="T17" fmla="*/ 294 h 657"/>
                    <a:gd name="T18" fmla="*/ 10 w 657"/>
                    <a:gd name="T19" fmla="*/ 246 h 657"/>
                    <a:gd name="T20" fmla="*/ 39 w 657"/>
                    <a:gd name="T21" fmla="*/ 172 h 657"/>
                    <a:gd name="T22" fmla="*/ 96 w 657"/>
                    <a:gd name="T23" fmla="*/ 96 h 657"/>
                    <a:gd name="T24" fmla="*/ 172 w 657"/>
                    <a:gd name="T25" fmla="*/ 39 h 657"/>
                    <a:gd name="T26" fmla="*/ 246 w 657"/>
                    <a:gd name="T27" fmla="*/ 10 h 657"/>
                    <a:gd name="T28" fmla="*/ 294 w 657"/>
                    <a:gd name="T29" fmla="*/ 2 h 657"/>
                    <a:gd name="T30" fmla="*/ 328 w 657"/>
                    <a:gd name="T31" fmla="*/ 0 h 657"/>
                    <a:gd name="T32" fmla="*/ 378 w 657"/>
                    <a:gd name="T33" fmla="*/ 3 h 657"/>
                    <a:gd name="T34" fmla="*/ 426 w 657"/>
                    <a:gd name="T35" fmla="*/ 15 h 657"/>
                    <a:gd name="T36" fmla="*/ 512 w 657"/>
                    <a:gd name="T37" fmla="*/ 57 h 657"/>
                    <a:gd name="T38" fmla="*/ 582 w 657"/>
                    <a:gd name="T39" fmla="*/ 120 h 657"/>
                    <a:gd name="T40" fmla="*/ 631 w 657"/>
                    <a:gd name="T41" fmla="*/ 200 h 657"/>
                    <a:gd name="T42" fmla="*/ 650 w 657"/>
                    <a:gd name="T43" fmla="*/ 262 h 657"/>
                    <a:gd name="T44" fmla="*/ 657 w 657"/>
                    <a:gd name="T45" fmla="*/ 312 h 657"/>
                    <a:gd name="T46" fmla="*/ 657 w 657"/>
                    <a:gd name="T47" fmla="*/ 345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8 w 657"/>
                    <a:gd name="T59" fmla="*/ 653 h 657"/>
                    <a:gd name="T60" fmla="*/ 328 w 657"/>
                    <a:gd name="T61" fmla="*/ 657 h 657"/>
                    <a:gd name="T62" fmla="*/ 328 w 657"/>
                    <a:gd name="T63" fmla="*/ 38 h 657"/>
                    <a:gd name="T64" fmla="*/ 242 w 657"/>
                    <a:gd name="T65" fmla="*/ 50 h 657"/>
                    <a:gd name="T66" fmla="*/ 165 w 657"/>
                    <a:gd name="T67" fmla="*/ 88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5 w 657"/>
                    <a:gd name="T81" fmla="*/ 570 h 657"/>
                    <a:gd name="T82" fmla="*/ 242 w 657"/>
                    <a:gd name="T83" fmla="*/ 606 h 657"/>
                    <a:gd name="T84" fmla="*/ 328 w 657"/>
                    <a:gd name="T85" fmla="*/ 619 h 657"/>
                    <a:gd name="T86" fmla="*/ 387 w 657"/>
                    <a:gd name="T87" fmla="*/ 614 h 657"/>
                    <a:gd name="T88" fmla="*/ 468 w 657"/>
                    <a:gd name="T89" fmla="*/ 585 h 657"/>
                    <a:gd name="T90" fmla="*/ 533 w 657"/>
                    <a:gd name="T91" fmla="*/ 535 h 657"/>
                    <a:gd name="T92" fmla="*/ 584 w 657"/>
                    <a:gd name="T93" fmla="*/ 468 h 657"/>
                    <a:gd name="T94" fmla="*/ 614 w 657"/>
                    <a:gd name="T95" fmla="*/ 387 h 657"/>
                    <a:gd name="T96" fmla="*/ 619 w 657"/>
                    <a:gd name="T97" fmla="*/ 328 h 657"/>
                    <a:gd name="T98" fmla="*/ 606 w 657"/>
                    <a:gd name="T99" fmla="*/ 242 h 657"/>
                    <a:gd name="T100" fmla="*/ 570 w 657"/>
                    <a:gd name="T101" fmla="*/ 165 h 657"/>
                    <a:gd name="T102" fmla="*/ 513 w 657"/>
                    <a:gd name="T103" fmla="*/ 104 h 657"/>
                    <a:gd name="T104" fmla="*/ 442 w 657"/>
                    <a:gd name="T105" fmla="*/ 61 h 657"/>
                    <a:gd name="T106" fmla="*/ 357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4" y="656"/>
                      </a:lnTo>
                      <a:lnTo>
                        <a:pt x="278" y="653"/>
                      </a:lnTo>
                      <a:lnTo>
                        <a:pt x="262" y="650"/>
                      </a:lnTo>
                      <a:lnTo>
                        <a:pt x="246" y="646"/>
                      </a:lnTo>
                      <a:lnTo>
                        <a:pt x="231" y="642"/>
                      </a:lnTo>
                      <a:lnTo>
                        <a:pt x="200" y="632"/>
                      </a:lnTo>
                      <a:lnTo>
                        <a:pt x="172" y="618"/>
                      </a:lnTo>
                      <a:lnTo>
                        <a:pt x="145" y="601"/>
                      </a:lnTo>
                      <a:lnTo>
                        <a:pt x="120" y="582"/>
                      </a:lnTo>
                      <a:lnTo>
                        <a:pt x="96" y="560"/>
                      </a:lnTo>
                      <a:lnTo>
                        <a:pt x="74" y="538"/>
                      </a:lnTo>
                      <a:lnTo>
                        <a:pt x="55" y="512"/>
                      </a:lnTo>
                      <a:lnTo>
                        <a:pt x="39" y="485"/>
                      </a:lnTo>
                      <a:lnTo>
                        <a:pt x="26" y="457"/>
                      </a:lnTo>
                      <a:lnTo>
                        <a:pt x="15" y="426"/>
                      </a:lnTo>
                      <a:lnTo>
                        <a:pt x="10" y="411"/>
                      </a:lnTo>
                      <a:lnTo>
                        <a:pt x="6" y="395"/>
                      </a:lnTo>
                      <a:lnTo>
                        <a:pt x="3" y="379"/>
                      </a:lnTo>
                      <a:lnTo>
                        <a:pt x="1" y="362"/>
                      </a:lnTo>
                      <a:lnTo>
                        <a:pt x="0" y="345"/>
                      </a:lnTo>
                      <a:lnTo>
                        <a:pt x="0" y="328"/>
                      </a:lnTo>
                      <a:lnTo>
                        <a:pt x="0" y="328"/>
                      </a:lnTo>
                      <a:lnTo>
                        <a:pt x="0" y="312"/>
                      </a:lnTo>
                      <a:lnTo>
                        <a:pt x="1" y="294"/>
                      </a:lnTo>
                      <a:lnTo>
                        <a:pt x="3" y="278"/>
                      </a:lnTo>
                      <a:lnTo>
                        <a:pt x="6" y="262"/>
                      </a:lnTo>
                      <a:lnTo>
                        <a:pt x="10" y="246"/>
                      </a:lnTo>
                      <a:lnTo>
                        <a:pt x="15" y="231"/>
                      </a:lnTo>
                      <a:lnTo>
                        <a:pt x="26" y="200"/>
                      </a:lnTo>
                      <a:lnTo>
                        <a:pt x="39" y="172"/>
                      </a:lnTo>
                      <a:lnTo>
                        <a:pt x="55" y="145"/>
                      </a:lnTo>
                      <a:lnTo>
                        <a:pt x="74" y="120"/>
                      </a:lnTo>
                      <a:lnTo>
                        <a:pt x="96" y="96"/>
                      </a:lnTo>
                      <a:lnTo>
                        <a:pt x="120" y="75"/>
                      </a:lnTo>
                      <a:lnTo>
                        <a:pt x="145" y="57"/>
                      </a:lnTo>
                      <a:lnTo>
                        <a:pt x="172" y="39"/>
                      </a:lnTo>
                      <a:lnTo>
                        <a:pt x="200" y="26"/>
                      </a:lnTo>
                      <a:lnTo>
                        <a:pt x="231" y="15"/>
                      </a:lnTo>
                      <a:lnTo>
                        <a:pt x="246" y="10"/>
                      </a:lnTo>
                      <a:lnTo>
                        <a:pt x="262" y="7"/>
                      </a:lnTo>
                      <a:lnTo>
                        <a:pt x="278" y="3"/>
                      </a:lnTo>
                      <a:lnTo>
                        <a:pt x="294" y="2"/>
                      </a:lnTo>
                      <a:lnTo>
                        <a:pt x="312" y="0"/>
                      </a:lnTo>
                      <a:lnTo>
                        <a:pt x="328" y="0"/>
                      </a:lnTo>
                      <a:lnTo>
                        <a:pt x="328" y="0"/>
                      </a:lnTo>
                      <a:lnTo>
                        <a:pt x="345" y="0"/>
                      </a:lnTo>
                      <a:lnTo>
                        <a:pt x="361" y="2"/>
                      </a:lnTo>
                      <a:lnTo>
                        <a:pt x="378" y="3"/>
                      </a:lnTo>
                      <a:lnTo>
                        <a:pt x="395" y="7"/>
                      </a:lnTo>
                      <a:lnTo>
                        <a:pt x="410" y="10"/>
                      </a:lnTo>
                      <a:lnTo>
                        <a:pt x="426" y="15"/>
                      </a:lnTo>
                      <a:lnTo>
                        <a:pt x="455" y="26"/>
                      </a:lnTo>
                      <a:lnTo>
                        <a:pt x="485" y="39"/>
                      </a:lnTo>
                      <a:lnTo>
                        <a:pt x="512" y="57"/>
                      </a:lnTo>
                      <a:lnTo>
                        <a:pt x="537" y="75"/>
                      </a:lnTo>
                      <a:lnTo>
                        <a:pt x="560" y="96"/>
                      </a:lnTo>
                      <a:lnTo>
                        <a:pt x="582" y="120"/>
                      </a:lnTo>
                      <a:lnTo>
                        <a:pt x="601" y="145"/>
                      </a:lnTo>
                      <a:lnTo>
                        <a:pt x="617" y="172"/>
                      </a:lnTo>
                      <a:lnTo>
                        <a:pt x="631" y="200"/>
                      </a:lnTo>
                      <a:lnTo>
                        <a:pt x="642" y="231"/>
                      </a:lnTo>
                      <a:lnTo>
                        <a:pt x="646" y="246"/>
                      </a:lnTo>
                      <a:lnTo>
                        <a:pt x="650" y="262"/>
                      </a:lnTo>
                      <a:lnTo>
                        <a:pt x="653" y="278"/>
                      </a:lnTo>
                      <a:lnTo>
                        <a:pt x="656" y="294"/>
                      </a:lnTo>
                      <a:lnTo>
                        <a:pt x="657" y="312"/>
                      </a:lnTo>
                      <a:lnTo>
                        <a:pt x="657" y="328"/>
                      </a:lnTo>
                      <a:lnTo>
                        <a:pt x="657" y="328"/>
                      </a:lnTo>
                      <a:lnTo>
                        <a:pt x="657" y="345"/>
                      </a:lnTo>
                      <a:lnTo>
                        <a:pt x="656" y="362"/>
                      </a:lnTo>
                      <a:lnTo>
                        <a:pt x="653" y="379"/>
                      </a:lnTo>
                      <a:lnTo>
                        <a:pt x="650" y="395"/>
                      </a:lnTo>
                      <a:lnTo>
                        <a:pt x="646" y="411"/>
                      </a:lnTo>
                      <a:lnTo>
                        <a:pt x="642" y="426"/>
                      </a:lnTo>
                      <a:lnTo>
                        <a:pt x="631" y="457"/>
                      </a:lnTo>
                      <a:lnTo>
                        <a:pt x="617" y="485"/>
                      </a:lnTo>
                      <a:lnTo>
                        <a:pt x="601" y="512"/>
                      </a:lnTo>
                      <a:lnTo>
                        <a:pt x="582" y="538"/>
                      </a:lnTo>
                      <a:lnTo>
                        <a:pt x="560" y="560"/>
                      </a:lnTo>
                      <a:lnTo>
                        <a:pt x="537" y="582"/>
                      </a:lnTo>
                      <a:lnTo>
                        <a:pt x="512" y="601"/>
                      </a:lnTo>
                      <a:lnTo>
                        <a:pt x="485" y="618"/>
                      </a:lnTo>
                      <a:lnTo>
                        <a:pt x="455" y="632"/>
                      </a:lnTo>
                      <a:lnTo>
                        <a:pt x="426" y="642"/>
                      </a:lnTo>
                      <a:lnTo>
                        <a:pt x="410" y="646"/>
                      </a:lnTo>
                      <a:lnTo>
                        <a:pt x="395" y="650"/>
                      </a:lnTo>
                      <a:lnTo>
                        <a:pt x="378" y="653"/>
                      </a:lnTo>
                      <a:lnTo>
                        <a:pt x="361" y="656"/>
                      </a:lnTo>
                      <a:lnTo>
                        <a:pt x="345" y="657"/>
                      </a:lnTo>
                      <a:lnTo>
                        <a:pt x="328" y="657"/>
                      </a:lnTo>
                      <a:lnTo>
                        <a:pt x="328" y="657"/>
                      </a:lnTo>
                      <a:close/>
                      <a:moveTo>
                        <a:pt x="328" y="38"/>
                      </a:moveTo>
                      <a:lnTo>
                        <a:pt x="328" y="38"/>
                      </a:lnTo>
                      <a:lnTo>
                        <a:pt x="298" y="39"/>
                      </a:lnTo>
                      <a:lnTo>
                        <a:pt x="270" y="43"/>
                      </a:lnTo>
                      <a:lnTo>
                        <a:pt x="242" y="50"/>
                      </a:lnTo>
                      <a:lnTo>
                        <a:pt x="215" y="61"/>
                      </a:lnTo>
                      <a:lnTo>
                        <a:pt x="190" y="73"/>
                      </a:lnTo>
                      <a:lnTo>
                        <a:pt x="165" y="88"/>
                      </a:lnTo>
                      <a:lnTo>
                        <a:pt x="143" y="104"/>
                      </a:lnTo>
                      <a:lnTo>
                        <a:pt x="122" y="122"/>
                      </a:lnTo>
                      <a:lnTo>
                        <a:pt x="104" y="144"/>
                      </a:lnTo>
                      <a:lnTo>
                        <a:pt x="87" y="165"/>
                      </a:lnTo>
                      <a:lnTo>
                        <a:pt x="73" y="190"/>
                      </a:lnTo>
                      <a:lnTo>
                        <a:pt x="61" y="215"/>
                      </a:lnTo>
                      <a:lnTo>
                        <a:pt x="50" y="242"/>
                      </a:lnTo>
                      <a:lnTo>
                        <a:pt x="43" y="270"/>
                      </a:lnTo>
                      <a:lnTo>
                        <a:pt x="39" y="298"/>
                      </a:lnTo>
                      <a:lnTo>
                        <a:pt x="38" y="328"/>
                      </a:lnTo>
                      <a:lnTo>
                        <a:pt x="38" y="328"/>
                      </a:lnTo>
                      <a:lnTo>
                        <a:pt x="39" y="359"/>
                      </a:lnTo>
                      <a:lnTo>
                        <a:pt x="43" y="387"/>
                      </a:lnTo>
                      <a:lnTo>
                        <a:pt x="50" y="415"/>
                      </a:lnTo>
                      <a:lnTo>
                        <a:pt x="61" y="442"/>
                      </a:lnTo>
                      <a:lnTo>
                        <a:pt x="73" y="468"/>
                      </a:lnTo>
                      <a:lnTo>
                        <a:pt x="87" y="492"/>
                      </a:lnTo>
                      <a:lnTo>
                        <a:pt x="104" y="513"/>
                      </a:lnTo>
                      <a:lnTo>
                        <a:pt x="122" y="535"/>
                      </a:lnTo>
                      <a:lnTo>
                        <a:pt x="143" y="554"/>
                      </a:lnTo>
                      <a:lnTo>
                        <a:pt x="165" y="570"/>
                      </a:lnTo>
                      <a:lnTo>
                        <a:pt x="190" y="585"/>
                      </a:lnTo>
                      <a:lnTo>
                        <a:pt x="215" y="597"/>
                      </a:lnTo>
                      <a:lnTo>
                        <a:pt x="242" y="606"/>
                      </a:lnTo>
                      <a:lnTo>
                        <a:pt x="270" y="614"/>
                      </a:lnTo>
                      <a:lnTo>
                        <a:pt x="298" y="618"/>
                      </a:lnTo>
                      <a:lnTo>
                        <a:pt x="328" y="619"/>
                      </a:lnTo>
                      <a:lnTo>
                        <a:pt x="328" y="619"/>
                      </a:lnTo>
                      <a:lnTo>
                        <a:pt x="357" y="618"/>
                      </a:lnTo>
                      <a:lnTo>
                        <a:pt x="387" y="614"/>
                      </a:lnTo>
                      <a:lnTo>
                        <a:pt x="415" y="606"/>
                      </a:lnTo>
                      <a:lnTo>
                        <a:pt x="442" y="597"/>
                      </a:lnTo>
                      <a:lnTo>
                        <a:pt x="468" y="585"/>
                      </a:lnTo>
                      <a:lnTo>
                        <a:pt x="490" y="570"/>
                      </a:lnTo>
                      <a:lnTo>
                        <a:pt x="513" y="554"/>
                      </a:lnTo>
                      <a:lnTo>
                        <a:pt x="533" y="535"/>
                      </a:lnTo>
                      <a:lnTo>
                        <a:pt x="552" y="513"/>
                      </a:lnTo>
                      <a:lnTo>
                        <a:pt x="570" y="492"/>
                      </a:lnTo>
                      <a:lnTo>
                        <a:pt x="584" y="468"/>
                      </a:lnTo>
                      <a:lnTo>
                        <a:pt x="597" y="442"/>
                      </a:lnTo>
                      <a:lnTo>
                        <a:pt x="606" y="415"/>
                      </a:lnTo>
                      <a:lnTo>
                        <a:pt x="614" y="387"/>
                      </a:lnTo>
                      <a:lnTo>
                        <a:pt x="618" y="359"/>
                      </a:lnTo>
                      <a:lnTo>
                        <a:pt x="619" y="328"/>
                      </a:lnTo>
                      <a:lnTo>
                        <a:pt x="619" y="328"/>
                      </a:lnTo>
                      <a:lnTo>
                        <a:pt x="618" y="298"/>
                      </a:lnTo>
                      <a:lnTo>
                        <a:pt x="614" y="270"/>
                      </a:lnTo>
                      <a:lnTo>
                        <a:pt x="606" y="242"/>
                      </a:lnTo>
                      <a:lnTo>
                        <a:pt x="597" y="215"/>
                      </a:lnTo>
                      <a:lnTo>
                        <a:pt x="584" y="190"/>
                      </a:lnTo>
                      <a:lnTo>
                        <a:pt x="570" y="165"/>
                      </a:lnTo>
                      <a:lnTo>
                        <a:pt x="552" y="144"/>
                      </a:lnTo>
                      <a:lnTo>
                        <a:pt x="533" y="122"/>
                      </a:lnTo>
                      <a:lnTo>
                        <a:pt x="513" y="104"/>
                      </a:lnTo>
                      <a:lnTo>
                        <a:pt x="490" y="88"/>
                      </a:lnTo>
                      <a:lnTo>
                        <a:pt x="468" y="73"/>
                      </a:lnTo>
                      <a:lnTo>
                        <a:pt x="442" y="61"/>
                      </a:lnTo>
                      <a:lnTo>
                        <a:pt x="415" y="50"/>
                      </a:lnTo>
                      <a:lnTo>
                        <a:pt x="387" y="43"/>
                      </a:lnTo>
                      <a:lnTo>
                        <a:pt x="357" y="39"/>
                      </a:lnTo>
                      <a:lnTo>
                        <a:pt x="328" y="38"/>
                      </a:lnTo>
                      <a:lnTo>
                        <a:pt x="328"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2" name="Freeform 378">
                  <a:extLst>
                    <a:ext uri="{FF2B5EF4-FFF2-40B4-BE49-F238E27FC236}">
                      <a16:creationId xmlns:a16="http://schemas.microsoft.com/office/drawing/2014/main" id="{63099C7A-CD7C-42AE-9B63-ADB0EF94090E}"/>
                    </a:ext>
                  </a:extLst>
                </p:cNvPr>
                <p:cNvSpPr>
                  <a:spLocks/>
                </p:cNvSpPr>
                <p:nvPr/>
              </p:nvSpPr>
              <p:spPr bwMode="auto">
                <a:xfrm>
                  <a:off x="7734301" y="3698875"/>
                  <a:ext cx="41275" cy="14288"/>
                </a:xfrm>
                <a:custGeom>
                  <a:avLst/>
                  <a:gdLst>
                    <a:gd name="T0" fmla="*/ 44 w 54"/>
                    <a:gd name="T1" fmla="*/ 17 h 17"/>
                    <a:gd name="T2" fmla="*/ 10 w 54"/>
                    <a:gd name="T3" fmla="*/ 17 h 17"/>
                    <a:gd name="T4" fmla="*/ 10 w 54"/>
                    <a:gd name="T5" fmla="*/ 17 h 17"/>
                    <a:gd name="T6" fmla="*/ 6 w 54"/>
                    <a:gd name="T7" fmla="*/ 17 h 17"/>
                    <a:gd name="T8" fmla="*/ 3 w 54"/>
                    <a:gd name="T9" fmla="*/ 15 h 17"/>
                    <a:gd name="T10" fmla="*/ 0 w 54"/>
                    <a:gd name="T11" fmla="*/ 12 h 17"/>
                    <a:gd name="T12" fmla="*/ 0 w 54"/>
                    <a:gd name="T13" fmla="*/ 8 h 17"/>
                    <a:gd name="T14" fmla="*/ 0 w 54"/>
                    <a:gd name="T15" fmla="*/ 8 h 17"/>
                    <a:gd name="T16" fmla="*/ 0 w 54"/>
                    <a:gd name="T17" fmla="*/ 5 h 17"/>
                    <a:gd name="T18" fmla="*/ 3 w 54"/>
                    <a:gd name="T19" fmla="*/ 1 h 17"/>
                    <a:gd name="T20" fmla="*/ 6 w 54"/>
                    <a:gd name="T21" fmla="*/ 0 h 17"/>
                    <a:gd name="T22" fmla="*/ 10 w 54"/>
                    <a:gd name="T23" fmla="*/ 0 h 17"/>
                    <a:gd name="T24" fmla="*/ 44 w 54"/>
                    <a:gd name="T25" fmla="*/ 0 h 17"/>
                    <a:gd name="T26" fmla="*/ 44 w 54"/>
                    <a:gd name="T27" fmla="*/ 0 h 17"/>
                    <a:gd name="T28" fmla="*/ 49 w 54"/>
                    <a:gd name="T29" fmla="*/ 0 h 17"/>
                    <a:gd name="T30" fmla="*/ 51 w 54"/>
                    <a:gd name="T31" fmla="*/ 1 h 17"/>
                    <a:gd name="T32" fmla="*/ 53 w 54"/>
                    <a:gd name="T33" fmla="*/ 5 h 17"/>
                    <a:gd name="T34" fmla="*/ 54 w 54"/>
                    <a:gd name="T35" fmla="*/ 8 h 17"/>
                    <a:gd name="T36" fmla="*/ 54 w 54"/>
                    <a:gd name="T37" fmla="*/ 8 h 17"/>
                    <a:gd name="T38" fmla="*/ 53 w 54"/>
                    <a:gd name="T39" fmla="*/ 12 h 17"/>
                    <a:gd name="T40" fmla="*/ 51 w 54"/>
                    <a:gd name="T41" fmla="*/ 15 h 17"/>
                    <a:gd name="T42" fmla="*/ 49 w 54"/>
                    <a:gd name="T43" fmla="*/ 17 h 17"/>
                    <a:gd name="T44" fmla="*/ 44 w 54"/>
                    <a:gd name="T45" fmla="*/ 17 h 17"/>
                    <a:gd name="T46" fmla="*/ 44 w 54"/>
                    <a:gd name="T4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17">
                      <a:moveTo>
                        <a:pt x="44" y="17"/>
                      </a:moveTo>
                      <a:lnTo>
                        <a:pt x="10" y="17"/>
                      </a:lnTo>
                      <a:lnTo>
                        <a:pt x="10" y="17"/>
                      </a:lnTo>
                      <a:lnTo>
                        <a:pt x="6" y="17"/>
                      </a:lnTo>
                      <a:lnTo>
                        <a:pt x="3" y="15"/>
                      </a:lnTo>
                      <a:lnTo>
                        <a:pt x="0" y="12"/>
                      </a:lnTo>
                      <a:lnTo>
                        <a:pt x="0" y="8"/>
                      </a:lnTo>
                      <a:lnTo>
                        <a:pt x="0" y="8"/>
                      </a:lnTo>
                      <a:lnTo>
                        <a:pt x="0" y="5"/>
                      </a:lnTo>
                      <a:lnTo>
                        <a:pt x="3" y="1"/>
                      </a:lnTo>
                      <a:lnTo>
                        <a:pt x="6" y="0"/>
                      </a:lnTo>
                      <a:lnTo>
                        <a:pt x="10" y="0"/>
                      </a:lnTo>
                      <a:lnTo>
                        <a:pt x="44" y="0"/>
                      </a:lnTo>
                      <a:lnTo>
                        <a:pt x="44" y="0"/>
                      </a:lnTo>
                      <a:lnTo>
                        <a:pt x="49" y="0"/>
                      </a:lnTo>
                      <a:lnTo>
                        <a:pt x="51" y="1"/>
                      </a:lnTo>
                      <a:lnTo>
                        <a:pt x="53" y="5"/>
                      </a:lnTo>
                      <a:lnTo>
                        <a:pt x="54" y="8"/>
                      </a:lnTo>
                      <a:lnTo>
                        <a:pt x="54" y="8"/>
                      </a:lnTo>
                      <a:lnTo>
                        <a:pt x="53" y="12"/>
                      </a:lnTo>
                      <a:lnTo>
                        <a:pt x="51" y="15"/>
                      </a:lnTo>
                      <a:lnTo>
                        <a:pt x="49" y="17"/>
                      </a:lnTo>
                      <a:lnTo>
                        <a:pt x="44" y="17"/>
                      </a:lnTo>
                      <a:lnTo>
                        <a:pt x="44"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3" name="Freeform 379">
                  <a:extLst>
                    <a:ext uri="{FF2B5EF4-FFF2-40B4-BE49-F238E27FC236}">
                      <a16:creationId xmlns:a16="http://schemas.microsoft.com/office/drawing/2014/main" id="{3D285AC0-CB72-4B14-B138-B0751E0CD214}"/>
                    </a:ext>
                  </a:extLst>
                </p:cNvPr>
                <p:cNvSpPr>
                  <a:spLocks/>
                </p:cNvSpPr>
                <p:nvPr/>
              </p:nvSpPr>
              <p:spPr bwMode="auto">
                <a:xfrm>
                  <a:off x="7831138" y="3697288"/>
                  <a:ext cx="134938" cy="15875"/>
                </a:xfrm>
                <a:custGeom>
                  <a:avLst/>
                  <a:gdLst>
                    <a:gd name="T0" fmla="*/ 157 w 169"/>
                    <a:gd name="T1" fmla="*/ 20 h 20"/>
                    <a:gd name="T2" fmla="*/ 10 w 169"/>
                    <a:gd name="T3" fmla="*/ 20 h 20"/>
                    <a:gd name="T4" fmla="*/ 10 w 169"/>
                    <a:gd name="T5" fmla="*/ 20 h 20"/>
                    <a:gd name="T6" fmla="*/ 5 w 169"/>
                    <a:gd name="T7" fmla="*/ 19 h 20"/>
                    <a:gd name="T8" fmla="*/ 1 w 169"/>
                    <a:gd name="T9" fmla="*/ 18 h 20"/>
                    <a:gd name="T10" fmla="*/ 0 w 169"/>
                    <a:gd name="T11" fmla="*/ 15 h 20"/>
                    <a:gd name="T12" fmla="*/ 0 w 169"/>
                    <a:gd name="T13" fmla="*/ 11 h 20"/>
                    <a:gd name="T14" fmla="*/ 0 w 169"/>
                    <a:gd name="T15" fmla="*/ 11 h 20"/>
                    <a:gd name="T16" fmla="*/ 0 w 169"/>
                    <a:gd name="T17" fmla="*/ 7 h 20"/>
                    <a:gd name="T18" fmla="*/ 1 w 169"/>
                    <a:gd name="T19" fmla="*/ 4 h 20"/>
                    <a:gd name="T20" fmla="*/ 5 w 169"/>
                    <a:gd name="T21" fmla="*/ 2 h 20"/>
                    <a:gd name="T22" fmla="*/ 10 w 169"/>
                    <a:gd name="T23" fmla="*/ 0 h 20"/>
                    <a:gd name="T24" fmla="*/ 157 w 169"/>
                    <a:gd name="T25" fmla="*/ 0 h 20"/>
                    <a:gd name="T26" fmla="*/ 157 w 169"/>
                    <a:gd name="T27" fmla="*/ 0 h 20"/>
                    <a:gd name="T28" fmla="*/ 164 w 169"/>
                    <a:gd name="T29" fmla="*/ 2 h 20"/>
                    <a:gd name="T30" fmla="*/ 166 w 169"/>
                    <a:gd name="T31" fmla="*/ 4 h 20"/>
                    <a:gd name="T32" fmla="*/ 168 w 169"/>
                    <a:gd name="T33" fmla="*/ 7 h 20"/>
                    <a:gd name="T34" fmla="*/ 169 w 169"/>
                    <a:gd name="T35" fmla="*/ 11 h 20"/>
                    <a:gd name="T36" fmla="*/ 169 w 169"/>
                    <a:gd name="T37" fmla="*/ 11 h 20"/>
                    <a:gd name="T38" fmla="*/ 168 w 169"/>
                    <a:gd name="T39" fmla="*/ 15 h 20"/>
                    <a:gd name="T40" fmla="*/ 166 w 169"/>
                    <a:gd name="T41" fmla="*/ 18 h 20"/>
                    <a:gd name="T42" fmla="*/ 164 w 169"/>
                    <a:gd name="T43" fmla="*/ 19 h 20"/>
                    <a:gd name="T44" fmla="*/ 157 w 169"/>
                    <a:gd name="T45" fmla="*/ 20 h 20"/>
                    <a:gd name="T46" fmla="*/ 157 w 169"/>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20">
                      <a:moveTo>
                        <a:pt x="157" y="20"/>
                      </a:moveTo>
                      <a:lnTo>
                        <a:pt x="10" y="20"/>
                      </a:lnTo>
                      <a:lnTo>
                        <a:pt x="10" y="20"/>
                      </a:lnTo>
                      <a:lnTo>
                        <a:pt x="5" y="19"/>
                      </a:lnTo>
                      <a:lnTo>
                        <a:pt x="1" y="18"/>
                      </a:lnTo>
                      <a:lnTo>
                        <a:pt x="0" y="15"/>
                      </a:lnTo>
                      <a:lnTo>
                        <a:pt x="0" y="11"/>
                      </a:lnTo>
                      <a:lnTo>
                        <a:pt x="0" y="11"/>
                      </a:lnTo>
                      <a:lnTo>
                        <a:pt x="0" y="7"/>
                      </a:lnTo>
                      <a:lnTo>
                        <a:pt x="1" y="4"/>
                      </a:lnTo>
                      <a:lnTo>
                        <a:pt x="5" y="2"/>
                      </a:lnTo>
                      <a:lnTo>
                        <a:pt x="10" y="0"/>
                      </a:lnTo>
                      <a:lnTo>
                        <a:pt x="157" y="0"/>
                      </a:lnTo>
                      <a:lnTo>
                        <a:pt x="157" y="0"/>
                      </a:lnTo>
                      <a:lnTo>
                        <a:pt x="164" y="2"/>
                      </a:lnTo>
                      <a:lnTo>
                        <a:pt x="166" y="4"/>
                      </a:lnTo>
                      <a:lnTo>
                        <a:pt x="168" y="7"/>
                      </a:lnTo>
                      <a:lnTo>
                        <a:pt x="169" y="11"/>
                      </a:lnTo>
                      <a:lnTo>
                        <a:pt x="169" y="11"/>
                      </a:lnTo>
                      <a:lnTo>
                        <a:pt x="168" y="15"/>
                      </a:lnTo>
                      <a:lnTo>
                        <a:pt x="166" y="18"/>
                      </a:lnTo>
                      <a:lnTo>
                        <a:pt x="164" y="19"/>
                      </a:lnTo>
                      <a:lnTo>
                        <a:pt x="157" y="20"/>
                      </a:lnTo>
                      <a:lnTo>
                        <a:pt x="157"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4" name="Freeform 380">
                  <a:extLst>
                    <a:ext uri="{FF2B5EF4-FFF2-40B4-BE49-F238E27FC236}">
                      <a16:creationId xmlns:a16="http://schemas.microsoft.com/office/drawing/2014/main" id="{E13C5937-02C4-420F-BBFF-0334C3DBBA49}"/>
                    </a:ext>
                  </a:extLst>
                </p:cNvPr>
                <p:cNvSpPr>
                  <a:spLocks/>
                </p:cNvSpPr>
                <p:nvPr/>
              </p:nvSpPr>
              <p:spPr bwMode="auto">
                <a:xfrm>
                  <a:off x="7734301" y="3573463"/>
                  <a:ext cx="69850" cy="57150"/>
                </a:xfrm>
                <a:custGeom>
                  <a:avLst/>
                  <a:gdLst>
                    <a:gd name="T0" fmla="*/ 86 w 89"/>
                    <a:gd name="T1" fmla="*/ 15 h 71"/>
                    <a:gd name="T2" fmla="*/ 34 w 89"/>
                    <a:gd name="T3" fmla="*/ 68 h 71"/>
                    <a:gd name="T4" fmla="*/ 34 w 89"/>
                    <a:gd name="T5" fmla="*/ 68 h 71"/>
                    <a:gd name="T6" fmla="*/ 30 w 89"/>
                    <a:gd name="T7" fmla="*/ 71 h 71"/>
                    <a:gd name="T8" fmla="*/ 27 w 89"/>
                    <a:gd name="T9" fmla="*/ 71 h 71"/>
                    <a:gd name="T10" fmla="*/ 27 w 89"/>
                    <a:gd name="T11" fmla="*/ 71 h 71"/>
                    <a:gd name="T12" fmla="*/ 23 w 89"/>
                    <a:gd name="T13" fmla="*/ 71 h 71"/>
                    <a:gd name="T14" fmla="*/ 20 w 89"/>
                    <a:gd name="T15" fmla="*/ 68 h 71"/>
                    <a:gd name="T16" fmla="*/ 3 w 89"/>
                    <a:gd name="T17" fmla="*/ 51 h 71"/>
                    <a:gd name="T18" fmla="*/ 3 w 89"/>
                    <a:gd name="T19" fmla="*/ 51 h 71"/>
                    <a:gd name="T20" fmla="*/ 0 w 89"/>
                    <a:gd name="T21" fmla="*/ 48 h 71"/>
                    <a:gd name="T22" fmla="*/ 0 w 89"/>
                    <a:gd name="T23" fmla="*/ 44 h 71"/>
                    <a:gd name="T24" fmla="*/ 0 w 89"/>
                    <a:gd name="T25" fmla="*/ 41 h 71"/>
                    <a:gd name="T26" fmla="*/ 3 w 89"/>
                    <a:gd name="T27" fmla="*/ 37 h 71"/>
                    <a:gd name="T28" fmla="*/ 3 w 89"/>
                    <a:gd name="T29" fmla="*/ 37 h 71"/>
                    <a:gd name="T30" fmla="*/ 6 w 89"/>
                    <a:gd name="T31" fmla="*/ 36 h 71"/>
                    <a:gd name="T32" fmla="*/ 10 w 89"/>
                    <a:gd name="T33" fmla="*/ 35 h 71"/>
                    <a:gd name="T34" fmla="*/ 12 w 89"/>
                    <a:gd name="T35" fmla="*/ 36 h 71"/>
                    <a:gd name="T36" fmla="*/ 15 w 89"/>
                    <a:gd name="T37" fmla="*/ 37 h 71"/>
                    <a:gd name="T38" fmla="*/ 27 w 89"/>
                    <a:gd name="T39" fmla="*/ 49 h 71"/>
                    <a:gd name="T40" fmla="*/ 74 w 89"/>
                    <a:gd name="T41" fmla="*/ 2 h 71"/>
                    <a:gd name="T42" fmla="*/ 74 w 89"/>
                    <a:gd name="T43" fmla="*/ 2 h 71"/>
                    <a:gd name="T44" fmla="*/ 77 w 89"/>
                    <a:gd name="T45" fmla="*/ 0 h 71"/>
                    <a:gd name="T46" fmla="*/ 81 w 89"/>
                    <a:gd name="T47" fmla="*/ 0 h 71"/>
                    <a:gd name="T48" fmla="*/ 83 w 89"/>
                    <a:gd name="T49" fmla="*/ 0 h 71"/>
                    <a:gd name="T50" fmla="*/ 86 w 89"/>
                    <a:gd name="T51" fmla="*/ 2 h 71"/>
                    <a:gd name="T52" fmla="*/ 86 w 89"/>
                    <a:gd name="T53" fmla="*/ 2 h 71"/>
                    <a:gd name="T54" fmla="*/ 89 w 89"/>
                    <a:gd name="T55" fmla="*/ 5 h 71"/>
                    <a:gd name="T56" fmla="*/ 89 w 89"/>
                    <a:gd name="T57" fmla="*/ 9 h 71"/>
                    <a:gd name="T58" fmla="*/ 89 w 89"/>
                    <a:gd name="T59" fmla="*/ 12 h 71"/>
                    <a:gd name="T60" fmla="*/ 86 w 89"/>
                    <a:gd name="T61" fmla="*/ 15 h 71"/>
                    <a:gd name="T62" fmla="*/ 86 w 89"/>
                    <a:gd name="T63" fmla="*/ 1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 h="71">
                      <a:moveTo>
                        <a:pt x="86" y="15"/>
                      </a:moveTo>
                      <a:lnTo>
                        <a:pt x="34" y="68"/>
                      </a:lnTo>
                      <a:lnTo>
                        <a:pt x="34" y="68"/>
                      </a:lnTo>
                      <a:lnTo>
                        <a:pt x="30" y="71"/>
                      </a:lnTo>
                      <a:lnTo>
                        <a:pt x="27" y="71"/>
                      </a:lnTo>
                      <a:lnTo>
                        <a:pt x="27" y="71"/>
                      </a:lnTo>
                      <a:lnTo>
                        <a:pt x="23" y="71"/>
                      </a:lnTo>
                      <a:lnTo>
                        <a:pt x="20" y="68"/>
                      </a:lnTo>
                      <a:lnTo>
                        <a:pt x="3" y="51"/>
                      </a:lnTo>
                      <a:lnTo>
                        <a:pt x="3" y="51"/>
                      </a:lnTo>
                      <a:lnTo>
                        <a:pt x="0" y="48"/>
                      </a:lnTo>
                      <a:lnTo>
                        <a:pt x="0" y="44"/>
                      </a:lnTo>
                      <a:lnTo>
                        <a:pt x="0" y="41"/>
                      </a:lnTo>
                      <a:lnTo>
                        <a:pt x="3" y="37"/>
                      </a:lnTo>
                      <a:lnTo>
                        <a:pt x="3" y="37"/>
                      </a:lnTo>
                      <a:lnTo>
                        <a:pt x="6" y="36"/>
                      </a:lnTo>
                      <a:lnTo>
                        <a:pt x="10" y="35"/>
                      </a:lnTo>
                      <a:lnTo>
                        <a:pt x="12" y="36"/>
                      </a:lnTo>
                      <a:lnTo>
                        <a:pt x="15" y="37"/>
                      </a:lnTo>
                      <a:lnTo>
                        <a:pt x="27" y="49"/>
                      </a:lnTo>
                      <a:lnTo>
                        <a:pt x="74" y="2"/>
                      </a:lnTo>
                      <a:lnTo>
                        <a:pt x="74" y="2"/>
                      </a:lnTo>
                      <a:lnTo>
                        <a:pt x="77" y="0"/>
                      </a:lnTo>
                      <a:lnTo>
                        <a:pt x="81" y="0"/>
                      </a:lnTo>
                      <a:lnTo>
                        <a:pt x="83" y="0"/>
                      </a:lnTo>
                      <a:lnTo>
                        <a:pt x="86" y="2"/>
                      </a:lnTo>
                      <a:lnTo>
                        <a:pt x="86" y="2"/>
                      </a:lnTo>
                      <a:lnTo>
                        <a:pt x="89" y="5"/>
                      </a:lnTo>
                      <a:lnTo>
                        <a:pt x="89" y="9"/>
                      </a:lnTo>
                      <a:lnTo>
                        <a:pt x="89" y="12"/>
                      </a:lnTo>
                      <a:lnTo>
                        <a:pt x="86" y="15"/>
                      </a:lnTo>
                      <a:lnTo>
                        <a:pt x="86"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5" name="Freeform 381">
                  <a:extLst>
                    <a:ext uri="{FF2B5EF4-FFF2-40B4-BE49-F238E27FC236}">
                      <a16:creationId xmlns:a16="http://schemas.microsoft.com/office/drawing/2014/main" id="{12E4D219-4FE7-4CA3-8435-2CE8BE7C6905}"/>
                    </a:ext>
                  </a:extLst>
                </p:cNvPr>
                <p:cNvSpPr>
                  <a:spLocks/>
                </p:cNvSpPr>
                <p:nvPr/>
              </p:nvSpPr>
              <p:spPr bwMode="auto">
                <a:xfrm>
                  <a:off x="7831138" y="3602038"/>
                  <a:ext cx="134938" cy="14288"/>
                </a:xfrm>
                <a:custGeom>
                  <a:avLst/>
                  <a:gdLst>
                    <a:gd name="T0" fmla="*/ 157 w 169"/>
                    <a:gd name="T1" fmla="*/ 18 h 18"/>
                    <a:gd name="T2" fmla="*/ 10 w 169"/>
                    <a:gd name="T3" fmla="*/ 18 h 18"/>
                    <a:gd name="T4" fmla="*/ 10 w 169"/>
                    <a:gd name="T5" fmla="*/ 18 h 18"/>
                    <a:gd name="T6" fmla="*/ 5 w 169"/>
                    <a:gd name="T7" fmla="*/ 18 h 18"/>
                    <a:gd name="T8" fmla="*/ 1 w 169"/>
                    <a:gd name="T9" fmla="*/ 16 h 18"/>
                    <a:gd name="T10" fmla="*/ 0 w 169"/>
                    <a:gd name="T11" fmla="*/ 13 h 18"/>
                    <a:gd name="T12" fmla="*/ 0 w 169"/>
                    <a:gd name="T13" fmla="*/ 9 h 18"/>
                    <a:gd name="T14" fmla="*/ 0 w 169"/>
                    <a:gd name="T15" fmla="*/ 9 h 18"/>
                    <a:gd name="T16" fmla="*/ 0 w 169"/>
                    <a:gd name="T17" fmla="*/ 5 h 18"/>
                    <a:gd name="T18" fmla="*/ 1 w 169"/>
                    <a:gd name="T19" fmla="*/ 2 h 18"/>
                    <a:gd name="T20" fmla="*/ 5 w 169"/>
                    <a:gd name="T21" fmla="*/ 0 h 18"/>
                    <a:gd name="T22" fmla="*/ 10 w 169"/>
                    <a:gd name="T23" fmla="*/ 0 h 18"/>
                    <a:gd name="T24" fmla="*/ 157 w 169"/>
                    <a:gd name="T25" fmla="*/ 0 h 18"/>
                    <a:gd name="T26" fmla="*/ 157 w 169"/>
                    <a:gd name="T27" fmla="*/ 0 h 18"/>
                    <a:gd name="T28" fmla="*/ 164 w 169"/>
                    <a:gd name="T29" fmla="*/ 0 h 18"/>
                    <a:gd name="T30" fmla="*/ 166 w 169"/>
                    <a:gd name="T31" fmla="*/ 2 h 18"/>
                    <a:gd name="T32" fmla="*/ 168 w 169"/>
                    <a:gd name="T33" fmla="*/ 5 h 18"/>
                    <a:gd name="T34" fmla="*/ 169 w 169"/>
                    <a:gd name="T35" fmla="*/ 9 h 18"/>
                    <a:gd name="T36" fmla="*/ 169 w 169"/>
                    <a:gd name="T37" fmla="*/ 9 h 18"/>
                    <a:gd name="T38" fmla="*/ 168 w 169"/>
                    <a:gd name="T39" fmla="*/ 13 h 18"/>
                    <a:gd name="T40" fmla="*/ 166 w 169"/>
                    <a:gd name="T41" fmla="*/ 16 h 18"/>
                    <a:gd name="T42" fmla="*/ 164 w 169"/>
                    <a:gd name="T43" fmla="*/ 18 h 18"/>
                    <a:gd name="T44" fmla="*/ 157 w 169"/>
                    <a:gd name="T45" fmla="*/ 18 h 18"/>
                    <a:gd name="T46" fmla="*/ 157 w 169"/>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18">
                      <a:moveTo>
                        <a:pt x="157" y="18"/>
                      </a:moveTo>
                      <a:lnTo>
                        <a:pt x="10" y="18"/>
                      </a:lnTo>
                      <a:lnTo>
                        <a:pt x="10" y="18"/>
                      </a:lnTo>
                      <a:lnTo>
                        <a:pt x="5" y="18"/>
                      </a:lnTo>
                      <a:lnTo>
                        <a:pt x="1" y="16"/>
                      </a:lnTo>
                      <a:lnTo>
                        <a:pt x="0" y="13"/>
                      </a:lnTo>
                      <a:lnTo>
                        <a:pt x="0" y="9"/>
                      </a:lnTo>
                      <a:lnTo>
                        <a:pt x="0" y="9"/>
                      </a:lnTo>
                      <a:lnTo>
                        <a:pt x="0" y="5"/>
                      </a:lnTo>
                      <a:lnTo>
                        <a:pt x="1" y="2"/>
                      </a:lnTo>
                      <a:lnTo>
                        <a:pt x="5" y="0"/>
                      </a:lnTo>
                      <a:lnTo>
                        <a:pt x="10" y="0"/>
                      </a:lnTo>
                      <a:lnTo>
                        <a:pt x="157" y="0"/>
                      </a:lnTo>
                      <a:lnTo>
                        <a:pt x="157" y="0"/>
                      </a:lnTo>
                      <a:lnTo>
                        <a:pt x="164" y="0"/>
                      </a:lnTo>
                      <a:lnTo>
                        <a:pt x="166" y="2"/>
                      </a:lnTo>
                      <a:lnTo>
                        <a:pt x="168" y="5"/>
                      </a:lnTo>
                      <a:lnTo>
                        <a:pt x="169" y="9"/>
                      </a:lnTo>
                      <a:lnTo>
                        <a:pt x="169" y="9"/>
                      </a:lnTo>
                      <a:lnTo>
                        <a:pt x="168" y="13"/>
                      </a:lnTo>
                      <a:lnTo>
                        <a:pt x="166" y="16"/>
                      </a:lnTo>
                      <a:lnTo>
                        <a:pt x="164" y="18"/>
                      </a:lnTo>
                      <a:lnTo>
                        <a:pt x="157" y="18"/>
                      </a:lnTo>
                      <a:lnTo>
                        <a:pt x="15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6" name="Freeform 382">
                  <a:extLst>
                    <a:ext uri="{FF2B5EF4-FFF2-40B4-BE49-F238E27FC236}">
                      <a16:creationId xmlns:a16="http://schemas.microsoft.com/office/drawing/2014/main" id="{5B46ED3F-6B17-4E1D-B454-FC0CDC4CE3A9}"/>
                    </a:ext>
                  </a:extLst>
                </p:cNvPr>
                <p:cNvSpPr>
                  <a:spLocks/>
                </p:cNvSpPr>
                <p:nvPr/>
              </p:nvSpPr>
              <p:spPr bwMode="auto">
                <a:xfrm>
                  <a:off x="7734301" y="3471863"/>
                  <a:ext cx="69850" cy="55563"/>
                </a:xfrm>
                <a:custGeom>
                  <a:avLst/>
                  <a:gdLst>
                    <a:gd name="T0" fmla="*/ 86 w 89"/>
                    <a:gd name="T1" fmla="*/ 15 h 71"/>
                    <a:gd name="T2" fmla="*/ 34 w 89"/>
                    <a:gd name="T3" fmla="*/ 68 h 71"/>
                    <a:gd name="T4" fmla="*/ 34 w 89"/>
                    <a:gd name="T5" fmla="*/ 68 h 71"/>
                    <a:gd name="T6" fmla="*/ 30 w 89"/>
                    <a:gd name="T7" fmla="*/ 70 h 71"/>
                    <a:gd name="T8" fmla="*/ 27 w 89"/>
                    <a:gd name="T9" fmla="*/ 71 h 71"/>
                    <a:gd name="T10" fmla="*/ 27 w 89"/>
                    <a:gd name="T11" fmla="*/ 71 h 71"/>
                    <a:gd name="T12" fmla="*/ 23 w 89"/>
                    <a:gd name="T13" fmla="*/ 70 h 71"/>
                    <a:gd name="T14" fmla="*/ 20 w 89"/>
                    <a:gd name="T15" fmla="*/ 68 h 71"/>
                    <a:gd name="T16" fmla="*/ 3 w 89"/>
                    <a:gd name="T17" fmla="*/ 51 h 71"/>
                    <a:gd name="T18" fmla="*/ 3 w 89"/>
                    <a:gd name="T19" fmla="*/ 51 h 71"/>
                    <a:gd name="T20" fmla="*/ 0 w 89"/>
                    <a:gd name="T21" fmla="*/ 47 h 71"/>
                    <a:gd name="T22" fmla="*/ 0 w 89"/>
                    <a:gd name="T23" fmla="*/ 44 h 71"/>
                    <a:gd name="T24" fmla="*/ 0 w 89"/>
                    <a:gd name="T25" fmla="*/ 40 h 71"/>
                    <a:gd name="T26" fmla="*/ 3 w 89"/>
                    <a:gd name="T27" fmla="*/ 37 h 71"/>
                    <a:gd name="T28" fmla="*/ 3 w 89"/>
                    <a:gd name="T29" fmla="*/ 37 h 71"/>
                    <a:gd name="T30" fmla="*/ 6 w 89"/>
                    <a:gd name="T31" fmla="*/ 36 h 71"/>
                    <a:gd name="T32" fmla="*/ 10 w 89"/>
                    <a:gd name="T33" fmla="*/ 35 h 71"/>
                    <a:gd name="T34" fmla="*/ 12 w 89"/>
                    <a:gd name="T35" fmla="*/ 36 h 71"/>
                    <a:gd name="T36" fmla="*/ 15 w 89"/>
                    <a:gd name="T37" fmla="*/ 37 h 71"/>
                    <a:gd name="T38" fmla="*/ 27 w 89"/>
                    <a:gd name="T39" fmla="*/ 50 h 71"/>
                    <a:gd name="T40" fmla="*/ 74 w 89"/>
                    <a:gd name="T41" fmla="*/ 2 h 71"/>
                    <a:gd name="T42" fmla="*/ 74 w 89"/>
                    <a:gd name="T43" fmla="*/ 2 h 71"/>
                    <a:gd name="T44" fmla="*/ 77 w 89"/>
                    <a:gd name="T45" fmla="*/ 0 h 71"/>
                    <a:gd name="T46" fmla="*/ 81 w 89"/>
                    <a:gd name="T47" fmla="*/ 0 h 71"/>
                    <a:gd name="T48" fmla="*/ 83 w 89"/>
                    <a:gd name="T49" fmla="*/ 0 h 71"/>
                    <a:gd name="T50" fmla="*/ 86 w 89"/>
                    <a:gd name="T51" fmla="*/ 2 h 71"/>
                    <a:gd name="T52" fmla="*/ 86 w 89"/>
                    <a:gd name="T53" fmla="*/ 2 h 71"/>
                    <a:gd name="T54" fmla="*/ 89 w 89"/>
                    <a:gd name="T55" fmla="*/ 5 h 71"/>
                    <a:gd name="T56" fmla="*/ 89 w 89"/>
                    <a:gd name="T57" fmla="*/ 8 h 71"/>
                    <a:gd name="T58" fmla="*/ 89 w 89"/>
                    <a:gd name="T59" fmla="*/ 12 h 71"/>
                    <a:gd name="T60" fmla="*/ 86 w 89"/>
                    <a:gd name="T61" fmla="*/ 15 h 71"/>
                    <a:gd name="T62" fmla="*/ 86 w 89"/>
                    <a:gd name="T63" fmla="*/ 1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 h="71">
                      <a:moveTo>
                        <a:pt x="86" y="15"/>
                      </a:moveTo>
                      <a:lnTo>
                        <a:pt x="34" y="68"/>
                      </a:lnTo>
                      <a:lnTo>
                        <a:pt x="34" y="68"/>
                      </a:lnTo>
                      <a:lnTo>
                        <a:pt x="30" y="70"/>
                      </a:lnTo>
                      <a:lnTo>
                        <a:pt x="27" y="71"/>
                      </a:lnTo>
                      <a:lnTo>
                        <a:pt x="27" y="71"/>
                      </a:lnTo>
                      <a:lnTo>
                        <a:pt x="23" y="70"/>
                      </a:lnTo>
                      <a:lnTo>
                        <a:pt x="20" y="68"/>
                      </a:lnTo>
                      <a:lnTo>
                        <a:pt x="3" y="51"/>
                      </a:lnTo>
                      <a:lnTo>
                        <a:pt x="3" y="51"/>
                      </a:lnTo>
                      <a:lnTo>
                        <a:pt x="0" y="47"/>
                      </a:lnTo>
                      <a:lnTo>
                        <a:pt x="0" y="44"/>
                      </a:lnTo>
                      <a:lnTo>
                        <a:pt x="0" y="40"/>
                      </a:lnTo>
                      <a:lnTo>
                        <a:pt x="3" y="37"/>
                      </a:lnTo>
                      <a:lnTo>
                        <a:pt x="3" y="37"/>
                      </a:lnTo>
                      <a:lnTo>
                        <a:pt x="6" y="36"/>
                      </a:lnTo>
                      <a:lnTo>
                        <a:pt x="10" y="35"/>
                      </a:lnTo>
                      <a:lnTo>
                        <a:pt x="12" y="36"/>
                      </a:lnTo>
                      <a:lnTo>
                        <a:pt x="15" y="37"/>
                      </a:lnTo>
                      <a:lnTo>
                        <a:pt x="27" y="50"/>
                      </a:lnTo>
                      <a:lnTo>
                        <a:pt x="74" y="2"/>
                      </a:lnTo>
                      <a:lnTo>
                        <a:pt x="74" y="2"/>
                      </a:lnTo>
                      <a:lnTo>
                        <a:pt x="77" y="0"/>
                      </a:lnTo>
                      <a:lnTo>
                        <a:pt x="81" y="0"/>
                      </a:lnTo>
                      <a:lnTo>
                        <a:pt x="83" y="0"/>
                      </a:lnTo>
                      <a:lnTo>
                        <a:pt x="86" y="2"/>
                      </a:lnTo>
                      <a:lnTo>
                        <a:pt x="86" y="2"/>
                      </a:lnTo>
                      <a:lnTo>
                        <a:pt x="89" y="5"/>
                      </a:lnTo>
                      <a:lnTo>
                        <a:pt x="89" y="8"/>
                      </a:lnTo>
                      <a:lnTo>
                        <a:pt x="89" y="12"/>
                      </a:lnTo>
                      <a:lnTo>
                        <a:pt x="86" y="15"/>
                      </a:lnTo>
                      <a:lnTo>
                        <a:pt x="86"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7" name="Freeform 383">
                  <a:extLst>
                    <a:ext uri="{FF2B5EF4-FFF2-40B4-BE49-F238E27FC236}">
                      <a16:creationId xmlns:a16="http://schemas.microsoft.com/office/drawing/2014/main" id="{C2B4D8C0-99C0-49E4-BFCB-B7E1C4C07274}"/>
                    </a:ext>
                  </a:extLst>
                </p:cNvPr>
                <p:cNvSpPr>
                  <a:spLocks/>
                </p:cNvSpPr>
                <p:nvPr/>
              </p:nvSpPr>
              <p:spPr bwMode="auto">
                <a:xfrm>
                  <a:off x="7831138" y="3498850"/>
                  <a:ext cx="134938" cy="15875"/>
                </a:xfrm>
                <a:custGeom>
                  <a:avLst/>
                  <a:gdLst>
                    <a:gd name="T0" fmla="*/ 157 w 169"/>
                    <a:gd name="T1" fmla="*/ 20 h 20"/>
                    <a:gd name="T2" fmla="*/ 10 w 169"/>
                    <a:gd name="T3" fmla="*/ 20 h 20"/>
                    <a:gd name="T4" fmla="*/ 10 w 169"/>
                    <a:gd name="T5" fmla="*/ 20 h 20"/>
                    <a:gd name="T6" fmla="*/ 5 w 169"/>
                    <a:gd name="T7" fmla="*/ 19 h 20"/>
                    <a:gd name="T8" fmla="*/ 1 w 169"/>
                    <a:gd name="T9" fmla="*/ 17 h 20"/>
                    <a:gd name="T10" fmla="*/ 0 w 169"/>
                    <a:gd name="T11" fmla="*/ 15 h 20"/>
                    <a:gd name="T12" fmla="*/ 0 w 169"/>
                    <a:gd name="T13" fmla="*/ 10 h 20"/>
                    <a:gd name="T14" fmla="*/ 0 w 169"/>
                    <a:gd name="T15" fmla="*/ 10 h 20"/>
                    <a:gd name="T16" fmla="*/ 0 w 169"/>
                    <a:gd name="T17" fmla="*/ 6 h 20"/>
                    <a:gd name="T18" fmla="*/ 1 w 169"/>
                    <a:gd name="T19" fmla="*/ 4 h 20"/>
                    <a:gd name="T20" fmla="*/ 5 w 169"/>
                    <a:gd name="T21" fmla="*/ 1 h 20"/>
                    <a:gd name="T22" fmla="*/ 10 w 169"/>
                    <a:gd name="T23" fmla="*/ 0 h 20"/>
                    <a:gd name="T24" fmla="*/ 157 w 169"/>
                    <a:gd name="T25" fmla="*/ 0 h 20"/>
                    <a:gd name="T26" fmla="*/ 157 w 169"/>
                    <a:gd name="T27" fmla="*/ 0 h 20"/>
                    <a:gd name="T28" fmla="*/ 164 w 169"/>
                    <a:gd name="T29" fmla="*/ 1 h 20"/>
                    <a:gd name="T30" fmla="*/ 166 w 169"/>
                    <a:gd name="T31" fmla="*/ 4 h 20"/>
                    <a:gd name="T32" fmla="*/ 168 w 169"/>
                    <a:gd name="T33" fmla="*/ 6 h 20"/>
                    <a:gd name="T34" fmla="*/ 169 w 169"/>
                    <a:gd name="T35" fmla="*/ 10 h 20"/>
                    <a:gd name="T36" fmla="*/ 169 w 169"/>
                    <a:gd name="T37" fmla="*/ 10 h 20"/>
                    <a:gd name="T38" fmla="*/ 168 w 169"/>
                    <a:gd name="T39" fmla="*/ 15 h 20"/>
                    <a:gd name="T40" fmla="*/ 166 w 169"/>
                    <a:gd name="T41" fmla="*/ 17 h 20"/>
                    <a:gd name="T42" fmla="*/ 164 w 169"/>
                    <a:gd name="T43" fmla="*/ 19 h 20"/>
                    <a:gd name="T44" fmla="*/ 157 w 169"/>
                    <a:gd name="T45" fmla="*/ 20 h 20"/>
                    <a:gd name="T46" fmla="*/ 157 w 169"/>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20">
                      <a:moveTo>
                        <a:pt x="157" y="20"/>
                      </a:moveTo>
                      <a:lnTo>
                        <a:pt x="10" y="20"/>
                      </a:lnTo>
                      <a:lnTo>
                        <a:pt x="10" y="20"/>
                      </a:lnTo>
                      <a:lnTo>
                        <a:pt x="5" y="19"/>
                      </a:lnTo>
                      <a:lnTo>
                        <a:pt x="1" y="17"/>
                      </a:lnTo>
                      <a:lnTo>
                        <a:pt x="0" y="15"/>
                      </a:lnTo>
                      <a:lnTo>
                        <a:pt x="0" y="10"/>
                      </a:lnTo>
                      <a:lnTo>
                        <a:pt x="0" y="10"/>
                      </a:lnTo>
                      <a:lnTo>
                        <a:pt x="0" y="6"/>
                      </a:lnTo>
                      <a:lnTo>
                        <a:pt x="1" y="4"/>
                      </a:lnTo>
                      <a:lnTo>
                        <a:pt x="5" y="1"/>
                      </a:lnTo>
                      <a:lnTo>
                        <a:pt x="10" y="0"/>
                      </a:lnTo>
                      <a:lnTo>
                        <a:pt x="157" y="0"/>
                      </a:lnTo>
                      <a:lnTo>
                        <a:pt x="157" y="0"/>
                      </a:lnTo>
                      <a:lnTo>
                        <a:pt x="164" y="1"/>
                      </a:lnTo>
                      <a:lnTo>
                        <a:pt x="166" y="4"/>
                      </a:lnTo>
                      <a:lnTo>
                        <a:pt x="168" y="6"/>
                      </a:lnTo>
                      <a:lnTo>
                        <a:pt x="169" y="10"/>
                      </a:lnTo>
                      <a:lnTo>
                        <a:pt x="169" y="10"/>
                      </a:lnTo>
                      <a:lnTo>
                        <a:pt x="168" y="15"/>
                      </a:lnTo>
                      <a:lnTo>
                        <a:pt x="166" y="17"/>
                      </a:lnTo>
                      <a:lnTo>
                        <a:pt x="164" y="19"/>
                      </a:lnTo>
                      <a:lnTo>
                        <a:pt x="157" y="20"/>
                      </a:lnTo>
                      <a:lnTo>
                        <a:pt x="157"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62" name="Group 61">
              <a:extLst>
                <a:ext uri="{FF2B5EF4-FFF2-40B4-BE49-F238E27FC236}">
                  <a16:creationId xmlns:a16="http://schemas.microsoft.com/office/drawing/2014/main" id="{82BFD451-EF67-4E0B-B513-5BB4EFB3E480}"/>
                </a:ext>
              </a:extLst>
            </p:cNvPr>
            <p:cNvGrpSpPr/>
            <p:nvPr/>
          </p:nvGrpSpPr>
          <p:grpSpPr>
            <a:xfrm>
              <a:off x="6919297" y="1369753"/>
              <a:ext cx="375346" cy="375346"/>
              <a:chOff x="11168831" y="1181428"/>
              <a:chExt cx="522288" cy="522288"/>
            </a:xfrm>
          </p:grpSpPr>
          <p:sp>
            <p:nvSpPr>
              <p:cNvPr id="74" name="Oval 73">
                <a:extLst>
                  <a:ext uri="{FF2B5EF4-FFF2-40B4-BE49-F238E27FC236}">
                    <a16:creationId xmlns:a16="http://schemas.microsoft.com/office/drawing/2014/main" id="{6A53BEA1-52E7-4A91-8006-235C942EFB2A}"/>
                  </a:ext>
                </a:extLst>
              </p:cNvPr>
              <p:cNvSpPr/>
              <p:nvPr/>
            </p:nvSpPr>
            <p:spPr>
              <a:xfrm>
                <a:off x="11169371" y="1181968"/>
                <a:ext cx="521208" cy="5212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75" name="Group 74">
                <a:extLst>
                  <a:ext uri="{FF2B5EF4-FFF2-40B4-BE49-F238E27FC236}">
                    <a16:creationId xmlns:a16="http://schemas.microsoft.com/office/drawing/2014/main" id="{A42485A5-7F66-4114-A837-7E61D55AE502}"/>
                  </a:ext>
                </a:extLst>
              </p:cNvPr>
              <p:cNvGrpSpPr>
                <a:grpSpLocks noChangeAspect="1"/>
              </p:cNvGrpSpPr>
              <p:nvPr/>
            </p:nvGrpSpPr>
            <p:grpSpPr>
              <a:xfrm>
                <a:off x="11168831" y="1181428"/>
                <a:ext cx="522288" cy="522288"/>
                <a:chOff x="9356726" y="5013960"/>
                <a:chExt cx="522288" cy="522288"/>
              </a:xfrm>
            </p:grpSpPr>
            <p:sp>
              <p:nvSpPr>
                <p:cNvPr id="76" name="Freeform 87">
                  <a:extLst>
                    <a:ext uri="{FF2B5EF4-FFF2-40B4-BE49-F238E27FC236}">
                      <a16:creationId xmlns:a16="http://schemas.microsoft.com/office/drawing/2014/main" id="{FD416240-3BE5-4151-8F3E-87A5EC5D58A0}"/>
                    </a:ext>
                  </a:extLst>
                </p:cNvPr>
                <p:cNvSpPr>
                  <a:spLocks noEditPoints="1"/>
                </p:cNvSpPr>
                <p:nvPr/>
              </p:nvSpPr>
              <p:spPr bwMode="auto">
                <a:xfrm>
                  <a:off x="9356726" y="5013960"/>
                  <a:ext cx="522288" cy="522288"/>
                </a:xfrm>
                <a:custGeom>
                  <a:avLst/>
                  <a:gdLst>
                    <a:gd name="T0" fmla="*/ 311 w 657"/>
                    <a:gd name="T1" fmla="*/ 657 h 658"/>
                    <a:gd name="T2" fmla="*/ 262 w 657"/>
                    <a:gd name="T3" fmla="*/ 651 h 658"/>
                    <a:gd name="T4" fmla="*/ 200 w 657"/>
                    <a:gd name="T5" fmla="*/ 631 h 658"/>
                    <a:gd name="T6" fmla="*/ 119 w 657"/>
                    <a:gd name="T7" fmla="*/ 583 h 658"/>
                    <a:gd name="T8" fmla="*/ 56 w 657"/>
                    <a:gd name="T9" fmla="*/ 513 h 658"/>
                    <a:gd name="T10" fmla="*/ 14 w 657"/>
                    <a:gd name="T11" fmla="*/ 427 h 658"/>
                    <a:gd name="T12" fmla="*/ 4 w 657"/>
                    <a:gd name="T13" fmla="*/ 379 h 658"/>
                    <a:gd name="T14" fmla="*/ 0 w 657"/>
                    <a:gd name="T15" fmla="*/ 329 h 658"/>
                    <a:gd name="T16" fmla="*/ 1 w 657"/>
                    <a:gd name="T17" fmla="*/ 295 h 658"/>
                    <a:gd name="T18" fmla="*/ 10 w 657"/>
                    <a:gd name="T19" fmla="*/ 247 h 658"/>
                    <a:gd name="T20" fmla="*/ 39 w 657"/>
                    <a:gd name="T21" fmla="*/ 172 h 658"/>
                    <a:gd name="T22" fmla="*/ 96 w 657"/>
                    <a:gd name="T23" fmla="*/ 96 h 658"/>
                    <a:gd name="T24" fmla="*/ 172 w 657"/>
                    <a:gd name="T25" fmla="*/ 40 h 658"/>
                    <a:gd name="T26" fmla="*/ 247 w 657"/>
                    <a:gd name="T27" fmla="*/ 10 h 658"/>
                    <a:gd name="T28" fmla="*/ 295 w 657"/>
                    <a:gd name="T29" fmla="*/ 1 h 658"/>
                    <a:gd name="T30" fmla="*/ 329 w 657"/>
                    <a:gd name="T31" fmla="*/ 0 h 658"/>
                    <a:gd name="T32" fmla="*/ 379 w 657"/>
                    <a:gd name="T33" fmla="*/ 4 h 658"/>
                    <a:gd name="T34" fmla="*/ 426 w 657"/>
                    <a:gd name="T35" fmla="*/ 14 h 658"/>
                    <a:gd name="T36" fmla="*/ 512 w 657"/>
                    <a:gd name="T37" fmla="*/ 56 h 658"/>
                    <a:gd name="T38" fmla="*/ 582 w 657"/>
                    <a:gd name="T39" fmla="*/ 119 h 658"/>
                    <a:gd name="T40" fmla="*/ 631 w 657"/>
                    <a:gd name="T41" fmla="*/ 201 h 658"/>
                    <a:gd name="T42" fmla="*/ 650 w 657"/>
                    <a:gd name="T43" fmla="*/ 263 h 658"/>
                    <a:gd name="T44" fmla="*/ 657 w 657"/>
                    <a:gd name="T45" fmla="*/ 311 h 658"/>
                    <a:gd name="T46" fmla="*/ 657 w 657"/>
                    <a:gd name="T47" fmla="*/ 345 h 658"/>
                    <a:gd name="T48" fmla="*/ 650 w 657"/>
                    <a:gd name="T49" fmla="*/ 395 h 658"/>
                    <a:gd name="T50" fmla="*/ 631 w 657"/>
                    <a:gd name="T51" fmla="*/ 457 h 658"/>
                    <a:gd name="T52" fmla="*/ 582 w 657"/>
                    <a:gd name="T53" fmla="*/ 539 h 658"/>
                    <a:gd name="T54" fmla="*/ 512 w 657"/>
                    <a:gd name="T55" fmla="*/ 602 h 658"/>
                    <a:gd name="T56" fmla="*/ 426 w 657"/>
                    <a:gd name="T57" fmla="*/ 643 h 658"/>
                    <a:gd name="T58" fmla="*/ 379 w 657"/>
                    <a:gd name="T59" fmla="*/ 654 h 658"/>
                    <a:gd name="T60" fmla="*/ 329 w 657"/>
                    <a:gd name="T61" fmla="*/ 658 h 658"/>
                    <a:gd name="T62" fmla="*/ 329 w 657"/>
                    <a:gd name="T63" fmla="*/ 37 h 658"/>
                    <a:gd name="T64" fmla="*/ 241 w 657"/>
                    <a:gd name="T65" fmla="*/ 51 h 658"/>
                    <a:gd name="T66" fmla="*/ 166 w 657"/>
                    <a:gd name="T67" fmla="*/ 87 h 658"/>
                    <a:gd name="T68" fmla="*/ 103 w 657"/>
                    <a:gd name="T69" fmla="*/ 143 h 658"/>
                    <a:gd name="T70" fmla="*/ 60 w 657"/>
                    <a:gd name="T71" fmla="*/ 216 h 658"/>
                    <a:gd name="T72" fmla="*/ 39 w 657"/>
                    <a:gd name="T73" fmla="*/ 299 h 658"/>
                    <a:gd name="T74" fmla="*/ 39 w 657"/>
                    <a:gd name="T75" fmla="*/ 358 h 658"/>
                    <a:gd name="T76" fmla="*/ 60 w 657"/>
                    <a:gd name="T77" fmla="*/ 442 h 658"/>
                    <a:gd name="T78" fmla="*/ 103 w 657"/>
                    <a:gd name="T79" fmla="*/ 514 h 658"/>
                    <a:gd name="T80" fmla="*/ 166 w 657"/>
                    <a:gd name="T81" fmla="*/ 571 h 658"/>
                    <a:gd name="T82" fmla="*/ 241 w 657"/>
                    <a:gd name="T83" fmla="*/ 607 h 658"/>
                    <a:gd name="T84" fmla="*/ 329 w 657"/>
                    <a:gd name="T85" fmla="*/ 621 h 658"/>
                    <a:gd name="T86" fmla="*/ 387 w 657"/>
                    <a:gd name="T87" fmla="*/ 614 h 658"/>
                    <a:gd name="T88" fmla="*/ 467 w 657"/>
                    <a:gd name="T89" fmla="*/ 584 h 658"/>
                    <a:gd name="T90" fmla="*/ 534 w 657"/>
                    <a:gd name="T91" fmla="*/ 534 h 658"/>
                    <a:gd name="T92" fmla="*/ 584 w 657"/>
                    <a:gd name="T93" fmla="*/ 467 h 658"/>
                    <a:gd name="T94" fmla="*/ 614 w 657"/>
                    <a:gd name="T95" fmla="*/ 388 h 658"/>
                    <a:gd name="T96" fmla="*/ 619 w 657"/>
                    <a:gd name="T97" fmla="*/ 329 h 658"/>
                    <a:gd name="T98" fmla="*/ 607 w 657"/>
                    <a:gd name="T99" fmla="*/ 243 h 658"/>
                    <a:gd name="T100" fmla="*/ 569 w 657"/>
                    <a:gd name="T101" fmla="*/ 166 h 658"/>
                    <a:gd name="T102" fmla="*/ 513 w 657"/>
                    <a:gd name="T103" fmla="*/ 104 h 658"/>
                    <a:gd name="T104" fmla="*/ 442 w 657"/>
                    <a:gd name="T105" fmla="*/ 60 h 658"/>
                    <a:gd name="T106" fmla="*/ 358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1" y="657"/>
                      </a:lnTo>
                      <a:lnTo>
                        <a:pt x="295" y="655"/>
                      </a:lnTo>
                      <a:lnTo>
                        <a:pt x="278" y="654"/>
                      </a:lnTo>
                      <a:lnTo>
                        <a:pt x="262" y="651"/>
                      </a:lnTo>
                      <a:lnTo>
                        <a:pt x="247" y="647"/>
                      </a:lnTo>
                      <a:lnTo>
                        <a:pt x="231" y="643"/>
                      </a:lnTo>
                      <a:lnTo>
                        <a:pt x="200" y="631"/>
                      </a:lnTo>
                      <a:lnTo>
                        <a:pt x="172" y="618"/>
                      </a:lnTo>
                      <a:lnTo>
                        <a:pt x="145" y="602"/>
                      </a:lnTo>
                      <a:lnTo>
                        <a:pt x="119" y="583"/>
                      </a:lnTo>
                      <a:lnTo>
                        <a:pt x="96" y="561"/>
                      </a:lnTo>
                      <a:lnTo>
                        <a:pt x="75" y="539"/>
                      </a:lnTo>
                      <a:lnTo>
                        <a:pt x="56" y="513"/>
                      </a:lnTo>
                      <a:lnTo>
                        <a:pt x="39" y="485"/>
                      </a:lnTo>
                      <a:lnTo>
                        <a:pt x="25" y="457"/>
                      </a:lnTo>
                      <a:lnTo>
                        <a:pt x="14" y="427"/>
                      </a:lnTo>
                      <a:lnTo>
                        <a:pt x="10" y="411"/>
                      </a:lnTo>
                      <a:lnTo>
                        <a:pt x="6" y="395"/>
                      </a:lnTo>
                      <a:lnTo>
                        <a:pt x="4" y="379"/>
                      </a:lnTo>
                      <a:lnTo>
                        <a:pt x="1" y="362"/>
                      </a:lnTo>
                      <a:lnTo>
                        <a:pt x="0" y="345"/>
                      </a:lnTo>
                      <a:lnTo>
                        <a:pt x="0" y="329"/>
                      </a:lnTo>
                      <a:lnTo>
                        <a:pt x="0" y="329"/>
                      </a:lnTo>
                      <a:lnTo>
                        <a:pt x="0" y="311"/>
                      </a:lnTo>
                      <a:lnTo>
                        <a:pt x="1" y="295"/>
                      </a:lnTo>
                      <a:lnTo>
                        <a:pt x="4" y="279"/>
                      </a:lnTo>
                      <a:lnTo>
                        <a:pt x="6" y="263"/>
                      </a:lnTo>
                      <a:lnTo>
                        <a:pt x="10" y="247"/>
                      </a:lnTo>
                      <a:lnTo>
                        <a:pt x="14" y="231"/>
                      </a:lnTo>
                      <a:lnTo>
                        <a:pt x="25" y="201"/>
                      </a:lnTo>
                      <a:lnTo>
                        <a:pt x="39" y="172"/>
                      </a:lnTo>
                      <a:lnTo>
                        <a:pt x="56" y="145"/>
                      </a:lnTo>
                      <a:lnTo>
                        <a:pt x="75" y="119"/>
                      </a:lnTo>
                      <a:lnTo>
                        <a:pt x="96" y="96"/>
                      </a:lnTo>
                      <a:lnTo>
                        <a:pt x="119" y="75"/>
                      </a:lnTo>
                      <a:lnTo>
                        <a:pt x="145" y="56"/>
                      </a:lnTo>
                      <a:lnTo>
                        <a:pt x="172" y="40"/>
                      </a:lnTo>
                      <a:lnTo>
                        <a:pt x="200" y="25"/>
                      </a:lnTo>
                      <a:lnTo>
                        <a:pt x="231" y="14"/>
                      </a:lnTo>
                      <a:lnTo>
                        <a:pt x="247" y="10"/>
                      </a:lnTo>
                      <a:lnTo>
                        <a:pt x="262" y="6"/>
                      </a:lnTo>
                      <a:lnTo>
                        <a:pt x="278" y="4"/>
                      </a:lnTo>
                      <a:lnTo>
                        <a:pt x="295" y="1"/>
                      </a:lnTo>
                      <a:lnTo>
                        <a:pt x="311" y="0"/>
                      </a:lnTo>
                      <a:lnTo>
                        <a:pt x="329" y="0"/>
                      </a:lnTo>
                      <a:lnTo>
                        <a:pt x="329" y="0"/>
                      </a:lnTo>
                      <a:lnTo>
                        <a:pt x="345" y="0"/>
                      </a:lnTo>
                      <a:lnTo>
                        <a:pt x="362" y="1"/>
                      </a:lnTo>
                      <a:lnTo>
                        <a:pt x="379" y="4"/>
                      </a:lnTo>
                      <a:lnTo>
                        <a:pt x="395" y="6"/>
                      </a:lnTo>
                      <a:lnTo>
                        <a:pt x="411" y="10"/>
                      </a:lnTo>
                      <a:lnTo>
                        <a:pt x="426" y="14"/>
                      </a:lnTo>
                      <a:lnTo>
                        <a:pt x="457" y="25"/>
                      </a:lnTo>
                      <a:lnTo>
                        <a:pt x="485" y="40"/>
                      </a:lnTo>
                      <a:lnTo>
                        <a:pt x="512" y="56"/>
                      </a:lnTo>
                      <a:lnTo>
                        <a:pt x="537" y="75"/>
                      </a:lnTo>
                      <a:lnTo>
                        <a:pt x="561" y="96"/>
                      </a:lnTo>
                      <a:lnTo>
                        <a:pt x="582" y="119"/>
                      </a:lnTo>
                      <a:lnTo>
                        <a:pt x="602" y="145"/>
                      </a:lnTo>
                      <a:lnTo>
                        <a:pt x="618" y="172"/>
                      </a:lnTo>
                      <a:lnTo>
                        <a:pt x="631" y="201"/>
                      </a:lnTo>
                      <a:lnTo>
                        <a:pt x="642" y="231"/>
                      </a:lnTo>
                      <a:lnTo>
                        <a:pt x="647" y="247"/>
                      </a:lnTo>
                      <a:lnTo>
                        <a:pt x="650" y="263"/>
                      </a:lnTo>
                      <a:lnTo>
                        <a:pt x="654" y="279"/>
                      </a:lnTo>
                      <a:lnTo>
                        <a:pt x="655" y="295"/>
                      </a:lnTo>
                      <a:lnTo>
                        <a:pt x="657" y="311"/>
                      </a:lnTo>
                      <a:lnTo>
                        <a:pt x="657" y="329"/>
                      </a:lnTo>
                      <a:lnTo>
                        <a:pt x="657" y="329"/>
                      </a:lnTo>
                      <a:lnTo>
                        <a:pt x="657" y="345"/>
                      </a:lnTo>
                      <a:lnTo>
                        <a:pt x="655" y="362"/>
                      </a:lnTo>
                      <a:lnTo>
                        <a:pt x="654" y="379"/>
                      </a:lnTo>
                      <a:lnTo>
                        <a:pt x="650" y="395"/>
                      </a:lnTo>
                      <a:lnTo>
                        <a:pt x="647" y="411"/>
                      </a:lnTo>
                      <a:lnTo>
                        <a:pt x="642" y="427"/>
                      </a:lnTo>
                      <a:lnTo>
                        <a:pt x="631" y="457"/>
                      </a:lnTo>
                      <a:lnTo>
                        <a:pt x="618" y="485"/>
                      </a:lnTo>
                      <a:lnTo>
                        <a:pt x="602" y="513"/>
                      </a:lnTo>
                      <a:lnTo>
                        <a:pt x="582" y="539"/>
                      </a:lnTo>
                      <a:lnTo>
                        <a:pt x="561" y="561"/>
                      </a:lnTo>
                      <a:lnTo>
                        <a:pt x="537" y="583"/>
                      </a:lnTo>
                      <a:lnTo>
                        <a:pt x="512" y="602"/>
                      </a:lnTo>
                      <a:lnTo>
                        <a:pt x="485" y="618"/>
                      </a:lnTo>
                      <a:lnTo>
                        <a:pt x="457" y="631"/>
                      </a:lnTo>
                      <a:lnTo>
                        <a:pt x="426" y="643"/>
                      </a:lnTo>
                      <a:lnTo>
                        <a:pt x="411" y="647"/>
                      </a:lnTo>
                      <a:lnTo>
                        <a:pt x="395" y="651"/>
                      </a:lnTo>
                      <a:lnTo>
                        <a:pt x="379" y="654"/>
                      </a:lnTo>
                      <a:lnTo>
                        <a:pt x="362" y="655"/>
                      </a:lnTo>
                      <a:lnTo>
                        <a:pt x="345" y="657"/>
                      </a:lnTo>
                      <a:lnTo>
                        <a:pt x="329" y="658"/>
                      </a:lnTo>
                      <a:lnTo>
                        <a:pt x="329" y="658"/>
                      </a:lnTo>
                      <a:close/>
                      <a:moveTo>
                        <a:pt x="329" y="37"/>
                      </a:moveTo>
                      <a:lnTo>
                        <a:pt x="329" y="37"/>
                      </a:lnTo>
                      <a:lnTo>
                        <a:pt x="299" y="39"/>
                      </a:lnTo>
                      <a:lnTo>
                        <a:pt x="270" y="44"/>
                      </a:lnTo>
                      <a:lnTo>
                        <a:pt x="241" y="51"/>
                      </a:lnTo>
                      <a:lnTo>
                        <a:pt x="215" y="60"/>
                      </a:lnTo>
                      <a:lnTo>
                        <a:pt x="189" y="72"/>
                      </a:lnTo>
                      <a:lnTo>
                        <a:pt x="166" y="87"/>
                      </a:lnTo>
                      <a:lnTo>
                        <a:pt x="143" y="104"/>
                      </a:lnTo>
                      <a:lnTo>
                        <a:pt x="122" y="123"/>
                      </a:lnTo>
                      <a:lnTo>
                        <a:pt x="103" y="143"/>
                      </a:lnTo>
                      <a:lnTo>
                        <a:pt x="87" y="166"/>
                      </a:lnTo>
                      <a:lnTo>
                        <a:pt x="72" y="190"/>
                      </a:lnTo>
                      <a:lnTo>
                        <a:pt x="60" y="216"/>
                      </a:lnTo>
                      <a:lnTo>
                        <a:pt x="51" y="243"/>
                      </a:lnTo>
                      <a:lnTo>
                        <a:pt x="43" y="270"/>
                      </a:lnTo>
                      <a:lnTo>
                        <a:pt x="39" y="299"/>
                      </a:lnTo>
                      <a:lnTo>
                        <a:pt x="37" y="329"/>
                      </a:lnTo>
                      <a:lnTo>
                        <a:pt x="37" y="329"/>
                      </a:lnTo>
                      <a:lnTo>
                        <a:pt x="39" y="358"/>
                      </a:lnTo>
                      <a:lnTo>
                        <a:pt x="43" y="388"/>
                      </a:lnTo>
                      <a:lnTo>
                        <a:pt x="51" y="415"/>
                      </a:lnTo>
                      <a:lnTo>
                        <a:pt x="60" y="442"/>
                      </a:lnTo>
                      <a:lnTo>
                        <a:pt x="72" y="467"/>
                      </a:lnTo>
                      <a:lnTo>
                        <a:pt x="87" y="491"/>
                      </a:lnTo>
                      <a:lnTo>
                        <a:pt x="103" y="514"/>
                      </a:lnTo>
                      <a:lnTo>
                        <a:pt x="122" y="534"/>
                      </a:lnTo>
                      <a:lnTo>
                        <a:pt x="143" y="553"/>
                      </a:lnTo>
                      <a:lnTo>
                        <a:pt x="166" y="571"/>
                      </a:lnTo>
                      <a:lnTo>
                        <a:pt x="189" y="584"/>
                      </a:lnTo>
                      <a:lnTo>
                        <a:pt x="215" y="598"/>
                      </a:lnTo>
                      <a:lnTo>
                        <a:pt x="241" y="607"/>
                      </a:lnTo>
                      <a:lnTo>
                        <a:pt x="270" y="614"/>
                      </a:lnTo>
                      <a:lnTo>
                        <a:pt x="299" y="619"/>
                      </a:lnTo>
                      <a:lnTo>
                        <a:pt x="329" y="621"/>
                      </a:lnTo>
                      <a:lnTo>
                        <a:pt x="329" y="621"/>
                      </a:lnTo>
                      <a:lnTo>
                        <a:pt x="358" y="619"/>
                      </a:lnTo>
                      <a:lnTo>
                        <a:pt x="387" y="614"/>
                      </a:lnTo>
                      <a:lnTo>
                        <a:pt x="415" y="607"/>
                      </a:lnTo>
                      <a:lnTo>
                        <a:pt x="442" y="598"/>
                      </a:lnTo>
                      <a:lnTo>
                        <a:pt x="467" y="584"/>
                      </a:lnTo>
                      <a:lnTo>
                        <a:pt x="491" y="571"/>
                      </a:lnTo>
                      <a:lnTo>
                        <a:pt x="513" y="553"/>
                      </a:lnTo>
                      <a:lnTo>
                        <a:pt x="534" y="534"/>
                      </a:lnTo>
                      <a:lnTo>
                        <a:pt x="553" y="514"/>
                      </a:lnTo>
                      <a:lnTo>
                        <a:pt x="569" y="491"/>
                      </a:lnTo>
                      <a:lnTo>
                        <a:pt x="584" y="467"/>
                      </a:lnTo>
                      <a:lnTo>
                        <a:pt x="596" y="442"/>
                      </a:lnTo>
                      <a:lnTo>
                        <a:pt x="607" y="415"/>
                      </a:lnTo>
                      <a:lnTo>
                        <a:pt x="614" y="388"/>
                      </a:lnTo>
                      <a:lnTo>
                        <a:pt x="618" y="358"/>
                      </a:lnTo>
                      <a:lnTo>
                        <a:pt x="619" y="329"/>
                      </a:lnTo>
                      <a:lnTo>
                        <a:pt x="619" y="329"/>
                      </a:lnTo>
                      <a:lnTo>
                        <a:pt x="618" y="299"/>
                      </a:lnTo>
                      <a:lnTo>
                        <a:pt x="614" y="270"/>
                      </a:lnTo>
                      <a:lnTo>
                        <a:pt x="607" y="243"/>
                      </a:lnTo>
                      <a:lnTo>
                        <a:pt x="596" y="216"/>
                      </a:lnTo>
                      <a:lnTo>
                        <a:pt x="584" y="190"/>
                      </a:lnTo>
                      <a:lnTo>
                        <a:pt x="569" y="166"/>
                      </a:lnTo>
                      <a:lnTo>
                        <a:pt x="553" y="143"/>
                      </a:lnTo>
                      <a:lnTo>
                        <a:pt x="534" y="123"/>
                      </a:lnTo>
                      <a:lnTo>
                        <a:pt x="513" y="104"/>
                      </a:lnTo>
                      <a:lnTo>
                        <a:pt x="491" y="87"/>
                      </a:lnTo>
                      <a:lnTo>
                        <a:pt x="467" y="72"/>
                      </a:lnTo>
                      <a:lnTo>
                        <a:pt x="442" y="60"/>
                      </a:lnTo>
                      <a:lnTo>
                        <a:pt x="415" y="51"/>
                      </a:lnTo>
                      <a:lnTo>
                        <a:pt x="387" y="44"/>
                      </a:lnTo>
                      <a:lnTo>
                        <a:pt x="358"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7" name="Freeform 279">
                  <a:extLst>
                    <a:ext uri="{FF2B5EF4-FFF2-40B4-BE49-F238E27FC236}">
                      <a16:creationId xmlns:a16="http://schemas.microsoft.com/office/drawing/2014/main" id="{EF65C6FC-77A0-4BBE-B63D-03978FA192B5}"/>
                    </a:ext>
                  </a:extLst>
                </p:cNvPr>
                <p:cNvSpPr>
                  <a:spLocks/>
                </p:cNvSpPr>
                <p:nvPr/>
              </p:nvSpPr>
              <p:spPr bwMode="auto">
                <a:xfrm>
                  <a:off x="9571038" y="5223510"/>
                  <a:ext cx="182563" cy="177800"/>
                </a:xfrm>
                <a:custGeom>
                  <a:avLst/>
                  <a:gdLst>
                    <a:gd name="T0" fmla="*/ 219 w 230"/>
                    <a:gd name="T1" fmla="*/ 0 h 225"/>
                    <a:gd name="T2" fmla="*/ 178 w 230"/>
                    <a:gd name="T3" fmla="*/ 0 h 225"/>
                    <a:gd name="T4" fmla="*/ 178 w 230"/>
                    <a:gd name="T5" fmla="*/ 117 h 225"/>
                    <a:gd name="T6" fmla="*/ 178 w 230"/>
                    <a:gd name="T7" fmla="*/ 117 h 225"/>
                    <a:gd name="T8" fmla="*/ 176 w 230"/>
                    <a:gd name="T9" fmla="*/ 123 h 225"/>
                    <a:gd name="T10" fmla="*/ 174 w 230"/>
                    <a:gd name="T11" fmla="*/ 125 h 225"/>
                    <a:gd name="T12" fmla="*/ 171 w 230"/>
                    <a:gd name="T13" fmla="*/ 128 h 225"/>
                    <a:gd name="T14" fmla="*/ 167 w 230"/>
                    <a:gd name="T15" fmla="*/ 128 h 225"/>
                    <a:gd name="T16" fmla="*/ 50 w 230"/>
                    <a:gd name="T17" fmla="*/ 128 h 225"/>
                    <a:gd name="T18" fmla="*/ 0 w 230"/>
                    <a:gd name="T19" fmla="*/ 171 h 225"/>
                    <a:gd name="T20" fmla="*/ 107 w 230"/>
                    <a:gd name="T21" fmla="*/ 171 h 225"/>
                    <a:gd name="T22" fmla="*/ 179 w 230"/>
                    <a:gd name="T23" fmla="*/ 223 h 225"/>
                    <a:gd name="T24" fmla="*/ 179 w 230"/>
                    <a:gd name="T25" fmla="*/ 223 h 225"/>
                    <a:gd name="T26" fmla="*/ 183 w 230"/>
                    <a:gd name="T27" fmla="*/ 225 h 225"/>
                    <a:gd name="T28" fmla="*/ 183 w 230"/>
                    <a:gd name="T29" fmla="*/ 225 h 225"/>
                    <a:gd name="T30" fmla="*/ 184 w 230"/>
                    <a:gd name="T31" fmla="*/ 225 h 225"/>
                    <a:gd name="T32" fmla="*/ 184 w 230"/>
                    <a:gd name="T33" fmla="*/ 225 h 225"/>
                    <a:gd name="T34" fmla="*/ 187 w 230"/>
                    <a:gd name="T35" fmla="*/ 222 h 225"/>
                    <a:gd name="T36" fmla="*/ 187 w 230"/>
                    <a:gd name="T37" fmla="*/ 219 h 225"/>
                    <a:gd name="T38" fmla="*/ 187 w 230"/>
                    <a:gd name="T39" fmla="*/ 171 h 225"/>
                    <a:gd name="T40" fmla="*/ 219 w 230"/>
                    <a:gd name="T41" fmla="*/ 171 h 225"/>
                    <a:gd name="T42" fmla="*/ 219 w 230"/>
                    <a:gd name="T43" fmla="*/ 171 h 225"/>
                    <a:gd name="T44" fmla="*/ 223 w 230"/>
                    <a:gd name="T45" fmla="*/ 171 h 225"/>
                    <a:gd name="T46" fmla="*/ 227 w 230"/>
                    <a:gd name="T47" fmla="*/ 168 h 225"/>
                    <a:gd name="T48" fmla="*/ 230 w 230"/>
                    <a:gd name="T49" fmla="*/ 164 h 225"/>
                    <a:gd name="T50" fmla="*/ 230 w 230"/>
                    <a:gd name="T51" fmla="*/ 160 h 225"/>
                    <a:gd name="T52" fmla="*/ 230 w 230"/>
                    <a:gd name="T53" fmla="*/ 11 h 225"/>
                    <a:gd name="T54" fmla="*/ 230 w 230"/>
                    <a:gd name="T55" fmla="*/ 11 h 225"/>
                    <a:gd name="T56" fmla="*/ 230 w 230"/>
                    <a:gd name="T57" fmla="*/ 7 h 225"/>
                    <a:gd name="T58" fmla="*/ 227 w 230"/>
                    <a:gd name="T59" fmla="*/ 3 h 225"/>
                    <a:gd name="T60" fmla="*/ 223 w 230"/>
                    <a:gd name="T61" fmla="*/ 2 h 225"/>
                    <a:gd name="T62" fmla="*/ 219 w 230"/>
                    <a:gd name="T63" fmla="*/ 0 h 225"/>
                    <a:gd name="T64" fmla="*/ 219 w 230"/>
                    <a:gd name="T65"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0" h="225">
                      <a:moveTo>
                        <a:pt x="219" y="0"/>
                      </a:moveTo>
                      <a:lnTo>
                        <a:pt x="178" y="0"/>
                      </a:lnTo>
                      <a:lnTo>
                        <a:pt x="178" y="117"/>
                      </a:lnTo>
                      <a:lnTo>
                        <a:pt x="178" y="117"/>
                      </a:lnTo>
                      <a:lnTo>
                        <a:pt x="176" y="123"/>
                      </a:lnTo>
                      <a:lnTo>
                        <a:pt x="174" y="125"/>
                      </a:lnTo>
                      <a:lnTo>
                        <a:pt x="171" y="128"/>
                      </a:lnTo>
                      <a:lnTo>
                        <a:pt x="167" y="128"/>
                      </a:lnTo>
                      <a:lnTo>
                        <a:pt x="50" y="128"/>
                      </a:lnTo>
                      <a:lnTo>
                        <a:pt x="0" y="171"/>
                      </a:lnTo>
                      <a:lnTo>
                        <a:pt x="107" y="171"/>
                      </a:lnTo>
                      <a:lnTo>
                        <a:pt x="179" y="223"/>
                      </a:lnTo>
                      <a:lnTo>
                        <a:pt x="179" y="223"/>
                      </a:lnTo>
                      <a:lnTo>
                        <a:pt x="183" y="225"/>
                      </a:lnTo>
                      <a:lnTo>
                        <a:pt x="183" y="225"/>
                      </a:lnTo>
                      <a:lnTo>
                        <a:pt x="184" y="225"/>
                      </a:lnTo>
                      <a:lnTo>
                        <a:pt x="184" y="225"/>
                      </a:lnTo>
                      <a:lnTo>
                        <a:pt x="187" y="222"/>
                      </a:lnTo>
                      <a:lnTo>
                        <a:pt x="187" y="219"/>
                      </a:lnTo>
                      <a:lnTo>
                        <a:pt x="187" y="171"/>
                      </a:lnTo>
                      <a:lnTo>
                        <a:pt x="219" y="171"/>
                      </a:lnTo>
                      <a:lnTo>
                        <a:pt x="219" y="171"/>
                      </a:lnTo>
                      <a:lnTo>
                        <a:pt x="223" y="171"/>
                      </a:lnTo>
                      <a:lnTo>
                        <a:pt x="227" y="168"/>
                      </a:lnTo>
                      <a:lnTo>
                        <a:pt x="230" y="164"/>
                      </a:lnTo>
                      <a:lnTo>
                        <a:pt x="230" y="160"/>
                      </a:lnTo>
                      <a:lnTo>
                        <a:pt x="230" y="11"/>
                      </a:lnTo>
                      <a:lnTo>
                        <a:pt x="230" y="11"/>
                      </a:lnTo>
                      <a:lnTo>
                        <a:pt x="230" y="7"/>
                      </a:lnTo>
                      <a:lnTo>
                        <a:pt x="227" y="3"/>
                      </a:lnTo>
                      <a:lnTo>
                        <a:pt x="223" y="2"/>
                      </a:lnTo>
                      <a:lnTo>
                        <a:pt x="219" y="0"/>
                      </a:lnTo>
                      <a:lnTo>
                        <a:pt x="21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8" name="Freeform 280">
                  <a:extLst>
                    <a:ext uri="{FF2B5EF4-FFF2-40B4-BE49-F238E27FC236}">
                      <a16:creationId xmlns:a16="http://schemas.microsoft.com/office/drawing/2014/main" id="{489C6FB5-C3AB-487E-A967-C00760B20F5F}"/>
                    </a:ext>
                  </a:extLst>
                </p:cNvPr>
                <p:cNvSpPr>
                  <a:spLocks/>
                </p:cNvSpPr>
                <p:nvPr/>
              </p:nvSpPr>
              <p:spPr bwMode="auto">
                <a:xfrm>
                  <a:off x="9483726" y="5160010"/>
                  <a:ext cx="211138" cy="212725"/>
                </a:xfrm>
                <a:custGeom>
                  <a:avLst/>
                  <a:gdLst>
                    <a:gd name="T0" fmla="*/ 257 w 268"/>
                    <a:gd name="T1" fmla="*/ 192 h 267"/>
                    <a:gd name="T2" fmla="*/ 257 w 268"/>
                    <a:gd name="T3" fmla="*/ 192 h 267"/>
                    <a:gd name="T4" fmla="*/ 261 w 268"/>
                    <a:gd name="T5" fmla="*/ 191 h 267"/>
                    <a:gd name="T6" fmla="*/ 264 w 268"/>
                    <a:gd name="T7" fmla="*/ 189 h 267"/>
                    <a:gd name="T8" fmla="*/ 266 w 268"/>
                    <a:gd name="T9" fmla="*/ 185 h 267"/>
                    <a:gd name="T10" fmla="*/ 268 w 268"/>
                    <a:gd name="T11" fmla="*/ 181 h 267"/>
                    <a:gd name="T12" fmla="*/ 268 w 268"/>
                    <a:gd name="T13" fmla="*/ 10 h 267"/>
                    <a:gd name="T14" fmla="*/ 268 w 268"/>
                    <a:gd name="T15" fmla="*/ 10 h 267"/>
                    <a:gd name="T16" fmla="*/ 266 w 268"/>
                    <a:gd name="T17" fmla="*/ 6 h 267"/>
                    <a:gd name="T18" fmla="*/ 264 w 268"/>
                    <a:gd name="T19" fmla="*/ 2 h 267"/>
                    <a:gd name="T20" fmla="*/ 261 w 268"/>
                    <a:gd name="T21" fmla="*/ 1 h 267"/>
                    <a:gd name="T22" fmla="*/ 257 w 268"/>
                    <a:gd name="T23" fmla="*/ 0 h 267"/>
                    <a:gd name="T24" fmla="*/ 11 w 268"/>
                    <a:gd name="T25" fmla="*/ 0 h 267"/>
                    <a:gd name="T26" fmla="*/ 11 w 268"/>
                    <a:gd name="T27" fmla="*/ 0 h 267"/>
                    <a:gd name="T28" fmla="*/ 7 w 268"/>
                    <a:gd name="T29" fmla="*/ 1 h 267"/>
                    <a:gd name="T30" fmla="*/ 3 w 268"/>
                    <a:gd name="T31" fmla="*/ 2 h 267"/>
                    <a:gd name="T32" fmla="*/ 1 w 268"/>
                    <a:gd name="T33" fmla="*/ 6 h 267"/>
                    <a:gd name="T34" fmla="*/ 0 w 268"/>
                    <a:gd name="T35" fmla="*/ 10 h 267"/>
                    <a:gd name="T36" fmla="*/ 0 w 268"/>
                    <a:gd name="T37" fmla="*/ 181 h 267"/>
                    <a:gd name="T38" fmla="*/ 0 w 268"/>
                    <a:gd name="T39" fmla="*/ 181 h 267"/>
                    <a:gd name="T40" fmla="*/ 1 w 268"/>
                    <a:gd name="T41" fmla="*/ 185 h 267"/>
                    <a:gd name="T42" fmla="*/ 3 w 268"/>
                    <a:gd name="T43" fmla="*/ 189 h 267"/>
                    <a:gd name="T44" fmla="*/ 7 w 268"/>
                    <a:gd name="T45" fmla="*/ 191 h 267"/>
                    <a:gd name="T46" fmla="*/ 11 w 268"/>
                    <a:gd name="T47" fmla="*/ 192 h 267"/>
                    <a:gd name="T48" fmla="*/ 54 w 268"/>
                    <a:gd name="T49" fmla="*/ 192 h 267"/>
                    <a:gd name="T50" fmla="*/ 54 w 268"/>
                    <a:gd name="T51" fmla="*/ 262 h 267"/>
                    <a:gd name="T52" fmla="*/ 54 w 268"/>
                    <a:gd name="T53" fmla="*/ 262 h 267"/>
                    <a:gd name="T54" fmla="*/ 54 w 268"/>
                    <a:gd name="T55" fmla="*/ 264 h 267"/>
                    <a:gd name="T56" fmla="*/ 57 w 268"/>
                    <a:gd name="T57" fmla="*/ 266 h 267"/>
                    <a:gd name="T58" fmla="*/ 57 w 268"/>
                    <a:gd name="T59" fmla="*/ 266 h 267"/>
                    <a:gd name="T60" fmla="*/ 59 w 268"/>
                    <a:gd name="T61" fmla="*/ 267 h 267"/>
                    <a:gd name="T62" fmla="*/ 59 w 268"/>
                    <a:gd name="T63" fmla="*/ 267 h 267"/>
                    <a:gd name="T64" fmla="*/ 62 w 268"/>
                    <a:gd name="T65" fmla="*/ 266 h 267"/>
                    <a:gd name="T66" fmla="*/ 147 w 268"/>
                    <a:gd name="T67" fmla="*/ 192 h 267"/>
                    <a:gd name="T68" fmla="*/ 257 w 268"/>
                    <a:gd name="T69" fmla="*/ 19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8" h="267">
                      <a:moveTo>
                        <a:pt x="257" y="192"/>
                      </a:moveTo>
                      <a:lnTo>
                        <a:pt x="257" y="192"/>
                      </a:lnTo>
                      <a:lnTo>
                        <a:pt x="261" y="191"/>
                      </a:lnTo>
                      <a:lnTo>
                        <a:pt x="264" y="189"/>
                      </a:lnTo>
                      <a:lnTo>
                        <a:pt x="266" y="185"/>
                      </a:lnTo>
                      <a:lnTo>
                        <a:pt x="268" y="181"/>
                      </a:lnTo>
                      <a:lnTo>
                        <a:pt x="268" y="10"/>
                      </a:lnTo>
                      <a:lnTo>
                        <a:pt x="268" y="10"/>
                      </a:lnTo>
                      <a:lnTo>
                        <a:pt x="266" y="6"/>
                      </a:lnTo>
                      <a:lnTo>
                        <a:pt x="264" y="2"/>
                      </a:lnTo>
                      <a:lnTo>
                        <a:pt x="261" y="1"/>
                      </a:lnTo>
                      <a:lnTo>
                        <a:pt x="257" y="0"/>
                      </a:lnTo>
                      <a:lnTo>
                        <a:pt x="11" y="0"/>
                      </a:lnTo>
                      <a:lnTo>
                        <a:pt x="11" y="0"/>
                      </a:lnTo>
                      <a:lnTo>
                        <a:pt x="7" y="1"/>
                      </a:lnTo>
                      <a:lnTo>
                        <a:pt x="3" y="2"/>
                      </a:lnTo>
                      <a:lnTo>
                        <a:pt x="1" y="6"/>
                      </a:lnTo>
                      <a:lnTo>
                        <a:pt x="0" y="10"/>
                      </a:lnTo>
                      <a:lnTo>
                        <a:pt x="0" y="181"/>
                      </a:lnTo>
                      <a:lnTo>
                        <a:pt x="0" y="181"/>
                      </a:lnTo>
                      <a:lnTo>
                        <a:pt x="1" y="185"/>
                      </a:lnTo>
                      <a:lnTo>
                        <a:pt x="3" y="189"/>
                      </a:lnTo>
                      <a:lnTo>
                        <a:pt x="7" y="191"/>
                      </a:lnTo>
                      <a:lnTo>
                        <a:pt x="11" y="192"/>
                      </a:lnTo>
                      <a:lnTo>
                        <a:pt x="54" y="192"/>
                      </a:lnTo>
                      <a:lnTo>
                        <a:pt x="54" y="262"/>
                      </a:lnTo>
                      <a:lnTo>
                        <a:pt x="54" y="262"/>
                      </a:lnTo>
                      <a:lnTo>
                        <a:pt x="54" y="264"/>
                      </a:lnTo>
                      <a:lnTo>
                        <a:pt x="57" y="266"/>
                      </a:lnTo>
                      <a:lnTo>
                        <a:pt x="57" y="266"/>
                      </a:lnTo>
                      <a:lnTo>
                        <a:pt x="59" y="267"/>
                      </a:lnTo>
                      <a:lnTo>
                        <a:pt x="59" y="267"/>
                      </a:lnTo>
                      <a:lnTo>
                        <a:pt x="62" y="266"/>
                      </a:lnTo>
                      <a:lnTo>
                        <a:pt x="147" y="192"/>
                      </a:lnTo>
                      <a:lnTo>
                        <a:pt x="257" y="19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63" name="Group 62">
              <a:extLst>
                <a:ext uri="{FF2B5EF4-FFF2-40B4-BE49-F238E27FC236}">
                  <a16:creationId xmlns:a16="http://schemas.microsoft.com/office/drawing/2014/main" id="{280F9223-D307-40BB-8D58-4CDBAE80D9BB}"/>
                </a:ext>
              </a:extLst>
            </p:cNvPr>
            <p:cNvGrpSpPr/>
            <p:nvPr/>
          </p:nvGrpSpPr>
          <p:grpSpPr>
            <a:xfrm>
              <a:off x="6089806" y="2155386"/>
              <a:ext cx="374570" cy="374570"/>
              <a:chOff x="10105882" y="2477542"/>
              <a:chExt cx="521208" cy="521208"/>
            </a:xfrm>
          </p:grpSpPr>
          <p:sp>
            <p:nvSpPr>
              <p:cNvPr id="66" name="Oval 65">
                <a:extLst>
                  <a:ext uri="{FF2B5EF4-FFF2-40B4-BE49-F238E27FC236}">
                    <a16:creationId xmlns:a16="http://schemas.microsoft.com/office/drawing/2014/main" id="{AFC1B7D3-C0AE-46B0-A5B7-69C5289F6AFE}"/>
                  </a:ext>
                </a:extLst>
              </p:cNvPr>
              <p:cNvSpPr/>
              <p:nvPr/>
            </p:nvSpPr>
            <p:spPr>
              <a:xfrm>
                <a:off x="10105882" y="2477542"/>
                <a:ext cx="521208" cy="5212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67" name="Group 66">
                <a:extLst>
                  <a:ext uri="{FF2B5EF4-FFF2-40B4-BE49-F238E27FC236}">
                    <a16:creationId xmlns:a16="http://schemas.microsoft.com/office/drawing/2014/main" id="{27C7F462-2E93-4B92-97B9-7D188372827E}"/>
                  </a:ext>
                </a:extLst>
              </p:cNvPr>
              <p:cNvGrpSpPr>
                <a:grpSpLocks noChangeAspect="1"/>
              </p:cNvGrpSpPr>
              <p:nvPr/>
            </p:nvGrpSpPr>
            <p:grpSpPr>
              <a:xfrm>
                <a:off x="10106136" y="2477796"/>
                <a:ext cx="520700" cy="520700"/>
                <a:chOff x="3195638" y="2503488"/>
                <a:chExt cx="520700" cy="520700"/>
              </a:xfrm>
            </p:grpSpPr>
            <p:sp>
              <p:nvSpPr>
                <p:cNvPr id="68" name="Freeform 73">
                  <a:extLst>
                    <a:ext uri="{FF2B5EF4-FFF2-40B4-BE49-F238E27FC236}">
                      <a16:creationId xmlns:a16="http://schemas.microsoft.com/office/drawing/2014/main" id="{E7486E95-DE4C-4490-A5A8-157BB4D4CE73}"/>
                    </a:ext>
                  </a:extLst>
                </p:cNvPr>
                <p:cNvSpPr>
                  <a:spLocks noEditPoints="1"/>
                </p:cNvSpPr>
                <p:nvPr/>
              </p:nvSpPr>
              <p:spPr bwMode="auto">
                <a:xfrm>
                  <a:off x="3195638" y="2503488"/>
                  <a:ext cx="520700" cy="520700"/>
                </a:xfrm>
                <a:custGeom>
                  <a:avLst/>
                  <a:gdLst>
                    <a:gd name="T0" fmla="*/ 312 w 657"/>
                    <a:gd name="T1" fmla="*/ 658 h 658"/>
                    <a:gd name="T2" fmla="*/ 262 w 657"/>
                    <a:gd name="T3" fmla="*/ 651 h 658"/>
                    <a:gd name="T4" fmla="*/ 200 w 657"/>
                    <a:gd name="T5" fmla="*/ 632 h 658"/>
                    <a:gd name="T6" fmla="*/ 120 w 657"/>
                    <a:gd name="T7" fmla="*/ 583 h 658"/>
                    <a:gd name="T8" fmla="*/ 55 w 657"/>
                    <a:gd name="T9" fmla="*/ 513 h 658"/>
                    <a:gd name="T10" fmla="*/ 15 w 657"/>
                    <a:gd name="T11" fmla="*/ 427 h 658"/>
                    <a:gd name="T12" fmla="*/ 3 w 657"/>
                    <a:gd name="T13" fmla="*/ 379 h 658"/>
                    <a:gd name="T14" fmla="*/ 0 w 657"/>
                    <a:gd name="T15" fmla="*/ 329 h 658"/>
                    <a:gd name="T16" fmla="*/ 2 w 657"/>
                    <a:gd name="T17" fmla="*/ 296 h 658"/>
                    <a:gd name="T18" fmla="*/ 10 w 657"/>
                    <a:gd name="T19" fmla="*/ 247 h 658"/>
                    <a:gd name="T20" fmla="*/ 39 w 657"/>
                    <a:gd name="T21" fmla="*/ 173 h 658"/>
                    <a:gd name="T22" fmla="*/ 96 w 657"/>
                    <a:gd name="T23" fmla="*/ 97 h 658"/>
                    <a:gd name="T24" fmla="*/ 172 w 657"/>
                    <a:gd name="T25" fmla="*/ 40 h 658"/>
                    <a:gd name="T26" fmla="*/ 246 w 657"/>
                    <a:gd name="T27" fmla="*/ 11 h 658"/>
                    <a:gd name="T28" fmla="*/ 294 w 657"/>
                    <a:gd name="T29" fmla="*/ 3 h 658"/>
                    <a:gd name="T30" fmla="*/ 328 w 657"/>
                    <a:gd name="T31" fmla="*/ 0 h 658"/>
                    <a:gd name="T32" fmla="*/ 379 w 657"/>
                    <a:gd name="T33" fmla="*/ 4 h 658"/>
                    <a:gd name="T34" fmla="*/ 426 w 657"/>
                    <a:gd name="T35" fmla="*/ 15 h 658"/>
                    <a:gd name="T36" fmla="*/ 512 w 657"/>
                    <a:gd name="T37" fmla="*/ 57 h 658"/>
                    <a:gd name="T38" fmla="*/ 582 w 657"/>
                    <a:gd name="T39" fmla="*/ 120 h 658"/>
                    <a:gd name="T40" fmla="*/ 631 w 657"/>
                    <a:gd name="T41" fmla="*/ 202 h 658"/>
                    <a:gd name="T42" fmla="*/ 650 w 657"/>
                    <a:gd name="T43" fmla="*/ 263 h 658"/>
                    <a:gd name="T44" fmla="*/ 657 w 657"/>
                    <a:gd name="T45" fmla="*/ 313 h 658"/>
                    <a:gd name="T46" fmla="*/ 657 w 657"/>
                    <a:gd name="T47" fmla="*/ 347 h 658"/>
                    <a:gd name="T48" fmla="*/ 650 w 657"/>
                    <a:gd name="T49" fmla="*/ 395 h 658"/>
                    <a:gd name="T50" fmla="*/ 631 w 657"/>
                    <a:gd name="T51" fmla="*/ 457 h 658"/>
                    <a:gd name="T52" fmla="*/ 582 w 657"/>
                    <a:gd name="T53" fmla="*/ 539 h 658"/>
                    <a:gd name="T54" fmla="*/ 512 w 657"/>
                    <a:gd name="T55" fmla="*/ 602 h 658"/>
                    <a:gd name="T56" fmla="*/ 426 w 657"/>
                    <a:gd name="T57" fmla="*/ 643 h 658"/>
                    <a:gd name="T58" fmla="*/ 379 w 657"/>
                    <a:gd name="T59" fmla="*/ 654 h 658"/>
                    <a:gd name="T60" fmla="*/ 328 w 657"/>
                    <a:gd name="T61" fmla="*/ 658 h 658"/>
                    <a:gd name="T62" fmla="*/ 328 w 657"/>
                    <a:gd name="T63" fmla="*/ 38 h 658"/>
                    <a:gd name="T64" fmla="*/ 242 w 657"/>
                    <a:gd name="T65" fmla="*/ 51 h 658"/>
                    <a:gd name="T66" fmla="*/ 165 w 657"/>
                    <a:gd name="T67" fmla="*/ 87 h 658"/>
                    <a:gd name="T68" fmla="*/ 104 w 657"/>
                    <a:gd name="T69" fmla="*/ 144 h 658"/>
                    <a:gd name="T70" fmla="*/ 61 w 657"/>
                    <a:gd name="T71" fmla="*/ 216 h 658"/>
                    <a:gd name="T72" fmla="*/ 39 w 657"/>
                    <a:gd name="T73" fmla="*/ 300 h 658"/>
                    <a:gd name="T74" fmla="*/ 39 w 657"/>
                    <a:gd name="T75" fmla="*/ 359 h 658"/>
                    <a:gd name="T76" fmla="*/ 61 w 657"/>
                    <a:gd name="T77" fmla="*/ 442 h 658"/>
                    <a:gd name="T78" fmla="*/ 104 w 657"/>
                    <a:gd name="T79" fmla="*/ 514 h 658"/>
                    <a:gd name="T80" fmla="*/ 165 w 657"/>
                    <a:gd name="T81" fmla="*/ 571 h 658"/>
                    <a:gd name="T82" fmla="*/ 242 w 657"/>
                    <a:gd name="T83" fmla="*/ 607 h 658"/>
                    <a:gd name="T84" fmla="*/ 328 w 657"/>
                    <a:gd name="T85" fmla="*/ 620 h 658"/>
                    <a:gd name="T86" fmla="*/ 387 w 657"/>
                    <a:gd name="T87" fmla="*/ 614 h 658"/>
                    <a:gd name="T88" fmla="*/ 467 w 657"/>
                    <a:gd name="T89" fmla="*/ 585 h 658"/>
                    <a:gd name="T90" fmla="*/ 533 w 657"/>
                    <a:gd name="T91" fmla="*/ 534 h 658"/>
                    <a:gd name="T92" fmla="*/ 584 w 657"/>
                    <a:gd name="T93" fmla="*/ 467 h 658"/>
                    <a:gd name="T94" fmla="*/ 614 w 657"/>
                    <a:gd name="T95" fmla="*/ 388 h 658"/>
                    <a:gd name="T96" fmla="*/ 619 w 657"/>
                    <a:gd name="T97" fmla="*/ 329 h 658"/>
                    <a:gd name="T98" fmla="*/ 606 w 657"/>
                    <a:gd name="T99" fmla="*/ 243 h 658"/>
                    <a:gd name="T100" fmla="*/ 569 w 657"/>
                    <a:gd name="T101" fmla="*/ 167 h 658"/>
                    <a:gd name="T102" fmla="*/ 513 w 657"/>
                    <a:gd name="T103" fmla="*/ 105 h 658"/>
                    <a:gd name="T104" fmla="*/ 442 w 657"/>
                    <a:gd name="T105" fmla="*/ 61 h 658"/>
                    <a:gd name="T106" fmla="*/ 357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8" y="658"/>
                      </a:moveTo>
                      <a:lnTo>
                        <a:pt x="328" y="658"/>
                      </a:lnTo>
                      <a:lnTo>
                        <a:pt x="312" y="658"/>
                      </a:lnTo>
                      <a:lnTo>
                        <a:pt x="294" y="657"/>
                      </a:lnTo>
                      <a:lnTo>
                        <a:pt x="278" y="654"/>
                      </a:lnTo>
                      <a:lnTo>
                        <a:pt x="262" y="651"/>
                      </a:lnTo>
                      <a:lnTo>
                        <a:pt x="246" y="647"/>
                      </a:lnTo>
                      <a:lnTo>
                        <a:pt x="231" y="643"/>
                      </a:lnTo>
                      <a:lnTo>
                        <a:pt x="200" y="632"/>
                      </a:lnTo>
                      <a:lnTo>
                        <a:pt x="172" y="618"/>
                      </a:lnTo>
                      <a:lnTo>
                        <a:pt x="145" y="602"/>
                      </a:lnTo>
                      <a:lnTo>
                        <a:pt x="120" y="583"/>
                      </a:lnTo>
                      <a:lnTo>
                        <a:pt x="96" y="561"/>
                      </a:lnTo>
                      <a:lnTo>
                        <a:pt x="74" y="539"/>
                      </a:lnTo>
                      <a:lnTo>
                        <a:pt x="55" y="513"/>
                      </a:lnTo>
                      <a:lnTo>
                        <a:pt x="39" y="486"/>
                      </a:lnTo>
                      <a:lnTo>
                        <a:pt x="26" y="457"/>
                      </a:lnTo>
                      <a:lnTo>
                        <a:pt x="15" y="427"/>
                      </a:lnTo>
                      <a:lnTo>
                        <a:pt x="10" y="411"/>
                      </a:lnTo>
                      <a:lnTo>
                        <a:pt x="6" y="395"/>
                      </a:lnTo>
                      <a:lnTo>
                        <a:pt x="3" y="379"/>
                      </a:lnTo>
                      <a:lnTo>
                        <a:pt x="2" y="363"/>
                      </a:lnTo>
                      <a:lnTo>
                        <a:pt x="0" y="347"/>
                      </a:lnTo>
                      <a:lnTo>
                        <a:pt x="0" y="329"/>
                      </a:lnTo>
                      <a:lnTo>
                        <a:pt x="0" y="329"/>
                      </a:lnTo>
                      <a:lnTo>
                        <a:pt x="0" y="313"/>
                      </a:lnTo>
                      <a:lnTo>
                        <a:pt x="2" y="296"/>
                      </a:lnTo>
                      <a:lnTo>
                        <a:pt x="3" y="279"/>
                      </a:lnTo>
                      <a:lnTo>
                        <a:pt x="6" y="263"/>
                      </a:lnTo>
                      <a:lnTo>
                        <a:pt x="10" y="247"/>
                      </a:lnTo>
                      <a:lnTo>
                        <a:pt x="15" y="231"/>
                      </a:lnTo>
                      <a:lnTo>
                        <a:pt x="26" y="202"/>
                      </a:lnTo>
                      <a:lnTo>
                        <a:pt x="39" y="173"/>
                      </a:lnTo>
                      <a:lnTo>
                        <a:pt x="55" y="145"/>
                      </a:lnTo>
                      <a:lnTo>
                        <a:pt x="74" y="120"/>
                      </a:lnTo>
                      <a:lnTo>
                        <a:pt x="96" y="97"/>
                      </a:lnTo>
                      <a:lnTo>
                        <a:pt x="120" y="75"/>
                      </a:lnTo>
                      <a:lnTo>
                        <a:pt x="145" y="57"/>
                      </a:lnTo>
                      <a:lnTo>
                        <a:pt x="172" y="40"/>
                      </a:lnTo>
                      <a:lnTo>
                        <a:pt x="200" y="27"/>
                      </a:lnTo>
                      <a:lnTo>
                        <a:pt x="231" y="15"/>
                      </a:lnTo>
                      <a:lnTo>
                        <a:pt x="246" y="11"/>
                      </a:lnTo>
                      <a:lnTo>
                        <a:pt x="262" y="7"/>
                      </a:lnTo>
                      <a:lnTo>
                        <a:pt x="278" y="4"/>
                      </a:lnTo>
                      <a:lnTo>
                        <a:pt x="294" y="3"/>
                      </a:lnTo>
                      <a:lnTo>
                        <a:pt x="312" y="1"/>
                      </a:lnTo>
                      <a:lnTo>
                        <a:pt x="328" y="0"/>
                      </a:lnTo>
                      <a:lnTo>
                        <a:pt x="328" y="0"/>
                      </a:lnTo>
                      <a:lnTo>
                        <a:pt x="345" y="1"/>
                      </a:lnTo>
                      <a:lnTo>
                        <a:pt x="361" y="3"/>
                      </a:lnTo>
                      <a:lnTo>
                        <a:pt x="379" y="4"/>
                      </a:lnTo>
                      <a:lnTo>
                        <a:pt x="395" y="7"/>
                      </a:lnTo>
                      <a:lnTo>
                        <a:pt x="410" y="11"/>
                      </a:lnTo>
                      <a:lnTo>
                        <a:pt x="426" y="15"/>
                      </a:lnTo>
                      <a:lnTo>
                        <a:pt x="455" y="27"/>
                      </a:lnTo>
                      <a:lnTo>
                        <a:pt x="485" y="40"/>
                      </a:lnTo>
                      <a:lnTo>
                        <a:pt x="512" y="57"/>
                      </a:lnTo>
                      <a:lnTo>
                        <a:pt x="537" y="75"/>
                      </a:lnTo>
                      <a:lnTo>
                        <a:pt x="560" y="97"/>
                      </a:lnTo>
                      <a:lnTo>
                        <a:pt x="582" y="120"/>
                      </a:lnTo>
                      <a:lnTo>
                        <a:pt x="600" y="145"/>
                      </a:lnTo>
                      <a:lnTo>
                        <a:pt x="616" y="173"/>
                      </a:lnTo>
                      <a:lnTo>
                        <a:pt x="631" y="202"/>
                      </a:lnTo>
                      <a:lnTo>
                        <a:pt x="642" y="231"/>
                      </a:lnTo>
                      <a:lnTo>
                        <a:pt x="646" y="247"/>
                      </a:lnTo>
                      <a:lnTo>
                        <a:pt x="650" y="263"/>
                      </a:lnTo>
                      <a:lnTo>
                        <a:pt x="653" y="279"/>
                      </a:lnTo>
                      <a:lnTo>
                        <a:pt x="655" y="296"/>
                      </a:lnTo>
                      <a:lnTo>
                        <a:pt x="657" y="313"/>
                      </a:lnTo>
                      <a:lnTo>
                        <a:pt x="657" y="329"/>
                      </a:lnTo>
                      <a:lnTo>
                        <a:pt x="657" y="329"/>
                      </a:lnTo>
                      <a:lnTo>
                        <a:pt x="657" y="347"/>
                      </a:lnTo>
                      <a:lnTo>
                        <a:pt x="655" y="363"/>
                      </a:lnTo>
                      <a:lnTo>
                        <a:pt x="653" y="379"/>
                      </a:lnTo>
                      <a:lnTo>
                        <a:pt x="650" y="395"/>
                      </a:lnTo>
                      <a:lnTo>
                        <a:pt x="646" y="411"/>
                      </a:lnTo>
                      <a:lnTo>
                        <a:pt x="642" y="427"/>
                      </a:lnTo>
                      <a:lnTo>
                        <a:pt x="631" y="457"/>
                      </a:lnTo>
                      <a:lnTo>
                        <a:pt x="616" y="486"/>
                      </a:lnTo>
                      <a:lnTo>
                        <a:pt x="600" y="513"/>
                      </a:lnTo>
                      <a:lnTo>
                        <a:pt x="582" y="539"/>
                      </a:lnTo>
                      <a:lnTo>
                        <a:pt x="560" y="561"/>
                      </a:lnTo>
                      <a:lnTo>
                        <a:pt x="537" y="583"/>
                      </a:lnTo>
                      <a:lnTo>
                        <a:pt x="512" y="602"/>
                      </a:lnTo>
                      <a:lnTo>
                        <a:pt x="485" y="618"/>
                      </a:lnTo>
                      <a:lnTo>
                        <a:pt x="455" y="632"/>
                      </a:lnTo>
                      <a:lnTo>
                        <a:pt x="426" y="643"/>
                      </a:lnTo>
                      <a:lnTo>
                        <a:pt x="410" y="647"/>
                      </a:lnTo>
                      <a:lnTo>
                        <a:pt x="395" y="651"/>
                      </a:lnTo>
                      <a:lnTo>
                        <a:pt x="379" y="654"/>
                      </a:lnTo>
                      <a:lnTo>
                        <a:pt x="361" y="657"/>
                      </a:lnTo>
                      <a:lnTo>
                        <a:pt x="345" y="658"/>
                      </a:lnTo>
                      <a:lnTo>
                        <a:pt x="328" y="658"/>
                      </a:lnTo>
                      <a:lnTo>
                        <a:pt x="328" y="658"/>
                      </a:lnTo>
                      <a:close/>
                      <a:moveTo>
                        <a:pt x="328" y="38"/>
                      </a:moveTo>
                      <a:lnTo>
                        <a:pt x="328" y="38"/>
                      </a:lnTo>
                      <a:lnTo>
                        <a:pt x="298" y="39"/>
                      </a:lnTo>
                      <a:lnTo>
                        <a:pt x="270" y="44"/>
                      </a:lnTo>
                      <a:lnTo>
                        <a:pt x="242" y="51"/>
                      </a:lnTo>
                      <a:lnTo>
                        <a:pt x="215" y="61"/>
                      </a:lnTo>
                      <a:lnTo>
                        <a:pt x="190" y="74"/>
                      </a:lnTo>
                      <a:lnTo>
                        <a:pt x="165" y="87"/>
                      </a:lnTo>
                      <a:lnTo>
                        <a:pt x="143" y="105"/>
                      </a:lnTo>
                      <a:lnTo>
                        <a:pt x="122" y="124"/>
                      </a:lnTo>
                      <a:lnTo>
                        <a:pt x="104" y="144"/>
                      </a:lnTo>
                      <a:lnTo>
                        <a:pt x="87" y="167"/>
                      </a:lnTo>
                      <a:lnTo>
                        <a:pt x="73" y="191"/>
                      </a:lnTo>
                      <a:lnTo>
                        <a:pt x="61" y="216"/>
                      </a:lnTo>
                      <a:lnTo>
                        <a:pt x="50" y="243"/>
                      </a:lnTo>
                      <a:lnTo>
                        <a:pt x="43" y="270"/>
                      </a:lnTo>
                      <a:lnTo>
                        <a:pt x="39" y="300"/>
                      </a:lnTo>
                      <a:lnTo>
                        <a:pt x="38" y="329"/>
                      </a:lnTo>
                      <a:lnTo>
                        <a:pt x="38" y="329"/>
                      </a:lnTo>
                      <a:lnTo>
                        <a:pt x="39" y="359"/>
                      </a:lnTo>
                      <a:lnTo>
                        <a:pt x="43" y="388"/>
                      </a:lnTo>
                      <a:lnTo>
                        <a:pt x="50" y="415"/>
                      </a:lnTo>
                      <a:lnTo>
                        <a:pt x="61" y="442"/>
                      </a:lnTo>
                      <a:lnTo>
                        <a:pt x="73" y="467"/>
                      </a:lnTo>
                      <a:lnTo>
                        <a:pt x="87" y="492"/>
                      </a:lnTo>
                      <a:lnTo>
                        <a:pt x="104" y="514"/>
                      </a:lnTo>
                      <a:lnTo>
                        <a:pt x="122" y="534"/>
                      </a:lnTo>
                      <a:lnTo>
                        <a:pt x="143" y="553"/>
                      </a:lnTo>
                      <a:lnTo>
                        <a:pt x="165" y="571"/>
                      </a:lnTo>
                      <a:lnTo>
                        <a:pt x="190" y="585"/>
                      </a:lnTo>
                      <a:lnTo>
                        <a:pt x="215" y="598"/>
                      </a:lnTo>
                      <a:lnTo>
                        <a:pt x="242" y="607"/>
                      </a:lnTo>
                      <a:lnTo>
                        <a:pt x="270" y="614"/>
                      </a:lnTo>
                      <a:lnTo>
                        <a:pt x="298" y="619"/>
                      </a:lnTo>
                      <a:lnTo>
                        <a:pt x="328" y="620"/>
                      </a:lnTo>
                      <a:lnTo>
                        <a:pt x="328" y="620"/>
                      </a:lnTo>
                      <a:lnTo>
                        <a:pt x="357" y="619"/>
                      </a:lnTo>
                      <a:lnTo>
                        <a:pt x="387" y="614"/>
                      </a:lnTo>
                      <a:lnTo>
                        <a:pt x="415" y="607"/>
                      </a:lnTo>
                      <a:lnTo>
                        <a:pt x="442" y="598"/>
                      </a:lnTo>
                      <a:lnTo>
                        <a:pt x="467" y="585"/>
                      </a:lnTo>
                      <a:lnTo>
                        <a:pt x="490" y="571"/>
                      </a:lnTo>
                      <a:lnTo>
                        <a:pt x="513" y="553"/>
                      </a:lnTo>
                      <a:lnTo>
                        <a:pt x="533" y="534"/>
                      </a:lnTo>
                      <a:lnTo>
                        <a:pt x="552" y="514"/>
                      </a:lnTo>
                      <a:lnTo>
                        <a:pt x="569" y="492"/>
                      </a:lnTo>
                      <a:lnTo>
                        <a:pt x="584" y="467"/>
                      </a:lnTo>
                      <a:lnTo>
                        <a:pt x="596" y="442"/>
                      </a:lnTo>
                      <a:lnTo>
                        <a:pt x="606" y="415"/>
                      </a:lnTo>
                      <a:lnTo>
                        <a:pt x="614" y="388"/>
                      </a:lnTo>
                      <a:lnTo>
                        <a:pt x="618" y="359"/>
                      </a:lnTo>
                      <a:lnTo>
                        <a:pt x="619" y="329"/>
                      </a:lnTo>
                      <a:lnTo>
                        <a:pt x="619" y="329"/>
                      </a:lnTo>
                      <a:lnTo>
                        <a:pt x="618" y="300"/>
                      </a:lnTo>
                      <a:lnTo>
                        <a:pt x="614" y="270"/>
                      </a:lnTo>
                      <a:lnTo>
                        <a:pt x="606" y="243"/>
                      </a:lnTo>
                      <a:lnTo>
                        <a:pt x="596" y="216"/>
                      </a:lnTo>
                      <a:lnTo>
                        <a:pt x="584" y="191"/>
                      </a:lnTo>
                      <a:lnTo>
                        <a:pt x="569" y="167"/>
                      </a:lnTo>
                      <a:lnTo>
                        <a:pt x="552" y="144"/>
                      </a:lnTo>
                      <a:lnTo>
                        <a:pt x="533" y="124"/>
                      </a:lnTo>
                      <a:lnTo>
                        <a:pt x="513" y="105"/>
                      </a:lnTo>
                      <a:lnTo>
                        <a:pt x="490" y="87"/>
                      </a:lnTo>
                      <a:lnTo>
                        <a:pt x="467" y="74"/>
                      </a:lnTo>
                      <a:lnTo>
                        <a:pt x="442" y="61"/>
                      </a:lnTo>
                      <a:lnTo>
                        <a:pt x="415" y="51"/>
                      </a:lnTo>
                      <a:lnTo>
                        <a:pt x="387" y="44"/>
                      </a:lnTo>
                      <a:lnTo>
                        <a:pt x="357" y="39"/>
                      </a:lnTo>
                      <a:lnTo>
                        <a:pt x="328" y="38"/>
                      </a:lnTo>
                      <a:lnTo>
                        <a:pt x="328"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9" name="Freeform 238">
                  <a:extLst>
                    <a:ext uri="{FF2B5EF4-FFF2-40B4-BE49-F238E27FC236}">
                      <a16:creationId xmlns:a16="http://schemas.microsoft.com/office/drawing/2014/main" id="{79D32719-228E-4ACA-857F-234A8392FB33}"/>
                    </a:ext>
                  </a:extLst>
                </p:cNvPr>
                <p:cNvSpPr>
                  <a:spLocks/>
                </p:cNvSpPr>
                <p:nvPr/>
              </p:nvSpPr>
              <p:spPr bwMode="auto">
                <a:xfrm>
                  <a:off x="3333751" y="2668588"/>
                  <a:ext cx="101600" cy="77788"/>
                </a:xfrm>
                <a:custGeom>
                  <a:avLst/>
                  <a:gdLst>
                    <a:gd name="T0" fmla="*/ 38 w 129"/>
                    <a:gd name="T1" fmla="*/ 98 h 98"/>
                    <a:gd name="T2" fmla="*/ 38 w 129"/>
                    <a:gd name="T3" fmla="*/ 98 h 98"/>
                    <a:gd name="T4" fmla="*/ 53 w 129"/>
                    <a:gd name="T5" fmla="*/ 76 h 98"/>
                    <a:gd name="T6" fmla="*/ 73 w 129"/>
                    <a:gd name="T7" fmla="*/ 52 h 98"/>
                    <a:gd name="T8" fmla="*/ 85 w 129"/>
                    <a:gd name="T9" fmla="*/ 40 h 98"/>
                    <a:gd name="T10" fmla="*/ 98 w 129"/>
                    <a:gd name="T11" fmla="*/ 28 h 98"/>
                    <a:gd name="T12" fmla="*/ 113 w 129"/>
                    <a:gd name="T13" fmla="*/ 16 h 98"/>
                    <a:gd name="T14" fmla="*/ 129 w 129"/>
                    <a:gd name="T15" fmla="*/ 4 h 98"/>
                    <a:gd name="T16" fmla="*/ 129 w 129"/>
                    <a:gd name="T17" fmla="*/ 4 h 98"/>
                    <a:gd name="T18" fmla="*/ 115 w 129"/>
                    <a:gd name="T19" fmla="*/ 1 h 98"/>
                    <a:gd name="T20" fmla="*/ 100 w 129"/>
                    <a:gd name="T21" fmla="*/ 0 h 98"/>
                    <a:gd name="T22" fmla="*/ 85 w 129"/>
                    <a:gd name="T23" fmla="*/ 1 h 98"/>
                    <a:gd name="T24" fmla="*/ 70 w 129"/>
                    <a:gd name="T25" fmla="*/ 4 h 98"/>
                    <a:gd name="T26" fmla="*/ 55 w 129"/>
                    <a:gd name="T27" fmla="*/ 8 h 98"/>
                    <a:gd name="T28" fmla="*/ 42 w 129"/>
                    <a:gd name="T29" fmla="*/ 14 h 98"/>
                    <a:gd name="T30" fmla="*/ 30 w 129"/>
                    <a:gd name="T31" fmla="*/ 22 h 98"/>
                    <a:gd name="T32" fmla="*/ 18 w 129"/>
                    <a:gd name="T33" fmla="*/ 33 h 98"/>
                    <a:gd name="T34" fmla="*/ 18 w 129"/>
                    <a:gd name="T35" fmla="*/ 33 h 98"/>
                    <a:gd name="T36" fmla="*/ 8 w 129"/>
                    <a:gd name="T37" fmla="*/ 44 h 98"/>
                    <a:gd name="T38" fmla="*/ 0 w 129"/>
                    <a:gd name="T39" fmla="*/ 56 h 98"/>
                    <a:gd name="T40" fmla="*/ 0 w 129"/>
                    <a:gd name="T41" fmla="*/ 56 h 98"/>
                    <a:gd name="T42" fmla="*/ 0 w 129"/>
                    <a:gd name="T43" fmla="*/ 59 h 98"/>
                    <a:gd name="T44" fmla="*/ 2 w 129"/>
                    <a:gd name="T45" fmla="*/ 61 h 98"/>
                    <a:gd name="T46" fmla="*/ 38 w 129"/>
                    <a:gd name="T4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9" h="98">
                      <a:moveTo>
                        <a:pt x="38" y="98"/>
                      </a:moveTo>
                      <a:lnTo>
                        <a:pt x="38" y="98"/>
                      </a:lnTo>
                      <a:lnTo>
                        <a:pt x="53" y="76"/>
                      </a:lnTo>
                      <a:lnTo>
                        <a:pt x="73" y="52"/>
                      </a:lnTo>
                      <a:lnTo>
                        <a:pt x="85" y="40"/>
                      </a:lnTo>
                      <a:lnTo>
                        <a:pt x="98" y="28"/>
                      </a:lnTo>
                      <a:lnTo>
                        <a:pt x="113" y="16"/>
                      </a:lnTo>
                      <a:lnTo>
                        <a:pt x="129" y="4"/>
                      </a:lnTo>
                      <a:lnTo>
                        <a:pt x="129" y="4"/>
                      </a:lnTo>
                      <a:lnTo>
                        <a:pt x="115" y="1"/>
                      </a:lnTo>
                      <a:lnTo>
                        <a:pt x="100" y="0"/>
                      </a:lnTo>
                      <a:lnTo>
                        <a:pt x="85" y="1"/>
                      </a:lnTo>
                      <a:lnTo>
                        <a:pt x="70" y="4"/>
                      </a:lnTo>
                      <a:lnTo>
                        <a:pt x="55" y="8"/>
                      </a:lnTo>
                      <a:lnTo>
                        <a:pt x="42" y="14"/>
                      </a:lnTo>
                      <a:lnTo>
                        <a:pt x="30" y="22"/>
                      </a:lnTo>
                      <a:lnTo>
                        <a:pt x="18" y="33"/>
                      </a:lnTo>
                      <a:lnTo>
                        <a:pt x="18" y="33"/>
                      </a:lnTo>
                      <a:lnTo>
                        <a:pt x="8" y="44"/>
                      </a:lnTo>
                      <a:lnTo>
                        <a:pt x="0" y="56"/>
                      </a:lnTo>
                      <a:lnTo>
                        <a:pt x="0" y="56"/>
                      </a:lnTo>
                      <a:lnTo>
                        <a:pt x="0" y="59"/>
                      </a:lnTo>
                      <a:lnTo>
                        <a:pt x="2" y="61"/>
                      </a:lnTo>
                      <a:lnTo>
                        <a:pt x="38" y="9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0" name="Freeform 239">
                  <a:extLst>
                    <a:ext uri="{FF2B5EF4-FFF2-40B4-BE49-F238E27FC236}">
                      <a16:creationId xmlns:a16="http://schemas.microsoft.com/office/drawing/2014/main" id="{2EC05831-4FF2-425C-92B7-D6D7E5C7CBCE}"/>
                    </a:ext>
                  </a:extLst>
                </p:cNvPr>
                <p:cNvSpPr>
                  <a:spLocks/>
                </p:cNvSpPr>
                <p:nvPr/>
              </p:nvSpPr>
              <p:spPr bwMode="auto">
                <a:xfrm>
                  <a:off x="3463926" y="2774950"/>
                  <a:ext cx="79375" cy="104775"/>
                </a:xfrm>
                <a:custGeom>
                  <a:avLst/>
                  <a:gdLst>
                    <a:gd name="T0" fmla="*/ 0 w 99"/>
                    <a:gd name="T1" fmla="*/ 92 h 130"/>
                    <a:gd name="T2" fmla="*/ 37 w 99"/>
                    <a:gd name="T3" fmla="*/ 129 h 130"/>
                    <a:gd name="T4" fmla="*/ 37 w 99"/>
                    <a:gd name="T5" fmla="*/ 129 h 130"/>
                    <a:gd name="T6" fmla="*/ 40 w 99"/>
                    <a:gd name="T7" fmla="*/ 130 h 130"/>
                    <a:gd name="T8" fmla="*/ 40 w 99"/>
                    <a:gd name="T9" fmla="*/ 130 h 130"/>
                    <a:gd name="T10" fmla="*/ 43 w 99"/>
                    <a:gd name="T11" fmla="*/ 129 h 130"/>
                    <a:gd name="T12" fmla="*/ 43 w 99"/>
                    <a:gd name="T13" fmla="*/ 129 h 130"/>
                    <a:gd name="T14" fmla="*/ 55 w 99"/>
                    <a:gd name="T15" fmla="*/ 121 h 130"/>
                    <a:gd name="T16" fmla="*/ 65 w 99"/>
                    <a:gd name="T17" fmla="*/ 111 h 130"/>
                    <a:gd name="T18" fmla="*/ 65 w 99"/>
                    <a:gd name="T19" fmla="*/ 111 h 130"/>
                    <a:gd name="T20" fmla="*/ 76 w 99"/>
                    <a:gd name="T21" fmla="*/ 101 h 130"/>
                    <a:gd name="T22" fmla="*/ 84 w 99"/>
                    <a:gd name="T23" fmla="*/ 87 h 130"/>
                    <a:gd name="T24" fmla="*/ 91 w 99"/>
                    <a:gd name="T25" fmla="*/ 74 h 130"/>
                    <a:gd name="T26" fmla="*/ 95 w 99"/>
                    <a:gd name="T27" fmla="*/ 60 h 130"/>
                    <a:gd name="T28" fmla="*/ 98 w 99"/>
                    <a:gd name="T29" fmla="*/ 45 h 130"/>
                    <a:gd name="T30" fmla="*/ 99 w 99"/>
                    <a:gd name="T31" fmla="*/ 31 h 130"/>
                    <a:gd name="T32" fmla="*/ 98 w 99"/>
                    <a:gd name="T33" fmla="*/ 16 h 130"/>
                    <a:gd name="T34" fmla="*/ 94 w 99"/>
                    <a:gd name="T35" fmla="*/ 0 h 130"/>
                    <a:gd name="T36" fmla="*/ 94 w 99"/>
                    <a:gd name="T37" fmla="*/ 0 h 130"/>
                    <a:gd name="T38" fmla="*/ 83 w 99"/>
                    <a:gd name="T39" fmla="*/ 16 h 130"/>
                    <a:gd name="T40" fmla="*/ 71 w 99"/>
                    <a:gd name="T41" fmla="*/ 31 h 130"/>
                    <a:gd name="T42" fmla="*/ 59 w 99"/>
                    <a:gd name="T43" fmla="*/ 44 h 130"/>
                    <a:gd name="T44" fmla="*/ 47 w 99"/>
                    <a:gd name="T45" fmla="*/ 56 h 130"/>
                    <a:gd name="T46" fmla="*/ 22 w 99"/>
                    <a:gd name="T47" fmla="*/ 76 h 130"/>
                    <a:gd name="T48" fmla="*/ 0 w 99"/>
                    <a:gd name="T49" fmla="*/ 92 h 130"/>
                    <a:gd name="T50" fmla="*/ 0 w 99"/>
                    <a:gd name="T51" fmla="*/ 92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9" h="130">
                      <a:moveTo>
                        <a:pt x="0" y="92"/>
                      </a:moveTo>
                      <a:lnTo>
                        <a:pt x="37" y="129"/>
                      </a:lnTo>
                      <a:lnTo>
                        <a:pt x="37" y="129"/>
                      </a:lnTo>
                      <a:lnTo>
                        <a:pt x="40" y="130"/>
                      </a:lnTo>
                      <a:lnTo>
                        <a:pt x="40" y="130"/>
                      </a:lnTo>
                      <a:lnTo>
                        <a:pt x="43" y="129"/>
                      </a:lnTo>
                      <a:lnTo>
                        <a:pt x="43" y="129"/>
                      </a:lnTo>
                      <a:lnTo>
                        <a:pt x="55" y="121"/>
                      </a:lnTo>
                      <a:lnTo>
                        <a:pt x="65" y="111"/>
                      </a:lnTo>
                      <a:lnTo>
                        <a:pt x="65" y="111"/>
                      </a:lnTo>
                      <a:lnTo>
                        <a:pt x="76" y="101"/>
                      </a:lnTo>
                      <a:lnTo>
                        <a:pt x="84" y="87"/>
                      </a:lnTo>
                      <a:lnTo>
                        <a:pt x="91" y="74"/>
                      </a:lnTo>
                      <a:lnTo>
                        <a:pt x="95" y="60"/>
                      </a:lnTo>
                      <a:lnTo>
                        <a:pt x="98" y="45"/>
                      </a:lnTo>
                      <a:lnTo>
                        <a:pt x="99" y="31"/>
                      </a:lnTo>
                      <a:lnTo>
                        <a:pt x="98" y="16"/>
                      </a:lnTo>
                      <a:lnTo>
                        <a:pt x="94" y="0"/>
                      </a:lnTo>
                      <a:lnTo>
                        <a:pt x="94" y="0"/>
                      </a:lnTo>
                      <a:lnTo>
                        <a:pt x="83" y="16"/>
                      </a:lnTo>
                      <a:lnTo>
                        <a:pt x="71" y="31"/>
                      </a:lnTo>
                      <a:lnTo>
                        <a:pt x="59" y="44"/>
                      </a:lnTo>
                      <a:lnTo>
                        <a:pt x="47" y="56"/>
                      </a:lnTo>
                      <a:lnTo>
                        <a:pt x="22" y="76"/>
                      </a:lnTo>
                      <a:lnTo>
                        <a:pt x="0" y="92"/>
                      </a:lnTo>
                      <a:lnTo>
                        <a:pt x="0" y="9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1" name="Freeform 240">
                  <a:extLst>
                    <a:ext uri="{FF2B5EF4-FFF2-40B4-BE49-F238E27FC236}">
                      <a16:creationId xmlns:a16="http://schemas.microsoft.com/office/drawing/2014/main" id="{0620DAD7-2D4F-4BED-8746-83F2D7851FE5}"/>
                    </a:ext>
                  </a:extLst>
                </p:cNvPr>
                <p:cNvSpPr>
                  <a:spLocks/>
                </p:cNvSpPr>
                <p:nvPr/>
              </p:nvSpPr>
              <p:spPr bwMode="auto">
                <a:xfrm>
                  <a:off x="3330576" y="2828925"/>
                  <a:ext cx="52388" cy="50800"/>
                </a:xfrm>
                <a:custGeom>
                  <a:avLst/>
                  <a:gdLst>
                    <a:gd name="T0" fmla="*/ 5 w 64"/>
                    <a:gd name="T1" fmla="*/ 64 h 64"/>
                    <a:gd name="T2" fmla="*/ 5 w 64"/>
                    <a:gd name="T3" fmla="*/ 64 h 64"/>
                    <a:gd name="T4" fmla="*/ 14 w 64"/>
                    <a:gd name="T5" fmla="*/ 64 h 64"/>
                    <a:gd name="T6" fmla="*/ 14 w 64"/>
                    <a:gd name="T7" fmla="*/ 64 h 64"/>
                    <a:gd name="T8" fmla="*/ 29 w 64"/>
                    <a:gd name="T9" fmla="*/ 64 h 64"/>
                    <a:gd name="T10" fmla="*/ 40 w 64"/>
                    <a:gd name="T11" fmla="*/ 63 h 64"/>
                    <a:gd name="T12" fmla="*/ 49 w 64"/>
                    <a:gd name="T13" fmla="*/ 59 h 64"/>
                    <a:gd name="T14" fmla="*/ 55 w 64"/>
                    <a:gd name="T15" fmla="*/ 55 h 64"/>
                    <a:gd name="T16" fmla="*/ 55 w 64"/>
                    <a:gd name="T17" fmla="*/ 55 h 64"/>
                    <a:gd name="T18" fmla="*/ 59 w 64"/>
                    <a:gd name="T19" fmla="*/ 50 h 64"/>
                    <a:gd name="T20" fmla="*/ 61 w 64"/>
                    <a:gd name="T21" fmla="*/ 44 h 64"/>
                    <a:gd name="T22" fmla="*/ 64 w 64"/>
                    <a:gd name="T23" fmla="*/ 39 h 64"/>
                    <a:gd name="T24" fmla="*/ 64 w 64"/>
                    <a:gd name="T25" fmla="*/ 32 h 64"/>
                    <a:gd name="T26" fmla="*/ 64 w 64"/>
                    <a:gd name="T27" fmla="*/ 32 h 64"/>
                    <a:gd name="T28" fmla="*/ 64 w 64"/>
                    <a:gd name="T29" fmla="*/ 27 h 64"/>
                    <a:gd name="T30" fmla="*/ 61 w 64"/>
                    <a:gd name="T31" fmla="*/ 20 h 64"/>
                    <a:gd name="T32" fmla="*/ 59 w 64"/>
                    <a:gd name="T33" fmla="*/ 15 h 64"/>
                    <a:gd name="T34" fmla="*/ 55 w 64"/>
                    <a:gd name="T35" fmla="*/ 9 h 64"/>
                    <a:gd name="T36" fmla="*/ 55 w 64"/>
                    <a:gd name="T37" fmla="*/ 9 h 64"/>
                    <a:gd name="T38" fmla="*/ 51 w 64"/>
                    <a:gd name="T39" fmla="*/ 5 h 64"/>
                    <a:gd name="T40" fmla="*/ 45 w 64"/>
                    <a:gd name="T41" fmla="*/ 3 h 64"/>
                    <a:gd name="T42" fmla="*/ 39 w 64"/>
                    <a:gd name="T43" fmla="*/ 1 h 64"/>
                    <a:gd name="T44" fmla="*/ 32 w 64"/>
                    <a:gd name="T45" fmla="*/ 0 h 64"/>
                    <a:gd name="T46" fmla="*/ 32 w 64"/>
                    <a:gd name="T47" fmla="*/ 0 h 64"/>
                    <a:gd name="T48" fmla="*/ 27 w 64"/>
                    <a:gd name="T49" fmla="*/ 1 h 64"/>
                    <a:gd name="T50" fmla="*/ 20 w 64"/>
                    <a:gd name="T51" fmla="*/ 3 h 64"/>
                    <a:gd name="T52" fmla="*/ 14 w 64"/>
                    <a:gd name="T53" fmla="*/ 5 h 64"/>
                    <a:gd name="T54" fmla="*/ 10 w 64"/>
                    <a:gd name="T55" fmla="*/ 9 h 64"/>
                    <a:gd name="T56" fmla="*/ 10 w 64"/>
                    <a:gd name="T57" fmla="*/ 9 h 64"/>
                    <a:gd name="T58" fmla="*/ 6 w 64"/>
                    <a:gd name="T59" fmla="*/ 15 h 64"/>
                    <a:gd name="T60" fmla="*/ 4 w 64"/>
                    <a:gd name="T61" fmla="*/ 23 h 64"/>
                    <a:gd name="T62" fmla="*/ 1 w 64"/>
                    <a:gd name="T63" fmla="*/ 30 h 64"/>
                    <a:gd name="T64" fmla="*/ 1 w 64"/>
                    <a:gd name="T65" fmla="*/ 38 h 64"/>
                    <a:gd name="T66" fmla="*/ 0 w 64"/>
                    <a:gd name="T67" fmla="*/ 52 h 64"/>
                    <a:gd name="T68" fmla="*/ 1 w 64"/>
                    <a:gd name="T69" fmla="*/ 60 h 64"/>
                    <a:gd name="T70" fmla="*/ 1 w 64"/>
                    <a:gd name="T71" fmla="*/ 60 h 64"/>
                    <a:gd name="T72" fmla="*/ 2 w 64"/>
                    <a:gd name="T73" fmla="*/ 63 h 64"/>
                    <a:gd name="T74" fmla="*/ 5 w 64"/>
                    <a:gd name="T75" fmla="*/ 64 h 64"/>
                    <a:gd name="T76" fmla="*/ 5 w 64"/>
                    <a:gd name="T7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4" h="64">
                      <a:moveTo>
                        <a:pt x="5" y="64"/>
                      </a:moveTo>
                      <a:lnTo>
                        <a:pt x="5" y="64"/>
                      </a:lnTo>
                      <a:lnTo>
                        <a:pt x="14" y="64"/>
                      </a:lnTo>
                      <a:lnTo>
                        <a:pt x="14" y="64"/>
                      </a:lnTo>
                      <a:lnTo>
                        <a:pt x="29" y="64"/>
                      </a:lnTo>
                      <a:lnTo>
                        <a:pt x="40" y="63"/>
                      </a:lnTo>
                      <a:lnTo>
                        <a:pt x="49" y="59"/>
                      </a:lnTo>
                      <a:lnTo>
                        <a:pt x="55" y="55"/>
                      </a:lnTo>
                      <a:lnTo>
                        <a:pt x="55" y="55"/>
                      </a:lnTo>
                      <a:lnTo>
                        <a:pt x="59" y="50"/>
                      </a:lnTo>
                      <a:lnTo>
                        <a:pt x="61" y="44"/>
                      </a:lnTo>
                      <a:lnTo>
                        <a:pt x="64" y="39"/>
                      </a:lnTo>
                      <a:lnTo>
                        <a:pt x="64" y="32"/>
                      </a:lnTo>
                      <a:lnTo>
                        <a:pt x="64" y="32"/>
                      </a:lnTo>
                      <a:lnTo>
                        <a:pt x="64" y="27"/>
                      </a:lnTo>
                      <a:lnTo>
                        <a:pt x="61" y="20"/>
                      </a:lnTo>
                      <a:lnTo>
                        <a:pt x="59" y="15"/>
                      </a:lnTo>
                      <a:lnTo>
                        <a:pt x="55" y="9"/>
                      </a:lnTo>
                      <a:lnTo>
                        <a:pt x="55" y="9"/>
                      </a:lnTo>
                      <a:lnTo>
                        <a:pt x="51" y="5"/>
                      </a:lnTo>
                      <a:lnTo>
                        <a:pt x="45" y="3"/>
                      </a:lnTo>
                      <a:lnTo>
                        <a:pt x="39" y="1"/>
                      </a:lnTo>
                      <a:lnTo>
                        <a:pt x="32" y="0"/>
                      </a:lnTo>
                      <a:lnTo>
                        <a:pt x="32" y="0"/>
                      </a:lnTo>
                      <a:lnTo>
                        <a:pt x="27" y="1"/>
                      </a:lnTo>
                      <a:lnTo>
                        <a:pt x="20" y="3"/>
                      </a:lnTo>
                      <a:lnTo>
                        <a:pt x="14" y="5"/>
                      </a:lnTo>
                      <a:lnTo>
                        <a:pt x="10" y="9"/>
                      </a:lnTo>
                      <a:lnTo>
                        <a:pt x="10" y="9"/>
                      </a:lnTo>
                      <a:lnTo>
                        <a:pt x="6" y="15"/>
                      </a:lnTo>
                      <a:lnTo>
                        <a:pt x="4" y="23"/>
                      </a:lnTo>
                      <a:lnTo>
                        <a:pt x="1" y="30"/>
                      </a:lnTo>
                      <a:lnTo>
                        <a:pt x="1" y="38"/>
                      </a:lnTo>
                      <a:lnTo>
                        <a:pt x="0" y="52"/>
                      </a:lnTo>
                      <a:lnTo>
                        <a:pt x="1" y="60"/>
                      </a:lnTo>
                      <a:lnTo>
                        <a:pt x="1" y="60"/>
                      </a:lnTo>
                      <a:lnTo>
                        <a:pt x="2" y="63"/>
                      </a:lnTo>
                      <a:lnTo>
                        <a:pt x="5" y="64"/>
                      </a:lnTo>
                      <a:lnTo>
                        <a:pt x="5" y="6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2" name="Freeform 241">
                  <a:extLst>
                    <a:ext uri="{FF2B5EF4-FFF2-40B4-BE49-F238E27FC236}">
                      <a16:creationId xmlns:a16="http://schemas.microsoft.com/office/drawing/2014/main" id="{6593401E-6C68-4468-A7EA-DA0323FAFA66}"/>
                    </a:ext>
                  </a:extLst>
                </p:cNvPr>
                <p:cNvSpPr>
                  <a:spLocks/>
                </p:cNvSpPr>
                <p:nvPr/>
              </p:nvSpPr>
              <p:spPr bwMode="auto">
                <a:xfrm>
                  <a:off x="3492501" y="2638425"/>
                  <a:ext cx="80963" cy="80963"/>
                </a:xfrm>
                <a:custGeom>
                  <a:avLst/>
                  <a:gdLst>
                    <a:gd name="T0" fmla="*/ 79 w 102"/>
                    <a:gd name="T1" fmla="*/ 102 h 102"/>
                    <a:gd name="T2" fmla="*/ 79 w 102"/>
                    <a:gd name="T3" fmla="*/ 102 h 102"/>
                    <a:gd name="T4" fmla="*/ 87 w 102"/>
                    <a:gd name="T5" fmla="*/ 80 h 102"/>
                    <a:gd name="T6" fmla="*/ 94 w 102"/>
                    <a:gd name="T7" fmla="*/ 56 h 102"/>
                    <a:gd name="T8" fmla="*/ 99 w 102"/>
                    <a:gd name="T9" fmla="*/ 32 h 102"/>
                    <a:gd name="T10" fmla="*/ 102 w 102"/>
                    <a:gd name="T11" fmla="*/ 5 h 102"/>
                    <a:gd name="T12" fmla="*/ 102 w 102"/>
                    <a:gd name="T13" fmla="*/ 5 h 102"/>
                    <a:gd name="T14" fmla="*/ 100 w 102"/>
                    <a:gd name="T15" fmla="*/ 4 h 102"/>
                    <a:gd name="T16" fmla="*/ 99 w 102"/>
                    <a:gd name="T17" fmla="*/ 1 h 102"/>
                    <a:gd name="T18" fmla="*/ 99 w 102"/>
                    <a:gd name="T19" fmla="*/ 1 h 102"/>
                    <a:gd name="T20" fmla="*/ 98 w 102"/>
                    <a:gd name="T21" fmla="*/ 0 h 102"/>
                    <a:gd name="T22" fmla="*/ 96 w 102"/>
                    <a:gd name="T23" fmla="*/ 0 h 102"/>
                    <a:gd name="T24" fmla="*/ 96 w 102"/>
                    <a:gd name="T25" fmla="*/ 0 h 102"/>
                    <a:gd name="T26" fmla="*/ 70 w 102"/>
                    <a:gd name="T27" fmla="*/ 2 h 102"/>
                    <a:gd name="T28" fmla="*/ 44 w 102"/>
                    <a:gd name="T29" fmla="*/ 6 h 102"/>
                    <a:gd name="T30" fmla="*/ 21 w 102"/>
                    <a:gd name="T31" fmla="*/ 13 h 102"/>
                    <a:gd name="T32" fmla="*/ 0 w 102"/>
                    <a:gd name="T33" fmla="*/ 21 h 102"/>
                    <a:gd name="T34" fmla="*/ 79 w 102"/>
                    <a:gd name="T35"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2" h="102">
                      <a:moveTo>
                        <a:pt x="79" y="102"/>
                      </a:moveTo>
                      <a:lnTo>
                        <a:pt x="79" y="102"/>
                      </a:lnTo>
                      <a:lnTo>
                        <a:pt x="87" y="80"/>
                      </a:lnTo>
                      <a:lnTo>
                        <a:pt x="94" y="56"/>
                      </a:lnTo>
                      <a:lnTo>
                        <a:pt x="99" y="32"/>
                      </a:lnTo>
                      <a:lnTo>
                        <a:pt x="102" y="5"/>
                      </a:lnTo>
                      <a:lnTo>
                        <a:pt x="102" y="5"/>
                      </a:lnTo>
                      <a:lnTo>
                        <a:pt x="100" y="4"/>
                      </a:lnTo>
                      <a:lnTo>
                        <a:pt x="99" y="1"/>
                      </a:lnTo>
                      <a:lnTo>
                        <a:pt x="99" y="1"/>
                      </a:lnTo>
                      <a:lnTo>
                        <a:pt x="98" y="0"/>
                      </a:lnTo>
                      <a:lnTo>
                        <a:pt x="96" y="0"/>
                      </a:lnTo>
                      <a:lnTo>
                        <a:pt x="96" y="0"/>
                      </a:lnTo>
                      <a:lnTo>
                        <a:pt x="70" y="2"/>
                      </a:lnTo>
                      <a:lnTo>
                        <a:pt x="44" y="6"/>
                      </a:lnTo>
                      <a:lnTo>
                        <a:pt x="21" y="13"/>
                      </a:lnTo>
                      <a:lnTo>
                        <a:pt x="0" y="21"/>
                      </a:lnTo>
                      <a:lnTo>
                        <a:pt x="79" y="10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3" name="Freeform 242">
                  <a:extLst>
                    <a:ext uri="{FF2B5EF4-FFF2-40B4-BE49-F238E27FC236}">
                      <a16:creationId xmlns:a16="http://schemas.microsoft.com/office/drawing/2014/main" id="{A14026AC-997C-4332-A62A-484AB9A214DA}"/>
                    </a:ext>
                  </a:extLst>
                </p:cNvPr>
                <p:cNvSpPr>
                  <a:spLocks noEditPoints="1"/>
                </p:cNvSpPr>
                <p:nvPr/>
              </p:nvSpPr>
              <p:spPr bwMode="auto">
                <a:xfrm>
                  <a:off x="3360738" y="2667000"/>
                  <a:ext cx="184150" cy="184150"/>
                </a:xfrm>
                <a:custGeom>
                  <a:avLst/>
                  <a:gdLst>
                    <a:gd name="T0" fmla="*/ 147 w 231"/>
                    <a:gd name="T1" fmla="*/ 0 h 232"/>
                    <a:gd name="T2" fmla="*/ 110 w 231"/>
                    <a:gd name="T3" fmla="*/ 20 h 232"/>
                    <a:gd name="T4" fmla="*/ 80 w 231"/>
                    <a:gd name="T5" fmla="*/ 44 h 232"/>
                    <a:gd name="T6" fmla="*/ 54 w 231"/>
                    <a:gd name="T7" fmla="*/ 68 h 232"/>
                    <a:gd name="T8" fmla="*/ 19 w 231"/>
                    <a:gd name="T9" fmla="*/ 114 h 232"/>
                    <a:gd name="T10" fmla="*/ 0 w 231"/>
                    <a:gd name="T11" fmla="*/ 149 h 232"/>
                    <a:gd name="T12" fmla="*/ 0 w 231"/>
                    <a:gd name="T13" fmla="*/ 152 h 232"/>
                    <a:gd name="T14" fmla="*/ 78 w 231"/>
                    <a:gd name="T15" fmla="*/ 231 h 232"/>
                    <a:gd name="T16" fmla="*/ 81 w 231"/>
                    <a:gd name="T17" fmla="*/ 232 h 232"/>
                    <a:gd name="T18" fmla="*/ 84 w 231"/>
                    <a:gd name="T19" fmla="*/ 232 h 232"/>
                    <a:gd name="T20" fmla="*/ 100 w 231"/>
                    <a:gd name="T21" fmla="*/ 223 h 232"/>
                    <a:gd name="T22" fmla="*/ 140 w 231"/>
                    <a:gd name="T23" fmla="*/ 197 h 232"/>
                    <a:gd name="T24" fmla="*/ 176 w 231"/>
                    <a:gd name="T25" fmla="*/ 165 h 232"/>
                    <a:gd name="T26" fmla="*/ 200 w 231"/>
                    <a:gd name="T27" fmla="*/ 138 h 232"/>
                    <a:gd name="T28" fmla="*/ 222 w 231"/>
                    <a:gd name="T29" fmla="*/ 105 h 232"/>
                    <a:gd name="T30" fmla="*/ 147 w 231"/>
                    <a:gd name="T31" fmla="*/ 0 h 232"/>
                    <a:gd name="T32" fmla="*/ 152 w 231"/>
                    <a:gd name="T33" fmla="*/ 126 h 232"/>
                    <a:gd name="T34" fmla="*/ 141 w 231"/>
                    <a:gd name="T35" fmla="*/ 133 h 232"/>
                    <a:gd name="T36" fmla="*/ 129 w 231"/>
                    <a:gd name="T37" fmla="*/ 135 h 232"/>
                    <a:gd name="T38" fmla="*/ 122 w 231"/>
                    <a:gd name="T39" fmla="*/ 134 h 232"/>
                    <a:gd name="T40" fmla="*/ 112 w 231"/>
                    <a:gd name="T41" fmla="*/ 130 h 232"/>
                    <a:gd name="T42" fmla="*/ 106 w 231"/>
                    <a:gd name="T43" fmla="*/ 126 h 232"/>
                    <a:gd name="T44" fmla="*/ 100 w 231"/>
                    <a:gd name="T45" fmla="*/ 115 h 232"/>
                    <a:gd name="T46" fmla="*/ 97 w 231"/>
                    <a:gd name="T47" fmla="*/ 103 h 232"/>
                    <a:gd name="T48" fmla="*/ 100 w 231"/>
                    <a:gd name="T49" fmla="*/ 91 h 232"/>
                    <a:gd name="T50" fmla="*/ 106 w 231"/>
                    <a:gd name="T51" fmla="*/ 80 h 232"/>
                    <a:gd name="T52" fmla="*/ 112 w 231"/>
                    <a:gd name="T53" fmla="*/ 76 h 232"/>
                    <a:gd name="T54" fmla="*/ 122 w 231"/>
                    <a:gd name="T55" fmla="*/ 71 h 232"/>
                    <a:gd name="T56" fmla="*/ 129 w 231"/>
                    <a:gd name="T57" fmla="*/ 71 h 232"/>
                    <a:gd name="T58" fmla="*/ 141 w 231"/>
                    <a:gd name="T59" fmla="*/ 74 h 232"/>
                    <a:gd name="T60" fmla="*/ 152 w 231"/>
                    <a:gd name="T61" fmla="*/ 80 h 232"/>
                    <a:gd name="T62" fmla="*/ 156 w 231"/>
                    <a:gd name="T63" fmla="*/ 86 h 232"/>
                    <a:gd name="T64" fmla="*/ 160 w 231"/>
                    <a:gd name="T65" fmla="*/ 97 h 232"/>
                    <a:gd name="T66" fmla="*/ 160 w 231"/>
                    <a:gd name="T67" fmla="*/ 109 h 232"/>
                    <a:gd name="T68" fmla="*/ 156 w 231"/>
                    <a:gd name="T69" fmla="*/ 121 h 232"/>
                    <a:gd name="T70" fmla="*/ 152 w 231"/>
                    <a:gd name="T71" fmla="*/ 12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1" h="232">
                      <a:moveTo>
                        <a:pt x="147" y="0"/>
                      </a:moveTo>
                      <a:lnTo>
                        <a:pt x="147" y="0"/>
                      </a:lnTo>
                      <a:lnTo>
                        <a:pt x="128" y="9"/>
                      </a:lnTo>
                      <a:lnTo>
                        <a:pt x="110" y="20"/>
                      </a:lnTo>
                      <a:lnTo>
                        <a:pt x="94" y="32"/>
                      </a:lnTo>
                      <a:lnTo>
                        <a:pt x="80" y="44"/>
                      </a:lnTo>
                      <a:lnTo>
                        <a:pt x="66" y="56"/>
                      </a:lnTo>
                      <a:lnTo>
                        <a:pt x="54" y="68"/>
                      </a:lnTo>
                      <a:lnTo>
                        <a:pt x="34" y="93"/>
                      </a:lnTo>
                      <a:lnTo>
                        <a:pt x="19" y="114"/>
                      </a:lnTo>
                      <a:lnTo>
                        <a:pt x="8" y="131"/>
                      </a:lnTo>
                      <a:lnTo>
                        <a:pt x="0" y="149"/>
                      </a:lnTo>
                      <a:lnTo>
                        <a:pt x="0" y="149"/>
                      </a:lnTo>
                      <a:lnTo>
                        <a:pt x="0" y="152"/>
                      </a:lnTo>
                      <a:lnTo>
                        <a:pt x="2" y="154"/>
                      </a:lnTo>
                      <a:lnTo>
                        <a:pt x="78" y="231"/>
                      </a:lnTo>
                      <a:lnTo>
                        <a:pt x="78" y="231"/>
                      </a:lnTo>
                      <a:lnTo>
                        <a:pt x="81" y="232"/>
                      </a:lnTo>
                      <a:lnTo>
                        <a:pt x="81" y="232"/>
                      </a:lnTo>
                      <a:lnTo>
                        <a:pt x="84" y="232"/>
                      </a:lnTo>
                      <a:lnTo>
                        <a:pt x="84" y="232"/>
                      </a:lnTo>
                      <a:lnTo>
                        <a:pt x="100" y="223"/>
                      </a:lnTo>
                      <a:lnTo>
                        <a:pt x="118" y="212"/>
                      </a:lnTo>
                      <a:lnTo>
                        <a:pt x="140" y="197"/>
                      </a:lnTo>
                      <a:lnTo>
                        <a:pt x="164" y="177"/>
                      </a:lnTo>
                      <a:lnTo>
                        <a:pt x="176" y="165"/>
                      </a:lnTo>
                      <a:lnTo>
                        <a:pt x="188" y="152"/>
                      </a:lnTo>
                      <a:lnTo>
                        <a:pt x="200" y="138"/>
                      </a:lnTo>
                      <a:lnTo>
                        <a:pt x="211" y="122"/>
                      </a:lnTo>
                      <a:lnTo>
                        <a:pt x="222" y="105"/>
                      </a:lnTo>
                      <a:lnTo>
                        <a:pt x="231" y="86"/>
                      </a:lnTo>
                      <a:lnTo>
                        <a:pt x="147" y="0"/>
                      </a:lnTo>
                      <a:close/>
                      <a:moveTo>
                        <a:pt x="152" y="126"/>
                      </a:moveTo>
                      <a:lnTo>
                        <a:pt x="152" y="126"/>
                      </a:lnTo>
                      <a:lnTo>
                        <a:pt x="147" y="130"/>
                      </a:lnTo>
                      <a:lnTo>
                        <a:pt x="141" y="133"/>
                      </a:lnTo>
                      <a:lnTo>
                        <a:pt x="136" y="134"/>
                      </a:lnTo>
                      <a:lnTo>
                        <a:pt x="129" y="135"/>
                      </a:lnTo>
                      <a:lnTo>
                        <a:pt x="129" y="135"/>
                      </a:lnTo>
                      <a:lnTo>
                        <a:pt x="122" y="134"/>
                      </a:lnTo>
                      <a:lnTo>
                        <a:pt x="117" y="133"/>
                      </a:lnTo>
                      <a:lnTo>
                        <a:pt x="112" y="130"/>
                      </a:lnTo>
                      <a:lnTo>
                        <a:pt x="106" y="126"/>
                      </a:lnTo>
                      <a:lnTo>
                        <a:pt x="106" y="126"/>
                      </a:lnTo>
                      <a:lnTo>
                        <a:pt x="102" y="121"/>
                      </a:lnTo>
                      <a:lnTo>
                        <a:pt x="100" y="115"/>
                      </a:lnTo>
                      <a:lnTo>
                        <a:pt x="97" y="109"/>
                      </a:lnTo>
                      <a:lnTo>
                        <a:pt x="97" y="103"/>
                      </a:lnTo>
                      <a:lnTo>
                        <a:pt x="97" y="97"/>
                      </a:lnTo>
                      <a:lnTo>
                        <a:pt x="100" y="91"/>
                      </a:lnTo>
                      <a:lnTo>
                        <a:pt x="102" y="86"/>
                      </a:lnTo>
                      <a:lnTo>
                        <a:pt x="106" y="80"/>
                      </a:lnTo>
                      <a:lnTo>
                        <a:pt x="106" y="80"/>
                      </a:lnTo>
                      <a:lnTo>
                        <a:pt x="112" y="76"/>
                      </a:lnTo>
                      <a:lnTo>
                        <a:pt x="117" y="74"/>
                      </a:lnTo>
                      <a:lnTo>
                        <a:pt x="122" y="71"/>
                      </a:lnTo>
                      <a:lnTo>
                        <a:pt x="129" y="71"/>
                      </a:lnTo>
                      <a:lnTo>
                        <a:pt x="129" y="71"/>
                      </a:lnTo>
                      <a:lnTo>
                        <a:pt x="136" y="71"/>
                      </a:lnTo>
                      <a:lnTo>
                        <a:pt x="141" y="74"/>
                      </a:lnTo>
                      <a:lnTo>
                        <a:pt x="147" y="76"/>
                      </a:lnTo>
                      <a:lnTo>
                        <a:pt x="152" y="80"/>
                      </a:lnTo>
                      <a:lnTo>
                        <a:pt x="152" y="80"/>
                      </a:lnTo>
                      <a:lnTo>
                        <a:pt x="156" y="86"/>
                      </a:lnTo>
                      <a:lnTo>
                        <a:pt x="159" y="91"/>
                      </a:lnTo>
                      <a:lnTo>
                        <a:pt x="160" y="97"/>
                      </a:lnTo>
                      <a:lnTo>
                        <a:pt x="161" y="103"/>
                      </a:lnTo>
                      <a:lnTo>
                        <a:pt x="160" y="109"/>
                      </a:lnTo>
                      <a:lnTo>
                        <a:pt x="159" y="115"/>
                      </a:lnTo>
                      <a:lnTo>
                        <a:pt x="156" y="121"/>
                      </a:lnTo>
                      <a:lnTo>
                        <a:pt x="152" y="126"/>
                      </a:lnTo>
                      <a:lnTo>
                        <a:pt x="152" y="1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sp>
          <p:nvSpPr>
            <p:cNvPr id="64" name="Isosceles Triangle 63">
              <a:extLst>
                <a:ext uri="{FF2B5EF4-FFF2-40B4-BE49-F238E27FC236}">
                  <a16:creationId xmlns:a16="http://schemas.microsoft.com/office/drawing/2014/main" id="{CA50E2B5-7191-481B-B570-D5227F0FBDAE}"/>
                </a:ext>
              </a:extLst>
            </p:cNvPr>
            <p:cNvSpPr/>
            <p:nvPr/>
          </p:nvSpPr>
          <p:spPr>
            <a:xfrm rot="10800000">
              <a:off x="5422193" y="1038113"/>
              <a:ext cx="92498" cy="79740"/>
            </a:xfrm>
            <a:prstGeom prst="triangle">
              <a:avLst/>
            </a:prstGeom>
            <a:solidFill>
              <a:schemeClr val="tx1"/>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65" name="Isosceles Triangle 64">
              <a:extLst>
                <a:ext uri="{FF2B5EF4-FFF2-40B4-BE49-F238E27FC236}">
                  <a16:creationId xmlns:a16="http://schemas.microsoft.com/office/drawing/2014/main" id="{4459BEA1-0B80-4344-B856-8B3D584EAB2C}"/>
                </a:ext>
              </a:extLst>
            </p:cNvPr>
            <p:cNvSpPr/>
            <p:nvPr/>
          </p:nvSpPr>
          <p:spPr>
            <a:xfrm>
              <a:off x="7043908" y="1965911"/>
              <a:ext cx="92498" cy="79740"/>
            </a:xfrm>
            <a:prstGeom prst="triangle">
              <a:avLst/>
            </a:prstGeom>
            <a:solidFill>
              <a:schemeClr val="tx1"/>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grpSp>
        <p:nvGrpSpPr>
          <p:cNvPr id="96" name="Group 95">
            <a:extLst>
              <a:ext uri="{FF2B5EF4-FFF2-40B4-BE49-F238E27FC236}">
                <a16:creationId xmlns:a16="http://schemas.microsoft.com/office/drawing/2014/main" id="{8E003DD3-1D27-43D2-BBD9-05DF6A1C5B67}"/>
              </a:ext>
            </a:extLst>
          </p:cNvPr>
          <p:cNvGrpSpPr/>
          <p:nvPr/>
        </p:nvGrpSpPr>
        <p:grpSpPr>
          <a:xfrm>
            <a:off x="914400" y="3705365"/>
            <a:ext cx="10565176" cy="263535"/>
            <a:chOff x="914400" y="5767779"/>
            <a:chExt cx="10565176" cy="263535"/>
          </a:xfrm>
        </p:grpSpPr>
        <p:sp>
          <p:nvSpPr>
            <p:cNvPr id="97" name="Rectangle 96">
              <a:extLst>
                <a:ext uri="{FF2B5EF4-FFF2-40B4-BE49-F238E27FC236}">
                  <a16:creationId xmlns:a16="http://schemas.microsoft.com/office/drawing/2014/main" id="{5CB54596-5F3E-4AFA-86B7-B865B3C5E227}"/>
                </a:ext>
              </a:extLst>
            </p:cNvPr>
            <p:cNvSpPr/>
            <p:nvPr/>
          </p:nvSpPr>
          <p:spPr>
            <a:xfrm>
              <a:off x="914400" y="5783311"/>
              <a:ext cx="10565176" cy="22122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98" name="Group 97">
              <a:extLst>
                <a:ext uri="{FF2B5EF4-FFF2-40B4-BE49-F238E27FC236}">
                  <a16:creationId xmlns:a16="http://schemas.microsoft.com/office/drawing/2014/main" id="{755FB7E7-266B-4A0C-A2FC-D2E4AA100F58}"/>
                </a:ext>
              </a:extLst>
            </p:cNvPr>
            <p:cNvGrpSpPr/>
            <p:nvPr/>
          </p:nvGrpSpPr>
          <p:grpSpPr>
            <a:xfrm>
              <a:off x="1970918" y="5783311"/>
              <a:ext cx="8452144" cy="221228"/>
              <a:chOff x="1970918" y="5001028"/>
              <a:chExt cx="8452144" cy="583894"/>
            </a:xfrm>
          </p:grpSpPr>
          <p:cxnSp>
            <p:nvCxnSpPr>
              <p:cNvPr id="109" name="Straight Connector 108">
                <a:extLst>
                  <a:ext uri="{FF2B5EF4-FFF2-40B4-BE49-F238E27FC236}">
                    <a16:creationId xmlns:a16="http://schemas.microsoft.com/office/drawing/2014/main" id="{88CD7CFA-4A96-4EC3-AD78-E8737FBD460A}"/>
                  </a:ext>
                </a:extLst>
              </p:cNvPr>
              <p:cNvCxnSpPr>
                <a:cxnSpLocks/>
              </p:cNvCxnSpPr>
              <p:nvPr/>
            </p:nvCxnSpPr>
            <p:spPr>
              <a:xfrm>
                <a:off x="1970918" y="5001028"/>
                <a:ext cx="0" cy="583894"/>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4A215B2A-97AA-450B-8535-5471BDEC5A9B}"/>
                  </a:ext>
                </a:extLst>
              </p:cNvPr>
              <p:cNvCxnSpPr>
                <a:cxnSpLocks/>
              </p:cNvCxnSpPr>
              <p:nvPr/>
            </p:nvCxnSpPr>
            <p:spPr>
              <a:xfrm>
                <a:off x="3027436" y="5001028"/>
                <a:ext cx="0" cy="583894"/>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468D4532-9B8D-4BD8-9A97-9F1174572DD2}"/>
                  </a:ext>
                </a:extLst>
              </p:cNvPr>
              <p:cNvCxnSpPr>
                <a:cxnSpLocks/>
              </p:cNvCxnSpPr>
              <p:nvPr/>
            </p:nvCxnSpPr>
            <p:spPr>
              <a:xfrm>
                <a:off x="4083954" y="5001028"/>
                <a:ext cx="0" cy="583894"/>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22E99901-FE06-4F18-B9EA-3168C2DC91FF}"/>
                  </a:ext>
                </a:extLst>
              </p:cNvPr>
              <p:cNvCxnSpPr>
                <a:cxnSpLocks/>
              </p:cNvCxnSpPr>
              <p:nvPr/>
            </p:nvCxnSpPr>
            <p:spPr>
              <a:xfrm>
                <a:off x="5140472" y="5001028"/>
                <a:ext cx="0" cy="583894"/>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35B969E2-D1DF-45CF-A09B-0BA32E12D5A9}"/>
                  </a:ext>
                </a:extLst>
              </p:cNvPr>
              <p:cNvCxnSpPr>
                <a:cxnSpLocks/>
              </p:cNvCxnSpPr>
              <p:nvPr/>
            </p:nvCxnSpPr>
            <p:spPr>
              <a:xfrm>
                <a:off x="6196990" y="5001028"/>
                <a:ext cx="0" cy="583894"/>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B1E6C00C-8B00-4CDB-9771-EF583AAEAFCF}"/>
                  </a:ext>
                </a:extLst>
              </p:cNvPr>
              <p:cNvCxnSpPr>
                <a:cxnSpLocks/>
              </p:cNvCxnSpPr>
              <p:nvPr/>
            </p:nvCxnSpPr>
            <p:spPr>
              <a:xfrm>
                <a:off x="7253508" y="5001028"/>
                <a:ext cx="0" cy="583894"/>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22A1A9B4-3A99-4BB5-A22A-C4233B4FB3ED}"/>
                  </a:ext>
                </a:extLst>
              </p:cNvPr>
              <p:cNvCxnSpPr>
                <a:cxnSpLocks/>
              </p:cNvCxnSpPr>
              <p:nvPr/>
            </p:nvCxnSpPr>
            <p:spPr>
              <a:xfrm>
                <a:off x="8310026" y="5001028"/>
                <a:ext cx="0" cy="583894"/>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78B54BC5-CDEB-437A-9F4A-A2C89178D9C4}"/>
                  </a:ext>
                </a:extLst>
              </p:cNvPr>
              <p:cNvCxnSpPr>
                <a:cxnSpLocks/>
              </p:cNvCxnSpPr>
              <p:nvPr/>
            </p:nvCxnSpPr>
            <p:spPr>
              <a:xfrm>
                <a:off x="9366544" y="5001028"/>
                <a:ext cx="0" cy="583894"/>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5C7F9F8E-B6DC-4CB3-9787-08B7A217100F}"/>
                  </a:ext>
                </a:extLst>
              </p:cNvPr>
              <p:cNvCxnSpPr>
                <a:cxnSpLocks/>
              </p:cNvCxnSpPr>
              <p:nvPr/>
            </p:nvCxnSpPr>
            <p:spPr>
              <a:xfrm>
                <a:off x="10423062" y="5001028"/>
                <a:ext cx="0" cy="583894"/>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99" name="TextBox 98">
              <a:extLst>
                <a:ext uri="{FF2B5EF4-FFF2-40B4-BE49-F238E27FC236}">
                  <a16:creationId xmlns:a16="http://schemas.microsoft.com/office/drawing/2014/main" id="{644A2154-0449-4B62-B512-E48C7D44AB60}"/>
                </a:ext>
              </a:extLst>
            </p:cNvPr>
            <p:cNvSpPr txBox="1"/>
            <p:nvPr/>
          </p:nvSpPr>
          <p:spPr>
            <a:xfrm>
              <a:off x="1123501" y="5767779"/>
              <a:ext cx="63831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250" normalizeH="0" baseline="0" noProof="0" dirty="0">
                  <a:ln>
                    <a:noFill/>
                  </a:ln>
                  <a:solidFill>
                    <a:srgbClr val="FFFFFF"/>
                  </a:solidFill>
                  <a:effectLst/>
                  <a:uLnTx/>
                  <a:uFillTx/>
                  <a:latin typeface="Open Sans"/>
                  <a:ea typeface="+mn-ea"/>
                  <a:cs typeface="+mn-cs"/>
                </a:rPr>
                <a:t>SEPT</a:t>
              </a:r>
            </a:p>
          </p:txBody>
        </p:sp>
        <p:sp>
          <p:nvSpPr>
            <p:cNvPr id="100" name="TextBox 99">
              <a:extLst>
                <a:ext uri="{FF2B5EF4-FFF2-40B4-BE49-F238E27FC236}">
                  <a16:creationId xmlns:a16="http://schemas.microsoft.com/office/drawing/2014/main" id="{49A8A8BC-C0CB-4595-9DB7-1CA3BD81BE01}"/>
                </a:ext>
              </a:extLst>
            </p:cNvPr>
            <p:cNvSpPr txBox="1"/>
            <p:nvPr/>
          </p:nvSpPr>
          <p:spPr>
            <a:xfrm>
              <a:off x="2204311" y="5769704"/>
              <a:ext cx="564578"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250" normalizeH="0" baseline="0" noProof="0" dirty="0">
                  <a:ln>
                    <a:noFill/>
                  </a:ln>
                  <a:solidFill>
                    <a:srgbClr val="FFFFFF"/>
                  </a:solidFill>
                  <a:effectLst/>
                  <a:uLnTx/>
                  <a:uFillTx/>
                  <a:latin typeface="Open Sans"/>
                  <a:ea typeface="+mn-ea"/>
                  <a:cs typeface="+mn-cs"/>
                </a:rPr>
                <a:t>OCT</a:t>
              </a:r>
            </a:p>
          </p:txBody>
        </p:sp>
        <p:sp>
          <p:nvSpPr>
            <p:cNvPr id="101" name="TextBox 100">
              <a:extLst>
                <a:ext uri="{FF2B5EF4-FFF2-40B4-BE49-F238E27FC236}">
                  <a16:creationId xmlns:a16="http://schemas.microsoft.com/office/drawing/2014/main" id="{FD45E0D5-04C3-440F-B1C5-AA13B592804E}"/>
                </a:ext>
              </a:extLst>
            </p:cNvPr>
            <p:cNvSpPr txBox="1"/>
            <p:nvPr/>
          </p:nvSpPr>
          <p:spPr>
            <a:xfrm>
              <a:off x="3255773" y="5769704"/>
              <a:ext cx="599844"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250" normalizeH="0" baseline="0" noProof="0" dirty="0">
                  <a:ln>
                    <a:noFill/>
                  </a:ln>
                  <a:solidFill>
                    <a:srgbClr val="FFFFFF"/>
                  </a:solidFill>
                  <a:effectLst/>
                  <a:uLnTx/>
                  <a:uFillTx/>
                  <a:latin typeface="Open Sans"/>
                  <a:ea typeface="+mn-ea"/>
                  <a:cs typeface="+mn-cs"/>
                </a:rPr>
                <a:t>NOV</a:t>
              </a:r>
            </a:p>
          </p:txBody>
        </p:sp>
        <p:sp>
          <p:nvSpPr>
            <p:cNvPr id="102" name="TextBox 101">
              <a:extLst>
                <a:ext uri="{FF2B5EF4-FFF2-40B4-BE49-F238E27FC236}">
                  <a16:creationId xmlns:a16="http://schemas.microsoft.com/office/drawing/2014/main" id="{3E436A71-2DE3-4739-91F3-4DE3D65B50F6}"/>
                </a:ext>
              </a:extLst>
            </p:cNvPr>
            <p:cNvSpPr txBox="1"/>
            <p:nvPr/>
          </p:nvSpPr>
          <p:spPr>
            <a:xfrm>
              <a:off x="4335534" y="5769704"/>
              <a:ext cx="553358"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250" normalizeH="0" baseline="0" noProof="0" dirty="0">
                  <a:ln>
                    <a:noFill/>
                  </a:ln>
                  <a:solidFill>
                    <a:srgbClr val="FFFFFF"/>
                  </a:solidFill>
                  <a:effectLst/>
                  <a:uLnTx/>
                  <a:uFillTx/>
                  <a:latin typeface="Open Sans"/>
                  <a:ea typeface="+mn-ea"/>
                  <a:cs typeface="+mn-cs"/>
                </a:rPr>
                <a:t>DEC</a:t>
              </a:r>
            </a:p>
          </p:txBody>
        </p:sp>
        <p:sp>
          <p:nvSpPr>
            <p:cNvPr id="103" name="TextBox 102">
              <a:extLst>
                <a:ext uri="{FF2B5EF4-FFF2-40B4-BE49-F238E27FC236}">
                  <a16:creationId xmlns:a16="http://schemas.microsoft.com/office/drawing/2014/main" id="{BD548F56-C8FC-4E19-9F75-65C3ECA7A973}"/>
                </a:ext>
              </a:extLst>
            </p:cNvPr>
            <p:cNvSpPr txBox="1"/>
            <p:nvPr/>
          </p:nvSpPr>
          <p:spPr>
            <a:xfrm>
              <a:off x="5398464" y="5769704"/>
              <a:ext cx="540534"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250" normalizeH="0" baseline="0" noProof="0" dirty="0">
                  <a:ln>
                    <a:noFill/>
                  </a:ln>
                  <a:solidFill>
                    <a:srgbClr val="FFFFFF"/>
                  </a:solidFill>
                  <a:effectLst/>
                  <a:uLnTx/>
                  <a:uFillTx/>
                  <a:latin typeface="Open Sans"/>
                  <a:ea typeface="+mn-ea"/>
                  <a:cs typeface="+mn-cs"/>
                </a:rPr>
                <a:t>JAN</a:t>
              </a:r>
            </a:p>
          </p:txBody>
        </p:sp>
        <p:sp>
          <p:nvSpPr>
            <p:cNvPr id="104" name="TextBox 103">
              <a:extLst>
                <a:ext uri="{FF2B5EF4-FFF2-40B4-BE49-F238E27FC236}">
                  <a16:creationId xmlns:a16="http://schemas.microsoft.com/office/drawing/2014/main" id="{70DF7732-86E8-44FF-A421-DCAD473BCDDF}"/>
                </a:ext>
              </a:extLst>
            </p:cNvPr>
            <p:cNvSpPr txBox="1"/>
            <p:nvPr/>
          </p:nvSpPr>
          <p:spPr>
            <a:xfrm>
              <a:off x="6459792" y="5769704"/>
              <a:ext cx="530915"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250" normalizeH="0" baseline="0" noProof="0" dirty="0">
                  <a:ln>
                    <a:noFill/>
                  </a:ln>
                  <a:solidFill>
                    <a:srgbClr val="FFFFFF"/>
                  </a:solidFill>
                  <a:effectLst/>
                  <a:uLnTx/>
                  <a:uFillTx/>
                  <a:latin typeface="Open Sans"/>
                  <a:ea typeface="+mn-ea"/>
                  <a:cs typeface="+mn-cs"/>
                </a:rPr>
                <a:t>FEB</a:t>
              </a:r>
            </a:p>
          </p:txBody>
        </p:sp>
        <p:sp>
          <p:nvSpPr>
            <p:cNvPr id="105" name="TextBox 104">
              <a:extLst>
                <a:ext uri="{FF2B5EF4-FFF2-40B4-BE49-F238E27FC236}">
                  <a16:creationId xmlns:a16="http://schemas.microsoft.com/office/drawing/2014/main" id="{79F038B5-7D1E-4339-8CD3-D9236E43BC5F}"/>
                </a:ext>
              </a:extLst>
            </p:cNvPr>
            <p:cNvSpPr txBox="1"/>
            <p:nvPr/>
          </p:nvSpPr>
          <p:spPr>
            <a:xfrm>
              <a:off x="7348796" y="5769704"/>
              <a:ext cx="865943"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250" normalizeH="0" baseline="0" noProof="0" dirty="0">
                  <a:ln>
                    <a:noFill/>
                  </a:ln>
                  <a:solidFill>
                    <a:srgbClr val="FFFFFF"/>
                  </a:solidFill>
                  <a:effectLst/>
                  <a:uLnTx/>
                  <a:uFillTx/>
                  <a:latin typeface="Open Sans"/>
                  <a:ea typeface="+mn-ea"/>
                  <a:cs typeface="+mn-cs"/>
                </a:rPr>
                <a:t>MARCH</a:t>
              </a:r>
            </a:p>
          </p:txBody>
        </p:sp>
        <p:sp>
          <p:nvSpPr>
            <p:cNvPr id="106" name="TextBox 105">
              <a:extLst>
                <a:ext uri="{FF2B5EF4-FFF2-40B4-BE49-F238E27FC236}">
                  <a16:creationId xmlns:a16="http://schemas.microsoft.com/office/drawing/2014/main" id="{FAB1593C-8A85-4CF8-8231-665D8D741B59}"/>
                </a:ext>
              </a:extLst>
            </p:cNvPr>
            <p:cNvSpPr txBox="1"/>
            <p:nvPr/>
          </p:nvSpPr>
          <p:spPr>
            <a:xfrm>
              <a:off x="8463022" y="5769704"/>
              <a:ext cx="75052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250" normalizeH="0" baseline="0" noProof="0" dirty="0">
                  <a:ln>
                    <a:noFill/>
                  </a:ln>
                  <a:solidFill>
                    <a:srgbClr val="FFFFFF"/>
                  </a:solidFill>
                  <a:effectLst/>
                  <a:uLnTx/>
                  <a:uFillTx/>
                  <a:latin typeface="Open Sans"/>
                  <a:ea typeface="+mn-ea"/>
                  <a:cs typeface="+mn-cs"/>
                </a:rPr>
                <a:t>APRIL</a:t>
              </a:r>
            </a:p>
          </p:txBody>
        </p:sp>
        <p:sp>
          <p:nvSpPr>
            <p:cNvPr id="107" name="TextBox 106">
              <a:extLst>
                <a:ext uri="{FF2B5EF4-FFF2-40B4-BE49-F238E27FC236}">
                  <a16:creationId xmlns:a16="http://schemas.microsoft.com/office/drawing/2014/main" id="{07C0479C-98DE-4B66-A861-73890284D7B0}"/>
                </a:ext>
              </a:extLst>
            </p:cNvPr>
            <p:cNvSpPr txBox="1"/>
            <p:nvPr/>
          </p:nvSpPr>
          <p:spPr>
            <a:xfrm>
              <a:off x="9594881" y="5769704"/>
              <a:ext cx="599844"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250" normalizeH="0" baseline="0" noProof="0" dirty="0">
                  <a:ln>
                    <a:noFill/>
                  </a:ln>
                  <a:solidFill>
                    <a:srgbClr val="FFFFFF"/>
                  </a:solidFill>
                  <a:effectLst/>
                  <a:uLnTx/>
                  <a:uFillTx/>
                  <a:latin typeface="Open Sans"/>
                  <a:ea typeface="+mn-ea"/>
                  <a:cs typeface="+mn-cs"/>
                </a:rPr>
                <a:t>MAY</a:t>
              </a:r>
            </a:p>
          </p:txBody>
        </p:sp>
        <p:sp>
          <p:nvSpPr>
            <p:cNvPr id="108" name="TextBox 107">
              <a:extLst>
                <a:ext uri="{FF2B5EF4-FFF2-40B4-BE49-F238E27FC236}">
                  <a16:creationId xmlns:a16="http://schemas.microsoft.com/office/drawing/2014/main" id="{CD257DCD-F8F0-4BD3-8155-1746CC1ED0DA}"/>
                </a:ext>
              </a:extLst>
            </p:cNvPr>
            <p:cNvSpPr txBox="1"/>
            <p:nvPr/>
          </p:nvSpPr>
          <p:spPr>
            <a:xfrm>
              <a:off x="10620940" y="5769704"/>
              <a:ext cx="660758"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250" normalizeH="0" baseline="0" noProof="0" dirty="0">
                  <a:ln>
                    <a:noFill/>
                  </a:ln>
                  <a:solidFill>
                    <a:srgbClr val="FFFFFF"/>
                  </a:solidFill>
                  <a:effectLst/>
                  <a:uLnTx/>
                  <a:uFillTx/>
                  <a:latin typeface="Open Sans"/>
                  <a:ea typeface="+mn-ea"/>
                  <a:cs typeface="+mn-cs"/>
                </a:rPr>
                <a:t>JUNE</a:t>
              </a:r>
            </a:p>
          </p:txBody>
        </p:sp>
      </p:grpSp>
      <p:cxnSp>
        <p:nvCxnSpPr>
          <p:cNvPr id="118" name="Straight Connector 117">
            <a:extLst>
              <a:ext uri="{FF2B5EF4-FFF2-40B4-BE49-F238E27FC236}">
                <a16:creationId xmlns:a16="http://schemas.microsoft.com/office/drawing/2014/main" id="{BA047E03-31D1-4903-88E3-3EEC31F06F6E}"/>
              </a:ext>
            </a:extLst>
          </p:cNvPr>
          <p:cNvCxnSpPr>
            <a:cxnSpLocks/>
          </p:cNvCxnSpPr>
          <p:nvPr/>
        </p:nvCxnSpPr>
        <p:spPr>
          <a:xfrm>
            <a:off x="7410001" y="3939086"/>
            <a:ext cx="0" cy="280176"/>
          </a:xfrm>
          <a:prstGeom prst="line">
            <a:avLst/>
          </a:prstGeom>
          <a:ln w="1905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19" name="Rectangle 118">
            <a:extLst>
              <a:ext uri="{FF2B5EF4-FFF2-40B4-BE49-F238E27FC236}">
                <a16:creationId xmlns:a16="http://schemas.microsoft.com/office/drawing/2014/main" id="{DA4249F8-5B0D-4241-9EF1-774BCB4DB601}"/>
              </a:ext>
            </a:extLst>
          </p:cNvPr>
          <p:cNvSpPr/>
          <p:nvPr/>
        </p:nvSpPr>
        <p:spPr>
          <a:xfrm>
            <a:off x="5610932" y="3396237"/>
            <a:ext cx="1172112" cy="2212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mn-cs"/>
              </a:rPr>
              <a:t>9 Months</a:t>
            </a:r>
          </a:p>
        </p:txBody>
      </p:sp>
      <p:sp>
        <p:nvSpPr>
          <p:cNvPr id="120" name="Freeform 217">
            <a:extLst>
              <a:ext uri="{FF2B5EF4-FFF2-40B4-BE49-F238E27FC236}">
                <a16:creationId xmlns:a16="http://schemas.microsoft.com/office/drawing/2014/main" id="{5EF0B3FB-A576-4C86-83A7-5432B31A60E7}"/>
              </a:ext>
            </a:extLst>
          </p:cNvPr>
          <p:cNvSpPr>
            <a:spLocks/>
          </p:cNvSpPr>
          <p:nvPr/>
        </p:nvSpPr>
        <p:spPr bwMode="auto">
          <a:xfrm>
            <a:off x="850282" y="4438489"/>
            <a:ext cx="492540" cy="465836"/>
          </a:xfrm>
          <a:custGeom>
            <a:avLst/>
            <a:gdLst>
              <a:gd name="T0" fmla="*/ 330 w 330"/>
              <a:gd name="T1" fmla="*/ 120 h 314"/>
              <a:gd name="T2" fmla="*/ 330 w 330"/>
              <a:gd name="T3" fmla="*/ 120 h 314"/>
              <a:gd name="T4" fmla="*/ 328 w 330"/>
              <a:gd name="T5" fmla="*/ 117 h 314"/>
              <a:gd name="T6" fmla="*/ 325 w 330"/>
              <a:gd name="T7" fmla="*/ 116 h 314"/>
              <a:gd name="T8" fmla="*/ 217 w 330"/>
              <a:gd name="T9" fmla="*/ 101 h 314"/>
              <a:gd name="T10" fmla="*/ 170 w 330"/>
              <a:gd name="T11" fmla="*/ 4 h 314"/>
              <a:gd name="T12" fmla="*/ 170 w 330"/>
              <a:gd name="T13" fmla="*/ 4 h 314"/>
              <a:gd name="T14" fmla="*/ 168 w 330"/>
              <a:gd name="T15" fmla="*/ 1 h 314"/>
              <a:gd name="T16" fmla="*/ 165 w 330"/>
              <a:gd name="T17" fmla="*/ 0 h 314"/>
              <a:gd name="T18" fmla="*/ 162 w 330"/>
              <a:gd name="T19" fmla="*/ 1 h 314"/>
              <a:gd name="T20" fmla="*/ 160 w 330"/>
              <a:gd name="T21" fmla="*/ 4 h 314"/>
              <a:gd name="T22" fmla="*/ 111 w 330"/>
              <a:gd name="T23" fmla="*/ 101 h 314"/>
              <a:gd name="T24" fmla="*/ 5 w 330"/>
              <a:gd name="T25" fmla="*/ 116 h 314"/>
              <a:gd name="T26" fmla="*/ 5 w 330"/>
              <a:gd name="T27" fmla="*/ 116 h 314"/>
              <a:gd name="T28" fmla="*/ 2 w 330"/>
              <a:gd name="T29" fmla="*/ 117 h 314"/>
              <a:gd name="T30" fmla="*/ 0 w 330"/>
              <a:gd name="T31" fmla="*/ 120 h 314"/>
              <a:gd name="T32" fmla="*/ 0 w 330"/>
              <a:gd name="T33" fmla="*/ 120 h 314"/>
              <a:gd name="T34" fmla="*/ 0 w 330"/>
              <a:gd name="T35" fmla="*/ 124 h 314"/>
              <a:gd name="T36" fmla="*/ 1 w 330"/>
              <a:gd name="T37" fmla="*/ 126 h 314"/>
              <a:gd name="T38" fmla="*/ 79 w 330"/>
              <a:gd name="T39" fmla="*/ 202 h 314"/>
              <a:gd name="T40" fmla="*/ 60 w 330"/>
              <a:gd name="T41" fmla="*/ 308 h 314"/>
              <a:gd name="T42" fmla="*/ 60 w 330"/>
              <a:gd name="T43" fmla="*/ 308 h 314"/>
              <a:gd name="T44" fmla="*/ 62 w 330"/>
              <a:gd name="T45" fmla="*/ 312 h 314"/>
              <a:gd name="T46" fmla="*/ 63 w 330"/>
              <a:gd name="T47" fmla="*/ 314 h 314"/>
              <a:gd name="T48" fmla="*/ 63 w 330"/>
              <a:gd name="T49" fmla="*/ 314 h 314"/>
              <a:gd name="T50" fmla="*/ 66 w 330"/>
              <a:gd name="T51" fmla="*/ 314 h 314"/>
              <a:gd name="T52" fmla="*/ 70 w 330"/>
              <a:gd name="T53" fmla="*/ 314 h 314"/>
              <a:gd name="T54" fmla="*/ 165 w 330"/>
              <a:gd name="T55" fmla="*/ 263 h 314"/>
              <a:gd name="T56" fmla="*/ 260 w 330"/>
              <a:gd name="T57" fmla="*/ 314 h 314"/>
              <a:gd name="T58" fmla="*/ 260 w 330"/>
              <a:gd name="T59" fmla="*/ 314 h 314"/>
              <a:gd name="T60" fmla="*/ 263 w 330"/>
              <a:gd name="T61" fmla="*/ 314 h 314"/>
              <a:gd name="T62" fmla="*/ 263 w 330"/>
              <a:gd name="T63" fmla="*/ 314 h 314"/>
              <a:gd name="T64" fmla="*/ 267 w 330"/>
              <a:gd name="T65" fmla="*/ 314 h 314"/>
              <a:gd name="T66" fmla="*/ 267 w 330"/>
              <a:gd name="T67" fmla="*/ 314 h 314"/>
              <a:gd name="T68" fmla="*/ 268 w 330"/>
              <a:gd name="T69" fmla="*/ 312 h 314"/>
              <a:gd name="T70" fmla="*/ 268 w 330"/>
              <a:gd name="T71" fmla="*/ 308 h 314"/>
              <a:gd name="T72" fmla="*/ 251 w 330"/>
              <a:gd name="T73" fmla="*/ 202 h 314"/>
              <a:gd name="T74" fmla="*/ 329 w 330"/>
              <a:gd name="T75" fmla="*/ 126 h 314"/>
              <a:gd name="T76" fmla="*/ 329 w 330"/>
              <a:gd name="T77" fmla="*/ 126 h 314"/>
              <a:gd name="T78" fmla="*/ 330 w 330"/>
              <a:gd name="T79" fmla="*/ 124 h 314"/>
              <a:gd name="T80" fmla="*/ 330 w 330"/>
              <a:gd name="T81" fmla="*/ 120 h 314"/>
              <a:gd name="T82" fmla="*/ 330 w 330"/>
              <a:gd name="T83" fmla="*/ 12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0" h="314">
                <a:moveTo>
                  <a:pt x="330" y="120"/>
                </a:moveTo>
                <a:lnTo>
                  <a:pt x="330" y="120"/>
                </a:lnTo>
                <a:lnTo>
                  <a:pt x="328" y="117"/>
                </a:lnTo>
                <a:lnTo>
                  <a:pt x="325" y="116"/>
                </a:lnTo>
                <a:lnTo>
                  <a:pt x="217" y="101"/>
                </a:lnTo>
                <a:lnTo>
                  <a:pt x="170" y="4"/>
                </a:lnTo>
                <a:lnTo>
                  <a:pt x="170" y="4"/>
                </a:lnTo>
                <a:lnTo>
                  <a:pt x="168" y="1"/>
                </a:lnTo>
                <a:lnTo>
                  <a:pt x="165" y="0"/>
                </a:lnTo>
                <a:lnTo>
                  <a:pt x="162" y="1"/>
                </a:lnTo>
                <a:lnTo>
                  <a:pt x="160" y="4"/>
                </a:lnTo>
                <a:lnTo>
                  <a:pt x="111" y="101"/>
                </a:lnTo>
                <a:lnTo>
                  <a:pt x="5" y="116"/>
                </a:lnTo>
                <a:lnTo>
                  <a:pt x="5" y="116"/>
                </a:lnTo>
                <a:lnTo>
                  <a:pt x="2" y="117"/>
                </a:lnTo>
                <a:lnTo>
                  <a:pt x="0" y="120"/>
                </a:lnTo>
                <a:lnTo>
                  <a:pt x="0" y="120"/>
                </a:lnTo>
                <a:lnTo>
                  <a:pt x="0" y="124"/>
                </a:lnTo>
                <a:lnTo>
                  <a:pt x="1" y="126"/>
                </a:lnTo>
                <a:lnTo>
                  <a:pt x="79" y="202"/>
                </a:lnTo>
                <a:lnTo>
                  <a:pt x="60" y="308"/>
                </a:lnTo>
                <a:lnTo>
                  <a:pt x="60" y="308"/>
                </a:lnTo>
                <a:lnTo>
                  <a:pt x="62" y="312"/>
                </a:lnTo>
                <a:lnTo>
                  <a:pt x="63" y="314"/>
                </a:lnTo>
                <a:lnTo>
                  <a:pt x="63" y="314"/>
                </a:lnTo>
                <a:lnTo>
                  <a:pt x="66" y="314"/>
                </a:lnTo>
                <a:lnTo>
                  <a:pt x="70" y="314"/>
                </a:lnTo>
                <a:lnTo>
                  <a:pt x="165" y="263"/>
                </a:lnTo>
                <a:lnTo>
                  <a:pt x="260" y="314"/>
                </a:lnTo>
                <a:lnTo>
                  <a:pt x="260" y="314"/>
                </a:lnTo>
                <a:lnTo>
                  <a:pt x="263" y="314"/>
                </a:lnTo>
                <a:lnTo>
                  <a:pt x="263" y="314"/>
                </a:lnTo>
                <a:lnTo>
                  <a:pt x="267" y="314"/>
                </a:lnTo>
                <a:lnTo>
                  <a:pt x="267" y="314"/>
                </a:lnTo>
                <a:lnTo>
                  <a:pt x="268" y="312"/>
                </a:lnTo>
                <a:lnTo>
                  <a:pt x="268" y="308"/>
                </a:lnTo>
                <a:lnTo>
                  <a:pt x="251" y="202"/>
                </a:lnTo>
                <a:lnTo>
                  <a:pt x="329" y="126"/>
                </a:lnTo>
                <a:lnTo>
                  <a:pt x="329" y="126"/>
                </a:lnTo>
                <a:lnTo>
                  <a:pt x="330" y="124"/>
                </a:lnTo>
                <a:lnTo>
                  <a:pt x="330" y="120"/>
                </a:lnTo>
                <a:lnTo>
                  <a:pt x="33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1" name="Freeform 217">
            <a:extLst>
              <a:ext uri="{FF2B5EF4-FFF2-40B4-BE49-F238E27FC236}">
                <a16:creationId xmlns:a16="http://schemas.microsoft.com/office/drawing/2014/main" id="{FA77ED2C-242D-48A3-B3E4-D926670D94EA}"/>
              </a:ext>
            </a:extLst>
          </p:cNvPr>
          <p:cNvSpPr>
            <a:spLocks/>
          </p:cNvSpPr>
          <p:nvPr/>
        </p:nvSpPr>
        <p:spPr bwMode="auto">
          <a:xfrm>
            <a:off x="4039532" y="4438489"/>
            <a:ext cx="492540" cy="465836"/>
          </a:xfrm>
          <a:custGeom>
            <a:avLst/>
            <a:gdLst>
              <a:gd name="T0" fmla="*/ 330 w 330"/>
              <a:gd name="T1" fmla="*/ 120 h 314"/>
              <a:gd name="T2" fmla="*/ 330 w 330"/>
              <a:gd name="T3" fmla="*/ 120 h 314"/>
              <a:gd name="T4" fmla="*/ 328 w 330"/>
              <a:gd name="T5" fmla="*/ 117 h 314"/>
              <a:gd name="T6" fmla="*/ 325 w 330"/>
              <a:gd name="T7" fmla="*/ 116 h 314"/>
              <a:gd name="T8" fmla="*/ 217 w 330"/>
              <a:gd name="T9" fmla="*/ 101 h 314"/>
              <a:gd name="T10" fmla="*/ 170 w 330"/>
              <a:gd name="T11" fmla="*/ 4 h 314"/>
              <a:gd name="T12" fmla="*/ 170 w 330"/>
              <a:gd name="T13" fmla="*/ 4 h 314"/>
              <a:gd name="T14" fmla="*/ 168 w 330"/>
              <a:gd name="T15" fmla="*/ 1 h 314"/>
              <a:gd name="T16" fmla="*/ 165 w 330"/>
              <a:gd name="T17" fmla="*/ 0 h 314"/>
              <a:gd name="T18" fmla="*/ 162 w 330"/>
              <a:gd name="T19" fmla="*/ 1 h 314"/>
              <a:gd name="T20" fmla="*/ 160 w 330"/>
              <a:gd name="T21" fmla="*/ 4 h 314"/>
              <a:gd name="T22" fmla="*/ 111 w 330"/>
              <a:gd name="T23" fmla="*/ 101 h 314"/>
              <a:gd name="T24" fmla="*/ 5 w 330"/>
              <a:gd name="T25" fmla="*/ 116 h 314"/>
              <a:gd name="T26" fmla="*/ 5 w 330"/>
              <a:gd name="T27" fmla="*/ 116 h 314"/>
              <a:gd name="T28" fmla="*/ 2 w 330"/>
              <a:gd name="T29" fmla="*/ 117 h 314"/>
              <a:gd name="T30" fmla="*/ 0 w 330"/>
              <a:gd name="T31" fmla="*/ 120 h 314"/>
              <a:gd name="T32" fmla="*/ 0 w 330"/>
              <a:gd name="T33" fmla="*/ 120 h 314"/>
              <a:gd name="T34" fmla="*/ 0 w 330"/>
              <a:gd name="T35" fmla="*/ 124 h 314"/>
              <a:gd name="T36" fmla="*/ 1 w 330"/>
              <a:gd name="T37" fmla="*/ 126 h 314"/>
              <a:gd name="T38" fmla="*/ 79 w 330"/>
              <a:gd name="T39" fmla="*/ 202 h 314"/>
              <a:gd name="T40" fmla="*/ 60 w 330"/>
              <a:gd name="T41" fmla="*/ 308 h 314"/>
              <a:gd name="T42" fmla="*/ 60 w 330"/>
              <a:gd name="T43" fmla="*/ 308 h 314"/>
              <a:gd name="T44" fmla="*/ 62 w 330"/>
              <a:gd name="T45" fmla="*/ 312 h 314"/>
              <a:gd name="T46" fmla="*/ 63 w 330"/>
              <a:gd name="T47" fmla="*/ 314 h 314"/>
              <a:gd name="T48" fmla="*/ 63 w 330"/>
              <a:gd name="T49" fmla="*/ 314 h 314"/>
              <a:gd name="T50" fmla="*/ 66 w 330"/>
              <a:gd name="T51" fmla="*/ 314 h 314"/>
              <a:gd name="T52" fmla="*/ 70 w 330"/>
              <a:gd name="T53" fmla="*/ 314 h 314"/>
              <a:gd name="T54" fmla="*/ 165 w 330"/>
              <a:gd name="T55" fmla="*/ 263 h 314"/>
              <a:gd name="T56" fmla="*/ 260 w 330"/>
              <a:gd name="T57" fmla="*/ 314 h 314"/>
              <a:gd name="T58" fmla="*/ 260 w 330"/>
              <a:gd name="T59" fmla="*/ 314 h 314"/>
              <a:gd name="T60" fmla="*/ 263 w 330"/>
              <a:gd name="T61" fmla="*/ 314 h 314"/>
              <a:gd name="T62" fmla="*/ 263 w 330"/>
              <a:gd name="T63" fmla="*/ 314 h 314"/>
              <a:gd name="T64" fmla="*/ 267 w 330"/>
              <a:gd name="T65" fmla="*/ 314 h 314"/>
              <a:gd name="T66" fmla="*/ 267 w 330"/>
              <a:gd name="T67" fmla="*/ 314 h 314"/>
              <a:gd name="T68" fmla="*/ 268 w 330"/>
              <a:gd name="T69" fmla="*/ 312 h 314"/>
              <a:gd name="T70" fmla="*/ 268 w 330"/>
              <a:gd name="T71" fmla="*/ 308 h 314"/>
              <a:gd name="T72" fmla="*/ 251 w 330"/>
              <a:gd name="T73" fmla="*/ 202 h 314"/>
              <a:gd name="T74" fmla="*/ 329 w 330"/>
              <a:gd name="T75" fmla="*/ 126 h 314"/>
              <a:gd name="T76" fmla="*/ 329 w 330"/>
              <a:gd name="T77" fmla="*/ 126 h 314"/>
              <a:gd name="T78" fmla="*/ 330 w 330"/>
              <a:gd name="T79" fmla="*/ 124 h 314"/>
              <a:gd name="T80" fmla="*/ 330 w 330"/>
              <a:gd name="T81" fmla="*/ 120 h 314"/>
              <a:gd name="T82" fmla="*/ 330 w 330"/>
              <a:gd name="T83" fmla="*/ 12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0" h="314">
                <a:moveTo>
                  <a:pt x="330" y="120"/>
                </a:moveTo>
                <a:lnTo>
                  <a:pt x="330" y="120"/>
                </a:lnTo>
                <a:lnTo>
                  <a:pt x="328" y="117"/>
                </a:lnTo>
                <a:lnTo>
                  <a:pt x="325" y="116"/>
                </a:lnTo>
                <a:lnTo>
                  <a:pt x="217" y="101"/>
                </a:lnTo>
                <a:lnTo>
                  <a:pt x="170" y="4"/>
                </a:lnTo>
                <a:lnTo>
                  <a:pt x="170" y="4"/>
                </a:lnTo>
                <a:lnTo>
                  <a:pt x="168" y="1"/>
                </a:lnTo>
                <a:lnTo>
                  <a:pt x="165" y="0"/>
                </a:lnTo>
                <a:lnTo>
                  <a:pt x="162" y="1"/>
                </a:lnTo>
                <a:lnTo>
                  <a:pt x="160" y="4"/>
                </a:lnTo>
                <a:lnTo>
                  <a:pt x="111" y="101"/>
                </a:lnTo>
                <a:lnTo>
                  <a:pt x="5" y="116"/>
                </a:lnTo>
                <a:lnTo>
                  <a:pt x="5" y="116"/>
                </a:lnTo>
                <a:lnTo>
                  <a:pt x="2" y="117"/>
                </a:lnTo>
                <a:lnTo>
                  <a:pt x="0" y="120"/>
                </a:lnTo>
                <a:lnTo>
                  <a:pt x="0" y="120"/>
                </a:lnTo>
                <a:lnTo>
                  <a:pt x="0" y="124"/>
                </a:lnTo>
                <a:lnTo>
                  <a:pt x="1" y="126"/>
                </a:lnTo>
                <a:lnTo>
                  <a:pt x="79" y="202"/>
                </a:lnTo>
                <a:lnTo>
                  <a:pt x="60" y="308"/>
                </a:lnTo>
                <a:lnTo>
                  <a:pt x="60" y="308"/>
                </a:lnTo>
                <a:lnTo>
                  <a:pt x="62" y="312"/>
                </a:lnTo>
                <a:lnTo>
                  <a:pt x="63" y="314"/>
                </a:lnTo>
                <a:lnTo>
                  <a:pt x="63" y="314"/>
                </a:lnTo>
                <a:lnTo>
                  <a:pt x="66" y="314"/>
                </a:lnTo>
                <a:lnTo>
                  <a:pt x="70" y="314"/>
                </a:lnTo>
                <a:lnTo>
                  <a:pt x="165" y="263"/>
                </a:lnTo>
                <a:lnTo>
                  <a:pt x="260" y="314"/>
                </a:lnTo>
                <a:lnTo>
                  <a:pt x="260" y="314"/>
                </a:lnTo>
                <a:lnTo>
                  <a:pt x="263" y="314"/>
                </a:lnTo>
                <a:lnTo>
                  <a:pt x="263" y="314"/>
                </a:lnTo>
                <a:lnTo>
                  <a:pt x="267" y="314"/>
                </a:lnTo>
                <a:lnTo>
                  <a:pt x="267" y="314"/>
                </a:lnTo>
                <a:lnTo>
                  <a:pt x="268" y="312"/>
                </a:lnTo>
                <a:lnTo>
                  <a:pt x="268" y="308"/>
                </a:lnTo>
                <a:lnTo>
                  <a:pt x="251" y="202"/>
                </a:lnTo>
                <a:lnTo>
                  <a:pt x="329" y="126"/>
                </a:lnTo>
                <a:lnTo>
                  <a:pt x="329" y="126"/>
                </a:lnTo>
                <a:lnTo>
                  <a:pt x="330" y="124"/>
                </a:lnTo>
                <a:lnTo>
                  <a:pt x="330" y="120"/>
                </a:lnTo>
                <a:lnTo>
                  <a:pt x="33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2" name="Freeform 217">
            <a:extLst>
              <a:ext uri="{FF2B5EF4-FFF2-40B4-BE49-F238E27FC236}">
                <a16:creationId xmlns:a16="http://schemas.microsoft.com/office/drawing/2014/main" id="{5F2345A8-AD5C-43CC-8C68-D9CDB18265C6}"/>
              </a:ext>
            </a:extLst>
          </p:cNvPr>
          <p:cNvSpPr>
            <a:spLocks/>
          </p:cNvSpPr>
          <p:nvPr/>
        </p:nvSpPr>
        <p:spPr bwMode="auto">
          <a:xfrm>
            <a:off x="5879482" y="4438489"/>
            <a:ext cx="492540" cy="465836"/>
          </a:xfrm>
          <a:custGeom>
            <a:avLst/>
            <a:gdLst>
              <a:gd name="T0" fmla="*/ 330 w 330"/>
              <a:gd name="T1" fmla="*/ 120 h 314"/>
              <a:gd name="T2" fmla="*/ 330 w 330"/>
              <a:gd name="T3" fmla="*/ 120 h 314"/>
              <a:gd name="T4" fmla="*/ 328 w 330"/>
              <a:gd name="T5" fmla="*/ 117 h 314"/>
              <a:gd name="T6" fmla="*/ 325 w 330"/>
              <a:gd name="T7" fmla="*/ 116 h 314"/>
              <a:gd name="T8" fmla="*/ 217 w 330"/>
              <a:gd name="T9" fmla="*/ 101 h 314"/>
              <a:gd name="T10" fmla="*/ 170 w 330"/>
              <a:gd name="T11" fmla="*/ 4 h 314"/>
              <a:gd name="T12" fmla="*/ 170 w 330"/>
              <a:gd name="T13" fmla="*/ 4 h 314"/>
              <a:gd name="T14" fmla="*/ 168 w 330"/>
              <a:gd name="T15" fmla="*/ 1 h 314"/>
              <a:gd name="T16" fmla="*/ 165 w 330"/>
              <a:gd name="T17" fmla="*/ 0 h 314"/>
              <a:gd name="T18" fmla="*/ 162 w 330"/>
              <a:gd name="T19" fmla="*/ 1 h 314"/>
              <a:gd name="T20" fmla="*/ 160 w 330"/>
              <a:gd name="T21" fmla="*/ 4 h 314"/>
              <a:gd name="T22" fmla="*/ 111 w 330"/>
              <a:gd name="T23" fmla="*/ 101 h 314"/>
              <a:gd name="T24" fmla="*/ 5 w 330"/>
              <a:gd name="T25" fmla="*/ 116 h 314"/>
              <a:gd name="T26" fmla="*/ 5 w 330"/>
              <a:gd name="T27" fmla="*/ 116 h 314"/>
              <a:gd name="T28" fmla="*/ 2 w 330"/>
              <a:gd name="T29" fmla="*/ 117 h 314"/>
              <a:gd name="T30" fmla="*/ 0 w 330"/>
              <a:gd name="T31" fmla="*/ 120 h 314"/>
              <a:gd name="T32" fmla="*/ 0 w 330"/>
              <a:gd name="T33" fmla="*/ 120 h 314"/>
              <a:gd name="T34" fmla="*/ 0 w 330"/>
              <a:gd name="T35" fmla="*/ 124 h 314"/>
              <a:gd name="T36" fmla="*/ 1 w 330"/>
              <a:gd name="T37" fmla="*/ 126 h 314"/>
              <a:gd name="T38" fmla="*/ 79 w 330"/>
              <a:gd name="T39" fmla="*/ 202 h 314"/>
              <a:gd name="T40" fmla="*/ 60 w 330"/>
              <a:gd name="T41" fmla="*/ 308 h 314"/>
              <a:gd name="T42" fmla="*/ 60 w 330"/>
              <a:gd name="T43" fmla="*/ 308 h 314"/>
              <a:gd name="T44" fmla="*/ 62 w 330"/>
              <a:gd name="T45" fmla="*/ 312 h 314"/>
              <a:gd name="T46" fmla="*/ 63 w 330"/>
              <a:gd name="T47" fmla="*/ 314 h 314"/>
              <a:gd name="T48" fmla="*/ 63 w 330"/>
              <a:gd name="T49" fmla="*/ 314 h 314"/>
              <a:gd name="T50" fmla="*/ 66 w 330"/>
              <a:gd name="T51" fmla="*/ 314 h 314"/>
              <a:gd name="T52" fmla="*/ 70 w 330"/>
              <a:gd name="T53" fmla="*/ 314 h 314"/>
              <a:gd name="T54" fmla="*/ 165 w 330"/>
              <a:gd name="T55" fmla="*/ 263 h 314"/>
              <a:gd name="T56" fmla="*/ 260 w 330"/>
              <a:gd name="T57" fmla="*/ 314 h 314"/>
              <a:gd name="T58" fmla="*/ 260 w 330"/>
              <a:gd name="T59" fmla="*/ 314 h 314"/>
              <a:gd name="T60" fmla="*/ 263 w 330"/>
              <a:gd name="T61" fmla="*/ 314 h 314"/>
              <a:gd name="T62" fmla="*/ 263 w 330"/>
              <a:gd name="T63" fmla="*/ 314 h 314"/>
              <a:gd name="T64" fmla="*/ 267 w 330"/>
              <a:gd name="T65" fmla="*/ 314 h 314"/>
              <a:gd name="T66" fmla="*/ 267 w 330"/>
              <a:gd name="T67" fmla="*/ 314 h 314"/>
              <a:gd name="T68" fmla="*/ 268 w 330"/>
              <a:gd name="T69" fmla="*/ 312 h 314"/>
              <a:gd name="T70" fmla="*/ 268 w 330"/>
              <a:gd name="T71" fmla="*/ 308 h 314"/>
              <a:gd name="T72" fmla="*/ 251 w 330"/>
              <a:gd name="T73" fmla="*/ 202 h 314"/>
              <a:gd name="T74" fmla="*/ 329 w 330"/>
              <a:gd name="T75" fmla="*/ 126 h 314"/>
              <a:gd name="T76" fmla="*/ 329 w 330"/>
              <a:gd name="T77" fmla="*/ 126 h 314"/>
              <a:gd name="T78" fmla="*/ 330 w 330"/>
              <a:gd name="T79" fmla="*/ 124 h 314"/>
              <a:gd name="T80" fmla="*/ 330 w 330"/>
              <a:gd name="T81" fmla="*/ 120 h 314"/>
              <a:gd name="T82" fmla="*/ 330 w 330"/>
              <a:gd name="T83" fmla="*/ 12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0" h="314">
                <a:moveTo>
                  <a:pt x="330" y="120"/>
                </a:moveTo>
                <a:lnTo>
                  <a:pt x="330" y="120"/>
                </a:lnTo>
                <a:lnTo>
                  <a:pt x="328" y="117"/>
                </a:lnTo>
                <a:lnTo>
                  <a:pt x="325" y="116"/>
                </a:lnTo>
                <a:lnTo>
                  <a:pt x="217" y="101"/>
                </a:lnTo>
                <a:lnTo>
                  <a:pt x="170" y="4"/>
                </a:lnTo>
                <a:lnTo>
                  <a:pt x="170" y="4"/>
                </a:lnTo>
                <a:lnTo>
                  <a:pt x="168" y="1"/>
                </a:lnTo>
                <a:lnTo>
                  <a:pt x="165" y="0"/>
                </a:lnTo>
                <a:lnTo>
                  <a:pt x="162" y="1"/>
                </a:lnTo>
                <a:lnTo>
                  <a:pt x="160" y="4"/>
                </a:lnTo>
                <a:lnTo>
                  <a:pt x="111" y="101"/>
                </a:lnTo>
                <a:lnTo>
                  <a:pt x="5" y="116"/>
                </a:lnTo>
                <a:lnTo>
                  <a:pt x="5" y="116"/>
                </a:lnTo>
                <a:lnTo>
                  <a:pt x="2" y="117"/>
                </a:lnTo>
                <a:lnTo>
                  <a:pt x="0" y="120"/>
                </a:lnTo>
                <a:lnTo>
                  <a:pt x="0" y="120"/>
                </a:lnTo>
                <a:lnTo>
                  <a:pt x="0" y="124"/>
                </a:lnTo>
                <a:lnTo>
                  <a:pt x="1" y="126"/>
                </a:lnTo>
                <a:lnTo>
                  <a:pt x="79" y="202"/>
                </a:lnTo>
                <a:lnTo>
                  <a:pt x="60" y="308"/>
                </a:lnTo>
                <a:lnTo>
                  <a:pt x="60" y="308"/>
                </a:lnTo>
                <a:lnTo>
                  <a:pt x="62" y="312"/>
                </a:lnTo>
                <a:lnTo>
                  <a:pt x="63" y="314"/>
                </a:lnTo>
                <a:lnTo>
                  <a:pt x="63" y="314"/>
                </a:lnTo>
                <a:lnTo>
                  <a:pt x="66" y="314"/>
                </a:lnTo>
                <a:lnTo>
                  <a:pt x="70" y="314"/>
                </a:lnTo>
                <a:lnTo>
                  <a:pt x="165" y="263"/>
                </a:lnTo>
                <a:lnTo>
                  <a:pt x="260" y="314"/>
                </a:lnTo>
                <a:lnTo>
                  <a:pt x="260" y="314"/>
                </a:lnTo>
                <a:lnTo>
                  <a:pt x="263" y="314"/>
                </a:lnTo>
                <a:lnTo>
                  <a:pt x="263" y="314"/>
                </a:lnTo>
                <a:lnTo>
                  <a:pt x="267" y="314"/>
                </a:lnTo>
                <a:lnTo>
                  <a:pt x="267" y="314"/>
                </a:lnTo>
                <a:lnTo>
                  <a:pt x="268" y="312"/>
                </a:lnTo>
                <a:lnTo>
                  <a:pt x="268" y="308"/>
                </a:lnTo>
                <a:lnTo>
                  <a:pt x="251" y="202"/>
                </a:lnTo>
                <a:lnTo>
                  <a:pt x="329" y="126"/>
                </a:lnTo>
                <a:lnTo>
                  <a:pt x="329" y="126"/>
                </a:lnTo>
                <a:lnTo>
                  <a:pt x="330" y="124"/>
                </a:lnTo>
                <a:lnTo>
                  <a:pt x="330" y="120"/>
                </a:lnTo>
                <a:lnTo>
                  <a:pt x="33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3" name="Freeform 217">
            <a:extLst>
              <a:ext uri="{FF2B5EF4-FFF2-40B4-BE49-F238E27FC236}">
                <a16:creationId xmlns:a16="http://schemas.microsoft.com/office/drawing/2014/main" id="{C2383A71-EF48-4FCB-B568-7EDA0977AEE4}"/>
              </a:ext>
            </a:extLst>
          </p:cNvPr>
          <p:cNvSpPr>
            <a:spLocks/>
          </p:cNvSpPr>
          <p:nvPr/>
        </p:nvSpPr>
        <p:spPr bwMode="auto">
          <a:xfrm>
            <a:off x="8021104" y="4438489"/>
            <a:ext cx="492540" cy="465836"/>
          </a:xfrm>
          <a:custGeom>
            <a:avLst/>
            <a:gdLst>
              <a:gd name="T0" fmla="*/ 330 w 330"/>
              <a:gd name="T1" fmla="*/ 120 h 314"/>
              <a:gd name="T2" fmla="*/ 330 w 330"/>
              <a:gd name="T3" fmla="*/ 120 h 314"/>
              <a:gd name="T4" fmla="*/ 328 w 330"/>
              <a:gd name="T5" fmla="*/ 117 h 314"/>
              <a:gd name="T6" fmla="*/ 325 w 330"/>
              <a:gd name="T7" fmla="*/ 116 h 314"/>
              <a:gd name="T8" fmla="*/ 217 w 330"/>
              <a:gd name="T9" fmla="*/ 101 h 314"/>
              <a:gd name="T10" fmla="*/ 170 w 330"/>
              <a:gd name="T11" fmla="*/ 4 h 314"/>
              <a:gd name="T12" fmla="*/ 170 w 330"/>
              <a:gd name="T13" fmla="*/ 4 h 314"/>
              <a:gd name="T14" fmla="*/ 168 w 330"/>
              <a:gd name="T15" fmla="*/ 1 h 314"/>
              <a:gd name="T16" fmla="*/ 165 w 330"/>
              <a:gd name="T17" fmla="*/ 0 h 314"/>
              <a:gd name="T18" fmla="*/ 162 w 330"/>
              <a:gd name="T19" fmla="*/ 1 h 314"/>
              <a:gd name="T20" fmla="*/ 160 w 330"/>
              <a:gd name="T21" fmla="*/ 4 h 314"/>
              <a:gd name="T22" fmla="*/ 111 w 330"/>
              <a:gd name="T23" fmla="*/ 101 h 314"/>
              <a:gd name="T24" fmla="*/ 5 w 330"/>
              <a:gd name="T25" fmla="*/ 116 h 314"/>
              <a:gd name="T26" fmla="*/ 5 w 330"/>
              <a:gd name="T27" fmla="*/ 116 h 314"/>
              <a:gd name="T28" fmla="*/ 2 w 330"/>
              <a:gd name="T29" fmla="*/ 117 h 314"/>
              <a:gd name="T30" fmla="*/ 0 w 330"/>
              <a:gd name="T31" fmla="*/ 120 h 314"/>
              <a:gd name="T32" fmla="*/ 0 w 330"/>
              <a:gd name="T33" fmla="*/ 120 h 314"/>
              <a:gd name="T34" fmla="*/ 0 w 330"/>
              <a:gd name="T35" fmla="*/ 124 h 314"/>
              <a:gd name="T36" fmla="*/ 1 w 330"/>
              <a:gd name="T37" fmla="*/ 126 h 314"/>
              <a:gd name="T38" fmla="*/ 79 w 330"/>
              <a:gd name="T39" fmla="*/ 202 h 314"/>
              <a:gd name="T40" fmla="*/ 60 w 330"/>
              <a:gd name="T41" fmla="*/ 308 h 314"/>
              <a:gd name="T42" fmla="*/ 60 w 330"/>
              <a:gd name="T43" fmla="*/ 308 h 314"/>
              <a:gd name="T44" fmla="*/ 62 w 330"/>
              <a:gd name="T45" fmla="*/ 312 h 314"/>
              <a:gd name="T46" fmla="*/ 63 w 330"/>
              <a:gd name="T47" fmla="*/ 314 h 314"/>
              <a:gd name="T48" fmla="*/ 63 w 330"/>
              <a:gd name="T49" fmla="*/ 314 h 314"/>
              <a:gd name="T50" fmla="*/ 66 w 330"/>
              <a:gd name="T51" fmla="*/ 314 h 314"/>
              <a:gd name="T52" fmla="*/ 70 w 330"/>
              <a:gd name="T53" fmla="*/ 314 h 314"/>
              <a:gd name="T54" fmla="*/ 165 w 330"/>
              <a:gd name="T55" fmla="*/ 263 h 314"/>
              <a:gd name="T56" fmla="*/ 260 w 330"/>
              <a:gd name="T57" fmla="*/ 314 h 314"/>
              <a:gd name="T58" fmla="*/ 260 w 330"/>
              <a:gd name="T59" fmla="*/ 314 h 314"/>
              <a:gd name="T60" fmla="*/ 263 w 330"/>
              <a:gd name="T61" fmla="*/ 314 h 314"/>
              <a:gd name="T62" fmla="*/ 263 w 330"/>
              <a:gd name="T63" fmla="*/ 314 h 314"/>
              <a:gd name="T64" fmla="*/ 267 w 330"/>
              <a:gd name="T65" fmla="*/ 314 h 314"/>
              <a:gd name="T66" fmla="*/ 267 w 330"/>
              <a:gd name="T67" fmla="*/ 314 h 314"/>
              <a:gd name="T68" fmla="*/ 268 w 330"/>
              <a:gd name="T69" fmla="*/ 312 h 314"/>
              <a:gd name="T70" fmla="*/ 268 w 330"/>
              <a:gd name="T71" fmla="*/ 308 h 314"/>
              <a:gd name="T72" fmla="*/ 251 w 330"/>
              <a:gd name="T73" fmla="*/ 202 h 314"/>
              <a:gd name="T74" fmla="*/ 329 w 330"/>
              <a:gd name="T75" fmla="*/ 126 h 314"/>
              <a:gd name="T76" fmla="*/ 329 w 330"/>
              <a:gd name="T77" fmla="*/ 126 h 314"/>
              <a:gd name="T78" fmla="*/ 330 w 330"/>
              <a:gd name="T79" fmla="*/ 124 h 314"/>
              <a:gd name="T80" fmla="*/ 330 w 330"/>
              <a:gd name="T81" fmla="*/ 120 h 314"/>
              <a:gd name="T82" fmla="*/ 330 w 330"/>
              <a:gd name="T83" fmla="*/ 12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0" h="314">
                <a:moveTo>
                  <a:pt x="330" y="120"/>
                </a:moveTo>
                <a:lnTo>
                  <a:pt x="330" y="120"/>
                </a:lnTo>
                <a:lnTo>
                  <a:pt x="328" y="117"/>
                </a:lnTo>
                <a:lnTo>
                  <a:pt x="325" y="116"/>
                </a:lnTo>
                <a:lnTo>
                  <a:pt x="217" y="101"/>
                </a:lnTo>
                <a:lnTo>
                  <a:pt x="170" y="4"/>
                </a:lnTo>
                <a:lnTo>
                  <a:pt x="170" y="4"/>
                </a:lnTo>
                <a:lnTo>
                  <a:pt x="168" y="1"/>
                </a:lnTo>
                <a:lnTo>
                  <a:pt x="165" y="0"/>
                </a:lnTo>
                <a:lnTo>
                  <a:pt x="162" y="1"/>
                </a:lnTo>
                <a:lnTo>
                  <a:pt x="160" y="4"/>
                </a:lnTo>
                <a:lnTo>
                  <a:pt x="111" y="101"/>
                </a:lnTo>
                <a:lnTo>
                  <a:pt x="5" y="116"/>
                </a:lnTo>
                <a:lnTo>
                  <a:pt x="5" y="116"/>
                </a:lnTo>
                <a:lnTo>
                  <a:pt x="2" y="117"/>
                </a:lnTo>
                <a:lnTo>
                  <a:pt x="0" y="120"/>
                </a:lnTo>
                <a:lnTo>
                  <a:pt x="0" y="120"/>
                </a:lnTo>
                <a:lnTo>
                  <a:pt x="0" y="124"/>
                </a:lnTo>
                <a:lnTo>
                  <a:pt x="1" y="126"/>
                </a:lnTo>
                <a:lnTo>
                  <a:pt x="79" y="202"/>
                </a:lnTo>
                <a:lnTo>
                  <a:pt x="60" y="308"/>
                </a:lnTo>
                <a:lnTo>
                  <a:pt x="60" y="308"/>
                </a:lnTo>
                <a:lnTo>
                  <a:pt x="62" y="312"/>
                </a:lnTo>
                <a:lnTo>
                  <a:pt x="63" y="314"/>
                </a:lnTo>
                <a:lnTo>
                  <a:pt x="63" y="314"/>
                </a:lnTo>
                <a:lnTo>
                  <a:pt x="66" y="314"/>
                </a:lnTo>
                <a:lnTo>
                  <a:pt x="70" y="314"/>
                </a:lnTo>
                <a:lnTo>
                  <a:pt x="165" y="263"/>
                </a:lnTo>
                <a:lnTo>
                  <a:pt x="260" y="314"/>
                </a:lnTo>
                <a:lnTo>
                  <a:pt x="260" y="314"/>
                </a:lnTo>
                <a:lnTo>
                  <a:pt x="263" y="314"/>
                </a:lnTo>
                <a:lnTo>
                  <a:pt x="263" y="314"/>
                </a:lnTo>
                <a:lnTo>
                  <a:pt x="267" y="314"/>
                </a:lnTo>
                <a:lnTo>
                  <a:pt x="267" y="314"/>
                </a:lnTo>
                <a:lnTo>
                  <a:pt x="268" y="312"/>
                </a:lnTo>
                <a:lnTo>
                  <a:pt x="268" y="308"/>
                </a:lnTo>
                <a:lnTo>
                  <a:pt x="251" y="202"/>
                </a:lnTo>
                <a:lnTo>
                  <a:pt x="329" y="126"/>
                </a:lnTo>
                <a:lnTo>
                  <a:pt x="329" y="126"/>
                </a:lnTo>
                <a:lnTo>
                  <a:pt x="330" y="124"/>
                </a:lnTo>
                <a:lnTo>
                  <a:pt x="330" y="120"/>
                </a:lnTo>
                <a:lnTo>
                  <a:pt x="33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4" name="Freeform 217">
            <a:extLst>
              <a:ext uri="{FF2B5EF4-FFF2-40B4-BE49-F238E27FC236}">
                <a16:creationId xmlns:a16="http://schemas.microsoft.com/office/drawing/2014/main" id="{D06F1A4D-F4E7-4B3E-A1DD-9720110422AE}"/>
              </a:ext>
            </a:extLst>
          </p:cNvPr>
          <p:cNvSpPr>
            <a:spLocks/>
          </p:cNvSpPr>
          <p:nvPr/>
        </p:nvSpPr>
        <p:spPr bwMode="auto">
          <a:xfrm>
            <a:off x="7308830" y="4254313"/>
            <a:ext cx="234006" cy="221318"/>
          </a:xfrm>
          <a:custGeom>
            <a:avLst/>
            <a:gdLst>
              <a:gd name="T0" fmla="*/ 330 w 330"/>
              <a:gd name="T1" fmla="*/ 120 h 314"/>
              <a:gd name="T2" fmla="*/ 330 w 330"/>
              <a:gd name="T3" fmla="*/ 120 h 314"/>
              <a:gd name="T4" fmla="*/ 328 w 330"/>
              <a:gd name="T5" fmla="*/ 117 h 314"/>
              <a:gd name="T6" fmla="*/ 325 w 330"/>
              <a:gd name="T7" fmla="*/ 116 h 314"/>
              <a:gd name="T8" fmla="*/ 217 w 330"/>
              <a:gd name="T9" fmla="*/ 101 h 314"/>
              <a:gd name="T10" fmla="*/ 170 w 330"/>
              <a:gd name="T11" fmla="*/ 4 h 314"/>
              <a:gd name="T12" fmla="*/ 170 w 330"/>
              <a:gd name="T13" fmla="*/ 4 h 314"/>
              <a:gd name="T14" fmla="*/ 168 w 330"/>
              <a:gd name="T15" fmla="*/ 1 h 314"/>
              <a:gd name="T16" fmla="*/ 165 w 330"/>
              <a:gd name="T17" fmla="*/ 0 h 314"/>
              <a:gd name="T18" fmla="*/ 162 w 330"/>
              <a:gd name="T19" fmla="*/ 1 h 314"/>
              <a:gd name="T20" fmla="*/ 160 w 330"/>
              <a:gd name="T21" fmla="*/ 4 h 314"/>
              <a:gd name="T22" fmla="*/ 111 w 330"/>
              <a:gd name="T23" fmla="*/ 101 h 314"/>
              <a:gd name="T24" fmla="*/ 5 w 330"/>
              <a:gd name="T25" fmla="*/ 116 h 314"/>
              <a:gd name="T26" fmla="*/ 5 w 330"/>
              <a:gd name="T27" fmla="*/ 116 h 314"/>
              <a:gd name="T28" fmla="*/ 2 w 330"/>
              <a:gd name="T29" fmla="*/ 117 h 314"/>
              <a:gd name="T30" fmla="*/ 0 w 330"/>
              <a:gd name="T31" fmla="*/ 120 h 314"/>
              <a:gd name="T32" fmla="*/ 0 w 330"/>
              <a:gd name="T33" fmla="*/ 120 h 314"/>
              <a:gd name="T34" fmla="*/ 0 w 330"/>
              <a:gd name="T35" fmla="*/ 124 h 314"/>
              <a:gd name="T36" fmla="*/ 1 w 330"/>
              <a:gd name="T37" fmla="*/ 126 h 314"/>
              <a:gd name="T38" fmla="*/ 79 w 330"/>
              <a:gd name="T39" fmla="*/ 202 h 314"/>
              <a:gd name="T40" fmla="*/ 60 w 330"/>
              <a:gd name="T41" fmla="*/ 308 h 314"/>
              <a:gd name="T42" fmla="*/ 60 w 330"/>
              <a:gd name="T43" fmla="*/ 308 h 314"/>
              <a:gd name="T44" fmla="*/ 62 w 330"/>
              <a:gd name="T45" fmla="*/ 312 h 314"/>
              <a:gd name="T46" fmla="*/ 63 w 330"/>
              <a:gd name="T47" fmla="*/ 314 h 314"/>
              <a:gd name="T48" fmla="*/ 63 w 330"/>
              <a:gd name="T49" fmla="*/ 314 h 314"/>
              <a:gd name="T50" fmla="*/ 66 w 330"/>
              <a:gd name="T51" fmla="*/ 314 h 314"/>
              <a:gd name="T52" fmla="*/ 70 w 330"/>
              <a:gd name="T53" fmla="*/ 314 h 314"/>
              <a:gd name="T54" fmla="*/ 165 w 330"/>
              <a:gd name="T55" fmla="*/ 263 h 314"/>
              <a:gd name="T56" fmla="*/ 260 w 330"/>
              <a:gd name="T57" fmla="*/ 314 h 314"/>
              <a:gd name="T58" fmla="*/ 260 w 330"/>
              <a:gd name="T59" fmla="*/ 314 h 314"/>
              <a:gd name="T60" fmla="*/ 263 w 330"/>
              <a:gd name="T61" fmla="*/ 314 h 314"/>
              <a:gd name="T62" fmla="*/ 263 w 330"/>
              <a:gd name="T63" fmla="*/ 314 h 314"/>
              <a:gd name="T64" fmla="*/ 267 w 330"/>
              <a:gd name="T65" fmla="*/ 314 h 314"/>
              <a:gd name="T66" fmla="*/ 267 w 330"/>
              <a:gd name="T67" fmla="*/ 314 h 314"/>
              <a:gd name="T68" fmla="*/ 268 w 330"/>
              <a:gd name="T69" fmla="*/ 312 h 314"/>
              <a:gd name="T70" fmla="*/ 268 w 330"/>
              <a:gd name="T71" fmla="*/ 308 h 314"/>
              <a:gd name="T72" fmla="*/ 251 w 330"/>
              <a:gd name="T73" fmla="*/ 202 h 314"/>
              <a:gd name="T74" fmla="*/ 329 w 330"/>
              <a:gd name="T75" fmla="*/ 126 h 314"/>
              <a:gd name="T76" fmla="*/ 329 w 330"/>
              <a:gd name="T77" fmla="*/ 126 h 314"/>
              <a:gd name="T78" fmla="*/ 330 w 330"/>
              <a:gd name="T79" fmla="*/ 124 h 314"/>
              <a:gd name="T80" fmla="*/ 330 w 330"/>
              <a:gd name="T81" fmla="*/ 120 h 314"/>
              <a:gd name="T82" fmla="*/ 330 w 330"/>
              <a:gd name="T83" fmla="*/ 12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0" h="314">
                <a:moveTo>
                  <a:pt x="330" y="120"/>
                </a:moveTo>
                <a:lnTo>
                  <a:pt x="330" y="120"/>
                </a:lnTo>
                <a:lnTo>
                  <a:pt x="328" y="117"/>
                </a:lnTo>
                <a:lnTo>
                  <a:pt x="325" y="116"/>
                </a:lnTo>
                <a:lnTo>
                  <a:pt x="217" y="101"/>
                </a:lnTo>
                <a:lnTo>
                  <a:pt x="170" y="4"/>
                </a:lnTo>
                <a:lnTo>
                  <a:pt x="170" y="4"/>
                </a:lnTo>
                <a:lnTo>
                  <a:pt x="168" y="1"/>
                </a:lnTo>
                <a:lnTo>
                  <a:pt x="165" y="0"/>
                </a:lnTo>
                <a:lnTo>
                  <a:pt x="162" y="1"/>
                </a:lnTo>
                <a:lnTo>
                  <a:pt x="160" y="4"/>
                </a:lnTo>
                <a:lnTo>
                  <a:pt x="111" y="101"/>
                </a:lnTo>
                <a:lnTo>
                  <a:pt x="5" y="116"/>
                </a:lnTo>
                <a:lnTo>
                  <a:pt x="5" y="116"/>
                </a:lnTo>
                <a:lnTo>
                  <a:pt x="2" y="117"/>
                </a:lnTo>
                <a:lnTo>
                  <a:pt x="0" y="120"/>
                </a:lnTo>
                <a:lnTo>
                  <a:pt x="0" y="120"/>
                </a:lnTo>
                <a:lnTo>
                  <a:pt x="0" y="124"/>
                </a:lnTo>
                <a:lnTo>
                  <a:pt x="1" y="126"/>
                </a:lnTo>
                <a:lnTo>
                  <a:pt x="79" y="202"/>
                </a:lnTo>
                <a:lnTo>
                  <a:pt x="60" y="308"/>
                </a:lnTo>
                <a:lnTo>
                  <a:pt x="60" y="308"/>
                </a:lnTo>
                <a:lnTo>
                  <a:pt x="62" y="312"/>
                </a:lnTo>
                <a:lnTo>
                  <a:pt x="63" y="314"/>
                </a:lnTo>
                <a:lnTo>
                  <a:pt x="63" y="314"/>
                </a:lnTo>
                <a:lnTo>
                  <a:pt x="66" y="314"/>
                </a:lnTo>
                <a:lnTo>
                  <a:pt x="70" y="314"/>
                </a:lnTo>
                <a:lnTo>
                  <a:pt x="165" y="263"/>
                </a:lnTo>
                <a:lnTo>
                  <a:pt x="260" y="314"/>
                </a:lnTo>
                <a:lnTo>
                  <a:pt x="260" y="314"/>
                </a:lnTo>
                <a:lnTo>
                  <a:pt x="263" y="314"/>
                </a:lnTo>
                <a:lnTo>
                  <a:pt x="263" y="314"/>
                </a:lnTo>
                <a:lnTo>
                  <a:pt x="267" y="314"/>
                </a:lnTo>
                <a:lnTo>
                  <a:pt x="267" y="314"/>
                </a:lnTo>
                <a:lnTo>
                  <a:pt x="268" y="312"/>
                </a:lnTo>
                <a:lnTo>
                  <a:pt x="268" y="308"/>
                </a:lnTo>
                <a:lnTo>
                  <a:pt x="251" y="202"/>
                </a:lnTo>
                <a:lnTo>
                  <a:pt x="329" y="126"/>
                </a:lnTo>
                <a:lnTo>
                  <a:pt x="329" y="126"/>
                </a:lnTo>
                <a:lnTo>
                  <a:pt x="330" y="124"/>
                </a:lnTo>
                <a:lnTo>
                  <a:pt x="330" y="120"/>
                </a:lnTo>
                <a:lnTo>
                  <a:pt x="33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125" name="Group 124">
            <a:extLst>
              <a:ext uri="{FF2B5EF4-FFF2-40B4-BE49-F238E27FC236}">
                <a16:creationId xmlns:a16="http://schemas.microsoft.com/office/drawing/2014/main" id="{310329B6-31C9-41D7-9E7C-970A638C08E8}"/>
              </a:ext>
            </a:extLst>
          </p:cNvPr>
          <p:cNvGrpSpPr>
            <a:grpSpLocks noChangeAspect="1"/>
          </p:cNvGrpSpPr>
          <p:nvPr/>
        </p:nvGrpSpPr>
        <p:grpSpPr>
          <a:xfrm>
            <a:off x="11194778" y="4430269"/>
            <a:ext cx="455730" cy="455726"/>
            <a:chOff x="4173538" y="3455988"/>
            <a:chExt cx="288926" cy="288925"/>
          </a:xfrm>
        </p:grpSpPr>
        <p:sp>
          <p:nvSpPr>
            <p:cNvPr id="126" name="Freeform 159">
              <a:extLst>
                <a:ext uri="{FF2B5EF4-FFF2-40B4-BE49-F238E27FC236}">
                  <a16:creationId xmlns:a16="http://schemas.microsoft.com/office/drawing/2014/main" id="{29A51881-3F94-44BA-AB91-89E43DA89058}"/>
                </a:ext>
              </a:extLst>
            </p:cNvPr>
            <p:cNvSpPr>
              <a:spLocks/>
            </p:cNvSpPr>
            <p:nvPr/>
          </p:nvSpPr>
          <p:spPr bwMode="auto">
            <a:xfrm>
              <a:off x="4173538" y="3503613"/>
              <a:ext cx="241300" cy="241300"/>
            </a:xfrm>
            <a:custGeom>
              <a:avLst/>
              <a:gdLst>
                <a:gd name="T0" fmla="*/ 168 w 304"/>
                <a:gd name="T1" fmla="*/ 302 h 304"/>
                <a:gd name="T2" fmla="*/ 211 w 304"/>
                <a:gd name="T3" fmla="*/ 292 h 304"/>
                <a:gd name="T4" fmla="*/ 249 w 304"/>
                <a:gd name="T5" fmla="*/ 269 h 304"/>
                <a:gd name="T6" fmla="*/ 278 w 304"/>
                <a:gd name="T7" fmla="*/ 236 h 304"/>
                <a:gd name="T8" fmla="*/ 297 w 304"/>
                <a:gd name="T9" fmla="*/ 196 h 304"/>
                <a:gd name="T10" fmla="*/ 304 w 304"/>
                <a:gd name="T11" fmla="*/ 152 h 304"/>
                <a:gd name="T12" fmla="*/ 302 w 304"/>
                <a:gd name="T13" fmla="*/ 126 h 304"/>
                <a:gd name="T14" fmla="*/ 290 w 304"/>
                <a:gd name="T15" fmla="*/ 90 h 304"/>
                <a:gd name="T16" fmla="*/ 272 w 304"/>
                <a:gd name="T17" fmla="*/ 58 h 304"/>
                <a:gd name="T18" fmla="*/ 235 w 304"/>
                <a:gd name="T19" fmla="*/ 113 h 304"/>
                <a:gd name="T20" fmla="*/ 243 w 304"/>
                <a:gd name="T21" fmla="*/ 152 h 304"/>
                <a:gd name="T22" fmla="*/ 242 w 304"/>
                <a:gd name="T23" fmla="*/ 171 h 304"/>
                <a:gd name="T24" fmla="*/ 233 w 304"/>
                <a:gd name="T25" fmla="*/ 195 h 304"/>
                <a:gd name="T26" fmla="*/ 216 w 304"/>
                <a:gd name="T27" fmla="*/ 216 h 304"/>
                <a:gd name="T28" fmla="*/ 196 w 304"/>
                <a:gd name="T29" fmla="*/ 232 h 304"/>
                <a:gd name="T30" fmla="*/ 171 w 304"/>
                <a:gd name="T31" fmla="*/ 241 h 304"/>
                <a:gd name="T32" fmla="*/ 152 w 304"/>
                <a:gd name="T33" fmla="*/ 243 h 304"/>
                <a:gd name="T34" fmla="*/ 125 w 304"/>
                <a:gd name="T35" fmla="*/ 239 h 304"/>
                <a:gd name="T36" fmla="*/ 101 w 304"/>
                <a:gd name="T37" fmla="*/ 227 h 304"/>
                <a:gd name="T38" fmla="*/ 82 w 304"/>
                <a:gd name="T39" fmla="*/ 210 h 304"/>
                <a:gd name="T40" fmla="*/ 69 w 304"/>
                <a:gd name="T41" fmla="*/ 187 h 304"/>
                <a:gd name="T42" fmla="*/ 62 w 304"/>
                <a:gd name="T43" fmla="*/ 161 h 304"/>
                <a:gd name="T44" fmla="*/ 62 w 304"/>
                <a:gd name="T45" fmla="*/ 142 h 304"/>
                <a:gd name="T46" fmla="*/ 69 w 304"/>
                <a:gd name="T47" fmla="*/ 117 h 304"/>
                <a:gd name="T48" fmla="*/ 82 w 304"/>
                <a:gd name="T49" fmla="*/ 94 h 304"/>
                <a:gd name="T50" fmla="*/ 101 w 304"/>
                <a:gd name="T51" fmla="*/ 77 h 304"/>
                <a:gd name="T52" fmla="*/ 125 w 304"/>
                <a:gd name="T53" fmla="*/ 65 h 304"/>
                <a:gd name="T54" fmla="*/ 152 w 304"/>
                <a:gd name="T55" fmla="*/ 61 h 304"/>
                <a:gd name="T56" fmla="*/ 179 w 304"/>
                <a:gd name="T57" fmla="*/ 65 h 304"/>
                <a:gd name="T58" fmla="*/ 246 w 304"/>
                <a:gd name="T59" fmla="*/ 32 h 304"/>
                <a:gd name="T60" fmla="*/ 226 w 304"/>
                <a:gd name="T61" fmla="*/ 19 h 304"/>
                <a:gd name="T62" fmla="*/ 191 w 304"/>
                <a:gd name="T63" fmla="*/ 5 h 304"/>
                <a:gd name="T64" fmla="*/ 152 w 304"/>
                <a:gd name="T65" fmla="*/ 0 h 304"/>
                <a:gd name="T66" fmla="*/ 122 w 304"/>
                <a:gd name="T67" fmla="*/ 3 h 304"/>
                <a:gd name="T68" fmla="*/ 81 w 304"/>
                <a:gd name="T69" fmla="*/ 19 h 304"/>
                <a:gd name="T70" fmla="*/ 46 w 304"/>
                <a:gd name="T71" fmla="*/ 44 h 304"/>
                <a:gd name="T72" fmla="*/ 19 w 304"/>
                <a:gd name="T73" fmla="*/ 79 h 304"/>
                <a:gd name="T74" fmla="*/ 4 w 304"/>
                <a:gd name="T75" fmla="*/ 121 h 304"/>
                <a:gd name="T76" fmla="*/ 0 w 304"/>
                <a:gd name="T77" fmla="*/ 152 h 304"/>
                <a:gd name="T78" fmla="*/ 8 w 304"/>
                <a:gd name="T79" fmla="*/ 196 h 304"/>
                <a:gd name="T80" fmla="*/ 27 w 304"/>
                <a:gd name="T81" fmla="*/ 236 h 304"/>
                <a:gd name="T82" fmla="*/ 57 w 304"/>
                <a:gd name="T83" fmla="*/ 269 h 304"/>
                <a:gd name="T84" fmla="*/ 93 w 304"/>
                <a:gd name="T85" fmla="*/ 292 h 304"/>
                <a:gd name="T86" fmla="*/ 137 w 304"/>
                <a:gd name="T87" fmla="*/ 302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4" h="304">
                  <a:moveTo>
                    <a:pt x="152" y="304"/>
                  </a:moveTo>
                  <a:lnTo>
                    <a:pt x="152" y="304"/>
                  </a:lnTo>
                  <a:lnTo>
                    <a:pt x="168" y="302"/>
                  </a:lnTo>
                  <a:lnTo>
                    <a:pt x="183" y="301"/>
                  </a:lnTo>
                  <a:lnTo>
                    <a:pt x="198" y="297"/>
                  </a:lnTo>
                  <a:lnTo>
                    <a:pt x="211" y="292"/>
                  </a:lnTo>
                  <a:lnTo>
                    <a:pt x="225" y="285"/>
                  </a:lnTo>
                  <a:lnTo>
                    <a:pt x="237" y="278"/>
                  </a:lnTo>
                  <a:lnTo>
                    <a:pt x="249" y="269"/>
                  </a:lnTo>
                  <a:lnTo>
                    <a:pt x="259" y="259"/>
                  </a:lnTo>
                  <a:lnTo>
                    <a:pt x="269" y="249"/>
                  </a:lnTo>
                  <a:lnTo>
                    <a:pt x="278" y="236"/>
                  </a:lnTo>
                  <a:lnTo>
                    <a:pt x="286" y="224"/>
                  </a:lnTo>
                  <a:lnTo>
                    <a:pt x="292" y="211"/>
                  </a:lnTo>
                  <a:lnTo>
                    <a:pt x="297" y="196"/>
                  </a:lnTo>
                  <a:lnTo>
                    <a:pt x="301" y="183"/>
                  </a:lnTo>
                  <a:lnTo>
                    <a:pt x="304" y="167"/>
                  </a:lnTo>
                  <a:lnTo>
                    <a:pt x="304" y="152"/>
                  </a:lnTo>
                  <a:lnTo>
                    <a:pt x="304" y="152"/>
                  </a:lnTo>
                  <a:lnTo>
                    <a:pt x="304" y="138"/>
                  </a:lnTo>
                  <a:lnTo>
                    <a:pt x="302" y="126"/>
                  </a:lnTo>
                  <a:lnTo>
                    <a:pt x="300" y="113"/>
                  </a:lnTo>
                  <a:lnTo>
                    <a:pt x="296" y="101"/>
                  </a:lnTo>
                  <a:lnTo>
                    <a:pt x="290" y="90"/>
                  </a:lnTo>
                  <a:lnTo>
                    <a:pt x="285" y="79"/>
                  </a:lnTo>
                  <a:lnTo>
                    <a:pt x="280" y="69"/>
                  </a:lnTo>
                  <a:lnTo>
                    <a:pt x="272" y="58"/>
                  </a:lnTo>
                  <a:lnTo>
                    <a:pt x="229" y="102"/>
                  </a:lnTo>
                  <a:lnTo>
                    <a:pt x="229" y="102"/>
                  </a:lnTo>
                  <a:lnTo>
                    <a:pt x="235" y="113"/>
                  </a:lnTo>
                  <a:lnTo>
                    <a:pt x="239" y="125"/>
                  </a:lnTo>
                  <a:lnTo>
                    <a:pt x="242" y="138"/>
                  </a:lnTo>
                  <a:lnTo>
                    <a:pt x="243" y="152"/>
                  </a:lnTo>
                  <a:lnTo>
                    <a:pt x="243" y="152"/>
                  </a:lnTo>
                  <a:lnTo>
                    <a:pt x="243" y="161"/>
                  </a:lnTo>
                  <a:lnTo>
                    <a:pt x="242" y="171"/>
                  </a:lnTo>
                  <a:lnTo>
                    <a:pt x="239" y="179"/>
                  </a:lnTo>
                  <a:lnTo>
                    <a:pt x="237" y="187"/>
                  </a:lnTo>
                  <a:lnTo>
                    <a:pt x="233" y="195"/>
                  </a:lnTo>
                  <a:lnTo>
                    <a:pt x="229" y="203"/>
                  </a:lnTo>
                  <a:lnTo>
                    <a:pt x="223" y="210"/>
                  </a:lnTo>
                  <a:lnTo>
                    <a:pt x="216" y="216"/>
                  </a:lnTo>
                  <a:lnTo>
                    <a:pt x="210" y="222"/>
                  </a:lnTo>
                  <a:lnTo>
                    <a:pt x="203" y="227"/>
                  </a:lnTo>
                  <a:lnTo>
                    <a:pt x="196" y="232"/>
                  </a:lnTo>
                  <a:lnTo>
                    <a:pt x="188" y="235"/>
                  </a:lnTo>
                  <a:lnTo>
                    <a:pt x="179" y="239"/>
                  </a:lnTo>
                  <a:lnTo>
                    <a:pt x="171" y="241"/>
                  </a:lnTo>
                  <a:lnTo>
                    <a:pt x="161" y="242"/>
                  </a:lnTo>
                  <a:lnTo>
                    <a:pt x="152" y="243"/>
                  </a:lnTo>
                  <a:lnTo>
                    <a:pt x="152" y="243"/>
                  </a:lnTo>
                  <a:lnTo>
                    <a:pt x="143" y="242"/>
                  </a:lnTo>
                  <a:lnTo>
                    <a:pt x="135" y="241"/>
                  </a:lnTo>
                  <a:lnTo>
                    <a:pt x="125" y="239"/>
                  </a:lnTo>
                  <a:lnTo>
                    <a:pt x="117" y="235"/>
                  </a:lnTo>
                  <a:lnTo>
                    <a:pt x="109" y="232"/>
                  </a:lnTo>
                  <a:lnTo>
                    <a:pt x="101" y="227"/>
                  </a:lnTo>
                  <a:lnTo>
                    <a:pt x="94" y="222"/>
                  </a:lnTo>
                  <a:lnTo>
                    <a:pt x="88" y="216"/>
                  </a:lnTo>
                  <a:lnTo>
                    <a:pt x="82" y="210"/>
                  </a:lnTo>
                  <a:lnTo>
                    <a:pt x="77" y="203"/>
                  </a:lnTo>
                  <a:lnTo>
                    <a:pt x="73" y="195"/>
                  </a:lnTo>
                  <a:lnTo>
                    <a:pt x="69" y="187"/>
                  </a:lnTo>
                  <a:lnTo>
                    <a:pt x="66" y="179"/>
                  </a:lnTo>
                  <a:lnTo>
                    <a:pt x="63" y="171"/>
                  </a:lnTo>
                  <a:lnTo>
                    <a:pt x="62" y="161"/>
                  </a:lnTo>
                  <a:lnTo>
                    <a:pt x="62" y="152"/>
                  </a:lnTo>
                  <a:lnTo>
                    <a:pt x="62" y="152"/>
                  </a:lnTo>
                  <a:lnTo>
                    <a:pt x="62" y="142"/>
                  </a:lnTo>
                  <a:lnTo>
                    <a:pt x="63" y="133"/>
                  </a:lnTo>
                  <a:lnTo>
                    <a:pt x="66" y="125"/>
                  </a:lnTo>
                  <a:lnTo>
                    <a:pt x="69" y="117"/>
                  </a:lnTo>
                  <a:lnTo>
                    <a:pt x="73" y="109"/>
                  </a:lnTo>
                  <a:lnTo>
                    <a:pt x="77" y="101"/>
                  </a:lnTo>
                  <a:lnTo>
                    <a:pt x="82" y="94"/>
                  </a:lnTo>
                  <a:lnTo>
                    <a:pt x="88" y="87"/>
                  </a:lnTo>
                  <a:lnTo>
                    <a:pt x="94" y="82"/>
                  </a:lnTo>
                  <a:lnTo>
                    <a:pt x="101" y="77"/>
                  </a:lnTo>
                  <a:lnTo>
                    <a:pt x="109" y="71"/>
                  </a:lnTo>
                  <a:lnTo>
                    <a:pt x="117" y="69"/>
                  </a:lnTo>
                  <a:lnTo>
                    <a:pt x="125" y="65"/>
                  </a:lnTo>
                  <a:lnTo>
                    <a:pt x="135" y="63"/>
                  </a:lnTo>
                  <a:lnTo>
                    <a:pt x="143" y="62"/>
                  </a:lnTo>
                  <a:lnTo>
                    <a:pt x="152" y="61"/>
                  </a:lnTo>
                  <a:lnTo>
                    <a:pt x="152" y="61"/>
                  </a:lnTo>
                  <a:lnTo>
                    <a:pt x="165" y="62"/>
                  </a:lnTo>
                  <a:lnTo>
                    <a:pt x="179" y="65"/>
                  </a:lnTo>
                  <a:lnTo>
                    <a:pt x="191" y="70"/>
                  </a:lnTo>
                  <a:lnTo>
                    <a:pt x="203" y="75"/>
                  </a:lnTo>
                  <a:lnTo>
                    <a:pt x="246" y="32"/>
                  </a:lnTo>
                  <a:lnTo>
                    <a:pt x="246" y="32"/>
                  </a:lnTo>
                  <a:lnTo>
                    <a:pt x="237" y="26"/>
                  </a:lnTo>
                  <a:lnTo>
                    <a:pt x="226" y="19"/>
                  </a:lnTo>
                  <a:lnTo>
                    <a:pt x="214" y="14"/>
                  </a:lnTo>
                  <a:lnTo>
                    <a:pt x="203" y="8"/>
                  </a:lnTo>
                  <a:lnTo>
                    <a:pt x="191" y="5"/>
                  </a:lnTo>
                  <a:lnTo>
                    <a:pt x="179" y="3"/>
                  </a:lnTo>
                  <a:lnTo>
                    <a:pt x="165" y="0"/>
                  </a:lnTo>
                  <a:lnTo>
                    <a:pt x="152" y="0"/>
                  </a:lnTo>
                  <a:lnTo>
                    <a:pt x="152" y="0"/>
                  </a:lnTo>
                  <a:lnTo>
                    <a:pt x="137" y="1"/>
                  </a:lnTo>
                  <a:lnTo>
                    <a:pt x="122" y="3"/>
                  </a:lnTo>
                  <a:lnTo>
                    <a:pt x="108" y="7"/>
                  </a:lnTo>
                  <a:lnTo>
                    <a:pt x="93" y="12"/>
                  </a:lnTo>
                  <a:lnTo>
                    <a:pt x="81" y="19"/>
                  </a:lnTo>
                  <a:lnTo>
                    <a:pt x="67" y="26"/>
                  </a:lnTo>
                  <a:lnTo>
                    <a:pt x="57" y="35"/>
                  </a:lnTo>
                  <a:lnTo>
                    <a:pt x="46" y="44"/>
                  </a:lnTo>
                  <a:lnTo>
                    <a:pt x="35" y="55"/>
                  </a:lnTo>
                  <a:lnTo>
                    <a:pt x="27" y="67"/>
                  </a:lnTo>
                  <a:lnTo>
                    <a:pt x="19" y="79"/>
                  </a:lnTo>
                  <a:lnTo>
                    <a:pt x="12" y="93"/>
                  </a:lnTo>
                  <a:lnTo>
                    <a:pt x="8" y="106"/>
                  </a:lnTo>
                  <a:lnTo>
                    <a:pt x="4" y="121"/>
                  </a:lnTo>
                  <a:lnTo>
                    <a:pt x="2" y="136"/>
                  </a:lnTo>
                  <a:lnTo>
                    <a:pt x="0" y="152"/>
                  </a:lnTo>
                  <a:lnTo>
                    <a:pt x="0" y="152"/>
                  </a:lnTo>
                  <a:lnTo>
                    <a:pt x="2" y="167"/>
                  </a:lnTo>
                  <a:lnTo>
                    <a:pt x="4" y="183"/>
                  </a:lnTo>
                  <a:lnTo>
                    <a:pt x="8" y="196"/>
                  </a:lnTo>
                  <a:lnTo>
                    <a:pt x="12" y="211"/>
                  </a:lnTo>
                  <a:lnTo>
                    <a:pt x="19" y="224"/>
                  </a:lnTo>
                  <a:lnTo>
                    <a:pt x="27" y="236"/>
                  </a:lnTo>
                  <a:lnTo>
                    <a:pt x="35" y="249"/>
                  </a:lnTo>
                  <a:lnTo>
                    <a:pt x="46" y="259"/>
                  </a:lnTo>
                  <a:lnTo>
                    <a:pt x="57" y="269"/>
                  </a:lnTo>
                  <a:lnTo>
                    <a:pt x="67" y="278"/>
                  </a:lnTo>
                  <a:lnTo>
                    <a:pt x="81" y="285"/>
                  </a:lnTo>
                  <a:lnTo>
                    <a:pt x="93" y="292"/>
                  </a:lnTo>
                  <a:lnTo>
                    <a:pt x="108" y="297"/>
                  </a:lnTo>
                  <a:lnTo>
                    <a:pt x="122" y="301"/>
                  </a:lnTo>
                  <a:lnTo>
                    <a:pt x="137" y="302"/>
                  </a:lnTo>
                  <a:lnTo>
                    <a:pt x="152" y="304"/>
                  </a:lnTo>
                  <a:lnTo>
                    <a:pt x="152" y="30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7" name="Freeform 160">
              <a:extLst>
                <a:ext uri="{FF2B5EF4-FFF2-40B4-BE49-F238E27FC236}">
                  <a16:creationId xmlns:a16="http://schemas.microsoft.com/office/drawing/2014/main" id="{2F49894A-E6E7-4A43-AE9F-A790FB757D36}"/>
                </a:ext>
              </a:extLst>
            </p:cNvPr>
            <p:cNvSpPr>
              <a:spLocks/>
            </p:cNvSpPr>
            <p:nvPr/>
          </p:nvSpPr>
          <p:spPr bwMode="auto">
            <a:xfrm>
              <a:off x="4270376" y="3455988"/>
              <a:ext cx="192088" cy="192088"/>
            </a:xfrm>
            <a:custGeom>
              <a:avLst/>
              <a:gdLst>
                <a:gd name="T0" fmla="*/ 229 w 242"/>
                <a:gd name="T1" fmla="*/ 13 h 243"/>
                <a:gd name="T2" fmla="*/ 225 w 242"/>
                <a:gd name="T3" fmla="*/ 12 h 243"/>
                <a:gd name="T4" fmla="*/ 221 w 242"/>
                <a:gd name="T5" fmla="*/ 13 h 243"/>
                <a:gd name="T6" fmla="*/ 194 w 242"/>
                <a:gd name="T7" fmla="*/ 4 h 243"/>
                <a:gd name="T8" fmla="*/ 193 w 242"/>
                <a:gd name="T9" fmla="*/ 1 h 243"/>
                <a:gd name="T10" fmla="*/ 190 w 242"/>
                <a:gd name="T11" fmla="*/ 0 h 243"/>
                <a:gd name="T12" fmla="*/ 184 w 242"/>
                <a:gd name="T13" fmla="*/ 1 h 243"/>
                <a:gd name="T14" fmla="*/ 147 w 242"/>
                <a:gd name="T15" fmla="*/ 37 h 243"/>
                <a:gd name="T16" fmla="*/ 145 w 242"/>
                <a:gd name="T17" fmla="*/ 44 h 243"/>
                <a:gd name="T18" fmla="*/ 47 w 242"/>
                <a:gd name="T19" fmla="*/ 186 h 243"/>
                <a:gd name="T20" fmla="*/ 39 w 242"/>
                <a:gd name="T21" fmla="*/ 182 h 243"/>
                <a:gd name="T22" fmla="*/ 30 w 242"/>
                <a:gd name="T23" fmla="*/ 181 h 243"/>
                <a:gd name="T24" fmla="*/ 19 w 242"/>
                <a:gd name="T25" fmla="*/ 184 h 243"/>
                <a:gd name="T26" fmla="*/ 8 w 242"/>
                <a:gd name="T27" fmla="*/ 190 h 243"/>
                <a:gd name="T28" fmla="*/ 3 w 242"/>
                <a:gd name="T29" fmla="*/ 200 h 243"/>
                <a:gd name="T30" fmla="*/ 0 w 242"/>
                <a:gd name="T31" fmla="*/ 212 h 243"/>
                <a:gd name="T32" fmla="*/ 0 w 242"/>
                <a:gd name="T33" fmla="*/ 219 h 243"/>
                <a:gd name="T34" fmla="*/ 6 w 242"/>
                <a:gd name="T35" fmla="*/ 229 h 243"/>
                <a:gd name="T36" fmla="*/ 14 w 242"/>
                <a:gd name="T37" fmla="*/ 237 h 243"/>
                <a:gd name="T38" fmla="*/ 25 w 242"/>
                <a:gd name="T39" fmla="*/ 241 h 243"/>
                <a:gd name="T40" fmla="*/ 30 w 242"/>
                <a:gd name="T41" fmla="*/ 243 h 243"/>
                <a:gd name="T42" fmla="*/ 42 w 242"/>
                <a:gd name="T43" fmla="*/ 240 h 243"/>
                <a:gd name="T44" fmla="*/ 51 w 242"/>
                <a:gd name="T45" fmla="*/ 233 h 243"/>
                <a:gd name="T46" fmla="*/ 58 w 242"/>
                <a:gd name="T47" fmla="*/ 224 h 243"/>
                <a:gd name="T48" fmla="*/ 61 w 242"/>
                <a:gd name="T49" fmla="*/ 212 h 243"/>
                <a:gd name="T50" fmla="*/ 60 w 242"/>
                <a:gd name="T51" fmla="*/ 202 h 243"/>
                <a:gd name="T52" fmla="*/ 166 w 242"/>
                <a:gd name="T53" fmla="*/ 86 h 243"/>
                <a:gd name="T54" fmla="*/ 198 w 242"/>
                <a:gd name="T55" fmla="*/ 96 h 243"/>
                <a:gd name="T56" fmla="*/ 201 w 242"/>
                <a:gd name="T57" fmla="*/ 96 h 243"/>
                <a:gd name="T58" fmla="*/ 205 w 242"/>
                <a:gd name="T59" fmla="*/ 95 h 243"/>
                <a:gd name="T60" fmla="*/ 241 w 242"/>
                <a:gd name="T61" fmla="*/ 59 h 243"/>
                <a:gd name="T62" fmla="*/ 242 w 242"/>
                <a:gd name="T63" fmla="*/ 52 h 243"/>
                <a:gd name="T64" fmla="*/ 241 w 242"/>
                <a:gd name="T65" fmla="*/ 49 h 243"/>
                <a:gd name="T66" fmla="*/ 211 w 242"/>
                <a:gd name="T67" fmla="*/ 40 h 243"/>
                <a:gd name="T68" fmla="*/ 229 w 242"/>
                <a:gd name="T69" fmla="*/ 22 h 243"/>
                <a:gd name="T70" fmla="*/ 230 w 242"/>
                <a:gd name="T71" fmla="*/ 17 h 243"/>
                <a:gd name="T72" fmla="*/ 229 w 242"/>
                <a:gd name="T73" fmla="*/ 1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2" h="243">
                  <a:moveTo>
                    <a:pt x="229" y="13"/>
                  </a:moveTo>
                  <a:lnTo>
                    <a:pt x="229" y="13"/>
                  </a:lnTo>
                  <a:lnTo>
                    <a:pt x="227" y="12"/>
                  </a:lnTo>
                  <a:lnTo>
                    <a:pt x="225" y="12"/>
                  </a:lnTo>
                  <a:lnTo>
                    <a:pt x="222" y="12"/>
                  </a:lnTo>
                  <a:lnTo>
                    <a:pt x="221" y="13"/>
                  </a:lnTo>
                  <a:lnTo>
                    <a:pt x="203" y="31"/>
                  </a:lnTo>
                  <a:lnTo>
                    <a:pt x="194" y="4"/>
                  </a:lnTo>
                  <a:lnTo>
                    <a:pt x="194" y="4"/>
                  </a:lnTo>
                  <a:lnTo>
                    <a:pt x="193" y="1"/>
                  </a:lnTo>
                  <a:lnTo>
                    <a:pt x="190" y="0"/>
                  </a:lnTo>
                  <a:lnTo>
                    <a:pt x="190" y="0"/>
                  </a:lnTo>
                  <a:lnTo>
                    <a:pt x="187" y="0"/>
                  </a:lnTo>
                  <a:lnTo>
                    <a:pt x="184" y="1"/>
                  </a:lnTo>
                  <a:lnTo>
                    <a:pt x="147" y="37"/>
                  </a:lnTo>
                  <a:lnTo>
                    <a:pt x="147" y="37"/>
                  </a:lnTo>
                  <a:lnTo>
                    <a:pt x="145" y="40"/>
                  </a:lnTo>
                  <a:lnTo>
                    <a:pt x="145" y="44"/>
                  </a:lnTo>
                  <a:lnTo>
                    <a:pt x="158" y="76"/>
                  </a:lnTo>
                  <a:lnTo>
                    <a:pt x="47" y="186"/>
                  </a:lnTo>
                  <a:lnTo>
                    <a:pt x="47" y="186"/>
                  </a:lnTo>
                  <a:lnTo>
                    <a:pt x="39" y="182"/>
                  </a:lnTo>
                  <a:lnTo>
                    <a:pt x="30" y="181"/>
                  </a:lnTo>
                  <a:lnTo>
                    <a:pt x="30" y="181"/>
                  </a:lnTo>
                  <a:lnTo>
                    <a:pt x="25" y="182"/>
                  </a:lnTo>
                  <a:lnTo>
                    <a:pt x="19" y="184"/>
                  </a:lnTo>
                  <a:lnTo>
                    <a:pt x="14" y="186"/>
                  </a:lnTo>
                  <a:lnTo>
                    <a:pt x="8" y="190"/>
                  </a:lnTo>
                  <a:lnTo>
                    <a:pt x="6" y="194"/>
                  </a:lnTo>
                  <a:lnTo>
                    <a:pt x="3" y="200"/>
                  </a:lnTo>
                  <a:lnTo>
                    <a:pt x="0" y="205"/>
                  </a:lnTo>
                  <a:lnTo>
                    <a:pt x="0" y="212"/>
                  </a:lnTo>
                  <a:lnTo>
                    <a:pt x="0" y="212"/>
                  </a:lnTo>
                  <a:lnTo>
                    <a:pt x="0" y="219"/>
                  </a:lnTo>
                  <a:lnTo>
                    <a:pt x="3" y="224"/>
                  </a:lnTo>
                  <a:lnTo>
                    <a:pt x="6" y="229"/>
                  </a:lnTo>
                  <a:lnTo>
                    <a:pt x="8" y="233"/>
                  </a:lnTo>
                  <a:lnTo>
                    <a:pt x="14" y="237"/>
                  </a:lnTo>
                  <a:lnTo>
                    <a:pt x="19" y="240"/>
                  </a:lnTo>
                  <a:lnTo>
                    <a:pt x="25" y="241"/>
                  </a:lnTo>
                  <a:lnTo>
                    <a:pt x="30" y="243"/>
                  </a:lnTo>
                  <a:lnTo>
                    <a:pt x="30" y="243"/>
                  </a:lnTo>
                  <a:lnTo>
                    <a:pt x="37" y="241"/>
                  </a:lnTo>
                  <a:lnTo>
                    <a:pt x="42" y="240"/>
                  </a:lnTo>
                  <a:lnTo>
                    <a:pt x="47" y="237"/>
                  </a:lnTo>
                  <a:lnTo>
                    <a:pt x="51" y="233"/>
                  </a:lnTo>
                  <a:lnTo>
                    <a:pt x="55" y="229"/>
                  </a:lnTo>
                  <a:lnTo>
                    <a:pt x="58" y="224"/>
                  </a:lnTo>
                  <a:lnTo>
                    <a:pt x="60" y="219"/>
                  </a:lnTo>
                  <a:lnTo>
                    <a:pt x="61" y="212"/>
                  </a:lnTo>
                  <a:lnTo>
                    <a:pt x="61" y="212"/>
                  </a:lnTo>
                  <a:lnTo>
                    <a:pt x="60" y="202"/>
                  </a:lnTo>
                  <a:lnTo>
                    <a:pt x="55" y="196"/>
                  </a:lnTo>
                  <a:lnTo>
                    <a:pt x="166" y="86"/>
                  </a:lnTo>
                  <a:lnTo>
                    <a:pt x="198" y="96"/>
                  </a:lnTo>
                  <a:lnTo>
                    <a:pt x="198" y="96"/>
                  </a:lnTo>
                  <a:lnTo>
                    <a:pt x="201" y="96"/>
                  </a:lnTo>
                  <a:lnTo>
                    <a:pt x="201" y="96"/>
                  </a:lnTo>
                  <a:lnTo>
                    <a:pt x="203" y="96"/>
                  </a:lnTo>
                  <a:lnTo>
                    <a:pt x="205" y="95"/>
                  </a:lnTo>
                  <a:lnTo>
                    <a:pt x="241" y="59"/>
                  </a:lnTo>
                  <a:lnTo>
                    <a:pt x="241" y="59"/>
                  </a:lnTo>
                  <a:lnTo>
                    <a:pt x="242" y="56"/>
                  </a:lnTo>
                  <a:lnTo>
                    <a:pt x="242" y="52"/>
                  </a:lnTo>
                  <a:lnTo>
                    <a:pt x="242" y="52"/>
                  </a:lnTo>
                  <a:lnTo>
                    <a:pt x="241" y="49"/>
                  </a:lnTo>
                  <a:lnTo>
                    <a:pt x="238" y="48"/>
                  </a:lnTo>
                  <a:lnTo>
                    <a:pt x="211" y="40"/>
                  </a:lnTo>
                  <a:lnTo>
                    <a:pt x="229" y="22"/>
                  </a:lnTo>
                  <a:lnTo>
                    <a:pt x="229" y="22"/>
                  </a:lnTo>
                  <a:lnTo>
                    <a:pt x="230" y="20"/>
                  </a:lnTo>
                  <a:lnTo>
                    <a:pt x="230" y="17"/>
                  </a:lnTo>
                  <a:lnTo>
                    <a:pt x="230" y="16"/>
                  </a:lnTo>
                  <a:lnTo>
                    <a:pt x="229" y="13"/>
                  </a:lnTo>
                  <a:lnTo>
                    <a:pt x="229"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128" name="TextBox 127">
            <a:extLst>
              <a:ext uri="{FF2B5EF4-FFF2-40B4-BE49-F238E27FC236}">
                <a16:creationId xmlns:a16="http://schemas.microsoft.com/office/drawing/2014/main" id="{10D91882-1B02-4D64-B8EE-93EE026CA7D7}"/>
              </a:ext>
            </a:extLst>
          </p:cNvPr>
          <p:cNvSpPr txBox="1"/>
          <p:nvPr/>
        </p:nvSpPr>
        <p:spPr>
          <a:xfrm>
            <a:off x="5663628" y="1526076"/>
            <a:ext cx="936090"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mn-cs"/>
              </a:rPr>
              <a:t>How we </a:t>
            </a:r>
            <a:br>
              <a:rPr kumimoji="0" lang="en-US" sz="1400" b="1" i="0" u="none" strike="noStrike" kern="1200" cap="none" spc="0" normalizeH="0" baseline="0" noProof="0" dirty="0">
                <a:ln>
                  <a:noFill/>
                </a:ln>
                <a:solidFill>
                  <a:srgbClr val="000000"/>
                </a:solidFill>
                <a:effectLst/>
                <a:uLnTx/>
                <a:uFillTx/>
                <a:latin typeface="Open Sans"/>
                <a:ea typeface="+mn-ea"/>
                <a:cs typeface="+mn-cs"/>
              </a:rPr>
            </a:br>
            <a:r>
              <a:rPr kumimoji="0" lang="en-US" sz="1400" b="1" i="0" u="none" strike="noStrike" kern="1200" cap="none" spc="0" normalizeH="0" baseline="0" noProof="0" dirty="0">
                <a:ln>
                  <a:noFill/>
                </a:ln>
                <a:solidFill>
                  <a:srgbClr val="000000"/>
                </a:solidFill>
                <a:effectLst/>
                <a:uLnTx/>
                <a:uFillTx/>
                <a:latin typeface="Open Sans"/>
                <a:ea typeface="+mn-ea"/>
                <a:cs typeface="+mn-cs"/>
              </a:rPr>
              <a:t>do it</a:t>
            </a:r>
          </a:p>
        </p:txBody>
      </p:sp>
      <p:sp>
        <p:nvSpPr>
          <p:cNvPr id="129" name="TextBox 128">
            <a:extLst>
              <a:ext uri="{FF2B5EF4-FFF2-40B4-BE49-F238E27FC236}">
                <a16:creationId xmlns:a16="http://schemas.microsoft.com/office/drawing/2014/main" id="{7F3DE11D-2FCC-49A7-AE34-116A02F6AF0A}"/>
              </a:ext>
            </a:extLst>
          </p:cNvPr>
          <p:cNvSpPr txBox="1"/>
          <p:nvPr/>
        </p:nvSpPr>
        <p:spPr>
          <a:xfrm>
            <a:off x="946946" y="4553186"/>
            <a:ext cx="287258"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Open Sans"/>
                <a:ea typeface="+mn-ea"/>
                <a:cs typeface="+mn-cs"/>
              </a:rPr>
              <a:t>1</a:t>
            </a:r>
          </a:p>
        </p:txBody>
      </p:sp>
      <p:sp>
        <p:nvSpPr>
          <p:cNvPr id="130" name="TextBox 129">
            <a:extLst>
              <a:ext uri="{FF2B5EF4-FFF2-40B4-BE49-F238E27FC236}">
                <a16:creationId xmlns:a16="http://schemas.microsoft.com/office/drawing/2014/main" id="{192DDADA-3DFE-434E-9FCF-00C61C41D65B}"/>
              </a:ext>
            </a:extLst>
          </p:cNvPr>
          <p:cNvSpPr txBox="1"/>
          <p:nvPr/>
        </p:nvSpPr>
        <p:spPr>
          <a:xfrm>
            <a:off x="755613" y="4904325"/>
            <a:ext cx="688009"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mn-cs"/>
              </a:rPr>
              <a:t>Release</a:t>
            </a:r>
            <a:endParaRPr kumimoji="0" lang="en-US" sz="16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1" name="TextBox 130">
            <a:extLst>
              <a:ext uri="{FF2B5EF4-FFF2-40B4-BE49-F238E27FC236}">
                <a16:creationId xmlns:a16="http://schemas.microsoft.com/office/drawing/2014/main" id="{BF86AF36-29B5-4E37-9181-AC17C11BA4BA}"/>
              </a:ext>
            </a:extLst>
          </p:cNvPr>
          <p:cNvSpPr txBox="1"/>
          <p:nvPr/>
        </p:nvSpPr>
        <p:spPr>
          <a:xfrm>
            <a:off x="4138381" y="4553186"/>
            <a:ext cx="287258"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Open Sans"/>
                <a:ea typeface="+mn-ea"/>
                <a:cs typeface="+mn-cs"/>
              </a:rPr>
              <a:t>2</a:t>
            </a:r>
          </a:p>
        </p:txBody>
      </p:sp>
      <p:sp>
        <p:nvSpPr>
          <p:cNvPr id="132" name="TextBox 131">
            <a:extLst>
              <a:ext uri="{FF2B5EF4-FFF2-40B4-BE49-F238E27FC236}">
                <a16:creationId xmlns:a16="http://schemas.microsoft.com/office/drawing/2014/main" id="{85AA6803-37B2-435B-B5A3-19369115601F}"/>
              </a:ext>
            </a:extLst>
          </p:cNvPr>
          <p:cNvSpPr txBox="1"/>
          <p:nvPr/>
        </p:nvSpPr>
        <p:spPr>
          <a:xfrm>
            <a:off x="3947048" y="4904325"/>
            <a:ext cx="688009"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mn-cs"/>
              </a:rPr>
              <a:t>Release</a:t>
            </a:r>
            <a:endParaRPr kumimoji="0" lang="en-US" sz="16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3" name="TextBox 132">
            <a:extLst>
              <a:ext uri="{FF2B5EF4-FFF2-40B4-BE49-F238E27FC236}">
                <a16:creationId xmlns:a16="http://schemas.microsoft.com/office/drawing/2014/main" id="{FD14AAB0-9F0B-4342-9CC1-934FEF5C13FD}"/>
              </a:ext>
            </a:extLst>
          </p:cNvPr>
          <p:cNvSpPr txBox="1"/>
          <p:nvPr/>
        </p:nvSpPr>
        <p:spPr>
          <a:xfrm>
            <a:off x="5908168" y="4553186"/>
            <a:ext cx="441146"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Open Sans"/>
                <a:ea typeface="+mn-ea"/>
                <a:cs typeface="+mn-cs"/>
              </a:rPr>
              <a:t>2.5</a:t>
            </a:r>
          </a:p>
        </p:txBody>
      </p:sp>
      <p:sp>
        <p:nvSpPr>
          <p:cNvPr id="134" name="TextBox 133">
            <a:extLst>
              <a:ext uri="{FF2B5EF4-FFF2-40B4-BE49-F238E27FC236}">
                <a16:creationId xmlns:a16="http://schemas.microsoft.com/office/drawing/2014/main" id="{D64C4FE9-F5DB-4DE0-A80B-961BA1E56246}"/>
              </a:ext>
            </a:extLst>
          </p:cNvPr>
          <p:cNvSpPr txBox="1"/>
          <p:nvPr/>
        </p:nvSpPr>
        <p:spPr>
          <a:xfrm>
            <a:off x="5793778" y="4904325"/>
            <a:ext cx="688009"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mn-cs"/>
              </a:rPr>
              <a:t>Release</a:t>
            </a:r>
            <a:endParaRPr kumimoji="0" lang="en-US" sz="16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5" name="TextBox 134">
            <a:extLst>
              <a:ext uri="{FF2B5EF4-FFF2-40B4-BE49-F238E27FC236}">
                <a16:creationId xmlns:a16="http://schemas.microsoft.com/office/drawing/2014/main" id="{4EB4A78C-1171-45A1-84A7-741A38130FF5}"/>
              </a:ext>
            </a:extLst>
          </p:cNvPr>
          <p:cNvSpPr txBox="1"/>
          <p:nvPr/>
        </p:nvSpPr>
        <p:spPr>
          <a:xfrm>
            <a:off x="8130664" y="4553186"/>
            <a:ext cx="287259"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Open Sans"/>
                <a:ea typeface="+mn-ea"/>
                <a:cs typeface="+mn-cs"/>
              </a:rPr>
              <a:t>3</a:t>
            </a:r>
          </a:p>
        </p:txBody>
      </p:sp>
      <p:sp>
        <p:nvSpPr>
          <p:cNvPr id="136" name="TextBox 135">
            <a:extLst>
              <a:ext uri="{FF2B5EF4-FFF2-40B4-BE49-F238E27FC236}">
                <a16:creationId xmlns:a16="http://schemas.microsoft.com/office/drawing/2014/main" id="{609DA9BE-F3B7-4C51-9BDC-2D7F04C43030}"/>
              </a:ext>
            </a:extLst>
          </p:cNvPr>
          <p:cNvSpPr txBox="1"/>
          <p:nvPr/>
        </p:nvSpPr>
        <p:spPr>
          <a:xfrm>
            <a:off x="7939331" y="4904325"/>
            <a:ext cx="688009"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mn-cs"/>
              </a:rPr>
              <a:t>Release</a:t>
            </a:r>
            <a:endParaRPr kumimoji="0" lang="en-US" sz="16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7" name="TextBox 136">
            <a:extLst>
              <a:ext uri="{FF2B5EF4-FFF2-40B4-BE49-F238E27FC236}">
                <a16:creationId xmlns:a16="http://schemas.microsoft.com/office/drawing/2014/main" id="{D3BC0969-3AA1-41B2-A181-0CEAD322DC17}"/>
              </a:ext>
            </a:extLst>
          </p:cNvPr>
          <p:cNvSpPr txBox="1"/>
          <p:nvPr/>
        </p:nvSpPr>
        <p:spPr>
          <a:xfrm>
            <a:off x="10958144" y="4908172"/>
            <a:ext cx="816249" cy="25391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a:ea typeface="+mn-ea"/>
                <a:cs typeface="+mn-cs"/>
              </a:rPr>
              <a:t>Release 4</a:t>
            </a:r>
            <a:endParaRPr kumimoji="0" lang="en-US" sz="16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138" name="TextBox 137">
            <a:extLst>
              <a:ext uri="{FF2B5EF4-FFF2-40B4-BE49-F238E27FC236}">
                <a16:creationId xmlns:a16="http://schemas.microsoft.com/office/drawing/2014/main" id="{B0FF1A00-93F8-43EE-9AB5-F1F24DB12872}"/>
              </a:ext>
            </a:extLst>
          </p:cNvPr>
          <p:cNvSpPr txBox="1"/>
          <p:nvPr/>
        </p:nvSpPr>
        <p:spPr>
          <a:xfrm>
            <a:off x="10514168" y="4499325"/>
            <a:ext cx="702436" cy="415498"/>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mn-cs"/>
              </a:rPr>
              <a:t>Coming </a:t>
            </a:r>
            <a:br>
              <a:rPr kumimoji="0" lang="en-US" sz="1050" b="0" i="0" u="none" strike="noStrike" kern="1200" cap="none" spc="0" normalizeH="0" baseline="0" noProof="0" dirty="0">
                <a:ln>
                  <a:noFill/>
                </a:ln>
                <a:solidFill>
                  <a:srgbClr val="000000"/>
                </a:solidFill>
                <a:effectLst/>
                <a:uLnTx/>
                <a:uFillTx/>
                <a:latin typeface="Open Sans"/>
                <a:ea typeface="+mn-ea"/>
                <a:cs typeface="+mn-cs"/>
              </a:rPr>
            </a:br>
            <a:r>
              <a:rPr kumimoji="0" lang="en-US" sz="1050" b="0" i="0" u="none" strike="noStrike" kern="1200" cap="none" spc="0" normalizeH="0" baseline="0" noProof="0" dirty="0">
                <a:ln>
                  <a:noFill/>
                </a:ln>
                <a:solidFill>
                  <a:srgbClr val="000000"/>
                </a:solidFill>
                <a:effectLst/>
                <a:uLnTx/>
                <a:uFillTx/>
                <a:latin typeface="Open Sans"/>
                <a:ea typeface="+mn-ea"/>
                <a:cs typeface="+mn-cs"/>
              </a:rPr>
              <a:t>Soon!</a:t>
            </a:r>
            <a:endParaRPr kumimoji="0" lang="en-US" sz="16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9" name="TextBox 138">
            <a:extLst>
              <a:ext uri="{FF2B5EF4-FFF2-40B4-BE49-F238E27FC236}">
                <a16:creationId xmlns:a16="http://schemas.microsoft.com/office/drawing/2014/main" id="{D0EDE18B-A992-46A4-AEFC-D10FAE5BAB57}"/>
              </a:ext>
            </a:extLst>
          </p:cNvPr>
          <p:cNvSpPr txBox="1"/>
          <p:nvPr/>
        </p:nvSpPr>
        <p:spPr>
          <a:xfrm>
            <a:off x="7227403" y="4457802"/>
            <a:ext cx="385041"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a:ea typeface="+mn-ea"/>
                <a:cs typeface="+mn-cs"/>
              </a:rPr>
              <a:t>2.6</a:t>
            </a:r>
          </a:p>
        </p:txBody>
      </p:sp>
      <p:sp>
        <p:nvSpPr>
          <p:cNvPr id="140" name="TextBox 139">
            <a:extLst>
              <a:ext uri="{FF2B5EF4-FFF2-40B4-BE49-F238E27FC236}">
                <a16:creationId xmlns:a16="http://schemas.microsoft.com/office/drawing/2014/main" id="{B9BC3B01-1FB7-4573-96ED-5864C026AB7E}"/>
              </a:ext>
            </a:extLst>
          </p:cNvPr>
          <p:cNvSpPr txBox="1"/>
          <p:nvPr/>
        </p:nvSpPr>
        <p:spPr>
          <a:xfrm>
            <a:off x="7129574" y="4640067"/>
            <a:ext cx="596638"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Minor</a:t>
            </a:r>
            <a:br>
              <a:rPr kumimoji="0" lang="en-US" sz="900" b="0" i="0" u="none" strike="noStrike" kern="1200" cap="none" spc="0" normalizeH="0" baseline="0" noProof="0" dirty="0">
                <a:ln>
                  <a:noFill/>
                </a:ln>
                <a:solidFill>
                  <a:srgbClr val="000000"/>
                </a:solidFill>
                <a:effectLst/>
                <a:uLnTx/>
                <a:uFillTx/>
                <a:latin typeface="Open Sans"/>
                <a:ea typeface="+mn-ea"/>
                <a:cs typeface="+mn-cs"/>
              </a:rPr>
            </a:br>
            <a:r>
              <a:rPr kumimoji="0" lang="en-US" sz="900" b="0" i="0" u="none" strike="noStrike" kern="1200" cap="none" spc="0" normalizeH="0" baseline="0" noProof="0" dirty="0">
                <a:ln>
                  <a:noFill/>
                </a:ln>
                <a:solidFill>
                  <a:srgbClr val="000000"/>
                </a:solidFill>
                <a:effectLst/>
                <a:uLnTx/>
                <a:uFillTx/>
                <a:latin typeface="Open Sans"/>
                <a:ea typeface="+mn-ea"/>
                <a:cs typeface="+mn-cs"/>
              </a:rPr>
              <a:t>Release</a:t>
            </a: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41" name="Left Brace 140">
            <a:extLst>
              <a:ext uri="{FF2B5EF4-FFF2-40B4-BE49-F238E27FC236}">
                <a16:creationId xmlns:a16="http://schemas.microsoft.com/office/drawing/2014/main" id="{3BE7D94F-E63D-4ECF-9887-6A8915B8C47D}"/>
              </a:ext>
            </a:extLst>
          </p:cNvPr>
          <p:cNvSpPr/>
          <p:nvPr/>
        </p:nvSpPr>
        <p:spPr>
          <a:xfrm rot="5400000">
            <a:off x="9671134" y="1755069"/>
            <a:ext cx="351465" cy="3109719"/>
          </a:xfrm>
          <a:prstGeom prst="leftBrace">
            <a:avLst>
              <a:gd name="adj1" fmla="val 0"/>
              <a:gd name="adj2" fmla="val 49450"/>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42" name="Oval 141">
            <a:extLst>
              <a:ext uri="{FF2B5EF4-FFF2-40B4-BE49-F238E27FC236}">
                <a16:creationId xmlns:a16="http://schemas.microsoft.com/office/drawing/2014/main" id="{6C1D1D43-79D7-469C-9951-09BC2D4D2312}"/>
              </a:ext>
            </a:extLst>
          </p:cNvPr>
          <p:cNvSpPr/>
          <p:nvPr/>
        </p:nvSpPr>
        <p:spPr>
          <a:xfrm>
            <a:off x="9821554" y="3004457"/>
            <a:ext cx="82140" cy="821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54" name="Text Placeholder 153">
            <a:extLst>
              <a:ext uri="{FF2B5EF4-FFF2-40B4-BE49-F238E27FC236}">
                <a16:creationId xmlns:a16="http://schemas.microsoft.com/office/drawing/2014/main" id="{0A3FDCEF-0896-42F0-877C-E278396188B6}"/>
              </a:ext>
            </a:extLst>
          </p:cNvPr>
          <p:cNvSpPr>
            <a:spLocks noGrp="1"/>
          </p:cNvSpPr>
          <p:nvPr>
            <p:ph type="body" sz="quarter" idx="16"/>
          </p:nvPr>
        </p:nvSpPr>
        <p:spPr>
          <a:xfrm>
            <a:off x="914400" y="1326654"/>
            <a:ext cx="3355975" cy="1169988"/>
          </a:xfrm>
        </p:spPr>
        <p:txBody>
          <a:bodyPr/>
          <a:lstStyle/>
          <a:p>
            <a:r>
              <a:rPr lang="en-US" dirty="0"/>
              <a:t>There have been 4 major releases, 1 minor release, and 3 product production patches in the past 9 months.</a:t>
            </a:r>
          </a:p>
        </p:txBody>
      </p:sp>
    </p:spTree>
    <p:extLst>
      <p:ext uri="{BB962C8B-B14F-4D97-AF65-F5344CB8AC3E}">
        <p14:creationId xmlns:p14="http://schemas.microsoft.com/office/powerpoint/2010/main" val="521704294"/>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Object 44" hidden="1">
            <a:extLst>
              <a:ext uri="{FF2B5EF4-FFF2-40B4-BE49-F238E27FC236}">
                <a16:creationId xmlns:a16="http://schemas.microsoft.com/office/drawing/2014/main" id="{63D3D249-D45C-4157-B83C-91B7D4BF8C6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4500" name="think-cell Slide" r:id="rId6" imgW="415" imgH="416" progId="TCLayout.ActiveDocument.1">
                  <p:embed/>
                </p:oleObj>
              </mc:Choice>
              <mc:Fallback>
                <p:oleObj name="think-cell Slide" r:id="rId6" imgW="415" imgH="416" progId="TCLayout.ActiveDocument.1">
                  <p:embed/>
                  <p:pic>
                    <p:nvPicPr>
                      <p:cNvPr id="45" name="Object 44" hidden="1">
                        <a:extLst>
                          <a:ext uri="{FF2B5EF4-FFF2-40B4-BE49-F238E27FC236}">
                            <a16:creationId xmlns:a16="http://schemas.microsoft.com/office/drawing/2014/main" id="{63D3D249-D45C-4157-B83C-91B7D4BF8C6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4" name="Rectangle 43" hidden="1">
            <a:extLst>
              <a:ext uri="{FF2B5EF4-FFF2-40B4-BE49-F238E27FC236}">
                <a16:creationId xmlns:a16="http://schemas.microsoft.com/office/drawing/2014/main" id="{E274074A-1EB0-4C93-996C-3830BE28717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2156994A-F7C3-40D8-8384-1A2DC8743893}"/>
              </a:ext>
            </a:extLst>
          </p:cNvPr>
          <p:cNvSpPr>
            <a:spLocks noGrp="1"/>
          </p:cNvSpPr>
          <p:nvPr>
            <p:ph type="title"/>
          </p:nvPr>
        </p:nvSpPr>
        <p:spPr/>
        <p:txBody>
          <a:bodyPr/>
          <a:lstStyle/>
          <a:p>
            <a:r>
              <a:rPr lang="en-US" dirty="0"/>
              <a:t>Refinement through roadmap development</a:t>
            </a:r>
          </a:p>
        </p:txBody>
      </p:sp>
      <p:sp>
        <p:nvSpPr>
          <p:cNvPr id="4" name="Text Placeholder 3">
            <a:extLst>
              <a:ext uri="{FF2B5EF4-FFF2-40B4-BE49-F238E27FC236}">
                <a16:creationId xmlns:a16="http://schemas.microsoft.com/office/drawing/2014/main" id="{962E5CBA-8F4D-412C-8468-3A43905FF4BE}"/>
              </a:ext>
            </a:extLst>
          </p:cNvPr>
          <p:cNvSpPr>
            <a:spLocks noGrp="1"/>
          </p:cNvSpPr>
          <p:nvPr>
            <p:ph type="body" sz="quarter" idx="15"/>
          </p:nvPr>
        </p:nvSpPr>
        <p:spPr/>
        <p:txBody>
          <a:bodyPr/>
          <a:lstStyle/>
          <a:p>
            <a:r>
              <a:rPr lang="en-US" dirty="0"/>
              <a:t>Plans, timelines and roadmaps</a:t>
            </a:r>
          </a:p>
        </p:txBody>
      </p:sp>
      <p:sp>
        <p:nvSpPr>
          <p:cNvPr id="5" name="Rectangle 4">
            <a:extLst>
              <a:ext uri="{FF2B5EF4-FFF2-40B4-BE49-F238E27FC236}">
                <a16:creationId xmlns:a16="http://schemas.microsoft.com/office/drawing/2014/main" id="{ECFBB535-C84D-4F38-A4D0-3CA9F18A7670}"/>
              </a:ext>
            </a:extLst>
          </p:cNvPr>
          <p:cNvSpPr/>
          <p:nvPr/>
        </p:nvSpPr>
        <p:spPr>
          <a:xfrm>
            <a:off x="914400" y="3384383"/>
            <a:ext cx="10362472" cy="1484186"/>
          </a:xfrm>
          <a:prstGeom prst="rect">
            <a:avLst/>
          </a:prstGeom>
          <a:solidFill>
            <a:schemeClr val="bg1">
              <a:lumMod val="95000"/>
            </a:schemeClr>
          </a:solidFill>
          <a:ln w="63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cxnSp>
        <p:nvCxnSpPr>
          <p:cNvPr id="6" name="Straight Connector 5">
            <a:extLst>
              <a:ext uri="{FF2B5EF4-FFF2-40B4-BE49-F238E27FC236}">
                <a16:creationId xmlns:a16="http://schemas.microsoft.com/office/drawing/2014/main" id="{22CBCC3E-E002-4C73-B331-FFA53D4C3396}"/>
              </a:ext>
            </a:extLst>
          </p:cNvPr>
          <p:cNvCxnSpPr>
            <a:cxnSpLocks/>
          </p:cNvCxnSpPr>
          <p:nvPr/>
        </p:nvCxnSpPr>
        <p:spPr>
          <a:xfrm>
            <a:off x="1025090" y="4099939"/>
            <a:ext cx="3985602" cy="0"/>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41F3EB0A-6F00-490C-AAE0-2C3CCFD92534}"/>
              </a:ext>
            </a:extLst>
          </p:cNvPr>
          <p:cNvSpPr txBox="1"/>
          <p:nvPr/>
        </p:nvSpPr>
        <p:spPr>
          <a:xfrm>
            <a:off x="3305289" y="2991076"/>
            <a:ext cx="945512" cy="246221"/>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Open Sans"/>
                <a:ea typeface="+mn-ea"/>
                <a:cs typeface="+mn-cs"/>
              </a:rPr>
              <a:t>Workshop</a:t>
            </a:r>
          </a:p>
        </p:txBody>
      </p:sp>
      <p:sp>
        <p:nvSpPr>
          <p:cNvPr id="8" name="Rectangle 7">
            <a:extLst>
              <a:ext uri="{FF2B5EF4-FFF2-40B4-BE49-F238E27FC236}">
                <a16:creationId xmlns:a16="http://schemas.microsoft.com/office/drawing/2014/main" id="{8E4BDC3E-4EE3-4C03-8F33-3AAFCC39BBAB}"/>
              </a:ext>
            </a:extLst>
          </p:cNvPr>
          <p:cNvSpPr/>
          <p:nvPr/>
        </p:nvSpPr>
        <p:spPr>
          <a:xfrm>
            <a:off x="914400" y="2435749"/>
            <a:ext cx="3065738" cy="477897"/>
          </a:xfrm>
          <a:prstGeom prst="rect">
            <a:avLst/>
          </a:prstGeom>
          <a:noFill/>
          <a:ln w="12700" cap="flat" cmpd="sng" algn="ctr">
            <a:noFill/>
            <a:prstDash val="solid"/>
            <a:miter lim="800000"/>
          </a:ln>
          <a:effectLst/>
        </p:spPr>
        <p:txBody>
          <a:bodyPr lIns="0" tIns="91440" bIns="91440" rtlCol="0" anchor="ct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Open Sans"/>
                <a:ea typeface="+mn-ea"/>
                <a:cs typeface="Chronicle Display Black"/>
              </a:rPr>
              <a:t>MONTH 1</a:t>
            </a:r>
          </a:p>
        </p:txBody>
      </p:sp>
      <p:sp>
        <p:nvSpPr>
          <p:cNvPr id="9" name="Rectangle 8">
            <a:extLst>
              <a:ext uri="{FF2B5EF4-FFF2-40B4-BE49-F238E27FC236}">
                <a16:creationId xmlns:a16="http://schemas.microsoft.com/office/drawing/2014/main" id="{B97D83C7-83D4-448D-B124-612BBEE94D99}"/>
              </a:ext>
            </a:extLst>
          </p:cNvPr>
          <p:cNvSpPr/>
          <p:nvPr/>
        </p:nvSpPr>
        <p:spPr>
          <a:xfrm>
            <a:off x="4425696" y="2435749"/>
            <a:ext cx="3065738" cy="477897"/>
          </a:xfrm>
          <a:prstGeom prst="rect">
            <a:avLst/>
          </a:prstGeom>
          <a:noFill/>
          <a:ln w="12700" cap="flat" cmpd="sng" algn="ctr">
            <a:noFill/>
            <a:prstDash val="solid"/>
            <a:miter lim="800000"/>
          </a:ln>
          <a:effectLst/>
        </p:spPr>
        <p:txBody>
          <a:bodyPr lIns="0" tIns="91440" bIns="91440" rtlCol="0" anchor="ct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Open Sans"/>
                <a:ea typeface="+mn-ea"/>
                <a:cs typeface="Chronicle Display Black"/>
              </a:rPr>
              <a:t>MONTH 2</a:t>
            </a:r>
          </a:p>
        </p:txBody>
      </p:sp>
      <p:sp>
        <p:nvSpPr>
          <p:cNvPr id="10" name="Rectangle 9">
            <a:extLst>
              <a:ext uri="{FF2B5EF4-FFF2-40B4-BE49-F238E27FC236}">
                <a16:creationId xmlns:a16="http://schemas.microsoft.com/office/drawing/2014/main" id="{1CDD39FF-AC2E-4F79-9FBB-2F745D2FA382}"/>
              </a:ext>
            </a:extLst>
          </p:cNvPr>
          <p:cNvSpPr/>
          <p:nvPr/>
        </p:nvSpPr>
        <p:spPr>
          <a:xfrm>
            <a:off x="7936992" y="2435749"/>
            <a:ext cx="3065738" cy="477897"/>
          </a:xfrm>
          <a:prstGeom prst="rect">
            <a:avLst/>
          </a:prstGeom>
          <a:noFill/>
          <a:ln w="12700" cap="flat" cmpd="sng" algn="ctr">
            <a:noFill/>
            <a:prstDash val="solid"/>
            <a:miter lim="800000"/>
          </a:ln>
          <a:effectLst/>
        </p:spPr>
        <p:txBody>
          <a:bodyPr lIns="0" tIns="91440" bIns="91440" rtlCol="0" anchor="ct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Open Sans"/>
                <a:ea typeface="+mn-ea"/>
                <a:cs typeface="Chronicle Display Black"/>
              </a:rPr>
              <a:t>MONTH 3</a:t>
            </a:r>
          </a:p>
        </p:txBody>
      </p:sp>
      <p:cxnSp>
        <p:nvCxnSpPr>
          <p:cNvPr id="11" name="Straight Connector 10">
            <a:extLst>
              <a:ext uri="{FF2B5EF4-FFF2-40B4-BE49-F238E27FC236}">
                <a16:creationId xmlns:a16="http://schemas.microsoft.com/office/drawing/2014/main" id="{44FC9E25-D2B8-4618-82F0-561E00D6C294}"/>
              </a:ext>
            </a:extLst>
          </p:cNvPr>
          <p:cNvCxnSpPr>
            <a:cxnSpLocks/>
          </p:cNvCxnSpPr>
          <p:nvPr/>
        </p:nvCxnSpPr>
        <p:spPr>
          <a:xfrm flipH="1">
            <a:off x="4849310" y="5302730"/>
            <a:ext cx="3383280" cy="6019"/>
          </a:xfrm>
          <a:prstGeom prst="line">
            <a:avLst/>
          </a:prstGeom>
          <a:noFill/>
          <a:ln w="28575" cap="flat" cmpd="sng" algn="ctr">
            <a:solidFill>
              <a:schemeClr val="accent3"/>
            </a:solidFill>
            <a:prstDash val="solid"/>
            <a:miter lim="800000"/>
          </a:ln>
          <a:effectLst/>
        </p:spPr>
      </p:cxnSp>
      <p:sp>
        <p:nvSpPr>
          <p:cNvPr id="12" name="Rectangle 11">
            <a:extLst>
              <a:ext uri="{FF2B5EF4-FFF2-40B4-BE49-F238E27FC236}">
                <a16:creationId xmlns:a16="http://schemas.microsoft.com/office/drawing/2014/main" id="{4DF4B19C-5EF9-42DA-937A-F0E54161E1DF}"/>
              </a:ext>
            </a:extLst>
          </p:cNvPr>
          <p:cNvSpPr/>
          <p:nvPr/>
        </p:nvSpPr>
        <p:spPr>
          <a:xfrm>
            <a:off x="4849307" y="4934289"/>
            <a:ext cx="5020736" cy="477897"/>
          </a:xfrm>
          <a:prstGeom prst="rect">
            <a:avLst/>
          </a:prstGeom>
          <a:noFill/>
          <a:ln w="12700" cap="flat" cmpd="sng" algn="ctr">
            <a:noFill/>
            <a:prstDash val="solid"/>
            <a:miter lim="800000"/>
          </a:ln>
          <a:effectLst/>
        </p:spPr>
        <p:txBody>
          <a:bodyPr lIns="91440" tIns="91440" bIns="91440" rtlCol="0" anchor="ct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400" b="1" i="0" u="none" strike="noStrike" kern="0" cap="all" spc="-50" normalizeH="0" baseline="0" noProof="0" dirty="0">
                <a:ln>
                  <a:noFill/>
                </a:ln>
                <a:solidFill>
                  <a:srgbClr val="000000"/>
                </a:solidFill>
                <a:effectLst/>
                <a:uLnTx/>
                <a:uFillTx/>
                <a:latin typeface="Open Sans"/>
                <a:ea typeface="+mn-ea"/>
                <a:cs typeface="Open Sans"/>
              </a:rPr>
              <a:t>Gap Assessment </a:t>
            </a:r>
            <a:r>
              <a:rPr kumimoji="0" lang="en-US" sz="1400" b="0" i="0" u="none" strike="noStrike" kern="0" cap="none" spc="-50" normalizeH="0" baseline="0" noProof="0" dirty="0">
                <a:ln>
                  <a:noFill/>
                </a:ln>
                <a:solidFill>
                  <a:srgbClr val="000000"/>
                </a:solidFill>
                <a:effectLst/>
                <a:uLnTx/>
                <a:uFillTx/>
                <a:latin typeface="Open Sans"/>
                <a:ea typeface="+mn-ea"/>
                <a:cs typeface="Open Sans"/>
              </a:rPr>
              <a:t>(4 Weeks)</a:t>
            </a:r>
            <a:endParaRPr kumimoji="0" lang="en-US" sz="1000" b="0" i="0" u="none" strike="noStrike" kern="0" cap="none" spc="-50" normalizeH="0" baseline="0" noProof="0" dirty="0">
              <a:ln>
                <a:noFill/>
              </a:ln>
              <a:solidFill>
                <a:srgbClr val="000000"/>
              </a:solidFill>
              <a:effectLst/>
              <a:uLnTx/>
              <a:uFillTx/>
              <a:latin typeface="Open Sans"/>
              <a:ea typeface="+mn-ea"/>
              <a:cs typeface="Open Sans"/>
            </a:endParaRPr>
          </a:p>
        </p:txBody>
      </p:sp>
      <p:cxnSp>
        <p:nvCxnSpPr>
          <p:cNvPr id="13" name="Straight Connector 12">
            <a:extLst>
              <a:ext uri="{FF2B5EF4-FFF2-40B4-BE49-F238E27FC236}">
                <a16:creationId xmlns:a16="http://schemas.microsoft.com/office/drawing/2014/main" id="{AF52381D-74B0-4A56-9426-BFA82C596686}"/>
              </a:ext>
            </a:extLst>
          </p:cNvPr>
          <p:cNvCxnSpPr>
            <a:cxnSpLocks/>
          </p:cNvCxnSpPr>
          <p:nvPr/>
        </p:nvCxnSpPr>
        <p:spPr>
          <a:xfrm flipH="1" flipV="1">
            <a:off x="7517144" y="5835609"/>
            <a:ext cx="3344460" cy="1364"/>
          </a:xfrm>
          <a:prstGeom prst="line">
            <a:avLst/>
          </a:prstGeom>
          <a:noFill/>
          <a:ln w="28575" cap="flat" cmpd="sng" algn="ctr">
            <a:solidFill>
              <a:schemeClr val="accent2"/>
            </a:solidFill>
            <a:prstDash val="solid"/>
            <a:miter lim="800000"/>
          </a:ln>
          <a:effectLst/>
        </p:spPr>
      </p:cxnSp>
      <p:sp>
        <p:nvSpPr>
          <p:cNvPr id="14" name="Rectangle 13">
            <a:extLst>
              <a:ext uri="{FF2B5EF4-FFF2-40B4-BE49-F238E27FC236}">
                <a16:creationId xmlns:a16="http://schemas.microsoft.com/office/drawing/2014/main" id="{07FCD927-0EC7-4A3F-B560-F5B4CB324B42}"/>
              </a:ext>
            </a:extLst>
          </p:cNvPr>
          <p:cNvSpPr/>
          <p:nvPr/>
        </p:nvSpPr>
        <p:spPr>
          <a:xfrm>
            <a:off x="7507616" y="5461149"/>
            <a:ext cx="3367947" cy="477897"/>
          </a:xfrm>
          <a:prstGeom prst="rect">
            <a:avLst/>
          </a:prstGeom>
          <a:noFill/>
          <a:ln w="12700" cap="flat" cmpd="sng" algn="ctr">
            <a:noFill/>
            <a:prstDash val="solid"/>
            <a:miter lim="800000"/>
          </a:ln>
          <a:effectLst/>
        </p:spPr>
        <p:txBody>
          <a:bodyPr lIns="91440" tIns="91440" bIns="91440" rtlCol="0" anchor="ct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400" b="1" i="0" u="none" strike="noStrike" kern="0" cap="none" spc="-50" normalizeH="0" baseline="0" noProof="0" dirty="0">
                <a:ln>
                  <a:noFill/>
                </a:ln>
                <a:solidFill>
                  <a:srgbClr val="000000"/>
                </a:solidFill>
                <a:effectLst/>
                <a:uLnTx/>
                <a:uFillTx/>
                <a:latin typeface="Open Sans"/>
                <a:ea typeface="+mn-ea"/>
                <a:cs typeface="Open Sans"/>
              </a:rPr>
              <a:t>ROADMAP &amp; BUSINESS CASE </a:t>
            </a:r>
            <a:r>
              <a:rPr kumimoji="0" lang="en-US" sz="1400" b="0" i="0" u="none" strike="noStrike" kern="0" cap="none" spc="-50" normalizeH="0" baseline="0" noProof="0" dirty="0">
                <a:ln>
                  <a:noFill/>
                </a:ln>
                <a:solidFill>
                  <a:srgbClr val="000000"/>
                </a:solidFill>
                <a:effectLst/>
                <a:uLnTx/>
                <a:uFillTx/>
                <a:latin typeface="Open Sans"/>
                <a:ea typeface="+mn-ea"/>
                <a:cs typeface="Open Sans"/>
              </a:rPr>
              <a:t>(4 Weeks)</a:t>
            </a:r>
            <a:endParaRPr kumimoji="0" lang="en-US" sz="1000" b="0" i="0" u="none" strike="noStrike" kern="0" cap="none" spc="-50" normalizeH="0" baseline="0" noProof="0" dirty="0">
              <a:ln>
                <a:noFill/>
              </a:ln>
              <a:solidFill>
                <a:srgbClr val="000000"/>
              </a:solidFill>
              <a:effectLst/>
              <a:uLnTx/>
              <a:uFillTx/>
              <a:latin typeface="Open Sans"/>
              <a:ea typeface="+mn-ea"/>
              <a:cs typeface="Open Sans"/>
            </a:endParaRPr>
          </a:p>
        </p:txBody>
      </p:sp>
      <p:sp>
        <p:nvSpPr>
          <p:cNvPr id="15" name="TextBox 14">
            <a:extLst>
              <a:ext uri="{FF2B5EF4-FFF2-40B4-BE49-F238E27FC236}">
                <a16:creationId xmlns:a16="http://schemas.microsoft.com/office/drawing/2014/main" id="{5123C65F-EBFF-4E7F-A506-4E4C7A662F41}"/>
              </a:ext>
            </a:extLst>
          </p:cNvPr>
          <p:cNvSpPr txBox="1"/>
          <p:nvPr/>
        </p:nvSpPr>
        <p:spPr>
          <a:xfrm>
            <a:off x="7916362" y="2991076"/>
            <a:ext cx="1069869" cy="246221"/>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Open Sans"/>
                <a:ea typeface="+mn-ea"/>
                <a:cs typeface="+mn-cs"/>
              </a:rPr>
              <a:t>Workshops</a:t>
            </a:r>
          </a:p>
        </p:txBody>
      </p:sp>
      <p:sp>
        <p:nvSpPr>
          <p:cNvPr id="16" name="TextBox 15">
            <a:extLst>
              <a:ext uri="{FF2B5EF4-FFF2-40B4-BE49-F238E27FC236}">
                <a16:creationId xmlns:a16="http://schemas.microsoft.com/office/drawing/2014/main" id="{EB75856F-A5D5-4078-94FF-C4973748F117}"/>
              </a:ext>
            </a:extLst>
          </p:cNvPr>
          <p:cNvSpPr txBox="1"/>
          <p:nvPr/>
        </p:nvSpPr>
        <p:spPr>
          <a:xfrm>
            <a:off x="9690142" y="2991076"/>
            <a:ext cx="1235450" cy="246221"/>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Open Sans"/>
                <a:ea typeface="+mn-ea"/>
                <a:cs typeface="+mn-cs"/>
              </a:rPr>
              <a:t>Project Readout</a:t>
            </a:r>
          </a:p>
        </p:txBody>
      </p:sp>
      <p:sp>
        <p:nvSpPr>
          <p:cNvPr id="17" name="TextBox 16">
            <a:extLst>
              <a:ext uri="{FF2B5EF4-FFF2-40B4-BE49-F238E27FC236}">
                <a16:creationId xmlns:a16="http://schemas.microsoft.com/office/drawing/2014/main" id="{B9F19EE4-A3A9-4E1D-BC87-E0D182B92D26}"/>
              </a:ext>
            </a:extLst>
          </p:cNvPr>
          <p:cNvSpPr txBox="1"/>
          <p:nvPr/>
        </p:nvSpPr>
        <p:spPr>
          <a:xfrm>
            <a:off x="1245230" y="2991076"/>
            <a:ext cx="945512" cy="246221"/>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Open Sans"/>
                <a:ea typeface="+mn-ea"/>
                <a:cs typeface="+mn-cs"/>
              </a:rPr>
              <a:t>Kick-Off</a:t>
            </a:r>
          </a:p>
        </p:txBody>
      </p:sp>
      <p:grpSp>
        <p:nvGrpSpPr>
          <p:cNvPr id="18" name="Group 17">
            <a:extLst>
              <a:ext uri="{FF2B5EF4-FFF2-40B4-BE49-F238E27FC236}">
                <a16:creationId xmlns:a16="http://schemas.microsoft.com/office/drawing/2014/main" id="{04188EF8-70D5-4140-889F-AD1E375D431B}"/>
              </a:ext>
            </a:extLst>
          </p:cNvPr>
          <p:cNvGrpSpPr>
            <a:grpSpLocks noChangeAspect="1"/>
          </p:cNvGrpSpPr>
          <p:nvPr/>
        </p:nvGrpSpPr>
        <p:grpSpPr>
          <a:xfrm>
            <a:off x="2968613" y="2923620"/>
            <a:ext cx="357814" cy="356730"/>
            <a:chOff x="5834063" y="3342323"/>
            <a:chExt cx="523875" cy="522288"/>
          </a:xfrm>
        </p:grpSpPr>
        <p:sp>
          <p:nvSpPr>
            <p:cNvPr id="19" name="Freeform 56">
              <a:extLst>
                <a:ext uri="{FF2B5EF4-FFF2-40B4-BE49-F238E27FC236}">
                  <a16:creationId xmlns:a16="http://schemas.microsoft.com/office/drawing/2014/main" id="{234A42F0-C1C1-4CB4-85E3-3223ACE2EA13}"/>
                </a:ext>
              </a:extLst>
            </p:cNvPr>
            <p:cNvSpPr>
              <a:spLocks noEditPoints="1"/>
            </p:cNvSpPr>
            <p:nvPr/>
          </p:nvSpPr>
          <p:spPr bwMode="auto">
            <a:xfrm>
              <a:off x="5834063" y="3342323"/>
              <a:ext cx="523875" cy="522288"/>
            </a:xfrm>
            <a:custGeom>
              <a:avLst/>
              <a:gdLst>
                <a:gd name="T0" fmla="*/ 312 w 658"/>
                <a:gd name="T1" fmla="*/ 658 h 659"/>
                <a:gd name="T2" fmla="*/ 262 w 658"/>
                <a:gd name="T3" fmla="*/ 652 h 659"/>
                <a:gd name="T4" fmla="*/ 201 w 658"/>
                <a:gd name="T5" fmla="*/ 632 h 659"/>
                <a:gd name="T6" fmla="*/ 119 w 658"/>
                <a:gd name="T7" fmla="*/ 584 h 659"/>
                <a:gd name="T8" fmla="*/ 56 w 658"/>
                <a:gd name="T9" fmla="*/ 514 h 659"/>
                <a:gd name="T10" fmla="*/ 15 w 658"/>
                <a:gd name="T11" fmla="*/ 428 h 659"/>
                <a:gd name="T12" fmla="*/ 4 w 658"/>
                <a:gd name="T13" fmla="*/ 379 h 659"/>
                <a:gd name="T14" fmla="*/ 0 w 658"/>
                <a:gd name="T15" fmla="*/ 330 h 659"/>
                <a:gd name="T16" fmla="*/ 1 w 658"/>
                <a:gd name="T17" fmla="*/ 296 h 659"/>
                <a:gd name="T18" fmla="*/ 10 w 658"/>
                <a:gd name="T19" fmla="*/ 248 h 659"/>
                <a:gd name="T20" fmla="*/ 40 w 658"/>
                <a:gd name="T21" fmla="*/ 172 h 659"/>
                <a:gd name="T22" fmla="*/ 96 w 658"/>
                <a:gd name="T23" fmla="*/ 97 h 659"/>
                <a:gd name="T24" fmla="*/ 172 w 658"/>
                <a:gd name="T25" fmla="*/ 41 h 659"/>
                <a:gd name="T26" fmla="*/ 247 w 658"/>
                <a:gd name="T27" fmla="*/ 11 h 659"/>
                <a:gd name="T28" fmla="*/ 295 w 658"/>
                <a:gd name="T29" fmla="*/ 2 h 659"/>
                <a:gd name="T30" fmla="*/ 329 w 658"/>
                <a:gd name="T31" fmla="*/ 0 h 659"/>
                <a:gd name="T32" fmla="*/ 379 w 658"/>
                <a:gd name="T33" fmla="*/ 4 h 659"/>
                <a:gd name="T34" fmla="*/ 426 w 658"/>
                <a:gd name="T35" fmla="*/ 15 h 659"/>
                <a:gd name="T36" fmla="*/ 513 w 658"/>
                <a:gd name="T37" fmla="*/ 57 h 659"/>
                <a:gd name="T38" fmla="*/ 583 w 658"/>
                <a:gd name="T39" fmla="*/ 120 h 659"/>
                <a:gd name="T40" fmla="*/ 631 w 658"/>
                <a:gd name="T41" fmla="*/ 202 h 659"/>
                <a:gd name="T42" fmla="*/ 652 w 658"/>
                <a:gd name="T43" fmla="*/ 264 h 659"/>
                <a:gd name="T44" fmla="*/ 657 w 658"/>
                <a:gd name="T45" fmla="*/ 312 h 659"/>
                <a:gd name="T46" fmla="*/ 657 w 658"/>
                <a:gd name="T47" fmla="*/ 347 h 659"/>
                <a:gd name="T48" fmla="*/ 652 w 658"/>
                <a:gd name="T49" fmla="*/ 396 h 659"/>
                <a:gd name="T50" fmla="*/ 631 w 658"/>
                <a:gd name="T51" fmla="*/ 457 h 659"/>
                <a:gd name="T52" fmla="*/ 583 w 658"/>
                <a:gd name="T53" fmla="*/ 539 h 659"/>
                <a:gd name="T54" fmla="*/ 513 w 658"/>
                <a:gd name="T55" fmla="*/ 603 h 659"/>
                <a:gd name="T56" fmla="*/ 426 w 658"/>
                <a:gd name="T57" fmla="*/ 644 h 659"/>
                <a:gd name="T58" fmla="*/ 379 w 658"/>
                <a:gd name="T59" fmla="*/ 655 h 659"/>
                <a:gd name="T60" fmla="*/ 329 w 658"/>
                <a:gd name="T61" fmla="*/ 659 h 659"/>
                <a:gd name="T62" fmla="*/ 329 w 658"/>
                <a:gd name="T63" fmla="*/ 38 h 659"/>
                <a:gd name="T64" fmla="*/ 242 w 658"/>
                <a:gd name="T65" fmla="*/ 51 h 659"/>
                <a:gd name="T66" fmla="*/ 166 w 658"/>
                <a:gd name="T67" fmla="*/ 88 h 659"/>
                <a:gd name="T68" fmla="*/ 105 w 658"/>
                <a:gd name="T69" fmla="*/ 144 h 659"/>
                <a:gd name="T70" fmla="*/ 60 w 658"/>
                <a:gd name="T71" fmla="*/ 217 h 659"/>
                <a:gd name="T72" fmla="*/ 39 w 658"/>
                <a:gd name="T73" fmla="*/ 300 h 659"/>
                <a:gd name="T74" fmla="*/ 39 w 658"/>
                <a:gd name="T75" fmla="*/ 359 h 659"/>
                <a:gd name="T76" fmla="*/ 60 w 658"/>
                <a:gd name="T77" fmla="*/ 443 h 659"/>
                <a:gd name="T78" fmla="*/ 105 w 658"/>
                <a:gd name="T79" fmla="*/ 515 h 659"/>
                <a:gd name="T80" fmla="*/ 166 w 658"/>
                <a:gd name="T81" fmla="*/ 572 h 659"/>
                <a:gd name="T82" fmla="*/ 242 w 658"/>
                <a:gd name="T83" fmla="*/ 608 h 659"/>
                <a:gd name="T84" fmla="*/ 329 w 658"/>
                <a:gd name="T85" fmla="*/ 621 h 659"/>
                <a:gd name="T86" fmla="*/ 387 w 658"/>
                <a:gd name="T87" fmla="*/ 615 h 659"/>
                <a:gd name="T88" fmla="*/ 467 w 658"/>
                <a:gd name="T89" fmla="*/ 586 h 659"/>
                <a:gd name="T90" fmla="*/ 535 w 658"/>
                <a:gd name="T91" fmla="*/ 535 h 659"/>
                <a:gd name="T92" fmla="*/ 584 w 658"/>
                <a:gd name="T93" fmla="*/ 468 h 659"/>
                <a:gd name="T94" fmla="*/ 614 w 658"/>
                <a:gd name="T95" fmla="*/ 389 h 659"/>
                <a:gd name="T96" fmla="*/ 621 w 658"/>
                <a:gd name="T97" fmla="*/ 330 h 659"/>
                <a:gd name="T98" fmla="*/ 607 w 658"/>
                <a:gd name="T99" fmla="*/ 244 h 659"/>
                <a:gd name="T100" fmla="*/ 570 w 658"/>
                <a:gd name="T101" fmla="*/ 167 h 659"/>
                <a:gd name="T102" fmla="*/ 514 w 658"/>
                <a:gd name="T103" fmla="*/ 105 h 659"/>
                <a:gd name="T104" fmla="*/ 442 w 658"/>
                <a:gd name="T105" fmla="*/ 61 h 659"/>
                <a:gd name="T106" fmla="*/ 359 w 658"/>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2" y="658"/>
                  </a:lnTo>
                  <a:lnTo>
                    <a:pt x="295" y="656"/>
                  </a:lnTo>
                  <a:lnTo>
                    <a:pt x="279" y="655"/>
                  </a:lnTo>
                  <a:lnTo>
                    <a:pt x="262" y="652"/>
                  </a:lnTo>
                  <a:lnTo>
                    <a:pt x="247" y="648"/>
                  </a:lnTo>
                  <a:lnTo>
                    <a:pt x="231" y="644"/>
                  </a:lnTo>
                  <a:lnTo>
                    <a:pt x="201" y="632"/>
                  </a:lnTo>
                  <a:lnTo>
                    <a:pt x="172" y="619"/>
                  </a:lnTo>
                  <a:lnTo>
                    <a:pt x="145" y="603"/>
                  </a:lnTo>
                  <a:lnTo>
                    <a:pt x="119" y="584"/>
                  </a:lnTo>
                  <a:lnTo>
                    <a:pt x="96" y="562"/>
                  </a:lnTo>
                  <a:lnTo>
                    <a:pt x="75" y="539"/>
                  </a:lnTo>
                  <a:lnTo>
                    <a:pt x="56" y="514"/>
                  </a:lnTo>
                  <a:lnTo>
                    <a:pt x="40" y="487"/>
                  </a:lnTo>
                  <a:lnTo>
                    <a:pt x="25" y="457"/>
                  </a:lnTo>
                  <a:lnTo>
                    <a:pt x="15" y="428"/>
                  </a:lnTo>
                  <a:lnTo>
                    <a:pt x="10" y="412"/>
                  </a:lnTo>
                  <a:lnTo>
                    <a:pt x="6" y="396"/>
                  </a:lnTo>
                  <a:lnTo>
                    <a:pt x="4" y="379"/>
                  </a:lnTo>
                  <a:lnTo>
                    <a:pt x="1" y="363"/>
                  </a:lnTo>
                  <a:lnTo>
                    <a:pt x="0" y="347"/>
                  </a:lnTo>
                  <a:lnTo>
                    <a:pt x="0" y="330"/>
                  </a:lnTo>
                  <a:lnTo>
                    <a:pt x="0" y="330"/>
                  </a:lnTo>
                  <a:lnTo>
                    <a:pt x="0" y="312"/>
                  </a:lnTo>
                  <a:lnTo>
                    <a:pt x="1" y="296"/>
                  </a:lnTo>
                  <a:lnTo>
                    <a:pt x="4" y="280"/>
                  </a:lnTo>
                  <a:lnTo>
                    <a:pt x="6" y="264"/>
                  </a:lnTo>
                  <a:lnTo>
                    <a:pt x="10" y="248"/>
                  </a:lnTo>
                  <a:lnTo>
                    <a:pt x="15" y="232"/>
                  </a:lnTo>
                  <a:lnTo>
                    <a:pt x="25" y="202"/>
                  </a:lnTo>
                  <a:lnTo>
                    <a:pt x="40" y="172"/>
                  </a:lnTo>
                  <a:lnTo>
                    <a:pt x="56" y="146"/>
                  </a:lnTo>
                  <a:lnTo>
                    <a:pt x="75" y="120"/>
                  </a:lnTo>
                  <a:lnTo>
                    <a:pt x="96" y="97"/>
                  </a:lnTo>
                  <a:lnTo>
                    <a:pt x="119" y="76"/>
                  </a:lnTo>
                  <a:lnTo>
                    <a:pt x="145" y="57"/>
                  </a:lnTo>
                  <a:lnTo>
                    <a:pt x="172" y="41"/>
                  </a:lnTo>
                  <a:lnTo>
                    <a:pt x="201" y="26"/>
                  </a:lnTo>
                  <a:lnTo>
                    <a:pt x="231" y="15"/>
                  </a:lnTo>
                  <a:lnTo>
                    <a:pt x="247" y="11"/>
                  </a:lnTo>
                  <a:lnTo>
                    <a:pt x="262" y="7"/>
                  </a:lnTo>
                  <a:lnTo>
                    <a:pt x="279" y="4"/>
                  </a:lnTo>
                  <a:lnTo>
                    <a:pt x="295" y="2"/>
                  </a:lnTo>
                  <a:lnTo>
                    <a:pt x="312" y="2"/>
                  </a:lnTo>
                  <a:lnTo>
                    <a:pt x="329" y="0"/>
                  </a:lnTo>
                  <a:lnTo>
                    <a:pt x="329" y="0"/>
                  </a:lnTo>
                  <a:lnTo>
                    <a:pt x="345" y="2"/>
                  </a:lnTo>
                  <a:lnTo>
                    <a:pt x="363" y="2"/>
                  </a:lnTo>
                  <a:lnTo>
                    <a:pt x="379" y="4"/>
                  </a:lnTo>
                  <a:lnTo>
                    <a:pt x="395" y="7"/>
                  </a:lnTo>
                  <a:lnTo>
                    <a:pt x="411" y="11"/>
                  </a:lnTo>
                  <a:lnTo>
                    <a:pt x="426" y="15"/>
                  </a:lnTo>
                  <a:lnTo>
                    <a:pt x="457" y="26"/>
                  </a:lnTo>
                  <a:lnTo>
                    <a:pt x="485" y="41"/>
                  </a:lnTo>
                  <a:lnTo>
                    <a:pt x="513" y="57"/>
                  </a:lnTo>
                  <a:lnTo>
                    <a:pt x="537" y="76"/>
                  </a:lnTo>
                  <a:lnTo>
                    <a:pt x="562" y="97"/>
                  </a:lnTo>
                  <a:lnTo>
                    <a:pt x="583" y="120"/>
                  </a:lnTo>
                  <a:lnTo>
                    <a:pt x="602" y="146"/>
                  </a:lnTo>
                  <a:lnTo>
                    <a:pt x="618" y="172"/>
                  </a:lnTo>
                  <a:lnTo>
                    <a:pt x="631" y="202"/>
                  </a:lnTo>
                  <a:lnTo>
                    <a:pt x="643" y="232"/>
                  </a:lnTo>
                  <a:lnTo>
                    <a:pt x="648" y="248"/>
                  </a:lnTo>
                  <a:lnTo>
                    <a:pt x="652" y="264"/>
                  </a:lnTo>
                  <a:lnTo>
                    <a:pt x="654" y="280"/>
                  </a:lnTo>
                  <a:lnTo>
                    <a:pt x="656" y="296"/>
                  </a:lnTo>
                  <a:lnTo>
                    <a:pt x="657" y="312"/>
                  </a:lnTo>
                  <a:lnTo>
                    <a:pt x="658" y="330"/>
                  </a:lnTo>
                  <a:lnTo>
                    <a:pt x="658" y="330"/>
                  </a:lnTo>
                  <a:lnTo>
                    <a:pt x="657" y="347"/>
                  </a:lnTo>
                  <a:lnTo>
                    <a:pt x="656" y="363"/>
                  </a:lnTo>
                  <a:lnTo>
                    <a:pt x="654" y="379"/>
                  </a:lnTo>
                  <a:lnTo>
                    <a:pt x="652" y="396"/>
                  </a:lnTo>
                  <a:lnTo>
                    <a:pt x="648" y="412"/>
                  </a:lnTo>
                  <a:lnTo>
                    <a:pt x="643" y="428"/>
                  </a:lnTo>
                  <a:lnTo>
                    <a:pt x="631" y="457"/>
                  </a:lnTo>
                  <a:lnTo>
                    <a:pt x="618" y="487"/>
                  </a:lnTo>
                  <a:lnTo>
                    <a:pt x="602" y="514"/>
                  </a:lnTo>
                  <a:lnTo>
                    <a:pt x="583" y="539"/>
                  </a:lnTo>
                  <a:lnTo>
                    <a:pt x="562" y="562"/>
                  </a:lnTo>
                  <a:lnTo>
                    <a:pt x="537" y="584"/>
                  </a:lnTo>
                  <a:lnTo>
                    <a:pt x="513" y="603"/>
                  </a:lnTo>
                  <a:lnTo>
                    <a:pt x="485" y="619"/>
                  </a:lnTo>
                  <a:lnTo>
                    <a:pt x="457" y="632"/>
                  </a:lnTo>
                  <a:lnTo>
                    <a:pt x="426" y="644"/>
                  </a:lnTo>
                  <a:lnTo>
                    <a:pt x="411" y="648"/>
                  </a:lnTo>
                  <a:lnTo>
                    <a:pt x="395" y="652"/>
                  </a:lnTo>
                  <a:lnTo>
                    <a:pt x="379" y="655"/>
                  </a:lnTo>
                  <a:lnTo>
                    <a:pt x="363" y="656"/>
                  </a:lnTo>
                  <a:lnTo>
                    <a:pt x="345" y="658"/>
                  </a:lnTo>
                  <a:lnTo>
                    <a:pt x="329" y="659"/>
                  </a:lnTo>
                  <a:lnTo>
                    <a:pt x="329" y="659"/>
                  </a:lnTo>
                  <a:close/>
                  <a:moveTo>
                    <a:pt x="329" y="38"/>
                  </a:moveTo>
                  <a:lnTo>
                    <a:pt x="329" y="38"/>
                  </a:lnTo>
                  <a:lnTo>
                    <a:pt x="299" y="39"/>
                  </a:lnTo>
                  <a:lnTo>
                    <a:pt x="270" y="45"/>
                  </a:lnTo>
                  <a:lnTo>
                    <a:pt x="242" y="51"/>
                  </a:lnTo>
                  <a:lnTo>
                    <a:pt x="215" y="61"/>
                  </a:lnTo>
                  <a:lnTo>
                    <a:pt x="191" y="73"/>
                  </a:lnTo>
                  <a:lnTo>
                    <a:pt x="166" y="88"/>
                  </a:lnTo>
                  <a:lnTo>
                    <a:pt x="144" y="105"/>
                  </a:lnTo>
                  <a:lnTo>
                    <a:pt x="123" y="124"/>
                  </a:lnTo>
                  <a:lnTo>
                    <a:pt x="105" y="144"/>
                  </a:lnTo>
                  <a:lnTo>
                    <a:pt x="87" y="167"/>
                  </a:lnTo>
                  <a:lnTo>
                    <a:pt x="72" y="191"/>
                  </a:lnTo>
                  <a:lnTo>
                    <a:pt x="60" y="217"/>
                  </a:lnTo>
                  <a:lnTo>
                    <a:pt x="51" y="244"/>
                  </a:lnTo>
                  <a:lnTo>
                    <a:pt x="43" y="271"/>
                  </a:lnTo>
                  <a:lnTo>
                    <a:pt x="39" y="300"/>
                  </a:lnTo>
                  <a:lnTo>
                    <a:pt x="37" y="330"/>
                  </a:lnTo>
                  <a:lnTo>
                    <a:pt x="37" y="330"/>
                  </a:lnTo>
                  <a:lnTo>
                    <a:pt x="39" y="359"/>
                  </a:lnTo>
                  <a:lnTo>
                    <a:pt x="43" y="389"/>
                  </a:lnTo>
                  <a:lnTo>
                    <a:pt x="51" y="416"/>
                  </a:lnTo>
                  <a:lnTo>
                    <a:pt x="60" y="443"/>
                  </a:lnTo>
                  <a:lnTo>
                    <a:pt x="72" y="468"/>
                  </a:lnTo>
                  <a:lnTo>
                    <a:pt x="87" y="492"/>
                  </a:lnTo>
                  <a:lnTo>
                    <a:pt x="105" y="515"/>
                  </a:lnTo>
                  <a:lnTo>
                    <a:pt x="123" y="535"/>
                  </a:lnTo>
                  <a:lnTo>
                    <a:pt x="144" y="554"/>
                  </a:lnTo>
                  <a:lnTo>
                    <a:pt x="166" y="572"/>
                  </a:lnTo>
                  <a:lnTo>
                    <a:pt x="191" y="586"/>
                  </a:lnTo>
                  <a:lnTo>
                    <a:pt x="215" y="598"/>
                  </a:lnTo>
                  <a:lnTo>
                    <a:pt x="242" y="608"/>
                  </a:lnTo>
                  <a:lnTo>
                    <a:pt x="270" y="615"/>
                  </a:lnTo>
                  <a:lnTo>
                    <a:pt x="299" y="620"/>
                  </a:lnTo>
                  <a:lnTo>
                    <a:pt x="329" y="621"/>
                  </a:lnTo>
                  <a:lnTo>
                    <a:pt x="329" y="621"/>
                  </a:lnTo>
                  <a:lnTo>
                    <a:pt x="359" y="620"/>
                  </a:lnTo>
                  <a:lnTo>
                    <a:pt x="387" y="615"/>
                  </a:lnTo>
                  <a:lnTo>
                    <a:pt x="415" y="608"/>
                  </a:lnTo>
                  <a:lnTo>
                    <a:pt x="442" y="598"/>
                  </a:lnTo>
                  <a:lnTo>
                    <a:pt x="467" y="586"/>
                  </a:lnTo>
                  <a:lnTo>
                    <a:pt x="492" y="572"/>
                  </a:lnTo>
                  <a:lnTo>
                    <a:pt x="514" y="554"/>
                  </a:lnTo>
                  <a:lnTo>
                    <a:pt x="535" y="535"/>
                  </a:lnTo>
                  <a:lnTo>
                    <a:pt x="553" y="515"/>
                  </a:lnTo>
                  <a:lnTo>
                    <a:pt x="570" y="492"/>
                  </a:lnTo>
                  <a:lnTo>
                    <a:pt x="584" y="468"/>
                  </a:lnTo>
                  <a:lnTo>
                    <a:pt x="596" y="443"/>
                  </a:lnTo>
                  <a:lnTo>
                    <a:pt x="607" y="416"/>
                  </a:lnTo>
                  <a:lnTo>
                    <a:pt x="614" y="389"/>
                  </a:lnTo>
                  <a:lnTo>
                    <a:pt x="618" y="359"/>
                  </a:lnTo>
                  <a:lnTo>
                    <a:pt x="621" y="330"/>
                  </a:lnTo>
                  <a:lnTo>
                    <a:pt x="621" y="330"/>
                  </a:lnTo>
                  <a:lnTo>
                    <a:pt x="618" y="300"/>
                  </a:lnTo>
                  <a:lnTo>
                    <a:pt x="614" y="271"/>
                  </a:lnTo>
                  <a:lnTo>
                    <a:pt x="607" y="244"/>
                  </a:lnTo>
                  <a:lnTo>
                    <a:pt x="596" y="217"/>
                  </a:lnTo>
                  <a:lnTo>
                    <a:pt x="584" y="191"/>
                  </a:lnTo>
                  <a:lnTo>
                    <a:pt x="570" y="167"/>
                  </a:lnTo>
                  <a:lnTo>
                    <a:pt x="553" y="144"/>
                  </a:lnTo>
                  <a:lnTo>
                    <a:pt x="535" y="124"/>
                  </a:lnTo>
                  <a:lnTo>
                    <a:pt x="514" y="105"/>
                  </a:lnTo>
                  <a:lnTo>
                    <a:pt x="492" y="88"/>
                  </a:lnTo>
                  <a:lnTo>
                    <a:pt x="467" y="73"/>
                  </a:lnTo>
                  <a:lnTo>
                    <a:pt x="442" y="61"/>
                  </a:lnTo>
                  <a:lnTo>
                    <a:pt x="415" y="51"/>
                  </a:lnTo>
                  <a:lnTo>
                    <a:pt x="387" y="45"/>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0" name="Freeform 217">
              <a:extLst>
                <a:ext uri="{FF2B5EF4-FFF2-40B4-BE49-F238E27FC236}">
                  <a16:creationId xmlns:a16="http://schemas.microsoft.com/office/drawing/2014/main" id="{D05DC1CE-EE18-4643-AB4A-A0438794B721}"/>
                </a:ext>
              </a:extLst>
            </p:cNvPr>
            <p:cNvSpPr>
              <a:spLocks/>
            </p:cNvSpPr>
            <p:nvPr/>
          </p:nvSpPr>
          <p:spPr bwMode="auto">
            <a:xfrm>
              <a:off x="5964238" y="3467735"/>
              <a:ext cx="263525" cy="249238"/>
            </a:xfrm>
            <a:custGeom>
              <a:avLst/>
              <a:gdLst>
                <a:gd name="T0" fmla="*/ 330 w 330"/>
                <a:gd name="T1" fmla="*/ 120 h 314"/>
                <a:gd name="T2" fmla="*/ 330 w 330"/>
                <a:gd name="T3" fmla="*/ 120 h 314"/>
                <a:gd name="T4" fmla="*/ 328 w 330"/>
                <a:gd name="T5" fmla="*/ 117 h 314"/>
                <a:gd name="T6" fmla="*/ 325 w 330"/>
                <a:gd name="T7" fmla="*/ 116 h 314"/>
                <a:gd name="T8" fmla="*/ 217 w 330"/>
                <a:gd name="T9" fmla="*/ 101 h 314"/>
                <a:gd name="T10" fmla="*/ 170 w 330"/>
                <a:gd name="T11" fmla="*/ 4 h 314"/>
                <a:gd name="T12" fmla="*/ 170 w 330"/>
                <a:gd name="T13" fmla="*/ 4 h 314"/>
                <a:gd name="T14" fmla="*/ 168 w 330"/>
                <a:gd name="T15" fmla="*/ 1 h 314"/>
                <a:gd name="T16" fmla="*/ 165 w 330"/>
                <a:gd name="T17" fmla="*/ 0 h 314"/>
                <a:gd name="T18" fmla="*/ 162 w 330"/>
                <a:gd name="T19" fmla="*/ 1 h 314"/>
                <a:gd name="T20" fmla="*/ 160 w 330"/>
                <a:gd name="T21" fmla="*/ 4 h 314"/>
                <a:gd name="T22" fmla="*/ 111 w 330"/>
                <a:gd name="T23" fmla="*/ 101 h 314"/>
                <a:gd name="T24" fmla="*/ 5 w 330"/>
                <a:gd name="T25" fmla="*/ 116 h 314"/>
                <a:gd name="T26" fmla="*/ 5 w 330"/>
                <a:gd name="T27" fmla="*/ 116 h 314"/>
                <a:gd name="T28" fmla="*/ 2 w 330"/>
                <a:gd name="T29" fmla="*/ 117 h 314"/>
                <a:gd name="T30" fmla="*/ 0 w 330"/>
                <a:gd name="T31" fmla="*/ 120 h 314"/>
                <a:gd name="T32" fmla="*/ 0 w 330"/>
                <a:gd name="T33" fmla="*/ 120 h 314"/>
                <a:gd name="T34" fmla="*/ 0 w 330"/>
                <a:gd name="T35" fmla="*/ 124 h 314"/>
                <a:gd name="T36" fmla="*/ 1 w 330"/>
                <a:gd name="T37" fmla="*/ 126 h 314"/>
                <a:gd name="T38" fmla="*/ 79 w 330"/>
                <a:gd name="T39" fmla="*/ 202 h 314"/>
                <a:gd name="T40" fmla="*/ 60 w 330"/>
                <a:gd name="T41" fmla="*/ 308 h 314"/>
                <a:gd name="T42" fmla="*/ 60 w 330"/>
                <a:gd name="T43" fmla="*/ 308 h 314"/>
                <a:gd name="T44" fmla="*/ 62 w 330"/>
                <a:gd name="T45" fmla="*/ 312 h 314"/>
                <a:gd name="T46" fmla="*/ 63 w 330"/>
                <a:gd name="T47" fmla="*/ 314 h 314"/>
                <a:gd name="T48" fmla="*/ 63 w 330"/>
                <a:gd name="T49" fmla="*/ 314 h 314"/>
                <a:gd name="T50" fmla="*/ 66 w 330"/>
                <a:gd name="T51" fmla="*/ 314 h 314"/>
                <a:gd name="T52" fmla="*/ 70 w 330"/>
                <a:gd name="T53" fmla="*/ 314 h 314"/>
                <a:gd name="T54" fmla="*/ 165 w 330"/>
                <a:gd name="T55" fmla="*/ 263 h 314"/>
                <a:gd name="T56" fmla="*/ 260 w 330"/>
                <a:gd name="T57" fmla="*/ 314 h 314"/>
                <a:gd name="T58" fmla="*/ 260 w 330"/>
                <a:gd name="T59" fmla="*/ 314 h 314"/>
                <a:gd name="T60" fmla="*/ 263 w 330"/>
                <a:gd name="T61" fmla="*/ 314 h 314"/>
                <a:gd name="T62" fmla="*/ 263 w 330"/>
                <a:gd name="T63" fmla="*/ 314 h 314"/>
                <a:gd name="T64" fmla="*/ 267 w 330"/>
                <a:gd name="T65" fmla="*/ 314 h 314"/>
                <a:gd name="T66" fmla="*/ 267 w 330"/>
                <a:gd name="T67" fmla="*/ 314 h 314"/>
                <a:gd name="T68" fmla="*/ 268 w 330"/>
                <a:gd name="T69" fmla="*/ 312 h 314"/>
                <a:gd name="T70" fmla="*/ 268 w 330"/>
                <a:gd name="T71" fmla="*/ 308 h 314"/>
                <a:gd name="T72" fmla="*/ 251 w 330"/>
                <a:gd name="T73" fmla="*/ 202 h 314"/>
                <a:gd name="T74" fmla="*/ 329 w 330"/>
                <a:gd name="T75" fmla="*/ 126 h 314"/>
                <a:gd name="T76" fmla="*/ 329 w 330"/>
                <a:gd name="T77" fmla="*/ 126 h 314"/>
                <a:gd name="T78" fmla="*/ 330 w 330"/>
                <a:gd name="T79" fmla="*/ 124 h 314"/>
                <a:gd name="T80" fmla="*/ 330 w 330"/>
                <a:gd name="T81" fmla="*/ 120 h 314"/>
                <a:gd name="T82" fmla="*/ 330 w 330"/>
                <a:gd name="T83" fmla="*/ 12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0" h="314">
                  <a:moveTo>
                    <a:pt x="330" y="120"/>
                  </a:moveTo>
                  <a:lnTo>
                    <a:pt x="330" y="120"/>
                  </a:lnTo>
                  <a:lnTo>
                    <a:pt x="328" y="117"/>
                  </a:lnTo>
                  <a:lnTo>
                    <a:pt x="325" y="116"/>
                  </a:lnTo>
                  <a:lnTo>
                    <a:pt x="217" y="101"/>
                  </a:lnTo>
                  <a:lnTo>
                    <a:pt x="170" y="4"/>
                  </a:lnTo>
                  <a:lnTo>
                    <a:pt x="170" y="4"/>
                  </a:lnTo>
                  <a:lnTo>
                    <a:pt x="168" y="1"/>
                  </a:lnTo>
                  <a:lnTo>
                    <a:pt x="165" y="0"/>
                  </a:lnTo>
                  <a:lnTo>
                    <a:pt x="162" y="1"/>
                  </a:lnTo>
                  <a:lnTo>
                    <a:pt x="160" y="4"/>
                  </a:lnTo>
                  <a:lnTo>
                    <a:pt x="111" y="101"/>
                  </a:lnTo>
                  <a:lnTo>
                    <a:pt x="5" y="116"/>
                  </a:lnTo>
                  <a:lnTo>
                    <a:pt x="5" y="116"/>
                  </a:lnTo>
                  <a:lnTo>
                    <a:pt x="2" y="117"/>
                  </a:lnTo>
                  <a:lnTo>
                    <a:pt x="0" y="120"/>
                  </a:lnTo>
                  <a:lnTo>
                    <a:pt x="0" y="120"/>
                  </a:lnTo>
                  <a:lnTo>
                    <a:pt x="0" y="124"/>
                  </a:lnTo>
                  <a:lnTo>
                    <a:pt x="1" y="126"/>
                  </a:lnTo>
                  <a:lnTo>
                    <a:pt x="79" y="202"/>
                  </a:lnTo>
                  <a:lnTo>
                    <a:pt x="60" y="308"/>
                  </a:lnTo>
                  <a:lnTo>
                    <a:pt x="60" y="308"/>
                  </a:lnTo>
                  <a:lnTo>
                    <a:pt x="62" y="312"/>
                  </a:lnTo>
                  <a:lnTo>
                    <a:pt x="63" y="314"/>
                  </a:lnTo>
                  <a:lnTo>
                    <a:pt x="63" y="314"/>
                  </a:lnTo>
                  <a:lnTo>
                    <a:pt x="66" y="314"/>
                  </a:lnTo>
                  <a:lnTo>
                    <a:pt x="70" y="314"/>
                  </a:lnTo>
                  <a:lnTo>
                    <a:pt x="165" y="263"/>
                  </a:lnTo>
                  <a:lnTo>
                    <a:pt x="260" y="314"/>
                  </a:lnTo>
                  <a:lnTo>
                    <a:pt x="260" y="314"/>
                  </a:lnTo>
                  <a:lnTo>
                    <a:pt x="263" y="314"/>
                  </a:lnTo>
                  <a:lnTo>
                    <a:pt x="263" y="314"/>
                  </a:lnTo>
                  <a:lnTo>
                    <a:pt x="267" y="314"/>
                  </a:lnTo>
                  <a:lnTo>
                    <a:pt x="267" y="314"/>
                  </a:lnTo>
                  <a:lnTo>
                    <a:pt x="268" y="312"/>
                  </a:lnTo>
                  <a:lnTo>
                    <a:pt x="268" y="308"/>
                  </a:lnTo>
                  <a:lnTo>
                    <a:pt x="251" y="202"/>
                  </a:lnTo>
                  <a:lnTo>
                    <a:pt x="329" y="126"/>
                  </a:lnTo>
                  <a:lnTo>
                    <a:pt x="329" y="126"/>
                  </a:lnTo>
                  <a:lnTo>
                    <a:pt x="330" y="124"/>
                  </a:lnTo>
                  <a:lnTo>
                    <a:pt x="330" y="120"/>
                  </a:lnTo>
                  <a:lnTo>
                    <a:pt x="33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1" name="Group 20">
            <a:extLst>
              <a:ext uri="{FF2B5EF4-FFF2-40B4-BE49-F238E27FC236}">
                <a16:creationId xmlns:a16="http://schemas.microsoft.com/office/drawing/2014/main" id="{A73AF663-5D92-4BC1-BF3C-8E23F69DE67B}"/>
              </a:ext>
            </a:extLst>
          </p:cNvPr>
          <p:cNvGrpSpPr>
            <a:grpSpLocks noChangeAspect="1"/>
          </p:cNvGrpSpPr>
          <p:nvPr/>
        </p:nvGrpSpPr>
        <p:grpSpPr>
          <a:xfrm>
            <a:off x="7570147" y="2923620"/>
            <a:ext cx="357814" cy="356730"/>
            <a:chOff x="5834063" y="3342323"/>
            <a:chExt cx="523875" cy="522288"/>
          </a:xfrm>
        </p:grpSpPr>
        <p:sp>
          <p:nvSpPr>
            <p:cNvPr id="22" name="Freeform 56">
              <a:extLst>
                <a:ext uri="{FF2B5EF4-FFF2-40B4-BE49-F238E27FC236}">
                  <a16:creationId xmlns:a16="http://schemas.microsoft.com/office/drawing/2014/main" id="{B4038E67-4AEC-4B0F-939C-E46017F461EB}"/>
                </a:ext>
              </a:extLst>
            </p:cNvPr>
            <p:cNvSpPr>
              <a:spLocks noEditPoints="1"/>
            </p:cNvSpPr>
            <p:nvPr/>
          </p:nvSpPr>
          <p:spPr bwMode="auto">
            <a:xfrm>
              <a:off x="5834063" y="3342323"/>
              <a:ext cx="523875" cy="522288"/>
            </a:xfrm>
            <a:custGeom>
              <a:avLst/>
              <a:gdLst>
                <a:gd name="T0" fmla="*/ 312 w 658"/>
                <a:gd name="T1" fmla="*/ 658 h 659"/>
                <a:gd name="T2" fmla="*/ 262 w 658"/>
                <a:gd name="T3" fmla="*/ 652 h 659"/>
                <a:gd name="T4" fmla="*/ 201 w 658"/>
                <a:gd name="T5" fmla="*/ 632 h 659"/>
                <a:gd name="T6" fmla="*/ 119 w 658"/>
                <a:gd name="T7" fmla="*/ 584 h 659"/>
                <a:gd name="T8" fmla="*/ 56 w 658"/>
                <a:gd name="T9" fmla="*/ 514 h 659"/>
                <a:gd name="T10" fmla="*/ 15 w 658"/>
                <a:gd name="T11" fmla="*/ 428 h 659"/>
                <a:gd name="T12" fmla="*/ 4 w 658"/>
                <a:gd name="T13" fmla="*/ 379 h 659"/>
                <a:gd name="T14" fmla="*/ 0 w 658"/>
                <a:gd name="T15" fmla="*/ 330 h 659"/>
                <a:gd name="T16" fmla="*/ 1 w 658"/>
                <a:gd name="T17" fmla="*/ 296 h 659"/>
                <a:gd name="T18" fmla="*/ 10 w 658"/>
                <a:gd name="T19" fmla="*/ 248 h 659"/>
                <a:gd name="T20" fmla="*/ 40 w 658"/>
                <a:gd name="T21" fmla="*/ 172 h 659"/>
                <a:gd name="T22" fmla="*/ 96 w 658"/>
                <a:gd name="T23" fmla="*/ 97 h 659"/>
                <a:gd name="T24" fmla="*/ 172 w 658"/>
                <a:gd name="T25" fmla="*/ 41 h 659"/>
                <a:gd name="T26" fmla="*/ 247 w 658"/>
                <a:gd name="T27" fmla="*/ 11 h 659"/>
                <a:gd name="T28" fmla="*/ 295 w 658"/>
                <a:gd name="T29" fmla="*/ 2 h 659"/>
                <a:gd name="T30" fmla="*/ 329 w 658"/>
                <a:gd name="T31" fmla="*/ 0 h 659"/>
                <a:gd name="T32" fmla="*/ 379 w 658"/>
                <a:gd name="T33" fmla="*/ 4 h 659"/>
                <a:gd name="T34" fmla="*/ 426 w 658"/>
                <a:gd name="T35" fmla="*/ 15 h 659"/>
                <a:gd name="T36" fmla="*/ 513 w 658"/>
                <a:gd name="T37" fmla="*/ 57 h 659"/>
                <a:gd name="T38" fmla="*/ 583 w 658"/>
                <a:gd name="T39" fmla="*/ 120 h 659"/>
                <a:gd name="T40" fmla="*/ 631 w 658"/>
                <a:gd name="T41" fmla="*/ 202 h 659"/>
                <a:gd name="T42" fmla="*/ 652 w 658"/>
                <a:gd name="T43" fmla="*/ 264 h 659"/>
                <a:gd name="T44" fmla="*/ 657 w 658"/>
                <a:gd name="T45" fmla="*/ 312 h 659"/>
                <a:gd name="T46" fmla="*/ 657 w 658"/>
                <a:gd name="T47" fmla="*/ 347 h 659"/>
                <a:gd name="T48" fmla="*/ 652 w 658"/>
                <a:gd name="T49" fmla="*/ 396 h 659"/>
                <a:gd name="T50" fmla="*/ 631 w 658"/>
                <a:gd name="T51" fmla="*/ 457 h 659"/>
                <a:gd name="T52" fmla="*/ 583 w 658"/>
                <a:gd name="T53" fmla="*/ 539 h 659"/>
                <a:gd name="T54" fmla="*/ 513 w 658"/>
                <a:gd name="T55" fmla="*/ 603 h 659"/>
                <a:gd name="T56" fmla="*/ 426 w 658"/>
                <a:gd name="T57" fmla="*/ 644 h 659"/>
                <a:gd name="T58" fmla="*/ 379 w 658"/>
                <a:gd name="T59" fmla="*/ 655 h 659"/>
                <a:gd name="T60" fmla="*/ 329 w 658"/>
                <a:gd name="T61" fmla="*/ 659 h 659"/>
                <a:gd name="T62" fmla="*/ 329 w 658"/>
                <a:gd name="T63" fmla="*/ 38 h 659"/>
                <a:gd name="T64" fmla="*/ 242 w 658"/>
                <a:gd name="T65" fmla="*/ 51 h 659"/>
                <a:gd name="T66" fmla="*/ 166 w 658"/>
                <a:gd name="T67" fmla="*/ 88 h 659"/>
                <a:gd name="T68" fmla="*/ 105 w 658"/>
                <a:gd name="T69" fmla="*/ 144 h 659"/>
                <a:gd name="T70" fmla="*/ 60 w 658"/>
                <a:gd name="T71" fmla="*/ 217 h 659"/>
                <a:gd name="T72" fmla="*/ 39 w 658"/>
                <a:gd name="T73" fmla="*/ 300 h 659"/>
                <a:gd name="T74" fmla="*/ 39 w 658"/>
                <a:gd name="T75" fmla="*/ 359 h 659"/>
                <a:gd name="T76" fmla="*/ 60 w 658"/>
                <a:gd name="T77" fmla="*/ 443 h 659"/>
                <a:gd name="T78" fmla="*/ 105 w 658"/>
                <a:gd name="T79" fmla="*/ 515 h 659"/>
                <a:gd name="T80" fmla="*/ 166 w 658"/>
                <a:gd name="T81" fmla="*/ 572 h 659"/>
                <a:gd name="T82" fmla="*/ 242 w 658"/>
                <a:gd name="T83" fmla="*/ 608 h 659"/>
                <a:gd name="T84" fmla="*/ 329 w 658"/>
                <a:gd name="T85" fmla="*/ 621 h 659"/>
                <a:gd name="T86" fmla="*/ 387 w 658"/>
                <a:gd name="T87" fmla="*/ 615 h 659"/>
                <a:gd name="T88" fmla="*/ 467 w 658"/>
                <a:gd name="T89" fmla="*/ 586 h 659"/>
                <a:gd name="T90" fmla="*/ 535 w 658"/>
                <a:gd name="T91" fmla="*/ 535 h 659"/>
                <a:gd name="T92" fmla="*/ 584 w 658"/>
                <a:gd name="T93" fmla="*/ 468 h 659"/>
                <a:gd name="T94" fmla="*/ 614 w 658"/>
                <a:gd name="T95" fmla="*/ 389 h 659"/>
                <a:gd name="T96" fmla="*/ 621 w 658"/>
                <a:gd name="T97" fmla="*/ 330 h 659"/>
                <a:gd name="T98" fmla="*/ 607 w 658"/>
                <a:gd name="T99" fmla="*/ 244 h 659"/>
                <a:gd name="T100" fmla="*/ 570 w 658"/>
                <a:gd name="T101" fmla="*/ 167 h 659"/>
                <a:gd name="T102" fmla="*/ 514 w 658"/>
                <a:gd name="T103" fmla="*/ 105 h 659"/>
                <a:gd name="T104" fmla="*/ 442 w 658"/>
                <a:gd name="T105" fmla="*/ 61 h 659"/>
                <a:gd name="T106" fmla="*/ 359 w 658"/>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2" y="658"/>
                  </a:lnTo>
                  <a:lnTo>
                    <a:pt x="295" y="656"/>
                  </a:lnTo>
                  <a:lnTo>
                    <a:pt x="279" y="655"/>
                  </a:lnTo>
                  <a:lnTo>
                    <a:pt x="262" y="652"/>
                  </a:lnTo>
                  <a:lnTo>
                    <a:pt x="247" y="648"/>
                  </a:lnTo>
                  <a:lnTo>
                    <a:pt x="231" y="644"/>
                  </a:lnTo>
                  <a:lnTo>
                    <a:pt x="201" y="632"/>
                  </a:lnTo>
                  <a:lnTo>
                    <a:pt x="172" y="619"/>
                  </a:lnTo>
                  <a:lnTo>
                    <a:pt x="145" y="603"/>
                  </a:lnTo>
                  <a:lnTo>
                    <a:pt x="119" y="584"/>
                  </a:lnTo>
                  <a:lnTo>
                    <a:pt x="96" y="562"/>
                  </a:lnTo>
                  <a:lnTo>
                    <a:pt x="75" y="539"/>
                  </a:lnTo>
                  <a:lnTo>
                    <a:pt x="56" y="514"/>
                  </a:lnTo>
                  <a:lnTo>
                    <a:pt x="40" y="487"/>
                  </a:lnTo>
                  <a:lnTo>
                    <a:pt x="25" y="457"/>
                  </a:lnTo>
                  <a:lnTo>
                    <a:pt x="15" y="428"/>
                  </a:lnTo>
                  <a:lnTo>
                    <a:pt x="10" y="412"/>
                  </a:lnTo>
                  <a:lnTo>
                    <a:pt x="6" y="396"/>
                  </a:lnTo>
                  <a:lnTo>
                    <a:pt x="4" y="379"/>
                  </a:lnTo>
                  <a:lnTo>
                    <a:pt x="1" y="363"/>
                  </a:lnTo>
                  <a:lnTo>
                    <a:pt x="0" y="347"/>
                  </a:lnTo>
                  <a:lnTo>
                    <a:pt x="0" y="330"/>
                  </a:lnTo>
                  <a:lnTo>
                    <a:pt x="0" y="330"/>
                  </a:lnTo>
                  <a:lnTo>
                    <a:pt x="0" y="312"/>
                  </a:lnTo>
                  <a:lnTo>
                    <a:pt x="1" y="296"/>
                  </a:lnTo>
                  <a:lnTo>
                    <a:pt x="4" y="280"/>
                  </a:lnTo>
                  <a:lnTo>
                    <a:pt x="6" y="264"/>
                  </a:lnTo>
                  <a:lnTo>
                    <a:pt x="10" y="248"/>
                  </a:lnTo>
                  <a:lnTo>
                    <a:pt x="15" y="232"/>
                  </a:lnTo>
                  <a:lnTo>
                    <a:pt x="25" y="202"/>
                  </a:lnTo>
                  <a:lnTo>
                    <a:pt x="40" y="172"/>
                  </a:lnTo>
                  <a:lnTo>
                    <a:pt x="56" y="146"/>
                  </a:lnTo>
                  <a:lnTo>
                    <a:pt x="75" y="120"/>
                  </a:lnTo>
                  <a:lnTo>
                    <a:pt x="96" y="97"/>
                  </a:lnTo>
                  <a:lnTo>
                    <a:pt x="119" y="76"/>
                  </a:lnTo>
                  <a:lnTo>
                    <a:pt x="145" y="57"/>
                  </a:lnTo>
                  <a:lnTo>
                    <a:pt x="172" y="41"/>
                  </a:lnTo>
                  <a:lnTo>
                    <a:pt x="201" y="26"/>
                  </a:lnTo>
                  <a:lnTo>
                    <a:pt x="231" y="15"/>
                  </a:lnTo>
                  <a:lnTo>
                    <a:pt x="247" y="11"/>
                  </a:lnTo>
                  <a:lnTo>
                    <a:pt x="262" y="7"/>
                  </a:lnTo>
                  <a:lnTo>
                    <a:pt x="279" y="4"/>
                  </a:lnTo>
                  <a:lnTo>
                    <a:pt x="295" y="2"/>
                  </a:lnTo>
                  <a:lnTo>
                    <a:pt x="312" y="2"/>
                  </a:lnTo>
                  <a:lnTo>
                    <a:pt x="329" y="0"/>
                  </a:lnTo>
                  <a:lnTo>
                    <a:pt x="329" y="0"/>
                  </a:lnTo>
                  <a:lnTo>
                    <a:pt x="345" y="2"/>
                  </a:lnTo>
                  <a:lnTo>
                    <a:pt x="363" y="2"/>
                  </a:lnTo>
                  <a:lnTo>
                    <a:pt x="379" y="4"/>
                  </a:lnTo>
                  <a:lnTo>
                    <a:pt x="395" y="7"/>
                  </a:lnTo>
                  <a:lnTo>
                    <a:pt x="411" y="11"/>
                  </a:lnTo>
                  <a:lnTo>
                    <a:pt x="426" y="15"/>
                  </a:lnTo>
                  <a:lnTo>
                    <a:pt x="457" y="26"/>
                  </a:lnTo>
                  <a:lnTo>
                    <a:pt x="485" y="41"/>
                  </a:lnTo>
                  <a:lnTo>
                    <a:pt x="513" y="57"/>
                  </a:lnTo>
                  <a:lnTo>
                    <a:pt x="537" y="76"/>
                  </a:lnTo>
                  <a:lnTo>
                    <a:pt x="562" y="97"/>
                  </a:lnTo>
                  <a:lnTo>
                    <a:pt x="583" y="120"/>
                  </a:lnTo>
                  <a:lnTo>
                    <a:pt x="602" y="146"/>
                  </a:lnTo>
                  <a:lnTo>
                    <a:pt x="618" y="172"/>
                  </a:lnTo>
                  <a:lnTo>
                    <a:pt x="631" y="202"/>
                  </a:lnTo>
                  <a:lnTo>
                    <a:pt x="643" y="232"/>
                  </a:lnTo>
                  <a:lnTo>
                    <a:pt x="648" y="248"/>
                  </a:lnTo>
                  <a:lnTo>
                    <a:pt x="652" y="264"/>
                  </a:lnTo>
                  <a:lnTo>
                    <a:pt x="654" y="280"/>
                  </a:lnTo>
                  <a:lnTo>
                    <a:pt x="656" y="296"/>
                  </a:lnTo>
                  <a:lnTo>
                    <a:pt x="657" y="312"/>
                  </a:lnTo>
                  <a:lnTo>
                    <a:pt x="658" y="330"/>
                  </a:lnTo>
                  <a:lnTo>
                    <a:pt x="658" y="330"/>
                  </a:lnTo>
                  <a:lnTo>
                    <a:pt x="657" y="347"/>
                  </a:lnTo>
                  <a:lnTo>
                    <a:pt x="656" y="363"/>
                  </a:lnTo>
                  <a:lnTo>
                    <a:pt x="654" y="379"/>
                  </a:lnTo>
                  <a:lnTo>
                    <a:pt x="652" y="396"/>
                  </a:lnTo>
                  <a:lnTo>
                    <a:pt x="648" y="412"/>
                  </a:lnTo>
                  <a:lnTo>
                    <a:pt x="643" y="428"/>
                  </a:lnTo>
                  <a:lnTo>
                    <a:pt x="631" y="457"/>
                  </a:lnTo>
                  <a:lnTo>
                    <a:pt x="618" y="487"/>
                  </a:lnTo>
                  <a:lnTo>
                    <a:pt x="602" y="514"/>
                  </a:lnTo>
                  <a:lnTo>
                    <a:pt x="583" y="539"/>
                  </a:lnTo>
                  <a:lnTo>
                    <a:pt x="562" y="562"/>
                  </a:lnTo>
                  <a:lnTo>
                    <a:pt x="537" y="584"/>
                  </a:lnTo>
                  <a:lnTo>
                    <a:pt x="513" y="603"/>
                  </a:lnTo>
                  <a:lnTo>
                    <a:pt x="485" y="619"/>
                  </a:lnTo>
                  <a:lnTo>
                    <a:pt x="457" y="632"/>
                  </a:lnTo>
                  <a:lnTo>
                    <a:pt x="426" y="644"/>
                  </a:lnTo>
                  <a:lnTo>
                    <a:pt x="411" y="648"/>
                  </a:lnTo>
                  <a:lnTo>
                    <a:pt x="395" y="652"/>
                  </a:lnTo>
                  <a:lnTo>
                    <a:pt x="379" y="655"/>
                  </a:lnTo>
                  <a:lnTo>
                    <a:pt x="363" y="656"/>
                  </a:lnTo>
                  <a:lnTo>
                    <a:pt x="345" y="658"/>
                  </a:lnTo>
                  <a:lnTo>
                    <a:pt x="329" y="659"/>
                  </a:lnTo>
                  <a:lnTo>
                    <a:pt x="329" y="659"/>
                  </a:lnTo>
                  <a:close/>
                  <a:moveTo>
                    <a:pt x="329" y="38"/>
                  </a:moveTo>
                  <a:lnTo>
                    <a:pt x="329" y="38"/>
                  </a:lnTo>
                  <a:lnTo>
                    <a:pt x="299" y="39"/>
                  </a:lnTo>
                  <a:lnTo>
                    <a:pt x="270" y="45"/>
                  </a:lnTo>
                  <a:lnTo>
                    <a:pt x="242" y="51"/>
                  </a:lnTo>
                  <a:lnTo>
                    <a:pt x="215" y="61"/>
                  </a:lnTo>
                  <a:lnTo>
                    <a:pt x="191" y="73"/>
                  </a:lnTo>
                  <a:lnTo>
                    <a:pt x="166" y="88"/>
                  </a:lnTo>
                  <a:lnTo>
                    <a:pt x="144" y="105"/>
                  </a:lnTo>
                  <a:lnTo>
                    <a:pt x="123" y="124"/>
                  </a:lnTo>
                  <a:lnTo>
                    <a:pt x="105" y="144"/>
                  </a:lnTo>
                  <a:lnTo>
                    <a:pt x="87" y="167"/>
                  </a:lnTo>
                  <a:lnTo>
                    <a:pt x="72" y="191"/>
                  </a:lnTo>
                  <a:lnTo>
                    <a:pt x="60" y="217"/>
                  </a:lnTo>
                  <a:lnTo>
                    <a:pt x="51" y="244"/>
                  </a:lnTo>
                  <a:lnTo>
                    <a:pt x="43" y="271"/>
                  </a:lnTo>
                  <a:lnTo>
                    <a:pt x="39" y="300"/>
                  </a:lnTo>
                  <a:lnTo>
                    <a:pt x="37" y="330"/>
                  </a:lnTo>
                  <a:lnTo>
                    <a:pt x="37" y="330"/>
                  </a:lnTo>
                  <a:lnTo>
                    <a:pt x="39" y="359"/>
                  </a:lnTo>
                  <a:lnTo>
                    <a:pt x="43" y="389"/>
                  </a:lnTo>
                  <a:lnTo>
                    <a:pt x="51" y="416"/>
                  </a:lnTo>
                  <a:lnTo>
                    <a:pt x="60" y="443"/>
                  </a:lnTo>
                  <a:lnTo>
                    <a:pt x="72" y="468"/>
                  </a:lnTo>
                  <a:lnTo>
                    <a:pt x="87" y="492"/>
                  </a:lnTo>
                  <a:lnTo>
                    <a:pt x="105" y="515"/>
                  </a:lnTo>
                  <a:lnTo>
                    <a:pt x="123" y="535"/>
                  </a:lnTo>
                  <a:lnTo>
                    <a:pt x="144" y="554"/>
                  </a:lnTo>
                  <a:lnTo>
                    <a:pt x="166" y="572"/>
                  </a:lnTo>
                  <a:lnTo>
                    <a:pt x="191" y="586"/>
                  </a:lnTo>
                  <a:lnTo>
                    <a:pt x="215" y="598"/>
                  </a:lnTo>
                  <a:lnTo>
                    <a:pt x="242" y="608"/>
                  </a:lnTo>
                  <a:lnTo>
                    <a:pt x="270" y="615"/>
                  </a:lnTo>
                  <a:lnTo>
                    <a:pt x="299" y="620"/>
                  </a:lnTo>
                  <a:lnTo>
                    <a:pt x="329" y="621"/>
                  </a:lnTo>
                  <a:lnTo>
                    <a:pt x="329" y="621"/>
                  </a:lnTo>
                  <a:lnTo>
                    <a:pt x="359" y="620"/>
                  </a:lnTo>
                  <a:lnTo>
                    <a:pt x="387" y="615"/>
                  </a:lnTo>
                  <a:lnTo>
                    <a:pt x="415" y="608"/>
                  </a:lnTo>
                  <a:lnTo>
                    <a:pt x="442" y="598"/>
                  </a:lnTo>
                  <a:lnTo>
                    <a:pt x="467" y="586"/>
                  </a:lnTo>
                  <a:lnTo>
                    <a:pt x="492" y="572"/>
                  </a:lnTo>
                  <a:lnTo>
                    <a:pt x="514" y="554"/>
                  </a:lnTo>
                  <a:lnTo>
                    <a:pt x="535" y="535"/>
                  </a:lnTo>
                  <a:lnTo>
                    <a:pt x="553" y="515"/>
                  </a:lnTo>
                  <a:lnTo>
                    <a:pt x="570" y="492"/>
                  </a:lnTo>
                  <a:lnTo>
                    <a:pt x="584" y="468"/>
                  </a:lnTo>
                  <a:lnTo>
                    <a:pt x="596" y="443"/>
                  </a:lnTo>
                  <a:lnTo>
                    <a:pt x="607" y="416"/>
                  </a:lnTo>
                  <a:lnTo>
                    <a:pt x="614" y="389"/>
                  </a:lnTo>
                  <a:lnTo>
                    <a:pt x="618" y="359"/>
                  </a:lnTo>
                  <a:lnTo>
                    <a:pt x="621" y="330"/>
                  </a:lnTo>
                  <a:lnTo>
                    <a:pt x="621" y="330"/>
                  </a:lnTo>
                  <a:lnTo>
                    <a:pt x="618" y="300"/>
                  </a:lnTo>
                  <a:lnTo>
                    <a:pt x="614" y="271"/>
                  </a:lnTo>
                  <a:lnTo>
                    <a:pt x="607" y="244"/>
                  </a:lnTo>
                  <a:lnTo>
                    <a:pt x="596" y="217"/>
                  </a:lnTo>
                  <a:lnTo>
                    <a:pt x="584" y="191"/>
                  </a:lnTo>
                  <a:lnTo>
                    <a:pt x="570" y="167"/>
                  </a:lnTo>
                  <a:lnTo>
                    <a:pt x="553" y="144"/>
                  </a:lnTo>
                  <a:lnTo>
                    <a:pt x="535" y="124"/>
                  </a:lnTo>
                  <a:lnTo>
                    <a:pt x="514" y="105"/>
                  </a:lnTo>
                  <a:lnTo>
                    <a:pt x="492" y="88"/>
                  </a:lnTo>
                  <a:lnTo>
                    <a:pt x="467" y="73"/>
                  </a:lnTo>
                  <a:lnTo>
                    <a:pt x="442" y="61"/>
                  </a:lnTo>
                  <a:lnTo>
                    <a:pt x="415" y="51"/>
                  </a:lnTo>
                  <a:lnTo>
                    <a:pt x="387" y="45"/>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3" name="Freeform 217">
              <a:extLst>
                <a:ext uri="{FF2B5EF4-FFF2-40B4-BE49-F238E27FC236}">
                  <a16:creationId xmlns:a16="http://schemas.microsoft.com/office/drawing/2014/main" id="{E1043D9A-1E38-4839-BA9C-08ED2E0E99DE}"/>
                </a:ext>
              </a:extLst>
            </p:cNvPr>
            <p:cNvSpPr>
              <a:spLocks/>
            </p:cNvSpPr>
            <p:nvPr/>
          </p:nvSpPr>
          <p:spPr bwMode="auto">
            <a:xfrm>
              <a:off x="5964238" y="3467735"/>
              <a:ext cx="263525" cy="249238"/>
            </a:xfrm>
            <a:custGeom>
              <a:avLst/>
              <a:gdLst>
                <a:gd name="T0" fmla="*/ 330 w 330"/>
                <a:gd name="T1" fmla="*/ 120 h 314"/>
                <a:gd name="T2" fmla="*/ 330 w 330"/>
                <a:gd name="T3" fmla="*/ 120 h 314"/>
                <a:gd name="T4" fmla="*/ 328 w 330"/>
                <a:gd name="T5" fmla="*/ 117 h 314"/>
                <a:gd name="T6" fmla="*/ 325 w 330"/>
                <a:gd name="T7" fmla="*/ 116 h 314"/>
                <a:gd name="T8" fmla="*/ 217 w 330"/>
                <a:gd name="T9" fmla="*/ 101 h 314"/>
                <a:gd name="T10" fmla="*/ 170 w 330"/>
                <a:gd name="T11" fmla="*/ 4 h 314"/>
                <a:gd name="T12" fmla="*/ 170 w 330"/>
                <a:gd name="T13" fmla="*/ 4 h 314"/>
                <a:gd name="T14" fmla="*/ 168 w 330"/>
                <a:gd name="T15" fmla="*/ 1 h 314"/>
                <a:gd name="T16" fmla="*/ 165 w 330"/>
                <a:gd name="T17" fmla="*/ 0 h 314"/>
                <a:gd name="T18" fmla="*/ 162 w 330"/>
                <a:gd name="T19" fmla="*/ 1 h 314"/>
                <a:gd name="T20" fmla="*/ 160 w 330"/>
                <a:gd name="T21" fmla="*/ 4 h 314"/>
                <a:gd name="T22" fmla="*/ 111 w 330"/>
                <a:gd name="T23" fmla="*/ 101 h 314"/>
                <a:gd name="T24" fmla="*/ 5 w 330"/>
                <a:gd name="T25" fmla="*/ 116 h 314"/>
                <a:gd name="T26" fmla="*/ 5 w 330"/>
                <a:gd name="T27" fmla="*/ 116 h 314"/>
                <a:gd name="T28" fmla="*/ 2 w 330"/>
                <a:gd name="T29" fmla="*/ 117 h 314"/>
                <a:gd name="T30" fmla="*/ 0 w 330"/>
                <a:gd name="T31" fmla="*/ 120 h 314"/>
                <a:gd name="T32" fmla="*/ 0 w 330"/>
                <a:gd name="T33" fmla="*/ 120 h 314"/>
                <a:gd name="T34" fmla="*/ 0 w 330"/>
                <a:gd name="T35" fmla="*/ 124 h 314"/>
                <a:gd name="T36" fmla="*/ 1 w 330"/>
                <a:gd name="T37" fmla="*/ 126 h 314"/>
                <a:gd name="T38" fmla="*/ 79 w 330"/>
                <a:gd name="T39" fmla="*/ 202 h 314"/>
                <a:gd name="T40" fmla="*/ 60 w 330"/>
                <a:gd name="T41" fmla="*/ 308 h 314"/>
                <a:gd name="T42" fmla="*/ 60 w 330"/>
                <a:gd name="T43" fmla="*/ 308 h 314"/>
                <a:gd name="T44" fmla="*/ 62 w 330"/>
                <a:gd name="T45" fmla="*/ 312 h 314"/>
                <a:gd name="T46" fmla="*/ 63 w 330"/>
                <a:gd name="T47" fmla="*/ 314 h 314"/>
                <a:gd name="T48" fmla="*/ 63 w 330"/>
                <a:gd name="T49" fmla="*/ 314 h 314"/>
                <a:gd name="T50" fmla="*/ 66 w 330"/>
                <a:gd name="T51" fmla="*/ 314 h 314"/>
                <a:gd name="T52" fmla="*/ 70 w 330"/>
                <a:gd name="T53" fmla="*/ 314 h 314"/>
                <a:gd name="T54" fmla="*/ 165 w 330"/>
                <a:gd name="T55" fmla="*/ 263 h 314"/>
                <a:gd name="T56" fmla="*/ 260 w 330"/>
                <a:gd name="T57" fmla="*/ 314 h 314"/>
                <a:gd name="T58" fmla="*/ 260 w 330"/>
                <a:gd name="T59" fmla="*/ 314 h 314"/>
                <a:gd name="T60" fmla="*/ 263 w 330"/>
                <a:gd name="T61" fmla="*/ 314 h 314"/>
                <a:gd name="T62" fmla="*/ 263 w 330"/>
                <a:gd name="T63" fmla="*/ 314 h 314"/>
                <a:gd name="T64" fmla="*/ 267 w 330"/>
                <a:gd name="T65" fmla="*/ 314 h 314"/>
                <a:gd name="T66" fmla="*/ 267 w 330"/>
                <a:gd name="T67" fmla="*/ 314 h 314"/>
                <a:gd name="T68" fmla="*/ 268 w 330"/>
                <a:gd name="T69" fmla="*/ 312 h 314"/>
                <a:gd name="T70" fmla="*/ 268 w 330"/>
                <a:gd name="T71" fmla="*/ 308 h 314"/>
                <a:gd name="T72" fmla="*/ 251 w 330"/>
                <a:gd name="T73" fmla="*/ 202 h 314"/>
                <a:gd name="T74" fmla="*/ 329 w 330"/>
                <a:gd name="T75" fmla="*/ 126 h 314"/>
                <a:gd name="T76" fmla="*/ 329 w 330"/>
                <a:gd name="T77" fmla="*/ 126 h 314"/>
                <a:gd name="T78" fmla="*/ 330 w 330"/>
                <a:gd name="T79" fmla="*/ 124 h 314"/>
                <a:gd name="T80" fmla="*/ 330 w 330"/>
                <a:gd name="T81" fmla="*/ 120 h 314"/>
                <a:gd name="T82" fmla="*/ 330 w 330"/>
                <a:gd name="T83" fmla="*/ 12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0" h="314">
                  <a:moveTo>
                    <a:pt x="330" y="120"/>
                  </a:moveTo>
                  <a:lnTo>
                    <a:pt x="330" y="120"/>
                  </a:lnTo>
                  <a:lnTo>
                    <a:pt x="328" y="117"/>
                  </a:lnTo>
                  <a:lnTo>
                    <a:pt x="325" y="116"/>
                  </a:lnTo>
                  <a:lnTo>
                    <a:pt x="217" y="101"/>
                  </a:lnTo>
                  <a:lnTo>
                    <a:pt x="170" y="4"/>
                  </a:lnTo>
                  <a:lnTo>
                    <a:pt x="170" y="4"/>
                  </a:lnTo>
                  <a:lnTo>
                    <a:pt x="168" y="1"/>
                  </a:lnTo>
                  <a:lnTo>
                    <a:pt x="165" y="0"/>
                  </a:lnTo>
                  <a:lnTo>
                    <a:pt x="162" y="1"/>
                  </a:lnTo>
                  <a:lnTo>
                    <a:pt x="160" y="4"/>
                  </a:lnTo>
                  <a:lnTo>
                    <a:pt x="111" y="101"/>
                  </a:lnTo>
                  <a:lnTo>
                    <a:pt x="5" y="116"/>
                  </a:lnTo>
                  <a:lnTo>
                    <a:pt x="5" y="116"/>
                  </a:lnTo>
                  <a:lnTo>
                    <a:pt x="2" y="117"/>
                  </a:lnTo>
                  <a:lnTo>
                    <a:pt x="0" y="120"/>
                  </a:lnTo>
                  <a:lnTo>
                    <a:pt x="0" y="120"/>
                  </a:lnTo>
                  <a:lnTo>
                    <a:pt x="0" y="124"/>
                  </a:lnTo>
                  <a:lnTo>
                    <a:pt x="1" y="126"/>
                  </a:lnTo>
                  <a:lnTo>
                    <a:pt x="79" y="202"/>
                  </a:lnTo>
                  <a:lnTo>
                    <a:pt x="60" y="308"/>
                  </a:lnTo>
                  <a:lnTo>
                    <a:pt x="60" y="308"/>
                  </a:lnTo>
                  <a:lnTo>
                    <a:pt x="62" y="312"/>
                  </a:lnTo>
                  <a:lnTo>
                    <a:pt x="63" y="314"/>
                  </a:lnTo>
                  <a:lnTo>
                    <a:pt x="63" y="314"/>
                  </a:lnTo>
                  <a:lnTo>
                    <a:pt x="66" y="314"/>
                  </a:lnTo>
                  <a:lnTo>
                    <a:pt x="70" y="314"/>
                  </a:lnTo>
                  <a:lnTo>
                    <a:pt x="165" y="263"/>
                  </a:lnTo>
                  <a:lnTo>
                    <a:pt x="260" y="314"/>
                  </a:lnTo>
                  <a:lnTo>
                    <a:pt x="260" y="314"/>
                  </a:lnTo>
                  <a:lnTo>
                    <a:pt x="263" y="314"/>
                  </a:lnTo>
                  <a:lnTo>
                    <a:pt x="263" y="314"/>
                  </a:lnTo>
                  <a:lnTo>
                    <a:pt x="267" y="314"/>
                  </a:lnTo>
                  <a:lnTo>
                    <a:pt x="267" y="314"/>
                  </a:lnTo>
                  <a:lnTo>
                    <a:pt x="268" y="312"/>
                  </a:lnTo>
                  <a:lnTo>
                    <a:pt x="268" y="308"/>
                  </a:lnTo>
                  <a:lnTo>
                    <a:pt x="251" y="202"/>
                  </a:lnTo>
                  <a:lnTo>
                    <a:pt x="329" y="126"/>
                  </a:lnTo>
                  <a:lnTo>
                    <a:pt x="329" y="126"/>
                  </a:lnTo>
                  <a:lnTo>
                    <a:pt x="330" y="124"/>
                  </a:lnTo>
                  <a:lnTo>
                    <a:pt x="330" y="120"/>
                  </a:lnTo>
                  <a:lnTo>
                    <a:pt x="33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4" name="Group 23">
            <a:extLst>
              <a:ext uri="{FF2B5EF4-FFF2-40B4-BE49-F238E27FC236}">
                <a16:creationId xmlns:a16="http://schemas.microsoft.com/office/drawing/2014/main" id="{A145B47D-15B6-45B4-9BD6-4AD028BBB1AC}"/>
              </a:ext>
            </a:extLst>
          </p:cNvPr>
          <p:cNvGrpSpPr>
            <a:grpSpLocks noChangeAspect="1"/>
          </p:cNvGrpSpPr>
          <p:nvPr/>
        </p:nvGrpSpPr>
        <p:grpSpPr>
          <a:xfrm>
            <a:off x="10851221" y="2923620"/>
            <a:ext cx="357814" cy="356730"/>
            <a:chOff x="5834063" y="3342323"/>
            <a:chExt cx="523875" cy="522288"/>
          </a:xfrm>
        </p:grpSpPr>
        <p:sp>
          <p:nvSpPr>
            <p:cNvPr id="25" name="Freeform 56">
              <a:extLst>
                <a:ext uri="{FF2B5EF4-FFF2-40B4-BE49-F238E27FC236}">
                  <a16:creationId xmlns:a16="http://schemas.microsoft.com/office/drawing/2014/main" id="{AE986CC2-ACDB-4E1C-833A-6DB16CF2566E}"/>
                </a:ext>
              </a:extLst>
            </p:cNvPr>
            <p:cNvSpPr>
              <a:spLocks noEditPoints="1"/>
            </p:cNvSpPr>
            <p:nvPr/>
          </p:nvSpPr>
          <p:spPr bwMode="auto">
            <a:xfrm>
              <a:off x="5834063" y="3342323"/>
              <a:ext cx="523875" cy="522288"/>
            </a:xfrm>
            <a:custGeom>
              <a:avLst/>
              <a:gdLst>
                <a:gd name="T0" fmla="*/ 312 w 658"/>
                <a:gd name="T1" fmla="*/ 658 h 659"/>
                <a:gd name="T2" fmla="*/ 262 w 658"/>
                <a:gd name="T3" fmla="*/ 652 h 659"/>
                <a:gd name="T4" fmla="*/ 201 w 658"/>
                <a:gd name="T5" fmla="*/ 632 h 659"/>
                <a:gd name="T6" fmla="*/ 119 w 658"/>
                <a:gd name="T7" fmla="*/ 584 h 659"/>
                <a:gd name="T8" fmla="*/ 56 w 658"/>
                <a:gd name="T9" fmla="*/ 514 h 659"/>
                <a:gd name="T10" fmla="*/ 15 w 658"/>
                <a:gd name="T11" fmla="*/ 428 h 659"/>
                <a:gd name="T12" fmla="*/ 4 w 658"/>
                <a:gd name="T13" fmla="*/ 379 h 659"/>
                <a:gd name="T14" fmla="*/ 0 w 658"/>
                <a:gd name="T15" fmla="*/ 330 h 659"/>
                <a:gd name="T16" fmla="*/ 1 w 658"/>
                <a:gd name="T17" fmla="*/ 296 h 659"/>
                <a:gd name="T18" fmla="*/ 10 w 658"/>
                <a:gd name="T19" fmla="*/ 248 h 659"/>
                <a:gd name="T20" fmla="*/ 40 w 658"/>
                <a:gd name="T21" fmla="*/ 172 h 659"/>
                <a:gd name="T22" fmla="*/ 96 w 658"/>
                <a:gd name="T23" fmla="*/ 97 h 659"/>
                <a:gd name="T24" fmla="*/ 172 w 658"/>
                <a:gd name="T25" fmla="*/ 41 h 659"/>
                <a:gd name="T26" fmla="*/ 247 w 658"/>
                <a:gd name="T27" fmla="*/ 11 h 659"/>
                <a:gd name="T28" fmla="*/ 295 w 658"/>
                <a:gd name="T29" fmla="*/ 2 h 659"/>
                <a:gd name="T30" fmla="*/ 329 w 658"/>
                <a:gd name="T31" fmla="*/ 0 h 659"/>
                <a:gd name="T32" fmla="*/ 379 w 658"/>
                <a:gd name="T33" fmla="*/ 4 h 659"/>
                <a:gd name="T34" fmla="*/ 426 w 658"/>
                <a:gd name="T35" fmla="*/ 15 h 659"/>
                <a:gd name="T36" fmla="*/ 513 w 658"/>
                <a:gd name="T37" fmla="*/ 57 h 659"/>
                <a:gd name="T38" fmla="*/ 583 w 658"/>
                <a:gd name="T39" fmla="*/ 120 h 659"/>
                <a:gd name="T40" fmla="*/ 631 w 658"/>
                <a:gd name="T41" fmla="*/ 202 h 659"/>
                <a:gd name="T42" fmla="*/ 652 w 658"/>
                <a:gd name="T43" fmla="*/ 264 h 659"/>
                <a:gd name="T44" fmla="*/ 657 w 658"/>
                <a:gd name="T45" fmla="*/ 312 h 659"/>
                <a:gd name="T46" fmla="*/ 657 w 658"/>
                <a:gd name="T47" fmla="*/ 347 h 659"/>
                <a:gd name="T48" fmla="*/ 652 w 658"/>
                <a:gd name="T49" fmla="*/ 396 h 659"/>
                <a:gd name="T50" fmla="*/ 631 w 658"/>
                <a:gd name="T51" fmla="*/ 457 h 659"/>
                <a:gd name="T52" fmla="*/ 583 w 658"/>
                <a:gd name="T53" fmla="*/ 539 h 659"/>
                <a:gd name="T54" fmla="*/ 513 w 658"/>
                <a:gd name="T55" fmla="*/ 603 h 659"/>
                <a:gd name="T56" fmla="*/ 426 w 658"/>
                <a:gd name="T57" fmla="*/ 644 h 659"/>
                <a:gd name="T58" fmla="*/ 379 w 658"/>
                <a:gd name="T59" fmla="*/ 655 h 659"/>
                <a:gd name="T60" fmla="*/ 329 w 658"/>
                <a:gd name="T61" fmla="*/ 659 h 659"/>
                <a:gd name="T62" fmla="*/ 329 w 658"/>
                <a:gd name="T63" fmla="*/ 38 h 659"/>
                <a:gd name="T64" fmla="*/ 242 w 658"/>
                <a:gd name="T65" fmla="*/ 51 h 659"/>
                <a:gd name="T66" fmla="*/ 166 w 658"/>
                <a:gd name="T67" fmla="*/ 88 h 659"/>
                <a:gd name="T68" fmla="*/ 105 w 658"/>
                <a:gd name="T69" fmla="*/ 144 h 659"/>
                <a:gd name="T70" fmla="*/ 60 w 658"/>
                <a:gd name="T71" fmla="*/ 217 h 659"/>
                <a:gd name="T72" fmla="*/ 39 w 658"/>
                <a:gd name="T73" fmla="*/ 300 h 659"/>
                <a:gd name="T74" fmla="*/ 39 w 658"/>
                <a:gd name="T75" fmla="*/ 359 h 659"/>
                <a:gd name="T76" fmla="*/ 60 w 658"/>
                <a:gd name="T77" fmla="*/ 443 h 659"/>
                <a:gd name="T78" fmla="*/ 105 w 658"/>
                <a:gd name="T79" fmla="*/ 515 h 659"/>
                <a:gd name="T80" fmla="*/ 166 w 658"/>
                <a:gd name="T81" fmla="*/ 572 h 659"/>
                <a:gd name="T82" fmla="*/ 242 w 658"/>
                <a:gd name="T83" fmla="*/ 608 h 659"/>
                <a:gd name="T84" fmla="*/ 329 w 658"/>
                <a:gd name="T85" fmla="*/ 621 h 659"/>
                <a:gd name="T86" fmla="*/ 387 w 658"/>
                <a:gd name="T87" fmla="*/ 615 h 659"/>
                <a:gd name="T88" fmla="*/ 467 w 658"/>
                <a:gd name="T89" fmla="*/ 586 h 659"/>
                <a:gd name="T90" fmla="*/ 535 w 658"/>
                <a:gd name="T91" fmla="*/ 535 h 659"/>
                <a:gd name="T92" fmla="*/ 584 w 658"/>
                <a:gd name="T93" fmla="*/ 468 h 659"/>
                <a:gd name="T94" fmla="*/ 614 w 658"/>
                <a:gd name="T95" fmla="*/ 389 h 659"/>
                <a:gd name="T96" fmla="*/ 621 w 658"/>
                <a:gd name="T97" fmla="*/ 330 h 659"/>
                <a:gd name="T98" fmla="*/ 607 w 658"/>
                <a:gd name="T99" fmla="*/ 244 h 659"/>
                <a:gd name="T100" fmla="*/ 570 w 658"/>
                <a:gd name="T101" fmla="*/ 167 h 659"/>
                <a:gd name="T102" fmla="*/ 514 w 658"/>
                <a:gd name="T103" fmla="*/ 105 h 659"/>
                <a:gd name="T104" fmla="*/ 442 w 658"/>
                <a:gd name="T105" fmla="*/ 61 h 659"/>
                <a:gd name="T106" fmla="*/ 359 w 658"/>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2" y="658"/>
                  </a:lnTo>
                  <a:lnTo>
                    <a:pt x="295" y="656"/>
                  </a:lnTo>
                  <a:lnTo>
                    <a:pt x="279" y="655"/>
                  </a:lnTo>
                  <a:lnTo>
                    <a:pt x="262" y="652"/>
                  </a:lnTo>
                  <a:lnTo>
                    <a:pt x="247" y="648"/>
                  </a:lnTo>
                  <a:lnTo>
                    <a:pt x="231" y="644"/>
                  </a:lnTo>
                  <a:lnTo>
                    <a:pt x="201" y="632"/>
                  </a:lnTo>
                  <a:lnTo>
                    <a:pt x="172" y="619"/>
                  </a:lnTo>
                  <a:lnTo>
                    <a:pt x="145" y="603"/>
                  </a:lnTo>
                  <a:lnTo>
                    <a:pt x="119" y="584"/>
                  </a:lnTo>
                  <a:lnTo>
                    <a:pt x="96" y="562"/>
                  </a:lnTo>
                  <a:lnTo>
                    <a:pt x="75" y="539"/>
                  </a:lnTo>
                  <a:lnTo>
                    <a:pt x="56" y="514"/>
                  </a:lnTo>
                  <a:lnTo>
                    <a:pt x="40" y="487"/>
                  </a:lnTo>
                  <a:lnTo>
                    <a:pt x="25" y="457"/>
                  </a:lnTo>
                  <a:lnTo>
                    <a:pt x="15" y="428"/>
                  </a:lnTo>
                  <a:lnTo>
                    <a:pt x="10" y="412"/>
                  </a:lnTo>
                  <a:lnTo>
                    <a:pt x="6" y="396"/>
                  </a:lnTo>
                  <a:lnTo>
                    <a:pt x="4" y="379"/>
                  </a:lnTo>
                  <a:lnTo>
                    <a:pt x="1" y="363"/>
                  </a:lnTo>
                  <a:lnTo>
                    <a:pt x="0" y="347"/>
                  </a:lnTo>
                  <a:lnTo>
                    <a:pt x="0" y="330"/>
                  </a:lnTo>
                  <a:lnTo>
                    <a:pt x="0" y="330"/>
                  </a:lnTo>
                  <a:lnTo>
                    <a:pt x="0" y="312"/>
                  </a:lnTo>
                  <a:lnTo>
                    <a:pt x="1" y="296"/>
                  </a:lnTo>
                  <a:lnTo>
                    <a:pt x="4" y="280"/>
                  </a:lnTo>
                  <a:lnTo>
                    <a:pt x="6" y="264"/>
                  </a:lnTo>
                  <a:lnTo>
                    <a:pt x="10" y="248"/>
                  </a:lnTo>
                  <a:lnTo>
                    <a:pt x="15" y="232"/>
                  </a:lnTo>
                  <a:lnTo>
                    <a:pt x="25" y="202"/>
                  </a:lnTo>
                  <a:lnTo>
                    <a:pt x="40" y="172"/>
                  </a:lnTo>
                  <a:lnTo>
                    <a:pt x="56" y="146"/>
                  </a:lnTo>
                  <a:lnTo>
                    <a:pt x="75" y="120"/>
                  </a:lnTo>
                  <a:lnTo>
                    <a:pt x="96" y="97"/>
                  </a:lnTo>
                  <a:lnTo>
                    <a:pt x="119" y="76"/>
                  </a:lnTo>
                  <a:lnTo>
                    <a:pt x="145" y="57"/>
                  </a:lnTo>
                  <a:lnTo>
                    <a:pt x="172" y="41"/>
                  </a:lnTo>
                  <a:lnTo>
                    <a:pt x="201" y="26"/>
                  </a:lnTo>
                  <a:lnTo>
                    <a:pt x="231" y="15"/>
                  </a:lnTo>
                  <a:lnTo>
                    <a:pt x="247" y="11"/>
                  </a:lnTo>
                  <a:lnTo>
                    <a:pt x="262" y="7"/>
                  </a:lnTo>
                  <a:lnTo>
                    <a:pt x="279" y="4"/>
                  </a:lnTo>
                  <a:lnTo>
                    <a:pt x="295" y="2"/>
                  </a:lnTo>
                  <a:lnTo>
                    <a:pt x="312" y="2"/>
                  </a:lnTo>
                  <a:lnTo>
                    <a:pt x="329" y="0"/>
                  </a:lnTo>
                  <a:lnTo>
                    <a:pt x="329" y="0"/>
                  </a:lnTo>
                  <a:lnTo>
                    <a:pt x="345" y="2"/>
                  </a:lnTo>
                  <a:lnTo>
                    <a:pt x="363" y="2"/>
                  </a:lnTo>
                  <a:lnTo>
                    <a:pt x="379" y="4"/>
                  </a:lnTo>
                  <a:lnTo>
                    <a:pt x="395" y="7"/>
                  </a:lnTo>
                  <a:lnTo>
                    <a:pt x="411" y="11"/>
                  </a:lnTo>
                  <a:lnTo>
                    <a:pt x="426" y="15"/>
                  </a:lnTo>
                  <a:lnTo>
                    <a:pt x="457" y="26"/>
                  </a:lnTo>
                  <a:lnTo>
                    <a:pt x="485" y="41"/>
                  </a:lnTo>
                  <a:lnTo>
                    <a:pt x="513" y="57"/>
                  </a:lnTo>
                  <a:lnTo>
                    <a:pt x="537" y="76"/>
                  </a:lnTo>
                  <a:lnTo>
                    <a:pt x="562" y="97"/>
                  </a:lnTo>
                  <a:lnTo>
                    <a:pt x="583" y="120"/>
                  </a:lnTo>
                  <a:lnTo>
                    <a:pt x="602" y="146"/>
                  </a:lnTo>
                  <a:lnTo>
                    <a:pt x="618" y="172"/>
                  </a:lnTo>
                  <a:lnTo>
                    <a:pt x="631" y="202"/>
                  </a:lnTo>
                  <a:lnTo>
                    <a:pt x="643" y="232"/>
                  </a:lnTo>
                  <a:lnTo>
                    <a:pt x="648" y="248"/>
                  </a:lnTo>
                  <a:lnTo>
                    <a:pt x="652" y="264"/>
                  </a:lnTo>
                  <a:lnTo>
                    <a:pt x="654" y="280"/>
                  </a:lnTo>
                  <a:lnTo>
                    <a:pt x="656" y="296"/>
                  </a:lnTo>
                  <a:lnTo>
                    <a:pt x="657" y="312"/>
                  </a:lnTo>
                  <a:lnTo>
                    <a:pt x="658" y="330"/>
                  </a:lnTo>
                  <a:lnTo>
                    <a:pt x="658" y="330"/>
                  </a:lnTo>
                  <a:lnTo>
                    <a:pt x="657" y="347"/>
                  </a:lnTo>
                  <a:lnTo>
                    <a:pt x="656" y="363"/>
                  </a:lnTo>
                  <a:lnTo>
                    <a:pt x="654" y="379"/>
                  </a:lnTo>
                  <a:lnTo>
                    <a:pt x="652" y="396"/>
                  </a:lnTo>
                  <a:lnTo>
                    <a:pt x="648" y="412"/>
                  </a:lnTo>
                  <a:lnTo>
                    <a:pt x="643" y="428"/>
                  </a:lnTo>
                  <a:lnTo>
                    <a:pt x="631" y="457"/>
                  </a:lnTo>
                  <a:lnTo>
                    <a:pt x="618" y="487"/>
                  </a:lnTo>
                  <a:lnTo>
                    <a:pt x="602" y="514"/>
                  </a:lnTo>
                  <a:lnTo>
                    <a:pt x="583" y="539"/>
                  </a:lnTo>
                  <a:lnTo>
                    <a:pt x="562" y="562"/>
                  </a:lnTo>
                  <a:lnTo>
                    <a:pt x="537" y="584"/>
                  </a:lnTo>
                  <a:lnTo>
                    <a:pt x="513" y="603"/>
                  </a:lnTo>
                  <a:lnTo>
                    <a:pt x="485" y="619"/>
                  </a:lnTo>
                  <a:lnTo>
                    <a:pt x="457" y="632"/>
                  </a:lnTo>
                  <a:lnTo>
                    <a:pt x="426" y="644"/>
                  </a:lnTo>
                  <a:lnTo>
                    <a:pt x="411" y="648"/>
                  </a:lnTo>
                  <a:lnTo>
                    <a:pt x="395" y="652"/>
                  </a:lnTo>
                  <a:lnTo>
                    <a:pt x="379" y="655"/>
                  </a:lnTo>
                  <a:lnTo>
                    <a:pt x="363" y="656"/>
                  </a:lnTo>
                  <a:lnTo>
                    <a:pt x="345" y="658"/>
                  </a:lnTo>
                  <a:lnTo>
                    <a:pt x="329" y="659"/>
                  </a:lnTo>
                  <a:lnTo>
                    <a:pt x="329" y="659"/>
                  </a:lnTo>
                  <a:close/>
                  <a:moveTo>
                    <a:pt x="329" y="38"/>
                  </a:moveTo>
                  <a:lnTo>
                    <a:pt x="329" y="38"/>
                  </a:lnTo>
                  <a:lnTo>
                    <a:pt x="299" y="39"/>
                  </a:lnTo>
                  <a:lnTo>
                    <a:pt x="270" y="45"/>
                  </a:lnTo>
                  <a:lnTo>
                    <a:pt x="242" y="51"/>
                  </a:lnTo>
                  <a:lnTo>
                    <a:pt x="215" y="61"/>
                  </a:lnTo>
                  <a:lnTo>
                    <a:pt x="191" y="73"/>
                  </a:lnTo>
                  <a:lnTo>
                    <a:pt x="166" y="88"/>
                  </a:lnTo>
                  <a:lnTo>
                    <a:pt x="144" y="105"/>
                  </a:lnTo>
                  <a:lnTo>
                    <a:pt x="123" y="124"/>
                  </a:lnTo>
                  <a:lnTo>
                    <a:pt x="105" y="144"/>
                  </a:lnTo>
                  <a:lnTo>
                    <a:pt x="87" y="167"/>
                  </a:lnTo>
                  <a:lnTo>
                    <a:pt x="72" y="191"/>
                  </a:lnTo>
                  <a:lnTo>
                    <a:pt x="60" y="217"/>
                  </a:lnTo>
                  <a:lnTo>
                    <a:pt x="51" y="244"/>
                  </a:lnTo>
                  <a:lnTo>
                    <a:pt x="43" y="271"/>
                  </a:lnTo>
                  <a:lnTo>
                    <a:pt x="39" y="300"/>
                  </a:lnTo>
                  <a:lnTo>
                    <a:pt x="37" y="330"/>
                  </a:lnTo>
                  <a:lnTo>
                    <a:pt x="37" y="330"/>
                  </a:lnTo>
                  <a:lnTo>
                    <a:pt x="39" y="359"/>
                  </a:lnTo>
                  <a:lnTo>
                    <a:pt x="43" y="389"/>
                  </a:lnTo>
                  <a:lnTo>
                    <a:pt x="51" y="416"/>
                  </a:lnTo>
                  <a:lnTo>
                    <a:pt x="60" y="443"/>
                  </a:lnTo>
                  <a:lnTo>
                    <a:pt x="72" y="468"/>
                  </a:lnTo>
                  <a:lnTo>
                    <a:pt x="87" y="492"/>
                  </a:lnTo>
                  <a:lnTo>
                    <a:pt x="105" y="515"/>
                  </a:lnTo>
                  <a:lnTo>
                    <a:pt x="123" y="535"/>
                  </a:lnTo>
                  <a:lnTo>
                    <a:pt x="144" y="554"/>
                  </a:lnTo>
                  <a:lnTo>
                    <a:pt x="166" y="572"/>
                  </a:lnTo>
                  <a:lnTo>
                    <a:pt x="191" y="586"/>
                  </a:lnTo>
                  <a:lnTo>
                    <a:pt x="215" y="598"/>
                  </a:lnTo>
                  <a:lnTo>
                    <a:pt x="242" y="608"/>
                  </a:lnTo>
                  <a:lnTo>
                    <a:pt x="270" y="615"/>
                  </a:lnTo>
                  <a:lnTo>
                    <a:pt x="299" y="620"/>
                  </a:lnTo>
                  <a:lnTo>
                    <a:pt x="329" y="621"/>
                  </a:lnTo>
                  <a:lnTo>
                    <a:pt x="329" y="621"/>
                  </a:lnTo>
                  <a:lnTo>
                    <a:pt x="359" y="620"/>
                  </a:lnTo>
                  <a:lnTo>
                    <a:pt x="387" y="615"/>
                  </a:lnTo>
                  <a:lnTo>
                    <a:pt x="415" y="608"/>
                  </a:lnTo>
                  <a:lnTo>
                    <a:pt x="442" y="598"/>
                  </a:lnTo>
                  <a:lnTo>
                    <a:pt x="467" y="586"/>
                  </a:lnTo>
                  <a:lnTo>
                    <a:pt x="492" y="572"/>
                  </a:lnTo>
                  <a:lnTo>
                    <a:pt x="514" y="554"/>
                  </a:lnTo>
                  <a:lnTo>
                    <a:pt x="535" y="535"/>
                  </a:lnTo>
                  <a:lnTo>
                    <a:pt x="553" y="515"/>
                  </a:lnTo>
                  <a:lnTo>
                    <a:pt x="570" y="492"/>
                  </a:lnTo>
                  <a:lnTo>
                    <a:pt x="584" y="468"/>
                  </a:lnTo>
                  <a:lnTo>
                    <a:pt x="596" y="443"/>
                  </a:lnTo>
                  <a:lnTo>
                    <a:pt x="607" y="416"/>
                  </a:lnTo>
                  <a:lnTo>
                    <a:pt x="614" y="389"/>
                  </a:lnTo>
                  <a:lnTo>
                    <a:pt x="618" y="359"/>
                  </a:lnTo>
                  <a:lnTo>
                    <a:pt x="621" y="330"/>
                  </a:lnTo>
                  <a:lnTo>
                    <a:pt x="621" y="330"/>
                  </a:lnTo>
                  <a:lnTo>
                    <a:pt x="618" y="300"/>
                  </a:lnTo>
                  <a:lnTo>
                    <a:pt x="614" y="271"/>
                  </a:lnTo>
                  <a:lnTo>
                    <a:pt x="607" y="244"/>
                  </a:lnTo>
                  <a:lnTo>
                    <a:pt x="596" y="217"/>
                  </a:lnTo>
                  <a:lnTo>
                    <a:pt x="584" y="191"/>
                  </a:lnTo>
                  <a:lnTo>
                    <a:pt x="570" y="167"/>
                  </a:lnTo>
                  <a:lnTo>
                    <a:pt x="553" y="144"/>
                  </a:lnTo>
                  <a:lnTo>
                    <a:pt x="535" y="124"/>
                  </a:lnTo>
                  <a:lnTo>
                    <a:pt x="514" y="105"/>
                  </a:lnTo>
                  <a:lnTo>
                    <a:pt x="492" y="88"/>
                  </a:lnTo>
                  <a:lnTo>
                    <a:pt x="467" y="73"/>
                  </a:lnTo>
                  <a:lnTo>
                    <a:pt x="442" y="61"/>
                  </a:lnTo>
                  <a:lnTo>
                    <a:pt x="415" y="51"/>
                  </a:lnTo>
                  <a:lnTo>
                    <a:pt x="387" y="45"/>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6" name="Freeform 217">
              <a:extLst>
                <a:ext uri="{FF2B5EF4-FFF2-40B4-BE49-F238E27FC236}">
                  <a16:creationId xmlns:a16="http://schemas.microsoft.com/office/drawing/2014/main" id="{608C5FCA-03D2-48DF-9A0E-AAEE8275B60A}"/>
                </a:ext>
              </a:extLst>
            </p:cNvPr>
            <p:cNvSpPr>
              <a:spLocks/>
            </p:cNvSpPr>
            <p:nvPr/>
          </p:nvSpPr>
          <p:spPr bwMode="auto">
            <a:xfrm>
              <a:off x="5964238" y="3467735"/>
              <a:ext cx="263525" cy="249238"/>
            </a:xfrm>
            <a:custGeom>
              <a:avLst/>
              <a:gdLst>
                <a:gd name="T0" fmla="*/ 330 w 330"/>
                <a:gd name="T1" fmla="*/ 120 h 314"/>
                <a:gd name="T2" fmla="*/ 330 w 330"/>
                <a:gd name="T3" fmla="*/ 120 h 314"/>
                <a:gd name="T4" fmla="*/ 328 w 330"/>
                <a:gd name="T5" fmla="*/ 117 h 314"/>
                <a:gd name="T6" fmla="*/ 325 w 330"/>
                <a:gd name="T7" fmla="*/ 116 h 314"/>
                <a:gd name="T8" fmla="*/ 217 w 330"/>
                <a:gd name="T9" fmla="*/ 101 h 314"/>
                <a:gd name="T10" fmla="*/ 170 w 330"/>
                <a:gd name="T11" fmla="*/ 4 h 314"/>
                <a:gd name="T12" fmla="*/ 170 w 330"/>
                <a:gd name="T13" fmla="*/ 4 h 314"/>
                <a:gd name="T14" fmla="*/ 168 w 330"/>
                <a:gd name="T15" fmla="*/ 1 h 314"/>
                <a:gd name="T16" fmla="*/ 165 w 330"/>
                <a:gd name="T17" fmla="*/ 0 h 314"/>
                <a:gd name="T18" fmla="*/ 162 w 330"/>
                <a:gd name="T19" fmla="*/ 1 h 314"/>
                <a:gd name="T20" fmla="*/ 160 w 330"/>
                <a:gd name="T21" fmla="*/ 4 h 314"/>
                <a:gd name="T22" fmla="*/ 111 w 330"/>
                <a:gd name="T23" fmla="*/ 101 h 314"/>
                <a:gd name="T24" fmla="*/ 5 w 330"/>
                <a:gd name="T25" fmla="*/ 116 h 314"/>
                <a:gd name="T26" fmla="*/ 5 w 330"/>
                <a:gd name="T27" fmla="*/ 116 h 314"/>
                <a:gd name="T28" fmla="*/ 2 w 330"/>
                <a:gd name="T29" fmla="*/ 117 h 314"/>
                <a:gd name="T30" fmla="*/ 0 w 330"/>
                <a:gd name="T31" fmla="*/ 120 h 314"/>
                <a:gd name="T32" fmla="*/ 0 w 330"/>
                <a:gd name="T33" fmla="*/ 120 h 314"/>
                <a:gd name="T34" fmla="*/ 0 w 330"/>
                <a:gd name="T35" fmla="*/ 124 h 314"/>
                <a:gd name="T36" fmla="*/ 1 w 330"/>
                <a:gd name="T37" fmla="*/ 126 h 314"/>
                <a:gd name="T38" fmla="*/ 79 w 330"/>
                <a:gd name="T39" fmla="*/ 202 h 314"/>
                <a:gd name="T40" fmla="*/ 60 w 330"/>
                <a:gd name="T41" fmla="*/ 308 h 314"/>
                <a:gd name="T42" fmla="*/ 60 w 330"/>
                <a:gd name="T43" fmla="*/ 308 h 314"/>
                <a:gd name="T44" fmla="*/ 62 w 330"/>
                <a:gd name="T45" fmla="*/ 312 h 314"/>
                <a:gd name="T46" fmla="*/ 63 w 330"/>
                <a:gd name="T47" fmla="*/ 314 h 314"/>
                <a:gd name="T48" fmla="*/ 63 w 330"/>
                <a:gd name="T49" fmla="*/ 314 h 314"/>
                <a:gd name="T50" fmla="*/ 66 w 330"/>
                <a:gd name="T51" fmla="*/ 314 h 314"/>
                <a:gd name="T52" fmla="*/ 70 w 330"/>
                <a:gd name="T53" fmla="*/ 314 h 314"/>
                <a:gd name="T54" fmla="*/ 165 w 330"/>
                <a:gd name="T55" fmla="*/ 263 h 314"/>
                <a:gd name="T56" fmla="*/ 260 w 330"/>
                <a:gd name="T57" fmla="*/ 314 h 314"/>
                <a:gd name="T58" fmla="*/ 260 w 330"/>
                <a:gd name="T59" fmla="*/ 314 h 314"/>
                <a:gd name="T60" fmla="*/ 263 w 330"/>
                <a:gd name="T61" fmla="*/ 314 h 314"/>
                <a:gd name="T62" fmla="*/ 263 w 330"/>
                <a:gd name="T63" fmla="*/ 314 h 314"/>
                <a:gd name="T64" fmla="*/ 267 w 330"/>
                <a:gd name="T65" fmla="*/ 314 h 314"/>
                <a:gd name="T66" fmla="*/ 267 w 330"/>
                <a:gd name="T67" fmla="*/ 314 h 314"/>
                <a:gd name="T68" fmla="*/ 268 w 330"/>
                <a:gd name="T69" fmla="*/ 312 h 314"/>
                <a:gd name="T70" fmla="*/ 268 w 330"/>
                <a:gd name="T71" fmla="*/ 308 h 314"/>
                <a:gd name="T72" fmla="*/ 251 w 330"/>
                <a:gd name="T73" fmla="*/ 202 h 314"/>
                <a:gd name="T74" fmla="*/ 329 w 330"/>
                <a:gd name="T75" fmla="*/ 126 h 314"/>
                <a:gd name="T76" fmla="*/ 329 w 330"/>
                <a:gd name="T77" fmla="*/ 126 h 314"/>
                <a:gd name="T78" fmla="*/ 330 w 330"/>
                <a:gd name="T79" fmla="*/ 124 h 314"/>
                <a:gd name="T80" fmla="*/ 330 w 330"/>
                <a:gd name="T81" fmla="*/ 120 h 314"/>
                <a:gd name="T82" fmla="*/ 330 w 330"/>
                <a:gd name="T83" fmla="*/ 12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0" h="314">
                  <a:moveTo>
                    <a:pt x="330" y="120"/>
                  </a:moveTo>
                  <a:lnTo>
                    <a:pt x="330" y="120"/>
                  </a:lnTo>
                  <a:lnTo>
                    <a:pt x="328" y="117"/>
                  </a:lnTo>
                  <a:lnTo>
                    <a:pt x="325" y="116"/>
                  </a:lnTo>
                  <a:lnTo>
                    <a:pt x="217" y="101"/>
                  </a:lnTo>
                  <a:lnTo>
                    <a:pt x="170" y="4"/>
                  </a:lnTo>
                  <a:lnTo>
                    <a:pt x="170" y="4"/>
                  </a:lnTo>
                  <a:lnTo>
                    <a:pt x="168" y="1"/>
                  </a:lnTo>
                  <a:lnTo>
                    <a:pt x="165" y="0"/>
                  </a:lnTo>
                  <a:lnTo>
                    <a:pt x="162" y="1"/>
                  </a:lnTo>
                  <a:lnTo>
                    <a:pt x="160" y="4"/>
                  </a:lnTo>
                  <a:lnTo>
                    <a:pt x="111" y="101"/>
                  </a:lnTo>
                  <a:lnTo>
                    <a:pt x="5" y="116"/>
                  </a:lnTo>
                  <a:lnTo>
                    <a:pt x="5" y="116"/>
                  </a:lnTo>
                  <a:lnTo>
                    <a:pt x="2" y="117"/>
                  </a:lnTo>
                  <a:lnTo>
                    <a:pt x="0" y="120"/>
                  </a:lnTo>
                  <a:lnTo>
                    <a:pt x="0" y="120"/>
                  </a:lnTo>
                  <a:lnTo>
                    <a:pt x="0" y="124"/>
                  </a:lnTo>
                  <a:lnTo>
                    <a:pt x="1" y="126"/>
                  </a:lnTo>
                  <a:lnTo>
                    <a:pt x="79" y="202"/>
                  </a:lnTo>
                  <a:lnTo>
                    <a:pt x="60" y="308"/>
                  </a:lnTo>
                  <a:lnTo>
                    <a:pt x="60" y="308"/>
                  </a:lnTo>
                  <a:lnTo>
                    <a:pt x="62" y="312"/>
                  </a:lnTo>
                  <a:lnTo>
                    <a:pt x="63" y="314"/>
                  </a:lnTo>
                  <a:lnTo>
                    <a:pt x="63" y="314"/>
                  </a:lnTo>
                  <a:lnTo>
                    <a:pt x="66" y="314"/>
                  </a:lnTo>
                  <a:lnTo>
                    <a:pt x="70" y="314"/>
                  </a:lnTo>
                  <a:lnTo>
                    <a:pt x="165" y="263"/>
                  </a:lnTo>
                  <a:lnTo>
                    <a:pt x="260" y="314"/>
                  </a:lnTo>
                  <a:lnTo>
                    <a:pt x="260" y="314"/>
                  </a:lnTo>
                  <a:lnTo>
                    <a:pt x="263" y="314"/>
                  </a:lnTo>
                  <a:lnTo>
                    <a:pt x="263" y="314"/>
                  </a:lnTo>
                  <a:lnTo>
                    <a:pt x="267" y="314"/>
                  </a:lnTo>
                  <a:lnTo>
                    <a:pt x="267" y="314"/>
                  </a:lnTo>
                  <a:lnTo>
                    <a:pt x="268" y="312"/>
                  </a:lnTo>
                  <a:lnTo>
                    <a:pt x="268" y="308"/>
                  </a:lnTo>
                  <a:lnTo>
                    <a:pt x="251" y="202"/>
                  </a:lnTo>
                  <a:lnTo>
                    <a:pt x="329" y="126"/>
                  </a:lnTo>
                  <a:lnTo>
                    <a:pt x="329" y="126"/>
                  </a:lnTo>
                  <a:lnTo>
                    <a:pt x="330" y="124"/>
                  </a:lnTo>
                  <a:lnTo>
                    <a:pt x="330" y="120"/>
                  </a:lnTo>
                  <a:lnTo>
                    <a:pt x="33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7" name="Group 26">
            <a:extLst>
              <a:ext uri="{FF2B5EF4-FFF2-40B4-BE49-F238E27FC236}">
                <a16:creationId xmlns:a16="http://schemas.microsoft.com/office/drawing/2014/main" id="{54954E3F-F75A-4511-B5B2-975DB18DDF06}"/>
              </a:ext>
            </a:extLst>
          </p:cNvPr>
          <p:cNvGrpSpPr>
            <a:grpSpLocks noChangeAspect="1"/>
          </p:cNvGrpSpPr>
          <p:nvPr/>
        </p:nvGrpSpPr>
        <p:grpSpPr>
          <a:xfrm>
            <a:off x="899413" y="2923620"/>
            <a:ext cx="357814" cy="356730"/>
            <a:chOff x="5834063" y="3342323"/>
            <a:chExt cx="523875" cy="522288"/>
          </a:xfrm>
        </p:grpSpPr>
        <p:sp>
          <p:nvSpPr>
            <p:cNvPr id="28" name="Freeform 56">
              <a:extLst>
                <a:ext uri="{FF2B5EF4-FFF2-40B4-BE49-F238E27FC236}">
                  <a16:creationId xmlns:a16="http://schemas.microsoft.com/office/drawing/2014/main" id="{D6EFE28D-CACB-4E17-BE19-AAEBE9F2DB22}"/>
                </a:ext>
              </a:extLst>
            </p:cNvPr>
            <p:cNvSpPr>
              <a:spLocks noEditPoints="1"/>
            </p:cNvSpPr>
            <p:nvPr/>
          </p:nvSpPr>
          <p:spPr bwMode="auto">
            <a:xfrm>
              <a:off x="5834063" y="3342323"/>
              <a:ext cx="523875" cy="522288"/>
            </a:xfrm>
            <a:custGeom>
              <a:avLst/>
              <a:gdLst>
                <a:gd name="T0" fmla="*/ 312 w 658"/>
                <a:gd name="T1" fmla="*/ 658 h 659"/>
                <a:gd name="T2" fmla="*/ 262 w 658"/>
                <a:gd name="T3" fmla="*/ 652 h 659"/>
                <a:gd name="T4" fmla="*/ 201 w 658"/>
                <a:gd name="T5" fmla="*/ 632 h 659"/>
                <a:gd name="T6" fmla="*/ 119 w 658"/>
                <a:gd name="T7" fmla="*/ 584 h 659"/>
                <a:gd name="T8" fmla="*/ 56 w 658"/>
                <a:gd name="T9" fmla="*/ 514 h 659"/>
                <a:gd name="T10" fmla="*/ 15 w 658"/>
                <a:gd name="T11" fmla="*/ 428 h 659"/>
                <a:gd name="T12" fmla="*/ 4 w 658"/>
                <a:gd name="T13" fmla="*/ 379 h 659"/>
                <a:gd name="T14" fmla="*/ 0 w 658"/>
                <a:gd name="T15" fmla="*/ 330 h 659"/>
                <a:gd name="T16" fmla="*/ 1 w 658"/>
                <a:gd name="T17" fmla="*/ 296 h 659"/>
                <a:gd name="T18" fmla="*/ 10 w 658"/>
                <a:gd name="T19" fmla="*/ 248 h 659"/>
                <a:gd name="T20" fmla="*/ 40 w 658"/>
                <a:gd name="T21" fmla="*/ 172 h 659"/>
                <a:gd name="T22" fmla="*/ 96 w 658"/>
                <a:gd name="T23" fmla="*/ 97 h 659"/>
                <a:gd name="T24" fmla="*/ 172 w 658"/>
                <a:gd name="T25" fmla="*/ 41 h 659"/>
                <a:gd name="T26" fmla="*/ 247 w 658"/>
                <a:gd name="T27" fmla="*/ 11 h 659"/>
                <a:gd name="T28" fmla="*/ 295 w 658"/>
                <a:gd name="T29" fmla="*/ 2 h 659"/>
                <a:gd name="T30" fmla="*/ 329 w 658"/>
                <a:gd name="T31" fmla="*/ 0 h 659"/>
                <a:gd name="T32" fmla="*/ 379 w 658"/>
                <a:gd name="T33" fmla="*/ 4 h 659"/>
                <a:gd name="T34" fmla="*/ 426 w 658"/>
                <a:gd name="T35" fmla="*/ 15 h 659"/>
                <a:gd name="T36" fmla="*/ 513 w 658"/>
                <a:gd name="T37" fmla="*/ 57 h 659"/>
                <a:gd name="T38" fmla="*/ 583 w 658"/>
                <a:gd name="T39" fmla="*/ 120 h 659"/>
                <a:gd name="T40" fmla="*/ 631 w 658"/>
                <a:gd name="T41" fmla="*/ 202 h 659"/>
                <a:gd name="T42" fmla="*/ 652 w 658"/>
                <a:gd name="T43" fmla="*/ 264 h 659"/>
                <a:gd name="T44" fmla="*/ 657 w 658"/>
                <a:gd name="T45" fmla="*/ 312 h 659"/>
                <a:gd name="T46" fmla="*/ 657 w 658"/>
                <a:gd name="T47" fmla="*/ 347 h 659"/>
                <a:gd name="T48" fmla="*/ 652 w 658"/>
                <a:gd name="T49" fmla="*/ 396 h 659"/>
                <a:gd name="T50" fmla="*/ 631 w 658"/>
                <a:gd name="T51" fmla="*/ 457 h 659"/>
                <a:gd name="T52" fmla="*/ 583 w 658"/>
                <a:gd name="T53" fmla="*/ 539 h 659"/>
                <a:gd name="T54" fmla="*/ 513 w 658"/>
                <a:gd name="T55" fmla="*/ 603 h 659"/>
                <a:gd name="T56" fmla="*/ 426 w 658"/>
                <a:gd name="T57" fmla="*/ 644 h 659"/>
                <a:gd name="T58" fmla="*/ 379 w 658"/>
                <a:gd name="T59" fmla="*/ 655 h 659"/>
                <a:gd name="T60" fmla="*/ 329 w 658"/>
                <a:gd name="T61" fmla="*/ 659 h 659"/>
                <a:gd name="T62" fmla="*/ 329 w 658"/>
                <a:gd name="T63" fmla="*/ 38 h 659"/>
                <a:gd name="T64" fmla="*/ 242 w 658"/>
                <a:gd name="T65" fmla="*/ 51 h 659"/>
                <a:gd name="T66" fmla="*/ 166 w 658"/>
                <a:gd name="T67" fmla="*/ 88 h 659"/>
                <a:gd name="T68" fmla="*/ 105 w 658"/>
                <a:gd name="T69" fmla="*/ 144 h 659"/>
                <a:gd name="T70" fmla="*/ 60 w 658"/>
                <a:gd name="T71" fmla="*/ 217 h 659"/>
                <a:gd name="T72" fmla="*/ 39 w 658"/>
                <a:gd name="T73" fmla="*/ 300 h 659"/>
                <a:gd name="T74" fmla="*/ 39 w 658"/>
                <a:gd name="T75" fmla="*/ 359 h 659"/>
                <a:gd name="T76" fmla="*/ 60 w 658"/>
                <a:gd name="T77" fmla="*/ 443 h 659"/>
                <a:gd name="T78" fmla="*/ 105 w 658"/>
                <a:gd name="T79" fmla="*/ 515 h 659"/>
                <a:gd name="T80" fmla="*/ 166 w 658"/>
                <a:gd name="T81" fmla="*/ 572 h 659"/>
                <a:gd name="T82" fmla="*/ 242 w 658"/>
                <a:gd name="T83" fmla="*/ 608 h 659"/>
                <a:gd name="T84" fmla="*/ 329 w 658"/>
                <a:gd name="T85" fmla="*/ 621 h 659"/>
                <a:gd name="T86" fmla="*/ 387 w 658"/>
                <a:gd name="T87" fmla="*/ 615 h 659"/>
                <a:gd name="T88" fmla="*/ 467 w 658"/>
                <a:gd name="T89" fmla="*/ 586 h 659"/>
                <a:gd name="T90" fmla="*/ 535 w 658"/>
                <a:gd name="T91" fmla="*/ 535 h 659"/>
                <a:gd name="T92" fmla="*/ 584 w 658"/>
                <a:gd name="T93" fmla="*/ 468 h 659"/>
                <a:gd name="T94" fmla="*/ 614 w 658"/>
                <a:gd name="T95" fmla="*/ 389 h 659"/>
                <a:gd name="T96" fmla="*/ 621 w 658"/>
                <a:gd name="T97" fmla="*/ 330 h 659"/>
                <a:gd name="T98" fmla="*/ 607 w 658"/>
                <a:gd name="T99" fmla="*/ 244 h 659"/>
                <a:gd name="T100" fmla="*/ 570 w 658"/>
                <a:gd name="T101" fmla="*/ 167 h 659"/>
                <a:gd name="T102" fmla="*/ 514 w 658"/>
                <a:gd name="T103" fmla="*/ 105 h 659"/>
                <a:gd name="T104" fmla="*/ 442 w 658"/>
                <a:gd name="T105" fmla="*/ 61 h 659"/>
                <a:gd name="T106" fmla="*/ 359 w 658"/>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2" y="658"/>
                  </a:lnTo>
                  <a:lnTo>
                    <a:pt x="295" y="656"/>
                  </a:lnTo>
                  <a:lnTo>
                    <a:pt x="279" y="655"/>
                  </a:lnTo>
                  <a:lnTo>
                    <a:pt x="262" y="652"/>
                  </a:lnTo>
                  <a:lnTo>
                    <a:pt x="247" y="648"/>
                  </a:lnTo>
                  <a:lnTo>
                    <a:pt x="231" y="644"/>
                  </a:lnTo>
                  <a:lnTo>
                    <a:pt x="201" y="632"/>
                  </a:lnTo>
                  <a:lnTo>
                    <a:pt x="172" y="619"/>
                  </a:lnTo>
                  <a:lnTo>
                    <a:pt x="145" y="603"/>
                  </a:lnTo>
                  <a:lnTo>
                    <a:pt x="119" y="584"/>
                  </a:lnTo>
                  <a:lnTo>
                    <a:pt x="96" y="562"/>
                  </a:lnTo>
                  <a:lnTo>
                    <a:pt x="75" y="539"/>
                  </a:lnTo>
                  <a:lnTo>
                    <a:pt x="56" y="514"/>
                  </a:lnTo>
                  <a:lnTo>
                    <a:pt x="40" y="487"/>
                  </a:lnTo>
                  <a:lnTo>
                    <a:pt x="25" y="457"/>
                  </a:lnTo>
                  <a:lnTo>
                    <a:pt x="15" y="428"/>
                  </a:lnTo>
                  <a:lnTo>
                    <a:pt x="10" y="412"/>
                  </a:lnTo>
                  <a:lnTo>
                    <a:pt x="6" y="396"/>
                  </a:lnTo>
                  <a:lnTo>
                    <a:pt x="4" y="379"/>
                  </a:lnTo>
                  <a:lnTo>
                    <a:pt x="1" y="363"/>
                  </a:lnTo>
                  <a:lnTo>
                    <a:pt x="0" y="347"/>
                  </a:lnTo>
                  <a:lnTo>
                    <a:pt x="0" y="330"/>
                  </a:lnTo>
                  <a:lnTo>
                    <a:pt x="0" y="330"/>
                  </a:lnTo>
                  <a:lnTo>
                    <a:pt x="0" y="312"/>
                  </a:lnTo>
                  <a:lnTo>
                    <a:pt x="1" y="296"/>
                  </a:lnTo>
                  <a:lnTo>
                    <a:pt x="4" y="280"/>
                  </a:lnTo>
                  <a:lnTo>
                    <a:pt x="6" y="264"/>
                  </a:lnTo>
                  <a:lnTo>
                    <a:pt x="10" y="248"/>
                  </a:lnTo>
                  <a:lnTo>
                    <a:pt x="15" y="232"/>
                  </a:lnTo>
                  <a:lnTo>
                    <a:pt x="25" y="202"/>
                  </a:lnTo>
                  <a:lnTo>
                    <a:pt x="40" y="172"/>
                  </a:lnTo>
                  <a:lnTo>
                    <a:pt x="56" y="146"/>
                  </a:lnTo>
                  <a:lnTo>
                    <a:pt x="75" y="120"/>
                  </a:lnTo>
                  <a:lnTo>
                    <a:pt x="96" y="97"/>
                  </a:lnTo>
                  <a:lnTo>
                    <a:pt x="119" y="76"/>
                  </a:lnTo>
                  <a:lnTo>
                    <a:pt x="145" y="57"/>
                  </a:lnTo>
                  <a:lnTo>
                    <a:pt x="172" y="41"/>
                  </a:lnTo>
                  <a:lnTo>
                    <a:pt x="201" y="26"/>
                  </a:lnTo>
                  <a:lnTo>
                    <a:pt x="231" y="15"/>
                  </a:lnTo>
                  <a:lnTo>
                    <a:pt x="247" y="11"/>
                  </a:lnTo>
                  <a:lnTo>
                    <a:pt x="262" y="7"/>
                  </a:lnTo>
                  <a:lnTo>
                    <a:pt x="279" y="4"/>
                  </a:lnTo>
                  <a:lnTo>
                    <a:pt x="295" y="2"/>
                  </a:lnTo>
                  <a:lnTo>
                    <a:pt x="312" y="2"/>
                  </a:lnTo>
                  <a:lnTo>
                    <a:pt x="329" y="0"/>
                  </a:lnTo>
                  <a:lnTo>
                    <a:pt x="329" y="0"/>
                  </a:lnTo>
                  <a:lnTo>
                    <a:pt x="345" y="2"/>
                  </a:lnTo>
                  <a:lnTo>
                    <a:pt x="363" y="2"/>
                  </a:lnTo>
                  <a:lnTo>
                    <a:pt x="379" y="4"/>
                  </a:lnTo>
                  <a:lnTo>
                    <a:pt x="395" y="7"/>
                  </a:lnTo>
                  <a:lnTo>
                    <a:pt x="411" y="11"/>
                  </a:lnTo>
                  <a:lnTo>
                    <a:pt x="426" y="15"/>
                  </a:lnTo>
                  <a:lnTo>
                    <a:pt x="457" y="26"/>
                  </a:lnTo>
                  <a:lnTo>
                    <a:pt x="485" y="41"/>
                  </a:lnTo>
                  <a:lnTo>
                    <a:pt x="513" y="57"/>
                  </a:lnTo>
                  <a:lnTo>
                    <a:pt x="537" y="76"/>
                  </a:lnTo>
                  <a:lnTo>
                    <a:pt x="562" y="97"/>
                  </a:lnTo>
                  <a:lnTo>
                    <a:pt x="583" y="120"/>
                  </a:lnTo>
                  <a:lnTo>
                    <a:pt x="602" y="146"/>
                  </a:lnTo>
                  <a:lnTo>
                    <a:pt x="618" y="172"/>
                  </a:lnTo>
                  <a:lnTo>
                    <a:pt x="631" y="202"/>
                  </a:lnTo>
                  <a:lnTo>
                    <a:pt x="643" y="232"/>
                  </a:lnTo>
                  <a:lnTo>
                    <a:pt x="648" y="248"/>
                  </a:lnTo>
                  <a:lnTo>
                    <a:pt x="652" y="264"/>
                  </a:lnTo>
                  <a:lnTo>
                    <a:pt x="654" y="280"/>
                  </a:lnTo>
                  <a:lnTo>
                    <a:pt x="656" y="296"/>
                  </a:lnTo>
                  <a:lnTo>
                    <a:pt x="657" y="312"/>
                  </a:lnTo>
                  <a:lnTo>
                    <a:pt x="658" y="330"/>
                  </a:lnTo>
                  <a:lnTo>
                    <a:pt x="658" y="330"/>
                  </a:lnTo>
                  <a:lnTo>
                    <a:pt x="657" y="347"/>
                  </a:lnTo>
                  <a:lnTo>
                    <a:pt x="656" y="363"/>
                  </a:lnTo>
                  <a:lnTo>
                    <a:pt x="654" y="379"/>
                  </a:lnTo>
                  <a:lnTo>
                    <a:pt x="652" y="396"/>
                  </a:lnTo>
                  <a:lnTo>
                    <a:pt x="648" y="412"/>
                  </a:lnTo>
                  <a:lnTo>
                    <a:pt x="643" y="428"/>
                  </a:lnTo>
                  <a:lnTo>
                    <a:pt x="631" y="457"/>
                  </a:lnTo>
                  <a:lnTo>
                    <a:pt x="618" y="487"/>
                  </a:lnTo>
                  <a:lnTo>
                    <a:pt x="602" y="514"/>
                  </a:lnTo>
                  <a:lnTo>
                    <a:pt x="583" y="539"/>
                  </a:lnTo>
                  <a:lnTo>
                    <a:pt x="562" y="562"/>
                  </a:lnTo>
                  <a:lnTo>
                    <a:pt x="537" y="584"/>
                  </a:lnTo>
                  <a:lnTo>
                    <a:pt x="513" y="603"/>
                  </a:lnTo>
                  <a:lnTo>
                    <a:pt x="485" y="619"/>
                  </a:lnTo>
                  <a:lnTo>
                    <a:pt x="457" y="632"/>
                  </a:lnTo>
                  <a:lnTo>
                    <a:pt x="426" y="644"/>
                  </a:lnTo>
                  <a:lnTo>
                    <a:pt x="411" y="648"/>
                  </a:lnTo>
                  <a:lnTo>
                    <a:pt x="395" y="652"/>
                  </a:lnTo>
                  <a:lnTo>
                    <a:pt x="379" y="655"/>
                  </a:lnTo>
                  <a:lnTo>
                    <a:pt x="363" y="656"/>
                  </a:lnTo>
                  <a:lnTo>
                    <a:pt x="345" y="658"/>
                  </a:lnTo>
                  <a:lnTo>
                    <a:pt x="329" y="659"/>
                  </a:lnTo>
                  <a:lnTo>
                    <a:pt x="329" y="659"/>
                  </a:lnTo>
                  <a:close/>
                  <a:moveTo>
                    <a:pt x="329" y="38"/>
                  </a:moveTo>
                  <a:lnTo>
                    <a:pt x="329" y="38"/>
                  </a:lnTo>
                  <a:lnTo>
                    <a:pt x="299" y="39"/>
                  </a:lnTo>
                  <a:lnTo>
                    <a:pt x="270" y="45"/>
                  </a:lnTo>
                  <a:lnTo>
                    <a:pt x="242" y="51"/>
                  </a:lnTo>
                  <a:lnTo>
                    <a:pt x="215" y="61"/>
                  </a:lnTo>
                  <a:lnTo>
                    <a:pt x="191" y="73"/>
                  </a:lnTo>
                  <a:lnTo>
                    <a:pt x="166" y="88"/>
                  </a:lnTo>
                  <a:lnTo>
                    <a:pt x="144" y="105"/>
                  </a:lnTo>
                  <a:lnTo>
                    <a:pt x="123" y="124"/>
                  </a:lnTo>
                  <a:lnTo>
                    <a:pt x="105" y="144"/>
                  </a:lnTo>
                  <a:lnTo>
                    <a:pt x="87" y="167"/>
                  </a:lnTo>
                  <a:lnTo>
                    <a:pt x="72" y="191"/>
                  </a:lnTo>
                  <a:lnTo>
                    <a:pt x="60" y="217"/>
                  </a:lnTo>
                  <a:lnTo>
                    <a:pt x="51" y="244"/>
                  </a:lnTo>
                  <a:lnTo>
                    <a:pt x="43" y="271"/>
                  </a:lnTo>
                  <a:lnTo>
                    <a:pt x="39" y="300"/>
                  </a:lnTo>
                  <a:lnTo>
                    <a:pt x="37" y="330"/>
                  </a:lnTo>
                  <a:lnTo>
                    <a:pt x="37" y="330"/>
                  </a:lnTo>
                  <a:lnTo>
                    <a:pt x="39" y="359"/>
                  </a:lnTo>
                  <a:lnTo>
                    <a:pt x="43" y="389"/>
                  </a:lnTo>
                  <a:lnTo>
                    <a:pt x="51" y="416"/>
                  </a:lnTo>
                  <a:lnTo>
                    <a:pt x="60" y="443"/>
                  </a:lnTo>
                  <a:lnTo>
                    <a:pt x="72" y="468"/>
                  </a:lnTo>
                  <a:lnTo>
                    <a:pt x="87" y="492"/>
                  </a:lnTo>
                  <a:lnTo>
                    <a:pt x="105" y="515"/>
                  </a:lnTo>
                  <a:lnTo>
                    <a:pt x="123" y="535"/>
                  </a:lnTo>
                  <a:lnTo>
                    <a:pt x="144" y="554"/>
                  </a:lnTo>
                  <a:lnTo>
                    <a:pt x="166" y="572"/>
                  </a:lnTo>
                  <a:lnTo>
                    <a:pt x="191" y="586"/>
                  </a:lnTo>
                  <a:lnTo>
                    <a:pt x="215" y="598"/>
                  </a:lnTo>
                  <a:lnTo>
                    <a:pt x="242" y="608"/>
                  </a:lnTo>
                  <a:lnTo>
                    <a:pt x="270" y="615"/>
                  </a:lnTo>
                  <a:lnTo>
                    <a:pt x="299" y="620"/>
                  </a:lnTo>
                  <a:lnTo>
                    <a:pt x="329" y="621"/>
                  </a:lnTo>
                  <a:lnTo>
                    <a:pt x="329" y="621"/>
                  </a:lnTo>
                  <a:lnTo>
                    <a:pt x="359" y="620"/>
                  </a:lnTo>
                  <a:lnTo>
                    <a:pt x="387" y="615"/>
                  </a:lnTo>
                  <a:lnTo>
                    <a:pt x="415" y="608"/>
                  </a:lnTo>
                  <a:lnTo>
                    <a:pt x="442" y="598"/>
                  </a:lnTo>
                  <a:lnTo>
                    <a:pt x="467" y="586"/>
                  </a:lnTo>
                  <a:lnTo>
                    <a:pt x="492" y="572"/>
                  </a:lnTo>
                  <a:lnTo>
                    <a:pt x="514" y="554"/>
                  </a:lnTo>
                  <a:lnTo>
                    <a:pt x="535" y="535"/>
                  </a:lnTo>
                  <a:lnTo>
                    <a:pt x="553" y="515"/>
                  </a:lnTo>
                  <a:lnTo>
                    <a:pt x="570" y="492"/>
                  </a:lnTo>
                  <a:lnTo>
                    <a:pt x="584" y="468"/>
                  </a:lnTo>
                  <a:lnTo>
                    <a:pt x="596" y="443"/>
                  </a:lnTo>
                  <a:lnTo>
                    <a:pt x="607" y="416"/>
                  </a:lnTo>
                  <a:lnTo>
                    <a:pt x="614" y="389"/>
                  </a:lnTo>
                  <a:lnTo>
                    <a:pt x="618" y="359"/>
                  </a:lnTo>
                  <a:lnTo>
                    <a:pt x="621" y="330"/>
                  </a:lnTo>
                  <a:lnTo>
                    <a:pt x="621" y="330"/>
                  </a:lnTo>
                  <a:lnTo>
                    <a:pt x="618" y="300"/>
                  </a:lnTo>
                  <a:lnTo>
                    <a:pt x="614" y="271"/>
                  </a:lnTo>
                  <a:lnTo>
                    <a:pt x="607" y="244"/>
                  </a:lnTo>
                  <a:lnTo>
                    <a:pt x="596" y="217"/>
                  </a:lnTo>
                  <a:lnTo>
                    <a:pt x="584" y="191"/>
                  </a:lnTo>
                  <a:lnTo>
                    <a:pt x="570" y="167"/>
                  </a:lnTo>
                  <a:lnTo>
                    <a:pt x="553" y="144"/>
                  </a:lnTo>
                  <a:lnTo>
                    <a:pt x="535" y="124"/>
                  </a:lnTo>
                  <a:lnTo>
                    <a:pt x="514" y="105"/>
                  </a:lnTo>
                  <a:lnTo>
                    <a:pt x="492" y="88"/>
                  </a:lnTo>
                  <a:lnTo>
                    <a:pt x="467" y="73"/>
                  </a:lnTo>
                  <a:lnTo>
                    <a:pt x="442" y="61"/>
                  </a:lnTo>
                  <a:lnTo>
                    <a:pt x="415" y="51"/>
                  </a:lnTo>
                  <a:lnTo>
                    <a:pt x="387" y="45"/>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9" name="Freeform 217">
              <a:extLst>
                <a:ext uri="{FF2B5EF4-FFF2-40B4-BE49-F238E27FC236}">
                  <a16:creationId xmlns:a16="http://schemas.microsoft.com/office/drawing/2014/main" id="{7CFCDF27-2A21-4058-8B52-51B75486B48E}"/>
                </a:ext>
              </a:extLst>
            </p:cNvPr>
            <p:cNvSpPr>
              <a:spLocks/>
            </p:cNvSpPr>
            <p:nvPr/>
          </p:nvSpPr>
          <p:spPr bwMode="auto">
            <a:xfrm>
              <a:off x="5964238" y="3467735"/>
              <a:ext cx="263525" cy="249238"/>
            </a:xfrm>
            <a:custGeom>
              <a:avLst/>
              <a:gdLst>
                <a:gd name="T0" fmla="*/ 330 w 330"/>
                <a:gd name="T1" fmla="*/ 120 h 314"/>
                <a:gd name="T2" fmla="*/ 330 w 330"/>
                <a:gd name="T3" fmla="*/ 120 h 314"/>
                <a:gd name="T4" fmla="*/ 328 w 330"/>
                <a:gd name="T5" fmla="*/ 117 h 314"/>
                <a:gd name="T6" fmla="*/ 325 w 330"/>
                <a:gd name="T7" fmla="*/ 116 h 314"/>
                <a:gd name="T8" fmla="*/ 217 w 330"/>
                <a:gd name="T9" fmla="*/ 101 h 314"/>
                <a:gd name="T10" fmla="*/ 170 w 330"/>
                <a:gd name="T11" fmla="*/ 4 h 314"/>
                <a:gd name="T12" fmla="*/ 170 w 330"/>
                <a:gd name="T13" fmla="*/ 4 h 314"/>
                <a:gd name="T14" fmla="*/ 168 w 330"/>
                <a:gd name="T15" fmla="*/ 1 h 314"/>
                <a:gd name="T16" fmla="*/ 165 w 330"/>
                <a:gd name="T17" fmla="*/ 0 h 314"/>
                <a:gd name="T18" fmla="*/ 162 w 330"/>
                <a:gd name="T19" fmla="*/ 1 h 314"/>
                <a:gd name="T20" fmla="*/ 160 w 330"/>
                <a:gd name="T21" fmla="*/ 4 h 314"/>
                <a:gd name="T22" fmla="*/ 111 w 330"/>
                <a:gd name="T23" fmla="*/ 101 h 314"/>
                <a:gd name="T24" fmla="*/ 5 w 330"/>
                <a:gd name="T25" fmla="*/ 116 h 314"/>
                <a:gd name="T26" fmla="*/ 5 w 330"/>
                <a:gd name="T27" fmla="*/ 116 h 314"/>
                <a:gd name="T28" fmla="*/ 2 w 330"/>
                <a:gd name="T29" fmla="*/ 117 h 314"/>
                <a:gd name="T30" fmla="*/ 0 w 330"/>
                <a:gd name="T31" fmla="*/ 120 h 314"/>
                <a:gd name="T32" fmla="*/ 0 w 330"/>
                <a:gd name="T33" fmla="*/ 120 h 314"/>
                <a:gd name="T34" fmla="*/ 0 w 330"/>
                <a:gd name="T35" fmla="*/ 124 h 314"/>
                <a:gd name="T36" fmla="*/ 1 w 330"/>
                <a:gd name="T37" fmla="*/ 126 h 314"/>
                <a:gd name="T38" fmla="*/ 79 w 330"/>
                <a:gd name="T39" fmla="*/ 202 h 314"/>
                <a:gd name="T40" fmla="*/ 60 w 330"/>
                <a:gd name="T41" fmla="*/ 308 h 314"/>
                <a:gd name="T42" fmla="*/ 60 w 330"/>
                <a:gd name="T43" fmla="*/ 308 h 314"/>
                <a:gd name="T44" fmla="*/ 62 w 330"/>
                <a:gd name="T45" fmla="*/ 312 h 314"/>
                <a:gd name="T46" fmla="*/ 63 w 330"/>
                <a:gd name="T47" fmla="*/ 314 h 314"/>
                <a:gd name="T48" fmla="*/ 63 w 330"/>
                <a:gd name="T49" fmla="*/ 314 h 314"/>
                <a:gd name="T50" fmla="*/ 66 w 330"/>
                <a:gd name="T51" fmla="*/ 314 h 314"/>
                <a:gd name="T52" fmla="*/ 70 w 330"/>
                <a:gd name="T53" fmla="*/ 314 h 314"/>
                <a:gd name="T54" fmla="*/ 165 w 330"/>
                <a:gd name="T55" fmla="*/ 263 h 314"/>
                <a:gd name="T56" fmla="*/ 260 w 330"/>
                <a:gd name="T57" fmla="*/ 314 h 314"/>
                <a:gd name="T58" fmla="*/ 260 w 330"/>
                <a:gd name="T59" fmla="*/ 314 h 314"/>
                <a:gd name="T60" fmla="*/ 263 w 330"/>
                <a:gd name="T61" fmla="*/ 314 h 314"/>
                <a:gd name="T62" fmla="*/ 263 w 330"/>
                <a:gd name="T63" fmla="*/ 314 h 314"/>
                <a:gd name="T64" fmla="*/ 267 w 330"/>
                <a:gd name="T65" fmla="*/ 314 h 314"/>
                <a:gd name="T66" fmla="*/ 267 w 330"/>
                <a:gd name="T67" fmla="*/ 314 h 314"/>
                <a:gd name="T68" fmla="*/ 268 w 330"/>
                <a:gd name="T69" fmla="*/ 312 h 314"/>
                <a:gd name="T70" fmla="*/ 268 w 330"/>
                <a:gd name="T71" fmla="*/ 308 h 314"/>
                <a:gd name="T72" fmla="*/ 251 w 330"/>
                <a:gd name="T73" fmla="*/ 202 h 314"/>
                <a:gd name="T74" fmla="*/ 329 w 330"/>
                <a:gd name="T75" fmla="*/ 126 h 314"/>
                <a:gd name="T76" fmla="*/ 329 w 330"/>
                <a:gd name="T77" fmla="*/ 126 h 314"/>
                <a:gd name="T78" fmla="*/ 330 w 330"/>
                <a:gd name="T79" fmla="*/ 124 h 314"/>
                <a:gd name="T80" fmla="*/ 330 w 330"/>
                <a:gd name="T81" fmla="*/ 120 h 314"/>
                <a:gd name="T82" fmla="*/ 330 w 330"/>
                <a:gd name="T83" fmla="*/ 12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0" h="314">
                  <a:moveTo>
                    <a:pt x="330" y="120"/>
                  </a:moveTo>
                  <a:lnTo>
                    <a:pt x="330" y="120"/>
                  </a:lnTo>
                  <a:lnTo>
                    <a:pt x="328" y="117"/>
                  </a:lnTo>
                  <a:lnTo>
                    <a:pt x="325" y="116"/>
                  </a:lnTo>
                  <a:lnTo>
                    <a:pt x="217" y="101"/>
                  </a:lnTo>
                  <a:lnTo>
                    <a:pt x="170" y="4"/>
                  </a:lnTo>
                  <a:lnTo>
                    <a:pt x="170" y="4"/>
                  </a:lnTo>
                  <a:lnTo>
                    <a:pt x="168" y="1"/>
                  </a:lnTo>
                  <a:lnTo>
                    <a:pt x="165" y="0"/>
                  </a:lnTo>
                  <a:lnTo>
                    <a:pt x="162" y="1"/>
                  </a:lnTo>
                  <a:lnTo>
                    <a:pt x="160" y="4"/>
                  </a:lnTo>
                  <a:lnTo>
                    <a:pt x="111" y="101"/>
                  </a:lnTo>
                  <a:lnTo>
                    <a:pt x="5" y="116"/>
                  </a:lnTo>
                  <a:lnTo>
                    <a:pt x="5" y="116"/>
                  </a:lnTo>
                  <a:lnTo>
                    <a:pt x="2" y="117"/>
                  </a:lnTo>
                  <a:lnTo>
                    <a:pt x="0" y="120"/>
                  </a:lnTo>
                  <a:lnTo>
                    <a:pt x="0" y="120"/>
                  </a:lnTo>
                  <a:lnTo>
                    <a:pt x="0" y="124"/>
                  </a:lnTo>
                  <a:lnTo>
                    <a:pt x="1" y="126"/>
                  </a:lnTo>
                  <a:lnTo>
                    <a:pt x="79" y="202"/>
                  </a:lnTo>
                  <a:lnTo>
                    <a:pt x="60" y="308"/>
                  </a:lnTo>
                  <a:lnTo>
                    <a:pt x="60" y="308"/>
                  </a:lnTo>
                  <a:lnTo>
                    <a:pt x="62" y="312"/>
                  </a:lnTo>
                  <a:lnTo>
                    <a:pt x="63" y="314"/>
                  </a:lnTo>
                  <a:lnTo>
                    <a:pt x="63" y="314"/>
                  </a:lnTo>
                  <a:lnTo>
                    <a:pt x="66" y="314"/>
                  </a:lnTo>
                  <a:lnTo>
                    <a:pt x="70" y="314"/>
                  </a:lnTo>
                  <a:lnTo>
                    <a:pt x="165" y="263"/>
                  </a:lnTo>
                  <a:lnTo>
                    <a:pt x="260" y="314"/>
                  </a:lnTo>
                  <a:lnTo>
                    <a:pt x="260" y="314"/>
                  </a:lnTo>
                  <a:lnTo>
                    <a:pt x="263" y="314"/>
                  </a:lnTo>
                  <a:lnTo>
                    <a:pt x="263" y="314"/>
                  </a:lnTo>
                  <a:lnTo>
                    <a:pt x="267" y="314"/>
                  </a:lnTo>
                  <a:lnTo>
                    <a:pt x="267" y="314"/>
                  </a:lnTo>
                  <a:lnTo>
                    <a:pt x="268" y="312"/>
                  </a:lnTo>
                  <a:lnTo>
                    <a:pt x="268" y="308"/>
                  </a:lnTo>
                  <a:lnTo>
                    <a:pt x="251" y="202"/>
                  </a:lnTo>
                  <a:lnTo>
                    <a:pt x="329" y="126"/>
                  </a:lnTo>
                  <a:lnTo>
                    <a:pt x="329" y="126"/>
                  </a:lnTo>
                  <a:lnTo>
                    <a:pt x="330" y="124"/>
                  </a:lnTo>
                  <a:lnTo>
                    <a:pt x="330" y="120"/>
                  </a:lnTo>
                  <a:lnTo>
                    <a:pt x="33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30" name="TextBox 29">
            <a:extLst>
              <a:ext uri="{FF2B5EF4-FFF2-40B4-BE49-F238E27FC236}">
                <a16:creationId xmlns:a16="http://schemas.microsoft.com/office/drawing/2014/main" id="{F3954D35-C66D-41DD-BF5A-7488DAF04942}"/>
              </a:ext>
            </a:extLst>
          </p:cNvPr>
          <p:cNvSpPr txBox="1"/>
          <p:nvPr/>
        </p:nvSpPr>
        <p:spPr>
          <a:xfrm>
            <a:off x="983863" y="3966142"/>
            <a:ext cx="1899377" cy="246221"/>
          </a:xfrm>
          <a:prstGeom prst="rect">
            <a:avLst/>
          </a:prstGeom>
          <a:solidFill>
            <a:schemeClr val="bg1">
              <a:lumMod val="95000"/>
            </a:schemeClr>
          </a:solid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Open Sans"/>
                <a:ea typeface="+mn-ea"/>
                <a:cs typeface="+mn-cs"/>
              </a:rPr>
              <a:t>JOURNEY MAPPING (5 WEEKS)</a:t>
            </a:r>
          </a:p>
        </p:txBody>
      </p:sp>
      <p:cxnSp>
        <p:nvCxnSpPr>
          <p:cNvPr id="31" name="Straight Connector 30">
            <a:extLst>
              <a:ext uri="{FF2B5EF4-FFF2-40B4-BE49-F238E27FC236}">
                <a16:creationId xmlns:a16="http://schemas.microsoft.com/office/drawing/2014/main" id="{F5A54A18-446D-443A-AD44-3F0967785CBD}"/>
              </a:ext>
            </a:extLst>
          </p:cNvPr>
          <p:cNvCxnSpPr>
            <a:cxnSpLocks/>
            <a:stCxn id="36" idx="2"/>
          </p:cNvCxnSpPr>
          <p:nvPr/>
        </p:nvCxnSpPr>
        <p:spPr>
          <a:xfrm flipH="1">
            <a:off x="1060518" y="3929299"/>
            <a:ext cx="8252702" cy="5419"/>
          </a:xfrm>
          <a:prstGeom prst="line">
            <a:avLst/>
          </a:prstGeom>
          <a:noFill/>
          <a:ln w="28575" cap="flat" cmpd="sng" algn="ctr">
            <a:solidFill>
              <a:schemeClr val="accent1"/>
            </a:solidFill>
            <a:prstDash val="solid"/>
            <a:miter lim="800000"/>
          </a:ln>
          <a:effectLst/>
        </p:spPr>
      </p:cxnSp>
      <p:sp>
        <p:nvSpPr>
          <p:cNvPr id="32" name="Rectangle 31">
            <a:extLst>
              <a:ext uri="{FF2B5EF4-FFF2-40B4-BE49-F238E27FC236}">
                <a16:creationId xmlns:a16="http://schemas.microsoft.com/office/drawing/2014/main" id="{803B7D50-16C1-413D-8FC8-D4B60B92DC09}"/>
              </a:ext>
            </a:extLst>
          </p:cNvPr>
          <p:cNvSpPr/>
          <p:nvPr/>
        </p:nvSpPr>
        <p:spPr>
          <a:xfrm>
            <a:off x="948680" y="3566983"/>
            <a:ext cx="5020736" cy="477897"/>
          </a:xfrm>
          <a:prstGeom prst="rect">
            <a:avLst/>
          </a:prstGeom>
          <a:noFill/>
          <a:ln w="12700" cap="flat" cmpd="sng" algn="ctr">
            <a:noFill/>
            <a:prstDash val="solid"/>
            <a:miter lim="800000"/>
          </a:ln>
          <a:effectLst/>
        </p:spPr>
        <p:txBody>
          <a:bodyPr lIns="91440" tIns="91440" bIns="91440" rtlCol="0" anchor="ct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400" b="1" i="0" u="none" strike="noStrike" kern="0" cap="all" spc="-50" normalizeH="0" baseline="0" noProof="0" dirty="0">
                <a:ln>
                  <a:noFill/>
                </a:ln>
                <a:solidFill>
                  <a:srgbClr val="000000"/>
                </a:solidFill>
                <a:effectLst/>
                <a:uLnTx/>
                <a:uFillTx/>
                <a:latin typeface="Open Sans"/>
                <a:ea typeface="+mn-ea"/>
                <a:cs typeface="Open Sans"/>
              </a:rPr>
              <a:t>Strategy Refinement </a:t>
            </a:r>
            <a:r>
              <a:rPr kumimoji="0" lang="en-US" sz="1400" b="0" i="0" u="none" strike="noStrike" kern="0" cap="none" spc="-50" normalizeH="0" baseline="0" noProof="0" dirty="0">
                <a:ln>
                  <a:noFill/>
                </a:ln>
                <a:solidFill>
                  <a:srgbClr val="000000"/>
                </a:solidFill>
                <a:effectLst/>
                <a:uLnTx/>
                <a:uFillTx/>
                <a:latin typeface="Open Sans"/>
                <a:ea typeface="+mn-ea"/>
                <a:cs typeface="Open Sans"/>
              </a:rPr>
              <a:t>(10 Weeks)</a:t>
            </a:r>
            <a:endParaRPr kumimoji="0" lang="en-US" sz="1000" b="0" i="0" u="none" strike="noStrike" kern="0" cap="none" spc="-50" normalizeH="0" baseline="0" noProof="0" dirty="0">
              <a:ln>
                <a:noFill/>
              </a:ln>
              <a:solidFill>
                <a:srgbClr val="000000"/>
              </a:solidFill>
              <a:effectLst/>
              <a:uLnTx/>
              <a:uFillTx/>
              <a:latin typeface="Open Sans"/>
              <a:ea typeface="+mn-ea"/>
              <a:cs typeface="Open Sans"/>
            </a:endParaRPr>
          </a:p>
        </p:txBody>
      </p:sp>
      <p:cxnSp>
        <p:nvCxnSpPr>
          <p:cNvPr id="33" name="Straight Connector 32">
            <a:extLst>
              <a:ext uri="{FF2B5EF4-FFF2-40B4-BE49-F238E27FC236}">
                <a16:creationId xmlns:a16="http://schemas.microsoft.com/office/drawing/2014/main" id="{1394FA92-D1B9-46B1-AA2E-4FAF2DCA66A9}"/>
              </a:ext>
            </a:extLst>
          </p:cNvPr>
          <p:cNvCxnSpPr>
            <a:cxnSpLocks/>
          </p:cNvCxnSpPr>
          <p:nvPr/>
        </p:nvCxnSpPr>
        <p:spPr>
          <a:xfrm flipH="1">
            <a:off x="1264603" y="4613771"/>
            <a:ext cx="6368051" cy="1"/>
          </a:xfrm>
          <a:prstGeom prst="line">
            <a:avLst/>
          </a:prstGeom>
          <a:noFill/>
          <a:ln w="28575" cap="flat" cmpd="sng" algn="ctr">
            <a:solidFill>
              <a:schemeClr val="accent4"/>
            </a:solidFill>
            <a:prstDash val="solid"/>
            <a:miter lim="800000"/>
          </a:ln>
          <a:effectLst/>
        </p:spPr>
      </p:cxnSp>
      <p:sp>
        <p:nvSpPr>
          <p:cNvPr id="34" name="Rectangle 33">
            <a:extLst>
              <a:ext uri="{FF2B5EF4-FFF2-40B4-BE49-F238E27FC236}">
                <a16:creationId xmlns:a16="http://schemas.microsoft.com/office/drawing/2014/main" id="{753AE299-9C17-4216-AAE7-37CA82CE6674}"/>
              </a:ext>
            </a:extLst>
          </p:cNvPr>
          <p:cNvSpPr/>
          <p:nvPr/>
        </p:nvSpPr>
        <p:spPr>
          <a:xfrm>
            <a:off x="1199992" y="4304718"/>
            <a:ext cx="3035005" cy="305206"/>
          </a:xfrm>
          <a:prstGeom prst="rect">
            <a:avLst/>
          </a:prstGeom>
          <a:noFill/>
          <a:ln w="12700" cap="flat" cmpd="sng" algn="ctr">
            <a:noFill/>
            <a:prstDash val="solid"/>
            <a:miter lim="800000"/>
          </a:ln>
          <a:effectLst/>
        </p:spPr>
        <p:txBody>
          <a:bodyPr lIns="91440" tIns="91440" bIns="91440" rtlCol="0" anchor="ct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400" b="1" i="0" u="none" strike="noStrike" kern="0" cap="all" spc="-50" normalizeH="0" baseline="0" noProof="0" dirty="0">
                <a:ln>
                  <a:noFill/>
                </a:ln>
                <a:solidFill>
                  <a:srgbClr val="000000"/>
                </a:solidFill>
                <a:effectLst/>
                <a:uLnTx/>
                <a:uFillTx/>
                <a:latin typeface="Open Sans"/>
                <a:ea typeface="+mn-ea"/>
                <a:cs typeface="Open Sans"/>
              </a:rPr>
              <a:t>Capability Definition </a:t>
            </a:r>
            <a:r>
              <a:rPr kumimoji="0" lang="en-US" sz="1400" b="0" i="0" u="none" strike="noStrike" kern="0" cap="none" spc="-50" normalizeH="0" baseline="0" noProof="0" dirty="0">
                <a:ln>
                  <a:noFill/>
                </a:ln>
                <a:solidFill>
                  <a:srgbClr val="000000"/>
                </a:solidFill>
                <a:effectLst/>
                <a:uLnTx/>
                <a:uFillTx/>
                <a:latin typeface="Open Sans"/>
                <a:ea typeface="+mn-ea"/>
                <a:cs typeface="Open Sans"/>
              </a:rPr>
              <a:t>(7 Weeks)</a:t>
            </a:r>
            <a:endParaRPr kumimoji="0" lang="en-US" sz="1000" b="0" i="0" u="none" strike="noStrike" kern="0" cap="none" spc="-50" normalizeH="0" baseline="0" noProof="0" dirty="0">
              <a:ln>
                <a:noFill/>
              </a:ln>
              <a:solidFill>
                <a:srgbClr val="000000"/>
              </a:solidFill>
              <a:effectLst/>
              <a:uLnTx/>
              <a:uFillTx/>
              <a:latin typeface="Open Sans"/>
              <a:ea typeface="+mn-ea"/>
              <a:cs typeface="Open Sans"/>
            </a:endParaRPr>
          </a:p>
        </p:txBody>
      </p:sp>
      <p:sp>
        <p:nvSpPr>
          <p:cNvPr id="35" name="TextBox 34">
            <a:extLst>
              <a:ext uri="{FF2B5EF4-FFF2-40B4-BE49-F238E27FC236}">
                <a16:creationId xmlns:a16="http://schemas.microsoft.com/office/drawing/2014/main" id="{EF1F0224-E965-4B2A-A26F-A3603F8844CC}"/>
              </a:ext>
            </a:extLst>
          </p:cNvPr>
          <p:cNvSpPr txBox="1"/>
          <p:nvPr/>
        </p:nvSpPr>
        <p:spPr>
          <a:xfrm>
            <a:off x="937703" y="3432963"/>
            <a:ext cx="653800" cy="246221"/>
          </a:xfrm>
          <a:prstGeom prst="rect">
            <a:avLst/>
          </a:prstGeom>
          <a:solidFill>
            <a:schemeClr val="bg1">
              <a:lumMod val="9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Open Sans"/>
                <a:ea typeface="+mn-ea"/>
                <a:cs typeface="+mn-cs"/>
              </a:rPr>
              <a:t>PHASE I</a:t>
            </a:r>
          </a:p>
        </p:txBody>
      </p:sp>
      <p:sp>
        <p:nvSpPr>
          <p:cNvPr id="36" name="Oval 35">
            <a:extLst>
              <a:ext uri="{FF2B5EF4-FFF2-40B4-BE49-F238E27FC236}">
                <a16:creationId xmlns:a16="http://schemas.microsoft.com/office/drawing/2014/main" id="{3B74C60C-82E8-4F3B-A8C2-E2F476A33253}"/>
              </a:ext>
            </a:extLst>
          </p:cNvPr>
          <p:cNvSpPr/>
          <p:nvPr/>
        </p:nvSpPr>
        <p:spPr>
          <a:xfrm>
            <a:off x="9313220" y="3842431"/>
            <a:ext cx="173736" cy="17373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37" name="Oval 36">
            <a:extLst>
              <a:ext uri="{FF2B5EF4-FFF2-40B4-BE49-F238E27FC236}">
                <a16:creationId xmlns:a16="http://schemas.microsoft.com/office/drawing/2014/main" id="{2C4B720D-935A-4CE3-AC24-0B135A2DA198}"/>
              </a:ext>
            </a:extLst>
          </p:cNvPr>
          <p:cNvSpPr/>
          <p:nvPr/>
        </p:nvSpPr>
        <p:spPr>
          <a:xfrm>
            <a:off x="7533188" y="4521793"/>
            <a:ext cx="173736" cy="17373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38" name="TextBox 37">
            <a:extLst>
              <a:ext uri="{FF2B5EF4-FFF2-40B4-BE49-F238E27FC236}">
                <a16:creationId xmlns:a16="http://schemas.microsoft.com/office/drawing/2014/main" id="{89318F2C-94AF-4ACC-9174-2203881D7216}"/>
              </a:ext>
            </a:extLst>
          </p:cNvPr>
          <p:cNvSpPr txBox="1"/>
          <p:nvPr/>
        </p:nvSpPr>
        <p:spPr>
          <a:xfrm>
            <a:off x="937703" y="4915884"/>
            <a:ext cx="82709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Open Sans"/>
                <a:ea typeface="+mn-ea"/>
                <a:cs typeface="+mn-cs"/>
              </a:rPr>
              <a:t>PHASE II</a:t>
            </a:r>
          </a:p>
        </p:txBody>
      </p:sp>
      <p:sp>
        <p:nvSpPr>
          <p:cNvPr id="39" name="Oval 38">
            <a:extLst>
              <a:ext uri="{FF2B5EF4-FFF2-40B4-BE49-F238E27FC236}">
                <a16:creationId xmlns:a16="http://schemas.microsoft.com/office/drawing/2014/main" id="{25F522A4-3DBC-43F3-B748-08042748E1C0}"/>
              </a:ext>
            </a:extLst>
          </p:cNvPr>
          <p:cNvSpPr/>
          <p:nvPr/>
        </p:nvSpPr>
        <p:spPr>
          <a:xfrm>
            <a:off x="8228132" y="5214857"/>
            <a:ext cx="173736" cy="173736"/>
          </a:xfrm>
          <a:prstGeom prst="ellipse">
            <a:avLst/>
          </a:prstGeom>
          <a:solidFill>
            <a:schemeClr val="accent3"/>
          </a:solidFill>
          <a:ln w="28575" cap="flat" cmpd="sng" algn="ctr">
            <a:solidFill>
              <a:schemeClr val="accent3"/>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0" name="Oval 39">
            <a:extLst>
              <a:ext uri="{FF2B5EF4-FFF2-40B4-BE49-F238E27FC236}">
                <a16:creationId xmlns:a16="http://schemas.microsoft.com/office/drawing/2014/main" id="{CFE5A1FA-7A20-473A-A41A-FBEEF24D4F38}"/>
              </a:ext>
            </a:extLst>
          </p:cNvPr>
          <p:cNvSpPr/>
          <p:nvPr/>
        </p:nvSpPr>
        <p:spPr>
          <a:xfrm>
            <a:off x="10861604" y="5745209"/>
            <a:ext cx="173736" cy="17373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cxnSp>
        <p:nvCxnSpPr>
          <p:cNvPr id="41" name="Straight Connector 40">
            <a:extLst>
              <a:ext uri="{FF2B5EF4-FFF2-40B4-BE49-F238E27FC236}">
                <a16:creationId xmlns:a16="http://schemas.microsoft.com/office/drawing/2014/main" id="{1D620D44-EE69-4E13-96F8-45A1337F3DC1}"/>
              </a:ext>
            </a:extLst>
          </p:cNvPr>
          <p:cNvCxnSpPr/>
          <p:nvPr/>
        </p:nvCxnSpPr>
        <p:spPr>
          <a:xfrm>
            <a:off x="914400" y="2435749"/>
            <a:ext cx="33528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E7DBA5F7-193B-42B1-AB83-AA08365381AB}"/>
              </a:ext>
            </a:extLst>
          </p:cNvPr>
          <p:cNvCxnSpPr/>
          <p:nvPr/>
        </p:nvCxnSpPr>
        <p:spPr>
          <a:xfrm>
            <a:off x="4425696" y="2435749"/>
            <a:ext cx="33528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A5E5914-AF01-41DE-B250-C4B76391B1E1}"/>
              </a:ext>
            </a:extLst>
          </p:cNvPr>
          <p:cNvCxnSpPr/>
          <p:nvPr/>
        </p:nvCxnSpPr>
        <p:spPr>
          <a:xfrm>
            <a:off x="7936992" y="2435749"/>
            <a:ext cx="33528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6" name="Text Placeholder 2">
            <a:extLst>
              <a:ext uri="{FF2B5EF4-FFF2-40B4-BE49-F238E27FC236}">
                <a16:creationId xmlns:a16="http://schemas.microsoft.com/office/drawing/2014/main" id="{41A8906A-3CA1-458F-83F3-18B1CED11FC5}"/>
              </a:ext>
            </a:extLst>
          </p:cNvPr>
          <p:cNvSpPr>
            <a:spLocks noGrp="1"/>
          </p:cNvSpPr>
          <p:nvPr>
            <p:ph type="body" sz="quarter" idx="14"/>
          </p:nvPr>
        </p:nvSpPr>
        <p:spPr>
          <a:xfrm>
            <a:off x="914721" y="1353312"/>
            <a:ext cx="10362880" cy="475488"/>
          </a:xfrm>
        </p:spPr>
        <p:txBody>
          <a:bodyPr/>
          <a:lstStyle/>
          <a:p>
            <a:r>
              <a:rPr lang="en-US" dirty="0"/>
              <a:t>Subheader placeholder</a:t>
            </a:r>
          </a:p>
        </p:txBody>
      </p:sp>
    </p:spTree>
    <p:extLst>
      <p:ext uri="{BB962C8B-B14F-4D97-AF65-F5344CB8AC3E}">
        <p14:creationId xmlns:p14="http://schemas.microsoft.com/office/powerpoint/2010/main" val="3828797314"/>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Object 53" hidden="1">
            <a:extLst>
              <a:ext uri="{FF2B5EF4-FFF2-40B4-BE49-F238E27FC236}">
                <a16:creationId xmlns:a16="http://schemas.microsoft.com/office/drawing/2014/main" id="{21C52B25-0144-4294-A4B8-04B7F2E7205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24" name="think-cell Slide" r:id="rId6" imgW="415" imgH="416" progId="TCLayout.ActiveDocument.1">
                  <p:embed/>
                </p:oleObj>
              </mc:Choice>
              <mc:Fallback>
                <p:oleObj name="think-cell Slide" r:id="rId6" imgW="415" imgH="416" progId="TCLayout.ActiveDocument.1">
                  <p:embed/>
                  <p:pic>
                    <p:nvPicPr>
                      <p:cNvPr id="54" name="Object 53" hidden="1">
                        <a:extLst>
                          <a:ext uri="{FF2B5EF4-FFF2-40B4-BE49-F238E27FC236}">
                            <a16:creationId xmlns:a16="http://schemas.microsoft.com/office/drawing/2014/main" id="{21C52B25-0144-4294-A4B8-04B7F2E7205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3" name="Rectangle 52" hidden="1">
            <a:extLst>
              <a:ext uri="{FF2B5EF4-FFF2-40B4-BE49-F238E27FC236}">
                <a16:creationId xmlns:a16="http://schemas.microsoft.com/office/drawing/2014/main" id="{963EF536-D63C-4BE3-935B-DD3C9AC37BC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20E29683-8DDF-4958-B18F-B2EFD83F1029}"/>
              </a:ext>
            </a:extLst>
          </p:cNvPr>
          <p:cNvSpPr>
            <a:spLocks noGrp="1"/>
          </p:cNvSpPr>
          <p:nvPr>
            <p:ph type="title"/>
          </p:nvPr>
        </p:nvSpPr>
        <p:spPr/>
        <p:txBody>
          <a:bodyPr/>
          <a:lstStyle/>
          <a:p>
            <a:r>
              <a:rPr lang="en-US" dirty="0"/>
              <a:t>Detailed roadmap</a:t>
            </a:r>
          </a:p>
        </p:txBody>
      </p:sp>
      <p:sp>
        <p:nvSpPr>
          <p:cNvPr id="3" name="Text Placeholder 2">
            <a:extLst>
              <a:ext uri="{FF2B5EF4-FFF2-40B4-BE49-F238E27FC236}">
                <a16:creationId xmlns:a16="http://schemas.microsoft.com/office/drawing/2014/main" id="{15DD48F9-3882-4A83-A609-BE7B9D95821F}"/>
              </a:ext>
            </a:extLst>
          </p:cNvPr>
          <p:cNvSpPr>
            <a:spLocks noGrp="1"/>
          </p:cNvSpPr>
          <p:nvPr>
            <p:ph type="body" sz="quarter" idx="14"/>
          </p:nvPr>
        </p:nvSpPr>
        <p:spPr/>
        <p:txBody>
          <a:bodyPr/>
          <a:lstStyle/>
          <a:p>
            <a:r>
              <a:rPr lang="en-US" dirty="0"/>
              <a:t>Ongoing managed services to monitor the solution, build enhancements and provide analytical services</a:t>
            </a:r>
          </a:p>
        </p:txBody>
      </p:sp>
      <p:sp>
        <p:nvSpPr>
          <p:cNvPr id="4" name="Text Placeholder 3">
            <a:extLst>
              <a:ext uri="{FF2B5EF4-FFF2-40B4-BE49-F238E27FC236}">
                <a16:creationId xmlns:a16="http://schemas.microsoft.com/office/drawing/2014/main" id="{DD4AB979-C584-4E96-8CA0-1D15DED08811}"/>
              </a:ext>
            </a:extLst>
          </p:cNvPr>
          <p:cNvSpPr>
            <a:spLocks noGrp="1"/>
          </p:cNvSpPr>
          <p:nvPr>
            <p:ph type="body" sz="quarter" idx="15"/>
          </p:nvPr>
        </p:nvSpPr>
        <p:spPr/>
        <p:txBody>
          <a:bodyPr/>
          <a:lstStyle/>
          <a:p>
            <a:r>
              <a:rPr lang="en-US" dirty="0"/>
              <a:t>Plans, timelines and roadmaps </a:t>
            </a:r>
          </a:p>
        </p:txBody>
      </p:sp>
      <p:graphicFrame>
        <p:nvGraphicFramePr>
          <p:cNvPr id="29" name="Table 28">
            <a:extLst>
              <a:ext uri="{FF2B5EF4-FFF2-40B4-BE49-F238E27FC236}">
                <a16:creationId xmlns:a16="http://schemas.microsoft.com/office/drawing/2014/main" id="{ABFFEC80-AC79-4CA5-85ED-D558D351F409}"/>
              </a:ext>
            </a:extLst>
          </p:cNvPr>
          <p:cNvGraphicFramePr>
            <a:graphicFrameLocks noGrp="1"/>
          </p:cNvGraphicFramePr>
          <p:nvPr/>
        </p:nvGraphicFramePr>
        <p:xfrm>
          <a:off x="3011092" y="1906639"/>
          <a:ext cx="8723704" cy="4713746"/>
        </p:xfrm>
        <a:graphic>
          <a:graphicData uri="http://schemas.openxmlformats.org/drawingml/2006/table">
            <a:tbl>
              <a:tblPr firstRow="1" bandRow="1">
                <a:tableStyleId>{5C22544A-7EE6-4342-B048-85BDC9FD1C3A}</a:tableStyleId>
              </a:tblPr>
              <a:tblGrid>
                <a:gridCol w="1090463">
                  <a:extLst>
                    <a:ext uri="{9D8B030D-6E8A-4147-A177-3AD203B41FA5}">
                      <a16:colId xmlns:a16="http://schemas.microsoft.com/office/drawing/2014/main" val="2565105928"/>
                    </a:ext>
                  </a:extLst>
                </a:gridCol>
                <a:gridCol w="1090463">
                  <a:extLst>
                    <a:ext uri="{9D8B030D-6E8A-4147-A177-3AD203B41FA5}">
                      <a16:colId xmlns:a16="http://schemas.microsoft.com/office/drawing/2014/main" val="1289677161"/>
                    </a:ext>
                  </a:extLst>
                </a:gridCol>
                <a:gridCol w="1090463">
                  <a:extLst>
                    <a:ext uri="{9D8B030D-6E8A-4147-A177-3AD203B41FA5}">
                      <a16:colId xmlns:a16="http://schemas.microsoft.com/office/drawing/2014/main" val="3772515044"/>
                    </a:ext>
                  </a:extLst>
                </a:gridCol>
                <a:gridCol w="1090463">
                  <a:extLst>
                    <a:ext uri="{9D8B030D-6E8A-4147-A177-3AD203B41FA5}">
                      <a16:colId xmlns:a16="http://schemas.microsoft.com/office/drawing/2014/main" val="1062495614"/>
                    </a:ext>
                  </a:extLst>
                </a:gridCol>
                <a:gridCol w="1090463">
                  <a:extLst>
                    <a:ext uri="{9D8B030D-6E8A-4147-A177-3AD203B41FA5}">
                      <a16:colId xmlns:a16="http://schemas.microsoft.com/office/drawing/2014/main" val="1630509566"/>
                    </a:ext>
                  </a:extLst>
                </a:gridCol>
                <a:gridCol w="1090463">
                  <a:extLst>
                    <a:ext uri="{9D8B030D-6E8A-4147-A177-3AD203B41FA5}">
                      <a16:colId xmlns:a16="http://schemas.microsoft.com/office/drawing/2014/main" val="3071697921"/>
                    </a:ext>
                  </a:extLst>
                </a:gridCol>
                <a:gridCol w="1090463">
                  <a:extLst>
                    <a:ext uri="{9D8B030D-6E8A-4147-A177-3AD203B41FA5}">
                      <a16:colId xmlns:a16="http://schemas.microsoft.com/office/drawing/2014/main" val="1525364003"/>
                    </a:ext>
                  </a:extLst>
                </a:gridCol>
                <a:gridCol w="1090463">
                  <a:extLst>
                    <a:ext uri="{9D8B030D-6E8A-4147-A177-3AD203B41FA5}">
                      <a16:colId xmlns:a16="http://schemas.microsoft.com/office/drawing/2014/main" val="447918941"/>
                    </a:ext>
                  </a:extLst>
                </a:gridCol>
              </a:tblGrid>
              <a:tr h="347863">
                <a:tc>
                  <a:txBody>
                    <a:bodyPr/>
                    <a:lstStyle/>
                    <a:p>
                      <a:pPr algn="ctr"/>
                      <a:r>
                        <a:rPr lang="en-US" sz="1000" dirty="0"/>
                        <a:t>November</a:t>
                      </a:r>
                    </a:p>
                  </a:txBody>
                  <a:tcPr anchor="ctr">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1000" dirty="0"/>
                        <a:t>Decembe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1000" dirty="0"/>
                        <a:t>January</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1000" dirty="0"/>
                        <a:t>February</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1000" dirty="0"/>
                        <a:t>March</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1000" dirty="0"/>
                        <a:t>April</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1000" dirty="0"/>
                        <a:t>May</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1000" dirty="0"/>
                        <a:t>Jun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346260668"/>
                  </a:ext>
                </a:extLst>
              </a:tr>
              <a:tr h="263275">
                <a:tc>
                  <a:txBody>
                    <a:bodyPr/>
                    <a:lstStyle/>
                    <a:p>
                      <a:endParaRPr lang="en-US" sz="1000" dirty="0"/>
                    </a:p>
                  </a:txBody>
                  <a:tcP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14643271"/>
                  </a:ext>
                </a:extLst>
              </a:tr>
              <a:tr h="1371600">
                <a:tc>
                  <a:txBody>
                    <a:bodyPr/>
                    <a:lstStyle/>
                    <a:p>
                      <a:endParaRPr lang="en-US" sz="1000" dirty="0"/>
                    </a:p>
                  </a:txBody>
                  <a:tcP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71995028"/>
                  </a:ext>
                </a:extLst>
              </a:tr>
              <a:tr h="240748">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0977196"/>
                  </a:ext>
                </a:extLst>
              </a:tr>
              <a:tr h="1371600">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63151148"/>
                  </a:ext>
                </a:extLst>
              </a:tr>
              <a:tr h="292608">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52084969"/>
                  </a:ext>
                </a:extLst>
              </a:tr>
              <a:tr h="822960">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000" dirty="0"/>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9577894"/>
                  </a:ext>
                </a:extLst>
              </a:tr>
            </a:tbl>
          </a:graphicData>
        </a:graphic>
      </p:graphicFrame>
      <p:sp>
        <p:nvSpPr>
          <p:cNvPr id="30" name="Arrow: Pentagon 29">
            <a:extLst>
              <a:ext uri="{FF2B5EF4-FFF2-40B4-BE49-F238E27FC236}">
                <a16:creationId xmlns:a16="http://schemas.microsoft.com/office/drawing/2014/main" id="{AB9AE3B7-DF88-4962-B8BF-B3F0E3E81704}"/>
              </a:ext>
            </a:extLst>
          </p:cNvPr>
          <p:cNvSpPr/>
          <p:nvPr/>
        </p:nvSpPr>
        <p:spPr>
          <a:xfrm>
            <a:off x="6294329" y="6163125"/>
            <a:ext cx="5403506" cy="365760"/>
          </a:xfrm>
          <a:prstGeom prst="homePlate">
            <a:avLst/>
          </a:prstGeom>
          <a:solidFill>
            <a:schemeClr val="bg1">
              <a:lumMod val="85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339725" algn="l" defTabSz="640080" rtl="0" eaLnBrk="1" fontAlgn="ctr"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Open Sans"/>
                <a:ea typeface="+mn-ea"/>
                <a:cs typeface="+mn-cs"/>
              </a:rPr>
              <a:t>Program Management </a:t>
            </a:r>
            <a:r>
              <a:rPr kumimoji="0" lang="en-US" sz="800" b="1" i="0" u="none" strike="noStrike" kern="1200" cap="none" spc="0" normalizeH="0" baseline="0" noProof="0" dirty="0">
                <a:ln>
                  <a:noFill/>
                </a:ln>
                <a:solidFill>
                  <a:srgbClr val="000000"/>
                </a:solidFill>
                <a:effectLst/>
                <a:uLnTx/>
                <a:uFillTx/>
                <a:latin typeface="Open Sans"/>
                <a:ea typeface="+mn-ea"/>
                <a:cs typeface="+mn-cs"/>
              </a:rPr>
              <a:t>(including tracking to critical path, risk/issue tracking/resolution) </a:t>
            </a:r>
          </a:p>
        </p:txBody>
      </p:sp>
      <p:sp>
        <p:nvSpPr>
          <p:cNvPr id="31" name="TextBox 30">
            <a:extLst>
              <a:ext uri="{FF2B5EF4-FFF2-40B4-BE49-F238E27FC236}">
                <a16:creationId xmlns:a16="http://schemas.microsoft.com/office/drawing/2014/main" id="{01B9F9CE-29F6-40A5-88F5-1328144EB472}"/>
              </a:ext>
            </a:extLst>
          </p:cNvPr>
          <p:cNvSpPr txBox="1"/>
          <p:nvPr/>
        </p:nvSpPr>
        <p:spPr>
          <a:xfrm>
            <a:off x="2933633" y="1726971"/>
            <a:ext cx="107886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Open Sans"/>
                <a:ea typeface="+mn-ea"/>
                <a:cs typeface="+mn-cs"/>
              </a:rPr>
              <a:t>2019</a:t>
            </a:r>
          </a:p>
        </p:txBody>
      </p:sp>
      <p:sp>
        <p:nvSpPr>
          <p:cNvPr id="32" name="TextBox 31">
            <a:extLst>
              <a:ext uri="{FF2B5EF4-FFF2-40B4-BE49-F238E27FC236}">
                <a16:creationId xmlns:a16="http://schemas.microsoft.com/office/drawing/2014/main" id="{7E8EEDE5-93EC-48BA-8BE3-D238F9252896}"/>
              </a:ext>
            </a:extLst>
          </p:cNvPr>
          <p:cNvSpPr txBox="1"/>
          <p:nvPr/>
        </p:nvSpPr>
        <p:spPr>
          <a:xfrm>
            <a:off x="5182024" y="1726971"/>
            <a:ext cx="107886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Open Sans"/>
                <a:ea typeface="+mn-ea"/>
                <a:cs typeface="+mn-cs"/>
              </a:rPr>
              <a:t>2020</a:t>
            </a:r>
          </a:p>
        </p:txBody>
      </p:sp>
      <p:sp>
        <p:nvSpPr>
          <p:cNvPr id="33" name="Arrow: Pentagon 28">
            <a:extLst>
              <a:ext uri="{FF2B5EF4-FFF2-40B4-BE49-F238E27FC236}">
                <a16:creationId xmlns:a16="http://schemas.microsoft.com/office/drawing/2014/main" id="{BF915731-7B58-4432-9299-C47730541D12}"/>
              </a:ext>
            </a:extLst>
          </p:cNvPr>
          <p:cNvSpPr/>
          <p:nvPr/>
        </p:nvSpPr>
        <p:spPr>
          <a:xfrm>
            <a:off x="5207431" y="4004448"/>
            <a:ext cx="6499104" cy="365760"/>
          </a:xfrm>
          <a:prstGeom prst="homePlate">
            <a:avLst/>
          </a:prstGeom>
          <a:solidFill>
            <a:schemeClr val="bg1">
              <a:lumMod val="85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339725" algn="l" defTabSz="640080" rtl="0" eaLnBrk="1" fontAlgn="ctr"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Open Sans"/>
                <a:ea typeface="+mn-ea"/>
                <a:cs typeface="+mn-cs"/>
              </a:rPr>
              <a:t>Custom Dashboard Creation</a:t>
            </a:r>
          </a:p>
        </p:txBody>
      </p:sp>
      <p:sp>
        <p:nvSpPr>
          <p:cNvPr id="34" name="Arrow: Pentagon 28">
            <a:extLst>
              <a:ext uri="{FF2B5EF4-FFF2-40B4-BE49-F238E27FC236}">
                <a16:creationId xmlns:a16="http://schemas.microsoft.com/office/drawing/2014/main" id="{CB15C906-3634-4516-A043-2BDD415F4538}"/>
              </a:ext>
            </a:extLst>
          </p:cNvPr>
          <p:cNvSpPr/>
          <p:nvPr/>
        </p:nvSpPr>
        <p:spPr>
          <a:xfrm>
            <a:off x="3038463" y="4464043"/>
            <a:ext cx="8668071" cy="365760"/>
          </a:xfrm>
          <a:prstGeom prst="homePlate">
            <a:avLst/>
          </a:prstGeom>
          <a:solidFill>
            <a:schemeClr val="bg1">
              <a:lumMod val="85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339725" algn="l" defTabSz="640080" rtl="0" eaLnBrk="1" fontAlgn="ctr"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Open Sans"/>
                <a:ea typeface="+mn-ea"/>
                <a:cs typeface="+mn-cs"/>
              </a:rPr>
              <a:t>Decisioning Logic + ML Algorithm Refinement</a:t>
            </a:r>
          </a:p>
        </p:txBody>
      </p:sp>
      <p:sp>
        <p:nvSpPr>
          <p:cNvPr id="35" name="Arrow: Pentagon 28">
            <a:extLst>
              <a:ext uri="{FF2B5EF4-FFF2-40B4-BE49-F238E27FC236}">
                <a16:creationId xmlns:a16="http://schemas.microsoft.com/office/drawing/2014/main" id="{171D79DF-373E-4846-BE2F-1F628E435B0F}"/>
              </a:ext>
            </a:extLst>
          </p:cNvPr>
          <p:cNvSpPr/>
          <p:nvPr/>
        </p:nvSpPr>
        <p:spPr>
          <a:xfrm>
            <a:off x="3038465" y="2654965"/>
            <a:ext cx="5461160" cy="365760"/>
          </a:xfrm>
          <a:prstGeom prst="homePlate">
            <a:avLst/>
          </a:prstGeom>
          <a:solidFill>
            <a:schemeClr val="bg1">
              <a:lumMod val="85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339725" algn="l" defTabSz="640080" rtl="0" eaLnBrk="1" fontAlgn="ctr"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Open Sans"/>
                <a:ea typeface="+mn-ea"/>
                <a:cs typeface="+mn-cs"/>
              </a:rPr>
              <a:t>System Monitoring &amp; Maintenance</a:t>
            </a:r>
          </a:p>
        </p:txBody>
      </p:sp>
      <p:sp>
        <p:nvSpPr>
          <p:cNvPr id="36" name="Arrow: Pentagon 28">
            <a:extLst>
              <a:ext uri="{FF2B5EF4-FFF2-40B4-BE49-F238E27FC236}">
                <a16:creationId xmlns:a16="http://schemas.microsoft.com/office/drawing/2014/main" id="{D4EEB1A1-0E08-4623-AF65-B6FA436F1557}"/>
              </a:ext>
            </a:extLst>
          </p:cNvPr>
          <p:cNvSpPr/>
          <p:nvPr/>
        </p:nvSpPr>
        <p:spPr>
          <a:xfrm>
            <a:off x="3038464" y="3056048"/>
            <a:ext cx="8668071" cy="365760"/>
          </a:xfrm>
          <a:prstGeom prst="homePlate">
            <a:avLst/>
          </a:prstGeom>
          <a:solidFill>
            <a:schemeClr val="bg1">
              <a:lumMod val="85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339725" algn="l" defTabSz="640080" rtl="0" eaLnBrk="1" fontAlgn="ctr"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Open Sans"/>
                <a:ea typeface="+mn-ea"/>
                <a:cs typeface="+mn-cs"/>
              </a:rPr>
              <a:t>Bug Fixing</a:t>
            </a:r>
          </a:p>
        </p:txBody>
      </p:sp>
      <p:sp>
        <p:nvSpPr>
          <p:cNvPr id="37" name="TextBox 36">
            <a:extLst>
              <a:ext uri="{FF2B5EF4-FFF2-40B4-BE49-F238E27FC236}">
                <a16:creationId xmlns:a16="http://schemas.microsoft.com/office/drawing/2014/main" id="{868D55CD-36E8-4DC4-B557-FFD3A78D2886}"/>
              </a:ext>
            </a:extLst>
          </p:cNvPr>
          <p:cNvSpPr txBox="1"/>
          <p:nvPr/>
        </p:nvSpPr>
        <p:spPr>
          <a:xfrm>
            <a:off x="5182024" y="2400405"/>
            <a:ext cx="2437670"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Monthly Health &amp; Performance Report</a:t>
            </a:r>
          </a:p>
        </p:txBody>
      </p:sp>
      <p:sp>
        <p:nvSpPr>
          <p:cNvPr id="41" name="Rectangle 40">
            <a:extLst>
              <a:ext uri="{FF2B5EF4-FFF2-40B4-BE49-F238E27FC236}">
                <a16:creationId xmlns:a16="http://schemas.microsoft.com/office/drawing/2014/main" id="{0B3AE8B9-0AA6-4BDA-8E7C-74DB1807BC7D}"/>
              </a:ext>
            </a:extLst>
          </p:cNvPr>
          <p:cNvSpPr/>
          <p:nvPr/>
        </p:nvSpPr>
        <p:spPr>
          <a:xfrm>
            <a:off x="2188431" y="1734103"/>
            <a:ext cx="822661" cy="215444"/>
          </a:xfrm>
          <a:prstGeom prst="rect">
            <a:avLst/>
          </a:prstGeom>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000000"/>
                </a:solidFill>
                <a:effectLst/>
                <a:uLnTx/>
                <a:uFillTx/>
                <a:latin typeface="Open Sans"/>
                <a:ea typeface="+mn-ea"/>
                <a:cs typeface="+mn-cs"/>
              </a:rPr>
              <a:t>Calendar Year</a:t>
            </a:r>
          </a:p>
        </p:txBody>
      </p:sp>
      <p:sp>
        <p:nvSpPr>
          <p:cNvPr id="42" name="Rectangle 41">
            <a:extLst>
              <a:ext uri="{FF2B5EF4-FFF2-40B4-BE49-F238E27FC236}">
                <a16:creationId xmlns:a16="http://schemas.microsoft.com/office/drawing/2014/main" id="{83FDA7FC-9002-4AA2-9803-D9B9F15C25D5}"/>
              </a:ext>
            </a:extLst>
          </p:cNvPr>
          <p:cNvSpPr/>
          <p:nvPr/>
        </p:nvSpPr>
        <p:spPr>
          <a:xfrm>
            <a:off x="457200" y="2245412"/>
            <a:ext cx="2476559" cy="136753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3" name="Rectangle 42">
            <a:extLst>
              <a:ext uri="{FF2B5EF4-FFF2-40B4-BE49-F238E27FC236}">
                <a16:creationId xmlns:a16="http://schemas.microsoft.com/office/drawing/2014/main" id="{F326CC40-6A92-4E0F-8C97-514156F382CC}"/>
              </a:ext>
            </a:extLst>
          </p:cNvPr>
          <p:cNvSpPr/>
          <p:nvPr/>
        </p:nvSpPr>
        <p:spPr>
          <a:xfrm>
            <a:off x="457200" y="3627417"/>
            <a:ext cx="2476559" cy="1583891"/>
          </a:xfrm>
          <a:prstGeom prst="rect">
            <a:avLst/>
          </a:prstGeom>
          <a:pattFill prst="dkUpDiag">
            <a:fgClr>
              <a:schemeClr val="accent2"/>
            </a:fgClr>
            <a:bgClr>
              <a:schemeClr val="bg1"/>
            </a:bgClr>
          </a:patt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4" name="Rectangle 43">
            <a:extLst>
              <a:ext uri="{FF2B5EF4-FFF2-40B4-BE49-F238E27FC236}">
                <a16:creationId xmlns:a16="http://schemas.microsoft.com/office/drawing/2014/main" id="{D15E611C-BDD6-4613-966B-29C186BF4225}"/>
              </a:ext>
            </a:extLst>
          </p:cNvPr>
          <p:cNvSpPr/>
          <p:nvPr/>
        </p:nvSpPr>
        <p:spPr>
          <a:xfrm>
            <a:off x="472723" y="5253931"/>
            <a:ext cx="2442634" cy="1360015"/>
          </a:xfrm>
          <a:prstGeom prst="rect">
            <a:avLst/>
          </a:prstGeom>
          <a:solidFill>
            <a:schemeClr val="bg1"/>
          </a:solidFill>
          <a:ln w="317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5" name="5-Point Star 30">
            <a:extLst>
              <a:ext uri="{FF2B5EF4-FFF2-40B4-BE49-F238E27FC236}">
                <a16:creationId xmlns:a16="http://schemas.microsoft.com/office/drawing/2014/main" id="{4D9C1221-BC38-48D3-9BA6-125877677FD8}"/>
              </a:ext>
            </a:extLst>
          </p:cNvPr>
          <p:cNvSpPr/>
          <p:nvPr/>
        </p:nvSpPr>
        <p:spPr>
          <a:xfrm>
            <a:off x="7670686" y="2369345"/>
            <a:ext cx="251377" cy="229874"/>
          </a:xfrm>
          <a:prstGeom prst="star5">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cxnSp>
        <p:nvCxnSpPr>
          <p:cNvPr id="46" name="Straight Connector 45">
            <a:extLst>
              <a:ext uri="{FF2B5EF4-FFF2-40B4-BE49-F238E27FC236}">
                <a16:creationId xmlns:a16="http://schemas.microsoft.com/office/drawing/2014/main" id="{2134782E-9877-455A-964B-1CC0B80E8D15}"/>
              </a:ext>
            </a:extLst>
          </p:cNvPr>
          <p:cNvCxnSpPr>
            <a:cxnSpLocks/>
          </p:cNvCxnSpPr>
          <p:nvPr/>
        </p:nvCxnSpPr>
        <p:spPr>
          <a:xfrm>
            <a:off x="3017324" y="3640294"/>
            <a:ext cx="8717476" cy="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C85B6D6-0B96-4890-AAA2-2045A3F3877A}"/>
              </a:ext>
            </a:extLst>
          </p:cNvPr>
          <p:cNvCxnSpPr>
            <a:cxnSpLocks/>
          </p:cNvCxnSpPr>
          <p:nvPr/>
        </p:nvCxnSpPr>
        <p:spPr>
          <a:xfrm>
            <a:off x="3017324" y="5225422"/>
            <a:ext cx="8717476" cy="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2403EE79-EDD0-4445-9747-5B844FAEE2A9}"/>
              </a:ext>
            </a:extLst>
          </p:cNvPr>
          <p:cNvSpPr/>
          <p:nvPr/>
        </p:nvSpPr>
        <p:spPr>
          <a:xfrm>
            <a:off x="507488" y="2606014"/>
            <a:ext cx="2133344" cy="646331"/>
          </a:xfrm>
          <a:prstGeom prst="rect">
            <a:avLst/>
          </a:prstGeom>
        </p:spPr>
        <p:txBody>
          <a:bodyPr wrap="square"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50" normalizeH="0" baseline="0" noProof="0" dirty="0">
                <a:ln>
                  <a:noFill/>
                </a:ln>
                <a:solidFill>
                  <a:srgbClr val="000000"/>
                </a:solidFill>
                <a:effectLst/>
                <a:uLnTx/>
                <a:uFillTx/>
                <a:latin typeface="Open Sans"/>
                <a:ea typeface="Open Sans Light" panose="020B0306030504020204" pitchFamily="34" charset="0"/>
                <a:cs typeface="Open Sans Light" panose="020B0306030504020204" pitchFamily="34" charset="0"/>
              </a:rPr>
              <a:t>Technical Systems Integration</a:t>
            </a:r>
          </a:p>
        </p:txBody>
      </p:sp>
      <p:sp>
        <p:nvSpPr>
          <p:cNvPr id="49" name="Rectangle 48">
            <a:extLst>
              <a:ext uri="{FF2B5EF4-FFF2-40B4-BE49-F238E27FC236}">
                <a16:creationId xmlns:a16="http://schemas.microsoft.com/office/drawing/2014/main" id="{ECE0B1D8-CBB0-4F0A-B461-7A168F13893F}"/>
              </a:ext>
            </a:extLst>
          </p:cNvPr>
          <p:cNvSpPr/>
          <p:nvPr/>
        </p:nvSpPr>
        <p:spPr>
          <a:xfrm>
            <a:off x="507488" y="4096196"/>
            <a:ext cx="1807607" cy="646331"/>
          </a:xfrm>
          <a:prstGeom prst="rect">
            <a:avLst/>
          </a:prstGeom>
        </p:spPr>
        <p:txBody>
          <a:bodyPr wrap="square"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50" normalizeH="0" baseline="0" noProof="0" dirty="0">
                <a:ln>
                  <a:noFill/>
                </a:ln>
                <a:solidFill>
                  <a:srgbClr val="000000"/>
                </a:solidFill>
                <a:effectLst/>
                <a:uLnTx/>
                <a:uFillTx/>
                <a:latin typeface="Open Sans"/>
                <a:ea typeface="Open Sans Light" panose="020B0306030504020204" pitchFamily="34" charset="0"/>
                <a:cs typeface="Open Sans Light" panose="020B0306030504020204" pitchFamily="34" charset="0"/>
              </a:rPr>
              <a:t>Analytical Consulting</a:t>
            </a:r>
          </a:p>
        </p:txBody>
      </p:sp>
      <p:sp>
        <p:nvSpPr>
          <p:cNvPr id="50" name="Rectangle 49">
            <a:extLst>
              <a:ext uri="{FF2B5EF4-FFF2-40B4-BE49-F238E27FC236}">
                <a16:creationId xmlns:a16="http://schemas.microsoft.com/office/drawing/2014/main" id="{01862F9C-6719-4884-972D-C32CDE1508C5}"/>
              </a:ext>
            </a:extLst>
          </p:cNvPr>
          <p:cNvSpPr/>
          <p:nvPr/>
        </p:nvSpPr>
        <p:spPr>
          <a:xfrm>
            <a:off x="507488" y="5472273"/>
            <a:ext cx="1899800" cy="923330"/>
          </a:xfrm>
          <a:prstGeom prst="rect">
            <a:avLst/>
          </a:prstGeom>
        </p:spPr>
        <p:txBody>
          <a:bodyPr wrap="square" anchor="ctr" anchorCtr="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50" normalizeH="0" baseline="0" noProof="0" dirty="0">
                <a:ln>
                  <a:noFill/>
                </a:ln>
                <a:solidFill>
                  <a:srgbClr val="000000"/>
                </a:solidFill>
                <a:effectLst/>
                <a:uLnTx/>
                <a:uFillTx/>
                <a:latin typeface="Open Sans"/>
                <a:ea typeface="Open Sans Light" panose="020B0306030504020204" pitchFamily="34" charset="0"/>
                <a:cs typeface="Open Sans Light" panose="020B0306030504020204" pitchFamily="34" charset="0"/>
              </a:rPr>
              <a:t>Business Transformation &amp; PMO</a:t>
            </a:r>
          </a:p>
        </p:txBody>
      </p:sp>
      <p:sp>
        <p:nvSpPr>
          <p:cNvPr id="51" name="Arrow: Pentagon 50">
            <a:extLst>
              <a:ext uri="{FF2B5EF4-FFF2-40B4-BE49-F238E27FC236}">
                <a16:creationId xmlns:a16="http://schemas.microsoft.com/office/drawing/2014/main" id="{CE4A78B2-319A-4526-9F04-3E2373552338}"/>
              </a:ext>
            </a:extLst>
          </p:cNvPr>
          <p:cNvSpPr/>
          <p:nvPr/>
        </p:nvSpPr>
        <p:spPr>
          <a:xfrm>
            <a:off x="6294329" y="5744752"/>
            <a:ext cx="5403506" cy="365760"/>
          </a:xfrm>
          <a:prstGeom prst="homePlate">
            <a:avLst/>
          </a:prstGeom>
          <a:solidFill>
            <a:schemeClr val="bg1">
              <a:lumMod val="85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339725" algn="l" defTabSz="640080" rtl="0" eaLnBrk="1" fontAlgn="ctr"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Open Sans"/>
                <a:ea typeface="+mn-ea"/>
                <a:cs typeface="+mn-cs"/>
              </a:rPr>
              <a:t>Track Benefits Realization</a:t>
            </a:r>
            <a:endParaRPr kumimoji="0" lang="en-US" sz="8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52" name="Arrow: Pentagon 51">
            <a:extLst>
              <a:ext uri="{FF2B5EF4-FFF2-40B4-BE49-F238E27FC236}">
                <a16:creationId xmlns:a16="http://schemas.microsoft.com/office/drawing/2014/main" id="{C4CF1819-409B-4285-AD36-59AF623E86FC}"/>
              </a:ext>
            </a:extLst>
          </p:cNvPr>
          <p:cNvSpPr/>
          <p:nvPr/>
        </p:nvSpPr>
        <p:spPr>
          <a:xfrm>
            <a:off x="3029764" y="5326379"/>
            <a:ext cx="8668071" cy="365760"/>
          </a:xfrm>
          <a:prstGeom prst="homePlate">
            <a:avLst/>
          </a:prstGeom>
          <a:solidFill>
            <a:schemeClr val="bg1">
              <a:lumMod val="85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339725" algn="l" defTabSz="640080" rtl="0" eaLnBrk="1" fontAlgn="ctr"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Open Sans"/>
                <a:ea typeface="+mn-ea"/>
                <a:cs typeface="+mn-cs"/>
              </a:rPr>
              <a:t>Intake Additional Use Cases </a:t>
            </a:r>
            <a:endParaRPr kumimoji="0" lang="en-US" sz="800" b="1" i="0" u="none" strike="noStrike" kern="1200" cap="none" spc="0" normalizeH="0" baseline="0" noProof="0" dirty="0">
              <a:ln>
                <a:noFill/>
              </a:ln>
              <a:solidFill>
                <a:srgbClr val="000000"/>
              </a:solidFill>
              <a:effectLst/>
              <a:uLnTx/>
              <a:uFillTx/>
              <a:latin typeface="Open Sans"/>
              <a:ea typeface="+mn-ea"/>
              <a:cs typeface="+mn-cs"/>
            </a:endParaRPr>
          </a:p>
        </p:txBody>
      </p:sp>
    </p:spTree>
    <p:extLst>
      <p:ext uri="{BB962C8B-B14F-4D97-AF65-F5344CB8AC3E}">
        <p14:creationId xmlns:p14="http://schemas.microsoft.com/office/powerpoint/2010/main" val="16122482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1070B14-11A3-40EB-9957-1C10D6CA8DC9}"/>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brightnessContrast bright="-36000"/>
                    </a14:imgEffect>
                  </a14:imgLayer>
                </a14:imgProps>
              </a:ex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0" name="TextBox 9">
            <a:extLst>
              <a:ext uri="{FF2B5EF4-FFF2-40B4-BE49-F238E27FC236}">
                <a16:creationId xmlns:a16="http://schemas.microsoft.com/office/drawing/2014/main" id="{20483C5A-D95E-4A95-A005-0DE4D5EB9910}"/>
              </a:ext>
            </a:extLst>
          </p:cNvPr>
          <p:cNvSpPr txBox="1"/>
          <p:nvPr/>
        </p:nvSpPr>
        <p:spPr>
          <a:xfrm>
            <a:off x="1053053" y="3321049"/>
            <a:ext cx="6392776" cy="1643527"/>
          </a:xfrm>
          <a:prstGeom prst="rect">
            <a:avLst/>
          </a:prstGeom>
          <a:noFill/>
        </p:spPr>
        <p:txBody>
          <a:bodyPr wrap="square" lIns="0" numCol="1" spcCol="274320" rtlCol="0">
            <a:spAutoFit/>
          </a:bodyPr>
          <a:lstStyle/>
          <a:p>
            <a:pPr>
              <a:lnSpc>
                <a:spcPct val="120000"/>
              </a:lnSpc>
              <a:spcBef>
                <a:spcPts val="1200"/>
              </a:spcBef>
              <a:defRPr/>
            </a:pPr>
            <a:r>
              <a:rPr lang="en-US" sz="1400" dirty="0">
                <a:solidFill>
                  <a:srgbClr val="FFFFFD"/>
                </a:solidFill>
                <a:latin typeface="Open Sans Light" charset="0"/>
                <a:ea typeface="Open Sans Light" charset="0"/>
                <a:cs typeface="Open Sans Light" charset="0"/>
              </a:rPr>
              <a:t>Client launched an enterprise-wide customer transformation program, known as NAME, with the objective of using personalization to create customer experiences that stick. By offering each customer tailored communications, offers, products, and services at the right time and through the right channel, Client sought to engage customers across their journey with a compelling digital experience increasing loyalty and willingness to pay. </a:t>
            </a:r>
          </a:p>
        </p:txBody>
      </p:sp>
      <p:sp>
        <p:nvSpPr>
          <p:cNvPr id="11" name="Title 7">
            <a:extLst>
              <a:ext uri="{FF2B5EF4-FFF2-40B4-BE49-F238E27FC236}">
                <a16:creationId xmlns:a16="http://schemas.microsoft.com/office/drawing/2014/main" id="{EF8BF6E9-0FB2-4204-A835-AF94A2FC481F}"/>
              </a:ext>
            </a:extLst>
          </p:cNvPr>
          <p:cNvSpPr txBox="1">
            <a:spLocks/>
          </p:cNvSpPr>
          <p:nvPr/>
        </p:nvSpPr>
        <p:spPr>
          <a:xfrm>
            <a:off x="973540" y="1826252"/>
            <a:ext cx="10352186" cy="1272942"/>
          </a:xfrm>
          <a:prstGeom prst="rect">
            <a:avLst/>
          </a:prstGeom>
        </p:spPr>
        <p:txBody>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a:defRPr/>
            </a:pPr>
            <a:r>
              <a:rPr lang="en-US" sz="4400" dirty="0">
                <a:solidFill>
                  <a:srgbClr val="FFFFFF"/>
                </a:solidFill>
                <a:latin typeface="Chronicle Display Light" charset="0"/>
                <a:ea typeface="Chronicle Display Light" charset="0"/>
                <a:cs typeface="Chronicle Display Light" charset="0"/>
              </a:rPr>
              <a:t>Transforming the </a:t>
            </a:r>
            <a:br>
              <a:rPr lang="en-US" sz="4400" dirty="0">
                <a:solidFill>
                  <a:srgbClr val="FFFFFF"/>
                </a:solidFill>
                <a:latin typeface="Chronicle Display Light" charset="0"/>
                <a:ea typeface="Chronicle Display Light" charset="0"/>
                <a:cs typeface="Chronicle Display Light" charset="0"/>
              </a:rPr>
            </a:br>
            <a:r>
              <a:rPr lang="en-US" sz="4400" b="1" dirty="0">
                <a:solidFill>
                  <a:srgbClr val="FFFFFF"/>
                </a:solidFill>
                <a:ea typeface="Chronicle Display Black" charset="0"/>
                <a:cs typeface="Chronicle Display Black" charset="0"/>
              </a:rPr>
              <a:t>Customer Experience</a:t>
            </a:r>
          </a:p>
        </p:txBody>
      </p:sp>
      <p:grpSp>
        <p:nvGrpSpPr>
          <p:cNvPr id="12" name="Group 11">
            <a:extLst>
              <a:ext uri="{FF2B5EF4-FFF2-40B4-BE49-F238E27FC236}">
                <a16:creationId xmlns:a16="http://schemas.microsoft.com/office/drawing/2014/main" id="{5F2E5602-5654-408C-8AF5-24970654094D}"/>
              </a:ext>
            </a:extLst>
          </p:cNvPr>
          <p:cNvGrpSpPr/>
          <p:nvPr/>
        </p:nvGrpSpPr>
        <p:grpSpPr>
          <a:xfrm>
            <a:off x="1027046" y="1418394"/>
            <a:ext cx="3692872" cy="3926542"/>
            <a:chOff x="1027046" y="1418394"/>
            <a:chExt cx="4936432" cy="3926542"/>
          </a:xfrm>
        </p:grpSpPr>
        <p:cxnSp>
          <p:nvCxnSpPr>
            <p:cNvPr id="13" name="Straight Connector 12">
              <a:extLst>
                <a:ext uri="{FF2B5EF4-FFF2-40B4-BE49-F238E27FC236}">
                  <a16:creationId xmlns:a16="http://schemas.microsoft.com/office/drawing/2014/main" id="{0B65D85A-1285-4A58-9207-B2D6F9400C1B}"/>
                </a:ext>
              </a:extLst>
            </p:cNvPr>
            <p:cNvCxnSpPr>
              <a:cxnSpLocks/>
            </p:cNvCxnSpPr>
            <p:nvPr/>
          </p:nvCxnSpPr>
          <p:spPr>
            <a:xfrm flipH="1">
              <a:off x="1027046" y="1418394"/>
              <a:ext cx="4936432" cy="0"/>
            </a:xfrm>
            <a:prstGeom prst="line">
              <a:avLst/>
            </a:prstGeom>
            <a:noFill/>
            <a:ln w="76200" cap="flat" cmpd="sng" algn="ctr">
              <a:solidFill>
                <a:srgbClr val="FDD300"/>
              </a:solidFill>
              <a:prstDash val="solid"/>
              <a:miter lim="800000"/>
            </a:ln>
            <a:effectLst/>
          </p:spPr>
        </p:cxnSp>
        <p:cxnSp>
          <p:nvCxnSpPr>
            <p:cNvPr id="14" name="Straight Connector 13">
              <a:extLst>
                <a:ext uri="{FF2B5EF4-FFF2-40B4-BE49-F238E27FC236}">
                  <a16:creationId xmlns:a16="http://schemas.microsoft.com/office/drawing/2014/main" id="{6A482636-9CC7-4451-AA17-262D1ECC5A7C}"/>
                </a:ext>
              </a:extLst>
            </p:cNvPr>
            <p:cNvCxnSpPr>
              <a:cxnSpLocks/>
            </p:cNvCxnSpPr>
            <p:nvPr/>
          </p:nvCxnSpPr>
          <p:spPr>
            <a:xfrm flipH="1">
              <a:off x="1027046" y="5344936"/>
              <a:ext cx="4936432" cy="0"/>
            </a:xfrm>
            <a:prstGeom prst="line">
              <a:avLst/>
            </a:prstGeom>
            <a:noFill/>
            <a:ln w="12700" cap="flat" cmpd="sng" algn="ctr">
              <a:solidFill>
                <a:srgbClr val="FDD300"/>
              </a:solidFill>
              <a:prstDash val="solid"/>
              <a:miter lim="800000"/>
            </a:ln>
            <a:effectLst/>
          </p:spPr>
        </p:cxnSp>
      </p:grpSp>
    </p:spTree>
    <p:extLst>
      <p:ext uri="{BB962C8B-B14F-4D97-AF65-F5344CB8AC3E}">
        <p14:creationId xmlns:p14="http://schemas.microsoft.com/office/powerpoint/2010/main" val="3089773817"/>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396A08B-9D14-4D88-AE5E-BE6185ECE97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548" name="think-cell Slide" r:id="rId6" imgW="415" imgH="416" progId="TCLayout.ActiveDocument.1">
                  <p:embed/>
                </p:oleObj>
              </mc:Choice>
              <mc:Fallback>
                <p:oleObj name="think-cell Slide" r:id="rId6" imgW="415" imgH="416" progId="TCLayout.ActiveDocument.1">
                  <p:embed/>
                  <p:pic>
                    <p:nvPicPr>
                      <p:cNvPr id="8" name="Object 7" hidden="1">
                        <a:extLst>
                          <a:ext uri="{FF2B5EF4-FFF2-40B4-BE49-F238E27FC236}">
                            <a16:creationId xmlns:a16="http://schemas.microsoft.com/office/drawing/2014/main" id="{7396A08B-9D14-4D88-AE5E-BE6185ECE97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3FA5ACB-41B7-41CF-9733-692C1AE6FDA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4F18DA14-0BCB-4965-B04C-25BE1DA1AFE8}"/>
              </a:ext>
            </a:extLst>
          </p:cNvPr>
          <p:cNvSpPr>
            <a:spLocks noGrp="1"/>
          </p:cNvSpPr>
          <p:nvPr>
            <p:ph type="title"/>
          </p:nvPr>
        </p:nvSpPr>
        <p:spPr>
          <a:xfrm>
            <a:off x="914400" y="704776"/>
            <a:ext cx="10363200" cy="594360"/>
          </a:xfrm>
        </p:spPr>
        <p:txBody>
          <a:bodyPr/>
          <a:lstStyle/>
          <a:p>
            <a:r>
              <a:rPr lang="en-US" dirty="0"/>
              <a:t>Project Timeline</a:t>
            </a:r>
          </a:p>
        </p:txBody>
      </p:sp>
      <p:sp>
        <p:nvSpPr>
          <p:cNvPr id="3" name="Text Placeholder 2">
            <a:extLst>
              <a:ext uri="{FF2B5EF4-FFF2-40B4-BE49-F238E27FC236}">
                <a16:creationId xmlns:a16="http://schemas.microsoft.com/office/drawing/2014/main" id="{ABEE42B2-8ABA-4C6C-9459-E8277BA45EC2}"/>
              </a:ext>
            </a:extLst>
          </p:cNvPr>
          <p:cNvSpPr>
            <a:spLocks noGrp="1"/>
          </p:cNvSpPr>
          <p:nvPr>
            <p:ph type="body" sz="quarter" idx="14"/>
          </p:nvPr>
        </p:nvSpPr>
        <p:spPr>
          <a:xfrm>
            <a:off x="914721" y="2198886"/>
            <a:ext cx="10362880" cy="475488"/>
          </a:xfrm>
        </p:spPr>
        <p:txBody>
          <a:bodyPr/>
          <a:lstStyle/>
          <a:p>
            <a:endParaRPr lang="en-US"/>
          </a:p>
        </p:txBody>
      </p:sp>
      <p:sp>
        <p:nvSpPr>
          <p:cNvPr id="4" name="Text Placeholder 3">
            <a:extLst>
              <a:ext uri="{FF2B5EF4-FFF2-40B4-BE49-F238E27FC236}">
                <a16:creationId xmlns:a16="http://schemas.microsoft.com/office/drawing/2014/main" id="{435581D2-1B6D-420C-9310-073769201D24}"/>
              </a:ext>
            </a:extLst>
          </p:cNvPr>
          <p:cNvSpPr>
            <a:spLocks noGrp="1"/>
          </p:cNvSpPr>
          <p:nvPr>
            <p:ph type="body" sz="quarter" idx="15"/>
          </p:nvPr>
        </p:nvSpPr>
        <p:spPr/>
        <p:txBody>
          <a:bodyPr/>
          <a:lstStyle/>
          <a:p>
            <a:r>
              <a:rPr lang="en-US" dirty="0"/>
              <a:t>Plans, timelines and roadmaps </a:t>
            </a:r>
          </a:p>
          <a:p>
            <a:endParaRPr lang="en-US" dirty="0"/>
          </a:p>
        </p:txBody>
      </p:sp>
      <p:sp>
        <p:nvSpPr>
          <p:cNvPr id="10" name="Rectangle 9">
            <a:extLst>
              <a:ext uri="{FF2B5EF4-FFF2-40B4-BE49-F238E27FC236}">
                <a16:creationId xmlns:a16="http://schemas.microsoft.com/office/drawing/2014/main" id="{0497DD26-8450-4CC4-9F54-32B74A500D27}"/>
              </a:ext>
            </a:extLst>
          </p:cNvPr>
          <p:cNvSpPr/>
          <p:nvPr/>
        </p:nvSpPr>
        <p:spPr>
          <a:xfrm>
            <a:off x="10256363" y="5881620"/>
            <a:ext cx="1872128" cy="4138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11" name="Rectangle 10">
            <a:extLst>
              <a:ext uri="{FF2B5EF4-FFF2-40B4-BE49-F238E27FC236}">
                <a16:creationId xmlns:a16="http://schemas.microsoft.com/office/drawing/2014/main" id="{8726F9EB-EE6E-4536-90EB-300B922A36FC}"/>
              </a:ext>
            </a:extLst>
          </p:cNvPr>
          <p:cNvSpPr/>
          <p:nvPr/>
        </p:nvSpPr>
        <p:spPr>
          <a:xfrm>
            <a:off x="724842" y="1621235"/>
            <a:ext cx="11027146" cy="327299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12" name="Round Same Side Corner Rectangle 7">
            <a:extLst>
              <a:ext uri="{FF2B5EF4-FFF2-40B4-BE49-F238E27FC236}">
                <a16:creationId xmlns:a16="http://schemas.microsoft.com/office/drawing/2014/main" id="{DA8097E5-952C-4EA5-BAB6-B892E3E7F49F}"/>
              </a:ext>
            </a:extLst>
          </p:cNvPr>
          <p:cNvSpPr/>
          <p:nvPr/>
        </p:nvSpPr>
        <p:spPr>
          <a:xfrm rot="16200000">
            <a:off x="-1124339" y="3044439"/>
            <a:ext cx="3272998" cy="408723"/>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Open Sans"/>
                <a:ea typeface="Microsoft YaHei"/>
                <a:cs typeface="+mn-cs"/>
              </a:rPr>
              <a:t>User Outcomes</a:t>
            </a:r>
          </a:p>
        </p:txBody>
      </p:sp>
      <p:sp>
        <p:nvSpPr>
          <p:cNvPr id="13" name="Rectangle 12">
            <a:extLst>
              <a:ext uri="{FF2B5EF4-FFF2-40B4-BE49-F238E27FC236}">
                <a16:creationId xmlns:a16="http://schemas.microsoft.com/office/drawing/2014/main" id="{10622AA4-28CC-46EC-83D2-E384B0C980E0}"/>
              </a:ext>
            </a:extLst>
          </p:cNvPr>
          <p:cNvSpPr/>
          <p:nvPr/>
        </p:nvSpPr>
        <p:spPr>
          <a:xfrm>
            <a:off x="724842" y="4944081"/>
            <a:ext cx="11027146" cy="10300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14" name="Round Same Side Corner Rectangle 54">
            <a:extLst>
              <a:ext uri="{FF2B5EF4-FFF2-40B4-BE49-F238E27FC236}">
                <a16:creationId xmlns:a16="http://schemas.microsoft.com/office/drawing/2014/main" id="{E505FF0A-612F-4F7B-9514-9FD44B1911F1}"/>
              </a:ext>
            </a:extLst>
          </p:cNvPr>
          <p:cNvSpPr/>
          <p:nvPr/>
        </p:nvSpPr>
        <p:spPr>
          <a:xfrm rot="16200000">
            <a:off x="-2881" y="5254758"/>
            <a:ext cx="1030078" cy="408723"/>
          </a:xfrm>
          <a:prstGeom prst="round2Same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Open Sans"/>
                <a:ea typeface="Microsoft YaHei"/>
                <a:cs typeface="+mn-cs"/>
              </a:rPr>
              <a:t>Sustainable Op Model</a:t>
            </a:r>
          </a:p>
        </p:txBody>
      </p:sp>
      <p:grpSp>
        <p:nvGrpSpPr>
          <p:cNvPr id="19" name="Group 18">
            <a:extLst>
              <a:ext uri="{FF2B5EF4-FFF2-40B4-BE49-F238E27FC236}">
                <a16:creationId xmlns:a16="http://schemas.microsoft.com/office/drawing/2014/main" id="{AADF5194-E752-4D23-94B4-3121526FC2A5}"/>
              </a:ext>
            </a:extLst>
          </p:cNvPr>
          <p:cNvGrpSpPr/>
          <p:nvPr/>
        </p:nvGrpSpPr>
        <p:grpSpPr>
          <a:xfrm>
            <a:off x="462564" y="5942439"/>
            <a:ext cx="11665927" cy="353064"/>
            <a:chOff x="454097" y="6126168"/>
            <a:chExt cx="11665927" cy="353064"/>
          </a:xfrm>
        </p:grpSpPr>
        <p:cxnSp>
          <p:nvCxnSpPr>
            <p:cNvPr id="20" name="Straight Connector 19">
              <a:extLst>
                <a:ext uri="{FF2B5EF4-FFF2-40B4-BE49-F238E27FC236}">
                  <a16:creationId xmlns:a16="http://schemas.microsoft.com/office/drawing/2014/main" id="{AA1CE344-D30D-4E9A-9D41-111E96E57991}"/>
                </a:ext>
              </a:extLst>
            </p:cNvPr>
            <p:cNvCxnSpPr/>
            <p:nvPr/>
          </p:nvCxnSpPr>
          <p:spPr>
            <a:xfrm>
              <a:off x="708053" y="6164093"/>
              <a:ext cx="11024383"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ADF04A1-8F85-4CA0-B8F2-01A3DA8B3EB3}"/>
                </a:ext>
              </a:extLst>
            </p:cNvPr>
            <p:cNvCxnSpPr/>
            <p:nvPr/>
          </p:nvCxnSpPr>
          <p:spPr>
            <a:xfrm>
              <a:off x="859722" y="6126168"/>
              <a:ext cx="0" cy="9144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279EA18D-1649-4B05-AC71-F116BE16811B}"/>
                </a:ext>
              </a:extLst>
            </p:cNvPr>
            <p:cNvCxnSpPr/>
            <p:nvPr/>
          </p:nvCxnSpPr>
          <p:spPr>
            <a:xfrm>
              <a:off x="2037697" y="6126168"/>
              <a:ext cx="0" cy="9144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F249C79-25FC-4E31-98D0-F830B36D47E7}"/>
                </a:ext>
              </a:extLst>
            </p:cNvPr>
            <p:cNvCxnSpPr/>
            <p:nvPr/>
          </p:nvCxnSpPr>
          <p:spPr>
            <a:xfrm>
              <a:off x="3249540" y="6126168"/>
              <a:ext cx="0" cy="9144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B358981-8EA3-48C0-AAB0-E3DA30A17B50}"/>
                </a:ext>
              </a:extLst>
            </p:cNvPr>
            <p:cNvCxnSpPr/>
            <p:nvPr/>
          </p:nvCxnSpPr>
          <p:spPr>
            <a:xfrm>
              <a:off x="4461383" y="6126168"/>
              <a:ext cx="0" cy="9144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79BEAB6-9E3B-48F3-B88F-35195D1F35A3}"/>
                </a:ext>
              </a:extLst>
            </p:cNvPr>
            <p:cNvCxnSpPr/>
            <p:nvPr/>
          </p:nvCxnSpPr>
          <p:spPr>
            <a:xfrm>
              <a:off x="5673227" y="6126168"/>
              <a:ext cx="0" cy="9144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5FA6562C-9D7A-4B80-8A44-2E012D1BAFB9}"/>
                </a:ext>
              </a:extLst>
            </p:cNvPr>
            <p:cNvGrpSpPr/>
            <p:nvPr/>
          </p:nvGrpSpPr>
          <p:grpSpPr>
            <a:xfrm>
              <a:off x="6885070" y="6126168"/>
              <a:ext cx="2423685" cy="91440"/>
              <a:chOff x="6885070" y="6126168"/>
              <a:chExt cx="2423685" cy="91440"/>
            </a:xfrm>
          </p:grpSpPr>
          <p:cxnSp>
            <p:nvCxnSpPr>
              <p:cNvPr id="39" name="Straight Connector 38">
                <a:extLst>
                  <a:ext uri="{FF2B5EF4-FFF2-40B4-BE49-F238E27FC236}">
                    <a16:creationId xmlns:a16="http://schemas.microsoft.com/office/drawing/2014/main" id="{ABBB9FA1-7167-4847-AA4A-11155BE4B218}"/>
                  </a:ext>
                </a:extLst>
              </p:cNvPr>
              <p:cNvCxnSpPr/>
              <p:nvPr/>
            </p:nvCxnSpPr>
            <p:spPr>
              <a:xfrm>
                <a:off x="6885070" y="6126168"/>
                <a:ext cx="0" cy="9144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12AE0F7-DBF9-42FE-BCBF-2915ED1CF4DA}"/>
                  </a:ext>
                </a:extLst>
              </p:cNvPr>
              <p:cNvCxnSpPr/>
              <p:nvPr/>
            </p:nvCxnSpPr>
            <p:spPr>
              <a:xfrm>
                <a:off x="8096913" y="6126168"/>
                <a:ext cx="0" cy="9144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E7F3C2A-28DB-4DA7-A35A-064CA22DD847}"/>
                  </a:ext>
                </a:extLst>
              </p:cNvPr>
              <p:cNvCxnSpPr/>
              <p:nvPr/>
            </p:nvCxnSpPr>
            <p:spPr>
              <a:xfrm>
                <a:off x="9308755" y="6126168"/>
                <a:ext cx="0" cy="9144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E505815E-19F1-4275-B5E3-6EA6AD5E8BA3}"/>
                </a:ext>
              </a:extLst>
            </p:cNvPr>
            <p:cNvSpPr txBox="1"/>
            <p:nvPr/>
          </p:nvSpPr>
          <p:spPr>
            <a:xfrm>
              <a:off x="454097" y="6248400"/>
              <a:ext cx="759352" cy="230832"/>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Q2 FY19</a:t>
              </a:r>
            </a:p>
          </p:txBody>
        </p:sp>
        <p:sp>
          <p:nvSpPr>
            <p:cNvPr id="28" name="TextBox 27">
              <a:extLst>
                <a:ext uri="{FF2B5EF4-FFF2-40B4-BE49-F238E27FC236}">
                  <a16:creationId xmlns:a16="http://schemas.microsoft.com/office/drawing/2014/main" id="{6623C0C0-5E97-4AD7-B185-8EE3428D41A7}"/>
                </a:ext>
              </a:extLst>
            </p:cNvPr>
            <p:cNvSpPr txBox="1"/>
            <p:nvPr/>
          </p:nvSpPr>
          <p:spPr>
            <a:xfrm>
              <a:off x="1665938" y="6248400"/>
              <a:ext cx="759352" cy="230832"/>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Q3 FY19</a:t>
              </a:r>
            </a:p>
          </p:txBody>
        </p:sp>
        <p:sp>
          <p:nvSpPr>
            <p:cNvPr id="29" name="TextBox 28">
              <a:extLst>
                <a:ext uri="{FF2B5EF4-FFF2-40B4-BE49-F238E27FC236}">
                  <a16:creationId xmlns:a16="http://schemas.microsoft.com/office/drawing/2014/main" id="{EB287451-1B7D-4CAC-A004-2EF6C8BFE6F9}"/>
                </a:ext>
              </a:extLst>
            </p:cNvPr>
            <p:cNvSpPr txBox="1"/>
            <p:nvPr/>
          </p:nvSpPr>
          <p:spPr>
            <a:xfrm>
              <a:off x="2877780" y="6248400"/>
              <a:ext cx="759352" cy="230832"/>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Q4 FY19</a:t>
              </a:r>
            </a:p>
          </p:txBody>
        </p:sp>
        <p:sp>
          <p:nvSpPr>
            <p:cNvPr id="30" name="TextBox 29">
              <a:extLst>
                <a:ext uri="{FF2B5EF4-FFF2-40B4-BE49-F238E27FC236}">
                  <a16:creationId xmlns:a16="http://schemas.microsoft.com/office/drawing/2014/main" id="{B407E355-5082-4708-9FFB-DADAB5763A91}"/>
                </a:ext>
              </a:extLst>
            </p:cNvPr>
            <p:cNvSpPr txBox="1"/>
            <p:nvPr/>
          </p:nvSpPr>
          <p:spPr>
            <a:xfrm>
              <a:off x="4089625" y="6248400"/>
              <a:ext cx="759352" cy="230832"/>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Q1 FY20</a:t>
              </a:r>
            </a:p>
          </p:txBody>
        </p:sp>
        <p:sp>
          <p:nvSpPr>
            <p:cNvPr id="31" name="TextBox 30">
              <a:extLst>
                <a:ext uri="{FF2B5EF4-FFF2-40B4-BE49-F238E27FC236}">
                  <a16:creationId xmlns:a16="http://schemas.microsoft.com/office/drawing/2014/main" id="{C8AA6761-A6A4-4E61-8947-D59318DACEA0}"/>
                </a:ext>
              </a:extLst>
            </p:cNvPr>
            <p:cNvSpPr txBox="1"/>
            <p:nvPr/>
          </p:nvSpPr>
          <p:spPr>
            <a:xfrm>
              <a:off x="5301466" y="6248400"/>
              <a:ext cx="759352" cy="230832"/>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Q2 FY20</a:t>
              </a:r>
            </a:p>
          </p:txBody>
        </p:sp>
        <p:sp>
          <p:nvSpPr>
            <p:cNvPr id="32" name="TextBox 31">
              <a:extLst>
                <a:ext uri="{FF2B5EF4-FFF2-40B4-BE49-F238E27FC236}">
                  <a16:creationId xmlns:a16="http://schemas.microsoft.com/office/drawing/2014/main" id="{3230663A-8A6F-447E-AD27-8786DC44EBCB}"/>
                </a:ext>
              </a:extLst>
            </p:cNvPr>
            <p:cNvSpPr txBox="1"/>
            <p:nvPr/>
          </p:nvSpPr>
          <p:spPr>
            <a:xfrm>
              <a:off x="6513307" y="6248400"/>
              <a:ext cx="759352" cy="230832"/>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Q3 FY20</a:t>
              </a:r>
            </a:p>
          </p:txBody>
        </p:sp>
        <p:sp>
          <p:nvSpPr>
            <p:cNvPr id="33" name="TextBox 32">
              <a:extLst>
                <a:ext uri="{FF2B5EF4-FFF2-40B4-BE49-F238E27FC236}">
                  <a16:creationId xmlns:a16="http://schemas.microsoft.com/office/drawing/2014/main" id="{2F9636D1-9D9F-4E11-B60E-450A5DD2A38B}"/>
                </a:ext>
              </a:extLst>
            </p:cNvPr>
            <p:cNvSpPr txBox="1"/>
            <p:nvPr/>
          </p:nvSpPr>
          <p:spPr>
            <a:xfrm>
              <a:off x="7725149" y="6248400"/>
              <a:ext cx="759352" cy="230832"/>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Q4 FY20</a:t>
              </a:r>
            </a:p>
          </p:txBody>
        </p:sp>
        <p:sp>
          <p:nvSpPr>
            <p:cNvPr id="34" name="TextBox 33">
              <a:extLst>
                <a:ext uri="{FF2B5EF4-FFF2-40B4-BE49-F238E27FC236}">
                  <a16:creationId xmlns:a16="http://schemas.microsoft.com/office/drawing/2014/main" id="{943FA285-3348-421D-9857-6CEC2D61F0DD}"/>
                </a:ext>
              </a:extLst>
            </p:cNvPr>
            <p:cNvSpPr txBox="1"/>
            <p:nvPr/>
          </p:nvSpPr>
          <p:spPr>
            <a:xfrm>
              <a:off x="8936990" y="6248400"/>
              <a:ext cx="759352" cy="230832"/>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Q1 FY21</a:t>
              </a:r>
            </a:p>
          </p:txBody>
        </p:sp>
        <p:sp>
          <p:nvSpPr>
            <p:cNvPr id="35" name="TextBox 34">
              <a:extLst>
                <a:ext uri="{FF2B5EF4-FFF2-40B4-BE49-F238E27FC236}">
                  <a16:creationId xmlns:a16="http://schemas.microsoft.com/office/drawing/2014/main" id="{FA80EC12-CE72-4D73-BC41-DB2429156184}"/>
                </a:ext>
              </a:extLst>
            </p:cNvPr>
            <p:cNvSpPr txBox="1"/>
            <p:nvPr/>
          </p:nvSpPr>
          <p:spPr>
            <a:xfrm>
              <a:off x="10148831" y="6248400"/>
              <a:ext cx="759352" cy="230832"/>
            </a:xfrm>
            <a:prstGeom prst="rect">
              <a:avLst/>
            </a:prstGeom>
            <a:solidFill>
              <a:srgbClr val="FFFFFF">
                <a:alpha val="89804"/>
              </a:srgbClr>
            </a:solid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Q2 FY21</a:t>
              </a:r>
            </a:p>
          </p:txBody>
        </p:sp>
        <p:sp>
          <p:nvSpPr>
            <p:cNvPr id="36" name="TextBox 35">
              <a:extLst>
                <a:ext uri="{FF2B5EF4-FFF2-40B4-BE49-F238E27FC236}">
                  <a16:creationId xmlns:a16="http://schemas.microsoft.com/office/drawing/2014/main" id="{5AC9C47E-5E5E-4177-B96A-ABBBF89D1439}"/>
                </a:ext>
              </a:extLst>
            </p:cNvPr>
            <p:cNvSpPr txBox="1"/>
            <p:nvPr/>
          </p:nvSpPr>
          <p:spPr>
            <a:xfrm>
              <a:off x="11360672" y="6248400"/>
              <a:ext cx="759352" cy="230832"/>
            </a:xfrm>
            <a:prstGeom prst="rect">
              <a:avLst/>
            </a:prstGeom>
            <a:solidFill>
              <a:srgbClr val="FFFFFF">
                <a:alpha val="89804"/>
              </a:srgbClr>
            </a:solid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Q3 FY21</a:t>
              </a:r>
            </a:p>
          </p:txBody>
        </p:sp>
        <p:cxnSp>
          <p:nvCxnSpPr>
            <p:cNvPr id="37" name="Straight Connector 36">
              <a:extLst>
                <a:ext uri="{FF2B5EF4-FFF2-40B4-BE49-F238E27FC236}">
                  <a16:creationId xmlns:a16="http://schemas.microsoft.com/office/drawing/2014/main" id="{4A22C75C-F459-4E9C-9498-A7006EE659DA}"/>
                </a:ext>
              </a:extLst>
            </p:cNvPr>
            <p:cNvCxnSpPr/>
            <p:nvPr/>
          </p:nvCxnSpPr>
          <p:spPr>
            <a:xfrm>
              <a:off x="10504309" y="6126168"/>
              <a:ext cx="0" cy="9144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12C9740-1128-4A38-A26A-82937ABAE2F8}"/>
                </a:ext>
              </a:extLst>
            </p:cNvPr>
            <p:cNvCxnSpPr/>
            <p:nvPr/>
          </p:nvCxnSpPr>
          <p:spPr>
            <a:xfrm>
              <a:off x="11741553" y="6126168"/>
              <a:ext cx="0" cy="9144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42" name="Rounded Rectangle 24">
            <a:extLst>
              <a:ext uri="{FF2B5EF4-FFF2-40B4-BE49-F238E27FC236}">
                <a16:creationId xmlns:a16="http://schemas.microsoft.com/office/drawing/2014/main" id="{37E9350C-5228-43F1-9B9E-CA3270B573C6}"/>
              </a:ext>
            </a:extLst>
          </p:cNvPr>
          <p:cNvSpPr/>
          <p:nvPr/>
        </p:nvSpPr>
        <p:spPr>
          <a:xfrm>
            <a:off x="971528" y="1883849"/>
            <a:ext cx="10643616" cy="168604"/>
          </a:xfrm>
          <a:prstGeom prst="roundRect">
            <a:avLst>
              <a:gd name="adj" fmla="val 50000"/>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1A75CF"/>
              </a:solidFill>
              <a:effectLst/>
              <a:uLnTx/>
              <a:uFillTx/>
              <a:latin typeface="Open Sans"/>
              <a:ea typeface="Microsoft YaHei"/>
              <a:cs typeface="+mn-cs"/>
            </a:endParaRPr>
          </a:p>
        </p:txBody>
      </p:sp>
      <p:sp>
        <p:nvSpPr>
          <p:cNvPr id="43" name="Rounded Rectangle 101">
            <a:extLst>
              <a:ext uri="{FF2B5EF4-FFF2-40B4-BE49-F238E27FC236}">
                <a16:creationId xmlns:a16="http://schemas.microsoft.com/office/drawing/2014/main" id="{C298C104-8423-4174-8C88-3E81C182C736}"/>
              </a:ext>
            </a:extLst>
          </p:cNvPr>
          <p:cNvSpPr/>
          <p:nvPr/>
        </p:nvSpPr>
        <p:spPr>
          <a:xfrm>
            <a:off x="971528" y="2971257"/>
            <a:ext cx="10643616" cy="168604"/>
          </a:xfrm>
          <a:prstGeom prst="roundRect">
            <a:avLst>
              <a:gd name="adj" fmla="val 50000"/>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1A75CF"/>
              </a:solidFill>
              <a:effectLst/>
              <a:uLnTx/>
              <a:uFillTx/>
              <a:latin typeface="Open Sans"/>
              <a:ea typeface="Microsoft YaHei"/>
              <a:cs typeface="+mn-cs"/>
            </a:endParaRPr>
          </a:p>
        </p:txBody>
      </p:sp>
      <p:sp>
        <p:nvSpPr>
          <p:cNvPr id="44" name="Rounded Rectangle 102">
            <a:extLst>
              <a:ext uri="{FF2B5EF4-FFF2-40B4-BE49-F238E27FC236}">
                <a16:creationId xmlns:a16="http://schemas.microsoft.com/office/drawing/2014/main" id="{8571B008-DAD4-4BDB-BF71-283D7C8F9FF2}"/>
              </a:ext>
            </a:extLst>
          </p:cNvPr>
          <p:cNvSpPr/>
          <p:nvPr/>
        </p:nvSpPr>
        <p:spPr>
          <a:xfrm>
            <a:off x="971528" y="4074631"/>
            <a:ext cx="10643616" cy="168604"/>
          </a:xfrm>
          <a:prstGeom prst="roundRect">
            <a:avLst>
              <a:gd name="adj" fmla="val 50000"/>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1A75CF"/>
              </a:solidFill>
              <a:effectLst/>
              <a:uLnTx/>
              <a:uFillTx/>
              <a:latin typeface="Open Sans"/>
              <a:ea typeface="Microsoft YaHei"/>
              <a:cs typeface="+mn-cs"/>
            </a:endParaRPr>
          </a:p>
        </p:txBody>
      </p:sp>
      <p:grpSp>
        <p:nvGrpSpPr>
          <p:cNvPr id="45" name="Group 44">
            <a:extLst>
              <a:ext uri="{FF2B5EF4-FFF2-40B4-BE49-F238E27FC236}">
                <a16:creationId xmlns:a16="http://schemas.microsoft.com/office/drawing/2014/main" id="{5AFD9D15-BBA2-49EC-A5BE-4A3CED29E016}"/>
              </a:ext>
            </a:extLst>
          </p:cNvPr>
          <p:cNvGrpSpPr/>
          <p:nvPr/>
        </p:nvGrpSpPr>
        <p:grpSpPr>
          <a:xfrm>
            <a:off x="3473040" y="1844129"/>
            <a:ext cx="236097" cy="236097"/>
            <a:chOff x="2860047" y="-599433"/>
            <a:chExt cx="434501" cy="434501"/>
          </a:xfrm>
        </p:grpSpPr>
        <p:sp>
          <p:nvSpPr>
            <p:cNvPr id="46" name="Teardrop 45">
              <a:extLst>
                <a:ext uri="{FF2B5EF4-FFF2-40B4-BE49-F238E27FC236}">
                  <a16:creationId xmlns:a16="http://schemas.microsoft.com/office/drawing/2014/main" id="{0298E3E5-3045-4918-86A8-D023E911F1D8}"/>
                </a:ext>
              </a:extLst>
            </p:cNvPr>
            <p:cNvSpPr/>
            <p:nvPr/>
          </p:nvSpPr>
          <p:spPr>
            <a:xfrm rot="8125434">
              <a:off x="2860047" y="-599433"/>
              <a:ext cx="434501" cy="434501"/>
            </a:xfrm>
            <a:prstGeom prst="teardrop">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47" name="Oval 46">
              <a:extLst>
                <a:ext uri="{FF2B5EF4-FFF2-40B4-BE49-F238E27FC236}">
                  <a16:creationId xmlns:a16="http://schemas.microsoft.com/office/drawing/2014/main" id="{15736357-ECE0-4915-B904-AF7D300C717B}"/>
                </a:ext>
              </a:extLst>
            </p:cNvPr>
            <p:cNvSpPr/>
            <p:nvPr/>
          </p:nvSpPr>
          <p:spPr>
            <a:xfrm>
              <a:off x="2977201" y="-481238"/>
              <a:ext cx="198110" cy="19811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grpSp>
      <p:sp>
        <p:nvSpPr>
          <p:cNvPr id="48" name="TextBox 47">
            <a:extLst>
              <a:ext uri="{FF2B5EF4-FFF2-40B4-BE49-F238E27FC236}">
                <a16:creationId xmlns:a16="http://schemas.microsoft.com/office/drawing/2014/main" id="{B948DE41-A66E-4D3F-8C33-5A6B9F66B5CA}"/>
              </a:ext>
            </a:extLst>
          </p:cNvPr>
          <p:cNvSpPr txBox="1"/>
          <p:nvPr/>
        </p:nvSpPr>
        <p:spPr>
          <a:xfrm>
            <a:off x="2941586" y="2115649"/>
            <a:ext cx="1338080" cy="348813"/>
          </a:xfrm>
          <a:prstGeom prst="rect">
            <a:avLst/>
          </a:prstGeom>
          <a:noFill/>
        </p:spPr>
        <p:txBody>
          <a:bodyPr wrap="square" rtlCol="0">
            <a:spAutoFit/>
          </a:bodyPr>
          <a:lstStyle/>
          <a:p>
            <a:pPr marL="0" marR="0" lvl="0" indent="0" algn="ctr" defTabSz="1219170" rtl="0" eaLnBrk="1" fontAlgn="auto" latinLnBrk="0" hangingPunct="1">
              <a:lnSpc>
                <a:spcPts val="1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sert critical milestone</a:t>
            </a:r>
          </a:p>
        </p:txBody>
      </p:sp>
      <p:sp>
        <p:nvSpPr>
          <p:cNvPr id="50" name="Rounded Rectangle 106">
            <a:extLst>
              <a:ext uri="{FF2B5EF4-FFF2-40B4-BE49-F238E27FC236}">
                <a16:creationId xmlns:a16="http://schemas.microsoft.com/office/drawing/2014/main" id="{5BD2D050-20CA-4CAF-8235-F2A23A429BB8}"/>
              </a:ext>
            </a:extLst>
          </p:cNvPr>
          <p:cNvSpPr/>
          <p:nvPr/>
        </p:nvSpPr>
        <p:spPr>
          <a:xfrm>
            <a:off x="971528" y="5292896"/>
            <a:ext cx="10643616" cy="168604"/>
          </a:xfrm>
          <a:prstGeom prst="roundRect">
            <a:avLst>
              <a:gd name="adj" fmla="val 50000"/>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7AC142"/>
              </a:solidFill>
              <a:effectLst/>
              <a:uLnTx/>
              <a:uFillTx/>
              <a:latin typeface="Open Sans"/>
              <a:ea typeface="Microsoft YaHei"/>
              <a:cs typeface="+mn-cs"/>
            </a:endParaRPr>
          </a:p>
        </p:txBody>
      </p:sp>
      <p:sp>
        <p:nvSpPr>
          <p:cNvPr id="55" name="TextBox 54">
            <a:extLst>
              <a:ext uri="{FF2B5EF4-FFF2-40B4-BE49-F238E27FC236}">
                <a16:creationId xmlns:a16="http://schemas.microsoft.com/office/drawing/2014/main" id="{2D1D5915-FA22-4032-B766-2895E3FC5F6F}"/>
              </a:ext>
            </a:extLst>
          </p:cNvPr>
          <p:cNvSpPr txBox="1"/>
          <p:nvPr/>
        </p:nvSpPr>
        <p:spPr>
          <a:xfrm>
            <a:off x="891763" y="2115649"/>
            <a:ext cx="1142696" cy="348813"/>
          </a:xfrm>
          <a:prstGeom prst="rect">
            <a:avLst/>
          </a:prstGeom>
          <a:noFill/>
        </p:spPr>
        <p:txBody>
          <a:bodyPr wrap="square" rtlCol="0">
            <a:spAutoFit/>
          </a:bodyPr>
          <a:lstStyle/>
          <a:p>
            <a:pPr marL="0" marR="0" lvl="0" indent="0" algn="r" defTabSz="1219170" rtl="0" eaLnBrk="1" fontAlgn="auto" latinLnBrk="0" hangingPunct="1">
              <a:lnSpc>
                <a:spcPts val="1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sert interim outcome</a:t>
            </a:r>
          </a:p>
        </p:txBody>
      </p:sp>
      <p:sp>
        <p:nvSpPr>
          <p:cNvPr id="56" name="Oval 55">
            <a:extLst>
              <a:ext uri="{FF2B5EF4-FFF2-40B4-BE49-F238E27FC236}">
                <a16:creationId xmlns:a16="http://schemas.microsoft.com/office/drawing/2014/main" id="{25100747-FD44-4D73-A678-1534CFA5C661}"/>
              </a:ext>
            </a:extLst>
          </p:cNvPr>
          <p:cNvSpPr/>
          <p:nvPr/>
        </p:nvSpPr>
        <p:spPr>
          <a:xfrm>
            <a:off x="2542642" y="1898959"/>
            <a:ext cx="138421" cy="138421"/>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57" name="TextBox 56">
            <a:extLst>
              <a:ext uri="{FF2B5EF4-FFF2-40B4-BE49-F238E27FC236}">
                <a16:creationId xmlns:a16="http://schemas.microsoft.com/office/drawing/2014/main" id="{41072867-5F20-47EC-A500-F1D695A1F234}"/>
              </a:ext>
            </a:extLst>
          </p:cNvPr>
          <p:cNvSpPr txBox="1"/>
          <p:nvPr/>
        </p:nvSpPr>
        <p:spPr>
          <a:xfrm>
            <a:off x="2014349" y="2115649"/>
            <a:ext cx="1126728" cy="348813"/>
          </a:xfrm>
          <a:prstGeom prst="rect">
            <a:avLst/>
          </a:prstGeom>
          <a:noFill/>
        </p:spPr>
        <p:txBody>
          <a:bodyPr wrap="square" rtlCol="0">
            <a:spAutoFit/>
          </a:bodyPr>
          <a:lstStyle/>
          <a:p>
            <a:pPr marL="0" marR="0" lvl="0" indent="0" algn="ctr" defTabSz="1219170" rtl="0" eaLnBrk="1" fontAlgn="auto" latinLnBrk="0" hangingPunct="1">
              <a:lnSpc>
                <a:spcPts val="1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sert critical milestone</a:t>
            </a:r>
          </a:p>
        </p:txBody>
      </p:sp>
      <p:sp>
        <p:nvSpPr>
          <p:cNvPr id="58" name="TextBox 57">
            <a:extLst>
              <a:ext uri="{FF2B5EF4-FFF2-40B4-BE49-F238E27FC236}">
                <a16:creationId xmlns:a16="http://schemas.microsoft.com/office/drawing/2014/main" id="{BBE2F766-1474-43C3-8EDC-4D6510B44AC9}"/>
              </a:ext>
            </a:extLst>
          </p:cNvPr>
          <p:cNvSpPr txBox="1"/>
          <p:nvPr/>
        </p:nvSpPr>
        <p:spPr>
          <a:xfrm>
            <a:off x="1107915" y="4337108"/>
            <a:ext cx="1721062" cy="220573"/>
          </a:xfrm>
          <a:prstGeom prst="rect">
            <a:avLst/>
          </a:prstGeom>
          <a:noFill/>
        </p:spPr>
        <p:txBody>
          <a:bodyPr wrap="square" rtlCol="0">
            <a:spAutoFit/>
          </a:bodyPr>
          <a:lstStyle>
            <a:defPPr>
              <a:defRPr lang="en-US"/>
            </a:defPPr>
            <a:lvl1pPr>
              <a:lnSpc>
                <a:spcPts val="1000"/>
              </a:lnSpc>
              <a:defRPr sz="1050">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ctr" defTabSz="1219170" rtl="0" eaLnBrk="1" fontAlgn="auto" latinLnBrk="0" hangingPunct="1">
              <a:lnSpc>
                <a:spcPts val="1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sert interim outcome</a:t>
            </a:r>
          </a:p>
        </p:txBody>
      </p:sp>
      <p:sp>
        <p:nvSpPr>
          <p:cNvPr id="59" name="TextBox 58">
            <a:extLst>
              <a:ext uri="{FF2B5EF4-FFF2-40B4-BE49-F238E27FC236}">
                <a16:creationId xmlns:a16="http://schemas.microsoft.com/office/drawing/2014/main" id="{5495ADD7-CFE7-462F-8B48-2D4C5CFAA0DA}"/>
              </a:ext>
            </a:extLst>
          </p:cNvPr>
          <p:cNvSpPr txBox="1"/>
          <p:nvPr/>
        </p:nvSpPr>
        <p:spPr>
          <a:xfrm>
            <a:off x="1917461" y="3251999"/>
            <a:ext cx="998697" cy="348813"/>
          </a:xfrm>
          <a:prstGeom prst="rect">
            <a:avLst/>
          </a:prstGeom>
          <a:noFill/>
        </p:spPr>
        <p:txBody>
          <a:bodyPr wrap="square" rtlCol="0">
            <a:spAutoFit/>
          </a:bodyPr>
          <a:lstStyle/>
          <a:p>
            <a:pPr marL="0" marR="0" lvl="0" indent="0" algn="r" defTabSz="1219170" rtl="0" eaLnBrk="1" fontAlgn="auto" latinLnBrk="0" hangingPunct="1">
              <a:lnSpc>
                <a:spcPts val="1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sert interim outcome</a:t>
            </a:r>
          </a:p>
        </p:txBody>
      </p:sp>
      <p:sp>
        <p:nvSpPr>
          <p:cNvPr id="60" name="TextBox 59">
            <a:extLst>
              <a:ext uri="{FF2B5EF4-FFF2-40B4-BE49-F238E27FC236}">
                <a16:creationId xmlns:a16="http://schemas.microsoft.com/office/drawing/2014/main" id="{CC8589E6-9667-497E-9C54-9D1FE8EE3DCC}"/>
              </a:ext>
            </a:extLst>
          </p:cNvPr>
          <p:cNvSpPr txBox="1"/>
          <p:nvPr/>
        </p:nvSpPr>
        <p:spPr>
          <a:xfrm>
            <a:off x="2811764" y="3243066"/>
            <a:ext cx="1469032" cy="220573"/>
          </a:xfrm>
          <a:prstGeom prst="rect">
            <a:avLst/>
          </a:prstGeom>
          <a:noFill/>
        </p:spPr>
        <p:txBody>
          <a:bodyPr wrap="square" rtlCol="0">
            <a:spAutoFit/>
          </a:bodyPr>
          <a:lstStyle/>
          <a:p>
            <a:pPr marL="0" marR="0" lvl="0" indent="0" algn="r" defTabSz="1219170" rtl="0" eaLnBrk="1" fontAlgn="auto" latinLnBrk="0" hangingPunct="1">
              <a:lnSpc>
                <a:spcPts val="1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sert interim outcome</a:t>
            </a:r>
          </a:p>
        </p:txBody>
      </p:sp>
      <p:grpSp>
        <p:nvGrpSpPr>
          <p:cNvPr id="65" name="Group 64">
            <a:extLst>
              <a:ext uri="{FF2B5EF4-FFF2-40B4-BE49-F238E27FC236}">
                <a16:creationId xmlns:a16="http://schemas.microsoft.com/office/drawing/2014/main" id="{9960FD08-1AFC-4FDF-9519-7213E21B6B8C}"/>
              </a:ext>
            </a:extLst>
          </p:cNvPr>
          <p:cNvGrpSpPr/>
          <p:nvPr/>
        </p:nvGrpSpPr>
        <p:grpSpPr>
          <a:xfrm>
            <a:off x="7339699" y="5238244"/>
            <a:ext cx="236097" cy="236097"/>
            <a:chOff x="2860047" y="-599433"/>
            <a:chExt cx="434501" cy="434501"/>
          </a:xfrm>
        </p:grpSpPr>
        <p:sp>
          <p:nvSpPr>
            <p:cNvPr id="66" name="Teardrop 65">
              <a:extLst>
                <a:ext uri="{FF2B5EF4-FFF2-40B4-BE49-F238E27FC236}">
                  <a16:creationId xmlns:a16="http://schemas.microsoft.com/office/drawing/2014/main" id="{B573DFB4-F2A3-4436-9D49-B9645AF01C50}"/>
                </a:ext>
              </a:extLst>
            </p:cNvPr>
            <p:cNvSpPr/>
            <p:nvPr/>
          </p:nvSpPr>
          <p:spPr>
            <a:xfrm rot="8125434">
              <a:off x="2860047" y="-599433"/>
              <a:ext cx="434501" cy="434501"/>
            </a:xfrm>
            <a:prstGeom prst="teardrop">
              <a:avLst/>
            </a:prstGeom>
            <a:solidFill>
              <a:schemeClr val="tx2"/>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67" name="Oval 66">
              <a:extLst>
                <a:ext uri="{FF2B5EF4-FFF2-40B4-BE49-F238E27FC236}">
                  <a16:creationId xmlns:a16="http://schemas.microsoft.com/office/drawing/2014/main" id="{F21C062E-B17F-4E37-8A33-05156B0EFA54}"/>
                </a:ext>
              </a:extLst>
            </p:cNvPr>
            <p:cNvSpPr/>
            <p:nvPr/>
          </p:nvSpPr>
          <p:spPr>
            <a:xfrm>
              <a:off x="2977201" y="-481238"/>
              <a:ext cx="198110" cy="198110"/>
            </a:xfrm>
            <a:prstGeom prst="ellipse">
              <a:avLst/>
            </a:prstGeom>
            <a:solidFill>
              <a:schemeClr val="bg1"/>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grpSp>
      <p:sp>
        <p:nvSpPr>
          <p:cNvPr id="68" name="TextBox 67">
            <a:extLst>
              <a:ext uri="{FF2B5EF4-FFF2-40B4-BE49-F238E27FC236}">
                <a16:creationId xmlns:a16="http://schemas.microsoft.com/office/drawing/2014/main" id="{256E1314-109B-42AB-B37A-2FDB4EAD29D0}"/>
              </a:ext>
            </a:extLst>
          </p:cNvPr>
          <p:cNvSpPr txBox="1"/>
          <p:nvPr/>
        </p:nvSpPr>
        <p:spPr>
          <a:xfrm>
            <a:off x="6598426" y="5523234"/>
            <a:ext cx="1699355" cy="220573"/>
          </a:xfrm>
          <a:prstGeom prst="rect">
            <a:avLst/>
          </a:prstGeom>
          <a:noFill/>
        </p:spPr>
        <p:txBody>
          <a:bodyPr wrap="square" rtlCol="0">
            <a:spAutoFit/>
          </a:bodyPr>
          <a:lstStyle/>
          <a:p>
            <a:pPr marL="0" marR="0" lvl="0" indent="0" algn="ctr" defTabSz="1219170" rtl="0" eaLnBrk="1" fontAlgn="auto" latinLnBrk="0" hangingPunct="1">
              <a:lnSpc>
                <a:spcPts val="1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sert critical milestone</a:t>
            </a:r>
          </a:p>
        </p:txBody>
      </p:sp>
      <p:sp>
        <p:nvSpPr>
          <p:cNvPr id="69" name="TextBox 68">
            <a:extLst>
              <a:ext uri="{FF2B5EF4-FFF2-40B4-BE49-F238E27FC236}">
                <a16:creationId xmlns:a16="http://schemas.microsoft.com/office/drawing/2014/main" id="{688B6DFD-286E-419C-8DC1-8399CB8D1251}"/>
              </a:ext>
            </a:extLst>
          </p:cNvPr>
          <p:cNvSpPr txBox="1"/>
          <p:nvPr/>
        </p:nvSpPr>
        <p:spPr>
          <a:xfrm>
            <a:off x="4226194" y="3243066"/>
            <a:ext cx="1198560" cy="348813"/>
          </a:xfrm>
          <a:prstGeom prst="rect">
            <a:avLst/>
          </a:prstGeom>
          <a:noFill/>
        </p:spPr>
        <p:txBody>
          <a:bodyPr wrap="square" rtlCol="0">
            <a:spAutoFit/>
          </a:bodyPr>
          <a:lstStyle/>
          <a:p>
            <a:pPr marL="0" marR="0" lvl="0" indent="0" algn="l" defTabSz="1219170" rtl="0" eaLnBrk="1" fontAlgn="auto" latinLnBrk="0" hangingPunct="1">
              <a:lnSpc>
                <a:spcPts val="1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sert critical milestone</a:t>
            </a:r>
          </a:p>
        </p:txBody>
      </p:sp>
      <p:grpSp>
        <p:nvGrpSpPr>
          <p:cNvPr id="70" name="Group 69">
            <a:extLst>
              <a:ext uri="{FF2B5EF4-FFF2-40B4-BE49-F238E27FC236}">
                <a16:creationId xmlns:a16="http://schemas.microsoft.com/office/drawing/2014/main" id="{75E41785-9B6F-447C-932B-7AA122F89D13}"/>
              </a:ext>
            </a:extLst>
          </p:cNvPr>
          <p:cNvGrpSpPr/>
          <p:nvPr/>
        </p:nvGrpSpPr>
        <p:grpSpPr>
          <a:xfrm>
            <a:off x="4243697" y="2953536"/>
            <a:ext cx="236097" cy="236097"/>
            <a:chOff x="2860047" y="-599433"/>
            <a:chExt cx="434501" cy="434501"/>
          </a:xfrm>
        </p:grpSpPr>
        <p:sp>
          <p:nvSpPr>
            <p:cNvPr id="71" name="Teardrop 70">
              <a:extLst>
                <a:ext uri="{FF2B5EF4-FFF2-40B4-BE49-F238E27FC236}">
                  <a16:creationId xmlns:a16="http://schemas.microsoft.com/office/drawing/2014/main" id="{01E7F4B6-E33C-442D-98D2-89B854DECABC}"/>
                </a:ext>
              </a:extLst>
            </p:cNvPr>
            <p:cNvSpPr/>
            <p:nvPr/>
          </p:nvSpPr>
          <p:spPr>
            <a:xfrm rot="8125434">
              <a:off x="2860047" y="-599433"/>
              <a:ext cx="434501" cy="434501"/>
            </a:xfrm>
            <a:prstGeom prst="teardrop">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sp>
          <p:nvSpPr>
            <p:cNvPr id="72" name="Oval 71">
              <a:extLst>
                <a:ext uri="{FF2B5EF4-FFF2-40B4-BE49-F238E27FC236}">
                  <a16:creationId xmlns:a16="http://schemas.microsoft.com/office/drawing/2014/main" id="{1D37A2F7-E05E-4792-BE1A-E6083CDD1800}"/>
                </a:ext>
              </a:extLst>
            </p:cNvPr>
            <p:cNvSpPr/>
            <p:nvPr/>
          </p:nvSpPr>
          <p:spPr>
            <a:xfrm>
              <a:off x="2977201" y="-481238"/>
              <a:ext cx="198110" cy="19811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grpSp>
      <p:grpSp>
        <p:nvGrpSpPr>
          <p:cNvPr id="81" name="Group 80">
            <a:extLst>
              <a:ext uri="{FF2B5EF4-FFF2-40B4-BE49-F238E27FC236}">
                <a16:creationId xmlns:a16="http://schemas.microsoft.com/office/drawing/2014/main" id="{E122BC55-D75E-43BD-B137-EC225E0B04C8}"/>
              </a:ext>
            </a:extLst>
          </p:cNvPr>
          <p:cNvGrpSpPr/>
          <p:nvPr/>
        </p:nvGrpSpPr>
        <p:grpSpPr>
          <a:xfrm>
            <a:off x="2877870" y="5238244"/>
            <a:ext cx="236097" cy="236097"/>
            <a:chOff x="2860047" y="-599433"/>
            <a:chExt cx="434501" cy="434501"/>
          </a:xfrm>
        </p:grpSpPr>
        <p:sp>
          <p:nvSpPr>
            <p:cNvPr id="82" name="Teardrop 81">
              <a:extLst>
                <a:ext uri="{FF2B5EF4-FFF2-40B4-BE49-F238E27FC236}">
                  <a16:creationId xmlns:a16="http://schemas.microsoft.com/office/drawing/2014/main" id="{5C6AB1C3-5887-4C43-91FE-247BE7E2359B}"/>
                </a:ext>
              </a:extLst>
            </p:cNvPr>
            <p:cNvSpPr/>
            <p:nvPr/>
          </p:nvSpPr>
          <p:spPr>
            <a:xfrm rot="8125434">
              <a:off x="2860047" y="-599433"/>
              <a:ext cx="434501" cy="434501"/>
            </a:xfrm>
            <a:prstGeom prst="teardrop">
              <a:avLst/>
            </a:prstGeom>
            <a:solidFill>
              <a:schemeClr val="tx2"/>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83" name="Oval 82">
              <a:extLst>
                <a:ext uri="{FF2B5EF4-FFF2-40B4-BE49-F238E27FC236}">
                  <a16:creationId xmlns:a16="http://schemas.microsoft.com/office/drawing/2014/main" id="{17F6FD99-01CF-4736-B508-BE9AB2FC097A}"/>
                </a:ext>
              </a:extLst>
            </p:cNvPr>
            <p:cNvSpPr/>
            <p:nvPr/>
          </p:nvSpPr>
          <p:spPr>
            <a:xfrm>
              <a:off x="2977201" y="-481238"/>
              <a:ext cx="198110" cy="198110"/>
            </a:xfrm>
            <a:prstGeom prst="ellipse">
              <a:avLst/>
            </a:prstGeom>
            <a:solidFill>
              <a:schemeClr val="bg1"/>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grpSp>
      <p:sp>
        <p:nvSpPr>
          <p:cNvPr id="84" name="TextBox 83">
            <a:extLst>
              <a:ext uri="{FF2B5EF4-FFF2-40B4-BE49-F238E27FC236}">
                <a16:creationId xmlns:a16="http://schemas.microsoft.com/office/drawing/2014/main" id="{ECA22D5A-2A17-4C75-95FF-19B2C129511C}"/>
              </a:ext>
            </a:extLst>
          </p:cNvPr>
          <p:cNvSpPr txBox="1"/>
          <p:nvPr/>
        </p:nvSpPr>
        <p:spPr>
          <a:xfrm>
            <a:off x="2552178" y="5532807"/>
            <a:ext cx="1412587" cy="220573"/>
          </a:xfrm>
          <a:prstGeom prst="rect">
            <a:avLst/>
          </a:prstGeom>
          <a:noFill/>
        </p:spPr>
        <p:txBody>
          <a:bodyPr wrap="square" rtlCol="0">
            <a:spAutoFit/>
          </a:bodyPr>
          <a:lstStyle/>
          <a:p>
            <a:pPr marL="0" marR="0" lvl="0" indent="0" algn="ctr" defTabSz="1219170" rtl="0" eaLnBrk="1" fontAlgn="auto" latinLnBrk="0" hangingPunct="1">
              <a:lnSpc>
                <a:spcPts val="1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sert critical milestone</a:t>
            </a:r>
          </a:p>
        </p:txBody>
      </p:sp>
      <p:grpSp>
        <p:nvGrpSpPr>
          <p:cNvPr id="85" name="Group 84">
            <a:extLst>
              <a:ext uri="{FF2B5EF4-FFF2-40B4-BE49-F238E27FC236}">
                <a16:creationId xmlns:a16="http://schemas.microsoft.com/office/drawing/2014/main" id="{9B1380C1-C202-410A-905D-888F53AB1176}"/>
              </a:ext>
            </a:extLst>
          </p:cNvPr>
          <p:cNvGrpSpPr/>
          <p:nvPr/>
        </p:nvGrpSpPr>
        <p:grpSpPr>
          <a:xfrm>
            <a:off x="9514077" y="5238244"/>
            <a:ext cx="236097" cy="236097"/>
            <a:chOff x="2860047" y="-599433"/>
            <a:chExt cx="434501" cy="434501"/>
          </a:xfrm>
        </p:grpSpPr>
        <p:sp>
          <p:nvSpPr>
            <p:cNvPr id="86" name="Teardrop 85">
              <a:extLst>
                <a:ext uri="{FF2B5EF4-FFF2-40B4-BE49-F238E27FC236}">
                  <a16:creationId xmlns:a16="http://schemas.microsoft.com/office/drawing/2014/main" id="{4A0BB698-939C-4826-A910-4CDC50360382}"/>
                </a:ext>
              </a:extLst>
            </p:cNvPr>
            <p:cNvSpPr/>
            <p:nvPr/>
          </p:nvSpPr>
          <p:spPr>
            <a:xfrm rot="8125434">
              <a:off x="2860047" y="-599433"/>
              <a:ext cx="434501" cy="434501"/>
            </a:xfrm>
            <a:prstGeom prst="teardrop">
              <a:avLst/>
            </a:prstGeom>
            <a:solidFill>
              <a:schemeClr val="tx2"/>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87" name="Oval 86">
              <a:extLst>
                <a:ext uri="{FF2B5EF4-FFF2-40B4-BE49-F238E27FC236}">
                  <a16:creationId xmlns:a16="http://schemas.microsoft.com/office/drawing/2014/main" id="{284CE701-EBB8-4308-8806-EAFB52DB3134}"/>
                </a:ext>
              </a:extLst>
            </p:cNvPr>
            <p:cNvSpPr/>
            <p:nvPr/>
          </p:nvSpPr>
          <p:spPr>
            <a:xfrm>
              <a:off x="2977201" y="-481238"/>
              <a:ext cx="198110" cy="198110"/>
            </a:xfrm>
            <a:prstGeom prst="ellipse">
              <a:avLst/>
            </a:prstGeom>
            <a:solidFill>
              <a:schemeClr val="bg1"/>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grpSp>
      <p:sp>
        <p:nvSpPr>
          <p:cNvPr id="88" name="TextBox 87">
            <a:extLst>
              <a:ext uri="{FF2B5EF4-FFF2-40B4-BE49-F238E27FC236}">
                <a16:creationId xmlns:a16="http://schemas.microsoft.com/office/drawing/2014/main" id="{70A31913-6755-43C7-A637-D0D2CA8395CF}"/>
              </a:ext>
            </a:extLst>
          </p:cNvPr>
          <p:cNvSpPr txBox="1"/>
          <p:nvPr/>
        </p:nvSpPr>
        <p:spPr>
          <a:xfrm>
            <a:off x="8539511" y="5523234"/>
            <a:ext cx="2184098" cy="220573"/>
          </a:xfrm>
          <a:prstGeom prst="rect">
            <a:avLst/>
          </a:prstGeom>
          <a:noFill/>
        </p:spPr>
        <p:txBody>
          <a:bodyPr wrap="square" rtlCol="0">
            <a:spAutoFit/>
          </a:bodyPr>
          <a:lstStyle/>
          <a:p>
            <a:pPr marL="0" marR="0" lvl="0" indent="0" algn="ctr" defTabSz="1219170" rtl="0" eaLnBrk="1" fontAlgn="auto" latinLnBrk="0" hangingPunct="1">
              <a:lnSpc>
                <a:spcPts val="1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sert critical milestone</a:t>
            </a:r>
          </a:p>
        </p:txBody>
      </p:sp>
      <p:grpSp>
        <p:nvGrpSpPr>
          <p:cNvPr id="89" name="Group 88">
            <a:extLst>
              <a:ext uri="{FF2B5EF4-FFF2-40B4-BE49-F238E27FC236}">
                <a16:creationId xmlns:a16="http://schemas.microsoft.com/office/drawing/2014/main" id="{0F762A1E-92CB-461D-A589-6B4BFB06F4E7}"/>
              </a:ext>
            </a:extLst>
          </p:cNvPr>
          <p:cNvGrpSpPr/>
          <p:nvPr/>
        </p:nvGrpSpPr>
        <p:grpSpPr>
          <a:xfrm>
            <a:off x="4157330" y="5238244"/>
            <a:ext cx="236097" cy="236097"/>
            <a:chOff x="2860047" y="-599433"/>
            <a:chExt cx="434501" cy="434501"/>
          </a:xfrm>
        </p:grpSpPr>
        <p:sp>
          <p:nvSpPr>
            <p:cNvPr id="90" name="Teardrop 89">
              <a:extLst>
                <a:ext uri="{FF2B5EF4-FFF2-40B4-BE49-F238E27FC236}">
                  <a16:creationId xmlns:a16="http://schemas.microsoft.com/office/drawing/2014/main" id="{7E413B18-42E7-4D05-89D2-BC33363CFCEE}"/>
                </a:ext>
              </a:extLst>
            </p:cNvPr>
            <p:cNvSpPr/>
            <p:nvPr/>
          </p:nvSpPr>
          <p:spPr>
            <a:xfrm rot="8125434">
              <a:off x="2860047" y="-599433"/>
              <a:ext cx="434501" cy="434501"/>
            </a:xfrm>
            <a:prstGeom prst="teardrop">
              <a:avLst/>
            </a:prstGeom>
            <a:solidFill>
              <a:schemeClr val="tx2"/>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91" name="Oval 90">
              <a:extLst>
                <a:ext uri="{FF2B5EF4-FFF2-40B4-BE49-F238E27FC236}">
                  <a16:creationId xmlns:a16="http://schemas.microsoft.com/office/drawing/2014/main" id="{A65063D6-1862-4991-86E0-9A6CF81E0E9D}"/>
                </a:ext>
              </a:extLst>
            </p:cNvPr>
            <p:cNvSpPr/>
            <p:nvPr/>
          </p:nvSpPr>
          <p:spPr>
            <a:xfrm>
              <a:off x="2977201" y="-481238"/>
              <a:ext cx="198110" cy="198110"/>
            </a:xfrm>
            <a:prstGeom prst="ellipse">
              <a:avLst/>
            </a:prstGeom>
            <a:solidFill>
              <a:schemeClr val="bg1"/>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grpSp>
      <p:sp>
        <p:nvSpPr>
          <p:cNvPr id="92" name="TextBox 91">
            <a:extLst>
              <a:ext uri="{FF2B5EF4-FFF2-40B4-BE49-F238E27FC236}">
                <a16:creationId xmlns:a16="http://schemas.microsoft.com/office/drawing/2014/main" id="{02F2674A-F34E-42C5-A4D3-D36B36F40D6D}"/>
              </a:ext>
            </a:extLst>
          </p:cNvPr>
          <p:cNvSpPr txBox="1"/>
          <p:nvPr/>
        </p:nvSpPr>
        <p:spPr>
          <a:xfrm>
            <a:off x="4012959" y="5523234"/>
            <a:ext cx="1607732" cy="220573"/>
          </a:xfrm>
          <a:prstGeom prst="rect">
            <a:avLst/>
          </a:prstGeom>
          <a:noFill/>
        </p:spPr>
        <p:txBody>
          <a:bodyPr wrap="square" rtlCol="0">
            <a:spAutoFit/>
          </a:bodyPr>
          <a:lstStyle/>
          <a:p>
            <a:pPr marL="0" marR="0" lvl="0" indent="0" algn="l" defTabSz="1219170" rtl="0" eaLnBrk="1" fontAlgn="auto" latinLnBrk="0" hangingPunct="1">
              <a:lnSpc>
                <a:spcPts val="1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sert critical milestone</a:t>
            </a:r>
          </a:p>
        </p:txBody>
      </p:sp>
      <p:sp>
        <p:nvSpPr>
          <p:cNvPr id="97" name="TextBox 96">
            <a:extLst>
              <a:ext uri="{FF2B5EF4-FFF2-40B4-BE49-F238E27FC236}">
                <a16:creationId xmlns:a16="http://schemas.microsoft.com/office/drawing/2014/main" id="{455895E5-B061-4B14-A05F-7E849D065DEB}"/>
              </a:ext>
            </a:extLst>
          </p:cNvPr>
          <p:cNvSpPr txBox="1"/>
          <p:nvPr/>
        </p:nvSpPr>
        <p:spPr>
          <a:xfrm>
            <a:off x="864424" y="3243066"/>
            <a:ext cx="913931" cy="348813"/>
          </a:xfrm>
          <a:prstGeom prst="rect">
            <a:avLst/>
          </a:prstGeom>
          <a:noFill/>
        </p:spPr>
        <p:txBody>
          <a:bodyPr wrap="square" rtlCol="0">
            <a:spAutoFit/>
          </a:bodyPr>
          <a:lstStyle/>
          <a:p>
            <a:pPr marL="0" marR="0" lvl="0" indent="0" algn="r" defTabSz="1219170" rtl="0" eaLnBrk="1" fontAlgn="auto" latinLnBrk="0" hangingPunct="1">
              <a:lnSpc>
                <a:spcPts val="1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sert interim outcome</a:t>
            </a:r>
          </a:p>
        </p:txBody>
      </p:sp>
      <p:sp>
        <p:nvSpPr>
          <p:cNvPr id="98" name="TextBox 97">
            <a:extLst>
              <a:ext uri="{FF2B5EF4-FFF2-40B4-BE49-F238E27FC236}">
                <a16:creationId xmlns:a16="http://schemas.microsoft.com/office/drawing/2014/main" id="{05BD6AD5-E5DD-4D0B-808E-1967CD3BFECB}"/>
              </a:ext>
            </a:extLst>
          </p:cNvPr>
          <p:cNvSpPr txBox="1"/>
          <p:nvPr/>
        </p:nvSpPr>
        <p:spPr>
          <a:xfrm>
            <a:off x="4237757" y="2115649"/>
            <a:ext cx="1609884" cy="220573"/>
          </a:xfrm>
          <a:prstGeom prst="rect">
            <a:avLst/>
          </a:prstGeom>
          <a:noFill/>
        </p:spPr>
        <p:txBody>
          <a:bodyPr wrap="square" rtlCol="0">
            <a:spAutoFit/>
          </a:bodyPr>
          <a:lstStyle/>
          <a:p>
            <a:pPr marL="0" marR="0" lvl="0" indent="0" algn="l" defTabSz="1219170" rtl="0" eaLnBrk="1" fontAlgn="auto" latinLnBrk="0" hangingPunct="1">
              <a:lnSpc>
                <a:spcPts val="1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sert interim outcome</a:t>
            </a:r>
            <a:endParaRPr kumimoji="0" lang="en-US" sz="900" b="0" i="1" u="none" strike="noStrike" kern="1200" cap="none" spc="-1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99" name="Group 98">
            <a:extLst>
              <a:ext uri="{FF2B5EF4-FFF2-40B4-BE49-F238E27FC236}">
                <a16:creationId xmlns:a16="http://schemas.microsoft.com/office/drawing/2014/main" id="{9FDD6E9D-794D-416D-8C82-63AEDCFE0D8E}"/>
              </a:ext>
            </a:extLst>
          </p:cNvPr>
          <p:cNvGrpSpPr/>
          <p:nvPr/>
        </p:nvGrpSpPr>
        <p:grpSpPr>
          <a:xfrm>
            <a:off x="2478840" y="1844129"/>
            <a:ext cx="236097" cy="236097"/>
            <a:chOff x="2860047" y="-599433"/>
            <a:chExt cx="434501" cy="434501"/>
          </a:xfrm>
        </p:grpSpPr>
        <p:sp>
          <p:nvSpPr>
            <p:cNvPr id="100" name="Teardrop 99">
              <a:extLst>
                <a:ext uri="{FF2B5EF4-FFF2-40B4-BE49-F238E27FC236}">
                  <a16:creationId xmlns:a16="http://schemas.microsoft.com/office/drawing/2014/main" id="{3AC376F9-EE1F-450D-AA00-342B05EAEA8B}"/>
                </a:ext>
              </a:extLst>
            </p:cNvPr>
            <p:cNvSpPr/>
            <p:nvPr/>
          </p:nvSpPr>
          <p:spPr>
            <a:xfrm rot="8125434">
              <a:off x="2860047" y="-599433"/>
              <a:ext cx="434501" cy="434501"/>
            </a:xfrm>
            <a:prstGeom prst="teardrop">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101" name="Oval 100">
              <a:extLst>
                <a:ext uri="{FF2B5EF4-FFF2-40B4-BE49-F238E27FC236}">
                  <a16:creationId xmlns:a16="http://schemas.microsoft.com/office/drawing/2014/main" id="{2796398E-CAFA-4DF8-A872-395985716F94}"/>
                </a:ext>
              </a:extLst>
            </p:cNvPr>
            <p:cNvSpPr/>
            <p:nvPr/>
          </p:nvSpPr>
          <p:spPr>
            <a:xfrm>
              <a:off x="2977201" y="-481238"/>
              <a:ext cx="198110" cy="19811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grpSp>
      <p:sp>
        <p:nvSpPr>
          <p:cNvPr id="102" name="TextBox 101">
            <a:extLst>
              <a:ext uri="{FF2B5EF4-FFF2-40B4-BE49-F238E27FC236}">
                <a16:creationId xmlns:a16="http://schemas.microsoft.com/office/drawing/2014/main" id="{FDF83E1B-561A-49D1-8594-41BCD990AD56}"/>
              </a:ext>
            </a:extLst>
          </p:cNvPr>
          <p:cNvSpPr txBox="1"/>
          <p:nvPr/>
        </p:nvSpPr>
        <p:spPr>
          <a:xfrm>
            <a:off x="5757506" y="2115649"/>
            <a:ext cx="1645852" cy="220573"/>
          </a:xfrm>
          <a:prstGeom prst="rect">
            <a:avLst/>
          </a:prstGeom>
          <a:noFill/>
        </p:spPr>
        <p:txBody>
          <a:bodyPr wrap="square" rtlCol="0">
            <a:spAutoFit/>
          </a:bodyPr>
          <a:lstStyle/>
          <a:p>
            <a:pPr marL="0" marR="0" lvl="0" indent="0" algn="l" defTabSz="1219170" rtl="0" eaLnBrk="1" fontAlgn="auto" latinLnBrk="0" hangingPunct="1">
              <a:lnSpc>
                <a:spcPts val="1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sert interim outcome</a:t>
            </a:r>
            <a:endParaRPr kumimoji="0" lang="en-US" sz="900" b="0" i="1" u="none" strike="noStrike" kern="1200" cap="none" spc="-1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3" name="Rectangle 102">
            <a:extLst>
              <a:ext uri="{FF2B5EF4-FFF2-40B4-BE49-F238E27FC236}">
                <a16:creationId xmlns:a16="http://schemas.microsoft.com/office/drawing/2014/main" id="{4FC7B52B-4308-42CE-988C-19C912697BAF}"/>
              </a:ext>
            </a:extLst>
          </p:cNvPr>
          <p:cNvSpPr/>
          <p:nvPr/>
        </p:nvSpPr>
        <p:spPr>
          <a:xfrm>
            <a:off x="4747680" y="4337108"/>
            <a:ext cx="1834218" cy="220573"/>
          </a:xfrm>
          <a:prstGeom prst="rect">
            <a:avLst/>
          </a:prstGeom>
          <a:noFill/>
        </p:spPr>
        <p:txBody>
          <a:bodyPr wrap="square" rtlCol="0">
            <a:spAutoFit/>
          </a:bodyPr>
          <a:lstStyle/>
          <a:p>
            <a:pPr marL="0" marR="0" lvl="0" indent="0" algn="ctr" defTabSz="1219170" rtl="0" eaLnBrk="1" fontAlgn="auto" latinLnBrk="0" hangingPunct="1">
              <a:lnSpc>
                <a:spcPts val="1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sert critical milestone</a:t>
            </a:r>
          </a:p>
        </p:txBody>
      </p:sp>
      <p:sp>
        <p:nvSpPr>
          <p:cNvPr id="104" name="Rectangle 103">
            <a:extLst>
              <a:ext uri="{FF2B5EF4-FFF2-40B4-BE49-F238E27FC236}">
                <a16:creationId xmlns:a16="http://schemas.microsoft.com/office/drawing/2014/main" id="{0D9C9F3A-C783-4850-B7FB-7EE1AC551FCC}"/>
              </a:ext>
            </a:extLst>
          </p:cNvPr>
          <p:cNvSpPr/>
          <p:nvPr/>
        </p:nvSpPr>
        <p:spPr>
          <a:xfrm>
            <a:off x="6754752" y="4337108"/>
            <a:ext cx="2100477" cy="220573"/>
          </a:xfrm>
          <a:prstGeom prst="rect">
            <a:avLst/>
          </a:prstGeom>
          <a:noFill/>
        </p:spPr>
        <p:txBody>
          <a:bodyPr wrap="square" rtlCol="0">
            <a:spAutoFit/>
          </a:bodyPr>
          <a:lstStyle/>
          <a:p>
            <a:pPr marL="0" marR="0" lvl="0" indent="0" algn="ctr" defTabSz="1219170" rtl="0" eaLnBrk="1" fontAlgn="auto" latinLnBrk="0" hangingPunct="1">
              <a:lnSpc>
                <a:spcPts val="1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sert interim outcome</a:t>
            </a:r>
          </a:p>
        </p:txBody>
      </p:sp>
      <p:sp>
        <p:nvSpPr>
          <p:cNvPr id="105" name="TextBox 104">
            <a:extLst>
              <a:ext uri="{FF2B5EF4-FFF2-40B4-BE49-F238E27FC236}">
                <a16:creationId xmlns:a16="http://schemas.microsoft.com/office/drawing/2014/main" id="{DF3B1A0A-4F07-45E0-8AE9-E1B88D15272B}"/>
              </a:ext>
            </a:extLst>
          </p:cNvPr>
          <p:cNvSpPr txBox="1"/>
          <p:nvPr/>
        </p:nvSpPr>
        <p:spPr>
          <a:xfrm>
            <a:off x="2740184" y="4337108"/>
            <a:ext cx="1666171" cy="220573"/>
          </a:xfrm>
          <a:prstGeom prst="rect">
            <a:avLst/>
          </a:prstGeom>
          <a:noFill/>
        </p:spPr>
        <p:txBody>
          <a:bodyPr wrap="square" rtlCol="0">
            <a:spAutoFit/>
          </a:bodyPr>
          <a:lstStyle>
            <a:defPPr>
              <a:defRPr lang="en-US"/>
            </a:defPPr>
            <a:lvl1pPr>
              <a:lnSpc>
                <a:spcPts val="1000"/>
              </a:lnSpc>
              <a:defRPr sz="1050">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ctr" defTabSz="1219170" rtl="0" eaLnBrk="1" fontAlgn="auto" latinLnBrk="0" hangingPunct="1">
              <a:lnSpc>
                <a:spcPts val="1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sert interim outcome</a:t>
            </a:r>
          </a:p>
        </p:txBody>
      </p:sp>
      <p:sp>
        <p:nvSpPr>
          <p:cNvPr id="106" name="TextBox 105">
            <a:extLst>
              <a:ext uri="{FF2B5EF4-FFF2-40B4-BE49-F238E27FC236}">
                <a16:creationId xmlns:a16="http://schemas.microsoft.com/office/drawing/2014/main" id="{2A75B4E0-F608-48E6-BEE0-C99012AB6314}"/>
              </a:ext>
            </a:extLst>
          </p:cNvPr>
          <p:cNvSpPr txBox="1"/>
          <p:nvPr/>
        </p:nvSpPr>
        <p:spPr>
          <a:xfrm>
            <a:off x="5524845" y="3243066"/>
            <a:ext cx="1991503" cy="220573"/>
          </a:xfrm>
          <a:prstGeom prst="rect">
            <a:avLst/>
          </a:prstGeom>
          <a:noFill/>
        </p:spPr>
        <p:txBody>
          <a:bodyPr wrap="square" rtlCol="0">
            <a:spAutoFit/>
          </a:bodyPr>
          <a:lstStyle/>
          <a:p>
            <a:pPr marL="0" marR="0" lvl="0" indent="0" algn="ctr" defTabSz="1219170" rtl="0" eaLnBrk="1" fontAlgn="auto" latinLnBrk="0" hangingPunct="1">
              <a:lnSpc>
                <a:spcPts val="1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sert interim outcome</a:t>
            </a:r>
          </a:p>
        </p:txBody>
      </p:sp>
      <p:grpSp>
        <p:nvGrpSpPr>
          <p:cNvPr id="107" name="Group 106">
            <a:extLst>
              <a:ext uri="{FF2B5EF4-FFF2-40B4-BE49-F238E27FC236}">
                <a16:creationId xmlns:a16="http://schemas.microsoft.com/office/drawing/2014/main" id="{6E27B1D6-4F8F-4B42-93BE-5C4C81109DAF}"/>
              </a:ext>
            </a:extLst>
          </p:cNvPr>
          <p:cNvGrpSpPr/>
          <p:nvPr/>
        </p:nvGrpSpPr>
        <p:grpSpPr>
          <a:xfrm>
            <a:off x="1876375" y="1912842"/>
            <a:ext cx="138421" cy="202181"/>
            <a:chOff x="1907743" y="1166817"/>
            <a:chExt cx="138421" cy="202181"/>
          </a:xfrm>
        </p:grpSpPr>
        <p:sp>
          <p:nvSpPr>
            <p:cNvPr id="108" name="Oval 107">
              <a:extLst>
                <a:ext uri="{FF2B5EF4-FFF2-40B4-BE49-F238E27FC236}">
                  <a16:creationId xmlns:a16="http://schemas.microsoft.com/office/drawing/2014/main" id="{FDCEC2CE-FE4A-4A8D-9C65-A13074C221D9}"/>
                </a:ext>
              </a:extLst>
            </p:cNvPr>
            <p:cNvSpPr/>
            <p:nvPr/>
          </p:nvSpPr>
          <p:spPr>
            <a:xfrm>
              <a:off x="1907743" y="1166817"/>
              <a:ext cx="138421" cy="138421"/>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109" name="Isosceles Triangle 108">
              <a:extLst>
                <a:ext uri="{FF2B5EF4-FFF2-40B4-BE49-F238E27FC236}">
                  <a16:creationId xmlns:a16="http://schemas.microsoft.com/office/drawing/2014/main" id="{9E488AAD-010A-4523-97C8-F7E88F46B35A}"/>
                </a:ext>
              </a:extLst>
            </p:cNvPr>
            <p:cNvSpPr/>
            <p:nvPr/>
          </p:nvSpPr>
          <p:spPr>
            <a:xfrm rot="10800000">
              <a:off x="1920392" y="1286116"/>
              <a:ext cx="113122" cy="8288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grpSp>
      <p:grpSp>
        <p:nvGrpSpPr>
          <p:cNvPr id="110" name="Group 109">
            <a:extLst>
              <a:ext uri="{FF2B5EF4-FFF2-40B4-BE49-F238E27FC236}">
                <a16:creationId xmlns:a16="http://schemas.microsoft.com/office/drawing/2014/main" id="{6B3FAA39-6FD6-4D86-AE34-403FBCF4B510}"/>
              </a:ext>
            </a:extLst>
          </p:cNvPr>
          <p:cNvGrpSpPr/>
          <p:nvPr/>
        </p:nvGrpSpPr>
        <p:grpSpPr>
          <a:xfrm>
            <a:off x="6312015" y="1904805"/>
            <a:ext cx="138421" cy="202181"/>
            <a:chOff x="6182069" y="1158780"/>
            <a:chExt cx="138421" cy="202181"/>
          </a:xfrm>
        </p:grpSpPr>
        <p:sp>
          <p:nvSpPr>
            <p:cNvPr id="111" name="Oval 110">
              <a:extLst>
                <a:ext uri="{FF2B5EF4-FFF2-40B4-BE49-F238E27FC236}">
                  <a16:creationId xmlns:a16="http://schemas.microsoft.com/office/drawing/2014/main" id="{16A6FE2B-5618-4EDF-8A51-247E9B9453A3}"/>
                </a:ext>
              </a:extLst>
            </p:cNvPr>
            <p:cNvSpPr/>
            <p:nvPr/>
          </p:nvSpPr>
          <p:spPr>
            <a:xfrm>
              <a:off x="6182069" y="1158780"/>
              <a:ext cx="138421" cy="138421"/>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112" name="Isosceles Triangle 111">
              <a:extLst>
                <a:ext uri="{FF2B5EF4-FFF2-40B4-BE49-F238E27FC236}">
                  <a16:creationId xmlns:a16="http://schemas.microsoft.com/office/drawing/2014/main" id="{743F0991-A202-49AB-B2D4-B1E4D942D1CA}"/>
                </a:ext>
              </a:extLst>
            </p:cNvPr>
            <p:cNvSpPr/>
            <p:nvPr/>
          </p:nvSpPr>
          <p:spPr>
            <a:xfrm rot="10800000">
              <a:off x="6194718" y="1278079"/>
              <a:ext cx="113122" cy="8288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grpSp>
      <p:grpSp>
        <p:nvGrpSpPr>
          <p:cNvPr id="113" name="Group 112">
            <a:extLst>
              <a:ext uri="{FF2B5EF4-FFF2-40B4-BE49-F238E27FC236}">
                <a16:creationId xmlns:a16="http://schemas.microsoft.com/office/drawing/2014/main" id="{8A700460-0E6B-4ECC-AF2C-F08A89FC1A2B}"/>
              </a:ext>
            </a:extLst>
          </p:cNvPr>
          <p:cNvGrpSpPr/>
          <p:nvPr/>
        </p:nvGrpSpPr>
        <p:grpSpPr>
          <a:xfrm>
            <a:off x="4258994" y="1916170"/>
            <a:ext cx="138421" cy="202181"/>
            <a:chOff x="4258994" y="1170145"/>
            <a:chExt cx="138421" cy="202181"/>
          </a:xfrm>
        </p:grpSpPr>
        <p:sp>
          <p:nvSpPr>
            <p:cNvPr id="114" name="Oval 113">
              <a:extLst>
                <a:ext uri="{FF2B5EF4-FFF2-40B4-BE49-F238E27FC236}">
                  <a16:creationId xmlns:a16="http://schemas.microsoft.com/office/drawing/2014/main" id="{30F37FCB-A2D2-40BD-A2F2-994EB354E96C}"/>
                </a:ext>
              </a:extLst>
            </p:cNvPr>
            <p:cNvSpPr/>
            <p:nvPr/>
          </p:nvSpPr>
          <p:spPr>
            <a:xfrm>
              <a:off x="4258994" y="1170145"/>
              <a:ext cx="138421" cy="138421"/>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115" name="Isosceles Triangle 114">
              <a:extLst>
                <a:ext uri="{FF2B5EF4-FFF2-40B4-BE49-F238E27FC236}">
                  <a16:creationId xmlns:a16="http://schemas.microsoft.com/office/drawing/2014/main" id="{6AEA9A4F-7C56-4FE9-A823-87D84BCA2C6C}"/>
                </a:ext>
              </a:extLst>
            </p:cNvPr>
            <p:cNvSpPr/>
            <p:nvPr/>
          </p:nvSpPr>
          <p:spPr>
            <a:xfrm rot="10800000">
              <a:off x="4271643" y="1289444"/>
              <a:ext cx="113122" cy="8288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grpSp>
      <p:grpSp>
        <p:nvGrpSpPr>
          <p:cNvPr id="116" name="Group 115">
            <a:extLst>
              <a:ext uri="{FF2B5EF4-FFF2-40B4-BE49-F238E27FC236}">
                <a16:creationId xmlns:a16="http://schemas.microsoft.com/office/drawing/2014/main" id="{0E0CD5B4-7548-4547-9CD9-D7FA2C81BEEC}"/>
              </a:ext>
            </a:extLst>
          </p:cNvPr>
          <p:cNvGrpSpPr/>
          <p:nvPr/>
        </p:nvGrpSpPr>
        <p:grpSpPr>
          <a:xfrm>
            <a:off x="5536477" y="4082814"/>
            <a:ext cx="236097" cy="236097"/>
            <a:chOff x="2860047" y="-599433"/>
            <a:chExt cx="434501" cy="434501"/>
          </a:xfrm>
        </p:grpSpPr>
        <p:sp>
          <p:nvSpPr>
            <p:cNvPr id="117" name="Teardrop 116">
              <a:extLst>
                <a:ext uri="{FF2B5EF4-FFF2-40B4-BE49-F238E27FC236}">
                  <a16:creationId xmlns:a16="http://schemas.microsoft.com/office/drawing/2014/main" id="{3923810B-774A-4E1D-B40D-8C122178CDCA}"/>
                </a:ext>
              </a:extLst>
            </p:cNvPr>
            <p:cNvSpPr/>
            <p:nvPr/>
          </p:nvSpPr>
          <p:spPr>
            <a:xfrm rot="8125434">
              <a:off x="2860047" y="-599433"/>
              <a:ext cx="434501" cy="434501"/>
            </a:xfrm>
            <a:prstGeom prst="teardrop">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sp>
          <p:nvSpPr>
            <p:cNvPr id="118" name="Oval 117">
              <a:extLst>
                <a:ext uri="{FF2B5EF4-FFF2-40B4-BE49-F238E27FC236}">
                  <a16:creationId xmlns:a16="http://schemas.microsoft.com/office/drawing/2014/main" id="{5A60695F-6F40-4117-9C6A-EC2950D755D1}"/>
                </a:ext>
              </a:extLst>
            </p:cNvPr>
            <p:cNvSpPr/>
            <p:nvPr/>
          </p:nvSpPr>
          <p:spPr>
            <a:xfrm>
              <a:off x="2977201" y="-481238"/>
              <a:ext cx="198110" cy="19811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grpSp>
      <p:grpSp>
        <p:nvGrpSpPr>
          <p:cNvPr id="119" name="Group 118">
            <a:extLst>
              <a:ext uri="{FF2B5EF4-FFF2-40B4-BE49-F238E27FC236}">
                <a16:creationId xmlns:a16="http://schemas.microsoft.com/office/drawing/2014/main" id="{88A93ADA-F22D-4E1D-9625-AAED78A53DD8}"/>
              </a:ext>
            </a:extLst>
          </p:cNvPr>
          <p:cNvGrpSpPr/>
          <p:nvPr/>
        </p:nvGrpSpPr>
        <p:grpSpPr>
          <a:xfrm>
            <a:off x="1612895" y="3000671"/>
            <a:ext cx="138421" cy="195555"/>
            <a:chOff x="1766745" y="2114789"/>
            <a:chExt cx="138421" cy="195555"/>
          </a:xfrm>
        </p:grpSpPr>
        <p:sp>
          <p:nvSpPr>
            <p:cNvPr id="120" name="Oval 119">
              <a:extLst>
                <a:ext uri="{FF2B5EF4-FFF2-40B4-BE49-F238E27FC236}">
                  <a16:creationId xmlns:a16="http://schemas.microsoft.com/office/drawing/2014/main" id="{11C61C75-1D00-4134-BB24-F7FF8EC33811}"/>
                </a:ext>
              </a:extLst>
            </p:cNvPr>
            <p:cNvSpPr/>
            <p:nvPr/>
          </p:nvSpPr>
          <p:spPr>
            <a:xfrm>
              <a:off x="1766745" y="2114789"/>
              <a:ext cx="138421" cy="138421"/>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121" name="Isosceles Triangle 120">
              <a:extLst>
                <a:ext uri="{FF2B5EF4-FFF2-40B4-BE49-F238E27FC236}">
                  <a16:creationId xmlns:a16="http://schemas.microsoft.com/office/drawing/2014/main" id="{99AFED6F-A81E-4AF0-845A-B78868DB45DA}"/>
                </a:ext>
              </a:extLst>
            </p:cNvPr>
            <p:cNvSpPr/>
            <p:nvPr/>
          </p:nvSpPr>
          <p:spPr>
            <a:xfrm rot="10800000">
              <a:off x="1779394" y="2227462"/>
              <a:ext cx="113122" cy="8288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grpSp>
      <p:grpSp>
        <p:nvGrpSpPr>
          <p:cNvPr id="122" name="Group 121">
            <a:extLst>
              <a:ext uri="{FF2B5EF4-FFF2-40B4-BE49-F238E27FC236}">
                <a16:creationId xmlns:a16="http://schemas.microsoft.com/office/drawing/2014/main" id="{22547EE8-B5AB-4DC1-8A89-4E36BF1D2B85}"/>
              </a:ext>
            </a:extLst>
          </p:cNvPr>
          <p:cNvGrpSpPr/>
          <p:nvPr/>
        </p:nvGrpSpPr>
        <p:grpSpPr>
          <a:xfrm>
            <a:off x="2040604" y="3000671"/>
            <a:ext cx="138421" cy="195555"/>
            <a:chOff x="2040604" y="2114789"/>
            <a:chExt cx="138421" cy="195555"/>
          </a:xfrm>
        </p:grpSpPr>
        <p:sp>
          <p:nvSpPr>
            <p:cNvPr id="123" name="Oval 122">
              <a:extLst>
                <a:ext uri="{FF2B5EF4-FFF2-40B4-BE49-F238E27FC236}">
                  <a16:creationId xmlns:a16="http://schemas.microsoft.com/office/drawing/2014/main" id="{E0628682-AF66-4B99-AF78-389645D78E07}"/>
                </a:ext>
              </a:extLst>
            </p:cNvPr>
            <p:cNvSpPr/>
            <p:nvPr/>
          </p:nvSpPr>
          <p:spPr>
            <a:xfrm>
              <a:off x="2040604" y="2114789"/>
              <a:ext cx="138421" cy="138421"/>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124" name="Isosceles Triangle 123">
              <a:extLst>
                <a:ext uri="{FF2B5EF4-FFF2-40B4-BE49-F238E27FC236}">
                  <a16:creationId xmlns:a16="http://schemas.microsoft.com/office/drawing/2014/main" id="{15B270F9-B336-4CA8-8E38-F2D8E88C306B}"/>
                </a:ext>
              </a:extLst>
            </p:cNvPr>
            <p:cNvSpPr/>
            <p:nvPr/>
          </p:nvSpPr>
          <p:spPr>
            <a:xfrm rot="10800000">
              <a:off x="2053253" y="2227462"/>
              <a:ext cx="113122" cy="8288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grpSp>
      <p:grpSp>
        <p:nvGrpSpPr>
          <p:cNvPr id="125" name="Group 124">
            <a:extLst>
              <a:ext uri="{FF2B5EF4-FFF2-40B4-BE49-F238E27FC236}">
                <a16:creationId xmlns:a16="http://schemas.microsoft.com/office/drawing/2014/main" id="{E98E6113-668D-46B8-9128-6CD00FDEA09D}"/>
              </a:ext>
            </a:extLst>
          </p:cNvPr>
          <p:cNvGrpSpPr/>
          <p:nvPr/>
        </p:nvGrpSpPr>
        <p:grpSpPr>
          <a:xfrm>
            <a:off x="3509447" y="3000671"/>
            <a:ext cx="138421" cy="195555"/>
            <a:chOff x="3509447" y="2114789"/>
            <a:chExt cx="138421" cy="195555"/>
          </a:xfrm>
        </p:grpSpPr>
        <p:sp>
          <p:nvSpPr>
            <p:cNvPr id="126" name="Oval 125">
              <a:extLst>
                <a:ext uri="{FF2B5EF4-FFF2-40B4-BE49-F238E27FC236}">
                  <a16:creationId xmlns:a16="http://schemas.microsoft.com/office/drawing/2014/main" id="{DFD43EC6-C6CD-4862-88B5-18FE721BDEF6}"/>
                </a:ext>
              </a:extLst>
            </p:cNvPr>
            <p:cNvSpPr/>
            <p:nvPr/>
          </p:nvSpPr>
          <p:spPr>
            <a:xfrm>
              <a:off x="3509447" y="2114789"/>
              <a:ext cx="138421" cy="138421"/>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127" name="Isosceles Triangle 126">
              <a:extLst>
                <a:ext uri="{FF2B5EF4-FFF2-40B4-BE49-F238E27FC236}">
                  <a16:creationId xmlns:a16="http://schemas.microsoft.com/office/drawing/2014/main" id="{282CC8BB-75CE-4CEE-8AC5-0B2E92C2AE1A}"/>
                </a:ext>
              </a:extLst>
            </p:cNvPr>
            <p:cNvSpPr/>
            <p:nvPr/>
          </p:nvSpPr>
          <p:spPr>
            <a:xfrm rot="10800000">
              <a:off x="3522096" y="2227462"/>
              <a:ext cx="113122" cy="8288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grpSp>
      <p:grpSp>
        <p:nvGrpSpPr>
          <p:cNvPr id="128" name="Group 127">
            <a:extLst>
              <a:ext uri="{FF2B5EF4-FFF2-40B4-BE49-F238E27FC236}">
                <a16:creationId xmlns:a16="http://schemas.microsoft.com/office/drawing/2014/main" id="{18209F6F-AFEB-42FE-9FAE-F1047936EF93}"/>
              </a:ext>
            </a:extLst>
          </p:cNvPr>
          <p:cNvGrpSpPr/>
          <p:nvPr/>
        </p:nvGrpSpPr>
        <p:grpSpPr>
          <a:xfrm>
            <a:off x="6312015" y="3000671"/>
            <a:ext cx="138421" cy="195555"/>
            <a:chOff x="6705912" y="2114789"/>
            <a:chExt cx="138421" cy="195555"/>
          </a:xfrm>
        </p:grpSpPr>
        <p:sp>
          <p:nvSpPr>
            <p:cNvPr id="129" name="Oval 128">
              <a:extLst>
                <a:ext uri="{FF2B5EF4-FFF2-40B4-BE49-F238E27FC236}">
                  <a16:creationId xmlns:a16="http://schemas.microsoft.com/office/drawing/2014/main" id="{675CC9EC-55C3-42EF-A420-D3A796E6A123}"/>
                </a:ext>
              </a:extLst>
            </p:cNvPr>
            <p:cNvSpPr/>
            <p:nvPr/>
          </p:nvSpPr>
          <p:spPr>
            <a:xfrm>
              <a:off x="6705912" y="2114789"/>
              <a:ext cx="138421" cy="138421"/>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130" name="Isosceles Triangle 129">
              <a:extLst>
                <a:ext uri="{FF2B5EF4-FFF2-40B4-BE49-F238E27FC236}">
                  <a16:creationId xmlns:a16="http://schemas.microsoft.com/office/drawing/2014/main" id="{ACDE2F36-628E-4C87-A7A9-BA31895DADC6}"/>
                </a:ext>
              </a:extLst>
            </p:cNvPr>
            <p:cNvSpPr/>
            <p:nvPr/>
          </p:nvSpPr>
          <p:spPr>
            <a:xfrm rot="10800000">
              <a:off x="6718561" y="2227462"/>
              <a:ext cx="113122" cy="8288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grpSp>
      <p:grpSp>
        <p:nvGrpSpPr>
          <p:cNvPr id="131" name="Group 130">
            <a:extLst>
              <a:ext uri="{FF2B5EF4-FFF2-40B4-BE49-F238E27FC236}">
                <a16:creationId xmlns:a16="http://schemas.microsoft.com/office/drawing/2014/main" id="{FA2AA857-8753-45F3-9315-AF49F7C199E4}"/>
              </a:ext>
            </a:extLst>
          </p:cNvPr>
          <p:cNvGrpSpPr/>
          <p:nvPr/>
        </p:nvGrpSpPr>
        <p:grpSpPr>
          <a:xfrm>
            <a:off x="1893302" y="4105254"/>
            <a:ext cx="138421" cy="202181"/>
            <a:chOff x="1893302" y="3063549"/>
            <a:chExt cx="138421" cy="202181"/>
          </a:xfrm>
        </p:grpSpPr>
        <p:sp>
          <p:nvSpPr>
            <p:cNvPr id="132" name="Oval 131">
              <a:extLst>
                <a:ext uri="{FF2B5EF4-FFF2-40B4-BE49-F238E27FC236}">
                  <a16:creationId xmlns:a16="http://schemas.microsoft.com/office/drawing/2014/main" id="{E03552F6-7E8B-46D1-A391-BB56226AC658}"/>
                </a:ext>
              </a:extLst>
            </p:cNvPr>
            <p:cNvSpPr/>
            <p:nvPr/>
          </p:nvSpPr>
          <p:spPr>
            <a:xfrm>
              <a:off x="1893302" y="3063549"/>
              <a:ext cx="138421" cy="138421"/>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133" name="Isosceles Triangle 132">
              <a:extLst>
                <a:ext uri="{FF2B5EF4-FFF2-40B4-BE49-F238E27FC236}">
                  <a16:creationId xmlns:a16="http://schemas.microsoft.com/office/drawing/2014/main" id="{77E20752-D644-4358-972B-878E3C034938}"/>
                </a:ext>
              </a:extLst>
            </p:cNvPr>
            <p:cNvSpPr/>
            <p:nvPr/>
          </p:nvSpPr>
          <p:spPr>
            <a:xfrm rot="10800000">
              <a:off x="1905951" y="3182848"/>
              <a:ext cx="113122" cy="8288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grpSp>
      <p:grpSp>
        <p:nvGrpSpPr>
          <p:cNvPr id="134" name="Group 133">
            <a:extLst>
              <a:ext uri="{FF2B5EF4-FFF2-40B4-BE49-F238E27FC236}">
                <a16:creationId xmlns:a16="http://schemas.microsoft.com/office/drawing/2014/main" id="{98D5F466-9B54-48D7-9712-FC35317463EA}"/>
              </a:ext>
            </a:extLst>
          </p:cNvPr>
          <p:cNvGrpSpPr/>
          <p:nvPr/>
        </p:nvGrpSpPr>
        <p:grpSpPr>
          <a:xfrm>
            <a:off x="3492022" y="4105254"/>
            <a:ext cx="138421" cy="202181"/>
            <a:chOff x="3492022" y="3063549"/>
            <a:chExt cx="138421" cy="202181"/>
          </a:xfrm>
        </p:grpSpPr>
        <p:sp>
          <p:nvSpPr>
            <p:cNvPr id="135" name="Oval 134">
              <a:extLst>
                <a:ext uri="{FF2B5EF4-FFF2-40B4-BE49-F238E27FC236}">
                  <a16:creationId xmlns:a16="http://schemas.microsoft.com/office/drawing/2014/main" id="{94FB1DE7-79C4-407E-9491-497DA4D965BA}"/>
                </a:ext>
              </a:extLst>
            </p:cNvPr>
            <p:cNvSpPr/>
            <p:nvPr/>
          </p:nvSpPr>
          <p:spPr>
            <a:xfrm>
              <a:off x="3492022" y="3063549"/>
              <a:ext cx="138421" cy="138421"/>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136" name="Isosceles Triangle 135">
              <a:extLst>
                <a:ext uri="{FF2B5EF4-FFF2-40B4-BE49-F238E27FC236}">
                  <a16:creationId xmlns:a16="http://schemas.microsoft.com/office/drawing/2014/main" id="{B41EDA1F-789D-44FE-9C9E-E96B9EC1948F}"/>
                </a:ext>
              </a:extLst>
            </p:cNvPr>
            <p:cNvSpPr/>
            <p:nvPr/>
          </p:nvSpPr>
          <p:spPr>
            <a:xfrm rot="10800000">
              <a:off x="3504671" y="3182848"/>
              <a:ext cx="113122" cy="8288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grpSp>
      <p:grpSp>
        <p:nvGrpSpPr>
          <p:cNvPr id="137" name="Group 136">
            <a:extLst>
              <a:ext uri="{FF2B5EF4-FFF2-40B4-BE49-F238E27FC236}">
                <a16:creationId xmlns:a16="http://schemas.microsoft.com/office/drawing/2014/main" id="{C828E095-A388-4E60-BD4D-2C6C56515DC1}"/>
              </a:ext>
            </a:extLst>
          </p:cNvPr>
          <p:cNvGrpSpPr/>
          <p:nvPr/>
        </p:nvGrpSpPr>
        <p:grpSpPr>
          <a:xfrm>
            <a:off x="7735781" y="4105254"/>
            <a:ext cx="138421" cy="202181"/>
            <a:chOff x="7735781" y="3063549"/>
            <a:chExt cx="138421" cy="202181"/>
          </a:xfrm>
        </p:grpSpPr>
        <p:sp>
          <p:nvSpPr>
            <p:cNvPr id="138" name="Oval 137">
              <a:extLst>
                <a:ext uri="{FF2B5EF4-FFF2-40B4-BE49-F238E27FC236}">
                  <a16:creationId xmlns:a16="http://schemas.microsoft.com/office/drawing/2014/main" id="{93754891-FA3A-4B7B-92D2-9B9CE1B4F464}"/>
                </a:ext>
              </a:extLst>
            </p:cNvPr>
            <p:cNvSpPr/>
            <p:nvPr/>
          </p:nvSpPr>
          <p:spPr>
            <a:xfrm>
              <a:off x="7735781" y="3063549"/>
              <a:ext cx="138421" cy="138421"/>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139" name="Isosceles Triangle 138">
              <a:extLst>
                <a:ext uri="{FF2B5EF4-FFF2-40B4-BE49-F238E27FC236}">
                  <a16:creationId xmlns:a16="http://schemas.microsoft.com/office/drawing/2014/main" id="{5156F8F3-F2B0-4466-96DD-5D7E6EC813C7}"/>
                </a:ext>
              </a:extLst>
            </p:cNvPr>
            <p:cNvSpPr/>
            <p:nvPr/>
          </p:nvSpPr>
          <p:spPr>
            <a:xfrm rot="10800000">
              <a:off x="7748430" y="3182848"/>
              <a:ext cx="113122" cy="8288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grpSp>
      <p:grpSp>
        <p:nvGrpSpPr>
          <p:cNvPr id="140" name="Group 139">
            <a:extLst>
              <a:ext uri="{FF2B5EF4-FFF2-40B4-BE49-F238E27FC236}">
                <a16:creationId xmlns:a16="http://schemas.microsoft.com/office/drawing/2014/main" id="{DB6C15D5-91E4-4088-AB26-09C5077160A8}"/>
              </a:ext>
            </a:extLst>
          </p:cNvPr>
          <p:cNvGrpSpPr/>
          <p:nvPr/>
        </p:nvGrpSpPr>
        <p:grpSpPr>
          <a:xfrm>
            <a:off x="754105" y="1819621"/>
            <a:ext cx="328183" cy="328183"/>
            <a:chOff x="11565" y="1332359"/>
            <a:chExt cx="328183" cy="328183"/>
          </a:xfrm>
        </p:grpSpPr>
        <p:sp>
          <p:nvSpPr>
            <p:cNvPr id="141" name="Oval 140">
              <a:extLst>
                <a:ext uri="{FF2B5EF4-FFF2-40B4-BE49-F238E27FC236}">
                  <a16:creationId xmlns:a16="http://schemas.microsoft.com/office/drawing/2014/main" id="{22778174-C2BD-46C1-90F5-8CFF68388514}"/>
                </a:ext>
              </a:extLst>
            </p:cNvPr>
            <p:cNvSpPr/>
            <p:nvPr/>
          </p:nvSpPr>
          <p:spPr>
            <a:xfrm>
              <a:off x="31970" y="1355613"/>
              <a:ext cx="281673" cy="2816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grpSp>
          <p:nvGrpSpPr>
            <p:cNvPr id="142" name="Group 141">
              <a:extLst>
                <a:ext uri="{FF2B5EF4-FFF2-40B4-BE49-F238E27FC236}">
                  <a16:creationId xmlns:a16="http://schemas.microsoft.com/office/drawing/2014/main" id="{95F1528E-F759-4649-ACB5-3BF5243624CB}"/>
                </a:ext>
              </a:extLst>
            </p:cNvPr>
            <p:cNvGrpSpPr>
              <a:grpSpLocks noChangeAspect="1"/>
            </p:cNvGrpSpPr>
            <p:nvPr/>
          </p:nvGrpSpPr>
          <p:grpSpPr>
            <a:xfrm>
              <a:off x="11565" y="1332359"/>
              <a:ext cx="328183" cy="328183"/>
              <a:chOff x="1435101" y="5849938"/>
              <a:chExt cx="522288" cy="522288"/>
            </a:xfrm>
            <a:solidFill>
              <a:schemeClr val="accent1"/>
            </a:solidFill>
          </p:grpSpPr>
          <p:sp>
            <p:nvSpPr>
              <p:cNvPr id="143" name="Freeform 73">
                <a:extLst>
                  <a:ext uri="{FF2B5EF4-FFF2-40B4-BE49-F238E27FC236}">
                    <a16:creationId xmlns:a16="http://schemas.microsoft.com/office/drawing/2014/main" id="{E1C48393-F4D8-458E-967D-2092715250AB}"/>
                  </a:ext>
                </a:extLst>
              </p:cNvPr>
              <p:cNvSpPr>
                <a:spLocks noEditPoints="1"/>
              </p:cNvSpPr>
              <p:nvPr/>
            </p:nvSpPr>
            <p:spPr bwMode="auto">
              <a:xfrm>
                <a:off x="1435101" y="5849938"/>
                <a:ext cx="522288" cy="522288"/>
              </a:xfrm>
              <a:custGeom>
                <a:avLst/>
                <a:gdLst>
                  <a:gd name="T0" fmla="*/ 312 w 659"/>
                  <a:gd name="T1" fmla="*/ 657 h 657"/>
                  <a:gd name="T2" fmla="*/ 262 w 659"/>
                  <a:gd name="T3" fmla="*/ 651 h 657"/>
                  <a:gd name="T4" fmla="*/ 202 w 659"/>
                  <a:gd name="T5" fmla="*/ 632 h 657"/>
                  <a:gd name="T6" fmla="*/ 120 w 659"/>
                  <a:gd name="T7" fmla="*/ 582 h 657"/>
                  <a:gd name="T8" fmla="*/ 57 w 659"/>
                  <a:gd name="T9" fmla="*/ 512 h 657"/>
                  <a:gd name="T10" fmla="*/ 15 w 659"/>
                  <a:gd name="T11" fmla="*/ 426 h 657"/>
                  <a:gd name="T12" fmla="*/ 5 w 659"/>
                  <a:gd name="T13" fmla="*/ 379 h 657"/>
                  <a:gd name="T14" fmla="*/ 0 w 659"/>
                  <a:gd name="T15" fmla="*/ 328 h 657"/>
                  <a:gd name="T16" fmla="*/ 2 w 659"/>
                  <a:gd name="T17" fmla="*/ 296 h 657"/>
                  <a:gd name="T18" fmla="*/ 11 w 659"/>
                  <a:gd name="T19" fmla="*/ 246 h 657"/>
                  <a:gd name="T20" fmla="*/ 41 w 659"/>
                  <a:gd name="T21" fmla="*/ 172 h 657"/>
                  <a:gd name="T22" fmla="*/ 97 w 659"/>
                  <a:gd name="T23" fmla="*/ 97 h 657"/>
                  <a:gd name="T24" fmla="*/ 172 w 659"/>
                  <a:gd name="T25" fmla="*/ 39 h 657"/>
                  <a:gd name="T26" fmla="*/ 248 w 659"/>
                  <a:gd name="T27" fmla="*/ 10 h 657"/>
                  <a:gd name="T28" fmla="*/ 296 w 659"/>
                  <a:gd name="T29" fmla="*/ 2 h 657"/>
                  <a:gd name="T30" fmla="*/ 330 w 659"/>
                  <a:gd name="T31" fmla="*/ 0 h 657"/>
                  <a:gd name="T32" fmla="*/ 379 w 659"/>
                  <a:gd name="T33" fmla="*/ 4 h 657"/>
                  <a:gd name="T34" fmla="*/ 426 w 659"/>
                  <a:gd name="T35" fmla="*/ 15 h 657"/>
                  <a:gd name="T36" fmla="*/ 514 w 659"/>
                  <a:gd name="T37" fmla="*/ 57 h 657"/>
                  <a:gd name="T38" fmla="*/ 583 w 659"/>
                  <a:gd name="T39" fmla="*/ 120 h 657"/>
                  <a:gd name="T40" fmla="*/ 632 w 659"/>
                  <a:gd name="T41" fmla="*/ 201 h 657"/>
                  <a:gd name="T42" fmla="*/ 652 w 659"/>
                  <a:gd name="T43" fmla="*/ 262 h 657"/>
                  <a:gd name="T44" fmla="*/ 657 w 659"/>
                  <a:gd name="T45" fmla="*/ 312 h 657"/>
                  <a:gd name="T46" fmla="*/ 657 w 659"/>
                  <a:gd name="T47" fmla="*/ 346 h 657"/>
                  <a:gd name="T48" fmla="*/ 652 w 659"/>
                  <a:gd name="T49" fmla="*/ 395 h 657"/>
                  <a:gd name="T50" fmla="*/ 632 w 659"/>
                  <a:gd name="T51" fmla="*/ 457 h 657"/>
                  <a:gd name="T52" fmla="*/ 583 w 659"/>
                  <a:gd name="T53" fmla="*/ 538 h 657"/>
                  <a:gd name="T54" fmla="*/ 514 w 659"/>
                  <a:gd name="T55" fmla="*/ 601 h 657"/>
                  <a:gd name="T56" fmla="*/ 426 w 659"/>
                  <a:gd name="T57" fmla="*/ 642 h 657"/>
                  <a:gd name="T58" fmla="*/ 379 w 659"/>
                  <a:gd name="T59" fmla="*/ 653 h 657"/>
                  <a:gd name="T60" fmla="*/ 330 w 659"/>
                  <a:gd name="T61" fmla="*/ 657 h 657"/>
                  <a:gd name="T62" fmla="*/ 330 w 659"/>
                  <a:gd name="T63" fmla="*/ 38 h 657"/>
                  <a:gd name="T64" fmla="*/ 242 w 659"/>
                  <a:gd name="T65" fmla="*/ 50 h 657"/>
                  <a:gd name="T66" fmla="*/ 167 w 659"/>
                  <a:gd name="T67" fmla="*/ 88 h 657"/>
                  <a:gd name="T68" fmla="*/ 105 w 659"/>
                  <a:gd name="T69" fmla="*/ 144 h 657"/>
                  <a:gd name="T70" fmla="*/ 61 w 659"/>
                  <a:gd name="T71" fmla="*/ 215 h 657"/>
                  <a:gd name="T72" fmla="*/ 39 w 659"/>
                  <a:gd name="T73" fmla="*/ 299 h 657"/>
                  <a:gd name="T74" fmla="*/ 39 w 659"/>
                  <a:gd name="T75" fmla="*/ 359 h 657"/>
                  <a:gd name="T76" fmla="*/ 61 w 659"/>
                  <a:gd name="T77" fmla="*/ 442 h 657"/>
                  <a:gd name="T78" fmla="*/ 105 w 659"/>
                  <a:gd name="T79" fmla="*/ 514 h 657"/>
                  <a:gd name="T80" fmla="*/ 167 w 659"/>
                  <a:gd name="T81" fmla="*/ 570 h 657"/>
                  <a:gd name="T82" fmla="*/ 242 w 659"/>
                  <a:gd name="T83" fmla="*/ 608 h 657"/>
                  <a:gd name="T84" fmla="*/ 330 w 659"/>
                  <a:gd name="T85" fmla="*/ 620 h 657"/>
                  <a:gd name="T86" fmla="*/ 387 w 659"/>
                  <a:gd name="T87" fmla="*/ 614 h 657"/>
                  <a:gd name="T88" fmla="*/ 468 w 659"/>
                  <a:gd name="T89" fmla="*/ 585 h 657"/>
                  <a:gd name="T90" fmla="*/ 535 w 659"/>
                  <a:gd name="T91" fmla="*/ 535 h 657"/>
                  <a:gd name="T92" fmla="*/ 585 w 659"/>
                  <a:gd name="T93" fmla="*/ 468 h 657"/>
                  <a:gd name="T94" fmla="*/ 614 w 659"/>
                  <a:gd name="T95" fmla="*/ 387 h 657"/>
                  <a:gd name="T96" fmla="*/ 621 w 659"/>
                  <a:gd name="T97" fmla="*/ 328 h 657"/>
                  <a:gd name="T98" fmla="*/ 608 w 659"/>
                  <a:gd name="T99" fmla="*/ 242 h 657"/>
                  <a:gd name="T100" fmla="*/ 570 w 659"/>
                  <a:gd name="T101" fmla="*/ 166 h 657"/>
                  <a:gd name="T102" fmla="*/ 515 w 659"/>
                  <a:gd name="T103" fmla="*/ 104 h 657"/>
                  <a:gd name="T104" fmla="*/ 442 w 659"/>
                  <a:gd name="T105" fmla="*/ 61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6"/>
                    </a:lnTo>
                    <a:lnTo>
                      <a:pt x="280" y="653"/>
                    </a:lnTo>
                    <a:lnTo>
                      <a:pt x="262" y="651"/>
                    </a:lnTo>
                    <a:lnTo>
                      <a:pt x="248" y="648"/>
                    </a:lnTo>
                    <a:lnTo>
                      <a:pt x="232" y="642"/>
                    </a:lnTo>
                    <a:lnTo>
                      <a:pt x="202" y="632"/>
                    </a:lnTo>
                    <a:lnTo>
                      <a:pt x="172" y="618"/>
                    </a:lnTo>
                    <a:lnTo>
                      <a:pt x="146" y="601"/>
                    </a:lnTo>
                    <a:lnTo>
                      <a:pt x="120" y="582"/>
                    </a:lnTo>
                    <a:lnTo>
                      <a:pt x="97" y="561"/>
                    </a:lnTo>
                    <a:lnTo>
                      <a:pt x="76" y="538"/>
                    </a:lnTo>
                    <a:lnTo>
                      <a:pt x="57" y="512"/>
                    </a:lnTo>
                    <a:lnTo>
                      <a:pt x="41" y="485"/>
                    </a:lnTo>
                    <a:lnTo>
                      <a:pt x="26" y="457"/>
                    </a:lnTo>
                    <a:lnTo>
                      <a:pt x="15" y="426"/>
                    </a:lnTo>
                    <a:lnTo>
                      <a:pt x="11" y="411"/>
                    </a:lnTo>
                    <a:lnTo>
                      <a:pt x="7" y="395"/>
                    </a:lnTo>
                    <a:lnTo>
                      <a:pt x="5" y="379"/>
                    </a:lnTo>
                    <a:lnTo>
                      <a:pt x="2" y="362"/>
                    </a:lnTo>
                    <a:lnTo>
                      <a:pt x="0" y="346"/>
                    </a:lnTo>
                    <a:lnTo>
                      <a:pt x="0" y="328"/>
                    </a:lnTo>
                    <a:lnTo>
                      <a:pt x="0" y="328"/>
                    </a:lnTo>
                    <a:lnTo>
                      <a:pt x="0" y="312"/>
                    </a:lnTo>
                    <a:lnTo>
                      <a:pt x="2" y="296"/>
                    </a:lnTo>
                    <a:lnTo>
                      <a:pt x="5" y="278"/>
                    </a:lnTo>
                    <a:lnTo>
                      <a:pt x="7" y="262"/>
                    </a:lnTo>
                    <a:lnTo>
                      <a:pt x="11" y="246"/>
                    </a:lnTo>
                    <a:lnTo>
                      <a:pt x="15" y="231"/>
                    </a:lnTo>
                    <a:lnTo>
                      <a:pt x="26" y="201"/>
                    </a:lnTo>
                    <a:lnTo>
                      <a:pt x="41" y="172"/>
                    </a:lnTo>
                    <a:lnTo>
                      <a:pt x="57" y="146"/>
                    </a:lnTo>
                    <a:lnTo>
                      <a:pt x="76" y="120"/>
                    </a:lnTo>
                    <a:lnTo>
                      <a:pt x="97" y="97"/>
                    </a:lnTo>
                    <a:lnTo>
                      <a:pt x="120" y="76"/>
                    </a:lnTo>
                    <a:lnTo>
                      <a:pt x="146" y="57"/>
                    </a:lnTo>
                    <a:lnTo>
                      <a:pt x="172" y="39"/>
                    </a:lnTo>
                    <a:lnTo>
                      <a:pt x="202" y="26"/>
                    </a:lnTo>
                    <a:lnTo>
                      <a:pt x="232" y="15"/>
                    </a:lnTo>
                    <a:lnTo>
                      <a:pt x="248" y="10"/>
                    </a:lnTo>
                    <a:lnTo>
                      <a:pt x="262" y="7"/>
                    </a:lnTo>
                    <a:lnTo>
                      <a:pt x="280" y="4"/>
                    </a:lnTo>
                    <a:lnTo>
                      <a:pt x="296" y="2"/>
                    </a:lnTo>
                    <a:lnTo>
                      <a:pt x="312" y="0"/>
                    </a:lnTo>
                    <a:lnTo>
                      <a:pt x="330" y="0"/>
                    </a:lnTo>
                    <a:lnTo>
                      <a:pt x="330" y="0"/>
                    </a:lnTo>
                    <a:lnTo>
                      <a:pt x="346" y="0"/>
                    </a:lnTo>
                    <a:lnTo>
                      <a:pt x="363" y="2"/>
                    </a:lnTo>
                    <a:lnTo>
                      <a:pt x="379" y="4"/>
                    </a:lnTo>
                    <a:lnTo>
                      <a:pt x="395" y="7"/>
                    </a:lnTo>
                    <a:lnTo>
                      <a:pt x="412" y="10"/>
                    </a:lnTo>
                    <a:lnTo>
                      <a:pt x="426" y="15"/>
                    </a:lnTo>
                    <a:lnTo>
                      <a:pt x="457" y="26"/>
                    </a:lnTo>
                    <a:lnTo>
                      <a:pt x="485" y="39"/>
                    </a:lnTo>
                    <a:lnTo>
                      <a:pt x="514" y="57"/>
                    </a:lnTo>
                    <a:lnTo>
                      <a:pt x="538" y="76"/>
                    </a:lnTo>
                    <a:lnTo>
                      <a:pt x="562" y="97"/>
                    </a:lnTo>
                    <a:lnTo>
                      <a:pt x="583" y="120"/>
                    </a:lnTo>
                    <a:lnTo>
                      <a:pt x="602" y="146"/>
                    </a:lnTo>
                    <a:lnTo>
                      <a:pt x="618" y="172"/>
                    </a:lnTo>
                    <a:lnTo>
                      <a:pt x="632" y="201"/>
                    </a:lnTo>
                    <a:lnTo>
                      <a:pt x="643" y="231"/>
                    </a:lnTo>
                    <a:lnTo>
                      <a:pt x="648" y="246"/>
                    </a:lnTo>
                    <a:lnTo>
                      <a:pt x="652" y="262"/>
                    </a:lnTo>
                    <a:lnTo>
                      <a:pt x="655" y="278"/>
                    </a:lnTo>
                    <a:lnTo>
                      <a:pt x="656" y="296"/>
                    </a:lnTo>
                    <a:lnTo>
                      <a:pt x="657" y="312"/>
                    </a:lnTo>
                    <a:lnTo>
                      <a:pt x="659" y="328"/>
                    </a:lnTo>
                    <a:lnTo>
                      <a:pt x="659" y="328"/>
                    </a:lnTo>
                    <a:lnTo>
                      <a:pt x="657" y="346"/>
                    </a:lnTo>
                    <a:lnTo>
                      <a:pt x="656" y="362"/>
                    </a:lnTo>
                    <a:lnTo>
                      <a:pt x="655" y="379"/>
                    </a:lnTo>
                    <a:lnTo>
                      <a:pt x="652" y="395"/>
                    </a:lnTo>
                    <a:lnTo>
                      <a:pt x="648" y="411"/>
                    </a:lnTo>
                    <a:lnTo>
                      <a:pt x="643" y="426"/>
                    </a:lnTo>
                    <a:lnTo>
                      <a:pt x="632" y="457"/>
                    </a:lnTo>
                    <a:lnTo>
                      <a:pt x="618" y="485"/>
                    </a:lnTo>
                    <a:lnTo>
                      <a:pt x="602" y="512"/>
                    </a:lnTo>
                    <a:lnTo>
                      <a:pt x="583" y="538"/>
                    </a:lnTo>
                    <a:lnTo>
                      <a:pt x="562" y="561"/>
                    </a:lnTo>
                    <a:lnTo>
                      <a:pt x="538" y="582"/>
                    </a:lnTo>
                    <a:lnTo>
                      <a:pt x="514" y="601"/>
                    </a:lnTo>
                    <a:lnTo>
                      <a:pt x="485" y="618"/>
                    </a:lnTo>
                    <a:lnTo>
                      <a:pt x="457" y="632"/>
                    </a:lnTo>
                    <a:lnTo>
                      <a:pt x="426" y="642"/>
                    </a:lnTo>
                    <a:lnTo>
                      <a:pt x="412" y="648"/>
                    </a:lnTo>
                    <a:lnTo>
                      <a:pt x="395" y="651"/>
                    </a:lnTo>
                    <a:lnTo>
                      <a:pt x="379" y="653"/>
                    </a:lnTo>
                    <a:lnTo>
                      <a:pt x="363" y="656"/>
                    </a:lnTo>
                    <a:lnTo>
                      <a:pt x="346" y="657"/>
                    </a:lnTo>
                    <a:lnTo>
                      <a:pt x="330" y="657"/>
                    </a:lnTo>
                    <a:lnTo>
                      <a:pt x="330" y="657"/>
                    </a:lnTo>
                    <a:close/>
                    <a:moveTo>
                      <a:pt x="330" y="38"/>
                    </a:moveTo>
                    <a:lnTo>
                      <a:pt x="330" y="38"/>
                    </a:lnTo>
                    <a:lnTo>
                      <a:pt x="300" y="39"/>
                    </a:lnTo>
                    <a:lnTo>
                      <a:pt x="270" y="43"/>
                    </a:lnTo>
                    <a:lnTo>
                      <a:pt x="242" y="50"/>
                    </a:lnTo>
                    <a:lnTo>
                      <a:pt x="215" y="61"/>
                    </a:lnTo>
                    <a:lnTo>
                      <a:pt x="191" y="73"/>
                    </a:lnTo>
                    <a:lnTo>
                      <a:pt x="167" y="88"/>
                    </a:lnTo>
                    <a:lnTo>
                      <a:pt x="144" y="104"/>
                    </a:lnTo>
                    <a:lnTo>
                      <a:pt x="124" y="123"/>
                    </a:lnTo>
                    <a:lnTo>
                      <a:pt x="105" y="144"/>
                    </a:lnTo>
                    <a:lnTo>
                      <a:pt x="88" y="166"/>
                    </a:lnTo>
                    <a:lnTo>
                      <a:pt x="73" y="190"/>
                    </a:lnTo>
                    <a:lnTo>
                      <a:pt x="61" y="215"/>
                    </a:lnTo>
                    <a:lnTo>
                      <a:pt x="52" y="242"/>
                    </a:lnTo>
                    <a:lnTo>
                      <a:pt x="43" y="270"/>
                    </a:lnTo>
                    <a:lnTo>
                      <a:pt x="39" y="299"/>
                    </a:lnTo>
                    <a:lnTo>
                      <a:pt x="38" y="328"/>
                    </a:lnTo>
                    <a:lnTo>
                      <a:pt x="38" y="328"/>
                    </a:lnTo>
                    <a:lnTo>
                      <a:pt x="39" y="359"/>
                    </a:lnTo>
                    <a:lnTo>
                      <a:pt x="43" y="387"/>
                    </a:lnTo>
                    <a:lnTo>
                      <a:pt x="52" y="415"/>
                    </a:lnTo>
                    <a:lnTo>
                      <a:pt x="61" y="442"/>
                    </a:lnTo>
                    <a:lnTo>
                      <a:pt x="73" y="468"/>
                    </a:lnTo>
                    <a:lnTo>
                      <a:pt x="88" y="492"/>
                    </a:lnTo>
                    <a:lnTo>
                      <a:pt x="105" y="514"/>
                    </a:lnTo>
                    <a:lnTo>
                      <a:pt x="124" y="535"/>
                    </a:lnTo>
                    <a:lnTo>
                      <a:pt x="144" y="554"/>
                    </a:lnTo>
                    <a:lnTo>
                      <a:pt x="167" y="570"/>
                    </a:lnTo>
                    <a:lnTo>
                      <a:pt x="191" y="585"/>
                    </a:lnTo>
                    <a:lnTo>
                      <a:pt x="215" y="597"/>
                    </a:lnTo>
                    <a:lnTo>
                      <a:pt x="242" y="608"/>
                    </a:lnTo>
                    <a:lnTo>
                      <a:pt x="270" y="614"/>
                    </a:lnTo>
                    <a:lnTo>
                      <a:pt x="300" y="618"/>
                    </a:lnTo>
                    <a:lnTo>
                      <a:pt x="330" y="620"/>
                    </a:lnTo>
                    <a:lnTo>
                      <a:pt x="330" y="620"/>
                    </a:lnTo>
                    <a:lnTo>
                      <a:pt x="359" y="618"/>
                    </a:lnTo>
                    <a:lnTo>
                      <a:pt x="387" y="614"/>
                    </a:lnTo>
                    <a:lnTo>
                      <a:pt x="416" y="608"/>
                    </a:lnTo>
                    <a:lnTo>
                      <a:pt x="442" y="597"/>
                    </a:lnTo>
                    <a:lnTo>
                      <a:pt x="468" y="585"/>
                    </a:lnTo>
                    <a:lnTo>
                      <a:pt x="492" y="570"/>
                    </a:lnTo>
                    <a:lnTo>
                      <a:pt x="515" y="554"/>
                    </a:lnTo>
                    <a:lnTo>
                      <a:pt x="535" y="535"/>
                    </a:lnTo>
                    <a:lnTo>
                      <a:pt x="554" y="514"/>
                    </a:lnTo>
                    <a:lnTo>
                      <a:pt x="570" y="492"/>
                    </a:lnTo>
                    <a:lnTo>
                      <a:pt x="585" y="468"/>
                    </a:lnTo>
                    <a:lnTo>
                      <a:pt x="597" y="442"/>
                    </a:lnTo>
                    <a:lnTo>
                      <a:pt x="608" y="415"/>
                    </a:lnTo>
                    <a:lnTo>
                      <a:pt x="614" y="387"/>
                    </a:lnTo>
                    <a:lnTo>
                      <a:pt x="618" y="359"/>
                    </a:lnTo>
                    <a:lnTo>
                      <a:pt x="621" y="328"/>
                    </a:lnTo>
                    <a:lnTo>
                      <a:pt x="621" y="328"/>
                    </a:lnTo>
                    <a:lnTo>
                      <a:pt x="618" y="299"/>
                    </a:lnTo>
                    <a:lnTo>
                      <a:pt x="614" y="270"/>
                    </a:lnTo>
                    <a:lnTo>
                      <a:pt x="608" y="242"/>
                    </a:lnTo>
                    <a:lnTo>
                      <a:pt x="597" y="215"/>
                    </a:lnTo>
                    <a:lnTo>
                      <a:pt x="585" y="190"/>
                    </a:lnTo>
                    <a:lnTo>
                      <a:pt x="570" y="166"/>
                    </a:lnTo>
                    <a:lnTo>
                      <a:pt x="554" y="144"/>
                    </a:lnTo>
                    <a:lnTo>
                      <a:pt x="535" y="123"/>
                    </a:lnTo>
                    <a:lnTo>
                      <a:pt x="515" y="104"/>
                    </a:lnTo>
                    <a:lnTo>
                      <a:pt x="492" y="88"/>
                    </a:lnTo>
                    <a:lnTo>
                      <a:pt x="468" y="73"/>
                    </a:lnTo>
                    <a:lnTo>
                      <a:pt x="442" y="61"/>
                    </a:lnTo>
                    <a:lnTo>
                      <a:pt x="416" y="50"/>
                    </a:lnTo>
                    <a:lnTo>
                      <a:pt x="387" y="43"/>
                    </a:lnTo>
                    <a:lnTo>
                      <a:pt x="359" y="39"/>
                    </a:lnTo>
                    <a:lnTo>
                      <a:pt x="330" y="38"/>
                    </a:lnTo>
                    <a:lnTo>
                      <a:pt x="330" y="3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a:ea typeface="Microsoft YaHei"/>
                  <a:cs typeface="+mn-cs"/>
                </a:endParaRPr>
              </a:p>
            </p:txBody>
          </p:sp>
          <p:sp>
            <p:nvSpPr>
              <p:cNvPr id="144" name="Freeform 287">
                <a:extLst>
                  <a:ext uri="{FF2B5EF4-FFF2-40B4-BE49-F238E27FC236}">
                    <a16:creationId xmlns:a16="http://schemas.microsoft.com/office/drawing/2014/main" id="{45BD4464-1FC7-4573-A0BB-DDE2BA344580}"/>
                  </a:ext>
                </a:extLst>
              </p:cNvPr>
              <p:cNvSpPr>
                <a:spLocks/>
              </p:cNvSpPr>
              <p:nvPr/>
            </p:nvSpPr>
            <p:spPr bwMode="auto">
              <a:xfrm>
                <a:off x="1608138" y="6022975"/>
                <a:ext cx="174625" cy="188913"/>
              </a:xfrm>
              <a:custGeom>
                <a:avLst/>
                <a:gdLst>
                  <a:gd name="T0" fmla="*/ 215 w 219"/>
                  <a:gd name="T1" fmla="*/ 0 h 238"/>
                  <a:gd name="T2" fmla="*/ 172 w 219"/>
                  <a:gd name="T3" fmla="*/ 0 h 238"/>
                  <a:gd name="T4" fmla="*/ 172 w 219"/>
                  <a:gd name="T5" fmla="*/ 34 h 238"/>
                  <a:gd name="T6" fmla="*/ 172 w 219"/>
                  <a:gd name="T7" fmla="*/ 34 h 238"/>
                  <a:gd name="T8" fmla="*/ 171 w 219"/>
                  <a:gd name="T9" fmla="*/ 39 h 238"/>
                  <a:gd name="T10" fmla="*/ 168 w 219"/>
                  <a:gd name="T11" fmla="*/ 44 h 238"/>
                  <a:gd name="T12" fmla="*/ 163 w 219"/>
                  <a:gd name="T13" fmla="*/ 47 h 238"/>
                  <a:gd name="T14" fmla="*/ 158 w 219"/>
                  <a:gd name="T15" fmla="*/ 48 h 238"/>
                  <a:gd name="T16" fmla="*/ 158 w 219"/>
                  <a:gd name="T17" fmla="*/ 48 h 238"/>
                  <a:gd name="T18" fmla="*/ 152 w 219"/>
                  <a:gd name="T19" fmla="*/ 47 h 238"/>
                  <a:gd name="T20" fmla="*/ 148 w 219"/>
                  <a:gd name="T21" fmla="*/ 44 h 238"/>
                  <a:gd name="T22" fmla="*/ 144 w 219"/>
                  <a:gd name="T23" fmla="*/ 39 h 238"/>
                  <a:gd name="T24" fmla="*/ 144 w 219"/>
                  <a:gd name="T25" fmla="*/ 34 h 238"/>
                  <a:gd name="T26" fmla="*/ 144 w 219"/>
                  <a:gd name="T27" fmla="*/ 0 h 238"/>
                  <a:gd name="T28" fmla="*/ 77 w 219"/>
                  <a:gd name="T29" fmla="*/ 0 h 238"/>
                  <a:gd name="T30" fmla="*/ 77 w 219"/>
                  <a:gd name="T31" fmla="*/ 34 h 238"/>
                  <a:gd name="T32" fmla="*/ 77 w 219"/>
                  <a:gd name="T33" fmla="*/ 34 h 238"/>
                  <a:gd name="T34" fmla="*/ 76 w 219"/>
                  <a:gd name="T35" fmla="*/ 39 h 238"/>
                  <a:gd name="T36" fmla="*/ 73 w 219"/>
                  <a:gd name="T37" fmla="*/ 44 h 238"/>
                  <a:gd name="T38" fmla="*/ 69 w 219"/>
                  <a:gd name="T39" fmla="*/ 47 h 238"/>
                  <a:gd name="T40" fmla="*/ 62 w 219"/>
                  <a:gd name="T41" fmla="*/ 48 h 238"/>
                  <a:gd name="T42" fmla="*/ 62 w 219"/>
                  <a:gd name="T43" fmla="*/ 48 h 238"/>
                  <a:gd name="T44" fmla="*/ 57 w 219"/>
                  <a:gd name="T45" fmla="*/ 47 h 238"/>
                  <a:gd name="T46" fmla="*/ 53 w 219"/>
                  <a:gd name="T47" fmla="*/ 44 h 238"/>
                  <a:gd name="T48" fmla="*/ 50 w 219"/>
                  <a:gd name="T49" fmla="*/ 39 h 238"/>
                  <a:gd name="T50" fmla="*/ 49 w 219"/>
                  <a:gd name="T51" fmla="*/ 34 h 238"/>
                  <a:gd name="T52" fmla="*/ 49 w 219"/>
                  <a:gd name="T53" fmla="*/ 0 h 238"/>
                  <a:gd name="T54" fmla="*/ 6 w 219"/>
                  <a:gd name="T55" fmla="*/ 0 h 238"/>
                  <a:gd name="T56" fmla="*/ 6 w 219"/>
                  <a:gd name="T57" fmla="*/ 0 h 238"/>
                  <a:gd name="T58" fmla="*/ 2 w 219"/>
                  <a:gd name="T59" fmla="*/ 1 h 238"/>
                  <a:gd name="T60" fmla="*/ 0 w 219"/>
                  <a:gd name="T61" fmla="*/ 5 h 238"/>
                  <a:gd name="T62" fmla="*/ 0 w 219"/>
                  <a:gd name="T63" fmla="*/ 234 h 238"/>
                  <a:gd name="T64" fmla="*/ 0 w 219"/>
                  <a:gd name="T65" fmla="*/ 234 h 238"/>
                  <a:gd name="T66" fmla="*/ 2 w 219"/>
                  <a:gd name="T67" fmla="*/ 236 h 238"/>
                  <a:gd name="T68" fmla="*/ 6 w 219"/>
                  <a:gd name="T69" fmla="*/ 238 h 238"/>
                  <a:gd name="T70" fmla="*/ 215 w 219"/>
                  <a:gd name="T71" fmla="*/ 238 h 238"/>
                  <a:gd name="T72" fmla="*/ 215 w 219"/>
                  <a:gd name="T73" fmla="*/ 238 h 238"/>
                  <a:gd name="T74" fmla="*/ 218 w 219"/>
                  <a:gd name="T75" fmla="*/ 236 h 238"/>
                  <a:gd name="T76" fmla="*/ 219 w 219"/>
                  <a:gd name="T77" fmla="*/ 234 h 238"/>
                  <a:gd name="T78" fmla="*/ 219 w 219"/>
                  <a:gd name="T79" fmla="*/ 5 h 238"/>
                  <a:gd name="T80" fmla="*/ 219 w 219"/>
                  <a:gd name="T81" fmla="*/ 5 h 238"/>
                  <a:gd name="T82" fmla="*/ 218 w 219"/>
                  <a:gd name="T83" fmla="*/ 1 h 238"/>
                  <a:gd name="T84" fmla="*/ 215 w 219"/>
                  <a:gd name="T85" fmla="*/ 0 h 238"/>
                  <a:gd name="T86" fmla="*/ 215 w 219"/>
                  <a:gd name="T87"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9" h="238">
                    <a:moveTo>
                      <a:pt x="215" y="0"/>
                    </a:moveTo>
                    <a:lnTo>
                      <a:pt x="172" y="0"/>
                    </a:lnTo>
                    <a:lnTo>
                      <a:pt x="172" y="34"/>
                    </a:lnTo>
                    <a:lnTo>
                      <a:pt x="172" y="34"/>
                    </a:lnTo>
                    <a:lnTo>
                      <a:pt x="171" y="39"/>
                    </a:lnTo>
                    <a:lnTo>
                      <a:pt x="168" y="44"/>
                    </a:lnTo>
                    <a:lnTo>
                      <a:pt x="163" y="47"/>
                    </a:lnTo>
                    <a:lnTo>
                      <a:pt x="158" y="48"/>
                    </a:lnTo>
                    <a:lnTo>
                      <a:pt x="158" y="48"/>
                    </a:lnTo>
                    <a:lnTo>
                      <a:pt x="152" y="47"/>
                    </a:lnTo>
                    <a:lnTo>
                      <a:pt x="148" y="44"/>
                    </a:lnTo>
                    <a:lnTo>
                      <a:pt x="144" y="39"/>
                    </a:lnTo>
                    <a:lnTo>
                      <a:pt x="144" y="34"/>
                    </a:lnTo>
                    <a:lnTo>
                      <a:pt x="144" y="0"/>
                    </a:lnTo>
                    <a:lnTo>
                      <a:pt x="77" y="0"/>
                    </a:lnTo>
                    <a:lnTo>
                      <a:pt x="77" y="34"/>
                    </a:lnTo>
                    <a:lnTo>
                      <a:pt x="77" y="34"/>
                    </a:lnTo>
                    <a:lnTo>
                      <a:pt x="76" y="39"/>
                    </a:lnTo>
                    <a:lnTo>
                      <a:pt x="73" y="44"/>
                    </a:lnTo>
                    <a:lnTo>
                      <a:pt x="69" y="47"/>
                    </a:lnTo>
                    <a:lnTo>
                      <a:pt x="62" y="48"/>
                    </a:lnTo>
                    <a:lnTo>
                      <a:pt x="62" y="48"/>
                    </a:lnTo>
                    <a:lnTo>
                      <a:pt x="57" y="47"/>
                    </a:lnTo>
                    <a:lnTo>
                      <a:pt x="53" y="44"/>
                    </a:lnTo>
                    <a:lnTo>
                      <a:pt x="50" y="39"/>
                    </a:lnTo>
                    <a:lnTo>
                      <a:pt x="49" y="34"/>
                    </a:lnTo>
                    <a:lnTo>
                      <a:pt x="49" y="0"/>
                    </a:lnTo>
                    <a:lnTo>
                      <a:pt x="6" y="0"/>
                    </a:lnTo>
                    <a:lnTo>
                      <a:pt x="6" y="0"/>
                    </a:lnTo>
                    <a:lnTo>
                      <a:pt x="2" y="1"/>
                    </a:lnTo>
                    <a:lnTo>
                      <a:pt x="0" y="5"/>
                    </a:lnTo>
                    <a:lnTo>
                      <a:pt x="0" y="234"/>
                    </a:lnTo>
                    <a:lnTo>
                      <a:pt x="0" y="234"/>
                    </a:lnTo>
                    <a:lnTo>
                      <a:pt x="2" y="236"/>
                    </a:lnTo>
                    <a:lnTo>
                      <a:pt x="6" y="238"/>
                    </a:lnTo>
                    <a:lnTo>
                      <a:pt x="215" y="238"/>
                    </a:lnTo>
                    <a:lnTo>
                      <a:pt x="215" y="238"/>
                    </a:lnTo>
                    <a:lnTo>
                      <a:pt x="218" y="236"/>
                    </a:lnTo>
                    <a:lnTo>
                      <a:pt x="219" y="234"/>
                    </a:lnTo>
                    <a:lnTo>
                      <a:pt x="219" y="5"/>
                    </a:lnTo>
                    <a:lnTo>
                      <a:pt x="219" y="5"/>
                    </a:lnTo>
                    <a:lnTo>
                      <a:pt x="218" y="1"/>
                    </a:lnTo>
                    <a:lnTo>
                      <a:pt x="215" y="0"/>
                    </a:lnTo>
                    <a:lnTo>
                      <a:pt x="2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a:ea typeface="Microsoft YaHei"/>
                  <a:cs typeface="+mn-cs"/>
                </a:endParaRPr>
              </a:p>
            </p:txBody>
          </p:sp>
          <p:sp>
            <p:nvSpPr>
              <p:cNvPr id="145" name="Freeform 288">
                <a:extLst>
                  <a:ext uri="{FF2B5EF4-FFF2-40B4-BE49-F238E27FC236}">
                    <a16:creationId xmlns:a16="http://schemas.microsoft.com/office/drawing/2014/main" id="{66C0E86E-29CD-4B83-9EA1-36C959EDC4D3}"/>
                  </a:ext>
                </a:extLst>
              </p:cNvPr>
              <p:cNvSpPr>
                <a:spLocks/>
              </p:cNvSpPr>
              <p:nvPr/>
            </p:nvSpPr>
            <p:spPr bwMode="auto">
              <a:xfrm>
                <a:off x="1654176" y="5978525"/>
                <a:ext cx="82550" cy="74613"/>
              </a:xfrm>
              <a:custGeom>
                <a:avLst/>
                <a:gdLst>
                  <a:gd name="T0" fmla="*/ 100 w 105"/>
                  <a:gd name="T1" fmla="*/ 95 h 95"/>
                  <a:gd name="T2" fmla="*/ 100 w 105"/>
                  <a:gd name="T3" fmla="*/ 95 h 95"/>
                  <a:gd name="T4" fmla="*/ 97 w 105"/>
                  <a:gd name="T5" fmla="*/ 94 h 95"/>
                  <a:gd name="T6" fmla="*/ 96 w 105"/>
                  <a:gd name="T7" fmla="*/ 90 h 95"/>
                  <a:gd name="T8" fmla="*/ 96 w 105"/>
                  <a:gd name="T9" fmla="*/ 52 h 95"/>
                  <a:gd name="T10" fmla="*/ 96 w 105"/>
                  <a:gd name="T11" fmla="*/ 52 h 95"/>
                  <a:gd name="T12" fmla="*/ 94 w 105"/>
                  <a:gd name="T13" fmla="*/ 43 h 95"/>
                  <a:gd name="T14" fmla="*/ 92 w 105"/>
                  <a:gd name="T15" fmla="*/ 35 h 95"/>
                  <a:gd name="T16" fmla="*/ 88 w 105"/>
                  <a:gd name="T17" fmla="*/ 28 h 95"/>
                  <a:gd name="T18" fmla="*/ 82 w 105"/>
                  <a:gd name="T19" fmla="*/ 21 h 95"/>
                  <a:gd name="T20" fmla="*/ 77 w 105"/>
                  <a:gd name="T21" fmla="*/ 16 h 95"/>
                  <a:gd name="T22" fmla="*/ 69 w 105"/>
                  <a:gd name="T23" fmla="*/ 12 h 95"/>
                  <a:gd name="T24" fmla="*/ 61 w 105"/>
                  <a:gd name="T25" fmla="*/ 9 h 95"/>
                  <a:gd name="T26" fmla="*/ 53 w 105"/>
                  <a:gd name="T27" fmla="*/ 9 h 95"/>
                  <a:gd name="T28" fmla="*/ 53 w 105"/>
                  <a:gd name="T29" fmla="*/ 9 h 95"/>
                  <a:gd name="T30" fmla="*/ 43 w 105"/>
                  <a:gd name="T31" fmla="*/ 9 h 95"/>
                  <a:gd name="T32" fmla="*/ 35 w 105"/>
                  <a:gd name="T33" fmla="*/ 12 h 95"/>
                  <a:gd name="T34" fmla="*/ 28 w 105"/>
                  <a:gd name="T35" fmla="*/ 16 h 95"/>
                  <a:gd name="T36" fmla="*/ 22 w 105"/>
                  <a:gd name="T37" fmla="*/ 21 h 95"/>
                  <a:gd name="T38" fmla="*/ 16 w 105"/>
                  <a:gd name="T39" fmla="*/ 28 h 95"/>
                  <a:gd name="T40" fmla="*/ 12 w 105"/>
                  <a:gd name="T41" fmla="*/ 35 h 95"/>
                  <a:gd name="T42" fmla="*/ 11 w 105"/>
                  <a:gd name="T43" fmla="*/ 43 h 95"/>
                  <a:gd name="T44" fmla="*/ 10 w 105"/>
                  <a:gd name="T45" fmla="*/ 52 h 95"/>
                  <a:gd name="T46" fmla="*/ 10 w 105"/>
                  <a:gd name="T47" fmla="*/ 90 h 95"/>
                  <a:gd name="T48" fmla="*/ 10 w 105"/>
                  <a:gd name="T49" fmla="*/ 90 h 95"/>
                  <a:gd name="T50" fmla="*/ 8 w 105"/>
                  <a:gd name="T51" fmla="*/ 94 h 95"/>
                  <a:gd name="T52" fmla="*/ 4 w 105"/>
                  <a:gd name="T53" fmla="*/ 95 h 95"/>
                  <a:gd name="T54" fmla="*/ 4 w 105"/>
                  <a:gd name="T55" fmla="*/ 95 h 95"/>
                  <a:gd name="T56" fmla="*/ 2 w 105"/>
                  <a:gd name="T57" fmla="*/ 94 h 95"/>
                  <a:gd name="T58" fmla="*/ 0 w 105"/>
                  <a:gd name="T59" fmla="*/ 90 h 95"/>
                  <a:gd name="T60" fmla="*/ 0 w 105"/>
                  <a:gd name="T61" fmla="*/ 52 h 95"/>
                  <a:gd name="T62" fmla="*/ 0 w 105"/>
                  <a:gd name="T63" fmla="*/ 52 h 95"/>
                  <a:gd name="T64" fmla="*/ 2 w 105"/>
                  <a:gd name="T65" fmla="*/ 41 h 95"/>
                  <a:gd name="T66" fmla="*/ 4 w 105"/>
                  <a:gd name="T67" fmla="*/ 31 h 95"/>
                  <a:gd name="T68" fmla="*/ 8 w 105"/>
                  <a:gd name="T69" fmla="*/ 22 h 95"/>
                  <a:gd name="T70" fmla="*/ 15 w 105"/>
                  <a:gd name="T71" fmla="*/ 14 h 95"/>
                  <a:gd name="T72" fmla="*/ 23 w 105"/>
                  <a:gd name="T73" fmla="*/ 8 h 95"/>
                  <a:gd name="T74" fmla="*/ 32 w 105"/>
                  <a:gd name="T75" fmla="*/ 4 h 95"/>
                  <a:gd name="T76" fmla="*/ 42 w 105"/>
                  <a:gd name="T77" fmla="*/ 1 h 95"/>
                  <a:gd name="T78" fmla="*/ 53 w 105"/>
                  <a:gd name="T79" fmla="*/ 0 h 95"/>
                  <a:gd name="T80" fmla="*/ 53 w 105"/>
                  <a:gd name="T81" fmla="*/ 0 h 95"/>
                  <a:gd name="T82" fmla="*/ 63 w 105"/>
                  <a:gd name="T83" fmla="*/ 1 h 95"/>
                  <a:gd name="T84" fmla="*/ 73 w 105"/>
                  <a:gd name="T85" fmla="*/ 4 h 95"/>
                  <a:gd name="T86" fmla="*/ 82 w 105"/>
                  <a:gd name="T87" fmla="*/ 8 h 95"/>
                  <a:gd name="T88" fmla="*/ 89 w 105"/>
                  <a:gd name="T89" fmla="*/ 14 h 95"/>
                  <a:gd name="T90" fmla="*/ 96 w 105"/>
                  <a:gd name="T91" fmla="*/ 22 h 95"/>
                  <a:gd name="T92" fmla="*/ 101 w 105"/>
                  <a:gd name="T93" fmla="*/ 31 h 95"/>
                  <a:gd name="T94" fmla="*/ 104 w 105"/>
                  <a:gd name="T95" fmla="*/ 41 h 95"/>
                  <a:gd name="T96" fmla="*/ 105 w 105"/>
                  <a:gd name="T97" fmla="*/ 52 h 95"/>
                  <a:gd name="T98" fmla="*/ 105 w 105"/>
                  <a:gd name="T99" fmla="*/ 90 h 95"/>
                  <a:gd name="T100" fmla="*/ 105 w 105"/>
                  <a:gd name="T101" fmla="*/ 90 h 95"/>
                  <a:gd name="T102" fmla="*/ 104 w 105"/>
                  <a:gd name="T103" fmla="*/ 94 h 95"/>
                  <a:gd name="T104" fmla="*/ 100 w 105"/>
                  <a:gd name="T105" fmla="*/ 95 h 95"/>
                  <a:gd name="T106" fmla="*/ 100 w 105"/>
                  <a:gd name="T107"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5" h="95">
                    <a:moveTo>
                      <a:pt x="100" y="95"/>
                    </a:moveTo>
                    <a:lnTo>
                      <a:pt x="100" y="95"/>
                    </a:lnTo>
                    <a:lnTo>
                      <a:pt x="97" y="94"/>
                    </a:lnTo>
                    <a:lnTo>
                      <a:pt x="96" y="90"/>
                    </a:lnTo>
                    <a:lnTo>
                      <a:pt x="96" y="52"/>
                    </a:lnTo>
                    <a:lnTo>
                      <a:pt x="96" y="52"/>
                    </a:lnTo>
                    <a:lnTo>
                      <a:pt x="94" y="43"/>
                    </a:lnTo>
                    <a:lnTo>
                      <a:pt x="92" y="35"/>
                    </a:lnTo>
                    <a:lnTo>
                      <a:pt x="88" y="28"/>
                    </a:lnTo>
                    <a:lnTo>
                      <a:pt x="82" y="21"/>
                    </a:lnTo>
                    <a:lnTo>
                      <a:pt x="77" y="16"/>
                    </a:lnTo>
                    <a:lnTo>
                      <a:pt x="69" y="12"/>
                    </a:lnTo>
                    <a:lnTo>
                      <a:pt x="61" y="9"/>
                    </a:lnTo>
                    <a:lnTo>
                      <a:pt x="53" y="9"/>
                    </a:lnTo>
                    <a:lnTo>
                      <a:pt x="53" y="9"/>
                    </a:lnTo>
                    <a:lnTo>
                      <a:pt x="43" y="9"/>
                    </a:lnTo>
                    <a:lnTo>
                      <a:pt x="35" y="12"/>
                    </a:lnTo>
                    <a:lnTo>
                      <a:pt x="28" y="16"/>
                    </a:lnTo>
                    <a:lnTo>
                      <a:pt x="22" y="21"/>
                    </a:lnTo>
                    <a:lnTo>
                      <a:pt x="16" y="28"/>
                    </a:lnTo>
                    <a:lnTo>
                      <a:pt x="12" y="35"/>
                    </a:lnTo>
                    <a:lnTo>
                      <a:pt x="11" y="43"/>
                    </a:lnTo>
                    <a:lnTo>
                      <a:pt x="10" y="52"/>
                    </a:lnTo>
                    <a:lnTo>
                      <a:pt x="10" y="90"/>
                    </a:lnTo>
                    <a:lnTo>
                      <a:pt x="10" y="90"/>
                    </a:lnTo>
                    <a:lnTo>
                      <a:pt x="8" y="94"/>
                    </a:lnTo>
                    <a:lnTo>
                      <a:pt x="4" y="95"/>
                    </a:lnTo>
                    <a:lnTo>
                      <a:pt x="4" y="95"/>
                    </a:lnTo>
                    <a:lnTo>
                      <a:pt x="2" y="94"/>
                    </a:lnTo>
                    <a:lnTo>
                      <a:pt x="0" y="90"/>
                    </a:lnTo>
                    <a:lnTo>
                      <a:pt x="0" y="52"/>
                    </a:lnTo>
                    <a:lnTo>
                      <a:pt x="0" y="52"/>
                    </a:lnTo>
                    <a:lnTo>
                      <a:pt x="2" y="41"/>
                    </a:lnTo>
                    <a:lnTo>
                      <a:pt x="4" y="31"/>
                    </a:lnTo>
                    <a:lnTo>
                      <a:pt x="8" y="22"/>
                    </a:lnTo>
                    <a:lnTo>
                      <a:pt x="15" y="14"/>
                    </a:lnTo>
                    <a:lnTo>
                      <a:pt x="23" y="8"/>
                    </a:lnTo>
                    <a:lnTo>
                      <a:pt x="32" y="4"/>
                    </a:lnTo>
                    <a:lnTo>
                      <a:pt x="42" y="1"/>
                    </a:lnTo>
                    <a:lnTo>
                      <a:pt x="53" y="0"/>
                    </a:lnTo>
                    <a:lnTo>
                      <a:pt x="53" y="0"/>
                    </a:lnTo>
                    <a:lnTo>
                      <a:pt x="63" y="1"/>
                    </a:lnTo>
                    <a:lnTo>
                      <a:pt x="73" y="4"/>
                    </a:lnTo>
                    <a:lnTo>
                      <a:pt x="82" y="8"/>
                    </a:lnTo>
                    <a:lnTo>
                      <a:pt x="89" y="14"/>
                    </a:lnTo>
                    <a:lnTo>
                      <a:pt x="96" y="22"/>
                    </a:lnTo>
                    <a:lnTo>
                      <a:pt x="101" y="31"/>
                    </a:lnTo>
                    <a:lnTo>
                      <a:pt x="104" y="41"/>
                    </a:lnTo>
                    <a:lnTo>
                      <a:pt x="105" y="52"/>
                    </a:lnTo>
                    <a:lnTo>
                      <a:pt x="105" y="90"/>
                    </a:lnTo>
                    <a:lnTo>
                      <a:pt x="105" y="90"/>
                    </a:lnTo>
                    <a:lnTo>
                      <a:pt x="104" y="94"/>
                    </a:lnTo>
                    <a:lnTo>
                      <a:pt x="100" y="95"/>
                    </a:lnTo>
                    <a:lnTo>
                      <a:pt x="100" y="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a:ea typeface="Microsoft YaHei"/>
                  <a:cs typeface="+mn-cs"/>
                </a:endParaRPr>
              </a:p>
            </p:txBody>
          </p:sp>
        </p:grpSp>
      </p:grpSp>
      <p:grpSp>
        <p:nvGrpSpPr>
          <p:cNvPr id="146" name="Group 145">
            <a:extLst>
              <a:ext uri="{FF2B5EF4-FFF2-40B4-BE49-F238E27FC236}">
                <a16:creationId xmlns:a16="http://schemas.microsoft.com/office/drawing/2014/main" id="{1DA22113-1308-46EC-9E1B-8B7F30C7F2BE}"/>
              </a:ext>
            </a:extLst>
          </p:cNvPr>
          <p:cNvGrpSpPr/>
          <p:nvPr/>
        </p:nvGrpSpPr>
        <p:grpSpPr>
          <a:xfrm>
            <a:off x="754105" y="2889082"/>
            <a:ext cx="328183" cy="328183"/>
            <a:chOff x="-66540" y="2188801"/>
            <a:chExt cx="328183" cy="328183"/>
          </a:xfrm>
        </p:grpSpPr>
        <p:sp>
          <p:nvSpPr>
            <p:cNvPr id="147" name="Oval 146">
              <a:extLst>
                <a:ext uri="{FF2B5EF4-FFF2-40B4-BE49-F238E27FC236}">
                  <a16:creationId xmlns:a16="http://schemas.microsoft.com/office/drawing/2014/main" id="{C8CA5474-85BA-4D49-8EFD-A8BAE216ACA4}"/>
                </a:ext>
              </a:extLst>
            </p:cNvPr>
            <p:cNvSpPr/>
            <p:nvPr/>
          </p:nvSpPr>
          <p:spPr>
            <a:xfrm>
              <a:off x="-41335" y="2211807"/>
              <a:ext cx="281673" cy="2816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grpSp>
          <p:nvGrpSpPr>
            <p:cNvPr id="148" name="Group 147">
              <a:extLst>
                <a:ext uri="{FF2B5EF4-FFF2-40B4-BE49-F238E27FC236}">
                  <a16:creationId xmlns:a16="http://schemas.microsoft.com/office/drawing/2014/main" id="{A16C30D1-DD02-4E34-8690-CB6D49F213EF}"/>
                </a:ext>
              </a:extLst>
            </p:cNvPr>
            <p:cNvGrpSpPr>
              <a:grpSpLocks noChangeAspect="1"/>
            </p:cNvGrpSpPr>
            <p:nvPr/>
          </p:nvGrpSpPr>
          <p:grpSpPr>
            <a:xfrm>
              <a:off x="-66540" y="2188801"/>
              <a:ext cx="328183" cy="328183"/>
              <a:chOff x="5824538" y="5851525"/>
              <a:chExt cx="522288" cy="522288"/>
            </a:xfrm>
            <a:solidFill>
              <a:schemeClr val="accent1"/>
            </a:solidFill>
          </p:grpSpPr>
          <p:sp>
            <p:nvSpPr>
              <p:cNvPr id="149" name="Freeform 78">
                <a:extLst>
                  <a:ext uri="{FF2B5EF4-FFF2-40B4-BE49-F238E27FC236}">
                    <a16:creationId xmlns:a16="http://schemas.microsoft.com/office/drawing/2014/main" id="{827D9E31-E1AB-4482-8671-217F28CE9A23}"/>
                  </a:ext>
                </a:extLst>
              </p:cNvPr>
              <p:cNvSpPr>
                <a:spLocks noEditPoints="1"/>
              </p:cNvSpPr>
              <p:nvPr/>
            </p:nvSpPr>
            <p:spPr bwMode="auto">
              <a:xfrm>
                <a:off x="5824538" y="5851525"/>
                <a:ext cx="522288" cy="522288"/>
              </a:xfrm>
              <a:custGeom>
                <a:avLst/>
                <a:gdLst>
                  <a:gd name="T0" fmla="*/ 312 w 659"/>
                  <a:gd name="T1" fmla="*/ 657 h 658"/>
                  <a:gd name="T2" fmla="*/ 264 w 659"/>
                  <a:gd name="T3" fmla="*/ 651 h 658"/>
                  <a:gd name="T4" fmla="*/ 202 w 659"/>
                  <a:gd name="T5" fmla="*/ 631 h 658"/>
                  <a:gd name="T6" fmla="*/ 120 w 659"/>
                  <a:gd name="T7" fmla="*/ 583 h 658"/>
                  <a:gd name="T8" fmla="*/ 57 w 659"/>
                  <a:gd name="T9" fmla="*/ 513 h 658"/>
                  <a:gd name="T10" fmla="*/ 15 w 659"/>
                  <a:gd name="T11" fmla="*/ 427 h 658"/>
                  <a:gd name="T12" fmla="*/ 5 w 659"/>
                  <a:gd name="T13" fmla="*/ 379 h 658"/>
                  <a:gd name="T14" fmla="*/ 0 w 659"/>
                  <a:gd name="T15" fmla="*/ 329 h 658"/>
                  <a:gd name="T16" fmla="*/ 2 w 659"/>
                  <a:gd name="T17" fmla="*/ 295 h 658"/>
                  <a:gd name="T18" fmla="*/ 11 w 659"/>
                  <a:gd name="T19" fmla="*/ 247 h 658"/>
                  <a:gd name="T20" fmla="*/ 41 w 659"/>
                  <a:gd name="T21" fmla="*/ 172 h 658"/>
                  <a:gd name="T22" fmla="*/ 97 w 659"/>
                  <a:gd name="T23" fmla="*/ 96 h 658"/>
                  <a:gd name="T24" fmla="*/ 172 w 659"/>
                  <a:gd name="T25" fmla="*/ 40 h 658"/>
                  <a:gd name="T26" fmla="*/ 248 w 659"/>
                  <a:gd name="T27" fmla="*/ 11 h 658"/>
                  <a:gd name="T28" fmla="*/ 296 w 659"/>
                  <a:gd name="T29" fmla="*/ 2 h 658"/>
                  <a:gd name="T30" fmla="*/ 330 w 659"/>
                  <a:gd name="T31" fmla="*/ 0 h 658"/>
                  <a:gd name="T32" fmla="*/ 379 w 659"/>
                  <a:gd name="T33" fmla="*/ 4 h 658"/>
                  <a:gd name="T34" fmla="*/ 428 w 659"/>
                  <a:gd name="T35" fmla="*/ 15 h 658"/>
                  <a:gd name="T36" fmla="*/ 514 w 659"/>
                  <a:gd name="T37" fmla="*/ 56 h 658"/>
                  <a:gd name="T38" fmla="*/ 583 w 659"/>
                  <a:gd name="T39" fmla="*/ 119 h 658"/>
                  <a:gd name="T40" fmla="*/ 632 w 659"/>
                  <a:gd name="T41" fmla="*/ 201 h 658"/>
                  <a:gd name="T42" fmla="*/ 652 w 659"/>
                  <a:gd name="T43" fmla="*/ 263 h 658"/>
                  <a:gd name="T44" fmla="*/ 657 w 659"/>
                  <a:gd name="T45" fmla="*/ 311 h 658"/>
                  <a:gd name="T46" fmla="*/ 657 w 659"/>
                  <a:gd name="T47" fmla="*/ 346 h 658"/>
                  <a:gd name="T48" fmla="*/ 652 w 659"/>
                  <a:gd name="T49" fmla="*/ 395 h 658"/>
                  <a:gd name="T50" fmla="*/ 632 w 659"/>
                  <a:gd name="T51" fmla="*/ 456 h 658"/>
                  <a:gd name="T52" fmla="*/ 583 w 659"/>
                  <a:gd name="T53" fmla="*/ 538 h 658"/>
                  <a:gd name="T54" fmla="*/ 514 w 659"/>
                  <a:gd name="T55" fmla="*/ 602 h 658"/>
                  <a:gd name="T56" fmla="*/ 428 w 659"/>
                  <a:gd name="T57" fmla="*/ 643 h 658"/>
                  <a:gd name="T58" fmla="*/ 379 w 659"/>
                  <a:gd name="T59" fmla="*/ 654 h 658"/>
                  <a:gd name="T60" fmla="*/ 330 w 659"/>
                  <a:gd name="T61" fmla="*/ 658 h 658"/>
                  <a:gd name="T62" fmla="*/ 330 w 659"/>
                  <a:gd name="T63" fmla="*/ 37 h 658"/>
                  <a:gd name="T64" fmla="*/ 244 w 659"/>
                  <a:gd name="T65" fmla="*/ 51 h 658"/>
                  <a:gd name="T66" fmla="*/ 167 w 659"/>
                  <a:gd name="T67" fmla="*/ 87 h 658"/>
                  <a:gd name="T68" fmla="*/ 105 w 659"/>
                  <a:gd name="T69" fmla="*/ 144 h 658"/>
                  <a:gd name="T70" fmla="*/ 61 w 659"/>
                  <a:gd name="T71" fmla="*/ 216 h 658"/>
                  <a:gd name="T72" fmla="*/ 39 w 659"/>
                  <a:gd name="T73" fmla="*/ 299 h 658"/>
                  <a:gd name="T74" fmla="*/ 39 w 659"/>
                  <a:gd name="T75" fmla="*/ 358 h 658"/>
                  <a:gd name="T76" fmla="*/ 61 w 659"/>
                  <a:gd name="T77" fmla="*/ 442 h 658"/>
                  <a:gd name="T78" fmla="*/ 105 w 659"/>
                  <a:gd name="T79" fmla="*/ 514 h 658"/>
                  <a:gd name="T80" fmla="*/ 167 w 659"/>
                  <a:gd name="T81" fmla="*/ 571 h 658"/>
                  <a:gd name="T82" fmla="*/ 244 w 659"/>
                  <a:gd name="T83" fmla="*/ 607 h 658"/>
                  <a:gd name="T84" fmla="*/ 330 w 659"/>
                  <a:gd name="T85" fmla="*/ 620 h 658"/>
                  <a:gd name="T86" fmla="*/ 389 w 659"/>
                  <a:gd name="T87" fmla="*/ 614 h 658"/>
                  <a:gd name="T88" fmla="*/ 468 w 659"/>
                  <a:gd name="T89" fmla="*/ 585 h 658"/>
                  <a:gd name="T90" fmla="*/ 535 w 659"/>
                  <a:gd name="T91" fmla="*/ 534 h 658"/>
                  <a:gd name="T92" fmla="*/ 586 w 659"/>
                  <a:gd name="T93" fmla="*/ 467 h 658"/>
                  <a:gd name="T94" fmla="*/ 614 w 659"/>
                  <a:gd name="T95" fmla="*/ 388 h 658"/>
                  <a:gd name="T96" fmla="*/ 621 w 659"/>
                  <a:gd name="T97" fmla="*/ 329 h 658"/>
                  <a:gd name="T98" fmla="*/ 608 w 659"/>
                  <a:gd name="T99" fmla="*/ 243 h 658"/>
                  <a:gd name="T100" fmla="*/ 571 w 659"/>
                  <a:gd name="T101" fmla="*/ 166 h 658"/>
                  <a:gd name="T102" fmla="*/ 515 w 659"/>
                  <a:gd name="T103" fmla="*/ 105 h 658"/>
                  <a:gd name="T104" fmla="*/ 442 w 659"/>
                  <a:gd name="T105" fmla="*/ 60 h 658"/>
                  <a:gd name="T106" fmla="*/ 359 w 659"/>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30" y="658"/>
                    </a:moveTo>
                    <a:lnTo>
                      <a:pt x="330" y="658"/>
                    </a:lnTo>
                    <a:lnTo>
                      <a:pt x="312" y="657"/>
                    </a:lnTo>
                    <a:lnTo>
                      <a:pt x="296" y="655"/>
                    </a:lnTo>
                    <a:lnTo>
                      <a:pt x="280" y="654"/>
                    </a:lnTo>
                    <a:lnTo>
                      <a:pt x="264" y="651"/>
                    </a:lnTo>
                    <a:lnTo>
                      <a:pt x="248" y="647"/>
                    </a:lnTo>
                    <a:lnTo>
                      <a:pt x="232" y="643"/>
                    </a:lnTo>
                    <a:lnTo>
                      <a:pt x="202" y="631"/>
                    </a:lnTo>
                    <a:lnTo>
                      <a:pt x="172" y="618"/>
                    </a:lnTo>
                    <a:lnTo>
                      <a:pt x="146" y="602"/>
                    </a:lnTo>
                    <a:lnTo>
                      <a:pt x="120" y="583"/>
                    </a:lnTo>
                    <a:lnTo>
                      <a:pt x="97" y="561"/>
                    </a:lnTo>
                    <a:lnTo>
                      <a:pt x="76" y="538"/>
                    </a:lnTo>
                    <a:lnTo>
                      <a:pt x="57" y="513"/>
                    </a:lnTo>
                    <a:lnTo>
                      <a:pt x="41" y="486"/>
                    </a:lnTo>
                    <a:lnTo>
                      <a:pt x="26" y="456"/>
                    </a:lnTo>
                    <a:lnTo>
                      <a:pt x="15" y="427"/>
                    </a:lnTo>
                    <a:lnTo>
                      <a:pt x="11" y="411"/>
                    </a:lnTo>
                    <a:lnTo>
                      <a:pt x="7" y="395"/>
                    </a:lnTo>
                    <a:lnTo>
                      <a:pt x="5" y="379"/>
                    </a:lnTo>
                    <a:lnTo>
                      <a:pt x="2" y="362"/>
                    </a:lnTo>
                    <a:lnTo>
                      <a:pt x="2" y="346"/>
                    </a:lnTo>
                    <a:lnTo>
                      <a:pt x="0" y="329"/>
                    </a:lnTo>
                    <a:lnTo>
                      <a:pt x="0" y="329"/>
                    </a:lnTo>
                    <a:lnTo>
                      <a:pt x="2" y="311"/>
                    </a:lnTo>
                    <a:lnTo>
                      <a:pt x="2" y="295"/>
                    </a:lnTo>
                    <a:lnTo>
                      <a:pt x="5" y="279"/>
                    </a:lnTo>
                    <a:lnTo>
                      <a:pt x="7" y="263"/>
                    </a:lnTo>
                    <a:lnTo>
                      <a:pt x="11" y="247"/>
                    </a:lnTo>
                    <a:lnTo>
                      <a:pt x="15" y="231"/>
                    </a:lnTo>
                    <a:lnTo>
                      <a:pt x="26" y="201"/>
                    </a:lnTo>
                    <a:lnTo>
                      <a:pt x="41" y="172"/>
                    </a:lnTo>
                    <a:lnTo>
                      <a:pt x="57" y="145"/>
                    </a:lnTo>
                    <a:lnTo>
                      <a:pt x="76" y="119"/>
                    </a:lnTo>
                    <a:lnTo>
                      <a:pt x="97" y="96"/>
                    </a:lnTo>
                    <a:lnTo>
                      <a:pt x="120" y="75"/>
                    </a:lnTo>
                    <a:lnTo>
                      <a:pt x="146" y="56"/>
                    </a:lnTo>
                    <a:lnTo>
                      <a:pt x="172" y="40"/>
                    </a:lnTo>
                    <a:lnTo>
                      <a:pt x="202" y="27"/>
                    </a:lnTo>
                    <a:lnTo>
                      <a:pt x="232" y="15"/>
                    </a:lnTo>
                    <a:lnTo>
                      <a:pt x="248" y="11"/>
                    </a:lnTo>
                    <a:lnTo>
                      <a:pt x="264" y="6"/>
                    </a:lnTo>
                    <a:lnTo>
                      <a:pt x="280" y="4"/>
                    </a:lnTo>
                    <a:lnTo>
                      <a:pt x="296" y="2"/>
                    </a:lnTo>
                    <a:lnTo>
                      <a:pt x="312" y="1"/>
                    </a:lnTo>
                    <a:lnTo>
                      <a:pt x="330" y="0"/>
                    </a:lnTo>
                    <a:lnTo>
                      <a:pt x="330" y="0"/>
                    </a:lnTo>
                    <a:lnTo>
                      <a:pt x="347" y="1"/>
                    </a:lnTo>
                    <a:lnTo>
                      <a:pt x="363" y="2"/>
                    </a:lnTo>
                    <a:lnTo>
                      <a:pt x="379" y="4"/>
                    </a:lnTo>
                    <a:lnTo>
                      <a:pt x="395" y="6"/>
                    </a:lnTo>
                    <a:lnTo>
                      <a:pt x="412" y="11"/>
                    </a:lnTo>
                    <a:lnTo>
                      <a:pt x="428" y="15"/>
                    </a:lnTo>
                    <a:lnTo>
                      <a:pt x="457" y="27"/>
                    </a:lnTo>
                    <a:lnTo>
                      <a:pt x="487" y="40"/>
                    </a:lnTo>
                    <a:lnTo>
                      <a:pt x="514" y="56"/>
                    </a:lnTo>
                    <a:lnTo>
                      <a:pt x="539" y="75"/>
                    </a:lnTo>
                    <a:lnTo>
                      <a:pt x="562" y="96"/>
                    </a:lnTo>
                    <a:lnTo>
                      <a:pt x="583" y="119"/>
                    </a:lnTo>
                    <a:lnTo>
                      <a:pt x="602" y="145"/>
                    </a:lnTo>
                    <a:lnTo>
                      <a:pt x="618" y="172"/>
                    </a:lnTo>
                    <a:lnTo>
                      <a:pt x="632" y="201"/>
                    </a:lnTo>
                    <a:lnTo>
                      <a:pt x="644" y="231"/>
                    </a:lnTo>
                    <a:lnTo>
                      <a:pt x="648" y="247"/>
                    </a:lnTo>
                    <a:lnTo>
                      <a:pt x="652" y="263"/>
                    </a:lnTo>
                    <a:lnTo>
                      <a:pt x="655" y="279"/>
                    </a:lnTo>
                    <a:lnTo>
                      <a:pt x="656" y="295"/>
                    </a:lnTo>
                    <a:lnTo>
                      <a:pt x="657" y="311"/>
                    </a:lnTo>
                    <a:lnTo>
                      <a:pt x="659" y="329"/>
                    </a:lnTo>
                    <a:lnTo>
                      <a:pt x="659" y="329"/>
                    </a:lnTo>
                    <a:lnTo>
                      <a:pt x="657" y="346"/>
                    </a:lnTo>
                    <a:lnTo>
                      <a:pt x="656" y="362"/>
                    </a:lnTo>
                    <a:lnTo>
                      <a:pt x="655" y="379"/>
                    </a:lnTo>
                    <a:lnTo>
                      <a:pt x="652" y="395"/>
                    </a:lnTo>
                    <a:lnTo>
                      <a:pt x="648" y="411"/>
                    </a:lnTo>
                    <a:lnTo>
                      <a:pt x="644" y="427"/>
                    </a:lnTo>
                    <a:lnTo>
                      <a:pt x="632" y="456"/>
                    </a:lnTo>
                    <a:lnTo>
                      <a:pt x="618" y="486"/>
                    </a:lnTo>
                    <a:lnTo>
                      <a:pt x="602" y="513"/>
                    </a:lnTo>
                    <a:lnTo>
                      <a:pt x="583" y="538"/>
                    </a:lnTo>
                    <a:lnTo>
                      <a:pt x="562" y="561"/>
                    </a:lnTo>
                    <a:lnTo>
                      <a:pt x="539" y="583"/>
                    </a:lnTo>
                    <a:lnTo>
                      <a:pt x="514" y="602"/>
                    </a:lnTo>
                    <a:lnTo>
                      <a:pt x="487" y="618"/>
                    </a:lnTo>
                    <a:lnTo>
                      <a:pt x="457" y="631"/>
                    </a:lnTo>
                    <a:lnTo>
                      <a:pt x="428" y="643"/>
                    </a:lnTo>
                    <a:lnTo>
                      <a:pt x="412" y="647"/>
                    </a:lnTo>
                    <a:lnTo>
                      <a:pt x="395" y="651"/>
                    </a:lnTo>
                    <a:lnTo>
                      <a:pt x="379" y="654"/>
                    </a:lnTo>
                    <a:lnTo>
                      <a:pt x="363" y="655"/>
                    </a:lnTo>
                    <a:lnTo>
                      <a:pt x="347" y="657"/>
                    </a:lnTo>
                    <a:lnTo>
                      <a:pt x="330" y="658"/>
                    </a:lnTo>
                    <a:lnTo>
                      <a:pt x="330" y="658"/>
                    </a:lnTo>
                    <a:close/>
                    <a:moveTo>
                      <a:pt x="330" y="37"/>
                    </a:moveTo>
                    <a:lnTo>
                      <a:pt x="330" y="37"/>
                    </a:lnTo>
                    <a:lnTo>
                      <a:pt x="300" y="39"/>
                    </a:lnTo>
                    <a:lnTo>
                      <a:pt x="270" y="44"/>
                    </a:lnTo>
                    <a:lnTo>
                      <a:pt x="244" y="51"/>
                    </a:lnTo>
                    <a:lnTo>
                      <a:pt x="217" y="60"/>
                    </a:lnTo>
                    <a:lnTo>
                      <a:pt x="191" y="72"/>
                    </a:lnTo>
                    <a:lnTo>
                      <a:pt x="167" y="87"/>
                    </a:lnTo>
                    <a:lnTo>
                      <a:pt x="144" y="105"/>
                    </a:lnTo>
                    <a:lnTo>
                      <a:pt x="124" y="123"/>
                    </a:lnTo>
                    <a:lnTo>
                      <a:pt x="105" y="144"/>
                    </a:lnTo>
                    <a:lnTo>
                      <a:pt x="88" y="166"/>
                    </a:lnTo>
                    <a:lnTo>
                      <a:pt x="73" y="191"/>
                    </a:lnTo>
                    <a:lnTo>
                      <a:pt x="61" y="216"/>
                    </a:lnTo>
                    <a:lnTo>
                      <a:pt x="52" y="243"/>
                    </a:lnTo>
                    <a:lnTo>
                      <a:pt x="45" y="270"/>
                    </a:lnTo>
                    <a:lnTo>
                      <a:pt x="39" y="299"/>
                    </a:lnTo>
                    <a:lnTo>
                      <a:pt x="38" y="329"/>
                    </a:lnTo>
                    <a:lnTo>
                      <a:pt x="38" y="329"/>
                    </a:lnTo>
                    <a:lnTo>
                      <a:pt x="39" y="358"/>
                    </a:lnTo>
                    <a:lnTo>
                      <a:pt x="45" y="388"/>
                    </a:lnTo>
                    <a:lnTo>
                      <a:pt x="52" y="415"/>
                    </a:lnTo>
                    <a:lnTo>
                      <a:pt x="61" y="442"/>
                    </a:lnTo>
                    <a:lnTo>
                      <a:pt x="73" y="467"/>
                    </a:lnTo>
                    <a:lnTo>
                      <a:pt x="88" y="491"/>
                    </a:lnTo>
                    <a:lnTo>
                      <a:pt x="105" y="514"/>
                    </a:lnTo>
                    <a:lnTo>
                      <a:pt x="124" y="534"/>
                    </a:lnTo>
                    <a:lnTo>
                      <a:pt x="144" y="553"/>
                    </a:lnTo>
                    <a:lnTo>
                      <a:pt x="167" y="571"/>
                    </a:lnTo>
                    <a:lnTo>
                      <a:pt x="191" y="585"/>
                    </a:lnTo>
                    <a:lnTo>
                      <a:pt x="217" y="597"/>
                    </a:lnTo>
                    <a:lnTo>
                      <a:pt x="244" y="607"/>
                    </a:lnTo>
                    <a:lnTo>
                      <a:pt x="270" y="614"/>
                    </a:lnTo>
                    <a:lnTo>
                      <a:pt x="300" y="619"/>
                    </a:lnTo>
                    <a:lnTo>
                      <a:pt x="330" y="620"/>
                    </a:lnTo>
                    <a:lnTo>
                      <a:pt x="330" y="620"/>
                    </a:lnTo>
                    <a:lnTo>
                      <a:pt x="359" y="619"/>
                    </a:lnTo>
                    <a:lnTo>
                      <a:pt x="389" y="614"/>
                    </a:lnTo>
                    <a:lnTo>
                      <a:pt x="416" y="607"/>
                    </a:lnTo>
                    <a:lnTo>
                      <a:pt x="442" y="597"/>
                    </a:lnTo>
                    <a:lnTo>
                      <a:pt x="468" y="585"/>
                    </a:lnTo>
                    <a:lnTo>
                      <a:pt x="492" y="571"/>
                    </a:lnTo>
                    <a:lnTo>
                      <a:pt x="515" y="553"/>
                    </a:lnTo>
                    <a:lnTo>
                      <a:pt x="535" y="534"/>
                    </a:lnTo>
                    <a:lnTo>
                      <a:pt x="554" y="514"/>
                    </a:lnTo>
                    <a:lnTo>
                      <a:pt x="571" y="491"/>
                    </a:lnTo>
                    <a:lnTo>
                      <a:pt x="586" y="467"/>
                    </a:lnTo>
                    <a:lnTo>
                      <a:pt x="598" y="442"/>
                    </a:lnTo>
                    <a:lnTo>
                      <a:pt x="608" y="415"/>
                    </a:lnTo>
                    <a:lnTo>
                      <a:pt x="614" y="388"/>
                    </a:lnTo>
                    <a:lnTo>
                      <a:pt x="620" y="358"/>
                    </a:lnTo>
                    <a:lnTo>
                      <a:pt x="621" y="329"/>
                    </a:lnTo>
                    <a:lnTo>
                      <a:pt x="621" y="329"/>
                    </a:lnTo>
                    <a:lnTo>
                      <a:pt x="620" y="299"/>
                    </a:lnTo>
                    <a:lnTo>
                      <a:pt x="614" y="270"/>
                    </a:lnTo>
                    <a:lnTo>
                      <a:pt x="608" y="243"/>
                    </a:lnTo>
                    <a:lnTo>
                      <a:pt x="598" y="216"/>
                    </a:lnTo>
                    <a:lnTo>
                      <a:pt x="586" y="191"/>
                    </a:lnTo>
                    <a:lnTo>
                      <a:pt x="571" y="166"/>
                    </a:lnTo>
                    <a:lnTo>
                      <a:pt x="554" y="144"/>
                    </a:lnTo>
                    <a:lnTo>
                      <a:pt x="535" y="123"/>
                    </a:lnTo>
                    <a:lnTo>
                      <a:pt x="515" y="105"/>
                    </a:lnTo>
                    <a:lnTo>
                      <a:pt x="492" y="87"/>
                    </a:lnTo>
                    <a:lnTo>
                      <a:pt x="468" y="72"/>
                    </a:lnTo>
                    <a:lnTo>
                      <a:pt x="442" y="60"/>
                    </a:lnTo>
                    <a:lnTo>
                      <a:pt x="416" y="51"/>
                    </a:lnTo>
                    <a:lnTo>
                      <a:pt x="389" y="44"/>
                    </a:lnTo>
                    <a:lnTo>
                      <a:pt x="359" y="39"/>
                    </a:lnTo>
                    <a:lnTo>
                      <a:pt x="330" y="37"/>
                    </a:lnTo>
                    <a:lnTo>
                      <a:pt x="330"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a:ea typeface="Microsoft YaHei"/>
                  <a:cs typeface="+mn-cs"/>
                </a:endParaRPr>
              </a:p>
            </p:txBody>
          </p:sp>
          <p:sp>
            <p:nvSpPr>
              <p:cNvPr id="150" name="Freeform 325">
                <a:extLst>
                  <a:ext uri="{FF2B5EF4-FFF2-40B4-BE49-F238E27FC236}">
                    <a16:creationId xmlns:a16="http://schemas.microsoft.com/office/drawing/2014/main" id="{C5DBBEE7-4BFD-45D2-9B02-41714FDBD53D}"/>
                  </a:ext>
                </a:extLst>
              </p:cNvPr>
              <p:cNvSpPr>
                <a:spLocks noEditPoints="1"/>
              </p:cNvSpPr>
              <p:nvPr/>
            </p:nvSpPr>
            <p:spPr bwMode="auto">
              <a:xfrm>
                <a:off x="5969001" y="6018213"/>
                <a:ext cx="244475" cy="225425"/>
              </a:xfrm>
              <a:custGeom>
                <a:avLst/>
                <a:gdLst>
                  <a:gd name="T0" fmla="*/ 308 w 308"/>
                  <a:gd name="T1" fmla="*/ 173 h 283"/>
                  <a:gd name="T2" fmla="*/ 302 w 308"/>
                  <a:gd name="T3" fmla="*/ 168 h 283"/>
                  <a:gd name="T4" fmla="*/ 296 w 308"/>
                  <a:gd name="T5" fmla="*/ 166 h 283"/>
                  <a:gd name="T6" fmla="*/ 140 w 308"/>
                  <a:gd name="T7" fmla="*/ 212 h 283"/>
                  <a:gd name="T8" fmla="*/ 125 w 308"/>
                  <a:gd name="T9" fmla="*/ 198 h 283"/>
                  <a:gd name="T10" fmla="*/ 116 w 308"/>
                  <a:gd name="T11" fmla="*/ 194 h 283"/>
                  <a:gd name="T12" fmla="*/ 51 w 308"/>
                  <a:gd name="T13" fmla="*/ 6 h 283"/>
                  <a:gd name="T14" fmla="*/ 49 w 308"/>
                  <a:gd name="T15" fmla="*/ 2 h 283"/>
                  <a:gd name="T16" fmla="*/ 46 w 308"/>
                  <a:gd name="T17" fmla="*/ 1 h 283"/>
                  <a:gd name="T18" fmla="*/ 39 w 308"/>
                  <a:gd name="T19" fmla="*/ 0 h 283"/>
                  <a:gd name="T20" fmla="*/ 7 w 308"/>
                  <a:gd name="T21" fmla="*/ 9 h 283"/>
                  <a:gd name="T22" fmla="*/ 2 w 308"/>
                  <a:gd name="T23" fmla="*/ 13 h 283"/>
                  <a:gd name="T24" fmla="*/ 0 w 308"/>
                  <a:gd name="T25" fmla="*/ 21 h 283"/>
                  <a:gd name="T26" fmla="*/ 2 w 308"/>
                  <a:gd name="T27" fmla="*/ 25 h 283"/>
                  <a:gd name="T28" fmla="*/ 8 w 308"/>
                  <a:gd name="T29" fmla="*/ 28 h 283"/>
                  <a:gd name="T30" fmla="*/ 35 w 308"/>
                  <a:gd name="T31" fmla="*/ 21 h 283"/>
                  <a:gd name="T32" fmla="*/ 86 w 308"/>
                  <a:gd name="T33" fmla="*/ 197 h 283"/>
                  <a:gd name="T34" fmla="*/ 74 w 308"/>
                  <a:gd name="T35" fmla="*/ 205 h 283"/>
                  <a:gd name="T36" fmla="*/ 63 w 308"/>
                  <a:gd name="T37" fmla="*/ 217 h 283"/>
                  <a:gd name="T38" fmla="*/ 61 w 308"/>
                  <a:gd name="T39" fmla="*/ 225 h 283"/>
                  <a:gd name="T40" fmla="*/ 58 w 308"/>
                  <a:gd name="T41" fmla="*/ 243 h 283"/>
                  <a:gd name="T42" fmla="*/ 61 w 308"/>
                  <a:gd name="T43" fmla="*/ 251 h 283"/>
                  <a:gd name="T44" fmla="*/ 69 w 308"/>
                  <a:gd name="T45" fmla="*/ 267 h 283"/>
                  <a:gd name="T46" fmla="*/ 82 w 308"/>
                  <a:gd name="T47" fmla="*/ 278 h 283"/>
                  <a:gd name="T48" fmla="*/ 93 w 308"/>
                  <a:gd name="T49" fmla="*/ 282 h 283"/>
                  <a:gd name="T50" fmla="*/ 102 w 308"/>
                  <a:gd name="T51" fmla="*/ 283 h 283"/>
                  <a:gd name="T52" fmla="*/ 117 w 308"/>
                  <a:gd name="T53" fmla="*/ 280 h 283"/>
                  <a:gd name="T54" fmla="*/ 125 w 308"/>
                  <a:gd name="T55" fmla="*/ 278 h 283"/>
                  <a:gd name="T56" fmla="*/ 139 w 308"/>
                  <a:gd name="T57" fmla="*/ 267 h 283"/>
                  <a:gd name="T58" fmla="*/ 144 w 308"/>
                  <a:gd name="T59" fmla="*/ 260 h 283"/>
                  <a:gd name="T60" fmla="*/ 148 w 308"/>
                  <a:gd name="T61" fmla="*/ 245 h 283"/>
                  <a:gd name="T62" fmla="*/ 148 w 308"/>
                  <a:gd name="T63" fmla="*/ 229 h 283"/>
                  <a:gd name="T64" fmla="*/ 301 w 308"/>
                  <a:gd name="T65" fmla="*/ 185 h 283"/>
                  <a:gd name="T66" fmla="*/ 306 w 308"/>
                  <a:gd name="T67" fmla="*/ 180 h 283"/>
                  <a:gd name="T68" fmla="*/ 308 w 308"/>
                  <a:gd name="T69" fmla="*/ 177 h 283"/>
                  <a:gd name="T70" fmla="*/ 308 w 308"/>
                  <a:gd name="T71" fmla="*/ 173 h 283"/>
                  <a:gd name="T72" fmla="*/ 126 w 308"/>
                  <a:gd name="T73" fmla="*/ 251 h 283"/>
                  <a:gd name="T74" fmla="*/ 120 w 308"/>
                  <a:gd name="T75" fmla="*/ 258 h 283"/>
                  <a:gd name="T76" fmla="*/ 110 w 308"/>
                  <a:gd name="T77" fmla="*/ 262 h 283"/>
                  <a:gd name="T78" fmla="*/ 110 w 308"/>
                  <a:gd name="T79" fmla="*/ 262 h 283"/>
                  <a:gd name="T80" fmla="*/ 101 w 308"/>
                  <a:gd name="T81" fmla="*/ 263 h 283"/>
                  <a:gd name="T82" fmla="*/ 91 w 308"/>
                  <a:gd name="T83" fmla="*/ 260 h 283"/>
                  <a:gd name="T84" fmla="*/ 87 w 308"/>
                  <a:gd name="T85" fmla="*/ 258 h 283"/>
                  <a:gd name="T86" fmla="*/ 81 w 308"/>
                  <a:gd name="T87" fmla="*/ 249 h 283"/>
                  <a:gd name="T88" fmla="*/ 79 w 308"/>
                  <a:gd name="T89" fmla="*/ 245 h 283"/>
                  <a:gd name="T90" fmla="*/ 79 w 308"/>
                  <a:gd name="T91" fmla="*/ 231 h 283"/>
                  <a:gd name="T92" fmla="*/ 82 w 308"/>
                  <a:gd name="T93" fmla="*/ 227 h 283"/>
                  <a:gd name="T94" fmla="*/ 87 w 308"/>
                  <a:gd name="T95" fmla="*/ 219 h 283"/>
                  <a:gd name="T96" fmla="*/ 97 w 308"/>
                  <a:gd name="T97" fmla="*/ 215 h 283"/>
                  <a:gd name="T98" fmla="*/ 105 w 308"/>
                  <a:gd name="T99" fmla="*/ 213 h 283"/>
                  <a:gd name="T100" fmla="*/ 110 w 308"/>
                  <a:gd name="T101" fmla="*/ 213 h 283"/>
                  <a:gd name="T102" fmla="*/ 116 w 308"/>
                  <a:gd name="T103" fmla="*/ 216 h 283"/>
                  <a:gd name="T104" fmla="*/ 124 w 308"/>
                  <a:gd name="T105" fmla="*/ 223 h 283"/>
                  <a:gd name="T106" fmla="*/ 128 w 308"/>
                  <a:gd name="T107" fmla="*/ 231 h 283"/>
                  <a:gd name="T108" fmla="*/ 129 w 308"/>
                  <a:gd name="T109" fmla="*/ 240 h 283"/>
                  <a:gd name="T110" fmla="*/ 126 w 308"/>
                  <a:gd name="T111" fmla="*/ 251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8" h="283">
                    <a:moveTo>
                      <a:pt x="308" y="173"/>
                    </a:moveTo>
                    <a:lnTo>
                      <a:pt x="308" y="173"/>
                    </a:lnTo>
                    <a:lnTo>
                      <a:pt x="305" y="169"/>
                    </a:lnTo>
                    <a:lnTo>
                      <a:pt x="302" y="168"/>
                    </a:lnTo>
                    <a:lnTo>
                      <a:pt x="300" y="166"/>
                    </a:lnTo>
                    <a:lnTo>
                      <a:pt x="296" y="166"/>
                    </a:lnTo>
                    <a:lnTo>
                      <a:pt x="140" y="212"/>
                    </a:lnTo>
                    <a:lnTo>
                      <a:pt x="140" y="212"/>
                    </a:lnTo>
                    <a:lnTo>
                      <a:pt x="133" y="204"/>
                    </a:lnTo>
                    <a:lnTo>
                      <a:pt x="125" y="198"/>
                    </a:lnTo>
                    <a:lnTo>
                      <a:pt x="125" y="198"/>
                    </a:lnTo>
                    <a:lnTo>
                      <a:pt x="116" y="194"/>
                    </a:lnTo>
                    <a:lnTo>
                      <a:pt x="106" y="193"/>
                    </a:lnTo>
                    <a:lnTo>
                      <a:pt x="51" y="6"/>
                    </a:lnTo>
                    <a:lnTo>
                      <a:pt x="51" y="6"/>
                    </a:lnTo>
                    <a:lnTo>
                      <a:pt x="49" y="2"/>
                    </a:lnTo>
                    <a:lnTo>
                      <a:pt x="46" y="1"/>
                    </a:lnTo>
                    <a:lnTo>
                      <a:pt x="46" y="1"/>
                    </a:lnTo>
                    <a:lnTo>
                      <a:pt x="43" y="0"/>
                    </a:lnTo>
                    <a:lnTo>
                      <a:pt x="39" y="0"/>
                    </a:lnTo>
                    <a:lnTo>
                      <a:pt x="7" y="9"/>
                    </a:lnTo>
                    <a:lnTo>
                      <a:pt x="7" y="9"/>
                    </a:lnTo>
                    <a:lnTo>
                      <a:pt x="3" y="10"/>
                    </a:lnTo>
                    <a:lnTo>
                      <a:pt x="2" y="13"/>
                    </a:lnTo>
                    <a:lnTo>
                      <a:pt x="0" y="17"/>
                    </a:lnTo>
                    <a:lnTo>
                      <a:pt x="0" y="21"/>
                    </a:lnTo>
                    <a:lnTo>
                      <a:pt x="0" y="21"/>
                    </a:lnTo>
                    <a:lnTo>
                      <a:pt x="2" y="25"/>
                    </a:lnTo>
                    <a:lnTo>
                      <a:pt x="6" y="27"/>
                    </a:lnTo>
                    <a:lnTo>
                      <a:pt x="8" y="28"/>
                    </a:lnTo>
                    <a:lnTo>
                      <a:pt x="12" y="28"/>
                    </a:lnTo>
                    <a:lnTo>
                      <a:pt x="35" y="21"/>
                    </a:lnTo>
                    <a:lnTo>
                      <a:pt x="86" y="197"/>
                    </a:lnTo>
                    <a:lnTo>
                      <a:pt x="86" y="197"/>
                    </a:lnTo>
                    <a:lnTo>
                      <a:pt x="79" y="200"/>
                    </a:lnTo>
                    <a:lnTo>
                      <a:pt x="74" y="205"/>
                    </a:lnTo>
                    <a:lnTo>
                      <a:pt x="69" y="211"/>
                    </a:lnTo>
                    <a:lnTo>
                      <a:pt x="63" y="217"/>
                    </a:lnTo>
                    <a:lnTo>
                      <a:pt x="63" y="217"/>
                    </a:lnTo>
                    <a:lnTo>
                      <a:pt x="61" y="225"/>
                    </a:lnTo>
                    <a:lnTo>
                      <a:pt x="58" y="233"/>
                    </a:lnTo>
                    <a:lnTo>
                      <a:pt x="58" y="243"/>
                    </a:lnTo>
                    <a:lnTo>
                      <a:pt x="61" y="251"/>
                    </a:lnTo>
                    <a:lnTo>
                      <a:pt x="61" y="251"/>
                    </a:lnTo>
                    <a:lnTo>
                      <a:pt x="65" y="260"/>
                    </a:lnTo>
                    <a:lnTo>
                      <a:pt x="69" y="267"/>
                    </a:lnTo>
                    <a:lnTo>
                      <a:pt x="75" y="272"/>
                    </a:lnTo>
                    <a:lnTo>
                      <a:pt x="82" y="278"/>
                    </a:lnTo>
                    <a:lnTo>
                      <a:pt x="82" y="278"/>
                    </a:lnTo>
                    <a:lnTo>
                      <a:pt x="93" y="282"/>
                    </a:lnTo>
                    <a:lnTo>
                      <a:pt x="102" y="283"/>
                    </a:lnTo>
                    <a:lnTo>
                      <a:pt x="102" y="283"/>
                    </a:lnTo>
                    <a:lnTo>
                      <a:pt x="110" y="283"/>
                    </a:lnTo>
                    <a:lnTo>
                      <a:pt x="117" y="280"/>
                    </a:lnTo>
                    <a:lnTo>
                      <a:pt x="117" y="280"/>
                    </a:lnTo>
                    <a:lnTo>
                      <a:pt x="125" y="278"/>
                    </a:lnTo>
                    <a:lnTo>
                      <a:pt x="133" y="272"/>
                    </a:lnTo>
                    <a:lnTo>
                      <a:pt x="139" y="267"/>
                    </a:lnTo>
                    <a:lnTo>
                      <a:pt x="144" y="260"/>
                    </a:lnTo>
                    <a:lnTo>
                      <a:pt x="144" y="260"/>
                    </a:lnTo>
                    <a:lnTo>
                      <a:pt x="147" y="252"/>
                    </a:lnTo>
                    <a:lnTo>
                      <a:pt x="148" y="245"/>
                    </a:lnTo>
                    <a:lnTo>
                      <a:pt x="149" y="237"/>
                    </a:lnTo>
                    <a:lnTo>
                      <a:pt x="148" y="229"/>
                    </a:lnTo>
                    <a:lnTo>
                      <a:pt x="301" y="185"/>
                    </a:lnTo>
                    <a:lnTo>
                      <a:pt x="301" y="185"/>
                    </a:lnTo>
                    <a:lnTo>
                      <a:pt x="304" y="184"/>
                    </a:lnTo>
                    <a:lnTo>
                      <a:pt x="306" y="180"/>
                    </a:lnTo>
                    <a:lnTo>
                      <a:pt x="306" y="180"/>
                    </a:lnTo>
                    <a:lnTo>
                      <a:pt x="308" y="177"/>
                    </a:lnTo>
                    <a:lnTo>
                      <a:pt x="308" y="173"/>
                    </a:lnTo>
                    <a:lnTo>
                      <a:pt x="308" y="173"/>
                    </a:lnTo>
                    <a:close/>
                    <a:moveTo>
                      <a:pt x="126" y="251"/>
                    </a:moveTo>
                    <a:lnTo>
                      <a:pt x="126" y="251"/>
                    </a:lnTo>
                    <a:lnTo>
                      <a:pt x="122" y="255"/>
                    </a:lnTo>
                    <a:lnTo>
                      <a:pt x="120" y="258"/>
                    </a:lnTo>
                    <a:lnTo>
                      <a:pt x="116" y="260"/>
                    </a:lnTo>
                    <a:lnTo>
                      <a:pt x="110" y="262"/>
                    </a:lnTo>
                    <a:lnTo>
                      <a:pt x="110" y="262"/>
                    </a:lnTo>
                    <a:lnTo>
                      <a:pt x="110" y="262"/>
                    </a:lnTo>
                    <a:lnTo>
                      <a:pt x="106" y="263"/>
                    </a:lnTo>
                    <a:lnTo>
                      <a:pt x="101" y="263"/>
                    </a:lnTo>
                    <a:lnTo>
                      <a:pt x="96" y="263"/>
                    </a:lnTo>
                    <a:lnTo>
                      <a:pt x="91" y="260"/>
                    </a:lnTo>
                    <a:lnTo>
                      <a:pt x="91" y="260"/>
                    </a:lnTo>
                    <a:lnTo>
                      <a:pt x="87" y="258"/>
                    </a:lnTo>
                    <a:lnTo>
                      <a:pt x="83" y="254"/>
                    </a:lnTo>
                    <a:lnTo>
                      <a:pt x="81" y="249"/>
                    </a:lnTo>
                    <a:lnTo>
                      <a:pt x="79" y="245"/>
                    </a:lnTo>
                    <a:lnTo>
                      <a:pt x="79" y="245"/>
                    </a:lnTo>
                    <a:lnTo>
                      <a:pt x="79" y="236"/>
                    </a:lnTo>
                    <a:lnTo>
                      <a:pt x="79" y="231"/>
                    </a:lnTo>
                    <a:lnTo>
                      <a:pt x="82" y="227"/>
                    </a:lnTo>
                    <a:lnTo>
                      <a:pt x="82" y="227"/>
                    </a:lnTo>
                    <a:lnTo>
                      <a:pt x="85" y="221"/>
                    </a:lnTo>
                    <a:lnTo>
                      <a:pt x="87" y="219"/>
                    </a:lnTo>
                    <a:lnTo>
                      <a:pt x="91" y="216"/>
                    </a:lnTo>
                    <a:lnTo>
                      <a:pt x="97" y="215"/>
                    </a:lnTo>
                    <a:lnTo>
                      <a:pt x="97" y="215"/>
                    </a:lnTo>
                    <a:lnTo>
                      <a:pt x="105" y="213"/>
                    </a:lnTo>
                    <a:lnTo>
                      <a:pt x="105" y="213"/>
                    </a:lnTo>
                    <a:lnTo>
                      <a:pt x="110" y="213"/>
                    </a:lnTo>
                    <a:lnTo>
                      <a:pt x="116" y="216"/>
                    </a:lnTo>
                    <a:lnTo>
                      <a:pt x="116" y="216"/>
                    </a:lnTo>
                    <a:lnTo>
                      <a:pt x="120" y="219"/>
                    </a:lnTo>
                    <a:lnTo>
                      <a:pt x="124" y="223"/>
                    </a:lnTo>
                    <a:lnTo>
                      <a:pt x="126" y="227"/>
                    </a:lnTo>
                    <a:lnTo>
                      <a:pt x="128" y="231"/>
                    </a:lnTo>
                    <a:lnTo>
                      <a:pt x="128" y="231"/>
                    </a:lnTo>
                    <a:lnTo>
                      <a:pt x="129" y="240"/>
                    </a:lnTo>
                    <a:lnTo>
                      <a:pt x="128" y="245"/>
                    </a:lnTo>
                    <a:lnTo>
                      <a:pt x="126" y="251"/>
                    </a:lnTo>
                    <a:lnTo>
                      <a:pt x="126" y="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a:ea typeface="Microsoft YaHei"/>
                  <a:cs typeface="+mn-cs"/>
                </a:endParaRPr>
              </a:p>
            </p:txBody>
          </p:sp>
          <p:sp>
            <p:nvSpPr>
              <p:cNvPr id="151" name="Freeform 326">
                <a:extLst>
                  <a:ext uri="{FF2B5EF4-FFF2-40B4-BE49-F238E27FC236}">
                    <a16:creationId xmlns:a16="http://schemas.microsoft.com/office/drawing/2014/main" id="{4F0CC7A0-14E1-4000-B807-A6590FCDEB1A}"/>
                  </a:ext>
                </a:extLst>
              </p:cNvPr>
              <p:cNvSpPr>
                <a:spLocks/>
              </p:cNvSpPr>
              <p:nvPr/>
            </p:nvSpPr>
            <p:spPr bwMode="auto">
              <a:xfrm>
                <a:off x="6045201" y="6021388"/>
                <a:ext cx="130175" cy="133350"/>
              </a:xfrm>
              <a:custGeom>
                <a:avLst/>
                <a:gdLst>
                  <a:gd name="T0" fmla="*/ 20 w 164"/>
                  <a:gd name="T1" fmla="*/ 92 h 168"/>
                  <a:gd name="T2" fmla="*/ 40 w 164"/>
                  <a:gd name="T3" fmla="*/ 164 h 168"/>
                  <a:gd name="T4" fmla="*/ 40 w 164"/>
                  <a:gd name="T5" fmla="*/ 164 h 168"/>
                  <a:gd name="T6" fmla="*/ 42 w 164"/>
                  <a:gd name="T7" fmla="*/ 166 h 168"/>
                  <a:gd name="T8" fmla="*/ 43 w 164"/>
                  <a:gd name="T9" fmla="*/ 168 h 168"/>
                  <a:gd name="T10" fmla="*/ 43 w 164"/>
                  <a:gd name="T11" fmla="*/ 168 h 168"/>
                  <a:gd name="T12" fmla="*/ 46 w 164"/>
                  <a:gd name="T13" fmla="*/ 168 h 168"/>
                  <a:gd name="T14" fmla="*/ 48 w 164"/>
                  <a:gd name="T15" fmla="*/ 168 h 168"/>
                  <a:gd name="T16" fmla="*/ 160 w 164"/>
                  <a:gd name="T17" fmla="*/ 135 h 168"/>
                  <a:gd name="T18" fmla="*/ 160 w 164"/>
                  <a:gd name="T19" fmla="*/ 135 h 168"/>
                  <a:gd name="T20" fmla="*/ 161 w 164"/>
                  <a:gd name="T21" fmla="*/ 134 h 168"/>
                  <a:gd name="T22" fmla="*/ 162 w 164"/>
                  <a:gd name="T23" fmla="*/ 133 h 168"/>
                  <a:gd name="T24" fmla="*/ 164 w 164"/>
                  <a:gd name="T25" fmla="*/ 130 h 168"/>
                  <a:gd name="T26" fmla="*/ 162 w 164"/>
                  <a:gd name="T27" fmla="*/ 127 h 168"/>
                  <a:gd name="T28" fmla="*/ 142 w 164"/>
                  <a:gd name="T29" fmla="*/ 56 h 168"/>
                  <a:gd name="T30" fmla="*/ 142 w 164"/>
                  <a:gd name="T31" fmla="*/ 56 h 168"/>
                  <a:gd name="T32" fmla="*/ 141 w 164"/>
                  <a:gd name="T33" fmla="*/ 53 h 168"/>
                  <a:gd name="T34" fmla="*/ 140 w 164"/>
                  <a:gd name="T35" fmla="*/ 52 h 168"/>
                  <a:gd name="T36" fmla="*/ 137 w 164"/>
                  <a:gd name="T37" fmla="*/ 52 h 168"/>
                  <a:gd name="T38" fmla="*/ 134 w 164"/>
                  <a:gd name="T39" fmla="*/ 52 h 168"/>
                  <a:gd name="T40" fmla="*/ 101 w 164"/>
                  <a:gd name="T41" fmla="*/ 61 h 168"/>
                  <a:gd name="T42" fmla="*/ 83 w 164"/>
                  <a:gd name="T43" fmla="*/ 4 h 168"/>
                  <a:gd name="T44" fmla="*/ 83 w 164"/>
                  <a:gd name="T45" fmla="*/ 4 h 168"/>
                  <a:gd name="T46" fmla="*/ 82 w 164"/>
                  <a:gd name="T47" fmla="*/ 2 h 168"/>
                  <a:gd name="T48" fmla="*/ 80 w 164"/>
                  <a:gd name="T49" fmla="*/ 1 h 168"/>
                  <a:gd name="T50" fmla="*/ 79 w 164"/>
                  <a:gd name="T51" fmla="*/ 0 h 168"/>
                  <a:gd name="T52" fmla="*/ 76 w 164"/>
                  <a:gd name="T53" fmla="*/ 0 h 168"/>
                  <a:gd name="T54" fmla="*/ 4 w 164"/>
                  <a:gd name="T55" fmla="*/ 21 h 168"/>
                  <a:gd name="T56" fmla="*/ 4 w 164"/>
                  <a:gd name="T57" fmla="*/ 21 h 168"/>
                  <a:gd name="T58" fmla="*/ 3 w 164"/>
                  <a:gd name="T59" fmla="*/ 23 h 168"/>
                  <a:gd name="T60" fmla="*/ 1 w 164"/>
                  <a:gd name="T61" fmla="*/ 24 h 168"/>
                  <a:gd name="T62" fmla="*/ 0 w 164"/>
                  <a:gd name="T63" fmla="*/ 27 h 168"/>
                  <a:gd name="T64" fmla="*/ 1 w 164"/>
                  <a:gd name="T65" fmla="*/ 28 h 168"/>
                  <a:gd name="T66" fmla="*/ 20 w 164"/>
                  <a:gd name="T67" fmla="*/ 9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4" h="168">
                    <a:moveTo>
                      <a:pt x="20" y="92"/>
                    </a:moveTo>
                    <a:lnTo>
                      <a:pt x="40" y="164"/>
                    </a:lnTo>
                    <a:lnTo>
                      <a:pt x="40" y="164"/>
                    </a:lnTo>
                    <a:lnTo>
                      <a:pt x="42" y="166"/>
                    </a:lnTo>
                    <a:lnTo>
                      <a:pt x="43" y="168"/>
                    </a:lnTo>
                    <a:lnTo>
                      <a:pt x="43" y="168"/>
                    </a:lnTo>
                    <a:lnTo>
                      <a:pt x="46" y="168"/>
                    </a:lnTo>
                    <a:lnTo>
                      <a:pt x="48" y="168"/>
                    </a:lnTo>
                    <a:lnTo>
                      <a:pt x="160" y="135"/>
                    </a:lnTo>
                    <a:lnTo>
                      <a:pt x="160" y="135"/>
                    </a:lnTo>
                    <a:lnTo>
                      <a:pt x="161" y="134"/>
                    </a:lnTo>
                    <a:lnTo>
                      <a:pt x="162" y="133"/>
                    </a:lnTo>
                    <a:lnTo>
                      <a:pt x="164" y="130"/>
                    </a:lnTo>
                    <a:lnTo>
                      <a:pt x="162" y="127"/>
                    </a:lnTo>
                    <a:lnTo>
                      <a:pt x="142" y="56"/>
                    </a:lnTo>
                    <a:lnTo>
                      <a:pt x="142" y="56"/>
                    </a:lnTo>
                    <a:lnTo>
                      <a:pt x="141" y="53"/>
                    </a:lnTo>
                    <a:lnTo>
                      <a:pt x="140" y="52"/>
                    </a:lnTo>
                    <a:lnTo>
                      <a:pt x="137" y="52"/>
                    </a:lnTo>
                    <a:lnTo>
                      <a:pt x="134" y="52"/>
                    </a:lnTo>
                    <a:lnTo>
                      <a:pt x="101" y="61"/>
                    </a:lnTo>
                    <a:lnTo>
                      <a:pt x="83" y="4"/>
                    </a:lnTo>
                    <a:lnTo>
                      <a:pt x="83" y="4"/>
                    </a:lnTo>
                    <a:lnTo>
                      <a:pt x="82" y="2"/>
                    </a:lnTo>
                    <a:lnTo>
                      <a:pt x="80" y="1"/>
                    </a:lnTo>
                    <a:lnTo>
                      <a:pt x="79" y="0"/>
                    </a:lnTo>
                    <a:lnTo>
                      <a:pt x="76" y="0"/>
                    </a:lnTo>
                    <a:lnTo>
                      <a:pt x="4" y="21"/>
                    </a:lnTo>
                    <a:lnTo>
                      <a:pt x="4" y="21"/>
                    </a:lnTo>
                    <a:lnTo>
                      <a:pt x="3" y="23"/>
                    </a:lnTo>
                    <a:lnTo>
                      <a:pt x="1" y="24"/>
                    </a:lnTo>
                    <a:lnTo>
                      <a:pt x="0" y="27"/>
                    </a:lnTo>
                    <a:lnTo>
                      <a:pt x="1" y="28"/>
                    </a:lnTo>
                    <a:lnTo>
                      <a:pt x="20"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a:ea typeface="Microsoft YaHei"/>
                  <a:cs typeface="+mn-cs"/>
                </a:endParaRPr>
              </a:p>
            </p:txBody>
          </p:sp>
        </p:grpSp>
      </p:grpSp>
      <p:grpSp>
        <p:nvGrpSpPr>
          <p:cNvPr id="152" name="Group 151">
            <a:extLst>
              <a:ext uri="{FF2B5EF4-FFF2-40B4-BE49-F238E27FC236}">
                <a16:creationId xmlns:a16="http://schemas.microsoft.com/office/drawing/2014/main" id="{8136990A-F1A5-4F83-97D5-2D299682A9B8}"/>
              </a:ext>
            </a:extLst>
          </p:cNvPr>
          <p:cNvGrpSpPr/>
          <p:nvPr/>
        </p:nvGrpSpPr>
        <p:grpSpPr>
          <a:xfrm>
            <a:off x="753305" y="3997398"/>
            <a:ext cx="329180" cy="329180"/>
            <a:chOff x="-29706" y="3042100"/>
            <a:chExt cx="329180" cy="329180"/>
          </a:xfrm>
        </p:grpSpPr>
        <p:sp>
          <p:nvSpPr>
            <p:cNvPr id="153" name="Oval 152">
              <a:extLst>
                <a:ext uri="{FF2B5EF4-FFF2-40B4-BE49-F238E27FC236}">
                  <a16:creationId xmlns:a16="http://schemas.microsoft.com/office/drawing/2014/main" id="{A43B2412-46B3-4834-836E-BC8216709AE0}"/>
                </a:ext>
              </a:extLst>
            </p:cNvPr>
            <p:cNvSpPr/>
            <p:nvPr/>
          </p:nvSpPr>
          <p:spPr>
            <a:xfrm>
              <a:off x="5909" y="3076826"/>
              <a:ext cx="281673" cy="2816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grpSp>
          <p:nvGrpSpPr>
            <p:cNvPr id="154" name="Group 153">
              <a:extLst>
                <a:ext uri="{FF2B5EF4-FFF2-40B4-BE49-F238E27FC236}">
                  <a16:creationId xmlns:a16="http://schemas.microsoft.com/office/drawing/2014/main" id="{537F0C4C-3772-4577-99DD-257B68D6DA18}"/>
                </a:ext>
              </a:extLst>
            </p:cNvPr>
            <p:cNvGrpSpPr>
              <a:grpSpLocks noChangeAspect="1"/>
            </p:cNvGrpSpPr>
            <p:nvPr/>
          </p:nvGrpSpPr>
          <p:grpSpPr>
            <a:xfrm>
              <a:off x="-29706" y="3042100"/>
              <a:ext cx="329180" cy="329180"/>
              <a:chOff x="5834063" y="1664335"/>
              <a:chExt cx="523875" cy="523875"/>
            </a:xfrm>
            <a:solidFill>
              <a:schemeClr val="accent1"/>
            </a:solidFill>
          </p:grpSpPr>
          <p:sp>
            <p:nvSpPr>
              <p:cNvPr id="155" name="Freeform 23">
                <a:extLst>
                  <a:ext uri="{FF2B5EF4-FFF2-40B4-BE49-F238E27FC236}">
                    <a16:creationId xmlns:a16="http://schemas.microsoft.com/office/drawing/2014/main" id="{9E3F675B-4C1B-49E1-8443-F9DA20E0F3D0}"/>
                  </a:ext>
                </a:extLst>
              </p:cNvPr>
              <p:cNvSpPr>
                <a:spLocks noEditPoints="1"/>
              </p:cNvSpPr>
              <p:nvPr/>
            </p:nvSpPr>
            <p:spPr bwMode="auto">
              <a:xfrm>
                <a:off x="5834063" y="1664335"/>
                <a:ext cx="523875" cy="523875"/>
              </a:xfrm>
              <a:custGeom>
                <a:avLst/>
                <a:gdLst>
                  <a:gd name="T0" fmla="*/ 312 w 658"/>
                  <a:gd name="T1" fmla="*/ 659 h 659"/>
                  <a:gd name="T2" fmla="*/ 262 w 658"/>
                  <a:gd name="T3" fmla="*/ 652 h 659"/>
                  <a:gd name="T4" fmla="*/ 201 w 658"/>
                  <a:gd name="T5" fmla="*/ 634 h 659"/>
                  <a:gd name="T6" fmla="*/ 119 w 658"/>
                  <a:gd name="T7" fmla="*/ 584 h 659"/>
                  <a:gd name="T8" fmla="*/ 56 w 658"/>
                  <a:gd name="T9" fmla="*/ 514 h 659"/>
                  <a:gd name="T10" fmla="*/ 15 w 658"/>
                  <a:gd name="T11" fmla="*/ 428 h 659"/>
                  <a:gd name="T12" fmla="*/ 4 w 658"/>
                  <a:gd name="T13" fmla="*/ 380 h 659"/>
                  <a:gd name="T14" fmla="*/ 0 w 658"/>
                  <a:gd name="T15" fmla="*/ 330 h 659"/>
                  <a:gd name="T16" fmla="*/ 1 w 658"/>
                  <a:gd name="T17" fmla="*/ 296 h 659"/>
                  <a:gd name="T18" fmla="*/ 10 w 658"/>
                  <a:gd name="T19" fmla="*/ 248 h 659"/>
                  <a:gd name="T20" fmla="*/ 40 w 658"/>
                  <a:gd name="T21" fmla="*/ 174 h 659"/>
                  <a:gd name="T22" fmla="*/ 96 w 658"/>
                  <a:gd name="T23" fmla="*/ 97 h 659"/>
                  <a:gd name="T24" fmla="*/ 172 w 658"/>
                  <a:gd name="T25" fmla="*/ 41 h 659"/>
                  <a:gd name="T26" fmla="*/ 247 w 658"/>
                  <a:gd name="T27" fmla="*/ 11 h 659"/>
                  <a:gd name="T28" fmla="*/ 295 w 658"/>
                  <a:gd name="T29" fmla="*/ 3 h 659"/>
                  <a:gd name="T30" fmla="*/ 329 w 658"/>
                  <a:gd name="T31" fmla="*/ 0 h 659"/>
                  <a:gd name="T32" fmla="*/ 379 w 658"/>
                  <a:gd name="T33" fmla="*/ 5 h 659"/>
                  <a:gd name="T34" fmla="*/ 426 w 658"/>
                  <a:gd name="T35" fmla="*/ 15 h 659"/>
                  <a:gd name="T36" fmla="*/ 513 w 658"/>
                  <a:gd name="T37" fmla="*/ 57 h 659"/>
                  <a:gd name="T38" fmla="*/ 583 w 658"/>
                  <a:gd name="T39" fmla="*/ 121 h 659"/>
                  <a:gd name="T40" fmla="*/ 631 w 658"/>
                  <a:gd name="T41" fmla="*/ 202 h 659"/>
                  <a:gd name="T42" fmla="*/ 652 w 658"/>
                  <a:gd name="T43" fmla="*/ 264 h 659"/>
                  <a:gd name="T44" fmla="*/ 657 w 658"/>
                  <a:gd name="T45" fmla="*/ 314 h 659"/>
                  <a:gd name="T46" fmla="*/ 657 w 658"/>
                  <a:gd name="T47" fmla="*/ 347 h 659"/>
                  <a:gd name="T48" fmla="*/ 652 w 658"/>
                  <a:gd name="T49" fmla="*/ 396 h 659"/>
                  <a:gd name="T50" fmla="*/ 631 w 658"/>
                  <a:gd name="T51" fmla="*/ 457 h 659"/>
                  <a:gd name="T52" fmla="*/ 583 w 658"/>
                  <a:gd name="T53" fmla="*/ 539 h 659"/>
                  <a:gd name="T54" fmla="*/ 513 w 658"/>
                  <a:gd name="T55" fmla="*/ 603 h 659"/>
                  <a:gd name="T56" fmla="*/ 426 w 658"/>
                  <a:gd name="T57" fmla="*/ 644 h 659"/>
                  <a:gd name="T58" fmla="*/ 379 w 658"/>
                  <a:gd name="T59" fmla="*/ 655 h 659"/>
                  <a:gd name="T60" fmla="*/ 329 w 658"/>
                  <a:gd name="T61" fmla="*/ 659 h 659"/>
                  <a:gd name="T62" fmla="*/ 329 w 658"/>
                  <a:gd name="T63" fmla="*/ 38 h 659"/>
                  <a:gd name="T64" fmla="*/ 242 w 658"/>
                  <a:gd name="T65" fmla="*/ 52 h 659"/>
                  <a:gd name="T66" fmla="*/ 166 w 658"/>
                  <a:gd name="T67" fmla="*/ 89 h 659"/>
                  <a:gd name="T68" fmla="*/ 105 w 658"/>
                  <a:gd name="T69" fmla="*/ 144 h 659"/>
                  <a:gd name="T70" fmla="*/ 60 w 658"/>
                  <a:gd name="T71" fmla="*/ 217 h 659"/>
                  <a:gd name="T72" fmla="*/ 39 w 658"/>
                  <a:gd name="T73" fmla="*/ 300 h 659"/>
                  <a:gd name="T74" fmla="*/ 39 w 658"/>
                  <a:gd name="T75" fmla="*/ 359 h 659"/>
                  <a:gd name="T76" fmla="*/ 60 w 658"/>
                  <a:gd name="T77" fmla="*/ 444 h 659"/>
                  <a:gd name="T78" fmla="*/ 105 w 658"/>
                  <a:gd name="T79" fmla="*/ 515 h 659"/>
                  <a:gd name="T80" fmla="*/ 166 w 658"/>
                  <a:gd name="T81" fmla="*/ 572 h 659"/>
                  <a:gd name="T82" fmla="*/ 242 w 658"/>
                  <a:gd name="T83" fmla="*/ 608 h 659"/>
                  <a:gd name="T84" fmla="*/ 329 w 658"/>
                  <a:gd name="T85" fmla="*/ 621 h 659"/>
                  <a:gd name="T86" fmla="*/ 387 w 658"/>
                  <a:gd name="T87" fmla="*/ 616 h 659"/>
                  <a:gd name="T88" fmla="*/ 467 w 658"/>
                  <a:gd name="T89" fmla="*/ 586 h 659"/>
                  <a:gd name="T90" fmla="*/ 535 w 658"/>
                  <a:gd name="T91" fmla="*/ 535 h 659"/>
                  <a:gd name="T92" fmla="*/ 584 w 658"/>
                  <a:gd name="T93" fmla="*/ 468 h 659"/>
                  <a:gd name="T94" fmla="*/ 614 w 658"/>
                  <a:gd name="T95" fmla="*/ 389 h 659"/>
                  <a:gd name="T96" fmla="*/ 621 w 658"/>
                  <a:gd name="T97" fmla="*/ 330 h 659"/>
                  <a:gd name="T98" fmla="*/ 607 w 658"/>
                  <a:gd name="T99" fmla="*/ 244 h 659"/>
                  <a:gd name="T100" fmla="*/ 570 w 658"/>
                  <a:gd name="T101" fmla="*/ 167 h 659"/>
                  <a:gd name="T102" fmla="*/ 514 w 658"/>
                  <a:gd name="T103" fmla="*/ 105 h 659"/>
                  <a:gd name="T104" fmla="*/ 442 w 658"/>
                  <a:gd name="T105" fmla="*/ 62 h 659"/>
                  <a:gd name="T106" fmla="*/ 359 w 658"/>
                  <a:gd name="T107" fmla="*/ 41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2" y="659"/>
                    </a:lnTo>
                    <a:lnTo>
                      <a:pt x="295" y="658"/>
                    </a:lnTo>
                    <a:lnTo>
                      <a:pt x="279" y="655"/>
                    </a:lnTo>
                    <a:lnTo>
                      <a:pt x="262" y="652"/>
                    </a:lnTo>
                    <a:lnTo>
                      <a:pt x="247" y="648"/>
                    </a:lnTo>
                    <a:lnTo>
                      <a:pt x="231" y="644"/>
                    </a:lnTo>
                    <a:lnTo>
                      <a:pt x="201" y="634"/>
                    </a:lnTo>
                    <a:lnTo>
                      <a:pt x="172" y="619"/>
                    </a:lnTo>
                    <a:lnTo>
                      <a:pt x="145" y="603"/>
                    </a:lnTo>
                    <a:lnTo>
                      <a:pt x="119" y="584"/>
                    </a:lnTo>
                    <a:lnTo>
                      <a:pt x="96" y="562"/>
                    </a:lnTo>
                    <a:lnTo>
                      <a:pt x="75" y="539"/>
                    </a:lnTo>
                    <a:lnTo>
                      <a:pt x="56" y="514"/>
                    </a:lnTo>
                    <a:lnTo>
                      <a:pt x="40" y="487"/>
                    </a:lnTo>
                    <a:lnTo>
                      <a:pt x="25" y="457"/>
                    </a:lnTo>
                    <a:lnTo>
                      <a:pt x="15" y="428"/>
                    </a:lnTo>
                    <a:lnTo>
                      <a:pt x="10" y="412"/>
                    </a:lnTo>
                    <a:lnTo>
                      <a:pt x="6" y="396"/>
                    </a:lnTo>
                    <a:lnTo>
                      <a:pt x="4" y="380"/>
                    </a:lnTo>
                    <a:lnTo>
                      <a:pt x="1" y="363"/>
                    </a:lnTo>
                    <a:lnTo>
                      <a:pt x="0" y="347"/>
                    </a:lnTo>
                    <a:lnTo>
                      <a:pt x="0" y="330"/>
                    </a:lnTo>
                    <a:lnTo>
                      <a:pt x="0" y="330"/>
                    </a:lnTo>
                    <a:lnTo>
                      <a:pt x="0" y="314"/>
                    </a:lnTo>
                    <a:lnTo>
                      <a:pt x="1" y="296"/>
                    </a:lnTo>
                    <a:lnTo>
                      <a:pt x="4" y="280"/>
                    </a:lnTo>
                    <a:lnTo>
                      <a:pt x="6" y="264"/>
                    </a:lnTo>
                    <a:lnTo>
                      <a:pt x="10" y="248"/>
                    </a:lnTo>
                    <a:lnTo>
                      <a:pt x="15" y="233"/>
                    </a:lnTo>
                    <a:lnTo>
                      <a:pt x="25" y="202"/>
                    </a:lnTo>
                    <a:lnTo>
                      <a:pt x="40" y="174"/>
                    </a:lnTo>
                    <a:lnTo>
                      <a:pt x="56" y="146"/>
                    </a:lnTo>
                    <a:lnTo>
                      <a:pt x="75" y="121"/>
                    </a:lnTo>
                    <a:lnTo>
                      <a:pt x="96" y="97"/>
                    </a:lnTo>
                    <a:lnTo>
                      <a:pt x="119" y="76"/>
                    </a:lnTo>
                    <a:lnTo>
                      <a:pt x="145" y="57"/>
                    </a:lnTo>
                    <a:lnTo>
                      <a:pt x="172" y="41"/>
                    </a:lnTo>
                    <a:lnTo>
                      <a:pt x="201" y="27"/>
                    </a:lnTo>
                    <a:lnTo>
                      <a:pt x="231" y="15"/>
                    </a:lnTo>
                    <a:lnTo>
                      <a:pt x="247" y="11"/>
                    </a:lnTo>
                    <a:lnTo>
                      <a:pt x="262" y="7"/>
                    </a:lnTo>
                    <a:lnTo>
                      <a:pt x="279" y="5"/>
                    </a:lnTo>
                    <a:lnTo>
                      <a:pt x="295" y="3"/>
                    </a:lnTo>
                    <a:lnTo>
                      <a:pt x="312" y="2"/>
                    </a:lnTo>
                    <a:lnTo>
                      <a:pt x="329" y="0"/>
                    </a:lnTo>
                    <a:lnTo>
                      <a:pt x="329" y="0"/>
                    </a:lnTo>
                    <a:lnTo>
                      <a:pt x="345" y="2"/>
                    </a:lnTo>
                    <a:lnTo>
                      <a:pt x="363" y="3"/>
                    </a:lnTo>
                    <a:lnTo>
                      <a:pt x="379" y="5"/>
                    </a:lnTo>
                    <a:lnTo>
                      <a:pt x="395" y="7"/>
                    </a:lnTo>
                    <a:lnTo>
                      <a:pt x="411" y="11"/>
                    </a:lnTo>
                    <a:lnTo>
                      <a:pt x="426" y="15"/>
                    </a:lnTo>
                    <a:lnTo>
                      <a:pt x="457" y="27"/>
                    </a:lnTo>
                    <a:lnTo>
                      <a:pt x="485" y="41"/>
                    </a:lnTo>
                    <a:lnTo>
                      <a:pt x="513" y="57"/>
                    </a:lnTo>
                    <a:lnTo>
                      <a:pt x="537" y="76"/>
                    </a:lnTo>
                    <a:lnTo>
                      <a:pt x="562" y="97"/>
                    </a:lnTo>
                    <a:lnTo>
                      <a:pt x="583" y="121"/>
                    </a:lnTo>
                    <a:lnTo>
                      <a:pt x="602" y="146"/>
                    </a:lnTo>
                    <a:lnTo>
                      <a:pt x="618" y="174"/>
                    </a:lnTo>
                    <a:lnTo>
                      <a:pt x="631" y="202"/>
                    </a:lnTo>
                    <a:lnTo>
                      <a:pt x="643" y="233"/>
                    </a:lnTo>
                    <a:lnTo>
                      <a:pt x="648" y="248"/>
                    </a:lnTo>
                    <a:lnTo>
                      <a:pt x="652" y="264"/>
                    </a:lnTo>
                    <a:lnTo>
                      <a:pt x="654" y="280"/>
                    </a:lnTo>
                    <a:lnTo>
                      <a:pt x="656" y="296"/>
                    </a:lnTo>
                    <a:lnTo>
                      <a:pt x="657" y="314"/>
                    </a:lnTo>
                    <a:lnTo>
                      <a:pt x="658" y="330"/>
                    </a:lnTo>
                    <a:lnTo>
                      <a:pt x="658" y="330"/>
                    </a:lnTo>
                    <a:lnTo>
                      <a:pt x="657" y="347"/>
                    </a:lnTo>
                    <a:lnTo>
                      <a:pt x="656" y="363"/>
                    </a:lnTo>
                    <a:lnTo>
                      <a:pt x="654" y="380"/>
                    </a:lnTo>
                    <a:lnTo>
                      <a:pt x="652" y="396"/>
                    </a:lnTo>
                    <a:lnTo>
                      <a:pt x="648" y="412"/>
                    </a:lnTo>
                    <a:lnTo>
                      <a:pt x="643" y="428"/>
                    </a:lnTo>
                    <a:lnTo>
                      <a:pt x="631" y="457"/>
                    </a:lnTo>
                    <a:lnTo>
                      <a:pt x="618" y="487"/>
                    </a:lnTo>
                    <a:lnTo>
                      <a:pt x="602" y="514"/>
                    </a:lnTo>
                    <a:lnTo>
                      <a:pt x="583" y="539"/>
                    </a:lnTo>
                    <a:lnTo>
                      <a:pt x="562" y="562"/>
                    </a:lnTo>
                    <a:lnTo>
                      <a:pt x="537" y="584"/>
                    </a:lnTo>
                    <a:lnTo>
                      <a:pt x="513" y="603"/>
                    </a:lnTo>
                    <a:lnTo>
                      <a:pt x="485" y="619"/>
                    </a:lnTo>
                    <a:lnTo>
                      <a:pt x="457" y="634"/>
                    </a:lnTo>
                    <a:lnTo>
                      <a:pt x="426" y="644"/>
                    </a:lnTo>
                    <a:lnTo>
                      <a:pt x="411" y="648"/>
                    </a:lnTo>
                    <a:lnTo>
                      <a:pt x="395" y="652"/>
                    </a:lnTo>
                    <a:lnTo>
                      <a:pt x="379" y="655"/>
                    </a:lnTo>
                    <a:lnTo>
                      <a:pt x="363" y="658"/>
                    </a:lnTo>
                    <a:lnTo>
                      <a:pt x="345" y="659"/>
                    </a:lnTo>
                    <a:lnTo>
                      <a:pt x="329" y="659"/>
                    </a:lnTo>
                    <a:lnTo>
                      <a:pt x="329" y="659"/>
                    </a:lnTo>
                    <a:close/>
                    <a:moveTo>
                      <a:pt x="329" y="38"/>
                    </a:moveTo>
                    <a:lnTo>
                      <a:pt x="329" y="38"/>
                    </a:lnTo>
                    <a:lnTo>
                      <a:pt x="299" y="41"/>
                    </a:lnTo>
                    <a:lnTo>
                      <a:pt x="270" y="45"/>
                    </a:lnTo>
                    <a:lnTo>
                      <a:pt x="242" y="52"/>
                    </a:lnTo>
                    <a:lnTo>
                      <a:pt x="215" y="62"/>
                    </a:lnTo>
                    <a:lnTo>
                      <a:pt x="191" y="74"/>
                    </a:lnTo>
                    <a:lnTo>
                      <a:pt x="166" y="89"/>
                    </a:lnTo>
                    <a:lnTo>
                      <a:pt x="144" y="105"/>
                    </a:lnTo>
                    <a:lnTo>
                      <a:pt x="123" y="124"/>
                    </a:lnTo>
                    <a:lnTo>
                      <a:pt x="105" y="144"/>
                    </a:lnTo>
                    <a:lnTo>
                      <a:pt x="87" y="167"/>
                    </a:lnTo>
                    <a:lnTo>
                      <a:pt x="72" y="191"/>
                    </a:lnTo>
                    <a:lnTo>
                      <a:pt x="60" y="217"/>
                    </a:lnTo>
                    <a:lnTo>
                      <a:pt x="51" y="244"/>
                    </a:lnTo>
                    <a:lnTo>
                      <a:pt x="43" y="272"/>
                    </a:lnTo>
                    <a:lnTo>
                      <a:pt x="39" y="300"/>
                    </a:lnTo>
                    <a:lnTo>
                      <a:pt x="37" y="330"/>
                    </a:lnTo>
                    <a:lnTo>
                      <a:pt x="37" y="330"/>
                    </a:lnTo>
                    <a:lnTo>
                      <a:pt x="39" y="359"/>
                    </a:lnTo>
                    <a:lnTo>
                      <a:pt x="43" y="389"/>
                    </a:lnTo>
                    <a:lnTo>
                      <a:pt x="51" y="417"/>
                    </a:lnTo>
                    <a:lnTo>
                      <a:pt x="60" y="444"/>
                    </a:lnTo>
                    <a:lnTo>
                      <a:pt x="72" y="468"/>
                    </a:lnTo>
                    <a:lnTo>
                      <a:pt x="87" y="492"/>
                    </a:lnTo>
                    <a:lnTo>
                      <a:pt x="105" y="515"/>
                    </a:lnTo>
                    <a:lnTo>
                      <a:pt x="123" y="535"/>
                    </a:lnTo>
                    <a:lnTo>
                      <a:pt x="144" y="554"/>
                    </a:lnTo>
                    <a:lnTo>
                      <a:pt x="166" y="572"/>
                    </a:lnTo>
                    <a:lnTo>
                      <a:pt x="191" y="586"/>
                    </a:lnTo>
                    <a:lnTo>
                      <a:pt x="215" y="599"/>
                    </a:lnTo>
                    <a:lnTo>
                      <a:pt x="242" y="608"/>
                    </a:lnTo>
                    <a:lnTo>
                      <a:pt x="270" y="616"/>
                    </a:lnTo>
                    <a:lnTo>
                      <a:pt x="299" y="620"/>
                    </a:lnTo>
                    <a:lnTo>
                      <a:pt x="329" y="621"/>
                    </a:lnTo>
                    <a:lnTo>
                      <a:pt x="329" y="621"/>
                    </a:lnTo>
                    <a:lnTo>
                      <a:pt x="359" y="620"/>
                    </a:lnTo>
                    <a:lnTo>
                      <a:pt x="387" y="616"/>
                    </a:lnTo>
                    <a:lnTo>
                      <a:pt x="415" y="608"/>
                    </a:lnTo>
                    <a:lnTo>
                      <a:pt x="442" y="599"/>
                    </a:lnTo>
                    <a:lnTo>
                      <a:pt x="467" y="586"/>
                    </a:lnTo>
                    <a:lnTo>
                      <a:pt x="492" y="572"/>
                    </a:lnTo>
                    <a:lnTo>
                      <a:pt x="514" y="554"/>
                    </a:lnTo>
                    <a:lnTo>
                      <a:pt x="535" y="535"/>
                    </a:lnTo>
                    <a:lnTo>
                      <a:pt x="553" y="515"/>
                    </a:lnTo>
                    <a:lnTo>
                      <a:pt x="570" y="492"/>
                    </a:lnTo>
                    <a:lnTo>
                      <a:pt x="584" y="468"/>
                    </a:lnTo>
                    <a:lnTo>
                      <a:pt x="596" y="444"/>
                    </a:lnTo>
                    <a:lnTo>
                      <a:pt x="607" y="417"/>
                    </a:lnTo>
                    <a:lnTo>
                      <a:pt x="614" y="389"/>
                    </a:lnTo>
                    <a:lnTo>
                      <a:pt x="618" y="359"/>
                    </a:lnTo>
                    <a:lnTo>
                      <a:pt x="621" y="330"/>
                    </a:lnTo>
                    <a:lnTo>
                      <a:pt x="621" y="330"/>
                    </a:lnTo>
                    <a:lnTo>
                      <a:pt x="618" y="300"/>
                    </a:lnTo>
                    <a:lnTo>
                      <a:pt x="614" y="272"/>
                    </a:lnTo>
                    <a:lnTo>
                      <a:pt x="607" y="244"/>
                    </a:lnTo>
                    <a:lnTo>
                      <a:pt x="596" y="217"/>
                    </a:lnTo>
                    <a:lnTo>
                      <a:pt x="584" y="191"/>
                    </a:lnTo>
                    <a:lnTo>
                      <a:pt x="570" y="167"/>
                    </a:lnTo>
                    <a:lnTo>
                      <a:pt x="553" y="144"/>
                    </a:lnTo>
                    <a:lnTo>
                      <a:pt x="535" y="124"/>
                    </a:lnTo>
                    <a:lnTo>
                      <a:pt x="514" y="105"/>
                    </a:lnTo>
                    <a:lnTo>
                      <a:pt x="492" y="89"/>
                    </a:lnTo>
                    <a:lnTo>
                      <a:pt x="467" y="74"/>
                    </a:lnTo>
                    <a:lnTo>
                      <a:pt x="442" y="62"/>
                    </a:lnTo>
                    <a:lnTo>
                      <a:pt x="415" y="52"/>
                    </a:lnTo>
                    <a:lnTo>
                      <a:pt x="387" y="45"/>
                    </a:lnTo>
                    <a:lnTo>
                      <a:pt x="359" y="41"/>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a:ea typeface="Microsoft YaHei"/>
                  <a:cs typeface="+mn-cs"/>
                </a:endParaRPr>
              </a:p>
            </p:txBody>
          </p:sp>
          <p:sp>
            <p:nvSpPr>
              <p:cNvPr id="156" name="Freeform 140">
                <a:extLst>
                  <a:ext uri="{FF2B5EF4-FFF2-40B4-BE49-F238E27FC236}">
                    <a16:creationId xmlns:a16="http://schemas.microsoft.com/office/drawing/2014/main" id="{96F4732E-F0CC-4B7F-99E6-FBA113946A59}"/>
                  </a:ext>
                </a:extLst>
              </p:cNvPr>
              <p:cNvSpPr>
                <a:spLocks/>
              </p:cNvSpPr>
              <p:nvPr/>
            </p:nvSpPr>
            <p:spPr bwMode="auto">
              <a:xfrm>
                <a:off x="6032501" y="1767523"/>
                <a:ext cx="127000" cy="152400"/>
              </a:xfrm>
              <a:custGeom>
                <a:avLst/>
                <a:gdLst>
                  <a:gd name="T0" fmla="*/ 79 w 158"/>
                  <a:gd name="T1" fmla="*/ 191 h 191"/>
                  <a:gd name="T2" fmla="*/ 79 w 158"/>
                  <a:gd name="T3" fmla="*/ 191 h 191"/>
                  <a:gd name="T4" fmla="*/ 87 w 158"/>
                  <a:gd name="T5" fmla="*/ 191 h 191"/>
                  <a:gd name="T6" fmla="*/ 95 w 158"/>
                  <a:gd name="T7" fmla="*/ 189 h 191"/>
                  <a:gd name="T8" fmla="*/ 110 w 158"/>
                  <a:gd name="T9" fmla="*/ 184 h 191"/>
                  <a:gd name="T10" fmla="*/ 123 w 158"/>
                  <a:gd name="T11" fmla="*/ 177 h 191"/>
                  <a:gd name="T12" fmla="*/ 135 w 158"/>
                  <a:gd name="T13" fmla="*/ 168 h 191"/>
                  <a:gd name="T14" fmla="*/ 145 w 158"/>
                  <a:gd name="T15" fmla="*/ 156 h 191"/>
                  <a:gd name="T16" fmla="*/ 152 w 158"/>
                  <a:gd name="T17" fmla="*/ 142 h 191"/>
                  <a:gd name="T18" fmla="*/ 157 w 158"/>
                  <a:gd name="T19" fmla="*/ 128 h 191"/>
                  <a:gd name="T20" fmla="*/ 158 w 158"/>
                  <a:gd name="T21" fmla="*/ 119 h 191"/>
                  <a:gd name="T22" fmla="*/ 158 w 158"/>
                  <a:gd name="T23" fmla="*/ 111 h 191"/>
                  <a:gd name="T24" fmla="*/ 158 w 158"/>
                  <a:gd name="T25" fmla="*/ 79 h 191"/>
                  <a:gd name="T26" fmla="*/ 158 w 158"/>
                  <a:gd name="T27" fmla="*/ 79 h 191"/>
                  <a:gd name="T28" fmla="*/ 158 w 158"/>
                  <a:gd name="T29" fmla="*/ 71 h 191"/>
                  <a:gd name="T30" fmla="*/ 157 w 158"/>
                  <a:gd name="T31" fmla="*/ 63 h 191"/>
                  <a:gd name="T32" fmla="*/ 152 w 158"/>
                  <a:gd name="T33" fmla="*/ 48 h 191"/>
                  <a:gd name="T34" fmla="*/ 145 w 158"/>
                  <a:gd name="T35" fmla="*/ 35 h 191"/>
                  <a:gd name="T36" fmla="*/ 135 w 158"/>
                  <a:gd name="T37" fmla="*/ 23 h 191"/>
                  <a:gd name="T38" fmla="*/ 123 w 158"/>
                  <a:gd name="T39" fmla="*/ 13 h 191"/>
                  <a:gd name="T40" fmla="*/ 110 w 158"/>
                  <a:gd name="T41" fmla="*/ 7 h 191"/>
                  <a:gd name="T42" fmla="*/ 95 w 158"/>
                  <a:gd name="T43" fmla="*/ 1 h 191"/>
                  <a:gd name="T44" fmla="*/ 87 w 158"/>
                  <a:gd name="T45" fmla="*/ 0 h 191"/>
                  <a:gd name="T46" fmla="*/ 79 w 158"/>
                  <a:gd name="T47" fmla="*/ 0 h 191"/>
                  <a:gd name="T48" fmla="*/ 79 w 158"/>
                  <a:gd name="T49" fmla="*/ 0 h 191"/>
                  <a:gd name="T50" fmla="*/ 71 w 158"/>
                  <a:gd name="T51" fmla="*/ 0 h 191"/>
                  <a:gd name="T52" fmla="*/ 63 w 158"/>
                  <a:gd name="T53" fmla="*/ 1 h 191"/>
                  <a:gd name="T54" fmla="*/ 48 w 158"/>
                  <a:gd name="T55" fmla="*/ 7 h 191"/>
                  <a:gd name="T56" fmla="*/ 35 w 158"/>
                  <a:gd name="T57" fmla="*/ 13 h 191"/>
                  <a:gd name="T58" fmla="*/ 23 w 158"/>
                  <a:gd name="T59" fmla="*/ 23 h 191"/>
                  <a:gd name="T60" fmla="*/ 13 w 158"/>
                  <a:gd name="T61" fmla="*/ 35 h 191"/>
                  <a:gd name="T62" fmla="*/ 5 w 158"/>
                  <a:gd name="T63" fmla="*/ 48 h 191"/>
                  <a:gd name="T64" fmla="*/ 1 w 158"/>
                  <a:gd name="T65" fmla="*/ 63 h 191"/>
                  <a:gd name="T66" fmla="*/ 0 w 158"/>
                  <a:gd name="T67" fmla="*/ 71 h 191"/>
                  <a:gd name="T68" fmla="*/ 0 w 158"/>
                  <a:gd name="T69" fmla="*/ 79 h 191"/>
                  <a:gd name="T70" fmla="*/ 0 w 158"/>
                  <a:gd name="T71" fmla="*/ 111 h 191"/>
                  <a:gd name="T72" fmla="*/ 0 w 158"/>
                  <a:gd name="T73" fmla="*/ 111 h 191"/>
                  <a:gd name="T74" fmla="*/ 0 w 158"/>
                  <a:gd name="T75" fmla="*/ 119 h 191"/>
                  <a:gd name="T76" fmla="*/ 1 w 158"/>
                  <a:gd name="T77" fmla="*/ 128 h 191"/>
                  <a:gd name="T78" fmla="*/ 5 w 158"/>
                  <a:gd name="T79" fmla="*/ 142 h 191"/>
                  <a:gd name="T80" fmla="*/ 13 w 158"/>
                  <a:gd name="T81" fmla="*/ 156 h 191"/>
                  <a:gd name="T82" fmla="*/ 23 w 158"/>
                  <a:gd name="T83" fmla="*/ 168 h 191"/>
                  <a:gd name="T84" fmla="*/ 35 w 158"/>
                  <a:gd name="T85" fmla="*/ 177 h 191"/>
                  <a:gd name="T86" fmla="*/ 48 w 158"/>
                  <a:gd name="T87" fmla="*/ 184 h 191"/>
                  <a:gd name="T88" fmla="*/ 63 w 158"/>
                  <a:gd name="T89" fmla="*/ 189 h 191"/>
                  <a:gd name="T90" fmla="*/ 71 w 158"/>
                  <a:gd name="T91" fmla="*/ 191 h 191"/>
                  <a:gd name="T92" fmla="*/ 79 w 158"/>
                  <a:gd name="T93" fmla="*/ 191 h 191"/>
                  <a:gd name="T94" fmla="*/ 79 w 158"/>
                  <a:gd name="T95"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8" h="191">
                    <a:moveTo>
                      <a:pt x="79" y="191"/>
                    </a:moveTo>
                    <a:lnTo>
                      <a:pt x="79" y="191"/>
                    </a:lnTo>
                    <a:lnTo>
                      <a:pt x="87" y="191"/>
                    </a:lnTo>
                    <a:lnTo>
                      <a:pt x="95" y="189"/>
                    </a:lnTo>
                    <a:lnTo>
                      <a:pt x="110" y="184"/>
                    </a:lnTo>
                    <a:lnTo>
                      <a:pt x="123" y="177"/>
                    </a:lnTo>
                    <a:lnTo>
                      <a:pt x="135" y="168"/>
                    </a:lnTo>
                    <a:lnTo>
                      <a:pt x="145" y="156"/>
                    </a:lnTo>
                    <a:lnTo>
                      <a:pt x="152" y="142"/>
                    </a:lnTo>
                    <a:lnTo>
                      <a:pt x="157" y="128"/>
                    </a:lnTo>
                    <a:lnTo>
                      <a:pt x="158" y="119"/>
                    </a:lnTo>
                    <a:lnTo>
                      <a:pt x="158" y="111"/>
                    </a:lnTo>
                    <a:lnTo>
                      <a:pt x="158" y="79"/>
                    </a:lnTo>
                    <a:lnTo>
                      <a:pt x="158" y="79"/>
                    </a:lnTo>
                    <a:lnTo>
                      <a:pt x="158" y="71"/>
                    </a:lnTo>
                    <a:lnTo>
                      <a:pt x="157" y="63"/>
                    </a:lnTo>
                    <a:lnTo>
                      <a:pt x="152" y="48"/>
                    </a:lnTo>
                    <a:lnTo>
                      <a:pt x="145" y="35"/>
                    </a:lnTo>
                    <a:lnTo>
                      <a:pt x="135" y="23"/>
                    </a:lnTo>
                    <a:lnTo>
                      <a:pt x="123" y="13"/>
                    </a:lnTo>
                    <a:lnTo>
                      <a:pt x="110" y="7"/>
                    </a:lnTo>
                    <a:lnTo>
                      <a:pt x="95" y="1"/>
                    </a:lnTo>
                    <a:lnTo>
                      <a:pt x="87" y="0"/>
                    </a:lnTo>
                    <a:lnTo>
                      <a:pt x="79" y="0"/>
                    </a:lnTo>
                    <a:lnTo>
                      <a:pt x="79" y="0"/>
                    </a:lnTo>
                    <a:lnTo>
                      <a:pt x="71" y="0"/>
                    </a:lnTo>
                    <a:lnTo>
                      <a:pt x="63" y="1"/>
                    </a:lnTo>
                    <a:lnTo>
                      <a:pt x="48" y="7"/>
                    </a:lnTo>
                    <a:lnTo>
                      <a:pt x="35" y="13"/>
                    </a:lnTo>
                    <a:lnTo>
                      <a:pt x="23" y="23"/>
                    </a:lnTo>
                    <a:lnTo>
                      <a:pt x="13" y="35"/>
                    </a:lnTo>
                    <a:lnTo>
                      <a:pt x="5" y="48"/>
                    </a:lnTo>
                    <a:lnTo>
                      <a:pt x="1" y="63"/>
                    </a:lnTo>
                    <a:lnTo>
                      <a:pt x="0" y="71"/>
                    </a:lnTo>
                    <a:lnTo>
                      <a:pt x="0" y="79"/>
                    </a:lnTo>
                    <a:lnTo>
                      <a:pt x="0" y="111"/>
                    </a:lnTo>
                    <a:lnTo>
                      <a:pt x="0" y="111"/>
                    </a:lnTo>
                    <a:lnTo>
                      <a:pt x="0" y="119"/>
                    </a:lnTo>
                    <a:lnTo>
                      <a:pt x="1" y="128"/>
                    </a:lnTo>
                    <a:lnTo>
                      <a:pt x="5" y="142"/>
                    </a:lnTo>
                    <a:lnTo>
                      <a:pt x="13" y="156"/>
                    </a:lnTo>
                    <a:lnTo>
                      <a:pt x="23" y="168"/>
                    </a:lnTo>
                    <a:lnTo>
                      <a:pt x="35" y="177"/>
                    </a:lnTo>
                    <a:lnTo>
                      <a:pt x="48" y="184"/>
                    </a:lnTo>
                    <a:lnTo>
                      <a:pt x="63" y="189"/>
                    </a:lnTo>
                    <a:lnTo>
                      <a:pt x="71" y="191"/>
                    </a:lnTo>
                    <a:lnTo>
                      <a:pt x="79" y="191"/>
                    </a:lnTo>
                    <a:lnTo>
                      <a:pt x="79"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a:ea typeface="Microsoft YaHei"/>
                  <a:cs typeface="+mn-cs"/>
                </a:endParaRPr>
              </a:p>
            </p:txBody>
          </p:sp>
          <p:sp>
            <p:nvSpPr>
              <p:cNvPr id="157" name="Freeform 141">
                <a:extLst>
                  <a:ext uri="{FF2B5EF4-FFF2-40B4-BE49-F238E27FC236}">
                    <a16:creationId xmlns:a16="http://schemas.microsoft.com/office/drawing/2014/main" id="{55FEC2CC-2B79-42ED-B389-02D1C7992695}"/>
                  </a:ext>
                </a:extLst>
              </p:cNvPr>
              <p:cNvSpPr>
                <a:spLocks/>
              </p:cNvSpPr>
              <p:nvPr/>
            </p:nvSpPr>
            <p:spPr bwMode="auto">
              <a:xfrm>
                <a:off x="5973763" y="1927860"/>
                <a:ext cx="244475" cy="120650"/>
              </a:xfrm>
              <a:custGeom>
                <a:avLst/>
                <a:gdLst>
                  <a:gd name="T0" fmla="*/ 228 w 306"/>
                  <a:gd name="T1" fmla="*/ 39 h 152"/>
                  <a:gd name="T2" fmla="*/ 228 w 306"/>
                  <a:gd name="T3" fmla="*/ 39 h 152"/>
                  <a:gd name="T4" fmla="*/ 222 w 306"/>
                  <a:gd name="T5" fmla="*/ 37 h 152"/>
                  <a:gd name="T6" fmla="*/ 215 w 306"/>
                  <a:gd name="T7" fmla="*/ 33 h 152"/>
                  <a:gd name="T8" fmla="*/ 209 w 306"/>
                  <a:gd name="T9" fmla="*/ 27 h 152"/>
                  <a:gd name="T10" fmla="*/ 204 w 306"/>
                  <a:gd name="T11" fmla="*/ 23 h 152"/>
                  <a:gd name="T12" fmla="*/ 197 w 306"/>
                  <a:gd name="T13" fmla="*/ 11 h 152"/>
                  <a:gd name="T14" fmla="*/ 192 w 306"/>
                  <a:gd name="T15" fmla="*/ 0 h 152"/>
                  <a:gd name="T16" fmla="*/ 192 w 306"/>
                  <a:gd name="T17" fmla="*/ 0 h 152"/>
                  <a:gd name="T18" fmla="*/ 183 w 306"/>
                  <a:gd name="T19" fmla="*/ 4 h 152"/>
                  <a:gd name="T20" fmla="*/ 173 w 306"/>
                  <a:gd name="T21" fmla="*/ 7 h 152"/>
                  <a:gd name="T22" fmla="*/ 164 w 306"/>
                  <a:gd name="T23" fmla="*/ 9 h 152"/>
                  <a:gd name="T24" fmla="*/ 153 w 306"/>
                  <a:gd name="T25" fmla="*/ 10 h 152"/>
                  <a:gd name="T26" fmla="*/ 153 w 306"/>
                  <a:gd name="T27" fmla="*/ 10 h 152"/>
                  <a:gd name="T28" fmla="*/ 142 w 306"/>
                  <a:gd name="T29" fmla="*/ 9 h 152"/>
                  <a:gd name="T30" fmla="*/ 131 w 306"/>
                  <a:gd name="T31" fmla="*/ 7 h 152"/>
                  <a:gd name="T32" fmla="*/ 122 w 306"/>
                  <a:gd name="T33" fmla="*/ 4 h 152"/>
                  <a:gd name="T34" fmla="*/ 113 w 306"/>
                  <a:gd name="T35" fmla="*/ 0 h 152"/>
                  <a:gd name="T36" fmla="*/ 113 w 306"/>
                  <a:gd name="T37" fmla="*/ 0 h 152"/>
                  <a:gd name="T38" fmla="*/ 109 w 306"/>
                  <a:gd name="T39" fmla="*/ 11 h 152"/>
                  <a:gd name="T40" fmla="*/ 101 w 306"/>
                  <a:gd name="T41" fmla="*/ 23 h 152"/>
                  <a:gd name="T42" fmla="*/ 97 w 306"/>
                  <a:gd name="T43" fmla="*/ 27 h 152"/>
                  <a:gd name="T44" fmla="*/ 91 w 306"/>
                  <a:gd name="T45" fmla="*/ 33 h 152"/>
                  <a:gd name="T46" fmla="*/ 84 w 306"/>
                  <a:gd name="T47" fmla="*/ 37 h 152"/>
                  <a:gd name="T48" fmla="*/ 76 w 306"/>
                  <a:gd name="T49" fmla="*/ 39 h 152"/>
                  <a:gd name="T50" fmla="*/ 76 w 306"/>
                  <a:gd name="T51" fmla="*/ 39 h 152"/>
                  <a:gd name="T52" fmla="*/ 62 w 306"/>
                  <a:gd name="T53" fmla="*/ 45 h 152"/>
                  <a:gd name="T54" fmla="*/ 47 w 306"/>
                  <a:gd name="T55" fmla="*/ 53 h 152"/>
                  <a:gd name="T56" fmla="*/ 33 w 306"/>
                  <a:gd name="T57" fmla="*/ 64 h 152"/>
                  <a:gd name="T58" fmla="*/ 23 w 306"/>
                  <a:gd name="T59" fmla="*/ 76 h 152"/>
                  <a:gd name="T60" fmla="*/ 13 w 306"/>
                  <a:gd name="T61" fmla="*/ 89 h 152"/>
                  <a:gd name="T62" fmla="*/ 9 w 306"/>
                  <a:gd name="T63" fmla="*/ 97 h 152"/>
                  <a:gd name="T64" fmla="*/ 5 w 306"/>
                  <a:gd name="T65" fmla="*/ 107 h 152"/>
                  <a:gd name="T66" fmla="*/ 2 w 306"/>
                  <a:gd name="T67" fmla="*/ 116 h 152"/>
                  <a:gd name="T68" fmla="*/ 1 w 306"/>
                  <a:gd name="T69" fmla="*/ 125 h 152"/>
                  <a:gd name="T70" fmla="*/ 0 w 306"/>
                  <a:gd name="T71" fmla="*/ 136 h 152"/>
                  <a:gd name="T72" fmla="*/ 0 w 306"/>
                  <a:gd name="T73" fmla="*/ 147 h 152"/>
                  <a:gd name="T74" fmla="*/ 0 w 306"/>
                  <a:gd name="T75" fmla="*/ 147 h 152"/>
                  <a:gd name="T76" fmla="*/ 0 w 306"/>
                  <a:gd name="T77" fmla="*/ 150 h 152"/>
                  <a:gd name="T78" fmla="*/ 1 w 306"/>
                  <a:gd name="T79" fmla="*/ 151 h 152"/>
                  <a:gd name="T80" fmla="*/ 2 w 306"/>
                  <a:gd name="T81" fmla="*/ 152 h 152"/>
                  <a:gd name="T82" fmla="*/ 5 w 306"/>
                  <a:gd name="T83" fmla="*/ 152 h 152"/>
                  <a:gd name="T84" fmla="*/ 301 w 306"/>
                  <a:gd name="T85" fmla="*/ 152 h 152"/>
                  <a:gd name="T86" fmla="*/ 301 w 306"/>
                  <a:gd name="T87" fmla="*/ 152 h 152"/>
                  <a:gd name="T88" fmla="*/ 304 w 306"/>
                  <a:gd name="T89" fmla="*/ 152 h 152"/>
                  <a:gd name="T90" fmla="*/ 305 w 306"/>
                  <a:gd name="T91" fmla="*/ 151 h 152"/>
                  <a:gd name="T92" fmla="*/ 306 w 306"/>
                  <a:gd name="T93" fmla="*/ 150 h 152"/>
                  <a:gd name="T94" fmla="*/ 306 w 306"/>
                  <a:gd name="T95" fmla="*/ 147 h 152"/>
                  <a:gd name="T96" fmla="*/ 306 w 306"/>
                  <a:gd name="T97" fmla="*/ 147 h 152"/>
                  <a:gd name="T98" fmla="*/ 306 w 306"/>
                  <a:gd name="T99" fmla="*/ 136 h 152"/>
                  <a:gd name="T100" fmla="*/ 305 w 306"/>
                  <a:gd name="T101" fmla="*/ 125 h 152"/>
                  <a:gd name="T102" fmla="*/ 302 w 306"/>
                  <a:gd name="T103" fmla="*/ 116 h 152"/>
                  <a:gd name="T104" fmla="*/ 299 w 306"/>
                  <a:gd name="T105" fmla="*/ 107 h 152"/>
                  <a:gd name="T106" fmla="*/ 297 w 306"/>
                  <a:gd name="T107" fmla="*/ 97 h 152"/>
                  <a:gd name="T108" fmla="*/ 293 w 306"/>
                  <a:gd name="T109" fmla="*/ 89 h 152"/>
                  <a:gd name="T110" fmla="*/ 283 w 306"/>
                  <a:gd name="T111" fmla="*/ 76 h 152"/>
                  <a:gd name="T112" fmla="*/ 271 w 306"/>
                  <a:gd name="T113" fmla="*/ 64 h 152"/>
                  <a:gd name="T114" fmla="*/ 258 w 306"/>
                  <a:gd name="T115" fmla="*/ 53 h 152"/>
                  <a:gd name="T116" fmla="*/ 244 w 306"/>
                  <a:gd name="T117" fmla="*/ 45 h 152"/>
                  <a:gd name="T118" fmla="*/ 228 w 306"/>
                  <a:gd name="T119" fmla="*/ 39 h 152"/>
                  <a:gd name="T120" fmla="*/ 228 w 306"/>
                  <a:gd name="T121" fmla="*/ 3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6" h="152">
                    <a:moveTo>
                      <a:pt x="228" y="39"/>
                    </a:moveTo>
                    <a:lnTo>
                      <a:pt x="228" y="39"/>
                    </a:lnTo>
                    <a:lnTo>
                      <a:pt x="222" y="37"/>
                    </a:lnTo>
                    <a:lnTo>
                      <a:pt x="215" y="33"/>
                    </a:lnTo>
                    <a:lnTo>
                      <a:pt x="209" y="27"/>
                    </a:lnTo>
                    <a:lnTo>
                      <a:pt x="204" y="23"/>
                    </a:lnTo>
                    <a:lnTo>
                      <a:pt x="197" y="11"/>
                    </a:lnTo>
                    <a:lnTo>
                      <a:pt x="192" y="0"/>
                    </a:lnTo>
                    <a:lnTo>
                      <a:pt x="192" y="0"/>
                    </a:lnTo>
                    <a:lnTo>
                      <a:pt x="183" y="4"/>
                    </a:lnTo>
                    <a:lnTo>
                      <a:pt x="173" y="7"/>
                    </a:lnTo>
                    <a:lnTo>
                      <a:pt x="164" y="9"/>
                    </a:lnTo>
                    <a:lnTo>
                      <a:pt x="153" y="10"/>
                    </a:lnTo>
                    <a:lnTo>
                      <a:pt x="153" y="10"/>
                    </a:lnTo>
                    <a:lnTo>
                      <a:pt x="142" y="9"/>
                    </a:lnTo>
                    <a:lnTo>
                      <a:pt x="131" y="7"/>
                    </a:lnTo>
                    <a:lnTo>
                      <a:pt x="122" y="4"/>
                    </a:lnTo>
                    <a:lnTo>
                      <a:pt x="113" y="0"/>
                    </a:lnTo>
                    <a:lnTo>
                      <a:pt x="113" y="0"/>
                    </a:lnTo>
                    <a:lnTo>
                      <a:pt x="109" y="11"/>
                    </a:lnTo>
                    <a:lnTo>
                      <a:pt x="101" y="23"/>
                    </a:lnTo>
                    <a:lnTo>
                      <a:pt x="97" y="27"/>
                    </a:lnTo>
                    <a:lnTo>
                      <a:pt x="91" y="33"/>
                    </a:lnTo>
                    <a:lnTo>
                      <a:pt x="84" y="37"/>
                    </a:lnTo>
                    <a:lnTo>
                      <a:pt x="76" y="39"/>
                    </a:lnTo>
                    <a:lnTo>
                      <a:pt x="76" y="39"/>
                    </a:lnTo>
                    <a:lnTo>
                      <a:pt x="62" y="45"/>
                    </a:lnTo>
                    <a:lnTo>
                      <a:pt x="47" y="53"/>
                    </a:lnTo>
                    <a:lnTo>
                      <a:pt x="33" y="64"/>
                    </a:lnTo>
                    <a:lnTo>
                      <a:pt x="23" y="76"/>
                    </a:lnTo>
                    <a:lnTo>
                      <a:pt x="13" y="89"/>
                    </a:lnTo>
                    <a:lnTo>
                      <a:pt x="9" y="97"/>
                    </a:lnTo>
                    <a:lnTo>
                      <a:pt x="5" y="107"/>
                    </a:lnTo>
                    <a:lnTo>
                      <a:pt x="2" y="116"/>
                    </a:lnTo>
                    <a:lnTo>
                      <a:pt x="1" y="125"/>
                    </a:lnTo>
                    <a:lnTo>
                      <a:pt x="0" y="136"/>
                    </a:lnTo>
                    <a:lnTo>
                      <a:pt x="0" y="147"/>
                    </a:lnTo>
                    <a:lnTo>
                      <a:pt x="0" y="147"/>
                    </a:lnTo>
                    <a:lnTo>
                      <a:pt x="0" y="150"/>
                    </a:lnTo>
                    <a:lnTo>
                      <a:pt x="1" y="151"/>
                    </a:lnTo>
                    <a:lnTo>
                      <a:pt x="2" y="152"/>
                    </a:lnTo>
                    <a:lnTo>
                      <a:pt x="5" y="152"/>
                    </a:lnTo>
                    <a:lnTo>
                      <a:pt x="301" y="152"/>
                    </a:lnTo>
                    <a:lnTo>
                      <a:pt x="301" y="152"/>
                    </a:lnTo>
                    <a:lnTo>
                      <a:pt x="304" y="152"/>
                    </a:lnTo>
                    <a:lnTo>
                      <a:pt x="305" y="151"/>
                    </a:lnTo>
                    <a:lnTo>
                      <a:pt x="306" y="150"/>
                    </a:lnTo>
                    <a:lnTo>
                      <a:pt x="306" y="147"/>
                    </a:lnTo>
                    <a:lnTo>
                      <a:pt x="306" y="147"/>
                    </a:lnTo>
                    <a:lnTo>
                      <a:pt x="306" y="136"/>
                    </a:lnTo>
                    <a:lnTo>
                      <a:pt x="305" y="125"/>
                    </a:lnTo>
                    <a:lnTo>
                      <a:pt x="302" y="116"/>
                    </a:lnTo>
                    <a:lnTo>
                      <a:pt x="299" y="107"/>
                    </a:lnTo>
                    <a:lnTo>
                      <a:pt x="297" y="97"/>
                    </a:lnTo>
                    <a:lnTo>
                      <a:pt x="293" y="89"/>
                    </a:lnTo>
                    <a:lnTo>
                      <a:pt x="283" y="76"/>
                    </a:lnTo>
                    <a:lnTo>
                      <a:pt x="271" y="64"/>
                    </a:lnTo>
                    <a:lnTo>
                      <a:pt x="258" y="53"/>
                    </a:lnTo>
                    <a:lnTo>
                      <a:pt x="244" y="45"/>
                    </a:lnTo>
                    <a:lnTo>
                      <a:pt x="228" y="39"/>
                    </a:lnTo>
                    <a:lnTo>
                      <a:pt x="228"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a:ea typeface="Microsoft YaHei"/>
                  <a:cs typeface="+mn-cs"/>
                </a:endParaRPr>
              </a:p>
            </p:txBody>
          </p:sp>
        </p:grpSp>
      </p:grpSp>
      <p:sp>
        <p:nvSpPr>
          <p:cNvPr id="158" name="Rectangle 157">
            <a:extLst>
              <a:ext uri="{FF2B5EF4-FFF2-40B4-BE49-F238E27FC236}">
                <a16:creationId xmlns:a16="http://schemas.microsoft.com/office/drawing/2014/main" id="{30A30734-62D1-4E98-A237-CF53D64680AC}"/>
              </a:ext>
            </a:extLst>
          </p:cNvPr>
          <p:cNvSpPr/>
          <p:nvPr/>
        </p:nvSpPr>
        <p:spPr>
          <a:xfrm>
            <a:off x="978077" y="1646096"/>
            <a:ext cx="2359941" cy="253916"/>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effectLst/>
                <a:uLnTx/>
                <a:uFillTx/>
                <a:latin typeface="Open Sans"/>
                <a:ea typeface="Microsoft YaHei"/>
                <a:cs typeface="+mn-cs"/>
              </a:rPr>
              <a:t>As a Merchant, I will be able to…</a:t>
            </a:r>
          </a:p>
        </p:txBody>
      </p:sp>
      <p:sp>
        <p:nvSpPr>
          <p:cNvPr id="159" name="Rectangle 158">
            <a:extLst>
              <a:ext uri="{FF2B5EF4-FFF2-40B4-BE49-F238E27FC236}">
                <a16:creationId xmlns:a16="http://schemas.microsoft.com/office/drawing/2014/main" id="{D9B4249E-79A8-41FF-8E16-14D8F49CAD04}"/>
              </a:ext>
            </a:extLst>
          </p:cNvPr>
          <p:cNvSpPr/>
          <p:nvPr/>
        </p:nvSpPr>
        <p:spPr>
          <a:xfrm>
            <a:off x="978077" y="2741787"/>
            <a:ext cx="2263761" cy="253916"/>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effectLst/>
                <a:uLnTx/>
                <a:uFillTx/>
                <a:latin typeface="Open Sans"/>
                <a:ea typeface="Microsoft YaHei"/>
                <a:cs typeface="+mn-cs"/>
              </a:rPr>
              <a:t>As a Supplier, I will be able to…</a:t>
            </a:r>
          </a:p>
        </p:txBody>
      </p:sp>
      <p:sp>
        <p:nvSpPr>
          <p:cNvPr id="161" name="Rectangle 160">
            <a:extLst>
              <a:ext uri="{FF2B5EF4-FFF2-40B4-BE49-F238E27FC236}">
                <a16:creationId xmlns:a16="http://schemas.microsoft.com/office/drawing/2014/main" id="{C5247965-A809-4A87-B7F9-C119AB6446B8}"/>
              </a:ext>
            </a:extLst>
          </p:cNvPr>
          <p:cNvSpPr/>
          <p:nvPr/>
        </p:nvSpPr>
        <p:spPr>
          <a:xfrm>
            <a:off x="873318" y="4993650"/>
            <a:ext cx="3874362" cy="253916"/>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effectLst/>
                <a:uLnTx/>
                <a:uFillTx/>
                <a:latin typeface="Open Sans"/>
                <a:ea typeface="Microsoft YaHei"/>
                <a:cs typeface="+mn-cs"/>
              </a:rPr>
              <a:t>We are creating a sustainable operating model by…</a:t>
            </a:r>
          </a:p>
        </p:txBody>
      </p:sp>
      <p:sp>
        <p:nvSpPr>
          <p:cNvPr id="162" name="Rectangle 161">
            <a:extLst>
              <a:ext uri="{FF2B5EF4-FFF2-40B4-BE49-F238E27FC236}">
                <a16:creationId xmlns:a16="http://schemas.microsoft.com/office/drawing/2014/main" id="{43CE725B-CA49-4D77-BF77-8A06FEBF0485}"/>
              </a:ext>
            </a:extLst>
          </p:cNvPr>
          <p:cNvSpPr/>
          <p:nvPr/>
        </p:nvSpPr>
        <p:spPr>
          <a:xfrm>
            <a:off x="978077" y="3843555"/>
            <a:ext cx="2363147" cy="253916"/>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effectLst/>
                <a:uLnTx/>
                <a:uFillTx/>
                <a:latin typeface="Open Sans"/>
                <a:ea typeface="Microsoft YaHei"/>
                <a:cs typeface="+mn-cs"/>
              </a:rPr>
              <a:t>As a Customer, I will be able to…</a:t>
            </a:r>
          </a:p>
        </p:txBody>
      </p:sp>
      <p:grpSp>
        <p:nvGrpSpPr>
          <p:cNvPr id="163" name="Group 162">
            <a:extLst>
              <a:ext uri="{FF2B5EF4-FFF2-40B4-BE49-F238E27FC236}">
                <a16:creationId xmlns:a16="http://schemas.microsoft.com/office/drawing/2014/main" id="{9774BD3C-37D3-4C60-9E35-183F3B6319AC}"/>
              </a:ext>
            </a:extLst>
          </p:cNvPr>
          <p:cNvGrpSpPr/>
          <p:nvPr/>
        </p:nvGrpSpPr>
        <p:grpSpPr>
          <a:xfrm>
            <a:off x="8082900" y="1283694"/>
            <a:ext cx="3812884" cy="277892"/>
            <a:chOff x="7817904" y="358555"/>
            <a:chExt cx="3812884" cy="277892"/>
          </a:xfrm>
        </p:grpSpPr>
        <p:grpSp>
          <p:nvGrpSpPr>
            <p:cNvPr id="164" name="Group 163">
              <a:extLst>
                <a:ext uri="{FF2B5EF4-FFF2-40B4-BE49-F238E27FC236}">
                  <a16:creationId xmlns:a16="http://schemas.microsoft.com/office/drawing/2014/main" id="{A25F5902-7CD8-4021-B773-492E264746C9}"/>
                </a:ext>
              </a:extLst>
            </p:cNvPr>
            <p:cNvGrpSpPr/>
            <p:nvPr/>
          </p:nvGrpSpPr>
          <p:grpSpPr>
            <a:xfrm>
              <a:off x="7817904" y="407394"/>
              <a:ext cx="138421" cy="202181"/>
              <a:chOff x="6182069" y="1158780"/>
              <a:chExt cx="138421" cy="202181"/>
            </a:xfrm>
          </p:grpSpPr>
          <p:sp>
            <p:nvSpPr>
              <p:cNvPr id="170" name="Oval 169">
                <a:extLst>
                  <a:ext uri="{FF2B5EF4-FFF2-40B4-BE49-F238E27FC236}">
                    <a16:creationId xmlns:a16="http://schemas.microsoft.com/office/drawing/2014/main" id="{31391A7A-B6B0-4D0E-BDE4-E4E63C8E51D9}"/>
                  </a:ext>
                </a:extLst>
              </p:cNvPr>
              <p:cNvSpPr/>
              <p:nvPr/>
            </p:nvSpPr>
            <p:spPr>
              <a:xfrm>
                <a:off x="6182069" y="1158780"/>
                <a:ext cx="138421" cy="138421"/>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171" name="Isosceles Triangle 170">
                <a:extLst>
                  <a:ext uri="{FF2B5EF4-FFF2-40B4-BE49-F238E27FC236}">
                    <a16:creationId xmlns:a16="http://schemas.microsoft.com/office/drawing/2014/main" id="{D572D611-227C-450A-B8F4-938689CEBAAC}"/>
                  </a:ext>
                </a:extLst>
              </p:cNvPr>
              <p:cNvSpPr/>
              <p:nvPr/>
            </p:nvSpPr>
            <p:spPr>
              <a:xfrm rot="10800000">
                <a:off x="6194718" y="1278079"/>
                <a:ext cx="113122" cy="8288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icrosoft YaHei"/>
                  <a:cs typeface="+mn-cs"/>
                </a:endParaRPr>
              </a:p>
            </p:txBody>
          </p:sp>
        </p:grpSp>
        <p:grpSp>
          <p:nvGrpSpPr>
            <p:cNvPr id="165" name="Group 164">
              <a:extLst>
                <a:ext uri="{FF2B5EF4-FFF2-40B4-BE49-F238E27FC236}">
                  <a16:creationId xmlns:a16="http://schemas.microsoft.com/office/drawing/2014/main" id="{C0EFCB49-351C-4E33-905A-688C51942572}"/>
                </a:ext>
              </a:extLst>
            </p:cNvPr>
            <p:cNvGrpSpPr/>
            <p:nvPr/>
          </p:nvGrpSpPr>
          <p:grpSpPr>
            <a:xfrm>
              <a:off x="9371980" y="358555"/>
              <a:ext cx="236097" cy="236097"/>
              <a:chOff x="2860047" y="-599433"/>
              <a:chExt cx="434501" cy="434501"/>
            </a:xfrm>
          </p:grpSpPr>
          <p:sp>
            <p:nvSpPr>
              <p:cNvPr id="168" name="Teardrop 167">
                <a:extLst>
                  <a:ext uri="{FF2B5EF4-FFF2-40B4-BE49-F238E27FC236}">
                    <a16:creationId xmlns:a16="http://schemas.microsoft.com/office/drawing/2014/main" id="{55228168-FDBC-4D2F-A57F-EBF7BA49A215}"/>
                  </a:ext>
                </a:extLst>
              </p:cNvPr>
              <p:cNvSpPr/>
              <p:nvPr/>
            </p:nvSpPr>
            <p:spPr>
              <a:xfrm rot="8125434">
                <a:off x="2860047" y="-599433"/>
                <a:ext cx="434501" cy="434501"/>
              </a:xfrm>
              <a:prstGeom prst="teardrop">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169" name="Oval 168">
                <a:extLst>
                  <a:ext uri="{FF2B5EF4-FFF2-40B4-BE49-F238E27FC236}">
                    <a16:creationId xmlns:a16="http://schemas.microsoft.com/office/drawing/2014/main" id="{7D140CBF-24B4-4A2D-886D-3D7CAE189CEC}"/>
                  </a:ext>
                </a:extLst>
              </p:cNvPr>
              <p:cNvSpPr/>
              <p:nvPr/>
            </p:nvSpPr>
            <p:spPr>
              <a:xfrm>
                <a:off x="2977201" y="-481238"/>
                <a:ext cx="198110" cy="19811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grpSp>
        <p:sp>
          <p:nvSpPr>
            <p:cNvPr id="166" name="TextBox 165">
              <a:extLst>
                <a:ext uri="{FF2B5EF4-FFF2-40B4-BE49-F238E27FC236}">
                  <a16:creationId xmlns:a16="http://schemas.microsoft.com/office/drawing/2014/main" id="{A553F366-B3AD-43C8-ADB9-4D4CEB73834E}"/>
                </a:ext>
              </a:extLst>
            </p:cNvPr>
            <p:cNvSpPr txBox="1"/>
            <p:nvPr/>
          </p:nvSpPr>
          <p:spPr>
            <a:xfrm>
              <a:off x="7933036" y="382531"/>
              <a:ext cx="1366598" cy="253916"/>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terim Outcome</a:t>
              </a:r>
            </a:p>
          </p:txBody>
        </p:sp>
        <p:sp>
          <p:nvSpPr>
            <p:cNvPr id="167" name="TextBox 166">
              <a:extLst>
                <a:ext uri="{FF2B5EF4-FFF2-40B4-BE49-F238E27FC236}">
                  <a16:creationId xmlns:a16="http://schemas.microsoft.com/office/drawing/2014/main" id="{F66817E3-5B8E-4F3F-83B2-08E84CB0DCD0}"/>
                </a:ext>
              </a:extLst>
            </p:cNvPr>
            <p:cNvSpPr txBox="1"/>
            <p:nvPr/>
          </p:nvSpPr>
          <p:spPr>
            <a:xfrm>
              <a:off x="9578871" y="382531"/>
              <a:ext cx="2051917" cy="253916"/>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ritical Outcome / Milestone</a:t>
              </a:r>
            </a:p>
          </p:txBody>
        </p:sp>
      </p:grpSp>
      <p:sp>
        <p:nvSpPr>
          <p:cNvPr id="172" name="5-Point Star 224">
            <a:extLst>
              <a:ext uri="{FF2B5EF4-FFF2-40B4-BE49-F238E27FC236}">
                <a16:creationId xmlns:a16="http://schemas.microsoft.com/office/drawing/2014/main" id="{04460C43-7FF7-4EEB-8DD8-4888E079A551}"/>
              </a:ext>
            </a:extLst>
          </p:cNvPr>
          <p:cNvSpPr/>
          <p:nvPr/>
        </p:nvSpPr>
        <p:spPr>
          <a:xfrm>
            <a:off x="1346856" y="5903160"/>
            <a:ext cx="232510" cy="232510"/>
          </a:xfrm>
          <a:prstGeom prst="star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173" name="TextBox 172">
            <a:extLst>
              <a:ext uri="{FF2B5EF4-FFF2-40B4-BE49-F238E27FC236}">
                <a16:creationId xmlns:a16="http://schemas.microsoft.com/office/drawing/2014/main" id="{2C03C0F2-41DD-4CA7-9974-F078C39F7C7D}"/>
              </a:ext>
            </a:extLst>
          </p:cNvPr>
          <p:cNvSpPr txBox="1"/>
          <p:nvPr/>
        </p:nvSpPr>
        <p:spPr>
          <a:xfrm>
            <a:off x="1143505" y="6119129"/>
            <a:ext cx="630751" cy="400110"/>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rPr>
              <a:t>We are here</a:t>
            </a:r>
          </a:p>
        </p:txBody>
      </p:sp>
      <p:grpSp>
        <p:nvGrpSpPr>
          <p:cNvPr id="174" name="Group 173">
            <a:extLst>
              <a:ext uri="{FF2B5EF4-FFF2-40B4-BE49-F238E27FC236}">
                <a16:creationId xmlns:a16="http://schemas.microsoft.com/office/drawing/2014/main" id="{B7F4C6A8-D7B1-45C1-976C-49CDC673FB01}"/>
              </a:ext>
            </a:extLst>
          </p:cNvPr>
          <p:cNvGrpSpPr/>
          <p:nvPr/>
        </p:nvGrpSpPr>
        <p:grpSpPr>
          <a:xfrm>
            <a:off x="6025841" y="5238244"/>
            <a:ext cx="236097" cy="236097"/>
            <a:chOff x="2860047" y="-599433"/>
            <a:chExt cx="434501" cy="434501"/>
          </a:xfrm>
        </p:grpSpPr>
        <p:sp>
          <p:nvSpPr>
            <p:cNvPr id="175" name="Teardrop 174">
              <a:extLst>
                <a:ext uri="{FF2B5EF4-FFF2-40B4-BE49-F238E27FC236}">
                  <a16:creationId xmlns:a16="http://schemas.microsoft.com/office/drawing/2014/main" id="{B91D2311-BA76-4D45-8A84-7FD3AF4174C2}"/>
                </a:ext>
              </a:extLst>
            </p:cNvPr>
            <p:cNvSpPr/>
            <p:nvPr/>
          </p:nvSpPr>
          <p:spPr>
            <a:xfrm rot="8125434">
              <a:off x="2860047" y="-599433"/>
              <a:ext cx="434501" cy="434501"/>
            </a:xfrm>
            <a:prstGeom prst="teardrop">
              <a:avLst/>
            </a:prstGeom>
            <a:solidFill>
              <a:schemeClr val="tx2"/>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176" name="Oval 175">
              <a:extLst>
                <a:ext uri="{FF2B5EF4-FFF2-40B4-BE49-F238E27FC236}">
                  <a16:creationId xmlns:a16="http://schemas.microsoft.com/office/drawing/2014/main" id="{CEBD08C3-A0E9-4324-9C7B-54D76A7B4258}"/>
                </a:ext>
              </a:extLst>
            </p:cNvPr>
            <p:cNvSpPr/>
            <p:nvPr/>
          </p:nvSpPr>
          <p:spPr>
            <a:xfrm>
              <a:off x="2977201" y="-481238"/>
              <a:ext cx="198110" cy="198110"/>
            </a:xfrm>
            <a:prstGeom prst="ellipse">
              <a:avLst/>
            </a:prstGeom>
            <a:solidFill>
              <a:schemeClr val="bg1"/>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grpSp>
      <p:sp>
        <p:nvSpPr>
          <p:cNvPr id="177" name="TextBox 176">
            <a:extLst>
              <a:ext uri="{FF2B5EF4-FFF2-40B4-BE49-F238E27FC236}">
                <a16:creationId xmlns:a16="http://schemas.microsoft.com/office/drawing/2014/main" id="{31102AB9-C16D-40F2-9E84-A259B743B69E}"/>
              </a:ext>
            </a:extLst>
          </p:cNvPr>
          <p:cNvSpPr txBox="1"/>
          <p:nvPr/>
        </p:nvSpPr>
        <p:spPr>
          <a:xfrm>
            <a:off x="5284568" y="5523234"/>
            <a:ext cx="1699355" cy="220573"/>
          </a:xfrm>
          <a:prstGeom prst="rect">
            <a:avLst/>
          </a:prstGeom>
          <a:noFill/>
        </p:spPr>
        <p:txBody>
          <a:bodyPr wrap="square" rtlCol="0">
            <a:spAutoFit/>
          </a:bodyPr>
          <a:lstStyle/>
          <a:p>
            <a:pPr marL="0" marR="0" lvl="0" indent="0" algn="ctr" defTabSz="1219170" rtl="0" eaLnBrk="1" fontAlgn="auto" latinLnBrk="0" hangingPunct="1">
              <a:lnSpc>
                <a:spcPts val="1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sert critical milestone</a:t>
            </a:r>
          </a:p>
        </p:txBody>
      </p:sp>
      <p:sp>
        <p:nvSpPr>
          <p:cNvPr id="178" name="Text Placeholder 2">
            <a:extLst>
              <a:ext uri="{FF2B5EF4-FFF2-40B4-BE49-F238E27FC236}">
                <a16:creationId xmlns:a16="http://schemas.microsoft.com/office/drawing/2014/main" id="{70FD3414-A44B-436A-A56F-A1D9F8B57C66}"/>
              </a:ext>
            </a:extLst>
          </p:cNvPr>
          <p:cNvSpPr txBox="1">
            <a:spLocks/>
          </p:cNvSpPr>
          <p:nvPr/>
        </p:nvSpPr>
        <p:spPr>
          <a:xfrm>
            <a:off x="914721" y="1353312"/>
            <a:ext cx="10362880" cy="475488"/>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12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Subheader placeholder</a:t>
            </a:r>
          </a:p>
        </p:txBody>
      </p:sp>
    </p:spTree>
    <p:extLst>
      <p:ext uri="{BB962C8B-B14F-4D97-AF65-F5344CB8AC3E}">
        <p14:creationId xmlns:p14="http://schemas.microsoft.com/office/powerpoint/2010/main" val="2040561513"/>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B8CFCDF6-CA19-47E4-9EDC-967E3247A9F8}"/>
              </a:ext>
            </a:extLst>
          </p:cNvPr>
          <p:cNvGraphicFramePr>
            <a:graphicFrameLocks noGrp="1"/>
          </p:cNvGraphicFramePr>
          <p:nvPr/>
        </p:nvGraphicFramePr>
        <p:xfrm>
          <a:off x="382703" y="2700621"/>
          <a:ext cx="11259168" cy="3201641"/>
        </p:xfrm>
        <a:graphic>
          <a:graphicData uri="http://schemas.openxmlformats.org/drawingml/2006/table">
            <a:tbl>
              <a:tblPr firstRow="1" bandRow="1">
                <a:tableStyleId>{2D5ABB26-0587-4C30-8999-92F81FD0307C}</a:tableStyleId>
              </a:tblPr>
              <a:tblGrid>
                <a:gridCol w="1407396">
                  <a:extLst>
                    <a:ext uri="{9D8B030D-6E8A-4147-A177-3AD203B41FA5}">
                      <a16:colId xmlns:a16="http://schemas.microsoft.com/office/drawing/2014/main" val="20000"/>
                    </a:ext>
                  </a:extLst>
                </a:gridCol>
                <a:gridCol w="1407396">
                  <a:extLst>
                    <a:ext uri="{9D8B030D-6E8A-4147-A177-3AD203B41FA5}">
                      <a16:colId xmlns:a16="http://schemas.microsoft.com/office/drawing/2014/main" val="20001"/>
                    </a:ext>
                  </a:extLst>
                </a:gridCol>
                <a:gridCol w="1407396">
                  <a:extLst>
                    <a:ext uri="{9D8B030D-6E8A-4147-A177-3AD203B41FA5}">
                      <a16:colId xmlns:a16="http://schemas.microsoft.com/office/drawing/2014/main" val="20002"/>
                    </a:ext>
                  </a:extLst>
                </a:gridCol>
                <a:gridCol w="1407396">
                  <a:extLst>
                    <a:ext uri="{9D8B030D-6E8A-4147-A177-3AD203B41FA5}">
                      <a16:colId xmlns:a16="http://schemas.microsoft.com/office/drawing/2014/main" val="20003"/>
                    </a:ext>
                  </a:extLst>
                </a:gridCol>
                <a:gridCol w="1407396">
                  <a:extLst>
                    <a:ext uri="{9D8B030D-6E8A-4147-A177-3AD203B41FA5}">
                      <a16:colId xmlns:a16="http://schemas.microsoft.com/office/drawing/2014/main" val="20004"/>
                    </a:ext>
                  </a:extLst>
                </a:gridCol>
                <a:gridCol w="1407396">
                  <a:extLst>
                    <a:ext uri="{9D8B030D-6E8A-4147-A177-3AD203B41FA5}">
                      <a16:colId xmlns:a16="http://schemas.microsoft.com/office/drawing/2014/main" val="20005"/>
                    </a:ext>
                  </a:extLst>
                </a:gridCol>
                <a:gridCol w="1407396">
                  <a:extLst>
                    <a:ext uri="{9D8B030D-6E8A-4147-A177-3AD203B41FA5}">
                      <a16:colId xmlns:a16="http://schemas.microsoft.com/office/drawing/2014/main" val="1350489613"/>
                    </a:ext>
                  </a:extLst>
                </a:gridCol>
                <a:gridCol w="1407396">
                  <a:extLst>
                    <a:ext uri="{9D8B030D-6E8A-4147-A177-3AD203B41FA5}">
                      <a16:colId xmlns:a16="http://schemas.microsoft.com/office/drawing/2014/main" val="2744283061"/>
                    </a:ext>
                  </a:extLst>
                </a:gridCol>
              </a:tblGrid>
              <a:tr h="3201641">
                <a:tc>
                  <a:txBody>
                    <a:bodyPr/>
                    <a:lstStyle/>
                    <a:p>
                      <a:pPr algn="ctr"/>
                      <a:r>
                        <a:rPr lang="en-US" sz="1200" b="1" dirty="0">
                          <a:latin typeface="Circular Std Book" panose="020B0604020101020102" pitchFamily="34" charset="77"/>
                          <a:cs typeface="Circular Std Book" panose="020B0604020101020102" pitchFamily="34" charset="77"/>
                        </a:rPr>
                        <a:t>Week 1</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a:r>
                        <a:rPr lang="en-US" sz="1200" b="1" dirty="0">
                          <a:latin typeface="Circular Std Book" panose="020B0604020101020102" pitchFamily="34" charset="77"/>
                          <a:cs typeface="Circular Std Book" panose="020B0604020101020102" pitchFamily="34" charset="77"/>
                        </a:rPr>
                        <a:t>Week 2</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a:r>
                        <a:rPr lang="en-US" sz="1200" b="1" dirty="0">
                          <a:latin typeface="Circular Std Book" panose="020B0604020101020102" pitchFamily="34" charset="77"/>
                          <a:cs typeface="Circular Std Book" panose="020B0604020101020102" pitchFamily="34" charset="77"/>
                        </a:rPr>
                        <a:t>Week 3</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a:r>
                        <a:rPr lang="en-US" sz="1200" b="1" dirty="0">
                          <a:latin typeface="Circular Std Book" panose="020B0604020101020102" pitchFamily="34" charset="77"/>
                          <a:cs typeface="Circular Std Book" panose="020B0604020101020102" pitchFamily="34" charset="77"/>
                        </a:rPr>
                        <a:t>Week 4</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a:r>
                        <a:rPr lang="en-US" sz="1200" b="1" dirty="0">
                          <a:latin typeface="Circular Std Book" panose="020B0604020101020102" pitchFamily="34" charset="77"/>
                          <a:cs typeface="Circular Std Book" panose="020B0604020101020102" pitchFamily="34" charset="77"/>
                        </a:rPr>
                        <a:t>Week 5</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a:r>
                        <a:rPr lang="en-US" sz="1200" b="1" dirty="0">
                          <a:latin typeface="Circular Std Book" panose="020B0604020101020102" pitchFamily="34" charset="77"/>
                          <a:cs typeface="Circular Std Book" panose="020B0604020101020102" pitchFamily="34" charset="77"/>
                        </a:rPr>
                        <a:t>Week 6</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latin typeface="Circular Std Book" panose="020B0604020101020102" pitchFamily="34" charset="77"/>
                          <a:cs typeface="Circular Std Book" panose="020B0604020101020102" pitchFamily="34" charset="77"/>
                        </a:rPr>
                        <a:t>Week 7</a:t>
                      </a:r>
                    </a:p>
                    <a:p>
                      <a:pPr algn="ctr"/>
                      <a:endParaRPr lang="en-US" sz="1200" b="1" dirty="0">
                        <a:latin typeface="Circular Std Book" panose="020B0604020101020102" pitchFamily="34" charset="77"/>
                        <a:cs typeface="Circular Std Book" panose="020B0604020101020102" pitchFamily="34" charset="77"/>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latin typeface="Circular Std Book" panose="020B0604020101020102" pitchFamily="34" charset="77"/>
                          <a:cs typeface="Circular Std Book" panose="020B0604020101020102" pitchFamily="34" charset="77"/>
                        </a:rPr>
                        <a:t>Week 8</a:t>
                      </a:r>
                    </a:p>
                    <a:p>
                      <a:pPr algn="ctr"/>
                      <a:endParaRPr lang="en-US" sz="1200" b="1" dirty="0">
                        <a:latin typeface="Circular Std Book" panose="020B0604020101020102" pitchFamily="34" charset="77"/>
                        <a:cs typeface="Circular Std Book" panose="020B0604020101020102" pitchFamily="34" charset="77"/>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cxnSp>
        <p:nvCxnSpPr>
          <p:cNvPr id="6" name="Straight Arrow Connector 5">
            <a:extLst>
              <a:ext uri="{FF2B5EF4-FFF2-40B4-BE49-F238E27FC236}">
                <a16:creationId xmlns:a16="http://schemas.microsoft.com/office/drawing/2014/main" id="{1D7428DC-CB76-4347-8891-804CEB6B316C}"/>
              </a:ext>
            </a:extLst>
          </p:cNvPr>
          <p:cNvCxnSpPr>
            <a:cxnSpLocks/>
          </p:cNvCxnSpPr>
          <p:nvPr/>
        </p:nvCxnSpPr>
        <p:spPr>
          <a:xfrm>
            <a:off x="382703" y="3361057"/>
            <a:ext cx="3566445" cy="0"/>
          </a:xfrm>
          <a:prstGeom prst="straightConnector1">
            <a:avLst/>
          </a:prstGeom>
          <a:ln w="57150" cmpd="sng">
            <a:solidFill>
              <a:schemeClr val="accent2"/>
            </a:solidFill>
            <a:prstDash val="solid"/>
            <a:headEnd type="oval"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7" name="Straight Arrow Connector 6">
            <a:extLst>
              <a:ext uri="{FF2B5EF4-FFF2-40B4-BE49-F238E27FC236}">
                <a16:creationId xmlns:a16="http://schemas.microsoft.com/office/drawing/2014/main" id="{C0028F70-1D4E-4DFF-95D4-C343E35FA5DB}"/>
              </a:ext>
            </a:extLst>
          </p:cNvPr>
          <p:cNvCxnSpPr>
            <a:cxnSpLocks/>
          </p:cNvCxnSpPr>
          <p:nvPr/>
        </p:nvCxnSpPr>
        <p:spPr>
          <a:xfrm>
            <a:off x="3251200" y="4195788"/>
            <a:ext cx="4130261" cy="0"/>
          </a:xfrm>
          <a:prstGeom prst="straightConnector1">
            <a:avLst/>
          </a:prstGeom>
          <a:ln w="57150" cmpd="sng">
            <a:solidFill>
              <a:schemeClr val="accent2"/>
            </a:solidFill>
            <a:prstDash val="solid"/>
            <a:headEnd type="oval"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8" name="Rectangle 7">
            <a:extLst>
              <a:ext uri="{FF2B5EF4-FFF2-40B4-BE49-F238E27FC236}">
                <a16:creationId xmlns:a16="http://schemas.microsoft.com/office/drawing/2014/main" id="{FB729D3E-E501-4324-B3A9-62B340887283}"/>
              </a:ext>
            </a:extLst>
          </p:cNvPr>
          <p:cNvSpPr/>
          <p:nvPr/>
        </p:nvSpPr>
        <p:spPr>
          <a:xfrm>
            <a:off x="309550" y="1769040"/>
            <a:ext cx="2569891"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Circular Std Book" panose="020B0604020101020102" pitchFamily="34" charset="77"/>
              </a:rPr>
              <a:t>Sprint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accent2"/>
                </a:solidFill>
                <a:effectLst/>
                <a:uLnTx/>
                <a:uFillTx/>
                <a:ea typeface="+mn-ea"/>
                <a:cs typeface="Circular Std Book" panose="020B0604020101020102" pitchFamily="34" charset="77"/>
              </a:rPr>
              <a:t>Prototype</a:t>
            </a:r>
          </a:p>
        </p:txBody>
      </p:sp>
      <p:sp>
        <p:nvSpPr>
          <p:cNvPr id="9" name="TextBox 8">
            <a:extLst>
              <a:ext uri="{FF2B5EF4-FFF2-40B4-BE49-F238E27FC236}">
                <a16:creationId xmlns:a16="http://schemas.microsoft.com/office/drawing/2014/main" id="{E95283B6-A7A0-4BA7-AA94-C87B71605B53}"/>
              </a:ext>
            </a:extLst>
          </p:cNvPr>
          <p:cNvSpPr txBox="1"/>
          <p:nvPr/>
        </p:nvSpPr>
        <p:spPr>
          <a:xfrm>
            <a:off x="499961" y="3428380"/>
            <a:ext cx="1624517"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Circular Std Book" panose="020B0604020101020102" pitchFamily="34" charset="77"/>
              </a:rPr>
              <a:t>Develop use cases</a:t>
            </a:r>
          </a:p>
        </p:txBody>
      </p:sp>
      <p:cxnSp>
        <p:nvCxnSpPr>
          <p:cNvPr id="10" name="Straight Arrow Connector 9">
            <a:extLst>
              <a:ext uri="{FF2B5EF4-FFF2-40B4-BE49-F238E27FC236}">
                <a16:creationId xmlns:a16="http://schemas.microsoft.com/office/drawing/2014/main" id="{972EBC07-1A95-4B6C-AC4D-675AABD32196}"/>
              </a:ext>
            </a:extLst>
          </p:cNvPr>
          <p:cNvCxnSpPr>
            <a:cxnSpLocks/>
          </p:cNvCxnSpPr>
          <p:nvPr/>
        </p:nvCxnSpPr>
        <p:spPr>
          <a:xfrm>
            <a:off x="4291811" y="4782931"/>
            <a:ext cx="4577868" cy="0"/>
          </a:xfrm>
          <a:prstGeom prst="straightConnector1">
            <a:avLst/>
          </a:prstGeom>
          <a:ln w="57150" cmpd="sng">
            <a:solidFill>
              <a:schemeClr val="accent2"/>
            </a:solidFill>
            <a:prstDash val="solid"/>
            <a:headEnd type="oval"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C2BBBAC0-AD10-40EF-9F7D-5F52A93130E4}"/>
              </a:ext>
            </a:extLst>
          </p:cNvPr>
          <p:cNvSpPr txBox="1"/>
          <p:nvPr/>
        </p:nvSpPr>
        <p:spPr>
          <a:xfrm>
            <a:off x="3321379" y="4260003"/>
            <a:ext cx="3199494"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Circular Std Book" panose="020B0604020101020102" pitchFamily="34" charset="77"/>
              </a:rPr>
              <a:t>Conduct co-design sessions with stakeholders to determine user experience</a:t>
            </a:r>
          </a:p>
        </p:txBody>
      </p:sp>
      <p:cxnSp>
        <p:nvCxnSpPr>
          <p:cNvPr id="12" name="Straight Connector 11">
            <a:extLst>
              <a:ext uri="{FF2B5EF4-FFF2-40B4-BE49-F238E27FC236}">
                <a16:creationId xmlns:a16="http://schemas.microsoft.com/office/drawing/2014/main" id="{DC6137CF-8BDD-4952-AFED-9ADABF6C16CC}"/>
              </a:ext>
            </a:extLst>
          </p:cNvPr>
          <p:cNvCxnSpPr>
            <a:cxnSpLocks/>
          </p:cNvCxnSpPr>
          <p:nvPr/>
        </p:nvCxnSpPr>
        <p:spPr>
          <a:xfrm>
            <a:off x="382703" y="2992721"/>
            <a:ext cx="11259170" cy="0"/>
          </a:xfrm>
          <a:prstGeom prst="line">
            <a:avLst/>
          </a:prstGeom>
          <a:ln w="31750" cmpd="sng">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8E03879A-7CB0-419A-921F-ACF60251FFFA}"/>
              </a:ext>
            </a:extLst>
          </p:cNvPr>
          <p:cNvCxnSpPr>
            <a:cxnSpLocks/>
          </p:cNvCxnSpPr>
          <p:nvPr/>
        </p:nvCxnSpPr>
        <p:spPr>
          <a:xfrm>
            <a:off x="382703" y="4195788"/>
            <a:ext cx="2723214" cy="0"/>
          </a:xfrm>
          <a:prstGeom prst="straightConnector1">
            <a:avLst/>
          </a:prstGeom>
          <a:ln w="57150" cmpd="sng">
            <a:solidFill>
              <a:schemeClr val="accent2"/>
            </a:solidFill>
            <a:prstDash val="solid"/>
            <a:headEnd type="oval"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40D7446F-B5CB-4520-8B05-F24009EC907B}"/>
              </a:ext>
            </a:extLst>
          </p:cNvPr>
          <p:cNvSpPr txBox="1"/>
          <p:nvPr/>
        </p:nvSpPr>
        <p:spPr>
          <a:xfrm>
            <a:off x="490766" y="4278475"/>
            <a:ext cx="2168448"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Circular Std Book" panose="020B0604020101020102" pitchFamily="34" charset="77"/>
              </a:rPr>
              <a:t>Recruit co-design participants</a:t>
            </a:r>
          </a:p>
        </p:txBody>
      </p:sp>
      <p:cxnSp>
        <p:nvCxnSpPr>
          <p:cNvPr id="15" name="Straight Arrow Connector 14">
            <a:extLst>
              <a:ext uri="{FF2B5EF4-FFF2-40B4-BE49-F238E27FC236}">
                <a16:creationId xmlns:a16="http://schemas.microsoft.com/office/drawing/2014/main" id="{F294F0EE-1A42-4569-B876-7AC6F3E20216}"/>
              </a:ext>
            </a:extLst>
          </p:cNvPr>
          <p:cNvCxnSpPr>
            <a:cxnSpLocks/>
          </p:cNvCxnSpPr>
          <p:nvPr/>
        </p:nvCxnSpPr>
        <p:spPr>
          <a:xfrm>
            <a:off x="7487478" y="4985125"/>
            <a:ext cx="4143244" cy="0"/>
          </a:xfrm>
          <a:prstGeom prst="straightConnector1">
            <a:avLst/>
          </a:prstGeom>
          <a:ln w="57150" cmpd="sng">
            <a:solidFill>
              <a:schemeClr val="accent2"/>
            </a:solidFill>
            <a:prstDash val="solid"/>
            <a:headEnd type="oval"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DAC50697-A600-42E0-946C-4F8C8C53B9FB}"/>
              </a:ext>
            </a:extLst>
          </p:cNvPr>
          <p:cNvSpPr txBox="1"/>
          <p:nvPr/>
        </p:nvSpPr>
        <p:spPr>
          <a:xfrm>
            <a:off x="7607548" y="5064361"/>
            <a:ext cx="1943376"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Circular Std Book" panose="020B0604020101020102" pitchFamily="34" charset="77"/>
              </a:rPr>
              <a:t>Build clickable prototype</a:t>
            </a:r>
          </a:p>
        </p:txBody>
      </p:sp>
      <p:cxnSp>
        <p:nvCxnSpPr>
          <p:cNvPr id="17" name="Straight Arrow Connector 16">
            <a:extLst>
              <a:ext uri="{FF2B5EF4-FFF2-40B4-BE49-F238E27FC236}">
                <a16:creationId xmlns:a16="http://schemas.microsoft.com/office/drawing/2014/main" id="{5027E888-305F-4A41-83E9-5A2E7B630AD2}"/>
              </a:ext>
            </a:extLst>
          </p:cNvPr>
          <p:cNvCxnSpPr>
            <a:cxnSpLocks/>
          </p:cNvCxnSpPr>
          <p:nvPr/>
        </p:nvCxnSpPr>
        <p:spPr>
          <a:xfrm>
            <a:off x="382703" y="3757297"/>
            <a:ext cx="3553193" cy="0"/>
          </a:xfrm>
          <a:prstGeom prst="straightConnector1">
            <a:avLst/>
          </a:prstGeom>
          <a:ln w="57150" cmpd="sng">
            <a:solidFill>
              <a:schemeClr val="accent2"/>
            </a:solidFill>
            <a:prstDash val="solid"/>
            <a:headEnd type="oval"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9FA5F355-B9F3-4013-83E4-BC1F239EBC98}"/>
              </a:ext>
            </a:extLst>
          </p:cNvPr>
          <p:cNvSpPr txBox="1"/>
          <p:nvPr/>
        </p:nvSpPr>
        <p:spPr>
          <a:xfrm>
            <a:off x="491971" y="3831727"/>
            <a:ext cx="1624517"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Circular Std Book" panose="020B0604020101020102" pitchFamily="34" charset="77"/>
              </a:rPr>
              <a:t>Develop personas</a:t>
            </a:r>
          </a:p>
        </p:txBody>
      </p:sp>
      <p:sp>
        <p:nvSpPr>
          <p:cNvPr id="19" name="TextBox 18">
            <a:extLst>
              <a:ext uri="{FF2B5EF4-FFF2-40B4-BE49-F238E27FC236}">
                <a16:creationId xmlns:a16="http://schemas.microsoft.com/office/drawing/2014/main" id="{B4B0A4C5-2F6C-4672-A380-D9BAD8E8E391}"/>
              </a:ext>
            </a:extLst>
          </p:cNvPr>
          <p:cNvSpPr txBox="1"/>
          <p:nvPr/>
        </p:nvSpPr>
        <p:spPr>
          <a:xfrm>
            <a:off x="4408059" y="4881739"/>
            <a:ext cx="1810761"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Circular Std Book" panose="020B0604020101020102" pitchFamily="34" charset="77"/>
              </a:rPr>
              <a:t>Build wireframes</a:t>
            </a:r>
          </a:p>
        </p:txBody>
      </p:sp>
      <p:cxnSp>
        <p:nvCxnSpPr>
          <p:cNvPr id="20" name="Straight Arrow Connector 19">
            <a:extLst>
              <a:ext uri="{FF2B5EF4-FFF2-40B4-BE49-F238E27FC236}">
                <a16:creationId xmlns:a16="http://schemas.microsoft.com/office/drawing/2014/main" id="{DE2675D2-02E0-4441-9C37-6EFE6FE59E9E}"/>
              </a:ext>
            </a:extLst>
          </p:cNvPr>
          <p:cNvCxnSpPr>
            <a:cxnSpLocks/>
          </p:cNvCxnSpPr>
          <p:nvPr/>
        </p:nvCxnSpPr>
        <p:spPr>
          <a:xfrm>
            <a:off x="3949148" y="5414348"/>
            <a:ext cx="7681574" cy="0"/>
          </a:xfrm>
          <a:prstGeom prst="straightConnector1">
            <a:avLst/>
          </a:prstGeom>
          <a:ln w="57150" cmpd="sng">
            <a:solidFill>
              <a:schemeClr val="accent2"/>
            </a:solidFill>
            <a:prstDash val="solid"/>
            <a:headEnd type="oval"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5C145147-AA4D-42B2-9C4E-EC348757434B}"/>
              </a:ext>
            </a:extLst>
          </p:cNvPr>
          <p:cNvSpPr txBox="1"/>
          <p:nvPr/>
        </p:nvSpPr>
        <p:spPr>
          <a:xfrm>
            <a:off x="4106165" y="5490652"/>
            <a:ext cx="2594334"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Circular Std Book" panose="020B0604020101020102" pitchFamily="34" charset="77"/>
              </a:rPr>
              <a:t>Establish baseline system, determine tech stack, and build requirements</a:t>
            </a:r>
          </a:p>
        </p:txBody>
      </p:sp>
      <p:cxnSp>
        <p:nvCxnSpPr>
          <p:cNvPr id="22" name="Straight Arrow Connector 21">
            <a:extLst>
              <a:ext uri="{FF2B5EF4-FFF2-40B4-BE49-F238E27FC236}">
                <a16:creationId xmlns:a16="http://schemas.microsoft.com/office/drawing/2014/main" id="{ADDB73D0-85FA-4DBA-BFCA-7089199ABAC6}"/>
              </a:ext>
            </a:extLst>
          </p:cNvPr>
          <p:cNvCxnSpPr>
            <a:cxnSpLocks/>
          </p:cNvCxnSpPr>
          <p:nvPr/>
        </p:nvCxnSpPr>
        <p:spPr>
          <a:xfrm>
            <a:off x="7487478" y="4195788"/>
            <a:ext cx="4179923" cy="0"/>
          </a:xfrm>
          <a:prstGeom prst="straightConnector1">
            <a:avLst/>
          </a:prstGeom>
          <a:ln w="57150" cmpd="sng">
            <a:solidFill>
              <a:schemeClr val="accent2"/>
            </a:solidFill>
            <a:prstDash val="solid"/>
            <a:headEnd type="oval"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23" name="TextBox 22">
            <a:extLst>
              <a:ext uri="{FF2B5EF4-FFF2-40B4-BE49-F238E27FC236}">
                <a16:creationId xmlns:a16="http://schemas.microsoft.com/office/drawing/2014/main" id="{B5D21693-40D0-4BD4-A26F-7E35DC7F763D}"/>
              </a:ext>
            </a:extLst>
          </p:cNvPr>
          <p:cNvSpPr txBox="1"/>
          <p:nvPr/>
        </p:nvSpPr>
        <p:spPr>
          <a:xfrm>
            <a:off x="7591351" y="4260003"/>
            <a:ext cx="3379119"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Circular Std Book" panose="020B0604020101020102" pitchFamily="34" charset="77"/>
              </a:rPr>
              <a:t>Design service blueprint</a:t>
            </a:r>
          </a:p>
        </p:txBody>
      </p:sp>
      <p:sp>
        <p:nvSpPr>
          <p:cNvPr id="24" name="Slide Number Placeholder 5">
            <a:extLst>
              <a:ext uri="{FF2B5EF4-FFF2-40B4-BE49-F238E27FC236}">
                <a16:creationId xmlns:a16="http://schemas.microsoft.com/office/drawing/2014/main" id="{0F5EE57C-CF65-45F9-BAAA-B6C2074014B8}"/>
              </a:ext>
            </a:extLst>
          </p:cNvPr>
          <p:cNvSpPr txBox="1">
            <a:spLocks/>
          </p:cNvSpPr>
          <p:nvPr/>
        </p:nvSpPr>
        <p:spPr>
          <a:xfrm>
            <a:off x="8773609" y="6441440"/>
            <a:ext cx="2925756"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900">
                <a:solidFill>
                  <a:prstClr val="black">
                    <a:tint val="75000"/>
                  </a:prstClr>
                </a:solidFill>
                <a:cs typeface="Circular Std Book" panose="020B0604020101020102" pitchFamily="34" charset="0"/>
              </a:rPr>
              <a:t>Deloitte - AEP Confidential – June 2018  | </a:t>
            </a:r>
            <a:fld id="{455DEE78-775C-EE47-849E-B06C4412B938}" type="slidenum">
              <a:rPr lang="en-US" sz="900" smtClean="0">
                <a:solidFill>
                  <a:prstClr val="black">
                    <a:tint val="75000"/>
                  </a:prstClr>
                </a:solidFill>
                <a:cs typeface="Circular Std Book" panose="020B0604020101020102" pitchFamily="34" charset="0"/>
              </a:rPr>
              <a:pPr algn="r">
                <a:defRPr/>
              </a:pPr>
              <a:t>221</a:t>
            </a:fld>
            <a:endParaRPr lang="en-US" sz="900" dirty="0">
              <a:solidFill>
                <a:prstClr val="black">
                  <a:tint val="75000"/>
                </a:prstClr>
              </a:solidFill>
              <a:cs typeface="Circular Std Book" panose="020B0604020101020102" pitchFamily="34" charset="0"/>
            </a:endParaRPr>
          </a:p>
        </p:txBody>
      </p:sp>
      <p:sp>
        <p:nvSpPr>
          <p:cNvPr id="27" name="Title 1">
            <a:extLst>
              <a:ext uri="{FF2B5EF4-FFF2-40B4-BE49-F238E27FC236}">
                <a16:creationId xmlns:a16="http://schemas.microsoft.com/office/drawing/2014/main" id="{0CA708EF-E30F-4133-B897-56642C88AF3C}"/>
              </a:ext>
            </a:extLst>
          </p:cNvPr>
          <p:cNvSpPr>
            <a:spLocks noGrp="1"/>
          </p:cNvSpPr>
          <p:nvPr>
            <p:ph type="title"/>
          </p:nvPr>
        </p:nvSpPr>
        <p:spPr>
          <a:xfrm>
            <a:off x="914400" y="704776"/>
            <a:ext cx="10363200" cy="594360"/>
          </a:xfrm>
        </p:spPr>
        <p:txBody>
          <a:bodyPr/>
          <a:lstStyle/>
          <a:p>
            <a:r>
              <a:rPr lang="en-US" dirty="0"/>
              <a:t>Project Timeline</a:t>
            </a:r>
          </a:p>
        </p:txBody>
      </p:sp>
      <p:sp>
        <p:nvSpPr>
          <p:cNvPr id="28" name="Text Placeholder 3">
            <a:extLst>
              <a:ext uri="{FF2B5EF4-FFF2-40B4-BE49-F238E27FC236}">
                <a16:creationId xmlns:a16="http://schemas.microsoft.com/office/drawing/2014/main" id="{D101AE48-A664-43BD-A427-94097EBC73F0}"/>
              </a:ext>
            </a:extLst>
          </p:cNvPr>
          <p:cNvSpPr txBox="1">
            <a:spLocks/>
          </p:cNvSpPr>
          <p:nvPr/>
        </p:nvSpPr>
        <p:spPr>
          <a:xfrm>
            <a:off x="914971" y="466344"/>
            <a:ext cx="3355848" cy="2032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Plans, timelines and roadmaps </a:t>
            </a:r>
          </a:p>
          <a:p>
            <a:endParaRPr lang="en-US"/>
          </a:p>
        </p:txBody>
      </p:sp>
      <p:sp>
        <p:nvSpPr>
          <p:cNvPr id="29" name="Text Placeholder 2">
            <a:extLst>
              <a:ext uri="{FF2B5EF4-FFF2-40B4-BE49-F238E27FC236}">
                <a16:creationId xmlns:a16="http://schemas.microsoft.com/office/drawing/2014/main" id="{0DD7BE11-5659-4E1B-87A0-899E1BE28CA9}"/>
              </a:ext>
            </a:extLst>
          </p:cNvPr>
          <p:cNvSpPr txBox="1">
            <a:spLocks/>
          </p:cNvSpPr>
          <p:nvPr/>
        </p:nvSpPr>
        <p:spPr>
          <a:xfrm>
            <a:off x="914721" y="1353312"/>
            <a:ext cx="10362880" cy="475488"/>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12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Subheader placeholder</a:t>
            </a:r>
          </a:p>
        </p:txBody>
      </p:sp>
    </p:spTree>
    <p:extLst>
      <p:ext uri="{BB962C8B-B14F-4D97-AF65-F5344CB8AC3E}">
        <p14:creationId xmlns:p14="http://schemas.microsoft.com/office/powerpoint/2010/main" val="3173177401"/>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5D6AC730-0E09-4719-9B9B-D0605002874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7572" name="think-cell Slide" r:id="rId6" imgW="415" imgH="416" progId="TCLayout.ActiveDocument.1">
                  <p:embed/>
                </p:oleObj>
              </mc:Choice>
              <mc:Fallback>
                <p:oleObj name="think-cell Slide" r:id="rId6" imgW="415" imgH="416" progId="TCLayout.ActiveDocument.1">
                  <p:embed/>
                  <p:pic>
                    <p:nvPicPr>
                      <p:cNvPr id="32" name="Object 31" hidden="1">
                        <a:extLst>
                          <a:ext uri="{FF2B5EF4-FFF2-40B4-BE49-F238E27FC236}">
                            <a16:creationId xmlns:a16="http://schemas.microsoft.com/office/drawing/2014/main" id="{5D6AC730-0E09-4719-9B9B-D0605002874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1" name="Rectangle 30" hidden="1">
            <a:extLst>
              <a:ext uri="{FF2B5EF4-FFF2-40B4-BE49-F238E27FC236}">
                <a16:creationId xmlns:a16="http://schemas.microsoft.com/office/drawing/2014/main" id="{4D611AA4-467E-4A7C-B3B4-F54047469D3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42" name="Rectangle 41">
            <a:extLst>
              <a:ext uri="{FF2B5EF4-FFF2-40B4-BE49-F238E27FC236}">
                <a16:creationId xmlns:a16="http://schemas.microsoft.com/office/drawing/2014/main" id="{51AA39A4-2420-48A9-A565-49109150BDC3}"/>
              </a:ext>
            </a:extLst>
          </p:cNvPr>
          <p:cNvSpPr/>
          <p:nvPr/>
        </p:nvSpPr>
        <p:spPr>
          <a:xfrm>
            <a:off x="127819" y="6008038"/>
            <a:ext cx="4532671" cy="75655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bject 42">
            <a:extLst>
              <a:ext uri="{FF2B5EF4-FFF2-40B4-BE49-F238E27FC236}">
                <a16:creationId xmlns:a16="http://schemas.microsoft.com/office/drawing/2014/main" id="{42721F45-EEDC-4EFB-9510-BF95B59AF8F0}"/>
              </a:ext>
            </a:extLst>
          </p:cNvPr>
          <p:cNvSpPr txBox="1"/>
          <p:nvPr/>
        </p:nvSpPr>
        <p:spPr>
          <a:xfrm>
            <a:off x="10369993" y="6323774"/>
            <a:ext cx="837089" cy="141674"/>
          </a:xfrm>
          <a:prstGeom prst="rect">
            <a:avLst/>
          </a:prstGeom>
          <a:noFill/>
        </p:spPr>
        <p:txBody>
          <a:bodyPr vert="horz" wrap="none" lIns="91440" tIns="0" rIns="9144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Open Sans"/>
              </a:rPr>
              <a:t>Deliverable</a:t>
            </a:r>
            <a:endParaRPr kumimoji="0" lang="en-US" sz="900" b="0" i="0" u="none" strike="noStrike" kern="1200" cap="none" spc="0" normalizeH="0" baseline="0" noProof="0" dirty="0">
              <a:ln>
                <a:noFill/>
              </a:ln>
              <a:solidFill>
                <a:srgbClr val="000000"/>
              </a:solidFill>
              <a:effectLst/>
              <a:uLnTx/>
              <a:uFillTx/>
              <a:latin typeface="Open Sans"/>
              <a:ea typeface="+mn-ea"/>
              <a:cs typeface="Open Sans"/>
            </a:endParaRPr>
          </a:p>
        </p:txBody>
      </p:sp>
      <p:grpSp>
        <p:nvGrpSpPr>
          <p:cNvPr id="7" name="Group 6">
            <a:extLst>
              <a:ext uri="{FF2B5EF4-FFF2-40B4-BE49-F238E27FC236}">
                <a16:creationId xmlns:a16="http://schemas.microsoft.com/office/drawing/2014/main" id="{75CBF61A-0337-4A0C-9D16-1F05FD306EB7}"/>
              </a:ext>
            </a:extLst>
          </p:cNvPr>
          <p:cNvGrpSpPr/>
          <p:nvPr/>
        </p:nvGrpSpPr>
        <p:grpSpPr>
          <a:xfrm>
            <a:off x="10183602" y="6286005"/>
            <a:ext cx="212434" cy="195573"/>
            <a:chOff x="7211986" y="2192017"/>
            <a:chExt cx="212434" cy="212434"/>
          </a:xfrm>
        </p:grpSpPr>
        <p:sp>
          <p:nvSpPr>
            <p:cNvPr id="26" name="Oval 25">
              <a:extLst>
                <a:ext uri="{FF2B5EF4-FFF2-40B4-BE49-F238E27FC236}">
                  <a16:creationId xmlns:a16="http://schemas.microsoft.com/office/drawing/2014/main" id="{7E8B6076-76F6-4739-8D7A-6FD6FA88D93D}"/>
                </a:ext>
              </a:extLst>
            </p:cNvPr>
            <p:cNvSpPr/>
            <p:nvPr/>
          </p:nvSpPr>
          <p:spPr>
            <a:xfrm>
              <a:off x="7211986" y="2192017"/>
              <a:ext cx="212434" cy="212434"/>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7" name="4-Point Star 136">
              <a:extLst>
                <a:ext uri="{FF2B5EF4-FFF2-40B4-BE49-F238E27FC236}">
                  <a16:creationId xmlns:a16="http://schemas.microsoft.com/office/drawing/2014/main" id="{D0C6B673-A0E8-4696-9541-857F4E013EEF}"/>
                </a:ext>
              </a:extLst>
            </p:cNvPr>
            <p:cNvSpPr/>
            <p:nvPr/>
          </p:nvSpPr>
          <p:spPr>
            <a:xfrm>
              <a:off x="7243444" y="2248023"/>
              <a:ext cx="149518" cy="149518"/>
            </a:xfrm>
            <a:prstGeom prst="star4">
              <a:avLst>
                <a:gd name="adj" fmla="val 21325"/>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aphicFrame>
        <p:nvGraphicFramePr>
          <p:cNvPr id="8" name="Content Placeholder 4">
            <a:extLst>
              <a:ext uri="{FF2B5EF4-FFF2-40B4-BE49-F238E27FC236}">
                <a16:creationId xmlns:a16="http://schemas.microsoft.com/office/drawing/2014/main" id="{6D1DDC3A-3C5B-4B8D-8EAF-65EB206AF316}"/>
              </a:ext>
            </a:extLst>
          </p:cNvPr>
          <p:cNvGraphicFramePr>
            <a:graphicFrameLocks/>
          </p:cNvGraphicFramePr>
          <p:nvPr/>
        </p:nvGraphicFramePr>
        <p:xfrm>
          <a:off x="419043" y="1593150"/>
          <a:ext cx="10798054" cy="5252847"/>
        </p:xfrm>
        <a:graphic>
          <a:graphicData uri="http://schemas.openxmlformats.org/drawingml/2006/table">
            <a:tbl>
              <a:tblPr firstRow="1" bandRow="1">
                <a:tableStyleId>{5C22544A-7EE6-4342-B048-85BDC9FD1C3A}</a:tableStyleId>
              </a:tblPr>
              <a:tblGrid>
                <a:gridCol w="4373819">
                  <a:extLst>
                    <a:ext uri="{9D8B030D-6E8A-4147-A177-3AD203B41FA5}">
                      <a16:colId xmlns:a16="http://schemas.microsoft.com/office/drawing/2014/main" val="20000"/>
                    </a:ext>
                  </a:extLst>
                </a:gridCol>
                <a:gridCol w="636565">
                  <a:extLst>
                    <a:ext uri="{9D8B030D-6E8A-4147-A177-3AD203B41FA5}">
                      <a16:colId xmlns:a16="http://schemas.microsoft.com/office/drawing/2014/main" val="20001"/>
                    </a:ext>
                  </a:extLst>
                </a:gridCol>
                <a:gridCol w="717367">
                  <a:extLst>
                    <a:ext uri="{9D8B030D-6E8A-4147-A177-3AD203B41FA5}">
                      <a16:colId xmlns:a16="http://schemas.microsoft.com/office/drawing/2014/main" val="20002"/>
                    </a:ext>
                  </a:extLst>
                </a:gridCol>
                <a:gridCol w="724329">
                  <a:extLst>
                    <a:ext uri="{9D8B030D-6E8A-4147-A177-3AD203B41FA5}">
                      <a16:colId xmlns:a16="http://schemas.microsoft.com/office/drawing/2014/main" val="20003"/>
                    </a:ext>
                  </a:extLst>
                </a:gridCol>
                <a:gridCol w="724329">
                  <a:extLst>
                    <a:ext uri="{9D8B030D-6E8A-4147-A177-3AD203B41FA5}">
                      <a16:colId xmlns:a16="http://schemas.microsoft.com/office/drawing/2014/main" val="20004"/>
                    </a:ext>
                  </a:extLst>
                </a:gridCol>
                <a:gridCol w="724329">
                  <a:extLst>
                    <a:ext uri="{9D8B030D-6E8A-4147-A177-3AD203B41FA5}">
                      <a16:colId xmlns:a16="http://schemas.microsoft.com/office/drawing/2014/main" val="20005"/>
                    </a:ext>
                  </a:extLst>
                </a:gridCol>
                <a:gridCol w="724329">
                  <a:extLst>
                    <a:ext uri="{9D8B030D-6E8A-4147-A177-3AD203B41FA5}">
                      <a16:colId xmlns:a16="http://schemas.microsoft.com/office/drawing/2014/main" val="20006"/>
                    </a:ext>
                  </a:extLst>
                </a:gridCol>
                <a:gridCol w="724329">
                  <a:extLst>
                    <a:ext uri="{9D8B030D-6E8A-4147-A177-3AD203B41FA5}">
                      <a16:colId xmlns:a16="http://schemas.microsoft.com/office/drawing/2014/main" val="3873999222"/>
                    </a:ext>
                  </a:extLst>
                </a:gridCol>
                <a:gridCol w="724329">
                  <a:extLst>
                    <a:ext uri="{9D8B030D-6E8A-4147-A177-3AD203B41FA5}">
                      <a16:colId xmlns:a16="http://schemas.microsoft.com/office/drawing/2014/main" val="1330257997"/>
                    </a:ext>
                  </a:extLst>
                </a:gridCol>
                <a:gridCol w="724329">
                  <a:extLst>
                    <a:ext uri="{9D8B030D-6E8A-4147-A177-3AD203B41FA5}">
                      <a16:colId xmlns:a16="http://schemas.microsoft.com/office/drawing/2014/main" val="20685970"/>
                    </a:ext>
                  </a:extLst>
                </a:gridCol>
              </a:tblGrid>
              <a:tr h="250591">
                <a:tc>
                  <a:txBody>
                    <a:bodyPr/>
                    <a:lstStyle/>
                    <a:p>
                      <a:pPr marL="0" marR="0" lvl="0" indent="0" algn="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altLang="ja-JP" sz="1200" b="0" i="0" u="none" strike="noStrike" cap="none" normalizeH="0" baseline="0" dirty="0">
                          <a:ln>
                            <a:noFill/>
                          </a:ln>
                          <a:solidFill>
                            <a:srgbClr val="3C3C3B"/>
                          </a:solidFill>
                          <a:effectLst/>
                          <a:latin typeface="+mn-lt"/>
                          <a:ea typeface="MS PGothic"/>
                          <a:cs typeface="MS PGothic"/>
                        </a:rPr>
                        <a:t>Week</a:t>
                      </a:r>
                    </a:p>
                  </a:txBody>
                  <a:tcPr marL="45720" marR="45720" anchor="ctr"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000" b="1" i="0" u="none" strike="noStrike" cap="none" normalizeH="0" baseline="0" dirty="0">
                          <a:ln>
                            <a:noFill/>
                          </a:ln>
                          <a:solidFill>
                            <a:schemeClr val="bg1"/>
                          </a:solidFill>
                          <a:effectLst/>
                          <a:latin typeface="+mn-lt"/>
                          <a:cs typeface="Arial"/>
                        </a:rPr>
                        <a:t>0</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000" b="1" i="0" u="none" strike="noStrike" cap="none" normalizeH="0" baseline="0" dirty="0">
                          <a:ln>
                            <a:noFill/>
                          </a:ln>
                          <a:solidFill>
                            <a:schemeClr val="bg1"/>
                          </a:solidFill>
                          <a:effectLst/>
                          <a:latin typeface="+mn-lt"/>
                          <a:cs typeface="Arial"/>
                        </a:rPr>
                        <a:t>1</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000" b="1" i="0" u="none" strike="noStrike" cap="none" normalizeH="0" baseline="0">
                          <a:ln>
                            <a:noFill/>
                          </a:ln>
                          <a:solidFill>
                            <a:schemeClr val="bg1"/>
                          </a:solidFill>
                          <a:effectLst/>
                          <a:latin typeface="+mn-lt"/>
                          <a:cs typeface="Arial"/>
                        </a:rPr>
                        <a:t>2</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000" b="1" i="0" u="none" strike="noStrike" cap="none" normalizeH="0" baseline="0">
                          <a:ln>
                            <a:noFill/>
                          </a:ln>
                          <a:solidFill>
                            <a:schemeClr val="bg1"/>
                          </a:solidFill>
                          <a:effectLst/>
                          <a:latin typeface="+mn-lt"/>
                          <a:cs typeface="Arial"/>
                        </a:rPr>
                        <a:t>3</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000" b="1" i="0" u="none" strike="noStrike" cap="none" normalizeH="0" baseline="0">
                          <a:ln>
                            <a:noFill/>
                          </a:ln>
                          <a:solidFill>
                            <a:schemeClr val="bg1"/>
                          </a:solidFill>
                          <a:effectLst/>
                          <a:latin typeface="+mn-lt"/>
                          <a:cs typeface="Arial"/>
                        </a:rPr>
                        <a:t>4</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000" b="1" i="0" u="none" strike="noStrike" cap="none" normalizeH="0" baseline="0">
                          <a:ln>
                            <a:noFill/>
                          </a:ln>
                          <a:solidFill>
                            <a:schemeClr val="bg1"/>
                          </a:solidFill>
                          <a:effectLst/>
                          <a:latin typeface="+mn-lt"/>
                          <a:cs typeface="Arial"/>
                        </a:rPr>
                        <a:t>5</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000" b="1" i="0" u="none" strike="noStrike" cap="none" normalizeH="0" baseline="0">
                          <a:ln>
                            <a:noFill/>
                          </a:ln>
                          <a:solidFill>
                            <a:schemeClr val="bg1"/>
                          </a:solidFill>
                          <a:effectLst/>
                          <a:latin typeface="+mn-lt"/>
                          <a:cs typeface="Arial"/>
                        </a:rPr>
                        <a:t>6</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000" b="1" i="0" u="none" strike="noStrike" cap="none" normalizeH="0" baseline="0">
                          <a:ln>
                            <a:noFill/>
                          </a:ln>
                          <a:solidFill>
                            <a:schemeClr val="bg1"/>
                          </a:solidFill>
                          <a:effectLst/>
                          <a:latin typeface="+mn-lt"/>
                          <a:cs typeface="Arial"/>
                        </a:rPr>
                        <a:t>7</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000" b="1" i="0" u="none" strike="noStrike" cap="none" normalizeH="0" baseline="0">
                          <a:ln>
                            <a:noFill/>
                          </a:ln>
                          <a:solidFill>
                            <a:schemeClr val="bg1"/>
                          </a:solidFill>
                          <a:effectLst/>
                          <a:latin typeface="+mn-lt"/>
                          <a:cs typeface="Arial"/>
                        </a:rPr>
                        <a:t>8</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250591">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000" b="1" i="0" u="none" strike="noStrike" cap="none" normalizeH="0" baseline="0" dirty="0">
                          <a:ln>
                            <a:noFill/>
                          </a:ln>
                          <a:solidFill>
                            <a:srgbClr val="3C3C3B"/>
                          </a:solidFill>
                          <a:effectLst/>
                          <a:latin typeface="+mn-lt"/>
                          <a:cs typeface="Arial"/>
                        </a:rPr>
                        <a:t>Project Preparation</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839744"/>
                  </a:ext>
                </a:extLst>
              </a:tr>
              <a:tr h="547587">
                <a:tc>
                  <a:txBody>
                    <a:bodyPr/>
                    <a:lstStyle/>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pPr>
                      <a:r>
                        <a:rPr kumimoji="0" lang="en-US" sz="1000" b="0" i="0" u="none" strike="noStrike" kern="1200" cap="none" normalizeH="0" baseline="0" dirty="0">
                          <a:ln>
                            <a:noFill/>
                          </a:ln>
                          <a:solidFill>
                            <a:srgbClr val="3C3C3B"/>
                          </a:solidFill>
                          <a:effectLst/>
                          <a:latin typeface="+mn-lt"/>
                          <a:ea typeface="+mn-ea"/>
                          <a:cs typeface="Arial"/>
                        </a:rPr>
                        <a:t>Preliminary discussions</a:t>
                      </a:r>
                    </a:p>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pPr>
                      <a:r>
                        <a:rPr kumimoji="0" lang="en-US" sz="1000" b="0" i="0" u="none" strike="noStrike" kern="1200" cap="none" normalizeH="0" baseline="0" dirty="0">
                          <a:ln>
                            <a:noFill/>
                          </a:ln>
                          <a:solidFill>
                            <a:srgbClr val="3C3C3B"/>
                          </a:solidFill>
                          <a:effectLst/>
                          <a:latin typeface="+mn-lt"/>
                          <a:ea typeface="+mn-ea"/>
                          <a:cs typeface="Arial"/>
                        </a:rPr>
                        <a:t>Technology access and data request</a:t>
                      </a:r>
                    </a:p>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pPr>
                      <a:r>
                        <a:rPr kumimoji="0" lang="en-US" sz="1000" b="0" i="0" u="none" strike="noStrike" kern="1200" cap="none" normalizeH="0" baseline="0" dirty="0">
                          <a:ln>
                            <a:noFill/>
                          </a:ln>
                          <a:solidFill>
                            <a:srgbClr val="3C3C3B"/>
                          </a:solidFill>
                          <a:effectLst/>
                          <a:latin typeface="+mn-lt"/>
                          <a:ea typeface="+mn-ea"/>
                          <a:cs typeface="Arial"/>
                        </a:rPr>
                        <a:t>Project kick-off</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13433810"/>
                  </a:ext>
                </a:extLst>
              </a:tr>
              <a:tr h="250591">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000" b="1" i="0" u="none" strike="noStrike" cap="none" normalizeH="0" baseline="0" dirty="0">
                          <a:ln>
                            <a:noFill/>
                          </a:ln>
                          <a:solidFill>
                            <a:srgbClr val="3C3C3B"/>
                          </a:solidFill>
                          <a:effectLst/>
                          <a:latin typeface="+mn-lt"/>
                          <a:cs typeface="Arial"/>
                        </a:rPr>
                        <a:t>Opportunity Evaluation</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kern="1200" cap="none" normalizeH="0" baseline="0" dirty="0">
                        <a:ln>
                          <a:noFill/>
                        </a:ln>
                        <a:solidFill>
                          <a:schemeClr val="tx1"/>
                        </a:solidFill>
                        <a:effectLst/>
                        <a:latin typeface="Arial" pitchFamily="34" charset="0"/>
                        <a:ea typeface="+mn-ea"/>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kern="1200" cap="none" normalizeH="0" baseline="0" dirty="0">
                        <a:ln>
                          <a:noFill/>
                        </a:ln>
                        <a:solidFill>
                          <a:schemeClr val="tx1"/>
                        </a:solidFill>
                        <a:effectLst/>
                        <a:latin typeface="Arial" pitchFamily="34" charset="0"/>
                        <a:ea typeface="+mn-ea"/>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kern="1200" cap="none" normalizeH="0" baseline="0" dirty="0">
                        <a:ln>
                          <a:noFill/>
                        </a:ln>
                        <a:solidFill>
                          <a:schemeClr val="tx1"/>
                        </a:solidFill>
                        <a:effectLst/>
                        <a:latin typeface="Arial" pitchFamily="34" charset="0"/>
                        <a:ea typeface="+mn-ea"/>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kern="1200" cap="none" normalizeH="0" baseline="0" dirty="0">
                        <a:ln>
                          <a:noFill/>
                        </a:ln>
                        <a:solidFill>
                          <a:schemeClr val="tx1"/>
                        </a:solidFill>
                        <a:effectLst/>
                        <a:latin typeface="Arial" pitchFamily="34" charset="0"/>
                        <a:ea typeface="+mn-ea"/>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kern="1200" cap="none" normalizeH="0" baseline="0" dirty="0">
                        <a:ln>
                          <a:noFill/>
                        </a:ln>
                        <a:solidFill>
                          <a:schemeClr val="tx1"/>
                        </a:solidFill>
                        <a:effectLst/>
                        <a:latin typeface="Arial" pitchFamily="34" charset="0"/>
                        <a:ea typeface="+mn-ea"/>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kern="1200" cap="none" normalizeH="0" baseline="0" dirty="0">
                        <a:ln>
                          <a:noFill/>
                        </a:ln>
                        <a:solidFill>
                          <a:schemeClr val="tx1"/>
                        </a:solidFill>
                        <a:effectLst/>
                        <a:latin typeface="Arial" pitchFamily="34" charset="0"/>
                        <a:ea typeface="+mn-ea"/>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kern="1200" cap="none" normalizeH="0" baseline="0" dirty="0">
                        <a:ln>
                          <a:noFill/>
                        </a:ln>
                        <a:solidFill>
                          <a:schemeClr val="tx1"/>
                        </a:solidFill>
                        <a:effectLst/>
                        <a:latin typeface="Arial" pitchFamily="34" charset="0"/>
                        <a:ea typeface="+mn-ea"/>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kern="1200" cap="none" normalizeH="0" baseline="0" dirty="0">
                        <a:ln>
                          <a:noFill/>
                        </a:ln>
                        <a:solidFill>
                          <a:schemeClr val="tx1"/>
                        </a:solidFill>
                        <a:effectLst/>
                        <a:latin typeface="Arial" pitchFamily="34" charset="0"/>
                        <a:ea typeface="+mn-ea"/>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kern="1200" cap="none" normalizeH="0" baseline="0" dirty="0">
                        <a:ln>
                          <a:noFill/>
                        </a:ln>
                        <a:solidFill>
                          <a:schemeClr val="tx1"/>
                        </a:solidFill>
                        <a:effectLst/>
                        <a:latin typeface="Arial" pitchFamily="34" charset="0"/>
                        <a:ea typeface="+mn-ea"/>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10007">
                <a:tc>
                  <a:txBody>
                    <a:bodyPr/>
                    <a:lstStyle/>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defRPr/>
                      </a:pPr>
                      <a:r>
                        <a:rPr kumimoji="0" lang="en-US" sz="1000" b="0" i="0" u="none" strike="noStrike" kern="1200" cap="none" normalizeH="0" baseline="0" dirty="0">
                          <a:ln>
                            <a:noFill/>
                          </a:ln>
                          <a:solidFill>
                            <a:srgbClr val="3C3C3B"/>
                          </a:solidFill>
                          <a:effectLst/>
                          <a:latin typeface="+mn-lt"/>
                          <a:ea typeface="+mn-ea"/>
                          <a:cs typeface="Arial"/>
                        </a:rPr>
                        <a:t>Evaluation (configuration &amp; model performance)</a:t>
                      </a:r>
                    </a:p>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defRPr/>
                      </a:pPr>
                      <a:r>
                        <a:rPr kumimoji="0" lang="en-US" sz="1000" b="0" i="0" u="none" strike="noStrike" kern="1200" cap="none" normalizeH="0" baseline="0" dirty="0">
                          <a:ln>
                            <a:noFill/>
                          </a:ln>
                          <a:solidFill>
                            <a:srgbClr val="3C3C3B"/>
                          </a:solidFill>
                          <a:effectLst/>
                          <a:latin typeface="+mn-lt"/>
                          <a:ea typeface="+mn-ea"/>
                          <a:cs typeface="Arial"/>
                        </a:rPr>
                        <a:t>Other evaluations</a:t>
                      </a:r>
                    </a:p>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defRPr/>
                      </a:pPr>
                      <a:r>
                        <a:rPr kumimoji="0" lang="en-US" sz="1000" b="0" i="0" u="none" strike="noStrike" kern="1200" cap="none" normalizeH="0" baseline="0" dirty="0">
                          <a:ln>
                            <a:noFill/>
                          </a:ln>
                          <a:solidFill>
                            <a:srgbClr val="3C3C3B"/>
                          </a:solidFill>
                          <a:effectLst/>
                          <a:latin typeface="+mn-lt"/>
                          <a:ea typeface="+mn-ea"/>
                          <a:cs typeface="Arial"/>
                        </a:rPr>
                        <a:t>Merchandising capability evaluation</a:t>
                      </a:r>
                    </a:p>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pPr>
                      <a:r>
                        <a:rPr kumimoji="0" lang="en-US" sz="1000" b="0" i="0" u="none" strike="noStrike" kern="1200" cap="none" normalizeH="0" baseline="0" dirty="0">
                          <a:ln>
                            <a:noFill/>
                          </a:ln>
                          <a:solidFill>
                            <a:srgbClr val="3C3C3B"/>
                          </a:solidFill>
                          <a:effectLst/>
                          <a:latin typeface="+mn-lt"/>
                          <a:ea typeface="+mn-ea"/>
                          <a:cs typeface="Arial"/>
                        </a:rPr>
                        <a:t>Analyze ancillary customer and performance data</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50591">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defRPr/>
                      </a:pPr>
                      <a:r>
                        <a:rPr kumimoji="0" lang="en-US" sz="1000" b="1" i="0" u="none" strike="noStrike" kern="1200" cap="none" normalizeH="0" baseline="0" dirty="0">
                          <a:ln>
                            <a:noFill/>
                          </a:ln>
                          <a:solidFill>
                            <a:srgbClr val="3C3C3B"/>
                          </a:solidFill>
                          <a:effectLst/>
                          <a:latin typeface="+mn-lt"/>
                          <a:ea typeface="+mn-ea"/>
                          <a:cs typeface="Arial"/>
                        </a:rPr>
                        <a:t>Ambition Workshop</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470185"/>
                  </a:ext>
                </a:extLst>
              </a:tr>
              <a:tr h="547587">
                <a:tc>
                  <a:txBody>
                    <a:bodyPr/>
                    <a:lstStyle/>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defRPr/>
                      </a:pPr>
                      <a:r>
                        <a:rPr kumimoji="0" lang="en-US" sz="1000" b="0" i="0" u="none" strike="noStrike" kern="1200" cap="none" normalizeH="0" baseline="0" dirty="0">
                          <a:ln>
                            <a:noFill/>
                          </a:ln>
                          <a:solidFill>
                            <a:srgbClr val="3C3C3B"/>
                          </a:solidFill>
                          <a:effectLst/>
                          <a:latin typeface="+mn-lt"/>
                          <a:ea typeface="+mn-ea"/>
                          <a:cs typeface="Arial"/>
                        </a:rPr>
                        <a:t>Chart personalization ambition</a:t>
                      </a:r>
                    </a:p>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defRPr/>
                      </a:pPr>
                      <a:r>
                        <a:rPr kumimoji="0" lang="en-US" sz="1000" b="0" i="0" u="none" strike="noStrike" kern="1200" cap="none" normalizeH="0" baseline="0" dirty="0">
                          <a:ln>
                            <a:noFill/>
                          </a:ln>
                          <a:solidFill>
                            <a:srgbClr val="3C3C3B"/>
                          </a:solidFill>
                          <a:effectLst/>
                          <a:latin typeface="+mn-lt"/>
                          <a:ea typeface="+mn-ea"/>
                          <a:cs typeface="Arial"/>
                        </a:rPr>
                        <a:t>Align on short term priorities</a:t>
                      </a:r>
                    </a:p>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defRPr/>
                      </a:pPr>
                      <a:r>
                        <a:rPr kumimoji="0" lang="en-US" sz="1000" b="0" i="0" u="none" strike="noStrike" cap="none" normalizeH="0" baseline="0" dirty="0">
                          <a:ln>
                            <a:noFill/>
                          </a:ln>
                          <a:solidFill>
                            <a:srgbClr val="3C3C3B"/>
                          </a:solidFill>
                          <a:effectLst/>
                          <a:latin typeface="+mn-lt"/>
                          <a:cs typeface="Arial"/>
                        </a:rPr>
                        <a:t>Identify quick wins</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32077009"/>
                  </a:ext>
                </a:extLst>
              </a:tr>
              <a:tr h="250591">
                <a:tc>
                  <a:txBody>
                    <a:bodyPr/>
                    <a:lstStyle/>
                    <a:p>
                      <a:pPr marL="0" marR="0" lvl="0" indent="0" algn="l" defTabSz="1106488" rtl="0" eaLnBrk="1" fontAlgn="base" latinLnBrk="0" hangingPunct="1">
                        <a:lnSpc>
                          <a:spcPct val="100000"/>
                        </a:lnSpc>
                        <a:spcBef>
                          <a:spcPct val="0"/>
                        </a:spcBef>
                        <a:spcAft>
                          <a:spcPct val="0"/>
                        </a:spcAft>
                        <a:buClr>
                          <a:schemeClr val="tx2"/>
                        </a:buClr>
                        <a:buSzTx/>
                        <a:buFont typeface="Times New Roman" pitchFamily="18" charset="0"/>
                        <a:buNone/>
                        <a:tabLst>
                          <a:tab pos="5715000" algn="l"/>
                        </a:tabLst>
                      </a:pPr>
                      <a:r>
                        <a:rPr kumimoji="0" lang="en-US" sz="1000" b="1" i="0" u="none" strike="noStrike" cap="none" normalizeH="0" baseline="0" dirty="0">
                          <a:ln>
                            <a:noFill/>
                          </a:ln>
                          <a:solidFill>
                            <a:srgbClr val="3C3C3B"/>
                          </a:solidFill>
                          <a:effectLst/>
                          <a:latin typeface="+mn-lt"/>
                          <a:cs typeface="Arial"/>
                        </a:rPr>
                        <a:t>Short Term Plan</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4392662"/>
                  </a:ext>
                </a:extLst>
              </a:tr>
              <a:tr h="710007">
                <a:tc>
                  <a:txBody>
                    <a:bodyPr/>
                    <a:lstStyle/>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pPr>
                      <a:r>
                        <a:rPr kumimoji="0" lang="en-US" sz="1000" b="0" i="0" u="none" strike="noStrike" kern="1200" cap="none" normalizeH="0" baseline="0" dirty="0">
                          <a:ln>
                            <a:noFill/>
                          </a:ln>
                          <a:solidFill>
                            <a:srgbClr val="3C3C3B"/>
                          </a:solidFill>
                          <a:effectLst/>
                          <a:latin typeface="+mn-lt"/>
                          <a:ea typeface="+mn-ea"/>
                          <a:cs typeface="Arial"/>
                        </a:rPr>
                        <a:t>Create business cases for 3-6 use cases</a:t>
                      </a:r>
                    </a:p>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pPr>
                      <a:r>
                        <a:rPr kumimoji="0" lang="en-US" sz="1000" b="0" i="0" u="none" strike="noStrike" kern="1200" cap="none" normalizeH="0" baseline="0" dirty="0">
                          <a:ln>
                            <a:noFill/>
                          </a:ln>
                          <a:solidFill>
                            <a:srgbClr val="3C3C3B"/>
                          </a:solidFill>
                          <a:effectLst/>
                          <a:latin typeface="+mn-lt"/>
                          <a:ea typeface="+mn-ea"/>
                          <a:cs typeface="Arial"/>
                        </a:rPr>
                        <a:t>In-depth RTD recommendations</a:t>
                      </a:r>
                    </a:p>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pPr>
                      <a:r>
                        <a:rPr kumimoji="0" lang="en-US" sz="1000" b="0" i="0" u="none" strike="noStrike" kern="1200" cap="none" normalizeH="0" baseline="0" dirty="0">
                          <a:ln>
                            <a:noFill/>
                          </a:ln>
                          <a:solidFill>
                            <a:srgbClr val="3C3C3B"/>
                          </a:solidFill>
                          <a:effectLst/>
                          <a:latin typeface="+mn-lt"/>
                          <a:ea typeface="+mn-ea"/>
                          <a:cs typeface="Arial"/>
                        </a:rPr>
                        <a:t>Accelerated value use case identification</a:t>
                      </a:r>
                    </a:p>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pPr>
                      <a:r>
                        <a:rPr kumimoji="0" lang="en-US" sz="1000" b="0" i="0" u="none" strike="noStrike" kern="1200" cap="none" normalizeH="0" baseline="0" dirty="0">
                          <a:ln>
                            <a:noFill/>
                          </a:ln>
                          <a:solidFill>
                            <a:srgbClr val="3C3C3B"/>
                          </a:solidFill>
                          <a:effectLst/>
                          <a:latin typeface="+mn-lt"/>
                          <a:ea typeface="+mn-ea"/>
                          <a:cs typeface="Arial"/>
                        </a:rPr>
                        <a:t>Define implementation plan for business cases</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633601"/>
                  </a:ext>
                </a:extLst>
              </a:tr>
              <a:tr h="250591">
                <a:tc>
                  <a:txBody>
                    <a:bodyPr/>
                    <a:lstStyle/>
                    <a:p>
                      <a:pPr marL="0" marR="0" lvl="0" indent="0" algn="l" defTabSz="1106488" rtl="0" eaLnBrk="1" fontAlgn="base" latinLnBrk="0" hangingPunct="1">
                        <a:lnSpc>
                          <a:spcPct val="100000"/>
                        </a:lnSpc>
                        <a:spcBef>
                          <a:spcPts val="0"/>
                        </a:spcBef>
                        <a:spcAft>
                          <a:spcPct val="0"/>
                        </a:spcAft>
                        <a:buClr>
                          <a:schemeClr val="tx1"/>
                        </a:buClr>
                        <a:buSzTx/>
                        <a:buFontTx/>
                        <a:buNone/>
                        <a:tabLst>
                          <a:tab pos="5715000" algn="l"/>
                        </a:tabLst>
                        <a:defRPr/>
                      </a:pPr>
                      <a:r>
                        <a:rPr kumimoji="0" lang="en-US" sz="1000" b="1" i="0" u="none" strike="noStrike" cap="none" normalizeH="0" baseline="0" dirty="0">
                          <a:ln>
                            <a:noFill/>
                          </a:ln>
                          <a:solidFill>
                            <a:srgbClr val="3C3C3B"/>
                          </a:solidFill>
                          <a:effectLst/>
                          <a:latin typeface="+mn-lt"/>
                          <a:cs typeface="Arial"/>
                        </a:rPr>
                        <a:t>Long Term Roadmap</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7460780"/>
                  </a:ext>
                </a:extLst>
              </a:tr>
              <a:tr h="853567">
                <a:tc>
                  <a:txBody>
                    <a:bodyPr/>
                    <a:lstStyle/>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pPr>
                      <a:r>
                        <a:rPr kumimoji="0" lang="en-US" sz="1000" b="0" i="0" u="none" strike="noStrike" kern="1200" cap="none" normalizeH="0" baseline="0" dirty="0">
                          <a:ln>
                            <a:noFill/>
                          </a:ln>
                          <a:solidFill>
                            <a:srgbClr val="3C3C3B"/>
                          </a:solidFill>
                          <a:effectLst/>
                          <a:latin typeface="+mn-lt"/>
                          <a:ea typeface="+mn-ea"/>
                          <a:cs typeface="Arial"/>
                        </a:rPr>
                        <a:t>Define key projects needed to deliver omni-channel vision</a:t>
                      </a:r>
                    </a:p>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pPr>
                      <a:r>
                        <a:rPr kumimoji="0" lang="en-US" sz="1000" b="0" i="0" u="none" strike="noStrike" kern="1200" cap="none" normalizeH="0" baseline="0" dirty="0">
                          <a:ln>
                            <a:noFill/>
                          </a:ln>
                          <a:solidFill>
                            <a:srgbClr val="3C3C3B"/>
                          </a:solidFill>
                          <a:effectLst/>
                          <a:latin typeface="+mn-lt"/>
                          <a:ea typeface="+mn-ea"/>
                          <a:cs typeface="Arial"/>
                        </a:rPr>
                        <a:t>Prioritize projects based on complexity, anticipated results and dependencies into a roadmap for ancillary products</a:t>
                      </a:r>
                    </a:p>
                    <a:p>
                      <a:pPr marL="115570" marR="0" lvl="0" indent="-115570" algn="l" defTabSz="1106488" rtl="0" eaLnBrk="1" fontAlgn="base" latinLnBrk="0" hangingPunct="1">
                        <a:lnSpc>
                          <a:spcPct val="100000"/>
                        </a:lnSpc>
                        <a:spcBef>
                          <a:spcPts val="0"/>
                        </a:spcBef>
                        <a:spcAft>
                          <a:spcPts val="200"/>
                        </a:spcAft>
                        <a:buClr>
                          <a:schemeClr val="tx1"/>
                        </a:buClr>
                        <a:buSzPct val="75000"/>
                        <a:buFontTx/>
                        <a:buChar char="•"/>
                        <a:tabLst>
                          <a:tab pos="5715000" algn="l"/>
                        </a:tabLst>
                      </a:pPr>
                      <a:r>
                        <a:rPr kumimoji="0" lang="en-US" sz="1000" b="0" i="0" u="none" strike="noStrike" kern="1200" cap="none" normalizeH="0" baseline="0" dirty="0">
                          <a:ln>
                            <a:noFill/>
                          </a:ln>
                          <a:solidFill>
                            <a:srgbClr val="3C3C3B"/>
                          </a:solidFill>
                          <a:effectLst/>
                          <a:latin typeface="+mn-lt"/>
                          <a:ea typeface="+mn-ea"/>
                          <a:cs typeface="Arial"/>
                        </a:rPr>
                        <a:t>Align stakeholders</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190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12700" cap="flat" cmpd="sng" algn="ctr">
                      <a:solidFill>
                        <a:prstClr val="white">
                          <a:lumMod val="85000"/>
                        </a:prst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12700" cap="flat" cmpd="sng" algn="ctr">
                      <a:solidFill>
                        <a:prstClr val="white">
                          <a:lumMod val="85000"/>
                        </a:prst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12700" cap="flat" cmpd="sng" algn="ctr">
                      <a:solidFill>
                        <a:prstClr val="white">
                          <a:lumMod val="85000"/>
                        </a:prst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12700" cap="flat" cmpd="sng" algn="ctr">
                      <a:solidFill>
                        <a:prstClr val="white">
                          <a:lumMod val="85000"/>
                        </a:prst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12700" cap="flat" cmpd="sng" algn="ctr">
                      <a:solidFill>
                        <a:prstClr val="white">
                          <a:lumMod val="85000"/>
                        </a:prst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12700" cap="flat" cmpd="sng" algn="ctr">
                      <a:solidFill>
                        <a:prstClr val="white">
                          <a:lumMod val="85000"/>
                        </a:prst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12700" cap="flat" cmpd="sng" algn="ctr">
                      <a:solidFill>
                        <a:prstClr val="white">
                          <a:lumMod val="85000"/>
                        </a:prst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12700" cap="flat" cmpd="sng" algn="ctr">
                      <a:solidFill>
                        <a:prstClr val="white">
                          <a:lumMod val="85000"/>
                        </a:prst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0" i="0" u="none" strike="noStrike" cap="none" normalizeH="0" baseline="0" dirty="0">
                        <a:ln>
                          <a:noFill/>
                        </a:ln>
                        <a:solidFill>
                          <a:schemeClr val="tx1"/>
                        </a:solidFill>
                        <a:effectLst/>
                        <a:latin typeface="Arial" pitchFamily="34" charset="0"/>
                        <a:cs typeface="Arial"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ysDot"/>
                      <a:round/>
                      <a:headEnd type="none" w="med" len="med"/>
                      <a:tailEnd type="none" w="med" len="med"/>
                    </a:lnT>
                    <a:lnB w="12700" cap="flat" cmpd="sng" algn="ctr">
                      <a:solidFill>
                        <a:prstClr val="white">
                          <a:lumMod val="85000"/>
                        </a:prst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3514193"/>
                  </a:ext>
                </a:extLst>
              </a:tr>
            </a:tbl>
          </a:graphicData>
        </a:graphic>
      </p:graphicFrame>
      <p:sp>
        <p:nvSpPr>
          <p:cNvPr id="9" name="Rectangle 239">
            <a:extLst>
              <a:ext uri="{FF2B5EF4-FFF2-40B4-BE49-F238E27FC236}">
                <a16:creationId xmlns:a16="http://schemas.microsoft.com/office/drawing/2014/main" id="{91D8956D-0B39-42DE-B5F3-C77338A5F669}"/>
              </a:ext>
            </a:extLst>
          </p:cNvPr>
          <p:cNvSpPr>
            <a:spLocks noChangeArrowheads="1"/>
          </p:cNvSpPr>
          <p:nvPr/>
        </p:nvSpPr>
        <p:spPr bwMode="gray">
          <a:xfrm>
            <a:off x="5434935" y="2766650"/>
            <a:ext cx="2157696" cy="227293"/>
          </a:xfrm>
          <a:prstGeom prst="rect">
            <a:avLst/>
          </a:prstGeom>
          <a:solidFill>
            <a:schemeClr val="accent4"/>
          </a:solidFill>
          <a:ln w="9525" algn="ctr">
            <a:noFill/>
            <a:miter lim="800000"/>
            <a:headEnd/>
            <a:tailEnd/>
          </a:ln>
        </p:spPr>
        <p:txBody>
          <a:bodyPr wrap="none" lIns="0" tIns="0" rIns="0" bIns="0" anchor="ct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1200" cap="none" spc="0" normalizeH="0" baseline="0" noProof="0">
              <a:ln>
                <a:noFill/>
              </a:ln>
              <a:solidFill>
                <a:srgbClr val="86F200"/>
              </a:solidFill>
              <a:effectLst/>
              <a:uLnTx/>
              <a:uFillTx/>
              <a:latin typeface="Open Sans"/>
              <a:ea typeface="+mn-ea"/>
              <a:cs typeface="+mn-cs"/>
            </a:endParaRPr>
          </a:p>
        </p:txBody>
      </p:sp>
      <p:sp>
        <p:nvSpPr>
          <p:cNvPr id="10" name="Rectangle 240">
            <a:extLst>
              <a:ext uri="{FF2B5EF4-FFF2-40B4-BE49-F238E27FC236}">
                <a16:creationId xmlns:a16="http://schemas.microsoft.com/office/drawing/2014/main" id="{8924E209-AC41-460D-B4CA-784C95BE3A78}"/>
              </a:ext>
            </a:extLst>
          </p:cNvPr>
          <p:cNvSpPr>
            <a:spLocks noChangeArrowheads="1"/>
          </p:cNvSpPr>
          <p:nvPr/>
        </p:nvSpPr>
        <p:spPr bwMode="gray">
          <a:xfrm>
            <a:off x="8110884" y="4687362"/>
            <a:ext cx="2427686" cy="227293"/>
          </a:xfrm>
          <a:prstGeom prst="rect">
            <a:avLst/>
          </a:prstGeom>
          <a:solidFill>
            <a:schemeClr val="accent4"/>
          </a:solidFill>
          <a:ln w="9525" algn="ctr">
            <a:solidFill>
              <a:schemeClr val="bg1"/>
            </a:solidFill>
            <a:miter lim="800000"/>
            <a:headEnd/>
            <a:tailEnd/>
          </a:ln>
        </p:spPr>
        <p:txBody>
          <a:bodyPr wrap="none" lIns="0" tIns="0" rIns="0" bIns="0" anchor="ct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1200" cap="none" spc="0" normalizeH="0" baseline="0" noProof="0">
              <a:ln>
                <a:noFill/>
              </a:ln>
              <a:solidFill>
                <a:srgbClr val="86F200"/>
              </a:solidFill>
              <a:effectLst/>
              <a:uLnTx/>
              <a:uFillTx/>
              <a:latin typeface="Open Sans"/>
              <a:ea typeface="+mn-ea"/>
              <a:cs typeface="+mn-cs"/>
            </a:endParaRPr>
          </a:p>
        </p:txBody>
      </p:sp>
      <p:sp>
        <p:nvSpPr>
          <p:cNvPr id="11" name="Rectangle 240">
            <a:extLst>
              <a:ext uri="{FF2B5EF4-FFF2-40B4-BE49-F238E27FC236}">
                <a16:creationId xmlns:a16="http://schemas.microsoft.com/office/drawing/2014/main" id="{902D44D3-2585-4201-8906-0C1CAE13AEE3}"/>
              </a:ext>
            </a:extLst>
          </p:cNvPr>
          <p:cNvSpPr>
            <a:spLocks noChangeArrowheads="1"/>
          </p:cNvSpPr>
          <p:nvPr/>
        </p:nvSpPr>
        <p:spPr bwMode="gray">
          <a:xfrm>
            <a:off x="8100125" y="5742533"/>
            <a:ext cx="3106214" cy="227293"/>
          </a:xfrm>
          <a:prstGeom prst="rect">
            <a:avLst/>
          </a:prstGeom>
          <a:solidFill>
            <a:schemeClr val="accent5"/>
          </a:solidFill>
          <a:ln w="9525" algn="ctr">
            <a:noFill/>
            <a:miter lim="800000"/>
            <a:headEnd/>
            <a:tailEnd/>
          </a:ln>
        </p:spPr>
        <p:txBody>
          <a:bodyPr wrap="none" lIns="0" tIns="0" rIns="0" bIns="0" anchor="ct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1200" cap="none" spc="0" normalizeH="0" baseline="0" noProof="0">
              <a:ln>
                <a:noFill/>
              </a:ln>
              <a:solidFill>
                <a:srgbClr val="86F200"/>
              </a:solidFill>
              <a:effectLst/>
              <a:uLnTx/>
              <a:uFillTx/>
              <a:latin typeface="Open Sans"/>
              <a:ea typeface="+mn-ea"/>
              <a:cs typeface="+mn-cs"/>
            </a:endParaRPr>
          </a:p>
        </p:txBody>
      </p:sp>
      <p:sp>
        <p:nvSpPr>
          <p:cNvPr id="12" name="object 42">
            <a:extLst>
              <a:ext uri="{FF2B5EF4-FFF2-40B4-BE49-F238E27FC236}">
                <a16:creationId xmlns:a16="http://schemas.microsoft.com/office/drawing/2014/main" id="{72757328-8E00-4133-9415-4B1D3AC997CF}"/>
              </a:ext>
            </a:extLst>
          </p:cNvPr>
          <p:cNvSpPr txBox="1"/>
          <p:nvPr/>
        </p:nvSpPr>
        <p:spPr>
          <a:xfrm>
            <a:off x="10462714" y="4245231"/>
            <a:ext cx="1698446" cy="346249"/>
          </a:xfrm>
          <a:prstGeom prst="rect">
            <a:avLst/>
          </a:prstGeom>
          <a:noFill/>
        </p:spPr>
        <p:txBody>
          <a:bodyPr vert="horz" wrap="square" lIns="91440" tIns="0" rIns="91440" bIns="0" rtlCol="0">
            <a:spAutoFit/>
          </a:bodyPr>
          <a:lstStyle/>
          <a:p>
            <a:pPr marL="1270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Open Sans"/>
              </a:rPr>
              <a:t>2. Business cases</a:t>
            </a:r>
          </a:p>
          <a:p>
            <a:pPr marL="12700" marR="0" lvl="0" indent="0" algn="l" defTabSz="9144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Open Sans"/>
              </a:rPr>
              <a:t>3. Recommendations</a:t>
            </a:r>
          </a:p>
        </p:txBody>
      </p:sp>
      <p:grpSp>
        <p:nvGrpSpPr>
          <p:cNvPr id="13" name="Group 12">
            <a:extLst>
              <a:ext uri="{FF2B5EF4-FFF2-40B4-BE49-F238E27FC236}">
                <a16:creationId xmlns:a16="http://schemas.microsoft.com/office/drawing/2014/main" id="{5D7BC244-EAFD-450B-B6F1-108AEC586ABF}"/>
              </a:ext>
            </a:extLst>
          </p:cNvPr>
          <p:cNvGrpSpPr/>
          <p:nvPr/>
        </p:nvGrpSpPr>
        <p:grpSpPr>
          <a:xfrm>
            <a:off x="10326136" y="4421214"/>
            <a:ext cx="212434" cy="195573"/>
            <a:chOff x="7211986" y="2505004"/>
            <a:chExt cx="212434" cy="212434"/>
          </a:xfrm>
        </p:grpSpPr>
        <p:sp>
          <p:nvSpPr>
            <p:cNvPr id="24" name="Oval 23">
              <a:extLst>
                <a:ext uri="{FF2B5EF4-FFF2-40B4-BE49-F238E27FC236}">
                  <a16:creationId xmlns:a16="http://schemas.microsoft.com/office/drawing/2014/main" id="{675D5C4B-4E91-45BD-B7A8-DDEB9097C953}"/>
                </a:ext>
              </a:extLst>
            </p:cNvPr>
            <p:cNvSpPr/>
            <p:nvPr/>
          </p:nvSpPr>
          <p:spPr>
            <a:xfrm>
              <a:off x="7211986" y="2505004"/>
              <a:ext cx="212434" cy="212434"/>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5" name="4-Point Star 133">
              <a:extLst>
                <a:ext uri="{FF2B5EF4-FFF2-40B4-BE49-F238E27FC236}">
                  <a16:creationId xmlns:a16="http://schemas.microsoft.com/office/drawing/2014/main" id="{7A0169A0-0021-4AFC-9460-CF2396A15E47}"/>
                </a:ext>
              </a:extLst>
            </p:cNvPr>
            <p:cNvSpPr/>
            <p:nvPr/>
          </p:nvSpPr>
          <p:spPr>
            <a:xfrm>
              <a:off x="7243444" y="2536462"/>
              <a:ext cx="149518" cy="149518"/>
            </a:xfrm>
            <a:prstGeom prst="star4">
              <a:avLst>
                <a:gd name="adj" fmla="val 21325"/>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sp>
        <p:nvSpPr>
          <p:cNvPr id="14" name="object 42">
            <a:extLst>
              <a:ext uri="{FF2B5EF4-FFF2-40B4-BE49-F238E27FC236}">
                <a16:creationId xmlns:a16="http://schemas.microsoft.com/office/drawing/2014/main" id="{701887B9-D1DD-4C52-8AEB-490B8586ADB7}"/>
              </a:ext>
            </a:extLst>
          </p:cNvPr>
          <p:cNvSpPr txBox="1"/>
          <p:nvPr/>
        </p:nvSpPr>
        <p:spPr>
          <a:xfrm>
            <a:off x="5651795" y="1940625"/>
            <a:ext cx="1857175" cy="141674"/>
          </a:xfrm>
          <a:prstGeom prst="rect">
            <a:avLst/>
          </a:prstGeom>
          <a:noFill/>
        </p:spPr>
        <p:txBody>
          <a:bodyPr vert="horz" wrap="square" lIns="91440" tIns="0" rIns="9144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Open Sans"/>
              </a:rPr>
              <a:t>1. Project Management Plan</a:t>
            </a:r>
            <a:endParaRPr kumimoji="0" lang="en-US" sz="900" b="0" i="0" u="none" strike="noStrike" kern="1200" cap="none" spc="0" normalizeH="0" baseline="0" noProof="0" dirty="0">
              <a:ln>
                <a:noFill/>
              </a:ln>
              <a:solidFill>
                <a:srgbClr val="000000"/>
              </a:solidFill>
              <a:effectLst/>
              <a:uLnTx/>
              <a:uFillTx/>
              <a:latin typeface="Open Sans"/>
              <a:ea typeface="+mn-ea"/>
              <a:cs typeface="Open Sans"/>
            </a:endParaRPr>
          </a:p>
        </p:txBody>
      </p:sp>
      <p:sp>
        <p:nvSpPr>
          <p:cNvPr id="15" name="object 42">
            <a:extLst>
              <a:ext uri="{FF2B5EF4-FFF2-40B4-BE49-F238E27FC236}">
                <a16:creationId xmlns:a16="http://schemas.microsoft.com/office/drawing/2014/main" id="{02815BDD-960C-4E3E-917E-5DEBB4262546}"/>
              </a:ext>
            </a:extLst>
          </p:cNvPr>
          <p:cNvSpPr txBox="1"/>
          <p:nvPr/>
        </p:nvSpPr>
        <p:spPr>
          <a:xfrm>
            <a:off x="11139706" y="5700261"/>
            <a:ext cx="1021454" cy="307777"/>
          </a:xfrm>
          <a:prstGeom prst="rect">
            <a:avLst/>
          </a:prstGeom>
          <a:noFill/>
        </p:spPr>
        <p:txBody>
          <a:bodyPr vert="horz" wrap="square" lIns="91440" tIns="0" rIns="9144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Open Sans"/>
              </a:rPr>
              <a:t>4. Long term roadmap</a:t>
            </a:r>
            <a:endParaRPr kumimoji="0" lang="en-US" sz="900" b="0" i="0" u="none" strike="noStrike" kern="1200" cap="none" spc="0" normalizeH="0" baseline="0" noProof="0" dirty="0">
              <a:ln>
                <a:noFill/>
              </a:ln>
              <a:solidFill>
                <a:srgbClr val="000000"/>
              </a:solidFill>
              <a:effectLst/>
              <a:uLnTx/>
              <a:uFillTx/>
              <a:latin typeface="Open Sans"/>
              <a:ea typeface="+mn-ea"/>
              <a:cs typeface="Open Sans"/>
            </a:endParaRPr>
          </a:p>
        </p:txBody>
      </p:sp>
      <p:sp>
        <p:nvSpPr>
          <p:cNvPr id="16" name="Rectangle 240">
            <a:extLst>
              <a:ext uri="{FF2B5EF4-FFF2-40B4-BE49-F238E27FC236}">
                <a16:creationId xmlns:a16="http://schemas.microsoft.com/office/drawing/2014/main" id="{85066069-CB08-4FFF-8D79-D9AF40AF1538}"/>
              </a:ext>
            </a:extLst>
          </p:cNvPr>
          <p:cNvSpPr>
            <a:spLocks noChangeArrowheads="1"/>
          </p:cNvSpPr>
          <p:nvPr/>
        </p:nvSpPr>
        <p:spPr bwMode="gray">
          <a:xfrm>
            <a:off x="4821179" y="1893048"/>
            <a:ext cx="582800" cy="218874"/>
          </a:xfrm>
          <a:prstGeom prst="rect">
            <a:avLst/>
          </a:prstGeom>
          <a:solidFill>
            <a:schemeClr val="accent1"/>
          </a:solidFill>
          <a:ln w="9525" algn="ctr">
            <a:solidFill>
              <a:schemeClr val="accent1"/>
            </a:solidFill>
            <a:miter lim="800000"/>
            <a:headEnd/>
            <a:tailEnd/>
          </a:ln>
        </p:spPr>
        <p:txBody>
          <a:bodyPr wrap="none" lIns="0" tIns="0" rIns="0" bIns="0" anchor="ct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1200" cap="none" spc="0" normalizeH="0" baseline="0" noProof="0" dirty="0">
              <a:ln>
                <a:noFill/>
              </a:ln>
              <a:solidFill>
                <a:srgbClr val="86F200"/>
              </a:solidFill>
              <a:effectLst/>
              <a:uLnTx/>
              <a:uFillTx/>
              <a:latin typeface="Open Sans"/>
              <a:ea typeface="+mn-ea"/>
              <a:cs typeface="+mn-cs"/>
            </a:endParaRPr>
          </a:p>
        </p:txBody>
      </p:sp>
      <p:sp>
        <p:nvSpPr>
          <p:cNvPr id="17" name="Rectangle 240">
            <a:extLst>
              <a:ext uri="{FF2B5EF4-FFF2-40B4-BE49-F238E27FC236}">
                <a16:creationId xmlns:a16="http://schemas.microsoft.com/office/drawing/2014/main" id="{52BFB7D7-78E3-479E-9AB6-AA9FA3DB3A62}"/>
              </a:ext>
            </a:extLst>
          </p:cNvPr>
          <p:cNvSpPr>
            <a:spLocks noChangeArrowheads="1"/>
          </p:cNvSpPr>
          <p:nvPr/>
        </p:nvSpPr>
        <p:spPr bwMode="gray">
          <a:xfrm>
            <a:off x="7689453" y="3812307"/>
            <a:ext cx="582800" cy="227293"/>
          </a:xfrm>
          <a:prstGeom prst="rect">
            <a:avLst/>
          </a:prstGeom>
          <a:solidFill>
            <a:schemeClr val="accent3"/>
          </a:solidFill>
          <a:ln w="9525" algn="ctr">
            <a:solidFill>
              <a:schemeClr val="accent3"/>
            </a:solidFill>
            <a:miter lim="800000"/>
            <a:headEnd/>
            <a:tailEnd/>
          </a:ln>
        </p:spPr>
        <p:txBody>
          <a:bodyPr wrap="none" lIns="0" tIns="0" rIns="0" bIns="0" anchor="ct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1200" cap="none" spc="0" normalizeH="0" baseline="0" noProof="0" dirty="0">
              <a:ln>
                <a:noFill/>
              </a:ln>
              <a:solidFill>
                <a:srgbClr val="00B0F0"/>
              </a:solidFill>
              <a:effectLst/>
              <a:uLnTx/>
              <a:uFillTx/>
              <a:latin typeface="Open Sans"/>
              <a:ea typeface="+mn-ea"/>
              <a:cs typeface="+mn-cs"/>
            </a:endParaRPr>
          </a:p>
        </p:txBody>
      </p:sp>
      <p:grpSp>
        <p:nvGrpSpPr>
          <p:cNvPr id="18" name="Group 17">
            <a:extLst>
              <a:ext uri="{FF2B5EF4-FFF2-40B4-BE49-F238E27FC236}">
                <a16:creationId xmlns:a16="http://schemas.microsoft.com/office/drawing/2014/main" id="{83429288-761B-4CA9-9B26-D78AE5EBE46E}"/>
              </a:ext>
            </a:extLst>
          </p:cNvPr>
          <p:cNvGrpSpPr/>
          <p:nvPr/>
        </p:nvGrpSpPr>
        <p:grpSpPr>
          <a:xfrm>
            <a:off x="11194846" y="5504688"/>
            <a:ext cx="212434" cy="195573"/>
            <a:chOff x="7211986" y="2505004"/>
            <a:chExt cx="212434" cy="212434"/>
          </a:xfrm>
        </p:grpSpPr>
        <p:sp>
          <p:nvSpPr>
            <p:cNvPr id="22" name="Oval 21">
              <a:extLst>
                <a:ext uri="{FF2B5EF4-FFF2-40B4-BE49-F238E27FC236}">
                  <a16:creationId xmlns:a16="http://schemas.microsoft.com/office/drawing/2014/main" id="{860CFCF7-6D54-47AF-B5FB-6F50DF1D32FC}"/>
                </a:ext>
              </a:extLst>
            </p:cNvPr>
            <p:cNvSpPr/>
            <p:nvPr/>
          </p:nvSpPr>
          <p:spPr>
            <a:xfrm>
              <a:off x="7211986" y="2505004"/>
              <a:ext cx="212434" cy="212434"/>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3" name="4-Point Star 131">
              <a:extLst>
                <a:ext uri="{FF2B5EF4-FFF2-40B4-BE49-F238E27FC236}">
                  <a16:creationId xmlns:a16="http://schemas.microsoft.com/office/drawing/2014/main" id="{BF7DDF9A-E436-429F-8F15-4C6DDD1E845D}"/>
                </a:ext>
              </a:extLst>
            </p:cNvPr>
            <p:cNvSpPr/>
            <p:nvPr/>
          </p:nvSpPr>
          <p:spPr>
            <a:xfrm>
              <a:off x="7221928" y="2536462"/>
              <a:ext cx="149518" cy="149518"/>
            </a:xfrm>
            <a:prstGeom prst="star4">
              <a:avLst>
                <a:gd name="adj" fmla="val 21325"/>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19" name="Group 18">
            <a:extLst>
              <a:ext uri="{FF2B5EF4-FFF2-40B4-BE49-F238E27FC236}">
                <a16:creationId xmlns:a16="http://schemas.microsoft.com/office/drawing/2014/main" id="{EDD33430-56F6-49E8-871B-DEC4FF224432}"/>
              </a:ext>
            </a:extLst>
          </p:cNvPr>
          <p:cNvGrpSpPr/>
          <p:nvPr/>
        </p:nvGrpSpPr>
        <p:grpSpPr>
          <a:xfrm>
            <a:off x="5486584" y="1864087"/>
            <a:ext cx="212434" cy="195573"/>
            <a:chOff x="7211986" y="2505004"/>
            <a:chExt cx="212434" cy="212434"/>
          </a:xfrm>
        </p:grpSpPr>
        <p:sp>
          <p:nvSpPr>
            <p:cNvPr id="20" name="Oval 19">
              <a:extLst>
                <a:ext uri="{FF2B5EF4-FFF2-40B4-BE49-F238E27FC236}">
                  <a16:creationId xmlns:a16="http://schemas.microsoft.com/office/drawing/2014/main" id="{0C19DAF9-A4C9-4716-8B4A-782701381071}"/>
                </a:ext>
              </a:extLst>
            </p:cNvPr>
            <p:cNvSpPr/>
            <p:nvPr/>
          </p:nvSpPr>
          <p:spPr>
            <a:xfrm>
              <a:off x="7211986" y="2505004"/>
              <a:ext cx="212434" cy="212434"/>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1" name="4-Point Star 128">
              <a:extLst>
                <a:ext uri="{FF2B5EF4-FFF2-40B4-BE49-F238E27FC236}">
                  <a16:creationId xmlns:a16="http://schemas.microsoft.com/office/drawing/2014/main" id="{29D487F2-459C-4602-A138-6B151AA02A19}"/>
                </a:ext>
              </a:extLst>
            </p:cNvPr>
            <p:cNvSpPr/>
            <p:nvPr/>
          </p:nvSpPr>
          <p:spPr>
            <a:xfrm>
              <a:off x="7243444" y="2536462"/>
              <a:ext cx="149518" cy="149518"/>
            </a:xfrm>
            <a:prstGeom prst="star4">
              <a:avLst>
                <a:gd name="adj" fmla="val 21325"/>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sp>
        <p:nvSpPr>
          <p:cNvPr id="36" name="Text Placeholder 2">
            <a:extLst>
              <a:ext uri="{FF2B5EF4-FFF2-40B4-BE49-F238E27FC236}">
                <a16:creationId xmlns:a16="http://schemas.microsoft.com/office/drawing/2014/main" id="{4EEA072F-BF92-4C7D-AAB1-0853AFBC7760}"/>
              </a:ext>
            </a:extLst>
          </p:cNvPr>
          <p:cNvSpPr>
            <a:spLocks noGrp="1"/>
          </p:cNvSpPr>
          <p:nvPr>
            <p:ph type="body" sz="quarter" idx="14"/>
          </p:nvPr>
        </p:nvSpPr>
        <p:spPr>
          <a:xfrm>
            <a:off x="914721" y="1353312"/>
            <a:ext cx="10362880" cy="475488"/>
          </a:xfrm>
        </p:spPr>
        <p:txBody>
          <a:bodyPr/>
          <a:lstStyle/>
          <a:p>
            <a:r>
              <a:rPr lang="en-US" dirty="0"/>
              <a:t>Our integrated timeline emphasizes rapid analysis and quick wins …</a:t>
            </a:r>
          </a:p>
          <a:p>
            <a:endParaRPr lang="en-US" dirty="0"/>
          </a:p>
        </p:txBody>
      </p:sp>
      <p:sp>
        <p:nvSpPr>
          <p:cNvPr id="37" name="Text Placeholder 3">
            <a:extLst>
              <a:ext uri="{FF2B5EF4-FFF2-40B4-BE49-F238E27FC236}">
                <a16:creationId xmlns:a16="http://schemas.microsoft.com/office/drawing/2014/main" id="{CC6A0290-0FB1-41E3-BC5C-5CDF0FF0F131}"/>
              </a:ext>
            </a:extLst>
          </p:cNvPr>
          <p:cNvSpPr>
            <a:spLocks noGrp="1"/>
          </p:cNvSpPr>
          <p:nvPr>
            <p:ph type="body" sz="quarter" idx="15"/>
          </p:nvPr>
        </p:nvSpPr>
        <p:spPr>
          <a:xfrm>
            <a:off x="914971" y="466344"/>
            <a:ext cx="3355848" cy="203200"/>
          </a:xfrm>
        </p:spPr>
        <p:txBody>
          <a:bodyPr/>
          <a:lstStyle/>
          <a:p>
            <a:r>
              <a:rPr lang="en-US" dirty="0"/>
              <a:t>Plans, timelines and roadmaps </a:t>
            </a:r>
          </a:p>
        </p:txBody>
      </p:sp>
      <p:sp>
        <p:nvSpPr>
          <p:cNvPr id="40" name="Title 1">
            <a:extLst>
              <a:ext uri="{FF2B5EF4-FFF2-40B4-BE49-F238E27FC236}">
                <a16:creationId xmlns:a16="http://schemas.microsoft.com/office/drawing/2014/main" id="{9FD32147-12C6-44B3-8F55-BBE82FA48722}"/>
              </a:ext>
            </a:extLst>
          </p:cNvPr>
          <p:cNvSpPr>
            <a:spLocks noGrp="1"/>
          </p:cNvSpPr>
          <p:nvPr>
            <p:ph type="title"/>
          </p:nvPr>
        </p:nvSpPr>
        <p:spPr>
          <a:xfrm>
            <a:off x="914400" y="704776"/>
            <a:ext cx="10363200" cy="594360"/>
          </a:xfrm>
        </p:spPr>
        <p:txBody>
          <a:bodyPr/>
          <a:lstStyle/>
          <a:p>
            <a:r>
              <a:rPr lang="en-US" dirty="0"/>
              <a:t>Eight Week Roadmap</a:t>
            </a:r>
          </a:p>
        </p:txBody>
      </p:sp>
    </p:spTree>
    <p:extLst>
      <p:ext uri="{BB962C8B-B14F-4D97-AF65-F5344CB8AC3E}">
        <p14:creationId xmlns:p14="http://schemas.microsoft.com/office/powerpoint/2010/main" val="1846012602"/>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a:extLst>
              <a:ext uri="{FF2B5EF4-FFF2-40B4-BE49-F238E27FC236}">
                <a16:creationId xmlns:a16="http://schemas.microsoft.com/office/drawing/2014/main" id="{0BB41AE2-A569-4030-83B0-B4BB2B6E1B7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8596" name="think-cell Slide" r:id="rId6" imgW="415" imgH="416" progId="TCLayout.ActiveDocument.1">
                  <p:embed/>
                </p:oleObj>
              </mc:Choice>
              <mc:Fallback>
                <p:oleObj name="think-cell Slide" r:id="rId6" imgW="415" imgH="416" progId="TCLayout.ActiveDocument.1">
                  <p:embed/>
                  <p:pic>
                    <p:nvPicPr>
                      <p:cNvPr id="37" name="Object 36" hidden="1">
                        <a:extLst>
                          <a:ext uri="{FF2B5EF4-FFF2-40B4-BE49-F238E27FC236}">
                            <a16:creationId xmlns:a16="http://schemas.microsoft.com/office/drawing/2014/main" id="{0BB41AE2-A569-4030-83B0-B4BB2B6E1B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Rectangle 35" hidden="1">
            <a:extLst>
              <a:ext uri="{FF2B5EF4-FFF2-40B4-BE49-F238E27FC236}">
                <a16:creationId xmlns:a16="http://schemas.microsoft.com/office/drawing/2014/main" id="{3FFA9ED0-73AB-4693-BF67-1158AD69C94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2EA20CAD-C56A-4A59-9F6E-F37DED5A26B0}"/>
              </a:ext>
            </a:extLst>
          </p:cNvPr>
          <p:cNvSpPr>
            <a:spLocks noGrp="1"/>
          </p:cNvSpPr>
          <p:nvPr>
            <p:ph type="title"/>
          </p:nvPr>
        </p:nvSpPr>
        <p:spPr/>
        <p:txBody>
          <a:bodyPr/>
          <a:lstStyle/>
          <a:p>
            <a:r>
              <a:rPr lang="en-US" dirty="0"/>
              <a:t>12 Week Full timeline</a:t>
            </a:r>
          </a:p>
        </p:txBody>
      </p:sp>
      <p:sp>
        <p:nvSpPr>
          <p:cNvPr id="3" name="Text Placeholder 2">
            <a:extLst>
              <a:ext uri="{FF2B5EF4-FFF2-40B4-BE49-F238E27FC236}">
                <a16:creationId xmlns:a16="http://schemas.microsoft.com/office/drawing/2014/main" id="{D492983C-4500-4E27-B5A5-ADED921E4A24}"/>
              </a:ext>
            </a:extLst>
          </p:cNvPr>
          <p:cNvSpPr>
            <a:spLocks noGrp="1"/>
          </p:cNvSpPr>
          <p:nvPr>
            <p:ph type="body" sz="quarter" idx="14"/>
          </p:nvPr>
        </p:nvSpPr>
        <p:spPr/>
        <p:txBody>
          <a:bodyPr/>
          <a:lstStyle/>
          <a:p>
            <a:r>
              <a:rPr lang="en-US" dirty="0"/>
              <a:t>Our integrated timeline emphasizes rapid analysis and quick wins …</a:t>
            </a:r>
          </a:p>
          <a:p>
            <a:endParaRPr lang="en-US" dirty="0"/>
          </a:p>
        </p:txBody>
      </p:sp>
      <p:sp>
        <p:nvSpPr>
          <p:cNvPr id="4" name="Text Placeholder 3">
            <a:extLst>
              <a:ext uri="{FF2B5EF4-FFF2-40B4-BE49-F238E27FC236}">
                <a16:creationId xmlns:a16="http://schemas.microsoft.com/office/drawing/2014/main" id="{7597B3C6-6013-4F5B-9DFA-A5F2DE494DE4}"/>
              </a:ext>
            </a:extLst>
          </p:cNvPr>
          <p:cNvSpPr>
            <a:spLocks noGrp="1"/>
          </p:cNvSpPr>
          <p:nvPr>
            <p:ph type="body" sz="quarter" idx="15"/>
          </p:nvPr>
        </p:nvSpPr>
        <p:spPr/>
        <p:txBody>
          <a:bodyPr/>
          <a:lstStyle/>
          <a:p>
            <a:r>
              <a:rPr lang="en-US" dirty="0"/>
              <a:t>Plans, timelines and roadmaps </a:t>
            </a:r>
          </a:p>
        </p:txBody>
      </p:sp>
      <p:graphicFrame>
        <p:nvGraphicFramePr>
          <p:cNvPr id="5" name="Table 4">
            <a:extLst>
              <a:ext uri="{FF2B5EF4-FFF2-40B4-BE49-F238E27FC236}">
                <a16:creationId xmlns:a16="http://schemas.microsoft.com/office/drawing/2014/main" id="{12E89C9A-E78C-4712-8A1E-DE02ED5A2E7F}"/>
              </a:ext>
            </a:extLst>
          </p:cNvPr>
          <p:cNvGraphicFramePr>
            <a:graphicFrameLocks noGrp="1"/>
          </p:cNvGraphicFramePr>
          <p:nvPr/>
        </p:nvGraphicFramePr>
        <p:xfrm>
          <a:off x="935355" y="1861108"/>
          <a:ext cx="10362885" cy="4301923"/>
        </p:xfrm>
        <a:graphic>
          <a:graphicData uri="http://schemas.openxmlformats.org/drawingml/2006/table">
            <a:tbl>
              <a:tblPr firstRow="1" bandRow="1">
                <a:tableStyleId>{5C22544A-7EE6-4342-B048-85BDC9FD1C3A}</a:tableStyleId>
              </a:tblPr>
              <a:tblGrid>
                <a:gridCol w="797145">
                  <a:extLst>
                    <a:ext uri="{9D8B030D-6E8A-4147-A177-3AD203B41FA5}">
                      <a16:colId xmlns:a16="http://schemas.microsoft.com/office/drawing/2014/main" val="20000"/>
                    </a:ext>
                  </a:extLst>
                </a:gridCol>
                <a:gridCol w="797145">
                  <a:extLst>
                    <a:ext uri="{9D8B030D-6E8A-4147-A177-3AD203B41FA5}">
                      <a16:colId xmlns:a16="http://schemas.microsoft.com/office/drawing/2014/main" val="20001"/>
                    </a:ext>
                  </a:extLst>
                </a:gridCol>
                <a:gridCol w="797145">
                  <a:extLst>
                    <a:ext uri="{9D8B030D-6E8A-4147-A177-3AD203B41FA5}">
                      <a16:colId xmlns:a16="http://schemas.microsoft.com/office/drawing/2014/main" val="20002"/>
                    </a:ext>
                  </a:extLst>
                </a:gridCol>
                <a:gridCol w="797145">
                  <a:extLst>
                    <a:ext uri="{9D8B030D-6E8A-4147-A177-3AD203B41FA5}">
                      <a16:colId xmlns:a16="http://schemas.microsoft.com/office/drawing/2014/main" val="20003"/>
                    </a:ext>
                  </a:extLst>
                </a:gridCol>
                <a:gridCol w="797145">
                  <a:extLst>
                    <a:ext uri="{9D8B030D-6E8A-4147-A177-3AD203B41FA5}">
                      <a16:colId xmlns:a16="http://schemas.microsoft.com/office/drawing/2014/main" val="20004"/>
                    </a:ext>
                  </a:extLst>
                </a:gridCol>
                <a:gridCol w="797145">
                  <a:extLst>
                    <a:ext uri="{9D8B030D-6E8A-4147-A177-3AD203B41FA5}">
                      <a16:colId xmlns:a16="http://schemas.microsoft.com/office/drawing/2014/main" val="20005"/>
                    </a:ext>
                  </a:extLst>
                </a:gridCol>
                <a:gridCol w="797145">
                  <a:extLst>
                    <a:ext uri="{9D8B030D-6E8A-4147-A177-3AD203B41FA5}">
                      <a16:colId xmlns:a16="http://schemas.microsoft.com/office/drawing/2014/main" val="20006"/>
                    </a:ext>
                  </a:extLst>
                </a:gridCol>
                <a:gridCol w="797145">
                  <a:extLst>
                    <a:ext uri="{9D8B030D-6E8A-4147-A177-3AD203B41FA5}">
                      <a16:colId xmlns:a16="http://schemas.microsoft.com/office/drawing/2014/main" val="20007"/>
                    </a:ext>
                  </a:extLst>
                </a:gridCol>
                <a:gridCol w="797145">
                  <a:extLst>
                    <a:ext uri="{9D8B030D-6E8A-4147-A177-3AD203B41FA5}">
                      <a16:colId xmlns:a16="http://schemas.microsoft.com/office/drawing/2014/main" val="20008"/>
                    </a:ext>
                  </a:extLst>
                </a:gridCol>
                <a:gridCol w="797145">
                  <a:extLst>
                    <a:ext uri="{9D8B030D-6E8A-4147-A177-3AD203B41FA5}">
                      <a16:colId xmlns:a16="http://schemas.microsoft.com/office/drawing/2014/main" val="20009"/>
                    </a:ext>
                  </a:extLst>
                </a:gridCol>
                <a:gridCol w="797145">
                  <a:extLst>
                    <a:ext uri="{9D8B030D-6E8A-4147-A177-3AD203B41FA5}">
                      <a16:colId xmlns:a16="http://schemas.microsoft.com/office/drawing/2014/main" val="20010"/>
                    </a:ext>
                  </a:extLst>
                </a:gridCol>
                <a:gridCol w="797145">
                  <a:extLst>
                    <a:ext uri="{9D8B030D-6E8A-4147-A177-3AD203B41FA5}">
                      <a16:colId xmlns:a16="http://schemas.microsoft.com/office/drawing/2014/main" val="20011"/>
                    </a:ext>
                  </a:extLst>
                </a:gridCol>
                <a:gridCol w="797145">
                  <a:extLst>
                    <a:ext uri="{9D8B030D-6E8A-4147-A177-3AD203B41FA5}">
                      <a16:colId xmlns:a16="http://schemas.microsoft.com/office/drawing/2014/main" val="20012"/>
                    </a:ext>
                  </a:extLst>
                </a:gridCol>
              </a:tblGrid>
              <a:tr h="314280">
                <a:tc>
                  <a:txBody>
                    <a:bodyPr/>
                    <a:lstStyle/>
                    <a:p>
                      <a:pPr algn="ctr"/>
                      <a:r>
                        <a:rPr lang="en-US"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Week 0</a:t>
                      </a:r>
                    </a:p>
                  </a:txBody>
                  <a:tcPr anchor="ctr">
                    <a:lnB w="38100" cmpd="sng">
                      <a:noFill/>
                    </a:lnB>
                    <a:solidFill>
                      <a:schemeClr val="bg1">
                        <a:lumMod val="65000"/>
                      </a:schemeClr>
                    </a:solidFill>
                  </a:tcPr>
                </a:tc>
                <a:tc>
                  <a:txBody>
                    <a:bodyPr/>
                    <a:lstStyle/>
                    <a:p>
                      <a:pPr algn="ctr"/>
                      <a:r>
                        <a:rPr lang="en-US"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Week 1</a:t>
                      </a:r>
                    </a:p>
                  </a:txBody>
                  <a:tcPr anchor="ctr">
                    <a:lnB w="38100" cmpd="sng">
                      <a:noFill/>
                    </a:lnB>
                    <a:solidFill>
                      <a:schemeClr val="bg1">
                        <a:lumMod val="65000"/>
                      </a:schemeClr>
                    </a:solidFill>
                  </a:tcPr>
                </a:tc>
                <a:tc>
                  <a:txBody>
                    <a:bodyPr/>
                    <a:lstStyle/>
                    <a:p>
                      <a:pPr algn="ctr"/>
                      <a:r>
                        <a:rPr lang="en-US"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Week 2</a:t>
                      </a:r>
                    </a:p>
                  </a:txBody>
                  <a:tcPr anchor="ctr">
                    <a:lnB w="38100" cmpd="sng">
                      <a:noFill/>
                    </a:lnB>
                    <a:solidFill>
                      <a:schemeClr val="bg1">
                        <a:lumMod val="65000"/>
                      </a:schemeClr>
                    </a:solidFill>
                  </a:tcPr>
                </a:tc>
                <a:tc>
                  <a:txBody>
                    <a:bodyPr/>
                    <a:lstStyle/>
                    <a:p>
                      <a:pPr algn="ctr"/>
                      <a:r>
                        <a:rPr lang="en-US"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Week 3</a:t>
                      </a:r>
                    </a:p>
                  </a:txBody>
                  <a:tcPr anchor="ctr">
                    <a:lnB w="38100" cmpd="sng">
                      <a:noFill/>
                    </a:lnB>
                    <a:solidFill>
                      <a:schemeClr val="bg1">
                        <a:lumMod val="65000"/>
                      </a:schemeClr>
                    </a:solidFill>
                  </a:tcPr>
                </a:tc>
                <a:tc>
                  <a:txBody>
                    <a:bodyPr/>
                    <a:lstStyle/>
                    <a:p>
                      <a:pPr algn="ctr"/>
                      <a:r>
                        <a:rPr lang="en-US"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Week 4</a:t>
                      </a:r>
                    </a:p>
                  </a:txBody>
                  <a:tcPr anchor="ctr">
                    <a:lnB w="38100" cmpd="sng">
                      <a:noFill/>
                    </a:lnB>
                    <a:solidFill>
                      <a:schemeClr val="bg1">
                        <a:lumMod val="65000"/>
                      </a:schemeClr>
                    </a:solidFill>
                  </a:tcPr>
                </a:tc>
                <a:tc>
                  <a:txBody>
                    <a:bodyPr/>
                    <a:lstStyle/>
                    <a:p>
                      <a:pPr algn="ctr"/>
                      <a:r>
                        <a:rPr lang="en-US"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Week 5</a:t>
                      </a:r>
                    </a:p>
                  </a:txBody>
                  <a:tcPr anchor="ctr">
                    <a:lnB w="38100" cmpd="sng">
                      <a:noFill/>
                    </a:lnB>
                    <a:solidFill>
                      <a:schemeClr val="bg1">
                        <a:lumMod val="65000"/>
                      </a:schemeClr>
                    </a:solidFill>
                  </a:tcPr>
                </a:tc>
                <a:tc>
                  <a:txBody>
                    <a:bodyPr/>
                    <a:lstStyle/>
                    <a:p>
                      <a:pPr algn="ctr"/>
                      <a:r>
                        <a:rPr lang="en-US"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Week 6</a:t>
                      </a:r>
                    </a:p>
                  </a:txBody>
                  <a:tcPr anchor="ctr">
                    <a:lnB w="38100" cmpd="sng">
                      <a:noFill/>
                    </a:lnB>
                    <a:solidFill>
                      <a:schemeClr val="bg1">
                        <a:lumMod val="65000"/>
                      </a:schemeClr>
                    </a:solidFill>
                  </a:tcPr>
                </a:tc>
                <a:tc>
                  <a:txBody>
                    <a:bodyPr/>
                    <a:lstStyle/>
                    <a:p>
                      <a:pPr algn="ctr"/>
                      <a:r>
                        <a:rPr lang="en-US"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Week 7</a:t>
                      </a:r>
                    </a:p>
                  </a:txBody>
                  <a:tcPr anchor="ctr">
                    <a:lnB w="38100" cmpd="sng">
                      <a:noFill/>
                    </a:lnB>
                    <a:solidFill>
                      <a:schemeClr val="bg1">
                        <a:lumMod val="65000"/>
                      </a:schemeClr>
                    </a:solidFill>
                  </a:tcPr>
                </a:tc>
                <a:tc>
                  <a:txBody>
                    <a:bodyPr/>
                    <a:lstStyle/>
                    <a:p>
                      <a:pPr algn="ctr"/>
                      <a:r>
                        <a:rPr lang="en-US"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Week 8</a:t>
                      </a:r>
                    </a:p>
                  </a:txBody>
                  <a:tcPr anchor="ctr">
                    <a:lnB w="38100" cmpd="sng">
                      <a:noFill/>
                    </a:lnB>
                    <a:solidFill>
                      <a:schemeClr val="bg1">
                        <a:lumMod val="65000"/>
                      </a:schemeClr>
                    </a:solidFill>
                  </a:tcPr>
                </a:tc>
                <a:tc>
                  <a:txBody>
                    <a:bodyPr/>
                    <a:lstStyle/>
                    <a:p>
                      <a:pPr algn="ctr"/>
                      <a:r>
                        <a:rPr lang="en-US"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Week 9</a:t>
                      </a:r>
                    </a:p>
                  </a:txBody>
                  <a:tcPr anchor="ctr">
                    <a:lnB w="38100" cmpd="sng">
                      <a:noFill/>
                    </a:lnB>
                    <a:solidFill>
                      <a:schemeClr val="bg1">
                        <a:lumMod val="65000"/>
                      </a:schemeClr>
                    </a:solidFill>
                  </a:tcPr>
                </a:tc>
                <a:tc>
                  <a:txBody>
                    <a:bodyPr/>
                    <a:lstStyle/>
                    <a:p>
                      <a:pPr algn="ctr"/>
                      <a:r>
                        <a:rPr lang="en-US"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Week 10 </a:t>
                      </a:r>
                    </a:p>
                  </a:txBody>
                  <a:tcPr anchor="ctr">
                    <a:lnB w="38100" cmpd="sng">
                      <a:noFill/>
                    </a:lnB>
                    <a:solidFill>
                      <a:schemeClr val="bg1">
                        <a:lumMod val="65000"/>
                      </a:schemeClr>
                    </a:solidFill>
                  </a:tcPr>
                </a:tc>
                <a:tc>
                  <a:txBody>
                    <a:bodyPr/>
                    <a:lstStyle/>
                    <a:p>
                      <a:pPr algn="ctr"/>
                      <a:r>
                        <a:rPr lang="en-US"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Week 11</a:t>
                      </a:r>
                    </a:p>
                  </a:txBody>
                  <a:tcPr anchor="ctr">
                    <a:lnB w="38100" cmpd="sng">
                      <a:noFill/>
                    </a:lnB>
                    <a:solidFill>
                      <a:schemeClr val="bg1">
                        <a:lumMod val="65000"/>
                      </a:schemeClr>
                    </a:solidFill>
                  </a:tcPr>
                </a:tc>
                <a:tc>
                  <a:txBody>
                    <a:bodyPr/>
                    <a:lstStyle/>
                    <a:p>
                      <a:pPr algn="ctr"/>
                      <a:r>
                        <a:rPr lang="en-US"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Week 12</a:t>
                      </a:r>
                    </a:p>
                  </a:txBody>
                  <a:tcPr anchor="ctr">
                    <a:lnB w="38100" cmpd="sng">
                      <a:noFill/>
                    </a:lnB>
                    <a:solidFill>
                      <a:schemeClr val="bg1">
                        <a:lumMod val="65000"/>
                      </a:schemeClr>
                    </a:solidFill>
                  </a:tcPr>
                </a:tc>
                <a:extLst>
                  <a:ext uri="{0D108BD9-81ED-4DB2-BD59-A6C34878D82A}">
                    <a16:rowId xmlns:a16="http://schemas.microsoft.com/office/drawing/2014/main" val="10000"/>
                  </a:ext>
                </a:extLst>
              </a:tr>
              <a:tr h="1098246">
                <a:tc>
                  <a:txBody>
                    <a:bodyPr/>
                    <a:lstStyle/>
                    <a:p>
                      <a:endParaRPr lang="en-US" dirty="0"/>
                    </a:p>
                  </a:txBody>
                  <a:tcPr>
                    <a:lnL w="12700" cmpd="sng">
                      <a:noFill/>
                    </a:lnL>
                    <a:lnR w="9525" cap="flat" cmpd="sng" algn="ctr">
                      <a:solidFill>
                        <a:schemeClr val="bg1"/>
                      </a:solidFill>
                      <a:prstDash val="solid"/>
                      <a:round/>
                      <a:headEnd type="none" w="med" len="med"/>
                      <a:tailEnd type="none" w="med" len="med"/>
                    </a:lnR>
                    <a:lnT w="381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81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81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81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81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81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81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81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81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81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81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81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12700" cmpd="sng">
                      <a:noFill/>
                    </a:lnR>
                    <a:lnT w="381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1478721">
                <a:tc>
                  <a:txBody>
                    <a:bodyPr/>
                    <a:lstStyle/>
                    <a:p>
                      <a:endParaRPr lang="en-US" dirty="0"/>
                    </a:p>
                  </a:txBody>
                  <a:tcPr>
                    <a:lnL w="12700" cmpd="sng">
                      <a:noFill/>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20000"/>
                      </a:schemeClr>
                    </a:solidFill>
                  </a:tcPr>
                </a:tc>
                <a:extLst>
                  <a:ext uri="{0D108BD9-81ED-4DB2-BD59-A6C34878D82A}">
                    <a16:rowId xmlns:a16="http://schemas.microsoft.com/office/drawing/2014/main" val="10002"/>
                  </a:ext>
                </a:extLst>
              </a:tr>
              <a:tr h="1410676">
                <a:tc>
                  <a:txBody>
                    <a:bodyPr/>
                    <a:lstStyle/>
                    <a:p>
                      <a:endParaRPr lang="en-US" dirty="0"/>
                    </a:p>
                  </a:txBody>
                  <a:tcPr>
                    <a:lnL w="12700" cmpd="sng">
                      <a:noFill/>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9525" cap="flat" cmpd="sng" algn="ctr">
                      <a:solidFill>
                        <a:schemeClr val="bg1"/>
                      </a:solidFill>
                      <a:prstDash val="solid"/>
                      <a:round/>
                      <a:headEnd type="none" w="med" len="med"/>
                      <a:tailEnd type="none" w="med" len="med"/>
                    </a:lnL>
                    <a:lnR w="12700" cmpd="sng">
                      <a:noFill/>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bl>
          </a:graphicData>
        </a:graphic>
      </p:graphicFrame>
      <p:sp>
        <p:nvSpPr>
          <p:cNvPr id="6" name="Rectangle 5">
            <a:extLst>
              <a:ext uri="{FF2B5EF4-FFF2-40B4-BE49-F238E27FC236}">
                <a16:creationId xmlns:a16="http://schemas.microsoft.com/office/drawing/2014/main" id="{CDA89E0A-18D0-4FDA-ADF8-A67950118C36}"/>
              </a:ext>
            </a:extLst>
          </p:cNvPr>
          <p:cNvSpPr/>
          <p:nvPr/>
        </p:nvSpPr>
        <p:spPr>
          <a:xfrm rot="16200000">
            <a:off x="-122034" y="2437330"/>
            <a:ext cx="1552556" cy="400110"/>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75" normalizeH="0" baseline="0" noProof="0" dirty="0">
                <a:ln>
                  <a:noFill/>
                </a:ln>
                <a:solidFill>
                  <a:srgbClr val="000000"/>
                </a:solidFill>
                <a:effectLst/>
                <a:uLnTx/>
                <a:uFillTx/>
                <a:ea typeface="Open Sans" panose="020B0606030504020204" pitchFamily="34" charset="0"/>
                <a:cs typeface="Open Sans" panose="020B0606030504020204" pitchFamily="34" charset="0"/>
              </a:rPr>
              <a:t>ANALYTICS</a:t>
            </a:r>
            <a:br>
              <a:rPr kumimoji="0" lang="en-US" sz="1000" b="0" i="0" u="none" strike="noStrike" kern="1200" cap="none" spc="-75" normalizeH="0" baseline="0" noProof="0" dirty="0">
                <a:ln>
                  <a:noFill/>
                </a:ln>
                <a:solidFill>
                  <a:srgbClr val="000000"/>
                </a:solidFill>
                <a:effectLst/>
                <a:uLnTx/>
                <a:uFillTx/>
                <a:ea typeface="Open Sans" panose="020B0606030504020204" pitchFamily="34" charset="0"/>
                <a:cs typeface="Open Sans" panose="020B0606030504020204" pitchFamily="34" charset="0"/>
              </a:rPr>
            </a:br>
            <a:r>
              <a:rPr kumimoji="0" lang="en-US" sz="1000" b="0" i="0" u="none" strike="noStrike" kern="1200" cap="none" spc="-75" normalizeH="0" baseline="0" noProof="0" dirty="0">
                <a:ln>
                  <a:noFill/>
                </a:ln>
                <a:solidFill>
                  <a:srgbClr val="000000"/>
                </a:solidFill>
                <a:effectLst/>
                <a:uLnTx/>
                <a:uFillTx/>
                <a:ea typeface="Open Sans" panose="020B0606030504020204" pitchFamily="34" charset="0"/>
                <a:cs typeface="Open Sans" panose="020B0606030504020204" pitchFamily="34" charset="0"/>
              </a:rPr>
              <a:t> FOUNDATION</a:t>
            </a:r>
            <a:endParaRPr kumimoji="0" lang="en-US" sz="10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FCEB2C56-1D2C-41CF-A4BC-EAE3FD2D47F7}"/>
              </a:ext>
            </a:extLst>
          </p:cNvPr>
          <p:cNvSpPr/>
          <p:nvPr/>
        </p:nvSpPr>
        <p:spPr>
          <a:xfrm rot="16200000">
            <a:off x="-93469" y="3838005"/>
            <a:ext cx="1495425" cy="400110"/>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75" normalizeH="0" baseline="0" noProof="0" dirty="0">
                <a:ln>
                  <a:noFill/>
                </a:ln>
                <a:solidFill>
                  <a:srgbClr val="000000"/>
                </a:solidFill>
                <a:effectLst/>
                <a:uLnTx/>
                <a:uFillTx/>
                <a:ea typeface="Open Sans" panose="020B0606030504020204" pitchFamily="34" charset="0"/>
                <a:cs typeface="Open Sans" panose="020B0606030504020204" pitchFamily="34" charset="0"/>
              </a:rPr>
              <a:t>OPERATIONAL</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75" normalizeH="0" baseline="0" noProof="0" dirty="0">
                <a:ln>
                  <a:noFill/>
                </a:ln>
                <a:solidFill>
                  <a:srgbClr val="000000"/>
                </a:solidFill>
                <a:effectLst/>
                <a:uLnTx/>
                <a:uFillTx/>
                <a:ea typeface="Open Sans" panose="020B0606030504020204" pitchFamily="34" charset="0"/>
                <a:cs typeface="Open Sans" panose="020B0606030504020204" pitchFamily="34" charset="0"/>
              </a:rPr>
              <a:t> ANALYTICS</a:t>
            </a:r>
          </a:p>
        </p:txBody>
      </p:sp>
      <p:sp>
        <p:nvSpPr>
          <p:cNvPr id="8" name="Rectangle 7">
            <a:extLst>
              <a:ext uri="{FF2B5EF4-FFF2-40B4-BE49-F238E27FC236}">
                <a16:creationId xmlns:a16="http://schemas.microsoft.com/office/drawing/2014/main" id="{EA899A8C-104E-4BFF-91F9-DE263E2D8098}"/>
              </a:ext>
            </a:extLst>
          </p:cNvPr>
          <p:cNvSpPr/>
          <p:nvPr/>
        </p:nvSpPr>
        <p:spPr>
          <a:xfrm rot="16200000">
            <a:off x="296614" y="5287174"/>
            <a:ext cx="715259" cy="400110"/>
          </a:xfrm>
          <a:prstGeom prst="rect">
            <a:avLst/>
          </a:prstGeom>
        </p:spPr>
        <p:txBody>
          <a:bodyPr wrap="non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75" normalizeH="0" baseline="0" noProof="0" dirty="0">
                <a:ln>
                  <a:noFill/>
                </a:ln>
                <a:solidFill>
                  <a:srgbClr val="000000"/>
                </a:solidFill>
                <a:effectLst/>
                <a:uLnTx/>
                <a:uFillTx/>
                <a:ea typeface="Open Sans" panose="020B0606030504020204" pitchFamily="34" charset="0"/>
                <a:cs typeface="Open Sans" panose="020B0606030504020204" pitchFamily="34" charset="0"/>
              </a:rPr>
              <a:t>RETURNS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75" normalizeH="0" baseline="0" noProof="0" dirty="0">
                <a:ln>
                  <a:noFill/>
                </a:ln>
                <a:solidFill>
                  <a:srgbClr val="000000"/>
                </a:solidFill>
                <a:effectLst/>
                <a:uLnTx/>
                <a:uFillTx/>
                <a:ea typeface="Open Sans" panose="020B0606030504020204" pitchFamily="34" charset="0"/>
                <a:cs typeface="Open Sans" panose="020B0606030504020204" pitchFamily="34" charset="0"/>
              </a:rPr>
              <a:t>STRATEGY</a:t>
            </a:r>
          </a:p>
        </p:txBody>
      </p:sp>
      <p:sp>
        <p:nvSpPr>
          <p:cNvPr id="9" name="Rounded Rectangle 22">
            <a:extLst>
              <a:ext uri="{FF2B5EF4-FFF2-40B4-BE49-F238E27FC236}">
                <a16:creationId xmlns:a16="http://schemas.microsoft.com/office/drawing/2014/main" id="{E3AD4A26-FC57-442F-8F3F-A1EA805C37E3}"/>
              </a:ext>
            </a:extLst>
          </p:cNvPr>
          <p:cNvSpPr/>
          <p:nvPr/>
        </p:nvSpPr>
        <p:spPr>
          <a:xfrm rot="16200000">
            <a:off x="-572142" y="4022828"/>
            <a:ext cx="3772416" cy="365900"/>
          </a:xfrm>
          <a:prstGeom prst="roundRect">
            <a:avLst>
              <a:gd name="adj" fmla="val 0"/>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Data Request</a:t>
            </a:r>
          </a:p>
        </p:txBody>
      </p:sp>
      <p:sp>
        <p:nvSpPr>
          <p:cNvPr id="10" name="Rectangle 9">
            <a:extLst>
              <a:ext uri="{FF2B5EF4-FFF2-40B4-BE49-F238E27FC236}">
                <a16:creationId xmlns:a16="http://schemas.microsoft.com/office/drawing/2014/main" id="{C961BDB7-FC30-45FA-BC57-992325C1B722}"/>
              </a:ext>
            </a:extLst>
          </p:cNvPr>
          <p:cNvSpPr/>
          <p:nvPr/>
        </p:nvSpPr>
        <p:spPr>
          <a:xfrm>
            <a:off x="5010151" y="4920322"/>
            <a:ext cx="1932844" cy="230832"/>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prstClr val="black"/>
                </a:solidFill>
                <a:effectLst/>
                <a:uLnTx/>
                <a:uFillTx/>
                <a:ea typeface="Microsoft YaHei"/>
                <a:cs typeface="+mn-cs"/>
              </a:rPr>
              <a:t>Strategic Activation Session</a:t>
            </a:r>
          </a:p>
        </p:txBody>
      </p:sp>
      <p:sp>
        <p:nvSpPr>
          <p:cNvPr id="11" name="Rectangle 10">
            <a:extLst>
              <a:ext uri="{FF2B5EF4-FFF2-40B4-BE49-F238E27FC236}">
                <a16:creationId xmlns:a16="http://schemas.microsoft.com/office/drawing/2014/main" id="{4DFFDB1A-3F92-4FB8-94C0-59824FA9D08B}"/>
              </a:ext>
            </a:extLst>
          </p:cNvPr>
          <p:cNvSpPr/>
          <p:nvPr/>
        </p:nvSpPr>
        <p:spPr>
          <a:xfrm>
            <a:off x="7423318" y="4920322"/>
            <a:ext cx="1932844" cy="230832"/>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prstClr val="black"/>
                </a:solidFill>
                <a:effectLst/>
                <a:uLnTx/>
                <a:uFillTx/>
                <a:ea typeface="Microsoft YaHei"/>
                <a:cs typeface="+mn-cs"/>
              </a:rPr>
              <a:t>Strategic Activation Session</a:t>
            </a:r>
          </a:p>
        </p:txBody>
      </p:sp>
      <p:sp>
        <p:nvSpPr>
          <p:cNvPr id="12" name="Rectangle 11">
            <a:extLst>
              <a:ext uri="{FF2B5EF4-FFF2-40B4-BE49-F238E27FC236}">
                <a16:creationId xmlns:a16="http://schemas.microsoft.com/office/drawing/2014/main" id="{9C7C1B6A-1398-4DF4-8E88-673DCDB3A5B9}"/>
              </a:ext>
            </a:extLst>
          </p:cNvPr>
          <p:cNvSpPr/>
          <p:nvPr/>
        </p:nvSpPr>
        <p:spPr>
          <a:xfrm>
            <a:off x="9804968" y="4920322"/>
            <a:ext cx="1932844" cy="230832"/>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prstClr val="black"/>
                </a:solidFill>
                <a:effectLst/>
                <a:uLnTx/>
                <a:uFillTx/>
                <a:ea typeface="Microsoft YaHei"/>
                <a:cs typeface="+mn-cs"/>
              </a:rPr>
              <a:t>Strategic Activation Session</a:t>
            </a:r>
          </a:p>
        </p:txBody>
      </p:sp>
      <p:sp>
        <p:nvSpPr>
          <p:cNvPr id="13" name="Rectangle 12">
            <a:extLst>
              <a:ext uri="{FF2B5EF4-FFF2-40B4-BE49-F238E27FC236}">
                <a16:creationId xmlns:a16="http://schemas.microsoft.com/office/drawing/2014/main" id="{AE67E529-173C-479F-BFF3-0D9F5DCE9317}"/>
              </a:ext>
            </a:extLst>
          </p:cNvPr>
          <p:cNvSpPr/>
          <p:nvPr/>
        </p:nvSpPr>
        <p:spPr>
          <a:xfrm rot="2700000">
            <a:off x="2528609" y="4992628"/>
            <a:ext cx="86223" cy="86223"/>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icrosoft YaHei"/>
              <a:cs typeface="+mn-cs"/>
            </a:endParaRPr>
          </a:p>
        </p:txBody>
      </p:sp>
      <p:sp>
        <p:nvSpPr>
          <p:cNvPr id="14" name="Rectangle 13">
            <a:extLst>
              <a:ext uri="{FF2B5EF4-FFF2-40B4-BE49-F238E27FC236}">
                <a16:creationId xmlns:a16="http://schemas.microsoft.com/office/drawing/2014/main" id="{6F48382D-9D3E-43DF-ADEA-6E652745A107}"/>
              </a:ext>
            </a:extLst>
          </p:cNvPr>
          <p:cNvSpPr/>
          <p:nvPr/>
        </p:nvSpPr>
        <p:spPr>
          <a:xfrm>
            <a:off x="2619825" y="4920322"/>
            <a:ext cx="1932844" cy="230832"/>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prstClr val="black"/>
                </a:solidFill>
                <a:effectLst/>
                <a:uLnTx/>
                <a:uFillTx/>
                <a:ea typeface="Microsoft YaHei"/>
                <a:cs typeface="+mn-cs"/>
              </a:rPr>
              <a:t>Strategic Activation Session</a:t>
            </a:r>
          </a:p>
        </p:txBody>
      </p:sp>
      <p:sp>
        <p:nvSpPr>
          <p:cNvPr id="15" name="Arrow: Pentagon 14">
            <a:extLst>
              <a:ext uri="{FF2B5EF4-FFF2-40B4-BE49-F238E27FC236}">
                <a16:creationId xmlns:a16="http://schemas.microsoft.com/office/drawing/2014/main" id="{C181F60B-903B-42AC-8786-D397C97DD09D}"/>
              </a:ext>
            </a:extLst>
          </p:cNvPr>
          <p:cNvSpPr/>
          <p:nvPr/>
        </p:nvSpPr>
        <p:spPr>
          <a:xfrm>
            <a:off x="1762536" y="2266704"/>
            <a:ext cx="8672430" cy="255534"/>
          </a:xfrm>
          <a:prstGeom prst="homePlat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4C91"/>
                </a:solidFill>
                <a:effectLst/>
                <a:uLnTx/>
                <a:uFillTx/>
                <a:ea typeface="Microsoft YaHei"/>
                <a:cs typeface="+mn-cs"/>
              </a:rPr>
              <a:t>Data Acquisition &amp; Cleaning</a:t>
            </a:r>
          </a:p>
        </p:txBody>
      </p:sp>
      <p:sp>
        <p:nvSpPr>
          <p:cNvPr id="16" name="Arrow: Pentagon 15">
            <a:extLst>
              <a:ext uri="{FF2B5EF4-FFF2-40B4-BE49-F238E27FC236}">
                <a16:creationId xmlns:a16="http://schemas.microsoft.com/office/drawing/2014/main" id="{9FF21155-833E-4116-B6B4-17EB5AA727EE}"/>
              </a:ext>
            </a:extLst>
          </p:cNvPr>
          <p:cNvSpPr/>
          <p:nvPr/>
        </p:nvSpPr>
        <p:spPr>
          <a:xfrm>
            <a:off x="3381291" y="2641680"/>
            <a:ext cx="2275598" cy="255534"/>
          </a:xfrm>
          <a:prstGeom prst="homePlat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Data Mapping</a:t>
            </a:r>
          </a:p>
        </p:txBody>
      </p:sp>
      <p:sp>
        <p:nvSpPr>
          <p:cNvPr id="17" name="Arrow: Pentagon 16">
            <a:extLst>
              <a:ext uri="{FF2B5EF4-FFF2-40B4-BE49-F238E27FC236}">
                <a16:creationId xmlns:a16="http://schemas.microsoft.com/office/drawing/2014/main" id="{E2DCE356-DF12-42D9-9A68-3FE2C16E12C9}"/>
              </a:ext>
            </a:extLst>
          </p:cNvPr>
          <p:cNvSpPr/>
          <p:nvPr/>
        </p:nvSpPr>
        <p:spPr>
          <a:xfrm>
            <a:off x="5761079" y="2943649"/>
            <a:ext cx="1516262" cy="255534"/>
          </a:xfrm>
          <a:prstGeom prst="homePlat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Data Documentation</a:t>
            </a:r>
          </a:p>
        </p:txBody>
      </p:sp>
      <p:sp>
        <p:nvSpPr>
          <p:cNvPr id="18" name="Arrow: Pentagon 17">
            <a:extLst>
              <a:ext uri="{FF2B5EF4-FFF2-40B4-BE49-F238E27FC236}">
                <a16:creationId xmlns:a16="http://schemas.microsoft.com/office/drawing/2014/main" id="{C1146C4C-750C-41E6-B820-5CDD2C22CD16}"/>
              </a:ext>
            </a:extLst>
          </p:cNvPr>
          <p:cNvSpPr/>
          <p:nvPr/>
        </p:nvSpPr>
        <p:spPr>
          <a:xfrm>
            <a:off x="1762430" y="3455077"/>
            <a:ext cx="6278523" cy="255534"/>
          </a:xfrm>
          <a:prstGeom prst="homePlat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Develop Costing Model</a:t>
            </a:r>
          </a:p>
        </p:txBody>
      </p:sp>
      <p:sp>
        <p:nvSpPr>
          <p:cNvPr id="19" name="Arrow: Pentagon 18">
            <a:extLst>
              <a:ext uri="{FF2B5EF4-FFF2-40B4-BE49-F238E27FC236}">
                <a16:creationId xmlns:a16="http://schemas.microsoft.com/office/drawing/2014/main" id="{B5CA89A0-8C6E-42C8-9EB4-AB373B209818}"/>
              </a:ext>
            </a:extLst>
          </p:cNvPr>
          <p:cNvSpPr/>
          <p:nvPr/>
        </p:nvSpPr>
        <p:spPr>
          <a:xfrm>
            <a:off x="7360979" y="3768552"/>
            <a:ext cx="3158877" cy="255534"/>
          </a:xfrm>
          <a:prstGeom prst="homePlat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Develop Visualization Model</a:t>
            </a:r>
          </a:p>
        </p:txBody>
      </p:sp>
      <p:sp>
        <p:nvSpPr>
          <p:cNvPr id="20" name="Arrow: Pentagon 19">
            <a:extLst>
              <a:ext uri="{FF2B5EF4-FFF2-40B4-BE49-F238E27FC236}">
                <a16:creationId xmlns:a16="http://schemas.microsoft.com/office/drawing/2014/main" id="{43A88ECE-ACA6-45A1-A4E7-E517EF8271E0}"/>
              </a:ext>
            </a:extLst>
          </p:cNvPr>
          <p:cNvSpPr/>
          <p:nvPr/>
        </p:nvSpPr>
        <p:spPr>
          <a:xfrm>
            <a:off x="8040953" y="4082027"/>
            <a:ext cx="3228712" cy="259534"/>
          </a:xfrm>
          <a:prstGeom prst="homePlat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Supplier Review</a:t>
            </a:r>
          </a:p>
        </p:txBody>
      </p:sp>
      <p:sp>
        <p:nvSpPr>
          <p:cNvPr id="21" name="Arrow: Pentagon 20">
            <a:extLst>
              <a:ext uri="{FF2B5EF4-FFF2-40B4-BE49-F238E27FC236}">
                <a16:creationId xmlns:a16="http://schemas.microsoft.com/office/drawing/2014/main" id="{552B1D63-9E88-41E6-814C-B459132D0B16}"/>
              </a:ext>
            </a:extLst>
          </p:cNvPr>
          <p:cNvSpPr/>
          <p:nvPr/>
        </p:nvSpPr>
        <p:spPr>
          <a:xfrm>
            <a:off x="1777660" y="5286966"/>
            <a:ext cx="3029531" cy="255534"/>
          </a:xfrm>
          <a:prstGeom prst="homePlat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Insights</a:t>
            </a:r>
          </a:p>
        </p:txBody>
      </p:sp>
      <p:sp>
        <p:nvSpPr>
          <p:cNvPr id="22" name="Arrow: Pentagon 21">
            <a:extLst>
              <a:ext uri="{FF2B5EF4-FFF2-40B4-BE49-F238E27FC236}">
                <a16:creationId xmlns:a16="http://schemas.microsoft.com/office/drawing/2014/main" id="{EA8DED2F-518A-49DE-999B-DF49C880B5D5}"/>
              </a:ext>
            </a:extLst>
          </p:cNvPr>
          <p:cNvSpPr/>
          <p:nvPr/>
        </p:nvSpPr>
        <p:spPr>
          <a:xfrm>
            <a:off x="5026575" y="5286966"/>
            <a:ext cx="1445328" cy="255534"/>
          </a:xfrm>
          <a:prstGeom prst="homePlat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Field Observation</a:t>
            </a:r>
          </a:p>
        </p:txBody>
      </p:sp>
      <p:sp>
        <p:nvSpPr>
          <p:cNvPr id="23" name="Arrow: Pentagon 22">
            <a:extLst>
              <a:ext uri="{FF2B5EF4-FFF2-40B4-BE49-F238E27FC236}">
                <a16:creationId xmlns:a16="http://schemas.microsoft.com/office/drawing/2014/main" id="{192068DD-6FC6-4A27-BFB1-374CCE02BA80}"/>
              </a:ext>
            </a:extLst>
          </p:cNvPr>
          <p:cNvSpPr/>
          <p:nvPr/>
        </p:nvSpPr>
        <p:spPr>
          <a:xfrm>
            <a:off x="6579687" y="5636981"/>
            <a:ext cx="1445328" cy="255534"/>
          </a:xfrm>
          <a:prstGeom prst="homePlat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Workshop Prep</a:t>
            </a:r>
          </a:p>
        </p:txBody>
      </p:sp>
      <p:sp>
        <p:nvSpPr>
          <p:cNvPr id="24" name="Arrow: Pentagon 23">
            <a:extLst>
              <a:ext uri="{FF2B5EF4-FFF2-40B4-BE49-F238E27FC236}">
                <a16:creationId xmlns:a16="http://schemas.microsoft.com/office/drawing/2014/main" id="{244B98CD-40A4-49BF-89F5-14CEB66B4066}"/>
              </a:ext>
            </a:extLst>
          </p:cNvPr>
          <p:cNvSpPr/>
          <p:nvPr/>
        </p:nvSpPr>
        <p:spPr>
          <a:xfrm>
            <a:off x="8935995" y="5634540"/>
            <a:ext cx="2233633" cy="255534"/>
          </a:xfrm>
          <a:prstGeom prst="homePlat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Workshop Support</a:t>
            </a:r>
          </a:p>
        </p:txBody>
      </p:sp>
      <p:sp>
        <p:nvSpPr>
          <p:cNvPr id="25" name="Rectangle 24">
            <a:extLst>
              <a:ext uri="{FF2B5EF4-FFF2-40B4-BE49-F238E27FC236}">
                <a16:creationId xmlns:a16="http://schemas.microsoft.com/office/drawing/2014/main" id="{ED19EA71-B62F-431B-942F-D2847BDF7464}"/>
              </a:ext>
            </a:extLst>
          </p:cNvPr>
          <p:cNvSpPr/>
          <p:nvPr/>
        </p:nvSpPr>
        <p:spPr>
          <a:xfrm rot="2700000">
            <a:off x="4925353" y="4992628"/>
            <a:ext cx="86223" cy="86223"/>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icrosoft YaHei"/>
              <a:cs typeface="+mn-cs"/>
            </a:endParaRPr>
          </a:p>
        </p:txBody>
      </p:sp>
      <p:sp>
        <p:nvSpPr>
          <p:cNvPr id="26" name="Rectangle 25">
            <a:extLst>
              <a:ext uri="{FF2B5EF4-FFF2-40B4-BE49-F238E27FC236}">
                <a16:creationId xmlns:a16="http://schemas.microsoft.com/office/drawing/2014/main" id="{871ADC95-C184-48D8-B456-F6C139892E68}"/>
              </a:ext>
            </a:extLst>
          </p:cNvPr>
          <p:cNvSpPr/>
          <p:nvPr/>
        </p:nvSpPr>
        <p:spPr>
          <a:xfrm rot="2700000">
            <a:off x="7348726" y="4992628"/>
            <a:ext cx="86223" cy="86223"/>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icrosoft YaHei"/>
              <a:cs typeface="+mn-cs"/>
            </a:endParaRPr>
          </a:p>
        </p:txBody>
      </p:sp>
      <p:sp>
        <p:nvSpPr>
          <p:cNvPr id="27" name="Rectangle 26">
            <a:extLst>
              <a:ext uri="{FF2B5EF4-FFF2-40B4-BE49-F238E27FC236}">
                <a16:creationId xmlns:a16="http://schemas.microsoft.com/office/drawing/2014/main" id="{C86F4911-8DA5-4371-AACD-32A9C55920A0}"/>
              </a:ext>
            </a:extLst>
          </p:cNvPr>
          <p:cNvSpPr/>
          <p:nvPr/>
        </p:nvSpPr>
        <p:spPr>
          <a:xfrm rot="2700000">
            <a:off x="9699621" y="4992628"/>
            <a:ext cx="86223" cy="86223"/>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icrosoft YaHei"/>
              <a:cs typeface="+mn-cs"/>
            </a:endParaRPr>
          </a:p>
        </p:txBody>
      </p:sp>
      <p:sp>
        <p:nvSpPr>
          <p:cNvPr id="28" name="Arrow: Pentagon 106">
            <a:extLst>
              <a:ext uri="{FF2B5EF4-FFF2-40B4-BE49-F238E27FC236}">
                <a16:creationId xmlns:a16="http://schemas.microsoft.com/office/drawing/2014/main" id="{195D71F0-2A7B-4837-A799-5AF2FB099F2C}"/>
              </a:ext>
            </a:extLst>
          </p:cNvPr>
          <p:cNvSpPr/>
          <p:nvPr/>
        </p:nvSpPr>
        <p:spPr>
          <a:xfrm>
            <a:off x="8674069" y="4399502"/>
            <a:ext cx="2595596" cy="281709"/>
          </a:xfrm>
          <a:prstGeom prst="homePlat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Analytics Roadmap Development</a:t>
            </a:r>
          </a:p>
        </p:txBody>
      </p:sp>
      <p:sp>
        <p:nvSpPr>
          <p:cNvPr id="29" name="TextBox 28">
            <a:hlinkClick r:id="" action="ppaction://noaction"/>
            <a:extLst>
              <a:ext uri="{FF2B5EF4-FFF2-40B4-BE49-F238E27FC236}">
                <a16:creationId xmlns:a16="http://schemas.microsoft.com/office/drawing/2014/main" id="{05BE2A47-62C6-488C-88DB-9BAFF3FF64CF}"/>
              </a:ext>
            </a:extLst>
          </p:cNvPr>
          <p:cNvSpPr txBox="1"/>
          <p:nvPr/>
        </p:nvSpPr>
        <p:spPr>
          <a:xfrm>
            <a:off x="6902728" y="6286197"/>
            <a:ext cx="3194648" cy="353943"/>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t>Greenhouse Lab</a:t>
            </a:r>
            <a:br>
              <a:rPr kumimoji="0" lang="en-US" sz="700" b="0" i="1"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rPr>
            </a:br>
            <a:endParaRPr kumimoji="0" lang="en-US" sz="700" b="0" i="1"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endParaRPr>
          </a:p>
        </p:txBody>
      </p:sp>
      <p:grpSp>
        <p:nvGrpSpPr>
          <p:cNvPr id="30" name="Group 29">
            <a:extLst>
              <a:ext uri="{FF2B5EF4-FFF2-40B4-BE49-F238E27FC236}">
                <a16:creationId xmlns:a16="http://schemas.microsoft.com/office/drawing/2014/main" id="{A95B62C1-C056-47A7-BB78-52754A5EE8F3}"/>
              </a:ext>
            </a:extLst>
          </p:cNvPr>
          <p:cNvGrpSpPr/>
          <p:nvPr/>
        </p:nvGrpSpPr>
        <p:grpSpPr>
          <a:xfrm>
            <a:off x="8353779" y="5969199"/>
            <a:ext cx="320290" cy="319316"/>
            <a:chOff x="8356272" y="5898619"/>
            <a:chExt cx="320290" cy="319316"/>
          </a:xfrm>
        </p:grpSpPr>
        <p:sp>
          <p:nvSpPr>
            <p:cNvPr id="31" name="Oval 30">
              <a:extLst>
                <a:ext uri="{FF2B5EF4-FFF2-40B4-BE49-F238E27FC236}">
                  <a16:creationId xmlns:a16="http://schemas.microsoft.com/office/drawing/2014/main" id="{CBC9F75A-FB4F-4C72-B82D-58BA6F9DEA21}"/>
                </a:ext>
              </a:extLst>
            </p:cNvPr>
            <p:cNvSpPr/>
            <p:nvPr/>
          </p:nvSpPr>
          <p:spPr>
            <a:xfrm>
              <a:off x="8356272" y="5898619"/>
              <a:ext cx="320290" cy="31699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Open Sans" panose="020B0606030504020204" pitchFamily="34" charset="0"/>
                <a:cs typeface="Open Sans" panose="020B0606030504020204" pitchFamily="34" charset="0"/>
              </a:endParaRPr>
            </a:p>
          </p:txBody>
        </p:sp>
        <p:grpSp>
          <p:nvGrpSpPr>
            <p:cNvPr id="32" name="Group 31">
              <a:extLst>
                <a:ext uri="{FF2B5EF4-FFF2-40B4-BE49-F238E27FC236}">
                  <a16:creationId xmlns:a16="http://schemas.microsoft.com/office/drawing/2014/main" id="{E3BDE448-F7BB-41EF-84B9-917EBE4DF14E}"/>
                </a:ext>
              </a:extLst>
            </p:cNvPr>
            <p:cNvGrpSpPr>
              <a:grpSpLocks noChangeAspect="1"/>
            </p:cNvGrpSpPr>
            <p:nvPr/>
          </p:nvGrpSpPr>
          <p:grpSpPr>
            <a:xfrm>
              <a:off x="8356272" y="5898619"/>
              <a:ext cx="320290" cy="319316"/>
              <a:chOff x="558801" y="3335338"/>
              <a:chExt cx="522288" cy="520700"/>
            </a:xfrm>
          </p:grpSpPr>
          <p:sp>
            <p:nvSpPr>
              <p:cNvPr id="33" name="Freeform 45">
                <a:extLst>
                  <a:ext uri="{FF2B5EF4-FFF2-40B4-BE49-F238E27FC236}">
                    <a16:creationId xmlns:a16="http://schemas.microsoft.com/office/drawing/2014/main" id="{5BABA7DF-924D-4B93-89F4-32964CE67803}"/>
                  </a:ext>
                </a:extLst>
              </p:cNvPr>
              <p:cNvSpPr>
                <a:spLocks noEditPoints="1"/>
              </p:cNvSpPr>
              <p:nvPr/>
            </p:nvSpPr>
            <p:spPr bwMode="auto">
              <a:xfrm>
                <a:off x="558801" y="3335338"/>
                <a:ext cx="522288" cy="520700"/>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4 w 658"/>
                  <a:gd name="T11" fmla="*/ 426 h 657"/>
                  <a:gd name="T12" fmla="*/ 4 w 658"/>
                  <a:gd name="T13" fmla="*/ 379 h 657"/>
                  <a:gd name="T14" fmla="*/ 0 w 658"/>
                  <a:gd name="T15" fmla="*/ 329 h 657"/>
                  <a:gd name="T16" fmla="*/ 1 w 658"/>
                  <a:gd name="T17" fmla="*/ 296 h 657"/>
                  <a:gd name="T18" fmla="*/ 10 w 658"/>
                  <a:gd name="T19" fmla="*/ 246 h 657"/>
                  <a:gd name="T20" fmla="*/ 40 w 658"/>
                  <a:gd name="T21" fmla="*/ 172 h 657"/>
                  <a:gd name="T22" fmla="*/ 96 w 658"/>
                  <a:gd name="T23" fmla="*/ 97 h 657"/>
                  <a:gd name="T24" fmla="*/ 172 w 658"/>
                  <a:gd name="T25" fmla="*/ 39 h 657"/>
                  <a:gd name="T26" fmla="*/ 247 w 658"/>
                  <a:gd name="T27" fmla="*/ 11 h 657"/>
                  <a:gd name="T28" fmla="*/ 295 w 658"/>
                  <a:gd name="T29" fmla="*/ 2 h 657"/>
                  <a:gd name="T30" fmla="*/ 329 w 658"/>
                  <a:gd name="T31" fmla="*/ 0 h 657"/>
                  <a:gd name="T32" fmla="*/ 378 w 658"/>
                  <a:gd name="T33" fmla="*/ 4 h 657"/>
                  <a:gd name="T34" fmla="*/ 427 w 658"/>
                  <a:gd name="T35" fmla="*/ 15 h 657"/>
                  <a:gd name="T36" fmla="*/ 513 w 658"/>
                  <a:gd name="T37" fmla="*/ 57 h 657"/>
                  <a:gd name="T38" fmla="*/ 582 w 658"/>
                  <a:gd name="T39" fmla="*/ 120 h 657"/>
                  <a:gd name="T40" fmla="*/ 631 w 658"/>
                  <a:gd name="T41" fmla="*/ 200 h 657"/>
                  <a:gd name="T42" fmla="*/ 651 w 658"/>
                  <a:gd name="T43" fmla="*/ 262 h 657"/>
                  <a:gd name="T44" fmla="*/ 656 w 658"/>
                  <a:gd name="T45" fmla="*/ 312 h 657"/>
                  <a:gd name="T46" fmla="*/ 656 w 658"/>
                  <a:gd name="T47" fmla="*/ 345 h 657"/>
                  <a:gd name="T48" fmla="*/ 651 w 658"/>
                  <a:gd name="T49" fmla="*/ 395 h 657"/>
                  <a:gd name="T50" fmla="*/ 631 w 658"/>
                  <a:gd name="T51" fmla="*/ 457 h 657"/>
                  <a:gd name="T52" fmla="*/ 582 w 658"/>
                  <a:gd name="T53" fmla="*/ 537 h 657"/>
                  <a:gd name="T54" fmla="*/ 513 w 658"/>
                  <a:gd name="T55" fmla="*/ 601 h 657"/>
                  <a:gd name="T56" fmla="*/ 427 w 658"/>
                  <a:gd name="T57" fmla="*/ 642 h 657"/>
                  <a:gd name="T58" fmla="*/ 378 w 658"/>
                  <a:gd name="T59" fmla="*/ 654 h 657"/>
                  <a:gd name="T60" fmla="*/ 329 w 658"/>
                  <a:gd name="T61" fmla="*/ 657 h 657"/>
                  <a:gd name="T62" fmla="*/ 329 w 658"/>
                  <a:gd name="T63" fmla="*/ 38 h 657"/>
                  <a:gd name="T64" fmla="*/ 243 w 658"/>
                  <a:gd name="T65" fmla="*/ 51 h 657"/>
                  <a:gd name="T66" fmla="*/ 166 w 658"/>
                  <a:gd name="T67" fmla="*/ 88 h 657"/>
                  <a:gd name="T68" fmla="*/ 104 w 658"/>
                  <a:gd name="T69" fmla="*/ 144 h 657"/>
                  <a:gd name="T70" fmla="*/ 60 w 658"/>
                  <a:gd name="T71" fmla="*/ 215 h 657"/>
                  <a:gd name="T72" fmla="*/ 39 w 658"/>
                  <a:gd name="T73" fmla="*/ 298 h 657"/>
                  <a:gd name="T74" fmla="*/ 39 w 658"/>
                  <a:gd name="T75" fmla="*/ 359 h 657"/>
                  <a:gd name="T76" fmla="*/ 60 w 658"/>
                  <a:gd name="T77" fmla="*/ 442 h 657"/>
                  <a:gd name="T78" fmla="*/ 104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4 w 658"/>
                  <a:gd name="T93" fmla="*/ 468 h 657"/>
                  <a:gd name="T94" fmla="*/ 613 w 658"/>
                  <a:gd name="T95" fmla="*/ 387 h 657"/>
                  <a:gd name="T96" fmla="*/ 620 w 658"/>
                  <a:gd name="T97" fmla="*/ 329 h 657"/>
                  <a:gd name="T98" fmla="*/ 607 w 658"/>
                  <a:gd name="T99" fmla="*/ 242 h 657"/>
                  <a:gd name="T100" fmla="*/ 570 w 658"/>
                  <a:gd name="T101" fmla="*/ 165 h 657"/>
                  <a:gd name="T102" fmla="*/ 514 w 658"/>
                  <a:gd name="T103" fmla="*/ 104 h 657"/>
                  <a:gd name="T104" fmla="*/ 441 w 658"/>
                  <a:gd name="T105" fmla="*/ 61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6"/>
                    </a:lnTo>
                    <a:lnTo>
                      <a:pt x="279" y="654"/>
                    </a:lnTo>
                    <a:lnTo>
                      <a:pt x="263" y="650"/>
                    </a:lnTo>
                    <a:lnTo>
                      <a:pt x="247" y="648"/>
                    </a:lnTo>
                    <a:lnTo>
                      <a:pt x="231" y="642"/>
                    </a:lnTo>
                    <a:lnTo>
                      <a:pt x="201" y="631"/>
                    </a:lnTo>
                    <a:lnTo>
                      <a:pt x="172" y="618"/>
                    </a:lnTo>
                    <a:lnTo>
                      <a:pt x="145" y="601"/>
                    </a:lnTo>
                    <a:lnTo>
                      <a:pt x="119" y="582"/>
                    </a:lnTo>
                    <a:lnTo>
                      <a:pt x="96" y="562"/>
                    </a:lnTo>
                    <a:lnTo>
                      <a:pt x="75" y="537"/>
                    </a:lnTo>
                    <a:lnTo>
                      <a:pt x="56" y="512"/>
                    </a:lnTo>
                    <a:lnTo>
                      <a:pt x="40" y="485"/>
                    </a:lnTo>
                    <a:lnTo>
                      <a:pt x="25" y="457"/>
                    </a:lnTo>
                    <a:lnTo>
                      <a:pt x="14" y="426"/>
                    </a:lnTo>
                    <a:lnTo>
                      <a:pt x="10" y="411"/>
                    </a:lnTo>
                    <a:lnTo>
                      <a:pt x="6" y="395"/>
                    </a:lnTo>
                    <a:lnTo>
                      <a:pt x="4" y="379"/>
                    </a:lnTo>
                    <a:lnTo>
                      <a:pt x="1" y="363"/>
                    </a:lnTo>
                    <a:lnTo>
                      <a:pt x="0" y="345"/>
                    </a:lnTo>
                    <a:lnTo>
                      <a:pt x="0" y="329"/>
                    </a:lnTo>
                    <a:lnTo>
                      <a:pt x="0" y="329"/>
                    </a:lnTo>
                    <a:lnTo>
                      <a:pt x="0" y="312"/>
                    </a:lnTo>
                    <a:lnTo>
                      <a:pt x="1" y="296"/>
                    </a:lnTo>
                    <a:lnTo>
                      <a:pt x="4" y="278"/>
                    </a:lnTo>
                    <a:lnTo>
                      <a:pt x="6" y="262"/>
                    </a:lnTo>
                    <a:lnTo>
                      <a:pt x="10" y="246"/>
                    </a:lnTo>
                    <a:lnTo>
                      <a:pt x="14" y="231"/>
                    </a:lnTo>
                    <a:lnTo>
                      <a:pt x="25" y="200"/>
                    </a:lnTo>
                    <a:lnTo>
                      <a:pt x="40" y="172"/>
                    </a:lnTo>
                    <a:lnTo>
                      <a:pt x="56" y="145"/>
                    </a:lnTo>
                    <a:lnTo>
                      <a:pt x="75" y="120"/>
                    </a:lnTo>
                    <a:lnTo>
                      <a:pt x="96" y="97"/>
                    </a:lnTo>
                    <a:lnTo>
                      <a:pt x="119" y="75"/>
                    </a:lnTo>
                    <a:lnTo>
                      <a:pt x="145" y="57"/>
                    </a:lnTo>
                    <a:lnTo>
                      <a:pt x="172" y="39"/>
                    </a:lnTo>
                    <a:lnTo>
                      <a:pt x="201" y="26"/>
                    </a:lnTo>
                    <a:lnTo>
                      <a:pt x="231" y="15"/>
                    </a:lnTo>
                    <a:lnTo>
                      <a:pt x="247" y="11"/>
                    </a:lnTo>
                    <a:lnTo>
                      <a:pt x="263" y="7"/>
                    </a:lnTo>
                    <a:lnTo>
                      <a:pt x="279" y="4"/>
                    </a:lnTo>
                    <a:lnTo>
                      <a:pt x="295" y="2"/>
                    </a:lnTo>
                    <a:lnTo>
                      <a:pt x="311" y="0"/>
                    </a:lnTo>
                    <a:lnTo>
                      <a:pt x="329" y="0"/>
                    </a:lnTo>
                    <a:lnTo>
                      <a:pt x="329" y="0"/>
                    </a:lnTo>
                    <a:lnTo>
                      <a:pt x="346" y="0"/>
                    </a:lnTo>
                    <a:lnTo>
                      <a:pt x="362" y="2"/>
                    </a:lnTo>
                    <a:lnTo>
                      <a:pt x="378" y="4"/>
                    </a:lnTo>
                    <a:lnTo>
                      <a:pt x="394" y="7"/>
                    </a:lnTo>
                    <a:lnTo>
                      <a:pt x="411" y="11"/>
                    </a:lnTo>
                    <a:lnTo>
                      <a:pt x="427" y="15"/>
                    </a:lnTo>
                    <a:lnTo>
                      <a:pt x="456" y="26"/>
                    </a:lnTo>
                    <a:lnTo>
                      <a:pt x="486" y="39"/>
                    </a:lnTo>
                    <a:lnTo>
                      <a:pt x="513" y="57"/>
                    </a:lnTo>
                    <a:lnTo>
                      <a:pt x="538" y="75"/>
                    </a:lnTo>
                    <a:lnTo>
                      <a:pt x="561" y="97"/>
                    </a:lnTo>
                    <a:lnTo>
                      <a:pt x="582" y="120"/>
                    </a:lnTo>
                    <a:lnTo>
                      <a:pt x="601" y="145"/>
                    </a:lnTo>
                    <a:lnTo>
                      <a:pt x="617" y="172"/>
                    </a:lnTo>
                    <a:lnTo>
                      <a:pt x="631" y="200"/>
                    </a:lnTo>
                    <a:lnTo>
                      <a:pt x="643" y="231"/>
                    </a:lnTo>
                    <a:lnTo>
                      <a:pt x="647" y="246"/>
                    </a:lnTo>
                    <a:lnTo>
                      <a:pt x="651" y="262"/>
                    </a:lnTo>
                    <a:lnTo>
                      <a:pt x="654" y="278"/>
                    </a:lnTo>
                    <a:lnTo>
                      <a:pt x="655" y="296"/>
                    </a:lnTo>
                    <a:lnTo>
                      <a:pt x="656" y="312"/>
                    </a:lnTo>
                    <a:lnTo>
                      <a:pt x="658" y="329"/>
                    </a:lnTo>
                    <a:lnTo>
                      <a:pt x="658" y="329"/>
                    </a:lnTo>
                    <a:lnTo>
                      <a:pt x="656" y="345"/>
                    </a:lnTo>
                    <a:lnTo>
                      <a:pt x="655" y="363"/>
                    </a:lnTo>
                    <a:lnTo>
                      <a:pt x="654" y="379"/>
                    </a:lnTo>
                    <a:lnTo>
                      <a:pt x="651" y="395"/>
                    </a:lnTo>
                    <a:lnTo>
                      <a:pt x="647" y="411"/>
                    </a:lnTo>
                    <a:lnTo>
                      <a:pt x="643" y="426"/>
                    </a:lnTo>
                    <a:lnTo>
                      <a:pt x="631" y="457"/>
                    </a:lnTo>
                    <a:lnTo>
                      <a:pt x="617" y="485"/>
                    </a:lnTo>
                    <a:lnTo>
                      <a:pt x="601" y="512"/>
                    </a:lnTo>
                    <a:lnTo>
                      <a:pt x="582" y="537"/>
                    </a:lnTo>
                    <a:lnTo>
                      <a:pt x="561" y="562"/>
                    </a:lnTo>
                    <a:lnTo>
                      <a:pt x="538" y="582"/>
                    </a:lnTo>
                    <a:lnTo>
                      <a:pt x="513" y="601"/>
                    </a:lnTo>
                    <a:lnTo>
                      <a:pt x="486" y="618"/>
                    </a:lnTo>
                    <a:lnTo>
                      <a:pt x="456" y="631"/>
                    </a:lnTo>
                    <a:lnTo>
                      <a:pt x="427" y="642"/>
                    </a:lnTo>
                    <a:lnTo>
                      <a:pt x="411" y="648"/>
                    </a:lnTo>
                    <a:lnTo>
                      <a:pt x="394" y="650"/>
                    </a:lnTo>
                    <a:lnTo>
                      <a:pt x="378" y="654"/>
                    </a:lnTo>
                    <a:lnTo>
                      <a:pt x="362" y="656"/>
                    </a:lnTo>
                    <a:lnTo>
                      <a:pt x="346" y="657"/>
                    </a:lnTo>
                    <a:lnTo>
                      <a:pt x="329" y="657"/>
                    </a:lnTo>
                    <a:lnTo>
                      <a:pt x="329" y="657"/>
                    </a:lnTo>
                    <a:close/>
                    <a:moveTo>
                      <a:pt x="329" y="38"/>
                    </a:moveTo>
                    <a:lnTo>
                      <a:pt x="329" y="38"/>
                    </a:lnTo>
                    <a:lnTo>
                      <a:pt x="299" y="39"/>
                    </a:lnTo>
                    <a:lnTo>
                      <a:pt x="270" y="43"/>
                    </a:lnTo>
                    <a:lnTo>
                      <a:pt x="243" y="51"/>
                    </a:lnTo>
                    <a:lnTo>
                      <a:pt x="216" y="61"/>
                    </a:lnTo>
                    <a:lnTo>
                      <a:pt x="190" y="73"/>
                    </a:lnTo>
                    <a:lnTo>
                      <a:pt x="166" y="88"/>
                    </a:lnTo>
                    <a:lnTo>
                      <a:pt x="143" y="104"/>
                    </a:lnTo>
                    <a:lnTo>
                      <a:pt x="123" y="123"/>
                    </a:lnTo>
                    <a:lnTo>
                      <a:pt x="104" y="144"/>
                    </a:lnTo>
                    <a:lnTo>
                      <a:pt x="87" y="165"/>
                    </a:lnTo>
                    <a:lnTo>
                      <a:pt x="72" y="190"/>
                    </a:lnTo>
                    <a:lnTo>
                      <a:pt x="60" y="215"/>
                    </a:lnTo>
                    <a:lnTo>
                      <a:pt x="51" y="242"/>
                    </a:lnTo>
                    <a:lnTo>
                      <a:pt x="44" y="270"/>
                    </a:lnTo>
                    <a:lnTo>
                      <a:pt x="39" y="298"/>
                    </a:lnTo>
                    <a:lnTo>
                      <a:pt x="37" y="329"/>
                    </a:lnTo>
                    <a:lnTo>
                      <a:pt x="37" y="329"/>
                    </a:lnTo>
                    <a:lnTo>
                      <a:pt x="39" y="359"/>
                    </a:lnTo>
                    <a:lnTo>
                      <a:pt x="44" y="387"/>
                    </a:lnTo>
                    <a:lnTo>
                      <a:pt x="51" y="415"/>
                    </a:lnTo>
                    <a:lnTo>
                      <a:pt x="60" y="442"/>
                    </a:lnTo>
                    <a:lnTo>
                      <a:pt x="72" y="468"/>
                    </a:lnTo>
                    <a:lnTo>
                      <a:pt x="87" y="492"/>
                    </a:lnTo>
                    <a:lnTo>
                      <a:pt x="104" y="513"/>
                    </a:lnTo>
                    <a:lnTo>
                      <a:pt x="123" y="535"/>
                    </a:lnTo>
                    <a:lnTo>
                      <a:pt x="143" y="554"/>
                    </a:lnTo>
                    <a:lnTo>
                      <a:pt x="166" y="570"/>
                    </a:lnTo>
                    <a:lnTo>
                      <a:pt x="190" y="584"/>
                    </a:lnTo>
                    <a:lnTo>
                      <a:pt x="216" y="597"/>
                    </a:lnTo>
                    <a:lnTo>
                      <a:pt x="243" y="607"/>
                    </a:lnTo>
                    <a:lnTo>
                      <a:pt x="270" y="614"/>
                    </a:lnTo>
                    <a:lnTo>
                      <a:pt x="299" y="618"/>
                    </a:lnTo>
                    <a:lnTo>
                      <a:pt x="329" y="619"/>
                    </a:lnTo>
                    <a:lnTo>
                      <a:pt x="329" y="619"/>
                    </a:lnTo>
                    <a:lnTo>
                      <a:pt x="358" y="618"/>
                    </a:lnTo>
                    <a:lnTo>
                      <a:pt x="388" y="614"/>
                    </a:lnTo>
                    <a:lnTo>
                      <a:pt x="415" y="607"/>
                    </a:lnTo>
                    <a:lnTo>
                      <a:pt x="441" y="597"/>
                    </a:lnTo>
                    <a:lnTo>
                      <a:pt x="467" y="584"/>
                    </a:lnTo>
                    <a:lnTo>
                      <a:pt x="491" y="570"/>
                    </a:lnTo>
                    <a:lnTo>
                      <a:pt x="514" y="554"/>
                    </a:lnTo>
                    <a:lnTo>
                      <a:pt x="534" y="535"/>
                    </a:lnTo>
                    <a:lnTo>
                      <a:pt x="553" y="513"/>
                    </a:lnTo>
                    <a:lnTo>
                      <a:pt x="570" y="492"/>
                    </a:lnTo>
                    <a:lnTo>
                      <a:pt x="584" y="468"/>
                    </a:lnTo>
                    <a:lnTo>
                      <a:pt x="597" y="442"/>
                    </a:lnTo>
                    <a:lnTo>
                      <a:pt x="607" y="415"/>
                    </a:lnTo>
                    <a:lnTo>
                      <a:pt x="613" y="387"/>
                    </a:lnTo>
                    <a:lnTo>
                      <a:pt x="619" y="359"/>
                    </a:lnTo>
                    <a:lnTo>
                      <a:pt x="620" y="329"/>
                    </a:lnTo>
                    <a:lnTo>
                      <a:pt x="620" y="329"/>
                    </a:lnTo>
                    <a:lnTo>
                      <a:pt x="619" y="298"/>
                    </a:lnTo>
                    <a:lnTo>
                      <a:pt x="613" y="270"/>
                    </a:lnTo>
                    <a:lnTo>
                      <a:pt x="607" y="242"/>
                    </a:lnTo>
                    <a:lnTo>
                      <a:pt x="597" y="215"/>
                    </a:lnTo>
                    <a:lnTo>
                      <a:pt x="584" y="190"/>
                    </a:lnTo>
                    <a:lnTo>
                      <a:pt x="570" y="165"/>
                    </a:lnTo>
                    <a:lnTo>
                      <a:pt x="553" y="144"/>
                    </a:lnTo>
                    <a:lnTo>
                      <a:pt x="534" y="123"/>
                    </a:lnTo>
                    <a:lnTo>
                      <a:pt x="514" y="104"/>
                    </a:lnTo>
                    <a:lnTo>
                      <a:pt x="491" y="88"/>
                    </a:lnTo>
                    <a:lnTo>
                      <a:pt x="467" y="73"/>
                    </a:lnTo>
                    <a:lnTo>
                      <a:pt x="441" y="61"/>
                    </a:lnTo>
                    <a:lnTo>
                      <a:pt x="415" y="51"/>
                    </a:lnTo>
                    <a:lnTo>
                      <a:pt x="388" y="43"/>
                    </a:lnTo>
                    <a:lnTo>
                      <a:pt x="358"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endParaRPr>
              </a:p>
            </p:txBody>
          </p:sp>
          <p:sp>
            <p:nvSpPr>
              <p:cNvPr id="34" name="Freeform 262">
                <a:extLst>
                  <a:ext uri="{FF2B5EF4-FFF2-40B4-BE49-F238E27FC236}">
                    <a16:creationId xmlns:a16="http://schemas.microsoft.com/office/drawing/2014/main" id="{7A097E01-268B-4CE9-884C-304432081EB0}"/>
                  </a:ext>
                </a:extLst>
              </p:cNvPr>
              <p:cNvSpPr>
                <a:spLocks/>
              </p:cNvSpPr>
              <p:nvPr/>
            </p:nvSpPr>
            <p:spPr bwMode="auto">
              <a:xfrm>
                <a:off x="763588" y="3435350"/>
                <a:ext cx="114300" cy="215900"/>
              </a:xfrm>
              <a:custGeom>
                <a:avLst/>
                <a:gdLst>
                  <a:gd name="T0" fmla="*/ 65 w 145"/>
                  <a:gd name="T1" fmla="*/ 155 h 272"/>
                  <a:gd name="T2" fmla="*/ 65 w 145"/>
                  <a:gd name="T3" fmla="*/ 264 h 272"/>
                  <a:gd name="T4" fmla="*/ 66 w 145"/>
                  <a:gd name="T5" fmla="*/ 269 h 272"/>
                  <a:gd name="T6" fmla="*/ 73 w 145"/>
                  <a:gd name="T7" fmla="*/ 272 h 272"/>
                  <a:gd name="T8" fmla="*/ 75 w 145"/>
                  <a:gd name="T9" fmla="*/ 272 h 272"/>
                  <a:gd name="T10" fmla="*/ 81 w 145"/>
                  <a:gd name="T11" fmla="*/ 267 h 272"/>
                  <a:gd name="T12" fmla="*/ 81 w 145"/>
                  <a:gd name="T13" fmla="*/ 214 h 272"/>
                  <a:gd name="T14" fmla="*/ 85 w 145"/>
                  <a:gd name="T15" fmla="*/ 214 h 272"/>
                  <a:gd name="T16" fmla="*/ 108 w 145"/>
                  <a:gd name="T17" fmla="*/ 209 h 272"/>
                  <a:gd name="T18" fmla="*/ 128 w 145"/>
                  <a:gd name="T19" fmla="*/ 196 h 272"/>
                  <a:gd name="T20" fmla="*/ 141 w 145"/>
                  <a:gd name="T21" fmla="*/ 177 h 272"/>
                  <a:gd name="T22" fmla="*/ 145 w 145"/>
                  <a:gd name="T23" fmla="*/ 153 h 272"/>
                  <a:gd name="T24" fmla="*/ 132 w 145"/>
                  <a:gd name="T25" fmla="*/ 126 h 272"/>
                  <a:gd name="T26" fmla="*/ 124 w 145"/>
                  <a:gd name="T27" fmla="*/ 127 h 272"/>
                  <a:gd name="T28" fmla="*/ 109 w 145"/>
                  <a:gd name="T29" fmla="*/ 130 h 272"/>
                  <a:gd name="T30" fmla="*/ 97 w 145"/>
                  <a:gd name="T31" fmla="*/ 137 h 272"/>
                  <a:gd name="T32" fmla="*/ 86 w 145"/>
                  <a:gd name="T33" fmla="*/ 147 h 272"/>
                  <a:gd name="T34" fmla="*/ 81 w 145"/>
                  <a:gd name="T35" fmla="*/ 8 h 272"/>
                  <a:gd name="T36" fmla="*/ 81 w 145"/>
                  <a:gd name="T37" fmla="*/ 4 h 272"/>
                  <a:gd name="T38" fmla="*/ 75 w 145"/>
                  <a:gd name="T39" fmla="*/ 0 h 272"/>
                  <a:gd name="T40" fmla="*/ 73 w 145"/>
                  <a:gd name="T41" fmla="*/ 0 h 272"/>
                  <a:gd name="T42" fmla="*/ 66 w 145"/>
                  <a:gd name="T43" fmla="*/ 1 h 272"/>
                  <a:gd name="T44" fmla="*/ 65 w 145"/>
                  <a:gd name="T45" fmla="*/ 8 h 272"/>
                  <a:gd name="T46" fmla="*/ 65 w 145"/>
                  <a:gd name="T47" fmla="*/ 94 h 272"/>
                  <a:gd name="T48" fmla="*/ 54 w 145"/>
                  <a:gd name="T49" fmla="*/ 83 h 272"/>
                  <a:gd name="T50" fmla="*/ 42 w 145"/>
                  <a:gd name="T51" fmla="*/ 75 h 272"/>
                  <a:gd name="T52" fmla="*/ 28 w 145"/>
                  <a:gd name="T53" fmla="*/ 69 h 272"/>
                  <a:gd name="T54" fmla="*/ 14 w 145"/>
                  <a:gd name="T55" fmla="*/ 68 h 272"/>
                  <a:gd name="T56" fmla="*/ 0 w 145"/>
                  <a:gd name="T57" fmla="*/ 94 h 272"/>
                  <a:gd name="T58" fmla="*/ 0 w 145"/>
                  <a:gd name="T59" fmla="*/ 106 h 272"/>
                  <a:gd name="T60" fmla="*/ 10 w 145"/>
                  <a:gd name="T61" fmla="*/ 128 h 272"/>
                  <a:gd name="T62" fmla="*/ 27 w 145"/>
                  <a:gd name="T63" fmla="*/ 145 h 272"/>
                  <a:gd name="T64" fmla="*/ 49 w 145"/>
                  <a:gd name="T65" fmla="*/ 154 h 272"/>
                  <a:gd name="T66" fmla="*/ 61 w 145"/>
                  <a:gd name="T67" fmla="*/ 155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5" h="272">
                    <a:moveTo>
                      <a:pt x="61" y="155"/>
                    </a:moveTo>
                    <a:lnTo>
                      <a:pt x="65" y="155"/>
                    </a:lnTo>
                    <a:lnTo>
                      <a:pt x="65" y="264"/>
                    </a:lnTo>
                    <a:lnTo>
                      <a:pt x="65" y="264"/>
                    </a:lnTo>
                    <a:lnTo>
                      <a:pt x="65" y="267"/>
                    </a:lnTo>
                    <a:lnTo>
                      <a:pt x="66" y="269"/>
                    </a:lnTo>
                    <a:lnTo>
                      <a:pt x="69" y="272"/>
                    </a:lnTo>
                    <a:lnTo>
                      <a:pt x="73" y="272"/>
                    </a:lnTo>
                    <a:lnTo>
                      <a:pt x="73" y="272"/>
                    </a:lnTo>
                    <a:lnTo>
                      <a:pt x="75" y="272"/>
                    </a:lnTo>
                    <a:lnTo>
                      <a:pt x="78" y="269"/>
                    </a:lnTo>
                    <a:lnTo>
                      <a:pt x="81" y="267"/>
                    </a:lnTo>
                    <a:lnTo>
                      <a:pt x="81" y="264"/>
                    </a:lnTo>
                    <a:lnTo>
                      <a:pt x="81" y="214"/>
                    </a:lnTo>
                    <a:lnTo>
                      <a:pt x="85" y="214"/>
                    </a:lnTo>
                    <a:lnTo>
                      <a:pt x="85" y="214"/>
                    </a:lnTo>
                    <a:lnTo>
                      <a:pt x="97" y="213"/>
                    </a:lnTo>
                    <a:lnTo>
                      <a:pt x="108" y="209"/>
                    </a:lnTo>
                    <a:lnTo>
                      <a:pt x="118" y="204"/>
                    </a:lnTo>
                    <a:lnTo>
                      <a:pt x="128" y="196"/>
                    </a:lnTo>
                    <a:lnTo>
                      <a:pt x="136" y="186"/>
                    </a:lnTo>
                    <a:lnTo>
                      <a:pt x="141" y="177"/>
                    </a:lnTo>
                    <a:lnTo>
                      <a:pt x="144" y="165"/>
                    </a:lnTo>
                    <a:lnTo>
                      <a:pt x="145" y="153"/>
                    </a:lnTo>
                    <a:lnTo>
                      <a:pt x="145" y="126"/>
                    </a:lnTo>
                    <a:lnTo>
                      <a:pt x="132" y="126"/>
                    </a:lnTo>
                    <a:lnTo>
                      <a:pt x="132" y="126"/>
                    </a:lnTo>
                    <a:lnTo>
                      <a:pt x="124" y="127"/>
                    </a:lnTo>
                    <a:lnTo>
                      <a:pt x="117" y="128"/>
                    </a:lnTo>
                    <a:lnTo>
                      <a:pt x="109" y="130"/>
                    </a:lnTo>
                    <a:lnTo>
                      <a:pt x="102" y="134"/>
                    </a:lnTo>
                    <a:lnTo>
                      <a:pt x="97" y="137"/>
                    </a:lnTo>
                    <a:lnTo>
                      <a:pt x="91" y="142"/>
                    </a:lnTo>
                    <a:lnTo>
                      <a:pt x="86" y="147"/>
                    </a:lnTo>
                    <a:lnTo>
                      <a:pt x="81" y="153"/>
                    </a:lnTo>
                    <a:lnTo>
                      <a:pt x="81" y="8"/>
                    </a:lnTo>
                    <a:lnTo>
                      <a:pt x="81" y="8"/>
                    </a:lnTo>
                    <a:lnTo>
                      <a:pt x="81" y="4"/>
                    </a:lnTo>
                    <a:lnTo>
                      <a:pt x="78" y="1"/>
                    </a:lnTo>
                    <a:lnTo>
                      <a:pt x="75" y="0"/>
                    </a:lnTo>
                    <a:lnTo>
                      <a:pt x="73" y="0"/>
                    </a:lnTo>
                    <a:lnTo>
                      <a:pt x="73" y="0"/>
                    </a:lnTo>
                    <a:lnTo>
                      <a:pt x="69" y="0"/>
                    </a:lnTo>
                    <a:lnTo>
                      <a:pt x="66" y="1"/>
                    </a:lnTo>
                    <a:lnTo>
                      <a:pt x="65" y="4"/>
                    </a:lnTo>
                    <a:lnTo>
                      <a:pt x="65" y="8"/>
                    </a:lnTo>
                    <a:lnTo>
                      <a:pt x="65" y="94"/>
                    </a:lnTo>
                    <a:lnTo>
                      <a:pt x="65" y="94"/>
                    </a:lnTo>
                    <a:lnTo>
                      <a:pt x="59" y="88"/>
                    </a:lnTo>
                    <a:lnTo>
                      <a:pt x="54" y="83"/>
                    </a:lnTo>
                    <a:lnTo>
                      <a:pt x="49" y="79"/>
                    </a:lnTo>
                    <a:lnTo>
                      <a:pt x="42" y="75"/>
                    </a:lnTo>
                    <a:lnTo>
                      <a:pt x="35" y="72"/>
                    </a:lnTo>
                    <a:lnTo>
                      <a:pt x="28" y="69"/>
                    </a:lnTo>
                    <a:lnTo>
                      <a:pt x="22" y="68"/>
                    </a:lnTo>
                    <a:lnTo>
                      <a:pt x="14" y="68"/>
                    </a:lnTo>
                    <a:lnTo>
                      <a:pt x="0" y="68"/>
                    </a:lnTo>
                    <a:lnTo>
                      <a:pt x="0" y="94"/>
                    </a:lnTo>
                    <a:lnTo>
                      <a:pt x="0" y="94"/>
                    </a:lnTo>
                    <a:lnTo>
                      <a:pt x="0" y="106"/>
                    </a:lnTo>
                    <a:lnTo>
                      <a:pt x="4" y="118"/>
                    </a:lnTo>
                    <a:lnTo>
                      <a:pt x="10" y="128"/>
                    </a:lnTo>
                    <a:lnTo>
                      <a:pt x="18" y="138"/>
                    </a:lnTo>
                    <a:lnTo>
                      <a:pt x="27" y="145"/>
                    </a:lnTo>
                    <a:lnTo>
                      <a:pt x="36" y="150"/>
                    </a:lnTo>
                    <a:lnTo>
                      <a:pt x="49" y="154"/>
                    </a:lnTo>
                    <a:lnTo>
                      <a:pt x="61" y="155"/>
                    </a:lnTo>
                    <a:lnTo>
                      <a:pt x="61" y="1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endParaRPr>
              </a:p>
            </p:txBody>
          </p:sp>
          <p:sp>
            <p:nvSpPr>
              <p:cNvPr id="35" name="Freeform 263">
                <a:extLst>
                  <a:ext uri="{FF2B5EF4-FFF2-40B4-BE49-F238E27FC236}">
                    <a16:creationId xmlns:a16="http://schemas.microsoft.com/office/drawing/2014/main" id="{4D07F743-1EF3-4C59-892F-7D5CDD1A47EC}"/>
                  </a:ext>
                </a:extLst>
              </p:cNvPr>
              <p:cNvSpPr>
                <a:spLocks/>
              </p:cNvSpPr>
              <p:nvPr/>
            </p:nvSpPr>
            <p:spPr bwMode="auto">
              <a:xfrm>
                <a:off x="674688" y="3668713"/>
                <a:ext cx="292100" cy="52388"/>
              </a:xfrm>
              <a:custGeom>
                <a:avLst/>
                <a:gdLst>
                  <a:gd name="T0" fmla="*/ 360 w 368"/>
                  <a:gd name="T1" fmla="*/ 47 h 64"/>
                  <a:gd name="T2" fmla="*/ 249 w 368"/>
                  <a:gd name="T3" fmla="*/ 47 h 64"/>
                  <a:gd name="T4" fmla="*/ 249 w 368"/>
                  <a:gd name="T5" fmla="*/ 47 h 64"/>
                  <a:gd name="T6" fmla="*/ 248 w 368"/>
                  <a:gd name="T7" fmla="*/ 38 h 64"/>
                  <a:gd name="T8" fmla="*/ 244 w 368"/>
                  <a:gd name="T9" fmla="*/ 28 h 64"/>
                  <a:gd name="T10" fmla="*/ 239 w 368"/>
                  <a:gd name="T11" fmla="*/ 20 h 64"/>
                  <a:gd name="T12" fmla="*/ 232 w 368"/>
                  <a:gd name="T13" fmla="*/ 13 h 64"/>
                  <a:gd name="T14" fmla="*/ 224 w 368"/>
                  <a:gd name="T15" fmla="*/ 8 h 64"/>
                  <a:gd name="T16" fmla="*/ 215 w 368"/>
                  <a:gd name="T17" fmla="*/ 4 h 64"/>
                  <a:gd name="T18" fmla="*/ 205 w 368"/>
                  <a:gd name="T19" fmla="*/ 1 h 64"/>
                  <a:gd name="T20" fmla="*/ 196 w 368"/>
                  <a:gd name="T21" fmla="*/ 0 h 64"/>
                  <a:gd name="T22" fmla="*/ 196 w 368"/>
                  <a:gd name="T23" fmla="*/ 0 h 64"/>
                  <a:gd name="T24" fmla="*/ 188 w 368"/>
                  <a:gd name="T25" fmla="*/ 0 h 64"/>
                  <a:gd name="T26" fmla="*/ 181 w 368"/>
                  <a:gd name="T27" fmla="*/ 1 h 64"/>
                  <a:gd name="T28" fmla="*/ 174 w 368"/>
                  <a:gd name="T29" fmla="*/ 4 h 64"/>
                  <a:gd name="T30" fmla="*/ 169 w 368"/>
                  <a:gd name="T31" fmla="*/ 7 h 64"/>
                  <a:gd name="T32" fmla="*/ 162 w 368"/>
                  <a:gd name="T33" fmla="*/ 11 h 64"/>
                  <a:gd name="T34" fmla="*/ 157 w 368"/>
                  <a:gd name="T35" fmla="*/ 15 h 64"/>
                  <a:gd name="T36" fmla="*/ 153 w 368"/>
                  <a:gd name="T37" fmla="*/ 20 h 64"/>
                  <a:gd name="T38" fmla="*/ 149 w 368"/>
                  <a:gd name="T39" fmla="*/ 25 h 64"/>
                  <a:gd name="T40" fmla="*/ 149 w 368"/>
                  <a:gd name="T41" fmla="*/ 25 h 64"/>
                  <a:gd name="T42" fmla="*/ 142 w 368"/>
                  <a:gd name="T43" fmla="*/ 24 h 64"/>
                  <a:gd name="T44" fmla="*/ 137 w 368"/>
                  <a:gd name="T45" fmla="*/ 24 h 64"/>
                  <a:gd name="T46" fmla="*/ 137 w 368"/>
                  <a:gd name="T47" fmla="*/ 24 h 64"/>
                  <a:gd name="T48" fmla="*/ 131 w 368"/>
                  <a:gd name="T49" fmla="*/ 24 h 64"/>
                  <a:gd name="T50" fmla="*/ 126 w 368"/>
                  <a:gd name="T51" fmla="*/ 25 h 64"/>
                  <a:gd name="T52" fmla="*/ 122 w 368"/>
                  <a:gd name="T53" fmla="*/ 27 h 64"/>
                  <a:gd name="T54" fmla="*/ 118 w 368"/>
                  <a:gd name="T55" fmla="*/ 30 h 64"/>
                  <a:gd name="T56" fmla="*/ 114 w 368"/>
                  <a:gd name="T57" fmla="*/ 34 h 64"/>
                  <a:gd name="T58" fmla="*/ 110 w 368"/>
                  <a:gd name="T59" fmla="*/ 38 h 64"/>
                  <a:gd name="T60" fmla="*/ 107 w 368"/>
                  <a:gd name="T61" fmla="*/ 42 h 64"/>
                  <a:gd name="T62" fmla="*/ 106 w 368"/>
                  <a:gd name="T63" fmla="*/ 47 h 64"/>
                  <a:gd name="T64" fmla="*/ 8 w 368"/>
                  <a:gd name="T65" fmla="*/ 47 h 64"/>
                  <a:gd name="T66" fmla="*/ 8 w 368"/>
                  <a:gd name="T67" fmla="*/ 47 h 64"/>
                  <a:gd name="T68" fmla="*/ 4 w 368"/>
                  <a:gd name="T69" fmla="*/ 47 h 64"/>
                  <a:gd name="T70" fmla="*/ 1 w 368"/>
                  <a:gd name="T71" fmla="*/ 50 h 64"/>
                  <a:gd name="T72" fmla="*/ 0 w 368"/>
                  <a:gd name="T73" fmla="*/ 52 h 64"/>
                  <a:gd name="T74" fmla="*/ 0 w 368"/>
                  <a:gd name="T75" fmla="*/ 55 h 64"/>
                  <a:gd name="T76" fmla="*/ 0 w 368"/>
                  <a:gd name="T77" fmla="*/ 55 h 64"/>
                  <a:gd name="T78" fmla="*/ 0 w 368"/>
                  <a:gd name="T79" fmla="*/ 59 h 64"/>
                  <a:gd name="T80" fmla="*/ 1 w 368"/>
                  <a:gd name="T81" fmla="*/ 62 h 64"/>
                  <a:gd name="T82" fmla="*/ 4 w 368"/>
                  <a:gd name="T83" fmla="*/ 63 h 64"/>
                  <a:gd name="T84" fmla="*/ 8 w 368"/>
                  <a:gd name="T85" fmla="*/ 64 h 64"/>
                  <a:gd name="T86" fmla="*/ 360 w 368"/>
                  <a:gd name="T87" fmla="*/ 64 h 64"/>
                  <a:gd name="T88" fmla="*/ 360 w 368"/>
                  <a:gd name="T89" fmla="*/ 64 h 64"/>
                  <a:gd name="T90" fmla="*/ 362 w 368"/>
                  <a:gd name="T91" fmla="*/ 63 h 64"/>
                  <a:gd name="T92" fmla="*/ 365 w 368"/>
                  <a:gd name="T93" fmla="*/ 62 h 64"/>
                  <a:gd name="T94" fmla="*/ 368 w 368"/>
                  <a:gd name="T95" fmla="*/ 59 h 64"/>
                  <a:gd name="T96" fmla="*/ 368 w 368"/>
                  <a:gd name="T97" fmla="*/ 55 h 64"/>
                  <a:gd name="T98" fmla="*/ 368 w 368"/>
                  <a:gd name="T99" fmla="*/ 55 h 64"/>
                  <a:gd name="T100" fmla="*/ 368 w 368"/>
                  <a:gd name="T101" fmla="*/ 52 h 64"/>
                  <a:gd name="T102" fmla="*/ 365 w 368"/>
                  <a:gd name="T103" fmla="*/ 50 h 64"/>
                  <a:gd name="T104" fmla="*/ 362 w 368"/>
                  <a:gd name="T105" fmla="*/ 47 h 64"/>
                  <a:gd name="T106" fmla="*/ 360 w 368"/>
                  <a:gd name="T107" fmla="*/ 47 h 64"/>
                  <a:gd name="T108" fmla="*/ 360 w 368"/>
                  <a:gd name="T109" fmla="*/ 4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68" h="64">
                    <a:moveTo>
                      <a:pt x="360" y="47"/>
                    </a:moveTo>
                    <a:lnTo>
                      <a:pt x="249" y="47"/>
                    </a:lnTo>
                    <a:lnTo>
                      <a:pt x="249" y="47"/>
                    </a:lnTo>
                    <a:lnTo>
                      <a:pt x="248" y="38"/>
                    </a:lnTo>
                    <a:lnTo>
                      <a:pt x="244" y="28"/>
                    </a:lnTo>
                    <a:lnTo>
                      <a:pt x="239" y="20"/>
                    </a:lnTo>
                    <a:lnTo>
                      <a:pt x="232" y="13"/>
                    </a:lnTo>
                    <a:lnTo>
                      <a:pt x="224" y="8"/>
                    </a:lnTo>
                    <a:lnTo>
                      <a:pt x="215" y="4"/>
                    </a:lnTo>
                    <a:lnTo>
                      <a:pt x="205" y="1"/>
                    </a:lnTo>
                    <a:lnTo>
                      <a:pt x="196" y="0"/>
                    </a:lnTo>
                    <a:lnTo>
                      <a:pt x="196" y="0"/>
                    </a:lnTo>
                    <a:lnTo>
                      <a:pt x="188" y="0"/>
                    </a:lnTo>
                    <a:lnTo>
                      <a:pt x="181" y="1"/>
                    </a:lnTo>
                    <a:lnTo>
                      <a:pt x="174" y="4"/>
                    </a:lnTo>
                    <a:lnTo>
                      <a:pt x="169" y="7"/>
                    </a:lnTo>
                    <a:lnTo>
                      <a:pt x="162" y="11"/>
                    </a:lnTo>
                    <a:lnTo>
                      <a:pt x="157" y="15"/>
                    </a:lnTo>
                    <a:lnTo>
                      <a:pt x="153" y="20"/>
                    </a:lnTo>
                    <a:lnTo>
                      <a:pt x="149" y="25"/>
                    </a:lnTo>
                    <a:lnTo>
                      <a:pt x="149" y="25"/>
                    </a:lnTo>
                    <a:lnTo>
                      <a:pt x="142" y="24"/>
                    </a:lnTo>
                    <a:lnTo>
                      <a:pt x="137" y="24"/>
                    </a:lnTo>
                    <a:lnTo>
                      <a:pt x="137" y="24"/>
                    </a:lnTo>
                    <a:lnTo>
                      <a:pt x="131" y="24"/>
                    </a:lnTo>
                    <a:lnTo>
                      <a:pt x="126" y="25"/>
                    </a:lnTo>
                    <a:lnTo>
                      <a:pt x="122" y="27"/>
                    </a:lnTo>
                    <a:lnTo>
                      <a:pt x="118" y="30"/>
                    </a:lnTo>
                    <a:lnTo>
                      <a:pt x="114" y="34"/>
                    </a:lnTo>
                    <a:lnTo>
                      <a:pt x="110" y="38"/>
                    </a:lnTo>
                    <a:lnTo>
                      <a:pt x="107" y="42"/>
                    </a:lnTo>
                    <a:lnTo>
                      <a:pt x="106" y="47"/>
                    </a:lnTo>
                    <a:lnTo>
                      <a:pt x="8" y="47"/>
                    </a:lnTo>
                    <a:lnTo>
                      <a:pt x="8" y="47"/>
                    </a:lnTo>
                    <a:lnTo>
                      <a:pt x="4" y="47"/>
                    </a:lnTo>
                    <a:lnTo>
                      <a:pt x="1" y="50"/>
                    </a:lnTo>
                    <a:lnTo>
                      <a:pt x="0" y="52"/>
                    </a:lnTo>
                    <a:lnTo>
                      <a:pt x="0" y="55"/>
                    </a:lnTo>
                    <a:lnTo>
                      <a:pt x="0" y="55"/>
                    </a:lnTo>
                    <a:lnTo>
                      <a:pt x="0" y="59"/>
                    </a:lnTo>
                    <a:lnTo>
                      <a:pt x="1" y="62"/>
                    </a:lnTo>
                    <a:lnTo>
                      <a:pt x="4" y="63"/>
                    </a:lnTo>
                    <a:lnTo>
                      <a:pt x="8" y="64"/>
                    </a:lnTo>
                    <a:lnTo>
                      <a:pt x="360" y="64"/>
                    </a:lnTo>
                    <a:lnTo>
                      <a:pt x="360" y="64"/>
                    </a:lnTo>
                    <a:lnTo>
                      <a:pt x="362" y="63"/>
                    </a:lnTo>
                    <a:lnTo>
                      <a:pt x="365" y="62"/>
                    </a:lnTo>
                    <a:lnTo>
                      <a:pt x="368" y="59"/>
                    </a:lnTo>
                    <a:lnTo>
                      <a:pt x="368" y="55"/>
                    </a:lnTo>
                    <a:lnTo>
                      <a:pt x="368" y="55"/>
                    </a:lnTo>
                    <a:lnTo>
                      <a:pt x="368" y="52"/>
                    </a:lnTo>
                    <a:lnTo>
                      <a:pt x="365" y="50"/>
                    </a:lnTo>
                    <a:lnTo>
                      <a:pt x="362" y="47"/>
                    </a:lnTo>
                    <a:lnTo>
                      <a:pt x="360" y="47"/>
                    </a:lnTo>
                    <a:lnTo>
                      <a:pt x="360" y="4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endParaRPr>
              </a:p>
            </p:txBody>
          </p:sp>
        </p:grpSp>
      </p:grpSp>
    </p:spTree>
    <p:extLst>
      <p:ext uri="{BB962C8B-B14F-4D97-AF65-F5344CB8AC3E}">
        <p14:creationId xmlns:p14="http://schemas.microsoft.com/office/powerpoint/2010/main" val="61655012"/>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DB55A2A-3357-433F-A63C-2571A1DDB25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9620" name="think-cell Slide" r:id="rId6" imgW="415" imgH="416" progId="TCLayout.ActiveDocument.1">
                  <p:embed/>
                </p:oleObj>
              </mc:Choice>
              <mc:Fallback>
                <p:oleObj name="think-cell Slide" r:id="rId6" imgW="415" imgH="416" progId="TCLayout.ActiveDocument.1">
                  <p:embed/>
                  <p:pic>
                    <p:nvPicPr>
                      <p:cNvPr id="5" name="Object 4" hidden="1">
                        <a:extLst>
                          <a:ext uri="{FF2B5EF4-FFF2-40B4-BE49-F238E27FC236}">
                            <a16:creationId xmlns:a16="http://schemas.microsoft.com/office/drawing/2014/main" id="{1DB55A2A-3357-433F-A63C-2571A1DDB25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8" name="Rectangle 117" hidden="1">
            <a:extLst>
              <a:ext uri="{FF2B5EF4-FFF2-40B4-BE49-F238E27FC236}">
                <a16:creationId xmlns:a16="http://schemas.microsoft.com/office/drawing/2014/main" id="{885391ED-871B-4096-BCF2-7654628A36F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05F1727C-08FE-4209-AB78-8FD6C76DCC20}"/>
              </a:ext>
            </a:extLst>
          </p:cNvPr>
          <p:cNvSpPr>
            <a:spLocks noGrp="1"/>
          </p:cNvSpPr>
          <p:nvPr>
            <p:ph type="title"/>
          </p:nvPr>
        </p:nvSpPr>
        <p:spPr/>
        <p:txBody>
          <a:bodyPr/>
          <a:lstStyle/>
          <a:p>
            <a:r>
              <a:rPr lang="en-US" dirty="0"/>
              <a:t>Future vision roadmap</a:t>
            </a:r>
          </a:p>
        </p:txBody>
      </p:sp>
      <p:sp>
        <p:nvSpPr>
          <p:cNvPr id="4" name="Text Placeholder 3">
            <a:extLst>
              <a:ext uri="{FF2B5EF4-FFF2-40B4-BE49-F238E27FC236}">
                <a16:creationId xmlns:a16="http://schemas.microsoft.com/office/drawing/2014/main" id="{85EDA57C-D1B8-47F7-8409-D24E85EDBF98}"/>
              </a:ext>
            </a:extLst>
          </p:cNvPr>
          <p:cNvSpPr>
            <a:spLocks noGrp="1"/>
          </p:cNvSpPr>
          <p:nvPr>
            <p:ph type="body" sz="quarter" idx="15"/>
          </p:nvPr>
        </p:nvSpPr>
        <p:spPr/>
        <p:txBody>
          <a:bodyPr/>
          <a:lstStyle/>
          <a:p>
            <a:r>
              <a:rPr lang="en-US" dirty="0"/>
              <a:t>Plans, timelines and roadmaps</a:t>
            </a:r>
          </a:p>
        </p:txBody>
      </p:sp>
      <p:cxnSp>
        <p:nvCxnSpPr>
          <p:cNvPr id="8" name="Straight Connector 7">
            <a:extLst>
              <a:ext uri="{FF2B5EF4-FFF2-40B4-BE49-F238E27FC236}">
                <a16:creationId xmlns:a16="http://schemas.microsoft.com/office/drawing/2014/main" id="{5910C1D6-2538-49BA-A3FE-B270885D4704}"/>
              </a:ext>
            </a:extLst>
          </p:cNvPr>
          <p:cNvCxnSpPr/>
          <p:nvPr/>
        </p:nvCxnSpPr>
        <p:spPr>
          <a:xfrm>
            <a:off x="900478" y="5440623"/>
            <a:ext cx="10258838" cy="0"/>
          </a:xfrm>
          <a:prstGeom prst="line">
            <a:avLst/>
          </a:prstGeom>
          <a:noFill/>
          <a:ln w="9525" cap="flat" cmpd="sng" algn="ctr">
            <a:solidFill>
              <a:srgbClr val="FFFFFF">
                <a:lumMod val="85000"/>
              </a:srgbClr>
            </a:solidFill>
            <a:prstDash val="dash"/>
          </a:ln>
          <a:effectLst/>
        </p:spPr>
      </p:cxnSp>
      <p:sp>
        <p:nvSpPr>
          <p:cNvPr id="10" name="Rectangle 9">
            <a:extLst>
              <a:ext uri="{FF2B5EF4-FFF2-40B4-BE49-F238E27FC236}">
                <a16:creationId xmlns:a16="http://schemas.microsoft.com/office/drawing/2014/main" id="{74A529BD-86E8-4CCA-9F2D-B4A2899EA453}"/>
              </a:ext>
            </a:extLst>
          </p:cNvPr>
          <p:cNvSpPr/>
          <p:nvPr/>
        </p:nvSpPr>
        <p:spPr>
          <a:xfrm>
            <a:off x="8951122" y="6132484"/>
            <a:ext cx="1220720" cy="228639"/>
          </a:xfrm>
          <a:prstGeom prst="rect">
            <a:avLst/>
          </a:prstGeom>
          <a:solidFill>
            <a:srgbClr val="FFFFFF"/>
          </a:solidFill>
          <a:ln w="10795" cap="flat" cmpd="sng" algn="ctr">
            <a:noFill/>
            <a:prstDash val="solid"/>
          </a:ln>
          <a:effectLst/>
        </p:spPr>
        <p:txBody>
          <a:bodyPr rtlCol="0" anchor="ctr"/>
          <a:lstStyle/>
          <a:p>
            <a:pPr marL="0" marR="0" lvl="0" indent="0" algn="ctr" defTabSz="914126"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 name="Rounded Rectangle 71">
            <a:extLst>
              <a:ext uri="{FF2B5EF4-FFF2-40B4-BE49-F238E27FC236}">
                <a16:creationId xmlns:a16="http://schemas.microsoft.com/office/drawing/2014/main" id="{92020C64-5948-4004-BDF6-0F404819BD9F}"/>
              </a:ext>
            </a:extLst>
          </p:cNvPr>
          <p:cNvSpPr/>
          <p:nvPr/>
        </p:nvSpPr>
        <p:spPr>
          <a:xfrm>
            <a:off x="1074060" y="5789580"/>
            <a:ext cx="10011393" cy="122383"/>
          </a:xfrm>
          <a:prstGeom prst="roundRect">
            <a:avLst>
              <a:gd name="adj" fmla="val 50000"/>
            </a:avLst>
          </a:prstGeom>
          <a:solidFill>
            <a:schemeClr val="accent1">
              <a:lumMod val="20000"/>
              <a:lumOff val="80000"/>
            </a:schemeClr>
          </a:solidFill>
          <a:ln w="10795" cap="flat" cmpd="sng" algn="ctr">
            <a:solidFill>
              <a:schemeClr val="accent1"/>
            </a:solidFill>
            <a:prstDash val="solid"/>
          </a:ln>
          <a:effectLst/>
        </p:spPr>
        <p:txBody>
          <a:bodyPr rtlCol="0" anchor="ctr"/>
          <a:lstStyle/>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7AC142"/>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16" name="Group 15">
            <a:extLst>
              <a:ext uri="{FF2B5EF4-FFF2-40B4-BE49-F238E27FC236}">
                <a16:creationId xmlns:a16="http://schemas.microsoft.com/office/drawing/2014/main" id="{A35A0DF1-E4C7-4A4C-8182-8DADDF2D7061}"/>
              </a:ext>
            </a:extLst>
          </p:cNvPr>
          <p:cNvGrpSpPr/>
          <p:nvPr/>
        </p:nvGrpSpPr>
        <p:grpSpPr>
          <a:xfrm>
            <a:off x="10024706" y="5769052"/>
            <a:ext cx="173691" cy="171373"/>
            <a:chOff x="2860047" y="-599433"/>
            <a:chExt cx="434501" cy="434501"/>
          </a:xfrm>
        </p:grpSpPr>
        <p:sp>
          <p:nvSpPr>
            <p:cNvPr id="17" name="Teardrop 16">
              <a:extLst>
                <a:ext uri="{FF2B5EF4-FFF2-40B4-BE49-F238E27FC236}">
                  <a16:creationId xmlns:a16="http://schemas.microsoft.com/office/drawing/2014/main" id="{A206F3B3-932C-459B-804C-DD0579643927}"/>
                </a:ext>
              </a:extLst>
            </p:cNvPr>
            <p:cNvSpPr/>
            <p:nvPr/>
          </p:nvSpPr>
          <p:spPr>
            <a:xfrm rot="8125434">
              <a:off x="2860047" y="-599433"/>
              <a:ext cx="434501" cy="434501"/>
            </a:xfrm>
            <a:prstGeom prst="teardrop">
              <a:avLst/>
            </a:prstGeom>
            <a:solidFill>
              <a:schemeClr val="accent1"/>
            </a:solidFill>
            <a:ln w="10795" cap="flat" cmpd="sng" algn="ctr">
              <a:solidFill>
                <a:schemeClr val="accent1"/>
              </a:solid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 name="Oval 17">
              <a:extLst>
                <a:ext uri="{FF2B5EF4-FFF2-40B4-BE49-F238E27FC236}">
                  <a16:creationId xmlns:a16="http://schemas.microsoft.com/office/drawing/2014/main" id="{AF9109F0-822D-42C1-8EC7-B76E3A65E3AA}"/>
                </a:ext>
              </a:extLst>
            </p:cNvPr>
            <p:cNvSpPr/>
            <p:nvPr/>
          </p:nvSpPr>
          <p:spPr>
            <a:xfrm>
              <a:off x="2977201" y="-481238"/>
              <a:ext cx="198110" cy="198110"/>
            </a:xfrm>
            <a:prstGeom prst="ellipse">
              <a:avLst/>
            </a:prstGeom>
            <a:solidFill>
              <a:schemeClr val="bg1"/>
            </a:solidFill>
            <a:ln w="10795" cap="flat" cmpd="sng" algn="ctr">
              <a:solidFill>
                <a:schemeClr val="bg1"/>
              </a:solid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19" name="TextBox 18">
            <a:extLst>
              <a:ext uri="{FF2B5EF4-FFF2-40B4-BE49-F238E27FC236}">
                <a16:creationId xmlns:a16="http://schemas.microsoft.com/office/drawing/2014/main" id="{8D808CC5-0143-429D-AAD6-810A3A5044CA}"/>
              </a:ext>
            </a:extLst>
          </p:cNvPr>
          <p:cNvSpPr txBox="1"/>
          <p:nvPr/>
        </p:nvSpPr>
        <p:spPr>
          <a:xfrm>
            <a:off x="9152569" y="5897411"/>
            <a:ext cx="1982212" cy="523084"/>
          </a:xfrm>
          <a:prstGeom prst="rect">
            <a:avLst/>
          </a:prstGeom>
          <a:noFill/>
        </p:spPr>
        <p:txBody>
          <a:bodyPr wrap="square" rtlCol="0">
            <a:spAutoFit/>
          </a:bodyPr>
          <a:lstStyle/>
          <a:p>
            <a:pPr marL="0" marR="0" lvl="0" indent="0" algn="ctr" defTabSz="91385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extGen</a:t>
            </a:r>
            <a:r>
              <a:rPr kumimoji="0" lang="en-U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Org Structure</a:t>
            </a:r>
          </a:p>
        </p:txBody>
      </p:sp>
      <p:sp>
        <p:nvSpPr>
          <p:cNvPr id="25" name="Rectangle 24">
            <a:extLst>
              <a:ext uri="{FF2B5EF4-FFF2-40B4-BE49-F238E27FC236}">
                <a16:creationId xmlns:a16="http://schemas.microsoft.com/office/drawing/2014/main" id="{7D1AD8E1-E77D-4881-9A18-CDEC3443A1E8}"/>
              </a:ext>
            </a:extLst>
          </p:cNvPr>
          <p:cNvSpPr/>
          <p:nvPr/>
        </p:nvSpPr>
        <p:spPr>
          <a:xfrm>
            <a:off x="1119934" y="5498936"/>
            <a:ext cx="4638548" cy="307697"/>
          </a:xfrm>
          <a:prstGeom prst="rect">
            <a:avLst/>
          </a:prstGeom>
        </p:spPr>
        <p:txBody>
          <a:bodyPr wrap="square">
            <a:spAutoFit/>
          </a:bodyPr>
          <a:lstStyle/>
          <a:p>
            <a:pPr marL="0" marR="0" lvl="0" indent="0" algn="l" defTabSz="91385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Creating a Sustainable Operating Model</a:t>
            </a:r>
          </a:p>
        </p:txBody>
      </p:sp>
      <p:sp>
        <p:nvSpPr>
          <p:cNvPr id="29" name="TextBox 28">
            <a:extLst>
              <a:ext uri="{FF2B5EF4-FFF2-40B4-BE49-F238E27FC236}">
                <a16:creationId xmlns:a16="http://schemas.microsoft.com/office/drawing/2014/main" id="{39EB83C1-1FC4-4181-BCCA-068AB1D4097B}"/>
              </a:ext>
            </a:extLst>
          </p:cNvPr>
          <p:cNvSpPr txBox="1"/>
          <p:nvPr/>
        </p:nvSpPr>
        <p:spPr>
          <a:xfrm>
            <a:off x="6480777" y="5903985"/>
            <a:ext cx="2211305" cy="523084"/>
          </a:xfrm>
          <a:prstGeom prst="rect">
            <a:avLst/>
          </a:prstGeom>
          <a:noFill/>
        </p:spPr>
        <p:txBody>
          <a:bodyPr wrap="square" rtlCol="0">
            <a:spAutoFit/>
          </a:bodyPr>
          <a:lstStyle/>
          <a:p>
            <a:pPr marL="0" marR="0" lvl="0" indent="0" algn="ctr" defTabSz="91385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hange Management Capability</a:t>
            </a:r>
          </a:p>
        </p:txBody>
      </p:sp>
      <p:sp>
        <p:nvSpPr>
          <p:cNvPr id="31" name="TextBox 30">
            <a:extLst>
              <a:ext uri="{FF2B5EF4-FFF2-40B4-BE49-F238E27FC236}">
                <a16:creationId xmlns:a16="http://schemas.microsoft.com/office/drawing/2014/main" id="{083C1CCA-B469-4F62-A5E2-96DCDB2D8012}"/>
              </a:ext>
            </a:extLst>
          </p:cNvPr>
          <p:cNvSpPr txBox="1"/>
          <p:nvPr/>
        </p:nvSpPr>
        <p:spPr>
          <a:xfrm>
            <a:off x="2219981" y="1756066"/>
            <a:ext cx="889309" cy="253850"/>
          </a:xfrm>
          <a:prstGeom prst="rect">
            <a:avLst/>
          </a:prstGeom>
          <a:noFill/>
        </p:spPr>
        <p:txBody>
          <a:bodyPr wrap="square" rtlCol="0">
            <a:sp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Q2 FY19</a:t>
            </a:r>
          </a:p>
        </p:txBody>
      </p:sp>
      <p:sp>
        <p:nvSpPr>
          <p:cNvPr id="32" name="TextBox 31">
            <a:extLst>
              <a:ext uri="{FF2B5EF4-FFF2-40B4-BE49-F238E27FC236}">
                <a16:creationId xmlns:a16="http://schemas.microsoft.com/office/drawing/2014/main" id="{6FE3169A-15AA-4E8F-BC4D-AC00419BC16B}"/>
              </a:ext>
            </a:extLst>
          </p:cNvPr>
          <p:cNvSpPr txBox="1"/>
          <p:nvPr/>
        </p:nvSpPr>
        <p:spPr>
          <a:xfrm>
            <a:off x="3493979" y="1756066"/>
            <a:ext cx="889309" cy="253850"/>
          </a:xfrm>
          <a:prstGeom prst="rect">
            <a:avLst/>
          </a:prstGeom>
          <a:noFill/>
        </p:spPr>
        <p:txBody>
          <a:bodyPr wrap="square" rtlCol="0">
            <a:sp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Q3 FY19</a:t>
            </a:r>
          </a:p>
        </p:txBody>
      </p:sp>
      <p:sp>
        <p:nvSpPr>
          <p:cNvPr id="33" name="TextBox 32">
            <a:extLst>
              <a:ext uri="{FF2B5EF4-FFF2-40B4-BE49-F238E27FC236}">
                <a16:creationId xmlns:a16="http://schemas.microsoft.com/office/drawing/2014/main" id="{43422C8E-3212-4E5E-8000-291E28FC9728}"/>
              </a:ext>
            </a:extLst>
          </p:cNvPr>
          <p:cNvSpPr txBox="1"/>
          <p:nvPr/>
        </p:nvSpPr>
        <p:spPr>
          <a:xfrm>
            <a:off x="4767978" y="1756066"/>
            <a:ext cx="889309" cy="253850"/>
          </a:xfrm>
          <a:prstGeom prst="rect">
            <a:avLst/>
          </a:prstGeom>
          <a:noFill/>
        </p:spPr>
        <p:txBody>
          <a:bodyPr wrap="square" rtlCol="0">
            <a:sp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Q4 FY19</a:t>
            </a:r>
          </a:p>
        </p:txBody>
      </p:sp>
      <p:sp>
        <p:nvSpPr>
          <p:cNvPr id="34" name="TextBox 33">
            <a:extLst>
              <a:ext uri="{FF2B5EF4-FFF2-40B4-BE49-F238E27FC236}">
                <a16:creationId xmlns:a16="http://schemas.microsoft.com/office/drawing/2014/main" id="{7ED3F8DB-489A-4A4D-BFE3-1ED1D8CB2D6C}"/>
              </a:ext>
            </a:extLst>
          </p:cNvPr>
          <p:cNvSpPr txBox="1"/>
          <p:nvPr/>
        </p:nvSpPr>
        <p:spPr>
          <a:xfrm>
            <a:off x="6041976" y="1756066"/>
            <a:ext cx="889309" cy="253850"/>
          </a:xfrm>
          <a:prstGeom prst="rect">
            <a:avLst/>
          </a:prstGeom>
          <a:noFill/>
        </p:spPr>
        <p:txBody>
          <a:bodyPr wrap="square" rtlCol="0">
            <a:sp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Q1 FY20</a:t>
            </a:r>
          </a:p>
        </p:txBody>
      </p:sp>
      <p:sp>
        <p:nvSpPr>
          <p:cNvPr id="35" name="TextBox 34">
            <a:extLst>
              <a:ext uri="{FF2B5EF4-FFF2-40B4-BE49-F238E27FC236}">
                <a16:creationId xmlns:a16="http://schemas.microsoft.com/office/drawing/2014/main" id="{33008B42-60CB-4259-A48C-B9CA4D651F21}"/>
              </a:ext>
            </a:extLst>
          </p:cNvPr>
          <p:cNvSpPr txBox="1"/>
          <p:nvPr/>
        </p:nvSpPr>
        <p:spPr>
          <a:xfrm>
            <a:off x="7315974" y="1756066"/>
            <a:ext cx="889309" cy="253850"/>
          </a:xfrm>
          <a:prstGeom prst="rect">
            <a:avLst/>
          </a:prstGeom>
          <a:noFill/>
        </p:spPr>
        <p:txBody>
          <a:bodyPr wrap="square" rtlCol="0">
            <a:sp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Q2 FY20</a:t>
            </a:r>
          </a:p>
        </p:txBody>
      </p:sp>
      <p:sp>
        <p:nvSpPr>
          <p:cNvPr id="36" name="Rounded Rectangle 135">
            <a:extLst>
              <a:ext uri="{FF2B5EF4-FFF2-40B4-BE49-F238E27FC236}">
                <a16:creationId xmlns:a16="http://schemas.microsoft.com/office/drawing/2014/main" id="{A5F3C76D-1B0D-4EC0-BF54-5E0645F7D246}"/>
              </a:ext>
            </a:extLst>
          </p:cNvPr>
          <p:cNvSpPr/>
          <p:nvPr/>
        </p:nvSpPr>
        <p:spPr>
          <a:xfrm>
            <a:off x="1074057" y="2387970"/>
            <a:ext cx="10011394" cy="122383"/>
          </a:xfrm>
          <a:prstGeom prst="roundRect">
            <a:avLst>
              <a:gd name="adj" fmla="val 50000"/>
            </a:avLst>
          </a:prstGeom>
          <a:solidFill>
            <a:schemeClr val="accent2">
              <a:lumMod val="20000"/>
              <a:lumOff val="80000"/>
            </a:schemeClr>
          </a:solidFill>
          <a:ln w="10795" cap="flat" cmpd="sng" algn="ctr">
            <a:solidFill>
              <a:schemeClr val="accent2"/>
            </a:solidFill>
            <a:prstDash val="solid"/>
          </a:ln>
          <a:effectLst/>
        </p:spPr>
        <p:txBody>
          <a:bodyPr rtlCol="0" anchor="ctr"/>
          <a:lstStyle/>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1A75C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7" name="Rounded Rectangle 136">
            <a:extLst>
              <a:ext uri="{FF2B5EF4-FFF2-40B4-BE49-F238E27FC236}">
                <a16:creationId xmlns:a16="http://schemas.microsoft.com/office/drawing/2014/main" id="{9E5C8101-6EEB-4E60-810A-8B052487F27E}"/>
              </a:ext>
            </a:extLst>
          </p:cNvPr>
          <p:cNvSpPr/>
          <p:nvPr/>
        </p:nvSpPr>
        <p:spPr>
          <a:xfrm>
            <a:off x="1074057" y="3456289"/>
            <a:ext cx="10011394" cy="122383"/>
          </a:xfrm>
          <a:prstGeom prst="roundRect">
            <a:avLst>
              <a:gd name="adj" fmla="val 50000"/>
            </a:avLst>
          </a:prstGeom>
          <a:solidFill>
            <a:schemeClr val="accent2">
              <a:lumMod val="20000"/>
              <a:lumOff val="80000"/>
            </a:schemeClr>
          </a:solidFill>
          <a:ln w="10795" cap="flat" cmpd="sng" algn="ctr">
            <a:solidFill>
              <a:schemeClr val="accent2"/>
            </a:solidFill>
            <a:prstDash val="solid"/>
          </a:ln>
          <a:effectLst/>
        </p:spPr>
        <p:txBody>
          <a:bodyPr rtlCol="0" anchor="ctr"/>
          <a:lstStyle/>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1A75C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8" name="Rounded Rectangle 137">
            <a:extLst>
              <a:ext uri="{FF2B5EF4-FFF2-40B4-BE49-F238E27FC236}">
                <a16:creationId xmlns:a16="http://schemas.microsoft.com/office/drawing/2014/main" id="{93553325-708C-467B-B131-C266708BF2BE}"/>
              </a:ext>
            </a:extLst>
          </p:cNvPr>
          <p:cNvSpPr/>
          <p:nvPr/>
        </p:nvSpPr>
        <p:spPr>
          <a:xfrm>
            <a:off x="1074057" y="4543082"/>
            <a:ext cx="10011394" cy="122383"/>
          </a:xfrm>
          <a:prstGeom prst="roundRect">
            <a:avLst>
              <a:gd name="adj" fmla="val 50000"/>
            </a:avLst>
          </a:prstGeom>
          <a:solidFill>
            <a:schemeClr val="accent2">
              <a:lumMod val="20000"/>
              <a:lumOff val="80000"/>
            </a:schemeClr>
          </a:solidFill>
          <a:ln w="10795" cap="flat" cmpd="sng" algn="ctr">
            <a:solidFill>
              <a:schemeClr val="accent2"/>
            </a:solidFill>
            <a:prstDash val="solid"/>
          </a:ln>
          <a:effectLst/>
        </p:spPr>
        <p:txBody>
          <a:bodyPr rtlCol="0" anchor="ctr"/>
          <a:lstStyle/>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1A75C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9" name="TextBox 38">
            <a:extLst>
              <a:ext uri="{FF2B5EF4-FFF2-40B4-BE49-F238E27FC236}">
                <a16:creationId xmlns:a16="http://schemas.microsoft.com/office/drawing/2014/main" id="{6D917C36-BC1A-4D54-AC3F-9F0A4C665061}"/>
              </a:ext>
            </a:extLst>
          </p:cNvPr>
          <p:cNvSpPr txBox="1"/>
          <p:nvPr/>
        </p:nvSpPr>
        <p:spPr>
          <a:xfrm>
            <a:off x="2870202" y="2596521"/>
            <a:ext cx="2163113" cy="307777"/>
          </a:xfrm>
          <a:prstGeom prst="rect">
            <a:avLst/>
          </a:prstGeom>
          <a:noFill/>
        </p:spPr>
        <p:txBody>
          <a:bodyPr wrap="square" rtlCol="0">
            <a:sp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nline Retail Hierarchy</a:t>
            </a:r>
          </a:p>
        </p:txBody>
      </p:sp>
      <p:sp>
        <p:nvSpPr>
          <p:cNvPr id="40" name="TextBox 39">
            <a:extLst>
              <a:ext uri="{FF2B5EF4-FFF2-40B4-BE49-F238E27FC236}">
                <a16:creationId xmlns:a16="http://schemas.microsoft.com/office/drawing/2014/main" id="{AC2DD8BD-6B54-479B-9CE1-550BB04E9A77}"/>
              </a:ext>
            </a:extLst>
          </p:cNvPr>
          <p:cNvSpPr txBox="1"/>
          <p:nvPr/>
        </p:nvSpPr>
        <p:spPr>
          <a:xfrm>
            <a:off x="3629544" y="3635516"/>
            <a:ext cx="2110301" cy="523084"/>
          </a:xfrm>
          <a:prstGeom prst="rect">
            <a:avLst/>
          </a:prstGeom>
          <a:noFill/>
        </p:spPr>
        <p:txBody>
          <a:bodyPr wrap="square" rtlCol="0">
            <a:sp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treamlined Supplier Onboarding</a:t>
            </a:r>
          </a:p>
        </p:txBody>
      </p:sp>
      <p:sp>
        <p:nvSpPr>
          <p:cNvPr id="47" name="TextBox 46">
            <a:extLst>
              <a:ext uri="{FF2B5EF4-FFF2-40B4-BE49-F238E27FC236}">
                <a16:creationId xmlns:a16="http://schemas.microsoft.com/office/drawing/2014/main" id="{9CCF763A-9D63-481B-8710-551CCD5D8041}"/>
              </a:ext>
            </a:extLst>
          </p:cNvPr>
          <p:cNvSpPr txBox="1"/>
          <p:nvPr/>
        </p:nvSpPr>
        <p:spPr>
          <a:xfrm>
            <a:off x="5502955" y="4719012"/>
            <a:ext cx="1912269" cy="523084"/>
          </a:xfrm>
          <a:prstGeom prst="rect">
            <a:avLst/>
          </a:prstGeom>
          <a:noFill/>
        </p:spPr>
        <p:txBody>
          <a:bodyPr wrap="square" rtlCol="0">
            <a:spAutoFit/>
          </a:bodyPr>
          <a:lstStyle>
            <a:defPPr>
              <a:defRPr lang="en-US"/>
            </a:defPPr>
            <a:lvl1pPr>
              <a:lnSpc>
                <a:spcPts val="1000"/>
              </a:lnSpc>
              <a:defRPr sz="1050">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100% of Items Discoverable Online </a:t>
            </a:r>
          </a:p>
        </p:txBody>
      </p:sp>
      <p:sp>
        <p:nvSpPr>
          <p:cNvPr id="48" name="Rectangle 47">
            <a:extLst>
              <a:ext uri="{FF2B5EF4-FFF2-40B4-BE49-F238E27FC236}">
                <a16:creationId xmlns:a16="http://schemas.microsoft.com/office/drawing/2014/main" id="{6DBC8FBA-24D3-47E1-91A4-AED955C7E171}"/>
              </a:ext>
            </a:extLst>
          </p:cNvPr>
          <p:cNvSpPr/>
          <p:nvPr/>
        </p:nvSpPr>
        <p:spPr>
          <a:xfrm>
            <a:off x="1158082" y="2105911"/>
            <a:ext cx="2979527" cy="307697"/>
          </a:xfrm>
          <a:prstGeom prst="rect">
            <a:avLst/>
          </a:prstGeom>
        </p:spPr>
        <p:txBody>
          <a:bodyPr wrap="none">
            <a:spAutoFit/>
          </a:bodyPr>
          <a:lstStyle/>
          <a:p>
            <a:pPr marL="0" marR="0" lvl="0" indent="0" algn="l" defTabSz="913852"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Delivering Merchant Outcomes</a:t>
            </a:r>
          </a:p>
        </p:txBody>
      </p:sp>
      <p:sp>
        <p:nvSpPr>
          <p:cNvPr id="49" name="Rectangle 48">
            <a:extLst>
              <a:ext uri="{FF2B5EF4-FFF2-40B4-BE49-F238E27FC236}">
                <a16:creationId xmlns:a16="http://schemas.microsoft.com/office/drawing/2014/main" id="{C8D493E3-2AB0-4760-BECE-E89DB2124C97}"/>
              </a:ext>
            </a:extLst>
          </p:cNvPr>
          <p:cNvSpPr/>
          <p:nvPr/>
        </p:nvSpPr>
        <p:spPr>
          <a:xfrm>
            <a:off x="1158081" y="3176755"/>
            <a:ext cx="2846513" cy="307697"/>
          </a:xfrm>
          <a:prstGeom prst="rect">
            <a:avLst/>
          </a:prstGeom>
        </p:spPr>
        <p:txBody>
          <a:bodyPr wrap="none">
            <a:spAutoFit/>
          </a:bodyPr>
          <a:lstStyle/>
          <a:p>
            <a:pPr marL="0" marR="0" lvl="0" indent="0" algn="l" defTabSz="913852"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Delivering Supplier Outcomes</a:t>
            </a:r>
          </a:p>
        </p:txBody>
      </p:sp>
      <p:sp>
        <p:nvSpPr>
          <p:cNvPr id="50" name="Rectangle 49">
            <a:extLst>
              <a:ext uri="{FF2B5EF4-FFF2-40B4-BE49-F238E27FC236}">
                <a16:creationId xmlns:a16="http://schemas.microsoft.com/office/drawing/2014/main" id="{1DCBE547-559E-4E31-AE45-CF85A6155B6D}"/>
              </a:ext>
            </a:extLst>
          </p:cNvPr>
          <p:cNvSpPr/>
          <p:nvPr/>
        </p:nvSpPr>
        <p:spPr>
          <a:xfrm>
            <a:off x="1158080" y="4252118"/>
            <a:ext cx="2979527" cy="307697"/>
          </a:xfrm>
          <a:prstGeom prst="rect">
            <a:avLst/>
          </a:prstGeom>
        </p:spPr>
        <p:txBody>
          <a:bodyPr wrap="none">
            <a:spAutoFit/>
          </a:bodyPr>
          <a:lstStyle/>
          <a:p>
            <a:pPr marL="0" marR="0" lvl="0" indent="0" algn="l" defTabSz="913852"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Delivering Customer Outcomes</a:t>
            </a:r>
          </a:p>
        </p:txBody>
      </p:sp>
      <p:sp>
        <p:nvSpPr>
          <p:cNvPr id="51" name="TextBox 50">
            <a:extLst>
              <a:ext uri="{FF2B5EF4-FFF2-40B4-BE49-F238E27FC236}">
                <a16:creationId xmlns:a16="http://schemas.microsoft.com/office/drawing/2014/main" id="{6A1C7A12-2778-4DE5-9F45-C722283A8783}"/>
              </a:ext>
            </a:extLst>
          </p:cNvPr>
          <p:cNvSpPr txBox="1"/>
          <p:nvPr/>
        </p:nvSpPr>
        <p:spPr>
          <a:xfrm>
            <a:off x="945983" y="1756066"/>
            <a:ext cx="889309" cy="253850"/>
          </a:xfrm>
          <a:prstGeom prst="rect">
            <a:avLst/>
          </a:prstGeom>
          <a:noFill/>
        </p:spPr>
        <p:txBody>
          <a:bodyPr wrap="square" rtlCol="0">
            <a:sp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Q1 FY19</a:t>
            </a:r>
          </a:p>
        </p:txBody>
      </p:sp>
      <p:cxnSp>
        <p:nvCxnSpPr>
          <p:cNvPr id="52" name="Straight Connector 51">
            <a:extLst>
              <a:ext uri="{FF2B5EF4-FFF2-40B4-BE49-F238E27FC236}">
                <a16:creationId xmlns:a16="http://schemas.microsoft.com/office/drawing/2014/main" id="{DBB40997-3929-4718-ABFA-C614140830F0}"/>
              </a:ext>
            </a:extLst>
          </p:cNvPr>
          <p:cNvCxnSpPr/>
          <p:nvPr/>
        </p:nvCxnSpPr>
        <p:spPr>
          <a:xfrm>
            <a:off x="1096503" y="1961960"/>
            <a:ext cx="7938123" cy="0"/>
          </a:xfrm>
          <a:prstGeom prst="line">
            <a:avLst/>
          </a:prstGeom>
          <a:noFill/>
          <a:ln w="19050" cap="flat" cmpd="sng" algn="ctr">
            <a:solidFill>
              <a:srgbClr val="FFFFFF">
                <a:lumMod val="85000"/>
              </a:srgbClr>
            </a:solidFill>
            <a:prstDash val="solid"/>
          </a:ln>
          <a:effectLst/>
        </p:spPr>
      </p:cxnSp>
      <p:sp>
        <p:nvSpPr>
          <p:cNvPr id="53" name="TextBox 52">
            <a:extLst>
              <a:ext uri="{FF2B5EF4-FFF2-40B4-BE49-F238E27FC236}">
                <a16:creationId xmlns:a16="http://schemas.microsoft.com/office/drawing/2014/main" id="{7B97E016-4898-4E3F-91A7-31107FD3A269}"/>
              </a:ext>
            </a:extLst>
          </p:cNvPr>
          <p:cNvSpPr txBox="1"/>
          <p:nvPr/>
        </p:nvSpPr>
        <p:spPr>
          <a:xfrm>
            <a:off x="9287891" y="2569286"/>
            <a:ext cx="1631809" cy="523084"/>
          </a:xfrm>
          <a:prstGeom prst="rect">
            <a:avLst/>
          </a:prstGeom>
          <a:noFill/>
        </p:spPr>
        <p:txBody>
          <a:bodyPr wrap="square" rtlCol="0">
            <a:spAutoFit/>
          </a:bodyPr>
          <a:lstStyle>
            <a:defPPr>
              <a:defRPr lang="en-US"/>
            </a:defPPr>
            <a:lvl1pPr>
              <a:lnSpc>
                <a:spcPts val="1000"/>
              </a:lnSpc>
              <a:defRPr sz="900" spc="-50">
                <a:solidFill>
                  <a:srgbClr val="000000"/>
                </a:solidFill>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ctr" defTabSz="914126"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ata Driven Decision making</a:t>
            </a:r>
          </a:p>
        </p:txBody>
      </p:sp>
      <p:sp>
        <p:nvSpPr>
          <p:cNvPr id="54" name="TextBox 53">
            <a:extLst>
              <a:ext uri="{FF2B5EF4-FFF2-40B4-BE49-F238E27FC236}">
                <a16:creationId xmlns:a16="http://schemas.microsoft.com/office/drawing/2014/main" id="{41E65734-CE77-46A7-B0BF-9F2D7CA0428D}"/>
              </a:ext>
            </a:extLst>
          </p:cNvPr>
          <p:cNvSpPr txBox="1"/>
          <p:nvPr/>
        </p:nvSpPr>
        <p:spPr>
          <a:xfrm>
            <a:off x="6277678" y="2556221"/>
            <a:ext cx="1814568" cy="523084"/>
          </a:xfrm>
          <a:prstGeom prst="rect">
            <a:avLst/>
          </a:prstGeom>
          <a:noFill/>
        </p:spPr>
        <p:txBody>
          <a:bodyPr wrap="square" rtlCol="0">
            <a:spAutoFit/>
          </a:bodyPr>
          <a:lstStyle/>
          <a:p>
            <a:pPr marL="0" marR="0" lvl="0" indent="0" algn="ctr" defTabSz="914126"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etup / Maintain </a:t>
            </a:r>
          </a:p>
          <a:p>
            <a:pPr marL="0" marR="0" lvl="0" indent="0" algn="ctr" defTabSz="914126"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ll Items</a:t>
            </a:r>
          </a:p>
        </p:txBody>
      </p:sp>
      <p:sp>
        <p:nvSpPr>
          <p:cNvPr id="55" name="TextBox 54">
            <a:extLst>
              <a:ext uri="{FF2B5EF4-FFF2-40B4-BE49-F238E27FC236}">
                <a16:creationId xmlns:a16="http://schemas.microsoft.com/office/drawing/2014/main" id="{2D12A4B2-7359-4AFA-B27F-6CC9064821F7}"/>
              </a:ext>
            </a:extLst>
          </p:cNvPr>
          <p:cNvSpPr txBox="1"/>
          <p:nvPr/>
        </p:nvSpPr>
        <p:spPr>
          <a:xfrm>
            <a:off x="7295547" y="3640242"/>
            <a:ext cx="1808372" cy="523084"/>
          </a:xfrm>
          <a:prstGeom prst="rect">
            <a:avLst/>
          </a:prstGeom>
          <a:noFill/>
        </p:spPr>
        <p:txBody>
          <a:bodyPr wrap="square" rtlCol="0">
            <a:spAutoFit/>
          </a:bodyPr>
          <a:lstStyle/>
          <a:p>
            <a:pPr marL="0" marR="0" lvl="0" indent="0" algn="ctr" defTabSz="914126"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roved Supplier Item Management</a:t>
            </a:r>
          </a:p>
        </p:txBody>
      </p:sp>
      <p:sp>
        <p:nvSpPr>
          <p:cNvPr id="56" name="Round Same Side Corner Rectangle 15">
            <a:extLst>
              <a:ext uri="{FF2B5EF4-FFF2-40B4-BE49-F238E27FC236}">
                <a16:creationId xmlns:a16="http://schemas.microsoft.com/office/drawing/2014/main" id="{B8971341-CD00-4473-8ABD-E0DA77A72501}"/>
              </a:ext>
            </a:extLst>
          </p:cNvPr>
          <p:cNvSpPr/>
          <p:nvPr/>
        </p:nvSpPr>
        <p:spPr>
          <a:xfrm>
            <a:off x="9315112" y="1714524"/>
            <a:ext cx="1770341" cy="239556"/>
          </a:xfrm>
          <a:prstGeom prst="round2Same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Open Sans"/>
                <a:ea typeface="Microsoft YaHei"/>
                <a:cs typeface="+mn-cs"/>
              </a:rPr>
              <a:t>Future Vision</a:t>
            </a:r>
          </a:p>
        </p:txBody>
      </p:sp>
      <p:grpSp>
        <p:nvGrpSpPr>
          <p:cNvPr id="57" name="Group 56">
            <a:extLst>
              <a:ext uri="{FF2B5EF4-FFF2-40B4-BE49-F238E27FC236}">
                <a16:creationId xmlns:a16="http://schemas.microsoft.com/office/drawing/2014/main" id="{17E1D8BA-5B07-4AF3-867A-4E57A9AEFA2E}"/>
              </a:ext>
            </a:extLst>
          </p:cNvPr>
          <p:cNvGrpSpPr/>
          <p:nvPr/>
        </p:nvGrpSpPr>
        <p:grpSpPr>
          <a:xfrm>
            <a:off x="7118756" y="2363932"/>
            <a:ext cx="173691" cy="171373"/>
            <a:chOff x="2860047" y="-599433"/>
            <a:chExt cx="434501" cy="434501"/>
          </a:xfrm>
        </p:grpSpPr>
        <p:sp>
          <p:nvSpPr>
            <p:cNvPr id="58" name="Teardrop 57">
              <a:extLst>
                <a:ext uri="{FF2B5EF4-FFF2-40B4-BE49-F238E27FC236}">
                  <a16:creationId xmlns:a16="http://schemas.microsoft.com/office/drawing/2014/main" id="{8679AE55-5023-4E96-A105-E619785F1D33}"/>
                </a:ext>
              </a:extLst>
            </p:cNvPr>
            <p:cNvSpPr/>
            <p:nvPr/>
          </p:nvSpPr>
          <p:spPr>
            <a:xfrm rot="8125434">
              <a:off x="2860047" y="-599433"/>
              <a:ext cx="434501" cy="434501"/>
            </a:xfrm>
            <a:prstGeom prst="teardrop">
              <a:avLst/>
            </a:prstGeom>
            <a:solidFill>
              <a:schemeClr val="accent2"/>
            </a:solidFill>
            <a:ln w="10795" cap="flat" cmpd="sng" algn="ctr">
              <a:solidFill>
                <a:schemeClr val="accent2"/>
              </a:solid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9" name="Oval 58">
              <a:extLst>
                <a:ext uri="{FF2B5EF4-FFF2-40B4-BE49-F238E27FC236}">
                  <a16:creationId xmlns:a16="http://schemas.microsoft.com/office/drawing/2014/main" id="{424C064E-8233-441E-AE79-AEF6E2E19E37}"/>
                </a:ext>
              </a:extLst>
            </p:cNvPr>
            <p:cNvSpPr/>
            <p:nvPr/>
          </p:nvSpPr>
          <p:spPr>
            <a:xfrm>
              <a:off x="2977201" y="-481238"/>
              <a:ext cx="198110" cy="198110"/>
            </a:xfrm>
            <a:prstGeom prst="ellipse">
              <a:avLst/>
            </a:prstGeom>
            <a:solidFill>
              <a:srgbClr val="FFFFFF"/>
            </a:solidFill>
            <a:ln w="10795" cap="flat" cmpd="sng" algn="ctr">
              <a:solidFill>
                <a:schemeClr val="bg1"/>
              </a:solid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81" name="Rectangle 80">
            <a:extLst>
              <a:ext uri="{FF2B5EF4-FFF2-40B4-BE49-F238E27FC236}">
                <a16:creationId xmlns:a16="http://schemas.microsoft.com/office/drawing/2014/main" id="{8422F215-316E-4A07-91CE-A057DAF18EB7}"/>
              </a:ext>
            </a:extLst>
          </p:cNvPr>
          <p:cNvSpPr/>
          <p:nvPr/>
        </p:nvSpPr>
        <p:spPr>
          <a:xfrm>
            <a:off x="9040341" y="947473"/>
            <a:ext cx="285458" cy="56566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399"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83" name="TextBox 82">
            <a:extLst>
              <a:ext uri="{FF2B5EF4-FFF2-40B4-BE49-F238E27FC236}">
                <a16:creationId xmlns:a16="http://schemas.microsoft.com/office/drawing/2014/main" id="{56FA5B30-07F3-4B1D-853D-DD52CAE3EA39}"/>
              </a:ext>
            </a:extLst>
          </p:cNvPr>
          <p:cNvSpPr txBox="1"/>
          <p:nvPr/>
        </p:nvSpPr>
        <p:spPr>
          <a:xfrm>
            <a:off x="9086802" y="4702841"/>
            <a:ext cx="2106450" cy="738472"/>
          </a:xfrm>
          <a:prstGeom prst="rect">
            <a:avLst/>
          </a:prstGeom>
          <a:noFill/>
        </p:spPr>
        <p:txBody>
          <a:bodyPr wrap="square" rtlCol="0">
            <a:spAutoFit/>
          </a:bodyPr>
          <a:lstStyle>
            <a:defPPr>
              <a:defRPr lang="en-US"/>
            </a:defPPr>
            <a:lvl1pPr algn="ctr">
              <a:lnSpc>
                <a:spcPts val="1000"/>
              </a:lnSpc>
              <a:defRPr sz="900">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Greater Product Assortment Across Channels</a:t>
            </a:r>
          </a:p>
        </p:txBody>
      </p:sp>
      <p:grpSp>
        <p:nvGrpSpPr>
          <p:cNvPr id="84" name="Group 83">
            <a:extLst>
              <a:ext uri="{FF2B5EF4-FFF2-40B4-BE49-F238E27FC236}">
                <a16:creationId xmlns:a16="http://schemas.microsoft.com/office/drawing/2014/main" id="{09A1AA8E-DC85-42C2-8FFB-CA706E583E46}"/>
              </a:ext>
            </a:extLst>
          </p:cNvPr>
          <p:cNvGrpSpPr/>
          <p:nvPr/>
        </p:nvGrpSpPr>
        <p:grpSpPr>
          <a:xfrm>
            <a:off x="703304" y="2231360"/>
            <a:ext cx="512772" cy="514654"/>
            <a:chOff x="11565" y="1332359"/>
            <a:chExt cx="328183" cy="328183"/>
          </a:xfrm>
        </p:grpSpPr>
        <p:sp>
          <p:nvSpPr>
            <p:cNvPr id="85" name="Oval 84">
              <a:extLst>
                <a:ext uri="{FF2B5EF4-FFF2-40B4-BE49-F238E27FC236}">
                  <a16:creationId xmlns:a16="http://schemas.microsoft.com/office/drawing/2014/main" id="{6C793E99-B16C-4990-83A8-269A96887014}"/>
                </a:ext>
              </a:extLst>
            </p:cNvPr>
            <p:cNvSpPr/>
            <p:nvPr/>
          </p:nvSpPr>
          <p:spPr>
            <a:xfrm>
              <a:off x="31970" y="1355613"/>
              <a:ext cx="281673" cy="281673"/>
            </a:xfrm>
            <a:prstGeom prst="ellipse">
              <a:avLst/>
            </a:prstGeom>
            <a:solidFill>
              <a:srgbClr val="FFFFFF"/>
            </a:solidFill>
            <a:ln w="10795" cap="flat" cmpd="sng" algn="ctr">
              <a:no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86" name="Group 85">
              <a:extLst>
                <a:ext uri="{FF2B5EF4-FFF2-40B4-BE49-F238E27FC236}">
                  <a16:creationId xmlns:a16="http://schemas.microsoft.com/office/drawing/2014/main" id="{F5A9644E-93CD-4B57-A1BF-B775907172CA}"/>
                </a:ext>
              </a:extLst>
            </p:cNvPr>
            <p:cNvGrpSpPr>
              <a:grpSpLocks noChangeAspect="1"/>
            </p:cNvGrpSpPr>
            <p:nvPr/>
          </p:nvGrpSpPr>
          <p:grpSpPr>
            <a:xfrm>
              <a:off x="11565" y="1332359"/>
              <a:ext cx="328183" cy="328183"/>
              <a:chOff x="1435101" y="5849938"/>
              <a:chExt cx="522288" cy="522288"/>
            </a:xfrm>
            <a:solidFill>
              <a:srgbClr val="1A75CF"/>
            </a:solidFill>
          </p:grpSpPr>
          <p:sp>
            <p:nvSpPr>
              <p:cNvPr id="87" name="Freeform 73">
                <a:extLst>
                  <a:ext uri="{FF2B5EF4-FFF2-40B4-BE49-F238E27FC236}">
                    <a16:creationId xmlns:a16="http://schemas.microsoft.com/office/drawing/2014/main" id="{0FEACF14-41DE-476C-BDC0-61AAA22718E2}"/>
                  </a:ext>
                </a:extLst>
              </p:cNvPr>
              <p:cNvSpPr>
                <a:spLocks noEditPoints="1"/>
              </p:cNvSpPr>
              <p:nvPr/>
            </p:nvSpPr>
            <p:spPr bwMode="auto">
              <a:xfrm>
                <a:off x="1435101" y="5849938"/>
                <a:ext cx="522288" cy="522288"/>
              </a:xfrm>
              <a:custGeom>
                <a:avLst/>
                <a:gdLst>
                  <a:gd name="T0" fmla="*/ 312 w 659"/>
                  <a:gd name="T1" fmla="*/ 657 h 657"/>
                  <a:gd name="T2" fmla="*/ 262 w 659"/>
                  <a:gd name="T3" fmla="*/ 651 h 657"/>
                  <a:gd name="T4" fmla="*/ 202 w 659"/>
                  <a:gd name="T5" fmla="*/ 632 h 657"/>
                  <a:gd name="T6" fmla="*/ 120 w 659"/>
                  <a:gd name="T7" fmla="*/ 582 h 657"/>
                  <a:gd name="T8" fmla="*/ 57 w 659"/>
                  <a:gd name="T9" fmla="*/ 512 h 657"/>
                  <a:gd name="T10" fmla="*/ 15 w 659"/>
                  <a:gd name="T11" fmla="*/ 426 h 657"/>
                  <a:gd name="T12" fmla="*/ 5 w 659"/>
                  <a:gd name="T13" fmla="*/ 379 h 657"/>
                  <a:gd name="T14" fmla="*/ 0 w 659"/>
                  <a:gd name="T15" fmla="*/ 328 h 657"/>
                  <a:gd name="T16" fmla="*/ 2 w 659"/>
                  <a:gd name="T17" fmla="*/ 296 h 657"/>
                  <a:gd name="T18" fmla="*/ 11 w 659"/>
                  <a:gd name="T19" fmla="*/ 246 h 657"/>
                  <a:gd name="T20" fmla="*/ 41 w 659"/>
                  <a:gd name="T21" fmla="*/ 172 h 657"/>
                  <a:gd name="T22" fmla="*/ 97 w 659"/>
                  <a:gd name="T23" fmla="*/ 97 h 657"/>
                  <a:gd name="T24" fmla="*/ 172 w 659"/>
                  <a:gd name="T25" fmla="*/ 39 h 657"/>
                  <a:gd name="T26" fmla="*/ 248 w 659"/>
                  <a:gd name="T27" fmla="*/ 10 h 657"/>
                  <a:gd name="T28" fmla="*/ 296 w 659"/>
                  <a:gd name="T29" fmla="*/ 2 h 657"/>
                  <a:gd name="T30" fmla="*/ 330 w 659"/>
                  <a:gd name="T31" fmla="*/ 0 h 657"/>
                  <a:gd name="T32" fmla="*/ 379 w 659"/>
                  <a:gd name="T33" fmla="*/ 4 h 657"/>
                  <a:gd name="T34" fmla="*/ 426 w 659"/>
                  <a:gd name="T35" fmla="*/ 15 h 657"/>
                  <a:gd name="T36" fmla="*/ 514 w 659"/>
                  <a:gd name="T37" fmla="*/ 57 h 657"/>
                  <a:gd name="T38" fmla="*/ 583 w 659"/>
                  <a:gd name="T39" fmla="*/ 120 h 657"/>
                  <a:gd name="T40" fmla="*/ 632 w 659"/>
                  <a:gd name="T41" fmla="*/ 201 h 657"/>
                  <a:gd name="T42" fmla="*/ 652 w 659"/>
                  <a:gd name="T43" fmla="*/ 262 h 657"/>
                  <a:gd name="T44" fmla="*/ 657 w 659"/>
                  <a:gd name="T45" fmla="*/ 312 h 657"/>
                  <a:gd name="T46" fmla="*/ 657 w 659"/>
                  <a:gd name="T47" fmla="*/ 346 h 657"/>
                  <a:gd name="T48" fmla="*/ 652 w 659"/>
                  <a:gd name="T49" fmla="*/ 395 h 657"/>
                  <a:gd name="T50" fmla="*/ 632 w 659"/>
                  <a:gd name="T51" fmla="*/ 457 h 657"/>
                  <a:gd name="T52" fmla="*/ 583 w 659"/>
                  <a:gd name="T53" fmla="*/ 538 h 657"/>
                  <a:gd name="T54" fmla="*/ 514 w 659"/>
                  <a:gd name="T55" fmla="*/ 601 h 657"/>
                  <a:gd name="T56" fmla="*/ 426 w 659"/>
                  <a:gd name="T57" fmla="*/ 642 h 657"/>
                  <a:gd name="T58" fmla="*/ 379 w 659"/>
                  <a:gd name="T59" fmla="*/ 653 h 657"/>
                  <a:gd name="T60" fmla="*/ 330 w 659"/>
                  <a:gd name="T61" fmla="*/ 657 h 657"/>
                  <a:gd name="T62" fmla="*/ 330 w 659"/>
                  <a:gd name="T63" fmla="*/ 38 h 657"/>
                  <a:gd name="T64" fmla="*/ 242 w 659"/>
                  <a:gd name="T65" fmla="*/ 50 h 657"/>
                  <a:gd name="T66" fmla="*/ 167 w 659"/>
                  <a:gd name="T67" fmla="*/ 88 h 657"/>
                  <a:gd name="T68" fmla="*/ 105 w 659"/>
                  <a:gd name="T69" fmla="*/ 144 h 657"/>
                  <a:gd name="T70" fmla="*/ 61 w 659"/>
                  <a:gd name="T71" fmla="*/ 215 h 657"/>
                  <a:gd name="T72" fmla="*/ 39 w 659"/>
                  <a:gd name="T73" fmla="*/ 299 h 657"/>
                  <a:gd name="T74" fmla="*/ 39 w 659"/>
                  <a:gd name="T75" fmla="*/ 359 h 657"/>
                  <a:gd name="T76" fmla="*/ 61 w 659"/>
                  <a:gd name="T77" fmla="*/ 442 h 657"/>
                  <a:gd name="T78" fmla="*/ 105 w 659"/>
                  <a:gd name="T79" fmla="*/ 514 h 657"/>
                  <a:gd name="T80" fmla="*/ 167 w 659"/>
                  <a:gd name="T81" fmla="*/ 570 h 657"/>
                  <a:gd name="T82" fmla="*/ 242 w 659"/>
                  <a:gd name="T83" fmla="*/ 608 h 657"/>
                  <a:gd name="T84" fmla="*/ 330 w 659"/>
                  <a:gd name="T85" fmla="*/ 620 h 657"/>
                  <a:gd name="T86" fmla="*/ 387 w 659"/>
                  <a:gd name="T87" fmla="*/ 614 h 657"/>
                  <a:gd name="T88" fmla="*/ 468 w 659"/>
                  <a:gd name="T89" fmla="*/ 585 h 657"/>
                  <a:gd name="T90" fmla="*/ 535 w 659"/>
                  <a:gd name="T91" fmla="*/ 535 h 657"/>
                  <a:gd name="T92" fmla="*/ 585 w 659"/>
                  <a:gd name="T93" fmla="*/ 468 h 657"/>
                  <a:gd name="T94" fmla="*/ 614 w 659"/>
                  <a:gd name="T95" fmla="*/ 387 h 657"/>
                  <a:gd name="T96" fmla="*/ 621 w 659"/>
                  <a:gd name="T97" fmla="*/ 328 h 657"/>
                  <a:gd name="T98" fmla="*/ 608 w 659"/>
                  <a:gd name="T99" fmla="*/ 242 h 657"/>
                  <a:gd name="T100" fmla="*/ 570 w 659"/>
                  <a:gd name="T101" fmla="*/ 166 h 657"/>
                  <a:gd name="T102" fmla="*/ 515 w 659"/>
                  <a:gd name="T103" fmla="*/ 104 h 657"/>
                  <a:gd name="T104" fmla="*/ 442 w 659"/>
                  <a:gd name="T105" fmla="*/ 61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6"/>
                    </a:lnTo>
                    <a:lnTo>
                      <a:pt x="280" y="653"/>
                    </a:lnTo>
                    <a:lnTo>
                      <a:pt x="262" y="651"/>
                    </a:lnTo>
                    <a:lnTo>
                      <a:pt x="248" y="648"/>
                    </a:lnTo>
                    <a:lnTo>
                      <a:pt x="232" y="642"/>
                    </a:lnTo>
                    <a:lnTo>
                      <a:pt x="202" y="632"/>
                    </a:lnTo>
                    <a:lnTo>
                      <a:pt x="172" y="618"/>
                    </a:lnTo>
                    <a:lnTo>
                      <a:pt x="146" y="601"/>
                    </a:lnTo>
                    <a:lnTo>
                      <a:pt x="120" y="582"/>
                    </a:lnTo>
                    <a:lnTo>
                      <a:pt x="97" y="561"/>
                    </a:lnTo>
                    <a:lnTo>
                      <a:pt x="76" y="538"/>
                    </a:lnTo>
                    <a:lnTo>
                      <a:pt x="57" y="512"/>
                    </a:lnTo>
                    <a:lnTo>
                      <a:pt x="41" y="485"/>
                    </a:lnTo>
                    <a:lnTo>
                      <a:pt x="26" y="457"/>
                    </a:lnTo>
                    <a:lnTo>
                      <a:pt x="15" y="426"/>
                    </a:lnTo>
                    <a:lnTo>
                      <a:pt x="11" y="411"/>
                    </a:lnTo>
                    <a:lnTo>
                      <a:pt x="7" y="395"/>
                    </a:lnTo>
                    <a:lnTo>
                      <a:pt x="5" y="379"/>
                    </a:lnTo>
                    <a:lnTo>
                      <a:pt x="2" y="362"/>
                    </a:lnTo>
                    <a:lnTo>
                      <a:pt x="0" y="346"/>
                    </a:lnTo>
                    <a:lnTo>
                      <a:pt x="0" y="328"/>
                    </a:lnTo>
                    <a:lnTo>
                      <a:pt x="0" y="328"/>
                    </a:lnTo>
                    <a:lnTo>
                      <a:pt x="0" y="312"/>
                    </a:lnTo>
                    <a:lnTo>
                      <a:pt x="2" y="296"/>
                    </a:lnTo>
                    <a:lnTo>
                      <a:pt x="5" y="278"/>
                    </a:lnTo>
                    <a:lnTo>
                      <a:pt x="7" y="262"/>
                    </a:lnTo>
                    <a:lnTo>
                      <a:pt x="11" y="246"/>
                    </a:lnTo>
                    <a:lnTo>
                      <a:pt x="15" y="231"/>
                    </a:lnTo>
                    <a:lnTo>
                      <a:pt x="26" y="201"/>
                    </a:lnTo>
                    <a:lnTo>
                      <a:pt x="41" y="172"/>
                    </a:lnTo>
                    <a:lnTo>
                      <a:pt x="57" y="146"/>
                    </a:lnTo>
                    <a:lnTo>
                      <a:pt x="76" y="120"/>
                    </a:lnTo>
                    <a:lnTo>
                      <a:pt x="97" y="97"/>
                    </a:lnTo>
                    <a:lnTo>
                      <a:pt x="120" y="76"/>
                    </a:lnTo>
                    <a:lnTo>
                      <a:pt x="146" y="57"/>
                    </a:lnTo>
                    <a:lnTo>
                      <a:pt x="172" y="39"/>
                    </a:lnTo>
                    <a:lnTo>
                      <a:pt x="202" y="26"/>
                    </a:lnTo>
                    <a:lnTo>
                      <a:pt x="232" y="15"/>
                    </a:lnTo>
                    <a:lnTo>
                      <a:pt x="248" y="10"/>
                    </a:lnTo>
                    <a:lnTo>
                      <a:pt x="262" y="7"/>
                    </a:lnTo>
                    <a:lnTo>
                      <a:pt x="280" y="4"/>
                    </a:lnTo>
                    <a:lnTo>
                      <a:pt x="296" y="2"/>
                    </a:lnTo>
                    <a:lnTo>
                      <a:pt x="312" y="0"/>
                    </a:lnTo>
                    <a:lnTo>
                      <a:pt x="330" y="0"/>
                    </a:lnTo>
                    <a:lnTo>
                      <a:pt x="330" y="0"/>
                    </a:lnTo>
                    <a:lnTo>
                      <a:pt x="346" y="0"/>
                    </a:lnTo>
                    <a:lnTo>
                      <a:pt x="363" y="2"/>
                    </a:lnTo>
                    <a:lnTo>
                      <a:pt x="379" y="4"/>
                    </a:lnTo>
                    <a:lnTo>
                      <a:pt x="395" y="7"/>
                    </a:lnTo>
                    <a:lnTo>
                      <a:pt x="412" y="10"/>
                    </a:lnTo>
                    <a:lnTo>
                      <a:pt x="426" y="15"/>
                    </a:lnTo>
                    <a:lnTo>
                      <a:pt x="457" y="26"/>
                    </a:lnTo>
                    <a:lnTo>
                      <a:pt x="485" y="39"/>
                    </a:lnTo>
                    <a:lnTo>
                      <a:pt x="514" y="57"/>
                    </a:lnTo>
                    <a:lnTo>
                      <a:pt x="538" y="76"/>
                    </a:lnTo>
                    <a:lnTo>
                      <a:pt x="562" y="97"/>
                    </a:lnTo>
                    <a:lnTo>
                      <a:pt x="583" y="120"/>
                    </a:lnTo>
                    <a:lnTo>
                      <a:pt x="602" y="146"/>
                    </a:lnTo>
                    <a:lnTo>
                      <a:pt x="618" y="172"/>
                    </a:lnTo>
                    <a:lnTo>
                      <a:pt x="632" y="201"/>
                    </a:lnTo>
                    <a:lnTo>
                      <a:pt x="643" y="231"/>
                    </a:lnTo>
                    <a:lnTo>
                      <a:pt x="648" y="246"/>
                    </a:lnTo>
                    <a:lnTo>
                      <a:pt x="652" y="262"/>
                    </a:lnTo>
                    <a:lnTo>
                      <a:pt x="655" y="278"/>
                    </a:lnTo>
                    <a:lnTo>
                      <a:pt x="656" y="296"/>
                    </a:lnTo>
                    <a:lnTo>
                      <a:pt x="657" y="312"/>
                    </a:lnTo>
                    <a:lnTo>
                      <a:pt x="659" y="328"/>
                    </a:lnTo>
                    <a:lnTo>
                      <a:pt x="659" y="328"/>
                    </a:lnTo>
                    <a:lnTo>
                      <a:pt x="657" y="346"/>
                    </a:lnTo>
                    <a:lnTo>
                      <a:pt x="656" y="362"/>
                    </a:lnTo>
                    <a:lnTo>
                      <a:pt x="655" y="379"/>
                    </a:lnTo>
                    <a:lnTo>
                      <a:pt x="652" y="395"/>
                    </a:lnTo>
                    <a:lnTo>
                      <a:pt x="648" y="411"/>
                    </a:lnTo>
                    <a:lnTo>
                      <a:pt x="643" y="426"/>
                    </a:lnTo>
                    <a:lnTo>
                      <a:pt x="632" y="457"/>
                    </a:lnTo>
                    <a:lnTo>
                      <a:pt x="618" y="485"/>
                    </a:lnTo>
                    <a:lnTo>
                      <a:pt x="602" y="512"/>
                    </a:lnTo>
                    <a:lnTo>
                      <a:pt x="583" y="538"/>
                    </a:lnTo>
                    <a:lnTo>
                      <a:pt x="562" y="561"/>
                    </a:lnTo>
                    <a:lnTo>
                      <a:pt x="538" y="582"/>
                    </a:lnTo>
                    <a:lnTo>
                      <a:pt x="514" y="601"/>
                    </a:lnTo>
                    <a:lnTo>
                      <a:pt x="485" y="618"/>
                    </a:lnTo>
                    <a:lnTo>
                      <a:pt x="457" y="632"/>
                    </a:lnTo>
                    <a:lnTo>
                      <a:pt x="426" y="642"/>
                    </a:lnTo>
                    <a:lnTo>
                      <a:pt x="412" y="648"/>
                    </a:lnTo>
                    <a:lnTo>
                      <a:pt x="395" y="651"/>
                    </a:lnTo>
                    <a:lnTo>
                      <a:pt x="379" y="653"/>
                    </a:lnTo>
                    <a:lnTo>
                      <a:pt x="363" y="656"/>
                    </a:lnTo>
                    <a:lnTo>
                      <a:pt x="346" y="657"/>
                    </a:lnTo>
                    <a:lnTo>
                      <a:pt x="330" y="657"/>
                    </a:lnTo>
                    <a:lnTo>
                      <a:pt x="330" y="657"/>
                    </a:lnTo>
                    <a:close/>
                    <a:moveTo>
                      <a:pt x="330" y="38"/>
                    </a:moveTo>
                    <a:lnTo>
                      <a:pt x="330" y="38"/>
                    </a:lnTo>
                    <a:lnTo>
                      <a:pt x="300" y="39"/>
                    </a:lnTo>
                    <a:lnTo>
                      <a:pt x="270" y="43"/>
                    </a:lnTo>
                    <a:lnTo>
                      <a:pt x="242" y="50"/>
                    </a:lnTo>
                    <a:lnTo>
                      <a:pt x="215" y="61"/>
                    </a:lnTo>
                    <a:lnTo>
                      <a:pt x="191" y="73"/>
                    </a:lnTo>
                    <a:lnTo>
                      <a:pt x="167" y="88"/>
                    </a:lnTo>
                    <a:lnTo>
                      <a:pt x="144" y="104"/>
                    </a:lnTo>
                    <a:lnTo>
                      <a:pt x="124" y="123"/>
                    </a:lnTo>
                    <a:lnTo>
                      <a:pt x="105" y="144"/>
                    </a:lnTo>
                    <a:lnTo>
                      <a:pt x="88" y="166"/>
                    </a:lnTo>
                    <a:lnTo>
                      <a:pt x="73" y="190"/>
                    </a:lnTo>
                    <a:lnTo>
                      <a:pt x="61" y="215"/>
                    </a:lnTo>
                    <a:lnTo>
                      <a:pt x="52" y="242"/>
                    </a:lnTo>
                    <a:lnTo>
                      <a:pt x="43" y="270"/>
                    </a:lnTo>
                    <a:lnTo>
                      <a:pt x="39" y="299"/>
                    </a:lnTo>
                    <a:lnTo>
                      <a:pt x="38" y="328"/>
                    </a:lnTo>
                    <a:lnTo>
                      <a:pt x="38" y="328"/>
                    </a:lnTo>
                    <a:lnTo>
                      <a:pt x="39" y="359"/>
                    </a:lnTo>
                    <a:lnTo>
                      <a:pt x="43" y="387"/>
                    </a:lnTo>
                    <a:lnTo>
                      <a:pt x="52" y="415"/>
                    </a:lnTo>
                    <a:lnTo>
                      <a:pt x="61" y="442"/>
                    </a:lnTo>
                    <a:lnTo>
                      <a:pt x="73" y="468"/>
                    </a:lnTo>
                    <a:lnTo>
                      <a:pt x="88" y="492"/>
                    </a:lnTo>
                    <a:lnTo>
                      <a:pt x="105" y="514"/>
                    </a:lnTo>
                    <a:lnTo>
                      <a:pt x="124" y="535"/>
                    </a:lnTo>
                    <a:lnTo>
                      <a:pt x="144" y="554"/>
                    </a:lnTo>
                    <a:lnTo>
                      <a:pt x="167" y="570"/>
                    </a:lnTo>
                    <a:lnTo>
                      <a:pt x="191" y="585"/>
                    </a:lnTo>
                    <a:lnTo>
                      <a:pt x="215" y="597"/>
                    </a:lnTo>
                    <a:lnTo>
                      <a:pt x="242" y="608"/>
                    </a:lnTo>
                    <a:lnTo>
                      <a:pt x="270" y="614"/>
                    </a:lnTo>
                    <a:lnTo>
                      <a:pt x="300" y="618"/>
                    </a:lnTo>
                    <a:lnTo>
                      <a:pt x="330" y="620"/>
                    </a:lnTo>
                    <a:lnTo>
                      <a:pt x="330" y="620"/>
                    </a:lnTo>
                    <a:lnTo>
                      <a:pt x="359" y="618"/>
                    </a:lnTo>
                    <a:lnTo>
                      <a:pt x="387" y="614"/>
                    </a:lnTo>
                    <a:lnTo>
                      <a:pt x="416" y="608"/>
                    </a:lnTo>
                    <a:lnTo>
                      <a:pt x="442" y="597"/>
                    </a:lnTo>
                    <a:lnTo>
                      <a:pt x="468" y="585"/>
                    </a:lnTo>
                    <a:lnTo>
                      <a:pt x="492" y="570"/>
                    </a:lnTo>
                    <a:lnTo>
                      <a:pt x="515" y="554"/>
                    </a:lnTo>
                    <a:lnTo>
                      <a:pt x="535" y="535"/>
                    </a:lnTo>
                    <a:lnTo>
                      <a:pt x="554" y="514"/>
                    </a:lnTo>
                    <a:lnTo>
                      <a:pt x="570" y="492"/>
                    </a:lnTo>
                    <a:lnTo>
                      <a:pt x="585" y="468"/>
                    </a:lnTo>
                    <a:lnTo>
                      <a:pt x="597" y="442"/>
                    </a:lnTo>
                    <a:lnTo>
                      <a:pt x="608" y="415"/>
                    </a:lnTo>
                    <a:lnTo>
                      <a:pt x="614" y="387"/>
                    </a:lnTo>
                    <a:lnTo>
                      <a:pt x="618" y="359"/>
                    </a:lnTo>
                    <a:lnTo>
                      <a:pt x="621" y="328"/>
                    </a:lnTo>
                    <a:lnTo>
                      <a:pt x="621" y="328"/>
                    </a:lnTo>
                    <a:lnTo>
                      <a:pt x="618" y="299"/>
                    </a:lnTo>
                    <a:lnTo>
                      <a:pt x="614" y="270"/>
                    </a:lnTo>
                    <a:lnTo>
                      <a:pt x="608" y="242"/>
                    </a:lnTo>
                    <a:lnTo>
                      <a:pt x="597" y="215"/>
                    </a:lnTo>
                    <a:lnTo>
                      <a:pt x="585" y="190"/>
                    </a:lnTo>
                    <a:lnTo>
                      <a:pt x="570" y="166"/>
                    </a:lnTo>
                    <a:lnTo>
                      <a:pt x="554" y="144"/>
                    </a:lnTo>
                    <a:lnTo>
                      <a:pt x="535" y="123"/>
                    </a:lnTo>
                    <a:lnTo>
                      <a:pt x="515" y="104"/>
                    </a:lnTo>
                    <a:lnTo>
                      <a:pt x="492" y="88"/>
                    </a:lnTo>
                    <a:lnTo>
                      <a:pt x="468" y="73"/>
                    </a:lnTo>
                    <a:lnTo>
                      <a:pt x="442" y="61"/>
                    </a:lnTo>
                    <a:lnTo>
                      <a:pt x="416" y="50"/>
                    </a:lnTo>
                    <a:lnTo>
                      <a:pt x="387" y="43"/>
                    </a:lnTo>
                    <a:lnTo>
                      <a:pt x="359" y="39"/>
                    </a:lnTo>
                    <a:lnTo>
                      <a:pt x="330" y="38"/>
                    </a:lnTo>
                    <a:lnTo>
                      <a:pt x="330" y="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8" name="Freeform 287">
                <a:extLst>
                  <a:ext uri="{FF2B5EF4-FFF2-40B4-BE49-F238E27FC236}">
                    <a16:creationId xmlns:a16="http://schemas.microsoft.com/office/drawing/2014/main" id="{B9874D48-32B1-4523-A148-77AB36678630}"/>
                  </a:ext>
                </a:extLst>
              </p:cNvPr>
              <p:cNvSpPr>
                <a:spLocks/>
              </p:cNvSpPr>
              <p:nvPr/>
            </p:nvSpPr>
            <p:spPr bwMode="auto">
              <a:xfrm>
                <a:off x="1608138" y="6022975"/>
                <a:ext cx="174625" cy="188913"/>
              </a:xfrm>
              <a:custGeom>
                <a:avLst/>
                <a:gdLst>
                  <a:gd name="T0" fmla="*/ 215 w 219"/>
                  <a:gd name="T1" fmla="*/ 0 h 238"/>
                  <a:gd name="T2" fmla="*/ 172 w 219"/>
                  <a:gd name="T3" fmla="*/ 0 h 238"/>
                  <a:gd name="T4" fmla="*/ 172 w 219"/>
                  <a:gd name="T5" fmla="*/ 34 h 238"/>
                  <a:gd name="T6" fmla="*/ 172 w 219"/>
                  <a:gd name="T7" fmla="*/ 34 h 238"/>
                  <a:gd name="T8" fmla="*/ 171 w 219"/>
                  <a:gd name="T9" fmla="*/ 39 h 238"/>
                  <a:gd name="T10" fmla="*/ 168 w 219"/>
                  <a:gd name="T11" fmla="*/ 44 h 238"/>
                  <a:gd name="T12" fmla="*/ 163 w 219"/>
                  <a:gd name="T13" fmla="*/ 47 h 238"/>
                  <a:gd name="T14" fmla="*/ 158 w 219"/>
                  <a:gd name="T15" fmla="*/ 48 h 238"/>
                  <a:gd name="T16" fmla="*/ 158 w 219"/>
                  <a:gd name="T17" fmla="*/ 48 h 238"/>
                  <a:gd name="T18" fmla="*/ 152 w 219"/>
                  <a:gd name="T19" fmla="*/ 47 h 238"/>
                  <a:gd name="T20" fmla="*/ 148 w 219"/>
                  <a:gd name="T21" fmla="*/ 44 h 238"/>
                  <a:gd name="T22" fmla="*/ 144 w 219"/>
                  <a:gd name="T23" fmla="*/ 39 h 238"/>
                  <a:gd name="T24" fmla="*/ 144 w 219"/>
                  <a:gd name="T25" fmla="*/ 34 h 238"/>
                  <a:gd name="T26" fmla="*/ 144 w 219"/>
                  <a:gd name="T27" fmla="*/ 0 h 238"/>
                  <a:gd name="T28" fmla="*/ 77 w 219"/>
                  <a:gd name="T29" fmla="*/ 0 h 238"/>
                  <a:gd name="T30" fmla="*/ 77 w 219"/>
                  <a:gd name="T31" fmla="*/ 34 h 238"/>
                  <a:gd name="T32" fmla="*/ 77 w 219"/>
                  <a:gd name="T33" fmla="*/ 34 h 238"/>
                  <a:gd name="T34" fmla="*/ 76 w 219"/>
                  <a:gd name="T35" fmla="*/ 39 h 238"/>
                  <a:gd name="T36" fmla="*/ 73 w 219"/>
                  <a:gd name="T37" fmla="*/ 44 h 238"/>
                  <a:gd name="T38" fmla="*/ 69 w 219"/>
                  <a:gd name="T39" fmla="*/ 47 h 238"/>
                  <a:gd name="T40" fmla="*/ 62 w 219"/>
                  <a:gd name="T41" fmla="*/ 48 h 238"/>
                  <a:gd name="T42" fmla="*/ 62 w 219"/>
                  <a:gd name="T43" fmla="*/ 48 h 238"/>
                  <a:gd name="T44" fmla="*/ 57 w 219"/>
                  <a:gd name="T45" fmla="*/ 47 h 238"/>
                  <a:gd name="T46" fmla="*/ 53 w 219"/>
                  <a:gd name="T47" fmla="*/ 44 h 238"/>
                  <a:gd name="T48" fmla="*/ 50 w 219"/>
                  <a:gd name="T49" fmla="*/ 39 h 238"/>
                  <a:gd name="T50" fmla="*/ 49 w 219"/>
                  <a:gd name="T51" fmla="*/ 34 h 238"/>
                  <a:gd name="T52" fmla="*/ 49 w 219"/>
                  <a:gd name="T53" fmla="*/ 0 h 238"/>
                  <a:gd name="T54" fmla="*/ 6 w 219"/>
                  <a:gd name="T55" fmla="*/ 0 h 238"/>
                  <a:gd name="T56" fmla="*/ 6 w 219"/>
                  <a:gd name="T57" fmla="*/ 0 h 238"/>
                  <a:gd name="T58" fmla="*/ 2 w 219"/>
                  <a:gd name="T59" fmla="*/ 1 h 238"/>
                  <a:gd name="T60" fmla="*/ 0 w 219"/>
                  <a:gd name="T61" fmla="*/ 5 h 238"/>
                  <a:gd name="T62" fmla="*/ 0 w 219"/>
                  <a:gd name="T63" fmla="*/ 234 h 238"/>
                  <a:gd name="T64" fmla="*/ 0 w 219"/>
                  <a:gd name="T65" fmla="*/ 234 h 238"/>
                  <a:gd name="T66" fmla="*/ 2 w 219"/>
                  <a:gd name="T67" fmla="*/ 236 h 238"/>
                  <a:gd name="T68" fmla="*/ 6 w 219"/>
                  <a:gd name="T69" fmla="*/ 238 h 238"/>
                  <a:gd name="T70" fmla="*/ 215 w 219"/>
                  <a:gd name="T71" fmla="*/ 238 h 238"/>
                  <a:gd name="T72" fmla="*/ 215 w 219"/>
                  <a:gd name="T73" fmla="*/ 238 h 238"/>
                  <a:gd name="T74" fmla="*/ 218 w 219"/>
                  <a:gd name="T75" fmla="*/ 236 h 238"/>
                  <a:gd name="T76" fmla="*/ 219 w 219"/>
                  <a:gd name="T77" fmla="*/ 234 h 238"/>
                  <a:gd name="T78" fmla="*/ 219 w 219"/>
                  <a:gd name="T79" fmla="*/ 5 h 238"/>
                  <a:gd name="T80" fmla="*/ 219 w 219"/>
                  <a:gd name="T81" fmla="*/ 5 h 238"/>
                  <a:gd name="T82" fmla="*/ 218 w 219"/>
                  <a:gd name="T83" fmla="*/ 1 h 238"/>
                  <a:gd name="T84" fmla="*/ 215 w 219"/>
                  <a:gd name="T85" fmla="*/ 0 h 238"/>
                  <a:gd name="T86" fmla="*/ 215 w 219"/>
                  <a:gd name="T87"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9" h="238">
                    <a:moveTo>
                      <a:pt x="215" y="0"/>
                    </a:moveTo>
                    <a:lnTo>
                      <a:pt x="172" y="0"/>
                    </a:lnTo>
                    <a:lnTo>
                      <a:pt x="172" y="34"/>
                    </a:lnTo>
                    <a:lnTo>
                      <a:pt x="172" y="34"/>
                    </a:lnTo>
                    <a:lnTo>
                      <a:pt x="171" y="39"/>
                    </a:lnTo>
                    <a:lnTo>
                      <a:pt x="168" y="44"/>
                    </a:lnTo>
                    <a:lnTo>
                      <a:pt x="163" y="47"/>
                    </a:lnTo>
                    <a:lnTo>
                      <a:pt x="158" y="48"/>
                    </a:lnTo>
                    <a:lnTo>
                      <a:pt x="158" y="48"/>
                    </a:lnTo>
                    <a:lnTo>
                      <a:pt x="152" y="47"/>
                    </a:lnTo>
                    <a:lnTo>
                      <a:pt x="148" y="44"/>
                    </a:lnTo>
                    <a:lnTo>
                      <a:pt x="144" y="39"/>
                    </a:lnTo>
                    <a:lnTo>
                      <a:pt x="144" y="34"/>
                    </a:lnTo>
                    <a:lnTo>
                      <a:pt x="144" y="0"/>
                    </a:lnTo>
                    <a:lnTo>
                      <a:pt x="77" y="0"/>
                    </a:lnTo>
                    <a:lnTo>
                      <a:pt x="77" y="34"/>
                    </a:lnTo>
                    <a:lnTo>
                      <a:pt x="77" y="34"/>
                    </a:lnTo>
                    <a:lnTo>
                      <a:pt x="76" y="39"/>
                    </a:lnTo>
                    <a:lnTo>
                      <a:pt x="73" y="44"/>
                    </a:lnTo>
                    <a:lnTo>
                      <a:pt x="69" y="47"/>
                    </a:lnTo>
                    <a:lnTo>
                      <a:pt x="62" y="48"/>
                    </a:lnTo>
                    <a:lnTo>
                      <a:pt x="62" y="48"/>
                    </a:lnTo>
                    <a:lnTo>
                      <a:pt x="57" y="47"/>
                    </a:lnTo>
                    <a:lnTo>
                      <a:pt x="53" y="44"/>
                    </a:lnTo>
                    <a:lnTo>
                      <a:pt x="50" y="39"/>
                    </a:lnTo>
                    <a:lnTo>
                      <a:pt x="49" y="34"/>
                    </a:lnTo>
                    <a:lnTo>
                      <a:pt x="49" y="0"/>
                    </a:lnTo>
                    <a:lnTo>
                      <a:pt x="6" y="0"/>
                    </a:lnTo>
                    <a:lnTo>
                      <a:pt x="6" y="0"/>
                    </a:lnTo>
                    <a:lnTo>
                      <a:pt x="2" y="1"/>
                    </a:lnTo>
                    <a:lnTo>
                      <a:pt x="0" y="5"/>
                    </a:lnTo>
                    <a:lnTo>
                      <a:pt x="0" y="234"/>
                    </a:lnTo>
                    <a:lnTo>
                      <a:pt x="0" y="234"/>
                    </a:lnTo>
                    <a:lnTo>
                      <a:pt x="2" y="236"/>
                    </a:lnTo>
                    <a:lnTo>
                      <a:pt x="6" y="238"/>
                    </a:lnTo>
                    <a:lnTo>
                      <a:pt x="215" y="238"/>
                    </a:lnTo>
                    <a:lnTo>
                      <a:pt x="215" y="238"/>
                    </a:lnTo>
                    <a:lnTo>
                      <a:pt x="218" y="236"/>
                    </a:lnTo>
                    <a:lnTo>
                      <a:pt x="219" y="234"/>
                    </a:lnTo>
                    <a:lnTo>
                      <a:pt x="219" y="5"/>
                    </a:lnTo>
                    <a:lnTo>
                      <a:pt x="219" y="5"/>
                    </a:lnTo>
                    <a:lnTo>
                      <a:pt x="218" y="1"/>
                    </a:lnTo>
                    <a:lnTo>
                      <a:pt x="215" y="0"/>
                    </a:lnTo>
                    <a:lnTo>
                      <a:pt x="215"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9" name="Freeform 288">
                <a:extLst>
                  <a:ext uri="{FF2B5EF4-FFF2-40B4-BE49-F238E27FC236}">
                    <a16:creationId xmlns:a16="http://schemas.microsoft.com/office/drawing/2014/main" id="{E839CFAF-F284-4FBA-BB36-475AF5534E30}"/>
                  </a:ext>
                </a:extLst>
              </p:cNvPr>
              <p:cNvSpPr>
                <a:spLocks/>
              </p:cNvSpPr>
              <p:nvPr/>
            </p:nvSpPr>
            <p:spPr bwMode="auto">
              <a:xfrm>
                <a:off x="1654176" y="5978525"/>
                <a:ext cx="82550" cy="74613"/>
              </a:xfrm>
              <a:custGeom>
                <a:avLst/>
                <a:gdLst>
                  <a:gd name="T0" fmla="*/ 100 w 105"/>
                  <a:gd name="T1" fmla="*/ 95 h 95"/>
                  <a:gd name="T2" fmla="*/ 100 w 105"/>
                  <a:gd name="T3" fmla="*/ 95 h 95"/>
                  <a:gd name="T4" fmla="*/ 97 w 105"/>
                  <a:gd name="T5" fmla="*/ 94 h 95"/>
                  <a:gd name="T6" fmla="*/ 96 w 105"/>
                  <a:gd name="T7" fmla="*/ 90 h 95"/>
                  <a:gd name="T8" fmla="*/ 96 w 105"/>
                  <a:gd name="T9" fmla="*/ 52 h 95"/>
                  <a:gd name="T10" fmla="*/ 96 w 105"/>
                  <a:gd name="T11" fmla="*/ 52 h 95"/>
                  <a:gd name="T12" fmla="*/ 94 w 105"/>
                  <a:gd name="T13" fmla="*/ 43 h 95"/>
                  <a:gd name="T14" fmla="*/ 92 w 105"/>
                  <a:gd name="T15" fmla="*/ 35 h 95"/>
                  <a:gd name="T16" fmla="*/ 88 w 105"/>
                  <a:gd name="T17" fmla="*/ 28 h 95"/>
                  <a:gd name="T18" fmla="*/ 82 w 105"/>
                  <a:gd name="T19" fmla="*/ 21 h 95"/>
                  <a:gd name="T20" fmla="*/ 77 w 105"/>
                  <a:gd name="T21" fmla="*/ 16 h 95"/>
                  <a:gd name="T22" fmla="*/ 69 w 105"/>
                  <a:gd name="T23" fmla="*/ 12 h 95"/>
                  <a:gd name="T24" fmla="*/ 61 w 105"/>
                  <a:gd name="T25" fmla="*/ 9 h 95"/>
                  <a:gd name="T26" fmla="*/ 53 w 105"/>
                  <a:gd name="T27" fmla="*/ 9 h 95"/>
                  <a:gd name="T28" fmla="*/ 53 w 105"/>
                  <a:gd name="T29" fmla="*/ 9 h 95"/>
                  <a:gd name="T30" fmla="*/ 43 w 105"/>
                  <a:gd name="T31" fmla="*/ 9 h 95"/>
                  <a:gd name="T32" fmla="*/ 35 w 105"/>
                  <a:gd name="T33" fmla="*/ 12 h 95"/>
                  <a:gd name="T34" fmla="*/ 28 w 105"/>
                  <a:gd name="T35" fmla="*/ 16 h 95"/>
                  <a:gd name="T36" fmla="*/ 22 w 105"/>
                  <a:gd name="T37" fmla="*/ 21 h 95"/>
                  <a:gd name="T38" fmla="*/ 16 w 105"/>
                  <a:gd name="T39" fmla="*/ 28 h 95"/>
                  <a:gd name="T40" fmla="*/ 12 w 105"/>
                  <a:gd name="T41" fmla="*/ 35 h 95"/>
                  <a:gd name="T42" fmla="*/ 11 w 105"/>
                  <a:gd name="T43" fmla="*/ 43 h 95"/>
                  <a:gd name="T44" fmla="*/ 10 w 105"/>
                  <a:gd name="T45" fmla="*/ 52 h 95"/>
                  <a:gd name="T46" fmla="*/ 10 w 105"/>
                  <a:gd name="T47" fmla="*/ 90 h 95"/>
                  <a:gd name="T48" fmla="*/ 10 w 105"/>
                  <a:gd name="T49" fmla="*/ 90 h 95"/>
                  <a:gd name="T50" fmla="*/ 8 w 105"/>
                  <a:gd name="T51" fmla="*/ 94 h 95"/>
                  <a:gd name="T52" fmla="*/ 4 w 105"/>
                  <a:gd name="T53" fmla="*/ 95 h 95"/>
                  <a:gd name="T54" fmla="*/ 4 w 105"/>
                  <a:gd name="T55" fmla="*/ 95 h 95"/>
                  <a:gd name="T56" fmla="*/ 2 w 105"/>
                  <a:gd name="T57" fmla="*/ 94 h 95"/>
                  <a:gd name="T58" fmla="*/ 0 w 105"/>
                  <a:gd name="T59" fmla="*/ 90 h 95"/>
                  <a:gd name="T60" fmla="*/ 0 w 105"/>
                  <a:gd name="T61" fmla="*/ 52 h 95"/>
                  <a:gd name="T62" fmla="*/ 0 w 105"/>
                  <a:gd name="T63" fmla="*/ 52 h 95"/>
                  <a:gd name="T64" fmla="*/ 2 w 105"/>
                  <a:gd name="T65" fmla="*/ 41 h 95"/>
                  <a:gd name="T66" fmla="*/ 4 w 105"/>
                  <a:gd name="T67" fmla="*/ 31 h 95"/>
                  <a:gd name="T68" fmla="*/ 8 w 105"/>
                  <a:gd name="T69" fmla="*/ 22 h 95"/>
                  <a:gd name="T70" fmla="*/ 15 w 105"/>
                  <a:gd name="T71" fmla="*/ 14 h 95"/>
                  <a:gd name="T72" fmla="*/ 23 w 105"/>
                  <a:gd name="T73" fmla="*/ 8 h 95"/>
                  <a:gd name="T74" fmla="*/ 32 w 105"/>
                  <a:gd name="T75" fmla="*/ 4 h 95"/>
                  <a:gd name="T76" fmla="*/ 42 w 105"/>
                  <a:gd name="T77" fmla="*/ 1 h 95"/>
                  <a:gd name="T78" fmla="*/ 53 w 105"/>
                  <a:gd name="T79" fmla="*/ 0 h 95"/>
                  <a:gd name="T80" fmla="*/ 53 w 105"/>
                  <a:gd name="T81" fmla="*/ 0 h 95"/>
                  <a:gd name="T82" fmla="*/ 63 w 105"/>
                  <a:gd name="T83" fmla="*/ 1 h 95"/>
                  <a:gd name="T84" fmla="*/ 73 w 105"/>
                  <a:gd name="T85" fmla="*/ 4 h 95"/>
                  <a:gd name="T86" fmla="*/ 82 w 105"/>
                  <a:gd name="T87" fmla="*/ 8 h 95"/>
                  <a:gd name="T88" fmla="*/ 89 w 105"/>
                  <a:gd name="T89" fmla="*/ 14 h 95"/>
                  <a:gd name="T90" fmla="*/ 96 w 105"/>
                  <a:gd name="T91" fmla="*/ 22 h 95"/>
                  <a:gd name="T92" fmla="*/ 101 w 105"/>
                  <a:gd name="T93" fmla="*/ 31 h 95"/>
                  <a:gd name="T94" fmla="*/ 104 w 105"/>
                  <a:gd name="T95" fmla="*/ 41 h 95"/>
                  <a:gd name="T96" fmla="*/ 105 w 105"/>
                  <a:gd name="T97" fmla="*/ 52 h 95"/>
                  <a:gd name="T98" fmla="*/ 105 w 105"/>
                  <a:gd name="T99" fmla="*/ 90 h 95"/>
                  <a:gd name="T100" fmla="*/ 105 w 105"/>
                  <a:gd name="T101" fmla="*/ 90 h 95"/>
                  <a:gd name="T102" fmla="*/ 104 w 105"/>
                  <a:gd name="T103" fmla="*/ 94 h 95"/>
                  <a:gd name="T104" fmla="*/ 100 w 105"/>
                  <a:gd name="T105" fmla="*/ 95 h 95"/>
                  <a:gd name="T106" fmla="*/ 100 w 105"/>
                  <a:gd name="T107"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5" h="95">
                    <a:moveTo>
                      <a:pt x="100" y="95"/>
                    </a:moveTo>
                    <a:lnTo>
                      <a:pt x="100" y="95"/>
                    </a:lnTo>
                    <a:lnTo>
                      <a:pt x="97" y="94"/>
                    </a:lnTo>
                    <a:lnTo>
                      <a:pt x="96" y="90"/>
                    </a:lnTo>
                    <a:lnTo>
                      <a:pt x="96" y="52"/>
                    </a:lnTo>
                    <a:lnTo>
                      <a:pt x="96" y="52"/>
                    </a:lnTo>
                    <a:lnTo>
                      <a:pt x="94" y="43"/>
                    </a:lnTo>
                    <a:lnTo>
                      <a:pt x="92" y="35"/>
                    </a:lnTo>
                    <a:lnTo>
                      <a:pt x="88" y="28"/>
                    </a:lnTo>
                    <a:lnTo>
                      <a:pt x="82" y="21"/>
                    </a:lnTo>
                    <a:lnTo>
                      <a:pt x="77" y="16"/>
                    </a:lnTo>
                    <a:lnTo>
                      <a:pt x="69" y="12"/>
                    </a:lnTo>
                    <a:lnTo>
                      <a:pt x="61" y="9"/>
                    </a:lnTo>
                    <a:lnTo>
                      <a:pt x="53" y="9"/>
                    </a:lnTo>
                    <a:lnTo>
                      <a:pt x="53" y="9"/>
                    </a:lnTo>
                    <a:lnTo>
                      <a:pt x="43" y="9"/>
                    </a:lnTo>
                    <a:lnTo>
                      <a:pt x="35" y="12"/>
                    </a:lnTo>
                    <a:lnTo>
                      <a:pt x="28" y="16"/>
                    </a:lnTo>
                    <a:lnTo>
                      <a:pt x="22" y="21"/>
                    </a:lnTo>
                    <a:lnTo>
                      <a:pt x="16" y="28"/>
                    </a:lnTo>
                    <a:lnTo>
                      <a:pt x="12" y="35"/>
                    </a:lnTo>
                    <a:lnTo>
                      <a:pt x="11" y="43"/>
                    </a:lnTo>
                    <a:lnTo>
                      <a:pt x="10" y="52"/>
                    </a:lnTo>
                    <a:lnTo>
                      <a:pt x="10" y="90"/>
                    </a:lnTo>
                    <a:lnTo>
                      <a:pt x="10" y="90"/>
                    </a:lnTo>
                    <a:lnTo>
                      <a:pt x="8" y="94"/>
                    </a:lnTo>
                    <a:lnTo>
                      <a:pt x="4" y="95"/>
                    </a:lnTo>
                    <a:lnTo>
                      <a:pt x="4" y="95"/>
                    </a:lnTo>
                    <a:lnTo>
                      <a:pt x="2" y="94"/>
                    </a:lnTo>
                    <a:lnTo>
                      <a:pt x="0" y="90"/>
                    </a:lnTo>
                    <a:lnTo>
                      <a:pt x="0" y="52"/>
                    </a:lnTo>
                    <a:lnTo>
                      <a:pt x="0" y="52"/>
                    </a:lnTo>
                    <a:lnTo>
                      <a:pt x="2" y="41"/>
                    </a:lnTo>
                    <a:lnTo>
                      <a:pt x="4" y="31"/>
                    </a:lnTo>
                    <a:lnTo>
                      <a:pt x="8" y="22"/>
                    </a:lnTo>
                    <a:lnTo>
                      <a:pt x="15" y="14"/>
                    </a:lnTo>
                    <a:lnTo>
                      <a:pt x="23" y="8"/>
                    </a:lnTo>
                    <a:lnTo>
                      <a:pt x="32" y="4"/>
                    </a:lnTo>
                    <a:lnTo>
                      <a:pt x="42" y="1"/>
                    </a:lnTo>
                    <a:lnTo>
                      <a:pt x="53" y="0"/>
                    </a:lnTo>
                    <a:lnTo>
                      <a:pt x="53" y="0"/>
                    </a:lnTo>
                    <a:lnTo>
                      <a:pt x="63" y="1"/>
                    </a:lnTo>
                    <a:lnTo>
                      <a:pt x="73" y="4"/>
                    </a:lnTo>
                    <a:lnTo>
                      <a:pt x="82" y="8"/>
                    </a:lnTo>
                    <a:lnTo>
                      <a:pt x="89" y="14"/>
                    </a:lnTo>
                    <a:lnTo>
                      <a:pt x="96" y="22"/>
                    </a:lnTo>
                    <a:lnTo>
                      <a:pt x="101" y="31"/>
                    </a:lnTo>
                    <a:lnTo>
                      <a:pt x="104" y="41"/>
                    </a:lnTo>
                    <a:lnTo>
                      <a:pt x="105" y="52"/>
                    </a:lnTo>
                    <a:lnTo>
                      <a:pt x="105" y="90"/>
                    </a:lnTo>
                    <a:lnTo>
                      <a:pt x="105" y="90"/>
                    </a:lnTo>
                    <a:lnTo>
                      <a:pt x="104" y="94"/>
                    </a:lnTo>
                    <a:lnTo>
                      <a:pt x="100" y="95"/>
                    </a:lnTo>
                    <a:lnTo>
                      <a:pt x="100" y="95"/>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90" name="Group 89">
            <a:extLst>
              <a:ext uri="{FF2B5EF4-FFF2-40B4-BE49-F238E27FC236}">
                <a16:creationId xmlns:a16="http://schemas.microsoft.com/office/drawing/2014/main" id="{B9A115E7-3585-4E2F-9E7F-8B10B07F6D97}"/>
              </a:ext>
            </a:extLst>
          </p:cNvPr>
          <p:cNvGrpSpPr/>
          <p:nvPr/>
        </p:nvGrpSpPr>
        <p:grpSpPr>
          <a:xfrm>
            <a:off x="700401" y="3260750"/>
            <a:ext cx="512772" cy="514654"/>
            <a:chOff x="536665" y="3232713"/>
            <a:chExt cx="261147" cy="238277"/>
          </a:xfrm>
        </p:grpSpPr>
        <p:sp>
          <p:nvSpPr>
            <p:cNvPr id="91" name="Oval 90">
              <a:extLst>
                <a:ext uri="{FF2B5EF4-FFF2-40B4-BE49-F238E27FC236}">
                  <a16:creationId xmlns:a16="http://schemas.microsoft.com/office/drawing/2014/main" id="{C71BD4BF-6CDC-4FC7-8D74-794D2AD04DA9}"/>
                </a:ext>
              </a:extLst>
            </p:cNvPr>
            <p:cNvSpPr/>
            <p:nvPr/>
          </p:nvSpPr>
          <p:spPr>
            <a:xfrm>
              <a:off x="556722" y="3249417"/>
              <a:ext cx="224137" cy="204508"/>
            </a:xfrm>
            <a:prstGeom prst="ellipse">
              <a:avLst/>
            </a:prstGeom>
            <a:solidFill>
              <a:srgbClr val="FFFFFF"/>
            </a:solidFill>
            <a:ln w="10795" cap="flat" cmpd="sng" algn="ctr">
              <a:no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92" name="Group 91">
              <a:extLst>
                <a:ext uri="{FF2B5EF4-FFF2-40B4-BE49-F238E27FC236}">
                  <a16:creationId xmlns:a16="http://schemas.microsoft.com/office/drawing/2014/main" id="{0FDAA618-D8E3-46C6-AC4B-B5F611254B01}"/>
                </a:ext>
              </a:extLst>
            </p:cNvPr>
            <p:cNvGrpSpPr>
              <a:grpSpLocks noChangeAspect="1"/>
            </p:cNvGrpSpPr>
            <p:nvPr/>
          </p:nvGrpSpPr>
          <p:grpSpPr>
            <a:xfrm>
              <a:off x="536665" y="3232713"/>
              <a:ext cx="261147" cy="238277"/>
              <a:chOff x="5824538" y="5851525"/>
              <a:chExt cx="522288" cy="522288"/>
            </a:xfrm>
            <a:solidFill>
              <a:srgbClr val="1A75CF"/>
            </a:solidFill>
          </p:grpSpPr>
          <p:sp>
            <p:nvSpPr>
              <p:cNvPr id="93" name="Freeform 78">
                <a:extLst>
                  <a:ext uri="{FF2B5EF4-FFF2-40B4-BE49-F238E27FC236}">
                    <a16:creationId xmlns:a16="http://schemas.microsoft.com/office/drawing/2014/main" id="{3BE697A9-8934-4C40-93D4-50D502021604}"/>
                  </a:ext>
                </a:extLst>
              </p:cNvPr>
              <p:cNvSpPr>
                <a:spLocks noEditPoints="1"/>
              </p:cNvSpPr>
              <p:nvPr/>
            </p:nvSpPr>
            <p:spPr bwMode="auto">
              <a:xfrm>
                <a:off x="5824538" y="5851525"/>
                <a:ext cx="522288" cy="522288"/>
              </a:xfrm>
              <a:custGeom>
                <a:avLst/>
                <a:gdLst>
                  <a:gd name="T0" fmla="*/ 312 w 659"/>
                  <a:gd name="T1" fmla="*/ 657 h 658"/>
                  <a:gd name="T2" fmla="*/ 264 w 659"/>
                  <a:gd name="T3" fmla="*/ 651 h 658"/>
                  <a:gd name="T4" fmla="*/ 202 w 659"/>
                  <a:gd name="T5" fmla="*/ 631 h 658"/>
                  <a:gd name="T6" fmla="*/ 120 w 659"/>
                  <a:gd name="T7" fmla="*/ 583 h 658"/>
                  <a:gd name="T8" fmla="*/ 57 w 659"/>
                  <a:gd name="T9" fmla="*/ 513 h 658"/>
                  <a:gd name="T10" fmla="*/ 15 w 659"/>
                  <a:gd name="T11" fmla="*/ 427 h 658"/>
                  <a:gd name="T12" fmla="*/ 5 w 659"/>
                  <a:gd name="T13" fmla="*/ 379 h 658"/>
                  <a:gd name="T14" fmla="*/ 0 w 659"/>
                  <a:gd name="T15" fmla="*/ 329 h 658"/>
                  <a:gd name="T16" fmla="*/ 2 w 659"/>
                  <a:gd name="T17" fmla="*/ 295 h 658"/>
                  <a:gd name="T18" fmla="*/ 11 w 659"/>
                  <a:gd name="T19" fmla="*/ 247 h 658"/>
                  <a:gd name="T20" fmla="*/ 41 w 659"/>
                  <a:gd name="T21" fmla="*/ 172 h 658"/>
                  <a:gd name="T22" fmla="*/ 97 w 659"/>
                  <a:gd name="T23" fmla="*/ 96 h 658"/>
                  <a:gd name="T24" fmla="*/ 172 w 659"/>
                  <a:gd name="T25" fmla="*/ 40 h 658"/>
                  <a:gd name="T26" fmla="*/ 248 w 659"/>
                  <a:gd name="T27" fmla="*/ 11 h 658"/>
                  <a:gd name="T28" fmla="*/ 296 w 659"/>
                  <a:gd name="T29" fmla="*/ 2 h 658"/>
                  <a:gd name="T30" fmla="*/ 330 w 659"/>
                  <a:gd name="T31" fmla="*/ 0 h 658"/>
                  <a:gd name="T32" fmla="*/ 379 w 659"/>
                  <a:gd name="T33" fmla="*/ 4 h 658"/>
                  <a:gd name="T34" fmla="*/ 428 w 659"/>
                  <a:gd name="T35" fmla="*/ 15 h 658"/>
                  <a:gd name="T36" fmla="*/ 514 w 659"/>
                  <a:gd name="T37" fmla="*/ 56 h 658"/>
                  <a:gd name="T38" fmla="*/ 583 w 659"/>
                  <a:gd name="T39" fmla="*/ 119 h 658"/>
                  <a:gd name="T40" fmla="*/ 632 w 659"/>
                  <a:gd name="T41" fmla="*/ 201 h 658"/>
                  <a:gd name="T42" fmla="*/ 652 w 659"/>
                  <a:gd name="T43" fmla="*/ 263 h 658"/>
                  <a:gd name="T44" fmla="*/ 657 w 659"/>
                  <a:gd name="T45" fmla="*/ 311 h 658"/>
                  <a:gd name="T46" fmla="*/ 657 w 659"/>
                  <a:gd name="T47" fmla="*/ 346 h 658"/>
                  <a:gd name="T48" fmla="*/ 652 w 659"/>
                  <a:gd name="T49" fmla="*/ 395 h 658"/>
                  <a:gd name="T50" fmla="*/ 632 w 659"/>
                  <a:gd name="T51" fmla="*/ 456 h 658"/>
                  <a:gd name="T52" fmla="*/ 583 w 659"/>
                  <a:gd name="T53" fmla="*/ 538 h 658"/>
                  <a:gd name="T54" fmla="*/ 514 w 659"/>
                  <a:gd name="T55" fmla="*/ 602 h 658"/>
                  <a:gd name="T56" fmla="*/ 428 w 659"/>
                  <a:gd name="T57" fmla="*/ 643 h 658"/>
                  <a:gd name="T58" fmla="*/ 379 w 659"/>
                  <a:gd name="T59" fmla="*/ 654 h 658"/>
                  <a:gd name="T60" fmla="*/ 330 w 659"/>
                  <a:gd name="T61" fmla="*/ 658 h 658"/>
                  <a:gd name="T62" fmla="*/ 330 w 659"/>
                  <a:gd name="T63" fmla="*/ 37 h 658"/>
                  <a:gd name="T64" fmla="*/ 244 w 659"/>
                  <a:gd name="T65" fmla="*/ 51 h 658"/>
                  <a:gd name="T66" fmla="*/ 167 w 659"/>
                  <a:gd name="T67" fmla="*/ 87 h 658"/>
                  <a:gd name="T68" fmla="*/ 105 w 659"/>
                  <a:gd name="T69" fmla="*/ 144 h 658"/>
                  <a:gd name="T70" fmla="*/ 61 w 659"/>
                  <a:gd name="T71" fmla="*/ 216 h 658"/>
                  <a:gd name="T72" fmla="*/ 39 w 659"/>
                  <a:gd name="T73" fmla="*/ 299 h 658"/>
                  <a:gd name="T74" fmla="*/ 39 w 659"/>
                  <a:gd name="T75" fmla="*/ 358 h 658"/>
                  <a:gd name="T76" fmla="*/ 61 w 659"/>
                  <a:gd name="T77" fmla="*/ 442 h 658"/>
                  <a:gd name="T78" fmla="*/ 105 w 659"/>
                  <a:gd name="T79" fmla="*/ 514 h 658"/>
                  <a:gd name="T80" fmla="*/ 167 w 659"/>
                  <a:gd name="T81" fmla="*/ 571 h 658"/>
                  <a:gd name="T82" fmla="*/ 244 w 659"/>
                  <a:gd name="T83" fmla="*/ 607 h 658"/>
                  <a:gd name="T84" fmla="*/ 330 w 659"/>
                  <a:gd name="T85" fmla="*/ 620 h 658"/>
                  <a:gd name="T86" fmla="*/ 389 w 659"/>
                  <a:gd name="T87" fmla="*/ 614 h 658"/>
                  <a:gd name="T88" fmla="*/ 468 w 659"/>
                  <a:gd name="T89" fmla="*/ 585 h 658"/>
                  <a:gd name="T90" fmla="*/ 535 w 659"/>
                  <a:gd name="T91" fmla="*/ 534 h 658"/>
                  <a:gd name="T92" fmla="*/ 586 w 659"/>
                  <a:gd name="T93" fmla="*/ 467 h 658"/>
                  <a:gd name="T94" fmla="*/ 614 w 659"/>
                  <a:gd name="T95" fmla="*/ 388 h 658"/>
                  <a:gd name="T96" fmla="*/ 621 w 659"/>
                  <a:gd name="T97" fmla="*/ 329 h 658"/>
                  <a:gd name="T98" fmla="*/ 608 w 659"/>
                  <a:gd name="T99" fmla="*/ 243 h 658"/>
                  <a:gd name="T100" fmla="*/ 571 w 659"/>
                  <a:gd name="T101" fmla="*/ 166 h 658"/>
                  <a:gd name="T102" fmla="*/ 515 w 659"/>
                  <a:gd name="T103" fmla="*/ 105 h 658"/>
                  <a:gd name="T104" fmla="*/ 442 w 659"/>
                  <a:gd name="T105" fmla="*/ 60 h 658"/>
                  <a:gd name="T106" fmla="*/ 359 w 659"/>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30" y="658"/>
                    </a:moveTo>
                    <a:lnTo>
                      <a:pt x="330" y="658"/>
                    </a:lnTo>
                    <a:lnTo>
                      <a:pt x="312" y="657"/>
                    </a:lnTo>
                    <a:lnTo>
                      <a:pt x="296" y="655"/>
                    </a:lnTo>
                    <a:lnTo>
                      <a:pt x="280" y="654"/>
                    </a:lnTo>
                    <a:lnTo>
                      <a:pt x="264" y="651"/>
                    </a:lnTo>
                    <a:lnTo>
                      <a:pt x="248" y="647"/>
                    </a:lnTo>
                    <a:lnTo>
                      <a:pt x="232" y="643"/>
                    </a:lnTo>
                    <a:lnTo>
                      <a:pt x="202" y="631"/>
                    </a:lnTo>
                    <a:lnTo>
                      <a:pt x="172" y="618"/>
                    </a:lnTo>
                    <a:lnTo>
                      <a:pt x="146" y="602"/>
                    </a:lnTo>
                    <a:lnTo>
                      <a:pt x="120" y="583"/>
                    </a:lnTo>
                    <a:lnTo>
                      <a:pt x="97" y="561"/>
                    </a:lnTo>
                    <a:lnTo>
                      <a:pt x="76" y="538"/>
                    </a:lnTo>
                    <a:lnTo>
                      <a:pt x="57" y="513"/>
                    </a:lnTo>
                    <a:lnTo>
                      <a:pt x="41" y="486"/>
                    </a:lnTo>
                    <a:lnTo>
                      <a:pt x="26" y="456"/>
                    </a:lnTo>
                    <a:lnTo>
                      <a:pt x="15" y="427"/>
                    </a:lnTo>
                    <a:lnTo>
                      <a:pt x="11" y="411"/>
                    </a:lnTo>
                    <a:lnTo>
                      <a:pt x="7" y="395"/>
                    </a:lnTo>
                    <a:lnTo>
                      <a:pt x="5" y="379"/>
                    </a:lnTo>
                    <a:lnTo>
                      <a:pt x="2" y="362"/>
                    </a:lnTo>
                    <a:lnTo>
                      <a:pt x="2" y="346"/>
                    </a:lnTo>
                    <a:lnTo>
                      <a:pt x="0" y="329"/>
                    </a:lnTo>
                    <a:lnTo>
                      <a:pt x="0" y="329"/>
                    </a:lnTo>
                    <a:lnTo>
                      <a:pt x="2" y="311"/>
                    </a:lnTo>
                    <a:lnTo>
                      <a:pt x="2" y="295"/>
                    </a:lnTo>
                    <a:lnTo>
                      <a:pt x="5" y="279"/>
                    </a:lnTo>
                    <a:lnTo>
                      <a:pt x="7" y="263"/>
                    </a:lnTo>
                    <a:lnTo>
                      <a:pt x="11" y="247"/>
                    </a:lnTo>
                    <a:lnTo>
                      <a:pt x="15" y="231"/>
                    </a:lnTo>
                    <a:lnTo>
                      <a:pt x="26" y="201"/>
                    </a:lnTo>
                    <a:lnTo>
                      <a:pt x="41" y="172"/>
                    </a:lnTo>
                    <a:lnTo>
                      <a:pt x="57" y="145"/>
                    </a:lnTo>
                    <a:lnTo>
                      <a:pt x="76" y="119"/>
                    </a:lnTo>
                    <a:lnTo>
                      <a:pt x="97" y="96"/>
                    </a:lnTo>
                    <a:lnTo>
                      <a:pt x="120" y="75"/>
                    </a:lnTo>
                    <a:lnTo>
                      <a:pt x="146" y="56"/>
                    </a:lnTo>
                    <a:lnTo>
                      <a:pt x="172" y="40"/>
                    </a:lnTo>
                    <a:lnTo>
                      <a:pt x="202" y="27"/>
                    </a:lnTo>
                    <a:lnTo>
                      <a:pt x="232" y="15"/>
                    </a:lnTo>
                    <a:lnTo>
                      <a:pt x="248" y="11"/>
                    </a:lnTo>
                    <a:lnTo>
                      <a:pt x="264" y="6"/>
                    </a:lnTo>
                    <a:lnTo>
                      <a:pt x="280" y="4"/>
                    </a:lnTo>
                    <a:lnTo>
                      <a:pt x="296" y="2"/>
                    </a:lnTo>
                    <a:lnTo>
                      <a:pt x="312" y="1"/>
                    </a:lnTo>
                    <a:lnTo>
                      <a:pt x="330" y="0"/>
                    </a:lnTo>
                    <a:lnTo>
                      <a:pt x="330" y="0"/>
                    </a:lnTo>
                    <a:lnTo>
                      <a:pt x="347" y="1"/>
                    </a:lnTo>
                    <a:lnTo>
                      <a:pt x="363" y="2"/>
                    </a:lnTo>
                    <a:lnTo>
                      <a:pt x="379" y="4"/>
                    </a:lnTo>
                    <a:lnTo>
                      <a:pt x="395" y="6"/>
                    </a:lnTo>
                    <a:lnTo>
                      <a:pt x="412" y="11"/>
                    </a:lnTo>
                    <a:lnTo>
                      <a:pt x="428" y="15"/>
                    </a:lnTo>
                    <a:lnTo>
                      <a:pt x="457" y="27"/>
                    </a:lnTo>
                    <a:lnTo>
                      <a:pt x="487" y="40"/>
                    </a:lnTo>
                    <a:lnTo>
                      <a:pt x="514" y="56"/>
                    </a:lnTo>
                    <a:lnTo>
                      <a:pt x="539" y="75"/>
                    </a:lnTo>
                    <a:lnTo>
                      <a:pt x="562" y="96"/>
                    </a:lnTo>
                    <a:lnTo>
                      <a:pt x="583" y="119"/>
                    </a:lnTo>
                    <a:lnTo>
                      <a:pt x="602" y="145"/>
                    </a:lnTo>
                    <a:lnTo>
                      <a:pt x="618" y="172"/>
                    </a:lnTo>
                    <a:lnTo>
                      <a:pt x="632" y="201"/>
                    </a:lnTo>
                    <a:lnTo>
                      <a:pt x="644" y="231"/>
                    </a:lnTo>
                    <a:lnTo>
                      <a:pt x="648" y="247"/>
                    </a:lnTo>
                    <a:lnTo>
                      <a:pt x="652" y="263"/>
                    </a:lnTo>
                    <a:lnTo>
                      <a:pt x="655" y="279"/>
                    </a:lnTo>
                    <a:lnTo>
                      <a:pt x="656" y="295"/>
                    </a:lnTo>
                    <a:lnTo>
                      <a:pt x="657" y="311"/>
                    </a:lnTo>
                    <a:lnTo>
                      <a:pt x="659" y="329"/>
                    </a:lnTo>
                    <a:lnTo>
                      <a:pt x="659" y="329"/>
                    </a:lnTo>
                    <a:lnTo>
                      <a:pt x="657" y="346"/>
                    </a:lnTo>
                    <a:lnTo>
                      <a:pt x="656" y="362"/>
                    </a:lnTo>
                    <a:lnTo>
                      <a:pt x="655" y="379"/>
                    </a:lnTo>
                    <a:lnTo>
                      <a:pt x="652" y="395"/>
                    </a:lnTo>
                    <a:lnTo>
                      <a:pt x="648" y="411"/>
                    </a:lnTo>
                    <a:lnTo>
                      <a:pt x="644" y="427"/>
                    </a:lnTo>
                    <a:lnTo>
                      <a:pt x="632" y="456"/>
                    </a:lnTo>
                    <a:lnTo>
                      <a:pt x="618" y="486"/>
                    </a:lnTo>
                    <a:lnTo>
                      <a:pt x="602" y="513"/>
                    </a:lnTo>
                    <a:lnTo>
                      <a:pt x="583" y="538"/>
                    </a:lnTo>
                    <a:lnTo>
                      <a:pt x="562" y="561"/>
                    </a:lnTo>
                    <a:lnTo>
                      <a:pt x="539" y="583"/>
                    </a:lnTo>
                    <a:lnTo>
                      <a:pt x="514" y="602"/>
                    </a:lnTo>
                    <a:lnTo>
                      <a:pt x="487" y="618"/>
                    </a:lnTo>
                    <a:lnTo>
                      <a:pt x="457" y="631"/>
                    </a:lnTo>
                    <a:lnTo>
                      <a:pt x="428" y="643"/>
                    </a:lnTo>
                    <a:lnTo>
                      <a:pt x="412" y="647"/>
                    </a:lnTo>
                    <a:lnTo>
                      <a:pt x="395" y="651"/>
                    </a:lnTo>
                    <a:lnTo>
                      <a:pt x="379" y="654"/>
                    </a:lnTo>
                    <a:lnTo>
                      <a:pt x="363" y="655"/>
                    </a:lnTo>
                    <a:lnTo>
                      <a:pt x="347" y="657"/>
                    </a:lnTo>
                    <a:lnTo>
                      <a:pt x="330" y="658"/>
                    </a:lnTo>
                    <a:lnTo>
                      <a:pt x="330" y="658"/>
                    </a:lnTo>
                    <a:close/>
                    <a:moveTo>
                      <a:pt x="330" y="37"/>
                    </a:moveTo>
                    <a:lnTo>
                      <a:pt x="330" y="37"/>
                    </a:lnTo>
                    <a:lnTo>
                      <a:pt x="300" y="39"/>
                    </a:lnTo>
                    <a:lnTo>
                      <a:pt x="270" y="44"/>
                    </a:lnTo>
                    <a:lnTo>
                      <a:pt x="244" y="51"/>
                    </a:lnTo>
                    <a:lnTo>
                      <a:pt x="217" y="60"/>
                    </a:lnTo>
                    <a:lnTo>
                      <a:pt x="191" y="72"/>
                    </a:lnTo>
                    <a:lnTo>
                      <a:pt x="167" y="87"/>
                    </a:lnTo>
                    <a:lnTo>
                      <a:pt x="144" y="105"/>
                    </a:lnTo>
                    <a:lnTo>
                      <a:pt x="124" y="123"/>
                    </a:lnTo>
                    <a:lnTo>
                      <a:pt x="105" y="144"/>
                    </a:lnTo>
                    <a:lnTo>
                      <a:pt x="88" y="166"/>
                    </a:lnTo>
                    <a:lnTo>
                      <a:pt x="73" y="191"/>
                    </a:lnTo>
                    <a:lnTo>
                      <a:pt x="61" y="216"/>
                    </a:lnTo>
                    <a:lnTo>
                      <a:pt x="52" y="243"/>
                    </a:lnTo>
                    <a:lnTo>
                      <a:pt x="45" y="270"/>
                    </a:lnTo>
                    <a:lnTo>
                      <a:pt x="39" y="299"/>
                    </a:lnTo>
                    <a:lnTo>
                      <a:pt x="38" y="329"/>
                    </a:lnTo>
                    <a:lnTo>
                      <a:pt x="38" y="329"/>
                    </a:lnTo>
                    <a:lnTo>
                      <a:pt x="39" y="358"/>
                    </a:lnTo>
                    <a:lnTo>
                      <a:pt x="45" y="388"/>
                    </a:lnTo>
                    <a:lnTo>
                      <a:pt x="52" y="415"/>
                    </a:lnTo>
                    <a:lnTo>
                      <a:pt x="61" y="442"/>
                    </a:lnTo>
                    <a:lnTo>
                      <a:pt x="73" y="467"/>
                    </a:lnTo>
                    <a:lnTo>
                      <a:pt x="88" y="491"/>
                    </a:lnTo>
                    <a:lnTo>
                      <a:pt x="105" y="514"/>
                    </a:lnTo>
                    <a:lnTo>
                      <a:pt x="124" y="534"/>
                    </a:lnTo>
                    <a:lnTo>
                      <a:pt x="144" y="553"/>
                    </a:lnTo>
                    <a:lnTo>
                      <a:pt x="167" y="571"/>
                    </a:lnTo>
                    <a:lnTo>
                      <a:pt x="191" y="585"/>
                    </a:lnTo>
                    <a:lnTo>
                      <a:pt x="217" y="597"/>
                    </a:lnTo>
                    <a:lnTo>
                      <a:pt x="244" y="607"/>
                    </a:lnTo>
                    <a:lnTo>
                      <a:pt x="270" y="614"/>
                    </a:lnTo>
                    <a:lnTo>
                      <a:pt x="300" y="619"/>
                    </a:lnTo>
                    <a:lnTo>
                      <a:pt x="330" y="620"/>
                    </a:lnTo>
                    <a:lnTo>
                      <a:pt x="330" y="620"/>
                    </a:lnTo>
                    <a:lnTo>
                      <a:pt x="359" y="619"/>
                    </a:lnTo>
                    <a:lnTo>
                      <a:pt x="389" y="614"/>
                    </a:lnTo>
                    <a:lnTo>
                      <a:pt x="416" y="607"/>
                    </a:lnTo>
                    <a:lnTo>
                      <a:pt x="442" y="597"/>
                    </a:lnTo>
                    <a:lnTo>
                      <a:pt x="468" y="585"/>
                    </a:lnTo>
                    <a:lnTo>
                      <a:pt x="492" y="571"/>
                    </a:lnTo>
                    <a:lnTo>
                      <a:pt x="515" y="553"/>
                    </a:lnTo>
                    <a:lnTo>
                      <a:pt x="535" y="534"/>
                    </a:lnTo>
                    <a:lnTo>
                      <a:pt x="554" y="514"/>
                    </a:lnTo>
                    <a:lnTo>
                      <a:pt x="571" y="491"/>
                    </a:lnTo>
                    <a:lnTo>
                      <a:pt x="586" y="467"/>
                    </a:lnTo>
                    <a:lnTo>
                      <a:pt x="598" y="442"/>
                    </a:lnTo>
                    <a:lnTo>
                      <a:pt x="608" y="415"/>
                    </a:lnTo>
                    <a:lnTo>
                      <a:pt x="614" y="388"/>
                    </a:lnTo>
                    <a:lnTo>
                      <a:pt x="620" y="358"/>
                    </a:lnTo>
                    <a:lnTo>
                      <a:pt x="621" y="329"/>
                    </a:lnTo>
                    <a:lnTo>
                      <a:pt x="621" y="329"/>
                    </a:lnTo>
                    <a:lnTo>
                      <a:pt x="620" y="299"/>
                    </a:lnTo>
                    <a:lnTo>
                      <a:pt x="614" y="270"/>
                    </a:lnTo>
                    <a:lnTo>
                      <a:pt x="608" y="243"/>
                    </a:lnTo>
                    <a:lnTo>
                      <a:pt x="598" y="216"/>
                    </a:lnTo>
                    <a:lnTo>
                      <a:pt x="586" y="191"/>
                    </a:lnTo>
                    <a:lnTo>
                      <a:pt x="571" y="166"/>
                    </a:lnTo>
                    <a:lnTo>
                      <a:pt x="554" y="144"/>
                    </a:lnTo>
                    <a:lnTo>
                      <a:pt x="535" y="123"/>
                    </a:lnTo>
                    <a:lnTo>
                      <a:pt x="515" y="105"/>
                    </a:lnTo>
                    <a:lnTo>
                      <a:pt x="492" y="87"/>
                    </a:lnTo>
                    <a:lnTo>
                      <a:pt x="468" y="72"/>
                    </a:lnTo>
                    <a:lnTo>
                      <a:pt x="442" y="60"/>
                    </a:lnTo>
                    <a:lnTo>
                      <a:pt x="416" y="51"/>
                    </a:lnTo>
                    <a:lnTo>
                      <a:pt x="389" y="44"/>
                    </a:lnTo>
                    <a:lnTo>
                      <a:pt x="359" y="39"/>
                    </a:lnTo>
                    <a:lnTo>
                      <a:pt x="330" y="37"/>
                    </a:lnTo>
                    <a:lnTo>
                      <a:pt x="330" y="3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4" name="Freeform 325">
                <a:extLst>
                  <a:ext uri="{FF2B5EF4-FFF2-40B4-BE49-F238E27FC236}">
                    <a16:creationId xmlns:a16="http://schemas.microsoft.com/office/drawing/2014/main" id="{A248E336-A408-43B9-A864-53B1060E7AD2}"/>
                  </a:ext>
                </a:extLst>
              </p:cNvPr>
              <p:cNvSpPr>
                <a:spLocks noEditPoints="1"/>
              </p:cNvSpPr>
              <p:nvPr/>
            </p:nvSpPr>
            <p:spPr bwMode="auto">
              <a:xfrm>
                <a:off x="5969001" y="6018213"/>
                <a:ext cx="244475" cy="225425"/>
              </a:xfrm>
              <a:custGeom>
                <a:avLst/>
                <a:gdLst>
                  <a:gd name="T0" fmla="*/ 308 w 308"/>
                  <a:gd name="T1" fmla="*/ 173 h 283"/>
                  <a:gd name="T2" fmla="*/ 302 w 308"/>
                  <a:gd name="T3" fmla="*/ 168 h 283"/>
                  <a:gd name="T4" fmla="*/ 296 w 308"/>
                  <a:gd name="T5" fmla="*/ 166 h 283"/>
                  <a:gd name="T6" fmla="*/ 140 w 308"/>
                  <a:gd name="T7" fmla="*/ 212 h 283"/>
                  <a:gd name="T8" fmla="*/ 125 w 308"/>
                  <a:gd name="T9" fmla="*/ 198 h 283"/>
                  <a:gd name="T10" fmla="*/ 116 w 308"/>
                  <a:gd name="T11" fmla="*/ 194 h 283"/>
                  <a:gd name="T12" fmla="*/ 51 w 308"/>
                  <a:gd name="T13" fmla="*/ 6 h 283"/>
                  <a:gd name="T14" fmla="*/ 49 w 308"/>
                  <a:gd name="T15" fmla="*/ 2 h 283"/>
                  <a:gd name="T16" fmla="*/ 46 w 308"/>
                  <a:gd name="T17" fmla="*/ 1 h 283"/>
                  <a:gd name="T18" fmla="*/ 39 w 308"/>
                  <a:gd name="T19" fmla="*/ 0 h 283"/>
                  <a:gd name="T20" fmla="*/ 7 w 308"/>
                  <a:gd name="T21" fmla="*/ 9 h 283"/>
                  <a:gd name="T22" fmla="*/ 2 w 308"/>
                  <a:gd name="T23" fmla="*/ 13 h 283"/>
                  <a:gd name="T24" fmla="*/ 0 w 308"/>
                  <a:gd name="T25" fmla="*/ 21 h 283"/>
                  <a:gd name="T26" fmla="*/ 2 w 308"/>
                  <a:gd name="T27" fmla="*/ 25 h 283"/>
                  <a:gd name="T28" fmla="*/ 8 w 308"/>
                  <a:gd name="T29" fmla="*/ 28 h 283"/>
                  <a:gd name="T30" fmla="*/ 35 w 308"/>
                  <a:gd name="T31" fmla="*/ 21 h 283"/>
                  <a:gd name="T32" fmla="*/ 86 w 308"/>
                  <a:gd name="T33" fmla="*/ 197 h 283"/>
                  <a:gd name="T34" fmla="*/ 74 w 308"/>
                  <a:gd name="T35" fmla="*/ 205 h 283"/>
                  <a:gd name="T36" fmla="*/ 63 w 308"/>
                  <a:gd name="T37" fmla="*/ 217 h 283"/>
                  <a:gd name="T38" fmla="*/ 61 w 308"/>
                  <a:gd name="T39" fmla="*/ 225 h 283"/>
                  <a:gd name="T40" fmla="*/ 58 w 308"/>
                  <a:gd name="T41" fmla="*/ 243 h 283"/>
                  <a:gd name="T42" fmla="*/ 61 w 308"/>
                  <a:gd name="T43" fmla="*/ 251 h 283"/>
                  <a:gd name="T44" fmla="*/ 69 w 308"/>
                  <a:gd name="T45" fmla="*/ 267 h 283"/>
                  <a:gd name="T46" fmla="*/ 82 w 308"/>
                  <a:gd name="T47" fmla="*/ 278 h 283"/>
                  <a:gd name="T48" fmla="*/ 93 w 308"/>
                  <a:gd name="T49" fmla="*/ 282 h 283"/>
                  <a:gd name="T50" fmla="*/ 102 w 308"/>
                  <a:gd name="T51" fmla="*/ 283 h 283"/>
                  <a:gd name="T52" fmla="*/ 117 w 308"/>
                  <a:gd name="T53" fmla="*/ 280 h 283"/>
                  <a:gd name="T54" fmla="*/ 125 w 308"/>
                  <a:gd name="T55" fmla="*/ 278 h 283"/>
                  <a:gd name="T56" fmla="*/ 139 w 308"/>
                  <a:gd name="T57" fmla="*/ 267 h 283"/>
                  <a:gd name="T58" fmla="*/ 144 w 308"/>
                  <a:gd name="T59" fmla="*/ 260 h 283"/>
                  <a:gd name="T60" fmla="*/ 148 w 308"/>
                  <a:gd name="T61" fmla="*/ 245 h 283"/>
                  <a:gd name="T62" fmla="*/ 148 w 308"/>
                  <a:gd name="T63" fmla="*/ 229 h 283"/>
                  <a:gd name="T64" fmla="*/ 301 w 308"/>
                  <a:gd name="T65" fmla="*/ 185 h 283"/>
                  <a:gd name="T66" fmla="*/ 306 w 308"/>
                  <a:gd name="T67" fmla="*/ 180 h 283"/>
                  <a:gd name="T68" fmla="*/ 308 w 308"/>
                  <a:gd name="T69" fmla="*/ 177 h 283"/>
                  <a:gd name="T70" fmla="*/ 308 w 308"/>
                  <a:gd name="T71" fmla="*/ 173 h 283"/>
                  <a:gd name="T72" fmla="*/ 126 w 308"/>
                  <a:gd name="T73" fmla="*/ 251 h 283"/>
                  <a:gd name="T74" fmla="*/ 120 w 308"/>
                  <a:gd name="T75" fmla="*/ 258 h 283"/>
                  <a:gd name="T76" fmla="*/ 110 w 308"/>
                  <a:gd name="T77" fmla="*/ 262 h 283"/>
                  <a:gd name="T78" fmla="*/ 110 w 308"/>
                  <a:gd name="T79" fmla="*/ 262 h 283"/>
                  <a:gd name="T80" fmla="*/ 101 w 308"/>
                  <a:gd name="T81" fmla="*/ 263 h 283"/>
                  <a:gd name="T82" fmla="*/ 91 w 308"/>
                  <a:gd name="T83" fmla="*/ 260 h 283"/>
                  <a:gd name="T84" fmla="*/ 87 w 308"/>
                  <a:gd name="T85" fmla="*/ 258 h 283"/>
                  <a:gd name="T86" fmla="*/ 81 w 308"/>
                  <a:gd name="T87" fmla="*/ 249 h 283"/>
                  <a:gd name="T88" fmla="*/ 79 w 308"/>
                  <a:gd name="T89" fmla="*/ 245 h 283"/>
                  <a:gd name="T90" fmla="*/ 79 w 308"/>
                  <a:gd name="T91" fmla="*/ 231 h 283"/>
                  <a:gd name="T92" fmla="*/ 82 w 308"/>
                  <a:gd name="T93" fmla="*/ 227 h 283"/>
                  <a:gd name="T94" fmla="*/ 87 w 308"/>
                  <a:gd name="T95" fmla="*/ 219 h 283"/>
                  <a:gd name="T96" fmla="*/ 97 w 308"/>
                  <a:gd name="T97" fmla="*/ 215 h 283"/>
                  <a:gd name="T98" fmla="*/ 105 w 308"/>
                  <a:gd name="T99" fmla="*/ 213 h 283"/>
                  <a:gd name="T100" fmla="*/ 110 w 308"/>
                  <a:gd name="T101" fmla="*/ 213 h 283"/>
                  <a:gd name="T102" fmla="*/ 116 w 308"/>
                  <a:gd name="T103" fmla="*/ 216 h 283"/>
                  <a:gd name="T104" fmla="*/ 124 w 308"/>
                  <a:gd name="T105" fmla="*/ 223 h 283"/>
                  <a:gd name="T106" fmla="*/ 128 w 308"/>
                  <a:gd name="T107" fmla="*/ 231 h 283"/>
                  <a:gd name="T108" fmla="*/ 129 w 308"/>
                  <a:gd name="T109" fmla="*/ 240 h 283"/>
                  <a:gd name="T110" fmla="*/ 126 w 308"/>
                  <a:gd name="T111" fmla="*/ 251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8" h="283">
                    <a:moveTo>
                      <a:pt x="308" y="173"/>
                    </a:moveTo>
                    <a:lnTo>
                      <a:pt x="308" y="173"/>
                    </a:lnTo>
                    <a:lnTo>
                      <a:pt x="305" y="169"/>
                    </a:lnTo>
                    <a:lnTo>
                      <a:pt x="302" y="168"/>
                    </a:lnTo>
                    <a:lnTo>
                      <a:pt x="300" y="166"/>
                    </a:lnTo>
                    <a:lnTo>
                      <a:pt x="296" y="166"/>
                    </a:lnTo>
                    <a:lnTo>
                      <a:pt x="140" y="212"/>
                    </a:lnTo>
                    <a:lnTo>
                      <a:pt x="140" y="212"/>
                    </a:lnTo>
                    <a:lnTo>
                      <a:pt x="133" y="204"/>
                    </a:lnTo>
                    <a:lnTo>
                      <a:pt x="125" y="198"/>
                    </a:lnTo>
                    <a:lnTo>
                      <a:pt x="125" y="198"/>
                    </a:lnTo>
                    <a:lnTo>
                      <a:pt x="116" y="194"/>
                    </a:lnTo>
                    <a:lnTo>
                      <a:pt x="106" y="193"/>
                    </a:lnTo>
                    <a:lnTo>
                      <a:pt x="51" y="6"/>
                    </a:lnTo>
                    <a:lnTo>
                      <a:pt x="51" y="6"/>
                    </a:lnTo>
                    <a:lnTo>
                      <a:pt x="49" y="2"/>
                    </a:lnTo>
                    <a:lnTo>
                      <a:pt x="46" y="1"/>
                    </a:lnTo>
                    <a:lnTo>
                      <a:pt x="46" y="1"/>
                    </a:lnTo>
                    <a:lnTo>
                      <a:pt x="43" y="0"/>
                    </a:lnTo>
                    <a:lnTo>
                      <a:pt x="39" y="0"/>
                    </a:lnTo>
                    <a:lnTo>
                      <a:pt x="7" y="9"/>
                    </a:lnTo>
                    <a:lnTo>
                      <a:pt x="7" y="9"/>
                    </a:lnTo>
                    <a:lnTo>
                      <a:pt x="3" y="10"/>
                    </a:lnTo>
                    <a:lnTo>
                      <a:pt x="2" y="13"/>
                    </a:lnTo>
                    <a:lnTo>
                      <a:pt x="0" y="17"/>
                    </a:lnTo>
                    <a:lnTo>
                      <a:pt x="0" y="21"/>
                    </a:lnTo>
                    <a:lnTo>
                      <a:pt x="0" y="21"/>
                    </a:lnTo>
                    <a:lnTo>
                      <a:pt x="2" y="25"/>
                    </a:lnTo>
                    <a:lnTo>
                      <a:pt x="6" y="27"/>
                    </a:lnTo>
                    <a:lnTo>
                      <a:pt x="8" y="28"/>
                    </a:lnTo>
                    <a:lnTo>
                      <a:pt x="12" y="28"/>
                    </a:lnTo>
                    <a:lnTo>
                      <a:pt x="35" y="21"/>
                    </a:lnTo>
                    <a:lnTo>
                      <a:pt x="86" y="197"/>
                    </a:lnTo>
                    <a:lnTo>
                      <a:pt x="86" y="197"/>
                    </a:lnTo>
                    <a:lnTo>
                      <a:pt x="79" y="200"/>
                    </a:lnTo>
                    <a:lnTo>
                      <a:pt x="74" y="205"/>
                    </a:lnTo>
                    <a:lnTo>
                      <a:pt x="69" y="211"/>
                    </a:lnTo>
                    <a:lnTo>
                      <a:pt x="63" y="217"/>
                    </a:lnTo>
                    <a:lnTo>
                      <a:pt x="63" y="217"/>
                    </a:lnTo>
                    <a:lnTo>
                      <a:pt x="61" y="225"/>
                    </a:lnTo>
                    <a:lnTo>
                      <a:pt x="58" y="233"/>
                    </a:lnTo>
                    <a:lnTo>
                      <a:pt x="58" y="243"/>
                    </a:lnTo>
                    <a:lnTo>
                      <a:pt x="61" y="251"/>
                    </a:lnTo>
                    <a:lnTo>
                      <a:pt x="61" y="251"/>
                    </a:lnTo>
                    <a:lnTo>
                      <a:pt x="65" y="260"/>
                    </a:lnTo>
                    <a:lnTo>
                      <a:pt x="69" y="267"/>
                    </a:lnTo>
                    <a:lnTo>
                      <a:pt x="75" y="272"/>
                    </a:lnTo>
                    <a:lnTo>
                      <a:pt x="82" y="278"/>
                    </a:lnTo>
                    <a:lnTo>
                      <a:pt x="82" y="278"/>
                    </a:lnTo>
                    <a:lnTo>
                      <a:pt x="93" y="282"/>
                    </a:lnTo>
                    <a:lnTo>
                      <a:pt x="102" y="283"/>
                    </a:lnTo>
                    <a:lnTo>
                      <a:pt x="102" y="283"/>
                    </a:lnTo>
                    <a:lnTo>
                      <a:pt x="110" y="283"/>
                    </a:lnTo>
                    <a:lnTo>
                      <a:pt x="117" y="280"/>
                    </a:lnTo>
                    <a:lnTo>
                      <a:pt x="117" y="280"/>
                    </a:lnTo>
                    <a:lnTo>
                      <a:pt x="125" y="278"/>
                    </a:lnTo>
                    <a:lnTo>
                      <a:pt x="133" y="272"/>
                    </a:lnTo>
                    <a:lnTo>
                      <a:pt x="139" y="267"/>
                    </a:lnTo>
                    <a:lnTo>
                      <a:pt x="144" y="260"/>
                    </a:lnTo>
                    <a:lnTo>
                      <a:pt x="144" y="260"/>
                    </a:lnTo>
                    <a:lnTo>
                      <a:pt x="147" y="252"/>
                    </a:lnTo>
                    <a:lnTo>
                      <a:pt x="148" y="245"/>
                    </a:lnTo>
                    <a:lnTo>
                      <a:pt x="149" y="237"/>
                    </a:lnTo>
                    <a:lnTo>
                      <a:pt x="148" y="229"/>
                    </a:lnTo>
                    <a:lnTo>
                      <a:pt x="301" y="185"/>
                    </a:lnTo>
                    <a:lnTo>
                      <a:pt x="301" y="185"/>
                    </a:lnTo>
                    <a:lnTo>
                      <a:pt x="304" y="184"/>
                    </a:lnTo>
                    <a:lnTo>
                      <a:pt x="306" y="180"/>
                    </a:lnTo>
                    <a:lnTo>
                      <a:pt x="306" y="180"/>
                    </a:lnTo>
                    <a:lnTo>
                      <a:pt x="308" y="177"/>
                    </a:lnTo>
                    <a:lnTo>
                      <a:pt x="308" y="173"/>
                    </a:lnTo>
                    <a:lnTo>
                      <a:pt x="308" y="173"/>
                    </a:lnTo>
                    <a:close/>
                    <a:moveTo>
                      <a:pt x="126" y="251"/>
                    </a:moveTo>
                    <a:lnTo>
                      <a:pt x="126" y="251"/>
                    </a:lnTo>
                    <a:lnTo>
                      <a:pt x="122" y="255"/>
                    </a:lnTo>
                    <a:lnTo>
                      <a:pt x="120" y="258"/>
                    </a:lnTo>
                    <a:lnTo>
                      <a:pt x="116" y="260"/>
                    </a:lnTo>
                    <a:lnTo>
                      <a:pt x="110" y="262"/>
                    </a:lnTo>
                    <a:lnTo>
                      <a:pt x="110" y="262"/>
                    </a:lnTo>
                    <a:lnTo>
                      <a:pt x="110" y="262"/>
                    </a:lnTo>
                    <a:lnTo>
                      <a:pt x="106" y="263"/>
                    </a:lnTo>
                    <a:lnTo>
                      <a:pt x="101" y="263"/>
                    </a:lnTo>
                    <a:lnTo>
                      <a:pt x="96" y="263"/>
                    </a:lnTo>
                    <a:lnTo>
                      <a:pt x="91" y="260"/>
                    </a:lnTo>
                    <a:lnTo>
                      <a:pt x="91" y="260"/>
                    </a:lnTo>
                    <a:lnTo>
                      <a:pt x="87" y="258"/>
                    </a:lnTo>
                    <a:lnTo>
                      <a:pt x="83" y="254"/>
                    </a:lnTo>
                    <a:lnTo>
                      <a:pt x="81" y="249"/>
                    </a:lnTo>
                    <a:lnTo>
                      <a:pt x="79" y="245"/>
                    </a:lnTo>
                    <a:lnTo>
                      <a:pt x="79" y="245"/>
                    </a:lnTo>
                    <a:lnTo>
                      <a:pt x="79" y="236"/>
                    </a:lnTo>
                    <a:lnTo>
                      <a:pt x="79" y="231"/>
                    </a:lnTo>
                    <a:lnTo>
                      <a:pt x="82" y="227"/>
                    </a:lnTo>
                    <a:lnTo>
                      <a:pt x="82" y="227"/>
                    </a:lnTo>
                    <a:lnTo>
                      <a:pt x="85" y="221"/>
                    </a:lnTo>
                    <a:lnTo>
                      <a:pt x="87" y="219"/>
                    </a:lnTo>
                    <a:lnTo>
                      <a:pt x="91" y="216"/>
                    </a:lnTo>
                    <a:lnTo>
                      <a:pt x="97" y="215"/>
                    </a:lnTo>
                    <a:lnTo>
                      <a:pt x="97" y="215"/>
                    </a:lnTo>
                    <a:lnTo>
                      <a:pt x="105" y="213"/>
                    </a:lnTo>
                    <a:lnTo>
                      <a:pt x="105" y="213"/>
                    </a:lnTo>
                    <a:lnTo>
                      <a:pt x="110" y="213"/>
                    </a:lnTo>
                    <a:lnTo>
                      <a:pt x="116" y="216"/>
                    </a:lnTo>
                    <a:lnTo>
                      <a:pt x="116" y="216"/>
                    </a:lnTo>
                    <a:lnTo>
                      <a:pt x="120" y="219"/>
                    </a:lnTo>
                    <a:lnTo>
                      <a:pt x="124" y="223"/>
                    </a:lnTo>
                    <a:lnTo>
                      <a:pt x="126" y="227"/>
                    </a:lnTo>
                    <a:lnTo>
                      <a:pt x="128" y="231"/>
                    </a:lnTo>
                    <a:lnTo>
                      <a:pt x="128" y="231"/>
                    </a:lnTo>
                    <a:lnTo>
                      <a:pt x="129" y="240"/>
                    </a:lnTo>
                    <a:lnTo>
                      <a:pt x="128" y="245"/>
                    </a:lnTo>
                    <a:lnTo>
                      <a:pt x="126" y="251"/>
                    </a:lnTo>
                    <a:lnTo>
                      <a:pt x="126" y="25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5" name="Freeform 326">
                <a:extLst>
                  <a:ext uri="{FF2B5EF4-FFF2-40B4-BE49-F238E27FC236}">
                    <a16:creationId xmlns:a16="http://schemas.microsoft.com/office/drawing/2014/main" id="{917CF5E5-0B55-4EC4-8944-65BDFDDECD0D}"/>
                  </a:ext>
                </a:extLst>
              </p:cNvPr>
              <p:cNvSpPr>
                <a:spLocks/>
              </p:cNvSpPr>
              <p:nvPr/>
            </p:nvSpPr>
            <p:spPr bwMode="auto">
              <a:xfrm>
                <a:off x="6045201" y="6021388"/>
                <a:ext cx="130175" cy="133350"/>
              </a:xfrm>
              <a:custGeom>
                <a:avLst/>
                <a:gdLst>
                  <a:gd name="T0" fmla="*/ 20 w 164"/>
                  <a:gd name="T1" fmla="*/ 92 h 168"/>
                  <a:gd name="T2" fmla="*/ 40 w 164"/>
                  <a:gd name="T3" fmla="*/ 164 h 168"/>
                  <a:gd name="T4" fmla="*/ 40 w 164"/>
                  <a:gd name="T5" fmla="*/ 164 h 168"/>
                  <a:gd name="T6" fmla="*/ 42 w 164"/>
                  <a:gd name="T7" fmla="*/ 166 h 168"/>
                  <a:gd name="T8" fmla="*/ 43 w 164"/>
                  <a:gd name="T9" fmla="*/ 168 h 168"/>
                  <a:gd name="T10" fmla="*/ 43 w 164"/>
                  <a:gd name="T11" fmla="*/ 168 h 168"/>
                  <a:gd name="T12" fmla="*/ 46 w 164"/>
                  <a:gd name="T13" fmla="*/ 168 h 168"/>
                  <a:gd name="T14" fmla="*/ 48 w 164"/>
                  <a:gd name="T15" fmla="*/ 168 h 168"/>
                  <a:gd name="T16" fmla="*/ 160 w 164"/>
                  <a:gd name="T17" fmla="*/ 135 h 168"/>
                  <a:gd name="T18" fmla="*/ 160 w 164"/>
                  <a:gd name="T19" fmla="*/ 135 h 168"/>
                  <a:gd name="T20" fmla="*/ 161 w 164"/>
                  <a:gd name="T21" fmla="*/ 134 h 168"/>
                  <a:gd name="T22" fmla="*/ 162 w 164"/>
                  <a:gd name="T23" fmla="*/ 133 h 168"/>
                  <a:gd name="T24" fmla="*/ 164 w 164"/>
                  <a:gd name="T25" fmla="*/ 130 h 168"/>
                  <a:gd name="T26" fmla="*/ 162 w 164"/>
                  <a:gd name="T27" fmla="*/ 127 h 168"/>
                  <a:gd name="T28" fmla="*/ 142 w 164"/>
                  <a:gd name="T29" fmla="*/ 56 h 168"/>
                  <a:gd name="T30" fmla="*/ 142 w 164"/>
                  <a:gd name="T31" fmla="*/ 56 h 168"/>
                  <a:gd name="T32" fmla="*/ 141 w 164"/>
                  <a:gd name="T33" fmla="*/ 53 h 168"/>
                  <a:gd name="T34" fmla="*/ 140 w 164"/>
                  <a:gd name="T35" fmla="*/ 52 h 168"/>
                  <a:gd name="T36" fmla="*/ 137 w 164"/>
                  <a:gd name="T37" fmla="*/ 52 h 168"/>
                  <a:gd name="T38" fmla="*/ 134 w 164"/>
                  <a:gd name="T39" fmla="*/ 52 h 168"/>
                  <a:gd name="T40" fmla="*/ 101 w 164"/>
                  <a:gd name="T41" fmla="*/ 61 h 168"/>
                  <a:gd name="T42" fmla="*/ 83 w 164"/>
                  <a:gd name="T43" fmla="*/ 4 h 168"/>
                  <a:gd name="T44" fmla="*/ 83 w 164"/>
                  <a:gd name="T45" fmla="*/ 4 h 168"/>
                  <a:gd name="T46" fmla="*/ 82 w 164"/>
                  <a:gd name="T47" fmla="*/ 2 h 168"/>
                  <a:gd name="T48" fmla="*/ 80 w 164"/>
                  <a:gd name="T49" fmla="*/ 1 h 168"/>
                  <a:gd name="T50" fmla="*/ 79 w 164"/>
                  <a:gd name="T51" fmla="*/ 0 h 168"/>
                  <a:gd name="T52" fmla="*/ 76 w 164"/>
                  <a:gd name="T53" fmla="*/ 0 h 168"/>
                  <a:gd name="T54" fmla="*/ 4 w 164"/>
                  <a:gd name="T55" fmla="*/ 21 h 168"/>
                  <a:gd name="T56" fmla="*/ 4 w 164"/>
                  <a:gd name="T57" fmla="*/ 21 h 168"/>
                  <a:gd name="T58" fmla="*/ 3 w 164"/>
                  <a:gd name="T59" fmla="*/ 23 h 168"/>
                  <a:gd name="T60" fmla="*/ 1 w 164"/>
                  <a:gd name="T61" fmla="*/ 24 h 168"/>
                  <a:gd name="T62" fmla="*/ 0 w 164"/>
                  <a:gd name="T63" fmla="*/ 27 h 168"/>
                  <a:gd name="T64" fmla="*/ 1 w 164"/>
                  <a:gd name="T65" fmla="*/ 28 h 168"/>
                  <a:gd name="T66" fmla="*/ 20 w 164"/>
                  <a:gd name="T67" fmla="*/ 9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4" h="168">
                    <a:moveTo>
                      <a:pt x="20" y="92"/>
                    </a:moveTo>
                    <a:lnTo>
                      <a:pt x="40" y="164"/>
                    </a:lnTo>
                    <a:lnTo>
                      <a:pt x="40" y="164"/>
                    </a:lnTo>
                    <a:lnTo>
                      <a:pt x="42" y="166"/>
                    </a:lnTo>
                    <a:lnTo>
                      <a:pt x="43" y="168"/>
                    </a:lnTo>
                    <a:lnTo>
                      <a:pt x="43" y="168"/>
                    </a:lnTo>
                    <a:lnTo>
                      <a:pt x="46" y="168"/>
                    </a:lnTo>
                    <a:lnTo>
                      <a:pt x="48" y="168"/>
                    </a:lnTo>
                    <a:lnTo>
                      <a:pt x="160" y="135"/>
                    </a:lnTo>
                    <a:lnTo>
                      <a:pt x="160" y="135"/>
                    </a:lnTo>
                    <a:lnTo>
                      <a:pt x="161" y="134"/>
                    </a:lnTo>
                    <a:lnTo>
                      <a:pt x="162" y="133"/>
                    </a:lnTo>
                    <a:lnTo>
                      <a:pt x="164" y="130"/>
                    </a:lnTo>
                    <a:lnTo>
                      <a:pt x="162" y="127"/>
                    </a:lnTo>
                    <a:lnTo>
                      <a:pt x="142" y="56"/>
                    </a:lnTo>
                    <a:lnTo>
                      <a:pt x="142" y="56"/>
                    </a:lnTo>
                    <a:lnTo>
                      <a:pt x="141" y="53"/>
                    </a:lnTo>
                    <a:lnTo>
                      <a:pt x="140" y="52"/>
                    </a:lnTo>
                    <a:lnTo>
                      <a:pt x="137" y="52"/>
                    </a:lnTo>
                    <a:lnTo>
                      <a:pt x="134" y="52"/>
                    </a:lnTo>
                    <a:lnTo>
                      <a:pt x="101" y="61"/>
                    </a:lnTo>
                    <a:lnTo>
                      <a:pt x="83" y="4"/>
                    </a:lnTo>
                    <a:lnTo>
                      <a:pt x="83" y="4"/>
                    </a:lnTo>
                    <a:lnTo>
                      <a:pt x="82" y="2"/>
                    </a:lnTo>
                    <a:lnTo>
                      <a:pt x="80" y="1"/>
                    </a:lnTo>
                    <a:lnTo>
                      <a:pt x="79" y="0"/>
                    </a:lnTo>
                    <a:lnTo>
                      <a:pt x="76" y="0"/>
                    </a:lnTo>
                    <a:lnTo>
                      <a:pt x="4" y="21"/>
                    </a:lnTo>
                    <a:lnTo>
                      <a:pt x="4" y="21"/>
                    </a:lnTo>
                    <a:lnTo>
                      <a:pt x="3" y="23"/>
                    </a:lnTo>
                    <a:lnTo>
                      <a:pt x="1" y="24"/>
                    </a:lnTo>
                    <a:lnTo>
                      <a:pt x="0" y="27"/>
                    </a:lnTo>
                    <a:lnTo>
                      <a:pt x="1" y="28"/>
                    </a:lnTo>
                    <a:lnTo>
                      <a:pt x="20" y="92"/>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96" name="Group 95">
            <a:extLst>
              <a:ext uri="{FF2B5EF4-FFF2-40B4-BE49-F238E27FC236}">
                <a16:creationId xmlns:a16="http://schemas.microsoft.com/office/drawing/2014/main" id="{0BD0C954-980F-4967-9E0E-C53E5B91D0B7}"/>
              </a:ext>
            </a:extLst>
          </p:cNvPr>
          <p:cNvGrpSpPr/>
          <p:nvPr/>
        </p:nvGrpSpPr>
        <p:grpSpPr>
          <a:xfrm>
            <a:off x="715910" y="4349337"/>
            <a:ext cx="514331" cy="516216"/>
            <a:chOff x="-29706" y="3042100"/>
            <a:chExt cx="329180" cy="329180"/>
          </a:xfrm>
        </p:grpSpPr>
        <p:sp>
          <p:nvSpPr>
            <p:cNvPr id="97" name="Oval 96">
              <a:extLst>
                <a:ext uri="{FF2B5EF4-FFF2-40B4-BE49-F238E27FC236}">
                  <a16:creationId xmlns:a16="http://schemas.microsoft.com/office/drawing/2014/main" id="{E367915C-7F6C-4ADC-AFB9-0A38C05E2858}"/>
                </a:ext>
              </a:extLst>
            </p:cNvPr>
            <p:cNvSpPr/>
            <p:nvPr/>
          </p:nvSpPr>
          <p:spPr>
            <a:xfrm>
              <a:off x="5909" y="3076826"/>
              <a:ext cx="281673" cy="281673"/>
            </a:xfrm>
            <a:prstGeom prst="ellipse">
              <a:avLst/>
            </a:prstGeom>
            <a:solidFill>
              <a:srgbClr val="FFFFFF"/>
            </a:solidFill>
            <a:ln w="10795" cap="flat" cmpd="sng" algn="ctr">
              <a:no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98" name="Group 97">
              <a:extLst>
                <a:ext uri="{FF2B5EF4-FFF2-40B4-BE49-F238E27FC236}">
                  <a16:creationId xmlns:a16="http://schemas.microsoft.com/office/drawing/2014/main" id="{C84470BA-76FC-4D03-B4E1-76668A576981}"/>
                </a:ext>
              </a:extLst>
            </p:cNvPr>
            <p:cNvGrpSpPr>
              <a:grpSpLocks noChangeAspect="1"/>
            </p:cNvGrpSpPr>
            <p:nvPr/>
          </p:nvGrpSpPr>
          <p:grpSpPr>
            <a:xfrm>
              <a:off x="-29706" y="3042100"/>
              <a:ext cx="329180" cy="329180"/>
              <a:chOff x="5834063" y="1664335"/>
              <a:chExt cx="523875" cy="523875"/>
            </a:xfrm>
            <a:solidFill>
              <a:srgbClr val="1A75CF"/>
            </a:solidFill>
          </p:grpSpPr>
          <p:sp>
            <p:nvSpPr>
              <p:cNvPr id="99" name="Freeform 23">
                <a:extLst>
                  <a:ext uri="{FF2B5EF4-FFF2-40B4-BE49-F238E27FC236}">
                    <a16:creationId xmlns:a16="http://schemas.microsoft.com/office/drawing/2014/main" id="{1E03D7BA-DB37-44DD-97A5-06255D2E4F64}"/>
                  </a:ext>
                </a:extLst>
              </p:cNvPr>
              <p:cNvSpPr>
                <a:spLocks noEditPoints="1"/>
              </p:cNvSpPr>
              <p:nvPr/>
            </p:nvSpPr>
            <p:spPr bwMode="auto">
              <a:xfrm>
                <a:off x="5834063" y="1664335"/>
                <a:ext cx="523875" cy="523875"/>
              </a:xfrm>
              <a:custGeom>
                <a:avLst/>
                <a:gdLst>
                  <a:gd name="T0" fmla="*/ 312 w 658"/>
                  <a:gd name="T1" fmla="*/ 659 h 659"/>
                  <a:gd name="T2" fmla="*/ 262 w 658"/>
                  <a:gd name="T3" fmla="*/ 652 h 659"/>
                  <a:gd name="T4" fmla="*/ 201 w 658"/>
                  <a:gd name="T5" fmla="*/ 634 h 659"/>
                  <a:gd name="T6" fmla="*/ 119 w 658"/>
                  <a:gd name="T7" fmla="*/ 584 h 659"/>
                  <a:gd name="T8" fmla="*/ 56 w 658"/>
                  <a:gd name="T9" fmla="*/ 514 h 659"/>
                  <a:gd name="T10" fmla="*/ 15 w 658"/>
                  <a:gd name="T11" fmla="*/ 428 h 659"/>
                  <a:gd name="T12" fmla="*/ 4 w 658"/>
                  <a:gd name="T13" fmla="*/ 380 h 659"/>
                  <a:gd name="T14" fmla="*/ 0 w 658"/>
                  <a:gd name="T15" fmla="*/ 330 h 659"/>
                  <a:gd name="T16" fmla="*/ 1 w 658"/>
                  <a:gd name="T17" fmla="*/ 296 h 659"/>
                  <a:gd name="T18" fmla="*/ 10 w 658"/>
                  <a:gd name="T19" fmla="*/ 248 h 659"/>
                  <a:gd name="T20" fmla="*/ 40 w 658"/>
                  <a:gd name="T21" fmla="*/ 174 h 659"/>
                  <a:gd name="T22" fmla="*/ 96 w 658"/>
                  <a:gd name="T23" fmla="*/ 97 h 659"/>
                  <a:gd name="T24" fmla="*/ 172 w 658"/>
                  <a:gd name="T25" fmla="*/ 41 h 659"/>
                  <a:gd name="T26" fmla="*/ 247 w 658"/>
                  <a:gd name="T27" fmla="*/ 11 h 659"/>
                  <a:gd name="T28" fmla="*/ 295 w 658"/>
                  <a:gd name="T29" fmla="*/ 3 h 659"/>
                  <a:gd name="T30" fmla="*/ 329 w 658"/>
                  <a:gd name="T31" fmla="*/ 0 h 659"/>
                  <a:gd name="T32" fmla="*/ 379 w 658"/>
                  <a:gd name="T33" fmla="*/ 5 h 659"/>
                  <a:gd name="T34" fmla="*/ 426 w 658"/>
                  <a:gd name="T35" fmla="*/ 15 h 659"/>
                  <a:gd name="T36" fmla="*/ 513 w 658"/>
                  <a:gd name="T37" fmla="*/ 57 h 659"/>
                  <a:gd name="T38" fmla="*/ 583 w 658"/>
                  <a:gd name="T39" fmla="*/ 121 h 659"/>
                  <a:gd name="T40" fmla="*/ 631 w 658"/>
                  <a:gd name="T41" fmla="*/ 202 h 659"/>
                  <a:gd name="T42" fmla="*/ 652 w 658"/>
                  <a:gd name="T43" fmla="*/ 264 h 659"/>
                  <a:gd name="T44" fmla="*/ 657 w 658"/>
                  <a:gd name="T45" fmla="*/ 314 h 659"/>
                  <a:gd name="T46" fmla="*/ 657 w 658"/>
                  <a:gd name="T47" fmla="*/ 347 h 659"/>
                  <a:gd name="T48" fmla="*/ 652 w 658"/>
                  <a:gd name="T49" fmla="*/ 396 h 659"/>
                  <a:gd name="T50" fmla="*/ 631 w 658"/>
                  <a:gd name="T51" fmla="*/ 457 h 659"/>
                  <a:gd name="T52" fmla="*/ 583 w 658"/>
                  <a:gd name="T53" fmla="*/ 539 h 659"/>
                  <a:gd name="T54" fmla="*/ 513 w 658"/>
                  <a:gd name="T55" fmla="*/ 603 h 659"/>
                  <a:gd name="T56" fmla="*/ 426 w 658"/>
                  <a:gd name="T57" fmla="*/ 644 h 659"/>
                  <a:gd name="T58" fmla="*/ 379 w 658"/>
                  <a:gd name="T59" fmla="*/ 655 h 659"/>
                  <a:gd name="T60" fmla="*/ 329 w 658"/>
                  <a:gd name="T61" fmla="*/ 659 h 659"/>
                  <a:gd name="T62" fmla="*/ 329 w 658"/>
                  <a:gd name="T63" fmla="*/ 38 h 659"/>
                  <a:gd name="T64" fmla="*/ 242 w 658"/>
                  <a:gd name="T65" fmla="*/ 52 h 659"/>
                  <a:gd name="T66" fmla="*/ 166 w 658"/>
                  <a:gd name="T67" fmla="*/ 89 h 659"/>
                  <a:gd name="T68" fmla="*/ 105 w 658"/>
                  <a:gd name="T69" fmla="*/ 144 h 659"/>
                  <a:gd name="T70" fmla="*/ 60 w 658"/>
                  <a:gd name="T71" fmla="*/ 217 h 659"/>
                  <a:gd name="T72" fmla="*/ 39 w 658"/>
                  <a:gd name="T73" fmla="*/ 300 h 659"/>
                  <a:gd name="T74" fmla="*/ 39 w 658"/>
                  <a:gd name="T75" fmla="*/ 359 h 659"/>
                  <a:gd name="T76" fmla="*/ 60 w 658"/>
                  <a:gd name="T77" fmla="*/ 444 h 659"/>
                  <a:gd name="T78" fmla="*/ 105 w 658"/>
                  <a:gd name="T79" fmla="*/ 515 h 659"/>
                  <a:gd name="T80" fmla="*/ 166 w 658"/>
                  <a:gd name="T81" fmla="*/ 572 h 659"/>
                  <a:gd name="T82" fmla="*/ 242 w 658"/>
                  <a:gd name="T83" fmla="*/ 608 h 659"/>
                  <a:gd name="T84" fmla="*/ 329 w 658"/>
                  <a:gd name="T85" fmla="*/ 621 h 659"/>
                  <a:gd name="T86" fmla="*/ 387 w 658"/>
                  <a:gd name="T87" fmla="*/ 616 h 659"/>
                  <a:gd name="T88" fmla="*/ 467 w 658"/>
                  <a:gd name="T89" fmla="*/ 586 h 659"/>
                  <a:gd name="T90" fmla="*/ 535 w 658"/>
                  <a:gd name="T91" fmla="*/ 535 h 659"/>
                  <a:gd name="T92" fmla="*/ 584 w 658"/>
                  <a:gd name="T93" fmla="*/ 468 h 659"/>
                  <a:gd name="T94" fmla="*/ 614 w 658"/>
                  <a:gd name="T95" fmla="*/ 389 h 659"/>
                  <a:gd name="T96" fmla="*/ 621 w 658"/>
                  <a:gd name="T97" fmla="*/ 330 h 659"/>
                  <a:gd name="T98" fmla="*/ 607 w 658"/>
                  <a:gd name="T99" fmla="*/ 244 h 659"/>
                  <a:gd name="T100" fmla="*/ 570 w 658"/>
                  <a:gd name="T101" fmla="*/ 167 h 659"/>
                  <a:gd name="T102" fmla="*/ 514 w 658"/>
                  <a:gd name="T103" fmla="*/ 105 h 659"/>
                  <a:gd name="T104" fmla="*/ 442 w 658"/>
                  <a:gd name="T105" fmla="*/ 62 h 659"/>
                  <a:gd name="T106" fmla="*/ 359 w 658"/>
                  <a:gd name="T107" fmla="*/ 41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2" y="659"/>
                    </a:lnTo>
                    <a:lnTo>
                      <a:pt x="295" y="658"/>
                    </a:lnTo>
                    <a:lnTo>
                      <a:pt x="279" y="655"/>
                    </a:lnTo>
                    <a:lnTo>
                      <a:pt x="262" y="652"/>
                    </a:lnTo>
                    <a:lnTo>
                      <a:pt x="247" y="648"/>
                    </a:lnTo>
                    <a:lnTo>
                      <a:pt x="231" y="644"/>
                    </a:lnTo>
                    <a:lnTo>
                      <a:pt x="201" y="634"/>
                    </a:lnTo>
                    <a:lnTo>
                      <a:pt x="172" y="619"/>
                    </a:lnTo>
                    <a:lnTo>
                      <a:pt x="145" y="603"/>
                    </a:lnTo>
                    <a:lnTo>
                      <a:pt x="119" y="584"/>
                    </a:lnTo>
                    <a:lnTo>
                      <a:pt x="96" y="562"/>
                    </a:lnTo>
                    <a:lnTo>
                      <a:pt x="75" y="539"/>
                    </a:lnTo>
                    <a:lnTo>
                      <a:pt x="56" y="514"/>
                    </a:lnTo>
                    <a:lnTo>
                      <a:pt x="40" y="487"/>
                    </a:lnTo>
                    <a:lnTo>
                      <a:pt x="25" y="457"/>
                    </a:lnTo>
                    <a:lnTo>
                      <a:pt x="15" y="428"/>
                    </a:lnTo>
                    <a:lnTo>
                      <a:pt x="10" y="412"/>
                    </a:lnTo>
                    <a:lnTo>
                      <a:pt x="6" y="396"/>
                    </a:lnTo>
                    <a:lnTo>
                      <a:pt x="4" y="380"/>
                    </a:lnTo>
                    <a:lnTo>
                      <a:pt x="1" y="363"/>
                    </a:lnTo>
                    <a:lnTo>
                      <a:pt x="0" y="347"/>
                    </a:lnTo>
                    <a:lnTo>
                      <a:pt x="0" y="330"/>
                    </a:lnTo>
                    <a:lnTo>
                      <a:pt x="0" y="330"/>
                    </a:lnTo>
                    <a:lnTo>
                      <a:pt x="0" y="314"/>
                    </a:lnTo>
                    <a:lnTo>
                      <a:pt x="1" y="296"/>
                    </a:lnTo>
                    <a:lnTo>
                      <a:pt x="4" y="280"/>
                    </a:lnTo>
                    <a:lnTo>
                      <a:pt x="6" y="264"/>
                    </a:lnTo>
                    <a:lnTo>
                      <a:pt x="10" y="248"/>
                    </a:lnTo>
                    <a:lnTo>
                      <a:pt x="15" y="233"/>
                    </a:lnTo>
                    <a:lnTo>
                      <a:pt x="25" y="202"/>
                    </a:lnTo>
                    <a:lnTo>
                      <a:pt x="40" y="174"/>
                    </a:lnTo>
                    <a:lnTo>
                      <a:pt x="56" y="146"/>
                    </a:lnTo>
                    <a:lnTo>
                      <a:pt x="75" y="121"/>
                    </a:lnTo>
                    <a:lnTo>
                      <a:pt x="96" y="97"/>
                    </a:lnTo>
                    <a:lnTo>
                      <a:pt x="119" y="76"/>
                    </a:lnTo>
                    <a:lnTo>
                      <a:pt x="145" y="57"/>
                    </a:lnTo>
                    <a:lnTo>
                      <a:pt x="172" y="41"/>
                    </a:lnTo>
                    <a:lnTo>
                      <a:pt x="201" y="27"/>
                    </a:lnTo>
                    <a:lnTo>
                      <a:pt x="231" y="15"/>
                    </a:lnTo>
                    <a:lnTo>
                      <a:pt x="247" y="11"/>
                    </a:lnTo>
                    <a:lnTo>
                      <a:pt x="262" y="7"/>
                    </a:lnTo>
                    <a:lnTo>
                      <a:pt x="279" y="5"/>
                    </a:lnTo>
                    <a:lnTo>
                      <a:pt x="295" y="3"/>
                    </a:lnTo>
                    <a:lnTo>
                      <a:pt x="312" y="2"/>
                    </a:lnTo>
                    <a:lnTo>
                      <a:pt x="329" y="0"/>
                    </a:lnTo>
                    <a:lnTo>
                      <a:pt x="329" y="0"/>
                    </a:lnTo>
                    <a:lnTo>
                      <a:pt x="345" y="2"/>
                    </a:lnTo>
                    <a:lnTo>
                      <a:pt x="363" y="3"/>
                    </a:lnTo>
                    <a:lnTo>
                      <a:pt x="379" y="5"/>
                    </a:lnTo>
                    <a:lnTo>
                      <a:pt x="395" y="7"/>
                    </a:lnTo>
                    <a:lnTo>
                      <a:pt x="411" y="11"/>
                    </a:lnTo>
                    <a:lnTo>
                      <a:pt x="426" y="15"/>
                    </a:lnTo>
                    <a:lnTo>
                      <a:pt x="457" y="27"/>
                    </a:lnTo>
                    <a:lnTo>
                      <a:pt x="485" y="41"/>
                    </a:lnTo>
                    <a:lnTo>
                      <a:pt x="513" y="57"/>
                    </a:lnTo>
                    <a:lnTo>
                      <a:pt x="537" y="76"/>
                    </a:lnTo>
                    <a:lnTo>
                      <a:pt x="562" y="97"/>
                    </a:lnTo>
                    <a:lnTo>
                      <a:pt x="583" y="121"/>
                    </a:lnTo>
                    <a:lnTo>
                      <a:pt x="602" y="146"/>
                    </a:lnTo>
                    <a:lnTo>
                      <a:pt x="618" y="174"/>
                    </a:lnTo>
                    <a:lnTo>
                      <a:pt x="631" y="202"/>
                    </a:lnTo>
                    <a:lnTo>
                      <a:pt x="643" y="233"/>
                    </a:lnTo>
                    <a:lnTo>
                      <a:pt x="648" y="248"/>
                    </a:lnTo>
                    <a:lnTo>
                      <a:pt x="652" y="264"/>
                    </a:lnTo>
                    <a:lnTo>
                      <a:pt x="654" y="280"/>
                    </a:lnTo>
                    <a:lnTo>
                      <a:pt x="656" y="296"/>
                    </a:lnTo>
                    <a:lnTo>
                      <a:pt x="657" y="314"/>
                    </a:lnTo>
                    <a:lnTo>
                      <a:pt x="658" y="330"/>
                    </a:lnTo>
                    <a:lnTo>
                      <a:pt x="658" y="330"/>
                    </a:lnTo>
                    <a:lnTo>
                      <a:pt x="657" y="347"/>
                    </a:lnTo>
                    <a:lnTo>
                      <a:pt x="656" y="363"/>
                    </a:lnTo>
                    <a:lnTo>
                      <a:pt x="654" y="380"/>
                    </a:lnTo>
                    <a:lnTo>
                      <a:pt x="652" y="396"/>
                    </a:lnTo>
                    <a:lnTo>
                      <a:pt x="648" y="412"/>
                    </a:lnTo>
                    <a:lnTo>
                      <a:pt x="643" y="428"/>
                    </a:lnTo>
                    <a:lnTo>
                      <a:pt x="631" y="457"/>
                    </a:lnTo>
                    <a:lnTo>
                      <a:pt x="618" y="487"/>
                    </a:lnTo>
                    <a:lnTo>
                      <a:pt x="602" y="514"/>
                    </a:lnTo>
                    <a:lnTo>
                      <a:pt x="583" y="539"/>
                    </a:lnTo>
                    <a:lnTo>
                      <a:pt x="562" y="562"/>
                    </a:lnTo>
                    <a:lnTo>
                      <a:pt x="537" y="584"/>
                    </a:lnTo>
                    <a:lnTo>
                      <a:pt x="513" y="603"/>
                    </a:lnTo>
                    <a:lnTo>
                      <a:pt x="485" y="619"/>
                    </a:lnTo>
                    <a:lnTo>
                      <a:pt x="457" y="634"/>
                    </a:lnTo>
                    <a:lnTo>
                      <a:pt x="426" y="644"/>
                    </a:lnTo>
                    <a:lnTo>
                      <a:pt x="411" y="648"/>
                    </a:lnTo>
                    <a:lnTo>
                      <a:pt x="395" y="652"/>
                    </a:lnTo>
                    <a:lnTo>
                      <a:pt x="379" y="655"/>
                    </a:lnTo>
                    <a:lnTo>
                      <a:pt x="363" y="658"/>
                    </a:lnTo>
                    <a:lnTo>
                      <a:pt x="345" y="659"/>
                    </a:lnTo>
                    <a:lnTo>
                      <a:pt x="329" y="659"/>
                    </a:lnTo>
                    <a:lnTo>
                      <a:pt x="329" y="659"/>
                    </a:lnTo>
                    <a:close/>
                    <a:moveTo>
                      <a:pt x="329" y="38"/>
                    </a:moveTo>
                    <a:lnTo>
                      <a:pt x="329" y="38"/>
                    </a:lnTo>
                    <a:lnTo>
                      <a:pt x="299" y="41"/>
                    </a:lnTo>
                    <a:lnTo>
                      <a:pt x="270" y="45"/>
                    </a:lnTo>
                    <a:lnTo>
                      <a:pt x="242" y="52"/>
                    </a:lnTo>
                    <a:lnTo>
                      <a:pt x="215" y="62"/>
                    </a:lnTo>
                    <a:lnTo>
                      <a:pt x="191" y="74"/>
                    </a:lnTo>
                    <a:lnTo>
                      <a:pt x="166" y="89"/>
                    </a:lnTo>
                    <a:lnTo>
                      <a:pt x="144" y="105"/>
                    </a:lnTo>
                    <a:lnTo>
                      <a:pt x="123" y="124"/>
                    </a:lnTo>
                    <a:lnTo>
                      <a:pt x="105" y="144"/>
                    </a:lnTo>
                    <a:lnTo>
                      <a:pt x="87" y="167"/>
                    </a:lnTo>
                    <a:lnTo>
                      <a:pt x="72" y="191"/>
                    </a:lnTo>
                    <a:lnTo>
                      <a:pt x="60" y="217"/>
                    </a:lnTo>
                    <a:lnTo>
                      <a:pt x="51" y="244"/>
                    </a:lnTo>
                    <a:lnTo>
                      <a:pt x="43" y="272"/>
                    </a:lnTo>
                    <a:lnTo>
                      <a:pt x="39" y="300"/>
                    </a:lnTo>
                    <a:lnTo>
                      <a:pt x="37" y="330"/>
                    </a:lnTo>
                    <a:lnTo>
                      <a:pt x="37" y="330"/>
                    </a:lnTo>
                    <a:lnTo>
                      <a:pt x="39" y="359"/>
                    </a:lnTo>
                    <a:lnTo>
                      <a:pt x="43" y="389"/>
                    </a:lnTo>
                    <a:lnTo>
                      <a:pt x="51" y="417"/>
                    </a:lnTo>
                    <a:lnTo>
                      <a:pt x="60" y="444"/>
                    </a:lnTo>
                    <a:lnTo>
                      <a:pt x="72" y="468"/>
                    </a:lnTo>
                    <a:lnTo>
                      <a:pt x="87" y="492"/>
                    </a:lnTo>
                    <a:lnTo>
                      <a:pt x="105" y="515"/>
                    </a:lnTo>
                    <a:lnTo>
                      <a:pt x="123" y="535"/>
                    </a:lnTo>
                    <a:lnTo>
                      <a:pt x="144" y="554"/>
                    </a:lnTo>
                    <a:lnTo>
                      <a:pt x="166" y="572"/>
                    </a:lnTo>
                    <a:lnTo>
                      <a:pt x="191" y="586"/>
                    </a:lnTo>
                    <a:lnTo>
                      <a:pt x="215" y="599"/>
                    </a:lnTo>
                    <a:lnTo>
                      <a:pt x="242" y="608"/>
                    </a:lnTo>
                    <a:lnTo>
                      <a:pt x="270" y="616"/>
                    </a:lnTo>
                    <a:lnTo>
                      <a:pt x="299" y="620"/>
                    </a:lnTo>
                    <a:lnTo>
                      <a:pt x="329" y="621"/>
                    </a:lnTo>
                    <a:lnTo>
                      <a:pt x="329" y="621"/>
                    </a:lnTo>
                    <a:lnTo>
                      <a:pt x="359" y="620"/>
                    </a:lnTo>
                    <a:lnTo>
                      <a:pt x="387" y="616"/>
                    </a:lnTo>
                    <a:lnTo>
                      <a:pt x="415" y="608"/>
                    </a:lnTo>
                    <a:lnTo>
                      <a:pt x="442" y="599"/>
                    </a:lnTo>
                    <a:lnTo>
                      <a:pt x="467" y="586"/>
                    </a:lnTo>
                    <a:lnTo>
                      <a:pt x="492" y="572"/>
                    </a:lnTo>
                    <a:lnTo>
                      <a:pt x="514" y="554"/>
                    </a:lnTo>
                    <a:lnTo>
                      <a:pt x="535" y="535"/>
                    </a:lnTo>
                    <a:lnTo>
                      <a:pt x="553" y="515"/>
                    </a:lnTo>
                    <a:lnTo>
                      <a:pt x="570" y="492"/>
                    </a:lnTo>
                    <a:lnTo>
                      <a:pt x="584" y="468"/>
                    </a:lnTo>
                    <a:lnTo>
                      <a:pt x="596" y="444"/>
                    </a:lnTo>
                    <a:lnTo>
                      <a:pt x="607" y="417"/>
                    </a:lnTo>
                    <a:lnTo>
                      <a:pt x="614" y="389"/>
                    </a:lnTo>
                    <a:lnTo>
                      <a:pt x="618" y="359"/>
                    </a:lnTo>
                    <a:lnTo>
                      <a:pt x="621" y="330"/>
                    </a:lnTo>
                    <a:lnTo>
                      <a:pt x="621" y="330"/>
                    </a:lnTo>
                    <a:lnTo>
                      <a:pt x="618" y="300"/>
                    </a:lnTo>
                    <a:lnTo>
                      <a:pt x="614" y="272"/>
                    </a:lnTo>
                    <a:lnTo>
                      <a:pt x="607" y="244"/>
                    </a:lnTo>
                    <a:lnTo>
                      <a:pt x="596" y="217"/>
                    </a:lnTo>
                    <a:lnTo>
                      <a:pt x="584" y="191"/>
                    </a:lnTo>
                    <a:lnTo>
                      <a:pt x="570" y="167"/>
                    </a:lnTo>
                    <a:lnTo>
                      <a:pt x="553" y="144"/>
                    </a:lnTo>
                    <a:lnTo>
                      <a:pt x="535" y="124"/>
                    </a:lnTo>
                    <a:lnTo>
                      <a:pt x="514" y="105"/>
                    </a:lnTo>
                    <a:lnTo>
                      <a:pt x="492" y="89"/>
                    </a:lnTo>
                    <a:lnTo>
                      <a:pt x="467" y="74"/>
                    </a:lnTo>
                    <a:lnTo>
                      <a:pt x="442" y="62"/>
                    </a:lnTo>
                    <a:lnTo>
                      <a:pt x="415" y="52"/>
                    </a:lnTo>
                    <a:lnTo>
                      <a:pt x="387" y="45"/>
                    </a:lnTo>
                    <a:lnTo>
                      <a:pt x="359" y="41"/>
                    </a:lnTo>
                    <a:lnTo>
                      <a:pt x="329" y="38"/>
                    </a:lnTo>
                    <a:lnTo>
                      <a:pt x="329" y="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0" name="Freeform 140">
                <a:extLst>
                  <a:ext uri="{FF2B5EF4-FFF2-40B4-BE49-F238E27FC236}">
                    <a16:creationId xmlns:a16="http://schemas.microsoft.com/office/drawing/2014/main" id="{688314B7-353B-46E7-884C-409BBB894C55}"/>
                  </a:ext>
                </a:extLst>
              </p:cNvPr>
              <p:cNvSpPr>
                <a:spLocks/>
              </p:cNvSpPr>
              <p:nvPr/>
            </p:nvSpPr>
            <p:spPr bwMode="auto">
              <a:xfrm>
                <a:off x="6032501" y="1767523"/>
                <a:ext cx="127000" cy="152400"/>
              </a:xfrm>
              <a:custGeom>
                <a:avLst/>
                <a:gdLst>
                  <a:gd name="T0" fmla="*/ 79 w 158"/>
                  <a:gd name="T1" fmla="*/ 191 h 191"/>
                  <a:gd name="T2" fmla="*/ 79 w 158"/>
                  <a:gd name="T3" fmla="*/ 191 h 191"/>
                  <a:gd name="T4" fmla="*/ 87 w 158"/>
                  <a:gd name="T5" fmla="*/ 191 h 191"/>
                  <a:gd name="T6" fmla="*/ 95 w 158"/>
                  <a:gd name="T7" fmla="*/ 189 h 191"/>
                  <a:gd name="T8" fmla="*/ 110 w 158"/>
                  <a:gd name="T9" fmla="*/ 184 h 191"/>
                  <a:gd name="T10" fmla="*/ 123 w 158"/>
                  <a:gd name="T11" fmla="*/ 177 h 191"/>
                  <a:gd name="T12" fmla="*/ 135 w 158"/>
                  <a:gd name="T13" fmla="*/ 168 h 191"/>
                  <a:gd name="T14" fmla="*/ 145 w 158"/>
                  <a:gd name="T15" fmla="*/ 156 h 191"/>
                  <a:gd name="T16" fmla="*/ 152 w 158"/>
                  <a:gd name="T17" fmla="*/ 142 h 191"/>
                  <a:gd name="T18" fmla="*/ 157 w 158"/>
                  <a:gd name="T19" fmla="*/ 128 h 191"/>
                  <a:gd name="T20" fmla="*/ 158 w 158"/>
                  <a:gd name="T21" fmla="*/ 119 h 191"/>
                  <a:gd name="T22" fmla="*/ 158 w 158"/>
                  <a:gd name="T23" fmla="*/ 111 h 191"/>
                  <a:gd name="T24" fmla="*/ 158 w 158"/>
                  <a:gd name="T25" fmla="*/ 79 h 191"/>
                  <a:gd name="T26" fmla="*/ 158 w 158"/>
                  <a:gd name="T27" fmla="*/ 79 h 191"/>
                  <a:gd name="T28" fmla="*/ 158 w 158"/>
                  <a:gd name="T29" fmla="*/ 71 h 191"/>
                  <a:gd name="T30" fmla="*/ 157 w 158"/>
                  <a:gd name="T31" fmla="*/ 63 h 191"/>
                  <a:gd name="T32" fmla="*/ 152 w 158"/>
                  <a:gd name="T33" fmla="*/ 48 h 191"/>
                  <a:gd name="T34" fmla="*/ 145 w 158"/>
                  <a:gd name="T35" fmla="*/ 35 h 191"/>
                  <a:gd name="T36" fmla="*/ 135 w 158"/>
                  <a:gd name="T37" fmla="*/ 23 h 191"/>
                  <a:gd name="T38" fmla="*/ 123 w 158"/>
                  <a:gd name="T39" fmla="*/ 13 h 191"/>
                  <a:gd name="T40" fmla="*/ 110 w 158"/>
                  <a:gd name="T41" fmla="*/ 7 h 191"/>
                  <a:gd name="T42" fmla="*/ 95 w 158"/>
                  <a:gd name="T43" fmla="*/ 1 h 191"/>
                  <a:gd name="T44" fmla="*/ 87 w 158"/>
                  <a:gd name="T45" fmla="*/ 0 h 191"/>
                  <a:gd name="T46" fmla="*/ 79 w 158"/>
                  <a:gd name="T47" fmla="*/ 0 h 191"/>
                  <a:gd name="T48" fmla="*/ 79 w 158"/>
                  <a:gd name="T49" fmla="*/ 0 h 191"/>
                  <a:gd name="T50" fmla="*/ 71 w 158"/>
                  <a:gd name="T51" fmla="*/ 0 h 191"/>
                  <a:gd name="T52" fmla="*/ 63 w 158"/>
                  <a:gd name="T53" fmla="*/ 1 h 191"/>
                  <a:gd name="T54" fmla="*/ 48 w 158"/>
                  <a:gd name="T55" fmla="*/ 7 h 191"/>
                  <a:gd name="T56" fmla="*/ 35 w 158"/>
                  <a:gd name="T57" fmla="*/ 13 h 191"/>
                  <a:gd name="T58" fmla="*/ 23 w 158"/>
                  <a:gd name="T59" fmla="*/ 23 h 191"/>
                  <a:gd name="T60" fmla="*/ 13 w 158"/>
                  <a:gd name="T61" fmla="*/ 35 h 191"/>
                  <a:gd name="T62" fmla="*/ 5 w 158"/>
                  <a:gd name="T63" fmla="*/ 48 h 191"/>
                  <a:gd name="T64" fmla="*/ 1 w 158"/>
                  <a:gd name="T65" fmla="*/ 63 h 191"/>
                  <a:gd name="T66" fmla="*/ 0 w 158"/>
                  <a:gd name="T67" fmla="*/ 71 h 191"/>
                  <a:gd name="T68" fmla="*/ 0 w 158"/>
                  <a:gd name="T69" fmla="*/ 79 h 191"/>
                  <a:gd name="T70" fmla="*/ 0 w 158"/>
                  <a:gd name="T71" fmla="*/ 111 h 191"/>
                  <a:gd name="T72" fmla="*/ 0 w 158"/>
                  <a:gd name="T73" fmla="*/ 111 h 191"/>
                  <a:gd name="T74" fmla="*/ 0 w 158"/>
                  <a:gd name="T75" fmla="*/ 119 h 191"/>
                  <a:gd name="T76" fmla="*/ 1 w 158"/>
                  <a:gd name="T77" fmla="*/ 128 h 191"/>
                  <a:gd name="T78" fmla="*/ 5 w 158"/>
                  <a:gd name="T79" fmla="*/ 142 h 191"/>
                  <a:gd name="T80" fmla="*/ 13 w 158"/>
                  <a:gd name="T81" fmla="*/ 156 h 191"/>
                  <a:gd name="T82" fmla="*/ 23 w 158"/>
                  <a:gd name="T83" fmla="*/ 168 h 191"/>
                  <a:gd name="T84" fmla="*/ 35 w 158"/>
                  <a:gd name="T85" fmla="*/ 177 h 191"/>
                  <a:gd name="T86" fmla="*/ 48 w 158"/>
                  <a:gd name="T87" fmla="*/ 184 h 191"/>
                  <a:gd name="T88" fmla="*/ 63 w 158"/>
                  <a:gd name="T89" fmla="*/ 189 h 191"/>
                  <a:gd name="T90" fmla="*/ 71 w 158"/>
                  <a:gd name="T91" fmla="*/ 191 h 191"/>
                  <a:gd name="T92" fmla="*/ 79 w 158"/>
                  <a:gd name="T93" fmla="*/ 191 h 191"/>
                  <a:gd name="T94" fmla="*/ 79 w 158"/>
                  <a:gd name="T95"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8" h="191">
                    <a:moveTo>
                      <a:pt x="79" y="191"/>
                    </a:moveTo>
                    <a:lnTo>
                      <a:pt x="79" y="191"/>
                    </a:lnTo>
                    <a:lnTo>
                      <a:pt x="87" y="191"/>
                    </a:lnTo>
                    <a:lnTo>
                      <a:pt x="95" y="189"/>
                    </a:lnTo>
                    <a:lnTo>
                      <a:pt x="110" y="184"/>
                    </a:lnTo>
                    <a:lnTo>
                      <a:pt x="123" y="177"/>
                    </a:lnTo>
                    <a:lnTo>
                      <a:pt x="135" y="168"/>
                    </a:lnTo>
                    <a:lnTo>
                      <a:pt x="145" y="156"/>
                    </a:lnTo>
                    <a:lnTo>
                      <a:pt x="152" y="142"/>
                    </a:lnTo>
                    <a:lnTo>
                      <a:pt x="157" y="128"/>
                    </a:lnTo>
                    <a:lnTo>
                      <a:pt x="158" y="119"/>
                    </a:lnTo>
                    <a:lnTo>
                      <a:pt x="158" y="111"/>
                    </a:lnTo>
                    <a:lnTo>
                      <a:pt x="158" y="79"/>
                    </a:lnTo>
                    <a:lnTo>
                      <a:pt x="158" y="79"/>
                    </a:lnTo>
                    <a:lnTo>
                      <a:pt x="158" y="71"/>
                    </a:lnTo>
                    <a:lnTo>
                      <a:pt x="157" y="63"/>
                    </a:lnTo>
                    <a:lnTo>
                      <a:pt x="152" y="48"/>
                    </a:lnTo>
                    <a:lnTo>
                      <a:pt x="145" y="35"/>
                    </a:lnTo>
                    <a:lnTo>
                      <a:pt x="135" y="23"/>
                    </a:lnTo>
                    <a:lnTo>
                      <a:pt x="123" y="13"/>
                    </a:lnTo>
                    <a:lnTo>
                      <a:pt x="110" y="7"/>
                    </a:lnTo>
                    <a:lnTo>
                      <a:pt x="95" y="1"/>
                    </a:lnTo>
                    <a:lnTo>
                      <a:pt x="87" y="0"/>
                    </a:lnTo>
                    <a:lnTo>
                      <a:pt x="79" y="0"/>
                    </a:lnTo>
                    <a:lnTo>
                      <a:pt x="79" y="0"/>
                    </a:lnTo>
                    <a:lnTo>
                      <a:pt x="71" y="0"/>
                    </a:lnTo>
                    <a:lnTo>
                      <a:pt x="63" y="1"/>
                    </a:lnTo>
                    <a:lnTo>
                      <a:pt x="48" y="7"/>
                    </a:lnTo>
                    <a:lnTo>
                      <a:pt x="35" y="13"/>
                    </a:lnTo>
                    <a:lnTo>
                      <a:pt x="23" y="23"/>
                    </a:lnTo>
                    <a:lnTo>
                      <a:pt x="13" y="35"/>
                    </a:lnTo>
                    <a:lnTo>
                      <a:pt x="5" y="48"/>
                    </a:lnTo>
                    <a:lnTo>
                      <a:pt x="1" y="63"/>
                    </a:lnTo>
                    <a:lnTo>
                      <a:pt x="0" y="71"/>
                    </a:lnTo>
                    <a:lnTo>
                      <a:pt x="0" y="79"/>
                    </a:lnTo>
                    <a:lnTo>
                      <a:pt x="0" y="111"/>
                    </a:lnTo>
                    <a:lnTo>
                      <a:pt x="0" y="111"/>
                    </a:lnTo>
                    <a:lnTo>
                      <a:pt x="0" y="119"/>
                    </a:lnTo>
                    <a:lnTo>
                      <a:pt x="1" y="128"/>
                    </a:lnTo>
                    <a:lnTo>
                      <a:pt x="5" y="142"/>
                    </a:lnTo>
                    <a:lnTo>
                      <a:pt x="13" y="156"/>
                    </a:lnTo>
                    <a:lnTo>
                      <a:pt x="23" y="168"/>
                    </a:lnTo>
                    <a:lnTo>
                      <a:pt x="35" y="177"/>
                    </a:lnTo>
                    <a:lnTo>
                      <a:pt x="48" y="184"/>
                    </a:lnTo>
                    <a:lnTo>
                      <a:pt x="63" y="189"/>
                    </a:lnTo>
                    <a:lnTo>
                      <a:pt x="71" y="191"/>
                    </a:lnTo>
                    <a:lnTo>
                      <a:pt x="79" y="191"/>
                    </a:lnTo>
                    <a:lnTo>
                      <a:pt x="79" y="19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1" name="Freeform 141">
                <a:extLst>
                  <a:ext uri="{FF2B5EF4-FFF2-40B4-BE49-F238E27FC236}">
                    <a16:creationId xmlns:a16="http://schemas.microsoft.com/office/drawing/2014/main" id="{3A3AB1FE-EDC6-4855-B4CE-0D6FFF21F44A}"/>
                  </a:ext>
                </a:extLst>
              </p:cNvPr>
              <p:cNvSpPr>
                <a:spLocks/>
              </p:cNvSpPr>
              <p:nvPr/>
            </p:nvSpPr>
            <p:spPr bwMode="auto">
              <a:xfrm>
                <a:off x="5973763" y="1927860"/>
                <a:ext cx="244475" cy="120650"/>
              </a:xfrm>
              <a:custGeom>
                <a:avLst/>
                <a:gdLst>
                  <a:gd name="T0" fmla="*/ 228 w 306"/>
                  <a:gd name="T1" fmla="*/ 39 h 152"/>
                  <a:gd name="T2" fmla="*/ 228 w 306"/>
                  <a:gd name="T3" fmla="*/ 39 h 152"/>
                  <a:gd name="T4" fmla="*/ 222 w 306"/>
                  <a:gd name="T5" fmla="*/ 37 h 152"/>
                  <a:gd name="T6" fmla="*/ 215 w 306"/>
                  <a:gd name="T7" fmla="*/ 33 h 152"/>
                  <a:gd name="T8" fmla="*/ 209 w 306"/>
                  <a:gd name="T9" fmla="*/ 27 h 152"/>
                  <a:gd name="T10" fmla="*/ 204 w 306"/>
                  <a:gd name="T11" fmla="*/ 23 h 152"/>
                  <a:gd name="T12" fmla="*/ 197 w 306"/>
                  <a:gd name="T13" fmla="*/ 11 h 152"/>
                  <a:gd name="T14" fmla="*/ 192 w 306"/>
                  <a:gd name="T15" fmla="*/ 0 h 152"/>
                  <a:gd name="T16" fmla="*/ 192 w 306"/>
                  <a:gd name="T17" fmla="*/ 0 h 152"/>
                  <a:gd name="T18" fmla="*/ 183 w 306"/>
                  <a:gd name="T19" fmla="*/ 4 h 152"/>
                  <a:gd name="T20" fmla="*/ 173 w 306"/>
                  <a:gd name="T21" fmla="*/ 7 h 152"/>
                  <a:gd name="T22" fmla="*/ 164 w 306"/>
                  <a:gd name="T23" fmla="*/ 9 h 152"/>
                  <a:gd name="T24" fmla="*/ 153 w 306"/>
                  <a:gd name="T25" fmla="*/ 10 h 152"/>
                  <a:gd name="T26" fmla="*/ 153 w 306"/>
                  <a:gd name="T27" fmla="*/ 10 h 152"/>
                  <a:gd name="T28" fmla="*/ 142 w 306"/>
                  <a:gd name="T29" fmla="*/ 9 h 152"/>
                  <a:gd name="T30" fmla="*/ 131 w 306"/>
                  <a:gd name="T31" fmla="*/ 7 h 152"/>
                  <a:gd name="T32" fmla="*/ 122 w 306"/>
                  <a:gd name="T33" fmla="*/ 4 h 152"/>
                  <a:gd name="T34" fmla="*/ 113 w 306"/>
                  <a:gd name="T35" fmla="*/ 0 h 152"/>
                  <a:gd name="T36" fmla="*/ 113 w 306"/>
                  <a:gd name="T37" fmla="*/ 0 h 152"/>
                  <a:gd name="T38" fmla="*/ 109 w 306"/>
                  <a:gd name="T39" fmla="*/ 11 h 152"/>
                  <a:gd name="T40" fmla="*/ 101 w 306"/>
                  <a:gd name="T41" fmla="*/ 23 h 152"/>
                  <a:gd name="T42" fmla="*/ 97 w 306"/>
                  <a:gd name="T43" fmla="*/ 27 h 152"/>
                  <a:gd name="T44" fmla="*/ 91 w 306"/>
                  <a:gd name="T45" fmla="*/ 33 h 152"/>
                  <a:gd name="T46" fmla="*/ 84 w 306"/>
                  <a:gd name="T47" fmla="*/ 37 h 152"/>
                  <a:gd name="T48" fmla="*/ 76 w 306"/>
                  <a:gd name="T49" fmla="*/ 39 h 152"/>
                  <a:gd name="T50" fmla="*/ 76 w 306"/>
                  <a:gd name="T51" fmla="*/ 39 h 152"/>
                  <a:gd name="T52" fmla="*/ 62 w 306"/>
                  <a:gd name="T53" fmla="*/ 45 h 152"/>
                  <a:gd name="T54" fmla="*/ 47 w 306"/>
                  <a:gd name="T55" fmla="*/ 53 h 152"/>
                  <a:gd name="T56" fmla="*/ 33 w 306"/>
                  <a:gd name="T57" fmla="*/ 64 h 152"/>
                  <a:gd name="T58" fmla="*/ 23 w 306"/>
                  <a:gd name="T59" fmla="*/ 76 h 152"/>
                  <a:gd name="T60" fmla="*/ 13 w 306"/>
                  <a:gd name="T61" fmla="*/ 89 h 152"/>
                  <a:gd name="T62" fmla="*/ 9 w 306"/>
                  <a:gd name="T63" fmla="*/ 97 h 152"/>
                  <a:gd name="T64" fmla="*/ 5 w 306"/>
                  <a:gd name="T65" fmla="*/ 107 h 152"/>
                  <a:gd name="T66" fmla="*/ 2 w 306"/>
                  <a:gd name="T67" fmla="*/ 116 h 152"/>
                  <a:gd name="T68" fmla="*/ 1 w 306"/>
                  <a:gd name="T69" fmla="*/ 125 h 152"/>
                  <a:gd name="T70" fmla="*/ 0 w 306"/>
                  <a:gd name="T71" fmla="*/ 136 h 152"/>
                  <a:gd name="T72" fmla="*/ 0 w 306"/>
                  <a:gd name="T73" fmla="*/ 147 h 152"/>
                  <a:gd name="T74" fmla="*/ 0 w 306"/>
                  <a:gd name="T75" fmla="*/ 147 h 152"/>
                  <a:gd name="T76" fmla="*/ 0 w 306"/>
                  <a:gd name="T77" fmla="*/ 150 h 152"/>
                  <a:gd name="T78" fmla="*/ 1 w 306"/>
                  <a:gd name="T79" fmla="*/ 151 h 152"/>
                  <a:gd name="T80" fmla="*/ 2 w 306"/>
                  <a:gd name="T81" fmla="*/ 152 h 152"/>
                  <a:gd name="T82" fmla="*/ 5 w 306"/>
                  <a:gd name="T83" fmla="*/ 152 h 152"/>
                  <a:gd name="T84" fmla="*/ 301 w 306"/>
                  <a:gd name="T85" fmla="*/ 152 h 152"/>
                  <a:gd name="T86" fmla="*/ 301 w 306"/>
                  <a:gd name="T87" fmla="*/ 152 h 152"/>
                  <a:gd name="T88" fmla="*/ 304 w 306"/>
                  <a:gd name="T89" fmla="*/ 152 h 152"/>
                  <a:gd name="T90" fmla="*/ 305 w 306"/>
                  <a:gd name="T91" fmla="*/ 151 h 152"/>
                  <a:gd name="T92" fmla="*/ 306 w 306"/>
                  <a:gd name="T93" fmla="*/ 150 h 152"/>
                  <a:gd name="T94" fmla="*/ 306 w 306"/>
                  <a:gd name="T95" fmla="*/ 147 h 152"/>
                  <a:gd name="T96" fmla="*/ 306 w 306"/>
                  <a:gd name="T97" fmla="*/ 147 h 152"/>
                  <a:gd name="T98" fmla="*/ 306 w 306"/>
                  <a:gd name="T99" fmla="*/ 136 h 152"/>
                  <a:gd name="T100" fmla="*/ 305 w 306"/>
                  <a:gd name="T101" fmla="*/ 125 h 152"/>
                  <a:gd name="T102" fmla="*/ 302 w 306"/>
                  <a:gd name="T103" fmla="*/ 116 h 152"/>
                  <a:gd name="T104" fmla="*/ 299 w 306"/>
                  <a:gd name="T105" fmla="*/ 107 h 152"/>
                  <a:gd name="T106" fmla="*/ 297 w 306"/>
                  <a:gd name="T107" fmla="*/ 97 h 152"/>
                  <a:gd name="T108" fmla="*/ 293 w 306"/>
                  <a:gd name="T109" fmla="*/ 89 h 152"/>
                  <a:gd name="T110" fmla="*/ 283 w 306"/>
                  <a:gd name="T111" fmla="*/ 76 h 152"/>
                  <a:gd name="T112" fmla="*/ 271 w 306"/>
                  <a:gd name="T113" fmla="*/ 64 h 152"/>
                  <a:gd name="T114" fmla="*/ 258 w 306"/>
                  <a:gd name="T115" fmla="*/ 53 h 152"/>
                  <a:gd name="T116" fmla="*/ 244 w 306"/>
                  <a:gd name="T117" fmla="*/ 45 h 152"/>
                  <a:gd name="T118" fmla="*/ 228 w 306"/>
                  <a:gd name="T119" fmla="*/ 39 h 152"/>
                  <a:gd name="T120" fmla="*/ 228 w 306"/>
                  <a:gd name="T121" fmla="*/ 3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6" h="152">
                    <a:moveTo>
                      <a:pt x="228" y="39"/>
                    </a:moveTo>
                    <a:lnTo>
                      <a:pt x="228" y="39"/>
                    </a:lnTo>
                    <a:lnTo>
                      <a:pt x="222" y="37"/>
                    </a:lnTo>
                    <a:lnTo>
                      <a:pt x="215" y="33"/>
                    </a:lnTo>
                    <a:lnTo>
                      <a:pt x="209" y="27"/>
                    </a:lnTo>
                    <a:lnTo>
                      <a:pt x="204" y="23"/>
                    </a:lnTo>
                    <a:lnTo>
                      <a:pt x="197" y="11"/>
                    </a:lnTo>
                    <a:lnTo>
                      <a:pt x="192" y="0"/>
                    </a:lnTo>
                    <a:lnTo>
                      <a:pt x="192" y="0"/>
                    </a:lnTo>
                    <a:lnTo>
                      <a:pt x="183" y="4"/>
                    </a:lnTo>
                    <a:lnTo>
                      <a:pt x="173" y="7"/>
                    </a:lnTo>
                    <a:lnTo>
                      <a:pt x="164" y="9"/>
                    </a:lnTo>
                    <a:lnTo>
                      <a:pt x="153" y="10"/>
                    </a:lnTo>
                    <a:lnTo>
                      <a:pt x="153" y="10"/>
                    </a:lnTo>
                    <a:lnTo>
                      <a:pt x="142" y="9"/>
                    </a:lnTo>
                    <a:lnTo>
                      <a:pt x="131" y="7"/>
                    </a:lnTo>
                    <a:lnTo>
                      <a:pt x="122" y="4"/>
                    </a:lnTo>
                    <a:lnTo>
                      <a:pt x="113" y="0"/>
                    </a:lnTo>
                    <a:lnTo>
                      <a:pt x="113" y="0"/>
                    </a:lnTo>
                    <a:lnTo>
                      <a:pt x="109" y="11"/>
                    </a:lnTo>
                    <a:lnTo>
                      <a:pt x="101" y="23"/>
                    </a:lnTo>
                    <a:lnTo>
                      <a:pt x="97" y="27"/>
                    </a:lnTo>
                    <a:lnTo>
                      <a:pt x="91" y="33"/>
                    </a:lnTo>
                    <a:lnTo>
                      <a:pt x="84" y="37"/>
                    </a:lnTo>
                    <a:lnTo>
                      <a:pt x="76" y="39"/>
                    </a:lnTo>
                    <a:lnTo>
                      <a:pt x="76" y="39"/>
                    </a:lnTo>
                    <a:lnTo>
                      <a:pt x="62" y="45"/>
                    </a:lnTo>
                    <a:lnTo>
                      <a:pt x="47" y="53"/>
                    </a:lnTo>
                    <a:lnTo>
                      <a:pt x="33" y="64"/>
                    </a:lnTo>
                    <a:lnTo>
                      <a:pt x="23" y="76"/>
                    </a:lnTo>
                    <a:lnTo>
                      <a:pt x="13" y="89"/>
                    </a:lnTo>
                    <a:lnTo>
                      <a:pt x="9" y="97"/>
                    </a:lnTo>
                    <a:lnTo>
                      <a:pt x="5" y="107"/>
                    </a:lnTo>
                    <a:lnTo>
                      <a:pt x="2" y="116"/>
                    </a:lnTo>
                    <a:lnTo>
                      <a:pt x="1" y="125"/>
                    </a:lnTo>
                    <a:lnTo>
                      <a:pt x="0" y="136"/>
                    </a:lnTo>
                    <a:lnTo>
                      <a:pt x="0" y="147"/>
                    </a:lnTo>
                    <a:lnTo>
                      <a:pt x="0" y="147"/>
                    </a:lnTo>
                    <a:lnTo>
                      <a:pt x="0" y="150"/>
                    </a:lnTo>
                    <a:lnTo>
                      <a:pt x="1" y="151"/>
                    </a:lnTo>
                    <a:lnTo>
                      <a:pt x="2" y="152"/>
                    </a:lnTo>
                    <a:lnTo>
                      <a:pt x="5" y="152"/>
                    </a:lnTo>
                    <a:lnTo>
                      <a:pt x="301" y="152"/>
                    </a:lnTo>
                    <a:lnTo>
                      <a:pt x="301" y="152"/>
                    </a:lnTo>
                    <a:lnTo>
                      <a:pt x="304" y="152"/>
                    </a:lnTo>
                    <a:lnTo>
                      <a:pt x="305" y="151"/>
                    </a:lnTo>
                    <a:lnTo>
                      <a:pt x="306" y="150"/>
                    </a:lnTo>
                    <a:lnTo>
                      <a:pt x="306" y="147"/>
                    </a:lnTo>
                    <a:lnTo>
                      <a:pt x="306" y="147"/>
                    </a:lnTo>
                    <a:lnTo>
                      <a:pt x="306" y="136"/>
                    </a:lnTo>
                    <a:lnTo>
                      <a:pt x="305" y="125"/>
                    </a:lnTo>
                    <a:lnTo>
                      <a:pt x="302" y="116"/>
                    </a:lnTo>
                    <a:lnTo>
                      <a:pt x="299" y="107"/>
                    </a:lnTo>
                    <a:lnTo>
                      <a:pt x="297" y="97"/>
                    </a:lnTo>
                    <a:lnTo>
                      <a:pt x="293" y="89"/>
                    </a:lnTo>
                    <a:lnTo>
                      <a:pt x="283" y="76"/>
                    </a:lnTo>
                    <a:lnTo>
                      <a:pt x="271" y="64"/>
                    </a:lnTo>
                    <a:lnTo>
                      <a:pt x="258" y="53"/>
                    </a:lnTo>
                    <a:lnTo>
                      <a:pt x="244" y="45"/>
                    </a:lnTo>
                    <a:lnTo>
                      <a:pt x="228" y="39"/>
                    </a:lnTo>
                    <a:lnTo>
                      <a:pt x="228" y="3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109" name="Group 108">
            <a:extLst>
              <a:ext uri="{FF2B5EF4-FFF2-40B4-BE49-F238E27FC236}">
                <a16:creationId xmlns:a16="http://schemas.microsoft.com/office/drawing/2014/main" id="{72F622EE-5053-4393-BF2F-4B81725900C7}"/>
              </a:ext>
            </a:extLst>
          </p:cNvPr>
          <p:cNvGrpSpPr/>
          <p:nvPr/>
        </p:nvGrpSpPr>
        <p:grpSpPr>
          <a:xfrm>
            <a:off x="704877" y="5589697"/>
            <a:ext cx="524097" cy="532409"/>
            <a:chOff x="907177" y="5934823"/>
            <a:chExt cx="358790" cy="364480"/>
          </a:xfrm>
        </p:grpSpPr>
        <p:sp>
          <p:nvSpPr>
            <p:cNvPr id="110" name="Oval 109">
              <a:extLst>
                <a:ext uri="{FF2B5EF4-FFF2-40B4-BE49-F238E27FC236}">
                  <a16:creationId xmlns:a16="http://schemas.microsoft.com/office/drawing/2014/main" id="{2E019DB1-6C09-455B-98D0-74C038DE4A7B}"/>
                </a:ext>
              </a:extLst>
            </p:cNvPr>
            <p:cNvSpPr/>
            <p:nvPr/>
          </p:nvSpPr>
          <p:spPr>
            <a:xfrm>
              <a:off x="908264" y="5942687"/>
              <a:ext cx="356616" cy="356616"/>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399" b="0" i="0" u="none" strike="noStrike" kern="1200" cap="none" spc="0" normalizeH="0" baseline="0" noProof="0">
                <a:ln>
                  <a:noFill/>
                </a:ln>
                <a:solidFill>
                  <a:srgbClr val="FFFFFF"/>
                </a:solidFill>
                <a:effectLst/>
                <a:uLnTx/>
                <a:uFillTx/>
                <a:latin typeface="Open Sans"/>
                <a:ea typeface="Microsoft YaHei"/>
                <a:cs typeface="+mn-cs"/>
              </a:endParaRPr>
            </a:p>
          </p:txBody>
        </p:sp>
        <p:grpSp>
          <p:nvGrpSpPr>
            <p:cNvPr id="111" name="Group 110">
              <a:extLst>
                <a:ext uri="{FF2B5EF4-FFF2-40B4-BE49-F238E27FC236}">
                  <a16:creationId xmlns:a16="http://schemas.microsoft.com/office/drawing/2014/main" id="{70B3B0B2-100C-4B7A-81C1-C380FA5FC0E0}"/>
                </a:ext>
              </a:extLst>
            </p:cNvPr>
            <p:cNvGrpSpPr>
              <a:grpSpLocks noChangeAspect="1"/>
            </p:cNvGrpSpPr>
            <p:nvPr/>
          </p:nvGrpSpPr>
          <p:grpSpPr>
            <a:xfrm>
              <a:off x="907177" y="5934823"/>
              <a:ext cx="358790" cy="356616"/>
              <a:chOff x="10234613" y="5860098"/>
              <a:chExt cx="523875" cy="520700"/>
            </a:xfrm>
            <a:solidFill>
              <a:schemeClr val="tx2"/>
            </a:solidFill>
          </p:grpSpPr>
          <p:sp>
            <p:nvSpPr>
              <p:cNvPr id="112" name="Freeform 61">
                <a:extLst>
                  <a:ext uri="{FF2B5EF4-FFF2-40B4-BE49-F238E27FC236}">
                    <a16:creationId xmlns:a16="http://schemas.microsoft.com/office/drawing/2014/main" id="{C32C10DC-92D1-4177-9E25-044E1F18B77F}"/>
                  </a:ext>
                </a:extLst>
              </p:cNvPr>
              <p:cNvSpPr>
                <a:spLocks noEditPoints="1"/>
              </p:cNvSpPr>
              <p:nvPr/>
            </p:nvSpPr>
            <p:spPr bwMode="auto">
              <a:xfrm>
                <a:off x="10234613" y="5860098"/>
                <a:ext cx="523875" cy="520700"/>
              </a:xfrm>
              <a:custGeom>
                <a:avLst/>
                <a:gdLst>
                  <a:gd name="T0" fmla="*/ 313 w 658"/>
                  <a:gd name="T1" fmla="*/ 658 h 658"/>
                  <a:gd name="T2" fmla="*/ 263 w 658"/>
                  <a:gd name="T3" fmla="*/ 651 h 658"/>
                  <a:gd name="T4" fmla="*/ 201 w 658"/>
                  <a:gd name="T5" fmla="*/ 632 h 658"/>
                  <a:gd name="T6" fmla="*/ 119 w 658"/>
                  <a:gd name="T7" fmla="*/ 582 h 658"/>
                  <a:gd name="T8" fmla="*/ 56 w 658"/>
                  <a:gd name="T9" fmla="*/ 512 h 658"/>
                  <a:gd name="T10" fmla="*/ 14 w 658"/>
                  <a:gd name="T11" fmla="*/ 426 h 658"/>
                  <a:gd name="T12" fmla="*/ 4 w 658"/>
                  <a:gd name="T13" fmla="*/ 379 h 658"/>
                  <a:gd name="T14" fmla="*/ 0 w 658"/>
                  <a:gd name="T15" fmla="*/ 328 h 658"/>
                  <a:gd name="T16" fmla="*/ 2 w 658"/>
                  <a:gd name="T17" fmla="*/ 295 h 658"/>
                  <a:gd name="T18" fmla="*/ 10 w 658"/>
                  <a:gd name="T19" fmla="*/ 246 h 658"/>
                  <a:gd name="T20" fmla="*/ 40 w 658"/>
                  <a:gd name="T21" fmla="*/ 172 h 658"/>
                  <a:gd name="T22" fmla="*/ 96 w 658"/>
                  <a:gd name="T23" fmla="*/ 96 h 658"/>
                  <a:gd name="T24" fmla="*/ 173 w 658"/>
                  <a:gd name="T25" fmla="*/ 39 h 658"/>
                  <a:gd name="T26" fmla="*/ 247 w 658"/>
                  <a:gd name="T27" fmla="*/ 10 h 658"/>
                  <a:gd name="T28" fmla="*/ 295 w 658"/>
                  <a:gd name="T29" fmla="*/ 2 h 658"/>
                  <a:gd name="T30" fmla="*/ 329 w 658"/>
                  <a:gd name="T31" fmla="*/ 0 h 658"/>
                  <a:gd name="T32" fmla="*/ 379 w 658"/>
                  <a:gd name="T33" fmla="*/ 3 h 658"/>
                  <a:gd name="T34" fmla="*/ 427 w 658"/>
                  <a:gd name="T35" fmla="*/ 15 h 658"/>
                  <a:gd name="T36" fmla="*/ 513 w 658"/>
                  <a:gd name="T37" fmla="*/ 56 h 658"/>
                  <a:gd name="T38" fmla="*/ 583 w 658"/>
                  <a:gd name="T39" fmla="*/ 120 h 658"/>
                  <a:gd name="T40" fmla="*/ 633 w 658"/>
                  <a:gd name="T41" fmla="*/ 201 h 658"/>
                  <a:gd name="T42" fmla="*/ 651 w 658"/>
                  <a:gd name="T43" fmla="*/ 262 h 658"/>
                  <a:gd name="T44" fmla="*/ 658 w 658"/>
                  <a:gd name="T45" fmla="*/ 312 h 658"/>
                  <a:gd name="T46" fmla="*/ 658 w 658"/>
                  <a:gd name="T47" fmla="*/ 346 h 658"/>
                  <a:gd name="T48" fmla="*/ 651 w 658"/>
                  <a:gd name="T49" fmla="*/ 396 h 658"/>
                  <a:gd name="T50" fmla="*/ 633 w 658"/>
                  <a:gd name="T51" fmla="*/ 457 h 658"/>
                  <a:gd name="T52" fmla="*/ 583 w 658"/>
                  <a:gd name="T53" fmla="*/ 538 h 658"/>
                  <a:gd name="T54" fmla="*/ 513 w 658"/>
                  <a:gd name="T55" fmla="*/ 601 h 658"/>
                  <a:gd name="T56" fmla="*/ 427 w 658"/>
                  <a:gd name="T57" fmla="*/ 643 h 658"/>
                  <a:gd name="T58" fmla="*/ 379 w 658"/>
                  <a:gd name="T59" fmla="*/ 654 h 658"/>
                  <a:gd name="T60" fmla="*/ 329 w 658"/>
                  <a:gd name="T61" fmla="*/ 658 h 658"/>
                  <a:gd name="T62" fmla="*/ 329 w 658"/>
                  <a:gd name="T63" fmla="*/ 38 h 658"/>
                  <a:gd name="T64" fmla="*/ 243 w 658"/>
                  <a:gd name="T65" fmla="*/ 50 h 658"/>
                  <a:gd name="T66" fmla="*/ 166 w 658"/>
                  <a:gd name="T67" fmla="*/ 88 h 658"/>
                  <a:gd name="T68" fmla="*/ 104 w 658"/>
                  <a:gd name="T69" fmla="*/ 144 h 658"/>
                  <a:gd name="T70" fmla="*/ 60 w 658"/>
                  <a:gd name="T71" fmla="*/ 215 h 658"/>
                  <a:gd name="T72" fmla="*/ 39 w 658"/>
                  <a:gd name="T73" fmla="*/ 299 h 658"/>
                  <a:gd name="T74" fmla="*/ 39 w 658"/>
                  <a:gd name="T75" fmla="*/ 358 h 658"/>
                  <a:gd name="T76" fmla="*/ 60 w 658"/>
                  <a:gd name="T77" fmla="*/ 443 h 658"/>
                  <a:gd name="T78" fmla="*/ 104 w 658"/>
                  <a:gd name="T79" fmla="*/ 514 h 658"/>
                  <a:gd name="T80" fmla="*/ 166 w 658"/>
                  <a:gd name="T81" fmla="*/ 570 h 658"/>
                  <a:gd name="T82" fmla="*/ 243 w 658"/>
                  <a:gd name="T83" fmla="*/ 607 h 658"/>
                  <a:gd name="T84" fmla="*/ 329 w 658"/>
                  <a:gd name="T85" fmla="*/ 620 h 658"/>
                  <a:gd name="T86" fmla="*/ 388 w 658"/>
                  <a:gd name="T87" fmla="*/ 615 h 658"/>
                  <a:gd name="T88" fmla="*/ 467 w 658"/>
                  <a:gd name="T89" fmla="*/ 585 h 658"/>
                  <a:gd name="T90" fmla="*/ 535 w 658"/>
                  <a:gd name="T91" fmla="*/ 535 h 658"/>
                  <a:gd name="T92" fmla="*/ 586 w 658"/>
                  <a:gd name="T93" fmla="*/ 468 h 658"/>
                  <a:gd name="T94" fmla="*/ 614 w 658"/>
                  <a:gd name="T95" fmla="*/ 387 h 658"/>
                  <a:gd name="T96" fmla="*/ 621 w 658"/>
                  <a:gd name="T97" fmla="*/ 328 h 658"/>
                  <a:gd name="T98" fmla="*/ 607 w 658"/>
                  <a:gd name="T99" fmla="*/ 242 h 658"/>
                  <a:gd name="T100" fmla="*/ 571 w 658"/>
                  <a:gd name="T101" fmla="*/ 166 h 658"/>
                  <a:gd name="T102" fmla="*/ 514 w 658"/>
                  <a:gd name="T103" fmla="*/ 104 h 658"/>
                  <a:gd name="T104" fmla="*/ 442 w 658"/>
                  <a:gd name="T105" fmla="*/ 61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8"/>
                    </a:lnTo>
                    <a:lnTo>
                      <a:pt x="295" y="656"/>
                    </a:lnTo>
                    <a:lnTo>
                      <a:pt x="279" y="654"/>
                    </a:lnTo>
                    <a:lnTo>
                      <a:pt x="263" y="651"/>
                    </a:lnTo>
                    <a:lnTo>
                      <a:pt x="247" y="647"/>
                    </a:lnTo>
                    <a:lnTo>
                      <a:pt x="231" y="643"/>
                    </a:lnTo>
                    <a:lnTo>
                      <a:pt x="201" y="632"/>
                    </a:lnTo>
                    <a:lnTo>
                      <a:pt x="173" y="619"/>
                    </a:lnTo>
                    <a:lnTo>
                      <a:pt x="145" y="601"/>
                    </a:lnTo>
                    <a:lnTo>
                      <a:pt x="119" y="582"/>
                    </a:lnTo>
                    <a:lnTo>
                      <a:pt x="96" y="561"/>
                    </a:lnTo>
                    <a:lnTo>
                      <a:pt x="75" y="538"/>
                    </a:lnTo>
                    <a:lnTo>
                      <a:pt x="56" y="512"/>
                    </a:lnTo>
                    <a:lnTo>
                      <a:pt x="40" y="486"/>
                    </a:lnTo>
                    <a:lnTo>
                      <a:pt x="27" y="457"/>
                    </a:lnTo>
                    <a:lnTo>
                      <a:pt x="14" y="426"/>
                    </a:lnTo>
                    <a:lnTo>
                      <a:pt x="10" y="410"/>
                    </a:lnTo>
                    <a:lnTo>
                      <a:pt x="6" y="396"/>
                    </a:lnTo>
                    <a:lnTo>
                      <a:pt x="4" y="379"/>
                    </a:lnTo>
                    <a:lnTo>
                      <a:pt x="2" y="362"/>
                    </a:lnTo>
                    <a:lnTo>
                      <a:pt x="1" y="346"/>
                    </a:lnTo>
                    <a:lnTo>
                      <a:pt x="0" y="328"/>
                    </a:lnTo>
                    <a:lnTo>
                      <a:pt x="0" y="328"/>
                    </a:lnTo>
                    <a:lnTo>
                      <a:pt x="1" y="312"/>
                    </a:lnTo>
                    <a:lnTo>
                      <a:pt x="2" y="295"/>
                    </a:lnTo>
                    <a:lnTo>
                      <a:pt x="4" y="279"/>
                    </a:lnTo>
                    <a:lnTo>
                      <a:pt x="6" y="262"/>
                    </a:lnTo>
                    <a:lnTo>
                      <a:pt x="10" y="246"/>
                    </a:lnTo>
                    <a:lnTo>
                      <a:pt x="14" y="232"/>
                    </a:lnTo>
                    <a:lnTo>
                      <a:pt x="27" y="201"/>
                    </a:lnTo>
                    <a:lnTo>
                      <a:pt x="40" y="172"/>
                    </a:lnTo>
                    <a:lnTo>
                      <a:pt x="56" y="146"/>
                    </a:lnTo>
                    <a:lnTo>
                      <a:pt x="75" y="120"/>
                    </a:lnTo>
                    <a:lnTo>
                      <a:pt x="96" y="96"/>
                    </a:lnTo>
                    <a:lnTo>
                      <a:pt x="119" y="76"/>
                    </a:lnTo>
                    <a:lnTo>
                      <a:pt x="145" y="56"/>
                    </a:lnTo>
                    <a:lnTo>
                      <a:pt x="173" y="39"/>
                    </a:lnTo>
                    <a:lnTo>
                      <a:pt x="201" y="26"/>
                    </a:lnTo>
                    <a:lnTo>
                      <a:pt x="231" y="15"/>
                    </a:lnTo>
                    <a:lnTo>
                      <a:pt x="247" y="10"/>
                    </a:lnTo>
                    <a:lnTo>
                      <a:pt x="263" y="7"/>
                    </a:lnTo>
                    <a:lnTo>
                      <a:pt x="279" y="3"/>
                    </a:lnTo>
                    <a:lnTo>
                      <a:pt x="295" y="2"/>
                    </a:lnTo>
                    <a:lnTo>
                      <a:pt x="313" y="0"/>
                    </a:lnTo>
                    <a:lnTo>
                      <a:pt x="329" y="0"/>
                    </a:lnTo>
                    <a:lnTo>
                      <a:pt x="329" y="0"/>
                    </a:lnTo>
                    <a:lnTo>
                      <a:pt x="346" y="0"/>
                    </a:lnTo>
                    <a:lnTo>
                      <a:pt x="363" y="2"/>
                    </a:lnTo>
                    <a:lnTo>
                      <a:pt x="379" y="3"/>
                    </a:lnTo>
                    <a:lnTo>
                      <a:pt x="395" y="7"/>
                    </a:lnTo>
                    <a:lnTo>
                      <a:pt x="411" y="10"/>
                    </a:lnTo>
                    <a:lnTo>
                      <a:pt x="427" y="15"/>
                    </a:lnTo>
                    <a:lnTo>
                      <a:pt x="457" y="26"/>
                    </a:lnTo>
                    <a:lnTo>
                      <a:pt x="486" y="39"/>
                    </a:lnTo>
                    <a:lnTo>
                      <a:pt x="513" y="56"/>
                    </a:lnTo>
                    <a:lnTo>
                      <a:pt x="539" y="76"/>
                    </a:lnTo>
                    <a:lnTo>
                      <a:pt x="561" y="96"/>
                    </a:lnTo>
                    <a:lnTo>
                      <a:pt x="583" y="120"/>
                    </a:lnTo>
                    <a:lnTo>
                      <a:pt x="602" y="146"/>
                    </a:lnTo>
                    <a:lnTo>
                      <a:pt x="618" y="172"/>
                    </a:lnTo>
                    <a:lnTo>
                      <a:pt x="633" y="201"/>
                    </a:lnTo>
                    <a:lnTo>
                      <a:pt x="643" y="232"/>
                    </a:lnTo>
                    <a:lnTo>
                      <a:pt x="647" y="246"/>
                    </a:lnTo>
                    <a:lnTo>
                      <a:pt x="651" y="262"/>
                    </a:lnTo>
                    <a:lnTo>
                      <a:pt x="654" y="279"/>
                    </a:lnTo>
                    <a:lnTo>
                      <a:pt x="657" y="295"/>
                    </a:lnTo>
                    <a:lnTo>
                      <a:pt x="658" y="312"/>
                    </a:lnTo>
                    <a:lnTo>
                      <a:pt x="658" y="328"/>
                    </a:lnTo>
                    <a:lnTo>
                      <a:pt x="658" y="328"/>
                    </a:lnTo>
                    <a:lnTo>
                      <a:pt x="658" y="346"/>
                    </a:lnTo>
                    <a:lnTo>
                      <a:pt x="657" y="362"/>
                    </a:lnTo>
                    <a:lnTo>
                      <a:pt x="654" y="379"/>
                    </a:lnTo>
                    <a:lnTo>
                      <a:pt x="651" y="396"/>
                    </a:lnTo>
                    <a:lnTo>
                      <a:pt x="647" y="410"/>
                    </a:lnTo>
                    <a:lnTo>
                      <a:pt x="643" y="426"/>
                    </a:lnTo>
                    <a:lnTo>
                      <a:pt x="633" y="457"/>
                    </a:lnTo>
                    <a:lnTo>
                      <a:pt x="618" y="486"/>
                    </a:lnTo>
                    <a:lnTo>
                      <a:pt x="602" y="512"/>
                    </a:lnTo>
                    <a:lnTo>
                      <a:pt x="583" y="538"/>
                    </a:lnTo>
                    <a:lnTo>
                      <a:pt x="561" y="561"/>
                    </a:lnTo>
                    <a:lnTo>
                      <a:pt x="539" y="582"/>
                    </a:lnTo>
                    <a:lnTo>
                      <a:pt x="513" y="601"/>
                    </a:lnTo>
                    <a:lnTo>
                      <a:pt x="486" y="619"/>
                    </a:lnTo>
                    <a:lnTo>
                      <a:pt x="457" y="632"/>
                    </a:lnTo>
                    <a:lnTo>
                      <a:pt x="427" y="643"/>
                    </a:lnTo>
                    <a:lnTo>
                      <a:pt x="411" y="647"/>
                    </a:lnTo>
                    <a:lnTo>
                      <a:pt x="395" y="651"/>
                    </a:lnTo>
                    <a:lnTo>
                      <a:pt x="379" y="654"/>
                    </a:lnTo>
                    <a:lnTo>
                      <a:pt x="363" y="656"/>
                    </a:lnTo>
                    <a:lnTo>
                      <a:pt x="346" y="658"/>
                    </a:lnTo>
                    <a:lnTo>
                      <a:pt x="329" y="658"/>
                    </a:lnTo>
                    <a:lnTo>
                      <a:pt x="329" y="658"/>
                    </a:lnTo>
                    <a:close/>
                    <a:moveTo>
                      <a:pt x="329" y="38"/>
                    </a:moveTo>
                    <a:lnTo>
                      <a:pt x="329" y="38"/>
                    </a:lnTo>
                    <a:lnTo>
                      <a:pt x="299" y="39"/>
                    </a:lnTo>
                    <a:lnTo>
                      <a:pt x="270" y="43"/>
                    </a:lnTo>
                    <a:lnTo>
                      <a:pt x="243" y="50"/>
                    </a:lnTo>
                    <a:lnTo>
                      <a:pt x="216" y="61"/>
                    </a:lnTo>
                    <a:lnTo>
                      <a:pt x="191" y="73"/>
                    </a:lnTo>
                    <a:lnTo>
                      <a:pt x="166" y="88"/>
                    </a:lnTo>
                    <a:lnTo>
                      <a:pt x="143" y="104"/>
                    </a:lnTo>
                    <a:lnTo>
                      <a:pt x="123" y="123"/>
                    </a:lnTo>
                    <a:lnTo>
                      <a:pt x="104" y="144"/>
                    </a:lnTo>
                    <a:lnTo>
                      <a:pt x="87" y="166"/>
                    </a:lnTo>
                    <a:lnTo>
                      <a:pt x="74" y="190"/>
                    </a:lnTo>
                    <a:lnTo>
                      <a:pt x="60" y="215"/>
                    </a:lnTo>
                    <a:lnTo>
                      <a:pt x="51" y="242"/>
                    </a:lnTo>
                    <a:lnTo>
                      <a:pt x="44" y="271"/>
                    </a:lnTo>
                    <a:lnTo>
                      <a:pt x="39" y="299"/>
                    </a:lnTo>
                    <a:lnTo>
                      <a:pt x="37" y="328"/>
                    </a:lnTo>
                    <a:lnTo>
                      <a:pt x="37" y="328"/>
                    </a:lnTo>
                    <a:lnTo>
                      <a:pt x="39" y="358"/>
                    </a:lnTo>
                    <a:lnTo>
                      <a:pt x="44" y="387"/>
                    </a:lnTo>
                    <a:lnTo>
                      <a:pt x="51" y="416"/>
                    </a:lnTo>
                    <a:lnTo>
                      <a:pt x="60" y="443"/>
                    </a:lnTo>
                    <a:lnTo>
                      <a:pt x="74" y="468"/>
                    </a:lnTo>
                    <a:lnTo>
                      <a:pt x="87" y="491"/>
                    </a:lnTo>
                    <a:lnTo>
                      <a:pt x="104" y="514"/>
                    </a:lnTo>
                    <a:lnTo>
                      <a:pt x="123" y="535"/>
                    </a:lnTo>
                    <a:lnTo>
                      <a:pt x="143" y="554"/>
                    </a:lnTo>
                    <a:lnTo>
                      <a:pt x="166" y="570"/>
                    </a:lnTo>
                    <a:lnTo>
                      <a:pt x="191" y="585"/>
                    </a:lnTo>
                    <a:lnTo>
                      <a:pt x="216" y="597"/>
                    </a:lnTo>
                    <a:lnTo>
                      <a:pt x="243" y="607"/>
                    </a:lnTo>
                    <a:lnTo>
                      <a:pt x="270" y="615"/>
                    </a:lnTo>
                    <a:lnTo>
                      <a:pt x="299" y="619"/>
                    </a:lnTo>
                    <a:lnTo>
                      <a:pt x="329" y="620"/>
                    </a:lnTo>
                    <a:lnTo>
                      <a:pt x="329" y="620"/>
                    </a:lnTo>
                    <a:lnTo>
                      <a:pt x="359" y="619"/>
                    </a:lnTo>
                    <a:lnTo>
                      <a:pt x="388" y="615"/>
                    </a:lnTo>
                    <a:lnTo>
                      <a:pt x="415" y="607"/>
                    </a:lnTo>
                    <a:lnTo>
                      <a:pt x="442" y="597"/>
                    </a:lnTo>
                    <a:lnTo>
                      <a:pt x="467" y="585"/>
                    </a:lnTo>
                    <a:lnTo>
                      <a:pt x="492" y="570"/>
                    </a:lnTo>
                    <a:lnTo>
                      <a:pt x="514" y="554"/>
                    </a:lnTo>
                    <a:lnTo>
                      <a:pt x="535" y="535"/>
                    </a:lnTo>
                    <a:lnTo>
                      <a:pt x="553" y="514"/>
                    </a:lnTo>
                    <a:lnTo>
                      <a:pt x="571" y="491"/>
                    </a:lnTo>
                    <a:lnTo>
                      <a:pt x="586" y="468"/>
                    </a:lnTo>
                    <a:lnTo>
                      <a:pt x="598" y="443"/>
                    </a:lnTo>
                    <a:lnTo>
                      <a:pt x="607" y="416"/>
                    </a:lnTo>
                    <a:lnTo>
                      <a:pt x="614" y="387"/>
                    </a:lnTo>
                    <a:lnTo>
                      <a:pt x="619" y="358"/>
                    </a:lnTo>
                    <a:lnTo>
                      <a:pt x="621" y="328"/>
                    </a:lnTo>
                    <a:lnTo>
                      <a:pt x="621" y="328"/>
                    </a:lnTo>
                    <a:lnTo>
                      <a:pt x="619" y="299"/>
                    </a:lnTo>
                    <a:lnTo>
                      <a:pt x="614" y="271"/>
                    </a:lnTo>
                    <a:lnTo>
                      <a:pt x="607" y="242"/>
                    </a:lnTo>
                    <a:lnTo>
                      <a:pt x="598" y="215"/>
                    </a:lnTo>
                    <a:lnTo>
                      <a:pt x="586" y="190"/>
                    </a:lnTo>
                    <a:lnTo>
                      <a:pt x="571" y="166"/>
                    </a:lnTo>
                    <a:lnTo>
                      <a:pt x="553" y="144"/>
                    </a:lnTo>
                    <a:lnTo>
                      <a:pt x="535" y="123"/>
                    </a:lnTo>
                    <a:lnTo>
                      <a:pt x="514" y="104"/>
                    </a:lnTo>
                    <a:lnTo>
                      <a:pt x="492" y="88"/>
                    </a:lnTo>
                    <a:lnTo>
                      <a:pt x="467" y="73"/>
                    </a:lnTo>
                    <a:lnTo>
                      <a:pt x="442" y="61"/>
                    </a:lnTo>
                    <a:lnTo>
                      <a:pt x="415" y="50"/>
                    </a:lnTo>
                    <a:lnTo>
                      <a:pt x="388" y="43"/>
                    </a:lnTo>
                    <a:lnTo>
                      <a:pt x="359" y="39"/>
                    </a:lnTo>
                    <a:lnTo>
                      <a:pt x="329" y="38"/>
                    </a:lnTo>
                    <a:lnTo>
                      <a:pt x="329" y="3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399" b="0" i="0" u="none" strike="noStrike" kern="1200" cap="none" spc="0" normalizeH="0" baseline="0" noProof="0">
                  <a:ln>
                    <a:noFill/>
                  </a:ln>
                  <a:solidFill>
                    <a:srgbClr val="000000"/>
                  </a:solidFill>
                  <a:effectLst/>
                  <a:uLnTx/>
                  <a:uFillTx/>
                  <a:latin typeface="Arial" charset="0"/>
                  <a:ea typeface="Microsoft YaHei"/>
                  <a:cs typeface="+mn-cs"/>
                </a:endParaRPr>
              </a:p>
            </p:txBody>
          </p:sp>
          <p:sp>
            <p:nvSpPr>
              <p:cNvPr id="113" name="Freeform 264">
                <a:extLst>
                  <a:ext uri="{FF2B5EF4-FFF2-40B4-BE49-F238E27FC236}">
                    <a16:creationId xmlns:a16="http://schemas.microsoft.com/office/drawing/2014/main" id="{CC11871E-86D1-4210-9ACA-DD935806643C}"/>
                  </a:ext>
                </a:extLst>
              </p:cNvPr>
              <p:cNvSpPr>
                <a:spLocks/>
              </p:cNvSpPr>
              <p:nvPr/>
            </p:nvSpPr>
            <p:spPr bwMode="auto">
              <a:xfrm>
                <a:off x="10460038" y="5983923"/>
                <a:ext cx="88900" cy="87313"/>
              </a:xfrm>
              <a:custGeom>
                <a:avLst/>
                <a:gdLst>
                  <a:gd name="T0" fmla="*/ 55 w 112"/>
                  <a:gd name="T1" fmla="*/ 0 h 111"/>
                  <a:gd name="T2" fmla="*/ 55 w 112"/>
                  <a:gd name="T3" fmla="*/ 0 h 111"/>
                  <a:gd name="T4" fmla="*/ 45 w 112"/>
                  <a:gd name="T5" fmla="*/ 2 h 111"/>
                  <a:gd name="T6" fmla="*/ 34 w 112"/>
                  <a:gd name="T7" fmla="*/ 4 h 111"/>
                  <a:gd name="T8" fmla="*/ 24 w 112"/>
                  <a:gd name="T9" fmla="*/ 10 h 111"/>
                  <a:gd name="T10" fmla="*/ 16 w 112"/>
                  <a:gd name="T11" fmla="*/ 16 h 111"/>
                  <a:gd name="T12" fmla="*/ 10 w 112"/>
                  <a:gd name="T13" fmla="*/ 25 h 111"/>
                  <a:gd name="T14" fmla="*/ 4 w 112"/>
                  <a:gd name="T15" fmla="*/ 34 h 111"/>
                  <a:gd name="T16" fmla="*/ 2 w 112"/>
                  <a:gd name="T17" fmla="*/ 45 h 111"/>
                  <a:gd name="T18" fmla="*/ 0 w 112"/>
                  <a:gd name="T19" fmla="*/ 55 h 111"/>
                  <a:gd name="T20" fmla="*/ 0 w 112"/>
                  <a:gd name="T21" fmla="*/ 55 h 111"/>
                  <a:gd name="T22" fmla="*/ 2 w 112"/>
                  <a:gd name="T23" fmla="*/ 66 h 111"/>
                  <a:gd name="T24" fmla="*/ 4 w 112"/>
                  <a:gd name="T25" fmla="*/ 77 h 111"/>
                  <a:gd name="T26" fmla="*/ 10 w 112"/>
                  <a:gd name="T27" fmla="*/ 86 h 111"/>
                  <a:gd name="T28" fmla="*/ 16 w 112"/>
                  <a:gd name="T29" fmla="*/ 94 h 111"/>
                  <a:gd name="T30" fmla="*/ 24 w 112"/>
                  <a:gd name="T31" fmla="*/ 101 h 111"/>
                  <a:gd name="T32" fmla="*/ 34 w 112"/>
                  <a:gd name="T33" fmla="*/ 106 h 111"/>
                  <a:gd name="T34" fmla="*/ 45 w 112"/>
                  <a:gd name="T35" fmla="*/ 111 h 111"/>
                  <a:gd name="T36" fmla="*/ 55 w 112"/>
                  <a:gd name="T37" fmla="*/ 111 h 111"/>
                  <a:gd name="T38" fmla="*/ 55 w 112"/>
                  <a:gd name="T39" fmla="*/ 111 h 111"/>
                  <a:gd name="T40" fmla="*/ 67 w 112"/>
                  <a:gd name="T41" fmla="*/ 111 h 111"/>
                  <a:gd name="T42" fmla="*/ 77 w 112"/>
                  <a:gd name="T43" fmla="*/ 106 h 111"/>
                  <a:gd name="T44" fmla="*/ 86 w 112"/>
                  <a:gd name="T45" fmla="*/ 101 h 111"/>
                  <a:gd name="T46" fmla="*/ 94 w 112"/>
                  <a:gd name="T47" fmla="*/ 94 h 111"/>
                  <a:gd name="T48" fmla="*/ 102 w 112"/>
                  <a:gd name="T49" fmla="*/ 86 h 111"/>
                  <a:gd name="T50" fmla="*/ 106 w 112"/>
                  <a:gd name="T51" fmla="*/ 77 h 111"/>
                  <a:gd name="T52" fmla="*/ 110 w 112"/>
                  <a:gd name="T53" fmla="*/ 66 h 111"/>
                  <a:gd name="T54" fmla="*/ 112 w 112"/>
                  <a:gd name="T55" fmla="*/ 55 h 111"/>
                  <a:gd name="T56" fmla="*/ 112 w 112"/>
                  <a:gd name="T57" fmla="*/ 55 h 111"/>
                  <a:gd name="T58" fmla="*/ 110 w 112"/>
                  <a:gd name="T59" fmla="*/ 45 h 111"/>
                  <a:gd name="T60" fmla="*/ 106 w 112"/>
                  <a:gd name="T61" fmla="*/ 34 h 111"/>
                  <a:gd name="T62" fmla="*/ 102 w 112"/>
                  <a:gd name="T63" fmla="*/ 25 h 111"/>
                  <a:gd name="T64" fmla="*/ 94 w 112"/>
                  <a:gd name="T65" fmla="*/ 16 h 111"/>
                  <a:gd name="T66" fmla="*/ 86 w 112"/>
                  <a:gd name="T67" fmla="*/ 10 h 111"/>
                  <a:gd name="T68" fmla="*/ 77 w 112"/>
                  <a:gd name="T69" fmla="*/ 4 h 111"/>
                  <a:gd name="T70" fmla="*/ 67 w 112"/>
                  <a:gd name="T71" fmla="*/ 2 h 111"/>
                  <a:gd name="T72" fmla="*/ 55 w 112"/>
                  <a:gd name="T73" fmla="*/ 0 h 111"/>
                  <a:gd name="T74" fmla="*/ 55 w 112"/>
                  <a:gd name="T7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111">
                    <a:moveTo>
                      <a:pt x="55" y="0"/>
                    </a:moveTo>
                    <a:lnTo>
                      <a:pt x="55" y="0"/>
                    </a:lnTo>
                    <a:lnTo>
                      <a:pt x="45" y="2"/>
                    </a:lnTo>
                    <a:lnTo>
                      <a:pt x="34" y="4"/>
                    </a:lnTo>
                    <a:lnTo>
                      <a:pt x="24" y="10"/>
                    </a:lnTo>
                    <a:lnTo>
                      <a:pt x="16" y="16"/>
                    </a:lnTo>
                    <a:lnTo>
                      <a:pt x="10" y="25"/>
                    </a:lnTo>
                    <a:lnTo>
                      <a:pt x="4" y="34"/>
                    </a:lnTo>
                    <a:lnTo>
                      <a:pt x="2" y="45"/>
                    </a:lnTo>
                    <a:lnTo>
                      <a:pt x="0" y="55"/>
                    </a:lnTo>
                    <a:lnTo>
                      <a:pt x="0" y="55"/>
                    </a:lnTo>
                    <a:lnTo>
                      <a:pt x="2" y="66"/>
                    </a:lnTo>
                    <a:lnTo>
                      <a:pt x="4" y="77"/>
                    </a:lnTo>
                    <a:lnTo>
                      <a:pt x="10" y="86"/>
                    </a:lnTo>
                    <a:lnTo>
                      <a:pt x="16" y="94"/>
                    </a:lnTo>
                    <a:lnTo>
                      <a:pt x="24" y="101"/>
                    </a:lnTo>
                    <a:lnTo>
                      <a:pt x="34" y="106"/>
                    </a:lnTo>
                    <a:lnTo>
                      <a:pt x="45" y="111"/>
                    </a:lnTo>
                    <a:lnTo>
                      <a:pt x="55" y="111"/>
                    </a:lnTo>
                    <a:lnTo>
                      <a:pt x="55" y="111"/>
                    </a:lnTo>
                    <a:lnTo>
                      <a:pt x="67" y="111"/>
                    </a:lnTo>
                    <a:lnTo>
                      <a:pt x="77" y="106"/>
                    </a:lnTo>
                    <a:lnTo>
                      <a:pt x="86" y="101"/>
                    </a:lnTo>
                    <a:lnTo>
                      <a:pt x="94" y="94"/>
                    </a:lnTo>
                    <a:lnTo>
                      <a:pt x="102" y="86"/>
                    </a:lnTo>
                    <a:lnTo>
                      <a:pt x="106" y="77"/>
                    </a:lnTo>
                    <a:lnTo>
                      <a:pt x="110" y="66"/>
                    </a:lnTo>
                    <a:lnTo>
                      <a:pt x="112" y="55"/>
                    </a:lnTo>
                    <a:lnTo>
                      <a:pt x="112" y="55"/>
                    </a:lnTo>
                    <a:lnTo>
                      <a:pt x="110" y="45"/>
                    </a:lnTo>
                    <a:lnTo>
                      <a:pt x="106" y="34"/>
                    </a:lnTo>
                    <a:lnTo>
                      <a:pt x="102" y="25"/>
                    </a:lnTo>
                    <a:lnTo>
                      <a:pt x="94" y="16"/>
                    </a:lnTo>
                    <a:lnTo>
                      <a:pt x="86" y="10"/>
                    </a:lnTo>
                    <a:lnTo>
                      <a:pt x="77" y="4"/>
                    </a:lnTo>
                    <a:lnTo>
                      <a:pt x="67" y="2"/>
                    </a:lnTo>
                    <a:lnTo>
                      <a:pt x="55" y="0"/>
                    </a:lnTo>
                    <a:lnTo>
                      <a:pt x="55"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399" b="0" i="0" u="none" strike="noStrike" kern="1200" cap="none" spc="0" normalizeH="0" baseline="0" noProof="0">
                  <a:ln>
                    <a:noFill/>
                  </a:ln>
                  <a:solidFill>
                    <a:srgbClr val="000000"/>
                  </a:solidFill>
                  <a:effectLst/>
                  <a:uLnTx/>
                  <a:uFillTx/>
                  <a:latin typeface="Arial" charset="0"/>
                  <a:ea typeface="Microsoft YaHei"/>
                  <a:cs typeface="+mn-cs"/>
                </a:endParaRPr>
              </a:p>
            </p:txBody>
          </p:sp>
          <p:sp>
            <p:nvSpPr>
              <p:cNvPr id="114" name="Freeform 265">
                <a:extLst>
                  <a:ext uri="{FF2B5EF4-FFF2-40B4-BE49-F238E27FC236}">
                    <a16:creationId xmlns:a16="http://schemas.microsoft.com/office/drawing/2014/main" id="{64C30DBE-9AE3-487D-82BE-DCA6624377CB}"/>
                  </a:ext>
                </a:extLst>
              </p:cNvPr>
              <p:cNvSpPr>
                <a:spLocks/>
              </p:cNvSpPr>
              <p:nvPr/>
            </p:nvSpPr>
            <p:spPr bwMode="auto">
              <a:xfrm>
                <a:off x="10380663" y="6142673"/>
                <a:ext cx="87313" cy="88900"/>
              </a:xfrm>
              <a:custGeom>
                <a:avLst/>
                <a:gdLst>
                  <a:gd name="T0" fmla="*/ 56 w 111"/>
                  <a:gd name="T1" fmla="*/ 0 h 111"/>
                  <a:gd name="T2" fmla="*/ 56 w 111"/>
                  <a:gd name="T3" fmla="*/ 0 h 111"/>
                  <a:gd name="T4" fmla="*/ 45 w 111"/>
                  <a:gd name="T5" fmla="*/ 1 h 111"/>
                  <a:gd name="T6" fmla="*/ 34 w 111"/>
                  <a:gd name="T7" fmla="*/ 4 h 111"/>
                  <a:gd name="T8" fmla="*/ 25 w 111"/>
                  <a:gd name="T9" fmla="*/ 9 h 111"/>
                  <a:gd name="T10" fmla="*/ 17 w 111"/>
                  <a:gd name="T11" fmla="*/ 16 h 111"/>
                  <a:gd name="T12" fmla="*/ 10 w 111"/>
                  <a:gd name="T13" fmla="*/ 24 h 111"/>
                  <a:gd name="T14" fmla="*/ 4 w 111"/>
                  <a:gd name="T15" fmla="*/ 34 h 111"/>
                  <a:gd name="T16" fmla="*/ 2 w 111"/>
                  <a:gd name="T17" fmla="*/ 44 h 111"/>
                  <a:gd name="T18" fmla="*/ 0 w 111"/>
                  <a:gd name="T19" fmla="*/ 55 h 111"/>
                  <a:gd name="T20" fmla="*/ 0 w 111"/>
                  <a:gd name="T21" fmla="*/ 55 h 111"/>
                  <a:gd name="T22" fmla="*/ 2 w 111"/>
                  <a:gd name="T23" fmla="*/ 67 h 111"/>
                  <a:gd name="T24" fmla="*/ 4 w 111"/>
                  <a:gd name="T25" fmla="*/ 78 h 111"/>
                  <a:gd name="T26" fmla="*/ 10 w 111"/>
                  <a:gd name="T27" fmla="*/ 87 h 111"/>
                  <a:gd name="T28" fmla="*/ 17 w 111"/>
                  <a:gd name="T29" fmla="*/ 95 h 111"/>
                  <a:gd name="T30" fmla="*/ 25 w 111"/>
                  <a:gd name="T31" fmla="*/ 102 h 111"/>
                  <a:gd name="T32" fmla="*/ 34 w 111"/>
                  <a:gd name="T33" fmla="*/ 107 h 111"/>
                  <a:gd name="T34" fmla="*/ 45 w 111"/>
                  <a:gd name="T35" fmla="*/ 110 h 111"/>
                  <a:gd name="T36" fmla="*/ 56 w 111"/>
                  <a:gd name="T37" fmla="*/ 111 h 111"/>
                  <a:gd name="T38" fmla="*/ 56 w 111"/>
                  <a:gd name="T39" fmla="*/ 111 h 111"/>
                  <a:gd name="T40" fmla="*/ 66 w 111"/>
                  <a:gd name="T41" fmla="*/ 110 h 111"/>
                  <a:gd name="T42" fmla="*/ 77 w 111"/>
                  <a:gd name="T43" fmla="*/ 107 h 111"/>
                  <a:gd name="T44" fmla="*/ 86 w 111"/>
                  <a:gd name="T45" fmla="*/ 102 h 111"/>
                  <a:gd name="T46" fmla="*/ 95 w 111"/>
                  <a:gd name="T47" fmla="*/ 95 h 111"/>
                  <a:gd name="T48" fmla="*/ 101 w 111"/>
                  <a:gd name="T49" fmla="*/ 87 h 111"/>
                  <a:gd name="T50" fmla="*/ 107 w 111"/>
                  <a:gd name="T51" fmla="*/ 78 h 111"/>
                  <a:gd name="T52" fmla="*/ 111 w 111"/>
                  <a:gd name="T53" fmla="*/ 67 h 111"/>
                  <a:gd name="T54" fmla="*/ 111 w 111"/>
                  <a:gd name="T55" fmla="*/ 55 h 111"/>
                  <a:gd name="T56" fmla="*/ 111 w 111"/>
                  <a:gd name="T57" fmla="*/ 55 h 111"/>
                  <a:gd name="T58" fmla="*/ 111 w 111"/>
                  <a:gd name="T59" fmla="*/ 44 h 111"/>
                  <a:gd name="T60" fmla="*/ 107 w 111"/>
                  <a:gd name="T61" fmla="*/ 34 h 111"/>
                  <a:gd name="T62" fmla="*/ 101 w 111"/>
                  <a:gd name="T63" fmla="*/ 24 h 111"/>
                  <a:gd name="T64" fmla="*/ 95 w 111"/>
                  <a:gd name="T65" fmla="*/ 16 h 111"/>
                  <a:gd name="T66" fmla="*/ 86 w 111"/>
                  <a:gd name="T67" fmla="*/ 9 h 111"/>
                  <a:gd name="T68" fmla="*/ 77 w 111"/>
                  <a:gd name="T69" fmla="*/ 4 h 111"/>
                  <a:gd name="T70" fmla="*/ 66 w 111"/>
                  <a:gd name="T71" fmla="*/ 1 h 111"/>
                  <a:gd name="T72" fmla="*/ 56 w 111"/>
                  <a:gd name="T73" fmla="*/ 0 h 111"/>
                  <a:gd name="T74" fmla="*/ 56 w 111"/>
                  <a:gd name="T7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1" h="111">
                    <a:moveTo>
                      <a:pt x="56" y="0"/>
                    </a:moveTo>
                    <a:lnTo>
                      <a:pt x="56" y="0"/>
                    </a:lnTo>
                    <a:lnTo>
                      <a:pt x="45" y="1"/>
                    </a:lnTo>
                    <a:lnTo>
                      <a:pt x="34" y="4"/>
                    </a:lnTo>
                    <a:lnTo>
                      <a:pt x="25" y="9"/>
                    </a:lnTo>
                    <a:lnTo>
                      <a:pt x="17" y="16"/>
                    </a:lnTo>
                    <a:lnTo>
                      <a:pt x="10" y="24"/>
                    </a:lnTo>
                    <a:lnTo>
                      <a:pt x="4" y="34"/>
                    </a:lnTo>
                    <a:lnTo>
                      <a:pt x="2" y="44"/>
                    </a:lnTo>
                    <a:lnTo>
                      <a:pt x="0" y="55"/>
                    </a:lnTo>
                    <a:lnTo>
                      <a:pt x="0" y="55"/>
                    </a:lnTo>
                    <a:lnTo>
                      <a:pt x="2" y="67"/>
                    </a:lnTo>
                    <a:lnTo>
                      <a:pt x="4" y="78"/>
                    </a:lnTo>
                    <a:lnTo>
                      <a:pt x="10" y="87"/>
                    </a:lnTo>
                    <a:lnTo>
                      <a:pt x="17" y="95"/>
                    </a:lnTo>
                    <a:lnTo>
                      <a:pt x="25" y="102"/>
                    </a:lnTo>
                    <a:lnTo>
                      <a:pt x="34" y="107"/>
                    </a:lnTo>
                    <a:lnTo>
                      <a:pt x="45" y="110"/>
                    </a:lnTo>
                    <a:lnTo>
                      <a:pt x="56" y="111"/>
                    </a:lnTo>
                    <a:lnTo>
                      <a:pt x="56" y="111"/>
                    </a:lnTo>
                    <a:lnTo>
                      <a:pt x="66" y="110"/>
                    </a:lnTo>
                    <a:lnTo>
                      <a:pt x="77" y="107"/>
                    </a:lnTo>
                    <a:lnTo>
                      <a:pt x="86" y="102"/>
                    </a:lnTo>
                    <a:lnTo>
                      <a:pt x="95" y="95"/>
                    </a:lnTo>
                    <a:lnTo>
                      <a:pt x="101" y="87"/>
                    </a:lnTo>
                    <a:lnTo>
                      <a:pt x="107" y="78"/>
                    </a:lnTo>
                    <a:lnTo>
                      <a:pt x="111" y="67"/>
                    </a:lnTo>
                    <a:lnTo>
                      <a:pt x="111" y="55"/>
                    </a:lnTo>
                    <a:lnTo>
                      <a:pt x="111" y="55"/>
                    </a:lnTo>
                    <a:lnTo>
                      <a:pt x="111" y="44"/>
                    </a:lnTo>
                    <a:lnTo>
                      <a:pt x="107" y="34"/>
                    </a:lnTo>
                    <a:lnTo>
                      <a:pt x="101" y="24"/>
                    </a:lnTo>
                    <a:lnTo>
                      <a:pt x="95" y="16"/>
                    </a:lnTo>
                    <a:lnTo>
                      <a:pt x="86" y="9"/>
                    </a:lnTo>
                    <a:lnTo>
                      <a:pt x="77" y="4"/>
                    </a:lnTo>
                    <a:lnTo>
                      <a:pt x="66" y="1"/>
                    </a:lnTo>
                    <a:lnTo>
                      <a:pt x="56" y="0"/>
                    </a:lnTo>
                    <a:lnTo>
                      <a:pt x="56"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399" b="0" i="0" u="none" strike="noStrike" kern="1200" cap="none" spc="0" normalizeH="0" baseline="0" noProof="0">
                  <a:ln>
                    <a:noFill/>
                  </a:ln>
                  <a:solidFill>
                    <a:srgbClr val="000000"/>
                  </a:solidFill>
                  <a:effectLst/>
                  <a:uLnTx/>
                  <a:uFillTx/>
                  <a:latin typeface="Arial" charset="0"/>
                  <a:ea typeface="Microsoft YaHei"/>
                  <a:cs typeface="+mn-cs"/>
                </a:endParaRPr>
              </a:p>
            </p:txBody>
          </p:sp>
          <p:sp>
            <p:nvSpPr>
              <p:cNvPr id="115" name="Freeform 266">
                <a:extLst>
                  <a:ext uri="{FF2B5EF4-FFF2-40B4-BE49-F238E27FC236}">
                    <a16:creationId xmlns:a16="http://schemas.microsoft.com/office/drawing/2014/main" id="{2D5A7126-C359-4EF0-9D25-3DBB9A271976}"/>
                  </a:ext>
                </a:extLst>
              </p:cNvPr>
              <p:cNvSpPr>
                <a:spLocks/>
              </p:cNvSpPr>
              <p:nvPr/>
            </p:nvSpPr>
            <p:spPr bwMode="auto">
              <a:xfrm>
                <a:off x="10541001" y="6142673"/>
                <a:ext cx="87313" cy="88900"/>
              </a:xfrm>
              <a:custGeom>
                <a:avLst/>
                <a:gdLst>
                  <a:gd name="T0" fmla="*/ 55 w 112"/>
                  <a:gd name="T1" fmla="*/ 0 h 111"/>
                  <a:gd name="T2" fmla="*/ 55 w 112"/>
                  <a:gd name="T3" fmla="*/ 0 h 111"/>
                  <a:gd name="T4" fmla="*/ 44 w 112"/>
                  <a:gd name="T5" fmla="*/ 1 h 111"/>
                  <a:gd name="T6" fmla="*/ 34 w 112"/>
                  <a:gd name="T7" fmla="*/ 4 h 111"/>
                  <a:gd name="T8" fmla="*/ 24 w 112"/>
                  <a:gd name="T9" fmla="*/ 9 h 111"/>
                  <a:gd name="T10" fmla="*/ 16 w 112"/>
                  <a:gd name="T11" fmla="*/ 16 h 111"/>
                  <a:gd name="T12" fmla="*/ 9 w 112"/>
                  <a:gd name="T13" fmla="*/ 24 h 111"/>
                  <a:gd name="T14" fmla="*/ 4 w 112"/>
                  <a:gd name="T15" fmla="*/ 34 h 111"/>
                  <a:gd name="T16" fmla="*/ 1 w 112"/>
                  <a:gd name="T17" fmla="*/ 44 h 111"/>
                  <a:gd name="T18" fmla="*/ 0 w 112"/>
                  <a:gd name="T19" fmla="*/ 55 h 111"/>
                  <a:gd name="T20" fmla="*/ 0 w 112"/>
                  <a:gd name="T21" fmla="*/ 55 h 111"/>
                  <a:gd name="T22" fmla="*/ 1 w 112"/>
                  <a:gd name="T23" fmla="*/ 67 h 111"/>
                  <a:gd name="T24" fmla="*/ 4 w 112"/>
                  <a:gd name="T25" fmla="*/ 78 h 111"/>
                  <a:gd name="T26" fmla="*/ 9 w 112"/>
                  <a:gd name="T27" fmla="*/ 87 h 111"/>
                  <a:gd name="T28" fmla="*/ 16 w 112"/>
                  <a:gd name="T29" fmla="*/ 95 h 111"/>
                  <a:gd name="T30" fmla="*/ 24 w 112"/>
                  <a:gd name="T31" fmla="*/ 102 h 111"/>
                  <a:gd name="T32" fmla="*/ 34 w 112"/>
                  <a:gd name="T33" fmla="*/ 107 h 111"/>
                  <a:gd name="T34" fmla="*/ 44 w 112"/>
                  <a:gd name="T35" fmla="*/ 110 h 111"/>
                  <a:gd name="T36" fmla="*/ 55 w 112"/>
                  <a:gd name="T37" fmla="*/ 111 h 111"/>
                  <a:gd name="T38" fmla="*/ 55 w 112"/>
                  <a:gd name="T39" fmla="*/ 111 h 111"/>
                  <a:gd name="T40" fmla="*/ 67 w 112"/>
                  <a:gd name="T41" fmla="*/ 110 h 111"/>
                  <a:gd name="T42" fmla="*/ 77 w 112"/>
                  <a:gd name="T43" fmla="*/ 107 h 111"/>
                  <a:gd name="T44" fmla="*/ 87 w 112"/>
                  <a:gd name="T45" fmla="*/ 102 h 111"/>
                  <a:gd name="T46" fmla="*/ 95 w 112"/>
                  <a:gd name="T47" fmla="*/ 95 h 111"/>
                  <a:gd name="T48" fmla="*/ 102 w 112"/>
                  <a:gd name="T49" fmla="*/ 87 h 111"/>
                  <a:gd name="T50" fmla="*/ 106 w 112"/>
                  <a:gd name="T51" fmla="*/ 78 h 111"/>
                  <a:gd name="T52" fmla="*/ 110 w 112"/>
                  <a:gd name="T53" fmla="*/ 67 h 111"/>
                  <a:gd name="T54" fmla="*/ 112 w 112"/>
                  <a:gd name="T55" fmla="*/ 55 h 111"/>
                  <a:gd name="T56" fmla="*/ 112 w 112"/>
                  <a:gd name="T57" fmla="*/ 55 h 111"/>
                  <a:gd name="T58" fmla="*/ 110 w 112"/>
                  <a:gd name="T59" fmla="*/ 44 h 111"/>
                  <a:gd name="T60" fmla="*/ 106 w 112"/>
                  <a:gd name="T61" fmla="*/ 34 h 111"/>
                  <a:gd name="T62" fmla="*/ 102 w 112"/>
                  <a:gd name="T63" fmla="*/ 24 h 111"/>
                  <a:gd name="T64" fmla="*/ 95 w 112"/>
                  <a:gd name="T65" fmla="*/ 16 h 111"/>
                  <a:gd name="T66" fmla="*/ 87 w 112"/>
                  <a:gd name="T67" fmla="*/ 9 h 111"/>
                  <a:gd name="T68" fmla="*/ 77 w 112"/>
                  <a:gd name="T69" fmla="*/ 4 h 111"/>
                  <a:gd name="T70" fmla="*/ 67 w 112"/>
                  <a:gd name="T71" fmla="*/ 1 h 111"/>
                  <a:gd name="T72" fmla="*/ 55 w 112"/>
                  <a:gd name="T73" fmla="*/ 0 h 111"/>
                  <a:gd name="T74" fmla="*/ 55 w 112"/>
                  <a:gd name="T7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111">
                    <a:moveTo>
                      <a:pt x="55" y="0"/>
                    </a:moveTo>
                    <a:lnTo>
                      <a:pt x="55" y="0"/>
                    </a:lnTo>
                    <a:lnTo>
                      <a:pt x="44" y="1"/>
                    </a:lnTo>
                    <a:lnTo>
                      <a:pt x="34" y="4"/>
                    </a:lnTo>
                    <a:lnTo>
                      <a:pt x="24" y="9"/>
                    </a:lnTo>
                    <a:lnTo>
                      <a:pt x="16" y="16"/>
                    </a:lnTo>
                    <a:lnTo>
                      <a:pt x="9" y="24"/>
                    </a:lnTo>
                    <a:lnTo>
                      <a:pt x="4" y="34"/>
                    </a:lnTo>
                    <a:lnTo>
                      <a:pt x="1" y="44"/>
                    </a:lnTo>
                    <a:lnTo>
                      <a:pt x="0" y="55"/>
                    </a:lnTo>
                    <a:lnTo>
                      <a:pt x="0" y="55"/>
                    </a:lnTo>
                    <a:lnTo>
                      <a:pt x="1" y="67"/>
                    </a:lnTo>
                    <a:lnTo>
                      <a:pt x="4" y="78"/>
                    </a:lnTo>
                    <a:lnTo>
                      <a:pt x="9" y="87"/>
                    </a:lnTo>
                    <a:lnTo>
                      <a:pt x="16" y="95"/>
                    </a:lnTo>
                    <a:lnTo>
                      <a:pt x="24" y="102"/>
                    </a:lnTo>
                    <a:lnTo>
                      <a:pt x="34" y="107"/>
                    </a:lnTo>
                    <a:lnTo>
                      <a:pt x="44" y="110"/>
                    </a:lnTo>
                    <a:lnTo>
                      <a:pt x="55" y="111"/>
                    </a:lnTo>
                    <a:lnTo>
                      <a:pt x="55" y="111"/>
                    </a:lnTo>
                    <a:lnTo>
                      <a:pt x="67" y="110"/>
                    </a:lnTo>
                    <a:lnTo>
                      <a:pt x="77" y="107"/>
                    </a:lnTo>
                    <a:lnTo>
                      <a:pt x="87" y="102"/>
                    </a:lnTo>
                    <a:lnTo>
                      <a:pt x="95" y="95"/>
                    </a:lnTo>
                    <a:lnTo>
                      <a:pt x="102" y="87"/>
                    </a:lnTo>
                    <a:lnTo>
                      <a:pt x="106" y="78"/>
                    </a:lnTo>
                    <a:lnTo>
                      <a:pt x="110" y="67"/>
                    </a:lnTo>
                    <a:lnTo>
                      <a:pt x="112" y="55"/>
                    </a:lnTo>
                    <a:lnTo>
                      <a:pt x="112" y="55"/>
                    </a:lnTo>
                    <a:lnTo>
                      <a:pt x="110" y="44"/>
                    </a:lnTo>
                    <a:lnTo>
                      <a:pt x="106" y="34"/>
                    </a:lnTo>
                    <a:lnTo>
                      <a:pt x="102" y="24"/>
                    </a:lnTo>
                    <a:lnTo>
                      <a:pt x="95" y="16"/>
                    </a:lnTo>
                    <a:lnTo>
                      <a:pt x="87" y="9"/>
                    </a:lnTo>
                    <a:lnTo>
                      <a:pt x="77" y="4"/>
                    </a:lnTo>
                    <a:lnTo>
                      <a:pt x="67" y="1"/>
                    </a:lnTo>
                    <a:lnTo>
                      <a:pt x="55" y="0"/>
                    </a:lnTo>
                    <a:lnTo>
                      <a:pt x="55"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399" b="0" i="0" u="none" strike="noStrike" kern="1200" cap="none" spc="0" normalizeH="0" baseline="0" noProof="0">
                  <a:ln>
                    <a:noFill/>
                  </a:ln>
                  <a:solidFill>
                    <a:srgbClr val="000000"/>
                  </a:solidFill>
                  <a:effectLst/>
                  <a:uLnTx/>
                  <a:uFillTx/>
                  <a:latin typeface="Arial" charset="0"/>
                  <a:ea typeface="Microsoft YaHei"/>
                  <a:cs typeface="+mn-cs"/>
                </a:endParaRPr>
              </a:p>
            </p:txBody>
          </p:sp>
          <p:sp>
            <p:nvSpPr>
              <p:cNvPr id="116" name="Freeform 267">
                <a:extLst>
                  <a:ext uri="{FF2B5EF4-FFF2-40B4-BE49-F238E27FC236}">
                    <a16:creationId xmlns:a16="http://schemas.microsoft.com/office/drawing/2014/main" id="{F76FA64F-350B-4CBA-888F-778800C4E0E2}"/>
                  </a:ext>
                </a:extLst>
              </p:cNvPr>
              <p:cNvSpPr>
                <a:spLocks/>
              </p:cNvSpPr>
              <p:nvPr/>
            </p:nvSpPr>
            <p:spPr bwMode="auto">
              <a:xfrm>
                <a:off x="10458451" y="6077585"/>
                <a:ext cx="90488" cy="84138"/>
              </a:xfrm>
              <a:custGeom>
                <a:avLst/>
                <a:gdLst>
                  <a:gd name="T0" fmla="*/ 67 w 113"/>
                  <a:gd name="T1" fmla="*/ 52 h 105"/>
                  <a:gd name="T2" fmla="*/ 67 w 113"/>
                  <a:gd name="T3" fmla="*/ 0 h 105"/>
                  <a:gd name="T4" fmla="*/ 67 w 113"/>
                  <a:gd name="T5" fmla="*/ 0 h 105"/>
                  <a:gd name="T6" fmla="*/ 56 w 113"/>
                  <a:gd name="T7" fmla="*/ 1 h 105"/>
                  <a:gd name="T8" fmla="*/ 56 w 113"/>
                  <a:gd name="T9" fmla="*/ 1 h 105"/>
                  <a:gd name="T10" fmla="*/ 47 w 113"/>
                  <a:gd name="T11" fmla="*/ 0 h 105"/>
                  <a:gd name="T12" fmla="*/ 47 w 113"/>
                  <a:gd name="T13" fmla="*/ 52 h 105"/>
                  <a:gd name="T14" fmla="*/ 0 w 113"/>
                  <a:gd name="T15" fmla="*/ 89 h 105"/>
                  <a:gd name="T16" fmla="*/ 0 w 113"/>
                  <a:gd name="T17" fmla="*/ 89 h 105"/>
                  <a:gd name="T18" fmla="*/ 7 w 113"/>
                  <a:gd name="T19" fmla="*/ 97 h 105"/>
                  <a:gd name="T20" fmla="*/ 12 w 113"/>
                  <a:gd name="T21" fmla="*/ 105 h 105"/>
                  <a:gd name="T22" fmla="*/ 56 w 113"/>
                  <a:gd name="T23" fmla="*/ 70 h 105"/>
                  <a:gd name="T24" fmla="*/ 101 w 113"/>
                  <a:gd name="T25" fmla="*/ 105 h 105"/>
                  <a:gd name="T26" fmla="*/ 101 w 113"/>
                  <a:gd name="T27" fmla="*/ 105 h 105"/>
                  <a:gd name="T28" fmla="*/ 106 w 113"/>
                  <a:gd name="T29" fmla="*/ 97 h 105"/>
                  <a:gd name="T30" fmla="*/ 113 w 113"/>
                  <a:gd name="T31" fmla="*/ 89 h 105"/>
                  <a:gd name="T32" fmla="*/ 67 w 113"/>
                  <a:gd name="T33" fmla="*/ 5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 h="105">
                    <a:moveTo>
                      <a:pt x="67" y="52"/>
                    </a:moveTo>
                    <a:lnTo>
                      <a:pt x="67" y="0"/>
                    </a:lnTo>
                    <a:lnTo>
                      <a:pt x="67" y="0"/>
                    </a:lnTo>
                    <a:lnTo>
                      <a:pt x="56" y="1"/>
                    </a:lnTo>
                    <a:lnTo>
                      <a:pt x="56" y="1"/>
                    </a:lnTo>
                    <a:lnTo>
                      <a:pt x="47" y="0"/>
                    </a:lnTo>
                    <a:lnTo>
                      <a:pt x="47" y="52"/>
                    </a:lnTo>
                    <a:lnTo>
                      <a:pt x="0" y="89"/>
                    </a:lnTo>
                    <a:lnTo>
                      <a:pt x="0" y="89"/>
                    </a:lnTo>
                    <a:lnTo>
                      <a:pt x="7" y="97"/>
                    </a:lnTo>
                    <a:lnTo>
                      <a:pt x="12" y="105"/>
                    </a:lnTo>
                    <a:lnTo>
                      <a:pt x="56" y="70"/>
                    </a:lnTo>
                    <a:lnTo>
                      <a:pt x="101" y="105"/>
                    </a:lnTo>
                    <a:lnTo>
                      <a:pt x="101" y="105"/>
                    </a:lnTo>
                    <a:lnTo>
                      <a:pt x="106" y="97"/>
                    </a:lnTo>
                    <a:lnTo>
                      <a:pt x="113" y="89"/>
                    </a:lnTo>
                    <a:lnTo>
                      <a:pt x="67" y="5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399" b="0" i="0" u="none" strike="noStrike" kern="1200" cap="none" spc="0" normalizeH="0" baseline="0" noProof="0">
                  <a:ln>
                    <a:noFill/>
                  </a:ln>
                  <a:solidFill>
                    <a:srgbClr val="000000"/>
                  </a:solidFill>
                  <a:effectLst/>
                  <a:uLnTx/>
                  <a:uFillTx/>
                  <a:latin typeface="Arial" charset="0"/>
                  <a:ea typeface="Microsoft YaHei"/>
                  <a:cs typeface="+mn-cs"/>
                </a:endParaRPr>
              </a:p>
            </p:txBody>
          </p:sp>
        </p:grpSp>
      </p:grpSp>
      <p:sp>
        <p:nvSpPr>
          <p:cNvPr id="117" name="TextBox 116">
            <a:extLst>
              <a:ext uri="{FF2B5EF4-FFF2-40B4-BE49-F238E27FC236}">
                <a16:creationId xmlns:a16="http://schemas.microsoft.com/office/drawing/2014/main" id="{278CB96C-A08A-4A8E-B6D6-C68B8AC0D9D8}"/>
              </a:ext>
            </a:extLst>
          </p:cNvPr>
          <p:cNvSpPr txBox="1"/>
          <p:nvPr/>
        </p:nvSpPr>
        <p:spPr>
          <a:xfrm>
            <a:off x="9148529" y="3622504"/>
            <a:ext cx="2010787" cy="523084"/>
          </a:xfrm>
          <a:prstGeom prst="rect">
            <a:avLst/>
          </a:prstGeom>
          <a:noFill/>
        </p:spPr>
        <p:txBody>
          <a:bodyPr wrap="square" rtlCol="0">
            <a:spAutoFit/>
          </a:bodyPr>
          <a:lstStyle>
            <a:defPPr>
              <a:defRPr lang="en-US"/>
            </a:defPPr>
            <a:lvl1pPr algn="r">
              <a:lnSpc>
                <a:spcPts val="1000"/>
              </a:lnSpc>
              <a:defRPr sz="900" spc="-50">
                <a:solidFill>
                  <a:srgbClr val="000000"/>
                </a:solidFill>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ctr" defTabSz="914126"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roved Business Management Toolkit</a:t>
            </a:r>
          </a:p>
        </p:txBody>
      </p:sp>
      <p:grpSp>
        <p:nvGrpSpPr>
          <p:cNvPr id="120" name="Group 119">
            <a:extLst>
              <a:ext uri="{FF2B5EF4-FFF2-40B4-BE49-F238E27FC236}">
                <a16:creationId xmlns:a16="http://schemas.microsoft.com/office/drawing/2014/main" id="{2500D7B6-0C49-4E68-A2F7-AF2B0EEF63AC}"/>
              </a:ext>
            </a:extLst>
          </p:cNvPr>
          <p:cNvGrpSpPr/>
          <p:nvPr/>
        </p:nvGrpSpPr>
        <p:grpSpPr>
          <a:xfrm>
            <a:off x="3778067" y="2363932"/>
            <a:ext cx="173691" cy="171373"/>
            <a:chOff x="2860047" y="-599433"/>
            <a:chExt cx="434501" cy="434501"/>
          </a:xfrm>
        </p:grpSpPr>
        <p:sp>
          <p:nvSpPr>
            <p:cNvPr id="121" name="Teardrop 120">
              <a:extLst>
                <a:ext uri="{FF2B5EF4-FFF2-40B4-BE49-F238E27FC236}">
                  <a16:creationId xmlns:a16="http://schemas.microsoft.com/office/drawing/2014/main" id="{0B17F41F-A229-4908-AC02-968611C5C990}"/>
                </a:ext>
              </a:extLst>
            </p:cNvPr>
            <p:cNvSpPr/>
            <p:nvPr/>
          </p:nvSpPr>
          <p:spPr>
            <a:xfrm rot="8125434">
              <a:off x="2860047" y="-599433"/>
              <a:ext cx="434501" cy="434501"/>
            </a:xfrm>
            <a:prstGeom prst="teardrop">
              <a:avLst/>
            </a:prstGeom>
            <a:solidFill>
              <a:schemeClr val="accent2"/>
            </a:solidFill>
            <a:ln w="10795" cap="flat" cmpd="sng" algn="ctr">
              <a:solidFill>
                <a:schemeClr val="accent2"/>
              </a:solid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2" name="Oval 121">
              <a:extLst>
                <a:ext uri="{FF2B5EF4-FFF2-40B4-BE49-F238E27FC236}">
                  <a16:creationId xmlns:a16="http://schemas.microsoft.com/office/drawing/2014/main" id="{8D87BD03-E315-4365-A8AD-826D7ACFC40C}"/>
                </a:ext>
              </a:extLst>
            </p:cNvPr>
            <p:cNvSpPr/>
            <p:nvPr/>
          </p:nvSpPr>
          <p:spPr>
            <a:xfrm>
              <a:off x="2977201" y="-481238"/>
              <a:ext cx="198110" cy="198110"/>
            </a:xfrm>
            <a:prstGeom prst="ellipse">
              <a:avLst/>
            </a:prstGeom>
            <a:solidFill>
              <a:srgbClr val="FFFFFF"/>
            </a:solidFill>
            <a:ln w="10795" cap="flat" cmpd="sng" algn="ctr">
              <a:solidFill>
                <a:schemeClr val="bg1"/>
              </a:solid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23" name="Group 122">
            <a:extLst>
              <a:ext uri="{FF2B5EF4-FFF2-40B4-BE49-F238E27FC236}">
                <a16:creationId xmlns:a16="http://schemas.microsoft.com/office/drawing/2014/main" id="{81535984-D2D5-43E0-A619-32995BC849A0}"/>
              </a:ext>
            </a:extLst>
          </p:cNvPr>
          <p:cNvGrpSpPr/>
          <p:nvPr/>
        </p:nvGrpSpPr>
        <p:grpSpPr>
          <a:xfrm>
            <a:off x="4562939" y="3414977"/>
            <a:ext cx="173691" cy="171373"/>
            <a:chOff x="2860047" y="-599433"/>
            <a:chExt cx="434501" cy="434501"/>
          </a:xfrm>
        </p:grpSpPr>
        <p:sp>
          <p:nvSpPr>
            <p:cNvPr id="124" name="Teardrop 123">
              <a:extLst>
                <a:ext uri="{FF2B5EF4-FFF2-40B4-BE49-F238E27FC236}">
                  <a16:creationId xmlns:a16="http://schemas.microsoft.com/office/drawing/2014/main" id="{D851FD26-74AD-420D-A28F-36D8513E073F}"/>
                </a:ext>
              </a:extLst>
            </p:cNvPr>
            <p:cNvSpPr/>
            <p:nvPr/>
          </p:nvSpPr>
          <p:spPr>
            <a:xfrm rot="8125434">
              <a:off x="2860047" y="-599433"/>
              <a:ext cx="434501" cy="434501"/>
            </a:xfrm>
            <a:prstGeom prst="teardrop">
              <a:avLst/>
            </a:prstGeom>
            <a:solidFill>
              <a:schemeClr val="accent2"/>
            </a:solidFill>
            <a:ln w="10795" cap="flat" cmpd="sng" algn="ctr">
              <a:solidFill>
                <a:schemeClr val="accent2"/>
              </a:solid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5" name="Oval 124">
              <a:extLst>
                <a:ext uri="{FF2B5EF4-FFF2-40B4-BE49-F238E27FC236}">
                  <a16:creationId xmlns:a16="http://schemas.microsoft.com/office/drawing/2014/main" id="{60363625-4B8B-4552-8B3E-9B103C7294FC}"/>
                </a:ext>
              </a:extLst>
            </p:cNvPr>
            <p:cNvSpPr/>
            <p:nvPr/>
          </p:nvSpPr>
          <p:spPr>
            <a:xfrm>
              <a:off x="2977201" y="-481238"/>
              <a:ext cx="198110" cy="198110"/>
            </a:xfrm>
            <a:prstGeom prst="ellipse">
              <a:avLst/>
            </a:prstGeom>
            <a:solidFill>
              <a:srgbClr val="FFFFFF"/>
            </a:solidFill>
            <a:ln w="10795" cap="flat" cmpd="sng" algn="ctr">
              <a:solidFill>
                <a:schemeClr val="bg1"/>
              </a:solid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26" name="Group 125">
            <a:extLst>
              <a:ext uri="{FF2B5EF4-FFF2-40B4-BE49-F238E27FC236}">
                <a16:creationId xmlns:a16="http://schemas.microsoft.com/office/drawing/2014/main" id="{352D996E-B4CE-41E3-995F-8A90545B6358}"/>
              </a:ext>
            </a:extLst>
          </p:cNvPr>
          <p:cNvGrpSpPr/>
          <p:nvPr/>
        </p:nvGrpSpPr>
        <p:grpSpPr>
          <a:xfrm>
            <a:off x="8186918" y="3414977"/>
            <a:ext cx="173691" cy="171373"/>
            <a:chOff x="2860047" y="-599433"/>
            <a:chExt cx="434501" cy="434501"/>
          </a:xfrm>
        </p:grpSpPr>
        <p:sp>
          <p:nvSpPr>
            <p:cNvPr id="127" name="Teardrop 126">
              <a:extLst>
                <a:ext uri="{FF2B5EF4-FFF2-40B4-BE49-F238E27FC236}">
                  <a16:creationId xmlns:a16="http://schemas.microsoft.com/office/drawing/2014/main" id="{4D5FFDCF-F6B2-4BF1-B9C8-96093CD6F35D}"/>
                </a:ext>
              </a:extLst>
            </p:cNvPr>
            <p:cNvSpPr/>
            <p:nvPr/>
          </p:nvSpPr>
          <p:spPr>
            <a:xfrm rot="8125434">
              <a:off x="2860047" y="-599433"/>
              <a:ext cx="434501" cy="434501"/>
            </a:xfrm>
            <a:prstGeom prst="teardrop">
              <a:avLst/>
            </a:prstGeom>
            <a:solidFill>
              <a:schemeClr val="accent2"/>
            </a:solidFill>
            <a:ln w="10795" cap="flat" cmpd="sng" algn="ctr">
              <a:solidFill>
                <a:schemeClr val="accent2"/>
              </a:solid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8" name="Oval 127">
              <a:extLst>
                <a:ext uri="{FF2B5EF4-FFF2-40B4-BE49-F238E27FC236}">
                  <a16:creationId xmlns:a16="http://schemas.microsoft.com/office/drawing/2014/main" id="{0AF81120-BD25-4C01-AF75-C5C74374EBB2}"/>
                </a:ext>
              </a:extLst>
            </p:cNvPr>
            <p:cNvSpPr/>
            <p:nvPr/>
          </p:nvSpPr>
          <p:spPr>
            <a:xfrm>
              <a:off x="2977201" y="-481238"/>
              <a:ext cx="198110" cy="198110"/>
            </a:xfrm>
            <a:prstGeom prst="ellipse">
              <a:avLst/>
            </a:prstGeom>
            <a:solidFill>
              <a:srgbClr val="FFFFFF"/>
            </a:solidFill>
            <a:ln w="10795" cap="flat" cmpd="sng" algn="ctr">
              <a:solidFill>
                <a:schemeClr val="bg1"/>
              </a:solid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29" name="Group 128">
            <a:extLst>
              <a:ext uri="{FF2B5EF4-FFF2-40B4-BE49-F238E27FC236}">
                <a16:creationId xmlns:a16="http://schemas.microsoft.com/office/drawing/2014/main" id="{E14DCF85-72A9-47EC-9B14-547A2FEC6FAC}"/>
              </a:ext>
            </a:extLst>
          </p:cNvPr>
          <p:cNvGrpSpPr/>
          <p:nvPr/>
        </p:nvGrpSpPr>
        <p:grpSpPr>
          <a:xfrm>
            <a:off x="6307086" y="4501193"/>
            <a:ext cx="173691" cy="171373"/>
            <a:chOff x="2860047" y="-599433"/>
            <a:chExt cx="434501" cy="434501"/>
          </a:xfrm>
        </p:grpSpPr>
        <p:sp>
          <p:nvSpPr>
            <p:cNvPr id="130" name="Teardrop 129">
              <a:extLst>
                <a:ext uri="{FF2B5EF4-FFF2-40B4-BE49-F238E27FC236}">
                  <a16:creationId xmlns:a16="http://schemas.microsoft.com/office/drawing/2014/main" id="{5C7AB40B-4522-4FB4-9435-FB6F9D3CB090}"/>
                </a:ext>
              </a:extLst>
            </p:cNvPr>
            <p:cNvSpPr/>
            <p:nvPr/>
          </p:nvSpPr>
          <p:spPr>
            <a:xfrm rot="8125434">
              <a:off x="2860047" y="-599433"/>
              <a:ext cx="434501" cy="434501"/>
            </a:xfrm>
            <a:prstGeom prst="teardrop">
              <a:avLst/>
            </a:prstGeom>
            <a:solidFill>
              <a:schemeClr val="accent2"/>
            </a:solidFill>
            <a:ln w="10795" cap="flat" cmpd="sng" algn="ctr">
              <a:solidFill>
                <a:schemeClr val="accent2"/>
              </a:solid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1" name="Oval 130">
              <a:extLst>
                <a:ext uri="{FF2B5EF4-FFF2-40B4-BE49-F238E27FC236}">
                  <a16:creationId xmlns:a16="http://schemas.microsoft.com/office/drawing/2014/main" id="{C3ABD044-A62E-44D1-A522-67A9083FE4A9}"/>
                </a:ext>
              </a:extLst>
            </p:cNvPr>
            <p:cNvSpPr/>
            <p:nvPr/>
          </p:nvSpPr>
          <p:spPr>
            <a:xfrm>
              <a:off x="2977201" y="-481238"/>
              <a:ext cx="198110" cy="198110"/>
            </a:xfrm>
            <a:prstGeom prst="ellipse">
              <a:avLst/>
            </a:prstGeom>
            <a:solidFill>
              <a:srgbClr val="FFFFFF"/>
            </a:solidFill>
            <a:ln w="10795" cap="flat" cmpd="sng" algn="ctr">
              <a:solidFill>
                <a:schemeClr val="bg1"/>
              </a:solid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32" name="Group 131">
            <a:extLst>
              <a:ext uri="{FF2B5EF4-FFF2-40B4-BE49-F238E27FC236}">
                <a16:creationId xmlns:a16="http://schemas.microsoft.com/office/drawing/2014/main" id="{CC5DC43B-48AA-4938-91BC-D8D726E76677}"/>
              </a:ext>
            </a:extLst>
          </p:cNvPr>
          <p:cNvGrpSpPr/>
          <p:nvPr/>
        </p:nvGrpSpPr>
        <p:grpSpPr>
          <a:xfrm>
            <a:off x="10059862" y="4501193"/>
            <a:ext cx="173691" cy="171373"/>
            <a:chOff x="2860047" y="-599433"/>
            <a:chExt cx="434501" cy="434501"/>
          </a:xfrm>
        </p:grpSpPr>
        <p:sp>
          <p:nvSpPr>
            <p:cNvPr id="133" name="Teardrop 132">
              <a:extLst>
                <a:ext uri="{FF2B5EF4-FFF2-40B4-BE49-F238E27FC236}">
                  <a16:creationId xmlns:a16="http://schemas.microsoft.com/office/drawing/2014/main" id="{BB79D46C-8349-4818-A515-E654F63AA564}"/>
                </a:ext>
              </a:extLst>
            </p:cNvPr>
            <p:cNvSpPr/>
            <p:nvPr/>
          </p:nvSpPr>
          <p:spPr>
            <a:xfrm rot="8125434">
              <a:off x="2860047" y="-599433"/>
              <a:ext cx="434501" cy="434501"/>
            </a:xfrm>
            <a:prstGeom prst="teardrop">
              <a:avLst/>
            </a:prstGeom>
            <a:solidFill>
              <a:schemeClr val="accent2"/>
            </a:solidFill>
            <a:ln w="10795" cap="flat" cmpd="sng" algn="ctr">
              <a:solidFill>
                <a:schemeClr val="accent2"/>
              </a:solid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4" name="Oval 133">
              <a:extLst>
                <a:ext uri="{FF2B5EF4-FFF2-40B4-BE49-F238E27FC236}">
                  <a16:creationId xmlns:a16="http://schemas.microsoft.com/office/drawing/2014/main" id="{460C0E2D-93DD-4D41-80BD-4876106B08C5}"/>
                </a:ext>
              </a:extLst>
            </p:cNvPr>
            <p:cNvSpPr/>
            <p:nvPr/>
          </p:nvSpPr>
          <p:spPr>
            <a:xfrm>
              <a:off x="2977201" y="-481238"/>
              <a:ext cx="198110" cy="198110"/>
            </a:xfrm>
            <a:prstGeom prst="ellipse">
              <a:avLst/>
            </a:prstGeom>
            <a:solidFill>
              <a:srgbClr val="FFFFFF"/>
            </a:solidFill>
            <a:ln w="10795" cap="flat" cmpd="sng" algn="ctr">
              <a:solidFill>
                <a:schemeClr val="bg1"/>
              </a:solid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35" name="Group 134">
            <a:extLst>
              <a:ext uri="{FF2B5EF4-FFF2-40B4-BE49-F238E27FC236}">
                <a16:creationId xmlns:a16="http://schemas.microsoft.com/office/drawing/2014/main" id="{3D9AADCB-2792-4590-9577-F7AB5E01AC71}"/>
              </a:ext>
            </a:extLst>
          </p:cNvPr>
          <p:cNvGrpSpPr/>
          <p:nvPr/>
        </p:nvGrpSpPr>
        <p:grpSpPr>
          <a:xfrm>
            <a:off x="10059862" y="3422416"/>
            <a:ext cx="173691" cy="171373"/>
            <a:chOff x="2860047" y="-599433"/>
            <a:chExt cx="434501" cy="434501"/>
          </a:xfrm>
        </p:grpSpPr>
        <p:sp>
          <p:nvSpPr>
            <p:cNvPr id="136" name="Teardrop 135">
              <a:extLst>
                <a:ext uri="{FF2B5EF4-FFF2-40B4-BE49-F238E27FC236}">
                  <a16:creationId xmlns:a16="http://schemas.microsoft.com/office/drawing/2014/main" id="{88F7B7C7-87D1-4226-B9A3-FC12EA617B3A}"/>
                </a:ext>
              </a:extLst>
            </p:cNvPr>
            <p:cNvSpPr/>
            <p:nvPr/>
          </p:nvSpPr>
          <p:spPr>
            <a:xfrm rot="8125434">
              <a:off x="2860047" y="-599433"/>
              <a:ext cx="434501" cy="434501"/>
            </a:xfrm>
            <a:prstGeom prst="teardrop">
              <a:avLst/>
            </a:prstGeom>
            <a:solidFill>
              <a:schemeClr val="accent2"/>
            </a:solidFill>
            <a:ln w="10795" cap="flat" cmpd="sng" algn="ctr">
              <a:solidFill>
                <a:schemeClr val="accent2"/>
              </a:solid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7" name="Oval 136">
              <a:extLst>
                <a:ext uri="{FF2B5EF4-FFF2-40B4-BE49-F238E27FC236}">
                  <a16:creationId xmlns:a16="http://schemas.microsoft.com/office/drawing/2014/main" id="{B7E5C085-F01A-4AF2-A736-865B17B523CC}"/>
                </a:ext>
              </a:extLst>
            </p:cNvPr>
            <p:cNvSpPr/>
            <p:nvPr/>
          </p:nvSpPr>
          <p:spPr>
            <a:xfrm>
              <a:off x="2977201" y="-481238"/>
              <a:ext cx="198110" cy="198110"/>
            </a:xfrm>
            <a:prstGeom prst="ellipse">
              <a:avLst/>
            </a:prstGeom>
            <a:solidFill>
              <a:srgbClr val="FFFFFF"/>
            </a:solidFill>
            <a:ln w="10795" cap="flat" cmpd="sng" algn="ctr">
              <a:solidFill>
                <a:schemeClr val="bg1"/>
              </a:solid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38" name="Group 137">
            <a:extLst>
              <a:ext uri="{FF2B5EF4-FFF2-40B4-BE49-F238E27FC236}">
                <a16:creationId xmlns:a16="http://schemas.microsoft.com/office/drawing/2014/main" id="{7A2C1D60-1057-40E9-ADCD-468EC4E271F6}"/>
              </a:ext>
            </a:extLst>
          </p:cNvPr>
          <p:cNvGrpSpPr/>
          <p:nvPr/>
        </p:nvGrpSpPr>
        <p:grpSpPr>
          <a:xfrm>
            <a:off x="10059862" y="2359663"/>
            <a:ext cx="173691" cy="171373"/>
            <a:chOff x="2860047" y="-599433"/>
            <a:chExt cx="434501" cy="434501"/>
          </a:xfrm>
        </p:grpSpPr>
        <p:sp>
          <p:nvSpPr>
            <p:cNvPr id="139" name="Teardrop 138">
              <a:extLst>
                <a:ext uri="{FF2B5EF4-FFF2-40B4-BE49-F238E27FC236}">
                  <a16:creationId xmlns:a16="http://schemas.microsoft.com/office/drawing/2014/main" id="{5BE4DA8E-D1B1-43BA-82E6-7CCB372FB841}"/>
                </a:ext>
              </a:extLst>
            </p:cNvPr>
            <p:cNvSpPr/>
            <p:nvPr/>
          </p:nvSpPr>
          <p:spPr>
            <a:xfrm rot="8125434">
              <a:off x="2860047" y="-599433"/>
              <a:ext cx="434501" cy="434501"/>
            </a:xfrm>
            <a:prstGeom prst="teardrop">
              <a:avLst/>
            </a:prstGeom>
            <a:solidFill>
              <a:schemeClr val="accent2"/>
            </a:solidFill>
            <a:ln w="10795" cap="flat" cmpd="sng" algn="ctr">
              <a:solidFill>
                <a:schemeClr val="accent2"/>
              </a:solid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0" name="Oval 139">
              <a:extLst>
                <a:ext uri="{FF2B5EF4-FFF2-40B4-BE49-F238E27FC236}">
                  <a16:creationId xmlns:a16="http://schemas.microsoft.com/office/drawing/2014/main" id="{4BFA3D73-F62B-49FA-A3E8-CFF15714DC17}"/>
                </a:ext>
              </a:extLst>
            </p:cNvPr>
            <p:cNvSpPr/>
            <p:nvPr/>
          </p:nvSpPr>
          <p:spPr>
            <a:xfrm>
              <a:off x="2977201" y="-481238"/>
              <a:ext cx="198110" cy="198110"/>
            </a:xfrm>
            <a:prstGeom prst="ellipse">
              <a:avLst/>
            </a:prstGeom>
            <a:solidFill>
              <a:srgbClr val="FFFFFF"/>
            </a:solidFill>
            <a:ln w="10795" cap="flat" cmpd="sng" algn="ctr">
              <a:solidFill>
                <a:schemeClr val="bg1"/>
              </a:solid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41" name="Group 140">
            <a:extLst>
              <a:ext uri="{FF2B5EF4-FFF2-40B4-BE49-F238E27FC236}">
                <a16:creationId xmlns:a16="http://schemas.microsoft.com/office/drawing/2014/main" id="{AA026111-A085-4362-9F58-07E95D299D2F}"/>
              </a:ext>
            </a:extLst>
          </p:cNvPr>
          <p:cNvGrpSpPr/>
          <p:nvPr/>
        </p:nvGrpSpPr>
        <p:grpSpPr>
          <a:xfrm>
            <a:off x="7471220" y="5769052"/>
            <a:ext cx="173691" cy="171373"/>
            <a:chOff x="2860047" y="-599433"/>
            <a:chExt cx="434501" cy="434501"/>
          </a:xfrm>
        </p:grpSpPr>
        <p:sp>
          <p:nvSpPr>
            <p:cNvPr id="142" name="Teardrop 141">
              <a:extLst>
                <a:ext uri="{FF2B5EF4-FFF2-40B4-BE49-F238E27FC236}">
                  <a16:creationId xmlns:a16="http://schemas.microsoft.com/office/drawing/2014/main" id="{F3DB2F42-FD26-420A-8F0E-57AA65CA39F8}"/>
                </a:ext>
              </a:extLst>
            </p:cNvPr>
            <p:cNvSpPr/>
            <p:nvPr/>
          </p:nvSpPr>
          <p:spPr>
            <a:xfrm rot="8125434">
              <a:off x="2860047" y="-599433"/>
              <a:ext cx="434501" cy="434501"/>
            </a:xfrm>
            <a:prstGeom prst="teardrop">
              <a:avLst/>
            </a:prstGeom>
            <a:solidFill>
              <a:schemeClr val="accent1"/>
            </a:solidFill>
            <a:ln w="10795" cap="flat" cmpd="sng" algn="ctr">
              <a:solidFill>
                <a:schemeClr val="accent1"/>
              </a:solid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3" name="Oval 142">
              <a:extLst>
                <a:ext uri="{FF2B5EF4-FFF2-40B4-BE49-F238E27FC236}">
                  <a16:creationId xmlns:a16="http://schemas.microsoft.com/office/drawing/2014/main" id="{39651EF0-7EB8-4530-945E-8F8D987985B1}"/>
                </a:ext>
              </a:extLst>
            </p:cNvPr>
            <p:cNvSpPr/>
            <p:nvPr/>
          </p:nvSpPr>
          <p:spPr>
            <a:xfrm>
              <a:off x="2977201" y="-481238"/>
              <a:ext cx="198110" cy="198110"/>
            </a:xfrm>
            <a:prstGeom prst="ellipse">
              <a:avLst/>
            </a:prstGeom>
            <a:solidFill>
              <a:schemeClr val="bg1"/>
            </a:solidFill>
            <a:ln w="10795" cap="flat" cmpd="sng" algn="ctr">
              <a:solidFill>
                <a:schemeClr val="bg1"/>
              </a:solid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144" name="Text Placeholder 2">
            <a:extLst>
              <a:ext uri="{FF2B5EF4-FFF2-40B4-BE49-F238E27FC236}">
                <a16:creationId xmlns:a16="http://schemas.microsoft.com/office/drawing/2014/main" id="{2F3B6211-198B-4404-B83B-1C0235B12D12}"/>
              </a:ext>
            </a:extLst>
          </p:cNvPr>
          <p:cNvSpPr>
            <a:spLocks noGrp="1"/>
          </p:cNvSpPr>
          <p:nvPr>
            <p:ph type="body" sz="quarter" idx="14"/>
          </p:nvPr>
        </p:nvSpPr>
        <p:spPr>
          <a:xfrm>
            <a:off x="914721" y="1353312"/>
            <a:ext cx="10362880" cy="475488"/>
          </a:xfrm>
        </p:spPr>
        <p:txBody>
          <a:bodyPr/>
          <a:lstStyle/>
          <a:p>
            <a:r>
              <a:rPr lang="en-US" dirty="0"/>
              <a:t>Subheader placeholder</a:t>
            </a:r>
          </a:p>
        </p:txBody>
      </p:sp>
    </p:spTree>
    <p:extLst>
      <p:ext uri="{BB962C8B-B14F-4D97-AF65-F5344CB8AC3E}">
        <p14:creationId xmlns:p14="http://schemas.microsoft.com/office/powerpoint/2010/main" val="3568075983"/>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CF2AB681-A71D-486C-8CD6-555CB5D76BA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0644" name="think-cell Slide" r:id="rId6" imgW="415" imgH="416" progId="TCLayout.ActiveDocument.1">
                  <p:embed/>
                </p:oleObj>
              </mc:Choice>
              <mc:Fallback>
                <p:oleObj name="think-cell Slide" r:id="rId6" imgW="415" imgH="416" progId="TCLayout.ActiveDocument.1">
                  <p:embed/>
                  <p:pic>
                    <p:nvPicPr>
                      <p:cNvPr id="44" name="Object 43" hidden="1">
                        <a:extLst>
                          <a:ext uri="{FF2B5EF4-FFF2-40B4-BE49-F238E27FC236}">
                            <a16:creationId xmlns:a16="http://schemas.microsoft.com/office/drawing/2014/main" id="{CF2AB681-A71D-486C-8CD6-555CB5D76BA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3" name="Rectangle 42" hidden="1">
            <a:extLst>
              <a:ext uri="{FF2B5EF4-FFF2-40B4-BE49-F238E27FC236}">
                <a16:creationId xmlns:a16="http://schemas.microsoft.com/office/drawing/2014/main" id="{679F9A0C-B1C0-4F3F-A2DA-68113FDC34E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9E3FDE18-CF93-40B7-A18E-3D3AB293F1C2}"/>
              </a:ext>
            </a:extLst>
          </p:cNvPr>
          <p:cNvSpPr>
            <a:spLocks noGrp="1"/>
          </p:cNvSpPr>
          <p:nvPr>
            <p:ph type="title"/>
          </p:nvPr>
        </p:nvSpPr>
        <p:spPr/>
        <p:txBody>
          <a:bodyPr/>
          <a:lstStyle/>
          <a:p>
            <a:r>
              <a:rPr lang="en-US" dirty="0"/>
              <a:t>Future State Implementation Roadmap</a:t>
            </a:r>
          </a:p>
        </p:txBody>
      </p:sp>
      <p:sp>
        <p:nvSpPr>
          <p:cNvPr id="3" name="Text Placeholder 2">
            <a:extLst>
              <a:ext uri="{FF2B5EF4-FFF2-40B4-BE49-F238E27FC236}">
                <a16:creationId xmlns:a16="http://schemas.microsoft.com/office/drawing/2014/main" id="{E33B35C2-F0D4-46D8-8590-226CE720B5FD}"/>
              </a:ext>
            </a:extLst>
          </p:cNvPr>
          <p:cNvSpPr>
            <a:spLocks noGrp="1"/>
          </p:cNvSpPr>
          <p:nvPr>
            <p:ph type="body" sz="quarter" idx="14"/>
          </p:nvPr>
        </p:nvSpPr>
        <p:spPr/>
        <p:txBody>
          <a:bodyPr/>
          <a:lstStyle/>
          <a:p>
            <a:r>
              <a:rPr lang="en-US" dirty="0"/>
              <a:t>Subheader placeholder</a:t>
            </a:r>
          </a:p>
        </p:txBody>
      </p:sp>
      <p:sp>
        <p:nvSpPr>
          <p:cNvPr id="4" name="Text Placeholder 3">
            <a:extLst>
              <a:ext uri="{FF2B5EF4-FFF2-40B4-BE49-F238E27FC236}">
                <a16:creationId xmlns:a16="http://schemas.microsoft.com/office/drawing/2014/main" id="{C1E5722C-D639-4C29-9A5E-62545C3B81DF}"/>
              </a:ext>
            </a:extLst>
          </p:cNvPr>
          <p:cNvSpPr>
            <a:spLocks noGrp="1"/>
          </p:cNvSpPr>
          <p:nvPr>
            <p:ph type="body" sz="quarter" idx="15"/>
          </p:nvPr>
        </p:nvSpPr>
        <p:spPr/>
        <p:txBody>
          <a:bodyPr/>
          <a:lstStyle/>
          <a:p>
            <a:r>
              <a:rPr lang="en-US" dirty="0"/>
              <a:t>Plans, timelines and roadmaps</a:t>
            </a:r>
          </a:p>
        </p:txBody>
      </p:sp>
      <p:graphicFrame>
        <p:nvGraphicFramePr>
          <p:cNvPr id="5" name="Table 4">
            <a:extLst>
              <a:ext uri="{FF2B5EF4-FFF2-40B4-BE49-F238E27FC236}">
                <a16:creationId xmlns:a16="http://schemas.microsoft.com/office/drawing/2014/main" id="{0DA328EC-6700-47E8-9B1A-55D1717FCEEB}"/>
              </a:ext>
            </a:extLst>
          </p:cNvPr>
          <p:cNvGraphicFramePr>
            <a:graphicFrameLocks noGrp="1"/>
          </p:cNvGraphicFramePr>
          <p:nvPr/>
        </p:nvGraphicFramePr>
        <p:xfrm>
          <a:off x="879772" y="2034186"/>
          <a:ext cx="10579755" cy="4526280"/>
        </p:xfrm>
        <a:graphic>
          <a:graphicData uri="http://schemas.openxmlformats.org/drawingml/2006/table">
            <a:tbl>
              <a:tblPr firstRow="1" bandRow="1">
                <a:tableStyleId>{5C22544A-7EE6-4342-B048-85BDC9FD1C3A}</a:tableStyleId>
              </a:tblPr>
              <a:tblGrid>
                <a:gridCol w="4736740">
                  <a:extLst>
                    <a:ext uri="{9D8B030D-6E8A-4147-A177-3AD203B41FA5}">
                      <a16:colId xmlns:a16="http://schemas.microsoft.com/office/drawing/2014/main" val="1513864576"/>
                    </a:ext>
                  </a:extLst>
                </a:gridCol>
                <a:gridCol w="1067562">
                  <a:extLst>
                    <a:ext uri="{9D8B030D-6E8A-4147-A177-3AD203B41FA5}">
                      <a16:colId xmlns:a16="http://schemas.microsoft.com/office/drawing/2014/main" val="2556691916"/>
                    </a:ext>
                  </a:extLst>
                </a:gridCol>
                <a:gridCol w="1067562">
                  <a:extLst>
                    <a:ext uri="{9D8B030D-6E8A-4147-A177-3AD203B41FA5}">
                      <a16:colId xmlns:a16="http://schemas.microsoft.com/office/drawing/2014/main" val="3959318924"/>
                    </a:ext>
                  </a:extLst>
                </a:gridCol>
                <a:gridCol w="1067562">
                  <a:extLst>
                    <a:ext uri="{9D8B030D-6E8A-4147-A177-3AD203B41FA5}">
                      <a16:colId xmlns:a16="http://schemas.microsoft.com/office/drawing/2014/main" val="770214799"/>
                    </a:ext>
                  </a:extLst>
                </a:gridCol>
                <a:gridCol w="1067562">
                  <a:extLst>
                    <a:ext uri="{9D8B030D-6E8A-4147-A177-3AD203B41FA5}">
                      <a16:colId xmlns:a16="http://schemas.microsoft.com/office/drawing/2014/main" val="3108044421"/>
                    </a:ext>
                  </a:extLst>
                </a:gridCol>
                <a:gridCol w="1572767">
                  <a:extLst>
                    <a:ext uri="{9D8B030D-6E8A-4147-A177-3AD203B41FA5}">
                      <a16:colId xmlns:a16="http://schemas.microsoft.com/office/drawing/2014/main" val="810010294"/>
                    </a:ext>
                  </a:extLst>
                </a:gridCol>
              </a:tblGrid>
              <a:tr h="319500">
                <a:tc>
                  <a:txBody>
                    <a:bodyPr/>
                    <a:lstStyle/>
                    <a:p>
                      <a:pPr marL="228600" indent="-228600">
                        <a:buFont typeface="+mj-lt"/>
                        <a:buAutoNum type="arabicPeriod"/>
                      </a:pPr>
                      <a:r>
                        <a:rPr lang="en-US" sz="900" b="0" dirty="0">
                          <a:solidFill>
                            <a:schemeClr val="tx1"/>
                          </a:solidFill>
                        </a:rPr>
                        <a:t>Identify new and existing roles and capabilities needed to support the policy in the future</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b="0"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b="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b="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b="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b="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52146595"/>
                  </a:ext>
                </a:extLst>
              </a:tr>
              <a:tr h="199688">
                <a:tc>
                  <a:txBody>
                    <a:bodyPr/>
                    <a:lstStyle/>
                    <a:p>
                      <a:pPr marL="228600" indent="-228600">
                        <a:buFont typeface="+mj-lt"/>
                        <a:buAutoNum type="arabicPeriod" startAt="2"/>
                      </a:pPr>
                      <a:r>
                        <a:rPr lang="en-US" sz="900" dirty="0">
                          <a:solidFill>
                            <a:schemeClr val="tx1"/>
                          </a:solidFill>
                        </a:rPr>
                        <a:t>Establish governance approach</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74969314"/>
                  </a:ext>
                </a:extLst>
              </a:tr>
              <a:tr h="199688">
                <a:tc>
                  <a:txBody>
                    <a:bodyPr/>
                    <a:lstStyle/>
                    <a:p>
                      <a:pPr marL="228600" indent="-228600">
                        <a:buFont typeface="+mj-lt"/>
                        <a:buAutoNum type="arabicPeriod" startAt="3"/>
                      </a:pPr>
                      <a:r>
                        <a:rPr lang="en-US" sz="900" dirty="0">
                          <a:solidFill>
                            <a:schemeClr val="tx1"/>
                          </a:solidFill>
                        </a:rPr>
                        <a:t>Align incentives to promote policy effectiveness and compliance</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53111134"/>
                  </a:ext>
                </a:extLst>
              </a:tr>
              <a:tr h="0">
                <a:tc>
                  <a:txBody>
                    <a:bodyPr/>
                    <a:lstStyle/>
                    <a:p>
                      <a:pPr marL="228600" indent="-228600">
                        <a:buFont typeface="+mj-lt"/>
                        <a:buAutoNum type="arabicPeriod" startAt="4"/>
                      </a:pPr>
                      <a:r>
                        <a:rPr lang="en-US" sz="900" dirty="0">
                          <a:solidFill>
                            <a:schemeClr val="tx1"/>
                          </a:solidFill>
                        </a:rPr>
                        <a:t>Revise current state processes to accommodate new policy</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82181538"/>
                  </a:ext>
                </a:extLst>
              </a:tr>
              <a:tr h="176981">
                <a:tc>
                  <a:txBody>
                    <a:bodyPr/>
                    <a:lstStyle/>
                    <a:p>
                      <a:pPr marL="228600" indent="-228600">
                        <a:buFont typeface="+mj-lt"/>
                        <a:buAutoNum type="arabicPeriod" startAt="5"/>
                      </a:pPr>
                      <a:r>
                        <a:rPr lang="en-US" sz="900" dirty="0">
                          <a:solidFill>
                            <a:schemeClr val="tx1"/>
                          </a:solidFill>
                        </a:rPr>
                        <a:t>Introduce controls for</a:t>
                      </a:r>
                      <a:r>
                        <a:rPr lang="en-US" sz="900" baseline="0" dirty="0">
                          <a:solidFill>
                            <a:schemeClr val="tx1"/>
                          </a:solidFill>
                        </a:rPr>
                        <a:t> customer e</a:t>
                      </a:r>
                      <a:r>
                        <a:rPr lang="en-US" sz="900" dirty="0">
                          <a:solidFill>
                            <a:schemeClr val="tx1"/>
                          </a:solidFill>
                        </a:rPr>
                        <a:t>xceptions to the policy</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5049552"/>
                  </a:ext>
                </a:extLst>
              </a:tr>
              <a:tr h="117697">
                <a:tc>
                  <a:txBody>
                    <a:bodyPr/>
                    <a:lstStyle/>
                    <a:p>
                      <a:pPr marL="228600" indent="-228600">
                        <a:buFont typeface="+mj-lt"/>
                        <a:buAutoNum type="arabicPeriod" startAt="6"/>
                      </a:pPr>
                      <a:r>
                        <a:rPr lang="en-US" sz="900" dirty="0">
                          <a:solidFill>
                            <a:schemeClr val="tx1"/>
                          </a:solidFill>
                        </a:rPr>
                        <a:t>Finalize Policy Statemen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53198466"/>
                  </a:ext>
                </a:extLst>
              </a:tr>
              <a:tr h="226180">
                <a:tc>
                  <a:txBody>
                    <a:bodyPr/>
                    <a:lstStyle/>
                    <a:p>
                      <a:pPr marL="228600" indent="-228600">
                        <a:buFont typeface="+mj-lt"/>
                        <a:buAutoNum type="arabicPeriod" startAt="7"/>
                      </a:pPr>
                      <a:r>
                        <a:rPr lang="en-US" sz="900" dirty="0">
                          <a:solidFill>
                            <a:schemeClr val="tx1"/>
                          </a:solidFill>
                        </a:rPr>
                        <a:t>Determine privacy of data and customer legal requirement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19144327"/>
                  </a:ext>
                </a:extLst>
              </a:tr>
              <a:tr h="199688">
                <a:tc>
                  <a:txBody>
                    <a:bodyPr/>
                    <a:lstStyle/>
                    <a:p>
                      <a:pPr marL="228600" indent="-228600">
                        <a:buFont typeface="+mj-lt"/>
                        <a:buAutoNum type="arabicPeriod" startAt="8"/>
                      </a:pPr>
                      <a:r>
                        <a:rPr lang="en-US" sz="900" dirty="0">
                          <a:solidFill>
                            <a:schemeClr val="tx1"/>
                          </a:solidFill>
                        </a:rPr>
                        <a:t>Determine customer rollout cadence and timing</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17043092"/>
                  </a:ext>
                </a:extLst>
              </a:tr>
              <a:tr h="199688">
                <a:tc>
                  <a:txBody>
                    <a:bodyPr/>
                    <a:lstStyle/>
                    <a:p>
                      <a:pPr marL="228600" indent="-228600">
                        <a:buFont typeface="+mj-lt"/>
                        <a:buAutoNum type="arabicPeriod" startAt="9"/>
                      </a:pPr>
                      <a:r>
                        <a:rPr lang="en-US" sz="900" dirty="0">
                          <a:solidFill>
                            <a:schemeClr val="tx1"/>
                          </a:solidFill>
                        </a:rPr>
                        <a:t>Outline communication strategy of new policy for Sale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53150648"/>
                  </a:ext>
                </a:extLst>
              </a:tr>
              <a:tr h="226180">
                <a:tc>
                  <a:txBody>
                    <a:bodyPr/>
                    <a:lstStyle/>
                    <a:p>
                      <a:pPr marL="228600" indent="-228600">
                        <a:buFont typeface="+mj-lt"/>
                        <a:buAutoNum type="arabicPeriod" startAt="10"/>
                      </a:pPr>
                      <a:r>
                        <a:rPr lang="en-US" sz="900" dirty="0">
                          <a:solidFill>
                            <a:schemeClr val="tx1"/>
                          </a:solidFill>
                        </a:rPr>
                        <a:t>Develop training materials to enable sales to communicate new policy</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73136535"/>
                  </a:ext>
                </a:extLst>
              </a:tr>
              <a:tr h="319500">
                <a:tc>
                  <a:txBody>
                    <a:bodyPr/>
                    <a:lstStyle/>
                    <a:p>
                      <a:pPr marL="228600" indent="-228600">
                        <a:buFont typeface="+mj-lt"/>
                        <a:buAutoNum type="arabicPeriod" startAt="11"/>
                      </a:pPr>
                      <a:r>
                        <a:rPr lang="en-US" sz="900" dirty="0">
                          <a:solidFill>
                            <a:schemeClr val="tx1"/>
                          </a:solidFill>
                        </a:rPr>
                        <a:t>Develop </a:t>
                      </a:r>
                      <a:r>
                        <a:rPr lang="en-US" sz="900" baseline="0" dirty="0">
                          <a:solidFill>
                            <a:schemeClr val="tx1"/>
                          </a:solidFill>
                        </a:rPr>
                        <a:t>and distribute customer “sell-in toolkits” for Sales use during negotiation with customers</a:t>
                      </a:r>
                      <a:endParaRPr lang="en-US" sz="900"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76830179"/>
                  </a:ext>
                </a:extLst>
              </a:tr>
              <a:tr h="199688">
                <a:tc>
                  <a:txBody>
                    <a:bodyPr/>
                    <a:lstStyle/>
                    <a:p>
                      <a:pPr marL="228600" indent="-228600">
                        <a:buFont typeface="+mj-lt"/>
                        <a:buAutoNum type="arabicPeriod" startAt="12"/>
                      </a:pPr>
                      <a:r>
                        <a:rPr lang="en-US" sz="900" dirty="0">
                          <a:solidFill>
                            <a:schemeClr val="tx1"/>
                          </a:solidFill>
                        </a:rPr>
                        <a:t>Manage process of updating master data</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28261212"/>
                  </a:ext>
                </a:extLst>
              </a:tr>
              <a:tr h="199688">
                <a:tc>
                  <a:txBody>
                    <a:bodyPr/>
                    <a:lstStyle/>
                    <a:p>
                      <a:pPr marL="228600" indent="-228600">
                        <a:buFont typeface="+mj-lt"/>
                        <a:buAutoNum type="arabicPeriod" startAt="13"/>
                      </a:pPr>
                      <a:r>
                        <a:rPr lang="en-US" sz="900" dirty="0">
                          <a:solidFill>
                            <a:schemeClr val="tx1"/>
                          </a:solidFill>
                        </a:rPr>
                        <a:t>Define business rules for SAP condition record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17091030"/>
                  </a:ext>
                </a:extLst>
              </a:tr>
              <a:tr h="319500">
                <a:tc>
                  <a:txBody>
                    <a:bodyPr/>
                    <a:lstStyle/>
                    <a:p>
                      <a:pPr marL="228600" indent="-228600">
                        <a:buFont typeface="+mj-lt"/>
                        <a:buAutoNum type="arabicPeriod" startAt="14"/>
                      </a:pPr>
                      <a:r>
                        <a:rPr lang="en-US" sz="900" dirty="0">
                          <a:solidFill>
                            <a:schemeClr val="tx1"/>
                          </a:solidFill>
                        </a:rPr>
                        <a:t>Develop self-service capabilities to manage and analyze large transactional data pulls for ongoing analysis </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70351048"/>
                  </a:ext>
                </a:extLst>
              </a:tr>
              <a:tr h="199688">
                <a:tc>
                  <a:txBody>
                    <a:bodyPr/>
                    <a:lstStyle/>
                    <a:p>
                      <a:pPr marL="228600" indent="-228600">
                        <a:buFont typeface="+mj-lt"/>
                        <a:buAutoNum type="arabicPeriod" startAt="15"/>
                      </a:pPr>
                      <a:r>
                        <a:rPr lang="en-US" sz="900" dirty="0">
                          <a:solidFill>
                            <a:schemeClr val="tx1"/>
                          </a:solidFill>
                        </a:rPr>
                        <a:t>Define metrics for measuring policy effectiveness and compliance</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21773748"/>
                  </a:ext>
                </a:extLst>
              </a:tr>
              <a:tr h="199688">
                <a:tc>
                  <a:txBody>
                    <a:bodyPr/>
                    <a:lstStyle/>
                    <a:p>
                      <a:pPr marL="228600" indent="-228600">
                        <a:buFont typeface="+mj-lt"/>
                        <a:buAutoNum type="arabicPeriod" startAt="16"/>
                      </a:pPr>
                      <a:r>
                        <a:rPr lang="en-US" sz="900" dirty="0">
                          <a:solidFill>
                            <a:schemeClr val="tx1"/>
                          </a:solidFill>
                        </a:rPr>
                        <a:t>Define new reports to measure policy effectivenes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25187530"/>
                  </a:ext>
                </a:extLst>
              </a:tr>
              <a:tr h="199688">
                <a:tc>
                  <a:txBody>
                    <a:bodyPr/>
                    <a:lstStyle/>
                    <a:p>
                      <a:pPr marL="228600" indent="-228600">
                        <a:buFont typeface="+mj-lt"/>
                        <a:buAutoNum type="arabicPeriod" startAt="17"/>
                      </a:pPr>
                      <a:r>
                        <a:rPr lang="en-US" sz="900" dirty="0">
                          <a:solidFill>
                            <a:schemeClr val="tx1"/>
                          </a:solidFill>
                        </a:rPr>
                        <a:t>Enhance current SAP environment to incorporate</a:t>
                      </a:r>
                      <a:r>
                        <a:rPr lang="en-US" sz="900" baseline="0" dirty="0">
                          <a:solidFill>
                            <a:schemeClr val="tx1"/>
                          </a:solidFill>
                        </a:rPr>
                        <a:t> new </a:t>
                      </a:r>
                      <a:r>
                        <a:rPr lang="en-US" sz="900" dirty="0">
                          <a:solidFill>
                            <a:schemeClr val="tx1"/>
                          </a:solidFill>
                        </a:rPr>
                        <a:t>policy</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50853286"/>
                  </a:ext>
                </a:extLst>
              </a:tr>
              <a:tr h="199688">
                <a:tc>
                  <a:txBody>
                    <a:bodyPr/>
                    <a:lstStyle/>
                    <a:p>
                      <a:pPr marL="228600" indent="-228600">
                        <a:buFont typeface="+mj-lt"/>
                        <a:buAutoNum type="arabicPeriod" startAt="18"/>
                      </a:pPr>
                      <a:r>
                        <a:rPr lang="en-US" sz="900" dirty="0">
                          <a:solidFill>
                            <a:schemeClr val="tx1"/>
                          </a:solidFill>
                        </a:rPr>
                        <a:t>Incorporate new approvals into current Salesforce proces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900" dirty="0">
                        <a:solidFill>
                          <a:schemeClr val="tx1"/>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22547219"/>
                  </a:ext>
                </a:extLst>
              </a:tr>
            </a:tbl>
          </a:graphicData>
        </a:graphic>
      </p:graphicFrame>
      <p:sp>
        <p:nvSpPr>
          <p:cNvPr id="6" name="Rectangle 5">
            <a:extLst>
              <a:ext uri="{FF2B5EF4-FFF2-40B4-BE49-F238E27FC236}">
                <a16:creationId xmlns:a16="http://schemas.microsoft.com/office/drawing/2014/main" id="{0CC3FB56-0AD6-4133-BF0E-08D20CB032B0}"/>
              </a:ext>
            </a:extLst>
          </p:cNvPr>
          <p:cNvSpPr/>
          <p:nvPr/>
        </p:nvSpPr>
        <p:spPr>
          <a:xfrm>
            <a:off x="5238358" y="1681029"/>
            <a:ext cx="860070" cy="276999"/>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January 2018</a:t>
            </a:r>
          </a:p>
        </p:txBody>
      </p:sp>
      <p:sp>
        <p:nvSpPr>
          <p:cNvPr id="7" name="Rectangle 6">
            <a:extLst>
              <a:ext uri="{FF2B5EF4-FFF2-40B4-BE49-F238E27FC236}">
                <a16:creationId xmlns:a16="http://schemas.microsoft.com/office/drawing/2014/main" id="{1900F64C-D8DD-4335-AB48-6F7004BA547E}"/>
              </a:ext>
            </a:extLst>
          </p:cNvPr>
          <p:cNvSpPr/>
          <p:nvPr/>
        </p:nvSpPr>
        <p:spPr>
          <a:xfrm>
            <a:off x="7344524" y="1681029"/>
            <a:ext cx="860070" cy="276999"/>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Ju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2018</a:t>
            </a:r>
          </a:p>
        </p:txBody>
      </p:sp>
      <p:sp>
        <p:nvSpPr>
          <p:cNvPr id="8" name="Rectangle 7">
            <a:extLst>
              <a:ext uri="{FF2B5EF4-FFF2-40B4-BE49-F238E27FC236}">
                <a16:creationId xmlns:a16="http://schemas.microsoft.com/office/drawing/2014/main" id="{0269DB5F-1929-439F-A6E9-DEFD5F858B2F}"/>
              </a:ext>
            </a:extLst>
          </p:cNvPr>
          <p:cNvSpPr/>
          <p:nvPr/>
        </p:nvSpPr>
        <p:spPr>
          <a:xfrm>
            <a:off x="9482337" y="1681029"/>
            <a:ext cx="860070" cy="276999"/>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December 2018</a:t>
            </a:r>
          </a:p>
        </p:txBody>
      </p:sp>
      <p:sp>
        <p:nvSpPr>
          <p:cNvPr id="9" name="Rectangle 8">
            <a:extLst>
              <a:ext uri="{FF2B5EF4-FFF2-40B4-BE49-F238E27FC236}">
                <a16:creationId xmlns:a16="http://schemas.microsoft.com/office/drawing/2014/main" id="{458E1A86-FCD3-4296-9987-1D53A4D0A31D}"/>
              </a:ext>
            </a:extLst>
          </p:cNvPr>
          <p:cNvSpPr/>
          <p:nvPr/>
        </p:nvSpPr>
        <p:spPr>
          <a:xfrm>
            <a:off x="10952620" y="1681029"/>
            <a:ext cx="860070" cy="276999"/>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Ju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2019</a:t>
            </a:r>
          </a:p>
        </p:txBody>
      </p:sp>
      <p:sp>
        <p:nvSpPr>
          <p:cNvPr id="10" name="Rectangle 9">
            <a:extLst>
              <a:ext uri="{FF2B5EF4-FFF2-40B4-BE49-F238E27FC236}">
                <a16:creationId xmlns:a16="http://schemas.microsoft.com/office/drawing/2014/main" id="{5209D195-B05C-457F-A137-57313B9BA8B8}"/>
              </a:ext>
            </a:extLst>
          </p:cNvPr>
          <p:cNvSpPr/>
          <p:nvPr/>
        </p:nvSpPr>
        <p:spPr>
          <a:xfrm>
            <a:off x="5616422" y="2155164"/>
            <a:ext cx="250650" cy="128016"/>
          </a:xfrm>
          <a:prstGeom prst="rect">
            <a:avLst/>
          </a:prstGeom>
          <a:solidFill>
            <a:schemeClr val="accent3"/>
          </a:solidFill>
          <a:ln w="9525" cap="flat" cmpd="sng" algn="ctr">
            <a:noFill/>
            <a:prstDash val="solid"/>
          </a:ln>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1" name="Rectangle 10">
            <a:extLst>
              <a:ext uri="{FF2B5EF4-FFF2-40B4-BE49-F238E27FC236}">
                <a16:creationId xmlns:a16="http://schemas.microsoft.com/office/drawing/2014/main" id="{468D15A3-0CE4-4C24-887F-27DA5D4A6F1F}"/>
              </a:ext>
            </a:extLst>
          </p:cNvPr>
          <p:cNvSpPr/>
          <p:nvPr/>
        </p:nvSpPr>
        <p:spPr>
          <a:xfrm>
            <a:off x="5986761" y="2910515"/>
            <a:ext cx="1043152" cy="128016"/>
          </a:xfrm>
          <a:prstGeom prst="rect">
            <a:avLst/>
          </a:prstGeom>
          <a:solidFill>
            <a:schemeClr val="accent2"/>
          </a:solidFill>
          <a:ln w="9525" cap="flat" cmpd="sng" algn="ctr">
            <a:noFill/>
            <a:prstDash val="solid"/>
          </a:ln>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2" name="Rectangle 11">
            <a:extLst>
              <a:ext uri="{FF2B5EF4-FFF2-40B4-BE49-F238E27FC236}">
                <a16:creationId xmlns:a16="http://schemas.microsoft.com/office/drawing/2014/main" id="{5FF25947-1EEB-46C8-B032-5089931956E3}"/>
              </a:ext>
            </a:extLst>
          </p:cNvPr>
          <p:cNvSpPr/>
          <p:nvPr/>
        </p:nvSpPr>
        <p:spPr>
          <a:xfrm>
            <a:off x="5970080" y="3366211"/>
            <a:ext cx="1418408" cy="128016"/>
          </a:xfrm>
          <a:prstGeom prst="rect">
            <a:avLst/>
          </a:prstGeom>
          <a:solidFill>
            <a:schemeClr val="accent4"/>
          </a:solidFill>
          <a:ln w="9525" cap="flat" cmpd="sng" algn="ctr">
            <a:noFill/>
            <a:prstDash val="solid"/>
          </a:ln>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3" name="Rectangle 12">
            <a:extLst>
              <a:ext uri="{FF2B5EF4-FFF2-40B4-BE49-F238E27FC236}">
                <a16:creationId xmlns:a16="http://schemas.microsoft.com/office/drawing/2014/main" id="{EA8DC27A-EBFE-4831-8846-C798C2470891}"/>
              </a:ext>
            </a:extLst>
          </p:cNvPr>
          <p:cNvSpPr/>
          <p:nvPr/>
        </p:nvSpPr>
        <p:spPr>
          <a:xfrm>
            <a:off x="5978215" y="3588721"/>
            <a:ext cx="1759104" cy="128016"/>
          </a:xfrm>
          <a:prstGeom prst="rect">
            <a:avLst/>
          </a:prstGeom>
          <a:solidFill>
            <a:schemeClr val="accent4"/>
          </a:solidFill>
          <a:ln w="9525" cap="flat" cmpd="sng" algn="ctr">
            <a:noFill/>
            <a:prstDash val="solid"/>
          </a:ln>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4" name="Rectangle 13">
            <a:extLst>
              <a:ext uri="{FF2B5EF4-FFF2-40B4-BE49-F238E27FC236}">
                <a16:creationId xmlns:a16="http://schemas.microsoft.com/office/drawing/2014/main" id="{317423C8-A69F-4A77-AB01-7948A1814D11}"/>
              </a:ext>
            </a:extLst>
          </p:cNvPr>
          <p:cNvSpPr/>
          <p:nvPr/>
        </p:nvSpPr>
        <p:spPr>
          <a:xfrm>
            <a:off x="5978651" y="3823059"/>
            <a:ext cx="1058226" cy="128016"/>
          </a:xfrm>
          <a:prstGeom prst="rect">
            <a:avLst/>
          </a:prstGeom>
          <a:solidFill>
            <a:schemeClr val="accent4"/>
          </a:solidFill>
          <a:ln w="9525" cap="flat" cmpd="sng" algn="ctr">
            <a:noFill/>
            <a:prstDash val="solid"/>
          </a:ln>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5" name="Rectangle 14">
            <a:extLst>
              <a:ext uri="{FF2B5EF4-FFF2-40B4-BE49-F238E27FC236}">
                <a16:creationId xmlns:a16="http://schemas.microsoft.com/office/drawing/2014/main" id="{FBA54DCB-183B-4F62-A96C-6288E88DF50F}"/>
              </a:ext>
            </a:extLst>
          </p:cNvPr>
          <p:cNvSpPr/>
          <p:nvPr/>
        </p:nvSpPr>
        <p:spPr>
          <a:xfrm>
            <a:off x="6677217" y="4286039"/>
            <a:ext cx="2446544" cy="128016"/>
          </a:xfrm>
          <a:prstGeom prst="rect">
            <a:avLst/>
          </a:prstGeom>
          <a:solidFill>
            <a:schemeClr val="accent4"/>
          </a:solidFill>
          <a:ln w="9525" cap="flat" cmpd="sng" algn="ctr">
            <a:noFill/>
            <a:prstDash val="solid"/>
          </a:ln>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CD3FDBFA-D662-4850-80F0-867985B4D71F}"/>
              </a:ext>
            </a:extLst>
          </p:cNvPr>
          <p:cNvSpPr/>
          <p:nvPr/>
        </p:nvSpPr>
        <p:spPr>
          <a:xfrm>
            <a:off x="5971705" y="5105127"/>
            <a:ext cx="1765614" cy="128016"/>
          </a:xfrm>
          <a:prstGeom prst="rect">
            <a:avLst/>
          </a:prstGeom>
          <a:solidFill>
            <a:schemeClr val="accent5"/>
          </a:solidFill>
          <a:ln w="9525" cap="flat" cmpd="sng" algn="ctr">
            <a:noFill/>
            <a:prstDash val="solid"/>
          </a:ln>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7" name="Right Arrow 136">
            <a:extLst>
              <a:ext uri="{FF2B5EF4-FFF2-40B4-BE49-F238E27FC236}">
                <a16:creationId xmlns:a16="http://schemas.microsoft.com/office/drawing/2014/main" id="{D1CC79A1-BEBB-44DC-8AD9-6D74B30E80D8}"/>
              </a:ext>
            </a:extLst>
          </p:cNvPr>
          <p:cNvSpPr/>
          <p:nvPr/>
        </p:nvSpPr>
        <p:spPr>
          <a:xfrm>
            <a:off x="7754248" y="5344078"/>
            <a:ext cx="3808287" cy="256032"/>
          </a:xfrm>
          <a:prstGeom prst="rightArrow">
            <a:avLst/>
          </a:prstGeom>
          <a:solidFill>
            <a:schemeClr val="accent5"/>
          </a:solidFill>
          <a:ln w="9525" cap="flat" cmpd="sng" algn="ctr">
            <a:noFill/>
            <a:prstDash val="solid"/>
          </a:ln>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211601C6-46C2-48B9-A190-CA65F87B5BBE}"/>
              </a:ext>
            </a:extLst>
          </p:cNvPr>
          <p:cNvSpPr/>
          <p:nvPr/>
        </p:nvSpPr>
        <p:spPr>
          <a:xfrm>
            <a:off x="6677217" y="5706106"/>
            <a:ext cx="1451935" cy="128016"/>
          </a:xfrm>
          <a:prstGeom prst="rect">
            <a:avLst/>
          </a:prstGeom>
          <a:solidFill>
            <a:schemeClr val="bg1">
              <a:lumMod val="65000"/>
            </a:schemeClr>
          </a:solidFill>
          <a:ln w="9525" cap="flat" cmpd="sng" algn="ctr">
            <a:noFill/>
            <a:prstDash val="solid"/>
          </a:ln>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9" name="Rectangle 18">
            <a:extLst>
              <a:ext uri="{FF2B5EF4-FFF2-40B4-BE49-F238E27FC236}">
                <a16:creationId xmlns:a16="http://schemas.microsoft.com/office/drawing/2014/main" id="{BA5ACBCF-C94E-4419-B70F-595F853A9169}"/>
              </a:ext>
            </a:extLst>
          </p:cNvPr>
          <p:cNvSpPr/>
          <p:nvPr/>
        </p:nvSpPr>
        <p:spPr>
          <a:xfrm>
            <a:off x="7030078" y="5933328"/>
            <a:ext cx="2856682" cy="128016"/>
          </a:xfrm>
          <a:prstGeom prst="rect">
            <a:avLst/>
          </a:prstGeom>
          <a:solidFill>
            <a:schemeClr val="bg1">
              <a:lumMod val="65000"/>
            </a:schemeClr>
          </a:solidFill>
          <a:ln w="9525" cap="flat" cmpd="sng" algn="ctr">
            <a:noFill/>
            <a:prstDash val="solid"/>
          </a:ln>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Rectangle 19">
            <a:extLst>
              <a:ext uri="{FF2B5EF4-FFF2-40B4-BE49-F238E27FC236}">
                <a16:creationId xmlns:a16="http://schemas.microsoft.com/office/drawing/2014/main" id="{B9BE9608-F069-46DD-A825-52651910C817}"/>
              </a:ext>
            </a:extLst>
          </p:cNvPr>
          <p:cNvSpPr/>
          <p:nvPr/>
        </p:nvSpPr>
        <p:spPr>
          <a:xfrm>
            <a:off x="5978215" y="6161160"/>
            <a:ext cx="1776033" cy="128016"/>
          </a:xfrm>
          <a:prstGeom prst="rect">
            <a:avLst/>
          </a:prstGeom>
          <a:solidFill>
            <a:schemeClr val="accent1"/>
          </a:solidFill>
          <a:ln w="9525" cap="flat" cmpd="sng" algn="ctr">
            <a:noFill/>
            <a:prstDash val="solid"/>
          </a:ln>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1" name="Rectangle 20">
            <a:extLst>
              <a:ext uri="{FF2B5EF4-FFF2-40B4-BE49-F238E27FC236}">
                <a16:creationId xmlns:a16="http://schemas.microsoft.com/office/drawing/2014/main" id="{C006C72A-6A06-42B4-8300-37F50FA76EC5}"/>
              </a:ext>
            </a:extLst>
          </p:cNvPr>
          <p:cNvSpPr/>
          <p:nvPr/>
        </p:nvSpPr>
        <p:spPr>
          <a:xfrm>
            <a:off x="6684920" y="6384937"/>
            <a:ext cx="1069328" cy="128016"/>
          </a:xfrm>
          <a:prstGeom prst="rect">
            <a:avLst/>
          </a:prstGeom>
          <a:solidFill>
            <a:schemeClr val="accent1"/>
          </a:solidFill>
          <a:ln w="9525" cap="flat" cmpd="sng" algn="ctr">
            <a:noFill/>
            <a:prstDash val="solid"/>
          </a:ln>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3" name="TextBox 22">
            <a:extLst>
              <a:ext uri="{FF2B5EF4-FFF2-40B4-BE49-F238E27FC236}">
                <a16:creationId xmlns:a16="http://schemas.microsoft.com/office/drawing/2014/main" id="{A4FCDAE6-ADF7-44F9-8A0B-2E6D94431075}"/>
              </a:ext>
            </a:extLst>
          </p:cNvPr>
          <p:cNvSpPr txBox="1"/>
          <p:nvPr/>
        </p:nvSpPr>
        <p:spPr>
          <a:xfrm rot="16200000">
            <a:off x="355947" y="2238549"/>
            <a:ext cx="625729" cy="3077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000" b="1" i="0" u="none" strike="noStrike" kern="1200" cap="none" spc="0" normalizeH="0" baseline="0" noProof="0" dirty="0">
                <a:ln>
                  <a:noFill/>
                </a:ln>
                <a:effectLst/>
                <a:uLnTx/>
                <a:uFillTx/>
                <a:latin typeface="Verdana"/>
                <a:ea typeface="+mn-ea"/>
                <a:cs typeface="+mn-cs"/>
              </a:rPr>
              <a:t>People &amp; Org</a:t>
            </a:r>
          </a:p>
        </p:txBody>
      </p:sp>
      <p:sp>
        <p:nvSpPr>
          <p:cNvPr id="24" name="TextBox 23">
            <a:extLst>
              <a:ext uri="{FF2B5EF4-FFF2-40B4-BE49-F238E27FC236}">
                <a16:creationId xmlns:a16="http://schemas.microsoft.com/office/drawing/2014/main" id="{DF633411-E9A9-461D-8315-77F8FAA39D57}"/>
              </a:ext>
            </a:extLst>
          </p:cNvPr>
          <p:cNvSpPr txBox="1"/>
          <p:nvPr/>
        </p:nvSpPr>
        <p:spPr>
          <a:xfrm rot="16200000">
            <a:off x="351575" y="3044746"/>
            <a:ext cx="634473" cy="3077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000" b="1" i="0" u="none" strike="noStrike" kern="1200" cap="none" spc="0" normalizeH="0" baseline="0" noProof="0" dirty="0">
                <a:ln>
                  <a:noFill/>
                </a:ln>
                <a:effectLst/>
                <a:uLnTx/>
                <a:uFillTx/>
                <a:latin typeface="Verdana"/>
                <a:ea typeface="+mn-ea"/>
                <a:cs typeface="+mn-cs"/>
              </a:rPr>
              <a:t>Business Process</a:t>
            </a:r>
          </a:p>
        </p:txBody>
      </p:sp>
      <p:sp>
        <p:nvSpPr>
          <p:cNvPr id="25" name="TextBox 24">
            <a:extLst>
              <a:ext uri="{FF2B5EF4-FFF2-40B4-BE49-F238E27FC236}">
                <a16:creationId xmlns:a16="http://schemas.microsoft.com/office/drawing/2014/main" id="{41738012-F914-44D8-8F40-32D6D3E8FE0E}"/>
              </a:ext>
            </a:extLst>
          </p:cNvPr>
          <p:cNvSpPr txBox="1"/>
          <p:nvPr/>
        </p:nvSpPr>
        <p:spPr>
          <a:xfrm rot="16200000">
            <a:off x="277927" y="4052851"/>
            <a:ext cx="781768" cy="3077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000" b="1" i="0" u="none" strike="noStrike" kern="1200" cap="none" spc="0" normalizeH="0" baseline="0" noProof="0" dirty="0">
                <a:ln>
                  <a:noFill/>
                </a:ln>
                <a:effectLst/>
                <a:uLnTx/>
                <a:uFillTx/>
                <a:latin typeface="Verdana"/>
                <a:ea typeface="+mn-ea"/>
                <a:cs typeface="+mn-cs"/>
              </a:rPr>
              <a:t>Customer Migration</a:t>
            </a:r>
          </a:p>
        </p:txBody>
      </p:sp>
      <p:sp>
        <p:nvSpPr>
          <p:cNvPr id="26" name="TextBox 25">
            <a:extLst>
              <a:ext uri="{FF2B5EF4-FFF2-40B4-BE49-F238E27FC236}">
                <a16:creationId xmlns:a16="http://schemas.microsoft.com/office/drawing/2014/main" id="{123FAE5E-32FF-4707-90B4-1AB8EFCBEDD0}"/>
              </a:ext>
            </a:extLst>
          </p:cNvPr>
          <p:cNvSpPr txBox="1"/>
          <p:nvPr/>
        </p:nvSpPr>
        <p:spPr>
          <a:xfrm rot="16200000">
            <a:off x="379593" y="5028128"/>
            <a:ext cx="578437" cy="153888"/>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000" b="1" i="0" u="none" strike="noStrike" kern="1200" cap="none" spc="0" normalizeH="0" baseline="0" noProof="0" dirty="0">
                <a:ln>
                  <a:noFill/>
                </a:ln>
                <a:effectLst/>
                <a:uLnTx/>
                <a:uFillTx/>
                <a:latin typeface="Verdana"/>
                <a:ea typeface="+mn-ea"/>
                <a:cs typeface="+mn-cs"/>
              </a:rPr>
              <a:t>Data</a:t>
            </a:r>
          </a:p>
        </p:txBody>
      </p:sp>
      <p:sp>
        <p:nvSpPr>
          <p:cNvPr id="28" name="TextBox 27">
            <a:extLst>
              <a:ext uri="{FF2B5EF4-FFF2-40B4-BE49-F238E27FC236}">
                <a16:creationId xmlns:a16="http://schemas.microsoft.com/office/drawing/2014/main" id="{F4E6E5FB-7D7B-4D9D-9C69-173FAD3E2BF7}"/>
              </a:ext>
            </a:extLst>
          </p:cNvPr>
          <p:cNvSpPr txBox="1"/>
          <p:nvPr/>
        </p:nvSpPr>
        <p:spPr>
          <a:xfrm rot="16200000">
            <a:off x="330732" y="5799546"/>
            <a:ext cx="676158" cy="3077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000" b="1" i="0" u="none" strike="noStrike" kern="1200" cap="none" spc="0" normalizeH="0" baseline="0" noProof="0" dirty="0">
                <a:ln>
                  <a:noFill/>
                </a:ln>
                <a:effectLst/>
                <a:uLnTx/>
                <a:uFillTx/>
                <a:latin typeface="Verdana"/>
                <a:ea typeface="+mn-ea"/>
                <a:cs typeface="+mn-cs"/>
              </a:rPr>
              <a:t>Measure&amp; Report</a:t>
            </a:r>
          </a:p>
        </p:txBody>
      </p:sp>
      <p:sp>
        <p:nvSpPr>
          <p:cNvPr id="29" name="Rectangle 28">
            <a:extLst>
              <a:ext uri="{FF2B5EF4-FFF2-40B4-BE49-F238E27FC236}">
                <a16:creationId xmlns:a16="http://schemas.microsoft.com/office/drawing/2014/main" id="{625934E6-6DFF-4D11-B6B3-AAC5E03E16A7}"/>
              </a:ext>
            </a:extLst>
          </p:cNvPr>
          <p:cNvSpPr/>
          <p:nvPr/>
        </p:nvSpPr>
        <p:spPr>
          <a:xfrm>
            <a:off x="745755" y="1793562"/>
            <a:ext cx="1950709" cy="150949"/>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Implementation Activities</a:t>
            </a:r>
          </a:p>
        </p:txBody>
      </p:sp>
      <p:sp>
        <p:nvSpPr>
          <p:cNvPr id="30" name="Rectangle 29">
            <a:extLst>
              <a:ext uri="{FF2B5EF4-FFF2-40B4-BE49-F238E27FC236}">
                <a16:creationId xmlns:a16="http://schemas.microsoft.com/office/drawing/2014/main" id="{6C40D359-770A-4D35-B353-6384456A1958}"/>
              </a:ext>
            </a:extLst>
          </p:cNvPr>
          <p:cNvSpPr/>
          <p:nvPr/>
        </p:nvSpPr>
        <p:spPr>
          <a:xfrm>
            <a:off x="5732603" y="2449850"/>
            <a:ext cx="250650" cy="128016"/>
          </a:xfrm>
          <a:prstGeom prst="rect">
            <a:avLst/>
          </a:prstGeom>
          <a:solidFill>
            <a:schemeClr val="accent3"/>
          </a:solidFill>
          <a:ln w="9525" cap="flat" cmpd="sng" algn="ctr">
            <a:noFill/>
            <a:prstDash val="solid"/>
          </a:ln>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31" name="Rectangle 30">
            <a:extLst>
              <a:ext uri="{FF2B5EF4-FFF2-40B4-BE49-F238E27FC236}">
                <a16:creationId xmlns:a16="http://schemas.microsoft.com/office/drawing/2014/main" id="{46B3E4A0-12D9-4343-A446-67B0E1457E40}"/>
              </a:ext>
            </a:extLst>
          </p:cNvPr>
          <p:cNvSpPr/>
          <p:nvPr/>
        </p:nvSpPr>
        <p:spPr>
          <a:xfrm>
            <a:off x="6186102" y="3135106"/>
            <a:ext cx="850775" cy="128016"/>
          </a:xfrm>
          <a:prstGeom prst="rect">
            <a:avLst/>
          </a:prstGeom>
          <a:solidFill>
            <a:schemeClr val="accent2"/>
          </a:solidFill>
          <a:ln w="9525" cap="flat" cmpd="sng" algn="ctr">
            <a:noFill/>
            <a:prstDash val="solid"/>
          </a:ln>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32" name="Rectangle 31">
            <a:extLst>
              <a:ext uri="{FF2B5EF4-FFF2-40B4-BE49-F238E27FC236}">
                <a16:creationId xmlns:a16="http://schemas.microsoft.com/office/drawing/2014/main" id="{48054876-4D00-4BDC-9D46-C67D97051583}"/>
              </a:ext>
            </a:extLst>
          </p:cNvPr>
          <p:cNvSpPr/>
          <p:nvPr/>
        </p:nvSpPr>
        <p:spPr>
          <a:xfrm>
            <a:off x="6335841" y="4045157"/>
            <a:ext cx="686888" cy="128016"/>
          </a:xfrm>
          <a:prstGeom prst="rect">
            <a:avLst/>
          </a:prstGeom>
          <a:solidFill>
            <a:schemeClr val="accent4"/>
          </a:solidFill>
          <a:ln w="9525" cap="flat" cmpd="sng" algn="ctr">
            <a:noFill/>
            <a:prstDash val="solid"/>
          </a:ln>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33" name="Rectangle 32">
            <a:extLst>
              <a:ext uri="{FF2B5EF4-FFF2-40B4-BE49-F238E27FC236}">
                <a16:creationId xmlns:a16="http://schemas.microsoft.com/office/drawing/2014/main" id="{E0D706A4-090F-479A-A96C-65BE27232C63}"/>
              </a:ext>
            </a:extLst>
          </p:cNvPr>
          <p:cNvSpPr/>
          <p:nvPr/>
        </p:nvSpPr>
        <p:spPr>
          <a:xfrm>
            <a:off x="5972416" y="4868905"/>
            <a:ext cx="1764903" cy="128016"/>
          </a:xfrm>
          <a:prstGeom prst="rect">
            <a:avLst/>
          </a:prstGeom>
          <a:solidFill>
            <a:schemeClr val="accent5"/>
          </a:solidFill>
          <a:ln w="9525" cap="flat" cmpd="sng" algn="ctr">
            <a:noFill/>
            <a:prstDash val="solid"/>
          </a:ln>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34" name="Rectangle 33">
            <a:extLst>
              <a:ext uri="{FF2B5EF4-FFF2-40B4-BE49-F238E27FC236}">
                <a16:creationId xmlns:a16="http://schemas.microsoft.com/office/drawing/2014/main" id="{E36966B8-4666-4C85-84E3-9FF31FBDBB22}"/>
              </a:ext>
            </a:extLst>
          </p:cNvPr>
          <p:cNvSpPr/>
          <p:nvPr/>
        </p:nvSpPr>
        <p:spPr>
          <a:xfrm>
            <a:off x="5732603" y="2686677"/>
            <a:ext cx="250650" cy="128016"/>
          </a:xfrm>
          <a:prstGeom prst="rect">
            <a:avLst/>
          </a:prstGeom>
          <a:solidFill>
            <a:schemeClr val="accent3"/>
          </a:solidFill>
          <a:ln w="9525" cap="flat" cmpd="sng" algn="ctr">
            <a:noFill/>
            <a:prstDash val="solid"/>
          </a:ln>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35" name="Rectangle 34">
            <a:extLst>
              <a:ext uri="{FF2B5EF4-FFF2-40B4-BE49-F238E27FC236}">
                <a16:creationId xmlns:a16="http://schemas.microsoft.com/office/drawing/2014/main" id="{317F1C48-9961-4091-870E-E36BFEC038B5}"/>
              </a:ext>
            </a:extLst>
          </p:cNvPr>
          <p:cNvSpPr/>
          <p:nvPr/>
        </p:nvSpPr>
        <p:spPr>
          <a:xfrm>
            <a:off x="6677217" y="4569390"/>
            <a:ext cx="2446544" cy="128016"/>
          </a:xfrm>
          <a:prstGeom prst="rect">
            <a:avLst/>
          </a:prstGeom>
          <a:solidFill>
            <a:schemeClr val="accent4"/>
          </a:solidFill>
          <a:ln w="9525" cap="flat" cmpd="sng" algn="ctr">
            <a:noFill/>
            <a:prstDash val="solid"/>
          </a:ln>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36" name="Diamond 35">
            <a:extLst>
              <a:ext uri="{FF2B5EF4-FFF2-40B4-BE49-F238E27FC236}">
                <a16:creationId xmlns:a16="http://schemas.microsoft.com/office/drawing/2014/main" id="{30A459C7-CB80-4669-B3A7-45858763381F}"/>
              </a:ext>
            </a:extLst>
          </p:cNvPr>
          <p:cNvSpPr/>
          <p:nvPr/>
        </p:nvSpPr>
        <p:spPr>
          <a:xfrm>
            <a:off x="7605300" y="6573915"/>
            <a:ext cx="264038" cy="217794"/>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cxnSp>
        <p:nvCxnSpPr>
          <p:cNvPr id="38" name="Straight Connector 37">
            <a:extLst>
              <a:ext uri="{FF2B5EF4-FFF2-40B4-BE49-F238E27FC236}">
                <a16:creationId xmlns:a16="http://schemas.microsoft.com/office/drawing/2014/main" id="{95002B29-6979-499E-9EF3-9D5C0E494E6A}"/>
              </a:ext>
            </a:extLst>
          </p:cNvPr>
          <p:cNvCxnSpPr>
            <a:cxnSpLocks/>
          </p:cNvCxnSpPr>
          <p:nvPr/>
        </p:nvCxnSpPr>
        <p:spPr>
          <a:xfrm>
            <a:off x="7737319" y="2007810"/>
            <a:ext cx="0" cy="4595601"/>
          </a:xfrm>
          <a:prstGeom prst="line">
            <a:avLst/>
          </a:prstGeom>
          <a:ln w="28575">
            <a:solidFill>
              <a:srgbClr val="FFCD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0154426"/>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A49D03D-9003-4015-8C5F-8D7171FFB25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1668" name="think-cell Slide" r:id="rId6" imgW="415" imgH="416" progId="TCLayout.ActiveDocument.1">
                  <p:embed/>
                </p:oleObj>
              </mc:Choice>
              <mc:Fallback>
                <p:oleObj name="think-cell Slide" r:id="rId6" imgW="415" imgH="416" progId="TCLayout.ActiveDocument.1">
                  <p:embed/>
                  <p:pic>
                    <p:nvPicPr>
                      <p:cNvPr id="9" name="Object 8" hidden="1">
                        <a:extLst>
                          <a:ext uri="{FF2B5EF4-FFF2-40B4-BE49-F238E27FC236}">
                            <a16:creationId xmlns:a16="http://schemas.microsoft.com/office/drawing/2014/main" id="{8A49D03D-9003-4015-8C5F-8D7171FFB25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B77F994-CBD6-4522-8F49-25B6402EAC5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278437BD-3089-42A0-A828-0D2D5BA624CB}"/>
              </a:ext>
            </a:extLst>
          </p:cNvPr>
          <p:cNvSpPr>
            <a:spLocks noGrp="1"/>
          </p:cNvSpPr>
          <p:nvPr>
            <p:ph type="title"/>
          </p:nvPr>
        </p:nvSpPr>
        <p:spPr/>
        <p:txBody>
          <a:bodyPr/>
          <a:lstStyle/>
          <a:p>
            <a:r>
              <a:rPr lang="en-US" dirty="0"/>
              <a:t>Proposed Timeline and Milestones</a:t>
            </a:r>
          </a:p>
        </p:txBody>
      </p:sp>
      <p:sp>
        <p:nvSpPr>
          <p:cNvPr id="3" name="Text Placeholder 2">
            <a:extLst>
              <a:ext uri="{FF2B5EF4-FFF2-40B4-BE49-F238E27FC236}">
                <a16:creationId xmlns:a16="http://schemas.microsoft.com/office/drawing/2014/main" id="{75A05743-62A6-4A6C-96A4-C805691DF81A}"/>
              </a:ext>
            </a:extLst>
          </p:cNvPr>
          <p:cNvSpPr>
            <a:spLocks noGrp="1"/>
          </p:cNvSpPr>
          <p:nvPr>
            <p:ph type="body" sz="quarter" idx="14"/>
          </p:nvPr>
        </p:nvSpPr>
        <p:spPr/>
        <p:txBody>
          <a:bodyPr/>
          <a:lstStyle/>
          <a:p>
            <a:r>
              <a:rPr lang="en-US" dirty="0"/>
              <a:t>Subheader placeholder</a:t>
            </a:r>
          </a:p>
          <a:p>
            <a:endParaRPr lang="en-US" dirty="0"/>
          </a:p>
        </p:txBody>
      </p:sp>
      <p:sp>
        <p:nvSpPr>
          <p:cNvPr id="4" name="Text Placeholder 3">
            <a:extLst>
              <a:ext uri="{FF2B5EF4-FFF2-40B4-BE49-F238E27FC236}">
                <a16:creationId xmlns:a16="http://schemas.microsoft.com/office/drawing/2014/main" id="{7B1A5423-8E8F-4C9D-9503-377D7D98C9EC}"/>
              </a:ext>
            </a:extLst>
          </p:cNvPr>
          <p:cNvSpPr>
            <a:spLocks noGrp="1"/>
          </p:cNvSpPr>
          <p:nvPr>
            <p:ph type="body" sz="quarter" idx="15"/>
          </p:nvPr>
        </p:nvSpPr>
        <p:spPr/>
        <p:txBody>
          <a:bodyPr/>
          <a:lstStyle/>
          <a:p>
            <a:r>
              <a:rPr lang="en-US" dirty="0"/>
              <a:t>Plans, timelines and roadmaps</a:t>
            </a:r>
          </a:p>
          <a:p>
            <a:endParaRPr lang="en-US" dirty="0"/>
          </a:p>
        </p:txBody>
      </p:sp>
      <p:graphicFrame>
        <p:nvGraphicFramePr>
          <p:cNvPr id="10" name="Table 9">
            <a:extLst>
              <a:ext uri="{FF2B5EF4-FFF2-40B4-BE49-F238E27FC236}">
                <a16:creationId xmlns:a16="http://schemas.microsoft.com/office/drawing/2014/main" id="{C87F22CA-9A12-4B9C-8A86-7D80BDC87EC4}"/>
              </a:ext>
            </a:extLst>
          </p:cNvPr>
          <p:cNvGraphicFramePr>
            <a:graphicFrameLocks noGrp="1"/>
          </p:cNvGraphicFramePr>
          <p:nvPr/>
        </p:nvGraphicFramePr>
        <p:xfrm>
          <a:off x="914403" y="1613824"/>
          <a:ext cx="10363197" cy="4611286"/>
        </p:xfrm>
        <a:graphic>
          <a:graphicData uri="http://schemas.openxmlformats.org/drawingml/2006/table">
            <a:tbl>
              <a:tblPr>
                <a:tableStyleId>{5C22544A-7EE6-4342-B048-85BDC9FD1C3A}</a:tableStyleId>
              </a:tblPr>
              <a:tblGrid>
                <a:gridCol w="925574">
                  <a:extLst>
                    <a:ext uri="{9D8B030D-6E8A-4147-A177-3AD203B41FA5}">
                      <a16:colId xmlns:a16="http://schemas.microsoft.com/office/drawing/2014/main" val="1643647615"/>
                    </a:ext>
                  </a:extLst>
                </a:gridCol>
                <a:gridCol w="725971">
                  <a:extLst>
                    <a:ext uri="{9D8B030D-6E8A-4147-A177-3AD203B41FA5}">
                      <a16:colId xmlns:a16="http://schemas.microsoft.com/office/drawing/2014/main" val="20000"/>
                    </a:ext>
                  </a:extLst>
                </a:gridCol>
                <a:gridCol w="725971">
                  <a:extLst>
                    <a:ext uri="{9D8B030D-6E8A-4147-A177-3AD203B41FA5}">
                      <a16:colId xmlns:a16="http://schemas.microsoft.com/office/drawing/2014/main" val="20001"/>
                    </a:ext>
                  </a:extLst>
                </a:gridCol>
                <a:gridCol w="725971">
                  <a:extLst>
                    <a:ext uri="{9D8B030D-6E8A-4147-A177-3AD203B41FA5}">
                      <a16:colId xmlns:a16="http://schemas.microsoft.com/office/drawing/2014/main" val="20002"/>
                    </a:ext>
                  </a:extLst>
                </a:gridCol>
                <a:gridCol w="725971">
                  <a:extLst>
                    <a:ext uri="{9D8B030D-6E8A-4147-A177-3AD203B41FA5}">
                      <a16:colId xmlns:a16="http://schemas.microsoft.com/office/drawing/2014/main" val="20003"/>
                    </a:ext>
                  </a:extLst>
                </a:gridCol>
                <a:gridCol w="725971">
                  <a:extLst>
                    <a:ext uri="{9D8B030D-6E8A-4147-A177-3AD203B41FA5}">
                      <a16:colId xmlns:a16="http://schemas.microsoft.com/office/drawing/2014/main" val="770121694"/>
                    </a:ext>
                  </a:extLst>
                </a:gridCol>
                <a:gridCol w="725971">
                  <a:extLst>
                    <a:ext uri="{9D8B030D-6E8A-4147-A177-3AD203B41FA5}">
                      <a16:colId xmlns:a16="http://schemas.microsoft.com/office/drawing/2014/main" val="20004"/>
                    </a:ext>
                  </a:extLst>
                </a:gridCol>
                <a:gridCol w="725971">
                  <a:extLst>
                    <a:ext uri="{9D8B030D-6E8A-4147-A177-3AD203B41FA5}">
                      <a16:colId xmlns:a16="http://schemas.microsoft.com/office/drawing/2014/main" val="20005"/>
                    </a:ext>
                  </a:extLst>
                </a:gridCol>
                <a:gridCol w="725971">
                  <a:extLst>
                    <a:ext uri="{9D8B030D-6E8A-4147-A177-3AD203B41FA5}">
                      <a16:colId xmlns:a16="http://schemas.microsoft.com/office/drawing/2014/main" val="20006"/>
                    </a:ext>
                  </a:extLst>
                </a:gridCol>
                <a:gridCol w="725971">
                  <a:extLst>
                    <a:ext uri="{9D8B030D-6E8A-4147-A177-3AD203B41FA5}">
                      <a16:colId xmlns:a16="http://schemas.microsoft.com/office/drawing/2014/main" val="20007"/>
                    </a:ext>
                  </a:extLst>
                </a:gridCol>
                <a:gridCol w="725971">
                  <a:extLst>
                    <a:ext uri="{9D8B030D-6E8A-4147-A177-3AD203B41FA5}">
                      <a16:colId xmlns:a16="http://schemas.microsoft.com/office/drawing/2014/main" val="20008"/>
                    </a:ext>
                  </a:extLst>
                </a:gridCol>
                <a:gridCol w="725971">
                  <a:extLst>
                    <a:ext uri="{9D8B030D-6E8A-4147-A177-3AD203B41FA5}">
                      <a16:colId xmlns:a16="http://schemas.microsoft.com/office/drawing/2014/main" val="20009"/>
                    </a:ext>
                  </a:extLst>
                </a:gridCol>
                <a:gridCol w="725971">
                  <a:extLst>
                    <a:ext uri="{9D8B030D-6E8A-4147-A177-3AD203B41FA5}">
                      <a16:colId xmlns:a16="http://schemas.microsoft.com/office/drawing/2014/main" val="533178649"/>
                    </a:ext>
                  </a:extLst>
                </a:gridCol>
                <a:gridCol w="725971">
                  <a:extLst>
                    <a:ext uri="{9D8B030D-6E8A-4147-A177-3AD203B41FA5}">
                      <a16:colId xmlns:a16="http://schemas.microsoft.com/office/drawing/2014/main" val="723599103"/>
                    </a:ext>
                  </a:extLst>
                </a:gridCol>
              </a:tblGrid>
              <a:tr h="216550">
                <a:tc>
                  <a:txBody>
                    <a:bodyPr/>
                    <a:lstStyle/>
                    <a:p>
                      <a:pPr algn="ctr" fontAlgn="b"/>
                      <a:endParaRPr lang="en-US" sz="1000" b="1" i="0" u="none" strike="noStrike" dirty="0">
                        <a:solidFill>
                          <a:schemeClr val="bg1"/>
                        </a:solidFill>
                        <a:effectLst/>
                        <a:latin typeface="Open Sans" charset="0"/>
                        <a:ea typeface="Open Sans" charset="0"/>
                        <a:cs typeface="Open Sans" charset="0"/>
                      </a:endParaRPr>
                    </a:p>
                  </a:txBody>
                  <a:tcPr marL="0" marR="0" marT="0" marB="0" anchor="ctr">
                    <a:lnL w="9525"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b="1" u="none" strike="noStrike" dirty="0">
                          <a:solidFill>
                            <a:schemeClr val="bg1"/>
                          </a:solidFill>
                          <a:effectLst/>
                          <a:latin typeface="Open Sans" charset="0"/>
                          <a:ea typeface="Open Sans" charset="0"/>
                          <a:cs typeface="Open Sans" charset="0"/>
                        </a:rPr>
                        <a:t>Nov 6</a:t>
                      </a:r>
                      <a:endParaRPr lang="en-US" sz="900" b="1" i="0" u="none" strike="noStrike" dirty="0">
                        <a:solidFill>
                          <a:schemeClr val="bg1"/>
                        </a:solidFill>
                        <a:effectLst/>
                        <a:latin typeface="Open Sans" charset="0"/>
                        <a:ea typeface="Open Sans" charset="0"/>
                        <a:cs typeface="Open Sans" charset="0"/>
                      </a:endParaRPr>
                    </a:p>
                  </a:txBody>
                  <a:tcPr marL="0" marR="0" marT="0" marB="0" anchor="ctr">
                    <a:lnL w="9525" cap="flat" cmpd="sng" algn="ctr">
                      <a:noFill/>
                      <a:prstDash val="solid"/>
                      <a:round/>
                      <a:headEnd type="none" w="med" len="med"/>
                      <a:tailEnd type="none" w="med" len="med"/>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en-US" sz="900" b="1" i="0" u="none" strike="noStrike" dirty="0">
                          <a:solidFill>
                            <a:schemeClr val="bg1"/>
                          </a:solidFill>
                          <a:effectLst/>
                          <a:latin typeface="Open Sans" charset="0"/>
                          <a:ea typeface="Open Sans" charset="0"/>
                          <a:cs typeface="Open Sans" charset="0"/>
                        </a:rPr>
                        <a:t>Nov</a:t>
                      </a:r>
                      <a:r>
                        <a:rPr lang="en-US" sz="900" b="1" i="0" u="none" strike="noStrike" baseline="0" dirty="0">
                          <a:solidFill>
                            <a:schemeClr val="bg1"/>
                          </a:solidFill>
                          <a:effectLst/>
                          <a:latin typeface="Open Sans" charset="0"/>
                          <a:ea typeface="Open Sans" charset="0"/>
                          <a:cs typeface="Open Sans" charset="0"/>
                        </a:rPr>
                        <a:t> 13</a:t>
                      </a:r>
                      <a:endParaRPr lang="en-US" sz="900" b="1" i="0" u="none" strike="noStrike" dirty="0">
                        <a:solidFill>
                          <a:schemeClr val="bg1"/>
                        </a:solidFill>
                        <a:effectLst/>
                        <a:latin typeface="Open Sans" charset="0"/>
                        <a:ea typeface="Open Sans" charset="0"/>
                        <a:cs typeface="Open Sans" charset="0"/>
                      </a:endParaRPr>
                    </a:p>
                  </a:txBody>
                  <a:tcPr marL="0" marR="0" marT="0" marB="0"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en-US" sz="900" b="1" i="0" u="none" strike="noStrike" dirty="0">
                          <a:solidFill>
                            <a:schemeClr val="bg1"/>
                          </a:solidFill>
                          <a:effectLst/>
                          <a:latin typeface="Open Sans" charset="0"/>
                          <a:ea typeface="Open Sans" charset="0"/>
                          <a:cs typeface="Open Sans" charset="0"/>
                        </a:rPr>
                        <a:t>Nov 20</a:t>
                      </a:r>
                    </a:p>
                  </a:txBody>
                  <a:tcPr marL="0" marR="0" marT="0" marB="0"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en-US" sz="900" b="1" i="0" u="none" strike="noStrike" dirty="0">
                          <a:solidFill>
                            <a:schemeClr val="bg1"/>
                          </a:solidFill>
                          <a:effectLst/>
                          <a:latin typeface="Open Sans" charset="0"/>
                          <a:ea typeface="Open Sans" charset="0"/>
                          <a:cs typeface="Open Sans" charset="0"/>
                        </a:rPr>
                        <a:t>Nov 27</a:t>
                      </a:r>
                    </a:p>
                  </a:txBody>
                  <a:tcPr marL="0" marR="0" marT="0" marB="0"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indent="0" algn="ctr" defTabSz="914377" rtl="0" eaLnBrk="1" fontAlgn="b" latinLnBrk="0" hangingPunct="1">
                        <a:lnSpc>
                          <a:spcPct val="100000"/>
                        </a:lnSpc>
                        <a:spcBef>
                          <a:spcPts val="0"/>
                        </a:spcBef>
                        <a:spcAft>
                          <a:spcPts val="0"/>
                        </a:spcAft>
                        <a:buClrTx/>
                        <a:buSzTx/>
                        <a:buFontTx/>
                        <a:buNone/>
                        <a:tabLst/>
                        <a:defRPr/>
                      </a:pPr>
                      <a:r>
                        <a:rPr lang="en-US" sz="900" b="1" i="0" u="none" strike="noStrike" dirty="0">
                          <a:solidFill>
                            <a:schemeClr val="bg1"/>
                          </a:solidFill>
                          <a:effectLst/>
                          <a:latin typeface="Open Sans" charset="0"/>
                          <a:ea typeface="Open Sans" charset="0"/>
                          <a:cs typeface="Open Sans" charset="0"/>
                        </a:rPr>
                        <a:t>Dec 4</a:t>
                      </a:r>
                    </a:p>
                  </a:txBody>
                  <a:tcPr marL="0" marR="0" marT="0" marB="0"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indent="0" algn="ctr" defTabSz="914377"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Open Sans" charset="0"/>
                          <a:ea typeface="Open Sans" charset="0"/>
                          <a:cs typeface="Open Sans" charset="0"/>
                        </a:rPr>
                        <a:t>Dec 11</a:t>
                      </a:r>
                      <a:endParaRPr lang="en-US" sz="900" b="1" i="0" u="none" strike="noStrike" dirty="0">
                        <a:solidFill>
                          <a:schemeClr val="bg1"/>
                        </a:solidFill>
                        <a:effectLst/>
                        <a:latin typeface="Open Sans" charset="0"/>
                        <a:ea typeface="Open Sans" charset="0"/>
                        <a:cs typeface="Open Sans" charset="0"/>
                      </a:endParaRPr>
                    </a:p>
                  </a:txBody>
                  <a:tcPr marL="0" marR="0" marT="0" marB="0"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indent="0" algn="ctr" defTabSz="914377"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Open Sans" charset="0"/>
                          <a:ea typeface="Open Sans" charset="0"/>
                          <a:cs typeface="Open Sans" charset="0"/>
                        </a:rPr>
                        <a:t>Dec 18</a:t>
                      </a:r>
                      <a:endParaRPr lang="en-US" sz="900" b="1" i="0" u="none" strike="noStrike" dirty="0">
                        <a:solidFill>
                          <a:schemeClr val="bg1"/>
                        </a:solidFill>
                        <a:effectLst/>
                        <a:latin typeface="Open Sans" charset="0"/>
                        <a:ea typeface="Open Sans" charset="0"/>
                        <a:cs typeface="Open Sans" charset="0"/>
                      </a:endParaRPr>
                    </a:p>
                  </a:txBody>
                  <a:tcPr marL="0" marR="0" marT="0" marB="0"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indent="0" algn="ctr" defTabSz="914377"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Open Sans" charset="0"/>
                          <a:ea typeface="Open Sans" charset="0"/>
                          <a:cs typeface="Open Sans" charset="0"/>
                        </a:rPr>
                        <a:t>Dec 25</a:t>
                      </a:r>
                      <a:endParaRPr lang="en-US" sz="900" b="1" i="0" u="none" strike="noStrike" dirty="0">
                        <a:solidFill>
                          <a:schemeClr val="bg1"/>
                        </a:solidFill>
                        <a:effectLst/>
                        <a:latin typeface="Open Sans" charset="0"/>
                        <a:ea typeface="Open Sans" charset="0"/>
                        <a:cs typeface="Open Sans" charset="0"/>
                      </a:endParaRPr>
                    </a:p>
                  </a:txBody>
                  <a:tcPr marL="0" marR="0" marT="0" marB="0"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indent="0" algn="ctr" defTabSz="914377"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Open Sans" charset="0"/>
                          <a:ea typeface="Open Sans" charset="0"/>
                          <a:cs typeface="Open Sans" charset="0"/>
                        </a:rPr>
                        <a:t>Jan 1</a:t>
                      </a:r>
                      <a:endParaRPr lang="en-US" sz="900" b="1" i="0" u="none" strike="noStrike" dirty="0">
                        <a:solidFill>
                          <a:schemeClr val="bg1"/>
                        </a:solidFill>
                        <a:effectLst/>
                        <a:latin typeface="Open Sans" charset="0"/>
                        <a:ea typeface="Open Sans" charset="0"/>
                        <a:cs typeface="Open Sans" charset="0"/>
                      </a:endParaRPr>
                    </a:p>
                  </a:txBody>
                  <a:tcPr marL="0" marR="0" marT="0" marB="0"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indent="0" algn="ctr" defTabSz="914377"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Open Sans" charset="0"/>
                          <a:ea typeface="Open Sans" charset="0"/>
                          <a:cs typeface="Open Sans" charset="0"/>
                        </a:rPr>
                        <a:t>Jan 8</a:t>
                      </a:r>
                      <a:endParaRPr lang="en-US" sz="900" b="1" i="0" u="none" strike="noStrike" dirty="0">
                        <a:solidFill>
                          <a:schemeClr val="bg1"/>
                        </a:solidFill>
                        <a:effectLst/>
                        <a:latin typeface="Open Sans" charset="0"/>
                        <a:ea typeface="Open Sans" charset="0"/>
                        <a:cs typeface="Open Sans" charset="0"/>
                      </a:endParaRPr>
                    </a:p>
                  </a:txBody>
                  <a:tcPr marL="0" marR="0" marT="0" marB="0"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indent="0" algn="ctr" defTabSz="914377"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Open Sans" charset="0"/>
                          <a:ea typeface="Open Sans" charset="0"/>
                          <a:cs typeface="Open Sans" charset="0"/>
                        </a:rPr>
                        <a:t>Jan 15</a:t>
                      </a:r>
                      <a:endParaRPr lang="en-US" sz="900" b="1" i="0" u="none" strike="noStrike" dirty="0">
                        <a:solidFill>
                          <a:schemeClr val="bg1"/>
                        </a:solidFill>
                        <a:effectLst/>
                        <a:latin typeface="Open Sans" charset="0"/>
                        <a:ea typeface="Open Sans" charset="0"/>
                        <a:cs typeface="Open Sans" charset="0"/>
                      </a:endParaRPr>
                    </a:p>
                  </a:txBody>
                  <a:tcPr marL="0" marR="0" marT="0" marB="0"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indent="0" algn="ctr" defTabSz="914377"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Open Sans" charset="0"/>
                          <a:ea typeface="Open Sans" charset="0"/>
                          <a:cs typeface="Open Sans" charset="0"/>
                        </a:rPr>
                        <a:t>Jan 22</a:t>
                      </a:r>
                      <a:endParaRPr lang="en-US" sz="900" b="1" i="0" u="none" strike="noStrike" dirty="0">
                        <a:solidFill>
                          <a:schemeClr val="bg1"/>
                        </a:solidFill>
                        <a:effectLst/>
                        <a:latin typeface="Open Sans" charset="0"/>
                        <a:ea typeface="Open Sans" charset="0"/>
                        <a:cs typeface="Open Sans" charset="0"/>
                      </a:endParaRPr>
                    </a:p>
                  </a:txBody>
                  <a:tcPr marL="0" marR="0" marT="0" marB="0"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indent="0" algn="ctr" defTabSz="914377"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Open Sans" charset="0"/>
                          <a:ea typeface="Open Sans" charset="0"/>
                          <a:cs typeface="Open Sans" charset="0"/>
                        </a:rPr>
                        <a:t>Jan 29</a:t>
                      </a:r>
                      <a:endParaRPr lang="en-US" sz="900" b="1" i="0" u="none" strike="noStrike" dirty="0">
                        <a:solidFill>
                          <a:schemeClr val="bg1"/>
                        </a:solidFill>
                        <a:effectLst/>
                        <a:latin typeface="Open Sans" charset="0"/>
                        <a:ea typeface="Open Sans" charset="0"/>
                        <a:cs typeface="Open Sans" charset="0"/>
                      </a:endParaRPr>
                    </a:p>
                  </a:txBody>
                  <a:tcPr marL="0" marR="0" marT="0" marB="0"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135425">
                <a:tc>
                  <a:txBody>
                    <a:bodyPr/>
                    <a:lstStyle/>
                    <a:p>
                      <a:pPr algn="ctr" fontAlgn="b"/>
                      <a:endParaRPr lang="en-US" sz="800" b="1" i="1" u="none" strike="noStrike" dirty="0">
                        <a:solidFill>
                          <a:schemeClr val="bg1">
                            <a:lumMod val="50000"/>
                          </a:schemeClr>
                        </a:solidFill>
                        <a:effectLst/>
                        <a:latin typeface="+mn-lt"/>
                        <a:cs typeface="HelveticaNeueLT Std Med"/>
                      </a:endParaRPr>
                    </a:p>
                  </a:txBody>
                  <a:tcPr marL="0" marR="0" marT="0" marB="0" anchor="ctr">
                    <a:lnL w="952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b="0" i="1" u="none" strike="noStrike" dirty="0">
                          <a:solidFill>
                            <a:schemeClr val="bg1">
                              <a:lumMod val="50000"/>
                            </a:schemeClr>
                          </a:solidFill>
                          <a:effectLst/>
                          <a:latin typeface="+mn-lt"/>
                          <a:cs typeface="HelveticaNeueLT Std Med"/>
                        </a:rPr>
                        <a:t>Week 1</a:t>
                      </a:r>
                    </a:p>
                  </a:txBody>
                  <a:tcPr marL="0" marR="0" marT="0" marB="0" anchor="ctr">
                    <a:lnL w="9525" cap="flat" cmpd="sng" algn="ctr">
                      <a:no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900" b="0" i="1" u="none" strike="noStrike" kern="1200" dirty="0">
                          <a:solidFill>
                            <a:schemeClr val="bg1">
                              <a:lumMod val="50000"/>
                            </a:schemeClr>
                          </a:solidFill>
                          <a:effectLst/>
                          <a:latin typeface="+mn-lt"/>
                          <a:ea typeface="+mn-ea"/>
                          <a:cs typeface="HelveticaNeueLT Std Med"/>
                        </a:rPr>
                        <a:t>Week 2</a:t>
                      </a:r>
                    </a:p>
                  </a:txBody>
                  <a:tcPr marL="0" marR="0" marT="0" marB="0" anchor="ctr">
                    <a:lnL w="12700" cmpd="sng">
                      <a:noFill/>
                    </a:lnL>
                    <a:lnR w="12700" cmpd="sng">
                      <a:noFill/>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900" b="0" i="1" u="none" strike="noStrike" kern="1200" dirty="0">
                          <a:solidFill>
                            <a:schemeClr val="bg1">
                              <a:lumMod val="50000"/>
                            </a:schemeClr>
                          </a:solidFill>
                          <a:effectLst/>
                          <a:latin typeface="+mn-lt"/>
                          <a:ea typeface="+mn-ea"/>
                          <a:cs typeface="HelveticaNeueLT Std Med"/>
                        </a:rPr>
                        <a:t>Week 3</a:t>
                      </a:r>
                    </a:p>
                  </a:txBody>
                  <a:tcPr marL="0" marR="0" marT="0" marB="0" anchor="ctr">
                    <a:lnL w="12700" cmpd="sng">
                      <a:noFill/>
                    </a:lnL>
                    <a:lnR w="12700" cap="flat" cmpd="sng" algn="ctr">
                      <a:noFill/>
                      <a:prstDash val="dash"/>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endParaRPr lang="en-US" sz="900" b="0" i="1" u="none" strike="noStrike" kern="1200" dirty="0">
                        <a:solidFill>
                          <a:schemeClr val="bg1">
                            <a:lumMod val="50000"/>
                          </a:schemeClr>
                        </a:solidFill>
                        <a:effectLst/>
                        <a:latin typeface="+mn-lt"/>
                        <a:ea typeface="+mn-ea"/>
                        <a:cs typeface="HelveticaNeueLT Std Med"/>
                      </a:endParaRPr>
                    </a:p>
                  </a:txBody>
                  <a:tcPr marL="0" marR="0" marT="0" marB="0"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wdUpDiag">
                      <a:fgClr>
                        <a:schemeClr val="bg1">
                          <a:lumMod val="65000"/>
                        </a:schemeClr>
                      </a:fgClr>
                      <a:bgClr>
                        <a:schemeClr val="bg1"/>
                      </a:bgClr>
                    </a:pattFill>
                  </a:tcPr>
                </a:tc>
                <a:tc>
                  <a:txBody>
                    <a:bodyPr/>
                    <a:lstStyle/>
                    <a:p>
                      <a:pPr marL="0" algn="ctr" defTabSz="914400" rtl="0" eaLnBrk="1" fontAlgn="b" latinLnBrk="0" hangingPunct="1"/>
                      <a:r>
                        <a:rPr lang="en-US" sz="900" b="0" i="1" u="none" strike="noStrike" kern="1200" dirty="0">
                          <a:solidFill>
                            <a:schemeClr val="bg1">
                              <a:lumMod val="50000"/>
                            </a:schemeClr>
                          </a:solidFill>
                          <a:effectLst/>
                          <a:latin typeface="+mn-lt"/>
                          <a:ea typeface="+mn-ea"/>
                          <a:cs typeface="HelveticaNeueLT Std Med"/>
                        </a:rPr>
                        <a:t>Week 4</a:t>
                      </a:r>
                    </a:p>
                  </a:txBody>
                  <a:tcPr marL="0" marR="0" marT="0" marB="0" anchor="ctr">
                    <a:lnL w="12700" cap="flat" cmpd="sng" algn="ctr">
                      <a:noFill/>
                      <a:prstDash val="dash"/>
                      <a:round/>
                      <a:headEnd type="none" w="med" len="med"/>
                      <a:tailEnd type="none" w="med" len="med"/>
                    </a:lnL>
                    <a:lnR w="12700" cmpd="sng">
                      <a:noFill/>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900" b="0" i="1" u="none" strike="noStrike" kern="1200" dirty="0">
                          <a:solidFill>
                            <a:schemeClr val="bg1">
                              <a:lumMod val="50000"/>
                            </a:schemeClr>
                          </a:solidFill>
                          <a:effectLst/>
                          <a:latin typeface="+mn-lt"/>
                          <a:ea typeface="+mn-ea"/>
                          <a:cs typeface="HelveticaNeueLT Std Med"/>
                        </a:rPr>
                        <a:t>Week 5</a:t>
                      </a:r>
                    </a:p>
                  </a:txBody>
                  <a:tcPr marL="0" marR="0" marT="0" marB="0" anchor="ctr">
                    <a:lnL w="12700" cmpd="sng">
                      <a:noFill/>
                    </a:lnL>
                    <a:lnR w="12700" cap="flat" cmpd="sng" algn="ctr">
                      <a:noFill/>
                      <a:prstDash val="dash"/>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endParaRPr lang="en-US" sz="900" b="0" i="1" u="none" strike="noStrike" kern="1200" dirty="0">
                        <a:solidFill>
                          <a:schemeClr val="bg1">
                            <a:lumMod val="50000"/>
                          </a:schemeClr>
                        </a:solidFill>
                        <a:effectLst/>
                        <a:latin typeface="+mn-lt"/>
                        <a:ea typeface="+mn-ea"/>
                        <a:cs typeface="HelveticaNeueLT Std Med"/>
                      </a:endParaRPr>
                    </a:p>
                  </a:txBody>
                  <a:tcPr marL="0" marR="0" marT="0" marB="0" anchor="ctr">
                    <a:lnL w="12700" cap="flat" cmpd="sng" algn="ctr">
                      <a:noFill/>
                      <a:prstDash val="dash"/>
                      <a:round/>
                      <a:headEnd type="none" w="med" len="med"/>
                      <a:tailEnd type="none" w="med" len="med"/>
                    </a:lnL>
                    <a:lnR w="12700" cmpd="sng">
                      <a:noFill/>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wdUpDiag">
                      <a:fgClr>
                        <a:schemeClr val="bg1">
                          <a:lumMod val="65000"/>
                        </a:schemeClr>
                      </a:fgClr>
                      <a:bgClr>
                        <a:schemeClr val="bg1"/>
                      </a:bgClr>
                    </a:pattFill>
                  </a:tcPr>
                </a:tc>
                <a:tc>
                  <a:txBody>
                    <a:bodyPr/>
                    <a:lstStyle/>
                    <a:p>
                      <a:pPr marL="0" algn="ctr" defTabSz="914400" rtl="0" eaLnBrk="1" fontAlgn="b" latinLnBrk="0" hangingPunct="1"/>
                      <a:endParaRPr lang="en-US" sz="900" b="0" i="1" u="none" strike="noStrike" kern="1200" dirty="0">
                        <a:solidFill>
                          <a:schemeClr val="bg1">
                            <a:lumMod val="50000"/>
                          </a:schemeClr>
                        </a:solidFill>
                        <a:effectLst/>
                        <a:latin typeface="+mn-lt"/>
                        <a:ea typeface="+mn-ea"/>
                        <a:cs typeface="HelveticaNeueLT Std Med"/>
                      </a:endParaRPr>
                    </a:p>
                  </a:txBody>
                  <a:tcPr marL="0" marR="0" marT="0" marB="0" anchor="ctr">
                    <a:lnL w="12700" cmpd="sng">
                      <a:noFill/>
                    </a:lnL>
                    <a:lnR w="12700" cap="flat" cmpd="sng" algn="ctr">
                      <a:noFill/>
                      <a:prstDash val="dash"/>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wdUpDiag">
                      <a:fgClr>
                        <a:schemeClr val="bg1">
                          <a:lumMod val="65000"/>
                        </a:schemeClr>
                      </a:fgClr>
                      <a:bgClr>
                        <a:schemeClr val="bg1"/>
                      </a:bgClr>
                    </a:pattFill>
                  </a:tcPr>
                </a:tc>
                <a:tc>
                  <a:txBody>
                    <a:bodyPr/>
                    <a:lstStyle/>
                    <a:p>
                      <a:pPr marL="0" algn="ctr" defTabSz="914400" rtl="0" eaLnBrk="1" fontAlgn="b" latinLnBrk="0" hangingPunct="1"/>
                      <a:r>
                        <a:rPr lang="en-US" sz="900" b="0" i="1" u="none" strike="noStrike" kern="1200" dirty="0">
                          <a:solidFill>
                            <a:schemeClr val="bg1">
                              <a:lumMod val="50000"/>
                            </a:schemeClr>
                          </a:solidFill>
                          <a:effectLst/>
                          <a:latin typeface="+mn-lt"/>
                          <a:ea typeface="+mn-ea"/>
                          <a:cs typeface="HelveticaNeueLT Std Med"/>
                        </a:rPr>
                        <a:t>Week 6</a:t>
                      </a:r>
                    </a:p>
                  </a:txBody>
                  <a:tcPr marL="0" marR="0" marT="0" marB="0" anchor="ctr">
                    <a:lnL w="12700" cap="flat" cmpd="sng" algn="ctr">
                      <a:noFill/>
                      <a:prstDash val="dash"/>
                      <a:round/>
                      <a:headEnd type="none" w="med" len="med"/>
                      <a:tailEnd type="none" w="med" len="med"/>
                    </a:lnL>
                    <a:lnR w="12700" cmpd="sng">
                      <a:noFill/>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900" b="0" i="1" u="none" strike="noStrike" kern="1200" dirty="0">
                          <a:solidFill>
                            <a:schemeClr val="bg1">
                              <a:lumMod val="50000"/>
                            </a:schemeClr>
                          </a:solidFill>
                          <a:effectLst/>
                          <a:latin typeface="+mn-lt"/>
                          <a:ea typeface="+mn-ea"/>
                          <a:cs typeface="HelveticaNeueLT Std Med"/>
                        </a:rPr>
                        <a:t>Week 7</a:t>
                      </a:r>
                    </a:p>
                  </a:txBody>
                  <a:tcPr marL="0" marR="0" marT="0" marB="0" anchor="ctr">
                    <a:lnL w="12700" cmpd="sng">
                      <a:noFill/>
                    </a:lnL>
                    <a:lnR w="12700" cmpd="sng">
                      <a:noFill/>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900" b="0" i="1" u="none" strike="noStrike" kern="1200" dirty="0">
                          <a:solidFill>
                            <a:schemeClr val="bg1">
                              <a:lumMod val="50000"/>
                            </a:schemeClr>
                          </a:solidFill>
                          <a:effectLst/>
                          <a:latin typeface="+mn-lt"/>
                          <a:ea typeface="+mn-ea"/>
                          <a:cs typeface="HelveticaNeueLT Std Med"/>
                        </a:rPr>
                        <a:t>Week 8</a:t>
                      </a:r>
                    </a:p>
                  </a:txBody>
                  <a:tcPr marL="0" marR="0" marT="0" marB="0" anchor="ctr">
                    <a:lnL w="12700" cmpd="sng">
                      <a:noFill/>
                    </a:lnL>
                    <a:lnR w="12700" cmpd="sng">
                      <a:noFill/>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900" b="0" i="1" u="none" strike="noStrike" kern="1200" dirty="0">
                          <a:solidFill>
                            <a:schemeClr val="bg1">
                              <a:lumMod val="50000"/>
                            </a:schemeClr>
                          </a:solidFill>
                          <a:effectLst/>
                          <a:latin typeface="+mn-lt"/>
                          <a:ea typeface="+mn-ea"/>
                          <a:cs typeface="HelveticaNeueLT Std Med"/>
                        </a:rPr>
                        <a:t>Week 9</a:t>
                      </a:r>
                    </a:p>
                  </a:txBody>
                  <a:tcPr marL="0" marR="0" marT="0" marB="0" anchor="ctr">
                    <a:lnL w="12700" cmpd="sng">
                      <a:noFill/>
                    </a:lnL>
                    <a:lnR w="12700" cmpd="sng">
                      <a:noFill/>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900" b="0" i="1" u="none" strike="noStrike" kern="1200" dirty="0">
                          <a:solidFill>
                            <a:schemeClr val="bg1">
                              <a:lumMod val="50000"/>
                            </a:schemeClr>
                          </a:solidFill>
                          <a:effectLst/>
                          <a:latin typeface="+mn-lt"/>
                          <a:ea typeface="+mn-ea"/>
                          <a:cs typeface="HelveticaNeueLT Std Med"/>
                        </a:rPr>
                        <a:t>Week 10</a:t>
                      </a:r>
                    </a:p>
                  </a:txBody>
                  <a:tcPr marL="0" marR="0" marT="0" marB="0" anchor="ctr">
                    <a:lnL w="12700" cmpd="sng">
                      <a:noFill/>
                    </a:lnL>
                    <a:lnR w="12700" cmpd="sng">
                      <a:noFill/>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8872034"/>
                  </a:ext>
                </a:extLst>
              </a:tr>
              <a:tr h="544559">
                <a:tc>
                  <a:txBody>
                    <a:bodyPr/>
                    <a:lstStyle/>
                    <a:p>
                      <a:pPr algn="ctr" fontAlgn="b"/>
                      <a:endParaRPr lang="en-US" sz="1050" b="1" i="0" u="none" strike="noStrike" dirty="0">
                        <a:solidFill>
                          <a:schemeClr val="tx1"/>
                        </a:solidFill>
                        <a:effectLst/>
                        <a:latin typeface="+mn-lt"/>
                        <a:cs typeface="HelveticaNeueLT Std Med"/>
                      </a:endParaRPr>
                    </a:p>
                  </a:txBody>
                  <a:tcPr marL="0" marR="0" marT="0" marB="0" anchor="ctr">
                    <a:lnL w="952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00" b="0" i="0" u="none" strike="noStrike" dirty="0">
                        <a:solidFill>
                          <a:schemeClr val="bg1"/>
                        </a:solidFill>
                        <a:effectLst/>
                        <a:latin typeface="+mn-lt"/>
                        <a:cs typeface="HelveticaNeueLT Std Med"/>
                      </a:endParaRPr>
                    </a:p>
                  </a:txBody>
                  <a:tcPr marL="0" marR="0" marT="0" marB="0" anchor="ctr">
                    <a:lnL w="9525"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ap="flat" cmpd="sng" algn="ctr">
                      <a:noFill/>
                      <a:prstDash val="dash"/>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pattFill prst="wdUpDiag">
                      <a:fgClr>
                        <a:schemeClr val="bg1">
                          <a:lumMod val="65000"/>
                        </a:schemeClr>
                      </a:fgClr>
                      <a:bgClr>
                        <a:schemeClr val="bg1"/>
                      </a:bgClr>
                    </a:patt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ap="flat" cmpd="sng" algn="ctr">
                      <a:noFill/>
                      <a:prstDash val="dash"/>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pattFill prst="wdUpDiag">
                      <a:fgClr>
                        <a:schemeClr val="bg1">
                          <a:lumMod val="65000"/>
                        </a:schemeClr>
                      </a:fgClr>
                      <a:bgClr>
                        <a:schemeClr val="bg1"/>
                      </a:bgClr>
                    </a:patt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ap="flat" cmpd="sng" algn="ctr">
                      <a:noFill/>
                      <a:prstDash val="dash"/>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pattFill prst="wdUpDiag">
                      <a:fgClr>
                        <a:schemeClr val="bg1">
                          <a:lumMod val="65000"/>
                        </a:schemeClr>
                      </a:fgClr>
                      <a:bgClr>
                        <a:schemeClr val="bg1"/>
                      </a:bgClr>
                    </a:patt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60690"/>
                  </a:ext>
                </a:extLst>
              </a:tr>
              <a:tr h="685800">
                <a:tc>
                  <a:txBody>
                    <a:bodyPr/>
                    <a:lstStyle/>
                    <a:p>
                      <a:pPr algn="ctr" fontAlgn="b"/>
                      <a:r>
                        <a:rPr lang="en-US" sz="1000" b="1" i="0" u="none" strike="noStrike" dirty="0">
                          <a:solidFill>
                            <a:schemeClr val="tx1"/>
                          </a:solidFill>
                          <a:effectLst/>
                          <a:latin typeface="+mn-lt"/>
                          <a:cs typeface="HelveticaNeueLT Std Med"/>
                        </a:rPr>
                        <a:t>Use Case Develop. &amp; Prioritization</a:t>
                      </a:r>
                    </a:p>
                  </a:txBody>
                  <a:tcPr marL="0" marR="0" marT="0" marB="0" anchor="ctr">
                    <a:lnL w="952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000" b="0" i="0" u="none" strike="noStrike" dirty="0">
                        <a:solidFill>
                          <a:schemeClr val="bg1"/>
                        </a:solidFill>
                        <a:effectLst/>
                        <a:latin typeface="+mn-lt"/>
                        <a:cs typeface="HelveticaNeueLT Std Med"/>
                      </a:endParaRPr>
                    </a:p>
                  </a:txBody>
                  <a:tcPr marL="0" marR="0" marT="0" marB="0" anchor="ctr">
                    <a:lnL w="952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wdUpDiag">
                      <a:fgClr>
                        <a:schemeClr val="bg1">
                          <a:lumMod val="65000"/>
                        </a:schemeClr>
                      </a:fgClr>
                      <a:bgClr>
                        <a:schemeClr val="bg1"/>
                      </a:bgClr>
                    </a:patt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wdUpDiag">
                      <a:fgClr>
                        <a:schemeClr val="bg1">
                          <a:lumMod val="65000"/>
                        </a:schemeClr>
                      </a:fgClr>
                      <a:bgClr>
                        <a:schemeClr val="bg1"/>
                      </a:bgClr>
                    </a:patt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wdUpDiag">
                      <a:fgClr>
                        <a:schemeClr val="bg1">
                          <a:lumMod val="65000"/>
                        </a:schemeClr>
                      </a:fgClr>
                      <a:bgClr>
                        <a:schemeClr val="bg1"/>
                      </a:bgClr>
                    </a:patt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685800">
                <a:tc>
                  <a:txBody>
                    <a:bodyPr/>
                    <a:lstStyle/>
                    <a:p>
                      <a:pPr algn="ctr" fontAlgn="b"/>
                      <a:r>
                        <a:rPr lang="en-US" sz="1000" b="1" i="0" u="none" strike="noStrike" dirty="0">
                          <a:solidFill>
                            <a:schemeClr val="tx1"/>
                          </a:solidFill>
                          <a:effectLst/>
                          <a:latin typeface="+mn-lt"/>
                          <a:cs typeface="HelveticaNeueLT Std Med"/>
                        </a:rPr>
                        <a:t>Current </a:t>
                      </a:r>
                    </a:p>
                    <a:p>
                      <a:pPr algn="ctr" fontAlgn="b"/>
                      <a:r>
                        <a:rPr lang="en-US" sz="1000" b="1" i="0" u="none" strike="noStrike" dirty="0">
                          <a:solidFill>
                            <a:schemeClr val="tx1"/>
                          </a:solidFill>
                          <a:effectLst/>
                          <a:latin typeface="+mn-lt"/>
                          <a:cs typeface="HelveticaNeueLT Std Med"/>
                        </a:rPr>
                        <a:t>State</a:t>
                      </a:r>
                      <a:r>
                        <a:rPr lang="en-US" sz="1000" b="1" i="0" u="none" strike="noStrike" baseline="0" dirty="0">
                          <a:solidFill>
                            <a:schemeClr val="tx1"/>
                          </a:solidFill>
                          <a:effectLst/>
                          <a:latin typeface="+mn-lt"/>
                          <a:cs typeface="HelveticaNeueLT Std Med"/>
                        </a:rPr>
                        <a:t> &amp; </a:t>
                      </a:r>
                    </a:p>
                    <a:p>
                      <a:pPr algn="ctr" fontAlgn="b"/>
                      <a:r>
                        <a:rPr lang="en-US" sz="1000" b="1" i="0" u="none" strike="noStrike" baseline="0" dirty="0">
                          <a:solidFill>
                            <a:schemeClr val="tx1"/>
                          </a:solidFill>
                          <a:effectLst/>
                          <a:latin typeface="+mn-lt"/>
                          <a:cs typeface="HelveticaNeueLT Std Med"/>
                        </a:rPr>
                        <a:t>Gap Analysis</a:t>
                      </a:r>
                      <a:endParaRPr lang="en-US" sz="1000" b="1" i="0" u="none" strike="noStrike" dirty="0">
                        <a:solidFill>
                          <a:schemeClr val="tx1"/>
                        </a:solidFill>
                        <a:effectLst/>
                        <a:latin typeface="+mn-lt"/>
                        <a:cs typeface="HelveticaNeueLT Std Med"/>
                      </a:endParaRPr>
                    </a:p>
                  </a:txBody>
                  <a:tcPr marL="0" marR="0" marT="0" marB="0" anchor="ctr">
                    <a:lnL w="952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00" b="0" i="0" u="none" strike="noStrike" dirty="0">
                        <a:solidFill>
                          <a:schemeClr val="bg1"/>
                        </a:solidFill>
                        <a:effectLst/>
                        <a:latin typeface="+mn-lt"/>
                        <a:cs typeface="HelveticaNeueLT Std Med"/>
                      </a:endParaRPr>
                    </a:p>
                  </a:txBody>
                  <a:tcPr marL="0" marR="0" marT="0" marB="0" anchor="ctr">
                    <a:lnL w="952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wdUpDiag">
                      <a:fgClr>
                        <a:schemeClr val="bg1">
                          <a:lumMod val="65000"/>
                        </a:schemeClr>
                      </a:fgClr>
                      <a:bgClr>
                        <a:schemeClr val="bg1"/>
                      </a:bgClr>
                    </a:patt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wdUpDiag">
                      <a:fgClr>
                        <a:schemeClr val="bg1">
                          <a:lumMod val="65000"/>
                        </a:schemeClr>
                      </a:fgClr>
                      <a:bgClr>
                        <a:schemeClr val="bg1"/>
                      </a:bgClr>
                    </a:patt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wdUpDiag">
                      <a:fgClr>
                        <a:schemeClr val="bg1">
                          <a:lumMod val="65000"/>
                        </a:schemeClr>
                      </a:fgClr>
                      <a:bgClr>
                        <a:schemeClr val="bg1"/>
                      </a:bgClr>
                    </a:patt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23686073"/>
                  </a:ext>
                </a:extLst>
              </a:tr>
              <a:tr h="685800">
                <a:tc>
                  <a:txBody>
                    <a:bodyPr/>
                    <a:lstStyle/>
                    <a:p>
                      <a:pPr algn="ctr" fontAlgn="b"/>
                      <a:r>
                        <a:rPr lang="en-US" sz="1000" b="1" i="0" u="none" strike="noStrike" dirty="0">
                          <a:solidFill>
                            <a:schemeClr val="tx1"/>
                          </a:solidFill>
                          <a:effectLst/>
                          <a:latin typeface="+mn-lt"/>
                          <a:cs typeface="HelveticaNeueLT Std Med"/>
                        </a:rPr>
                        <a:t>High-level Operating Model</a:t>
                      </a:r>
                    </a:p>
                  </a:txBody>
                  <a:tcPr marL="0" marR="0" marT="0" marB="0" anchor="ctr">
                    <a:lnL w="952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000" b="0" i="0" u="none" strike="noStrike" dirty="0">
                        <a:solidFill>
                          <a:schemeClr val="bg1"/>
                        </a:solidFill>
                        <a:effectLst/>
                        <a:latin typeface="+mn-lt"/>
                        <a:cs typeface="HelveticaNeueLT Std Med"/>
                      </a:endParaRPr>
                    </a:p>
                  </a:txBody>
                  <a:tcPr marL="0" marR="0" marT="0" marB="0" anchor="ctr">
                    <a:lnL w="952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wdUpDiag">
                      <a:fgClr>
                        <a:schemeClr val="bg1">
                          <a:lumMod val="65000"/>
                        </a:schemeClr>
                      </a:fgClr>
                      <a:bgClr>
                        <a:schemeClr val="bg1"/>
                      </a:bgClr>
                    </a:patt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wdUpDiag">
                      <a:fgClr>
                        <a:schemeClr val="bg1">
                          <a:lumMod val="65000"/>
                        </a:schemeClr>
                      </a:fgClr>
                      <a:bgClr>
                        <a:schemeClr val="bg1"/>
                      </a:bgClr>
                    </a:patt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wdUpDiag">
                      <a:fgClr>
                        <a:schemeClr val="bg1">
                          <a:lumMod val="65000"/>
                        </a:schemeClr>
                      </a:fgClr>
                      <a:bgClr>
                        <a:schemeClr val="bg1"/>
                      </a:bgClr>
                    </a:patt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11187177"/>
                  </a:ext>
                </a:extLst>
              </a:tr>
              <a:tr h="685800">
                <a:tc>
                  <a:txBody>
                    <a:bodyPr/>
                    <a:lstStyle/>
                    <a:p>
                      <a:pPr algn="ctr" fontAlgn="b"/>
                      <a:r>
                        <a:rPr lang="en-US" sz="1000" b="1" i="0" u="none" strike="noStrike" baseline="0" dirty="0">
                          <a:solidFill>
                            <a:schemeClr val="tx1"/>
                          </a:solidFill>
                          <a:effectLst/>
                          <a:latin typeface="+mn-lt"/>
                          <a:cs typeface="HelveticaNeueLT Std Med"/>
                        </a:rPr>
                        <a:t>Solution &amp; Technical Architecture</a:t>
                      </a:r>
                    </a:p>
                  </a:txBody>
                  <a:tcPr marL="0" marR="0" marT="0" marB="0" anchor="ctr">
                    <a:lnL w="952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00" b="0" i="0" u="none" strike="noStrike" dirty="0">
                        <a:solidFill>
                          <a:schemeClr val="bg1"/>
                        </a:solidFill>
                        <a:effectLst/>
                        <a:latin typeface="+mn-lt"/>
                        <a:cs typeface="HelveticaNeueLT Std Med"/>
                      </a:endParaRPr>
                    </a:p>
                  </a:txBody>
                  <a:tcPr marL="0" marR="0" marT="0" marB="0" anchor="ctr">
                    <a:lnL w="952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wdUpDiag">
                      <a:fgClr>
                        <a:schemeClr val="bg1">
                          <a:lumMod val="65000"/>
                        </a:schemeClr>
                      </a:fgClr>
                      <a:bgClr>
                        <a:schemeClr val="bg1"/>
                      </a:bgClr>
                    </a:patt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wdUpDiag">
                      <a:fgClr>
                        <a:schemeClr val="bg1">
                          <a:lumMod val="65000"/>
                        </a:schemeClr>
                      </a:fgClr>
                      <a:bgClr>
                        <a:schemeClr val="bg1"/>
                      </a:bgClr>
                    </a:patt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wdUpDiag">
                      <a:fgClr>
                        <a:schemeClr val="bg1">
                          <a:lumMod val="65000"/>
                        </a:schemeClr>
                      </a:fgClr>
                      <a:bgClr>
                        <a:schemeClr val="bg1"/>
                      </a:bgClr>
                    </a:patt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9192657"/>
                  </a:ext>
                </a:extLst>
              </a:tr>
              <a:tr h="685800">
                <a:tc>
                  <a:txBody>
                    <a:bodyPr/>
                    <a:lstStyle/>
                    <a:p>
                      <a:pPr algn="ctr" fontAlgn="b"/>
                      <a:r>
                        <a:rPr lang="en-US" sz="1000" b="1" i="0" u="none" strike="noStrike" dirty="0">
                          <a:solidFill>
                            <a:schemeClr val="tx1"/>
                          </a:solidFill>
                          <a:effectLst/>
                          <a:latin typeface="+mn-lt"/>
                          <a:cs typeface="HelveticaNeueLT Std Med"/>
                        </a:rPr>
                        <a:t>Implement. Plan &amp; Roadmap</a:t>
                      </a:r>
                    </a:p>
                  </a:txBody>
                  <a:tcPr marL="0" marR="0" marT="0" marB="0" anchor="ctr">
                    <a:lnL w="952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000" b="0" i="0" u="none" strike="noStrike" dirty="0">
                        <a:solidFill>
                          <a:schemeClr val="bg1"/>
                        </a:solidFill>
                        <a:effectLst/>
                        <a:latin typeface="+mn-lt"/>
                        <a:cs typeface="HelveticaNeueLT Std Med"/>
                      </a:endParaRPr>
                    </a:p>
                  </a:txBody>
                  <a:tcPr marL="0" marR="0" marT="0" marB="0" anchor="ctr">
                    <a:lnL w="952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wdUpDiag">
                      <a:fgClr>
                        <a:schemeClr val="bg1">
                          <a:lumMod val="65000"/>
                        </a:schemeClr>
                      </a:fgClr>
                      <a:bgClr>
                        <a:schemeClr val="bg1"/>
                      </a:bgClr>
                    </a:patt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wdUpDiag">
                      <a:fgClr>
                        <a:schemeClr val="bg1">
                          <a:lumMod val="65000"/>
                        </a:schemeClr>
                      </a:fgClr>
                      <a:bgClr>
                        <a:schemeClr val="bg1"/>
                      </a:bgClr>
                    </a:patt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wdUpDiag">
                      <a:fgClr>
                        <a:schemeClr val="bg1">
                          <a:lumMod val="65000"/>
                        </a:schemeClr>
                      </a:fgClr>
                      <a:bgClr>
                        <a:schemeClr val="bg1"/>
                      </a:bgClr>
                    </a:patt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07915677"/>
                  </a:ext>
                </a:extLst>
              </a:tr>
              <a:tr h="284017">
                <a:tc gridSpan="3">
                  <a:txBody>
                    <a:bodyPr/>
                    <a:lstStyle/>
                    <a:p>
                      <a:pPr algn="l" fontAlgn="b"/>
                      <a:r>
                        <a:rPr lang="en-US" sz="1000" b="1" i="0" u="none" strike="noStrike" dirty="0">
                          <a:solidFill>
                            <a:schemeClr val="bg1"/>
                          </a:solidFill>
                          <a:effectLst/>
                          <a:latin typeface="+mn-lt"/>
                          <a:cs typeface="HelveticaNeueLT Std Med"/>
                        </a:rPr>
                        <a:t>   Proof of Concept (</a:t>
                      </a:r>
                      <a:r>
                        <a:rPr lang="en-US" sz="1000" b="0" i="1" u="none" strike="noStrike" dirty="0">
                          <a:solidFill>
                            <a:schemeClr val="bg1"/>
                          </a:solidFill>
                          <a:effectLst/>
                          <a:latin typeface="+mn-lt"/>
                          <a:cs typeface="HelveticaNeueLT Std Med"/>
                        </a:rPr>
                        <a:t>Optional</a:t>
                      </a:r>
                      <a:r>
                        <a:rPr lang="en-US" sz="1000" b="1" i="0" u="none" strike="noStrike" dirty="0">
                          <a:solidFill>
                            <a:schemeClr val="bg1"/>
                          </a:solidFill>
                          <a:effectLst/>
                          <a:latin typeface="+mn-lt"/>
                          <a:cs typeface="HelveticaNeueLT Std Med"/>
                        </a:rPr>
                        <a:t>)</a:t>
                      </a:r>
                    </a:p>
                  </a:txBody>
                  <a:tcPr marL="0" marR="0" marT="0" marB="0" anchor="ctr">
                    <a:lnL w="952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fontAlgn="b"/>
                      <a:endParaRPr lang="en-US" sz="1000" b="0" i="0" u="none" strike="noStrike" dirty="0">
                        <a:solidFill>
                          <a:schemeClr val="bg1"/>
                        </a:solidFill>
                        <a:effectLst/>
                        <a:latin typeface="+mn-lt"/>
                        <a:cs typeface="HelveticaNeueLT Std Med"/>
                      </a:endParaRPr>
                    </a:p>
                  </a:txBody>
                  <a:tcPr marL="0" marR="0" marT="0" marB="0" anchor="ctr">
                    <a:lnL w="952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wdUpDiag">
                      <a:fgClr>
                        <a:schemeClr val="bg1">
                          <a:lumMod val="65000"/>
                        </a:schemeClr>
                      </a:fgClr>
                      <a:bgClr>
                        <a:schemeClr val="bg1"/>
                      </a:bgClr>
                    </a:patt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wdUpDiag">
                      <a:fgClr>
                        <a:schemeClr val="bg1">
                          <a:lumMod val="65000"/>
                        </a:schemeClr>
                      </a:fgClr>
                      <a:bgClr>
                        <a:schemeClr val="bg1"/>
                      </a:bgClr>
                    </a:patt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wdUpDiag">
                      <a:fgClr>
                        <a:schemeClr val="bg1">
                          <a:lumMod val="65000"/>
                        </a:schemeClr>
                      </a:fgClr>
                      <a:bgClr>
                        <a:schemeClr val="bg1"/>
                      </a:bgClr>
                    </a:patt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ap="flat" cmpd="sng" algn="ctr">
                      <a:noFill/>
                      <a:prstDash val="dash"/>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10008"/>
                  </a:ext>
                </a:extLst>
              </a:tr>
            </a:tbl>
          </a:graphicData>
        </a:graphic>
      </p:graphicFrame>
      <p:sp>
        <p:nvSpPr>
          <p:cNvPr id="11" name="Isosceles Triangle 10">
            <a:extLst>
              <a:ext uri="{FF2B5EF4-FFF2-40B4-BE49-F238E27FC236}">
                <a16:creationId xmlns:a16="http://schemas.microsoft.com/office/drawing/2014/main" id="{B51152FB-77BA-4C27-A267-390A05A438CE}"/>
              </a:ext>
            </a:extLst>
          </p:cNvPr>
          <p:cNvSpPr/>
          <p:nvPr/>
        </p:nvSpPr>
        <p:spPr>
          <a:xfrm>
            <a:off x="5183158" y="6332049"/>
            <a:ext cx="179579" cy="160436"/>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Open Sans" charset="0"/>
              <a:cs typeface="Open Sans" charset="0"/>
            </a:endParaRPr>
          </a:p>
        </p:txBody>
      </p:sp>
      <p:sp>
        <p:nvSpPr>
          <p:cNvPr id="12" name="TextBox 11">
            <a:extLst>
              <a:ext uri="{FF2B5EF4-FFF2-40B4-BE49-F238E27FC236}">
                <a16:creationId xmlns:a16="http://schemas.microsoft.com/office/drawing/2014/main" id="{500A549D-5396-4724-BAD9-7682A46B1D57}"/>
              </a:ext>
            </a:extLst>
          </p:cNvPr>
          <p:cNvSpPr txBox="1"/>
          <p:nvPr/>
        </p:nvSpPr>
        <p:spPr>
          <a:xfrm>
            <a:off x="4606664" y="6307322"/>
            <a:ext cx="914400" cy="209890"/>
          </a:xfrm>
          <a:prstGeom prst="rect">
            <a:avLst/>
          </a:prstGeom>
        </p:spPr>
        <p:txBody>
          <a:bodyPr vert="horz" wrap="none" lIns="91440" tIns="45720" rIns="91440" bIns="45720" rtlCol="0" anchor="ctr">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Open Sans"/>
                <a:ea typeface="Open Sans" charset="0"/>
                <a:cs typeface="Open Sans" charset="0"/>
              </a:rPr>
              <a:t>KEY</a:t>
            </a:r>
          </a:p>
        </p:txBody>
      </p:sp>
      <p:sp>
        <p:nvSpPr>
          <p:cNvPr id="13" name="TextBox 12">
            <a:extLst>
              <a:ext uri="{FF2B5EF4-FFF2-40B4-BE49-F238E27FC236}">
                <a16:creationId xmlns:a16="http://schemas.microsoft.com/office/drawing/2014/main" id="{F1392716-EE86-40A8-8081-5388B6428AEB}"/>
              </a:ext>
            </a:extLst>
          </p:cNvPr>
          <p:cNvSpPr txBox="1"/>
          <p:nvPr/>
        </p:nvSpPr>
        <p:spPr>
          <a:xfrm>
            <a:off x="5322646" y="6301653"/>
            <a:ext cx="914400" cy="221228"/>
          </a:xfrm>
          <a:prstGeom prst="rect">
            <a:avLst/>
          </a:prstGeom>
        </p:spPr>
        <p:txBody>
          <a:bodyPr vert="horz" wrap="none" lIns="91440" tIns="45720" rIns="91440" bIns="45720" rtlCol="0" anchor="ct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a:ea typeface="Open Sans" charset="0"/>
                <a:cs typeface="Open Sans" charset="0"/>
              </a:rPr>
              <a:t>Lab</a:t>
            </a:r>
            <a:endParaRPr kumimoji="0" lang="en-US" sz="800" b="0" i="1" u="none" strike="noStrike" kern="1200" cap="none" spc="0" normalizeH="0" baseline="0" noProof="0" dirty="0">
              <a:ln>
                <a:noFill/>
              </a:ln>
              <a:solidFill>
                <a:srgbClr val="000000"/>
              </a:solidFill>
              <a:effectLst/>
              <a:uLnTx/>
              <a:uFillTx/>
              <a:latin typeface="Open Sans"/>
              <a:ea typeface="Open Sans" charset="0"/>
              <a:cs typeface="Open Sans" charset="0"/>
            </a:endParaRPr>
          </a:p>
        </p:txBody>
      </p:sp>
      <p:sp>
        <p:nvSpPr>
          <p:cNvPr id="14" name="Rectangle 13">
            <a:extLst>
              <a:ext uri="{FF2B5EF4-FFF2-40B4-BE49-F238E27FC236}">
                <a16:creationId xmlns:a16="http://schemas.microsoft.com/office/drawing/2014/main" id="{792094FF-7E42-4EC0-8F9B-ED6E48694AE5}"/>
              </a:ext>
            </a:extLst>
          </p:cNvPr>
          <p:cNvSpPr/>
          <p:nvPr/>
        </p:nvSpPr>
        <p:spPr>
          <a:xfrm>
            <a:off x="5758853" y="6332049"/>
            <a:ext cx="158114" cy="16043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Open Sans" charset="0"/>
              <a:cs typeface="Open Sans" charset="0"/>
            </a:endParaRPr>
          </a:p>
        </p:txBody>
      </p:sp>
      <p:sp>
        <p:nvSpPr>
          <p:cNvPr id="15" name="TextBox 14">
            <a:extLst>
              <a:ext uri="{FF2B5EF4-FFF2-40B4-BE49-F238E27FC236}">
                <a16:creationId xmlns:a16="http://schemas.microsoft.com/office/drawing/2014/main" id="{9A6ACBC1-0EF3-494B-88C2-F11FA83D2C33}"/>
              </a:ext>
            </a:extLst>
          </p:cNvPr>
          <p:cNvSpPr txBox="1"/>
          <p:nvPr/>
        </p:nvSpPr>
        <p:spPr>
          <a:xfrm>
            <a:off x="5876183" y="6301653"/>
            <a:ext cx="914400" cy="221228"/>
          </a:xfrm>
          <a:prstGeom prst="rect">
            <a:avLst/>
          </a:prstGeom>
        </p:spPr>
        <p:txBody>
          <a:bodyPr vert="horz" wrap="none" lIns="91440" tIns="45720" rIns="91440" bIns="45720" rtlCol="0" anchor="ct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a:ea typeface="Open Sans" charset="0"/>
                <a:cs typeface="Open Sans" charset="0"/>
              </a:rPr>
              <a:t>Activities &amp; Deliverables</a:t>
            </a:r>
            <a:endParaRPr kumimoji="0" lang="en-US" sz="800" b="0" i="1" u="none" strike="noStrike" kern="1200" cap="none" spc="0" normalizeH="0" baseline="0" noProof="0" dirty="0">
              <a:ln>
                <a:noFill/>
              </a:ln>
              <a:solidFill>
                <a:srgbClr val="000000"/>
              </a:solidFill>
              <a:effectLst/>
              <a:uLnTx/>
              <a:uFillTx/>
              <a:latin typeface="Open Sans"/>
              <a:ea typeface="Open Sans" charset="0"/>
              <a:cs typeface="Open Sans" charset="0"/>
            </a:endParaRPr>
          </a:p>
        </p:txBody>
      </p:sp>
      <p:sp>
        <p:nvSpPr>
          <p:cNvPr id="16" name="TextBox 15">
            <a:extLst>
              <a:ext uri="{FF2B5EF4-FFF2-40B4-BE49-F238E27FC236}">
                <a16:creationId xmlns:a16="http://schemas.microsoft.com/office/drawing/2014/main" id="{9628049B-EEFF-47B8-9F46-996EB9F5A347}"/>
              </a:ext>
            </a:extLst>
          </p:cNvPr>
          <p:cNvSpPr txBox="1"/>
          <p:nvPr/>
        </p:nvSpPr>
        <p:spPr>
          <a:xfrm>
            <a:off x="7401292" y="6301653"/>
            <a:ext cx="914400" cy="221228"/>
          </a:xfrm>
          <a:prstGeom prst="rect">
            <a:avLst/>
          </a:prstGeom>
        </p:spPr>
        <p:txBody>
          <a:bodyPr vert="horz" wrap="none" lIns="91440" tIns="45720" rIns="91440" bIns="45720" rtlCol="0" anchor="ct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a:ea typeface="Open Sans" charset="0"/>
                <a:cs typeface="Open Sans" charset="0"/>
              </a:rPr>
              <a:t>Steering Committee Checkpoint</a:t>
            </a:r>
            <a:endParaRPr kumimoji="0" lang="en-US" sz="800" b="0" i="1" u="none" strike="noStrike" kern="1200" cap="none" spc="0" normalizeH="0" baseline="0" noProof="0" dirty="0">
              <a:ln>
                <a:noFill/>
              </a:ln>
              <a:solidFill>
                <a:srgbClr val="000000"/>
              </a:solidFill>
              <a:effectLst/>
              <a:uLnTx/>
              <a:uFillTx/>
              <a:latin typeface="Open Sans"/>
              <a:ea typeface="Open Sans" charset="0"/>
              <a:cs typeface="Open Sans" charset="0"/>
            </a:endParaRPr>
          </a:p>
        </p:txBody>
      </p:sp>
      <p:sp>
        <p:nvSpPr>
          <p:cNvPr id="17" name="Flowchart: Connector 16">
            <a:extLst>
              <a:ext uri="{FF2B5EF4-FFF2-40B4-BE49-F238E27FC236}">
                <a16:creationId xmlns:a16="http://schemas.microsoft.com/office/drawing/2014/main" id="{6B038C80-E094-4801-9553-C7498D7C701D}"/>
              </a:ext>
            </a:extLst>
          </p:cNvPr>
          <p:cNvSpPr/>
          <p:nvPr/>
        </p:nvSpPr>
        <p:spPr>
          <a:xfrm>
            <a:off x="7252756" y="6335287"/>
            <a:ext cx="173736" cy="153960"/>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Frutiger Next Pro" panose="020B0503040204020203" pitchFamily="34" charset="0"/>
              <a:ea typeface="+mn-ea"/>
              <a:cs typeface="+mn-cs"/>
            </a:endParaRPr>
          </a:p>
        </p:txBody>
      </p:sp>
      <p:sp>
        <p:nvSpPr>
          <p:cNvPr id="18" name="Oval 17">
            <a:extLst>
              <a:ext uri="{FF2B5EF4-FFF2-40B4-BE49-F238E27FC236}">
                <a16:creationId xmlns:a16="http://schemas.microsoft.com/office/drawing/2014/main" id="{F9A556CC-31C4-4F23-8821-EFE44013B4B1}"/>
              </a:ext>
            </a:extLst>
          </p:cNvPr>
          <p:cNvSpPr/>
          <p:nvPr/>
        </p:nvSpPr>
        <p:spPr>
          <a:xfrm>
            <a:off x="9132050" y="6332049"/>
            <a:ext cx="173812" cy="16043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Open Sans" charset="0"/>
              <a:cs typeface="Open Sans" charset="0"/>
            </a:endParaRPr>
          </a:p>
        </p:txBody>
      </p:sp>
      <p:sp>
        <p:nvSpPr>
          <p:cNvPr id="19" name="TextBox 18">
            <a:extLst>
              <a:ext uri="{FF2B5EF4-FFF2-40B4-BE49-F238E27FC236}">
                <a16:creationId xmlns:a16="http://schemas.microsoft.com/office/drawing/2014/main" id="{5D037714-4555-44B2-86C2-BF2089587617}"/>
              </a:ext>
            </a:extLst>
          </p:cNvPr>
          <p:cNvSpPr txBox="1"/>
          <p:nvPr/>
        </p:nvSpPr>
        <p:spPr>
          <a:xfrm>
            <a:off x="9263959" y="6301653"/>
            <a:ext cx="914400" cy="221228"/>
          </a:xfrm>
          <a:prstGeom prst="rect">
            <a:avLst/>
          </a:prstGeom>
        </p:spPr>
        <p:txBody>
          <a:bodyPr vert="horz" wrap="none" lIns="91440" tIns="45720" rIns="91440" bIns="45720" rtlCol="0" anchor="ct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5" normalizeH="0" baseline="0" noProof="0" dirty="0">
                <a:ln>
                  <a:noFill/>
                </a:ln>
                <a:solidFill>
                  <a:srgbClr val="000000"/>
                </a:solidFill>
                <a:effectLst/>
                <a:uLnTx/>
                <a:uFillTx/>
                <a:latin typeface="Open Sans"/>
                <a:ea typeface="Open Sans" charset="0"/>
                <a:cs typeface="Open Sans" charset="0"/>
              </a:rPr>
              <a:t>Digital Foundation Data Team Checkpoint</a:t>
            </a:r>
            <a:endParaRPr kumimoji="0" lang="en-US" sz="800" b="0" i="1" u="none" strike="noStrike" kern="1200" cap="none" spc="0" normalizeH="0" baseline="0" noProof="0" dirty="0">
              <a:ln>
                <a:noFill/>
              </a:ln>
              <a:solidFill>
                <a:srgbClr val="000000"/>
              </a:solidFill>
              <a:effectLst/>
              <a:uLnTx/>
              <a:uFillTx/>
              <a:latin typeface="Open Sans"/>
              <a:ea typeface="Open Sans" charset="0"/>
              <a:cs typeface="Open Sans" charset="0"/>
            </a:endParaRPr>
          </a:p>
        </p:txBody>
      </p:sp>
      <p:sp>
        <p:nvSpPr>
          <p:cNvPr id="20" name="object 24">
            <a:extLst>
              <a:ext uri="{FF2B5EF4-FFF2-40B4-BE49-F238E27FC236}">
                <a16:creationId xmlns:a16="http://schemas.microsoft.com/office/drawing/2014/main" id="{37418EAE-A254-4451-8D73-B19C757FDC7A}"/>
              </a:ext>
            </a:extLst>
          </p:cNvPr>
          <p:cNvSpPr txBox="1"/>
          <p:nvPr/>
        </p:nvSpPr>
        <p:spPr>
          <a:xfrm>
            <a:off x="2781732" y="2213808"/>
            <a:ext cx="997168" cy="276999"/>
          </a:xfrm>
          <a:prstGeom prst="rect">
            <a:avLst/>
          </a:prstGeom>
        </p:spPr>
        <p:txBody>
          <a:bodyPr vert="horz" wrap="square" lIns="0" tIns="0" rIns="0" bIns="0" rtlCol="0">
            <a:spAutoFit/>
          </a:bodyPr>
          <a:lstStyle>
            <a:defPPr>
              <a:defRPr lang="en-US"/>
            </a:defPPr>
            <a:lvl1pPr marL="12700" algn="ctr" defTabSz="1219170">
              <a:defRPr sz="900" spc="-5">
                <a:solidFill>
                  <a:schemeClr val="bg1">
                    <a:lumMod val="50000"/>
                  </a:schemeClr>
                </a:solidFill>
                <a:ea typeface="Open Sans" charset="0"/>
                <a:cs typeface="Open Sans" charset="0"/>
              </a:defRPr>
            </a:lvl1pPr>
          </a:lstStyle>
          <a:p>
            <a:pPr marL="12700" marR="0" lvl="0" indent="0" algn="ctr" defTabSz="121917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5" normalizeH="0" baseline="0" noProof="0" dirty="0">
                <a:ln>
                  <a:noFill/>
                </a:ln>
                <a:solidFill>
                  <a:srgbClr val="FFFFFF">
                    <a:lumMod val="50000"/>
                  </a:srgbClr>
                </a:solidFill>
                <a:effectLst/>
                <a:uLnTx/>
                <a:uFillTx/>
                <a:latin typeface="Open Sans"/>
                <a:ea typeface="Open Sans" charset="0"/>
                <a:cs typeface="Open Sans" charset="0"/>
              </a:rPr>
              <a:t>Use Case Prioritization Lab</a:t>
            </a:r>
          </a:p>
        </p:txBody>
      </p:sp>
      <p:sp>
        <p:nvSpPr>
          <p:cNvPr id="21" name="object 24">
            <a:extLst>
              <a:ext uri="{FF2B5EF4-FFF2-40B4-BE49-F238E27FC236}">
                <a16:creationId xmlns:a16="http://schemas.microsoft.com/office/drawing/2014/main" id="{70B3F3CA-68A2-46F9-98B7-4F6A5A49AED5}"/>
              </a:ext>
            </a:extLst>
          </p:cNvPr>
          <p:cNvSpPr txBox="1"/>
          <p:nvPr/>
        </p:nvSpPr>
        <p:spPr>
          <a:xfrm>
            <a:off x="7987600" y="2213808"/>
            <a:ext cx="1807330" cy="138499"/>
          </a:xfrm>
          <a:prstGeom prst="rect">
            <a:avLst/>
          </a:prstGeom>
        </p:spPr>
        <p:txBody>
          <a:bodyPr vert="horz" wrap="square" lIns="0" tIns="0" rIns="0" bIns="0" rtlCol="0">
            <a:spAutoFit/>
          </a:bodyPr>
          <a:lstStyle>
            <a:defPPr>
              <a:defRPr lang="en-US"/>
            </a:defPPr>
            <a:lvl1pPr marL="12700" algn="ctr" defTabSz="1219170">
              <a:defRPr sz="900" spc="-5">
                <a:solidFill>
                  <a:srgbClr val="000000"/>
                </a:solidFill>
                <a:ea typeface="Open Sans" charset="0"/>
                <a:cs typeface="Open Sans" charset="0"/>
              </a:defRPr>
            </a:lvl1pPr>
          </a:lstStyle>
          <a:p>
            <a:pPr marL="12700" marR="0" lvl="0" indent="0" algn="ctr" defTabSz="121917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5" normalizeH="0" baseline="0" noProof="0" dirty="0">
                <a:ln>
                  <a:noFill/>
                </a:ln>
                <a:solidFill>
                  <a:srgbClr val="FFFFFF">
                    <a:lumMod val="50000"/>
                  </a:srgbClr>
                </a:solidFill>
                <a:effectLst/>
                <a:uLnTx/>
                <a:uFillTx/>
                <a:latin typeface="Open Sans"/>
                <a:ea typeface="Open Sans" charset="0"/>
                <a:cs typeface="Open Sans" charset="0"/>
              </a:rPr>
              <a:t>Design Alignment Lab</a:t>
            </a:r>
          </a:p>
        </p:txBody>
      </p:sp>
      <p:sp>
        <p:nvSpPr>
          <p:cNvPr id="22" name="object 24">
            <a:extLst>
              <a:ext uri="{FF2B5EF4-FFF2-40B4-BE49-F238E27FC236}">
                <a16:creationId xmlns:a16="http://schemas.microsoft.com/office/drawing/2014/main" id="{A8041D70-E68D-4737-B1E2-61C1E0E075F2}"/>
              </a:ext>
            </a:extLst>
          </p:cNvPr>
          <p:cNvSpPr txBox="1"/>
          <p:nvPr/>
        </p:nvSpPr>
        <p:spPr>
          <a:xfrm>
            <a:off x="4493642" y="2213808"/>
            <a:ext cx="1217484" cy="138499"/>
          </a:xfrm>
          <a:prstGeom prst="rect">
            <a:avLst/>
          </a:prstGeom>
        </p:spPr>
        <p:txBody>
          <a:bodyPr vert="horz" wrap="square" lIns="0" tIns="0" rIns="0" bIns="0" rtlCol="0">
            <a:spAutoFit/>
          </a:bodyPr>
          <a:lstStyle>
            <a:defPPr>
              <a:defRPr lang="en-US"/>
            </a:defPPr>
            <a:lvl1pPr marL="12700" algn="ctr" defTabSz="1219170">
              <a:defRPr sz="900" spc="-5">
                <a:solidFill>
                  <a:srgbClr val="000000"/>
                </a:solidFill>
                <a:ea typeface="Open Sans" charset="0"/>
                <a:cs typeface="Open Sans" charset="0"/>
              </a:defRPr>
            </a:lvl1pPr>
          </a:lstStyle>
          <a:p>
            <a:pPr marL="12700" marR="0" lvl="0" indent="0" algn="ctr" defTabSz="121917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5" normalizeH="0" baseline="0" noProof="0" dirty="0">
                <a:ln>
                  <a:noFill/>
                </a:ln>
                <a:solidFill>
                  <a:srgbClr val="FFFFFF">
                    <a:lumMod val="50000"/>
                  </a:srgbClr>
                </a:solidFill>
                <a:effectLst/>
                <a:uLnTx/>
                <a:uFillTx/>
                <a:latin typeface="Open Sans"/>
                <a:ea typeface="Open Sans" charset="0"/>
                <a:cs typeface="Open Sans" charset="0"/>
              </a:rPr>
              <a:t>Board Meeting</a:t>
            </a:r>
          </a:p>
        </p:txBody>
      </p:sp>
      <p:sp>
        <p:nvSpPr>
          <p:cNvPr id="23" name="object 24">
            <a:extLst>
              <a:ext uri="{FF2B5EF4-FFF2-40B4-BE49-F238E27FC236}">
                <a16:creationId xmlns:a16="http://schemas.microsoft.com/office/drawing/2014/main" id="{12DE1052-302E-4E9B-986D-3799F2592BFF}"/>
              </a:ext>
            </a:extLst>
          </p:cNvPr>
          <p:cNvSpPr txBox="1"/>
          <p:nvPr/>
        </p:nvSpPr>
        <p:spPr>
          <a:xfrm>
            <a:off x="1903053" y="2213808"/>
            <a:ext cx="618035" cy="138499"/>
          </a:xfrm>
          <a:prstGeom prst="rect">
            <a:avLst/>
          </a:prstGeom>
        </p:spPr>
        <p:txBody>
          <a:bodyPr vert="horz" wrap="square" lIns="0" tIns="0" rIns="0" bIns="0" rtlCol="0">
            <a:spAutoFit/>
          </a:bodyPr>
          <a:lstStyle>
            <a:defPPr>
              <a:defRPr lang="en-US"/>
            </a:defPPr>
            <a:lvl1pPr marL="12700" algn="ctr" defTabSz="1219170">
              <a:defRPr sz="900" spc="-5">
                <a:solidFill>
                  <a:srgbClr val="000000"/>
                </a:solidFill>
                <a:ea typeface="Open Sans" charset="0"/>
                <a:cs typeface="Open Sans" charset="0"/>
              </a:defRPr>
            </a:lvl1pPr>
          </a:lstStyle>
          <a:p>
            <a:pPr marL="12700" marR="0" lvl="0" indent="0" algn="ctr" defTabSz="121917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5" normalizeH="0" baseline="0" noProof="0" dirty="0">
                <a:ln>
                  <a:noFill/>
                </a:ln>
                <a:solidFill>
                  <a:srgbClr val="FFFFFF">
                    <a:lumMod val="50000"/>
                  </a:srgbClr>
                </a:solidFill>
                <a:effectLst/>
                <a:uLnTx/>
                <a:uFillTx/>
                <a:latin typeface="Open Sans"/>
                <a:ea typeface="Open Sans" charset="0"/>
                <a:cs typeface="Open Sans" charset="0"/>
              </a:rPr>
              <a:t>Kickoff</a:t>
            </a:r>
          </a:p>
        </p:txBody>
      </p:sp>
      <p:grpSp>
        <p:nvGrpSpPr>
          <p:cNvPr id="24" name="Group 23">
            <a:extLst>
              <a:ext uri="{FF2B5EF4-FFF2-40B4-BE49-F238E27FC236}">
                <a16:creationId xmlns:a16="http://schemas.microsoft.com/office/drawing/2014/main" id="{DB681F39-2AFD-48AA-B441-B54E8D289BF3}"/>
              </a:ext>
            </a:extLst>
          </p:cNvPr>
          <p:cNvGrpSpPr/>
          <p:nvPr/>
        </p:nvGrpSpPr>
        <p:grpSpPr>
          <a:xfrm>
            <a:off x="1871330" y="2506763"/>
            <a:ext cx="9429504" cy="3431372"/>
            <a:chOff x="1871330" y="2292095"/>
            <a:chExt cx="9429504" cy="3710521"/>
          </a:xfrm>
        </p:grpSpPr>
        <p:sp>
          <p:nvSpPr>
            <p:cNvPr id="25" name="Rectangle 24">
              <a:extLst>
                <a:ext uri="{FF2B5EF4-FFF2-40B4-BE49-F238E27FC236}">
                  <a16:creationId xmlns:a16="http://schemas.microsoft.com/office/drawing/2014/main" id="{E50D7676-3EEA-4280-88FC-2A2E2FC8596F}"/>
                </a:ext>
              </a:extLst>
            </p:cNvPr>
            <p:cNvSpPr/>
            <p:nvPr/>
          </p:nvSpPr>
          <p:spPr>
            <a:xfrm>
              <a:off x="9113901" y="5599796"/>
              <a:ext cx="2186933" cy="40282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91440" marR="0" lvl="0" indent="-9144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5" normalizeH="0" baseline="0" noProof="0" dirty="0">
                  <a:ln>
                    <a:noFill/>
                  </a:ln>
                  <a:solidFill>
                    <a:srgbClr val="000000"/>
                  </a:solidFill>
                  <a:effectLst/>
                  <a:uLnTx/>
                  <a:uFillTx/>
                  <a:latin typeface="Open Sans"/>
                  <a:ea typeface="Open Sans" charset="0"/>
                  <a:cs typeface="Open Sans" charset="0"/>
                </a:rPr>
                <a:t>Roadmap dependencies</a:t>
              </a:r>
            </a:p>
            <a:p>
              <a:pPr marL="91440" marR="0" lvl="0" indent="-9144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5" normalizeH="0" baseline="0" noProof="0" dirty="0">
                  <a:ln>
                    <a:noFill/>
                  </a:ln>
                  <a:solidFill>
                    <a:srgbClr val="000000"/>
                  </a:solidFill>
                  <a:effectLst/>
                  <a:uLnTx/>
                  <a:uFillTx/>
                  <a:latin typeface="Open Sans"/>
                  <a:ea typeface="Open Sans" charset="0"/>
                  <a:cs typeface="Open Sans" charset="0"/>
                </a:rPr>
                <a:t>Stakeholder alignment and buy-in</a:t>
              </a:r>
            </a:p>
          </p:txBody>
        </p:sp>
        <p:grpSp>
          <p:nvGrpSpPr>
            <p:cNvPr id="26" name="Group 25">
              <a:extLst>
                <a:ext uri="{FF2B5EF4-FFF2-40B4-BE49-F238E27FC236}">
                  <a16:creationId xmlns:a16="http://schemas.microsoft.com/office/drawing/2014/main" id="{11A4C857-CE68-4C6E-ACEC-AF7F0EBBA320}"/>
                </a:ext>
              </a:extLst>
            </p:cNvPr>
            <p:cNvGrpSpPr/>
            <p:nvPr/>
          </p:nvGrpSpPr>
          <p:grpSpPr>
            <a:xfrm>
              <a:off x="1871330" y="2292095"/>
              <a:ext cx="9429504" cy="3315794"/>
              <a:chOff x="1871330" y="2292095"/>
              <a:chExt cx="9429504" cy="3315794"/>
            </a:xfrm>
          </p:grpSpPr>
          <p:sp>
            <p:nvSpPr>
              <p:cNvPr id="27" name="Rectangle 26">
                <a:extLst>
                  <a:ext uri="{FF2B5EF4-FFF2-40B4-BE49-F238E27FC236}">
                    <a16:creationId xmlns:a16="http://schemas.microsoft.com/office/drawing/2014/main" id="{DDF5D19B-7E15-4E58-B3CF-29FA71B524EA}"/>
                  </a:ext>
                </a:extLst>
              </p:cNvPr>
              <p:cNvSpPr/>
              <p:nvPr/>
            </p:nvSpPr>
            <p:spPr>
              <a:xfrm>
                <a:off x="5499143" y="4523786"/>
                <a:ext cx="3593324" cy="31240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57150" marR="0" lvl="0" indent="0" algn="l"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5" normalizeH="0" baseline="0" noProof="0" dirty="0">
                    <a:ln>
                      <a:noFill/>
                    </a:ln>
                    <a:solidFill>
                      <a:srgbClr val="000000"/>
                    </a:solidFill>
                    <a:effectLst/>
                    <a:uLnTx/>
                    <a:uFillTx/>
                    <a:latin typeface="Open Sans"/>
                    <a:ea typeface="Open Sans" charset="0"/>
                    <a:cs typeface="Open Sans" charset="0"/>
                  </a:rPr>
                  <a:t>Business Requirements and Technical  Architecture</a:t>
                </a:r>
              </a:p>
            </p:txBody>
          </p:sp>
          <p:sp>
            <p:nvSpPr>
              <p:cNvPr id="28" name="Rectangle 27">
                <a:extLst>
                  <a:ext uri="{FF2B5EF4-FFF2-40B4-BE49-F238E27FC236}">
                    <a16:creationId xmlns:a16="http://schemas.microsoft.com/office/drawing/2014/main" id="{75DEF7F5-D22B-4045-8321-E66300D7115E}"/>
                  </a:ext>
                </a:extLst>
              </p:cNvPr>
              <p:cNvSpPr/>
              <p:nvPr/>
            </p:nvSpPr>
            <p:spPr>
              <a:xfrm>
                <a:off x="1871330" y="3035607"/>
                <a:ext cx="1446863" cy="31356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57150" marR="0" lvl="0" indent="0" algn="l"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5" normalizeH="0" baseline="0" noProof="0" dirty="0">
                    <a:ln>
                      <a:noFill/>
                    </a:ln>
                    <a:solidFill>
                      <a:srgbClr val="000000"/>
                    </a:solidFill>
                    <a:effectLst/>
                    <a:uLnTx/>
                    <a:uFillTx/>
                    <a:latin typeface="Open Sans"/>
                    <a:ea typeface="Open Sans" charset="0"/>
                    <a:cs typeface="Open Sans" charset="0"/>
                  </a:rPr>
                  <a:t>Enabling </a:t>
                </a:r>
              </a:p>
              <a:p>
                <a:pPr marL="57150" marR="0" lvl="0" indent="0" algn="l"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5" normalizeH="0" baseline="0" noProof="0" dirty="0">
                    <a:ln>
                      <a:noFill/>
                    </a:ln>
                    <a:solidFill>
                      <a:srgbClr val="000000"/>
                    </a:solidFill>
                    <a:effectLst/>
                    <a:uLnTx/>
                    <a:uFillTx/>
                    <a:latin typeface="Open Sans"/>
                    <a:ea typeface="Open Sans" charset="0"/>
                    <a:cs typeface="Open Sans" charset="0"/>
                  </a:rPr>
                  <a:t>Executive Interviews</a:t>
                </a:r>
              </a:p>
            </p:txBody>
          </p:sp>
          <p:sp>
            <p:nvSpPr>
              <p:cNvPr id="29" name="Rectangle 28">
                <a:extLst>
                  <a:ext uri="{FF2B5EF4-FFF2-40B4-BE49-F238E27FC236}">
                    <a16:creationId xmlns:a16="http://schemas.microsoft.com/office/drawing/2014/main" id="{1EA244C1-E0D1-4DEC-A72C-AB0A9BD87043}"/>
                  </a:ext>
                </a:extLst>
              </p:cNvPr>
              <p:cNvSpPr/>
              <p:nvPr/>
            </p:nvSpPr>
            <p:spPr>
              <a:xfrm>
                <a:off x="5499143" y="4824543"/>
                <a:ext cx="3593324" cy="43175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91440" marR="0" lvl="0" indent="-9144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5" normalizeH="0" baseline="0" noProof="0" dirty="0">
                    <a:ln>
                      <a:noFill/>
                    </a:ln>
                    <a:solidFill>
                      <a:srgbClr val="000000"/>
                    </a:solidFill>
                    <a:effectLst/>
                    <a:uLnTx/>
                    <a:uFillTx/>
                    <a:latin typeface="Open Sans"/>
                    <a:ea typeface="Open Sans" charset="0"/>
                    <a:cs typeface="Open Sans" charset="0"/>
                  </a:rPr>
                  <a:t>Future state architecture and data flows</a:t>
                </a:r>
              </a:p>
              <a:p>
                <a:pPr marL="91440" marR="0" lvl="0" indent="-9144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5" normalizeH="0" baseline="0" noProof="0" dirty="0">
                    <a:ln>
                      <a:noFill/>
                    </a:ln>
                    <a:solidFill>
                      <a:srgbClr val="000000"/>
                    </a:solidFill>
                    <a:effectLst/>
                    <a:uLnTx/>
                    <a:uFillTx/>
                    <a:latin typeface="Open Sans"/>
                    <a:ea typeface="Open Sans" charset="0"/>
                    <a:cs typeface="Open Sans" charset="0"/>
                  </a:rPr>
                  <a:t>Gap analysis with recommendations on necessary components (data sources, technology, tools) required to activate prioritized use cases</a:t>
                </a:r>
              </a:p>
            </p:txBody>
          </p:sp>
          <p:sp>
            <p:nvSpPr>
              <p:cNvPr id="30" name="Rectangle 29">
                <a:extLst>
                  <a:ext uri="{FF2B5EF4-FFF2-40B4-BE49-F238E27FC236}">
                    <a16:creationId xmlns:a16="http://schemas.microsoft.com/office/drawing/2014/main" id="{05719194-2A4C-4CEC-A4EF-3D8FF18FD6D3}"/>
                  </a:ext>
                </a:extLst>
              </p:cNvPr>
              <p:cNvSpPr/>
              <p:nvPr/>
            </p:nvSpPr>
            <p:spPr>
              <a:xfrm>
                <a:off x="3345679" y="4816879"/>
                <a:ext cx="2123455" cy="43942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91440" marR="0" lvl="0" indent="-9144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5" normalizeH="0" baseline="0" noProof="0" dirty="0">
                    <a:ln>
                      <a:noFill/>
                    </a:ln>
                    <a:solidFill>
                      <a:srgbClr val="000000"/>
                    </a:solidFill>
                    <a:effectLst/>
                    <a:uLnTx/>
                    <a:uFillTx/>
                    <a:latin typeface="Open Sans"/>
                    <a:ea typeface="Open Sans" charset="0"/>
                    <a:cs typeface="Open Sans" charset="0"/>
                  </a:rPr>
                  <a:t>Current state architecture and data flows </a:t>
                </a:r>
              </a:p>
            </p:txBody>
          </p:sp>
          <p:sp>
            <p:nvSpPr>
              <p:cNvPr id="31" name="Rectangle 30">
                <a:extLst>
                  <a:ext uri="{FF2B5EF4-FFF2-40B4-BE49-F238E27FC236}">
                    <a16:creationId xmlns:a16="http://schemas.microsoft.com/office/drawing/2014/main" id="{B11D0BBF-2127-4A12-B028-6B071EBA2236}"/>
                  </a:ext>
                </a:extLst>
              </p:cNvPr>
              <p:cNvSpPr/>
              <p:nvPr/>
            </p:nvSpPr>
            <p:spPr>
              <a:xfrm>
                <a:off x="3345679" y="4523786"/>
                <a:ext cx="2123455" cy="31356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57150" marR="0" lvl="0" indent="0" algn="l"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5" normalizeH="0" baseline="0" noProof="0" dirty="0">
                    <a:ln>
                      <a:noFill/>
                    </a:ln>
                    <a:solidFill>
                      <a:srgbClr val="000000"/>
                    </a:solidFill>
                    <a:effectLst/>
                    <a:uLnTx/>
                    <a:uFillTx/>
                    <a:latin typeface="Open Sans"/>
                    <a:ea typeface="Open Sans" charset="0"/>
                    <a:cs typeface="Open Sans" charset="0"/>
                  </a:rPr>
                  <a:t>Current State Data / Systems</a:t>
                </a:r>
              </a:p>
              <a:p>
                <a:pPr marL="57150" marR="0" lvl="0" indent="0" algn="l"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5" normalizeH="0" baseline="0" noProof="0" dirty="0">
                    <a:ln>
                      <a:noFill/>
                    </a:ln>
                    <a:solidFill>
                      <a:srgbClr val="000000"/>
                    </a:solidFill>
                    <a:effectLst/>
                    <a:uLnTx/>
                    <a:uFillTx/>
                    <a:latin typeface="Open Sans"/>
                    <a:ea typeface="Open Sans" charset="0"/>
                    <a:cs typeface="Open Sans" charset="0"/>
                  </a:rPr>
                  <a:t>Assessment Interviews</a:t>
                </a:r>
              </a:p>
            </p:txBody>
          </p:sp>
          <p:sp>
            <p:nvSpPr>
              <p:cNvPr id="32" name="Rectangle 31">
                <a:extLst>
                  <a:ext uri="{FF2B5EF4-FFF2-40B4-BE49-F238E27FC236}">
                    <a16:creationId xmlns:a16="http://schemas.microsoft.com/office/drawing/2014/main" id="{196A5E3D-EFB6-473F-BA69-0D09B02D9FAB}"/>
                  </a:ext>
                </a:extLst>
              </p:cNvPr>
              <p:cNvSpPr/>
              <p:nvPr/>
            </p:nvSpPr>
            <p:spPr>
              <a:xfrm>
                <a:off x="9113901" y="5287070"/>
                <a:ext cx="2186933" cy="3208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57150" marR="0" lvl="0" indent="0" algn="l"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5" normalizeH="0" baseline="0" noProof="0" dirty="0">
                    <a:ln>
                      <a:noFill/>
                    </a:ln>
                    <a:solidFill>
                      <a:srgbClr val="000000"/>
                    </a:solidFill>
                    <a:effectLst/>
                    <a:uLnTx/>
                    <a:uFillTx/>
                    <a:latin typeface="Open Sans"/>
                    <a:ea typeface="Open Sans" charset="0"/>
                    <a:cs typeface="Open Sans" charset="0"/>
                  </a:rPr>
                  <a:t>Action Planning and Socialization</a:t>
                </a:r>
              </a:p>
            </p:txBody>
          </p:sp>
          <p:sp>
            <p:nvSpPr>
              <p:cNvPr id="33" name="Rectangle 32">
                <a:extLst>
                  <a:ext uri="{FF2B5EF4-FFF2-40B4-BE49-F238E27FC236}">
                    <a16:creationId xmlns:a16="http://schemas.microsoft.com/office/drawing/2014/main" id="{74B7E546-156E-4559-8327-EE3B75C13F5D}"/>
                  </a:ext>
                </a:extLst>
              </p:cNvPr>
              <p:cNvSpPr/>
              <p:nvPr/>
            </p:nvSpPr>
            <p:spPr>
              <a:xfrm>
                <a:off x="1871330" y="2595494"/>
                <a:ext cx="1446863" cy="39607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91440" marR="0" lvl="0" indent="-9144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5" normalizeH="0" baseline="0" noProof="0" dirty="0">
                    <a:ln>
                      <a:noFill/>
                    </a:ln>
                    <a:solidFill>
                      <a:srgbClr val="000000"/>
                    </a:solidFill>
                    <a:effectLst/>
                    <a:uLnTx/>
                    <a:uFillTx/>
                    <a:latin typeface="Open Sans"/>
                    <a:ea typeface="Open Sans" charset="0"/>
                    <a:cs typeface="Open Sans" charset="0"/>
                  </a:rPr>
                  <a:t>Initial use case ideas and prioritization criteria </a:t>
                </a:r>
              </a:p>
            </p:txBody>
          </p:sp>
          <p:sp>
            <p:nvSpPr>
              <p:cNvPr id="34" name="Rectangle 33">
                <a:extLst>
                  <a:ext uri="{FF2B5EF4-FFF2-40B4-BE49-F238E27FC236}">
                    <a16:creationId xmlns:a16="http://schemas.microsoft.com/office/drawing/2014/main" id="{F7331360-046C-459D-9D96-0348BE1D8501}"/>
                  </a:ext>
                </a:extLst>
              </p:cNvPr>
              <p:cNvSpPr/>
              <p:nvPr/>
            </p:nvSpPr>
            <p:spPr>
              <a:xfrm>
                <a:off x="3345679" y="3349673"/>
                <a:ext cx="2839231" cy="39607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91440" marR="0" lvl="0" indent="-9144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5" normalizeH="0" baseline="0" noProof="0" dirty="0">
                    <a:ln>
                      <a:noFill/>
                    </a:ln>
                    <a:solidFill>
                      <a:srgbClr val="000000"/>
                    </a:solidFill>
                    <a:effectLst/>
                    <a:uLnTx/>
                    <a:uFillTx/>
                    <a:latin typeface="Open Sans"/>
                    <a:ea typeface="Open Sans" charset="0"/>
                    <a:cs typeface="Open Sans" charset="0"/>
                  </a:rPr>
                  <a:t>Prioritized use case overviews  </a:t>
                </a:r>
              </a:p>
              <a:p>
                <a:pPr marL="91440" marR="0" lvl="0" indent="-9144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5" normalizeH="0" baseline="0" noProof="0" dirty="0">
                    <a:ln>
                      <a:noFill/>
                    </a:ln>
                    <a:solidFill>
                      <a:srgbClr val="000000"/>
                    </a:solidFill>
                    <a:effectLst/>
                    <a:uLnTx/>
                    <a:uFillTx/>
                    <a:latin typeface="Open Sans"/>
                    <a:ea typeface="Open Sans" charset="0"/>
                    <a:cs typeface="Open Sans" charset="0"/>
                  </a:rPr>
                  <a:t>Gap assessment by prioritized use case</a:t>
                </a:r>
              </a:p>
            </p:txBody>
          </p:sp>
          <p:sp>
            <p:nvSpPr>
              <p:cNvPr id="35" name="Rectangle 34">
                <a:extLst>
                  <a:ext uri="{FF2B5EF4-FFF2-40B4-BE49-F238E27FC236}">
                    <a16:creationId xmlns:a16="http://schemas.microsoft.com/office/drawing/2014/main" id="{155476DF-4E5F-48A7-9110-022D1771FB5D}"/>
                  </a:ext>
                </a:extLst>
              </p:cNvPr>
              <p:cNvSpPr/>
              <p:nvPr/>
            </p:nvSpPr>
            <p:spPr>
              <a:xfrm>
                <a:off x="5499143" y="4083354"/>
                <a:ext cx="3593324" cy="43942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91440" marR="0" lvl="0" indent="-9144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5" normalizeH="0" baseline="0" noProof="0" dirty="0">
                    <a:ln>
                      <a:noFill/>
                    </a:ln>
                    <a:solidFill>
                      <a:srgbClr val="000000"/>
                    </a:solidFill>
                    <a:effectLst/>
                    <a:uLnTx/>
                    <a:uFillTx/>
                    <a:latin typeface="Open Sans"/>
                    <a:ea typeface="Open Sans" charset="0"/>
                    <a:cs typeface="Open Sans" charset="0"/>
                    <a:sym typeface="Gotham Bold" charset="0"/>
                  </a:rPr>
                  <a:t>Interim service delivery model </a:t>
                </a:r>
              </a:p>
              <a:p>
                <a:pPr marL="91440" marR="0" lvl="0" indent="-9144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5" normalizeH="0" baseline="0" noProof="0" dirty="0">
                    <a:ln>
                      <a:noFill/>
                    </a:ln>
                    <a:solidFill>
                      <a:srgbClr val="000000"/>
                    </a:solidFill>
                    <a:effectLst/>
                    <a:uLnTx/>
                    <a:uFillTx/>
                    <a:latin typeface="Open Sans"/>
                    <a:ea typeface="Open Sans" charset="0"/>
                    <a:cs typeface="Open Sans" charset="0"/>
                  </a:rPr>
                  <a:t>Initial key design decisions for steady state operating model </a:t>
                </a:r>
              </a:p>
            </p:txBody>
          </p:sp>
          <p:sp>
            <p:nvSpPr>
              <p:cNvPr id="36" name="Rectangle 35">
                <a:extLst>
                  <a:ext uri="{FF2B5EF4-FFF2-40B4-BE49-F238E27FC236}">
                    <a16:creationId xmlns:a16="http://schemas.microsoft.com/office/drawing/2014/main" id="{1C1FB918-A7E8-4407-A9CF-BE1B4B2847BC}"/>
                  </a:ext>
                </a:extLst>
              </p:cNvPr>
              <p:cNvSpPr/>
              <p:nvPr/>
            </p:nvSpPr>
            <p:spPr>
              <a:xfrm>
                <a:off x="5499143" y="3780905"/>
                <a:ext cx="3593324" cy="31240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57150" marR="0" lvl="0" indent="0" algn="l"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5" normalizeH="0" baseline="0" noProof="0" dirty="0">
                    <a:ln>
                      <a:noFill/>
                    </a:ln>
                    <a:solidFill>
                      <a:srgbClr val="000000"/>
                    </a:solidFill>
                    <a:effectLst/>
                    <a:uLnTx/>
                    <a:uFillTx/>
                    <a:latin typeface="Open Sans"/>
                    <a:ea typeface="Open Sans" charset="0"/>
                    <a:cs typeface="Open Sans" charset="0"/>
                  </a:rPr>
                  <a:t>Key Design Decisions to Support Prioritized Use Case Activation</a:t>
                </a:r>
              </a:p>
            </p:txBody>
          </p:sp>
          <p:sp>
            <p:nvSpPr>
              <p:cNvPr id="37" name="Rectangle 36">
                <a:extLst>
                  <a:ext uri="{FF2B5EF4-FFF2-40B4-BE49-F238E27FC236}">
                    <a16:creationId xmlns:a16="http://schemas.microsoft.com/office/drawing/2014/main" id="{34498598-8D8E-4AD9-B6D4-2132CA1B9689}"/>
                  </a:ext>
                </a:extLst>
              </p:cNvPr>
              <p:cNvSpPr/>
              <p:nvPr/>
            </p:nvSpPr>
            <p:spPr>
              <a:xfrm>
                <a:off x="3345679" y="3035607"/>
                <a:ext cx="2839231" cy="31356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57150" marR="0" lvl="0" indent="0" algn="l"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5" normalizeH="0" baseline="0" noProof="0" dirty="0">
                    <a:ln>
                      <a:noFill/>
                    </a:ln>
                    <a:solidFill>
                      <a:srgbClr val="000000"/>
                    </a:solidFill>
                    <a:effectLst/>
                    <a:uLnTx/>
                    <a:uFillTx/>
                    <a:latin typeface="Open Sans"/>
                    <a:ea typeface="Open Sans" charset="0"/>
                    <a:cs typeface="Open Sans" charset="0"/>
                  </a:rPr>
                  <a:t>Deep Dives on Prioritized Use Cases</a:t>
                </a:r>
              </a:p>
            </p:txBody>
          </p:sp>
          <p:sp>
            <p:nvSpPr>
              <p:cNvPr id="38" name="Rectangle 37">
                <a:extLst>
                  <a:ext uri="{FF2B5EF4-FFF2-40B4-BE49-F238E27FC236}">
                    <a16:creationId xmlns:a16="http://schemas.microsoft.com/office/drawing/2014/main" id="{67D9387B-DFC5-45E5-BE64-376A52CB8647}"/>
                  </a:ext>
                </a:extLst>
              </p:cNvPr>
              <p:cNvSpPr/>
              <p:nvPr/>
            </p:nvSpPr>
            <p:spPr>
              <a:xfrm>
                <a:off x="1871330" y="3349673"/>
                <a:ext cx="1446863" cy="39607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91440" marR="0" lvl="0" indent="-9144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5" normalizeH="0" baseline="0" noProof="0" dirty="0">
                    <a:ln>
                      <a:noFill/>
                    </a:ln>
                    <a:solidFill>
                      <a:srgbClr val="000000"/>
                    </a:solidFill>
                    <a:effectLst/>
                    <a:uLnTx/>
                    <a:uFillTx/>
                    <a:latin typeface="Open Sans"/>
                    <a:ea typeface="Open Sans" charset="0"/>
                    <a:cs typeface="Open Sans" charset="0"/>
                  </a:rPr>
                  <a:t>Current state digital consumer capability </a:t>
                </a:r>
              </a:p>
            </p:txBody>
          </p:sp>
          <p:sp>
            <p:nvSpPr>
              <p:cNvPr id="39" name="Rectangle 38">
                <a:extLst>
                  <a:ext uri="{FF2B5EF4-FFF2-40B4-BE49-F238E27FC236}">
                    <a16:creationId xmlns:a16="http://schemas.microsoft.com/office/drawing/2014/main" id="{4F7F8FF2-1900-4CA5-862E-2A4699FABA4C}"/>
                  </a:ext>
                </a:extLst>
              </p:cNvPr>
              <p:cNvSpPr/>
              <p:nvPr/>
            </p:nvSpPr>
            <p:spPr>
              <a:xfrm>
                <a:off x="1871330" y="2292095"/>
                <a:ext cx="1446863" cy="31356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57150" marR="0" lvl="0" indent="0" algn="l"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5" normalizeH="0" baseline="0" noProof="0" dirty="0">
                    <a:ln>
                      <a:noFill/>
                    </a:ln>
                    <a:solidFill>
                      <a:srgbClr val="000000"/>
                    </a:solidFill>
                    <a:effectLst/>
                    <a:uLnTx/>
                    <a:uFillTx/>
                    <a:latin typeface="Open Sans"/>
                    <a:ea typeface="Open Sans" charset="0"/>
                    <a:cs typeface="Open Sans" charset="0"/>
                  </a:rPr>
                  <a:t>Segment Marketing </a:t>
                </a:r>
              </a:p>
              <a:p>
                <a:pPr marL="57150" marR="0" lvl="0" indent="0" algn="l"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5" normalizeH="0" baseline="0" noProof="0" dirty="0">
                    <a:ln>
                      <a:noFill/>
                    </a:ln>
                    <a:solidFill>
                      <a:srgbClr val="000000"/>
                    </a:solidFill>
                    <a:effectLst/>
                    <a:uLnTx/>
                    <a:uFillTx/>
                    <a:latin typeface="Open Sans"/>
                    <a:ea typeface="Open Sans" charset="0"/>
                    <a:cs typeface="Open Sans" charset="0"/>
                  </a:rPr>
                  <a:t>Leader Interviews</a:t>
                </a:r>
              </a:p>
            </p:txBody>
          </p:sp>
        </p:grpSp>
      </p:grpSp>
      <p:sp>
        <p:nvSpPr>
          <p:cNvPr id="40" name="Oval 39">
            <a:extLst>
              <a:ext uri="{FF2B5EF4-FFF2-40B4-BE49-F238E27FC236}">
                <a16:creationId xmlns:a16="http://schemas.microsoft.com/office/drawing/2014/main" id="{FA31491F-3351-4EF7-8B23-CC597ABD4F19}"/>
              </a:ext>
            </a:extLst>
          </p:cNvPr>
          <p:cNvSpPr/>
          <p:nvPr/>
        </p:nvSpPr>
        <p:spPr>
          <a:xfrm>
            <a:off x="7252756" y="6571979"/>
            <a:ext cx="173812" cy="160436"/>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Open Sans" charset="0"/>
              <a:cs typeface="Open Sans" charset="0"/>
            </a:endParaRPr>
          </a:p>
        </p:txBody>
      </p:sp>
      <p:sp>
        <p:nvSpPr>
          <p:cNvPr id="41" name="TextBox 40">
            <a:extLst>
              <a:ext uri="{FF2B5EF4-FFF2-40B4-BE49-F238E27FC236}">
                <a16:creationId xmlns:a16="http://schemas.microsoft.com/office/drawing/2014/main" id="{85AD4C29-3469-4C07-9505-53065F8E24DD}"/>
              </a:ext>
            </a:extLst>
          </p:cNvPr>
          <p:cNvSpPr txBox="1"/>
          <p:nvPr/>
        </p:nvSpPr>
        <p:spPr>
          <a:xfrm>
            <a:off x="7384665" y="6541583"/>
            <a:ext cx="914400" cy="221228"/>
          </a:xfrm>
          <a:prstGeom prst="rect">
            <a:avLst/>
          </a:prstGeom>
        </p:spPr>
        <p:txBody>
          <a:bodyPr vert="horz" wrap="none" lIns="91440" tIns="45720" rIns="91440" bIns="45720" rtlCol="0" anchor="ct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5" normalizeH="0" baseline="0" noProof="0" dirty="0">
                <a:ln>
                  <a:noFill/>
                </a:ln>
                <a:solidFill>
                  <a:srgbClr val="000000"/>
                </a:solidFill>
                <a:effectLst/>
                <a:uLnTx/>
                <a:uFillTx/>
                <a:latin typeface="Open Sans"/>
                <a:ea typeface="Open Sans" charset="0"/>
                <a:cs typeface="Open Sans" charset="0"/>
              </a:rPr>
              <a:t>Meetings</a:t>
            </a:r>
            <a:endParaRPr kumimoji="0" lang="en-US" sz="800" b="0" i="1" u="none" strike="noStrike" kern="1200" cap="none" spc="0" normalizeH="0" baseline="0" noProof="0" dirty="0">
              <a:ln>
                <a:noFill/>
              </a:ln>
              <a:solidFill>
                <a:srgbClr val="000000"/>
              </a:solidFill>
              <a:effectLst/>
              <a:uLnTx/>
              <a:uFillTx/>
              <a:latin typeface="Open Sans"/>
              <a:ea typeface="Open Sans" charset="0"/>
              <a:cs typeface="Open Sans" charset="0"/>
            </a:endParaRPr>
          </a:p>
        </p:txBody>
      </p:sp>
      <p:grpSp>
        <p:nvGrpSpPr>
          <p:cNvPr id="42" name="Group 41">
            <a:extLst>
              <a:ext uri="{FF2B5EF4-FFF2-40B4-BE49-F238E27FC236}">
                <a16:creationId xmlns:a16="http://schemas.microsoft.com/office/drawing/2014/main" id="{81BC86C2-4749-4FCB-A360-AB06B195F311}"/>
              </a:ext>
            </a:extLst>
          </p:cNvPr>
          <p:cNvGrpSpPr/>
          <p:nvPr/>
        </p:nvGrpSpPr>
        <p:grpSpPr>
          <a:xfrm>
            <a:off x="1931738" y="1996521"/>
            <a:ext cx="9289155" cy="213541"/>
            <a:chOff x="1931738" y="1824718"/>
            <a:chExt cx="9848037" cy="213541"/>
          </a:xfrm>
        </p:grpSpPr>
        <p:sp>
          <p:nvSpPr>
            <p:cNvPr id="43" name="Flowchart: Connector 42">
              <a:extLst>
                <a:ext uri="{FF2B5EF4-FFF2-40B4-BE49-F238E27FC236}">
                  <a16:creationId xmlns:a16="http://schemas.microsoft.com/office/drawing/2014/main" id="{BFBA18BE-48C9-4CF4-972F-8FA414DC28C8}"/>
                </a:ext>
              </a:extLst>
            </p:cNvPr>
            <p:cNvSpPr/>
            <p:nvPr/>
          </p:nvSpPr>
          <p:spPr>
            <a:xfrm>
              <a:off x="2167162" y="1840048"/>
              <a:ext cx="192068" cy="182880"/>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Frutiger Next Pro" panose="020B0503040204020203" pitchFamily="34" charset="0"/>
                <a:ea typeface="+mn-ea"/>
                <a:cs typeface="+mn-cs"/>
              </a:endParaRPr>
            </a:p>
          </p:txBody>
        </p:sp>
        <p:sp>
          <p:nvSpPr>
            <p:cNvPr id="44" name="Isosceles Triangle 43">
              <a:extLst>
                <a:ext uri="{FF2B5EF4-FFF2-40B4-BE49-F238E27FC236}">
                  <a16:creationId xmlns:a16="http://schemas.microsoft.com/office/drawing/2014/main" id="{D93F33A8-92FB-42A4-B07B-0AC40ECD7996}"/>
                </a:ext>
              </a:extLst>
            </p:cNvPr>
            <p:cNvSpPr/>
            <p:nvPr/>
          </p:nvSpPr>
          <p:spPr>
            <a:xfrm>
              <a:off x="3244185" y="1824718"/>
              <a:ext cx="228207" cy="213541"/>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Open Sans" charset="0"/>
                <a:cs typeface="Open Sans" charset="0"/>
              </a:endParaRPr>
            </a:p>
          </p:txBody>
        </p:sp>
        <p:sp>
          <p:nvSpPr>
            <p:cNvPr id="45" name="Flowchart: Connector 44">
              <a:extLst>
                <a:ext uri="{FF2B5EF4-FFF2-40B4-BE49-F238E27FC236}">
                  <a16:creationId xmlns:a16="http://schemas.microsoft.com/office/drawing/2014/main" id="{A6863A29-A772-4B61-BAA1-B469D930A2C5}"/>
                </a:ext>
              </a:extLst>
            </p:cNvPr>
            <p:cNvSpPr/>
            <p:nvPr/>
          </p:nvSpPr>
          <p:spPr>
            <a:xfrm>
              <a:off x="5438075" y="1846810"/>
              <a:ext cx="182464" cy="169356"/>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Frutiger Next Pro" panose="020B0503040204020203" pitchFamily="34" charset="0"/>
                <a:ea typeface="+mn-ea"/>
                <a:cs typeface="+mn-cs"/>
              </a:endParaRPr>
            </a:p>
          </p:txBody>
        </p:sp>
        <p:sp>
          <p:nvSpPr>
            <p:cNvPr id="46" name="Oval 45">
              <a:extLst>
                <a:ext uri="{FF2B5EF4-FFF2-40B4-BE49-F238E27FC236}">
                  <a16:creationId xmlns:a16="http://schemas.microsoft.com/office/drawing/2014/main" id="{FD14B8A1-6CE2-4558-9943-5D81116270F4}"/>
                </a:ext>
              </a:extLst>
            </p:cNvPr>
            <p:cNvSpPr/>
            <p:nvPr/>
          </p:nvSpPr>
          <p:spPr>
            <a:xfrm>
              <a:off x="4955391" y="1840048"/>
              <a:ext cx="192068" cy="18288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Open Sans" charset="0"/>
                <a:cs typeface="Open Sans" charset="0"/>
              </a:endParaRPr>
            </a:p>
          </p:txBody>
        </p:sp>
        <p:sp>
          <p:nvSpPr>
            <p:cNvPr id="47" name="Isosceles Triangle 46">
              <a:extLst>
                <a:ext uri="{FF2B5EF4-FFF2-40B4-BE49-F238E27FC236}">
                  <a16:creationId xmlns:a16="http://schemas.microsoft.com/office/drawing/2014/main" id="{A7FB1095-8700-4A88-AA24-29B928F09E77}"/>
                </a:ext>
              </a:extLst>
            </p:cNvPr>
            <p:cNvSpPr/>
            <p:nvPr/>
          </p:nvSpPr>
          <p:spPr>
            <a:xfrm>
              <a:off x="9443468" y="1824718"/>
              <a:ext cx="228207" cy="213541"/>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Open Sans" charset="0"/>
                <a:cs typeface="Open Sans" charset="0"/>
              </a:endParaRPr>
            </a:p>
          </p:txBody>
        </p:sp>
        <p:sp>
          <p:nvSpPr>
            <p:cNvPr id="48" name="Oval 47">
              <a:extLst>
                <a:ext uri="{FF2B5EF4-FFF2-40B4-BE49-F238E27FC236}">
                  <a16:creationId xmlns:a16="http://schemas.microsoft.com/office/drawing/2014/main" id="{A2A05577-0CD9-4660-8134-08410513BC97}"/>
                </a:ext>
              </a:extLst>
            </p:cNvPr>
            <p:cNvSpPr/>
            <p:nvPr/>
          </p:nvSpPr>
          <p:spPr>
            <a:xfrm>
              <a:off x="5181231" y="1840048"/>
              <a:ext cx="192068" cy="18288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Open Sans" charset="0"/>
                <a:cs typeface="Open Sans" charset="0"/>
              </a:endParaRPr>
            </a:p>
          </p:txBody>
        </p:sp>
        <p:sp>
          <p:nvSpPr>
            <p:cNvPr id="49" name="Oval 48">
              <a:extLst>
                <a:ext uri="{FF2B5EF4-FFF2-40B4-BE49-F238E27FC236}">
                  <a16:creationId xmlns:a16="http://schemas.microsoft.com/office/drawing/2014/main" id="{B5A3993B-A3FC-4A12-8152-E245FA89F95E}"/>
                </a:ext>
              </a:extLst>
            </p:cNvPr>
            <p:cNvSpPr/>
            <p:nvPr/>
          </p:nvSpPr>
          <p:spPr>
            <a:xfrm>
              <a:off x="1931738" y="1840048"/>
              <a:ext cx="192068" cy="18288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Open Sans" charset="0"/>
                <a:cs typeface="Open Sans" charset="0"/>
              </a:endParaRPr>
            </a:p>
          </p:txBody>
        </p:sp>
        <p:sp>
          <p:nvSpPr>
            <p:cNvPr id="50" name="Oval 49">
              <a:extLst>
                <a:ext uri="{FF2B5EF4-FFF2-40B4-BE49-F238E27FC236}">
                  <a16:creationId xmlns:a16="http://schemas.microsoft.com/office/drawing/2014/main" id="{18909355-BFAE-4B65-9665-AB7A35B04642}"/>
                </a:ext>
              </a:extLst>
            </p:cNvPr>
            <p:cNvSpPr/>
            <p:nvPr/>
          </p:nvSpPr>
          <p:spPr>
            <a:xfrm>
              <a:off x="2405607" y="1840048"/>
              <a:ext cx="192068" cy="18288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Open Sans" charset="0"/>
                <a:cs typeface="Open Sans" charset="0"/>
              </a:endParaRPr>
            </a:p>
          </p:txBody>
        </p:sp>
        <p:sp>
          <p:nvSpPr>
            <p:cNvPr id="51" name="Flowchart: Connector 50">
              <a:extLst>
                <a:ext uri="{FF2B5EF4-FFF2-40B4-BE49-F238E27FC236}">
                  <a16:creationId xmlns:a16="http://schemas.microsoft.com/office/drawing/2014/main" id="{EEB55EE0-499F-462B-9A15-920D7CFD6218}"/>
                </a:ext>
              </a:extLst>
            </p:cNvPr>
            <p:cNvSpPr/>
            <p:nvPr/>
          </p:nvSpPr>
          <p:spPr>
            <a:xfrm>
              <a:off x="8976626" y="1840048"/>
              <a:ext cx="192068" cy="182880"/>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Frutiger Next Pro" panose="020B0503040204020203" pitchFamily="34" charset="0"/>
                <a:ea typeface="+mn-ea"/>
                <a:cs typeface="+mn-cs"/>
              </a:endParaRPr>
            </a:p>
          </p:txBody>
        </p:sp>
        <p:sp>
          <p:nvSpPr>
            <p:cNvPr id="52" name="Oval 51">
              <a:extLst>
                <a:ext uri="{FF2B5EF4-FFF2-40B4-BE49-F238E27FC236}">
                  <a16:creationId xmlns:a16="http://schemas.microsoft.com/office/drawing/2014/main" id="{72E40379-DE98-4297-95E3-7A6ACDAA6A30}"/>
                </a:ext>
              </a:extLst>
            </p:cNvPr>
            <p:cNvSpPr/>
            <p:nvPr/>
          </p:nvSpPr>
          <p:spPr>
            <a:xfrm>
              <a:off x="9215071" y="1840048"/>
              <a:ext cx="192068" cy="18288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Open Sans" charset="0"/>
                <a:cs typeface="Open Sans" charset="0"/>
              </a:endParaRPr>
            </a:p>
          </p:txBody>
        </p:sp>
        <p:sp>
          <p:nvSpPr>
            <p:cNvPr id="53" name="Flowchart: Connector 52">
              <a:extLst>
                <a:ext uri="{FF2B5EF4-FFF2-40B4-BE49-F238E27FC236}">
                  <a16:creationId xmlns:a16="http://schemas.microsoft.com/office/drawing/2014/main" id="{8021FFC0-BF7B-4D5E-80AD-693A53E32B69}"/>
                </a:ext>
              </a:extLst>
            </p:cNvPr>
            <p:cNvSpPr/>
            <p:nvPr/>
          </p:nvSpPr>
          <p:spPr>
            <a:xfrm>
              <a:off x="11349262" y="1840048"/>
              <a:ext cx="192068" cy="182880"/>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Frutiger Next Pro" panose="020B0503040204020203" pitchFamily="34" charset="0"/>
                <a:ea typeface="+mn-ea"/>
                <a:cs typeface="+mn-cs"/>
              </a:endParaRPr>
            </a:p>
          </p:txBody>
        </p:sp>
        <p:sp>
          <p:nvSpPr>
            <p:cNvPr id="54" name="Oval 53">
              <a:extLst>
                <a:ext uri="{FF2B5EF4-FFF2-40B4-BE49-F238E27FC236}">
                  <a16:creationId xmlns:a16="http://schemas.microsoft.com/office/drawing/2014/main" id="{9F3C4C11-4D40-4CEC-83D1-1475FB3ECA95}"/>
                </a:ext>
              </a:extLst>
            </p:cNvPr>
            <p:cNvSpPr/>
            <p:nvPr/>
          </p:nvSpPr>
          <p:spPr>
            <a:xfrm>
              <a:off x="11587707" y="1840048"/>
              <a:ext cx="192068" cy="18288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Open Sans" charset="0"/>
                <a:cs typeface="Open Sans" charset="0"/>
              </a:endParaRPr>
            </a:p>
          </p:txBody>
        </p:sp>
      </p:grpSp>
      <p:sp>
        <p:nvSpPr>
          <p:cNvPr id="55" name="Rectangle 54">
            <a:extLst>
              <a:ext uri="{FF2B5EF4-FFF2-40B4-BE49-F238E27FC236}">
                <a16:creationId xmlns:a16="http://schemas.microsoft.com/office/drawing/2014/main" id="{65218F14-CBFB-413D-B49F-0AF01D37A9E1}"/>
              </a:ext>
            </a:extLst>
          </p:cNvPr>
          <p:cNvSpPr/>
          <p:nvPr/>
        </p:nvSpPr>
        <p:spPr>
          <a:xfrm>
            <a:off x="3345679" y="5938135"/>
            <a:ext cx="7931921" cy="30775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57150" marR="0" lvl="0" indent="0" algn="l"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5" normalizeH="0" baseline="0" noProof="0" dirty="0">
                <a:ln>
                  <a:noFill/>
                </a:ln>
                <a:solidFill>
                  <a:srgbClr val="000000"/>
                </a:solidFill>
                <a:effectLst/>
                <a:uLnTx/>
                <a:uFillTx/>
                <a:latin typeface="Open Sans"/>
                <a:ea typeface="Open Sans" charset="0"/>
                <a:cs typeface="Open Sans" charset="0"/>
              </a:rPr>
              <a:t>Design, Build, and Deliver Proof of Concept</a:t>
            </a:r>
          </a:p>
        </p:txBody>
      </p:sp>
      <p:sp>
        <p:nvSpPr>
          <p:cNvPr id="56" name="Rectangle 55">
            <a:extLst>
              <a:ext uri="{FF2B5EF4-FFF2-40B4-BE49-F238E27FC236}">
                <a16:creationId xmlns:a16="http://schemas.microsoft.com/office/drawing/2014/main" id="{DC0B1B01-9508-4EEA-BA57-32F9D4DB6134}"/>
              </a:ext>
            </a:extLst>
          </p:cNvPr>
          <p:cNvSpPr/>
          <p:nvPr/>
        </p:nvSpPr>
        <p:spPr>
          <a:xfrm>
            <a:off x="5758853" y="6563957"/>
            <a:ext cx="173812" cy="1764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Open Sans" charset="0"/>
              <a:cs typeface="Open Sans" charset="0"/>
            </a:endParaRPr>
          </a:p>
        </p:txBody>
      </p:sp>
      <p:sp>
        <p:nvSpPr>
          <p:cNvPr id="57" name="TextBox 56">
            <a:extLst>
              <a:ext uri="{FF2B5EF4-FFF2-40B4-BE49-F238E27FC236}">
                <a16:creationId xmlns:a16="http://schemas.microsoft.com/office/drawing/2014/main" id="{8EA3B25C-9A56-4EEA-8B5E-CA226F7493F5}"/>
              </a:ext>
            </a:extLst>
          </p:cNvPr>
          <p:cNvSpPr txBox="1"/>
          <p:nvPr/>
        </p:nvSpPr>
        <p:spPr>
          <a:xfrm>
            <a:off x="5876183" y="6541583"/>
            <a:ext cx="914400" cy="221228"/>
          </a:xfrm>
          <a:prstGeom prst="rect">
            <a:avLst/>
          </a:prstGeom>
        </p:spPr>
        <p:txBody>
          <a:bodyPr vert="horz" wrap="none" lIns="91440" tIns="45720" rIns="91440" bIns="45720" rtlCol="0" anchor="ct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5" normalizeH="0" baseline="0" noProof="0" dirty="0">
                <a:ln>
                  <a:noFill/>
                </a:ln>
                <a:solidFill>
                  <a:srgbClr val="000000"/>
                </a:solidFill>
                <a:effectLst/>
                <a:uLnTx/>
                <a:uFillTx/>
                <a:latin typeface="Open Sans"/>
                <a:ea typeface="Open Sans" charset="0"/>
                <a:cs typeface="Open Sans" charset="0"/>
              </a:rPr>
              <a:t>Optional</a:t>
            </a:r>
            <a:endParaRPr kumimoji="0" lang="en-US" sz="800" b="0" i="1" u="none" strike="noStrike" kern="1200" cap="none" spc="0" normalizeH="0" baseline="0" noProof="0" dirty="0">
              <a:ln>
                <a:noFill/>
              </a:ln>
              <a:solidFill>
                <a:srgbClr val="000000"/>
              </a:solidFill>
              <a:effectLst/>
              <a:uLnTx/>
              <a:uFillTx/>
              <a:latin typeface="Open Sans"/>
              <a:ea typeface="Open Sans" charset="0"/>
              <a:cs typeface="Open Sans" charset="0"/>
            </a:endParaRPr>
          </a:p>
        </p:txBody>
      </p:sp>
    </p:spTree>
    <p:extLst>
      <p:ext uri="{BB962C8B-B14F-4D97-AF65-F5344CB8AC3E}">
        <p14:creationId xmlns:p14="http://schemas.microsoft.com/office/powerpoint/2010/main" val="583088077"/>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49881169-6E8F-4015-8CF1-4B8B9AA21FD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2692" name="think-cell Slide" r:id="rId6" imgW="415" imgH="416" progId="TCLayout.ActiveDocument.1">
                  <p:embed/>
                </p:oleObj>
              </mc:Choice>
              <mc:Fallback>
                <p:oleObj name="think-cell Slide" r:id="rId6" imgW="415" imgH="416" progId="TCLayout.ActiveDocument.1">
                  <p:embed/>
                  <p:pic>
                    <p:nvPicPr>
                      <p:cNvPr id="39" name="Object 38" hidden="1">
                        <a:extLst>
                          <a:ext uri="{FF2B5EF4-FFF2-40B4-BE49-F238E27FC236}">
                            <a16:creationId xmlns:a16="http://schemas.microsoft.com/office/drawing/2014/main" id="{49881169-6E8F-4015-8CF1-4B8B9AA21FD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3" name="Rectangle 42" hidden="1">
            <a:extLst>
              <a:ext uri="{FF2B5EF4-FFF2-40B4-BE49-F238E27FC236}">
                <a16:creationId xmlns:a16="http://schemas.microsoft.com/office/drawing/2014/main" id="{4F44B792-3B17-4E41-8B2D-CB3FE45BE57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38" name="Rectangle 37">
            <a:extLst>
              <a:ext uri="{FF2B5EF4-FFF2-40B4-BE49-F238E27FC236}">
                <a16:creationId xmlns:a16="http://schemas.microsoft.com/office/drawing/2014/main" id="{CE377276-383D-4013-A5A7-0637B9CBA23E}"/>
              </a:ext>
            </a:extLst>
          </p:cNvPr>
          <p:cNvSpPr/>
          <p:nvPr/>
        </p:nvSpPr>
        <p:spPr bwMode="gray">
          <a:xfrm flipH="1">
            <a:off x="680303" y="6359085"/>
            <a:ext cx="3620285" cy="346934"/>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Open Sans"/>
              <a:ea typeface="+mn-ea"/>
              <a:cs typeface="+mn-cs"/>
            </a:endParaRPr>
          </a:p>
        </p:txBody>
      </p:sp>
      <p:sp>
        <p:nvSpPr>
          <p:cNvPr id="2" name="Title 1">
            <a:extLst>
              <a:ext uri="{FF2B5EF4-FFF2-40B4-BE49-F238E27FC236}">
                <a16:creationId xmlns:a16="http://schemas.microsoft.com/office/drawing/2014/main" id="{15D2BEAB-3344-41CF-B53E-E92803EE502E}"/>
              </a:ext>
            </a:extLst>
          </p:cNvPr>
          <p:cNvSpPr>
            <a:spLocks noGrp="1"/>
          </p:cNvSpPr>
          <p:nvPr>
            <p:ph type="title"/>
          </p:nvPr>
        </p:nvSpPr>
        <p:spPr/>
        <p:txBody>
          <a:bodyPr/>
          <a:lstStyle/>
          <a:p>
            <a:r>
              <a:rPr lang="en-US" dirty="0"/>
              <a:t>High-level Implementation Roadmap</a:t>
            </a:r>
          </a:p>
        </p:txBody>
      </p:sp>
      <p:sp>
        <p:nvSpPr>
          <p:cNvPr id="3" name="Text Placeholder 2">
            <a:extLst>
              <a:ext uri="{FF2B5EF4-FFF2-40B4-BE49-F238E27FC236}">
                <a16:creationId xmlns:a16="http://schemas.microsoft.com/office/drawing/2014/main" id="{FF13DE54-CFB8-4D64-A65F-7D1CF1984A6E}"/>
              </a:ext>
            </a:extLst>
          </p:cNvPr>
          <p:cNvSpPr>
            <a:spLocks noGrp="1"/>
          </p:cNvSpPr>
          <p:nvPr>
            <p:ph type="body" sz="quarter" idx="14"/>
          </p:nvPr>
        </p:nvSpPr>
        <p:spPr/>
        <p:txBody>
          <a:bodyPr/>
          <a:lstStyle/>
          <a:p>
            <a:r>
              <a:rPr lang="en-US" dirty="0"/>
              <a:t>Subheader placeholder</a:t>
            </a:r>
          </a:p>
          <a:p>
            <a:endParaRPr lang="en-US" dirty="0"/>
          </a:p>
        </p:txBody>
      </p:sp>
      <p:sp>
        <p:nvSpPr>
          <p:cNvPr id="4" name="Text Placeholder 3">
            <a:extLst>
              <a:ext uri="{FF2B5EF4-FFF2-40B4-BE49-F238E27FC236}">
                <a16:creationId xmlns:a16="http://schemas.microsoft.com/office/drawing/2014/main" id="{E38FC959-98EF-431E-B39C-C657E4CDF030}"/>
              </a:ext>
            </a:extLst>
          </p:cNvPr>
          <p:cNvSpPr>
            <a:spLocks noGrp="1"/>
          </p:cNvSpPr>
          <p:nvPr>
            <p:ph type="body" sz="quarter" idx="15"/>
          </p:nvPr>
        </p:nvSpPr>
        <p:spPr/>
        <p:txBody>
          <a:bodyPr/>
          <a:lstStyle/>
          <a:p>
            <a:r>
              <a:rPr lang="en-US" dirty="0"/>
              <a:t>Plans, timelines and roadmaps</a:t>
            </a:r>
          </a:p>
        </p:txBody>
      </p:sp>
      <p:sp>
        <p:nvSpPr>
          <p:cNvPr id="5" name="Rectangle 4">
            <a:extLst>
              <a:ext uri="{FF2B5EF4-FFF2-40B4-BE49-F238E27FC236}">
                <a16:creationId xmlns:a16="http://schemas.microsoft.com/office/drawing/2014/main" id="{B85118A2-BB06-4199-B11E-724F67FAE584}"/>
              </a:ext>
            </a:extLst>
          </p:cNvPr>
          <p:cNvSpPr/>
          <p:nvPr/>
        </p:nvSpPr>
        <p:spPr bwMode="gray">
          <a:xfrm>
            <a:off x="640221" y="1610554"/>
            <a:ext cx="2439863" cy="5102991"/>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Open Sans"/>
              <a:ea typeface="+mn-ea"/>
              <a:cs typeface="+mn-cs"/>
            </a:endParaRPr>
          </a:p>
        </p:txBody>
      </p:sp>
      <p:cxnSp>
        <p:nvCxnSpPr>
          <p:cNvPr id="6" name="Straight Connector 5">
            <a:extLst>
              <a:ext uri="{FF2B5EF4-FFF2-40B4-BE49-F238E27FC236}">
                <a16:creationId xmlns:a16="http://schemas.microsoft.com/office/drawing/2014/main" id="{BA61ABA5-554F-410F-9492-9601E8FBEF07}"/>
              </a:ext>
            </a:extLst>
          </p:cNvPr>
          <p:cNvCxnSpPr/>
          <p:nvPr/>
        </p:nvCxnSpPr>
        <p:spPr>
          <a:xfrm>
            <a:off x="523836" y="1637130"/>
            <a:ext cx="0" cy="5029200"/>
          </a:xfrm>
          <a:prstGeom prst="line">
            <a:avLst/>
          </a:prstGeom>
          <a:noFill/>
          <a:ln w="3175" cap="flat" cmpd="sng" algn="ctr">
            <a:solidFill>
              <a:srgbClr val="000000">
                <a:lumMod val="50000"/>
                <a:lumOff val="50000"/>
              </a:srgbClr>
            </a:solidFill>
            <a:prstDash val="sysDot"/>
            <a:tailEnd type="oval"/>
          </a:ln>
          <a:effectLst/>
        </p:spPr>
      </p:cxnSp>
      <p:cxnSp>
        <p:nvCxnSpPr>
          <p:cNvPr id="7" name="Straight Connector 6">
            <a:extLst>
              <a:ext uri="{FF2B5EF4-FFF2-40B4-BE49-F238E27FC236}">
                <a16:creationId xmlns:a16="http://schemas.microsoft.com/office/drawing/2014/main" id="{1DBFE1DE-619C-4861-A70C-39989689BBD3}"/>
              </a:ext>
            </a:extLst>
          </p:cNvPr>
          <p:cNvCxnSpPr/>
          <p:nvPr/>
        </p:nvCxnSpPr>
        <p:spPr>
          <a:xfrm>
            <a:off x="3248439" y="1637130"/>
            <a:ext cx="25807" cy="5029200"/>
          </a:xfrm>
          <a:prstGeom prst="line">
            <a:avLst/>
          </a:prstGeom>
          <a:noFill/>
          <a:ln w="3175" cap="flat" cmpd="sng" algn="ctr">
            <a:solidFill>
              <a:srgbClr val="000000">
                <a:lumMod val="50000"/>
                <a:lumOff val="50000"/>
              </a:srgbClr>
            </a:solidFill>
            <a:prstDash val="sysDot"/>
            <a:tailEnd type="oval"/>
          </a:ln>
          <a:effectLst/>
        </p:spPr>
      </p:cxnSp>
      <p:sp>
        <p:nvSpPr>
          <p:cNvPr id="8" name="Rectangle 7">
            <a:extLst>
              <a:ext uri="{FF2B5EF4-FFF2-40B4-BE49-F238E27FC236}">
                <a16:creationId xmlns:a16="http://schemas.microsoft.com/office/drawing/2014/main" id="{6E64919E-70C7-45B7-A6DB-C93EF0683257}"/>
              </a:ext>
            </a:extLst>
          </p:cNvPr>
          <p:cNvSpPr/>
          <p:nvPr/>
        </p:nvSpPr>
        <p:spPr>
          <a:xfrm>
            <a:off x="697244" y="2185103"/>
            <a:ext cx="2212327" cy="1061829"/>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Open Sans"/>
                <a:ea typeface="+mn-ea"/>
                <a:cs typeface="+mn-cs"/>
              </a:rPr>
              <a:t>Create organizational alignment for strategy &amp; implementation </a:t>
            </a:r>
            <a:r>
              <a:rPr kumimoji="0" lang="en-US" sz="1000" b="0" i="0" u="none" strike="noStrike" kern="0" cap="none" spc="0" normalizeH="0" baseline="0" noProof="0" dirty="0">
                <a:ln>
                  <a:noFill/>
                </a:ln>
                <a:solidFill>
                  <a:srgbClr val="000000"/>
                </a:solidFill>
                <a:effectLst/>
                <a:uLnTx/>
                <a:uFillTx/>
                <a:latin typeface="Open Sans"/>
                <a:ea typeface="+mn-ea"/>
                <a:cs typeface="+mn-cs"/>
              </a:rPr>
              <a:t>via cross-functional working team to break down current siloes and lead future implementation efforts</a:t>
            </a:r>
          </a:p>
        </p:txBody>
      </p:sp>
      <p:sp>
        <p:nvSpPr>
          <p:cNvPr id="9" name="Rectangle 8">
            <a:extLst>
              <a:ext uri="{FF2B5EF4-FFF2-40B4-BE49-F238E27FC236}">
                <a16:creationId xmlns:a16="http://schemas.microsoft.com/office/drawing/2014/main" id="{D952133B-569B-492E-B1CF-7AA023C23B2C}"/>
              </a:ext>
            </a:extLst>
          </p:cNvPr>
          <p:cNvSpPr/>
          <p:nvPr/>
        </p:nvSpPr>
        <p:spPr>
          <a:xfrm>
            <a:off x="697245" y="3886093"/>
            <a:ext cx="2212326" cy="1061829"/>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Open Sans"/>
                <a:ea typeface="+mn-ea"/>
                <a:cs typeface="+mn-cs"/>
              </a:rPr>
              <a:t>Define overarching business goals and strategy for the business </a:t>
            </a:r>
            <a:r>
              <a:rPr kumimoji="0" lang="en-US" sz="1000" b="0" i="0" u="none" strike="noStrike" kern="0" cap="none" spc="0" normalizeH="0" baseline="0" noProof="0" dirty="0">
                <a:ln>
                  <a:noFill/>
                </a:ln>
                <a:solidFill>
                  <a:srgbClr val="000000"/>
                </a:solidFill>
                <a:effectLst/>
                <a:uLnTx/>
                <a:uFillTx/>
                <a:latin typeface="Open Sans"/>
                <a:ea typeface="+mn-ea"/>
                <a:cs typeface="+mn-cs"/>
              </a:rPr>
              <a:t>to align on vision for future state of operating model and organizational appetite for change </a:t>
            </a:r>
          </a:p>
        </p:txBody>
      </p:sp>
      <p:sp>
        <p:nvSpPr>
          <p:cNvPr id="10" name="Rectangle 9">
            <a:extLst>
              <a:ext uri="{FF2B5EF4-FFF2-40B4-BE49-F238E27FC236}">
                <a16:creationId xmlns:a16="http://schemas.microsoft.com/office/drawing/2014/main" id="{94BA80D8-FDD5-4BC9-9537-3C55A8953146}"/>
              </a:ext>
            </a:extLst>
          </p:cNvPr>
          <p:cNvSpPr/>
          <p:nvPr/>
        </p:nvSpPr>
        <p:spPr>
          <a:xfrm>
            <a:off x="3401791" y="1929598"/>
            <a:ext cx="2560320" cy="723275"/>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100" b="1" i="0" u="none" strike="noStrike" kern="0" cap="none" spc="0" normalizeH="0" baseline="0" noProof="0" dirty="0">
                <a:ln>
                  <a:noFill/>
                </a:ln>
                <a:solidFill>
                  <a:schemeClr val="accent3"/>
                </a:solidFill>
                <a:effectLst/>
                <a:uLnTx/>
                <a:uFillTx/>
                <a:latin typeface="Open Sans"/>
                <a:ea typeface="+mn-ea"/>
                <a:cs typeface="+mn-cs"/>
              </a:rPr>
              <a:t>Define objectives and goals </a:t>
            </a:r>
            <a:r>
              <a:rPr kumimoji="0" lang="en-US" sz="1000" b="0" i="0" u="none" strike="noStrike" kern="0" cap="none" spc="0" normalizeH="0" baseline="0" noProof="0" dirty="0">
                <a:ln>
                  <a:noFill/>
                </a:ln>
                <a:solidFill>
                  <a:srgbClr val="000000"/>
                </a:solidFill>
                <a:effectLst/>
                <a:uLnTx/>
                <a:uFillTx/>
                <a:latin typeface="Open Sans"/>
                <a:ea typeface="+mn-ea"/>
                <a:cs typeface="+mn-cs"/>
              </a:rPr>
              <a:t>that they want to achieve based on more robust standards, metrics, and incentives</a:t>
            </a:r>
          </a:p>
        </p:txBody>
      </p:sp>
      <p:sp>
        <p:nvSpPr>
          <p:cNvPr id="11" name="Rectangle 10">
            <a:extLst>
              <a:ext uri="{FF2B5EF4-FFF2-40B4-BE49-F238E27FC236}">
                <a16:creationId xmlns:a16="http://schemas.microsoft.com/office/drawing/2014/main" id="{4B2B1B5B-FCC9-4EB6-8036-19EBD8E9C2CE}"/>
              </a:ext>
            </a:extLst>
          </p:cNvPr>
          <p:cNvSpPr/>
          <p:nvPr/>
        </p:nvSpPr>
        <p:spPr>
          <a:xfrm>
            <a:off x="6212971" y="1929598"/>
            <a:ext cx="2560320" cy="723275"/>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100" b="1" i="0" u="none" strike="noStrike" kern="0" cap="none" spc="0" normalizeH="0" baseline="0" noProof="0" dirty="0">
                <a:ln>
                  <a:noFill/>
                </a:ln>
                <a:solidFill>
                  <a:schemeClr val="accent3"/>
                </a:solidFill>
                <a:effectLst/>
                <a:uLnTx/>
                <a:uFillTx/>
                <a:latin typeface="Open Sans"/>
                <a:ea typeface="+mn-ea"/>
                <a:cs typeface="+mn-cs"/>
              </a:rPr>
              <a:t>Assess current state </a:t>
            </a:r>
            <a:r>
              <a:rPr kumimoji="0" lang="en-US" sz="1000" b="0" i="0" u="none" strike="noStrike" kern="0" cap="none" spc="0" normalizeH="0" baseline="0" noProof="0" dirty="0">
                <a:ln>
                  <a:noFill/>
                </a:ln>
                <a:solidFill>
                  <a:srgbClr val="000000"/>
                </a:solidFill>
                <a:effectLst/>
                <a:uLnTx/>
                <a:uFillTx/>
                <a:latin typeface="Open Sans"/>
                <a:ea typeface="+mn-ea"/>
                <a:cs typeface="+mn-cs"/>
              </a:rPr>
              <a:t>to understand the programs that currently exist, how are they working, potential upside, and thresholds for success</a:t>
            </a:r>
          </a:p>
        </p:txBody>
      </p:sp>
      <p:sp>
        <p:nvSpPr>
          <p:cNvPr id="12" name="Rectangle 11">
            <a:extLst>
              <a:ext uri="{FF2B5EF4-FFF2-40B4-BE49-F238E27FC236}">
                <a16:creationId xmlns:a16="http://schemas.microsoft.com/office/drawing/2014/main" id="{07CE0B26-BEB9-4DA0-973D-8950B509BDE6}"/>
              </a:ext>
            </a:extLst>
          </p:cNvPr>
          <p:cNvSpPr/>
          <p:nvPr/>
        </p:nvSpPr>
        <p:spPr>
          <a:xfrm>
            <a:off x="3401791" y="3396569"/>
            <a:ext cx="2560320" cy="892552"/>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100" b="1" i="0" u="none" strike="noStrike" kern="0" cap="none" spc="0" normalizeH="0" baseline="0" noProof="0" dirty="0">
                <a:ln>
                  <a:noFill/>
                </a:ln>
                <a:solidFill>
                  <a:schemeClr val="accent1"/>
                </a:solidFill>
                <a:effectLst/>
                <a:uLnTx/>
                <a:uFillTx/>
                <a:latin typeface="Open Sans"/>
                <a:ea typeface="+mn-ea"/>
                <a:cs typeface="+mn-cs"/>
              </a:rPr>
              <a:t>Assess current digital ecommerce capabilities</a:t>
            </a:r>
            <a:r>
              <a:rPr kumimoji="0" lang="en-US" sz="1100" b="1" i="0" u="none" strike="noStrike" kern="0" cap="none" spc="0" normalizeH="0" baseline="0" noProof="0" dirty="0">
                <a:ln>
                  <a:noFill/>
                </a:ln>
                <a:solidFill>
                  <a:srgbClr val="86BC25"/>
                </a:solidFill>
                <a:effectLst/>
                <a:uLnTx/>
                <a:uFillTx/>
                <a:latin typeface="Open Sans"/>
                <a:ea typeface="+mn-ea"/>
                <a:cs typeface="+mn-cs"/>
              </a:rPr>
              <a:t> </a:t>
            </a:r>
            <a:r>
              <a:rPr kumimoji="0" lang="en-US" sz="1000" b="0" i="0" u="none" strike="noStrike" kern="0" cap="none" spc="0" normalizeH="0" baseline="0" noProof="0" dirty="0">
                <a:ln>
                  <a:noFill/>
                </a:ln>
                <a:solidFill>
                  <a:srgbClr val="000000"/>
                </a:solidFill>
                <a:effectLst/>
                <a:uLnTx/>
                <a:uFillTx/>
                <a:latin typeface="Open Sans"/>
                <a:ea typeface="+mn-ea"/>
                <a:cs typeface="+mn-cs"/>
              </a:rPr>
              <a:t>to catalogue current programs, determine capability gaps for and evaluate options to fill these capability gaps </a:t>
            </a:r>
          </a:p>
        </p:txBody>
      </p:sp>
      <p:sp>
        <p:nvSpPr>
          <p:cNvPr id="13" name="Teardrop 12">
            <a:extLst>
              <a:ext uri="{FF2B5EF4-FFF2-40B4-BE49-F238E27FC236}">
                <a16:creationId xmlns:a16="http://schemas.microsoft.com/office/drawing/2014/main" id="{FCEA0CC6-AE79-4C35-9A1C-405F5428FBC0}"/>
              </a:ext>
            </a:extLst>
          </p:cNvPr>
          <p:cNvSpPr/>
          <p:nvPr/>
        </p:nvSpPr>
        <p:spPr>
          <a:xfrm rot="8100000">
            <a:off x="441540" y="1642816"/>
            <a:ext cx="164592" cy="164592"/>
          </a:xfrm>
          <a:prstGeom prst="teardrop">
            <a:avLst/>
          </a:prstGeom>
          <a:solidFill>
            <a:schemeClr val="accent2"/>
          </a:solidFill>
          <a:ln w="9525" cap="flat" cmpd="sng" algn="ctr">
            <a:noFill/>
            <a:prstDash val="solid"/>
          </a:ln>
          <a:effectLst/>
        </p:spPr>
        <p:txBody>
          <a:bodyPr rtlCol="0" anchor="ctr"/>
          <a:lstStyle/>
          <a:p>
            <a:pPr marL="0" marR="0" lvl="0" indent="0" algn="ctr" defTabSz="457200" rtl="0" eaLnBrk="1" fontAlgn="auto" latinLnBrk="0" hangingPunct="1">
              <a:lnSpc>
                <a:spcPct val="90000"/>
              </a:lnSpc>
              <a:spcBef>
                <a:spcPts val="0"/>
              </a:spcBef>
              <a:spcAft>
                <a:spcPts val="30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A99DA729-C602-4C8F-991F-0F021627D6CD}"/>
              </a:ext>
            </a:extLst>
          </p:cNvPr>
          <p:cNvSpPr/>
          <p:nvPr/>
        </p:nvSpPr>
        <p:spPr>
          <a:xfrm>
            <a:off x="6207848" y="5176385"/>
            <a:ext cx="2560320" cy="892552"/>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100" b="1" i="0" u="none" strike="noStrike" kern="0" cap="none" spc="0" normalizeH="0" baseline="0" noProof="0" dirty="0">
                <a:ln>
                  <a:noFill/>
                </a:ln>
                <a:solidFill>
                  <a:schemeClr val="accent2"/>
                </a:solidFill>
                <a:effectLst/>
                <a:uLnTx/>
                <a:uFillTx/>
                <a:latin typeface="Open Sans"/>
                <a:ea typeface="+mn-ea"/>
                <a:cs typeface="+mn-cs"/>
              </a:rPr>
              <a:t>Revamp current vehicle evaluation process </a:t>
            </a:r>
            <a:r>
              <a:rPr kumimoji="0" lang="en-US" sz="1000" b="0" i="0" u="none" strike="noStrike" kern="0" cap="none" spc="0" normalizeH="0" baseline="0" noProof="0" dirty="0">
                <a:ln>
                  <a:noFill/>
                </a:ln>
                <a:solidFill>
                  <a:srgbClr val="000000"/>
                </a:solidFill>
                <a:effectLst/>
                <a:uLnTx/>
                <a:uFillTx/>
                <a:latin typeface="Open Sans"/>
                <a:ea typeface="+mn-ea"/>
                <a:cs typeface="+mn-cs"/>
              </a:rPr>
              <a:t>and explore legal / franchise considerations for how they might recon a car in an efficient, cost effective manner</a:t>
            </a:r>
          </a:p>
        </p:txBody>
      </p:sp>
      <p:sp>
        <p:nvSpPr>
          <p:cNvPr id="15" name="Rectangle 14">
            <a:extLst>
              <a:ext uri="{FF2B5EF4-FFF2-40B4-BE49-F238E27FC236}">
                <a16:creationId xmlns:a16="http://schemas.microsoft.com/office/drawing/2014/main" id="{588E34A6-0EE5-40DE-BB70-A6581DB50711}"/>
              </a:ext>
            </a:extLst>
          </p:cNvPr>
          <p:cNvSpPr/>
          <p:nvPr/>
        </p:nvSpPr>
        <p:spPr>
          <a:xfrm>
            <a:off x="6207848" y="3396569"/>
            <a:ext cx="2560320" cy="1031051"/>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100" b="1" i="0" u="none" strike="noStrike" kern="0" cap="none" spc="0" normalizeH="0" baseline="0" noProof="0" dirty="0">
                <a:ln>
                  <a:noFill/>
                </a:ln>
                <a:solidFill>
                  <a:schemeClr val="accent1"/>
                </a:solidFill>
                <a:effectLst/>
                <a:uLnTx/>
                <a:uFillTx/>
                <a:latin typeface="Open Sans"/>
                <a:ea typeface="+mn-ea"/>
                <a:cs typeface="+mn-cs"/>
              </a:rPr>
              <a:t>Design implementation approach </a:t>
            </a:r>
            <a:r>
              <a:rPr kumimoji="0" lang="en-US" sz="1000" b="0" i="0" u="none" strike="noStrike" kern="0" cap="none" spc="0" normalizeH="0" baseline="0" noProof="0" dirty="0">
                <a:ln>
                  <a:noFill/>
                </a:ln>
                <a:solidFill>
                  <a:srgbClr val="000000"/>
                </a:solidFill>
                <a:effectLst/>
                <a:uLnTx/>
                <a:uFillTx/>
                <a:latin typeface="Open Sans"/>
                <a:ea typeface="+mn-ea"/>
                <a:cs typeface="+mn-cs"/>
              </a:rPr>
              <a:t>for each step of the Process (e.g., centralized inventory, enhanced online search, seamless connections with websites and portals, pricing and financing, etc.)</a:t>
            </a:r>
            <a:endParaRPr kumimoji="0" lang="en-US" sz="900" b="0" i="0" u="none" strike="noStrike" kern="0" cap="none" spc="0" normalizeH="0" baseline="0" noProof="0" dirty="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EFE8ABE4-0272-4A53-BDE8-0742C754A546}"/>
              </a:ext>
            </a:extLst>
          </p:cNvPr>
          <p:cNvSpPr/>
          <p:nvPr/>
        </p:nvSpPr>
        <p:spPr>
          <a:xfrm>
            <a:off x="8975658" y="5176385"/>
            <a:ext cx="2560320" cy="738664"/>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100" b="1" i="0" u="none" strike="noStrike" kern="0" cap="none" spc="0" normalizeH="0" baseline="0" noProof="0" dirty="0">
                <a:ln>
                  <a:noFill/>
                </a:ln>
                <a:solidFill>
                  <a:schemeClr val="accent2"/>
                </a:solidFill>
                <a:effectLst/>
                <a:uLnTx/>
                <a:uFillTx/>
                <a:latin typeface="Open Sans"/>
                <a:ea typeface="+mn-ea"/>
                <a:cs typeface="+mn-cs"/>
              </a:rPr>
              <a:t>Invest in centralized recon facilities </a:t>
            </a:r>
            <a:r>
              <a:rPr kumimoji="0" lang="en-US" sz="1000" b="0" i="0" u="none" strike="noStrike" kern="0" cap="none" spc="0" normalizeH="0" baseline="0" noProof="0" dirty="0">
                <a:ln>
                  <a:noFill/>
                </a:ln>
                <a:solidFill>
                  <a:srgbClr val="000000"/>
                </a:solidFill>
                <a:effectLst/>
                <a:uLnTx/>
                <a:uFillTx/>
                <a:latin typeface="Open Sans"/>
                <a:ea typeface="+mn-ea"/>
                <a:cs typeface="+mn-cs"/>
              </a:rPr>
              <a:t>and tech resources</a:t>
            </a:r>
            <a:r>
              <a:rPr kumimoji="0" lang="en-US" sz="1000" b="1" i="0" u="none" strike="noStrike" kern="0" cap="none" spc="0" normalizeH="0" baseline="0" noProof="0" dirty="0">
                <a:ln>
                  <a:noFill/>
                </a:ln>
                <a:solidFill>
                  <a:srgbClr val="156BA7"/>
                </a:solidFill>
                <a:effectLst/>
                <a:uLnTx/>
                <a:uFillTx/>
                <a:latin typeface="Open Sans"/>
                <a:ea typeface="+mn-ea"/>
                <a:cs typeface="+mn-cs"/>
              </a:rPr>
              <a:t> </a:t>
            </a:r>
            <a:r>
              <a:rPr kumimoji="0" lang="en-US" sz="1000" b="0" i="0" u="none" strike="noStrike" kern="0" cap="none" spc="0" normalizeH="0" baseline="0" noProof="0" dirty="0">
                <a:ln>
                  <a:noFill/>
                </a:ln>
                <a:solidFill>
                  <a:srgbClr val="000000"/>
                </a:solidFill>
                <a:effectLst/>
                <a:uLnTx/>
                <a:uFillTx/>
                <a:latin typeface="Open Sans"/>
                <a:ea typeface="+mn-ea"/>
                <a:cs typeface="+mn-cs"/>
              </a:rPr>
              <a:t>for vehicles that are retained by the company</a:t>
            </a:r>
          </a:p>
        </p:txBody>
      </p:sp>
      <p:sp>
        <p:nvSpPr>
          <p:cNvPr id="17" name="Teardrop 16">
            <a:extLst>
              <a:ext uri="{FF2B5EF4-FFF2-40B4-BE49-F238E27FC236}">
                <a16:creationId xmlns:a16="http://schemas.microsoft.com/office/drawing/2014/main" id="{95076929-B9B7-44E3-BA6A-302008264CF8}"/>
              </a:ext>
            </a:extLst>
          </p:cNvPr>
          <p:cNvSpPr/>
          <p:nvPr/>
        </p:nvSpPr>
        <p:spPr>
          <a:xfrm rot="8100000">
            <a:off x="3179046" y="3143298"/>
            <a:ext cx="164592" cy="164592"/>
          </a:xfrm>
          <a:prstGeom prst="teardrop">
            <a:avLst/>
          </a:prstGeom>
          <a:solidFill>
            <a:schemeClr val="accent1"/>
          </a:solidFill>
          <a:ln w="9525" cap="flat" cmpd="sng" algn="ctr">
            <a:noFill/>
            <a:prstDash val="solid"/>
          </a:ln>
          <a:effectLst/>
        </p:spPr>
        <p:txBody>
          <a:bodyPr rtlCol="0" anchor="ctr"/>
          <a:lstStyle/>
          <a:p>
            <a:pPr marL="0" marR="0" lvl="0" indent="0" algn="ctr" defTabSz="457200" rtl="0" eaLnBrk="1" fontAlgn="auto" latinLnBrk="0" hangingPunct="1">
              <a:lnSpc>
                <a:spcPct val="90000"/>
              </a:lnSpc>
              <a:spcBef>
                <a:spcPts val="0"/>
              </a:spcBef>
              <a:spcAft>
                <a:spcPts val="30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Open Sans"/>
              <a:ea typeface="+mn-ea"/>
              <a:cs typeface="+mn-cs"/>
            </a:endParaRPr>
          </a:p>
        </p:txBody>
      </p:sp>
      <p:sp>
        <p:nvSpPr>
          <p:cNvPr id="18" name="Teardrop 17">
            <a:extLst>
              <a:ext uri="{FF2B5EF4-FFF2-40B4-BE49-F238E27FC236}">
                <a16:creationId xmlns:a16="http://schemas.microsoft.com/office/drawing/2014/main" id="{A63900AE-3FA1-4AA6-85B6-28D4EB2209A0}"/>
              </a:ext>
            </a:extLst>
          </p:cNvPr>
          <p:cNvSpPr/>
          <p:nvPr/>
        </p:nvSpPr>
        <p:spPr>
          <a:xfrm rot="8100000">
            <a:off x="3198502" y="4919205"/>
            <a:ext cx="164592" cy="164592"/>
          </a:xfrm>
          <a:prstGeom prst="teardrop">
            <a:avLst/>
          </a:prstGeom>
          <a:solidFill>
            <a:schemeClr val="accent2"/>
          </a:solidFill>
          <a:ln w="9525" cap="flat" cmpd="sng" algn="ctr">
            <a:solidFill>
              <a:schemeClr val="accent2"/>
            </a:solidFill>
            <a:prstDash val="solid"/>
          </a:ln>
          <a:effectLst/>
        </p:spPr>
        <p:txBody>
          <a:bodyPr rtlCol="0" anchor="ctr"/>
          <a:lstStyle/>
          <a:p>
            <a:pPr marL="0" marR="0" lvl="0" indent="0" algn="ctr" defTabSz="457200" rtl="0" eaLnBrk="1" fontAlgn="auto" latinLnBrk="0" hangingPunct="1">
              <a:lnSpc>
                <a:spcPct val="90000"/>
              </a:lnSpc>
              <a:spcBef>
                <a:spcPts val="0"/>
              </a:spcBef>
              <a:spcAft>
                <a:spcPts val="30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Open Sans"/>
              <a:ea typeface="+mn-ea"/>
              <a:cs typeface="+mn-cs"/>
            </a:endParaRPr>
          </a:p>
        </p:txBody>
      </p:sp>
      <p:sp>
        <p:nvSpPr>
          <p:cNvPr id="19" name="Teardrop 18">
            <a:extLst>
              <a:ext uri="{FF2B5EF4-FFF2-40B4-BE49-F238E27FC236}">
                <a16:creationId xmlns:a16="http://schemas.microsoft.com/office/drawing/2014/main" id="{30556FFF-4F8D-4A86-AAF2-9C64BF7FC575}"/>
              </a:ext>
            </a:extLst>
          </p:cNvPr>
          <p:cNvSpPr/>
          <p:nvPr/>
        </p:nvSpPr>
        <p:spPr>
          <a:xfrm rot="8100000">
            <a:off x="3179046" y="1602294"/>
            <a:ext cx="164592" cy="164592"/>
          </a:xfrm>
          <a:prstGeom prst="teardrop">
            <a:avLst/>
          </a:prstGeom>
          <a:solidFill>
            <a:schemeClr val="accent3"/>
          </a:solidFill>
          <a:ln w="9525" cap="flat" cmpd="sng" algn="ctr">
            <a:solidFill>
              <a:schemeClr val="accent3"/>
            </a:solidFill>
            <a:prstDash val="solid"/>
          </a:ln>
          <a:effectLst/>
        </p:spPr>
        <p:txBody>
          <a:bodyPr rtlCol="0" anchor="ctr"/>
          <a:lstStyle/>
          <a:p>
            <a:pPr marL="0" marR="0" lvl="0" indent="0" algn="ctr" defTabSz="457200" rtl="0" eaLnBrk="1" fontAlgn="auto" latinLnBrk="0" hangingPunct="1">
              <a:lnSpc>
                <a:spcPct val="90000"/>
              </a:lnSpc>
              <a:spcBef>
                <a:spcPts val="0"/>
              </a:spcBef>
              <a:spcAft>
                <a:spcPts val="300"/>
              </a:spcAft>
              <a:buClrTx/>
              <a:buSzTx/>
              <a:buFontTx/>
              <a:buNone/>
              <a:tabLst/>
              <a:defRPr/>
            </a:pPr>
            <a:endParaRPr kumimoji="0" lang="en-US" sz="1600" b="0" i="0" u="none" strike="noStrike" kern="0" cap="none" spc="0" normalizeH="0" baseline="0" noProof="0" dirty="0">
              <a:ln>
                <a:noFill/>
              </a:ln>
              <a:solidFill>
                <a:schemeClr val="accent3"/>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652B2352-8BEB-4137-B629-7205936D9718}"/>
              </a:ext>
            </a:extLst>
          </p:cNvPr>
          <p:cNvSpPr/>
          <p:nvPr/>
        </p:nvSpPr>
        <p:spPr>
          <a:xfrm>
            <a:off x="8975658" y="1929598"/>
            <a:ext cx="2560320" cy="877163"/>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100" b="1" i="0" u="none" strike="noStrike" kern="0" cap="none" spc="0" normalizeH="0" baseline="0" noProof="0" dirty="0">
                <a:ln>
                  <a:noFill/>
                </a:ln>
                <a:solidFill>
                  <a:schemeClr val="accent3"/>
                </a:solidFill>
                <a:effectLst/>
                <a:uLnTx/>
                <a:uFillTx/>
                <a:latin typeface="Open Sans"/>
                <a:ea typeface="+mn-ea"/>
                <a:cs typeface="+mn-cs"/>
              </a:rPr>
              <a:t>Develop integrated program </a:t>
            </a:r>
            <a:r>
              <a:rPr kumimoji="0" lang="en-US" sz="1000" b="0" i="0" u="none" strike="noStrike" kern="0" cap="none" spc="0" normalizeH="0" baseline="0" noProof="0" dirty="0">
                <a:ln>
                  <a:noFill/>
                </a:ln>
                <a:solidFill>
                  <a:srgbClr val="000000"/>
                </a:solidFill>
                <a:effectLst/>
                <a:uLnTx/>
                <a:uFillTx/>
                <a:latin typeface="Open Sans"/>
                <a:ea typeface="+mn-ea"/>
                <a:cs typeface="+mn-cs"/>
              </a:rPr>
              <a:t>for standards, metrics, and incentives to drive business objectives, pilot with select dealers, and then launch across the whole network</a:t>
            </a:r>
          </a:p>
        </p:txBody>
      </p:sp>
      <p:sp>
        <p:nvSpPr>
          <p:cNvPr id="21" name="Rectangle 20">
            <a:extLst>
              <a:ext uri="{FF2B5EF4-FFF2-40B4-BE49-F238E27FC236}">
                <a16:creationId xmlns:a16="http://schemas.microsoft.com/office/drawing/2014/main" id="{385D51C0-C4A3-4ECF-B479-3CC0C831748C}"/>
              </a:ext>
            </a:extLst>
          </p:cNvPr>
          <p:cNvSpPr/>
          <p:nvPr/>
        </p:nvSpPr>
        <p:spPr>
          <a:xfrm>
            <a:off x="8975658" y="3396569"/>
            <a:ext cx="2560320" cy="569387"/>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100" b="1" i="0" u="none" strike="noStrike" kern="0" cap="none" spc="0" normalizeH="0" baseline="0" noProof="0" dirty="0">
                <a:ln>
                  <a:noFill/>
                </a:ln>
                <a:solidFill>
                  <a:schemeClr val="accent1"/>
                </a:solidFill>
                <a:effectLst/>
                <a:uLnTx/>
                <a:uFillTx/>
                <a:latin typeface="Open Sans"/>
                <a:ea typeface="+mn-ea"/>
                <a:cs typeface="+mn-cs"/>
              </a:rPr>
              <a:t>Develop digital platform </a:t>
            </a:r>
            <a:r>
              <a:rPr kumimoji="0" lang="en-US" sz="1000" b="0" i="0" u="none" strike="noStrike" kern="0" cap="none" spc="0" normalizeH="0" baseline="0" noProof="0" dirty="0">
                <a:ln>
                  <a:noFill/>
                </a:ln>
                <a:solidFill>
                  <a:srgbClr val="000000"/>
                </a:solidFill>
                <a:effectLst/>
                <a:uLnTx/>
                <a:uFillTx/>
                <a:latin typeface="Open Sans"/>
                <a:ea typeface="+mn-ea"/>
                <a:cs typeface="+mn-cs"/>
              </a:rPr>
              <a:t>that allows customers to buy vehicles directly </a:t>
            </a:r>
            <a:r>
              <a:rPr lang="en-US" sz="1000" kern="0" dirty="0">
                <a:solidFill>
                  <a:srgbClr val="000000"/>
                </a:solidFill>
                <a:latin typeface="Open Sans"/>
              </a:rPr>
              <a:t>online</a:t>
            </a:r>
            <a:endParaRPr kumimoji="0" lang="en-US" sz="1000" b="1" i="0" u="none" strike="noStrike" kern="0" cap="none" spc="0" normalizeH="0" baseline="0" noProof="0" dirty="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642C670-8A58-4BA4-B619-00F8B91D1ECB}"/>
              </a:ext>
            </a:extLst>
          </p:cNvPr>
          <p:cNvSpPr/>
          <p:nvPr/>
        </p:nvSpPr>
        <p:spPr>
          <a:xfrm>
            <a:off x="3401791" y="6121244"/>
            <a:ext cx="2560320" cy="569387"/>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100" b="1" i="0" u="none" strike="noStrike" kern="0" cap="none" spc="0" normalizeH="0" baseline="0" noProof="0" dirty="0">
                <a:ln>
                  <a:noFill/>
                </a:ln>
                <a:solidFill>
                  <a:schemeClr val="accent2"/>
                </a:solidFill>
                <a:effectLst/>
                <a:uLnTx/>
                <a:uFillTx/>
                <a:latin typeface="Open Sans"/>
                <a:ea typeface="+mn-ea"/>
                <a:cs typeface="+mn-cs"/>
              </a:rPr>
              <a:t>Assess and build logistics </a:t>
            </a:r>
            <a:r>
              <a:rPr kumimoji="0" lang="en-US" sz="1000" b="0" i="0" u="none" strike="noStrike" kern="0" cap="none" spc="0" normalizeH="0" baseline="0" noProof="0" dirty="0">
                <a:ln>
                  <a:noFill/>
                </a:ln>
                <a:solidFill>
                  <a:srgbClr val="000000"/>
                </a:solidFill>
                <a:effectLst/>
                <a:uLnTx/>
                <a:uFillTx/>
                <a:latin typeface="Open Sans"/>
                <a:ea typeface="+mn-ea"/>
                <a:cs typeface="+mn-cs"/>
              </a:rPr>
              <a:t>to transport vehicles between from dealers, recon facilities, consumers, etc. </a:t>
            </a:r>
          </a:p>
        </p:txBody>
      </p:sp>
      <p:cxnSp>
        <p:nvCxnSpPr>
          <p:cNvPr id="23" name="Straight Connector 22">
            <a:extLst>
              <a:ext uri="{FF2B5EF4-FFF2-40B4-BE49-F238E27FC236}">
                <a16:creationId xmlns:a16="http://schemas.microsoft.com/office/drawing/2014/main" id="{75A61553-0E79-4A9B-87A1-DFD532BE1299}"/>
              </a:ext>
            </a:extLst>
          </p:cNvPr>
          <p:cNvCxnSpPr/>
          <p:nvPr/>
        </p:nvCxnSpPr>
        <p:spPr>
          <a:xfrm>
            <a:off x="774283" y="2178645"/>
            <a:ext cx="2035624" cy="0"/>
          </a:xfrm>
          <a:prstGeom prst="line">
            <a:avLst/>
          </a:prstGeom>
          <a:noFill/>
          <a:ln w="28575" cap="flat" cmpd="sng" algn="ctr">
            <a:solidFill>
              <a:schemeClr val="accent2"/>
            </a:solidFill>
            <a:prstDash val="solid"/>
          </a:ln>
          <a:effectLst/>
        </p:spPr>
      </p:cxnSp>
      <p:cxnSp>
        <p:nvCxnSpPr>
          <p:cNvPr id="24" name="Straight Connector 23">
            <a:extLst>
              <a:ext uri="{FF2B5EF4-FFF2-40B4-BE49-F238E27FC236}">
                <a16:creationId xmlns:a16="http://schemas.microsoft.com/office/drawing/2014/main" id="{A9891204-3691-4F75-A762-4C539DBC2937}"/>
              </a:ext>
            </a:extLst>
          </p:cNvPr>
          <p:cNvCxnSpPr/>
          <p:nvPr/>
        </p:nvCxnSpPr>
        <p:spPr>
          <a:xfrm>
            <a:off x="774283" y="3886710"/>
            <a:ext cx="2035624" cy="0"/>
          </a:xfrm>
          <a:prstGeom prst="line">
            <a:avLst/>
          </a:prstGeom>
          <a:noFill/>
          <a:ln w="28575" cap="flat" cmpd="sng" algn="ctr">
            <a:solidFill>
              <a:schemeClr val="accent2"/>
            </a:solidFill>
            <a:prstDash val="solid"/>
          </a:ln>
          <a:effectLst/>
        </p:spPr>
      </p:cxnSp>
      <p:cxnSp>
        <p:nvCxnSpPr>
          <p:cNvPr id="25" name="Straight Connector 24">
            <a:extLst>
              <a:ext uri="{FF2B5EF4-FFF2-40B4-BE49-F238E27FC236}">
                <a16:creationId xmlns:a16="http://schemas.microsoft.com/office/drawing/2014/main" id="{528BDFCF-DF7A-4676-8BC5-B5EAB6B46C8E}"/>
              </a:ext>
            </a:extLst>
          </p:cNvPr>
          <p:cNvCxnSpPr/>
          <p:nvPr/>
        </p:nvCxnSpPr>
        <p:spPr>
          <a:xfrm>
            <a:off x="3464648" y="1698554"/>
            <a:ext cx="8046720" cy="0"/>
          </a:xfrm>
          <a:prstGeom prst="line">
            <a:avLst/>
          </a:prstGeom>
          <a:noFill/>
          <a:ln w="28575" cap="flat" cmpd="sng" algn="ctr">
            <a:solidFill>
              <a:schemeClr val="accent3"/>
            </a:solidFill>
            <a:prstDash val="solid"/>
            <a:tailEnd type="none"/>
          </a:ln>
          <a:effectLst/>
        </p:spPr>
      </p:cxnSp>
      <p:cxnSp>
        <p:nvCxnSpPr>
          <p:cNvPr id="26" name="Straight Connector 25">
            <a:extLst>
              <a:ext uri="{FF2B5EF4-FFF2-40B4-BE49-F238E27FC236}">
                <a16:creationId xmlns:a16="http://schemas.microsoft.com/office/drawing/2014/main" id="{DBEED3CA-75AE-4672-A8C3-20A6742181A0}"/>
              </a:ext>
            </a:extLst>
          </p:cNvPr>
          <p:cNvCxnSpPr/>
          <p:nvPr/>
        </p:nvCxnSpPr>
        <p:spPr>
          <a:xfrm>
            <a:off x="3464648" y="3230383"/>
            <a:ext cx="8046720" cy="0"/>
          </a:xfrm>
          <a:prstGeom prst="line">
            <a:avLst/>
          </a:prstGeom>
          <a:noFill/>
          <a:ln w="28575" cap="flat" cmpd="sng" algn="ctr">
            <a:solidFill>
              <a:schemeClr val="accent1"/>
            </a:solidFill>
            <a:prstDash val="solid"/>
            <a:tailEnd type="none"/>
          </a:ln>
          <a:effectLst/>
        </p:spPr>
      </p:cxnSp>
      <p:cxnSp>
        <p:nvCxnSpPr>
          <p:cNvPr id="27" name="Straight Connector 26">
            <a:extLst>
              <a:ext uri="{FF2B5EF4-FFF2-40B4-BE49-F238E27FC236}">
                <a16:creationId xmlns:a16="http://schemas.microsoft.com/office/drawing/2014/main" id="{D457CE6C-DB91-4CF2-AEEC-8BA21D019C2F}"/>
              </a:ext>
            </a:extLst>
          </p:cNvPr>
          <p:cNvCxnSpPr/>
          <p:nvPr/>
        </p:nvCxnSpPr>
        <p:spPr>
          <a:xfrm>
            <a:off x="3464648" y="5004406"/>
            <a:ext cx="8046720" cy="14397"/>
          </a:xfrm>
          <a:prstGeom prst="line">
            <a:avLst/>
          </a:prstGeom>
          <a:noFill/>
          <a:ln w="38100" cap="flat" cmpd="sng" algn="ctr">
            <a:solidFill>
              <a:schemeClr val="accent2"/>
            </a:solidFill>
            <a:prstDash val="solid"/>
            <a:tailEnd type="none"/>
          </a:ln>
          <a:effectLst/>
        </p:spPr>
      </p:cxnSp>
      <p:sp>
        <p:nvSpPr>
          <p:cNvPr id="28" name="Rectangle 27">
            <a:extLst>
              <a:ext uri="{FF2B5EF4-FFF2-40B4-BE49-F238E27FC236}">
                <a16:creationId xmlns:a16="http://schemas.microsoft.com/office/drawing/2014/main" id="{59F9DCE7-6AE6-4EE7-B16B-7B50A3F3BA86}"/>
              </a:ext>
            </a:extLst>
          </p:cNvPr>
          <p:cNvSpPr/>
          <p:nvPr/>
        </p:nvSpPr>
        <p:spPr>
          <a:xfrm>
            <a:off x="697245" y="5571073"/>
            <a:ext cx="2202973" cy="738664"/>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100" b="1" i="0" u="none" strike="noStrike" kern="0" cap="none" spc="0" normalizeH="0" baseline="0" noProof="0" dirty="0">
                <a:ln>
                  <a:noFill/>
                </a:ln>
                <a:solidFill>
                  <a:schemeClr val="tx2"/>
                </a:solidFill>
                <a:effectLst/>
                <a:uLnTx/>
                <a:uFillTx/>
                <a:latin typeface="Open Sans"/>
                <a:ea typeface="+mn-ea"/>
                <a:cs typeface="+mn-cs"/>
              </a:rPr>
              <a:t>Build franchise buy-in </a:t>
            </a:r>
            <a:r>
              <a:rPr kumimoji="0" lang="en-US" sz="1000" b="0" i="0" u="none" strike="noStrike" kern="0" cap="none" spc="0" normalizeH="0" baseline="0" noProof="0" dirty="0">
                <a:ln>
                  <a:noFill/>
                </a:ln>
                <a:solidFill>
                  <a:srgbClr val="000000"/>
                </a:solidFill>
                <a:effectLst/>
                <a:uLnTx/>
                <a:uFillTx/>
                <a:latin typeface="Open Sans"/>
                <a:ea typeface="+mn-ea"/>
                <a:cs typeface="+mn-cs"/>
              </a:rPr>
              <a:t>by socializing major ideas with dealer board, outlining upside and benefits, etc.</a:t>
            </a:r>
          </a:p>
        </p:txBody>
      </p:sp>
      <p:cxnSp>
        <p:nvCxnSpPr>
          <p:cNvPr id="29" name="Straight Connector 28">
            <a:extLst>
              <a:ext uri="{FF2B5EF4-FFF2-40B4-BE49-F238E27FC236}">
                <a16:creationId xmlns:a16="http://schemas.microsoft.com/office/drawing/2014/main" id="{06A7CF31-95B3-4B5E-BF2B-7B44FBF2BA89}"/>
              </a:ext>
            </a:extLst>
          </p:cNvPr>
          <p:cNvCxnSpPr/>
          <p:nvPr/>
        </p:nvCxnSpPr>
        <p:spPr>
          <a:xfrm>
            <a:off x="774283" y="5571690"/>
            <a:ext cx="2035624" cy="0"/>
          </a:xfrm>
          <a:prstGeom prst="line">
            <a:avLst/>
          </a:prstGeom>
          <a:noFill/>
          <a:ln w="28575" cap="flat" cmpd="sng" algn="ctr">
            <a:solidFill>
              <a:schemeClr val="accent2"/>
            </a:solidFill>
            <a:prstDash val="solid"/>
          </a:ln>
          <a:effectLst/>
        </p:spPr>
      </p:cxnSp>
      <p:sp>
        <p:nvSpPr>
          <p:cNvPr id="30" name="Rectangle 29">
            <a:extLst>
              <a:ext uri="{FF2B5EF4-FFF2-40B4-BE49-F238E27FC236}">
                <a16:creationId xmlns:a16="http://schemas.microsoft.com/office/drawing/2014/main" id="{162931FE-969F-4C5A-8B13-3AB9BA29C695}"/>
              </a:ext>
            </a:extLst>
          </p:cNvPr>
          <p:cNvSpPr/>
          <p:nvPr/>
        </p:nvSpPr>
        <p:spPr>
          <a:xfrm>
            <a:off x="664284" y="1610554"/>
            <a:ext cx="2415799" cy="480131"/>
          </a:xfrm>
          <a:prstGeom prst="rect">
            <a:avLst/>
          </a:prstGeom>
          <a:noFill/>
        </p:spPr>
        <p:txBody>
          <a:bodyPr wrap="square">
            <a:spAutoFit/>
          </a:bodyPr>
          <a:lstStyle/>
          <a:p>
            <a:pPr marL="0" marR="0" lvl="0" indent="0" algn="ctr" defTabSz="457200" rtl="0" eaLnBrk="1" fontAlgn="auto" latinLnBrk="0" hangingPunct="1">
              <a:lnSpc>
                <a:spcPct val="90000"/>
              </a:lnSpc>
              <a:spcBef>
                <a:spcPts val="0"/>
              </a:spcBef>
              <a:spcAft>
                <a:spcPts val="600"/>
              </a:spcAft>
              <a:buClrTx/>
              <a:buSzTx/>
              <a:buFontTx/>
              <a:buNone/>
              <a:tabLst/>
              <a:defRPr/>
            </a:pPr>
            <a:r>
              <a:rPr kumimoji="0" lang="en-US" sz="1400" b="1" i="0" u="none" strike="noStrike" kern="0" cap="none" spc="0" normalizeH="0" baseline="0" noProof="0" dirty="0">
                <a:ln>
                  <a:noFill/>
                </a:ln>
                <a:solidFill>
                  <a:schemeClr val="tx2"/>
                </a:solidFill>
                <a:effectLst/>
                <a:uLnTx/>
                <a:uFillTx/>
                <a:latin typeface="Open Sans"/>
                <a:ea typeface="+mn-ea"/>
                <a:cs typeface="+mn-cs"/>
              </a:rPr>
              <a:t>Strategy &amp; Alignment </a:t>
            </a:r>
            <a:br>
              <a:rPr kumimoji="0" lang="en-US" sz="1400" b="1" i="0" u="none" strike="noStrike" kern="0" cap="none" spc="0" normalizeH="0" baseline="0" noProof="0" dirty="0">
                <a:ln>
                  <a:noFill/>
                </a:ln>
                <a:solidFill>
                  <a:schemeClr val="tx2"/>
                </a:solidFill>
                <a:effectLst/>
                <a:uLnTx/>
                <a:uFillTx/>
                <a:latin typeface="Open Sans"/>
                <a:ea typeface="+mn-ea"/>
                <a:cs typeface="+mn-cs"/>
              </a:rPr>
            </a:br>
            <a:r>
              <a:rPr kumimoji="0" lang="en-US" sz="1400" b="1" i="1" u="none" strike="noStrike" kern="0" cap="none" spc="0" normalizeH="0" baseline="0" noProof="0" dirty="0">
                <a:ln>
                  <a:noFill/>
                </a:ln>
                <a:solidFill>
                  <a:schemeClr val="tx2"/>
                </a:solidFill>
                <a:effectLst/>
                <a:uLnTx/>
                <a:uFillTx/>
                <a:latin typeface="Open Sans"/>
                <a:ea typeface="+mn-ea"/>
                <a:cs typeface="+mn-cs"/>
              </a:rPr>
              <a:t>(3 – 6 months)</a:t>
            </a:r>
          </a:p>
        </p:txBody>
      </p:sp>
      <p:sp>
        <p:nvSpPr>
          <p:cNvPr id="31" name="Rectangle 30">
            <a:extLst>
              <a:ext uri="{FF2B5EF4-FFF2-40B4-BE49-F238E27FC236}">
                <a16:creationId xmlns:a16="http://schemas.microsoft.com/office/drawing/2014/main" id="{658B3E64-E01F-43DE-84F5-3E03B4BE472B}"/>
              </a:ext>
            </a:extLst>
          </p:cNvPr>
          <p:cNvSpPr/>
          <p:nvPr/>
        </p:nvSpPr>
        <p:spPr>
          <a:xfrm>
            <a:off x="4796499" y="1561394"/>
            <a:ext cx="5383018" cy="286232"/>
          </a:xfrm>
          <a:prstGeom prst="rect">
            <a:avLst/>
          </a:prstGeom>
          <a:solidFill>
            <a:schemeClr val="bg1"/>
          </a:solidFill>
        </p:spPr>
        <p:txBody>
          <a:bodyPr wrap="square">
            <a:spAutoFit/>
          </a:bodyPr>
          <a:lstStyle/>
          <a:p>
            <a:pPr marL="0" marR="0" lvl="0" indent="0" algn="ctr" defTabSz="457200" rtl="0" eaLnBrk="1" fontAlgn="auto" latinLnBrk="0" hangingPunct="1">
              <a:lnSpc>
                <a:spcPct val="90000"/>
              </a:lnSpc>
              <a:spcBef>
                <a:spcPts val="0"/>
              </a:spcBef>
              <a:spcAft>
                <a:spcPts val="300"/>
              </a:spcAft>
              <a:buClrTx/>
              <a:buSzTx/>
              <a:buFontTx/>
              <a:buNone/>
              <a:tabLst/>
              <a:defRPr/>
            </a:pPr>
            <a:r>
              <a:rPr kumimoji="0" lang="en-US" sz="1400" b="1" i="0" u="none" strike="noStrike" kern="0" cap="none" spc="0" normalizeH="0" baseline="0" noProof="0" dirty="0">
                <a:ln>
                  <a:noFill/>
                </a:ln>
                <a:solidFill>
                  <a:schemeClr val="accent3"/>
                </a:solidFill>
                <a:effectLst/>
                <a:uLnTx/>
                <a:uFillTx/>
                <a:latin typeface="Open Sans"/>
                <a:ea typeface="+mn-ea"/>
                <a:cs typeface="+mn-cs"/>
              </a:rPr>
              <a:t>Standards, Metrics, and Incentive Programs </a:t>
            </a:r>
            <a:r>
              <a:rPr kumimoji="0" lang="en-US" sz="1400" b="1" i="1" u="none" strike="noStrike" kern="0" cap="none" spc="0" normalizeH="0" baseline="0" noProof="0" dirty="0">
                <a:ln>
                  <a:noFill/>
                </a:ln>
                <a:solidFill>
                  <a:schemeClr val="accent3"/>
                </a:solidFill>
                <a:effectLst/>
                <a:uLnTx/>
                <a:uFillTx/>
                <a:latin typeface="Open Sans"/>
                <a:ea typeface="+mn-ea"/>
                <a:cs typeface="+mn-cs"/>
              </a:rPr>
              <a:t>(6 – 9 months)</a:t>
            </a:r>
            <a:endParaRPr kumimoji="0" lang="en-US" sz="1050" b="0" i="1" u="none" strike="noStrike" kern="0" cap="none" spc="0" normalizeH="0" baseline="0" noProof="0" dirty="0">
              <a:ln>
                <a:noFill/>
              </a:ln>
              <a:solidFill>
                <a:schemeClr val="accent3"/>
              </a:solidFill>
              <a:effectLst/>
              <a:uLnTx/>
              <a:uFillTx/>
              <a:latin typeface="Open Sans"/>
              <a:ea typeface="+mn-ea"/>
              <a:cs typeface="+mn-cs"/>
            </a:endParaRPr>
          </a:p>
        </p:txBody>
      </p:sp>
      <p:sp>
        <p:nvSpPr>
          <p:cNvPr id="32" name="Rectangle 31">
            <a:extLst>
              <a:ext uri="{FF2B5EF4-FFF2-40B4-BE49-F238E27FC236}">
                <a16:creationId xmlns:a16="http://schemas.microsoft.com/office/drawing/2014/main" id="{5BA629CE-DF9F-417D-9423-76C7F3E73EF7}"/>
              </a:ext>
            </a:extLst>
          </p:cNvPr>
          <p:cNvSpPr/>
          <p:nvPr/>
        </p:nvSpPr>
        <p:spPr>
          <a:xfrm>
            <a:off x="5900962" y="3093223"/>
            <a:ext cx="3174093" cy="286232"/>
          </a:xfrm>
          <a:prstGeom prst="rect">
            <a:avLst/>
          </a:prstGeom>
          <a:solidFill>
            <a:schemeClr val="bg1"/>
          </a:solidFill>
        </p:spPr>
        <p:txBody>
          <a:bodyPr wrap="square">
            <a:spAutoFit/>
          </a:bodyPr>
          <a:lstStyle/>
          <a:p>
            <a:pPr marL="0" marR="0" lvl="0" indent="0" algn="ctr" defTabSz="457200" rtl="0" eaLnBrk="1" fontAlgn="auto" latinLnBrk="0" hangingPunct="1">
              <a:lnSpc>
                <a:spcPct val="90000"/>
              </a:lnSpc>
              <a:spcBef>
                <a:spcPts val="0"/>
              </a:spcBef>
              <a:spcAft>
                <a:spcPts val="3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Open Sans"/>
                <a:ea typeface="+mn-ea"/>
                <a:cs typeface="+mn-cs"/>
              </a:rPr>
              <a:t>Digital Platform </a:t>
            </a:r>
            <a:r>
              <a:rPr kumimoji="0" lang="en-US" sz="1400" b="1" i="1" u="none" strike="noStrike" kern="0" cap="none" spc="0" normalizeH="0" baseline="0" noProof="0" dirty="0">
                <a:ln>
                  <a:noFill/>
                </a:ln>
                <a:solidFill>
                  <a:schemeClr val="accent1"/>
                </a:solidFill>
                <a:effectLst/>
                <a:uLnTx/>
                <a:uFillTx/>
                <a:latin typeface="Open Sans"/>
                <a:ea typeface="+mn-ea"/>
                <a:cs typeface="+mn-cs"/>
              </a:rPr>
              <a:t>(12 – 18 months)</a:t>
            </a:r>
            <a:endParaRPr kumimoji="0" lang="en-US" sz="1050" b="0" i="1" u="none" strike="noStrike" kern="0" cap="none" spc="0" normalizeH="0" baseline="0" noProof="0" dirty="0">
              <a:ln>
                <a:noFill/>
              </a:ln>
              <a:solidFill>
                <a:schemeClr val="accent1"/>
              </a:solidFill>
              <a:effectLst/>
              <a:uLnTx/>
              <a:uFillTx/>
              <a:latin typeface="Open Sans"/>
              <a:ea typeface="+mn-ea"/>
              <a:cs typeface="+mn-cs"/>
            </a:endParaRPr>
          </a:p>
        </p:txBody>
      </p:sp>
      <p:sp>
        <p:nvSpPr>
          <p:cNvPr id="33" name="Rectangle 32">
            <a:extLst>
              <a:ext uri="{FF2B5EF4-FFF2-40B4-BE49-F238E27FC236}">
                <a16:creationId xmlns:a16="http://schemas.microsoft.com/office/drawing/2014/main" id="{77CB2C80-FD74-40EE-8B98-616B98526308}"/>
              </a:ext>
            </a:extLst>
          </p:cNvPr>
          <p:cNvSpPr/>
          <p:nvPr/>
        </p:nvSpPr>
        <p:spPr>
          <a:xfrm>
            <a:off x="5313873" y="4868487"/>
            <a:ext cx="4348271" cy="286232"/>
          </a:xfrm>
          <a:prstGeom prst="rect">
            <a:avLst/>
          </a:prstGeom>
          <a:solidFill>
            <a:schemeClr val="bg1"/>
          </a:solidFill>
        </p:spPr>
        <p:txBody>
          <a:bodyPr wrap="square">
            <a:spAutoFit/>
          </a:bodyPr>
          <a:lstStyle/>
          <a:p>
            <a:pPr marL="0" marR="0" lvl="0" indent="0" algn="ctr" defTabSz="457200" rtl="0" eaLnBrk="1" fontAlgn="auto" latinLnBrk="0" hangingPunct="1">
              <a:lnSpc>
                <a:spcPct val="90000"/>
              </a:lnSpc>
              <a:spcBef>
                <a:spcPts val="0"/>
              </a:spcBef>
              <a:spcAft>
                <a:spcPts val="300"/>
              </a:spcAft>
              <a:buClrTx/>
              <a:buSzTx/>
              <a:buFontTx/>
              <a:buNone/>
              <a:tabLst/>
              <a:defRPr/>
            </a:pPr>
            <a:r>
              <a:rPr kumimoji="0" lang="en-US" sz="1400" b="1" i="0" u="none" strike="noStrike" kern="0" cap="none" spc="0" normalizeH="0" baseline="0" noProof="0" dirty="0">
                <a:ln>
                  <a:noFill/>
                </a:ln>
                <a:solidFill>
                  <a:schemeClr val="accent2"/>
                </a:solidFill>
                <a:effectLst/>
                <a:uLnTx/>
                <a:uFillTx/>
                <a:latin typeface="Open Sans"/>
                <a:ea typeface="+mn-ea"/>
                <a:cs typeface="+mn-cs"/>
              </a:rPr>
              <a:t>New Pipeline </a:t>
            </a:r>
            <a:r>
              <a:rPr kumimoji="0" lang="en-US" sz="1400" b="1" i="1" u="none" strike="noStrike" kern="0" cap="none" spc="0" normalizeH="0" baseline="0" noProof="0" dirty="0">
                <a:ln>
                  <a:noFill/>
                </a:ln>
                <a:solidFill>
                  <a:schemeClr val="accent2"/>
                </a:solidFill>
                <a:effectLst/>
                <a:uLnTx/>
                <a:uFillTx/>
                <a:latin typeface="Open Sans"/>
                <a:ea typeface="+mn-ea"/>
                <a:cs typeface="+mn-cs"/>
              </a:rPr>
              <a:t>(12 – 18 months)</a:t>
            </a:r>
            <a:endParaRPr kumimoji="0" lang="en-US" sz="1050" b="0" i="1" u="none" strike="noStrike" kern="0" cap="none" spc="0" normalizeH="0" baseline="0" noProof="0" dirty="0">
              <a:ln>
                <a:noFill/>
              </a:ln>
              <a:solidFill>
                <a:schemeClr val="accent2"/>
              </a:solidFill>
              <a:effectLst/>
              <a:uLnTx/>
              <a:uFillTx/>
              <a:latin typeface="Open Sans"/>
              <a:ea typeface="+mn-ea"/>
              <a:cs typeface="+mn-cs"/>
            </a:endParaRPr>
          </a:p>
        </p:txBody>
      </p:sp>
      <p:sp>
        <p:nvSpPr>
          <p:cNvPr id="34" name="TextBox 33">
            <a:extLst>
              <a:ext uri="{FF2B5EF4-FFF2-40B4-BE49-F238E27FC236}">
                <a16:creationId xmlns:a16="http://schemas.microsoft.com/office/drawing/2014/main" id="{2ED314F6-173A-4B0A-BE73-0BF179F652B7}"/>
              </a:ext>
            </a:extLst>
          </p:cNvPr>
          <p:cNvSpPr txBox="1"/>
          <p:nvPr/>
        </p:nvSpPr>
        <p:spPr>
          <a:xfrm>
            <a:off x="675314" y="6528879"/>
            <a:ext cx="2381015" cy="1692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1" i="1" u="none" strike="noStrike" kern="1200" cap="none" spc="0" normalizeH="0" baseline="0" noProof="0" dirty="0">
                <a:ln>
                  <a:noFill/>
                </a:ln>
                <a:solidFill>
                  <a:prstClr val="black"/>
                </a:solidFill>
                <a:effectLst/>
                <a:uLnTx/>
                <a:uFillTx/>
                <a:latin typeface="Open Sans"/>
                <a:ea typeface="+mn-ea"/>
                <a:cs typeface="+mn-cs"/>
              </a:rPr>
              <a:t>Foundation for the transformation</a:t>
            </a:r>
          </a:p>
        </p:txBody>
      </p:sp>
      <p:sp>
        <p:nvSpPr>
          <p:cNvPr id="35" name="Rectangle 34">
            <a:extLst>
              <a:ext uri="{FF2B5EF4-FFF2-40B4-BE49-F238E27FC236}">
                <a16:creationId xmlns:a16="http://schemas.microsoft.com/office/drawing/2014/main" id="{B65EB085-6682-40E7-81B5-1CA92D501770}"/>
              </a:ext>
            </a:extLst>
          </p:cNvPr>
          <p:cNvSpPr/>
          <p:nvPr/>
        </p:nvSpPr>
        <p:spPr>
          <a:xfrm>
            <a:off x="6207848" y="6121244"/>
            <a:ext cx="2560320" cy="738664"/>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100" b="1" i="0" u="none" strike="noStrike" kern="0" cap="none" spc="0" normalizeH="0" baseline="0" noProof="0" dirty="0">
                <a:ln>
                  <a:noFill/>
                </a:ln>
                <a:solidFill>
                  <a:schemeClr val="accent2"/>
                </a:solidFill>
                <a:effectLst/>
                <a:uLnTx/>
                <a:uFillTx/>
                <a:latin typeface="Open Sans"/>
                <a:ea typeface="+mn-ea"/>
                <a:cs typeface="+mn-cs"/>
              </a:rPr>
              <a:t>Evaluate current vehicle pricing strategy </a:t>
            </a:r>
            <a:r>
              <a:rPr kumimoji="0" lang="en-US" sz="1000" b="0" i="0" u="none" strike="noStrike" kern="0" cap="none" spc="0" normalizeH="0" baseline="0" noProof="0" dirty="0">
                <a:ln>
                  <a:noFill/>
                </a:ln>
                <a:solidFill>
                  <a:srgbClr val="000000"/>
                </a:solidFill>
                <a:effectLst/>
                <a:uLnTx/>
                <a:uFillTx/>
                <a:latin typeface="Open Sans"/>
                <a:ea typeface="+mn-ea"/>
                <a:cs typeface="+mn-cs"/>
              </a:rPr>
              <a:t>and identify potential areas for improvement across different channels</a:t>
            </a:r>
            <a:r>
              <a:rPr lang="en-US" sz="1000" kern="0" dirty="0">
                <a:solidFill>
                  <a:srgbClr val="000000"/>
                </a:solidFill>
                <a:latin typeface="Open Sans"/>
              </a:rPr>
              <a:t>.</a:t>
            </a:r>
            <a:endParaRPr kumimoji="0" lang="en-US" sz="1000" b="0" i="0" u="none" strike="noStrike" kern="0" cap="none" spc="0" normalizeH="0" baseline="0" noProof="0" dirty="0">
              <a:ln>
                <a:noFill/>
              </a:ln>
              <a:solidFill>
                <a:srgbClr val="000000"/>
              </a:solidFill>
              <a:effectLst/>
              <a:uLnTx/>
              <a:uFillTx/>
              <a:latin typeface="Open Sans"/>
              <a:ea typeface="+mn-ea"/>
              <a:cs typeface="+mn-cs"/>
            </a:endParaRPr>
          </a:p>
        </p:txBody>
      </p:sp>
      <p:sp>
        <p:nvSpPr>
          <p:cNvPr id="36" name="Rectangle 35">
            <a:extLst>
              <a:ext uri="{FF2B5EF4-FFF2-40B4-BE49-F238E27FC236}">
                <a16:creationId xmlns:a16="http://schemas.microsoft.com/office/drawing/2014/main" id="{F636074C-0717-4CA4-9BBD-9BC66592075C}"/>
              </a:ext>
            </a:extLst>
          </p:cNvPr>
          <p:cNvSpPr/>
          <p:nvPr/>
        </p:nvSpPr>
        <p:spPr>
          <a:xfrm>
            <a:off x="8975658" y="6121244"/>
            <a:ext cx="2560320" cy="584775"/>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100" b="1" i="0" u="none" strike="noStrike" kern="0" cap="none" spc="0" normalizeH="0" baseline="0" noProof="0" dirty="0">
                <a:ln>
                  <a:noFill/>
                </a:ln>
                <a:solidFill>
                  <a:schemeClr val="accent2"/>
                </a:solidFill>
                <a:effectLst/>
                <a:uLnTx/>
                <a:uFillTx/>
                <a:latin typeface="Open Sans"/>
                <a:ea typeface="+mn-ea"/>
                <a:cs typeface="+mn-cs"/>
              </a:rPr>
              <a:t>Continue partnership development</a:t>
            </a:r>
            <a:r>
              <a:rPr kumimoji="0" lang="en-US" sz="1100" b="1" i="0" u="none" strike="noStrike" kern="0" cap="none" spc="0" normalizeH="0" baseline="0" noProof="0" dirty="0">
                <a:ln>
                  <a:noFill/>
                </a:ln>
                <a:solidFill>
                  <a:srgbClr val="156BA7"/>
                </a:solidFill>
                <a:effectLst/>
                <a:uLnTx/>
                <a:uFillTx/>
                <a:latin typeface="Open Sans"/>
                <a:ea typeface="+mn-ea"/>
                <a:cs typeface="+mn-cs"/>
              </a:rPr>
              <a:t> </a:t>
            </a:r>
            <a:r>
              <a:rPr kumimoji="0" lang="en-US" sz="1000" b="0" i="0" u="none" strike="noStrike" kern="0" cap="none" spc="0" normalizeH="0" baseline="0" noProof="0" dirty="0">
                <a:ln>
                  <a:noFill/>
                </a:ln>
                <a:solidFill>
                  <a:srgbClr val="000000"/>
                </a:solidFill>
                <a:effectLst/>
                <a:uLnTx/>
                <a:uFillTx/>
                <a:latin typeface="Open Sans"/>
                <a:ea typeface="+mn-ea"/>
                <a:cs typeface="+mn-cs"/>
              </a:rPr>
              <a:t>with mobility and fleet partners for excess inventory</a:t>
            </a:r>
          </a:p>
        </p:txBody>
      </p:sp>
      <p:sp>
        <p:nvSpPr>
          <p:cNvPr id="37" name="Rectangle 36">
            <a:extLst>
              <a:ext uri="{FF2B5EF4-FFF2-40B4-BE49-F238E27FC236}">
                <a16:creationId xmlns:a16="http://schemas.microsoft.com/office/drawing/2014/main" id="{880FEC12-25A9-423C-B819-C95F0762A647}"/>
              </a:ext>
            </a:extLst>
          </p:cNvPr>
          <p:cNvSpPr/>
          <p:nvPr/>
        </p:nvSpPr>
        <p:spPr>
          <a:xfrm>
            <a:off x="3401791" y="5176385"/>
            <a:ext cx="2560320" cy="723275"/>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100" b="1" i="0" u="none" strike="noStrike" kern="0" cap="none" spc="0" normalizeH="0" baseline="0" noProof="0" dirty="0">
                <a:ln>
                  <a:noFill/>
                </a:ln>
                <a:solidFill>
                  <a:schemeClr val="accent2"/>
                </a:solidFill>
                <a:effectLst/>
                <a:uLnTx/>
                <a:uFillTx/>
                <a:latin typeface="Open Sans"/>
                <a:ea typeface="+mn-ea"/>
                <a:cs typeface="+mn-cs"/>
              </a:rPr>
              <a:t>Design program policies </a:t>
            </a:r>
            <a:r>
              <a:rPr kumimoji="0" lang="en-US" sz="1000" b="0" i="0" u="none" strike="noStrike" kern="0" cap="none" spc="0" normalizeH="0" baseline="0" noProof="0" dirty="0">
                <a:ln>
                  <a:noFill/>
                </a:ln>
                <a:solidFill>
                  <a:srgbClr val="000000"/>
                </a:solidFill>
                <a:effectLst/>
                <a:uLnTx/>
                <a:uFillTx/>
                <a:latin typeface="Open Sans"/>
                <a:ea typeface="+mn-ea"/>
                <a:cs typeface="+mn-cs"/>
              </a:rPr>
              <a:t>that will define the proportion of vehicles that are kept in network, how many sold down the lane, etc.</a:t>
            </a:r>
          </a:p>
        </p:txBody>
      </p:sp>
    </p:spTree>
    <p:extLst>
      <p:ext uri="{BB962C8B-B14F-4D97-AF65-F5344CB8AC3E}">
        <p14:creationId xmlns:p14="http://schemas.microsoft.com/office/powerpoint/2010/main" val="4023580276"/>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28C9F82-7791-44BE-BE7D-511F00147F2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3716" name="think-cell Slide" r:id="rId6" imgW="415" imgH="416" progId="TCLayout.ActiveDocument.1">
                  <p:embed/>
                </p:oleObj>
              </mc:Choice>
              <mc:Fallback>
                <p:oleObj name="think-cell Slide" r:id="rId6" imgW="415" imgH="416" progId="TCLayout.ActiveDocument.1">
                  <p:embed/>
                  <p:pic>
                    <p:nvPicPr>
                      <p:cNvPr id="8" name="Object 7" hidden="1">
                        <a:extLst>
                          <a:ext uri="{FF2B5EF4-FFF2-40B4-BE49-F238E27FC236}">
                            <a16:creationId xmlns:a16="http://schemas.microsoft.com/office/drawing/2014/main" id="{428C9F82-7791-44BE-BE7D-511F00147F2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5F622CA-0CAD-4862-ACAD-79B495F845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2DBAED2D-2F50-4AB3-9D31-8D0084378B45}"/>
              </a:ext>
            </a:extLst>
          </p:cNvPr>
          <p:cNvSpPr>
            <a:spLocks noGrp="1"/>
          </p:cNvSpPr>
          <p:nvPr>
            <p:ph type="title"/>
          </p:nvPr>
        </p:nvSpPr>
        <p:spPr/>
        <p:txBody>
          <a:bodyPr/>
          <a:lstStyle/>
          <a:p>
            <a:r>
              <a:rPr lang="en-US" dirty="0"/>
              <a:t>Six-Week Plan</a:t>
            </a:r>
          </a:p>
        </p:txBody>
      </p:sp>
      <p:sp>
        <p:nvSpPr>
          <p:cNvPr id="3" name="Text Placeholder 2">
            <a:extLst>
              <a:ext uri="{FF2B5EF4-FFF2-40B4-BE49-F238E27FC236}">
                <a16:creationId xmlns:a16="http://schemas.microsoft.com/office/drawing/2014/main" id="{D95C9809-7E51-4A39-AB17-17A65A16E99D}"/>
              </a:ext>
            </a:extLst>
          </p:cNvPr>
          <p:cNvSpPr>
            <a:spLocks noGrp="1"/>
          </p:cNvSpPr>
          <p:nvPr>
            <p:ph type="body" sz="quarter" idx="14"/>
          </p:nvPr>
        </p:nvSpPr>
        <p:spPr/>
        <p:txBody>
          <a:bodyPr/>
          <a:lstStyle/>
          <a:p>
            <a:r>
              <a:rPr lang="en-US" dirty="0"/>
              <a:t>Subheader placeholder</a:t>
            </a:r>
          </a:p>
        </p:txBody>
      </p:sp>
      <p:sp>
        <p:nvSpPr>
          <p:cNvPr id="4" name="Text Placeholder 3">
            <a:extLst>
              <a:ext uri="{FF2B5EF4-FFF2-40B4-BE49-F238E27FC236}">
                <a16:creationId xmlns:a16="http://schemas.microsoft.com/office/drawing/2014/main" id="{56B1DC7D-7A77-4F2D-A7E9-AD728BD278AA}"/>
              </a:ext>
            </a:extLst>
          </p:cNvPr>
          <p:cNvSpPr>
            <a:spLocks noGrp="1"/>
          </p:cNvSpPr>
          <p:nvPr>
            <p:ph type="body" sz="quarter" idx="15"/>
          </p:nvPr>
        </p:nvSpPr>
        <p:spPr/>
        <p:txBody>
          <a:bodyPr/>
          <a:lstStyle/>
          <a:p>
            <a:r>
              <a:rPr lang="en-US" dirty="0"/>
              <a:t>Plans, timelines and roadmaps</a:t>
            </a:r>
          </a:p>
          <a:p>
            <a:endParaRPr lang="en-US" dirty="0"/>
          </a:p>
        </p:txBody>
      </p:sp>
      <p:graphicFrame>
        <p:nvGraphicFramePr>
          <p:cNvPr id="9" name="Table 8">
            <a:extLst>
              <a:ext uri="{FF2B5EF4-FFF2-40B4-BE49-F238E27FC236}">
                <a16:creationId xmlns:a16="http://schemas.microsoft.com/office/drawing/2014/main" id="{5506F47A-3B8F-4EF8-929D-9B2D22314893}"/>
              </a:ext>
            </a:extLst>
          </p:cNvPr>
          <p:cNvGraphicFramePr>
            <a:graphicFrameLocks noGrp="1"/>
          </p:cNvGraphicFramePr>
          <p:nvPr/>
        </p:nvGraphicFramePr>
        <p:xfrm>
          <a:off x="914400" y="2518843"/>
          <a:ext cx="10744200" cy="3631729"/>
        </p:xfrm>
        <a:graphic>
          <a:graphicData uri="http://schemas.openxmlformats.org/drawingml/2006/table">
            <a:tbl>
              <a:tblPr bandCol="1">
                <a:tableStyleId>{D27102A9-8310-4765-A935-A1911B00CA55}</a:tableStyleId>
              </a:tblPr>
              <a:tblGrid>
                <a:gridCol w="1790700">
                  <a:extLst>
                    <a:ext uri="{9D8B030D-6E8A-4147-A177-3AD203B41FA5}">
                      <a16:colId xmlns:a16="http://schemas.microsoft.com/office/drawing/2014/main" val="20000"/>
                    </a:ext>
                  </a:extLst>
                </a:gridCol>
                <a:gridCol w="1790700">
                  <a:extLst>
                    <a:ext uri="{9D8B030D-6E8A-4147-A177-3AD203B41FA5}">
                      <a16:colId xmlns:a16="http://schemas.microsoft.com/office/drawing/2014/main" val="20001"/>
                    </a:ext>
                  </a:extLst>
                </a:gridCol>
                <a:gridCol w="1790700">
                  <a:extLst>
                    <a:ext uri="{9D8B030D-6E8A-4147-A177-3AD203B41FA5}">
                      <a16:colId xmlns:a16="http://schemas.microsoft.com/office/drawing/2014/main" val="20003"/>
                    </a:ext>
                  </a:extLst>
                </a:gridCol>
                <a:gridCol w="1790700">
                  <a:extLst>
                    <a:ext uri="{9D8B030D-6E8A-4147-A177-3AD203B41FA5}">
                      <a16:colId xmlns:a16="http://schemas.microsoft.com/office/drawing/2014/main" val="20004"/>
                    </a:ext>
                  </a:extLst>
                </a:gridCol>
                <a:gridCol w="1790700">
                  <a:extLst>
                    <a:ext uri="{9D8B030D-6E8A-4147-A177-3AD203B41FA5}">
                      <a16:colId xmlns:a16="http://schemas.microsoft.com/office/drawing/2014/main" val="20006"/>
                    </a:ext>
                  </a:extLst>
                </a:gridCol>
                <a:gridCol w="1790700">
                  <a:extLst>
                    <a:ext uri="{9D8B030D-6E8A-4147-A177-3AD203B41FA5}">
                      <a16:colId xmlns:a16="http://schemas.microsoft.com/office/drawing/2014/main" val="20007"/>
                    </a:ext>
                  </a:extLst>
                </a:gridCol>
              </a:tblGrid>
              <a:tr h="3631729">
                <a:tc>
                  <a:txBody>
                    <a:bodyPr/>
                    <a:lstStyle/>
                    <a:p>
                      <a:pPr algn="ctr"/>
                      <a:r>
                        <a:rPr lang="en-US" sz="1050" dirty="0"/>
                        <a:t>WEEK 1</a:t>
                      </a:r>
                      <a:endParaRPr lang="en-US" sz="1050" b="1" dirty="0"/>
                    </a:p>
                  </a:txBody>
                  <a:tcPr/>
                </a:tc>
                <a:tc>
                  <a:txBody>
                    <a:bodyPr/>
                    <a:lstStyle/>
                    <a:p>
                      <a:pPr algn="ctr"/>
                      <a:r>
                        <a:rPr lang="en-US" sz="1050" kern="1200" dirty="0"/>
                        <a:t>WEEK 2</a:t>
                      </a:r>
                      <a:endParaRPr lang="en-US" sz="1050" b="1" kern="1200" dirty="0">
                        <a:solidFill>
                          <a:schemeClr val="tx1"/>
                        </a:solidFill>
                        <a:latin typeface="+mn-lt"/>
                        <a:ea typeface="+mn-ea"/>
                        <a:cs typeface="+mn-cs"/>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kern="1200" dirty="0"/>
                        <a:t>WEEK 3</a:t>
                      </a:r>
                    </a:p>
                    <a:p>
                      <a:pPr marL="0" algn="ctr" defTabSz="914400" rtl="0" eaLnBrk="1" latinLnBrk="0" hangingPunct="1"/>
                      <a:endParaRPr lang="en-US" sz="1050" b="1" kern="1200" dirty="0">
                        <a:solidFill>
                          <a:schemeClr val="tx1"/>
                        </a:solidFill>
                        <a:latin typeface="+mn-lt"/>
                        <a:ea typeface="+mn-ea"/>
                        <a:cs typeface="+mn-cs"/>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kern="1200" dirty="0"/>
                        <a:t>WEEK 4</a:t>
                      </a:r>
                    </a:p>
                    <a:p>
                      <a:pPr marL="0" algn="ctr" defTabSz="914400" rtl="0" eaLnBrk="1" latinLnBrk="0" hangingPunct="1"/>
                      <a:endParaRPr lang="en-US" sz="1050" b="1" kern="1200" dirty="0">
                        <a:solidFill>
                          <a:schemeClr val="tx1"/>
                        </a:solidFill>
                        <a:latin typeface="+mn-lt"/>
                        <a:ea typeface="+mn-ea"/>
                        <a:cs typeface="+mn-cs"/>
                      </a:endParaRPr>
                    </a:p>
                  </a:txBody>
                  <a:tcPr/>
                </a:tc>
                <a:tc>
                  <a:txBody>
                    <a:bodyPr/>
                    <a:lstStyle/>
                    <a:p>
                      <a:pPr marL="0" algn="ctr" defTabSz="914400" rtl="0" eaLnBrk="1" latinLnBrk="0" hangingPunct="1"/>
                      <a:r>
                        <a:rPr lang="en-US" sz="1050" kern="1200" dirty="0"/>
                        <a:t>WEEK 5</a:t>
                      </a:r>
                      <a:endParaRPr lang="en-US" sz="1050" b="1" kern="1200" dirty="0">
                        <a:solidFill>
                          <a:schemeClr val="tx1"/>
                        </a:solidFill>
                        <a:latin typeface="+mn-lt"/>
                        <a:ea typeface="+mn-ea"/>
                        <a:cs typeface="+mn-cs"/>
                      </a:endParaRPr>
                    </a:p>
                  </a:txBody>
                  <a:tcPr/>
                </a:tc>
                <a:tc>
                  <a:txBody>
                    <a:bodyPr/>
                    <a:lstStyle/>
                    <a:p>
                      <a:pPr marL="0" algn="ctr" defTabSz="914400" rtl="0" eaLnBrk="1" latinLnBrk="0" hangingPunct="1"/>
                      <a:r>
                        <a:rPr lang="en-US" sz="1050" kern="1200" dirty="0"/>
                        <a:t>WEEK 6</a:t>
                      </a:r>
                      <a:endParaRPr lang="en-US" sz="1050" b="1" kern="1200" dirty="0">
                        <a:solidFill>
                          <a:schemeClr val="tx1"/>
                        </a:solidFill>
                        <a:latin typeface="+mn-lt"/>
                        <a:ea typeface="+mn-ea"/>
                        <a:cs typeface="+mn-cs"/>
                      </a:endParaRPr>
                    </a:p>
                  </a:txBody>
                  <a:tcPr/>
                </a:tc>
                <a:extLst>
                  <a:ext uri="{0D108BD9-81ED-4DB2-BD59-A6C34878D82A}">
                    <a16:rowId xmlns:a16="http://schemas.microsoft.com/office/drawing/2014/main" val="10000"/>
                  </a:ext>
                </a:extLst>
              </a:tr>
            </a:tbl>
          </a:graphicData>
        </a:graphic>
      </p:graphicFrame>
      <p:sp>
        <p:nvSpPr>
          <p:cNvPr id="10" name="Rectangle 217">
            <a:extLst>
              <a:ext uri="{FF2B5EF4-FFF2-40B4-BE49-F238E27FC236}">
                <a16:creationId xmlns:a16="http://schemas.microsoft.com/office/drawing/2014/main" id="{DCD5A382-A755-4C78-B395-8F73CCF60E90}"/>
              </a:ext>
            </a:extLst>
          </p:cNvPr>
          <p:cNvSpPr>
            <a:spLocks/>
          </p:cNvSpPr>
          <p:nvPr/>
        </p:nvSpPr>
        <p:spPr bwMode="auto">
          <a:xfrm>
            <a:off x="958490" y="2922399"/>
            <a:ext cx="3468907" cy="649378"/>
          </a:xfrm>
          <a:prstGeom prst="rect">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a:ea typeface="Frutiger Next Pro Light" charset="0"/>
                <a:cs typeface="Frutiger Next Pro Light" charset="0"/>
                <a:sym typeface="Lato Light" charset="0"/>
              </a:rPr>
              <a:t>Conduct stakeholder interviews to assess current state with a focus on project goals, business objectives, processes, organizational/resource gaps</a:t>
            </a:r>
          </a:p>
        </p:txBody>
      </p:sp>
      <p:sp>
        <p:nvSpPr>
          <p:cNvPr id="11" name="Rectangle 225">
            <a:extLst>
              <a:ext uri="{FF2B5EF4-FFF2-40B4-BE49-F238E27FC236}">
                <a16:creationId xmlns:a16="http://schemas.microsoft.com/office/drawing/2014/main" id="{CF8DF4BF-CF65-41E1-99D2-745F8D1175D9}"/>
              </a:ext>
            </a:extLst>
          </p:cNvPr>
          <p:cNvSpPr>
            <a:spLocks/>
          </p:cNvSpPr>
          <p:nvPr/>
        </p:nvSpPr>
        <p:spPr bwMode="auto">
          <a:xfrm>
            <a:off x="4908175" y="6222292"/>
            <a:ext cx="1936863" cy="404575"/>
          </a:xfrm>
          <a:prstGeom prst="rect">
            <a:avLst/>
          </a:prstGeom>
          <a:noFill/>
          <a:ln w="19050">
            <a:noFill/>
          </a:ln>
        </p:spPr>
        <p:txBody>
          <a:bodyPr lIns="0" tIns="0" rIns="0" bIns="0" anchor="ctr"/>
          <a:lstStyle/>
          <a:p>
            <a:pPr marL="0" marR="0" lvl="0" indent="0" algn="ctr" defTabSz="60865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200" normalizeH="0" baseline="0" noProof="0" dirty="0">
                <a:ln>
                  <a:noFill/>
                </a:ln>
                <a:solidFill>
                  <a:srgbClr val="000000"/>
                </a:solidFill>
                <a:effectLst/>
                <a:uLnTx/>
                <a:uFillTx/>
                <a:latin typeface="Open Sans"/>
                <a:ea typeface="ＭＳ Ｐゴシック" charset="0"/>
                <a:cs typeface="SapientCentroSlab-MediumItalic"/>
              </a:rPr>
              <a:t>CURRENT STATE ASSESSMENT WORKSHOP</a:t>
            </a:r>
          </a:p>
        </p:txBody>
      </p:sp>
      <p:sp>
        <p:nvSpPr>
          <p:cNvPr id="12" name="Rectangle 225">
            <a:extLst>
              <a:ext uri="{FF2B5EF4-FFF2-40B4-BE49-F238E27FC236}">
                <a16:creationId xmlns:a16="http://schemas.microsoft.com/office/drawing/2014/main" id="{209F74A3-9AB2-46BF-A3EA-B16C79FB8CB3}"/>
              </a:ext>
            </a:extLst>
          </p:cNvPr>
          <p:cNvSpPr>
            <a:spLocks/>
          </p:cNvSpPr>
          <p:nvPr/>
        </p:nvSpPr>
        <p:spPr bwMode="auto">
          <a:xfrm>
            <a:off x="10923458" y="6234146"/>
            <a:ext cx="923400" cy="404575"/>
          </a:xfrm>
          <a:prstGeom prst="rect">
            <a:avLst/>
          </a:prstGeom>
          <a:noFill/>
          <a:ln w="19050">
            <a:noFill/>
          </a:ln>
        </p:spPr>
        <p:txBody>
          <a:bodyPr lIns="0" tIns="0" rIns="0" bIns="0" anchor="ctr"/>
          <a:lstStyle/>
          <a:p>
            <a:pPr marL="0" marR="0" lvl="0" indent="0" algn="ctr" defTabSz="60865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200" normalizeH="0" baseline="0" noProof="0" dirty="0">
                <a:ln>
                  <a:noFill/>
                </a:ln>
                <a:solidFill>
                  <a:srgbClr val="000000"/>
                </a:solidFill>
                <a:effectLst/>
                <a:uLnTx/>
                <a:uFillTx/>
                <a:latin typeface="Open Sans"/>
                <a:ea typeface="ＭＳ Ｐゴシック" charset="0"/>
                <a:cs typeface="SapientCentroSlab-MediumItalic"/>
              </a:rPr>
              <a:t>FINAL READOUT</a:t>
            </a:r>
          </a:p>
        </p:txBody>
      </p:sp>
      <p:cxnSp>
        <p:nvCxnSpPr>
          <p:cNvPr id="13" name="Straight Connector 12">
            <a:extLst>
              <a:ext uri="{FF2B5EF4-FFF2-40B4-BE49-F238E27FC236}">
                <a16:creationId xmlns:a16="http://schemas.microsoft.com/office/drawing/2014/main" id="{7279C8F3-71A3-4E3A-9B6F-2BEBB98F4098}"/>
              </a:ext>
            </a:extLst>
          </p:cNvPr>
          <p:cNvCxnSpPr>
            <a:cxnSpLocks/>
          </p:cNvCxnSpPr>
          <p:nvPr/>
        </p:nvCxnSpPr>
        <p:spPr>
          <a:xfrm flipV="1">
            <a:off x="914400" y="1879313"/>
            <a:ext cx="10744200" cy="43845"/>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3E12049A-EC80-4454-BC44-8E5ADABC6CCF}"/>
              </a:ext>
            </a:extLst>
          </p:cNvPr>
          <p:cNvSpPr/>
          <p:nvPr/>
        </p:nvSpPr>
        <p:spPr>
          <a:xfrm>
            <a:off x="5963577" y="1438294"/>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5" name="Oval 14">
            <a:extLst>
              <a:ext uri="{FF2B5EF4-FFF2-40B4-BE49-F238E27FC236}">
                <a16:creationId xmlns:a16="http://schemas.microsoft.com/office/drawing/2014/main" id="{CA925CE2-D6A2-49E8-A6DD-87E17C9ACD38}"/>
              </a:ext>
            </a:extLst>
          </p:cNvPr>
          <p:cNvSpPr/>
          <p:nvPr/>
        </p:nvSpPr>
        <p:spPr>
          <a:xfrm>
            <a:off x="4397859" y="1825981"/>
            <a:ext cx="150082" cy="150080"/>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pic>
        <p:nvPicPr>
          <p:cNvPr id="16" name="Picture 15">
            <a:extLst>
              <a:ext uri="{FF2B5EF4-FFF2-40B4-BE49-F238E27FC236}">
                <a16:creationId xmlns:a16="http://schemas.microsoft.com/office/drawing/2014/main" id="{587A88DC-B842-4B1D-BA4A-BFDE7FA8C3F9}"/>
              </a:ext>
            </a:extLst>
          </p:cNvPr>
          <p:cNvPicPr>
            <a:picLocks noChangeAspect="1"/>
          </p:cNvPicPr>
          <p:nvPr/>
        </p:nvPicPr>
        <p:blipFill>
          <a:blip r:embed="rId8" cstate="email">
            <a:biLevel thresh="75000"/>
            <a:extLst>
              <a:ext uri="{28A0092B-C50C-407E-A947-70E740481C1C}">
                <a14:useLocalDpi xmlns:a14="http://schemas.microsoft.com/office/drawing/2010/main" val="0"/>
              </a:ext>
            </a:extLst>
          </a:blip>
          <a:stretch>
            <a:fillRect/>
          </a:stretch>
        </p:blipFill>
        <p:spPr>
          <a:xfrm>
            <a:off x="6173097" y="1738961"/>
            <a:ext cx="300276" cy="300274"/>
          </a:xfrm>
          <a:prstGeom prst="rect">
            <a:avLst/>
          </a:prstGeom>
        </p:spPr>
      </p:pic>
      <p:sp>
        <p:nvSpPr>
          <p:cNvPr id="17" name="Oval 16">
            <a:extLst>
              <a:ext uri="{FF2B5EF4-FFF2-40B4-BE49-F238E27FC236}">
                <a16:creationId xmlns:a16="http://schemas.microsoft.com/office/drawing/2014/main" id="{F451719E-494F-4188-99AA-28348150627E}"/>
              </a:ext>
            </a:extLst>
          </p:cNvPr>
          <p:cNvSpPr/>
          <p:nvPr/>
        </p:nvSpPr>
        <p:spPr>
          <a:xfrm>
            <a:off x="8063796" y="1825981"/>
            <a:ext cx="150082" cy="150080"/>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8" name="Rectangle 229">
            <a:extLst>
              <a:ext uri="{FF2B5EF4-FFF2-40B4-BE49-F238E27FC236}">
                <a16:creationId xmlns:a16="http://schemas.microsoft.com/office/drawing/2014/main" id="{51BC1988-DD8F-43AD-A5F7-93EE517A69B0}"/>
              </a:ext>
            </a:extLst>
          </p:cNvPr>
          <p:cNvSpPr>
            <a:spLocks/>
          </p:cNvSpPr>
          <p:nvPr/>
        </p:nvSpPr>
        <p:spPr bwMode="auto">
          <a:xfrm rot="16200000">
            <a:off x="-46863" y="3877332"/>
            <a:ext cx="1336302" cy="4571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pPr marL="0" marR="0" lvl="0" indent="0" algn="ctr" defTabSz="60865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Open Sans"/>
                <a:ea typeface="Frutiger Next Pro Light" charset="0"/>
                <a:cs typeface="Frutiger Next Pro Light" charset="0"/>
                <a:sym typeface="Lato Bold" charset="0"/>
              </a:rPr>
              <a:t>INTEGRATION SUPPORT</a:t>
            </a:r>
          </a:p>
        </p:txBody>
      </p:sp>
      <p:sp>
        <p:nvSpPr>
          <p:cNvPr id="19" name="Rectangle 230">
            <a:extLst>
              <a:ext uri="{FF2B5EF4-FFF2-40B4-BE49-F238E27FC236}">
                <a16:creationId xmlns:a16="http://schemas.microsoft.com/office/drawing/2014/main" id="{DFAE5C52-BD45-45CE-A83D-49AFD142280D}"/>
              </a:ext>
            </a:extLst>
          </p:cNvPr>
          <p:cNvSpPr>
            <a:spLocks/>
          </p:cNvSpPr>
          <p:nvPr/>
        </p:nvSpPr>
        <p:spPr bwMode="auto">
          <a:xfrm rot="16200000">
            <a:off x="-73676" y="5353396"/>
            <a:ext cx="1412020" cy="1729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pPr marL="0" marR="0" lvl="0" indent="0" algn="ctr" defTabSz="60865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Open Sans"/>
                <a:ea typeface="Frutiger Next Pro Light" charset="0"/>
                <a:cs typeface="Frutiger Next Pro Light" charset="0"/>
                <a:sym typeface="Lato Bold" charset="0"/>
              </a:rPr>
              <a:t>IMPLEMENTATION SUPPORT</a:t>
            </a:r>
          </a:p>
        </p:txBody>
      </p:sp>
      <p:sp>
        <p:nvSpPr>
          <p:cNvPr id="20" name="Rectangle 19">
            <a:extLst>
              <a:ext uri="{FF2B5EF4-FFF2-40B4-BE49-F238E27FC236}">
                <a16:creationId xmlns:a16="http://schemas.microsoft.com/office/drawing/2014/main" id="{D3CE6156-CAC6-4535-A633-EDCD03DEFA57}"/>
              </a:ext>
            </a:extLst>
          </p:cNvPr>
          <p:cNvSpPr/>
          <p:nvPr/>
        </p:nvSpPr>
        <p:spPr>
          <a:xfrm>
            <a:off x="1259515" y="2115872"/>
            <a:ext cx="2855118" cy="361764"/>
          </a:xfrm>
          <a:prstGeom prst="rect">
            <a:avLst/>
          </a:prstGeom>
        </p:spPr>
        <p:txBody>
          <a:bodyPr vert="horz" lIns="91440" tIns="45720" rIns="91440" bIns="45720" rtlCol="0" anchor="t">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all" spc="200" normalizeH="0" baseline="0" noProof="0" dirty="0">
                <a:ln>
                  <a:noFill/>
                </a:ln>
                <a:solidFill>
                  <a:srgbClr val="000000"/>
                </a:solidFill>
                <a:effectLst/>
                <a:uLnTx/>
                <a:uFillTx/>
                <a:latin typeface="Open Sans"/>
                <a:ea typeface="Nexa Black" charset="0"/>
                <a:cs typeface="Nexa Black" charset="0"/>
              </a:rPr>
              <a:t>Assess current state</a:t>
            </a:r>
          </a:p>
        </p:txBody>
      </p:sp>
      <p:sp>
        <p:nvSpPr>
          <p:cNvPr id="21" name="Rectangle 20">
            <a:extLst>
              <a:ext uri="{FF2B5EF4-FFF2-40B4-BE49-F238E27FC236}">
                <a16:creationId xmlns:a16="http://schemas.microsoft.com/office/drawing/2014/main" id="{7B225A09-6F23-48FF-9E30-ECD3444ECC5F}"/>
              </a:ext>
            </a:extLst>
          </p:cNvPr>
          <p:cNvSpPr/>
          <p:nvPr/>
        </p:nvSpPr>
        <p:spPr>
          <a:xfrm>
            <a:off x="4789988" y="2115872"/>
            <a:ext cx="2942054" cy="361764"/>
          </a:xfrm>
          <a:prstGeom prst="rect">
            <a:avLst/>
          </a:prstGeom>
        </p:spPr>
        <p:txBody>
          <a:bodyPr vert="horz" lIns="91440" tIns="45720" rIns="91440" bIns="45720" rtlCol="0" anchor="t">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all" spc="200" normalizeH="0" baseline="0" noProof="0" dirty="0">
                <a:ln>
                  <a:noFill/>
                </a:ln>
                <a:solidFill>
                  <a:srgbClr val="000000"/>
                </a:solidFill>
                <a:effectLst/>
                <a:uLnTx/>
                <a:uFillTx/>
                <a:latin typeface="Open Sans"/>
                <a:ea typeface="Nexa Black" charset="0"/>
                <a:cs typeface="Nexa Black" charset="0"/>
              </a:rPr>
              <a:t>Define future state</a:t>
            </a:r>
          </a:p>
        </p:txBody>
      </p:sp>
      <p:sp>
        <p:nvSpPr>
          <p:cNvPr id="22" name="Oval 21">
            <a:extLst>
              <a:ext uri="{FF2B5EF4-FFF2-40B4-BE49-F238E27FC236}">
                <a16:creationId xmlns:a16="http://schemas.microsoft.com/office/drawing/2014/main" id="{9A0390DD-22C8-4D86-8A7F-FAFED69A3512}"/>
              </a:ext>
            </a:extLst>
          </p:cNvPr>
          <p:cNvSpPr/>
          <p:nvPr/>
        </p:nvSpPr>
        <p:spPr>
          <a:xfrm>
            <a:off x="2333678" y="1632529"/>
            <a:ext cx="422128" cy="477431"/>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23" name="Group 22">
            <a:extLst>
              <a:ext uri="{FF2B5EF4-FFF2-40B4-BE49-F238E27FC236}">
                <a16:creationId xmlns:a16="http://schemas.microsoft.com/office/drawing/2014/main" id="{34F97F9D-F05D-42E2-B708-0219F8618041}"/>
              </a:ext>
            </a:extLst>
          </p:cNvPr>
          <p:cNvGrpSpPr>
            <a:grpSpLocks noChangeAspect="1"/>
          </p:cNvGrpSpPr>
          <p:nvPr/>
        </p:nvGrpSpPr>
        <p:grpSpPr>
          <a:xfrm>
            <a:off x="2386937" y="1710374"/>
            <a:ext cx="368868" cy="368868"/>
            <a:chOff x="9686925" y="215900"/>
            <a:chExt cx="552450" cy="552450"/>
          </a:xfrm>
          <a:solidFill>
            <a:schemeClr val="tx2"/>
          </a:solidFill>
        </p:grpSpPr>
        <p:sp>
          <p:nvSpPr>
            <p:cNvPr id="24" name="Freeform 73">
              <a:extLst>
                <a:ext uri="{FF2B5EF4-FFF2-40B4-BE49-F238E27FC236}">
                  <a16:creationId xmlns:a16="http://schemas.microsoft.com/office/drawing/2014/main" id="{053E8498-0E50-4973-B7E9-3A3F8F541204}"/>
                </a:ext>
              </a:extLst>
            </p:cNvPr>
            <p:cNvSpPr>
              <a:spLocks noEditPoints="1"/>
            </p:cNvSpPr>
            <p:nvPr/>
          </p:nvSpPr>
          <p:spPr bwMode="auto">
            <a:xfrm>
              <a:off x="9686925" y="215900"/>
              <a:ext cx="552450" cy="552450"/>
            </a:xfrm>
            <a:custGeom>
              <a:avLst/>
              <a:gdLst>
                <a:gd name="T0" fmla="*/ 555 w 1390"/>
                <a:gd name="T1" fmla="*/ 14 h 1390"/>
                <a:gd name="T2" fmla="*/ 364 w 1390"/>
                <a:gd name="T3" fmla="*/ 84 h 1390"/>
                <a:gd name="T4" fmla="*/ 204 w 1390"/>
                <a:gd name="T5" fmla="*/ 204 h 1390"/>
                <a:gd name="T6" fmla="*/ 84 w 1390"/>
                <a:gd name="T7" fmla="*/ 364 h 1390"/>
                <a:gd name="T8" fmla="*/ 14 w 1390"/>
                <a:gd name="T9" fmla="*/ 555 h 1390"/>
                <a:gd name="T10" fmla="*/ 1 w 1390"/>
                <a:gd name="T11" fmla="*/ 730 h 1390"/>
                <a:gd name="T12" fmla="*/ 41 w 1390"/>
                <a:gd name="T13" fmla="*/ 934 h 1390"/>
                <a:gd name="T14" fmla="*/ 138 w 1390"/>
                <a:gd name="T15" fmla="*/ 1111 h 1390"/>
                <a:gd name="T16" fmla="*/ 280 w 1390"/>
                <a:gd name="T17" fmla="*/ 1252 h 1390"/>
                <a:gd name="T18" fmla="*/ 456 w 1390"/>
                <a:gd name="T19" fmla="*/ 1348 h 1390"/>
                <a:gd name="T20" fmla="*/ 659 w 1390"/>
                <a:gd name="T21" fmla="*/ 1389 h 1390"/>
                <a:gd name="T22" fmla="*/ 835 w 1390"/>
                <a:gd name="T23" fmla="*/ 1376 h 1390"/>
                <a:gd name="T24" fmla="*/ 1026 w 1390"/>
                <a:gd name="T25" fmla="*/ 1306 h 1390"/>
                <a:gd name="T26" fmla="*/ 1186 w 1390"/>
                <a:gd name="T27" fmla="*/ 1186 h 1390"/>
                <a:gd name="T28" fmla="*/ 1306 w 1390"/>
                <a:gd name="T29" fmla="*/ 1026 h 1390"/>
                <a:gd name="T30" fmla="*/ 1377 w 1390"/>
                <a:gd name="T31" fmla="*/ 835 h 1390"/>
                <a:gd name="T32" fmla="*/ 1389 w 1390"/>
                <a:gd name="T33" fmla="*/ 659 h 1390"/>
                <a:gd name="T34" fmla="*/ 1348 w 1390"/>
                <a:gd name="T35" fmla="*/ 456 h 1390"/>
                <a:gd name="T36" fmla="*/ 1252 w 1390"/>
                <a:gd name="T37" fmla="*/ 280 h 1390"/>
                <a:gd name="T38" fmla="*/ 1111 w 1390"/>
                <a:gd name="T39" fmla="*/ 138 h 1390"/>
                <a:gd name="T40" fmla="*/ 934 w 1390"/>
                <a:gd name="T41" fmla="*/ 42 h 1390"/>
                <a:gd name="T42" fmla="*/ 730 w 1390"/>
                <a:gd name="T43" fmla="*/ 1 h 1390"/>
                <a:gd name="T44" fmla="*/ 637 w 1390"/>
                <a:gd name="T45" fmla="*/ 1343 h 1390"/>
                <a:gd name="T46" fmla="*/ 474 w 1390"/>
                <a:gd name="T47" fmla="*/ 1307 h 1390"/>
                <a:gd name="T48" fmla="*/ 328 w 1390"/>
                <a:gd name="T49" fmla="*/ 1232 h 1390"/>
                <a:gd name="T50" fmla="*/ 329 w 1390"/>
                <a:gd name="T51" fmla="*/ 1161 h 1390"/>
                <a:gd name="T52" fmla="*/ 365 w 1390"/>
                <a:gd name="T53" fmla="*/ 1100 h 1390"/>
                <a:gd name="T54" fmla="*/ 388 w 1390"/>
                <a:gd name="T55" fmla="*/ 996 h 1390"/>
                <a:gd name="T56" fmla="*/ 365 w 1390"/>
                <a:gd name="T57" fmla="*/ 897 h 1390"/>
                <a:gd name="T58" fmla="*/ 296 w 1390"/>
                <a:gd name="T59" fmla="*/ 801 h 1390"/>
                <a:gd name="T60" fmla="*/ 234 w 1390"/>
                <a:gd name="T61" fmla="*/ 719 h 1390"/>
                <a:gd name="T62" fmla="*/ 230 w 1390"/>
                <a:gd name="T63" fmla="*/ 686 h 1390"/>
                <a:gd name="T64" fmla="*/ 294 w 1390"/>
                <a:gd name="T65" fmla="*/ 638 h 1390"/>
                <a:gd name="T66" fmla="*/ 425 w 1390"/>
                <a:gd name="T67" fmla="*/ 567 h 1390"/>
                <a:gd name="T68" fmla="*/ 479 w 1390"/>
                <a:gd name="T69" fmla="*/ 510 h 1390"/>
                <a:gd name="T70" fmla="*/ 499 w 1390"/>
                <a:gd name="T71" fmla="*/ 412 h 1390"/>
                <a:gd name="T72" fmla="*/ 474 w 1390"/>
                <a:gd name="T73" fmla="*/ 294 h 1390"/>
                <a:gd name="T74" fmla="*/ 440 w 1390"/>
                <a:gd name="T75" fmla="*/ 226 h 1390"/>
                <a:gd name="T76" fmla="*/ 349 w 1390"/>
                <a:gd name="T77" fmla="*/ 145 h 1390"/>
                <a:gd name="T78" fmla="*/ 508 w 1390"/>
                <a:gd name="T79" fmla="*/ 74 h 1390"/>
                <a:gd name="T80" fmla="*/ 610 w 1390"/>
                <a:gd name="T81" fmla="*/ 68 h 1390"/>
                <a:gd name="T82" fmla="*/ 617 w 1390"/>
                <a:gd name="T83" fmla="*/ 116 h 1390"/>
                <a:gd name="T84" fmla="*/ 697 w 1390"/>
                <a:gd name="T85" fmla="*/ 192 h 1390"/>
                <a:gd name="T86" fmla="*/ 765 w 1390"/>
                <a:gd name="T87" fmla="*/ 251 h 1390"/>
                <a:gd name="T88" fmla="*/ 798 w 1390"/>
                <a:gd name="T89" fmla="*/ 318 h 1390"/>
                <a:gd name="T90" fmla="*/ 846 w 1390"/>
                <a:gd name="T91" fmla="*/ 397 h 1390"/>
                <a:gd name="T92" fmla="*/ 903 w 1390"/>
                <a:gd name="T93" fmla="*/ 428 h 1390"/>
                <a:gd name="T94" fmla="*/ 944 w 1390"/>
                <a:gd name="T95" fmla="*/ 432 h 1390"/>
                <a:gd name="T96" fmla="*/ 1055 w 1390"/>
                <a:gd name="T97" fmla="*/ 397 h 1390"/>
                <a:gd name="T98" fmla="*/ 1220 w 1390"/>
                <a:gd name="T99" fmla="*/ 314 h 1390"/>
                <a:gd name="T100" fmla="*/ 1294 w 1390"/>
                <a:gd name="T101" fmla="*/ 442 h 1390"/>
                <a:gd name="T102" fmla="*/ 1337 w 1390"/>
                <a:gd name="T103" fmla="*/ 589 h 1390"/>
                <a:gd name="T104" fmla="*/ 1345 w 1390"/>
                <a:gd name="T105" fmla="*/ 728 h 1390"/>
                <a:gd name="T106" fmla="*/ 1306 w 1390"/>
                <a:gd name="T107" fmla="*/ 918 h 1390"/>
                <a:gd name="T108" fmla="*/ 1216 w 1390"/>
                <a:gd name="T109" fmla="*/ 1084 h 1390"/>
                <a:gd name="T110" fmla="*/ 1084 w 1390"/>
                <a:gd name="T111" fmla="*/ 1216 h 1390"/>
                <a:gd name="T112" fmla="*/ 918 w 1390"/>
                <a:gd name="T113" fmla="*/ 1306 h 1390"/>
                <a:gd name="T114" fmla="*/ 728 w 1390"/>
                <a:gd name="T115" fmla="*/ 1344 h 1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90" h="1390">
                  <a:moveTo>
                    <a:pt x="695" y="0"/>
                  </a:moveTo>
                  <a:lnTo>
                    <a:pt x="695" y="0"/>
                  </a:lnTo>
                  <a:lnTo>
                    <a:pt x="659" y="1"/>
                  </a:lnTo>
                  <a:lnTo>
                    <a:pt x="624" y="3"/>
                  </a:lnTo>
                  <a:lnTo>
                    <a:pt x="589" y="7"/>
                  </a:lnTo>
                  <a:lnTo>
                    <a:pt x="555" y="14"/>
                  </a:lnTo>
                  <a:lnTo>
                    <a:pt x="521" y="21"/>
                  </a:lnTo>
                  <a:lnTo>
                    <a:pt x="488" y="31"/>
                  </a:lnTo>
                  <a:lnTo>
                    <a:pt x="456" y="42"/>
                  </a:lnTo>
                  <a:lnTo>
                    <a:pt x="425" y="54"/>
                  </a:lnTo>
                  <a:lnTo>
                    <a:pt x="394" y="68"/>
                  </a:lnTo>
                  <a:lnTo>
                    <a:pt x="364" y="84"/>
                  </a:lnTo>
                  <a:lnTo>
                    <a:pt x="334" y="100"/>
                  </a:lnTo>
                  <a:lnTo>
                    <a:pt x="306" y="119"/>
                  </a:lnTo>
                  <a:lnTo>
                    <a:pt x="280" y="138"/>
                  </a:lnTo>
                  <a:lnTo>
                    <a:pt x="253" y="159"/>
                  </a:lnTo>
                  <a:lnTo>
                    <a:pt x="227" y="180"/>
                  </a:lnTo>
                  <a:lnTo>
                    <a:pt x="204" y="204"/>
                  </a:lnTo>
                  <a:lnTo>
                    <a:pt x="180" y="227"/>
                  </a:lnTo>
                  <a:lnTo>
                    <a:pt x="159" y="253"/>
                  </a:lnTo>
                  <a:lnTo>
                    <a:pt x="138" y="280"/>
                  </a:lnTo>
                  <a:lnTo>
                    <a:pt x="118" y="306"/>
                  </a:lnTo>
                  <a:lnTo>
                    <a:pt x="100" y="335"/>
                  </a:lnTo>
                  <a:lnTo>
                    <a:pt x="84" y="364"/>
                  </a:lnTo>
                  <a:lnTo>
                    <a:pt x="68" y="394"/>
                  </a:lnTo>
                  <a:lnTo>
                    <a:pt x="54" y="425"/>
                  </a:lnTo>
                  <a:lnTo>
                    <a:pt x="41" y="456"/>
                  </a:lnTo>
                  <a:lnTo>
                    <a:pt x="31" y="488"/>
                  </a:lnTo>
                  <a:lnTo>
                    <a:pt x="21" y="521"/>
                  </a:lnTo>
                  <a:lnTo>
                    <a:pt x="14" y="555"/>
                  </a:lnTo>
                  <a:lnTo>
                    <a:pt x="7" y="589"/>
                  </a:lnTo>
                  <a:lnTo>
                    <a:pt x="3" y="624"/>
                  </a:lnTo>
                  <a:lnTo>
                    <a:pt x="1" y="659"/>
                  </a:lnTo>
                  <a:lnTo>
                    <a:pt x="0" y="695"/>
                  </a:lnTo>
                  <a:lnTo>
                    <a:pt x="0" y="695"/>
                  </a:lnTo>
                  <a:lnTo>
                    <a:pt x="1" y="730"/>
                  </a:lnTo>
                  <a:lnTo>
                    <a:pt x="3" y="766"/>
                  </a:lnTo>
                  <a:lnTo>
                    <a:pt x="7" y="801"/>
                  </a:lnTo>
                  <a:lnTo>
                    <a:pt x="14" y="835"/>
                  </a:lnTo>
                  <a:lnTo>
                    <a:pt x="21" y="868"/>
                  </a:lnTo>
                  <a:lnTo>
                    <a:pt x="31" y="901"/>
                  </a:lnTo>
                  <a:lnTo>
                    <a:pt x="41" y="934"/>
                  </a:lnTo>
                  <a:lnTo>
                    <a:pt x="54" y="965"/>
                  </a:lnTo>
                  <a:lnTo>
                    <a:pt x="68" y="996"/>
                  </a:lnTo>
                  <a:lnTo>
                    <a:pt x="84" y="1026"/>
                  </a:lnTo>
                  <a:lnTo>
                    <a:pt x="100" y="1055"/>
                  </a:lnTo>
                  <a:lnTo>
                    <a:pt x="118" y="1084"/>
                  </a:lnTo>
                  <a:lnTo>
                    <a:pt x="138" y="1111"/>
                  </a:lnTo>
                  <a:lnTo>
                    <a:pt x="159" y="1137"/>
                  </a:lnTo>
                  <a:lnTo>
                    <a:pt x="180" y="1162"/>
                  </a:lnTo>
                  <a:lnTo>
                    <a:pt x="204" y="1186"/>
                  </a:lnTo>
                  <a:lnTo>
                    <a:pt x="227" y="1210"/>
                  </a:lnTo>
                  <a:lnTo>
                    <a:pt x="253" y="1231"/>
                  </a:lnTo>
                  <a:lnTo>
                    <a:pt x="280" y="1252"/>
                  </a:lnTo>
                  <a:lnTo>
                    <a:pt x="306" y="1272"/>
                  </a:lnTo>
                  <a:lnTo>
                    <a:pt x="334" y="1290"/>
                  </a:lnTo>
                  <a:lnTo>
                    <a:pt x="364" y="1306"/>
                  </a:lnTo>
                  <a:lnTo>
                    <a:pt x="394" y="1322"/>
                  </a:lnTo>
                  <a:lnTo>
                    <a:pt x="425" y="1336"/>
                  </a:lnTo>
                  <a:lnTo>
                    <a:pt x="456" y="1348"/>
                  </a:lnTo>
                  <a:lnTo>
                    <a:pt x="488" y="1359"/>
                  </a:lnTo>
                  <a:lnTo>
                    <a:pt x="521" y="1368"/>
                  </a:lnTo>
                  <a:lnTo>
                    <a:pt x="555" y="1376"/>
                  </a:lnTo>
                  <a:lnTo>
                    <a:pt x="589" y="1382"/>
                  </a:lnTo>
                  <a:lnTo>
                    <a:pt x="624" y="1387"/>
                  </a:lnTo>
                  <a:lnTo>
                    <a:pt x="659" y="1389"/>
                  </a:lnTo>
                  <a:lnTo>
                    <a:pt x="695" y="1390"/>
                  </a:lnTo>
                  <a:lnTo>
                    <a:pt x="695" y="1390"/>
                  </a:lnTo>
                  <a:lnTo>
                    <a:pt x="730" y="1389"/>
                  </a:lnTo>
                  <a:lnTo>
                    <a:pt x="766" y="1387"/>
                  </a:lnTo>
                  <a:lnTo>
                    <a:pt x="801" y="1382"/>
                  </a:lnTo>
                  <a:lnTo>
                    <a:pt x="835" y="1376"/>
                  </a:lnTo>
                  <a:lnTo>
                    <a:pt x="868" y="1368"/>
                  </a:lnTo>
                  <a:lnTo>
                    <a:pt x="901" y="1359"/>
                  </a:lnTo>
                  <a:lnTo>
                    <a:pt x="934" y="1348"/>
                  </a:lnTo>
                  <a:lnTo>
                    <a:pt x="965" y="1336"/>
                  </a:lnTo>
                  <a:lnTo>
                    <a:pt x="996" y="1322"/>
                  </a:lnTo>
                  <a:lnTo>
                    <a:pt x="1026" y="1306"/>
                  </a:lnTo>
                  <a:lnTo>
                    <a:pt x="1055" y="1290"/>
                  </a:lnTo>
                  <a:lnTo>
                    <a:pt x="1084" y="1272"/>
                  </a:lnTo>
                  <a:lnTo>
                    <a:pt x="1111" y="1252"/>
                  </a:lnTo>
                  <a:lnTo>
                    <a:pt x="1137" y="1231"/>
                  </a:lnTo>
                  <a:lnTo>
                    <a:pt x="1162" y="1210"/>
                  </a:lnTo>
                  <a:lnTo>
                    <a:pt x="1186" y="1186"/>
                  </a:lnTo>
                  <a:lnTo>
                    <a:pt x="1210" y="1162"/>
                  </a:lnTo>
                  <a:lnTo>
                    <a:pt x="1231" y="1137"/>
                  </a:lnTo>
                  <a:lnTo>
                    <a:pt x="1252" y="1111"/>
                  </a:lnTo>
                  <a:lnTo>
                    <a:pt x="1272" y="1084"/>
                  </a:lnTo>
                  <a:lnTo>
                    <a:pt x="1290" y="1055"/>
                  </a:lnTo>
                  <a:lnTo>
                    <a:pt x="1306" y="1026"/>
                  </a:lnTo>
                  <a:lnTo>
                    <a:pt x="1322" y="996"/>
                  </a:lnTo>
                  <a:lnTo>
                    <a:pt x="1336" y="965"/>
                  </a:lnTo>
                  <a:lnTo>
                    <a:pt x="1348" y="934"/>
                  </a:lnTo>
                  <a:lnTo>
                    <a:pt x="1360" y="901"/>
                  </a:lnTo>
                  <a:lnTo>
                    <a:pt x="1368" y="868"/>
                  </a:lnTo>
                  <a:lnTo>
                    <a:pt x="1377" y="835"/>
                  </a:lnTo>
                  <a:lnTo>
                    <a:pt x="1382" y="801"/>
                  </a:lnTo>
                  <a:lnTo>
                    <a:pt x="1386" y="766"/>
                  </a:lnTo>
                  <a:lnTo>
                    <a:pt x="1389" y="730"/>
                  </a:lnTo>
                  <a:lnTo>
                    <a:pt x="1390" y="695"/>
                  </a:lnTo>
                  <a:lnTo>
                    <a:pt x="1390" y="695"/>
                  </a:lnTo>
                  <a:lnTo>
                    <a:pt x="1389" y="659"/>
                  </a:lnTo>
                  <a:lnTo>
                    <a:pt x="1386" y="624"/>
                  </a:lnTo>
                  <a:lnTo>
                    <a:pt x="1382" y="589"/>
                  </a:lnTo>
                  <a:lnTo>
                    <a:pt x="1377" y="555"/>
                  </a:lnTo>
                  <a:lnTo>
                    <a:pt x="1368" y="521"/>
                  </a:lnTo>
                  <a:lnTo>
                    <a:pt x="1360" y="488"/>
                  </a:lnTo>
                  <a:lnTo>
                    <a:pt x="1348" y="456"/>
                  </a:lnTo>
                  <a:lnTo>
                    <a:pt x="1336" y="425"/>
                  </a:lnTo>
                  <a:lnTo>
                    <a:pt x="1322" y="394"/>
                  </a:lnTo>
                  <a:lnTo>
                    <a:pt x="1306" y="364"/>
                  </a:lnTo>
                  <a:lnTo>
                    <a:pt x="1290" y="335"/>
                  </a:lnTo>
                  <a:lnTo>
                    <a:pt x="1272" y="306"/>
                  </a:lnTo>
                  <a:lnTo>
                    <a:pt x="1252" y="280"/>
                  </a:lnTo>
                  <a:lnTo>
                    <a:pt x="1231" y="253"/>
                  </a:lnTo>
                  <a:lnTo>
                    <a:pt x="1210" y="227"/>
                  </a:lnTo>
                  <a:lnTo>
                    <a:pt x="1186" y="204"/>
                  </a:lnTo>
                  <a:lnTo>
                    <a:pt x="1162" y="180"/>
                  </a:lnTo>
                  <a:lnTo>
                    <a:pt x="1137" y="159"/>
                  </a:lnTo>
                  <a:lnTo>
                    <a:pt x="1111" y="138"/>
                  </a:lnTo>
                  <a:lnTo>
                    <a:pt x="1084" y="119"/>
                  </a:lnTo>
                  <a:lnTo>
                    <a:pt x="1055" y="100"/>
                  </a:lnTo>
                  <a:lnTo>
                    <a:pt x="1026" y="84"/>
                  </a:lnTo>
                  <a:lnTo>
                    <a:pt x="996" y="68"/>
                  </a:lnTo>
                  <a:lnTo>
                    <a:pt x="965" y="54"/>
                  </a:lnTo>
                  <a:lnTo>
                    <a:pt x="934" y="42"/>
                  </a:lnTo>
                  <a:lnTo>
                    <a:pt x="901" y="31"/>
                  </a:lnTo>
                  <a:lnTo>
                    <a:pt x="868" y="21"/>
                  </a:lnTo>
                  <a:lnTo>
                    <a:pt x="835" y="14"/>
                  </a:lnTo>
                  <a:lnTo>
                    <a:pt x="801" y="7"/>
                  </a:lnTo>
                  <a:lnTo>
                    <a:pt x="766" y="3"/>
                  </a:lnTo>
                  <a:lnTo>
                    <a:pt x="730" y="1"/>
                  </a:lnTo>
                  <a:lnTo>
                    <a:pt x="695" y="0"/>
                  </a:lnTo>
                  <a:lnTo>
                    <a:pt x="695" y="0"/>
                  </a:lnTo>
                  <a:close/>
                  <a:moveTo>
                    <a:pt x="695" y="1346"/>
                  </a:moveTo>
                  <a:lnTo>
                    <a:pt x="695" y="1346"/>
                  </a:lnTo>
                  <a:lnTo>
                    <a:pt x="666" y="1344"/>
                  </a:lnTo>
                  <a:lnTo>
                    <a:pt x="637" y="1343"/>
                  </a:lnTo>
                  <a:lnTo>
                    <a:pt x="610" y="1340"/>
                  </a:lnTo>
                  <a:lnTo>
                    <a:pt x="581" y="1336"/>
                  </a:lnTo>
                  <a:lnTo>
                    <a:pt x="554" y="1331"/>
                  </a:lnTo>
                  <a:lnTo>
                    <a:pt x="526" y="1323"/>
                  </a:lnTo>
                  <a:lnTo>
                    <a:pt x="500" y="1316"/>
                  </a:lnTo>
                  <a:lnTo>
                    <a:pt x="474" y="1307"/>
                  </a:lnTo>
                  <a:lnTo>
                    <a:pt x="448" y="1297"/>
                  </a:lnTo>
                  <a:lnTo>
                    <a:pt x="423" y="1286"/>
                  </a:lnTo>
                  <a:lnTo>
                    <a:pt x="398" y="1274"/>
                  </a:lnTo>
                  <a:lnTo>
                    <a:pt x="375" y="1261"/>
                  </a:lnTo>
                  <a:lnTo>
                    <a:pt x="351" y="1247"/>
                  </a:lnTo>
                  <a:lnTo>
                    <a:pt x="328" y="1232"/>
                  </a:lnTo>
                  <a:lnTo>
                    <a:pt x="306" y="1216"/>
                  </a:lnTo>
                  <a:lnTo>
                    <a:pt x="285" y="1199"/>
                  </a:lnTo>
                  <a:lnTo>
                    <a:pt x="285" y="1199"/>
                  </a:lnTo>
                  <a:lnTo>
                    <a:pt x="304" y="1184"/>
                  </a:lnTo>
                  <a:lnTo>
                    <a:pt x="321" y="1168"/>
                  </a:lnTo>
                  <a:lnTo>
                    <a:pt x="329" y="1161"/>
                  </a:lnTo>
                  <a:lnTo>
                    <a:pt x="336" y="1152"/>
                  </a:lnTo>
                  <a:lnTo>
                    <a:pt x="342" y="1144"/>
                  </a:lnTo>
                  <a:lnTo>
                    <a:pt x="347" y="1134"/>
                  </a:lnTo>
                  <a:lnTo>
                    <a:pt x="347" y="1134"/>
                  </a:lnTo>
                  <a:lnTo>
                    <a:pt x="357" y="1117"/>
                  </a:lnTo>
                  <a:lnTo>
                    <a:pt x="365" y="1100"/>
                  </a:lnTo>
                  <a:lnTo>
                    <a:pt x="371" y="1083"/>
                  </a:lnTo>
                  <a:lnTo>
                    <a:pt x="378" y="1066"/>
                  </a:lnTo>
                  <a:lnTo>
                    <a:pt x="382" y="1049"/>
                  </a:lnTo>
                  <a:lnTo>
                    <a:pt x="385" y="1031"/>
                  </a:lnTo>
                  <a:lnTo>
                    <a:pt x="388" y="1013"/>
                  </a:lnTo>
                  <a:lnTo>
                    <a:pt x="388" y="996"/>
                  </a:lnTo>
                  <a:lnTo>
                    <a:pt x="388" y="979"/>
                  </a:lnTo>
                  <a:lnTo>
                    <a:pt x="385" y="963"/>
                  </a:lnTo>
                  <a:lnTo>
                    <a:pt x="382" y="946"/>
                  </a:lnTo>
                  <a:lnTo>
                    <a:pt x="378" y="930"/>
                  </a:lnTo>
                  <a:lnTo>
                    <a:pt x="371" y="913"/>
                  </a:lnTo>
                  <a:lnTo>
                    <a:pt x="365" y="897"/>
                  </a:lnTo>
                  <a:lnTo>
                    <a:pt x="357" y="881"/>
                  </a:lnTo>
                  <a:lnTo>
                    <a:pt x="347" y="865"/>
                  </a:lnTo>
                  <a:lnTo>
                    <a:pt x="347" y="865"/>
                  </a:lnTo>
                  <a:lnTo>
                    <a:pt x="335" y="849"/>
                  </a:lnTo>
                  <a:lnTo>
                    <a:pt x="322" y="833"/>
                  </a:lnTo>
                  <a:lnTo>
                    <a:pt x="296" y="801"/>
                  </a:lnTo>
                  <a:lnTo>
                    <a:pt x="296" y="801"/>
                  </a:lnTo>
                  <a:lnTo>
                    <a:pt x="271" y="772"/>
                  </a:lnTo>
                  <a:lnTo>
                    <a:pt x="259" y="758"/>
                  </a:lnTo>
                  <a:lnTo>
                    <a:pt x="250" y="744"/>
                  </a:lnTo>
                  <a:lnTo>
                    <a:pt x="241" y="731"/>
                  </a:lnTo>
                  <a:lnTo>
                    <a:pt x="234" y="719"/>
                  </a:lnTo>
                  <a:lnTo>
                    <a:pt x="229" y="706"/>
                  </a:lnTo>
                  <a:lnTo>
                    <a:pt x="228" y="701"/>
                  </a:lnTo>
                  <a:lnTo>
                    <a:pt x="228" y="695"/>
                  </a:lnTo>
                  <a:lnTo>
                    <a:pt x="228" y="695"/>
                  </a:lnTo>
                  <a:lnTo>
                    <a:pt x="229" y="690"/>
                  </a:lnTo>
                  <a:lnTo>
                    <a:pt x="230" y="686"/>
                  </a:lnTo>
                  <a:lnTo>
                    <a:pt x="234" y="680"/>
                  </a:lnTo>
                  <a:lnTo>
                    <a:pt x="237" y="675"/>
                  </a:lnTo>
                  <a:lnTo>
                    <a:pt x="248" y="665"/>
                  </a:lnTo>
                  <a:lnTo>
                    <a:pt x="260" y="656"/>
                  </a:lnTo>
                  <a:lnTo>
                    <a:pt x="276" y="647"/>
                  </a:lnTo>
                  <a:lnTo>
                    <a:pt x="294" y="638"/>
                  </a:lnTo>
                  <a:lnTo>
                    <a:pt x="332" y="618"/>
                  </a:lnTo>
                  <a:lnTo>
                    <a:pt x="332" y="618"/>
                  </a:lnTo>
                  <a:lnTo>
                    <a:pt x="370" y="600"/>
                  </a:lnTo>
                  <a:lnTo>
                    <a:pt x="390" y="589"/>
                  </a:lnTo>
                  <a:lnTo>
                    <a:pt x="408" y="579"/>
                  </a:lnTo>
                  <a:lnTo>
                    <a:pt x="425" y="567"/>
                  </a:lnTo>
                  <a:lnTo>
                    <a:pt x="441" y="555"/>
                  </a:lnTo>
                  <a:lnTo>
                    <a:pt x="456" y="541"/>
                  </a:lnTo>
                  <a:lnTo>
                    <a:pt x="469" y="526"/>
                  </a:lnTo>
                  <a:lnTo>
                    <a:pt x="469" y="526"/>
                  </a:lnTo>
                  <a:lnTo>
                    <a:pt x="474" y="519"/>
                  </a:lnTo>
                  <a:lnTo>
                    <a:pt x="479" y="510"/>
                  </a:lnTo>
                  <a:lnTo>
                    <a:pt x="484" y="502"/>
                  </a:lnTo>
                  <a:lnTo>
                    <a:pt x="488" y="492"/>
                  </a:lnTo>
                  <a:lnTo>
                    <a:pt x="493" y="474"/>
                  </a:lnTo>
                  <a:lnTo>
                    <a:pt x="496" y="454"/>
                  </a:lnTo>
                  <a:lnTo>
                    <a:pt x="499" y="434"/>
                  </a:lnTo>
                  <a:lnTo>
                    <a:pt x="499" y="412"/>
                  </a:lnTo>
                  <a:lnTo>
                    <a:pt x="496" y="391"/>
                  </a:lnTo>
                  <a:lnTo>
                    <a:pt x="494" y="371"/>
                  </a:lnTo>
                  <a:lnTo>
                    <a:pt x="490" y="349"/>
                  </a:lnTo>
                  <a:lnTo>
                    <a:pt x="485" y="330"/>
                  </a:lnTo>
                  <a:lnTo>
                    <a:pt x="479" y="311"/>
                  </a:lnTo>
                  <a:lnTo>
                    <a:pt x="474" y="294"/>
                  </a:lnTo>
                  <a:lnTo>
                    <a:pt x="468" y="278"/>
                  </a:lnTo>
                  <a:lnTo>
                    <a:pt x="461" y="264"/>
                  </a:lnTo>
                  <a:lnTo>
                    <a:pt x="456" y="252"/>
                  </a:lnTo>
                  <a:lnTo>
                    <a:pt x="451" y="242"/>
                  </a:lnTo>
                  <a:lnTo>
                    <a:pt x="451" y="242"/>
                  </a:lnTo>
                  <a:lnTo>
                    <a:pt x="440" y="226"/>
                  </a:lnTo>
                  <a:lnTo>
                    <a:pt x="428" y="211"/>
                  </a:lnTo>
                  <a:lnTo>
                    <a:pt x="416" y="199"/>
                  </a:lnTo>
                  <a:lnTo>
                    <a:pt x="404" y="186"/>
                  </a:lnTo>
                  <a:lnTo>
                    <a:pt x="390" y="175"/>
                  </a:lnTo>
                  <a:lnTo>
                    <a:pt x="377" y="164"/>
                  </a:lnTo>
                  <a:lnTo>
                    <a:pt x="349" y="145"/>
                  </a:lnTo>
                  <a:lnTo>
                    <a:pt x="349" y="145"/>
                  </a:lnTo>
                  <a:lnTo>
                    <a:pt x="380" y="128"/>
                  </a:lnTo>
                  <a:lnTo>
                    <a:pt x="410" y="112"/>
                  </a:lnTo>
                  <a:lnTo>
                    <a:pt x="442" y="97"/>
                  </a:lnTo>
                  <a:lnTo>
                    <a:pt x="475" y="85"/>
                  </a:lnTo>
                  <a:lnTo>
                    <a:pt x="508" y="74"/>
                  </a:lnTo>
                  <a:lnTo>
                    <a:pt x="542" y="65"/>
                  </a:lnTo>
                  <a:lnTo>
                    <a:pt x="577" y="58"/>
                  </a:lnTo>
                  <a:lnTo>
                    <a:pt x="612" y="51"/>
                  </a:lnTo>
                  <a:lnTo>
                    <a:pt x="612" y="51"/>
                  </a:lnTo>
                  <a:lnTo>
                    <a:pt x="611" y="60"/>
                  </a:lnTo>
                  <a:lnTo>
                    <a:pt x="610" y="68"/>
                  </a:lnTo>
                  <a:lnTo>
                    <a:pt x="610" y="85"/>
                  </a:lnTo>
                  <a:lnTo>
                    <a:pt x="610" y="85"/>
                  </a:lnTo>
                  <a:lnTo>
                    <a:pt x="611" y="93"/>
                  </a:lnTo>
                  <a:lnTo>
                    <a:pt x="612" y="101"/>
                  </a:lnTo>
                  <a:lnTo>
                    <a:pt x="614" y="109"/>
                  </a:lnTo>
                  <a:lnTo>
                    <a:pt x="617" y="116"/>
                  </a:lnTo>
                  <a:lnTo>
                    <a:pt x="621" y="124"/>
                  </a:lnTo>
                  <a:lnTo>
                    <a:pt x="626" y="130"/>
                  </a:lnTo>
                  <a:lnTo>
                    <a:pt x="637" y="144"/>
                  </a:lnTo>
                  <a:lnTo>
                    <a:pt x="651" y="157"/>
                  </a:lnTo>
                  <a:lnTo>
                    <a:pt x="665" y="169"/>
                  </a:lnTo>
                  <a:lnTo>
                    <a:pt x="697" y="192"/>
                  </a:lnTo>
                  <a:lnTo>
                    <a:pt x="697" y="192"/>
                  </a:lnTo>
                  <a:lnTo>
                    <a:pt x="718" y="206"/>
                  </a:lnTo>
                  <a:lnTo>
                    <a:pt x="736" y="221"/>
                  </a:lnTo>
                  <a:lnTo>
                    <a:pt x="752" y="236"/>
                  </a:lnTo>
                  <a:lnTo>
                    <a:pt x="759" y="243"/>
                  </a:lnTo>
                  <a:lnTo>
                    <a:pt x="765" y="251"/>
                  </a:lnTo>
                  <a:lnTo>
                    <a:pt x="765" y="251"/>
                  </a:lnTo>
                  <a:lnTo>
                    <a:pt x="775" y="268"/>
                  </a:lnTo>
                  <a:lnTo>
                    <a:pt x="784" y="285"/>
                  </a:lnTo>
                  <a:lnTo>
                    <a:pt x="791" y="301"/>
                  </a:lnTo>
                  <a:lnTo>
                    <a:pt x="798" y="318"/>
                  </a:lnTo>
                  <a:lnTo>
                    <a:pt x="798" y="318"/>
                  </a:lnTo>
                  <a:lnTo>
                    <a:pt x="805" y="335"/>
                  </a:lnTo>
                  <a:lnTo>
                    <a:pt x="813" y="352"/>
                  </a:lnTo>
                  <a:lnTo>
                    <a:pt x="821" y="368"/>
                  </a:lnTo>
                  <a:lnTo>
                    <a:pt x="832" y="383"/>
                  </a:lnTo>
                  <a:lnTo>
                    <a:pt x="838" y="391"/>
                  </a:lnTo>
                  <a:lnTo>
                    <a:pt x="846" y="397"/>
                  </a:lnTo>
                  <a:lnTo>
                    <a:pt x="853" y="404"/>
                  </a:lnTo>
                  <a:lnTo>
                    <a:pt x="862" y="410"/>
                  </a:lnTo>
                  <a:lnTo>
                    <a:pt x="870" y="415"/>
                  </a:lnTo>
                  <a:lnTo>
                    <a:pt x="881" y="420"/>
                  </a:lnTo>
                  <a:lnTo>
                    <a:pt x="892" y="425"/>
                  </a:lnTo>
                  <a:lnTo>
                    <a:pt x="903" y="428"/>
                  </a:lnTo>
                  <a:lnTo>
                    <a:pt x="903" y="428"/>
                  </a:lnTo>
                  <a:lnTo>
                    <a:pt x="917" y="431"/>
                  </a:lnTo>
                  <a:lnTo>
                    <a:pt x="925" y="432"/>
                  </a:lnTo>
                  <a:lnTo>
                    <a:pt x="932" y="432"/>
                  </a:lnTo>
                  <a:lnTo>
                    <a:pt x="932" y="432"/>
                  </a:lnTo>
                  <a:lnTo>
                    <a:pt x="944" y="432"/>
                  </a:lnTo>
                  <a:lnTo>
                    <a:pt x="955" y="431"/>
                  </a:lnTo>
                  <a:lnTo>
                    <a:pt x="966" y="429"/>
                  </a:lnTo>
                  <a:lnTo>
                    <a:pt x="978" y="426"/>
                  </a:lnTo>
                  <a:lnTo>
                    <a:pt x="1003" y="419"/>
                  </a:lnTo>
                  <a:lnTo>
                    <a:pt x="1028" y="409"/>
                  </a:lnTo>
                  <a:lnTo>
                    <a:pt x="1055" y="397"/>
                  </a:lnTo>
                  <a:lnTo>
                    <a:pt x="1082" y="384"/>
                  </a:lnTo>
                  <a:lnTo>
                    <a:pt x="1139" y="355"/>
                  </a:lnTo>
                  <a:lnTo>
                    <a:pt x="1139" y="355"/>
                  </a:lnTo>
                  <a:lnTo>
                    <a:pt x="1178" y="334"/>
                  </a:lnTo>
                  <a:lnTo>
                    <a:pt x="1220" y="314"/>
                  </a:lnTo>
                  <a:lnTo>
                    <a:pt x="1220" y="314"/>
                  </a:lnTo>
                  <a:lnTo>
                    <a:pt x="1235" y="333"/>
                  </a:lnTo>
                  <a:lnTo>
                    <a:pt x="1247" y="353"/>
                  </a:lnTo>
                  <a:lnTo>
                    <a:pt x="1260" y="375"/>
                  </a:lnTo>
                  <a:lnTo>
                    <a:pt x="1273" y="397"/>
                  </a:lnTo>
                  <a:lnTo>
                    <a:pt x="1284" y="419"/>
                  </a:lnTo>
                  <a:lnTo>
                    <a:pt x="1294" y="442"/>
                  </a:lnTo>
                  <a:lnTo>
                    <a:pt x="1304" y="466"/>
                  </a:lnTo>
                  <a:lnTo>
                    <a:pt x="1313" y="489"/>
                  </a:lnTo>
                  <a:lnTo>
                    <a:pt x="1320" y="514"/>
                  </a:lnTo>
                  <a:lnTo>
                    <a:pt x="1326" y="538"/>
                  </a:lnTo>
                  <a:lnTo>
                    <a:pt x="1332" y="564"/>
                  </a:lnTo>
                  <a:lnTo>
                    <a:pt x="1337" y="589"/>
                  </a:lnTo>
                  <a:lnTo>
                    <a:pt x="1340" y="615"/>
                  </a:lnTo>
                  <a:lnTo>
                    <a:pt x="1343" y="642"/>
                  </a:lnTo>
                  <a:lnTo>
                    <a:pt x="1345" y="668"/>
                  </a:lnTo>
                  <a:lnTo>
                    <a:pt x="1346" y="695"/>
                  </a:lnTo>
                  <a:lnTo>
                    <a:pt x="1346" y="695"/>
                  </a:lnTo>
                  <a:lnTo>
                    <a:pt x="1345" y="728"/>
                  </a:lnTo>
                  <a:lnTo>
                    <a:pt x="1342" y="761"/>
                  </a:lnTo>
                  <a:lnTo>
                    <a:pt x="1338" y="795"/>
                  </a:lnTo>
                  <a:lnTo>
                    <a:pt x="1332" y="827"/>
                  </a:lnTo>
                  <a:lnTo>
                    <a:pt x="1325" y="858"/>
                  </a:lnTo>
                  <a:lnTo>
                    <a:pt x="1316" y="888"/>
                  </a:lnTo>
                  <a:lnTo>
                    <a:pt x="1306" y="918"/>
                  </a:lnTo>
                  <a:lnTo>
                    <a:pt x="1294" y="948"/>
                  </a:lnTo>
                  <a:lnTo>
                    <a:pt x="1282" y="977"/>
                  </a:lnTo>
                  <a:lnTo>
                    <a:pt x="1267" y="1005"/>
                  </a:lnTo>
                  <a:lnTo>
                    <a:pt x="1252" y="1033"/>
                  </a:lnTo>
                  <a:lnTo>
                    <a:pt x="1235" y="1058"/>
                  </a:lnTo>
                  <a:lnTo>
                    <a:pt x="1216" y="1084"/>
                  </a:lnTo>
                  <a:lnTo>
                    <a:pt x="1197" y="1108"/>
                  </a:lnTo>
                  <a:lnTo>
                    <a:pt x="1177" y="1132"/>
                  </a:lnTo>
                  <a:lnTo>
                    <a:pt x="1154" y="1154"/>
                  </a:lnTo>
                  <a:lnTo>
                    <a:pt x="1132" y="1177"/>
                  </a:lnTo>
                  <a:lnTo>
                    <a:pt x="1109" y="1197"/>
                  </a:lnTo>
                  <a:lnTo>
                    <a:pt x="1084" y="1216"/>
                  </a:lnTo>
                  <a:lnTo>
                    <a:pt x="1058" y="1234"/>
                  </a:lnTo>
                  <a:lnTo>
                    <a:pt x="1033" y="1252"/>
                  </a:lnTo>
                  <a:lnTo>
                    <a:pt x="1005" y="1267"/>
                  </a:lnTo>
                  <a:lnTo>
                    <a:pt x="977" y="1281"/>
                  </a:lnTo>
                  <a:lnTo>
                    <a:pt x="948" y="1294"/>
                  </a:lnTo>
                  <a:lnTo>
                    <a:pt x="918" y="1306"/>
                  </a:lnTo>
                  <a:lnTo>
                    <a:pt x="888" y="1316"/>
                  </a:lnTo>
                  <a:lnTo>
                    <a:pt x="857" y="1325"/>
                  </a:lnTo>
                  <a:lnTo>
                    <a:pt x="827" y="1332"/>
                  </a:lnTo>
                  <a:lnTo>
                    <a:pt x="794" y="1338"/>
                  </a:lnTo>
                  <a:lnTo>
                    <a:pt x="761" y="1342"/>
                  </a:lnTo>
                  <a:lnTo>
                    <a:pt x="728" y="1344"/>
                  </a:lnTo>
                  <a:lnTo>
                    <a:pt x="695" y="1346"/>
                  </a:lnTo>
                  <a:lnTo>
                    <a:pt x="695" y="134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5" name="Freeform 74">
              <a:extLst>
                <a:ext uri="{FF2B5EF4-FFF2-40B4-BE49-F238E27FC236}">
                  <a16:creationId xmlns:a16="http://schemas.microsoft.com/office/drawing/2014/main" id="{87686970-0CAC-4BF7-94F4-DC962053F4B5}"/>
                </a:ext>
              </a:extLst>
            </p:cNvPr>
            <p:cNvSpPr>
              <a:spLocks/>
            </p:cNvSpPr>
            <p:nvPr/>
          </p:nvSpPr>
          <p:spPr bwMode="auto">
            <a:xfrm>
              <a:off x="9953625" y="431800"/>
              <a:ext cx="187325" cy="244475"/>
            </a:xfrm>
            <a:custGeom>
              <a:avLst/>
              <a:gdLst>
                <a:gd name="T0" fmla="*/ 238 w 474"/>
                <a:gd name="T1" fmla="*/ 0 h 617"/>
                <a:gd name="T2" fmla="*/ 209 w 474"/>
                <a:gd name="T3" fmla="*/ 2 h 617"/>
                <a:gd name="T4" fmla="*/ 180 w 474"/>
                <a:gd name="T5" fmla="*/ 6 h 617"/>
                <a:gd name="T6" fmla="*/ 151 w 474"/>
                <a:gd name="T7" fmla="*/ 14 h 617"/>
                <a:gd name="T8" fmla="*/ 125 w 474"/>
                <a:gd name="T9" fmla="*/ 23 h 617"/>
                <a:gd name="T10" fmla="*/ 99 w 474"/>
                <a:gd name="T11" fmla="*/ 36 h 617"/>
                <a:gd name="T12" fmla="*/ 75 w 474"/>
                <a:gd name="T13" fmla="*/ 51 h 617"/>
                <a:gd name="T14" fmla="*/ 55 w 474"/>
                <a:gd name="T15" fmla="*/ 68 h 617"/>
                <a:gd name="T16" fmla="*/ 36 w 474"/>
                <a:gd name="T17" fmla="*/ 87 h 617"/>
                <a:gd name="T18" fmla="*/ 25 w 474"/>
                <a:gd name="T19" fmla="*/ 102 h 617"/>
                <a:gd name="T20" fmla="*/ 9 w 474"/>
                <a:gd name="T21" fmla="*/ 131 h 617"/>
                <a:gd name="T22" fmla="*/ 1 w 474"/>
                <a:gd name="T23" fmla="*/ 161 h 617"/>
                <a:gd name="T24" fmla="*/ 1 w 474"/>
                <a:gd name="T25" fmla="*/ 193 h 617"/>
                <a:gd name="T26" fmla="*/ 3 w 474"/>
                <a:gd name="T27" fmla="*/ 208 h 617"/>
                <a:gd name="T28" fmla="*/ 15 w 474"/>
                <a:gd name="T29" fmla="*/ 287 h 617"/>
                <a:gd name="T30" fmla="*/ 20 w 474"/>
                <a:gd name="T31" fmla="*/ 351 h 617"/>
                <a:gd name="T32" fmla="*/ 20 w 474"/>
                <a:gd name="T33" fmla="*/ 403 h 617"/>
                <a:gd name="T34" fmla="*/ 19 w 474"/>
                <a:gd name="T35" fmla="*/ 446 h 617"/>
                <a:gd name="T36" fmla="*/ 17 w 474"/>
                <a:gd name="T37" fmla="*/ 490 h 617"/>
                <a:gd name="T38" fmla="*/ 19 w 474"/>
                <a:gd name="T39" fmla="*/ 518 h 617"/>
                <a:gd name="T40" fmla="*/ 24 w 474"/>
                <a:gd name="T41" fmla="*/ 536 h 617"/>
                <a:gd name="T42" fmla="*/ 32 w 474"/>
                <a:gd name="T43" fmla="*/ 553 h 617"/>
                <a:gd name="T44" fmla="*/ 44 w 474"/>
                <a:gd name="T45" fmla="*/ 570 h 617"/>
                <a:gd name="T46" fmla="*/ 62 w 474"/>
                <a:gd name="T47" fmla="*/ 588 h 617"/>
                <a:gd name="T48" fmla="*/ 72 w 474"/>
                <a:gd name="T49" fmla="*/ 597 h 617"/>
                <a:gd name="T50" fmla="*/ 86 w 474"/>
                <a:gd name="T51" fmla="*/ 605 h 617"/>
                <a:gd name="T52" fmla="*/ 101 w 474"/>
                <a:gd name="T53" fmla="*/ 612 h 617"/>
                <a:gd name="T54" fmla="*/ 116 w 474"/>
                <a:gd name="T55" fmla="*/ 615 h 617"/>
                <a:gd name="T56" fmla="*/ 133 w 474"/>
                <a:gd name="T57" fmla="*/ 617 h 617"/>
                <a:gd name="T58" fmla="*/ 144 w 474"/>
                <a:gd name="T59" fmla="*/ 616 h 617"/>
                <a:gd name="T60" fmla="*/ 166 w 474"/>
                <a:gd name="T61" fmla="*/ 613 h 617"/>
                <a:gd name="T62" fmla="*/ 189 w 474"/>
                <a:gd name="T63" fmla="*/ 605 h 617"/>
                <a:gd name="T64" fmla="*/ 213 w 474"/>
                <a:gd name="T65" fmla="*/ 595 h 617"/>
                <a:gd name="T66" fmla="*/ 250 w 474"/>
                <a:gd name="T67" fmla="*/ 573 h 617"/>
                <a:gd name="T68" fmla="*/ 301 w 474"/>
                <a:gd name="T69" fmla="*/ 534 h 617"/>
                <a:gd name="T70" fmla="*/ 325 w 474"/>
                <a:gd name="T71" fmla="*/ 509 h 617"/>
                <a:gd name="T72" fmla="*/ 359 w 474"/>
                <a:gd name="T73" fmla="*/ 473 h 617"/>
                <a:gd name="T74" fmla="*/ 388 w 474"/>
                <a:gd name="T75" fmla="*/ 435 h 617"/>
                <a:gd name="T76" fmla="*/ 414 w 474"/>
                <a:gd name="T77" fmla="*/ 396 h 617"/>
                <a:gd name="T78" fmla="*/ 435 w 474"/>
                <a:gd name="T79" fmla="*/ 356 h 617"/>
                <a:gd name="T80" fmla="*/ 453 w 474"/>
                <a:gd name="T81" fmla="*/ 317 h 617"/>
                <a:gd name="T82" fmla="*/ 464 w 474"/>
                <a:gd name="T83" fmla="*/ 278 h 617"/>
                <a:gd name="T84" fmla="*/ 472 w 474"/>
                <a:gd name="T85" fmla="*/ 241 h 617"/>
                <a:gd name="T86" fmla="*/ 474 w 474"/>
                <a:gd name="T87" fmla="*/ 206 h 617"/>
                <a:gd name="T88" fmla="*/ 473 w 474"/>
                <a:gd name="T89" fmla="*/ 185 h 617"/>
                <a:gd name="T90" fmla="*/ 463 w 474"/>
                <a:gd name="T91" fmla="*/ 145 h 617"/>
                <a:gd name="T92" fmla="*/ 445 w 474"/>
                <a:gd name="T93" fmla="*/ 107 h 617"/>
                <a:gd name="T94" fmla="*/ 419 w 474"/>
                <a:gd name="T95" fmla="*/ 74 h 617"/>
                <a:gd name="T96" fmla="*/ 387 w 474"/>
                <a:gd name="T97" fmla="*/ 47 h 617"/>
                <a:gd name="T98" fmla="*/ 350 w 474"/>
                <a:gd name="T99" fmla="*/ 24 h 617"/>
                <a:gd name="T100" fmla="*/ 307 w 474"/>
                <a:gd name="T101" fmla="*/ 9 h 617"/>
                <a:gd name="T102" fmla="*/ 262 w 474"/>
                <a:gd name="T103" fmla="*/ 1 h 617"/>
                <a:gd name="T104" fmla="*/ 238 w 474"/>
                <a:gd name="T105"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74" h="617">
                  <a:moveTo>
                    <a:pt x="238" y="0"/>
                  </a:moveTo>
                  <a:lnTo>
                    <a:pt x="238" y="0"/>
                  </a:lnTo>
                  <a:lnTo>
                    <a:pt x="224" y="1"/>
                  </a:lnTo>
                  <a:lnTo>
                    <a:pt x="209" y="2"/>
                  </a:lnTo>
                  <a:lnTo>
                    <a:pt x="194" y="3"/>
                  </a:lnTo>
                  <a:lnTo>
                    <a:pt x="180" y="6"/>
                  </a:lnTo>
                  <a:lnTo>
                    <a:pt x="166" y="9"/>
                  </a:lnTo>
                  <a:lnTo>
                    <a:pt x="151" y="14"/>
                  </a:lnTo>
                  <a:lnTo>
                    <a:pt x="138" y="18"/>
                  </a:lnTo>
                  <a:lnTo>
                    <a:pt x="125" y="23"/>
                  </a:lnTo>
                  <a:lnTo>
                    <a:pt x="112" y="30"/>
                  </a:lnTo>
                  <a:lnTo>
                    <a:pt x="99" y="36"/>
                  </a:lnTo>
                  <a:lnTo>
                    <a:pt x="87" y="43"/>
                  </a:lnTo>
                  <a:lnTo>
                    <a:pt x="75" y="51"/>
                  </a:lnTo>
                  <a:lnTo>
                    <a:pt x="65" y="59"/>
                  </a:lnTo>
                  <a:lnTo>
                    <a:pt x="55" y="68"/>
                  </a:lnTo>
                  <a:lnTo>
                    <a:pt x="46" y="78"/>
                  </a:lnTo>
                  <a:lnTo>
                    <a:pt x="36" y="87"/>
                  </a:lnTo>
                  <a:lnTo>
                    <a:pt x="36" y="87"/>
                  </a:lnTo>
                  <a:lnTo>
                    <a:pt x="25" y="102"/>
                  </a:lnTo>
                  <a:lnTo>
                    <a:pt x="17" y="116"/>
                  </a:lnTo>
                  <a:lnTo>
                    <a:pt x="9" y="131"/>
                  </a:lnTo>
                  <a:lnTo>
                    <a:pt x="5" y="146"/>
                  </a:lnTo>
                  <a:lnTo>
                    <a:pt x="1" y="161"/>
                  </a:lnTo>
                  <a:lnTo>
                    <a:pt x="0" y="177"/>
                  </a:lnTo>
                  <a:lnTo>
                    <a:pt x="1" y="193"/>
                  </a:lnTo>
                  <a:lnTo>
                    <a:pt x="3" y="208"/>
                  </a:lnTo>
                  <a:lnTo>
                    <a:pt x="3" y="208"/>
                  </a:lnTo>
                  <a:lnTo>
                    <a:pt x="10" y="250"/>
                  </a:lnTo>
                  <a:lnTo>
                    <a:pt x="15" y="287"/>
                  </a:lnTo>
                  <a:lnTo>
                    <a:pt x="18" y="320"/>
                  </a:lnTo>
                  <a:lnTo>
                    <a:pt x="20" y="351"/>
                  </a:lnTo>
                  <a:lnTo>
                    <a:pt x="20" y="379"/>
                  </a:lnTo>
                  <a:lnTo>
                    <a:pt x="20" y="403"/>
                  </a:lnTo>
                  <a:lnTo>
                    <a:pt x="19" y="446"/>
                  </a:lnTo>
                  <a:lnTo>
                    <a:pt x="19" y="446"/>
                  </a:lnTo>
                  <a:lnTo>
                    <a:pt x="17" y="468"/>
                  </a:lnTo>
                  <a:lnTo>
                    <a:pt x="17" y="490"/>
                  </a:lnTo>
                  <a:lnTo>
                    <a:pt x="18" y="509"/>
                  </a:lnTo>
                  <a:lnTo>
                    <a:pt x="19" y="518"/>
                  </a:lnTo>
                  <a:lnTo>
                    <a:pt x="21" y="527"/>
                  </a:lnTo>
                  <a:lnTo>
                    <a:pt x="24" y="536"/>
                  </a:lnTo>
                  <a:lnTo>
                    <a:pt x="27" y="544"/>
                  </a:lnTo>
                  <a:lnTo>
                    <a:pt x="32" y="553"/>
                  </a:lnTo>
                  <a:lnTo>
                    <a:pt x="38" y="561"/>
                  </a:lnTo>
                  <a:lnTo>
                    <a:pt x="44" y="570"/>
                  </a:lnTo>
                  <a:lnTo>
                    <a:pt x="52" y="578"/>
                  </a:lnTo>
                  <a:lnTo>
                    <a:pt x="62" y="588"/>
                  </a:lnTo>
                  <a:lnTo>
                    <a:pt x="72" y="597"/>
                  </a:lnTo>
                  <a:lnTo>
                    <a:pt x="72" y="597"/>
                  </a:lnTo>
                  <a:lnTo>
                    <a:pt x="79" y="601"/>
                  </a:lnTo>
                  <a:lnTo>
                    <a:pt x="86" y="605"/>
                  </a:lnTo>
                  <a:lnTo>
                    <a:pt x="94" y="608"/>
                  </a:lnTo>
                  <a:lnTo>
                    <a:pt x="101" y="612"/>
                  </a:lnTo>
                  <a:lnTo>
                    <a:pt x="109" y="614"/>
                  </a:lnTo>
                  <a:lnTo>
                    <a:pt x="116" y="615"/>
                  </a:lnTo>
                  <a:lnTo>
                    <a:pt x="125" y="616"/>
                  </a:lnTo>
                  <a:lnTo>
                    <a:pt x="133" y="617"/>
                  </a:lnTo>
                  <a:lnTo>
                    <a:pt x="133" y="617"/>
                  </a:lnTo>
                  <a:lnTo>
                    <a:pt x="144" y="616"/>
                  </a:lnTo>
                  <a:lnTo>
                    <a:pt x="155" y="615"/>
                  </a:lnTo>
                  <a:lnTo>
                    <a:pt x="166" y="613"/>
                  </a:lnTo>
                  <a:lnTo>
                    <a:pt x="177" y="609"/>
                  </a:lnTo>
                  <a:lnTo>
                    <a:pt x="189" y="605"/>
                  </a:lnTo>
                  <a:lnTo>
                    <a:pt x="200" y="601"/>
                  </a:lnTo>
                  <a:lnTo>
                    <a:pt x="213" y="595"/>
                  </a:lnTo>
                  <a:lnTo>
                    <a:pt x="225" y="589"/>
                  </a:lnTo>
                  <a:lnTo>
                    <a:pt x="250" y="573"/>
                  </a:lnTo>
                  <a:lnTo>
                    <a:pt x="275" y="555"/>
                  </a:lnTo>
                  <a:lnTo>
                    <a:pt x="301" y="534"/>
                  </a:lnTo>
                  <a:lnTo>
                    <a:pt x="325" y="509"/>
                  </a:lnTo>
                  <a:lnTo>
                    <a:pt x="325" y="509"/>
                  </a:lnTo>
                  <a:lnTo>
                    <a:pt x="343" y="491"/>
                  </a:lnTo>
                  <a:lnTo>
                    <a:pt x="359" y="473"/>
                  </a:lnTo>
                  <a:lnTo>
                    <a:pt x="373" y="455"/>
                  </a:lnTo>
                  <a:lnTo>
                    <a:pt x="388" y="435"/>
                  </a:lnTo>
                  <a:lnTo>
                    <a:pt x="401" y="416"/>
                  </a:lnTo>
                  <a:lnTo>
                    <a:pt x="414" y="396"/>
                  </a:lnTo>
                  <a:lnTo>
                    <a:pt x="425" y="377"/>
                  </a:lnTo>
                  <a:lnTo>
                    <a:pt x="435" y="356"/>
                  </a:lnTo>
                  <a:lnTo>
                    <a:pt x="444" y="337"/>
                  </a:lnTo>
                  <a:lnTo>
                    <a:pt x="453" y="317"/>
                  </a:lnTo>
                  <a:lnTo>
                    <a:pt x="459" y="298"/>
                  </a:lnTo>
                  <a:lnTo>
                    <a:pt x="464" y="278"/>
                  </a:lnTo>
                  <a:lnTo>
                    <a:pt x="469" y="259"/>
                  </a:lnTo>
                  <a:lnTo>
                    <a:pt x="472" y="241"/>
                  </a:lnTo>
                  <a:lnTo>
                    <a:pt x="474" y="223"/>
                  </a:lnTo>
                  <a:lnTo>
                    <a:pt x="474" y="206"/>
                  </a:lnTo>
                  <a:lnTo>
                    <a:pt x="474" y="206"/>
                  </a:lnTo>
                  <a:lnTo>
                    <a:pt x="473" y="185"/>
                  </a:lnTo>
                  <a:lnTo>
                    <a:pt x="469" y="164"/>
                  </a:lnTo>
                  <a:lnTo>
                    <a:pt x="463" y="145"/>
                  </a:lnTo>
                  <a:lnTo>
                    <a:pt x="455" y="126"/>
                  </a:lnTo>
                  <a:lnTo>
                    <a:pt x="445" y="107"/>
                  </a:lnTo>
                  <a:lnTo>
                    <a:pt x="433" y="90"/>
                  </a:lnTo>
                  <a:lnTo>
                    <a:pt x="419" y="74"/>
                  </a:lnTo>
                  <a:lnTo>
                    <a:pt x="404" y="60"/>
                  </a:lnTo>
                  <a:lnTo>
                    <a:pt x="387" y="47"/>
                  </a:lnTo>
                  <a:lnTo>
                    <a:pt x="369" y="35"/>
                  </a:lnTo>
                  <a:lnTo>
                    <a:pt x="350" y="24"/>
                  </a:lnTo>
                  <a:lnTo>
                    <a:pt x="329" y="16"/>
                  </a:lnTo>
                  <a:lnTo>
                    <a:pt x="307" y="9"/>
                  </a:lnTo>
                  <a:lnTo>
                    <a:pt x="285" y="4"/>
                  </a:lnTo>
                  <a:lnTo>
                    <a:pt x="262" y="1"/>
                  </a:lnTo>
                  <a:lnTo>
                    <a:pt x="238" y="0"/>
                  </a:lnTo>
                  <a:lnTo>
                    <a:pt x="23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26" name="Group 25">
            <a:extLst>
              <a:ext uri="{FF2B5EF4-FFF2-40B4-BE49-F238E27FC236}">
                <a16:creationId xmlns:a16="http://schemas.microsoft.com/office/drawing/2014/main" id="{B6AC5C43-81D6-4047-9759-35C9AC798F13}"/>
              </a:ext>
            </a:extLst>
          </p:cNvPr>
          <p:cNvGrpSpPr/>
          <p:nvPr/>
        </p:nvGrpSpPr>
        <p:grpSpPr>
          <a:xfrm>
            <a:off x="9486952" y="1422460"/>
            <a:ext cx="673100" cy="673100"/>
            <a:chOff x="9387986" y="3797445"/>
            <a:chExt cx="673100" cy="673100"/>
          </a:xfrm>
        </p:grpSpPr>
        <p:sp>
          <p:nvSpPr>
            <p:cNvPr id="27" name="Oval 26">
              <a:extLst>
                <a:ext uri="{FF2B5EF4-FFF2-40B4-BE49-F238E27FC236}">
                  <a16:creationId xmlns:a16="http://schemas.microsoft.com/office/drawing/2014/main" id="{3D190A0F-E2F5-440C-B4A0-2AAAA5BB7BA0}"/>
                </a:ext>
              </a:extLst>
            </p:cNvPr>
            <p:cNvSpPr/>
            <p:nvPr/>
          </p:nvSpPr>
          <p:spPr>
            <a:xfrm>
              <a:off x="9387986" y="3797445"/>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28" name="Group 27">
              <a:extLst>
                <a:ext uri="{FF2B5EF4-FFF2-40B4-BE49-F238E27FC236}">
                  <a16:creationId xmlns:a16="http://schemas.microsoft.com/office/drawing/2014/main" id="{BA6ADD45-93FB-4CBD-8486-BE9FDF9EE1AA}"/>
                </a:ext>
              </a:extLst>
            </p:cNvPr>
            <p:cNvGrpSpPr>
              <a:grpSpLocks noChangeAspect="1"/>
            </p:cNvGrpSpPr>
            <p:nvPr/>
          </p:nvGrpSpPr>
          <p:grpSpPr>
            <a:xfrm>
              <a:off x="9543776" y="3951035"/>
              <a:ext cx="348926" cy="399429"/>
              <a:chOff x="187325" y="3609975"/>
              <a:chExt cx="482600" cy="552451"/>
            </a:xfrm>
            <a:solidFill>
              <a:schemeClr val="tx2"/>
            </a:solidFill>
          </p:grpSpPr>
          <p:sp>
            <p:nvSpPr>
              <p:cNvPr id="29" name="Freeform 65">
                <a:extLst>
                  <a:ext uri="{FF2B5EF4-FFF2-40B4-BE49-F238E27FC236}">
                    <a16:creationId xmlns:a16="http://schemas.microsoft.com/office/drawing/2014/main" id="{2E2EF5B1-21C1-4927-B7DC-F56DC91BC3FD}"/>
                  </a:ext>
                </a:extLst>
              </p:cNvPr>
              <p:cNvSpPr>
                <a:spLocks/>
              </p:cNvSpPr>
              <p:nvPr/>
            </p:nvSpPr>
            <p:spPr bwMode="auto">
              <a:xfrm>
                <a:off x="473075" y="3609975"/>
                <a:ext cx="196850" cy="325438"/>
              </a:xfrm>
              <a:custGeom>
                <a:avLst/>
                <a:gdLst>
                  <a:gd name="T0" fmla="*/ 274 w 492"/>
                  <a:gd name="T1" fmla="*/ 1 h 822"/>
                  <a:gd name="T2" fmla="*/ 246 w 492"/>
                  <a:gd name="T3" fmla="*/ 1 h 822"/>
                  <a:gd name="T4" fmla="*/ 219 w 492"/>
                  <a:gd name="T5" fmla="*/ 3 h 822"/>
                  <a:gd name="T6" fmla="*/ 195 w 492"/>
                  <a:gd name="T7" fmla="*/ 8 h 822"/>
                  <a:gd name="T8" fmla="*/ 170 w 492"/>
                  <a:gd name="T9" fmla="*/ 17 h 822"/>
                  <a:gd name="T10" fmla="*/ 148 w 492"/>
                  <a:gd name="T11" fmla="*/ 29 h 822"/>
                  <a:gd name="T12" fmla="*/ 126 w 492"/>
                  <a:gd name="T13" fmla="*/ 43 h 822"/>
                  <a:gd name="T14" fmla="*/ 106 w 492"/>
                  <a:gd name="T15" fmla="*/ 60 h 822"/>
                  <a:gd name="T16" fmla="*/ 88 w 492"/>
                  <a:gd name="T17" fmla="*/ 79 h 822"/>
                  <a:gd name="T18" fmla="*/ 71 w 492"/>
                  <a:gd name="T19" fmla="*/ 101 h 822"/>
                  <a:gd name="T20" fmla="*/ 55 w 492"/>
                  <a:gd name="T21" fmla="*/ 126 h 822"/>
                  <a:gd name="T22" fmla="*/ 41 w 492"/>
                  <a:gd name="T23" fmla="*/ 153 h 822"/>
                  <a:gd name="T24" fmla="*/ 19 w 492"/>
                  <a:gd name="T25" fmla="*/ 213 h 822"/>
                  <a:gd name="T26" fmla="*/ 4 w 492"/>
                  <a:gd name="T27" fmla="*/ 280 h 822"/>
                  <a:gd name="T28" fmla="*/ 1 w 492"/>
                  <a:gd name="T29" fmla="*/ 318 h 822"/>
                  <a:gd name="T30" fmla="*/ 0 w 492"/>
                  <a:gd name="T31" fmla="*/ 375 h 822"/>
                  <a:gd name="T32" fmla="*/ 6 w 492"/>
                  <a:gd name="T33" fmla="*/ 435 h 822"/>
                  <a:gd name="T34" fmla="*/ 16 w 492"/>
                  <a:gd name="T35" fmla="*/ 495 h 822"/>
                  <a:gd name="T36" fmla="*/ 29 w 492"/>
                  <a:gd name="T37" fmla="*/ 555 h 822"/>
                  <a:gd name="T38" fmla="*/ 45 w 492"/>
                  <a:gd name="T39" fmla="*/ 641 h 822"/>
                  <a:gd name="T40" fmla="*/ 53 w 492"/>
                  <a:gd name="T41" fmla="*/ 695 h 822"/>
                  <a:gd name="T42" fmla="*/ 56 w 492"/>
                  <a:gd name="T43" fmla="*/ 748 h 822"/>
                  <a:gd name="T44" fmla="*/ 55 w 492"/>
                  <a:gd name="T45" fmla="*/ 772 h 822"/>
                  <a:gd name="T46" fmla="*/ 56 w 492"/>
                  <a:gd name="T47" fmla="*/ 781 h 822"/>
                  <a:gd name="T48" fmla="*/ 60 w 492"/>
                  <a:gd name="T49" fmla="*/ 788 h 822"/>
                  <a:gd name="T50" fmla="*/ 67 w 492"/>
                  <a:gd name="T51" fmla="*/ 795 h 822"/>
                  <a:gd name="T52" fmla="*/ 76 w 492"/>
                  <a:gd name="T53" fmla="*/ 797 h 822"/>
                  <a:gd name="T54" fmla="*/ 389 w 492"/>
                  <a:gd name="T55" fmla="*/ 822 h 822"/>
                  <a:gd name="T56" fmla="*/ 390 w 492"/>
                  <a:gd name="T57" fmla="*/ 822 h 822"/>
                  <a:gd name="T58" fmla="*/ 404 w 492"/>
                  <a:gd name="T59" fmla="*/ 817 h 822"/>
                  <a:gd name="T60" fmla="*/ 412 w 492"/>
                  <a:gd name="T61" fmla="*/ 807 h 822"/>
                  <a:gd name="T62" fmla="*/ 423 w 492"/>
                  <a:gd name="T63" fmla="*/ 770 h 822"/>
                  <a:gd name="T64" fmla="*/ 445 w 492"/>
                  <a:gd name="T65" fmla="*/ 683 h 822"/>
                  <a:gd name="T66" fmla="*/ 471 w 492"/>
                  <a:gd name="T67" fmla="*/ 556 h 822"/>
                  <a:gd name="T68" fmla="*/ 481 w 492"/>
                  <a:gd name="T69" fmla="*/ 481 h 822"/>
                  <a:gd name="T70" fmla="*/ 490 w 492"/>
                  <a:gd name="T71" fmla="*/ 401 h 822"/>
                  <a:gd name="T72" fmla="*/ 492 w 492"/>
                  <a:gd name="T73" fmla="*/ 359 h 822"/>
                  <a:gd name="T74" fmla="*/ 490 w 492"/>
                  <a:gd name="T75" fmla="*/ 279 h 822"/>
                  <a:gd name="T76" fmla="*/ 478 w 492"/>
                  <a:gd name="T77" fmla="*/ 208 h 822"/>
                  <a:gd name="T78" fmla="*/ 469 w 492"/>
                  <a:gd name="T79" fmla="*/ 176 h 822"/>
                  <a:gd name="T80" fmla="*/ 458 w 492"/>
                  <a:gd name="T81" fmla="*/ 146 h 822"/>
                  <a:gd name="T82" fmla="*/ 445 w 492"/>
                  <a:gd name="T83" fmla="*/ 119 h 822"/>
                  <a:gd name="T84" fmla="*/ 430 w 492"/>
                  <a:gd name="T85" fmla="*/ 94 h 822"/>
                  <a:gd name="T86" fmla="*/ 413 w 492"/>
                  <a:gd name="T87" fmla="*/ 72 h 822"/>
                  <a:gd name="T88" fmla="*/ 394 w 492"/>
                  <a:gd name="T89" fmla="*/ 52 h 822"/>
                  <a:gd name="T90" fmla="*/ 373 w 492"/>
                  <a:gd name="T91" fmla="*/ 36 h 822"/>
                  <a:gd name="T92" fmla="*/ 351 w 492"/>
                  <a:gd name="T93" fmla="*/ 22 h 822"/>
                  <a:gd name="T94" fmla="*/ 326 w 492"/>
                  <a:gd name="T95" fmla="*/ 12 h 822"/>
                  <a:gd name="T96" fmla="*/ 301 w 492"/>
                  <a:gd name="T97" fmla="*/ 5 h 822"/>
                  <a:gd name="T98" fmla="*/ 274 w 492"/>
                  <a:gd name="T99" fmla="*/ 1 h 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92" h="822">
                    <a:moveTo>
                      <a:pt x="274" y="1"/>
                    </a:moveTo>
                    <a:lnTo>
                      <a:pt x="274" y="1"/>
                    </a:lnTo>
                    <a:lnTo>
                      <a:pt x="260" y="0"/>
                    </a:lnTo>
                    <a:lnTo>
                      <a:pt x="246" y="1"/>
                    </a:lnTo>
                    <a:lnTo>
                      <a:pt x="233" y="1"/>
                    </a:lnTo>
                    <a:lnTo>
                      <a:pt x="219" y="3"/>
                    </a:lnTo>
                    <a:lnTo>
                      <a:pt x="206" y="5"/>
                    </a:lnTo>
                    <a:lnTo>
                      <a:pt x="195" y="8"/>
                    </a:lnTo>
                    <a:lnTo>
                      <a:pt x="182" y="13"/>
                    </a:lnTo>
                    <a:lnTo>
                      <a:pt x="170" y="17"/>
                    </a:lnTo>
                    <a:lnTo>
                      <a:pt x="158" y="22"/>
                    </a:lnTo>
                    <a:lnTo>
                      <a:pt x="148" y="29"/>
                    </a:lnTo>
                    <a:lnTo>
                      <a:pt x="137" y="35"/>
                    </a:lnTo>
                    <a:lnTo>
                      <a:pt x="126" y="43"/>
                    </a:lnTo>
                    <a:lnTo>
                      <a:pt x="116" y="51"/>
                    </a:lnTo>
                    <a:lnTo>
                      <a:pt x="106" y="60"/>
                    </a:lnTo>
                    <a:lnTo>
                      <a:pt x="96" y="69"/>
                    </a:lnTo>
                    <a:lnTo>
                      <a:pt x="88" y="79"/>
                    </a:lnTo>
                    <a:lnTo>
                      <a:pt x="78" y="90"/>
                    </a:lnTo>
                    <a:lnTo>
                      <a:pt x="71" y="101"/>
                    </a:lnTo>
                    <a:lnTo>
                      <a:pt x="62" y="113"/>
                    </a:lnTo>
                    <a:lnTo>
                      <a:pt x="55" y="126"/>
                    </a:lnTo>
                    <a:lnTo>
                      <a:pt x="48" y="139"/>
                    </a:lnTo>
                    <a:lnTo>
                      <a:pt x="41" y="153"/>
                    </a:lnTo>
                    <a:lnTo>
                      <a:pt x="29" y="182"/>
                    </a:lnTo>
                    <a:lnTo>
                      <a:pt x="19" y="213"/>
                    </a:lnTo>
                    <a:lnTo>
                      <a:pt x="11" y="246"/>
                    </a:lnTo>
                    <a:lnTo>
                      <a:pt x="4" y="280"/>
                    </a:lnTo>
                    <a:lnTo>
                      <a:pt x="1" y="318"/>
                    </a:lnTo>
                    <a:lnTo>
                      <a:pt x="1" y="318"/>
                    </a:lnTo>
                    <a:lnTo>
                      <a:pt x="0" y="347"/>
                    </a:lnTo>
                    <a:lnTo>
                      <a:pt x="0" y="375"/>
                    </a:lnTo>
                    <a:lnTo>
                      <a:pt x="2" y="405"/>
                    </a:lnTo>
                    <a:lnTo>
                      <a:pt x="6" y="435"/>
                    </a:lnTo>
                    <a:lnTo>
                      <a:pt x="11" y="465"/>
                    </a:lnTo>
                    <a:lnTo>
                      <a:pt x="16" y="495"/>
                    </a:lnTo>
                    <a:lnTo>
                      <a:pt x="29" y="555"/>
                    </a:lnTo>
                    <a:lnTo>
                      <a:pt x="29" y="555"/>
                    </a:lnTo>
                    <a:lnTo>
                      <a:pt x="41" y="612"/>
                    </a:lnTo>
                    <a:lnTo>
                      <a:pt x="45" y="641"/>
                    </a:lnTo>
                    <a:lnTo>
                      <a:pt x="49" y="669"/>
                    </a:lnTo>
                    <a:lnTo>
                      <a:pt x="53" y="695"/>
                    </a:lnTo>
                    <a:lnTo>
                      <a:pt x="56" y="722"/>
                    </a:lnTo>
                    <a:lnTo>
                      <a:pt x="56" y="748"/>
                    </a:lnTo>
                    <a:lnTo>
                      <a:pt x="55" y="772"/>
                    </a:lnTo>
                    <a:lnTo>
                      <a:pt x="55" y="772"/>
                    </a:lnTo>
                    <a:lnTo>
                      <a:pt x="55" y="777"/>
                    </a:lnTo>
                    <a:lnTo>
                      <a:pt x="56" y="781"/>
                    </a:lnTo>
                    <a:lnTo>
                      <a:pt x="58" y="785"/>
                    </a:lnTo>
                    <a:lnTo>
                      <a:pt x="60" y="788"/>
                    </a:lnTo>
                    <a:lnTo>
                      <a:pt x="63" y="792"/>
                    </a:lnTo>
                    <a:lnTo>
                      <a:pt x="67" y="795"/>
                    </a:lnTo>
                    <a:lnTo>
                      <a:pt x="71" y="796"/>
                    </a:lnTo>
                    <a:lnTo>
                      <a:pt x="76" y="797"/>
                    </a:lnTo>
                    <a:lnTo>
                      <a:pt x="389" y="822"/>
                    </a:lnTo>
                    <a:lnTo>
                      <a:pt x="389" y="822"/>
                    </a:lnTo>
                    <a:lnTo>
                      <a:pt x="390" y="822"/>
                    </a:lnTo>
                    <a:lnTo>
                      <a:pt x="390" y="822"/>
                    </a:lnTo>
                    <a:lnTo>
                      <a:pt x="398" y="821"/>
                    </a:lnTo>
                    <a:lnTo>
                      <a:pt x="404" y="817"/>
                    </a:lnTo>
                    <a:lnTo>
                      <a:pt x="409" y="813"/>
                    </a:lnTo>
                    <a:lnTo>
                      <a:pt x="412" y="807"/>
                    </a:lnTo>
                    <a:lnTo>
                      <a:pt x="412" y="807"/>
                    </a:lnTo>
                    <a:lnTo>
                      <a:pt x="423" y="770"/>
                    </a:lnTo>
                    <a:lnTo>
                      <a:pt x="433" y="733"/>
                    </a:lnTo>
                    <a:lnTo>
                      <a:pt x="445" y="683"/>
                    </a:lnTo>
                    <a:lnTo>
                      <a:pt x="458" y="624"/>
                    </a:lnTo>
                    <a:lnTo>
                      <a:pt x="471" y="556"/>
                    </a:lnTo>
                    <a:lnTo>
                      <a:pt x="476" y="519"/>
                    </a:lnTo>
                    <a:lnTo>
                      <a:pt x="481" y="481"/>
                    </a:lnTo>
                    <a:lnTo>
                      <a:pt x="486" y="442"/>
                    </a:lnTo>
                    <a:lnTo>
                      <a:pt x="490" y="401"/>
                    </a:lnTo>
                    <a:lnTo>
                      <a:pt x="490" y="401"/>
                    </a:lnTo>
                    <a:lnTo>
                      <a:pt x="492" y="359"/>
                    </a:lnTo>
                    <a:lnTo>
                      <a:pt x="492" y="319"/>
                    </a:lnTo>
                    <a:lnTo>
                      <a:pt x="490" y="279"/>
                    </a:lnTo>
                    <a:lnTo>
                      <a:pt x="485" y="243"/>
                    </a:lnTo>
                    <a:lnTo>
                      <a:pt x="478" y="208"/>
                    </a:lnTo>
                    <a:lnTo>
                      <a:pt x="474" y="192"/>
                    </a:lnTo>
                    <a:lnTo>
                      <a:pt x="469" y="176"/>
                    </a:lnTo>
                    <a:lnTo>
                      <a:pt x="463" y="161"/>
                    </a:lnTo>
                    <a:lnTo>
                      <a:pt x="458" y="146"/>
                    </a:lnTo>
                    <a:lnTo>
                      <a:pt x="451" y="133"/>
                    </a:lnTo>
                    <a:lnTo>
                      <a:pt x="445" y="119"/>
                    </a:lnTo>
                    <a:lnTo>
                      <a:pt x="438" y="106"/>
                    </a:lnTo>
                    <a:lnTo>
                      <a:pt x="430" y="94"/>
                    </a:lnTo>
                    <a:lnTo>
                      <a:pt x="422" y="82"/>
                    </a:lnTo>
                    <a:lnTo>
                      <a:pt x="413" y="72"/>
                    </a:lnTo>
                    <a:lnTo>
                      <a:pt x="403" y="62"/>
                    </a:lnTo>
                    <a:lnTo>
                      <a:pt x="394" y="52"/>
                    </a:lnTo>
                    <a:lnTo>
                      <a:pt x="384" y="44"/>
                    </a:lnTo>
                    <a:lnTo>
                      <a:pt x="373" y="36"/>
                    </a:lnTo>
                    <a:lnTo>
                      <a:pt x="363" y="29"/>
                    </a:lnTo>
                    <a:lnTo>
                      <a:pt x="351" y="22"/>
                    </a:lnTo>
                    <a:lnTo>
                      <a:pt x="339" y="17"/>
                    </a:lnTo>
                    <a:lnTo>
                      <a:pt x="326" y="12"/>
                    </a:lnTo>
                    <a:lnTo>
                      <a:pt x="315" y="8"/>
                    </a:lnTo>
                    <a:lnTo>
                      <a:pt x="301" y="5"/>
                    </a:lnTo>
                    <a:lnTo>
                      <a:pt x="288" y="3"/>
                    </a:lnTo>
                    <a:lnTo>
                      <a:pt x="274" y="1"/>
                    </a:lnTo>
                    <a:lnTo>
                      <a:pt x="274"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0" name="Freeform 66">
                <a:extLst>
                  <a:ext uri="{FF2B5EF4-FFF2-40B4-BE49-F238E27FC236}">
                    <a16:creationId xmlns:a16="http://schemas.microsoft.com/office/drawing/2014/main" id="{25B97353-2A86-4D10-BB91-5116DC5C2BF8}"/>
                  </a:ext>
                </a:extLst>
              </p:cNvPr>
              <p:cNvSpPr>
                <a:spLocks/>
              </p:cNvSpPr>
              <p:nvPr/>
            </p:nvSpPr>
            <p:spPr bwMode="auto">
              <a:xfrm>
                <a:off x="487363" y="3979863"/>
                <a:ext cx="144463" cy="111125"/>
              </a:xfrm>
              <a:custGeom>
                <a:avLst/>
                <a:gdLst>
                  <a:gd name="T0" fmla="*/ 344 w 364"/>
                  <a:gd name="T1" fmla="*/ 25 h 282"/>
                  <a:gd name="T2" fmla="*/ 30 w 364"/>
                  <a:gd name="T3" fmla="*/ 0 h 282"/>
                  <a:gd name="T4" fmla="*/ 30 w 364"/>
                  <a:gd name="T5" fmla="*/ 0 h 282"/>
                  <a:gd name="T6" fmla="*/ 25 w 364"/>
                  <a:gd name="T7" fmla="*/ 1 h 282"/>
                  <a:gd name="T8" fmla="*/ 21 w 364"/>
                  <a:gd name="T9" fmla="*/ 1 h 282"/>
                  <a:gd name="T10" fmla="*/ 17 w 364"/>
                  <a:gd name="T11" fmla="*/ 3 h 282"/>
                  <a:gd name="T12" fmla="*/ 13 w 364"/>
                  <a:gd name="T13" fmla="*/ 5 h 282"/>
                  <a:gd name="T14" fmla="*/ 10 w 364"/>
                  <a:gd name="T15" fmla="*/ 8 h 282"/>
                  <a:gd name="T16" fmla="*/ 8 w 364"/>
                  <a:gd name="T17" fmla="*/ 13 h 282"/>
                  <a:gd name="T18" fmla="*/ 7 w 364"/>
                  <a:gd name="T19" fmla="*/ 17 h 282"/>
                  <a:gd name="T20" fmla="*/ 6 w 364"/>
                  <a:gd name="T21" fmla="*/ 21 h 282"/>
                  <a:gd name="T22" fmla="*/ 0 w 364"/>
                  <a:gd name="T23" fmla="*/ 88 h 282"/>
                  <a:gd name="T24" fmla="*/ 0 w 364"/>
                  <a:gd name="T25" fmla="*/ 88 h 282"/>
                  <a:gd name="T26" fmla="*/ 0 w 364"/>
                  <a:gd name="T27" fmla="*/ 107 h 282"/>
                  <a:gd name="T28" fmla="*/ 1 w 364"/>
                  <a:gd name="T29" fmla="*/ 124 h 282"/>
                  <a:gd name="T30" fmla="*/ 5 w 364"/>
                  <a:gd name="T31" fmla="*/ 142 h 282"/>
                  <a:gd name="T32" fmla="*/ 9 w 364"/>
                  <a:gd name="T33" fmla="*/ 159 h 282"/>
                  <a:gd name="T34" fmla="*/ 15 w 364"/>
                  <a:gd name="T35" fmla="*/ 175 h 282"/>
                  <a:gd name="T36" fmla="*/ 23 w 364"/>
                  <a:gd name="T37" fmla="*/ 190 h 282"/>
                  <a:gd name="T38" fmla="*/ 32 w 364"/>
                  <a:gd name="T39" fmla="*/ 205 h 282"/>
                  <a:gd name="T40" fmla="*/ 43 w 364"/>
                  <a:gd name="T41" fmla="*/ 219 h 282"/>
                  <a:gd name="T42" fmla="*/ 55 w 364"/>
                  <a:gd name="T43" fmla="*/ 232 h 282"/>
                  <a:gd name="T44" fmla="*/ 68 w 364"/>
                  <a:gd name="T45" fmla="*/ 243 h 282"/>
                  <a:gd name="T46" fmla="*/ 82 w 364"/>
                  <a:gd name="T47" fmla="*/ 253 h 282"/>
                  <a:gd name="T48" fmla="*/ 97 w 364"/>
                  <a:gd name="T49" fmla="*/ 262 h 282"/>
                  <a:gd name="T50" fmla="*/ 113 w 364"/>
                  <a:gd name="T51" fmla="*/ 269 h 282"/>
                  <a:gd name="T52" fmla="*/ 130 w 364"/>
                  <a:gd name="T53" fmla="*/ 275 h 282"/>
                  <a:gd name="T54" fmla="*/ 147 w 364"/>
                  <a:gd name="T55" fmla="*/ 279 h 282"/>
                  <a:gd name="T56" fmla="*/ 165 w 364"/>
                  <a:gd name="T57" fmla="*/ 281 h 282"/>
                  <a:gd name="T58" fmla="*/ 165 w 364"/>
                  <a:gd name="T59" fmla="*/ 281 h 282"/>
                  <a:gd name="T60" fmla="*/ 180 w 364"/>
                  <a:gd name="T61" fmla="*/ 282 h 282"/>
                  <a:gd name="T62" fmla="*/ 180 w 364"/>
                  <a:gd name="T63" fmla="*/ 282 h 282"/>
                  <a:gd name="T64" fmla="*/ 197 w 364"/>
                  <a:gd name="T65" fmla="*/ 281 h 282"/>
                  <a:gd name="T66" fmla="*/ 213 w 364"/>
                  <a:gd name="T67" fmla="*/ 279 h 282"/>
                  <a:gd name="T68" fmla="*/ 230 w 364"/>
                  <a:gd name="T69" fmla="*/ 275 h 282"/>
                  <a:gd name="T70" fmla="*/ 245 w 364"/>
                  <a:gd name="T71" fmla="*/ 269 h 282"/>
                  <a:gd name="T72" fmla="*/ 261 w 364"/>
                  <a:gd name="T73" fmla="*/ 262 h 282"/>
                  <a:gd name="T74" fmla="*/ 275 w 364"/>
                  <a:gd name="T75" fmla="*/ 254 h 282"/>
                  <a:gd name="T76" fmla="*/ 289 w 364"/>
                  <a:gd name="T77" fmla="*/ 245 h 282"/>
                  <a:gd name="T78" fmla="*/ 301 w 364"/>
                  <a:gd name="T79" fmla="*/ 234 h 282"/>
                  <a:gd name="T80" fmla="*/ 313 w 364"/>
                  <a:gd name="T81" fmla="*/ 222 h 282"/>
                  <a:gd name="T82" fmla="*/ 323 w 364"/>
                  <a:gd name="T83" fmla="*/ 210 h 282"/>
                  <a:gd name="T84" fmla="*/ 333 w 364"/>
                  <a:gd name="T85" fmla="*/ 196 h 282"/>
                  <a:gd name="T86" fmla="*/ 340 w 364"/>
                  <a:gd name="T87" fmla="*/ 182 h 282"/>
                  <a:gd name="T88" fmla="*/ 347 w 364"/>
                  <a:gd name="T89" fmla="*/ 167 h 282"/>
                  <a:gd name="T90" fmla="*/ 352 w 364"/>
                  <a:gd name="T91" fmla="*/ 151 h 282"/>
                  <a:gd name="T92" fmla="*/ 357 w 364"/>
                  <a:gd name="T93" fmla="*/ 134 h 282"/>
                  <a:gd name="T94" fmla="*/ 359 w 364"/>
                  <a:gd name="T95" fmla="*/ 116 h 282"/>
                  <a:gd name="T96" fmla="*/ 364 w 364"/>
                  <a:gd name="T97" fmla="*/ 49 h 282"/>
                  <a:gd name="T98" fmla="*/ 364 w 364"/>
                  <a:gd name="T99" fmla="*/ 49 h 282"/>
                  <a:gd name="T100" fmla="*/ 364 w 364"/>
                  <a:gd name="T101" fmla="*/ 45 h 282"/>
                  <a:gd name="T102" fmla="*/ 363 w 364"/>
                  <a:gd name="T103" fmla="*/ 40 h 282"/>
                  <a:gd name="T104" fmla="*/ 361 w 364"/>
                  <a:gd name="T105" fmla="*/ 36 h 282"/>
                  <a:gd name="T106" fmla="*/ 359 w 364"/>
                  <a:gd name="T107" fmla="*/ 33 h 282"/>
                  <a:gd name="T108" fmla="*/ 355 w 364"/>
                  <a:gd name="T109" fmla="*/ 30 h 282"/>
                  <a:gd name="T110" fmla="*/ 352 w 364"/>
                  <a:gd name="T111" fmla="*/ 28 h 282"/>
                  <a:gd name="T112" fmla="*/ 348 w 364"/>
                  <a:gd name="T113" fmla="*/ 25 h 282"/>
                  <a:gd name="T114" fmla="*/ 344 w 364"/>
                  <a:gd name="T115" fmla="*/ 25 h 282"/>
                  <a:gd name="T116" fmla="*/ 344 w 364"/>
                  <a:gd name="T117" fmla="*/ 25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4" h="282">
                    <a:moveTo>
                      <a:pt x="344" y="25"/>
                    </a:moveTo>
                    <a:lnTo>
                      <a:pt x="30" y="0"/>
                    </a:lnTo>
                    <a:lnTo>
                      <a:pt x="30" y="0"/>
                    </a:lnTo>
                    <a:lnTo>
                      <a:pt x="25" y="1"/>
                    </a:lnTo>
                    <a:lnTo>
                      <a:pt x="21" y="1"/>
                    </a:lnTo>
                    <a:lnTo>
                      <a:pt x="17" y="3"/>
                    </a:lnTo>
                    <a:lnTo>
                      <a:pt x="13" y="5"/>
                    </a:lnTo>
                    <a:lnTo>
                      <a:pt x="10" y="8"/>
                    </a:lnTo>
                    <a:lnTo>
                      <a:pt x="8" y="13"/>
                    </a:lnTo>
                    <a:lnTo>
                      <a:pt x="7" y="17"/>
                    </a:lnTo>
                    <a:lnTo>
                      <a:pt x="6" y="21"/>
                    </a:lnTo>
                    <a:lnTo>
                      <a:pt x="0" y="88"/>
                    </a:lnTo>
                    <a:lnTo>
                      <a:pt x="0" y="88"/>
                    </a:lnTo>
                    <a:lnTo>
                      <a:pt x="0" y="107"/>
                    </a:lnTo>
                    <a:lnTo>
                      <a:pt x="1" y="124"/>
                    </a:lnTo>
                    <a:lnTo>
                      <a:pt x="5" y="142"/>
                    </a:lnTo>
                    <a:lnTo>
                      <a:pt x="9" y="159"/>
                    </a:lnTo>
                    <a:lnTo>
                      <a:pt x="15" y="175"/>
                    </a:lnTo>
                    <a:lnTo>
                      <a:pt x="23" y="190"/>
                    </a:lnTo>
                    <a:lnTo>
                      <a:pt x="32" y="205"/>
                    </a:lnTo>
                    <a:lnTo>
                      <a:pt x="43" y="219"/>
                    </a:lnTo>
                    <a:lnTo>
                      <a:pt x="55" y="232"/>
                    </a:lnTo>
                    <a:lnTo>
                      <a:pt x="68" y="243"/>
                    </a:lnTo>
                    <a:lnTo>
                      <a:pt x="82" y="253"/>
                    </a:lnTo>
                    <a:lnTo>
                      <a:pt x="97" y="262"/>
                    </a:lnTo>
                    <a:lnTo>
                      <a:pt x="113" y="269"/>
                    </a:lnTo>
                    <a:lnTo>
                      <a:pt x="130" y="275"/>
                    </a:lnTo>
                    <a:lnTo>
                      <a:pt x="147" y="279"/>
                    </a:lnTo>
                    <a:lnTo>
                      <a:pt x="165" y="281"/>
                    </a:lnTo>
                    <a:lnTo>
                      <a:pt x="165" y="281"/>
                    </a:lnTo>
                    <a:lnTo>
                      <a:pt x="180" y="282"/>
                    </a:lnTo>
                    <a:lnTo>
                      <a:pt x="180" y="282"/>
                    </a:lnTo>
                    <a:lnTo>
                      <a:pt x="197" y="281"/>
                    </a:lnTo>
                    <a:lnTo>
                      <a:pt x="213" y="279"/>
                    </a:lnTo>
                    <a:lnTo>
                      <a:pt x="230" y="275"/>
                    </a:lnTo>
                    <a:lnTo>
                      <a:pt x="245" y="269"/>
                    </a:lnTo>
                    <a:lnTo>
                      <a:pt x="261" y="262"/>
                    </a:lnTo>
                    <a:lnTo>
                      <a:pt x="275" y="254"/>
                    </a:lnTo>
                    <a:lnTo>
                      <a:pt x="289" y="245"/>
                    </a:lnTo>
                    <a:lnTo>
                      <a:pt x="301" y="234"/>
                    </a:lnTo>
                    <a:lnTo>
                      <a:pt x="313" y="222"/>
                    </a:lnTo>
                    <a:lnTo>
                      <a:pt x="323" y="210"/>
                    </a:lnTo>
                    <a:lnTo>
                      <a:pt x="333" y="196"/>
                    </a:lnTo>
                    <a:lnTo>
                      <a:pt x="340" y="182"/>
                    </a:lnTo>
                    <a:lnTo>
                      <a:pt x="347" y="167"/>
                    </a:lnTo>
                    <a:lnTo>
                      <a:pt x="352" y="151"/>
                    </a:lnTo>
                    <a:lnTo>
                      <a:pt x="357" y="134"/>
                    </a:lnTo>
                    <a:lnTo>
                      <a:pt x="359" y="116"/>
                    </a:lnTo>
                    <a:lnTo>
                      <a:pt x="364" y="49"/>
                    </a:lnTo>
                    <a:lnTo>
                      <a:pt x="364" y="49"/>
                    </a:lnTo>
                    <a:lnTo>
                      <a:pt x="364" y="45"/>
                    </a:lnTo>
                    <a:lnTo>
                      <a:pt x="363" y="40"/>
                    </a:lnTo>
                    <a:lnTo>
                      <a:pt x="361" y="36"/>
                    </a:lnTo>
                    <a:lnTo>
                      <a:pt x="359" y="33"/>
                    </a:lnTo>
                    <a:lnTo>
                      <a:pt x="355" y="30"/>
                    </a:lnTo>
                    <a:lnTo>
                      <a:pt x="352" y="28"/>
                    </a:lnTo>
                    <a:lnTo>
                      <a:pt x="348" y="25"/>
                    </a:lnTo>
                    <a:lnTo>
                      <a:pt x="344" y="25"/>
                    </a:lnTo>
                    <a:lnTo>
                      <a:pt x="344" y="2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67">
                <a:extLst>
                  <a:ext uri="{FF2B5EF4-FFF2-40B4-BE49-F238E27FC236}">
                    <a16:creationId xmlns:a16="http://schemas.microsoft.com/office/drawing/2014/main" id="{73A9E5AC-6934-4EC0-96DF-B82FEC76AF77}"/>
                  </a:ext>
                </a:extLst>
              </p:cNvPr>
              <p:cNvSpPr>
                <a:spLocks/>
              </p:cNvSpPr>
              <p:nvPr/>
            </p:nvSpPr>
            <p:spPr bwMode="auto">
              <a:xfrm>
                <a:off x="187325" y="3681413"/>
                <a:ext cx="196850" cy="325438"/>
              </a:xfrm>
              <a:custGeom>
                <a:avLst/>
                <a:gdLst>
                  <a:gd name="T0" fmla="*/ 216 w 492"/>
                  <a:gd name="T1" fmla="*/ 1 h 822"/>
                  <a:gd name="T2" fmla="*/ 189 w 492"/>
                  <a:gd name="T3" fmla="*/ 5 h 822"/>
                  <a:gd name="T4" fmla="*/ 164 w 492"/>
                  <a:gd name="T5" fmla="*/ 12 h 822"/>
                  <a:gd name="T6" fmla="*/ 139 w 492"/>
                  <a:gd name="T7" fmla="*/ 23 h 822"/>
                  <a:gd name="T8" fmla="*/ 118 w 492"/>
                  <a:gd name="T9" fmla="*/ 36 h 822"/>
                  <a:gd name="T10" fmla="*/ 96 w 492"/>
                  <a:gd name="T11" fmla="*/ 53 h 822"/>
                  <a:gd name="T12" fmla="*/ 78 w 492"/>
                  <a:gd name="T13" fmla="*/ 72 h 822"/>
                  <a:gd name="T14" fmla="*/ 61 w 492"/>
                  <a:gd name="T15" fmla="*/ 95 h 822"/>
                  <a:gd name="T16" fmla="*/ 46 w 492"/>
                  <a:gd name="T17" fmla="*/ 119 h 822"/>
                  <a:gd name="T18" fmla="*/ 33 w 492"/>
                  <a:gd name="T19" fmla="*/ 147 h 822"/>
                  <a:gd name="T20" fmla="*/ 22 w 492"/>
                  <a:gd name="T21" fmla="*/ 177 h 822"/>
                  <a:gd name="T22" fmla="*/ 13 w 492"/>
                  <a:gd name="T23" fmla="*/ 209 h 822"/>
                  <a:gd name="T24" fmla="*/ 2 w 492"/>
                  <a:gd name="T25" fmla="*/ 280 h 822"/>
                  <a:gd name="T26" fmla="*/ 0 w 492"/>
                  <a:gd name="T27" fmla="*/ 359 h 822"/>
                  <a:gd name="T28" fmla="*/ 2 w 492"/>
                  <a:gd name="T29" fmla="*/ 402 h 822"/>
                  <a:gd name="T30" fmla="*/ 11 w 492"/>
                  <a:gd name="T31" fmla="*/ 482 h 822"/>
                  <a:gd name="T32" fmla="*/ 21 w 492"/>
                  <a:gd name="T33" fmla="*/ 556 h 822"/>
                  <a:gd name="T34" fmla="*/ 48 w 492"/>
                  <a:gd name="T35" fmla="*/ 683 h 822"/>
                  <a:gd name="T36" fmla="*/ 70 w 492"/>
                  <a:gd name="T37" fmla="*/ 771 h 822"/>
                  <a:gd name="T38" fmla="*/ 81 w 492"/>
                  <a:gd name="T39" fmla="*/ 806 h 822"/>
                  <a:gd name="T40" fmla="*/ 90 w 492"/>
                  <a:gd name="T41" fmla="*/ 818 h 822"/>
                  <a:gd name="T42" fmla="*/ 103 w 492"/>
                  <a:gd name="T43" fmla="*/ 822 h 822"/>
                  <a:gd name="T44" fmla="*/ 105 w 492"/>
                  <a:gd name="T45" fmla="*/ 821 h 822"/>
                  <a:gd name="T46" fmla="*/ 418 w 492"/>
                  <a:gd name="T47" fmla="*/ 796 h 822"/>
                  <a:gd name="T48" fmla="*/ 427 w 492"/>
                  <a:gd name="T49" fmla="*/ 794 h 822"/>
                  <a:gd name="T50" fmla="*/ 433 w 492"/>
                  <a:gd name="T51" fmla="*/ 788 h 822"/>
                  <a:gd name="T52" fmla="*/ 437 w 492"/>
                  <a:gd name="T53" fmla="*/ 781 h 822"/>
                  <a:gd name="T54" fmla="*/ 439 w 492"/>
                  <a:gd name="T55" fmla="*/ 771 h 822"/>
                  <a:gd name="T56" fmla="*/ 437 w 492"/>
                  <a:gd name="T57" fmla="*/ 746 h 822"/>
                  <a:gd name="T58" fmla="*/ 440 w 492"/>
                  <a:gd name="T59" fmla="*/ 694 h 822"/>
                  <a:gd name="T60" fmla="*/ 447 w 492"/>
                  <a:gd name="T61" fmla="*/ 639 h 822"/>
                  <a:gd name="T62" fmla="*/ 464 w 492"/>
                  <a:gd name="T63" fmla="*/ 554 h 822"/>
                  <a:gd name="T64" fmla="*/ 476 w 492"/>
                  <a:gd name="T65" fmla="*/ 494 h 822"/>
                  <a:gd name="T66" fmla="*/ 486 w 492"/>
                  <a:gd name="T67" fmla="*/ 434 h 822"/>
                  <a:gd name="T68" fmla="*/ 492 w 492"/>
                  <a:gd name="T69" fmla="*/ 374 h 822"/>
                  <a:gd name="T70" fmla="*/ 491 w 492"/>
                  <a:gd name="T71" fmla="*/ 316 h 822"/>
                  <a:gd name="T72" fmla="*/ 487 w 492"/>
                  <a:gd name="T73" fmla="*/ 279 h 822"/>
                  <a:gd name="T74" fmla="*/ 472 w 492"/>
                  <a:gd name="T75" fmla="*/ 211 h 822"/>
                  <a:gd name="T76" fmla="*/ 450 w 492"/>
                  <a:gd name="T77" fmla="*/ 151 h 822"/>
                  <a:gd name="T78" fmla="*/ 436 w 492"/>
                  <a:gd name="T79" fmla="*/ 125 h 822"/>
                  <a:gd name="T80" fmla="*/ 420 w 492"/>
                  <a:gd name="T81" fmla="*/ 100 h 822"/>
                  <a:gd name="T82" fmla="*/ 403 w 492"/>
                  <a:gd name="T83" fmla="*/ 78 h 822"/>
                  <a:gd name="T84" fmla="*/ 385 w 492"/>
                  <a:gd name="T85" fmla="*/ 58 h 822"/>
                  <a:gd name="T86" fmla="*/ 365 w 492"/>
                  <a:gd name="T87" fmla="*/ 41 h 822"/>
                  <a:gd name="T88" fmla="*/ 343 w 492"/>
                  <a:gd name="T89" fmla="*/ 27 h 822"/>
                  <a:gd name="T90" fmla="*/ 320 w 492"/>
                  <a:gd name="T91" fmla="*/ 17 h 822"/>
                  <a:gd name="T92" fmla="*/ 296 w 492"/>
                  <a:gd name="T93" fmla="*/ 8 h 822"/>
                  <a:gd name="T94" fmla="*/ 271 w 492"/>
                  <a:gd name="T95" fmla="*/ 3 h 822"/>
                  <a:gd name="T96" fmla="*/ 244 w 492"/>
                  <a:gd name="T97" fmla="*/ 0 h 822"/>
                  <a:gd name="T98" fmla="*/ 216 w 492"/>
                  <a:gd name="T99" fmla="*/ 1 h 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92" h="822">
                    <a:moveTo>
                      <a:pt x="216" y="1"/>
                    </a:moveTo>
                    <a:lnTo>
                      <a:pt x="216" y="1"/>
                    </a:lnTo>
                    <a:lnTo>
                      <a:pt x="202" y="3"/>
                    </a:lnTo>
                    <a:lnTo>
                      <a:pt x="189" y="5"/>
                    </a:lnTo>
                    <a:lnTo>
                      <a:pt x="176" y="8"/>
                    </a:lnTo>
                    <a:lnTo>
                      <a:pt x="164" y="12"/>
                    </a:lnTo>
                    <a:lnTo>
                      <a:pt x="151" y="17"/>
                    </a:lnTo>
                    <a:lnTo>
                      <a:pt x="139" y="23"/>
                    </a:lnTo>
                    <a:lnTo>
                      <a:pt x="128" y="29"/>
                    </a:lnTo>
                    <a:lnTo>
                      <a:pt x="118" y="36"/>
                    </a:lnTo>
                    <a:lnTo>
                      <a:pt x="107" y="44"/>
                    </a:lnTo>
                    <a:lnTo>
                      <a:pt x="96" y="53"/>
                    </a:lnTo>
                    <a:lnTo>
                      <a:pt x="87" y="62"/>
                    </a:lnTo>
                    <a:lnTo>
                      <a:pt x="78" y="72"/>
                    </a:lnTo>
                    <a:lnTo>
                      <a:pt x="69" y="83"/>
                    </a:lnTo>
                    <a:lnTo>
                      <a:pt x="61" y="95"/>
                    </a:lnTo>
                    <a:lnTo>
                      <a:pt x="53" y="107"/>
                    </a:lnTo>
                    <a:lnTo>
                      <a:pt x="46" y="119"/>
                    </a:lnTo>
                    <a:lnTo>
                      <a:pt x="39" y="132"/>
                    </a:lnTo>
                    <a:lnTo>
                      <a:pt x="33" y="147"/>
                    </a:lnTo>
                    <a:lnTo>
                      <a:pt x="27" y="161"/>
                    </a:lnTo>
                    <a:lnTo>
                      <a:pt x="22" y="177"/>
                    </a:lnTo>
                    <a:lnTo>
                      <a:pt x="17" y="192"/>
                    </a:lnTo>
                    <a:lnTo>
                      <a:pt x="13" y="209"/>
                    </a:lnTo>
                    <a:lnTo>
                      <a:pt x="6" y="244"/>
                    </a:lnTo>
                    <a:lnTo>
                      <a:pt x="2" y="280"/>
                    </a:lnTo>
                    <a:lnTo>
                      <a:pt x="0" y="318"/>
                    </a:lnTo>
                    <a:lnTo>
                      <a:pt x="0" y="359"/>
                    </a:lnTo>
                    <a:lnTo>
                      <a:pt x="2" y="402"/>
                    </a:lnTo>
                    <a:lnTo>
                      <a:pt x="2" y="402"/>
                    </a:lnTo>
                    <a:lnTo>
                      <a:pt x="5" y="443"/>
                    </a:lnTo>
                    <a:lnTo>
                      <a:pt x="11" y="482"/>
                    </a:lnTo>
                    <a:lnTo>
                      <a:pt x="16" y="520"/>
                    </a:lnTo>
                    <a:lnTo>
                      <a:pt x="21" y="556"/>
                    </a:lnTo>
                    <a:lnTo>
                      <a:pt x="34" y="624"/>
                    </a:lnTo>
                    <a:lnTo>
                      <a:pt x="48" y="683"/>
                    </a:lnTo>
                    <a:lnTo>
                      <a:pt x="60" y="733"/>
                    </a:lnTo>
                    <a:lnTo>
                      <a:pt x="70" y="771"/>
                    </a:lnTo>
                    <a:lnTo>
                      <a:pt x="81" y="806"/>
                    </a:lnTo>
                    <a:lnTo>
                      <a:pt x="81" y="806"/>
                    </a:lnTo>
                    <a:lnTo>
                      <a:pt x="84" y="813"/>
                    </a:lnTo>
                    <a:lnTo>
                      <a:pt x="90" y="818"/>
                    </a:lnTo>
                    <a:lnTo>
                      <a:pt x="96" y="821"/>
                    </a:lnTo>
                    <a:lnTo>
                      <a:pt x="103" y="822"/>
                    </a:lnTo>
                    <a:lnTo>
                      <a:pt x="103" y="822"/>
                    </a:lnTo>
                    <a:lnTo>
                      <a:pt x="105" y="821"/>
                    </a:lnTo>
                    <a:lnTo>
                      <a:pt x="418" y="796"/>
                    </a:lnTo>
                    <a:lnTo>
                      <a:pt x="418" y="796"/>
                    </a:lnTo>
                    <a:lnTo>
                      <a:pt x="423" y="795"/>
                    </a:lnTo>
                    <a:lnTo>
                      <a:pt x="427" y="794"/>
                    </a:lnTo>
                    <a:lnTo>
                      <a:pt x="430" y="791"/>
                    </a:lnTo>
                    <a:lnTo>
                      <a:pt x="433" y="788"/>
                    </a:lnTo>
                    <a:lnTo>
                      <a:pt x="435" y="784"/>
                    </a:lnTo>
                    <a:lnTo>
                      <a:pt x="437" y="781"/>
                    </a:lnTo>
                    <a:lnTo>
                      <a:pt x="439" y="776"/>
                    </a:lnTo>
                    <a:lnTo>
                      <a:pt x="439" y="771"/>
                    </a:lnTo>
                    <a:lnTo>
                      <a:pt x="439" y="771"/>
                    </a:lnTo>
                    <a:lnTo>
                      <a:pt x="437" y="746"/>
                    </a:lnTo>
                    <a:lnTo>
                      <a:pt x="437" y="721"/>
                    </a:lnTo>
                    <a:lnTo>
                      <a:pt x="440" y="694"/>
                    </a:lnTo>
                    <a:lnTo>
                      <a:pt x="443" y="667"/>
                    </a:lnTo>
                    <a:lnTo>
                      <a:pt x="447" y="639"/>
                    </a:lnTo>
                    <a:lnTo>
                      <a:pt x="452" y="612"/>
                    </a:lnTo>
                    <a:lnTo>
                      <a:pt x="464" y="554"/>
                    </a:lnTo>
                    <a:lnTo>
                      <a:pt x="464" y="554"/>
                    </a:lnTo>
                    <a:lnTo>
                      <a:pt x="476" y="494"/>
                    </a:lnTo>
                    <a:lnTo>
                      <a:pt x="481" y="464"/>
                    </a:lnTo>
                    <a:lnTo>
                      <a:pt x="486" y="434"/>
                    </a:lnTo>
                    <a:lnTo>
                      <a:pt x="489" y="404"/>
                    </a:lnTo>
                    <a:lnTo>
                      <a:pt x="492" y="374"/>
                    </a:lnTo>
                    <a:lnTo>
                      <a:pt x="492" y="345"/>
                    </a:lnTo>
                    <a:lnTo>
                      <a:pt x="491" y="316"/>
                    </a:lnTo>
                    <a:lnTo>
                      <a:pt x="491" y="316"/>
                    </a:lnTo>
                    <a:lnTo>
                      <a:pt x="487" y="279"/>
                    </a:lnTo>
                    <a:lnTo>
                      <a:pt x="480" y="245"/>
                    </a:lnTo>
                    <a:lnTo>
                      <a:pt x="472" y="211"/>
                    </a:lnTo>
                    <a:lnTo>
                      <a:pt x="462" y="180"/>
                    </a:lnTo>
                    <a:lnTo>
                      <a:pt x="450" y="151"/>
                    </a:lnTo>
                    <a:lnTo>
                      <a:pt x="443" y="138"/>
                    </a:lnTo>
                    <a:lnTo>
                      <a:pt x="436" y="125"/>
                    </a:lnTo>
                    <a:lnTo>
                      <a:pt x="429" y="112"/>
                    </a:lnTo>
                    <a:lnTo>
                      <a:pt x="420" y="100"/>
                    </a:lnTo>
                    <a:lnTo>
                      <a:pt x="412" y="88"/>
                    </a:lnTo>
                    <a:lnTo>
                      <a:pt x="403" y="78"/>
                    </a:lnTo>
                    <a:lnTo>
                      <a:pt x="395" y="68"/>
                    </a:lnTo>
                    <a:lnTo>
                      <a:pt x="385" y="58"/>
                    </a:lnTo>
                    <a:lnTo>
                      <a:pt x="375" y="50"/>
                    </a:lnTo>
                    <a:lnTo>
                      <a:pt x="365" y="41"/>
                    </a:lnTo>
                    <a:lnTo>
                      <a:pt x="354" y="35"/>
                    </a:lnTo>
                    <a:lnTo>
                      <a:pt x="343" y="27"/>
                    </a:lnTo>
                    <a:lnTo>
                      <a:pt x="332" y="22"/>
                    </a:lnTo>
                    <a:lnTo>
                      <a:pt x="320" y="17"/>
                    </a:lnTo>
                    <a:lnTo>
                      <a:pt x="308" y="11"/>
                    </a:lnTo>
                    <a:lnTo>
                      <a:pt x="296" y="8"/>
                    </a:lnTo>
                    <a:lnTo>
                      <a:pt x="283" y="5"/>
                    </a:lnTo>
                    <a:lnTo>
                      <a:pt x="271" y="3"/>
                    </a:lnTo>
                    <a:lnTo>
                      <a:pt x="258" y="1"/>
                    </a:lnTo>
                    <a:lnTo>
                      <a:pt x="244" y="0"/>
                    </a:lnTo>
                    <a:lnTo>
                      <a:pt x="230" y="0"/>
                    </a:lnTo>
                    <a:lnTo>
                      <a:pt x="216" y="1"/>
                    </a:lnTo>
                    <a:lnTo>
                      <a:pt x="216"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68">
                <a:extLst>
                  <a:ext uri="{FF2B5EF4-FFF2-40B4-BE49-F238E27FC236}">
                    <a16:creationId xmlns:a16="http://schemas.microsoft.com/office/drawing/2014/main" id="{C5AFDF22-CDDD-430C-BA18-CA10DCCE9CCB}"/>
                  </a:ext>
                </a:extLst>
              </p:cNvPr>
              <p:cNvSpPr>
                <a:spLocks/>
              </p:cNvSpPr>
              <p:nvPr/>
            </p:nvSpPr>
            <p:spPr bwMode="auto">
              <a:xfrm>
                <a:off x="225425" y="4049713"/>
                <a:ext cx="144463" cy="112713"/>
              </a:xfrm>
              <a:custGeom>
                <a:avLst/>
                <a:gdLst>
                  <a:gd name="T0" fmla="*/ 359 w 365"/>
                  <a:gd name="T1" fmla="*/ 21 h 283"/>
                  <a:gd name="T2" fmla="*/ 359 w 365"/>
                  <a:gd name="T3" fmla="*/ 21 h 283"/>
                  <a:gd name="T4" fmla="*/ 357 w 365"/>
                  <a:gd name="T5" fmla="*/ 17 h 283"/>
                  <a:gd name="T6" fmla="*/ 356 w 365"/>
                  <a:gd name="T7" fmla="*/ 12 h 283"/>
                  <a:gd name="T8" fmla="*/ 353 w 365"/>
                  <a:gd name="T9" fmla="*/ 8 h 283"/>
                  <a:gd name="T10" fmla="*/ 351 w 365"/>
                  <a:gd name="T11" fmla="*/ 5 h 283"/>
                  <a:gd name="T12" fmla="*/ 347 w 365"/>
                  <a:gd name="T13" fmla="*/ 3 h 283"/>
                  <a:gd name="T14" fmla="*/ 344 w 365"/>
                  <a:gd name="T15" fmla="*/ 0 h 283"/>
                  <a:gd name="T16" fmla="*/ 339 w 365"/>
                  <a:gd name="T17" fmla="*/ 0 h 283"/>
                  <a:gd name="T18" fmla="*/ 334 w 365"/>
                  <a:gd name="T19" fmla="*/ 0 h 283"/>
                  <a:gd name="T20" fmla="*/ 20 w 365"/>
                  <a:gd name="T21" fmla="*/ 26 h 283"/>
                  <a:gd name="T22" fmla="*/ 20 w 365"/>
                  <a:gd name="T23" fmla="*/ 26 h 283"/>
                  <a:gd name="T24" fmla="*/ 16 w 365"/>
                  <a:gd name="T25" fmla="*/ 27 h 283"/>
                  <a:gd name="T26" fmla="*/ 12 w 365"/>
                  <a:gd name="T27" fmla="*/ 28 h 283"/>
                  <a:gd name="T28" fmla="*/ 9 w 365"/>
                  <a:gd name="T29" fmla="*/ 32 h 283"/>
                  <a:gd name="T30" fmla="*/ 5 w 365"/>
                  <a:gd name="T31" fmla="*/ 34 h 283"/>
                  <a:gd name="T32" fmla="*/ 3 w 365"/>
                  <a:gd name="T33" fmla="*/ 38 h 283"/>
                  <a:gd name="T34" fmla="*/ 1 w 365"/>
                  <a:gd name="T35" fmla="*/ 41 h 283"/>
                  <a:gd name="T36" fmla="*/ 0 w 365"/>
                  <a:gd name="T37" fmla="*/ 45 h 283"/>
                  <a:gd name="T38" fmla="*/ 0 w 365"/>
                  <a:gd name="T39" fmla="*/ 51 h 283"/>
                  <a:gd name="T40" fmla="*/ 5 w 365"/>
                  <a:gd name="T41" fmla="*/ 118 h 283"/>
                  <a:gd name="T42" fmla="*/ 5 w 365"/>
                  <a:gd name="T43" fmla="*/ 118 h 283"/>
                  <a:gd name="T44" fmla="*/ 8 w 365"/>
                  <a:gd name="T45" fmla="*/ 134 h 283"/>
                  <a:gd name="T46" fmla="*/ 12 w 365"/>
                  <a:gd name="T47" fmla="*/ 151 h 283"/>
                  <a:gd name="T48" fmla="*/ 17 w 365"/>
                  <a:gd name="T49" fmla="*/ 167 h 283"/>
                  <a:gd name="T50" fmla="*/ 24 w 365"/>
                  <a:gd name="T51" fmla="*/ 182 h 283"/>
                  <a:gd name="T52" fmla="*/ 32 w 365"/>
                  <a:gd name="T53" fmla="*/ 197 h 283"/>
                  <a:gd name="T54" fmla="*/ 42 w 365"/>
                  <a:gd name="T55" fmla="*/ 210 h 283"/>
                  <a:gd name="T56" fmla="*/ 51 w 365"/>
                  <a:gd name="T57" fmla="*/ 223 h 283"/>
                  <a:gd name="T58" fmla="*/ 63 w 365"/>
                  <a:gd name="T59" fmla="*/ 235 h 283"/>
                  <a:gd name="T60" fmla="*/ 76 w 365"/>
                  <a:gd name="T61" fmla="*/ 246 h 283"/>
                  <a:gd name="T62" fmla="*/ 89 w 365"/>
                  <a:gd name="T63" fmla="*/ 255 h 283"/>
                  <a:gd name="T64" fmla="*/ 104 w 365"/>
                  <a:gd name="T65" fmla="*/ 263 h 283"/>
                  <a:gd name="T66" fmla="*/ 119 w 365"/>
                  <a:gd name="T67" fmla="*/ 270 h 283"/>
                  <a:gd name="T68" fmla="*/ 135 w 365"/>
                  <a:gd name="T69" fmla="*/ 276 h 283"/>
                  <a:gd name="T70" fmla="*/ 151 w 365"/>
                  <a:gd name="T71" fmla="*/ 279 h 283"/>
                  <a:gd name="T72" fmla="*/ 167 w 365"/>
                  <a:gd name="T73" fmla="*/ 282 h 283"/>
                  <a:gd name="T74" fmla="*/ 185 w 365"/>
                  <a:gd name="T75" fmla="*/ 283 h 283"/>
                  <a:gd name="T76" fmla="*/ 185 w 365"/>
                  <a:gd name="T77" fmla="*/ 283 h 283"/>
                  <a:gd name="T78" fmla="*/ 185 w 365"/>
                  <a:gd name="T79" fmla="*/ 283 h 283"/>
                  <a:gd name="T80" fmla="*/ 185 w 365"/>
                  <a:gd name="T81" fmla="*/ 283 h 283"/>
                  <a:gd name="T82" fmla="*/ 200 w 365"/>
                  <a:gd name="T83" fmla="*/ 282 h 283"/>
                  <a:gd name="T84" fmla="*/ 200 w 365"/>
                  <a:gd name="T85" fmla="*/ 282 h 283"/>
                  <a:gd name="T86" fmla="*/ 217 w 365"/>
                  <a:gd name="T87" fmla="*/ 280 h 283"/>
                  <a:gd name="T88" fmla="*/ 234 w 365"/>
                  <a:gd name="T89" fmla="*/ 276 h 283"/>
                  <a:gd name="T90" fmla="*/ 252 w 365"/>
                  <a:gd name="T91" fmla="*/ 270 h 283"/>
                  <a:gd name="T92" fmla="*/ 268 w 365"/>
                  <a:gd name="T93" fmla="*/ 263 h 283"/>
                  <a:gd name="T94" fmla="*/ 283 w 365"/>
                  <a:gd name="T95" fmla="*/ 254 h 283"/>
                  <a:gd name="T96" fmla="*/ 296 w 365"/>
                  <a:gd name="T97" fmla="*/ 243 h 283"/>
                  <a:gd name="T98" fmla="*/ 310 w 365"/>
                  <a:gd name="T99" fmla="*/ 232 h 283"/>
                  <a:gd name="T100" fmla="*/ 322 w 365"/>
                  <a:gd name="T101" fmla="*/ 219 h 283"/>
                  <a:gd name="T102" fmla="*/ 322 w 365"/>
                  <a:gd name="T103" fmla="*/ 219 h 283"/>
                  <a:gd name="T104" fmla="*/ 333 w 365"/>
                  <a:gd name="T105" fmla="*/ 205 h 283"/>
                  <a:gd name="T106" fmla="*/ 342 w 365"/>
                  <a:gd name="T107" fmla="*/ 190 h 283"/>
                  <a:gd name="T108" fmla="*/ 350 w 365"/>
                  <a:gd name="T109" fmla="*/ 174 h 283"/>
                  <a:gd name="T110" fmla="*/ 356 w 365"/>
                  <a:gd name="T111" fmla="*/ 158 h 283"/>
                  <a:gd name="T112" fmla="*/ 361 w 365"/>
                  <a:gd name="T113" fmla="*/ 141 h 283"/>
                  <a:gd name="T114" fmla="*/ 364 w 365"/>
                  <a:gd name="T115" fmla="*/ 124 h 283"/>
                  <a:gd name="T116" fmla="*/ 365 w 365"/>
                  <a:gd name="T117" fmla="*/ 105 h 283"/>
                  <a:gd name="T118" fmla="*/ 364 w 365"/>
                  <a:gd name="T119" fmla="*/ 88 h 283"/>
                  <a:gd name="T120" fmla="*/ 359 w 365"/>
                  <a:gd name="T121" fmla="*/ 21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5" h="283">
                    <a:moveTo>
                      <a:pt x="359" y="21"/>
                    </a:moveTo>
                    <a:lnTo>
                      <a:pt x="359" y="21"/>
                    </a:lnTo>
                    <a:lnTo>
                      <a:pt x="357" y="17"/>
                    </a:lnTo>
                    <a:lnTo>
                      <a:pt x="356" y="12"/>
                    </a:lnTo>
                    <a:lnTo>
                      <a:pt x="353" y="8"/>
                    </a:lnTo>
                    <a:lnTo>
                      <a:pt x="351" y="5"/>
                    </a:lnTo>
                    <a:lnTo>
                      <a:pt x="347" y="3"/>
                    </a:lnTo>
                    <a:lnTo>
                      <a:pt x="344" y="0"/>
                    </a:lnTo>
                    <a:lnTo>
                      <a:pt x="339" y="0"/>
                    </a:lnTo>
                    <a:lnTo>
                      <a:pt x="334" y="0"/>
                    </a:lnTo>
                    <a:lnTo>
                      <a:pt x="20" y="26"/>
                    </a:lnTo>
                    <a:lnTo>
                      <a:pt x="20" y="26"/>
                    </a:lnTo>
                    <a:lnTo>
                      <a:pt x="16" y="27"/>
                    </a:lnTo>
                    <a:lnTo>
                      <a:pt x="12" y="28"/>
                    </a:lnTo>
                    <a:lnTo>
                      <a:pt x="9" y="32"/>
                    </a:lnTo>
                    <a:lnTo>
                      <a:pt x="5" y="34"/>
                    </a:lnTo>
                    <a:lnTo>
                      <a:pt x="3" y="38"/>
                    </a:lnTo>
                    <a:lnTo>
                      <a:pt x="1" y="41"/>
                    </a:lnTo>
                    <a:lnTo>
                      <a:pt x="0" y="45"/>
                    </a:lnTo>
                    <a:lnTo>
                      <a:pt x="0" y="51"/>
                    </a:lnTo>
                    <a:lnTo>
                      <a:pt x="5" y="118"/>
                    </a:lnTo>
                    <a:lnTo>
                      <a:pt x="5" y="118"/>
                    </a:lnTo>
                    <a:lnTo>
                      <a:pt x="8" y="134"/>
                    </a:lnTo>
                    <a:lnTo>
                      <a:pt x="12" y="151"/>
                    </a:lnTo>
                    <a:lnTo>
                      <a:pt x="17" y="167"/>
                    </a:lnTo>
                    <a:lnTo>
                      <a:pt x="24" y="182"/>
                    </a:lnTo>
                    <a:lnTo>
                      <a:pt x="32" y="197"/>
                    </a:lnTo>
                    <a:lnTo>
                      <a:pt x="42" y="210"/>
                    </a:lnTo>
                    <a:lnTo>
                      <a:pt x="51" y="223"/>
                    </a:lnTo>
                    <a:lnTo>
                      <a:pt x="63" y="235"/>
                    </a:lnTo>
                    <a:lnTo>
                      <a:pt x="76" y="246"/>
                    </a:lnTo>
                    <a:lnTo>
                      <a:pt x="89" y="255"/>
                    </a:lnTo>
                    <a:lnTo>
                      <a:pt x="104" y="263"/>
                    </a:lnTo>
                    <a:lnTo>
                      <a:pt x="119" y="270"/>
                    </a:lnTo>
                    <a:lnTo>
                      <a:pt x="135" y="276"/>
                    </a:lnTo>
                    <a:lnTo>
                      <a:pt x="151" y="279"/>
                    </a:lnTo>
                    <a:lnTo>
                      <a:pt x="167" y="282"/>
                    </a:lnTo>
                    <a:lnTo>
                      <a:pt x="185" y="283"/>
                    </a:lnTo>
                    <a:lnTo>
                      <a:pt x="185" y="283"/>
                    </a:lnTo>
                    <a:lnTo>
                      <a:pt x="185" y="283"/>
                    </a:lnTo>
                    <a:lnTo>
                      <a:pt x="185" y="283"/>
                    </a:lnTo>
                    <a:lnTo>
                      <a:pt x="200" y="282"/>
                    </a:lnTo>
                    <a:lnTo>
                      <a:pt x="200" y="282"/>
                    </a:lnTo>
                    <a:lnTo>
                      <a:pt x="217" y="280"/>
                    </a:lnTo>
                    <a:lnTo>
                      <a:pt x="234" y="276"/>
                    </a:lnTo>
                    <a:lnTo>
                      <a:pt x="252" y="270"/>
                    </a:lnTo>
                    <a:lnTo>
                      <a:pt x="268" y="263"/>
                    </a:lnTo>
                    <a:lnTo>
                      <a:pt x="283" y="254"/>
                    </a:lnTo>
                    <a:lnTo>
                      <a:pt x="296" y="243"/>
                    </a:lnTo>
                    <a:lnTo>
                      <a:pt x="310" y="232"/>
                    </a:lnTo>
                    <a:lnTo>
                      <a:pt x="322" y="219"/>
                    </a:lnTo>
                    <a:lnTo>
                      <a:pt x="322" y="219"/>
                    </a:lnTo>
                    <a:lnTo>
                      <a:pt x="333" y="205"/>
                    </a:lnTo>
                    <a:lnTo>
                      <a:pt x="342" y="190"/>
                    </a:lnTo>
                    <a:lnTo>
                      <a:pt x="350" y="174"/>
                    </a:lnTo>
                    <a:lnTo>
                      <a:pt x="356" y="158"/>
                    </a:lnTo>
                    <a:lnTo>
                      <a:pt x="361" y="141"/>
                    </a:lnTo>
                    <a:lnTo>
                      <a:pt x="364" y="124"/>
                    </a:lnTo>
                    <a:lnTo>
                      <a:pt x="365" y="105"/>
                    </a:lnTo>
                    <a:lnTo>
                      <a:pt x="364" y="88"/>
                    </a:lnTo>
                    <a:lnTo>
                      <a:pt x="359" y="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33" name="Rectangle 32">
            <a:extLst>
              <a:ext uri="{FF2B5EF4-FFF2-40B4-BE49-F238E27FC236}">
                <a16:creationId xmlns:a16="http://schemas.microsoft.com/office/drawing/2014/main" id="{4B618FAB-EBFC-4CBE-A459-15DF78FDC607}"/>
              </a:ext>
            </a:extLst>
          </p:cNvPr>
          <p:cNvSpPr/>
          <p:nvPr/>
        </p:nvSpPr>
        <p:spPr>
          <a:xfrm>
            <a:off x="7957359" y="2119768"/>
            <a:ext cx="3710424" cy="261622"/>
          </a:xfrm>
          <a:prstGeom prst="rect">
            <a:avLst/>
          </a:prstGeom>
        </p:spPr>
        <p:txBody>
          <a:bodyPr vert="horz" lIns="91440" tIns="45720" rIns="91440" bIns="45720" rtlCol="0" anchor="t">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all" spc="200" normalizeH="0" baseline="0" noProof="0" dirty="0">
                <a:ln>
                  <a:noFill/>
                </a:ln>
                <a:solidFill>
                  <a:srgbClr val="000000"/>
                </a:solidFill>
                <a:effectLst/>
                <a:uLnTx/>
                <a:uFillTx/>
                <a:latin typeface="Open Sans"/>
                <a:ea typeface="Nexa Black" charset="0"/>
                <a:cs typeface="Nexa Black" charset="0"/>
              </a:rPr>
              <a:t>Prioritized recommendations</a:t>
            </a:r>
          </a:p>
        </p:txBody>
      </p:sp>
      <p:sp>
        <p:nvSpPr>
          <p:cNvPr id="34" name="Rectangle 217">
            <a:extLst>
              <a:ext uri="{FF2B5EF4-FFF2-40B4-BE49-F238E27FC236}">
                <a16:creationId xmlns:a16="http://schemas.microsoft.com/office/drawing/2014/main" id="{09E0E228-BD13-4ED8-8078-64F9B6E57912}"/>
              </a:ext>
            </a:extLst>
          </p:cNvPr>
          <p:cNvSpPr>
            <a:spLocks/>
          </p:cNvSpPr>
          <p:nvPr/>
        </p:nvSpPr>
        <p:spPr bwMode="auto">
          <a:xfrm>
            <a:off x="958491" y="3622953"/>
            <a:ext cx="1716796" cy="554479"/>
          </a:xfrm>
          <a:prstGeom prst="rect">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a:ea typeface="Frutiger Next Pro Light" charset="0"/>
                <a:cs typeface="Frutiger Next Pro Light" charset="0"/>
                <a:sym typeface="Lato Light" charset="0"/>
              </a:rPr>
              <a:t>Assessment of existing project planning against Deloitte’s checklist</a:t>
            </a:r>
          </a:p>
        </p:txBody>
      </p:sp>
      <p:sp>
        <p:nvSpPr>
          <p:cNvPr id="35" name="Rectangle 217">
            <a:extLst>
              <a:ext uri="{FF2B5EF4-FFF2-40B4-BE49-F238E27FC236}">
                <a16:creationId xmlns:a16="http://schemas.microsoft.com/office/drawing/2014/main" id="{C2317A74-7E81-4542-B30F-DB4A596BEB2A}"/>
              </a:ext>
            </a:extLst>
          </p:cNvPr>
          <p:cNvSpPr>
            <a:spLocks/>
          </p:cNvSpPr>
          <p:nvPr/>
        </p:nvSpPr>
        <p:spPr bwMode="auto">
          <a:xfrm>
            <a:off x="958491" y="5121480"/>
            <a:ext cx="3504576" cy="760437"/>
          </a:xfrm>
          <a:prstGeom prst="rect">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a:ea typeface="Frutiger Next Pro Light" charset="0"/>
                <a:cs typeface="Frutiger Next Pro Light" charset="0"/>
                <a:sym typeface="Lato Light" charset="0"/>
              </a:rPr>
              <a:t>Conduct discovery across documented business requirements, solution architecture &amp; design, infrastructure, development methodology, quality assurance &amp; release planning</a:t>
            </a:r>
          </a:p>
        </p:txBody>
      </p:sp>
      <p:sp>
        <p:nvSpPr>
          <p:cNvPr id="36" name="Rectangle 217">
            <a:extLst>
              <a:ext uri="{FF2B5EF4-FFF2-40B4-BE49-F238E27FC236}">
                <a16:creationId xmlns:a16="http://schemas.microsoft.com/office/drawing/2014/main" id="{8AB4A342-2803-4848-A1CC-4A71DC3CE819}"/>
              </a:ext>
            </a:extLst>
          </p:cNvPr>
          <p:cNvSpPr>
            <a:spLocks/>
          </p:cNvSpPr>
          <p:nvPr/>
        </p:nvSpPr>
        <p:spPr bwMode="auto">
          <a:xfrm>
            <a:off x="2746271" y="3622953"/>
            <a:ext cx="1716796" cy="554479"/>
          </a:xfrm>
          <a:prstGeom prst="rect">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a:ea typeface="Frutiger Next Pro Light" charset="0"/>
                <a:cs typeface="Frutiger Next Pro Light" charset="0"/>
                <a:sym typeface="Lato Light" charset="0"/>
              </a:rPr>
              <a:t>Align on KPIs and measurement strategy </a:t>
            </a:r>
          </a:p>
        </p:txBody>
      </p:sp>
      <p:sp>
        <p:nvSpPr>
          <p:cNvPr id="37" name="Rectangle 217">
            <a:extLst>
              <a:ext uri="{FF2B5EF4-FFF2-40B4-BE49-F238E27FC236}">
                <a16:creationId xmlns:a16="http://schemas.microsoft.com/office/drawing/2014/main" id="{23F21F1B-CB1A-46C1-B84D-58C8D2762576}"/>
              </a:ext>
            </a:extLst>
          </p:cNvPr>
          <p:cNvSpPr>
            <a:spLocks/>
          </p:cNvSpPr>
          <p:nvPr/>
        </p:nvSpPr>
        <p:spPr bwMode="auto">
          <a:xfrm>
            <a:off x="2746271" y="4264378"/>
            <a:ext cx="1716796" cy="554479"/>
          </a:xfrm>
          <a:prstGeom prst="rect">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a:ea typeface="Frutiger Next Pro Light" charset="0"/>
                <a:cs typeface="Frutiger Next Pro Light" charset="0"/>
                <a:sym typeface="Lato Light" charset="0"/>
              </a:rPr>
              <a:t>Solution architecture reviews</a:t>
            </a:r>
          </a:p>
        </p:txBody>
      </p:sp>
      <p:sp>
        <p:nvSpPr>
          <p:cNvPr id="38" name="Rectangle 217">
            <a:extLst>
              <a:ext uri="{FF2B5EF4-FFF2-40B4-BE49-F238E27FC236}">
                <a16:creationId xmlns:a16="http://schemas.microsoft.com/office/drawing/2014/main" id="{BE175FCE-CC10-4DF0-8BCE-BE0928DAE03C}"/>
              </a:ext>
            </a:extLst>
          </p:cNvPr>
          <p:cNvSpPr>
            <a:spLocks/>
          </p:cNvSpPr>
          <p:nvPr/>
        </p:nvSpPr>
        <p:spPr bwMode="auto">
          <a:xfrm>
            <a:off x="958491" y="4264378"/>
            <a:ext cx="1716796" cy="554479"/>
          </a:xfrm>
          <a:prstGeom prst="rect">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a:ea typeface="Frutiger Next Pro Light" charset="0"/>
                <a:cs typeface="Frutiger Next Pro Light" charset="0"/>
                <a:sym typeface="Lato Light" charset="0"/>
              </a:rPr>
              <a:t>Gain access to necessary systems</a:t>
            </a:r>
          </a:p>
        </p:txBody>
      </p:sp>
      <p:sp>
        <p:nvSpPr>
          <p:cNvPr id="39" name="Oval 38">
            <a:extLst>
              <a:ext uri="{FF2B5EF4-FFF2-40B4-BE49-F238E27FC236}">
                <a16:creationId xmlns:a16="http://schemas.microsoft.com/office/drawing/2014/main" id="{17D29682-BC14-4CA1-802D-20728550A3C5}"/>
              </a:ext>
            </a:extLst>
          </p:cNvPr>
          <p:cNvSpPr/>
          <p:nvPr/>
        </p:nvSpPr>
        <p:spPr>
          <a:xfrm>
            <a:off x="11282063" y="6079532"/>
            <a:ext cx="132659" cy="132659"/>
          </a:xfrm>
          <a:prstGeom prst="ellipse">
            <a:avLst/>
          </a:prstGeom>
          <a:noFill/>
          <a:ln w="2857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Open Sans"/>
            </a:endParaRPr>
          </a:p>
        </p:txBody>
      </p:sp>
      <p:sp>
        <p:nvSpPr>
          <p:cNvPr id="40" name="Oval 39">
            <a:extLst>
              <a:ext uri="{FF2B5EF4-FFF2-40B4-BE49-F238E27FC236}">
                <a16:creationId xmlns:a16="http://schemas.microsoft.com/office/drawing/2014/main" id="{B1DD5F62-7615-42C0-8210-339F9059B801}"/>
              </a:ext>
            </a:extLst>
          </p:cNvPr>
          <p:cNvSpPr/>
          <p:nvPr/>
        </p:nvSpPr>
        <p:spPr>
          <a:xfrm>
            <a:off x="5840497" y="6097462"/>
            <a:ext cx="132659" cy="132659"/>
          </a:xfrm>
          <a:prstGeom prst="ellipse">
            <a:avLst/>
          </a:prstGeom>
          <a:noFill/>
          <a:ln w="28575"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Open Sans"/>
            </a:endParaRPr>
          </a:p>
        </p:txBody>
      </p:sp>
      <p:sp>
        <p:nvSpPr>
          <p:cNvPr id="41" name="Rectangle 217">
            <a:extLst>
              <a:ext uri="{FF2B5EF4-FFF2-40B4-BE49-F238E27FC236}">
                <a16:creationId xmlns:a16="http://schemas.microsoft.com/office/drawing/2014/main" id="{224B4A56-3280-4455-8361-3D2796FE5BBF}"/>
              </a:ext>
            </a:extLst>
          </p:cNvPr>
          <p:cNvSpPr>
            <a:spLocks/>
          </p:cNvSpPr>
          <p:nvPr/>
        </p:nvSpPr>
        <p:spPr bwMode="auto">
          <a:xfrm>
            <a:off x="4513910" y="2922399"/>
            <a:ext cx="2968966" cy="649378"/>
          </a:xfrm>
          <a:prstGeom prst="rect">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a:ea typeface="Frutiger Next Pro Light" charset="0"/>
                <a:cs typeface="Frutiger Next Pro Light" charset="0"/>
                <a:sym typeface="Lato Light" charset="0"/>
              </a:rPr>
              <a:t>Review of use cases for target project scope against Deloitte Capability Maps</a:t>
            </a:r>
          </a:p>
        </p:txBody>
      </p:sp>
      <p:sp>
        <p:nvSpPr>
          <p:cNvPr id="42" name="Rectangle 217">
            <a:extLst>
              <a:ext uri="{FF2B5EF4-FFF2-40B4-BE49-F238E27FC236}">
                <a16:creationId xmlns:a16="http://schemas.microsoft.com/office/drawing/2014/main" id="{3C0500EB-6222-4973-AEA9-BEDEF726DC2C}"/>
              </a:ext>
            </a:extLst>
          </p:cNvPr>
          <p:cNvSpPr>
            <a:spLocks/>
          </p:cNvSpPr>
          <p:nvPr/>
        </p:nvSpPr>
        <p:spPr bwMode="auto">
          <a:xfrm>
            <a:off x="4513910" y="4264378"/>
            <a:ext cx="3446747" cy="554479"/>
          </a:xfrm>
          <a:prstGeom prst="rect">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a:ea typeface="Frutiger Next Pro Light" charset="0"/>
                <a:cs typeface="Frutiger Next Pro Light" charset="0"/>
                <a:sym typeface="Lato Light" charset="0"/>
              </a:rPr>
              <a:t>Develop high level future state solution roadmap</a:t>
            </a:r>
          </a:p>
        </p:txBody>
      </p:sp>
      <p:sp>
        <p:nvSpPr>
          <p:cNvPr id="43" name="Rectangle 217">
            <a:extLst>
              <a:ext uri="{FF2B5EF4-FFF2-40B4-BE49-F238E27FC236}">
                <a16:creationId xmlns:a16="http://schemas.microsoft.com/office/drawing/2014/main" id="{633018C5-3105-4CFA-80CB-FA760C7D9B0F}"/>
              </a:ext>
            </a:extLst>
          </p:cNvPr>
          <p:cNvSpPr>
            <a:spLocks/>
          </p:cNvSpPr>
          <p:nvPr/>
        </p:nvSpPr>
        <p:spPr bwMode="auto">
          <a:xfrm>
            <a:off x="8130164" y="2922399"/>
            <a:ext cx="3095108" cy="649378"/>
          </a:xfrm>
          <a:prstGeom prst="rect">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a:ea typeface="Frutiger Next Pro Light" charset="0"/>
                <a:cs typeface="Frutiger Next Pro Light" charset="0"/>
                <a:sym typeface="Lato Light" charset="0"/>
              </a:rPr>
              <a:t>Develop prioritized recommendations and present detailed findings</a:t>
            </a:r>
          </a:p>
        </p:txBody>
      </p:sp>
      <p:sp>
        <p:nvSpPr>
          <p:cNvPr id="46" name="Rectangle 217">
            <a:extLst>
              <a:ext uri="{FF2B5EF4-FFF2-40B4-BE49-F238E27FC236}">
                <a16:creationId xmlns:a16="http://schemas.microsoft.com/office/drawing/2014/main" id="{236889FE-96E7-47AF-8C10-91C7F217E19E}"/>
              </a:ext>
            </a:extLst>
          </p:cNvPr>
          <p:cNvSpPr>
            <a:spLocks/>
          </p:cNvSpPr>
          <p:nvPr/>
        </p:nvSpPr>
        <p:spPr bwMode="auto">
          <a:xfrm>
            <a:off x="4513910" y="5121480"/>
            <a:ext cx="3443449" cy="760437"/>
          </a:xfrm>
          <a:prstGeom prst="rect">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a:ea typeface="Frutiger Next Pro Light" charset="0"/>
                <a:cs typeface="Frutiger Next Pro Light" charset="0"/>
                <a:sym typeface="Lato Light" charset="0"/>
              </a:rPr>
              <a:t>Review existing approach to code quality, maintainability, front end development, templates, components, workflows , assets &amp; integrations</a:t>
            </a:r>
          </a:p>
        </p:txBody>
      </p:sp>
      <p:sp>
        <p:nvSpPr>
          <p:cNvPr id="47" name="Rectangle 217">
            <a:extLst>
              <a:ext uri="{FF2B5EF4-FFF2-40B4-BE49-F238E27FC236}">
                <a16:creationId xmlns:a16="http://schemas.microsoft.com/office/drawing/2014/main" id="{1B068896-0846-4D1E-B068-E55DDDBAFAE5}"/>
              </a:ext>
            </a:extLst>
          </p:cNvPr>
          <p:cNvSpPr>
            <a:spLocks/>
          </p:cNvSpPr>
          <p:nvPr/>
        </p:nvSpPr>
        <p:spPr bwMode="auto">
          <a:xfrm>
            <a:off x="8130164" y="5121480"/>
            <a:ext cx="3095108" cy="760437"/>
          </a:xfrm>
          <a:prstGeom prst="rect">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a:ea typeface="Frutiger Next Pro Light" charset="0"/>
                <a:cs typeface="Frutiger Next Pro Light" charset="0"/>
                <a:sym typeface="Lato Light" charset="0"/>
              </a:rPr>
              <a:t>Develop &amp; prioritize recommendations related to implementation guidelines based on best practices</a:t>
            </a:r>
          </a:p>
        </p:txBody>
      </p:sp>
      <p:sp>
        <p:nvSpPr>
          <p:cNvPr id="49" name="Rectangle 217">
            <a:extLst>
              <a:ext uri="{FF2B5EF4-FFF2-40B4-BE49-F238E27FC236}">
                <a16:creationId xmlns:a16="http://schemas.microsoft.com/office/drawing/2014/main" id="{C1A4DBFC-DF25-45FB-9B41-2D783287CF0B}"/>
              </a:ext>
            </a:extLst>
          </p:cNvPr>
          <p:cNvSpPr>
            <a:spLocks/>
          </p:cNvSpPr>
          <p:nvPr/>
        </p:nvSpPr>
        <p:spPr bwMode="auto">
          <a:xfrm>
            <a:off x="4513910" y="3622953"/>
            <a:ext cx="3446747" cy="554479"/>
          </a:xfrm>
          <a:prstGeom prst="rect">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a:ea typeface="Frutiger Next Pro Light" charset="0"/>
                <a:cs typeface="Frutiger Next Pro Light" charset="0"/>
                <a:sym typeface="Lato Light" charset="0"/>
              </a:rPr>
              <a:t>Define future state resource needs, project governance, high level processes and change management approach</a:t>
            </a:r>
          </a:p>
        </p:txBody>
      </p:sp>
    </p:spTree>
    <p:extLst>
      <p:ext uri="{BB962C8B-B14F-4D97-AF65-F5344CB8AC3E}">
        <p14:creationId xmlns:p14="http://schemas.microsoft.com/office/powerpoint/2010/main" val="84030539"/>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1A60CE8-3983-4C7E-A202-BA6465DD1C8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4740" name="think-cell Slide" r:id="rId6" imgW="415" imgH="416" progId="TCLayout.ActiveDocument.1">
                  <p:embed/>
                </p:oleObj>
              </mc:Choice>
              <mc:Fallback>
                <p:oleObj name="think-cell Slide" r:id="rId6" imgW="415" imgH="416" progId="TCLayout.ActiveDocument.1">
                  <p:embed/>
                  <p:pic>
                    <p:nvPicPr>
                      <p:cNvPr id="9" name="Object 8" hidden="1">
                        <a:extLst>
                          <a:ext uri="{FF2B5EF4-FFF2-40B4-BE49-F238E27FC236}">
                            <a16:creationId xmlns:a16="http://schemas.microsoft.com/office/drawing/2014/main" id="{41A60CE8-3983-4C7E-A202-BA6465DD1C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6665C66-B66A-4DFA-96A3-736F4133CA8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308F5707-F1A2-43AD-8D67-ABB762D702A0}"/>
              </a:ext>
            </a:extLst>
          </p:cNvPr>
          <p:cNvSpPr>
            <a:spLocks noGrp="1"/>
          </p:cNvSpPr>
          <p:nvPr>
            <p:ph type="title"/>
          </p:nvPr>
        </p:nvSpPr>
        <p:spPr/>
        <p:txBody>
          <a:bodyPr/>
          <a:lstStyle/>
          <a:p>
            <a:r>
              <a:rPr lang="en-US" dirty="0"/>
              <a:t>Roadmap</a:t>
            </a:r>
          </a:p>
        </p:txBody>
      </p:sp>
      <p:sp>
        <p:nvSpPr>
          <p:cNvPr id="3" name="Text Placeholder 2">
            <a:extLst>
              <a:ext uri="{FF2B5EF4-FFF2-40B4-BE49-F238E27FC236}">
                <a16:creationId xmlns:a16="http://schemas.microsoft.com/office/drawing/2014/main" id="{369ACF06-19A2-4688-9C33-9144228C1D81}"/>
              </a:ext>
            </a:extLst>
          </p:cNvPr>
          <p:cNvSpPr>
            <a:spLocks noGrp="1"/>
          </p:cNvSpPr>
          <p:nvPr>
            <p:ph type="body" sz="quarter" idx="14"/>
          </p:nvPr>
        </p:nvSpPr>
        <p:spPr>
          <a:xfrm>
            <a:off x="914721" y="1353312"/>
            <a:ext cx="6344678" cy="475488"/>
          </a:xfrm>
        </p:spPr>
        <p:txBody>
          <a:bodyPr/>
          <a:lstStyle/>
          <a:p>
            <a:r>
              <a:rPr lang="en-US" dirty="0"/>
              <a:t>Before installing supporting technologies and kicking off a revamped experience, the organization must define requirements and launch a mobile interface that can support location services and the distribution of information collected digitally</a:t>
            </a:r>
          </a:p>
          <a:p>
            <a:endParaRPr lang="en-US" dirty="0"/>
          </a:p>
        </p:txBody>
      </p:sp>
      <p:sp>
        <p:nvSpPr>
          <p:cNvPr id="4" name="Text Placeholder 3">
            <a:extLst>
              <a:ext uri="{FF2B5EF4-FFF2-40B4-BE49-F238E27FC236}">
                <a16:creationId xmlns:a16="http://schemas.microsoft.com/office/drawing/2014/main" id="{74FDA4A3-C934-469E-869B-D76AA8769B82}"/>
              </a:ext>
            </a:extLst>
          </p:cNvPr>
          <p:cNvSpPr>
            <a:spLocks noGrp="1"/>
          </p:cNvSpPr>
          <p:nvPr>
            <p:ph type="body" sz="quarter" idx="15"/>
          </p:nvPr>
        </p:nvSpPr>
        <p:spPr/>
        <p:txBody>
          <a:bodyPr/>
          <a:lstStyle/>
          <a:p>
            <a:r>
              <a:rPr lang="en-US" dirty="0"/>
              <a:t>Plans, timelines and roadmaps</a:t>
            </a:r>
          </a:p>
        </p:txBody>
      </p:sp>
      <p:sp>
        <p:nvSpPr>
          <p:cNvPr id="34" name="Rectangle 33">
            <a:extLst>
              <a:ext uri="{FF2B5EF4-FFF2-40B4-BE49-F238E27FC236}">
                <a16:creationId xmlns:a16="http://schemas.microsoft.com/office/drawing/2014/main" id="{98F7DAC3-4D49-4F95-88ED-6FD0DD4A41F9}"/>
              </a:ext>
            </a:extLst>
          </p:cNvPr>
          <p:cNvSpPr/>
          <p:nvPr/>
        </p:nvSpPr>
        <p:spPr>
          <a:xfrm>
            <a:off x="7424459" y="-32844"/>
            <a:ext cx="4767541" cy="6858000"/>
          </a:xfrm>
          <a:prstGeom prst="rect">
            <a:avLst/>
          </a:prstGeom>
          <a:solidFill>
            <a:srgbClr val="FBF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cxnSp>
        <p:nvCxnSpPr>
          <p:cNvPr id="35" name="Straight Connector 34">
            <a:extLst>
              <a:ext uri="{FF2B5EF4-FFF2-40B4-BE49-F238E27FC236}">
                <a16:creationId xmlns:a16="http://schemas.microsoft.com/office/drawing/2014/main" id="{34009729-B162-459D-8A14-B0FE6F6F0F37}"/>
              </a:ext>
            </a:extLst>
          </p:cNvPr>
          <p:cNvCxnSpPr/>
          <p:nvPr/>
        </p:nvCxnSpPr>
        <p:spPr>
          <a:xfrm flipH="1">
            <a:off x="7414131" y="-5148"/>
            <a:ext cx="0" cy="6869822"/>
          </a:xfrm>
          <a:prstGeom prst="line">
            <a:avLst/>
          </a:prstGeom>
          <a:ln w="1905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F350A894-FC3E-45D0-9216-F93B1BAC3FE6}"/>
              </a:ext>
            </a:extLst>
          </p:cNvPr>
          <p:cNvSpPr txBox="1"/>
          <p:nvPr/>
        </p:nvSpPr>
        <p:spPr>
          <a:xfrm>
            <a:off x="7592291" y="5233792"/>
            <a:ext cx="3685309" cy="307777"/>
          </a:xfrm>
          <a:prstGeom prst="rect">
            <a:avLst/>
          </a:prstGeom>
          <a:noFill/>
        </p:spPr>
        <p:txBody>
          <a:bodyPr wrap="square" rtlCol="0">
            <a:spAutoFit/>
          </a:bodyPr>
          <a:lstStyle/>
          <a:p>
            <a:pPr marL="36576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Open Sans"/>
                <a:ea typeface="+mn-ea"/>
                <a:cs typeface="+mn-cs"/>
              </a:rPr>
              <a:t>Additional Considerations</a:t>
            </a:r>
          </a:p>
        </p:txBody>
      </p:sp>
      <p:cxnSp>
        <p:nvCxnSpPr>
          <p:cNvPr id="37" name="Straight Connector 36">
            <a:extLst>
              <a:ext uri="{FF2B5EF4-FFF2-40B4-BE49-F238E27FC236}">
                <a16:creationId xmlns:a16="http://schemas.microsoft.com/office/drawing/2014/main" id="{080E1A74-24C7-4819-93C4-42E7CCD8C8DD}"/>
              </a:ext>
            </a:extLst>
          </p:cNvPr>
          <p:cNvCxnSpPr/>
          <p:nvPr/>
        </p:nvCxnSpPr>
        <p:spPr>
          <a:xfrm>
            <a:off x="7592291" y="5557097"/>
            <a:ext cx="3685309"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F1F5A93C-B936-49BE-9EBC-6E595F2B5D05}"/>
              </a:ext>
            </a:extLst>
          </p:cNvPr>
          <p:cNvSpPr txBox="1"/>
          <p:nvPr/>
        </p:nvSpPr>
        <p:spPr>
          <a:xfrm>
            <a:off x="7592291" y="5572626"/>
            <a:ext cx="3685309" cy="1092607"/>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Open Sans"/>
                <a:ea typeface="+mn-ea"/>
                <a:cs typeface="+mn-cs"/>
              </a:rPr>
              <a:t>Should define optimal balance of fan parking vs. rideshare utilization based on revenue and traffic consideration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Open Sans"/>
                <a:ea typeface="+mn-ea"/>
                <a:cs typeface="+mn-cs"/>
              </a:rPr>
              <a:t>Potential limitations of heat map camera placement based on city restrictions</a:t>
            </a:r>
          </a:p>
        </p:txBody>
      </p:sp>
      <p:grpSp>
        <p:nvGrpSpPr>
          <p:cNvPr id="39" name="Group 433">
            <a:extLst>
              <a:ext uri="{FF2B5EF4-FFF2-40B4-BE49-F238E27FC236}">
                <a16:creationId xmlns:a16="http://schemas.microsoft.com/office/drawing/2014/main" id="{7456F077-8E0F-447B-941D-7C43AD36ADEF}"/>
              </a:ext>
            </a:extLst>
          </p:cNvPr>
          <p:cNvGrpSpPr>
            <a:grpSpLocks noChangeAspect="1"/>
          </p:cNvGrpSpPr>
          <p:nvPr/>
        </p:nvGrpSpPr>
        <p:grpSpPr bwMode="auto">
          <a:xfrm>
            <a:off x="7599344" y="5192524"/>
            <a:ext cx="303340" cy="303340"/>
            <a:chOff x="4725" y="1820"/>
            <a:chExt cx="340" cy="340"/>
          </a:xfrm>
          <a:solidFill>
            <a:schemeClr val="tx1"/>
          </a:solidFill>
        </p:grpSpPr>
        <p:sp>
          <p:nvSpPr>
            <p:cNvPr id="40" name="Freeform 434">
              <a:extLst>
                <a:ext uri="{FF2B5EF4-FFF2-40B4-BE49-F238E27FC236}">
                  <a16:creationId xmlns:a16="http://schemas.microsoft.com/office/drawing/2014/main" id="{FD1015FE-BEC4-417F-9E0C-EC9989B15FFD}"/>
                </a:ext>
              </a:extLst>
            </p:cNvPr>
            <p:cNvSpPr>
              <a:spLocks noEditPoints="1"/>
            </p:cNvSpPr>
            <p:nvPr/>
          </p:nvSpPr>
          <p:spPr bwMode="auto">
            <a:xfrm>
              <a:off x="4845" y="1884"/>
              <a:ext cx="100" cy="212"/>
            </a:xfrm>
            <a:custGeom>
              <a:avLst/>
              <a:gdLst>
                <a:gd name="T0" fmla="*/ 139 w 150"/>
                <a:gd name="T1" fmla="*/ 320 h 320"/>
                <a:gd name="T2" fmla="*/ 11 w 150"/>
                <a:gd name="T3" fmla="*/ 320 h 320"/>
                <a:gd name="T4" fmla="*/ 0 w 150"/>
                <a:gd name="T5" fmla="*/ 310 h 320"/>
                <a:gd name="T6" fmla="*/ 0 w 150"/>
                <a:gd name="T7" fmla="*/ 267 h 320"/>
                <a:gd name="T8" fmla="*/ 11 w 150"/>
                <a:gd name="T9" fmla="*/ 256 h 320"/>
                <a:gd name="T10" fmla="*/ 43 w 150"/>
                <a:gd name="T11" fmla="*/ 256 h 320"/>
                <a:gd name="T12" fmla="*/ 43 w 150"/>
                <a:gd name="T13" fmla="*/ 171 h 320"/>
                <a:gd name="T14" fmla="*/ 22 w 150"/>
                <a:gd name="T15" fmla="*/ 171 h 320"/>
                <a:gd name="T16" fmla="*/ 11 w 150"/>
                <a:gd name="T17" fmla="*/ 160 h 320"/>
                <a:gd name="T18" fmla="*/ 11 w 150"/>
                <a:gd name="T19" fmla="*/ 118 h 320"/>
                <a:gd name="T20" fmla="*/ 22 w 150"/>
                <a:gd name="T21" fmla="*/ 107 h 320"/>
                <a:gd name="T22" fmla="*/ 96 w 150"/>
                <a:gd name="T23" fmla="*/ 107 h 320"/>
                <a:gd name="T24" fmla="*/ 107 w 150"/>
                <a:gd name="T25" fmla="*/ 118 h 320"/>
                <a:gd name="T26" fmla="*/ 107 w 150"/>
                <a:gd name="T27" fmla="*/ 256 h 320"/>
                <a:gd name="T28" fmla="*/ 139 w 150"/>
                <a:gd name="T29" fmla="*/ 256 h 320"/>
                <a:gd name="T30" fmla="*/ 150 w 150"/>
                <a:gd name="T31" fmla="*/ 267 h 320"/>
                <a:gd name="T32" fmla="*/ 150 w 150"/>
                <a:gd name="T33" fmla="*/ 310 h 320"/>
                <a:gd name="T34" fmla="*/ 139 w 150"/>
                <a:gd name="T35" fmla="*/ 320 h 320"/>
                <a:gd name="T36" fmla="*/ 22 w 150"/>
                <a:gd name="T37" fmla="*/ 299 h 320"/>
                <a:gd name="T38" fmla="*/ 128 w 150"/>
                <a:gd name="T39" fmla="*/ 299 h 320"/>
                <a:gd name="T40" fmla="*/ 128 w 150"/>
                <a:gd name="T41" fmla="*/ 278 h 320"/>
                <a:gd name="T42" fmla="*/ 96 w 150"/>
                <a:gd name="T43" fmla="*/ 278 h 320"/>
                <a:gd name="T44" fmla="*/ 86 w 150"/>
                <a:gd name="T45" fmla="*/ 267 h 320"/>
                <a:gd name="T46" fmla="*/ 86 w 150"/>
                <a:gd name="T47" fmla="*/ 128 h 320"/>
                <a:gd name="T48" fmla="*/ 32 w 150"/>
                <a:gd name="T49" fmla="*/ 128 h 320"/>
                <a:gd name="T50" fmla="*/ 32 w 150"/>
                <a:gd name="T51" fmla="*/ 150 h 320"/>
                <a:gd name="T52" fmla="*/ 54 w 150"/>
                <a:gd name="T53" fmla="*/ 150 h 320"/>
                <a:gd name="T54" fmla="*/ 64 w 150"/>
                <a:gd name="T55" fmla="*/ 160 h 320"/>
                <a:gd name="T56" fmla="*/ 64 w 150"/>
                <a:gd name="T57" fmla="*/ 267 h 320"/>
                <a:gd name="T58" fmla="*/ 54 w 150"/>
                <a:gd name="T59" fmla="*/ 278 h 320"/>
                <a:gd name="T60" fmla="*/ 22 w 150"/>
                <a:gd name="T61" fmla="*/ 278 h 320"/>
                <a:gd name="T62" fmla="*/ 22 w 150"/>
                <a:gd name="T63" fmla="*/ 299 h 320"/>
                <a:gd name="T64" fmla="*/ 75 w 150"/>
                <a:gd name="T65" fmla="*/ 86 h 320"/>
                <a:gd name="T66" fmla="*/ 32 w 150"/>
                <a:gd name="T67" fmla="*/ 43 h 320"/>
                <a:gd name="T68" fmla="*/ 75 w 150"/>
                <a:gd name="T69" fmla="*/ 0 h 320"/>
                <a:gd name="T70" fmla="*/ 118 w 150"/>
                <a:gd name="T71" fmla="*/ 43 h 320"/>
                <a:gd name="T72" fmla="*/ 75 w 150"/>
                <a:gd name="T73" fmla="*/ 86 h 320"/>
                <a:gd name="T74" fmla="*/ 75 w 150"/>
                <a:gd name="T75" fmla="*/ 22 h 320"/>
                <a:gd name="T76" fmla="*/ 54 w 150"/>
                <a:gd name="T77" fmla="*/ 43 h 320"/>
                <a:gd name="T78" fmla="*/ 75 w 150"/>
                <a:gd name="T79" fmla="*/ 64 h 320"/>
                <a:gd name="T80" fmla="*/ 96 w 150"/>
                <a:gd name="T81" fmla="*/ 43 h 320"/>
                <a:gd name="T82" fmla="*/ 75 w 150"/>
                <a:gd name="T83" fmla="*/ 2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320">
                  <a:moveTo>
                    <a:pt x="139" y="320"/>
                  </a:moveTo>
                  <a:cubicBezTo>
                    <a:pt x="11" y="320"/>
                    <a:pt x="11" y="320"/>
                    <a:pt x="11" y="320"/>
                  </a:cubicBezTo>
                  <a:cubicBezTo>
                    <a:pt x="5" y="320"/>
                    <a:pt x="0" y="316"/>
                    <a:pt x="0" y="310"/>
                  </a:cubicBezTo>
                  <a:cubicBezTo>
                    <a:pt x="0" y="267"/>
                    <a:pt x="0" y="267"/>
                    <a:pt x="0" y="267"/>
                  </a:cubicBezTo>
                  <a:cubicBezTo>
                    <a:pt x="0" y="261"/>
                    <a:pt x="5" y="256"/>
                    <a:pt x="11" y="256"/>
                  </a:cubicBezTo>
                  <a:cubicBezTo>
                    <a:pt x="43" y="256"/>
                    <a:pt x="43" y="256"/>
                    <a:pt x="43" y="256"/>
                  </a:cubicBezTo>
                  <a:cubicBezTo>
                    <a:pt x="43" y="171"/>
                    <a:pt x="43" y="171"/>
                    <a:pt x="43" y="171"/>
                  </a:cubicBezTo>
                  <a:cubicBezTo>
                    <a:pt x="22" y="171"/>
                    <a:pt x="22" y="171"/>
                    <a:pt x="22" y="171"/>
                  </a:cubicBezTo>
                  <a:cubicBezTo>
                    <a:pt x="16" y="171"/>
                    <a:pt x="11" y="166"/>
                    <a:pt x="11" y="160"/>
                  </a:cubicBezTo>
                  <a:cubicBezTo>
                    <a:pt x="11" y="118"/>
                    <a:pt x="11" y="118"/>
                    <a:pt x="11" y="118"/>
                  </a:cubicBezTo>
                  <a:cubicBezTo>
                    <a:pt x="11" y="112"/>
                    <a:pt x="16" y="107"/>
                    <a:pt x="22" y="107"/>
                  </a:cubicBezTo>
                  <a:cubicBezTo>
                    <a:pt x="96" y="107"/>
                    <a:pt x="96" y="107"/>
                    <a:pt x="96" y="107"/>
                  </a:cubicBezTo>
                  <a:cubicBezTo>
                    <a:pt x="102" y="107"/>
                    <a:pt x="107" y="112"/>
                    <a:pt x="107" y="118"/>
                  </a:cubicBezTo>
                  <a:cubicBezTo>
                    <a:pt x="107" y="256"/>
                    <a:pt x="107" y="256"/>
                    <a:pt x="107" y="256"/>
                  </a:cubicBezTo>
                  <a:cubicBezTo>
                    <a:pt x="139" y="256"/>
                    <a:pt x="139" y="256"/>
                    <a:pt x="139" y="256"/>
                  </a:cubicBezTo>
                  <a:cubicBezTo>
                    <a:pt x="145" y="256"/>
                    <a:pt x="150" y="261"/>
                    <a:pt x="150" y="267"/>
                  </a:cubicBezTo>
                  <a:cubicBezTo>
                    <a:pt x="150" y="310"/>
                    <a:pt x="150" y="310"/>
                    <a:pt x="150" y="310"/>
                  </a:cubicBezTo>
                  <a:cubicBezTo>
                    <a:pt x="150" y="316"/>
                    <a:pt x="145" y="320"/>
                    <a:pt x="139" y="320"/>
                  </a:cubicBezTo>
                  <a:close/>
                  <a:moveTo>
                    <a:pt x="22" y="299"/>
                  </a:moveTo>
                  <a:cubicBezTo>
                    <a:pt x="128" y="299"/>
                    <a:pt x="128" y="299"/>
                    <a:pt x="128" y="299"/>
                  </a:cubicBezTo>
                  <a:cubicBezTo>
                    <a:pt x="128" y="278"/>
                    <a:pt x="128" y="278"/>
                    <a:pt x="128" y="278"/>
                  </a:cubicBezTo>
                  <a:cubicBezTo>
                    <a:pt x="96" y="278"/>
                    <a:pt x="96" y="278"/>
                    <a:pt x="96" y="278"/>
                  </a:cubicBezTo>
                  <a:cubicBezTo>
                    <a:pt x="90" y="278"/>
                    <a:pt x="86" y="273"/>
                    <a:pt x="86" y="267"/>
                  </a:cubicBezTo>
                  <a:cubicBezTo>
                    <a:pt x="86" y="128"/>
                    <a:pt x="86" y="128"/>
                    <a:pt x="86" y="128"/>
                  </a:cubicBezTo>
                  <a:cubicBezTo>
                    <a:pt x="32" y="128"/>
                    <a:pt x="32" y="128"/>
                    <a:pt x="32" y="128"/>
                  </a:cubicBezTo>
                  <a:cubicBezTo>
                    <a:pt x="32" y="150"/>
                    <a:pt x="32" y="150"/>
                    <a:pt x="32" y="150"/>
                  </a:cubicBezTo>
                  <a:cubicBezTo>
                    <a:pt x="54" y="150"/>
                    <a:pt x="54" y="150"/>
                    <a:pt x="54" y="150"/>
                  </a:cubicBezTo>
                  <a:cubicBezTo>
                    <a:pt x="60" y="150"/>
                    <a:pt x="64" y="154"/>
                    <a:pt x="64" y="160"/>
                  </a:cubicBezTo>
                  <a:cubicBezTo>
                    <a:pt x="64" y="267"/>
                    <a:pt x="64" y="267"/>
                    <a:pt x="64" y="267"/>
                  </a:cubicBezTo>
                  <a:cubicBezTo>
                    <a:pt x="64" y="273"/>
                    <a:pt x="60" y="278"/>
                    <a:pt x="54" y="278"/>
                  </a:cubicBezTo>
                  <a:cubicBezTo>
                    <a:pt x="22" y="278"/>
                    <a:pt x="22" y="278"/>
                    <a:pt x="22" y="278"/>
                  </a:cubicBezTo>
                  <a:lnTo>
                    <a:pt x="22" y="299"/>
                  </a:lnTo>
                  <a:close/>
                  <a:moveTo>
                    <a:pt x="75" y="86"/>
                  </a:moveTo>
                  <a:cubicBezTo>
                    <a:pt x="51" y="86"/>
                    <a:pt x="32" y="67"/>
                    <a:pt x="32" y="43"/>
                  </a:cubicBezTo>
                  <a:cubicBezTo>
                    <a:pt x="32" y="19"/>
                    <a:pt x="51" y="0"/>
                    <a:pt x="75" y="0"/>
                  </a:cubicBezTo>
                  <a:cubicBezTo>
                    <a:pt x="99" y="0"/>
                    <a:pt x="118" y="19"/>
                    <a:pt x="118" y="43"/>
                  </a:cubicBezTo>
                  <a:cubicBezTo>
                    <a:pt x="118" y="67"/>
                    <a:pt x="99" y="86"/>
                    <a:pt x="75" y="86"/>
                  </a:cubicBezTo>
                  <a:close/>
                  <a:moveTo>
                    <a:pt x="75" y="22"/>
                  </a:moveTo>
                  <a:cubicBezTo>
                    <a:pt x="63" y="22"/>
                    <a:pt x="54" y="31"/>
                    <a:pt x="54" y="43"/>
                  </a:cubicBezTo>
                  <a:cubicBezTo>
                    <a:pt x="54" y="55"/>
                    <a:pt x="63" y="64"/>
                    <a:pt x="75" y="64"/>
                  </a:cubicBezTo>
                  <a:cubicBezTo>
                    <a:pt x="87" y="64"/>
                    <a:pt x="96" y="55"/>
                    <a:pt x="96" y="43"/>
                  </a:cubicBezTo>
                  <a:cubicBezTo>
                    <a:pt x="96" y="31"/>
                    <a:pt x="87" y="22"/>
                    <a:pt x="75"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41" name="Freeform 435">
              <a:extLst>
                <a:ext uri="{FF2B5EF4-FFF2-40B4-BE49-F238E27FC236}">
                  <a16:creationId xmlns:a16="http://schemas.microsoft.com/office/drawing/2014/main" id="{62505A84-022F-466E-9943-BFB4AF4A19F5}"/>
                </a:ext>
              </a:extLst>
            </p:cNvPr>
            <p:cNvSpPr>
              <a:spLocks noEditPoints="1"/>
            </p:cNvSpPr>
            <p:nvPr/>
          </p:nvSpPr>
          <p:spPr bwMode="auto">
            <a:xfrm>
              <a:off x="4725" y="1820"/>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Open Sans"/>
                <a:ea typeface="+mn-ea"/>
                <a:cs typeface="+mn-cs"/>
              </a:endParaRPr>
            </a:p>
          </p:txBody>
        </p:sp>
      </p:grpSp>
      <p:pic>
        <p:nvPicPr>
          <p:cNvPr id="42" name="Picture 41">
            <a:extLst>
              <a:ext uri="{FF2B5EF4-FFF2-40B4-BE49-F238E27FC236}">
                <a16:creationId xmlns:a16="http://schemas.microsoft.com/office/drawing/2014/main" id="{3FE3312B-063A-4E2E-934A-E7757E41820E}"/>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7592290" y="174811"/>
            <a:ext cx="3822201" cy="1802288"/>
          </a:xfrm>
          <a:prstGeom prst="rect">
            <a:avLst/>
          </a:prstGeom>
        </p:spPr>
      </p:pic>
      <p:sp>
        <p:nvSpPr>
          <p:cNvPr id="43" name="TextBox 42">
            <a:extLst>
              <a:ext uri="{FF2B5EF4-FFF2-40B4-BE49-F238E27FC236}">
                <a16:creationId xmlns:a16="http://schemas.microsoft.com/office/drawing/2014/main" id="{52EFC004-2ADE-46F8-BCB7-790A295391D1}"/>
              </a:ext>
            </a:extLst>
          </p:cNvPr>
          <p:cNvSpPr txBox="1"/>
          <p:nvPr/>
        </p:nvSpPr>
        <p:spPr>
          <a:xfrm>
            <a:off x="7592291" y="2149009"/>
            <a:ext cx="3685309" cy="307777"/>
          </a:xfrm>
          <a:prstGeom prst="rect">
            <a:avLst/>
          </a:prstGeom>
          <a:noFill/>
        </p:spPr>
        <p:txBody>
          <a:bodyPr wrap="square" rtlCol="0">
            <a:spAutoFit/>
          </a:bodyPr>
          <a:lstStyle/>
          <a:p>
            <a:pPr marL="36576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Open Sans"/>
                <a:ea typeface="+mn-ea"/>
                <a:cs typeface="+mn-cs"/>
              </a:rPr>
              <a:t>Solution Description</a:t>
            </a:r>
          </a:p>
        </p:txBody>
      </p:sp>
      <p:cxnSp>
        <p:nvCxnSpPr>
          <p:cNvPr id="44" name="Straight Connector 43">
            <a:extLst>
              <a:ext uri="{FF2B5EF4-FFF2-40B4-BE49-F238E27FC236}">
                <a16:creationId xmlns:a16="http://schemas.microsoft.com/office/drawing/2014/main" id="{3CE71B17-4D9B-4BB6-8395-111A0341378B}"/>
              </a:ext>
            </a:extLst>
          </p:cNvPr>
          <p:cNvCxnSpPr/>
          <p:nvPr/>
        </p:nvCxnSpPr>
        <p:spPr>
          <a:xfrm>
            <a:off x="7592291" y="2472314"/>
            <a:ext cx="3685309"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E7A278BF-0483-4E61-85DF-FBB15BD04FFA}"/>
              </a:ext>
            </a:extLst>
          </p:cNvPr>
          <p:cNvSpPr txBox="1"/>
          <p:nvPr/>
        </p:nvSpPr>
        <p:spPr>
          <a:xfrm>
            <a:off x="7592291" y="2487843"/>
            <a:ext cx="3685309"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Open Sans"/>
                <a:ea typeface="+mn-ea"/>
                <a:cs typeface="+mn-cs"/>
              </a:rPr>
              <a:t>The future state experience includes: improved wayfinding, visibility into traffic patterns and rideshare surge prices, digital parking and ticketing, and wait time visibility</a:t>
            </a:r>
          </a:p>
        </p:txBody>
      </p:sp>
      <p:grpSp>
        <p:nvGrpSpPr>
          <p:cNvPr id="46" name="Group 360">
            <a:extLst>
              <a:ext uri="{FF2B5EF4-FFF2-40B4-BE49-F238E27FC236}">
                <a16:creationId xmlns:a16="http://schemas.microsoft.com/office/drawing/2014/main" id="{9550918A-D9E4-4541-8C5C-71BE5E129C08}"/>
              </a:ext>
            </a:extLst>
          </p:cNvPr>
          <p:cNvGrpSpPr>
            <a:grpSpLocks noChangeAspect="1"/>
          </p:cNvGrpSpPr>
          <p:nvPr/>
        </p:nvGrpSpPr>
        <p:grpSpPr bwMode="auto">
          <a:xfrm>
            <a:off x="7597807" y="2104892"/>
            <a:ext cx="306415" cy="305517"/>
            <a:chOff x="1935" y="1199"/>
            <a:chExt cx="341" cy="340"/>
          </a:xfrm>
          <a:solidFill>
            <a:schemeClr val="tx1"/>
          </a:solidFill>
        </p:grpSpPr>
        <p:sp>
          <p:nvSpPr>
            <p:cNvPr id="47" name="Freeform 361">
              <a:extLst>
                <a:ext uri="{FF2B5EF4-FFF2-40B4-BE49-F238E27FC236}">
                  <a16:creationId xmlns:a16="http://schemas.microsoft.com/office/drawing/2014/main" id="{CF5609FB-7ABE-4AB9-AE43-9D7E80029509}"/>
                </a:ext>
              </a:extLst>
            </p:cNvPr>
            <p:cNvSpPr>
              <a:spLocks noEditPoints="1"/>
            </p:cNvSpPr>
            <p:nvPr/>
          </p:nvSpPr>
          <p:spPr bwMode="auto">
            <a:xfrm>
              <a:off x="1998" y="1263"/>
              <a:ext cx="214" cy="206"/>
            </a:xfrm>
            <a:custGeom>
              <a:avLst/>
              <a:gdLst>
                <a:gd name="T0" fmla="*/ 257 w 321"/>
                <a:gd name="T1" fmla="*/ 309 h 310"/>
                <a:gd name="T2" fmla="*/ 251 w 321"/>
                <a:gd name="T3" fmla="*/ 308 h 310"/>
                <a:gd name="T4" fmla="*/ 161 w 321"/>
                <a:gd name="T5" fmla="*/ 257 h 310"/>
                <a:gd name="T6" fmla="*/ 70 w 321"/>
                <a:gd name="T7" fmla="*/ 308 h 310"/>
                <a:gd name="T8" fmla="*/ 58 w 321"/>
                <a:gd name="T9" fmla="*/ 307 h 310"/>
                <a:gd name="T10" fmla="*/ 54 w 321"/>
                <a:gd name="T11" fmla="*/ 296 h 310"/>
                <a:gd name="T12" fmla="*/ 74 w 321"/>
                <a:gd name="T13" fmla="*/ 195 h 310"/>
                <a:gd name="T14" fmla="*/ 4 w 321"/>
                <a:gd name="T15" fmla="*/ 125 h 310"/>
                <a:gd name="T16" fmla="*/ 1 w 321"/>
                <a:gd name="T17" fmla="*/ 113 h 310"/>
                <a:gd name="T18" fmla="*/ 10 w 321"/>
                <a:gd name="T19" fmla="*/ 106 h 310"/>
                <a:gd name="T20" fmla="*/ 111 w 321"/>
                <a:gd name="T21" fmla="*/ 96 h 310"/>
                <a:gd name="T22" fmla="*/ 151 w 321"/>
                <a:gd name="T23" fmla="*/ 6 h 310"/>
                <a:gd name="T24" fmla="*/ 161 w 321"/>
                <a:gd name="T25" fmla="*/ 0 h 310"/>
                <a:gd name="T26" fmla="*/ 170 w 321"/>
                <a:gd name="T27" fmla="*/ 6 h 310"/>
                <a:gd name="T28" fmla="*/ 211 w 321"/>
                <a:gd name="T29" fmla="*/ 96 h 310"/>
                <a:gd name="T30" fmla="*/ 311 w 321"/>
                <a:gd name="T31" fmla="*/ 106 h 310"/>
                <a:gd name="T32" fmla="*/ 320 w 321"/>
                <a:gd name="T33" fmla="*/ 113 h 310"/>
                <a:gd name="T34" fmla="*/ 318 w 321"/>
                <a:gd name="T35" fmla="*/ 125 h 310"/>
                <a:gd name="T36" fmla="*/ 247 w 321"/>
                <a:gd name="T37" fmla="*/ 195 h 310"/>
                <a:gd name="T38" fmla="*/ 267 w 321"/>
                <a:gd name="T39" fmla="*/ 296 h 310"/>
                <a:gd name="T40" fmla="*/ 263 w 321"/>
                <a:gd name="T41" fmla="*/ 307 h 310"/>
                <a:gd name="T42" fmla="*/ 257 w 321"/>
                <a:gd name="T43" fmla="*/ 309 h 310"/>
                <a:gd name="T44" fmla="*/ 161 w 321"/>
                <a:gd name="T45" fmla="*/ 234 h 310"/>
                <a:gd name="T46" fmla="*/ 166 w 321"/>
                <a:gd name="T47" fmla="*/ 236 h 310"/>
                <a:gd name="T48" fmla="*/ 242 w 321"/>
                <a:gd name="T49" fmla="*/ 278 h 310"/>
                <a:gd name="T50" fmla="*/ 225 w 321"/>
                <a:gd name="T51" fmla="*/ 194 h 310"/>
                <a:gd name="T52" fmla="*/ 228 w 321"/>
                <a:gd name="T53" fmla="*/ 184 h 310"/>
                <a:gd name="T54" fmla="*/ 287 w 321"/>
                <a:gd name="T55" fmla="*/ 125 h 310"/>
                <a:gd name="T56" fmla="*/ 202 w 321"/>
                <a:gd name="T57" fmla="*/ 117 h 310"/>
                <a:gd name="T58" fmla="*/ 194 w 321"/>
                <a:gd name="T59" fmla="*/ 111 h 310"/>
                <a:gd name="T60" fmla="*/ 161 w 321"/>
                <a:gd name="T61" fmla="*/ 37 h 310"/>
                <a:gd name="T62" fmla="*/ 128 w 321"/>
                <a:gd name="T63" fmla="*/ 111 h 310"/>
                <a:gd name="T64" fmla="*/ 119 w 321"/>
                <a:gd name="T65" fmla="*/ 117 h 310"/>
                <a:gd name="T66" fmla="*/ 35 w 321"/>
                <a:gd name="T67" fmla="*/ 125 h 310"/>
                <a:gd name="T68" fmla="*/ 94 w 321"/>
                <a:gd name="T69" fmla="*/ 184 h 310"/>
                <a:gd name="T70" fmla="*/ 96 w 321"/>
                <a:gd name="T71" fmla="*/ 194 h 310"/>
                <a:gd name="T72" fmla="*/ 80 w 321"/>
                <a:gd name="T73" fmla="*/ 278 h 310"/>
                <a:gd name="T74" fmla="*/ 155 w 321"/>
                <a:gd name="T75" fmla="*/ 236 h 310"/>
                <a:gd name="T76" fmla="*/ 161 w 321"/>
                <a:gd name="T77" fmla="*/ 23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1" h="310">
                  <a:moveTo>
                    <a:pt x="257" y="309"/>
                  </a:moveTo>
                  <a:cubicBezTo>
                    <a:pt x="255" y="309"/>
                    <a:pt x="253" y="309"/>
                    <a:pt x="251" y="308"/>
                  </a:cubicBezTo>
                  <a:cubicBezTo>
                    <a:pt x="161" y="257"/>
                    <a:pt x="161" y="257"/>
                    <a:pt x="161" y="257"/>
                  </a:cubicBezTo>
                  <a:cubicBezTo>
                    <a:pt x="70" y="308"/>
                    <a:pt x="70" y="308"/>
                    <a:pt x="70" y="308"/>
                  </a:cubicBezTo>
                  <a:cubicBezTo>
                    <a:pt x="66" y="310"/>
                    <a:pt x="62" y="309"/>
                    <a:pt x="58" y="307"/>
                  </a:cubicBezTo>
                  <a:cubicBezTo>
                    <a:pt x="55" y="305"/>
                    <a:pt x="53" y="300"/>
                    <a:pt x="54" y="296"/>
                  </a:cubicBezTo>
                  <a:cubicBezTo>
                    <a:pt x="74" y="195"/>
                    <a:pt x="74" y="195"/>
                    <a:pt x="74" y="195"/>
                  </a:cubicBezTo>
                  <a:cubicBezTo>
                    <a:pt x="4" y="125"/>
                    <a:pt x="4" y="125"/>
                    <a:pt x="4" y="125"/>
                  </a:cubicBezTo>
                  <a:cubicBezTo>
                    <a:pt x="1" y="122"/>
                    <a:pt x="0" y="117"/>
                    <a:pt x="1" y="113"/>
                  </a:cubicBezTo>
                  <a:cubicBezTo>
                    <a:pt x="3" y="110"/>
                    <a:pt x="6" y="107"/>
                    <a:pt x="10" y="106"/>
                  </a:cubicBezTo>
                  <a:cubicBezTo>
                    <a:pt x="111" y="96"/>
                    <a:pt x="111" y="96"/>
                    <a:pt x="111" y="96"/>
                  </a:cubicBezTo>
                  <a:cubicBezTo>
                    <a:pt x="151" y="6"/>
                    <a:pt x="151" y="6"/>
                    <a:pt x="151" y="6"/>
                  </a:cubicBezTo>
                  <a:cubicBezTo>
                    <a:pt x="153" y="2"/>
                    <a:pt x="156" y="0"/>
                    <a:pt x="161" y="0"/>
                  </a:cubicBezTo>
                  <a:cubicBezTo>
                    <a:pt x="165" y="0"/>
                    <a:pt x="169" y="2"/>
                    <a:pt x="170" y="6"/>
                  </a:cubicBezTo>
                  <a:cubicBezTo>
                    <a:pt x="211" y="96"/>
                    <a:pt x="211" y="96"/>
                    <a:pt x="211" y="96"/>
                  </a:cubicBezTo>
                  <a:cubicBezTo>
                    <a:pt x="311" y="106"/>
                    <a:pt x="311" y="106"/>
                    <a:pt x="311" y="106"/>
                  </a:cubicBezTo>
                  <a:cubicBezTo>
                    <a:pt x="315" y="107"/>
                    <a:pt x="319" y="110"/>
                    <a:pt x="320" y="113"/>
                  </a:cubicBezTo>
                  <a:cubicBezTo>
                    <a:pt x="321" y="117"/>
                    <a:pt x="320" y="122"/>
                    <a:pt x="318" y="125"/>
                  </a:cubicBezTo>
                  <a:cubicBezTo>
                    <a:pt x="247" y="195"/>
                    <a:pt x="247" y="195"/>
                    <a:pt x="247" y="195"/>
                  </a:cubicBezTo>
                  <a:cubicBezTo>
                    <a:pt x="267" y="296"/>
                    <a:pt x="267" y="296"/>
                    <a:pt x="267" y="296"/>
                  </a:cubicBezTo>
                  <a:cubicBezTo>
                    <a:pt x="268" y="300"/>
                    <a:pt x="266" y="305"/>
                    <a:pt x="263" y="307"/>
                  </a:cubicBezTo>
                  <a:cubicBezTo>
                    <a:pt x="261" y="308"/>
                    <a:pt x="259" y="309"/>
                    <a:pt x="257" y="309"/>
                  </a:cubicBezTo>
                  <a:close/>
                  <a:moveTo>
                    <a:pt x="161" y="234"/>
                  </a:moveTo>
                  <a:cubicBezTo>
                    <a:pt x="162" y="234"/>
                    <a:pt x="164" y="235"/>
                    <a:pt x="166" y="236"/>
                  </a:cubicBezTo>
                  <a:cubicBezTo>
                    <a:pt x="242" y="278"/>
                    <a:pt x="242" y="278"/>
                    <a:pt x="242" y="278"/>
                  </a:cubicBezTo>
                  <a:cubicBezTo>
                    <a:pt x="225" y="194"/>
                    <a:pt x="225" y="194"/>
                    <a:pt x="225" y="194"/>
                  </a:cubicBezTo>
                  <a:cubicBezTo>
                    <a:pt x="224" y="190"/>
                    <a:pt x="225" y="187"/>
                    <a:pt x="228" y="184"/>
                  </a:cubicBezTo>
                  <a:cubicBezTo>
                    <a:pt x="287" y="125"/>
                    <a:pt x="287" y="125"/>
                    <a:pt x="287" y="125"/>
                  </a:cubicBezTo>
                  <a:cubicBezTo>
                    <a:pt x="202" y="117"/>
                    <a:pt x="202" y="117"/>
                    <a:pt x="202" y="117"/>
                  </a:cubicBezTo>
                  <a:cubicBezTo>
                    <a:pt x="198" y="117"/>
                    <a:pt x="195" y="114"/>
                    <a:pt x="194" y="111"/>
                  </a:cubicBezTo>
                  <a:cubicBezTo>
                    <a:pt x="161" y="37"/>
                    <a:pt x="161" y="37"/>
                    <a:pt x="161" y="37"/>
                  </a:cubicBezTo>
                  <a:cubicBezTo>
                    <a:pt x="128" y="111"/>
                    <a:pt x="128" y="111"/>
                    <a:pt x="128" y="111"/>
                  </a:cubicBezTo>
                  <a:cubicBezTo>
                    <a:pt x="126" y="114"/>
                    <a:pt x="123" y="117"/>
                    <a:pt x="119" y="117"/>
                  </a:cubicBezTo>
                  <a:cubicBezTo>
                    <a:pt x="35" y="125"/>
                    <a:pt x="35" y="125"/>
                    <a:pt x="35" y="125"/>
                  </a:cubicBezTo>
                  <a:cubicBezTo>
                    <a:pt x="94" y="184"/>
                    <a:pt x="94" y="184"/>
                    <a:pt x="94" y="184"/>
                  </a:cubicBezTo>
                  <a:cubicBezTo>
                    <a:pt x="96" y="187"/>
                    <a:pt x="97" y="190"/>
                    <a:pt x="96" y="194"/>
                  </a:cubicBezTo>
                  <a:cubicBezTo>
                    <a:pt x="80" y="278"/>
                    <a:pt x="80" y="278"/>
                    <a:pt x="80" y="278"/>
                  </a:cubicBezTo>
                  <a:cubicBezTo>
                    <a:pt x="155" y="236"/>
                    <a:pt x="155" y="236"/>
                    <a:pt x="155" y="236"/>
                  </a:cubicBezTo>
                  <a:cubicBezTo>
                    <a:pt x="157" y="235"/>
                    <a:pt x="159" y="234"/>
                    <a:pt x="161" y="2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48" name="Freeform 362">
              <a:extLst>
                <a:ext uri="{FF2B5EF4-FFF2-40B4-BE49-F238E27FC236}">
                  <a16:creationId xmlns:a16="http://schemas.microsoft.com/office/drawing/2014/main" id="{292A59BB-1ADE-40B7-A807-B121244479AE}"/>
                </a:ext>
              </a:extLst>
            </p:cNvPr>
            <p:cNvSpPr>
              <a:spLocks noEditPoints="1"/>
            </p:cNvSpPr>
            <p:nvPr/>
          </p:nvSpPr>
          <p:spPr bwMode="auto">
            <a:xfrm>
              <a:off x="1935" y="119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Open Sans"/>
                <a:ea typeface="+mn-ea"/>
                <a:cs typeface="+mn-cs"/>
              </a:endParaRPr>
            </a:p>
          </p:txBody>
        </p:sp>
      </p:grpSp>
      <p:sp>
        <p:nvSpPr>
          <p:cNvPr id="49" name="TextBox 48">
            <a:extLst>
              <a:ext uri="{FF2B5EF4-FFF2-40B4-BE49-F238E27FC236}">
                <a16:creationId xmlns:a16="http://schemas.microsoft.com/office/drawing/2014/main" id="{425F02F6-FC29-4DED-9D98-6A2747863D69}"/>
              </a:ext>
            </a:extLst>
          </p:cNvPr>
          <p:cNvSpPr txBox="1"/>
          <p:nvPr/>
        </p:nvSpPr>
        <p:spPr>
          <a:xfrm>
            <a:off x="7592291" y="3560900"/>
            <a:ext cx="3685309" cy="307777"/>
          </a:xfrm>
          <a:prstGeom prst="rect">
            <a:avLst/>
          </a:prstGeom>
          <a:noFill/>
        </p:spPr>
        <p:txBody>
          <a:bodyPr wrap="square" rtlCol="0">
            <a:spAutoFit/>
          </a:bodyPr>
          <a:lstStyle/>
          <a:p>
            <a:pPr marL="36576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Open Sans"/>
                <a:ea typeface="+mn-ea"/>
                <a:cs typeface="+mn-cs"/>
              </a:rPr>
              <a:t>Dependencies</a:t>
            </a:r>
          </a:p>
        </p:txBody>
      </p:sp>
      <p:cxnSp>
        <p:nvCxnSpPr>
          <p:cNvPr id="50" name="Straight Connector 49">
            <a:extLst>
              <a:ext uri="{FF2B5EF4-FFF2-40B4-BE49-F238E27FC236}">
                <a16:creationId xmlns:a16="http://schemas.microsoft.com/office/drawing/2014/main" id="{69BD4460-93DF-49D7-B0A2-DE7A208B06E7}"/>
              </a:ext>
            </a:extLst>
          </p:cNvPr>
          <p:cNvCxnSpPr/>
          <p:nvPr/>
        </p:nvCxnSpPr>
        <p:spPr>
          <a:xfrm>
            <a:off x="7592291" y="3884205"/>
            <a:ext cx="3685309"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3AEC4C3B-C6D0-4F42-8534-78FD3CBD2B33}"/>
              </a:ext>
            </a:extLst>
          </p:cNvPr>
          <p:cNvSpPr txBox="1"/>
          <p:nvPr/>
        </p:nvSpPr>
        <p:spPr>
          <a:xfrm>
            <a:off x="7592291" y="3899734"/>
            <a:ext cx="3685309" cy="1092607"/>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Open Sans"/>
                <a:ea typeface="+mn-ea"/>
                <a:cs typeface="+mn-cs"/>
              </a:rPr>
              <a:t>CRM, POS, and data warehouse go-live to store and analyze traffic (foot and vehicle)</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Open Sans"/>
                <a:ea typeface="+mn-ea"/>
                <a:cs typeface="+mn-cs"/>
              </a:rPr>
              <a:t>Mobile interface launch to channel traffic information and targeted offers based on signal beacons</a:t>
            </a:r>
          </a:p>
        </p:txBody>
      </p:sp>
      <p:grpSp>
        <p:nvGrpSpPr>
          <p:cNvPr id="52" name="Group 39">
            <a:extLst>
              <a:ext uri="{FF2B5EF4-FFF2-40B4-BE49-F238E27FC236}">
                <a16:creationId xmlns:a16="http://schemas.microsoft.com/office/drawing/2014/main" id="{4D135727-7A7F-4353-B9CB-FDF6A937AE41}"/>
              </a:ext>
            </a:extLst>
          </p:cNvPr>
          <p:cNvGrpSpPr>
            <a:grpSpLocks noChangeAspect="1"/>
          </p:cNvGrpSpPr>
          <p:nvPr/>
        </p:nvGrpSpPr>
        <p:grpSpPr bwMode="auto">
          <a:xfrm>
            <a:off x="7599101" y="3519022"/>
            <a:ext cx="303827" cy="303827"/>
            <a:chOff x="3987" y="1509"/>
            <a:chExt cx="340" cy="340"/>
          </a:xfrm>
          <a:solidFill>
            <a:schemeClr val="tx1"/>
          </a:solidFill>
        </p:grpSpPr>
        <p:sp>
          <p:nvSpPr>
            <p:cNvPr id="53" name="Freeform 40">
              <a:extLst>
                <a:ext uri="{FF2B5EF4-FFF2-40B4-BE49-F238E27FC236}">
                  <a16:creationId xmlns:a16="http://schemas.microsoft.com/office/drawing/2014/main" id="{33BD64FA-ADD0-4EE0-A530-10805E85535D}"/>
                </a:ext>
              </a:extLst>
            </p:cNvPr>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54" name="Freeform 41">
              <a:extLst>
                <a:ext uri="{FF2B5EF4-FFF2-40B4-BE49-F238E27FC236}">
                  <a16:creationId xmlns:a16="http://schemas.microsoft.com/office/drawing/2014/main" id="{B13BF09D-D5F1-4FBC-A6B7-93BA4A7174A8}"/>
                </a:ext>
              </a:extLst>
            </p:cNvPr>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Open Sans"/>
                <a:ea typeface="+mn-ea"/>
                <a:cs typeface="+mn-cs"/>
              </a:endParaRPr>
            </a:p>
          </p:txBody>
        </p:sp>
      </p:grpSp>
      <p:cxnSp>
        <p:nvCxnSpPr>
          <p:cNvPr id="94" name="Straight Connector 93">
            <a:extLst>
              <a:ext uri="{FF2B5EF4-FFF2-40B4-BE49-F238E27FC236}">
                <a16:creationId xmlns:a16="http://schemas.microsoft.com/office/drawing/2014/main" id="{69ABFB3D-2BB0-4419-983F-7AD6CA3B454C}"/>
              </a:ext>
            </a:extLst>
          </p:cNvPr>
          <p:cNvCxnSpPr/>
          <p:nvPr/>
        </p:nvCxnSpPr>
        <p:spPr>
          <a:xfrm>
            <a:off x="1444470" y="2878651"/>
            <a:ext cx="1" cy="3070578"/>
          </a:xfrm>
          <a:prstGeom prst="line">
            <a:avLst/>
          </a:prstGeom>
          <a:ln w="12700" cmpd="sng">
            <a:solidFill>
              <a:srgbClr val="00471B"/>
            </a:solidFill>
            <a:prstDash val="dash"/>
          </a:ln>
          <a:effectLst/>
        </p:spPr>
        <p:style>
          <a:lnRef idx="2">
            <a:schemeClr val="accent1"/>
          </a:lnRef>
          <a:fillRef idx="0">
            <a:schemeClr val="accent1"/>
          </a:fillRef>
          <a:effectRef idx="1">
            <a:schemeClr val="accent1"/>
          </a:effectRef>
          <a:fontRef idx="minor">
            <a:schemeClr val="tx1"/>
          </a:fontRef>
        </p:style>
      </p:cxnSp>
      <p:graphicFrame>
        <p:nvGraphicFramePr>
          <p:cNvPr id="95" name="Table 94">
            <a:extLst>
              <a:ext uri="{FF2B5EF4-FFF2-40B4-BE49-F238E27FC236}">
                <a16:creationId xmlns:a16="http://schemas.microsoft.com/office/drawing/2014/main" id="{6F869D64-E8CD-41AF-8610-5BD9AADC07FB}"/>
              </a:ext>
            </a:extLst>
          </p:cNvPr>
          <p:cNvGraphicFramePr>
            <a:graphicFrameLocks noGrp="1"/>
          </p:cNvGraphicFramePr>
          <p:nvPr/>
        </p:nvGraphicFramePr>
        <p:xfrm>
          <a:off x="1002891" y="2480222"/>
          <a:ext cx="6400800" cy="3725136"/>
        </p:xfrm>
        <a:graphic>
          <a:graphicData uri="http://schemas.openxmlformats.org/drawingml/2006/table">
            <a:tbl>
              <a:tblPr firstRow="1" bandRow="1">
                <a:tableStyleId>{5C22544A-7EE6-4342-B048-85BDC9FD1C3A}</a:tableStyleId>
              </a:tblPr>
              <a:tblGrid>
                <a:gridCol w="1280160">
                  <a:extLst>
                    <a:ext uri="{9D8B030D-6E8A-4147-A177-3AD203B41FA5}">
                      <a16:colId xmlns:a16="http://schemas.microsoft.com/office/drawing/2014/main" val="20000"/>
                    </a:ext>
                  </a:extLst>
                </a:gridCol>
                <a:gridCol w="1280160">
                  <a:extLst>
                    <a:ext uri="{9D8B030D-6E8A-4147-A177-3AD203B41FA5}">
                      <a16:colId xmlns:a16="http://schemas.microsoft.com/office/drawing/2014/main" val="20001"/>
                    </a:ext>
                  </a:extLst>
                </a:gridCol>
                <a:gridCol w="1280160">
                  <a:extLst>
                    <a:ext uri="{9D8B030D-6E8A-4147-A177-3AD203B41FA5}">
                      <a16:colId xmlns:a16="http://schemas.microsoft.com/office/drawing/2014/main" val="20005"/>
                    </a:ext>
                  </a:extLst>
                </a:gridCol>
                <a:gridCol w="1280160">
                  <a:extLst>
                    <a:ext uri="{9D8B030D-6E8A-4147-A177-3AD203B41FA5}">
                      <a16:colId xmlns:a16="http://schemas.microsoft.com/office/drawing/2014/main" val="20009"/>
                    </a:ext>
                  </a:extLst>
                </a:gridCol>
                <a:gridCol w="1280160">
                  <a:extLst>
                    <a:ext uri="{9D8B030D-6E8A-4147-A177-3AD203B41FA5}">
                      <a16:colId xmlns:a16="http://schemas.microsoft.com/office/drawing/2014/main" val="3029538405"/>
                    </a:ext>
                  </a:extLst>
                </a:gridCol>
              </a:tblGrid>
              <a:tr h="182880">
                <a:tc>
                  <a:txBody>
                    <a:bodyPr/>
                    <a:lstStyle/>
                    <a:p>
                      <a:pPr algn="ctr"/>
                      <a:r>
                        <a:rPr lang="en-US" sz="1000" b="1" dirty="0">
                          <a:solidFill>
                            <a:schemeClr val="bg1"/>
                          </a:solidFill>
                          <a:latin typeface="+mn-lt"/>
                        </a:rPr>
                        <a:t>2017</a:t>
                      </a:r>
                    </a:p>
                  </a:txBody>
                  <a:tcPr marL="109967" marR="109967" marT="54984" marB="54984" anchor="ctr">
                    <a:lnR w="12700" cap="flat" cmpd="sng" algn="ctr">
                      <a:solidFill>
                        <a:schemeClr val="tx1"/>
                      </a:solidFill>
                      <a:prstDash val="solid"/>
                      <a:round/>
                      <a:headEnd type="none" w="med" len="med"/>
                      <a:tailEnd type="none" w="med" len="med"/>
                    </a:lnR>
                    <a:solidFill>
                      <a:schemeClr val="bg1">
                        <a:lumMod val="65000"/>
                      </a:schemeClr>
                    </a:solidFill>
                  </a:tcPr>
                </a:tc>
                <a:tc gridSpan="4">
                  <a:txBody>
                    <a:bodyPr/>
                    <a:lstStyle/>
                    <a:p>
                      <a:pPr algn="ctr"/>
                      <a:r>
                        <a:rPr lang="en-US" sz="1000" b="1" dirty="0">
                          <a:solidFill>
                            <a:schemeClr val="bg1"/>
                          </a:solidFill>
                          <a:latin typeface="+mn-lt"/>
                        </a:rPr>
                        <a:t>2018</a:t>
                      </a:r>
                    </a:p>
                  </a:txBody>
                  <a:tcPr marL="109967" marR="109967" marT="54984" marB="54984" anchor="ctr">
                    <a:lnL w="12700" cap="flat" cmpd="sng" algn="ctr">
                      <a:solidFill>
                        <a:schemeClr val="tx1"/>
                      </a:solidFill>
                      <a:prstDash val="solid"/>
                      <a:round/>
                      <a:headEnd type="none" w="med" len="med"/>
                      <a:tailEnd type="none" w="med" len="med"/>
                    </a:lnL>
                    <a:solidFill>
                      <a:schemeClr val="bg1">
                        <a:lumMod val="65000"/>
                      </a:schemeClr>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b="1" dirty="0">
                        <a:solidFill>
                          <a:schemeClr val="bg1"/>
                        </a:solidFill>
                        <a:latin typeface="+mn-lt"/>
                      </a:endParaRPr>
                    </a:p>
                  </a:txBody>
                  <a:tcPr marL="109967" marR="109967" marT="54984" marB="549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65000"/>
                      </a:schemeClr>
                    </a:solidFill>
                  </a:tcPr>
                </a:tc>
                <a:tc hMerge="1">
                  <a:txBody>
                    <a:bodyPr/>
                    <a:lstStyle/>
                    <a:p>
                      <a:pPr algn="ctr"/>
                      <a:endParaRPr lang="en-US" sz="1200" b="1" dirty="0">
                        <a:solidFill>
                          <a:schemeClr val="bg1"/>
                        </a:solidFill>
                        <a:latin typeface="+mn-lt"/>
                      </a:endParaRPr>
                    </a:p>
                  </a:txBody>
                  <a:tcPr marL="109967" marR="109967" marT="54984" marB="54984" anchor="ctr">
                    <a:lnL w="12700" cap="flat" cmpd="sng" algn="ctr">
                      <a:solidFill>
                        <a:schemeClr val="tx1"/>
                      </a:solidFill>
                      <a:prstDash val="solid"/>
                      <a:round/>
                      <a:headEnd type="none" w="med" len="med"/>
                      <a:tailEnd type="none" w="med" len="med"/>
                    </a:lnL>
                    <a:solidFill>
                      <a:schemeClr val="bg1">
                        <a:lumMod val="65000"/>
                      </a:schemeClr>
                    </a:solidFill>
                  </a:tcPr>
                </a:tc>
                <a:tc hMerge="1">
                  <a:txBody>
                    <a:bodyPr/>
                    <a:lstStyle/>
                    <a:p>
                      <a:pPr algn="ctr"/>
                      <a:endParaRPr lang="en-US" sz="1200" b="1" dirty="0">
                        <a:solidFill>
                          <a:schemeClr val="bg1"/>
                        </a:solidFill>
                        <a:latin typeface="+mn-lt"/>
                      </a:endParaRPr>
                    </a:p>
                  </a:txBody>
                  <a:tcPr marL="109967" marR="109967" marT="54984" marB="54984" anchor="ctr">
                    <a:lnL w="12700" cap="flat" cmpd="sng" algn="ctr">
                      <a:solidFill>
                        <a:schemeClr val="tx1"/>
                      </a:solidFill>
                      <a:prstDash val="solid"/>
                      <a:round/>
                      <a:headEnd type="none" w="med" len="med"/>
                      <a:tailEnd type="none" w="med" len="med"/>
                    </a:lnL>
                    <a:solidFill>
                      <a:schemeClr val="bg1">
                        <a:lumMod val="65000"/>
                      </a:schemeClr>
                    </a:solidFill>
                  </a:tcPr>
                </a:tc>
                <a:extLst>
                  <a:ext uri="{0D108BD9-81ED-4DB2-BD59-A6C34878D82A}">
                    <a16:rowId xmlns:a16="http://schemas.microsoft.com/office/drawing/2014/main" val="10000"/>
                  </a:ext>
                </a:extLst>
              </a:tr>
              <a:tr h="182880">
                <a:tc>
                  <a:txBody>
                    <a:bodyPr/>
                    <a:lstStyle/>
                    <a:p>
                      <a:pPr algn="ctr"/>
                      <a:r>
                        <a:rPr lang="en-US" sz="1000" b="1" dirty="0">
                          <a:solidFill>
                            <a:schemeClr val="tx1">
                              <a:lumMod val="65000"/>
                              <a:lumOff val="35000"/>
                            </a:schemeClr>
                          </a:solidFill>
                          <a:latin typeface="+mn-lt"/>
                        </a:rPr>
                        <a:t>Q4</a:t>
                      </a:r>
                    </a:p>
                  </a:txBody>
                  <a:tcPr marL="109967" marR="109967" marT="54984" marB="54984" anchor="ctr">
                    <a:lnR w="12700" cap="flat" cmpd="sng" algn="ctr">
                      <a:solidFill>
                        <a:schemeClr val="tx1"/>
                      </a:solidFill>
                      <a:prstDash val="solid"/>
                      <a:round/>
                      <a:headEnd type="none" w="med" len="med"/>
                      <a:tailEnd type="none" w="med" len="med"/>
                    </a:lnR>
                    <a:solidFill>
                      <a:schemeClr val="bg1">
                        <a:lumMod val="85000"/>
                      </a:schemeClr>
                    </a:solidFill>
                  </a:tcPr>
                </a:tc>
                <a:tc>
                  <a:txBody>
                    <a:bodyPr/>
                    <a:lstStyle/>
                    <a:p>
                      <a:pPr algn="ctr"/>
                      <a:r>
                        <a:rPr lang="en-US" sz="1000" b="1" dirty="0">
                          <a:solidFill>
                            <a:schemeClr val="tx1">
                              <a:lumMod val="65000"/>
                              <a:lumOff val="35000"/>
                            </a:schemeClr>
                          </a:solidFill>
                          <a:latin typeface="+mn-lt"/>
                        </a:rPr>
                        <a:t>Q1</a:t>
                      </a:r>
                    </a:p>
                  </a:txBody>
                  <a:tcPr marL="109967" marR="109967" marT="54984" marB="549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85000"/>
                      </a:schemeClr>
                    </a:solidFill>
                  </a:tcPr>
                </a:tc>
                <a:tc>
                  <a:txBody>
                    <a:bodyPr/>
                    <a:lstStyle/>
                    <a:p>
                      <a:pPr algn="ctr"/>
                      <a:r>
                        <a:rPr lang="en-US" sz="1000" b="1" dirty="0">
                          <a:solidFill>
                            <a:schemeClr val="tx1">
                              <a:lumMod val="65000"/>
                              <a:lumOff val="35000"/>
                            </a:schemeClr>
                          </a:solidFill>
                          <a:latin typeface="+mn-lt"/>
                        </a:rPr>
                        <a:t>Q2</a:t>
                      </a:r>
                    </a:p>
                  </a:txBody>
                  <a:tcPr marL="109967" marR="109967" marT="54984" marB="549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85000"/>
                      </a:schemeClr>
                    </a:solidFill>
                  </a:tcPr>
                </a:tc>
                <a:tc>
                  <a:txBody>
                    <a:bodyPr/>
                    <a:lstStyle/>
                    <a:p>
                      <a:pPr algn="ctr"/>
                      <a:r>
                        <a:rPr lang="en-US" sz="1000" b="1" dirty="0">
                          <a:solidFill>
                            <a:schemeClr val="tx1">
                              <a:lumMod val="65000"/>
                              <a:lumOff val="35000"/>
                            </a:schemeClr>
                          </a:solidFill>
                          <a:latin typeface="+mn-lt"/>
                        </a:rPr>
                        <a:t>Q3</a:t>
                      </a:r>
                    </a:p>
                  </a:txBody>
                  <a:tcPr marL="109967" marR="109967" marT="54984" marB="549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85000"/>
                      </a:schemeClr>
                    </a:solidFill>
                  </a:tcPr>
                </a:tc>
                <a:tc>
                  <a:txBody>
                    <a:bodyPr/>
                    <a:lstStyle/>
                    <a:p>
                      <a:pPr algn="ctr"/>
                      <a:r>
                        <a:rPr lang="en-US" sz="1000" b="1" dirty="0">
                          <a:solidFill>
                            <a:schemeClr val="tx1">
                              <a:lumMod val="65000"/>
                              <a:lumOff val="35000"/>
                            </a:schemeClr>
                          </a:solidFill>
                          <a:latin typeface="+mn-lt"/>
                        </a:rPr>
                        <a:t>Q4</a:t>
                      </a:r>
                    </a:p>
                  </a:txBody>
                  <a:tcPr marL="109967" marR="109967" marT="54984" marB="54984" anchor="ctr">
                    <a:lnL w="12700" cap="flat" cmpd="sng" algn="ctr">
                      <a:solidFill>
                        <a:schemeClr val="tx1"/>
                      </a:solidFill>
                      <a:prstDash val="solid"/>
                      <a:round/>
                      <a:headEnd type="none" w="med" len="med"/>
                      <a:tailEnd type="none" w="med" len="med"/>
                    </a:lnL>
                    <a:solidFill>
                      <a:schemeClr val="bg1">
                        <a:lumMod val="85000"/>
                      </a:schemeClr>
                    </a:solidFill>
                  </a:tcPr>
                </a:tc>
                <a:extLst>
                  <a:ext uri="{0D108BD9-81ED-4DB2-BD59-A6C34878D82A}">
                    <a16:rowId xmlns:a16="http://schemas.microsoft.com/office/drawing/2014/main" val="10001"/>
                  </a:ext>
                </a:extLst>
              </a:tr>
              <a:tr h="3200400">
                <a:tc gridSpan="5">
                  <a:txBody>
                    <a:bodyPr/>
                    <a:lstStyle/>
                    <a:p>
                      <a:pPr algn="ctr"/>
                      <a:endParaRPr lang="en-US" sz="1200" b="1" dirty="0">
                        <a:solidFill>
                          <a:schemeClr val="tx1">
                            <a:lumMod val="65000"/>
                            <a:lumOff val="35000"/>
                          </a:schemeClr>
                        </a:solidFill>
                        <a:latin typeface="+mn-lt"/>
                      </a:endParaRPr>
                    </a:p>
                  </a:txBody>
                  <a:tcPr marL="109967" marR="109967" marT="54984" marB="54984" anchor="ctr">
                    <a:lnB w="12700" cap="flat" cmpd="sng" algn="ctr">
                      <a:solidFill>
                        <a:schemeClr val="tx1"/>
                      </a:solidFill>
                      <a:prstDash val="solid"/>
                      <a:round/>
                      <a:headEnd type="none" w="med" len="med"/>
                      <a:tailEnd type="none" w="med" len="med"/>
                    </a:lnB>
                    <a:noFill/>
                  </a:tcPr>
                </a:tc>
                <a:tc hMerge="1">
                  <a:txBody>
                    <a:bodyPr/>
                    <a:lstStyle/>
                    <a:p>
                      <a:pPr algn="ctr"/>
                      <a:endParaRPr lang="en-US" sz="1200" b="1" dirty="0">
                        <a:solidFill>
                          <a:schemeClr val="tx1">
                            <a:lumMod val="65000"/>
                            <a:lumOff val="35000"/>
                          </a:schemeClr>
                        </a:solidFill>
                        <a:latin typeface="+mn-lt"/>
                      </a:endParaRPr>
                    </a:p>
                  </a:txBody>
                  <a:tcPr marL="109967" marR="109967" marT="54984" marB="549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85000"/>
                      </a:schemeClr>
                    </a:solidFill>
                  </a:tcPr>
                </a:tc>
                <a:tc hMerge="1">
                  <a:txBody>
                    <a:bodyPr/>
                    <a:lstStyle/>
                    <a:p>
                      <a:pPr algn="ctr"/>
                      <a:endParaRPr lang="en-US" sz="1200" b="1" dirty="0">
                        <a:solidFill>
                          <a:schemeClr val="tx1">
                            <a:lumMod val="65000"/>
                            <a:lumOff val="35000"/>
                          </a:schemeClr>
                        </a:solidFill>
                        <a:latin typeface="+mn-lt"/>
                      </a:endParaRPr>
                    </a:p>
                  </a:txBody>
                  <a:tcPr marL="109967" marR="109967" marT="54984" marB="549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85000"/>
                      </a:schemeClr>
                    </a:solidFill>
                  </a:tcPr>
                </a:tc>
                <a:tc hMerge="1">
                  <a:txBody>
                    <a:bodyPr/>
                    <a:lstStyle/>
                    <a:p>
                      <a:pPr algn="ctr"/>
                      <a:endParaRPr lang="en-US" sz="1200" b="1" dirty="0">
                        <a:solidFill>
                          <a:schemeClr val="tx1">
                            <a:lumMod val="65000"/>
                            <a:lumOff val="35000"/>
                          </a:schemeClr>
                        </a:solidFill>
                        <a:latin typeface="+mn-lt"/>
                      </a:endParaRPr>
                    </a:p>
                  </a:txBody>
                  <a:tcPr marL="109967" marR="109967" marT="54984" marB="549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85000"/>
                      </a:schemeClr>
                    </a:solidFill>
                  </a:tcPr>
                </a:tc>
                <a:tc hMerge="1">
                  <a:txBody>
                    <a:bodyPr/>
                    <a:lstStyle/>
                    <a:p>
                      <a:pPr algn="ctr"/>
                      <a:endParaRPr lang="en-US" sz="1200" b="1" dirty="0">
                        <a:solidFill>
                          <a:schemeClr val="tx1">
                            <a:lumMod val="65000"/>
                            <a:lumOff val="35000"/>
                          </a:schemeClr>
                        </a:solidFill>
                        <a:latin typeface="+mn-lt"/>
                      </a:endParaRPr>
                    </a:p>
                  </a:txBody>
                  <a:tcPr marL="109967" marR="109967" marT="54984" marB="54984" anchor="ctr">
                    <a:lnL w="12700" cap="flat" cmpd="sng" algn="ctr">
                      <a:solidFill>
                        <a:schemeClr val="tx1"/>
                      </a:solidFill>
                      <a:prstDash val="solid"/>
                      <a:round/>
                      <a:headEnd type="none" w="med" len="med"/>
                      <a:tailEnd type="none" w="med" len="med"/>
                    </a:lnL>
                    <a:solidFill>
                      <a:schemeClr val="bg1">
                        <a:lumMod val="85000"/>
                      </a:schemeClr>
                    </a:solidFill>
                  </a:tcPr>
                </a:tc>
                <a:extLst>
                  <a:ext uri="{0D108BD9-81ED-4DB2-BD59-A6C34878D82A}">
                    <a16:rowId xmlns:a16="http://schemas.microsoft.com/office/drawing/2014/main" val="1281477460"/>
                  </a:ext>
                </a:extLst>
              </a:tr>
            </a:tbl>
          </a:graphicData>
        </a:graphic>
      </p:graphicFrame>
      <p:sp>
        <p:nvSpPr>
          <p:cNvPr id="96" name="Rectangle 95">
            <a:extLst>
              <a:ext uri="{FF2B5EF4-FFF2-40B4-BE49-F238E27FC236}">
                <a16:creationId xmlns:a16="http://schemas.microsoft.com/office/drawing/2014/main" id="{DB044B39-FD45-450B-87AC-53D10496C2F5}"/>
              </a:ext>
            </a:extLst>
          </p:cNvPr>
          <p:cNvSpPr/>
          <p:nvPr/>
        </p:nvSpPr>
        <p:spPr>
          <a:xfrm>
            <a:off x="2264131" y="3039604"/>
            <a:ext cx="5125705" cy="30479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65000"/>
                    <a:lumOff val="35000"/>
                  </a:prstClr>
                </a:solidFill>
                <a:effectLst/>
                <a:uLnTx/>
                <a:uFillTx/>
                <a:latin typeface="Open Sans"/>
                <a:ea typeface="+mn-ea"/>
                <a:cs typeface="+mn-cs"/>
              </a:rPr>
              <a:t>Transportation, Parking, &amp; Check-In</a:t>
            </a:r>
          </a:p>
        </p:txBody>
      </p:sp>
      <p:cxnSp>
        <p:nvCxnSpPr>
          <p:cNvPr id="97" name="Straight Connector 96">
            <a:extLst>
              <a:ext uri="{FF2B5EF4-FFF2-40B4-BE49-F238E27FC236}">
                <a16:creationId xmlns:a16="http://schemas.microsoft.com/office/drawing/2014/main" id="{7AAF9B7C-47F8-497D-9C65-0A79B961FEBC}"/>
              </a:ext>
            </a:extLst>
          </p:cNvPr>
          <p:cNvCxnSpPr/>
          <p:nvPr/>
        </p:nvCxnSpPr>
        <p:spPr>
          <a:xfrm>
            <a:off x="1002891" y="5902572"/>
            <a:ext cx="64008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98" name="Diamond 97">
            <a:extLst>
              <a:ext uri="{FF2B5EF4-FFF2-40B4-BE49-F238E27FC236}">
                <a16:creationId xmlns:a16="http://schemas.microsoft.com/office/drawing/2014/main" id="{8BB22B83-DE71-400E-8C95-D894C33D492D}"/>
              </a:ext>
            </a:extLst>
          </p:cNvPr>
          <p:cNvSpPr/>
          <p:nvPr/>
        </p:nvSpPr>
        <p:spPr>
          <a:xfrm>
            <a:off x="1363470" y="5827169"/>
            <a:ext cx="162000" cy="194401"/>
          </a:xfrm>
          <a:prstGeom prst="diamond">
            <a:avLst/>
          </a:prstGeom>
          <a:solidFill>
            <a:srgbClr val="CEDDFE"/>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cxnSp>
        <p:nvCxnSpPr>
          <p:cNvPr id="99" name="Straight Connector 98">
            <a:extLst>
              <a:ext uri="{FF2B5EF4-FFF2-40B4-BE49-F238E27FC236}">
                <a16:creationId xmlns:a16="http://schemas.microsoft.com/office/drawing/2014/main" id="{AE1BEEEA-3B0D-4B19-9328-8D073811F631}"/>
              </a:ext>
            </a:extLst>
          </p:cNvPr>
          <p:cNvCxnSpPr/>
          <p:nvPr/>
        </p:nvCxnSpPr>
        <p:spPr>
          <a:xfrm>
            <a:off x="1477144" y="3705823"/>
            <a:ext cx="481977" cy="0"/>
          </a:xfrm>
          <a:prstGeom prst="line">
            <a:avLst/>
          </a:prstGeom>
          <a:ln w="635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E3B9640E-6288-46BD-AEF8-7B05F8FF9A32}"/>
              </a:ext>
            </a:extLst>
          </p:cNvPr>
          <p:cNvSpPr txBox="1"/>
          <p:nvPr/>
        </p:nvSpPr>
        <p:spPr>
          <a:xfrm>
            <a:off x="830351" y="5982049"/>
            <a:ext cx="1627814"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Open Sans"/>
                <a:ea typeface="+mn-ea"/>
                <a:cs typeface="+mn-cs"/>
              </a:rPr>
              <a:t>Requirements Defined</a:t>
            </a:r>
          </a:p>
        </p:txBody>
      </p:sp>
      <p:sp>
        <p:nvSpPr>
          <p:cNvPr id="101" name="Rectangle 100">
            <a:extLst>
              <a:ext uri="{FF2B5EF4-FFF2-40B4-BE49-F238E27FC236}">
                <a16:creationId xmlns:a16="http://schemas.microsoft.com/office/drawing/2014/main" id="{53B9907F-FBF4-45EA-9911-27B3B95A3350}"/>
              </a:ext>
            </a:extLst>
          </p:cNvPr>
          <p:cNvSpPr/>
          <p:nvPr/>
        </p:nvSpPr>
        <p:spPr>
          <a:xfrm>
            <a:off x="2260191" y="3721100"/>
            <a:ext cx="2585546" cy="30479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prstClr val="black">
                    <a:lumMod val="65000"/>
                    <a:lumOff val="35000"/>
                  </a:prstClr>
                </a:solidFill>
                <a:effectLst/>
                <a:uLnTx/>
                <a:uFillTx/>
                <a:latin typeface="Open Sans"/>
                <a:ea typeface="+mn-ea"/>
                <a:cs typeface="+mn-cs"/>
              </a:rPr>
              <a:t>Assess parking partners digital ticketing capabilities</a:t>
            </a:r>
          </a:p>
        </p:txBody>
      </p:sp>
      <p:sp>
        <p:nvSpPr>
          <p:cNvPr id="102" name="Rectangle 101">
            <a:extLst>
              <a:ext uri="{FF2B5EF4-FFF2-40B4-BE49-F238E27FC236}">
                <a16:creationId xmlns:a16="http://schemas.microsoft.com/office/drawing/2014/main" id="{19F3AB2A-26D0-405B-BC5A-E60CB3BC3332}"/>
              </a:ext>
            </a:extLst>
          </p:cNvPr>
          <p:cNvSpPr/>
          <p:nvPr/>
        </p:nvSpPr>
        <p:spPr>
          <a:xfrm>
            <a:off x="2260191" y="3378200"/>
            <a:ext cx="2585546" cy="30479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prstClr val="black">
                    <a:lumMod val="65000"/>
                    <a:lumOff val="35000"/>
                  </a:prstClr>
                </a:solidFill>
                <a:effectLst/>
                <a:uLnTx/>
                <a:uFillTx/>
                <a:latin typeface="Open Sans"/>
                <a:ea typeface="+mn-ea"/>
                <a:cs typeface="+mn-cs"/>
              </a:rPr>
              <a:t>Evaluate existing parking relationships and identify priority partners to explore premium access</a:t>
            </a:r>
          </a:p>
        </p:txBody>
      </p:sp>
      <p:sp>
        <p:nvSpPr>
          <p:cNvPr id="103" name="Left Brace 102">
            <a:extLst>
              <a:ext uri="{FF2B5EF4-FFF2-40B4-BE49-F238E27FC236}">
                <a16:creationId xmlns:a16="http://schemas.microsoft.com/office/drawing/2014/main" id="{39B7D561-47A9-4E8A-90A0-E7F18DACD404}"/>
              </a:ext>
            </a:extLst>
          </p:cNvPr>
          <p:cNvSpPr/>
          <p:nvPr/>
        </p:nvSpPr>
        <p:spPr>
          <a:xfrm>
            <a:off x="2044517" y="3396156"/>
            <a:ext cx="175957" cy="619584"/>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04" name="Rectangle 103">
            <a:extLst>
              <a:ext uri="{FF2B5EF4-FFF2-40B4-BE49-F238E27FC236}">
                <a16:creationId xmlns:a16="http://schemas.microsoft.com/office/drawing/2014/main" id="{554EACF5-F039-4349-A03E-2744BA65569A}"/>
              </a:ext>
            </a:extLst>
          </p:cNvPr>
          <p:cNvSpPr/>
          <p:nvPr/>
        </p:nvSpPr>
        <p:spPr>
          <a:xfrm>
            <a:off x="4863691" y="4419600"/>
            <a:ext cx="1267705" cy="30479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prstClr val="black">
                    <a:lumMod val="65000"/>
                    <a:lumOff val="35000"/>
                  </a:prstClr>
                </a:solidFill>
                <a:effectLst/>
                <a:uLnTx/>
                <a:uFillTx/>
                <a:latin typeface="Open Sans"/>
                <a:ea typeface="+mn-ea"/>
                <a:cs typeface="+mn-cs"/>
              </a:rPr>
              <a:t>Install digital and physical signage</a:t>
            </a:r>
          </a:p>
        </p:txBody>
      </p:sp>
      <p:sp>
        <p:nvSpPr>
          <p:cNvPr id="105" name="Rectangle 104">
            <a:extLst>
              <a:ext uri="{FF2B5EF4-FFF2-40B4-BE49-F238E27FC236}">
                <a16:creationId xmlns:a16="http://schemas.microsoft.com/office/drawing/2014/main" id="{3113CB50-0DA6-4AED-A38F-268D83B069C0}"/>
              </a:ext>
            </a:extLst>
          </p:cNvPr>
          <p:cNvSpPr/>
          <p:nvPr/>
        </p:nvSpPr>
        <p:spPr>
          <a:xfrm>
            <a:off x="4863691" y="4076700"/>
            <a:ext cx="1267705" cy="30479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prstClr val="black">
                    <a:lumMod val="65000"/>
                    <a:lumOff val="35000"/>
                  </a:prstClr>
                </a:solidFill>
                <a:effectLst/>
                <a:uLnTx/>
                <a:uFillTx/>
                <a:latin typeface="Open Sans"/>
                <a:ea typeface="+mn-ea"/>
                <a:cs typeface="+mn-cs"/>
              </a:rPr>
              <a:t>Install digital ticketing systems</a:t>
            </a:r>
          </a:p>
        </p:txBody>
      </p:sp>
      <p:sp>
        <p:nvSpPr>
          <p:cNvPr id="106" name="Rectangle 105">
            <a:extLst>
              <a:ext uri="{FF2B5EF4-FFF2-40B4-BE49-F238E27FC236}">
                <a16:creationId xmlns:a16="http://schemas.microsoft.com/office/drawing/2014/main" id="{B0AEA33D-2F27-4071-A47E-C1E02308D57C}"/>
              </a:ext>
            </a:extLst>
          </p:cNvPr>
          <p:cNvSpPr/>
          <p:nvPr/>
        </p:nvSpPr>
        <p:spPr>
          <a:xfrm>
            <a:off x="6135986" y="4758569"/>
            <a:ext cx="1267705" cy="30479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prstClr val="black">
                    <a:lumMod val="65000"/>
                    <a:lumOff val="35000"/>
                  </a:prstClr>
                </a:solidFill>
                <a:effectLst/>
                <a:uLnTx/>
                <a:uFillTx/>
                <a:latin typeface="Open Sans"/>
                <a:ea typeface="+mn-ea"/>
                <a:cs typeface="+mn-cs"/>
              </a:rPr>
              <a:t>Install totems around Arena</a:t>
            </a:r>
          </a:p>
        </p:txBody>
      </p:sp>
      <p:sp>
        <p:nvSpPr>
          <p:cNvPr id="107" name="Rectangle 106">
            <a:extLst>
              <a:ext uri="{FF2B5EF4-FFF2-40B4-BE49-F238E27FC236}">
                <a16:creationId xmlns:a16="http://schemas.microsoft.com/office/drawing/2014/main" id="{1607BFE0-A2A9-4A04-9493-6993EC07E935}"/>
              </a:ext>
            </a:extLst>
          </p:cNvPr>
          <p:cNvSpPr/>
          <p:nvPr/>
        </p:nvSpPr>
        <p:spPr>
          <a:xfrm>
            <a:off x="6135986" y="5102362"/>
            <a:ext cx="1267705" cy="30479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prstClr val="black">
                    <a:lumMod val="65000"/>
                    <a:lumOff val="35000"/>
                  </a:prstClr>
                </a:solidFill>
                <a:effectLst/>
                <a:uLnTx/>
                <a:uFillTx/>
                <a:latin typeface="Open Sans"/>
                <a:ea typeface="+mn-ea"/>
                <a:cs typeface="+mn-cs"/>
              </a:rPr>
              <a:t>Install outdoor heat map cameras</a:t>
            </a:r>
          </a:p>
        </p:txBody>
      </p:sp>
      <p:sp>
        <p:nvSpPr>
          <p:cNvPr id="108" name="Rectangle 107">
            <a:extLst>
              <a:ext uri="{FF2B5EF4-FFF2-40B4-BE49-F238E27FC236}">
                <a16:creationId xmlns:a16="http://schemas.microsoft.com/office/drawing/2014/main" id="{30F2015A-E08C-4184-9B7E-B53636BCE7F9}"/>
              </a:ext>
            </a:extLst>
          </p:cNvPr>
          <p:cNvSpPr/>
          <p:nvPr/>
        </p:nvSpPr>
        <p:spPr>
          <a:xfrm>
            <a:off x="6135986" y="5446158"/>
            <a:ext cx="1267705" cy="30479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prstClr val="black">
                    <a:lumMod val="65000"/>
                    <a:lumOff val="35000"/>
                  </a:prstClr>
                </a:solidFill>
                <a:effectLst/>
                <a:uLnTx/>
                <a:uFillTx/>
                <a:latin typeface="Open Sans"/>
                <a:ea typeface="+mn-ea"/>
                <a:cs typeface="+mn-cs"/>
              </a:rPr>
              <a:t>Install signal beacons</a:t>
            </a:r>
          </a:p>
        </p:txBody>
      </p:sp>
    </p:spTree>
    <p:extLst>
      <p:ext uri="{BB962C8B-B14F-4D97-AF65-F5344CB8AC3E}">
        <p14:creationId xmlns:p14="http://schemas.microsoft.com/office/powerpoint/2010/main" val="6760295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DC5BD6B9-51A5-416A-8EB9-7296D6463CF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6" name="think-cell Slide" r:id="rId5" imgW="395" imgH="396" progId="TCLayout.ActiveDocument.1">
                  <p:embed/>
                </p:oleObj>
              </mc:Choice>
              <mc:Fallback>
                <p:oleObj name="think-cell Slide" r:id="rId5" imgW="395" imgH="396" progId="TCLayout.ActiveDocument.1">
                  <p:embed/>
                  <p:pic>
                    <p:nvPicPr>
                      <p:cNvPr id="29" name="Object 28" hidden="1">
                        <a:extLst>
                          <a:ext uri="{FF2B5EF4-FFF2-40B4-BE49-F238E27FC236}">
                            <a16:creationId xmlns:a16="http://schemas.microsoft.com/office/drawing/2014/main" id="{DC5BD6B9-51A5-416A-8EB9-7296D6463C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1" name="Straight Connector 10">
            <a:extLst>
              <a:ext uri="{FF2B5EF4-FFF2-40B4-BE49-F238E27FC236}">
                <a16:creationId xmlns:a16="http://schemas.microsoft.com/office/drawing/2014/main" id="{01927FFB-698C-4C5C-81E3-D7F8954349B9}"/>
              </a:ext>
            </a:extLst>
          </p:cNvPr>
          <p:cNvCxnSpPr/>
          <p:nvPr/>
        </p:nvCxnSpPr>
        <p:spPr>
          <a:xfrm>
            <a:off x="2848945" y="5829782"/>
            <a:ext cx="2194560" cy="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5403E504-31E7-4A44-A63C-8C6BC15F1ABC}"/>
              </a:ext>
            </a:extLst>
          </p:cNvPr>
          <p:cNvCxnSpPr/>
          <p:nvPr/>
        </p:nvCxnSpPr>
        <p:spPr>
          <a:xfrm>
            <a:off x="2895222" y="5147166"/>
            <a:ext cx="4206240" cy="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1A4F43E-286D-4EF5-B39F-1249076C1063}"/>
              </a:ext>
            </a:extLst>
          </p:cNvPr>
          <p:cNvCxnSpPr/>
          <p:nvPr/>
        </p:nvCxnSpPr>
        <p:spPr>
          <a:xfrm>
            <a:off x="4427712" y="4429308"/>
            <a:ext cx="1737360" cy="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6A06F44-8F89-45DC-8962-1E0DA8B339CA}"/>
              </a:ext>
            </a:extLst>
          </p:cNvPr>
          <p:cNvCxnSpPr/>
          <p:nvPr/>
        </p:nvCxnSpPr>
        <p:spPr>
          <a:xfrm>
            <a:off x="5372943" y="3736288"/>
            <a:ext cx="5852160"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3FB775D-F151-4579-8DEA-9845D2A3697D}"/>
              </a:ext>
            </a:extLst>
          </p:cNvPr>
          <p:cNvCxnSpPr/>
          <p:nvPr/>
        </p:nvCxnSpPr>
        <p:spPr>
          <a:xfrm>
            <a:off x="2490861" y="2796453"/>
            <a:ext cx="2882082" cy="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EF265BA-B764-43BE-A0E5-0B00133CFD34}"/>
              </a:ext>
            </a:extLst>
          </p:cNvPr>
          <p:cNvCxnSpPr/>
          <p:nvPr/>
        </p:nvCxnSpPr>
        <p:spPr>
          <a:xfrm>
            <a:off x="1088537" y="2089986"/>
            <a:ext cx="2103120" cy="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7" name="Title 9">
            <a:extLst>
              <a:ext uri="{FF2B5EF4-FFF2-40B4-BE49-F238E27FC236}">
                <a16:creationId xmlns:a16="http://schemas.microsoft.com/office/drawing/2014/main" id="{F969F40E-7283-42F7-9042-03F0CE3D2462}"/>
              </a:ext>
            </a:extLst>
          </p:cNvPr>
          <p:cNvSpPr txBox="1">
            <a:spLocks/>
          </p:cNvSpPr>
          <p:nvPr/>
        </p:nvSpPr>
        <p:spPr>
          <a:xfrm>
            <a:off x="914400" y="694944"/>
            <a:ext cx="10363200" cy="594360"/>
          </a:xfrm>
          <a:prstGeom prst="rect">
            <a:avLst/>
          </a:prstGeom>
        </p:spPr>
        <p:txBody>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r>
              <a:rPr lang="en-US"/>
              <a:t>GrowthPath  can help clients …</a:t>
            </a:r>
            <a:endParaRPr lang="en-US" dirty="0"/>
          </a:p>
        </p:txBody>
      </p:sp>
      <p:sp>
        <p:nvSpPr>
          <p:cNvPr id="18" name="Content Placeholder 3">
            <a:extLst>
              <a:ext uri="{FF2B5EF4-FFF2-40B4-BE49-F238E27FC236}">
                <a16:creationId xmlns:a16="http://schemas.microsoft.com/office/drawing/2014/main" id="{2C68EF82-B590-40AB-9E2B-751439C3CA06}"/>
              </a:ext>
            </a:extLst>
          </p:cNvPr>
          <p:cNvSpPr txBox="1">
            <a:spLocks/>
          </p:cNvSpPr>
          <p:nvPr/>
        </p:nvSpPr>
        <p:spPr>
          <a:xfrm>
            <a:off x="983632" y="1838204"/>
            <a:ext cx="10362880" cy="3785652"/>
          </a:xfrm>
          <a:prstGeom prst="rect">
            <a:avLst/>
          </a:prstGeom>
        </p:spPr>
        <p:txBody>
          <a:bodyPr>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spcBef>
                <a:spcPts val="1800"/>
              </a:spcBef>
              <a:spcAft>
                <a:spcPts val="1800"/>
              </a:spcAft>
              <a:buFont typeface="Arial" panose="020B0604020202020204" pitchFamily="34" charset="0"/>
              <a:buNone/>
            </a:pPr>
            <a:r>
              <a:rPr lang="en-GB" sz="1600" b="1" dirty="0"/>
              <a:t>Enter new territories </a:t>
            </a:r>
            <a:r>
              <a:rPr lang="en-GB" sz="1600" dirty="0"/>
              <a:t>– geographies, categories, channels and products</a:t>
            </a:r>
          </a:p>
          <a:p>
            <a:pPr marL="854075" lvl="1" indent="0">
              <a:spcBef>
                <a:spcPts val="1800"/>
              </a:spcBef>
              <a:spcAft>
                <a:spcPts val="1800"/>
              </a:spcAft>
              <a:buFont typeface="Arial" panose="020B0604020202020204" pitchFamily="34" charset="0"/>
              <a:buNone/>
            </a:pPr>
            <a:r>
              <a:rPr lang="en-GB" sz="1600" dirty="0"/>
              <a:t>Make </a:t>
            </a:r>
            <a:r>
              <a:rPr lang="en-GB" sz="1600" b="1" dirty="0"/>
              <a:t>choices about where to focus</a:t>
            </a:r>
            <a:r>
              <a:rPr lang="en-GB" sz="1600" dirty="0"/>
              <a:t> (category, channel, need, occasion) to build competitive advantage</a:t>
            </a:r>
          </a:p>
          <a:p>
            <a:pPr marL="0" lvl="1" indent="0">
              <a:spcBef>
                <a:spcPts val="1800"/>
              </a:spcBef>
              <a:spcAft>
                <a:spcPts val="1800"/>
              </a:spcAft>
              <a:buFont typeface="Arial" panose="020B0604020202020204" pitchFamily="34" charset="0"/>
              <a:buNone/>
            </a:pPr>
            <a:r>
              <a:rPr lang="en-GB" sz="1600" dirty="0"/>
              <a:t>Understand customer needs and </a:t>
            </a:r>
            <a:r>
              <a:rPr lang="en-GB" sz="1600" dirty="0" err="1"/>
              <a:t>behaviors</a:t>
            </a:r>
            <a:r>
              <a:rPr lang="en-GB" sz="1600" dirty="0"/>
              <a:t> to </a:t>
            </a:r>
            <a:r>
              <a:rPr lang="en-GB" sz="1600" b="1" dirty="0"/>
              <a:t>drive offer design, innovation, and experience development</a:t>
            </a:r>
          </a:p>
          <a:p>
            <a:pPr marL="2682875" lvl="1" indent="0">
              <a:spcBef>
                <a:spcPts val="1800"/>
              </a:spcBef>
              <a:spcAft>
                <a:spcPts val="1800"/>
              </a:spcAft>
              <a:buFont typeface="Arial" panose="020B0604020202020204" pitchFamily="34" charset="0"/>
              <a:buNone/>
            </a:pPr>
            <a:r>
              <a:rPr lang="en-GB" sz="1600" dirty="0"/>
              <a:t>Define </a:t>
            </a:r>
            <a:r>
              <a:rPr lang="en-GB" sz="1600" b="1" dirty="0"/>
              <a:t>portfolio strategy </a:t>
            </a:r>
            <a:r>
              <a:rPr lang="en-GB" sz="1600" dirty="0"/>
              <a:t>across categories and brands</a:t>
            </a:r>
          </a:p>
          <a:p>
            <a:pPr marL="0" lvl="1" indent="0">
              <a:spcBef>
                <a:spcPts val="1800"/>
              </a:spcBef>
              <a:spcAft>
                <a:spcPts val="1800"/>
              </a:spcAft>
              <a:buFont typeface="Arial" panose="020B0604020202020204" pitchFamily="34" charset="0"/>
              <a:buNone/>
            </a:pPr>
            <a:r>
              <a:rPr lang="en-GB" sz="1600" dirty="0"/>
              <a:t>Drive more precise </a:t>
            </a:r>
            <a:r>
              <a:rPr lang="en-GB" sz="1600" b="1" dirty="0"/>
              <a:t>brand positioning, targeting and activation </a:t>
            </a:r>
          </a:p>
          <a:p>
            <a:pPr marL="1768475" lvl="1" indent="0">
              <a:spcBef>
                <a:spcPts val="1800"/>
              </a:spcBef>
              <a:spcAft>
                <a:spcPts val="1800"/>
              </a:spcAft>
              <a:buFont typeface="Arial" panose="020B0604020202020204" pitchFamily="34" charset="0"/>
              <a:buNone/>
            </a:pPr>
            <a:r>
              <a:rPr lang="en-GB" sz="1600" b="1" dirty="0"/>
              <a:t>Align the organization </a:t>
            </a:r>
            <a:r>
              <a:rPr lang="en-GB" sz="1600" dirty="0"/>
              <a:t>against “one plan” – integrated, cross functional and tailored for action</a:t>
            </a:r>
          </a:p>
        </p:txBody>
      </p:sp>
    </p:spTree>
    <p:extLst>
      <p:ext uri="{BB962C8B-B14F-4D97-AF65-F5344CB8AC3E}">
        <p14:creationId xmlns:p14="http://schemas.microsoft.com/office/powerpoint/2010/main" val="2097596168"/>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0" name="Object 89" hidden="1">
            <a:extLst>
              <a:ext uri="{FF2B5EF4-FFF2-40B4-BE49-F238E27FC236}">
                <a16:creationId xmlns:a16="http://schemas.microsoft.com/office/drawing/2014/main" id="{E2B3ED47-A6E3-436D-9FB4-BEAAF888A0F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64" name="think-cell Slide" r:id="rId6" imgW="415" imgH="416" progId="TCLayout.ActiveDocument.1">
                  <p:embed/>
                </p:oleObj>
              </mc:Choice>
              <mc:Fallback>
                <p:oleObj name="think-cell Slide" r:id="rId6" imgW="415" imgH="416" progId="TCLayout.ActiveDocument.1">
                  <p:embed/>
                  <p:pic>
                    <p:nvPicPr>
                      <p:cNvPr id="90" name="Object 89" hidden="1">
                        <a:extLst>
                          <a:ext uri="{FF2B5EF4-FFF2-40B4-BE49-F238E27FC236}">
                            <a16:creationId xmlns:a16="http://schemas.microsoft.com/office/drawing/2014/main" id="{E2B3ED47-A6E3-436D-9FB4-BEAAF888A0F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9" name="Rectangle 88" hidden="1">
            <a:extLst>
              <a:ext uri="{FF2B5EF4-FFF2-40B4-BE49-F238E27FC236}">
                <a16:creationId xmlns:a16="http://schemas.microsoft.com/office/drawing/2014/main" id="{F0F918DC-00A0-4352-B1F4-117CC099282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75B62CA5-9465-442C-988F-D0346A520740}"/>
              </a:ext>
            </a:extLst>
          </p:cNvPr>
          <p:cNvSpPr>
            <a:spLocks noGrp="1"/>
          </p:cNvSpPr>
          <p:nvPr>
            <p:ph type="title"/>
          </p:nvPr>
        </p:nvSpPr>
        <p:spPr/>
        <p:txBody>
          <a:bodyPr/>
          <a:lstStyle/>
          <a:p>
            <a:r>
              <a:rPr lang="en-US" dirty="0"/>
              <a:t>Road Ahead</a:t>
            </a:r>
          </a:p>
        </p:txBody>
      </p:sp>
      <p:sp>
        <p:nvSpPr>
          <p:cNvPr id="3" name="Text Placeholder 2">
            <a:extLst>
              <a:ext uri="{FF2B5EF4-FFF2-40B4-BE49-F238E27FC236}">
                <a16:creationId xmlns:a16="http://schemas.microsoft.com/office/drawing/2014/main" id="{800A2413-4A60-4941-AFB4-905D8CDBE9F8}"/>
              </a:ext>
            </a:extLst>
          </p:cNvPr>
          <p:cNvSpPr>
            <a:spLocks noGrp="1"/>
          </p:cNvSpPr>
          <p:nvPr>
            <p:ph type="body" sz="quarter" idx="14"/>
          </p:nvPr>
        </p:nvSpPr>
        <p:spPr>
          <a:xfrm>
            <a:off x="875255" y="1357159"/>
            <a:ext cx="10362880" cy="475488"/>
          </a:xfrm>
        </p:spPr>
        <p:txBody>
          <a:bodyPr/>
          <a:lstStyle/>
          <a:p>
            <a:r>
              <a:rPr lang="en-US" dirty="0"/>
              <a:t>Subheader placeholder</a:t>
            </a:r>
          </a:p>
        </p:txBody>
      </p:sp>
      <p:sp>
        <p:nvSpPr>
          <p:cNvPr id="4" name="Text Placeholder 3">
            <a:extLst>
              <a:ext uri="{FF2B5EF4-FFF2-40B4-BE49-F238E27FC236}">
                <a16:creationId xmlns:a16="http://schemas.microsoft.com/office/drawing/2014/main" id="{DD8CC87B-1E66-4DB4-B7E0-79CDF0A90D38}"/>
              </a:ext>
            </a:extLst>
          </p:cNvPr>
          <p:cNvSpPr>
            <a:spLocks noGrp="1"/>
          </p:cNvSpPr>
          <p:nvPr>
            <p:ph type="body" sz="quarter" idx="15"/>
          </p:nvPr>
        </p:nvSpPr>
        <p:spPr/>
        <p:txBody>
          <a:bodyPr/>
          <a:lstStyle/>
          <a:p>
            <a:r>
              <a:rPr lang="en-US" dirty="0"/>
              <a:t>Plans, timelines and roadmaps</a:t>
            </a:r>
          </a:p>
        </p:txBody>
      </p:sp>
      <p:pic>
        <p:nvPicPr>
          <p:cNvPr id="5" name="Picture 4">
            <a:extLst>
              <a:ext uri="{FF2B5EF4-FFF2-40B4-BE49-F238E27FC236}">
                <a16:creationId xmlns:a16="http://schemas.microsoft.com/office/drawing/2014/main" id="{37A3792B-93F9-4D27-9FAD-328B430BD05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537598" y="2951211"/>
            <a:ext cx="10198151" cy="3886588"/>
          </a:xfrm>
          <a:prstGeom prst="rect">
            <a:avLst/>
          </a:prstGeom>
        </p:spPr>
      </p:pic>
      <p:sp>
        <p:nvSpPr>
          <p:cNvPr id="6" name="Freeform 15">
            <a:extLst>
              <a:ext uri="{FF2B5EF4-FFF2-40B4-BE49-F238E27FC236}">
                <a16:creationId xmlns:a16="http://schemas.microsoft.com/office/drawing/2014/main" id="{7E8BC5E9-580B-4F77-A9EB-85E13C9A4C8E}"/>
              </a:ext>
            </a:extLst>
          </p:cNvPr>
          <p:cNvSpPr/>
          <p:nvPr/>
        </p:nvSpPr>
        <p:spPr bwMode="gray">
          <a:xfrm>
            <a:off x="1719574" y="3268859"/>
            <a:ext cx="8987246" cy="2943497"/>
          </a:xfrm>
          <a:custGeom>
            <a:avLst/>
            <a:gdLst>
              <a:gd name="connsiteX0" fmla="*/ 0 w 8987246"/>
              <a:gd name="connsiteY0" fmla="*/ 0 h 2943497"/>
              <a:gd name="connsiteX1" fmla="*/ 740229 w 8987246"/>
              <a:gd name="connsiteY1" fmla="*/ 391885 h 2943497"/>
              <a:gd name="connsiteX2" fmla="*/ 2899954 w 8987246"/>
              <a:gd name="connsiteY2" fmla="*/ 592182 h 2943497"/>
              <a:gd name="connsiteX3" fmla="*/ 3971109 w 8987246"/>
              <a:gd name="connsiteY3" fmla="*/ 757645 h 2943497"/>
              <a:gd name="connsiteX4" fmla="*/ 4632960 w 8987246"/>
              <a:gd name="connsiteY4" fmla="*/ 1140822 h 2943497"/>
              <a:gd name="connsiteX5" fmla="*/ 4101737 w 8987246"/>
              <a:gd name="connsiteY5" fmla="*/ 1541417 h 2943497"/>
              <a:gd name="connsiteX6" fmla="*/ 2629989 w 8987246"/>
              <a:gd name="connsiteY6" fmla="*/ 1889760 h 2943497"/>
              <a:gd name="connsiteX7" fmla="*/ 3248297 w 8987246"/>
              <a:gd name="connsiteY7" fmla="*/ 2360022 h 2943497"/>
              <a:gd name="connsiteX8" fmla="*/ 6261463 w 8987246"/>
              <a:gd name="connsiteY8" fmla="*/ 2812868 h 2943497"/>
              <a:gd name="connsiteX9" fmla="*/ 8987246 w 8987246"/>
              <a:gd name="connsiteY9" fmla="*/ 2943497 h 2943497"/>
              <a:gd name="connsiteX10" fmla="*/ 8987246 w 8987246"/>
              <a:gd name="connsiteY10" fmla="*/ 2943497 h 2943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87246" h="2943497">
                <a:moveTo>
                  <a:pt x="0" y="0"/>
                </a:moveTo>
                <a:cubicBezTo>
                  <a:pt x="128451" y="146594"/>
                  <a:pt x="256903" y="293188"/>
                  <a:pt x="740229" y="391885"/>
                </a:cubicBezTo>
                <a:cubicBezTo>
                  <a:pt x="1223555" y="490582"/>
                  <a:pt x="2361474" y="531222"/>
                  <a:pt x="2899954" y="592182"/>
                </a:cubicBezTo>
                <a:cubicBezTo>
                  <a:pt x="3438434" y="653142"/>
                  <a:pt x="3682275" y="666205"/>
                  <a:pt x="3971109" y="757645"/>
                </a:cubicBezTo>
                <a:cubicBezTo>
                  <a:pt x="4259943" y="849085"/>
                  <a:pt x="4611189" y="1010193"/>
                  <a:pt x="4632960" y="1140822"/>
                </a:cubicBezTo>
                <a:cubicBezTo>
                  <a:pt x="4654731" y="1271451"/>
                  <a:pt x="4435565" y="1416594"/>
                  <a:pt x="4101737" y="1541417"/>
                </a:cubicBezTo>
                <a:cubicBezTo>
                  <a:pt x="3767909" y="1666240"/>
                  <a:pt x="2772229" y="1753326"/>
                  <a:pt x="2629989" y="1889760"/>
                </a:cubicBezTo>
                <a:cubicBezTo>
                  <a:pt x="2487749" y="2026194"/>
                  <a:pt x="2643051" y="2206171"/>
                  <a:pt x="3248297" y="2360022"/>
                </a:cubicBezTo>
                <a:cubicBezTo>
                  <a:pt x="3853543" y="2513873"/>
                  <a:pt x="5304972" y="2715622"/>
                  <a:pt x="6261463" y="2812868"/>
                </a:cubicBezTo>
                <a:cubicBezTo>
                  <a:pt x="7217955" y="2910114"/>
                  <a:pt x="8987246" y="2943497"/>
                  <a:pt x="8987246" y="2943497"/>
                </a:cubicBezTo>
                <a:lnTo>
                  <a:pt x="8987246" y="2943497"/>
                </a:lnTo>
              </a:path>
            </a:pathLst>
          </a:custGeom>
          <a:noFill/>
          <a:ln w="76200" algn="ctr">
            <a:gradFill>
              <a:gsLst>
                <a:gs pos="0">
                  <a:srgbClr val="F5F5F6"/>
                </a:gs>
                <a:gs pos="20000">
                  <a:schemeClr val="bg1"/>
                </a:gs>
                <a:gs pos="85000">
                  <a:schemeClr val="bg1"/>
                </a:gs>
                <a:gs pos="100000">
                  <a:srgbClr val="D1D2D4"/>
                </a:gs>
              </a:gsLst>
              <a:lin ang="5400000" scaled="1"/>
            </a:gradFill>
            <a:miter lim="800000"/>
            <a:headEnd/>
            <a:tailEnd type="triangle"/>
          </a:ln>
          <a:effectLst>
            <a:outerShdw blurRad="50800" dist="38100" dir="2700000" algn="tl" rotWithShape="0">
              <a:prstClr val="black">
                <a:alpha val="2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grpSp>
        <p:nvGrpSpPr>
          <p:cNvPr id="7" name="Group 6">
            <a:extLst>
              <a:ext uri="{FF2B5EF4-FFF2-40B4-BE49-F238E27FC236}">
                <a16:creationId xmlns:a16="http://schemas.microsoft.com/office/drawing/2014/main" id="{AAB91E94-0ABD-4355-AA4E-460DB35669F4}"/>
              </a:ext>
            </a:extLst>
          </p:cNvPr>
          <p:cNvGrpSpPr/>
          <p:nvPr/>
        </p:nvGrpSpPr>
        <p:grpSpPr>
          <a:xfrm>
            <a:off x="461505" y="1782623"/>
            <a:ext cx="2755901" cy="1552996"/>
            <a:chOff x="322832" y="1134035"/>
            <a:chExt cx="2755901" cy="1552996"/>
          </a:xfrm>
        </p:grpSpPr>
        <p:sp>
          <p:nvSpPr>
            <p:cNvPr id="8" name="TextBox 7">
              <a:extLst>
                <a:ext uri="{FF2B5EF4-FFF2-40B4-BE49-F238E27FC236}">
                  <a16:creationId xmlns:a16="http://schemas.microsoft.com/office/drawing/2014/main" id="{4C848F02-652C-4F7F-B0AB-98C8FE883D7B}"/>
                </a:ext>
              </a:extLst>
            </p:cNvPr>
            <p:cNvSpPr txBox="1"/>
            <p:nvPr/>
          </p:nvSpPr>
          <p:spPr>
            <a:xfrm>
              <a:off x="815192" y="1134035"/>
              <a:ext cx="1239442" cy="338554"/>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ea typeface="Verdana" panose="020B0604030504040204" pitchFamily="34" charset="0"/>
                  <a:cs typeface="Verdana" panose="020B0604030504040204" pitchFamily="34" charset="0"/>
                </a:rPr>
                <a:t>0</a:t>
              </a:r>
              <a:r>
                <a:rPr kumimoji="0" lang="en-US" sz="1000" b="1" i="0" u="none" strike="noStrike" kern="1200" cap="none" spc="0" normalizeH="0" baseline="0" noProof="0" dirty="0">
                  <a:ln>
                    <a:noFill/>
                  </a:ln>
                  <a:effectLst/>
                  <a:uLnTx/>
                  <a:uFillTx/>
                  <a:ea typeface="Verdana" panose="020B0604030504040204" pitchFamily="34" charset="0"/>
                  <a:cs typeface="Verdana" panose="020B0604030504040204" pitchFamily="34" charset="0"/>
                </a:rPr>
                <a:t>. Current State</a:t>
              </a:r>
            </a:p>
          </p:txBody>
        </p:sp>
        <p:sp>
          <p:nvSpPr>
            <p:cNvPr id="9" name="TextBox 8">
              <a:extLst>
                <a:ext uri="{FF2B5EF4-FFF2-40B4-BE49-F238E27FC236}">
                  <a16:creationId xmlns:a16="http://schemas.microsoft.com/office/drawing/2014/main" id="{44468C95-C3B0-4A8E-A1B7-680F468FD5B4}"/>
                </a:ext>
              </a:extLst>
            </p:cNvPr>
            <p:cNvSpPr txBox="1"/>
            <p:nvPr/>
          </p:nvSpPr>
          <p:spPr>
            <a:xfrm>
              <a:off x="847480" y="1395051"/>
              <a:ext cx="2231253" cy="707886"/>
            </a:xfrm>
            <a:prstGeom prst="rect">
              <a:avLst/>
            </a:prstGeom>
            <a:noFill/>
          </p:spPr>
          <p:txBody>
            <a:bodyPr wrap="square" rtlCol="0">
              <a:spAutoFit/>
            </a:bodyPr>
            <a:lstStyle/>
            <a:p>
              <a:pPr marL="112713" marR="0" lvl="0" indent="-112713" algn="l" defTabSz="121917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lang="en-US" sz="1000" dirty="0">
                  <a:solidFill>
                    <a:prstClr val="black">
                      <a:lumMod val="95000"/>
                      <a:lumOff val="5000"/>
                    </a:prstClr>
                  </a:solidFill>
                  <a:ea typeface="Verdana" panose="020B0604030504040204" pitchFamily="34" charset="0"/>
                  <a:cs typeface="Verdana" panose="020B0604030504040204" pitchFamily="34" charset="0"/>
                </a:rPr>
                <a:t>Metal</a:t>
              </a:r>
              <a:r>
                <a:rPr kumimoji="0" lang="en-US" sz="1000" b="0" i="0" u="none" strike="noStrike" kern="1200" cap="none" spc="0" normalizeH="0" baseline="0" noProof="0" dirty="0">
                  <a:ln>
                    <a:noFill/>
                  </a:ln>
                  <a:solidFill>
                    <a:prstClr val="black">
                      <a:lumMod val="95000"/>
                      <a:lumOff val="5000"/>
                    </a:prstClr>
                  </a:solidFill>
                  <a:effectLst/>
                  <a:uLnTx/>
                  <a:uFillTx/>
                  <a:ea typeface="Verdana" panose="020B0604030504040204" pitchFamily="34" charset="0"/>
                  <a:cs typeface="Verdana" panose="020B0604030504040204" pitchFamily="34" charset="0"/>
                </a:rPr>
                <a:t> Cost, which is a major component of product cost, is potentially sub-optimal across the manufacturing network</a:t>
              </a:r>
            </a:p>
          </p:txBody>
        </p:sp>
        <p:sp>
          <p:nvSpPr>
            <p:cNvPr id="10" name="Freeform 66">
              <a:extLst>
                <a:ext uri="{FF2B5EF4-FFF2-40B4-BE49-F238E27FC236}">
                  <a16:creationId xmlns:a16="http://schemas.microsoft.com/office/drawing/2014/main" id="{0A621D43-A2D8-44A3-AD74-09DB2803F5DA}"/>
                </a:ext>
              </a:extLst>
            </p:cNvPr>
            <p:cNvSpPr>
              <a:spLocks noChangeAspect="1" noEditPoints="1"/>
            </p:cNvSpPr>
            <p:nvPr/>
          </p:nvSpPr>
          <p:spPr bwMode="auto">
            <a:xfrm>
              <a:off x="322832" y="1184059"/>
              <a:ext cx="487829" cy="487829"/>
            </a:xfrm>
            <a:custGeom>
              <a:avLst/>
              <a:gdLst>
                <a:gd name="T0" fmla="*/ 275 w 512"/>
                <a:gd name="T1" fmla="*/ 260 h 512"/>
                <a:gd name="T2" fmla="*/ 295 w 512"/>
                <a:gd name="T3" fmla="*/ 217 h 512"/>
                <a:gd name="T4" fmla="*/ 251 w 512"/>
                <a:gd name="T5" fmla="*/ 236 h 512"/>
                <a:gd name="T6" fmla="*/ 275 w 512"/>
                <a:gd name="T7" fmla="*/ 260 h 512"/>
                <a:gd name="T8" fmla="*/ 384 w 512"/>
                <a:gd name="T9" fmla="*/ 245 h 512"/>
                <a:gd name="T10" fmla="*/ 394 w 512"/>
                <a:gd name="T11" fmla="*/ 245 h 512"/>
                <a:gd name="T12" fmla="*/ 266 w 512"/>
                <a:gd name="T13" fmla="*/ 118 h 512"/>
                <a:gd name="T14" fmla="*/ 266 w 512"/>
                <a:gd name="T15" fmla="*/ 128 h 512"/>
                <a:gd name="T16" fmla="*/ 256 w 512"/>
                <a:gd name="T17" fmla="*/ 138 h 512"/>
                <a:gd name="T18" fmla="*/ 245 w 512"/>
                <a:gd name="T19" fmla="*/ 128 h 512"/>
                <a:gd name="T20" fmla="*/ 245 w 512"/>
                <a:gd name="T21" fmla="*/ 118 h 512"/>
                <a:gd name="T22" fmla="*/ 118 w 512"/>
                <a:gd name="T23" fmla="*/ 245 h 512"/>
                <a:gd name="T24" fmla="*/ 128 w 512"/>
                <a:gd name="T25" fmla="*/ 245 h 512"/>
                <a:gd name="T26" fmla="*/ 138 w 512"/>
                <a:gd name="T27" fmla="*/ 256 h 512"/>
                <a:gd name="T28" fmla="*/ 128 w 512"/>
                <a:gd name="T29" fmla="*/ 266 h 512"/>
                <a:gd name="T30" fmla="*/ 118 w 512"/>
                <a:gd name="T31" fmla="*/ 266 h 512"/>
                <a:gd name="T32" fmla="*/ 245 w 512"/>
                <a:gd name="T33" fmla="*/ 394 h 512"/>
                <a:gd name="T34" fmla="*/ 245 w 512"/>
                <a:gd name="T35" fmla="*/ 384 h 512"/>
                <a:gd name="T36" fmla="*/ 256 w 512"/>
                <a:gd name="T37" fmla="*/ 373 h 512"/>
                <a:gd name="T38" fmla="*/ 266 w 512"/>
                <a:gd name="T39" fmla="*/ 384 h 512"/>
                <a:gd name="T40" fmla="*/ 266 w 512"/>
                <a:gd name="T41" fmla="*/ 394 h 512"/>
                <a:gd name="T42" fmla="*/ 394 w 512"/>
                <a:gd name="T43" fmla="*/ 266 h 512"/>
                <a:gd name="T44" fmla="*/ 384 w 512"/>
                <a:gd name="T45" fmla="*/ 266 h 512"/>
                <a:gd name="T46" fmla="*/ 373 w 512"/>
                <a:gd name="T47" fmla="*/ 256 h 512"/>
                <a:gd name="T48" fmla="*/ 384 w 512"/>
                <a:gd name="T49" fmla="*/ 245 h 512"/>
                <a:gd name="T50" fmla="*/ 326 w 512"/>
                <a:gd name="T51" fmla="*/ 200 h 512"/>
                <a:gd name="T52" fmla="*/ 288 w 512"/>
                <a:gd name="T53" fmla="*/ 283 h 512"/>
                <a:gd name="T54" fmla="*/ 283 w 512"/>
                <a:gd name="T55" fmla="*/ 288 h 512"/>
                <a:gd name="T56" fmla="*/ 200 w 512"/>
                <a:gd name="T57" fmla="*/ 326 h 512"/>
                <a:gd name="T58" fmla="*/ 195 w 512"/>
                <a:gd name="T59" fmla="*/ 327 h 512"/>
                <a:gd name="T60" fmla="*/ 188 w 512"/>
                <a:gd name="T61" fmla="*/ 324 h 512"/>
                <a:gd name="T62" fmla="*/ 186 w 512"/>
                <a:gd name="T63" fmla="*/ 312 h 512"/>
                <a:gd name="T64" fmla="*/ 223 w 512"/>
                <a:gd name="T65" fmla="*/ 229 h 512"/>
                <a:gd name="T66" fmla="*/ 229 w 512"/>
                <a:gd name="T67" fmla="*/ 223 h 512"/>
                <a:gd name="T68" fmla="*/ 312 w 512"/>
                <a:gd name="T69" fmla="*/ 186 h 512"/>
                <a:gd name="T70" fmla="*/ 324 w 512"/>
                <a:gd name="T71" fmla="*/ 188 h 512"/>
                <a:gd name="T72" fmla="*/ 326 w 512"/>
                <a:gd name="T73" fmla="*/ 200 h 512"/>
                <a:gd name="T74" fmla="*/ 217 w 512"/>
                <a:gd name="T75" fmla="*/ 295 h 512"/>
                <a:gd name="T76" fmla="*/ 260 w 512"/>
                <a:gd name="T77" fmla="*/ 275 h 512"/>
                <a:gd name="T78" fmla="*/ 236 w 512"/>
                <a:gd name="T79" fmla="*/ 251 h 512"/>
                <a:gd name="T80" fmla="*/ 217 w 512"/>
                <a:gd name="T81" fmla="*/ 295 h 512"/>
                <a:gd name="T82" fmla="*/ 256 w 512"/>
                <a:gd name="T83" fmla="*/ 0 h 512"/>
                <a:gd name="T84" fmla="*/ 0 w 512"/>
                <a:gd name="T85" fmla="*/ 256 h 512"/>
                <a:gd name="T86" fmla="*/ 256 w 512"/>
                <a:gd name="T87" fmla="*/ 512 h 512"/>
                <a:gd name="T88" fmla="*/ 512 w 512"/>
                <a:gd name="T89" fmla="*/ 256 h 512"/>
                <a:gd name="T90" fmla="*/ 256 w 512"/>
                <a:gd name="T91" fmla="*/ 0 h 512"/>
                <a:gd name="T92" fmla="*/ 256 w 512"/>
                <a:gd name="T93" fmla="*/ 416 h 512"/>
                <a:gd name="T94" fmla="*/ 96 w 512"/>
                <a:gd name="T95" fmla="*/ 256 h 512"/>
                <a:gd name="T96" fmla="*/ 256 w 512"/>
                <a:gd name="T97" fmla="*/ 96 h 512"/>
                <a:gd name="T98" fmla="*/ 416 w 512"/>
                <a:gd name="T99" fmla="*/ 256 h 512"/>
                <a:gd name="T100" fmla="*/ 256 w 512"/>
                <a:gd name="T10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75" y="260"/>
                  </a:moveTo>
                  <a:cubicBezTo>
                    <a:pt x="295" y="217"/>
                    <a:pt x="295" y="217"/>
                    <a:pt x="295" y="217"/>
                  </a:cubicBezTo>
                  <a:cubicBezTo>
                    <a:pt x="251" y="236"/>
                    <a:pt x="251" y="236"/>
                    <a:pt x="251" y="236"/>
                  </a:cubicBezTo>
                  <a:lnTo>
                    <a:pt x="275" y="260"/>
                  </a:lnTo>
                  <a:close/>
                  <a:moveTo>
                    <a:pt x="384" y="245"/>
                  </a:moveTo>
                  <a:cubicBezTo>
                    <a:pt x="394" y="245"/>
                    <a:pt x="394" y="245"/>
                    <a:pt x="394" y="245"/>
                  </a:cubicBezTo>
                  <a:cubicBezTo>
                    <a:pt x="389" y="177"/>
                    <a:pt x="334" y="123"/>
                    <a:pt x="266" y="118"/>
                  </a:cubicBezTo>
                  <a:cubicBezTo>
                    <a:pt x="266" y="128"/>
                    <a:pt x="266" y="128"/>
                    <a:pt x="266" y="128"/>
                  </a:cubicBezTo>
                  <a:cubicBezTo>
                    <a:pt x="266" y="134"/>
                    <a:pt x="262" y="138"/>
                    <a:pt x="256" y="138"/>
                  </a:cubicBezTo>
                  <a:cubicBezTo>
                    <a:pt x="250" y="138"/>
                    <a:pt x="245" y="134"/>
                    <a:pt x="245" y="128"/>
                  </a:cubicBezTo>
                  <a:cubicBezTo>
                    <a:pt x="245" y="118"/>
                    <a:pt x="245" y="118"/>
                    <a:pt x="245" y="118"/>
                  </a:cubicBezTo>
                  <a:cubicBezTo>
                    <a:pt x="177" y="123"/>
                    <a:pt x="123" y="177"/>
                    <a:pt x="118" y="245"/>
                  </a:cubicBezTo>
                  <a:cubicBezTo>
                    <a:pt x="128" y="245"/>
                    <a:pt x="128" y="245"/>
                    <a:pt x="128" y="245"/>
                  </a:cubicBezTo>
                  <a:cubicBezTo>
                    <a:pt x="134" y="245"/>
                    <a:pt x="138" y="250"/>
                    <a:pt x="138" y="256"/>
                  </a:cubicBezTo>
                  <a:cubicBezTo>
                    <a:pt x="138" y="262"/>
                    <a:pt x="134" y="266"/>
                    <a:pt x="128" y="266"/>
                  </a:cubicBezTo>
                  <a:cubicBezTo>
                    <a:pt x="118" y="266"/>
                    <a:pt x="118" y="266"/>
                    <a:pt x="118" y="266"/>
                  </a:cubicBezTo>
                  <a:cubicBezTo>
                    <a:pt x="123" y="334"/>
                    <a:pt x="177" y="389"/>
                    <a:pt x="245" y="394"/>
                  </a:cubicBezTo>
                  <a:cubicBezTo>
                    <a:pt x="245" y="384"/>
                    <a:pt x="245" y="384"/>
                    <a:pt x="245" y="384"/>
                  </a:cubicBezTo>
                  <a:cubicBezTo>
                    <a:pt x="245" y="378"/>
                    <a:pt x="250" y="373"/>
                    <a:pt x="256" y="373"/>
                  </a:cubicBezTo>
                  <a:cubicBezTo>
                    <a:pt x="262" y="373"/>
                    <a:pt x="266" y="378"/>
                    <a:pt x="266" y="384"/>
                  </a:cubicBezTo>
                  <a:cubicBezTo>
                    <a:pt x="266" y="394"/>
                    <a:pt x="266" y="394"/>
                    <a:pt x="266" y="394"/>
                  </a:cubicBezTo>
                  <a:cubicBezTo>
                    <a:pt x="334" y="389"/>
                    <a:pt x="389" y="334"/>
                    <a:pt x="394" y="266"/>
                  </a:cubicBezTo>
                  <a:cubicBezTo>
                    <a:pt x="384" y="266"/>
                    <a:pt x="384" y="266"/>
                    <a:pt x="384" y="266"/>
                  </a:cubicBezTo>
                  <a:cubicBezTo>
                    <a:pt x="378" y="266"/>
                    <a:pt x="373" y="262"/>
                    <a:pt x="373" y="256"/>
                  </a:cubicBezTo>
                  <a:cubicBezTo>
                    <a:pt x="373" y="250"/>
                    <a:pt x="378" y="245"/>
                    <a:pt x="384" y="245"/>
                  </a:cubicBezTo>
                  <a:close/>
                  <a:moveTo>
                    <a:pt x="326" y="200"/>
                  </a:moveTo>
                  <a:cubicBezTo>
                    <a:pt x="288" y="283"/>
                    <a:pt x="288" y="283"/>
                    <a:pt x="288" y="283"/>
                  </a:cubicBezTo>
                  <a:cubicBezTo>
                    <a:pt x="287" y="285"/>
                    <a:pt x="285" y="287"/>
                    <a:pt x="283" y="288"/>
                  </a:cubicBezTo>
                  <a:cubicBezTo>
                    <a:pt x="200" y="326"/>
                    <a:pt x="200" y="326"/>
                    <a:pt x="200" y="326"/>
                  </a:cubicBezTo>
                  <a:cubicBezTo>
                    <a:pt x="198" y="326"/>
                    <a:pt x="197" y="327"/>
                    <a:pt x="195" y="327"/>
                  </a:cubicBezTo>
                  <a:cubicBezTo>
                    <a:pt x="193" y="327"/>
                    <a:pt x="190" y="326"/>
                    <a:pt x="188" y="324"/>
                  </a:cubicBezTo>
                  <a:cubicBezTo>
                    <a:pt x="185" y="320"/>
                    <a:pt x="184" y="316"/>
                    <a:pt x="186" y="312"/>
                  </a:cubicBezTo>
                  <a:cubicBezTo>
                    <a:pt x="223" y="229"/>
                    <a:pt x="223" y="229"/>
                    <a:pt x="223" y="229"/>
                  </a:cubicBezTo>
                  <a:cubicBezTo>
                    <a:pt x="224" y="226"/>
                    <a:pt x="226" y="224"/>
                    <a:pt x="229" y="223"/>
                  </a:cubicBezTo>
                  <a:cubicBezTo>
                    <a:pt x="312" y="186"/>
                    <a:pt x="312" y="186"/>
                    <a:pt x="312" y="186"/>
                  </a:cubicBezTo>
                  <a:cubicBezTo>
                    <a:pt x="316" y="184"/>
                    <a:pt x="320" y="185"/>
                    <a:pt x="324" y="188"/>
                  </a:cubicBezTo>
                  <a:cubicBezTo>
                    <a:pt x="327" y="191"/>
                    <a:pt x="328" y="196"/>
                    <a:pt x="326" y="200"/>
                  </a:cubicBezTo>
                  <a:close/>
                  <a:moveTo>
                    <a:pt x="217" y="295"/>
                  </a:moveTo>
                  <a:cubicBezTo>
                    <a:pt x="260" y="275"/>
                    <a:pt x="260" y="275"/>
                    <a:pt x="260" y="275"/>
                  </a:cubicBezTo>
                  <a:cubicBezTo>
                    <a:pt x="236" y="251"/>
                    <a:pt x="236" y="251"/>
                    <a:pt x="236" y="251"/>
                  </a:cubicBezTo>
                  <a:lnTo>
                    <a:pt x="217" y="295"/>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167" y="416"/>
                    <a:pt x="96" y="344"/>
                    <a:pt x="96" y="256"/>
                  </a:cubicBezTo>
                  <a:cubicBezTo>
                    <a:pt x="96" y="167"/>
                    <a:pt x="167" y="96"/>
                    <a:pt x="256" y="96"/>
                  </a:cubicBezTo>
                  <a:cubicBezTo>
                    <a:pt x="344" y="96"/>
                    <a:pt x="416" y="167"/>
                    <a:pt x="416" y="256"/>
                  </a:cubicBezTo>
                  <a:cubicBezTo>
                    <a:pt x="416" y="344"/>
                    <a:pt x="344" y="416"/>
                    <a:pt x="256" y="41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ea typeface="+mn-ea"/>
                <a:cs typeface="+mn-cs"/>
              </a:endParaRPr>
            </a:p>
          </p:txBody>
        </p:sp>
        <p:sp>
          <p:nvSpPr>
            <p:cNvPr id="11" name="Freeform 6">
              <a:extLst>
                <a:ext uri="{FF2B5EF4-FFF2-40B4-BE49-F238E27FC236}">
                  <a16:creationId xmlns:a16="http://schemas.microsoft.com/office/drawing/2014/main" id="{BA8F249A-220F-4746-82B3-DD4D9B8BB43E}"/>
                </a:ext>
              </a:extLst>
            </p:cNvPr>
            <p:cNvSpPr>
              <a:spLocks noChangeAspect="1" noEditPoints="1"/>
            </p:cNvSpPr>
            <p:nvPr/>
          </p:nvSpPr>
          <p:spPr bwMode="auto">
            <a:xfrm>
              <a:off x="1622797" y="2407699"/>
              <a:ext cx="193554" cy="279332"/>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ea typeface="+mn-ea"/>
                <a:cs typeface="+mn-cs"/>
              </a:endParaRPr>
            </a:p>
          </p:txBody>
        </p:sp>
        <p:cxnSp>
          <p:nvCxnSpPr>
            <p:cNvPr id="12" name="Straight Arrow Connector 11">
              <a:extLst>
                <a:ext uri="{FF2B5EF4-FFF2-40B4-BE49-F238E27FC236}">
                  <a16:creationId xmlns:a16="http://schemas.microsoft.com/office/drawing/2014/main" id="{E1045D2F-5FC5-41C8-B79A-529D0362FE87}"/>
                </a:ext>
              </a:extLst>
            </p:cNvPr>
            <p:cNvCxnSpPr/>
            <p:nvPr/>
          </p:nvCxnSpPr>
          <p:spPr>
            <a:xfrm flipH="1" flipV="1">
              <a:off x="1547971" y="2073403"/>
              <a:ext cx="117639" cy="31453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4CFCD033-6C40-44D4-8A02-D4C3E7A3DC39}"/>
              </a:ext>
            </a:extLst>
          </p:cNvPr>
          <p:cNvSpPr txBox="1"/>
          <p:nvPr/>
        </p:nvSpPr>
        <p:spPr>
          <a:xfrm>
            <a:off x="3569511" y="1688575"/>
            <a:ext cx="2526490" cy="338554"/>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ea typeface="Verdana" panose="020B0604030504040204" pitchFamily="34" charset="0"/>
                <a:cs typeface="Verdana" panose="020B0604030504040204" pitchFamily="34" charset="0"/>
              </a:rPr>
              <a:t>1</a:t>
            </a:r>
            <a:r>
              <a:rPr kumimoji="0" lang="en-US" sz="1000" b="1" i="0" u="none" strike="noStrike" kern="1200" cap="none" spc="0" normalizeH="0" baseline="0" noProof="0" dirty="0">
                <a:ln>
                  <a:noFill/>
                </a:ln>
                <a:effectLst/>
                <a:uLnTx/>
                <a:uFillTx/>
                <a:ea typeface="Verdana" panose="020B0604030504040204" pitchFamily="34" charset="0"/>
                <a:cs typeface="Verdana" panose="020B0604030504040204" pitchFamily="34" charset="0"/>
              </a:rPr>
              <a:t>. Proof of Concept</a:t>
            </a:r>
          </a:p>
        </p:txBody>
      </p:sp>
      <p:sp>
        <p:nvSpPr>
          <p:cNvPr id="15" name="TextBox 14">
            <a:extLst>
              <a:ext uri="{FF2B5EF4-FFF2-40B4-BE49-F238E27FC236}">
                <a16:creationId xmlns:a16="http://schemas.microsoft.com/office/drawing/2014/main" id="{7A58782B-A479-49A3-AFAB-A163D4BE9CF1}"/>
              </a:ext>
            </a:extLst>
          </p:cNvPr>
          <p:cNvSpPr txBox="1"/>
          <p:nvPr/>
        </p:nvSpPr>
        <p:spPr>
          <a:xfrm>
            <a:off x="3738566" y="1975783"/>
            <a:ext cx="2010498" cy="1015663"/>
          </a:xfrm>
          <a:prstGeom prst="rect">
            <a:avLst/>
          </a:prstGeom>
          <a:noFill/>
        </p:spPr>
        <p:txBody>
          <a:bodyPr wrap="square" rtlCol="0">
            <a:spAutoFit/>
          </a:bodyPr>
          <a:lstStyle/>
          <a:p>
            <a:pPr marL="112713" marR="0" lvl="0" indent="-112713"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prstClr val="black">
                    <a:lumMod val="95000"/>
                    <a:lumOff val="5000"/>
                  </a:prstClr>
                </a:solidFill>
                <a:effectLst/>
                <a:uLnTx/>
                <a:uFillTx/>
                <a:ea typeface="Verdana" panose="020B0604030504040204" pitchFamily="34" charset="0"/>
                <a:cs typeface="Verdana" panose="020B0604030504040204" pitchFamily="34" charset="0"/>
              </a:rPr>
              <a:t>Develop a methodology to choose the most cost efficient supply mix and product recipe based on forecasted production, metal requirements and prices</a:t>
            </a:r>
          </a:p>
        </p:txBody>
      </p:sp>
      <p:sp>
        <p:nvSpPr>
          <p:cNvPr id="16" name="Freeform 723">
            <a:extLst>
              <a:ext uri="{FF2B5EF4-FFF2-40B4-BE49-F238E27FC236}">
                <a16:creationId xmlns:a16="http://schemas.microsoft.com/office/drawing/2014/main" id="{57E41655-53BC-428E-8A01-FF7A68431EB8}"/>
              </a:ext>
            </a:extLst>
          </p:cNvPr>
          <p:cNvSpPr>
            <a:spLocks noChangeAspect="1" noEditPoints="1"/>
          </p:cNvSpPr>
          <p:nvPr/>
        </p:nvSpPr>
        <p:spPr bwMode="auto">
          <a:xfrm>
            <a:off x="3087211" y="1749040"/>
            <a:ext cx="487829" cy="487829"/>
          </a:xfrm>
          <a:custGeom>
            <a:avLst/>
            <a:gdLst>
              <a:gd name="T0" fmla="*/ 248 w 512"/>
              <a:gd name="T1" fmla="*/ 263 h 512"/>
              <a:gd name="T2" fmla="*/ 263 w 512"/>
              <a:gd name="T3" fmla="*/ 263 h 512"/>
              <a:gd name="T4" fmla="*/ 288 w 512"/>
              <a:gd name="T5" fmla="*/ 256 h 512"/>
              <a:gd name="T6" fmla="*/ 224 w 512"/>
              <a:gd name="T7" fmla="*/ 256 h 512"/>
              <a:gd name="T8" fmla="*/ 269 w 512"/>
              <a:gd name="T9" fmla="*/ 227 h 512"/>
              <a:gd name="T10" fmla="*/ 331 w 512"/>
              <a:gd name="T11" fmla="*/ 196 h 512"/>
              <a:gd name="T12" fmla="*/ 256 w 512"/>
              <a:gd name="T13" fmla="*/ 352 h 512"/>
              <a:gd name="T14" fmla="*/ 256 w 512"/>
              <a:gd name="T15" fmla="*/ 160 h 512"/>
              <a:gd name="T16" fmla="*/ 331 w 512"/>
              <a:gd name="T17" fmla="*/ 166 h 512"/>
              <a:gd name="T18" fmla="*/ 138 w 512"/>
              <a:gd name="T19" fmla="*/ 256 h 512"/>
              <a:gd name="T20" fmla="*/ 373 w 512"/>
              <a:gd name="T21" fmla="*/ 256 h 512"/>
              <a:gd name="T22" fmla="*/ 331 w 512"/>
              <a:gd name="T23" fmla="*/ 196 h 512"/>
              <a:gd name="T24" fmla="*/ 181 w 512"/>
              <a:gd name="T25" fmla="*/ 256 h 512"/>
              <a:gd name="T26" fmla="*/ 330 w 512"/>
              <a:gd name="T27" fmla="*/ 256 h 512"/>
              <a:gd name="T28" fmla="*/ 300 w 512"/>
              <a:gd name="T29" fmla="*/ 226 h 512"/>
              <a:gd name="T30" fmla="*/ 256 w 512"/>
              <a:gd name="T31" fmla="*/ 309 h 512"/>
              <a:gd name="T32" fmla="*/ 256 w 512"/>
              <a:gd name="T33" fmla="*/ 202 h 512"/>
              <a:gd name="T34" fmla="*/ 300 w 512"/>
              <a:gd name="T35" fmla="*/ 196 h 512"/>
              <a:gd name="T36" fmla="*/ 512 w 512"/>
              <a:gd name="T37" fmla="*/ 256 h 512"/>
              <a:gd name="T38" fmla="*/ 0 w 512"/>
              <a:gd name="T39" fmla="*/ 256 h 512"/>
              <a:gd name="T40" fmla="*/ 512 w 512"/>
              <a:gd name="T41" fmla="*/ 256 h 512"/>
              <a:gd name="T42" fmla="*/ 394 w 512"/>
              <a:gd name="T43" fmla="*/ 138 h 512"/>
              <a:gd name="T44" fmla="*/ 373 w 512"/>
              <a:gd name="T45" fmla="*/ 117 h 512"/>
              <a:gd name="T46" fmla="*/ 352 w 512"/>
              <a:gd name="T47" fmla="*/ 117 h 512"/>
              <a:gd name="T48" fmla="*/ 346 w 512"/>
              <a:gd name="T49" fmla="*/ 150 h 512"/>
              <a:gd name="T50" fmla="*/ 117 w 512"/>
              <a:gd name="T51" fmla="*/ 256 h 512"/>
              <a:gd name="T52" fmla="*/ 141 w 512"/>
              <a:gd name="T53" fmla="*/ 376 h 512"/>
              <a:gd name="T54" fmla="*/ 149 w 512"/>
              <a:gd name="T55" fmla="*/ 394 h 512"/>
              <a:gd name="T56" fmla="*/ 178 w 512"/>
              <a:gd name="T57" fmla="*/ 370 h 512"/>
              <a:gd name="T58" fmla="*/ 334 w 512"/>
              <a:gd name="T59" fmla="*/ 370 h 512"/>
              <a:gd name="T60" fmla="*/ 362 w 512"/>
              <a:gd name="T61" fmla="*/ 394 h 512"/>
              <a:gd name="T62" fmla="*/ 370 w 512"/>
              <a:gd name="T63" fmla="*/ 376 h 512"/>
              <a:gd name="T64" fmla="*/ 394 w 512"/>
              <a:gd name="T65" fmla="*/ 256 h 512"/>
              <a:gd name="T66" fmla="*/ 367 w 512"/>
              <a:gd name="T67" fmla="*/ 160 h 512"/>
              <a:gd name="T68" fmla="*/ 405 w 512"/>
              <a:gd name="T6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48" y="248"/>
                </a:moveTo>
                <a:cubicBezTo>
                  <a:pt x="244" y="252"/>
                  <a:pt x="244" y="259"/>
                  <a:pt x="248" y="263"/>
                </a:cubicBezTo>
                <a:cubicBezTo>
                  <a:pt x="250" y="265"/>
                  <a:pt x="253" y="266"/>
                  <a:pt x="256" y="266"/>
                </a:cubicBezTo>
                <a:cubicBezTo>
                  <a:pt x="258" y="266"/>
                  <a:pt x="261" y="265"/>
                  <a:pt x="263" y="263"/>
                </a:cubicBezTo>
                <a:cubicBezTo>
                  <a:pt x="284" y="242"/>
                  <a:pt x="284" y="242"/>
                  <a:pt x="284" y="242"/>
                </a:cubicBezTo>
                <a:cubicBezTo>
                  <a:pt x="286" y="246"/>
                  <a:pt x="288" y="251"/>
                  <a:pt x="288" y="256"/>
                </a:cubicBezTo>
                <a:cubicBezTo>
                  <a:pt x="288" y="273"/>
                  <a:pt x="273" y="288"/>
                  <a:pt x="256" y="288"/>
                </a:cubicBezTo>
                <a:cubicBezTo>
                  <a:pt x="238" y="288"/>
                  <a:pt x="224" y="273"/>
                  <a:pt x="224" y="256"/>
                </a:cubicBezTo>
                <a:cubicBezTo>
                  <a:pt x="224" y="238"/>
                  <a:pt x="238" y="224"/>
                  <a:pt x="256" y="224"/>
                </a:cubicBezTo>
                <a:cubicBezTo>
                  <a:pt x="261" y="224"/>
                  <a:pt x="265" y="225"/>
                  <a:pt x="269" y="227"/>
                </a:cubicBezTo>
                <a:lnTo>
                  <a:pt x="248" y="248"/>
                </a:lnTo>
                <a:close/>
                <a:moveTo>
                  <a:pt x="331" y="196"/>
                </a:moveTo>
                <a:cubicBezTo>
                  <a:pt x="344" y="212"/>
                  <a:pt x="352" y="233"/>
                  <a:pt x="352" y="256"/>
                </a:cubicBezTo>
                <a:cubicBezTo>
                  <a:pt x="352" y="309"/>
                  <a:pt x="309" y="352"/>
                  <a:pt x="256" y="352"/>
                </a:cubicBezTo>
                <a:cubicBezTo>
                  <a:pt x="203" y="352"/>
                  <a:pt x="160" y="309"/>
                  <a:pt x="160" y="256"/>
                </a:cubicBezTo>
                <a:cubicBezTo>
                  <a:pt x="160" y="203"/>
                  <a:pt x="203" y="160"/>
                  <a:pt x="256" y="160"/>
                </a:cubicBezTo>
                <a:cubicBezTo>
                  <a:pt x="278" y="160"/>
                  <a:pt x="299" y="168"/>
                  <a:pt x="316" y="181"/>
                </a:cubicBezTo>
                <a:cubicBezTo>
                  <a:pt x="331" y="166"/>
                  <a:pt x="331" y="166"/>
                  <a:pt x="331" y="166"/>
                </a:cubicBezTo>
                <a:cubicBezTo>
                  <a:pt x="310" y="149"/>
                  <a:pt x="284" y="138"/>
                  <a:pt x="256" y="138"/>
                </a:cubicBezTo>
                <a:cubicBezTo>
                  <a:pt x="191" y="138"/>
                  <a:pt x="138" y="191"/>
                  <a:pt x="138" y="256"/>
                </a:cubicBezTo>
                <a:cubicBezTo>
                  <a:pt x="138" y="320"/>
                  <a:pt x="191" y="373"/>
                  <a:pt x="256" y="373"/>
                </a:cubicBezTo>
                <a:cubicBezTo>
                  <a:pt x="320" y="373"/>
                  <a:pt x="373" y="320"/>
                  <a:pt x="373" y="256"/>
                </a:cubicBezTo>
                <a:cubicBezTo>
                  <a:pt x="373" y="227"/>
                  <a:pt x="363" y="201"/>
                  <a:pt x="346" y="181"/>
                </a:cubicBezTo>
                <a:lnTo>
                  <a:pt x="331" y="196"/>
                </a:lnTo>
                <a:close/>
                <a:moveTo>
                  <a:pt x="256" y="181"/>
                </a:moveTo>
                <a:cubicBezTo>
                  <a:pt x="214" y="181"/>
                  <a:pt x="181" y="214"/>
                  <a:pt x="181" y="256"/>
                </a:cubicBezTo>
                <a:cubicBezTo>
                  <a:pt x="181" y="297"/>
                  <a:pt x="214" y="330"/>
                  <a:pt x="256" y="330"/>
                </a:cubicBezTo>
                <a:cubicBezTo>
                  <a:pt x="297" y="330"/>
                  <a:pt x="330" y="297"/>
                  <a:pt x="330" y="256"/>
                </a:cubicBezTo>
                <a:cubicBezTo>
                  <a:pt x="330" y="239"/>
                  <a:pt x="325" y="224"/>
                  <a:pt x="315" y="211"/>
                </a:cubicBezTo>
                <a:cubicBezTo>
                  <a:pt x="300" y="226"/>
                  <a:pt x="300" y="226"/>
                  <a:pt x="300" y="226"/>
                </a:cubicBezTo>
                <a:cubicBezTo>
                  <a:pt x="306" y="235"/>
                  <a:pt x="309" y="245"/>
                  <a:pt x="309" y="256"/>
                </a:cubicBezTo>
                <a:cubicBezTo>
                  <a:pt x="309" y="285"/>
                  <a:pt x="285" y="309"/>
                  <a:pt x="256" y="309"/>
                </a:cubicBezTo>
                <a:cubicBezTo>
                  <a:pt x="226" y="309"/>
                  <a:pt x="202" y="285"/>
                  <a:pt x="202" y="256"/>
                </a:cubicBezTo>
                <a:cubicBezTo>
                  <a:pt x="202" y="226"/>
                  <a:pt x="226" y="202"/>
                  <a:pt x="256" y="202"/>
                </a:cubicBezTo>
                <a:cubicBezTo>
                  <a:pt x="267" y="202"/>
                  <a:pt x="277" y="206"/>
                  <a:pt x="285" y="211"/>
                </a:cubicBezTo>
                <a:cubicBezTo>
                  <a:pt x="300" y="196"/>
                  <a:pt x="300" y="196"/>
                  <a:pt x="300" y="196"/>
                </a:cubicBezTo>
                <a:cubicBezTo>
                  <a:pt x="288" y="187"/>
                  <a:pt x="272" y="181"/>
                  <a:pt x="256" y="18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3"/>
                  <a:pt x="400" y="138"/>
                  <a:pt x="394" y="138"/>
                </a:cubicBezTo>
                <a:cubicBezTo>
                  <a:pt x="373" y="138"/>
                  <a:pt x="373" y="138"/>
                  <a:pt x="373" y="138"/>
                </a:cubicBezTo>
                <a:cubicBezTo>
                  <a:pt x="373" y="117"/>
                  <a:pt x="373" y="117"/>
                  <a:pt x="373" y="117"/>
                </a:cubicBezTo>
                <a:cubicBezTo>
                  <a:pt x="373" y="111"/>
                  <a:pt x="368" y="106"/>
                  <a:pt x="362" y="106"/>
                </a:cubicBezTo>
                <a:cubicBezTo>
                  <a:pt x="356" y="106"/>
                  <a:pt x="352" y="111"/>
                  <a:pt x="352" y="117"/>
                </a:cubicBezTo>
                <a:cubicBezTo>
                  <a:pt x="352" y="145"/>
                  <a:pt x="352" y="145"/>
                  <a:pt x="352" y="145"/>
                </a:cubicBezTo>
                <a:cubicBezTo>
                  <a:pt x="346" y="150"/>
                  <a:pt x="346" y="150"/>
                  <a:pt x="346" y="150"/>
                </a:cubicBezTo>
                <a:cubicBezTo>
                  <a:pt x="322" y="130"/>
                  <a:pt x="290" y="117"/>
                  <a:pt x="256" y="117"/>
                </a:cubicBezTo>
                <a:cubicBezTo>
                  <a:pt x="179" y="117"/>
                  <a:pt x="117" y="179"/>
                  <a:pt x="117" y="256"/>
                </a:cubicBezTo>
                <a:cubicBezTo>
                  <a:pt x="117" y="295"/>
                  <a:pt x="134" y="331"/>
                  <a:pt x="161" y="357"/>
                </a:cubicBezTo>
                <a:cubicBezTo>
                  <a:pt x="141" y="376"/>
                  <a:pt x="141" y="376"/>
                  <a:pt x="141" y="376"/>
                </a:cubicBezTo>
                <a:cubicBezTo>
                  <a:pt x="137" y="380"/>
                  <a:pt x="137" y="387"/>
                  <a:pt x="141" y="391"/>
                </a:cubicBezTo>
                <a:cubicBezTo>
                  <a:pt x="144" y="393"/>
                  <a:pt x="146" y="394"/>
                  <a:pt x="149" y="394"/>
                </a:cubicBezTo>
                <a:cubicBezTo>
                  <a:pt x="152" y="394"/>
                  <a:pt x="154" y="393"/>
                  <a:pt x="157" y="391"/>
                </a:cubicBezTo>
                <a:cubicBezTo>
                  <a:pt x="178" y="370"/>
                  <a:pt x="178" y="370"/>
                  <a:pt x="178" y="370"/>
                </a:cubicBezTo>
                <a:cubicBezTo>
                  <a:pt x="200" y="385"/>
                  <a:pt x="227" y="394"/>
                  <a:pt x="256" y="394"/>
                </a:cubicBezTo>
                <a:cubicBezTo>
                  <a:pt x="285" y="394"/>
                  <a:pt x="311" y="385"/>
                  <a:pt x="334" y="370"/>
                </a:cubicBezTo>
                <a:cubicBezTo>
                  <a:pt x="355" y="391"/>
                  <a:pt x="355" y="391"/>
                  <a:pt x="355" y="391"/>
                </a:cubicBezTo>
                <a:cubicBezTo>
                  <a:pt x="357" y="393"/>
                  <a:pt x="360" y="394"/>
                  <a:pt x="362" y="394"/>
                </a:cubicBezTo>
                <a:cubicBezTo>
                  <a:pt x="365" y="394"/>
                  <a:pt x="368" y="393"/>
                  <a:pt x="370" y="391"/>
                </a:cubicBezTo>
                <a:cubicBezTo>
                  <a:pt x="374" y="387"/>
                  <a:pt x="374" y="380"/>
                  <a:pt x="370" y="376"/>
                </a:cubicBezTo>
                <a:cubicBezTo>
                  <a:pt x="350" y="357"/>
                  <a:pt x="350" y="357"/>
                  <a:pt x="350" y="357"/>
                </a:cubicBezTo>
                <a:cubicBezTo>
                  <a:pt x="377" y="331"/>
                  <a:pt x="394" y="295"/>
                  <a:pt x="394" y="256"/>
                </a:cubicBezTo>
                <a:cubicBezTo>
                  <a:pt x="394" y="221"/>
                  <a:pt x="382" y="190"/>
                  <a:pt x="361" y="166"/>
                </a:cubicBezTo>
                <a:cubicBezTo>
                  <a:pt x="367" y="160"/>
                  <a:pt x="367" y="160"/>
                  <a:pt x="367" y="160"/>
                </a:cubicBezTo>
                <a:cubicBezTo>
                  <a:pt x="394" y="160"/>
                  <a:pt x="394" y="160"/>
                  <a:pt x="394" y="160"/>
                </a:cubicBezTo>
                <a:cubicBezTo>
                  <a:pt x="400" y="160"/>
                  <a:pt x="405" y="155"/>
                  <a:pt x="405" y="14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ea typeface="+mn-ea"/>
              <a:cs typeface="+mn-cs"/>
            </a:endParaRPr>
          </a:p>
        </p:txBody>
      </p:sp>
      <p:sp>
        <p:nvSpPr>
          <p:cNvPr id="17" name="Freeform 6">
            <a:extLst>
              <a:ext uri="{FF2B5EF4-FFF2-40B4-BE49-F238E27FC236}">
                <a16:creationId xmlns:a16="http://schemas.microsoft.com/office/drawing/2014/main" id="{F30161A8-D2CA-4D5E-9680-4F9DEFB7B522}"/>
              </a:ext>
            </a:extLst>
          </p:cNvPr>
          <p:cNvSpPr>
            <a:spLocks noChangeAspect="1" noEditPoints="1"/>
          </p:cNvSpPr>
          <p:nvPr/>
        </p:nvSpPr>
        <p:spPr bwMode="auto">
          <a:xfrm>
            <a:off x="3245513" y="3487849"/>
            <a:ext cx="187276" cy="279332"/>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ea typeface="+mn-ea"/>
              <a:cs typeface="+mn-cs"/>
            </a:endParaRPr>
          </a:p>
        </p:txBody>
      </p:sp>
      <p:cxnSp>
        <p:nvCxnSpPr>
          <p:cNvPr id="18" name="Straight Arrow Connector 17">
            <a:extLst>
              <a:ext uri="{FF2B5EF4-FFF2-40B4-BE49-F238E27FC236}">
                <a16:creationId xmlns:a16="http://schemas.microsoft.com/office/drawing/2014/main" id="{BC5952E7-288F-43F8-9BCD-FF43FD5A92FE}"/>
              </a:ext>
            </a:extLst>
          </p:cNvPr>
          <p:cNvCxnSpPr/>
          <p:nvPr/>
        </p:nvCxnSpPr>
        <p:spPr>
          <a:xfrm flipV="1">
            <a:off x="3411840" y="2994407"/>
            <a:ext cx="363797" cy="48135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A752B8BC-1CE2-4EDF-BCC0-30E82F209997}"/>
              </a:ext>
            </a:extLst>
          </p:cNvPr>
          <p:cNvGrpSpPr/>
          <p:nvPr/>
        </p:nvGrpSpPr>
        <p:grpSpPr>
          <a:xfrm>
            <a:off x="5799324" y="2019875"/>
            <a:ext cx="4551083" cy="2097341"/>
            <a:chOff x="5799324" y="1429734"/>
            <a:chExt cx="4551083" cy="2097341"/>
          </a:xfrm>
        </p:grpSpPr>
        <p:sp>
          <p:nvSpPr>
            <p:cNvPr id="26" name="TextBox 25">
              <a:extLst>
                <a:ext uri="{FF2B5EF4-FFF2-40B4-BE49-F238E27FC236}">
                  <a16:creationId xmlns:a16="http://schemas.microsoft.com/office/drawing/2014/main" id="{7AB40845-F927-4310-9D04-566BBAA9C53F}"/>
                </a:ext>
              </a:extLst>
            </p:cNvPr>
            <p:cNvSpPr txBox="1"/>
            <p:nvPr/>
          </p:nvSpPr>
          <p:spPr>
            <a:xfrm>
              <a:off x="6277634" y="1429734"/>
              <a:ext cx="4072773" cy="338554"/>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ea typeface="Verdana" panose="020B0604030504040204" pitchFamily="34" charset="0"/>
                  <a:cs typeface="Verdana" panose="020B0604030504040204" pitchFamily="34" charset="0"/>
                </a:rPr>
                <a:t>2</a:t>
              </a:r>
              <a:r>
                <a:rPr kumimoji="0" lang="en-US" sz="1000" b="1" i="0" u="none" strike="noStrike" kern="1200" cap="none" spc="0" normalizeH="0" baseline="0" noProof="0" dirty="0">
                  <a:ln>
                    <a:noFill/>
                  </a:ln>
                  <a:effectLst/>
                  <a:uLnTx/>
                  <a:uFillTx/>
                  <a:ea typeface="Verdana" panose="020B0604030504040204" pitchFamily="34" charset="0"/>
                  <a:cs typeface="Verdana" panose="020B0604030504040204" pitchFamily="34" charset="0"/>
                </a:rPr>
                <a:t>. Model Extension, Business Case Development</a:t>
              </a:r>
            </a:p>
          </p:txBody>
        </p:sp>
        <p:sp>
          <p:nvSpPr>
            <p:cNvPr id="27" name="TextBox 26">
              <a:extLst>
                <a:ext uri="{FF2B5EF4-FFF2-40B4-BE49-F238E27FC236}">
                  <a16:creationId xmlns:a16="http://schemas.microsoft.com/office/drawing/2014/main" id="{8332DFE4-45BA-420E-9383-200752ED5963}"/>
                </a:ext>
              </a:extLst>
            </p:cNvPr>
            <p:cNvSpPr txBox="1"/>
            <p:nvPr/>
          </p:nvSpPr>
          <p:spPr>
            <a:xfrm>
              <a:off x="6481473" y="1702237"/>
              <a:ext cx="2681094" cy="1015663"/>
            </a:xfrm>
            <a:prstGeom prst="rect">
              <a:avLst/>
            </a:prstGeom>
            <a:noFill/>
          </p:spPr>
          <p:txBody>
            <a:bodyPr wrap="square" rtlCol="0">
              <a:spAutoFit/>
            </a:bodyPr>
            <a:lstStyle/>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prstClr val="black">
                      <a:lumMod val="95000"/>
                      <a:lumOff val="5000"/>
                    </a:prstClr>
                  </a:solidFill>
                  <a:effectLst/>
                  <a:uLnTx/>
                  <a:uFillTx/>
                  <a:ea typeface="Verdana" panose="020B0604030504040204" pitchFamily="34" charset="0"/>
                  <a:cs typeface="Verdana" panose="020B0604030504040204" pitchFamily="34" charset="0"/>
                </a:rPr>
                <a:t>Collect volume, pricing, data for all metals across all plants</a:t>
              </a:r>
            </a:p>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prstClr val="black">
                      <a:lumMod val="95000"/>
                      <a:lumOff val="5000"/>
                    </a:prstClr>
                  </a:solidFill>
                  <a:effectLst/>
                  <a:uLnTx/>
                  <a:uFillTx/>
                  <a:ea typeface="Verdana" panose="020B0604030504040204" pitchFamily="34" charset="0"/>
                  <a:cs typeface="Verdana" panose="020B0604030504040204" pitchFamily="34" charset="0"/>
                </a:rPr>
                <a:t>Add Product level analysis</a:t>
              </a:r>
            </a:p>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prstClr val="black"/>
                  </a:solidFill>
                  <a:effectLst/>
                  <a:uLnTx/>
                  <a:uFillTx/>
                  <a:ea typeface="+mn-ea"/>
                  <a:cs typeface="+mn-cs"/>
                </a:rPr>
                <a:t>Add quality variations, transfer costs, and any other constraints</a:t>
              </a:r>
            </a:p>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prstClr val="black"/>
                  </a:solidFill>
                  <a:effectLst/>
                  <a:uLnTx/>
                  <a:uFillTx/>
                  <a:ea typeface="+mn-ea"/>
                  <a:cs typeface="+mn-cs"/>
                </a:rPr>
                <a:t>Establish Business Case</a:t>
              </a:r>
            </a:p>
          </p:txBody>
        </p:sp>
        <p:sp>
          <p:nvSpPr>
            <p:cNvPr id="28" name="Freeform 5">
              <a:extLst>
                <a:ext uri="{FF2B5EF4-FFF2-40B4-BE49-F238E27FC236}">
                  <a16:creationId xmlns:a16="http://schemas.microsoft.com/office/drawing/2014/main" id="{E61C9DB1-04E9-4833-8214-8BBD38620653}"/>
                </a:ext>
              </a:extLst>
            </p:cNvPr>
            <p:cNvSpPr>
              <a:spLocks noChangeAspect="1" noEditPoints="1"/>
            </p:cNvSpPr>
            <p:nvPr/>
          </p:nvSpPr>
          <p:spPr bwMode="auto">
            <a:xfrm>
              <a:off x="5832534" y="1462536"/>
              <a:ext cx="487829" cy="487829"/>
            </a:xfrm>
            <a:custGeom>
              <a:avLst/>
              <a:gdLst>
                <a:gd name="T0" fmla="*/ 341 w 512"/>
                <a:gd name="T1" fmla="*/ 232 h 512"/>
                <a:gd name="T2" fmla="*/ 373 w 512"/>
                <a:gd name="T3" fmla="*/ 200 h 512"/>
                <a:gd name="T4" fmla="*/ 364 w 512"/>
                <a:gd name="T5" fmla="*/ 237 h 512"/>
                <a:gd name="T6" fmla="*/ 364 w 512"/>
                <a:gd name="T7" fmla="*/ 237 h 512"/>
                <a:gd name="T8" fmla="*/ 354 w 512"/>
                <a:gd name="T9" fmla="*/ 249 h 512"/>
                <a:gd name="T10" fmla="*/ 288 w 512"/>
                <a:gd name="T11" fmla="*/ 264 h 512"/>
                <a:gd name="T12" fmla="*/ 276 w 512"/>
                <a:gd name="T13" fmla="*/ 267 h 512"/>
                <a:gd name="T14" fmla="*/ 167 w 512"/>
                <a:gd name="T15" fmla="*/ 376 h 512"/>
                <a:gd name="T16" fmla="*/ 137 w 512"/>
                <a:gd name="T17" fmla="*/ 376 h 512"/>
                <a:gd name="T18" fmla="*/ 131 w 512"/>
                <a:gd name="T19" fmla="*/ 361 h 512"/>
                <a:gd name="T20" fmla="*/ 137 w 512"/>
                <a:gd name="T21" fmla="*/ 346 h 512"/>
                <a:gd name="T22" fmla="*/ 246 w 512"/>
                <a:gd name="T23" fmla="*/ 237 h 512"/>
                <a:gd name="T24" fmla="*/ 249 w 512"/>
                <a:gd name="T25" fmla="*/ 225 h 512"/>
                <a:gd name="T26" fmla="*/ 264 w 512"/>
                <a:gd name="T27" fmla="*/ 159 h 512"/>
                <a:gd name="T28" fmla="*/ 276 w 512"/>
                <a:gd name="T29" fmla="*/ 149 h 512"/>
                <a:gd name="T30" fmla="*/ 309 w 512"/>
                <a:gd name="T31" fmla="*/ 140 h 512"/>
                <a:gd name="T32" fmla="*/ 312 w 512"/>
                <a:gd name="T33" fmla="*/ 140 h 512"/>
                <a:gd name="T34" fmla="*/ 281 w 512"/>
                <a:gd name="T35" fmla="*/ 171 h 512"/>
                <a:gd name="T36" fmla="*/ 280 w 512"/>
                <a:gd name="T37" fmla="*/ 185 h 512"/>
                <a:gd name="T38" fmla="*/ 301 w 512"/>
                <a:gd name="T39" fmla="*/ 211 h 512"/>
                <a:gd name="T40" fmla="*/ 328 w 512"/>
                <a:gd name="T41" fmla="*/ 233 h 512"/>
                <a:gd name="T42" fmla="*/ 341 w 512"/>
                <a:gd name="T43" fmla="*/ 232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89 w 512"/>
                <a:gd name="T55" fmla="*/ 175 h 512"/>
                <a:gd name="T56" fmla="*/ 382 w 512"/>
                <a:gd name="T57" fmla="*/ 169 h 512"/>
                <a:gd name="T58" fmla="*/ 372 w 512"/>
                <a:gd name="T59" fmla="*/ 171 h 512"/>
                <a:gd name="T60" fmla="*/ 333 w 512"/>
                <a:gd name="T61" fmla="*/ 210 h 512"/>
                <a:gd name="T62" fmla="*/ 317 w 512"/>
                <a:gd name="T63" fmla="*/ 196 h 512"/>
                <a:gd name="T64" fmla="*/ 303 w 512"/>
                <a:gd name="T65" fmla="*/ 180 h 512"/>
                <a:gd name="T66" fmla="*/ 342 w 512"/>
                <a:gd name="T67" fmla="*/ 141 h 512"/>
                <a:gd name="T68" fmla="*/ 344 w 512"/>
                <a:gd name="T69" fmla="*/ 131 h 512"/>
                <a:gd name="T70" fmla="*/ 338 w 512"/>
                <a:gd name="T71" fmla="*/ 124 h 512"/>
                <a:gd name="T72" fmla="*/ 265 w 512"/>
                <a:gd name="T73" fmla="*/ 131 h 512"/>
                <a:gd name="T74" fmla="*/ 249 w 512"/>
                <a:gd name="T75" fmla="*/ 144 h 512"/>
                <a:gd name="T76" fmla="*/ 227 w 512"/>
                <a:gd name="T77" fmla="*/ 226 h 512"/>
                <a:gd name="T78" fmla="*/ 122 w 512"/>
                <a:gd name="T79" fmla="*/ 331 h 512"/>
                <a:gd name="T80" fmla="*/ 109 w 512"/>
                <a:gd name="T81" fmla="*/ 361 h 512"/>
                <a:gd name="T82" fmla="*/ 122 w 512"/>
                <a:gd name="T83" fmla="*/ 391 h 512"/>
                <a:gd name="T84" fmla="*/ 152 w 512"/>
                <a:gd name="T85" fmla="*/ 404 h 512"/>
                <a:gd name="T86" fmla="*/ 182 w 512"/>
                <a:gd name="T87" fmla="*/ 391 h 512"/>
                <a:gd name="T88" fmla="*/ 287 w 512"/>
                <a:gd name="T89" fmla="*/ 286 h 512"/>
                <a:gd name="T90" fmla="*/ 369 w 512"/>
                <a:gd name="T91" fmla="*/ 264 h 512"/>
                <a:gd name="T92" fmla="*/ 382 w 512"/>
                <a:gd name="T93" fmla="*/ 248 h 512"/>
                <a:gd name="T94" fmla="*/ 389 w 512"/>
                <a:gd name="T95" fmla="*/ 17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341" y="232"/>
                  </a:moveTo>
                  <a:cubicBezTo>
                    <a:pt x="373" y="200"/>
                    <a:pt x="373" y="200"/>
                    <a:pt x="373" y="200"/>
                  </a:cubicBezTo>
                  <a:cubicBezTo>
                    <a:pt x="374" y="213"/>
                    <a:pt x="370" y="226"/>
                    <a:pt x="364" y="237"/>
                  </a:cubicBezTo>
                  <a:cubicBezTo>
                    <a:pt x="364" y="237"/>
                    <a:pt x="364" y="237"/>
                    <a:pt x="364" y="237"/>
                  </a:cubicBezTo>
                  <a:cubicBezTo>
                    <a:pt x="361" y="242"/>
                    <a:pt x="358" y="246"/>
                    <a:pt x="354" y="249"/>
                  </a:cubicBezTo>
                  <a:cubicBezTo>
                    <a:pt x="337" y="267"/>
                    <a:pt x="311" y="272"/>
                    <a:pt x="288" y="264"/>
                  </a:cubicBezTo>
                  <a:cubicBezTo>
                    <a:pt x="284" y="263"/>
                    <a:pt x="279" y="264"/>
                    <a:pt x="276" y="267"/>
                  </a:cubicBezTo>
                  <a:cubicBezTo>
                    <a:pt x="167" y="376"/>
                    <a:pt x="167" y="376"/>
                    <a:pt x="167" y="376"/>
                  </a:cubicBezTo>
                  <a:cubicBezTo>
                    <a:pt x="159" y="384"/>
                    <a:pt x="145" y="384"/>
                    <a:pt x="137" y="376"/>
                  </a:cubicBezTo>
                  <a:cubicBezTo>
                    <a:pt x="133" y="372"/>
                    <a:pt x="131" y="367"/>
                    <a:pt x="131" y="361"/>
                  </a:cubicBezTo>
                  <a:cubicBezTo>
                    <a:pt x="131" y="355"/>
                    <a:pt x="133" y="350"/>
                    <a:pt x="137" y="346"/>
                  </a:cubicBezTo>
                  <a:cubicBezTo>
                    <a:pt x="246" y="237"/>
                    <a:pt x="246" y="237"/>
                    <a:pt x="246" y="237"/>
                  </a:cubicBezTo>
                  <a:cubicBezTo>
                    <a:pt x="249" y="234"/>
                    <a:pt x="250" y="229"/>
                    <a:pt x="249" y="225"/>
                  </a:cubicBezTo>
                  <a:cubicBezTo>
                    <a:pt x="241" y="202"/>
                    <a:pt x="246" y="176"/>
                    <a:pt x="264" y="159"/>
                  </a:cubicBezTo>
                  <a:cubicBezTo>
                    <a:pt x="267" y="155"/>
                    <a:pt x="271" y="152"/>
                    <a:pt x="276" y="149"/>
                  </a:cubicBezTo>
                  <a:cubicBezTo>
                    <a:pt x="286" y="143"/>
                    <a:pt x="297" y="140"/>
                    <a:pt x="309" y="140"/>
                  </a:cubicBezTo>
                  <a:cubicBezTo>
                    <a:pt x="310" y="140"/>
                    <a:pt x="311" y="140"/>
                    <a:pt x="312" y="140"/>
                  </a:cubicBezTo>
                  <a:cubicBezTo>
                    <a:pt x="281" y="171"/>
                    <a:pt x="281" y="171"/>
                    <a:pt x="281" y="171"/>
                  </a:cubicBezTo>
                  <a:cubicBezTo>
                    <a:pt x="277" y="175"/>
                    <a:pt x="277" y="181"/>
                    <a:pt x="280" y="185"/>
                  </a:cubicBezTo>
                  <a:cubicBezTo>
                    <a:pt x="286" y="194"/>
                    <a:pt x="293" y="203"/>
                    <a:pt x="301" y="211"/>
                  </a:cubicBezTo>
                  <a:cubicBezTo>
                    <a:pt x="310" y="220"/>
                    <a:pt x="318" y="227"/>
                    <a:pt x="328" y="233"/>
                  </a:cubicBezTo>
                  <a:cubicBezTo>
                    <a:pt x="332" y="236"/>
                    <a:pt x="338" y="235"/>
                    <a:pt x="341" y="232"/>
                  </a:cubicBezTo>
                  <a:close/>
                  <a:moveTo>
                    <a:pt x="512" y="256"/>
                  </a:moveTo>
                  <a:cubicBezTo>
                    <a:pt x="512" y="397"/>
                    <a:pt x="397" y="512"/>
                    <a:pt x="256" y="512"/>
                  </a:cubicBezTo>
                  <a:cubicBezTo>
                    <a:pt x="115" y="512"/>
                    <a:pt x="0" y="397"/>
                    <a:pt x="0" y="256"/>
                  </a:cubicBezTo>
                  <a:cubicBezTo>
                    <a:pt x="0" y="114"/>
                    <a:pt x="115" y="0"/>
                    <a:pt x="256" y="0"/>
                  </a:cubicBezTo>
                  <a:cubicBezTo>
                    <a:pt x="397" y="0"/>
                    <a:pt x="512" y="114"/>
                    <a:pt x="512" y="256"/>
                  </a:cubicBezTo>
                  <a:close/>
                  <a:moveTo>
                    <a:pt x="389" y="175"/>
                  </a:moveTo>
                  <a:cubicBezTo>
                    <a:pt x="388" y="172"/>
                    <a:pt x="385" y="169"/>
                    <a:pt x="382" y="169"/>
                  </a:cubicBezTo>
                  <a:cubicBezTo>
                    <a:pt x="378" y="168"/>
                    <a:pt x="374" y="169"/>
                    <a:pt x="372" y="171"/>
                  </a:cubicBezTo>
                  <a:cubicBezTo>
                    <a:pt x="333" y="210"/>
                    <a:pt x="333" y="210"/>
                    <a:pt x="333" y="210"/>
                  </a:cubicBezTo>
                  <a:cubicBezTo>
                    <a:pt x="327" y="206"/>
                    <a:pt x="322" y="201"/>
                    <a:pt x="317" y="196"/>
                  </a:cubicBezTo>
                  <a:cubicBezTo>
                    <a:pt x="311" y="191"/>
                    <a:pt x="307" y="186"/>
                    <a:pt x="303" y="180"/>
                  </a:cubicBezTo>
                  <a:cubicBezTo>
                    <a:pt x="342" y="141"/>
                    <a:pt x="342" y="141"/>
                    <a:pt x="342" y="141"/>
                  </a:cubicBezTo>
                  <a:cubicBezTo>
                    <a:pt x="344" y="139"/>
                    <a:pt x="345" y="135"/>
                    <a:pt x="344" y="131"/>
                  </a:cubicBezTo>
                  <a:cubicBezTo>
                    <a:pt x="344" y="128"/>
                    <a:pt x="341" y="125"/>
                    <a:pt x="338" y="124"/>
                  </a:cubicBezTo>
                  <a:cubicBezTo>
                    <a:pt x="313" y="115"/>
                    <a:pt x="287" y="118"/>
                    <a:pt x="265" y="131"/>
                  </a:cubicBezTo>
                  <a:cubicBezTo>
                    <a:pt x="259" y="135"/>
                    <a:pt x="253" y="139"/>
                    <a:pt x="249" y="144"/>
                  </a:cubicBezTo>
                  <a:cubicBezTo>
                    <a:pt x="227" y="165"/>
                    <a:pt x="219" y="197"/>
                    <a:pt x="227" y="226"/>
                  </a:cubicBezTo>
                  <a:cubicBezTo>
                    <a:pt x="122" y="331"/>
                    <a:pt x="122" y="331"/>
                    <a:pt x="122" y="331"/>
                  </a:cubicBezTo>
                  <a:cubicBezTo>
                    <a:pt x="114" y="339"/>
                    <a:pt x="109" y="350"/>
                    <a:pt x="109" y="361"/>
                  </a:cubicBezTo>
                  <a:cubicBezTo>
                    <a:pt x="109" y="372"/>
                    <a:pt x="114" y="383"/>
                    <a:pt x="122" y="391"/>
                  </a:cubicBezTo>
                  <a:cubicBezTo>
                    <a:pt x="130" y="399"/>
                    <a:pt x="140" y="404"/>
                    <a:pt x="152" y="404"/>
                  </a:cubicBezTo>
                  <a:cubicBezTo>
                    <a:pt x="163" y="404"/>
                    <a:pt x="174" y="399"/>
                    <a:pt x="182" y="391"/>
                  </a:cubicBezTo>
                  <a:cubicBezTo>
                    <a:pt x="287" y="286"/>
                    <a:pt x="287" y="286"/>
                    <a:pt x="287" y="286"/>
                  </a:cubicBezTo>
                  <a:cubicBezTo>
                    <a:pt x="316" y="294"/>
                    <a:pt x="348" y="286"/>
                    <a:pt x="369" y="264"/>
                  </a:cubicBezTo>
                  <a:cubicBezTo>
                    <a:pt x="374" y="260"/>
                    <a:pt x="378" y="254"/>
                    <a:pt x="382" y="248"/>
                  </a:cubicBezTo>
                  <a:cubicBezTo>
                    <a:pt x="395" y="226"/>
                    <a:pt x="398" y="200"/>
                    <a:pt x="389" y="17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46A38"/>
                </a:solidFill>
                <a:effectLst/>
                <a:uLnTx/>
                <a:uFillTx/>
                <a:ea typeface="+mn-ea"/>
                <a:cs typeface="+mn-cs"/>
              </a:endParaRPr>
            </a:p>
          </p:txBody>
        </p:sp>
        <p:sp>
          <p:nvSpPr>
            <p:cNvPr id="29" name="Freeform 6">
              <a:extLst>
                <a:ext uri="{FF2B5EF4-FFF2-40B4-BE49-F238E27FC236}">
                  <a16:creationId xmlns:a16="http://schemas.microsoft.com/office/drawing/2014/main" id="{B83A0CB1-9BAF-4FF8-A989-8D5E5AAF1AF5}"/>
                </a:ext>
              </a:extLst>
            </p:cNvPr>
            <p:cNvSpPr>
              <a:spLocks noChangeAspect="1" noEditPoints="1"/>
            </p:cNvSpPr>
            <p:nvPr/>
          </p:nvSpPr>
          <p:spPr bwMode="auto">
            <a:xfrm>
              <a:off x="5799324" y="3247743"/>
              <a:ext cx="174857" cy="279332"/>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ea typeface="+mn-ea"/>
                <a:cs typeface="+mn-cs"/>
              </a:endParaRPr>
            </a:p>
          </p:txBody>
        </p:sp>
        <p:cxnSp>
          <p:nvCxnSpPr>
            <p:cNvPr id="30" name="Straight Arrow Connector 29">
              <a:extLst>
                <a:ext uri="{FF2B5EF4-FFF2-40B4-BE49-F238E27FC236}">
                  <a16:creationId xmlns:a16="http://schemas.microsoft.com/office/drawing/2014/main" id="{C9835548-A278-4AA0-A619-2D6A016D939D}"/>
                </a:ext>
              </a:extLst>
            </p:cNvPr>
            <p:cNvCxnSpPr/>
            <p:nvPr/>
          </p:nvCxnSpPr>
          <p:spPr>
            <a:xfrm flipV="1">
              <a:off x="5951916" y="2687031"/>
              <a:ext cx="413111" cy="56046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sp>
        <p:nvSpPr>
          <p:cNvPr id="32" name="TextBox 31">
            <a:extLst>
              <a:ext uri="{FF2B5EF4-FFF2-40B4-BE49-F238E27FC236}">
                <a16:creationId xmlns:a16="http://schemas.microsoft.com/office/drawing/2014/main" id="{27655CDB-5C62-4C0F-8C39-7854BBDB619E}"/>
              </a:ext>
            </a:extLst>
          </p:cNvPr>
          <p:cNvSpPr txBox="1"/>
          <p:nvPr/>
        </p:nvSpPr>
        <p:spPr>
          <a:xfrm>
            <a:off x="7325856" y="3544369"/>
            <a:ext cx="3324984" cy="338554"/>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ea typeface="Verdana" panose="020B0604030504040204" pitchFamily="34" charset="0"/>
                <a:cs typeface="Verdana" panose="020B0604030504040204" pitchFamily="34" charset="0"/>
              </a:rPr>
              <a:t>4</a:t>
            </a:r>
            <a:r>
              <a:rPr kumimoji="0" lang="en-US" sz="1000" b="1" i="0" u="none" strike="noStrike" kern="1200" cap="none" spc="0" normalizeH="0" baseline="0" noProof="0" dirty="0">
                <a:ln>
                  <a:noFill/>
                </a:ln>
                <a:effectLst/>
                <a:uLnTx/>
                <a:uFillTx/>
                <a:ea typeface="Verdana" panose="020B0604030504040204" pitchFamily="34" charset="0"/>
                <a:cs typeface="Verdana" panose="020B0604030504040204" pitchFamily="34" charset="0"/>
              </a:rPr>
              <a:t>. Develop Business Processes</a:t>
            </a:r>
          </a:p>
        </p:txBody>
      </p:sp>
      <p:sp>
        <p:nvSpPr>
          <p:cNvPr id="33" name="Freeform 259">
            <a:extLst>
              <a:ext uri="{FF2B5EF4-FFF2-40B4-BE49-F238E27FC236}">
                <a16:creationId xmlns:a16="http://schemas.microsoft.com/office/drawing/2014/main" id="{0ACCE7F5-3CD1-4131-AAE8-5E69DBBDEEB6}"/>
              </a:ext>
            </a:extLst>
          </p:cNvPr>
          <p:cNvSpPr>
            <a:spLocks noChangeAspect="1" noEditPoints="1"/>
          </p:cNvSpPr>
          <p:nvPr/>
        </p:nvSpPr>
        <p:spPr bwMode="auto">
          <a:xfrm>
            <a:off x="6941197" y="3701944"/>
            <a:ext cx="486399" cy="487829"/>
          </a:xfrm>
          <a:custGeom>
            <a:avLst/>
            <a:gdLst>
              <a:gd name="T0" fmla="*/ 174 w 512"/>
              <a:gd name="T1" fmla="*/ 245 h 512"/>
              <a:gd name="T2" fmla="*/ 373 w 512"/>
              <a:gd name="T3" fmla="*/ 245 h 512"/>
              <a:gd name="T4" fmla="*/ 373 w 512"/>
              <a:gd name="T5" fmla="*/ 288 h 512"/>
              <a:gd name="T6" fmla="*/ 174 w 512"/>
              <a:gd name="T7" fmla="*/ 288 h 512"/>
              <a:gd name="T8" fmla="*/ 145 w 512"/>
              <a:gd name="T9" fmla="*/ 266 h 512"/>
              <a:gd name="T10" fmla="*/ 174 w 512"/>
              <a:gd name="T11" fmla="*/ 245 h 512"/>
              <a:gd name="T12" fmla="*/ 366 w 512"/>
              <a:gd name="T13" fmla="*/ 160 h 512"/>
              <a:gd name="T14" fmla="*/ 337 w 512"/>
              <a:gd name="T15" fmla="*/ 138 h 512"/>
              <a:gd name="T16" fmla="*/ 138 w 512"/>
              <a:gd name="T17" fmla="*/ 138 h 512"/>
              <a:gd name="T18" fmla="*/ 138 w 512"/>
              <a:gd name="T19" fmla="*/ 181 h 512"/>
              <a:gd name="T20" fmla="*/ 337 w 512"/>
              <a:gd name="T21" fmla="*/ 181 h 512"/>
              <a:gd name="T22" fmla="*/ 366 w 512"/>
              <a:gd name="T23" fmla="*/ 160 h 512"/>
              <a:gd name="T24" fmla="*/ 512 w 512"/>
              <a:gd name="T25" fmla="*/ 256 h 512"/>
              <a:gd name="T26" fmla="*/ 256 w 512"/>
              <a:gd name="T27" fmla="*/ 512 h 512"/>
              <a:gd name="T28" fmla="*/ 0 w 512"/>
              <a:gd name="T29" fmla="*/ 256 h 512"/>
              <a:gd name="T30" fmla="*/ 256 w 512"/>
              <a:gd name="T31" fmla="*/ 0 h 512"/>
              <a:gd name="T32" fmla="*/ 512 w 512"/>
              <a:gd name="T33" fmla="*/ 256 h 512"/>
              <a:gd name="T34" fmla="*/ 266 w 512"/>
              <a:gd name="T35" fmla="*/ 224 h 512"/>
              <a:gd name="T36" fmla="*/ 266 w 512"/>
              <a:gd name="T37" fmla="*/ 202 h 512"/>
              <a:gd name="T38" fmla="*/ 341 w 512"/>
              <a:gd name="T39" fmla="*/ 202 h 512"/>
              <a:gd name="T40" fmla="*/ 347 w 512"/>
              <a:gd name="T41" fmla="*/ 200 h 512"/>
              <a:gd name="T42" fmla="*/ 390 w 512"/>
              <a:gd name="T43" fmla="*/ 168 h 512"/>
              <a:gd name="T44" fmla="*/ 394 w 512"/>
              <a:gd name="T45" fmla="*/ 160 h 512"/>
              <a:gd name="T46" fmla="*/ 390 w 512"/>
              <a:gd name="T47" fmla="*/ 151 h 512"/>
              <a:gd name="T48" fmla="*/ 347 w 512"/>
              <a:gd name="T49" fmla="*/ 119 h 512"/>
              <a:gd name="T50" fmla="*/ 341 w 512"/>
              <a:gd name="T51" fmla="*/ 117 h 512"/>
              <a:gd name="T52" fmla="*/ 266 w 512"/>
              <a:gd name="T53" fmla="*/ 117 h 512"/>
              <a:gd name="T54" fmla="*/ 266 w 512"/>
              <a:gd name="T55" fmla="*/ 106 h 512"/>
              <a:gd name="T56" fmla="*/ 256 w 512"/>
              <a:gd name="T57" fmla="*/ 96 h 512"/>
              <a:gd name="T58" fmla="*/ 245 w 512"/>
              <a:gd name="T59" fmla="*/ 106 h 512"/>
              <a:gd name="T60" fmla="*/ 245 w 512"/>
              <a:gd name="T61" fmla="*/ 117 h 512"/>
              <a:gd name="T62" fmla="*/ 128 w 512"/>
              <a:gd name="T63" fmla="*/ 117 h 512"/>
              <a:gd name="T64" fmla="*/ 117 w 512"/>
              <a:gd name="T65" fmla="*/ 128 h 512"/>
              <a:gd name="T66" fmla="*/ 117 w 512"/>
              <a:gd name="T67" fmla="*/ 192 h 512"/>
              <a:gd name="T68" fmla="*/ 128 w 512"/>
              <a:gd name="T69" fmla="*/ 202 h 512"/>
              <a:gd name="T70" fmla="*/ 245 w 512"/>
              <a:gd name="T71" fmla="*/ 202 h 512"/>
              <a:gd name="T72" fmla="*/ 245 w 512"/>
              <a:gd name="T73" fmla="*/ 224 h 512"/>
              <a:gd name="T74" fmla="*/ 170 w 512"/>
              <a:gd name="T75" fmla="*/ 224 h 512"/>
              <a:gd name="T76" fmla="*/ 164 w 512"/>
              <a:gd name="T77" fmla="*/ 226 h 512"/>
              <a:gd name="T78" fmla="*/ 121 w 512"/>
              <a:gd name="T79" fmla="*/ 258 h 512"/>
              <a:gd name="T80" fmla="*/ 117 w 512"/>
              <a:gd name="T81" fmla="*/ 266 h 512"/>
              <a:gd name="T82" fmla="*/ 121 w 512"/>
              <a:gd name="T83" fmla="*/ 275 h 512"/>
              <a:gd name="T84" fmla="*/ 164 w 512"/>
              <a:gd name="T85" fmla="*/ 307 h 512"/>
              <a:gd name="T86" fmla="*/ 170 w 512"/>
              <a:gd name="T87" fmla="*/ 309 h 512"/>
              <a:gd name="T88" fmla="*/ 245 w 512"/>
              <a:gd name="T89" fmla="*/ 309 h 512"/>
              <a:gd name="T90" fmla="*/ 245 w 512"/>
              <a:gd name="T91" fmla="*/ 405 h 512"/>
              <a:gd name="T92" fmla="*/ 256 w 512"/>
              <a:gd name="T93" fmla="*/ 416 h 512"/>
              <a:gd name="T94" fmla="*/ 266 w 512"/>
              <a:gd name="T95" fmla="*/ 405 h 512"/>
              <a:gd name="T96" fmla="*/ 266 w 512"/>
              <a:gd name="T97" fmla="*/ 309 h 512"/>
              <a:gd name="T98" fmla="*/ 384 w 512"/>
              <a:gd name="T99" fmla="*/ 309 h 512"/>
              <a:gd name="T100" fmla="*/ 394 w 512"/>
              <a:gd name="T101" fmla="*/ 298 h 512"/>
              <a:gd name="T102" fmla="*/ 394 w 512"/>
              <a:gd name="T103" fmla="*/ 234 h 512"/>
              <a:gd name="T104" fmla="*/ 384 w 512"/>
              <a:gd name="T105" fmla="*/ 224 h 512"/>
              <a:gd name="T106" fmla="*/ 266 w 512"/>
              <a:gd name="T107"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174" y="245"/>
                </a:moveTo>
                <a:cubicBezTo>
                  <a:pt x="373" y="245"/>
                  <a:pt x="373" y="245"/>
                  <a:pt x="373" y="245"/>
                </a:cubicBezTo>
                <a:cubicBezTo>
                  <a:pt x="373" y="288"/>
                  <a:pt x="373" y="288"/>
                  <a:pt x="373" y="288"/>
                </a:cubicBezTo>
                <a:cubicBezTo>
                  <a:pt x="174" y="288"/>
                  <a:pt x="174" y="288"/>
                  <a:pt x="174" y="288"/>
                </a:cubicBezTo>
                <a:cubicBezTo>
                  <a:pt x="145" y="266"/>
                  <a:pt x="145" y="266"/>
                  <a:pt x="145" y="266"/>
                </a:cubicBezTo>
                <a:lnTo>
                  <a:pt x="174" y="245"/>
                </a:lnTo>
                <a:close/>
                <a:moveTo>
                  <a:pt x="366" y="160"/>
                </a:moveTo>
                <a:cubicBezTo>
                  <a:pt x="337" y="138"/>
                  <a:pt x="337" y="138"/>
                  <a:pt x="337" y="138"/>
                </a:cubicBezTo>
                <a:cubicBezTo>
                  <a:pt x="138" y="138"/>
                  <a:pt x="138" y="138"/>
                  <a:pt x="138" y="138"/>
                </a:cubicBezTo>
                <a:cubicBezTo>
                  <a:pt x="138" y="181"/>
                  <a:pt x="138" y="181"/>
                  <a:pt x="138" y="181"/>
                </a:cubicBezTo>
                <a:cubicBezTo>
                  <a:pt x="337" y="181"/>
                  <a:pt x="337" y="181"/>
                  <a:pt x="337" y="181"/>
                </a:cubicBezTo>
                <a:lnTo>
                  <a:pt x="366"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66" y="224"/>
                </a:moveTo>
                <a:cubicBezTo>
                  <a:pt x="266" y="202"/>
                  <a:pt x="266" y="202"/>
                  <a:pt x="266" y="202"/>
                </a:cubicBezTo>
                <a:cubicBezTo>
                  <a:pt x="341" y="202"/>
                  <a:pt x="341" y="202"/>
                  <a:pt x="341" y="202"/>
                </a:cubicBezTo>
                <a:cubicBezTo>
                  <a:pt x="343" y="202"/>
                  <a:pt x="346" y="202"/>
                  <a:pt x="347" y="200"/>
                </a:cubicBezTo>
                <a:cubicBezTo>
                  <a:pt x="390" y="168"/>
                  <a:pt x="390" y="168"/>
                  <a:pt x="390" y="168"/>
                </a:cubicBezTo>
                <a:cubicBezTo>
                  <a:pt x="393" y="166"/>
                  <a:pt x="394" y="163"/>
                  <a:pt x="394" y="160"/>
                </a:cubicBezTo>
                <a:cubicBezTo>
                  <a:pt x="394" y="156"/>
                  <a:pt x="393" y="153"/>
                  <a:pt x="390" y="151"/>
                </a:cubicBezTo>
                <a:cubicBezTo>
                  <a:pt x="347" y="119"/>
                  <a:pt x="347" y="119"/>
                  <a:pt x="347" y="119"/>
                </a:cubicBezTo>
                <a:cubicBezTo>
                  <a:pt x="346" y="118"/>
                  <a:pt x="343" y="117"/>
                  <a:pt x="341" y="117"/>
                </a:cubicBezTo>
                <a:cubicBezTo>
                  <a:pt x="266" y="117"/>
                  <a:pt x="266" y="117"/>
                  <a:pt x="266" y="117"/>
                </a:cubicBezTo>
                <a:cubicBezTo>
                  <a:pt x="266" y="106"/>
                  <a:pt x="266" y="106"/>
                  <a:pt x="266" y="106"/>
                </a:cubicBezTo>
                <a:cubicBezTo>
                  <a:pt x="266" y="100"/>
                  <a:pt x="262" y="96"/>
                  <a:pt x="256" y="96"/>
                </a:cubicBezTo>
                <a:cubicBezTo>
                  <a:pt x="250" y="96"/>
                  <a:pt x="245" y="100"/>
                  <a:pt x="245" y="106"/>
                </a:cubicBezTo>
                <a:cubicBezTo>
                  <a:pt x="245" y="117"/>
                  <a:pt x="245" y="117"/>
                  <a:pt x="245" y="117"/>
                </a:cubicBezTo>
                <a:cubicBezTo>
                  <a:pt x="128" y="117"/>
                  <a:pt x="128" y="117"/>
                  <a:pt x="128" y="117"/>
                </a:cubicBezTo>
                <a:cubicBezTo>
                  <a:pt x="122" y="117"/>
                  <a:pt x="117" y="122"/>
                  <a:pt x="117" y="128"/>
                </a:cubicBezTo>
                <a:cubicBezTo>
                  <a:pt x="117" y="192"/>
                  <a:pt x="117" y="192"/>
                  <a:pt x="117" y="192"/>
                </a:cubicBezTo>
                <a:cubicBezTo>
                  <a:pt x="117" y="198"/>
                  <a:pt x="122" y="202"/>
                  <a:pt x="128" y="202"/>
                </a:cubicBezTo>
                <a:cubicBezTo>
                  <a:pt x="245" y="202"/>
                  <a:pt x="245" y="202"/>
                  <a:pt x="245" y="202"/>
                </a:cubicBezTo>
                <a:cubicBezTo>
                  <a:pt x="245" y="224"/>
                  <a:pt x="245" y="224"/>
                  <a:pt x="245" y="224"/>
                </a:cubicBezTo>
                <a:cubicBezTo>
                  <a:pt x="170" y="224"/>
                  <a:pt x="170" y="224"/>
                  <a:pt x="170" y="224"/>
                </a:cubicBezTo>
                <a:cubicBezTo>
                  <a:pt x="168" y="224"/>
                  <a:pt x="166" y="224"/>
                  <a:pt x="164" y="226"/>
                </a:cubicBezTo>
                <a:cubicBezTo>
                  <a:pt x="121" y="258"/>
                  <a:pt x="121" y="258"/>
                  <a:pt x="121" y="258"/>
                </a:cubicBezTo>
                <a:cubicBezTo>
                  <a:pt x="119" y="260"/>
                  <a:pt x="117" y="263"/>
                  <a:pt x="117" y="266"/>
                </a:cubicBezTo>
                <a:cubicBezTo>
                  <a:pt x="117" y="270"/>
                  <a:pt x="119" y="273"/>
                  <a:pt x="121" y="275"/>
                </a:cubicBezTo>
                <a:cubicBezTo>
                  <a:pt x="164" y="307"/>
                  <a:pt x="164" y="307"/>
                  <a:pt x="164" y="307"/>
                </a:cubicBezTo>
                <a:cubicBezTo>
                  <a:pt x="166" y="308"/>
                  <a:pt x="168" y="309"/>
                  <a:pt x="170" y="309"/>
                </a:cubicBezTo>
                <a:cubicBezTo>
                  <a:pt x="245" y="309"/>
                  <a:pt x="245" y="309"/>
                  <a:pt x="245" y="309"/>
                </a:cubicBezTo>
                <a:cubicBezTo>
                  <a:pt x="245" y="405"/>
                  <a:pt x="245" y="405"/>
                  <a:pt x="245" y="405"/>
                </a:cubicBezTo>
                <a:cubicBezTo>
                  <a:pt x="245" y="411"/>
                  <a:pt x="250" y="416"/>
                  <a:pt x="256" y="416"/>
                </a:cubicBezTo>
                <a:cubicBezTo>
                  <a:pt x="262" y="416"/>
                  <a:pt x="266" y="411"/>
                  <a:pt x="266" y="405"/>
                </a:cubicBezTo>
                <a:cubicBezTo>
                  <a:pt x="266" y="309"/>
                  <a:pt x="266" y="309"/>
                  <a:pt x="266" y="309"/>
                </a:cubicBezTo>
                <a:cubicBezTo>
                  <a:pt x="384" y="309"/>
                  <a:pt x="384" y="309"/>
                  <a:pt x="384" y="309"/>
                </a:cubicBezTo>
                <a:cubicBezTo>
                  <a:pt x="390" y="309"/>
                  <a:pt x="394" y="304"/>
                  <a:pt x="394" y="298"/>
                </a:cubicBezTo>
                <a:cubicBezTo>
                  <a:pt x="394" y="234"/>
                  <a:pt x="394" y="234"/>
                  <a:pt x="394" y="234"/>
                </a:cubicBezTo>
                <a:cubicBezTo>
                  <a:pt x="394" y="228"/>
                  <a:pt x="390" y="224"/>
                  <a:pt x="384" y="224"/>
                </a:cubicBezTo>
                <a:lnTo>
                  <a:pt x="266" y="22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ea typeface="+mn-ea"/>
              <a:cs typeface="+mn-cs"/>
            </a:endParaRPr>
          </a:p>
        </p:txBody>
      </p:sp>
      <p:sp>
        <p:nvSpPr>
          <p:cNvPr id="34" name="Freeform 6">
            <a:extLst>
              <a:ext uri="{FF2B5EF4-FFF2-40B4-BE49-F238E27FC236}">
                <a16:creationId xmlns:a16="http://schemas.microsoft.com/office/drawing/2014/main" id="{E65D647D-40B9-48C6-870F-55A9481EFFF3}"/>
              </a:ext>
            </a:extLst>
          </p:cNvPr>
          <p:cNvSpPr>
            <a:spLocks noChangeAspect="1" noEditPoints="1"/>
          </p:cNvSpPr>
          <p:nvPr/>
        </p:nvSpPr>
        <p:spPr bwMode="auto">
          <a:xfrm>
            <a:off x="7671042" y="5786498"/>
            <a:ext cx="174857" cy="279333"/>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ea typeface="+mn-ea"/>
              <a:cs typeface="+mn-cs"/>
            </a:endParaRPr>
          </a:p>
        </p:txBody>
      </p:sp>
      <p:sp>
        <p:nvSpPr>
          <p:cNvPr id="35" name="TextBox 34">
            <a:extLst>
              <a:ext uri="{FF2B5EF4-FFF2-40B4-BE49-F238E27FC236}">
                <a16:creationId xmlns:a16="http://schemas.microsoft.com/office/drawing/2014/main" id="{64EEF8C4-F100-4B06-8F6C-5FD41FF75F0C}"/>
              </a:ext>
            </a:extLst>
          </p:cNvPr>
          <p:cNvSpPr txBox="1"/>
          <p:nvPr/>
        </p:nvSpPr>
        <p:spPr>
          <a:xfrm>
            <a:off x="7567116" y="3819142"/>
            <a:ext cx="2311428" cy="1169551"/>
          </a:xfrm>
          <a:prstGeom prst="rect">
            <a:avLst/>
          </a:prstGeom>
          <a:noFill/>
        </p:spPr>
        <p:txBody>
          <a:bodyPr wrap="square" rtlCol="0">
            <a:spAutoFit/>
          </a:bodyPr>
          <a:lstStyle>
            <a:defPPr>
              <a:defRPr lang="en-US"/>
            </a:defPPr>
            <a:lvl1pPr marL="115888" marR="0" lvl="0" indent="-115888" fontAlgn="auto">
              <a:lnSpc>
                <a:spcPct val="100000"/>
              </a:lnSpc>
              <a:spcBef>
                <a:spcPts val="0"/>
              </a:spcBef>
              <a:spcAft>
                <a:spcPts val="0"/>
              </a:spcAft>
              <a:buClrTx/>
              <a:buSzTx/>
              <a:buFont typeface="Arial" panose="020B0604020202020204" pitchFamily="34" charset="0"/>
              <a:buChar char="•"/>
              <a:tabLst/>
              <a:defRPr kumimoji="0" sz="800" b="0" i="0" u="none" strike="noStrike" cap="none" spc="0" normalizeH="0" baseline="0">
                <a:ln>
                  <a:noFill/>
                </a:ln>
                <a:solidFill>
                  <a:prstClr val="white">
                    <a:lumMod val="75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pPr marL="115888" marR="0" lvl="0" indent="-115888"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prstClr val="black">
                    <a:lumMod val="95000"/>
                    <a:lumOff val="5000"/>
                  </a:prstClr>
                </a:solidFill>
                <a:effectLst/>
                <a:uLnTx/>
                <a:uFillTx/>
                <a:latin typeface="+mn-lt"/>
                <a:ea typeface="Verdana" panose="020B0604030504040204" pitchFamily="34" charset="0"/>
                <a:cs typeface="Verdana" panose="020B0604030504040204" pitchFamily="34" charset="0"/>
              </a:rPr>
              <a:t>Evaluate current business processes related to commodity sourcing</a:t>
            </a:r>
          </a:p>
          <a:p>
            <a:pPr marL="115888" marR="0" lvl="0" indent="-115888"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prstClr val="black">
                    <a:lumMod val="95000"/>
                    <a:lumOff val="5000"/>
                  </a:prstClr>
                </a:solidFill>
                <a:effectLst/>
                <a:uLnTx/>
                <a:uFillTx/>
                <a:latin typeface="+mn-lt"/>
                <a:ea typeface="Verdana" panose="020B0604030504040204" pitchFamily="34" charset="0"/>
                <a:cs typeface="Verdana" panose="020B0604030504040204" pitchFamily="34" charset="0"/>
              </a:rPr>
              <a:t>Develop to-be business processes facilitated by the use of the tool </a:t>
            </a:r>
          </a:p>
          <a:p>
            <a:pPr marL="115888" marR="0" lvl="0" indent="-115888"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prstClr val="black">
                    <a:lumMod val="95000"/>
                    <a:lumOff val="5000"/>
                  </a:prstClr>
                </a:solidFill>
                <a:effectLst/>
                <a:uLnTx/>
                <a:uFillTx/>
                <a:latin typeface="+mn-lt"/>
                <a:ea typeface="Verdana" panose="020B0604030504040204" pitchFamily="34" charset="0"/>
                <a:cs typeface="Verdana" panose="020B0604030504040204" pitchFamily="34" charset="0"/>
              </a:rPr>
              <a:t>Develop on-going processes for data refresh and tool updates</a:t>
            </a:r>
          </a:p>
        </p:txBody>
      </p:sp>
      <p:cxnSp>
        <p:nvCxnSpPr>
          <p:cNvPr id="36" name="Straight Arrow Connector 35">
            <a:extLst>
              <a:ext uri="{FF2B5EF4-FFF2-40B4-BE49-F238E27FC236}">
                <a16:creationId xmlns:a16="http://schemas.microsoft.com/office/drawing/2014/main" id="{A7FBE2FF-C288-48FA-8597-473ACFEC84FD}"/>
              </a:ext>
            </a:extLst>
          </p:cNvPr>
          <p:cNvCxnSpPr>
            <a:cxnSpLocks/>
          </p:cNvCxnSpPr>
          <p:nvPr/>
        </p:nvCxnSpPr>
        <p:spPr>
          <a:xfrm flipV="1">
            <a:off x="7819617" y="5118544"/>
            <a:ext cx="95351" cy="65361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7BF9EC3E-8E05-4105-B102-F28DFE63FC4B}"/>
              </a:ext>
            </a:extLst>
          </p:cNvPr>
          <p:cNvSpPr txBox="1"/>
          <p:nvPr/>
        </p:nvSpPr>
        <p:spPr>
          <a:xfrm>
            <a:off x="10212021" y="3923821"/>
            <a:ext cx="1826738" cy="338554"/>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ea typeface="Verdana" panose="020B0604030504040204" pitchFamily="34" charset="0"/>
                <a:cs typeface="Verdana" panose="020B0604030504040204" pitchFamily="34" charset="0"/>
              </a:rPr>
              <a:t>5</a:t>
            </a:r>
            <a:r>
              <a:rPr kumimoji="0" lang="en-US" sz="1000" b="1" i="0" u="none" strike="noStrike" kern="1200" cap="none" spc="0" normalizeH="0" baseline="0" noProof="0" dirty="0">
                <a:ln>
                  <a:noFill/>
                </a:ln>
                <a:effectLst/>
                <a:uLnTx/>
                <a:uFillTx/>
                <a:ea typeface="Verdana" panose="020B0604030504040204" pitchFamily="34" charset="0"/>
                <a:cs typeface="Verdana" panose="020B0604030504040204" pitchFamily="34" charset="0"/>
              </a:rPr>
              <a:t>. Roll-Out</a:t>
            </a:r>
          </a:p>
        </p:txBody>
      </p:sp>
      <p:sp>
        <p:nvSpPr>
          <p:cNvPr id="39" name="TextBox 38">
            <a:extLst>
              <a:ext uri="{FF2B5EF4-FFF2-40B4-BE49-F238E27FC236}">
                <a16:creationId xmlns:a16="http://schemas.microsoft.com/office/drawing/2014/main" id="{5489FA2E-335B-493D-9F9E-F805C98B53A8}"/>
              </a:ext>
            </a:extLst>
          </p:cNvPr>
          <p:cNvSpPr txBox="1"/>
          <p:nvPr/>
        </p:nvSpPr>
        <p:spPr>
          <a:xfrm>
            <a:off x="10439263" y="4201950"/>
            <a:ext cx="1656085" cy="1169551"/>
          </a:xfrm>
          <a:prstGeom prst="rect">
            <a:avLst/>
          </a:prstGeom>
          <a:noFill/>
        </p:spPr>
        <p:txBody>
          <a:bodyPr wrap="square" rtlCol="0">
            <a:spAutoFit/>
          </a:bodyPr>
          <a:lstStyle>
            <a:defPPr>
              <a:defRPr lang="en-US"/>
            </a:defPPr>
            <a:lvl1pPr marL="115888" marR="0" lvl="0" indent="-115888" fontAlgn="auto">
              <a:lnSpc>
                <a:spcPct val="100000"/>
              </a:lnSpc>
              <a:spcBef>
                <a:spcPts val="0"/>
              </a:spcBef>
              <a:spcAft>
                <a:spcPts val="0"/>
              </a:spcAft>
              <a:buClrTx/>
              <a:buSzTx/>
              <a:buFont typeface="Arial" panose="020B0604020202020204" pitchFamily="34" charset="0"/>
              <a:buChar char="•"/>
              <a:tabLst/>
              <a:defRPr kumimoji="0" sz="800" b="0" i="0" u="none" strike="noStrike" cap="none" spc="0" normalizeH="0" baseline="0">
                <a:ln>
                  <a:noFill/>
                </a:ln>
                <a:solidFill>
                  <a:prstClr val="white">
                    <a:lumMod val="75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pPr marL="115888" marR="0" lvl="0" indent="-115888"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prstClr val="black">
                    <a:lumMod val="95000"/>
                    <a:lumOff val="5000"/>
                  </a:prstClr>
                </a:solidFill>
                <a:effectLst/>
                <a:uLnTx/>
                <a:uFillTx/>
                <a:latin typeface="+mn-lt"/>
                <a:ea typeface="Verdana" panose="020B0604030504040204" pitchFamily="34" charset="0"/>
                <a:cs typeface="Verdana" panose="020B0604030504040204" pitchFamily="34" charset="0"/>
              </a:rPr>
              <a:t>Data collection for all commodities</a:t>
            </a:r>
          </a:p>
          <a:p>
            <a:pPr marL="115888" marR="0" lvl="0" indent="-115888"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prstClr val="black">
                    <a:lumMod val="95000"/>
                    <a:lumOff val="5000"/>
                  </a:prstClr>
                </a:solidFill>
                <a:effectLst/>
                <a:uLnTx/>
                <a:uFillTx/>
                <a:latin typeface="+mn-lt"/>
                <a:ea typeface="Verdana" panose="020B0604030504040204" pitchFamily="34" charset="0"/>
                <a:cs typeface="Verdana" panose="020B0604030504040204" pitchFamily="34" charset="0"/>
              </a:rPr>
              <a:t>Implementation, training, and go-live for all commodities for individual Rank business units</a:t>
            </a:r>
          </a:p>
        </p:txBody>
      </p:sp>
      <p:grpSp>
        <p:nvGrpSpPr>
          <p:cNvPr id="40" name="Group 39">
            <a:extLst>
              <a:ext uri="{FF2B5EF4-FFF2-40B4-BE49-F238E27FC236}">
                <a16:creationId xmlns:a16="http://schemas.microsoft.com/office/drawing/2014/main" id="{B353594B-02A5-42AE-B1DA-7F07E565CD84}"/>
              </a:ext>
            </a:extLst>
          </p:cNvPr>
          <p:cNvGrpSpPr>
            <a:grpSpLocks noChangeAspect="1"/>
          </p:cNvGrpSpPr>
          <p:nvPr/>
        </p:nvGrpSpPr>
        <p:grpSpPr bwMode="auto">
          <a:xfrm>
            <a:off x="9932007" y="4069809"/>
            <a:ext cx="472637" cy="703048"/>
            <a:chOff x="880" y="3146"/>
            <a:chExt cx="340" cy="490"/>
          </a:xfrm>
          <a:solidFill>
            <a:schemeClr val="accent3"/>
          </a:solidFill>
        </p:grpSpPr>
        <p:sp>
          <p:nvSpPr>
            <p:cNvPr id="43" name="Oval 899">
              <a:extLst>
                <a:ext uri="{FF2B5EF4-FFF2-40B4-BE49-F238E27FC236}">
                  <a16:creationId xmlns:a16="http://schemas.microsoft.com/office/drawing/2014/main" id="{79029F34-F5EA-462C-918A-F583A3A7CAF8}"/>
                </a:ext>
              </a:extLst>
            </p:cNvPr>
            <p:cNvSpPr>
              <a:spLocks noChangeArrowheads="1"/>
            </p:cNvSpPr>
            <p:nvPr/>
          </p:nvSpPr>
          <p:spPr bwMode="auto">
            <a:xfrm>
              <a:off x="950" y="3146"/>
              <a:ext cx="14" cy="14"/>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ea typeface="+mn-ea"/>
                <a:cs typeface="+mn-cs"/>
              </a:endParaRPr>
            </a:p>
          </p:txBody>
        </p:sp>
        <p:sp>
          <p:nvSpPr>
            <p:cNvPr id="44" name="Freeform 900">
              <a:extLst>
                <a:ext uri="{FF2B5EF4-FFF2-40B4-BE49-F238E27FC236}">
                  <a16:creationId xmlns:a16="http://schemas.microsoft.com/office/drawing/2014/main" id="{ADA41A02-5DB2-49D6-AF12-3166D39CEB91}"/>
                </a:ext>
              </a:extLst>
            </p:cNvPr>
            <p:cNvSpPr>
              <a:spLocks noEditPoints="1"/>
            </p:cNvSpPr>
            <p:nvPr/>
          </p:nvSpPr>
          <p:spPr bwMode="auto">
            <a:xfrm>
              <a:off x="880" y="329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96 h 512"/>
                <a:gd name="T12" fmla="*/ 288 w 512"/>
                <a:gd name="T13" fmla="*/ 128 h 512"/>
                <a:gd name="T14" fmla="*/ 256 w 512"/>
                <a:gd name="T15" fmla="*/ 160 h 512"/>
                <a:gd name="T16" fmla="*/ 224 w 512"/>
                <a:gd name="T17" fmla="*/ 128 h 512"/>
                <a:gd name="T18" fmla="*/ 256 w 512"/>
                <a:gd name="T19" fmla="*/ 96 h 512"/>
                <a:gd name="T20" fmla="*/ 254 w 512"/>
                <a:gd name="T21" fmla="*/ 337 h 512"/>
                <a:gd name="T22" fmla="*/ 200 w 512"/>
                <a:gd name="T23" fmla="*/ 411 h 512"/>
                <a:gd name="T24" fmla="*/ 192 w 512"/>
                <a:gd name="T25" fmla="*/ 416 h 512"/>
                <a:gd name="T26" fmla="*/ 185 w 512"/>
                <a:gd name="T27" fmla="*/ 414 h 512"/>
                <a:gd name="T28" fmla="*/ 183 w 512"/>
                <a:gd name="T29" fmla="*/ 399 h 512"/>
                <a:gd name="T30" fmla="*/ 236 w 512"/>
                <a:gd name="T31" fmla="*/ 324 h 512"/>
                <a:gd name="T32" fmla="*/ 251 w 512"/>
                <a:gd name="T33" fmla="*/ 322 h 512"/>
                <a:gd name="T34" fmla="*/ 254 w 512"/>
                <a:gd name="T35" fmla="*/ 337 h 512"/>
                <a:gd name="T36" fmla="*/ 311 w 512"/>
                <a:gd name="T37" fmla="*/ 416 h 512"/>
                <a:gd name="T38" fmla="*/ 309 w 512"/>
                <a:gd name="T39" fmla="*/ 416 h 512"/>
                <a:gd name="T40" fmla="*/ 298 w 512"/>
                <a:gd name="T41" fmla="*/ 407 h 512"/>
                <a:gd name="T42" fmla="*/ 288 w 512"/>
                <a:gd name="T43" fmla="*/ 335 h 512"/>
                <a:gd name="T44" fmla="*/ 247 w 512"/>
                <a:gd name="T45" fmla="*/ 284 h 512"/>
                <a:gd name="T46" fmla="*/ 245 w 512"/>
                <a:gd name="T47" fmla="*/ 277 h 512"/>
                <a:gd name="T48" fmla="*/ 245 w 512"/>
                <a:gd name="T49" fmla="*/ 202 h 512"/>
                <a:gd name="T50" fmla="*/ 224 w 512"/>
                <a:gd name="T51" fmla="*/ 218 h 512"/>
                <a:gd name="T52" fmla="*/ 224 w 512"/>
                <a:gd name="T53" fmla="*/ 288 h 512"/>
                <a:gd name="T54" fmla="*/ 213 w 512"/>
                <a:gd name="T55" fmla="*/ 298 h 512"/>
                <a:gd name="T56" fmla="*/ 202 w 512"/>
                <a:gd name="T57" fmla="*/ 288 h 512"/>
                <a:gd name="T58" fmla="*/ 202 w 512"/>
                <a:gd name="T59" fmla="*/ 213 h 512"/>
                <a:gd name="T60" fmla="*/ 207 w 512"/>
                <a:gd name="T61" fmla="*/ 204 h 512"/>
                <a:gd name="T62" fmla="*/ 249 w 512"/>
                <a:gd name="T63" fmla="*/ 172 h 512"/>
                <a:gd name="T64" fmla="*/ 260 w 512"/>
                <a:gd name="T65" fmla="*/ 171 h 512"/>
                <a:gd name="T66" fmla="*/ 266 w 512"/>
                <a:gd name="T67" fmla="*/ 181 h 512"/>
                <a:gd name="T68" fmla="*/ 266 w 512"/>
                <a:gd name="T69" fmla="*/ 273 h 512"/>
                <a:gd name="T70" fmla="*/ 307 w 512"/>
                <a:gd name="T71" fmla="*/ 324 h 512"/>
                <a:gd name="T72" fmla="*/ 309 w 512"/>
                <a:gd name="T73" fmla="*/ 329 h 512"/>
                <a:gd name="T74" fmla="*/ 320 w 512"/>
                <a:gd name="T75" fmla="*/ 403 h 512"/>
                <a:gd name="T76" fmla="*/ 311 w 512"/>
                <a:gd name="T77" fmla="*/ 416 h 512"/>
                <a:gd name="T78" fmla="*/ 317 w 512"/>
                <a:gd name="T79" fmla="*/ 274 h 512"/>
                <a:gd name="T80" fmla="*/ 309 w 512"/>
                <a:gd name="T81" fmla="*/ 277 h 512"/>
                <a:gd name="T82" fmla="*/ 301 w 512"/>
                <a:gd name="T83" fmla="*/ 274 h 512"/>
                <a:gd name="T84" fmla="*/ 291 w 512"/>
                <a:gd name="T85" fmla="*/ 263 h 512"/>
                <a:gd name="T86" fmla="*/ 291 w 512"/>
                <a:gd name="T87" fmla="*/ 248 h 512"/>
                <a:gd name="T88" fmla="*/ 306 w 512"/>
                <a:gd name="T89" fmla="*/ 248 h 512"/>
                <a:gd name="T90" fmla="*/ 317 w 512"/>
                <a:gd name="T91" fmla="*/ 259 h 512"/>
                <a:gd name="T92" fmla="*/ 317 w 512"/>
                <a:gd name="T93" fmla="*/ 27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254" y="337"/>
                  </a:moveTo>
                  <a:cubicBezTo>
                    <a:pt x="200" y="411"/>
                    <a:pt x="200" y="411"/>
                    <a:pt x="200" y="411"/>
                  </a:cubicBezTo>
                  <a:cubicBezTo>
                    <a:pt x="198" y="414"/>
                    <a:pt x="195" y="416"/>
                    <a:pt x="192" y="416"/>
                  </a:cubicBezTo>
                  <a:cubicBezTo>
                    <a:pt x="190" y="416"/>
                    <a:pt x="187" y="415"/>
                    <a:pt x="185" y="414"/>
                  </a:cubicBezTo>
                  <a:cubicBezTo>
                    <a:pt x="181" y="410"/>
                    <a:pt x="180" y="404"/>
                    <a:pt x="183" y="399"/>
                  </a:cubicBezTo>
                  <a:cubicBezTo>
                    <a:pt x="236" y="324"/>
                    <a:pt x="236" y="324"/>
                    <a:pt x="236" y="324"/>
                  </a:cubicBezTo>
                  <a:cubicBezTo>
                    <a:pt x="240" y="319"/>
                    <a:pt x="246" y="318"/>
                    <a:pt x="251" y="322"/>
                  </a:cubicBezTo>
                  <a:cubicBezTo>
                    <a:pt x="256" y="325"/>
                    <a:pt x="257" y="332"/>
                    <a:pt x="254" y="337"/>
                  </a:cubicBezTo>
                  <a:close/>
                  <a:moveTo>
                    <a:pt x="311" y="416"/>
                  </a:moveTo>
                  <a:cubicBezTo>
                    <a:pt x="310" y="416"/>
                    <a:pt x="309" y="416"/>
                    <a:pt x="309" y="416"/>
                  </a:cubicBezTo>
                  <a:cubicBezTo>
                    <a:pt x="304" y="416"/>
                    <a:pt x="299" y="412"/>
                    <a:pt x="298" y="407"/>
                  </a:cubicBezTo>
                  <a:cubicBezTo>
                    <a:pt x="288" y="335"/>
                    <a:pt x="288" y="335"/>
                    <a:pt x="288" y="335"/>
                  </a:cubicBezTo>
                  <a:cubicBezTo>
                    <a:pt x="247" y="284"/>
                    <a:pt x="247" y="284"/>
                    <a:pt x="247" y="284"/>
                  </a:cubicBezTo>
                  <a:cubicBezTo>
                    <a:pt x="246" y="282"/>
                    <a:pt x="245" y="279"/>
                    <a:pt x="245" y="277"/>
                  </a:cubicBezTo>
                  <a:cubicBezTo>
                    <a:pt x="245" y="202"/>
                    <a:pt x="245" y="202"/>
                    <a:pt x="245" y="202"/>
                  </a:cubicBezTo>
                  <a:cubicBezTo>
                    <a:pt x="224" y="218"/>
                    <a:pt x="224" y="218"/>
                    <a:pt x="224" y="218"/>
                  </a:cubicBezTo>
                  <a:cubicBezTo>
                    <a:pt x="224" y="288"/>
                    <a:pt x="224" y="288"/>
                    <a:pt x="224" y="288"/>
                  </a:cubicBezTo>
                  <a:cubicBezTo>
                    <a:pt x="224" y="294"/>
                    <a:pt x="219" y="298"/>
                    <a:pt x="213" y="298"/>
                  </a:cubicBezTo>
                  <a:cubicBezTo>
                    <a:pt x="207" y="298"/>
                    <a:pt x="202" y="294"/>
                    <a:pt x="202" y="288"/>
                  </a:cubicBezTo>
                  <a:cubicBezTo>
                    <a:pt x="202" y="213"/>
                    <a:pt x="202" y="213"/>
                    <a:pt x="202" y="213"/>
                  </a:cubicBezTo>
                  <a:cubicBezTo>
                    <a:pt x="202" y="210"/>
                    <a:pt x="204" y="206"/>
                    <a:pt x="207" y="204"/>
                  </a:cubicBezTo>
                  <a:cubicBezTo>
                    <a:pt x="249" y="172"/>
                    <a:pt x="249" y="172"/>
                    <a:pt x="249" y="172"/>
                  </a:cubicBezTo>
                  <a:cubicBezTo>
                    <a:pt x="253" y="170"/>
                    <a:pt x="257" y="170"/>
                    <a:pt x="260" y="171"/>
                  </a:cubicBezTo>
                  <a:cubicBezTo>
                    <a:pt x="264" y="173"/>
                    <a:pt x="266" y="177"/>
                    <a:pt x="266" y="181"/>
                  </a:cubicBezTo>
                  <a:cubicBezTo>
                    <a:pt x="266" y="273"/>
                    <a:pt x="266" y="273"/>
                    <a:pt x="266" y="273"/>
                  </a:cubicBezTo>
                  <a:cubicBezTo>
                    <a:pt x="307" y="324"/>
                    <a:pt x="307" y="324"/>
                    <a:pt x="307" y="324"/>
                  </a:cubicBezTo>
                  <a:cubicBezTo>
                    <a:pt x="308" y="325"/>
                    <a:pt x="309" y="327"/>
                    <a:pt x="309" y="329"/>
                  </a:cubicBezTo>
                  <a:cubicBezTo>
                    <a:pt x="320" y="403"/>
                    <a:pt x="320" y="403"/>
                    <a:pt x="320" y="403"/>
                  </a:cubicBezTo>
                  <a:cubicBezTo>
                    <a:pt x="320" y="409"/>
                    <a:pt x="316" y="415"/>
                    <a:pt x="311" y="416"/>
                  </a:cubicBezTo>
                  <a:close/>
                  <a:moveTo>
                    <a:pt x="317" y="274"/>
                  </a:moveTo>
                  <a:cubicBezTo>
                    <a:pt x="314" y="276"/>
                    <a:pt x="312" y="277"/>
                    <a:pt x="309" y="277"/>
                  </a:cubicBezTo>
                  <a:cubicBezTo>
                    <a:pt x="306" y="277"/>
                    <a:pt x="304" y="276"/>
                    <a:pt x="301" y="274"/>
                  </a:cubicBezTo>
                  <a:cubicBezTo>
                    <a:pt x="291" y="263"/>
                    <a:pt x="291" y="263"/>
                    <a:pt x="291" y="263"/>
                  </a:cubicBezTo>
                  <a:cubicBezTo>
                    <a:pt x="287" y="259"/>
                    <a:pt x="287" y="252"/>
                    <a:pt x="291" y="248"/>
                  </a:cubicBezTo>
                  <a:cubicBezTo>
                    <a:pt x="295" y="244"/>
                    <a:pt x="302" y="244"/>
                    <a:pt x="306" y="248"/>
                  </a:cubicBezTo>
                  <a:cubicBezTo>
                    <a:pt x="317" y="259"/>
                    <a:pt x="317" y="259"/>
                    <a:pt x="317" y="259"/>
                  </a:cubicBezTo>
                  <a:cubicBezTo>
                    <a:pt x="321" y="263"/>
                    <a:pt x="321" y="270"/>
                    <a:pt x="317" y="27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ea typeface="+mn-ea"/>
                <a:cs typeface="+mn-cs"/>
              </a:endParaRPr>
            </a:p>
          </p:txBody>
        </p:sp>
      </p:grpSp>
      <p:sp>
        <p:nvSpPr>
          <p:cNvPr id="41" name="Freeform 38">
            <a:extLst>
              <a:ext uri="{FF2B5EF4-FFF2-40B4-BE49-F238E27FC236}">
                <a16:creationId xmlns:a16="http://schemas.microsoft.com/office/drawing/2014/main" id="{DF538292-295D-4B11-9521-B64DF65CCC32}"/>
              </a:ext>
            </a:extLst>
          </p:cNvPr>
          <p:cNvSpPr>
            <a:spLocks noChangeAspect="1" noEditPoints="1"/>
          </p:cNvSpPr>
          <p:nvPr/>
        </p:nvSpPr>
        <p:spPr bwMode="auto">
          <a:xfrm>
            <a:off x="9938592" y="5774231"/>
            <a:ext cx="181444" cy="279333"/>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ea typeface="+mn-ea"/>
              <a:cs typeface="+mn-cs"/>
            </a:endParaRPr>
          </a:p>
        </p:txBody>
      </p:sp>
      <p:cxnSp>
        <p:nvCxnSpPr>
          <p:cNvPr id="42" name="Straight Arrow Connector 41">
            <a:extLst>
              <a:ext uri="{FF2B5EF4-FFF2-40B4-BE49-F238E27FC236}">
                <a16:creationId xmlns:a16="http://schemas.microsoft.com/office/drawing/2014/main" id="{74F4C79E-01E9-46BA-906E-F03BF226753D}"/>
              </a:ext>
            </a:extLst>
          </p:cNvPr>
          <p:cNvCxnSpPr>
            <a:cxnSpLocks/>
          </p:cNvCxnSpPr>
          <p:nvPr/>
        </p:nvCxnSpPr>
        <p:spPr>
          <a:xfrm flipV="1">
            <a:off x="10039045" y="5098538"/>
            <a:ext cx="311362" cy="65261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3461B103-1C90-4D0D-A00B-2B1DAED58617}"/>
              </a:ext>
            </a:extLst>
          </p:cNvPr>
          <p:cNvGrpSpPr/>
          <p:nvPr/>
        </p:nvGrpSpPr>
        <p:grpSpPr>
          <a:xfrm>
            <a:off x="4849443" y="3288365"/>
            <a:ext cx="1024224" cy="674107"/>
            <a:chOff x="4245016" y="2629197"/>
            <a:chExt cx="1024224" cy="674107"/>
          </a:xfrm>
        </p:grpSpPr>
        <p:pic>
          <p:nvPicPr>
            <p:cNvPr id="46" name="Picture 45">
              <a:extLst>
                <a:ext uri="{FF2B5EF4-FFF2-40B4-BE49-F238E27FC236}">
                  <a16:creationId xmlns:a16="http://schemas.microsoft.com/office/drawing/2014/main" id="{6CE5C963-CAE7-4863-9168-7215B5929D51}"/>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4245016" y="2629197"/>
              <a:ext cx="1024224" cy="674107"/>
            </a:xfrm>
            <a:prstGeom prst="rect">
              <a:avLst/>
            </a:prstGeom>
          </p:spPr>
        </p:pic>
        <p:sp>
          <p:nvSpPr>
            <p:cNvPr id="47" name="TextBox 46">
              <a:extLst>
                <a:ext uri="{FF2B5EF4-FFF2-40B4-BE49-F238E27FC236}">
                  <a16:creationId xmlns:a16="http://schemas.microsoft.com/office/drawing/2014/main" id="{8D1EE04D-5774-4C23-88BE-7B60E02F51E6}"/>
                </a:ext>
              </a:extLst>
            </p:cNvPr>
            <p:cNvSpPr txBox="1"/>
            <p:nvPr/>
          </p:nvSpPr>
          <p:spPr bwMode="gray">
            <a:xfrm>
              <a:off x="4323379" y="2760226"/>
              <a:ext cx="873910" cy="181145"/>
            </a:xfrm>
            <a:prstGeom prst="rect">
              <a:avLst/>
            </a:prstGeom>
            <a:solidFill>
              <a:schemeClr val="tx1"/>
            </a:solidFill>
          </p:spPr>
          <p:txBody>
            <a:bodyPr wrap="none" lIns="0" rIns="0" rtlCol="0" anchor="t" anchorCtr="0">
              <a:noAutofit/>
            </a:bodyP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ea typeface="+mn-ea"/>
                  <a:cs typeface="+mn-cs"/>
                </a:rPr>
                <a:t>We are here!</a:t>
              </a:r>
            </a:p>
          </p:txBody>
        </p:sp>
      </p:grpSp>
      <p:sp>
        <p:nvSpPr>
          <p:cNvPr id="49" name="Freeform 6">
            <a:extLst>
              <a:ext uri="{FF2B5EF4-FFF2-40B4-BE49-F238E27FC236}">
                <a16:creationId xmlns:a16="http://schemas.microsoft.com/office/drawing/2014/main" id="{08430064-938C-4EEB-A68C-1A33F1A10E25}"/>
              </a:ext>
            </a:extLst>
          </p:cNvPr>
          <p:cNvSpPr>
            <a:spLocks noChangeAspect="1" noEditPoints="1"/>
          </p:cNvSpPr>
          <p:nvPr/>
        </p:nvSpPr>
        <p:spPr bwMode="auto">
          <a:xfrm>
            <a:off x="4245061" y="5429718"/>
            <a:ext cx="174857" cy="279332"/>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ea typeface="+mn-ea"/>
              <a:cs typeface="+mn-cs"/>
            </a:endParaRPr>
          </a:p>
        </p:txBody>
      </p:sp>
      <p:sp>
        <p:nvSpPr>
          <p:cNvPr id="50" name="Freeform 364">
            <a:extLst>
              <a:ext uri="{FF2B5EF4-FFF2-40B4-BE49-F238E27FC236}">
                <a16:creationId xmlns:a16="http://schemas.microsoft.com/office/drawing/2014/main" id="{A1859FE9-0817-4531-B1E7-8656BA6435A6}"/>
              </a:ext>
            </a:extLst>
          </p:cNvPr>
          <p:cNvSpPr>
            <a:spLocks noChangeAspect="1" noEditPoints="1"/>
          </p:cNvSpPr>
          <p:nvPr/>
        </p:nvSpPr>
        <p:spPr bwMode="auto">
          <a:xfrm>
            <a:off x="637813" y="4580553"/>
            <a:ext cx="487829" cy="486399"/>
          </a:xfrm>
          <a:custGeom>
            <a:avLst/>
            <a:gdLst>
              <a:gd name="T0" fmla="*/ 0 w 512"/>
              <a:gd name="T1" fmla="*/ 256 h 512"/>
              <a:gd name="T2" fmla="*/ 512 w 512"/>
              <a:gd name="T3" fmla="*/ 256 h 512"/>
              <a:gd name="T4" fmla="*/ 117 w 512"/>
              <a:gd name="T5" fmla="*/ 362 h 512"/>
              <a:gd name="T6" fmla="*/ 96 w 512"/>
              <a:gd name="T7" fmla="*/ 362 h 512"/>
              <a:gd name="T8" fmla="*/ 106 w 512"/>
              <a:gd name="T9" fmla="*/ 330 h 512"/>
              <a:gd name="T10" fmla="*/ 117 w 512"/>
              <a:gd name="T11" fmla="*/ 362 h 512"/>
              <a:gd name="T12" fmla="*/ 149 w 512"/>
              <a:gd name="T13" fmla="*/ 373 h 512"/>
              <a:gd name="T14" fmla="*/ 138 w 512"/>
              <a:gd name="T15" fmla="*/ 320 h 512"/>
              <a:gd name="T16" fmla="*/ 160 w 512"/>
              <a:gd name="T17" fmla="*/ 320 h 512"/>
              <a:gd name="T18" fmla="*/ 202 w 512"/>
              <a:gd name="T19" fmla="*/ 362 h 512"/>
              <a:gd name="T20" fmla="*/ 181 w 512"/>
              <a:gd name="T21" fmla="*/ 362 h 512"/>
              <a:gd name="T22" fmla="*/ 192 w 512"/>
              <a:gd name="T23" fmla="*/ 277 h 512"/>
              <a:gd name="T24" fmla="*/ 202 w 512"/>
              <a:gd name="T25" fmla="*/ 362 h 512"/>
              <a:gd name="T26" fmla="*/ 234 w 512"/>
              <a:gd name="T27" fmla="*/ 373 h 512"/>
              <a:gd name="T28" fmla="*/ 224 w 512"/>
              <a:gd name="T29" fmla="*/ 277 h 512"/>
              <a:gd name="T30" fmla="*/ 245 w 512"/>
              <a:gd name="T31" fmla="*/ 277 h 512"/>
              <a:gd name="T32" fmla="*/ 288 w 512"/>
              <a:gd name="T33" fmla="*/ 362 h 512"/>
              <a:gd name="T34" fmla="*/ 266 w 512"/>
              <a:gd name="T35" fmla="*/ 362 h 512"/>
              <a:gd name="T36" fmla="*/ 277 w 512"/>
              <a:gd name="T37" fmla="*/ 266 h 512"/>
              <a:gd name="T38" fmla="*/ 288 w 512"/>
              <a:gd name="T39" fmla="*/ 362 h 512"/>
              <a:gd name="T40" fmla="*/ 320 w 512"/>
              <a:gd name="T41" fmla="*/ 373 h 512"/>
              <a:gd name="T42" fmla="*/ 309 w 512"/>
              <a:gd name="T43" fmla="*/ 245 h 512"/>
              <a:gd name="T44" fmla="*/ 330 w 512"/>
              <a:gd name="T45" fmla="*/ 245 h 512"/>
              <a:gd name="T46" fmla="*/ 373 w 512"/>
              <a:gd name="T47" fmla="*/ 362 h 512"/>
              <a:gd name="T48" fmla="*/ 352 w 512"/>
              <a:gd name="T49" fmla="*/ 362 h 512"/>
              <a:gd name="T50" fmla="*/ 362 w 512"/>
              <a:gd name="T51" fmla="*/ 202 h 512"/>
              <a:gd name="T52" fmla="*/ 373 w 512"/>
              <a:gd name="T53" fmla="*/ 362 h 512"/>
              <a:gd name="T54" fmla="*/ 384 w 512"/>
              <a:gd name="T55" fmla="*/ 181 h 512"/>
              <a:gd name="T56" fmla="*/ 373 w 512"/>
              <a:gd name="T57" fmla="*/ 153 h 512"/>
              <a:gd name="T58" fmla="*/ 277 w 512"/>
              <a:gd name="T59" fmla="*/ 245 h 512"/>
              <a:gd name="T60" fmla="*/ 113 w 512"/>
              <a:gd name="T61" fmla="*/ 307 h 512"/>
              <a:gd name="T62" fmla="*/ 98 w 512"/>
              <a:gd name="T63" fmla="*/ 305 h 512"/>
              <a:gd name="T64" fmla="*/ 185 w 512"/>
              <a:gd name="T65" fmla="*/ 226 h 512"/>
              <a:gd name="T66" fmla="*/ 273 w 512"/>
              <a:gd name="T67" fmla="*/ 224 h 512"/>
              <a:gd name="T68" fmla="*/ 341 w 512"/>
              <a:gd name="T69" fmla="*/ 138 h 512"/>
              <a:gd name="T70" fmla="*/ 341 w 512"/>
              <a:gd name="T71" fmla="*/ 117 h 512"/>
              <a:gd name="T72" fmla="*/ 388 w 512"/>
              <a:gd name="T73" fmla="*/ 118 h 512"/>
              <a:gd name="T74" fmla="*/ 394 w 512"/>
              <a:gd name="T7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362"/>
                </a:moveTo>
                <a:cubicBezTo>
                  <a:pt x="117" y="368"/>
                  <a:pt x="112" y="373"/>
                  <a:pt x="106" y="373"/>
                </a:cubicBezTo>
                <a:cubicBezTo>
                  <a:pt x="100" y="373"/>
                  <a:pt x="96" y="368"/>
                  <a:pt x="96" y="362"/>
                </a:cubicBezTo>
                <a:cubicBezTo>
                  <a:pt x="96" y="341"/>
                  <a:pt x="96" y="341"/>
                  <a:pt x="96" y="341"/>
                </a:cubicBezTo>
                <a:cubicBezTo>
                  <a:pt x="96" y="335"/>
                  <a:pt x="100" y="330"/>
                  <a:pt x="106" y="330"/>
                </a:cubicBezTo>
                <a:cubicBezTo>
                  <a:pt x="112" y="330"/>
                  <a:pt x="117" y="335"/>
                  <a:pt x="117" y="341"/>
                </a:cubicBezTo>
                <a:lnTo>
                  <a:pt x="117" y="362"/>
                </a:lnTo>
                <a:close/>
                <a:moveTo>
                  <a:pt x="160" y="362"/>
                </a:moveTo>
                <a:cubicBezTo>
                  <a:pt x="160" y="368"/>
                  <a:pt x="155" y="373"/>
                  <a:pt x="149" y="373"/>
                </a:cubicBezTo>
                <a:cubicBezTo>
                  <a:pt x="143" y="373"/>
                  <a:pt x="138" y="368"/>
                  <a:pt x="138" y="362"/>
                </a:cubicBezTo>
                <a:cubicBezTo>
                  <a:pt x="138" y="320"/>
                  <a:pt x="138" y="320"/>
                  <a:pt x="138" y="320"/>
                </a:cubicBezTo>
                <a:cubicBezTo>
                  <a:pt x="138" y="314"/>
                  <a:pt x="143" y="309"/>
                  <a:pt x="149" y="309"/>
                </a:cubicBezTo>
                <a:cubicBezTo>
                  <a:pt x="155" y="309"/>
                  <a:pt x="160" y="314"/>
                  <a:pt x="160" y="320"/>
                </a:cubicBezTo>
                <a:lnTo>
                  <a:pt x="160" y="362"/>
                </a:lnTo>
                <a:close/>
                <a:moveTo>
                  <a:pt x="202" y="362"/>
                </a:moveTo>
                <a:cubicBezTo>
                  <a:pt x="202" y="368"/>
                  <a:pt x="198" y="373"/>
                  <a:pt x="192" y="373"/>
                </a:cubicBezTo>
                <a:cubicBezTo>
                  <a:pt x="186" y="373"/>
                  <a:pt x="181" y="368"/>
                  <a:pt x="181" y="362"/>
                </a:cubicBezTo>
                <a:cubicBezTo>
                  <a:pt x="181" y="288"/>
                  <a:pt x="181" y="288"/>
                  <a:pt x="181" y="288"/>
                </a:cubicBezTo>
                <a:cubicBezTo>
                  <a:pt x="181" y="282"/>
                  <a:pt x="186" y="277"/>
                  <a:pt x="192" y="277"/>
                </a:cubicBezTo>
                <a:cubicBezTo>
                  <a:pt x="198" y="277"/>
                  <a:pt x="202" y="282"/>
                  <a:pt x="202" y="288"/>
                </a:cubicBezTo>
                <a:lnTo>
                  <a:pt x="202" y="362"/>
                </a:lnTo>
                <a:close/>
                <a:moveTo>
                  <a:pt x="245" y="362"/>
                </a:moveTo>
                <a:cubicBezTo>
                  <a:pt x="245" y="368"/>
                  <a:pt x="240" y="373"/>
                  <a:pt x="234" y="373"/>
                </a:cubicBezTo>
                <a:cubicBezTo>
                  <a:pt x="228" y="373"/>
                  <a:pt x="224" y="368"/>
                  <a:pt x="224" y="362"/>
                </a:cubicBezTo>
                <a:cubicBezTo>
                  <a:pt x="224" y="277"/>
                  <a:pt x="224" y="277"/>
                  <a:pt x="224" y="277"/>
                </a:cubicBezTo>
                <a:cubicBezTo>
                  <a:pt x="224" y="271"/>
                  <a:pt x="228" y="266"/>
                  <a:pt x="234" y="266"/>
                </a:cubicBezTo>
                <a:cubicBezTo>
                  <a:pt x="240" y="266"/>
                  <a:pt x="245" y="271"/>
                  <a:pt x="245" y="277"/>
                </a:cubicBezTo>
                <a:lnTo>
                  <a:pt x="245" y="362"/>
                </a:lnTo>
                <a:close/>
                <a:moveTo>
                  <a:pt x="288" y="362"/>
                </a:moveTo>
                <a:cubicBezTo>
                  <a:pt x="288" y="368"/>
                  <a:pt x="283" y="373"/>
                  <a:pt x="277" y="373"/>
                </a:cubicBezTo>
                <a:cubicBezTo>
                  <a:pt x="271" y="373"/>
                  <a:pt x="266" y="368"/>
                  <a:pt x="266" y="362"/>
                </a:cubicBezTo>
                <a:cubicBezTo>
                  <a:pt x="266" y="277"/>
                  <a:pt x="266" y="277"/>
                  <a:pt x="266" y="277"/>
                </a:cubicBezTo>
                <a:cubicBezTo>
                  <a:pt x="266" y="271"/>
                  <a:pt x="271" y="266"/>
                  <a:pt x="277" y="266"/>
                </a:cubicBezTo>
                <a:cubicBezTo>
                  <a:pt x="283" y="266"/>
                  <a:pt x="288" y="271"/>
                  <a:pt x="288" y="277"/>
                </a:cubicBezTo>
                <a:lnTo>
                  <a:pt x="288" y="362"/>
                </a:lnTo>
                <a:close/>
                <a:moveTo>
                  <a:pt x="330" y="362"/>
                </a:moveTo>
                <a:cubicBezTo>
                  <a:pt x="330" y="368"/>
                  <a:pt x="326" y="373"/>
                  <a:pt x="320" y="373"/>
                </a:cubicBezTo>
                <a:cubicBezTo>
                  <a:pt x="314" y="373"/>
                  <a:pt x="309" y="368"/>
                  <a:pt x="309" y="362"/>
                </a:cubicBezTo>
                <a:cubicBezTo>
                  <a:pt x="309" y="245"/>
                  <a:pt x="309" y="245"/>
                  <a:pt x="309" y="245"/>
                </a:cubicBezTo>
                <a:cubicBezTo>
                  <a:pt x="309" y="239"/>
                  <a:pt x="314" y="234"/>
                  <a:pt x="320" y="234"/>
                </a:cubicBezTo>
                <a:cubicBezTo>
                  <a:pt x="326" y="234"/>
                  <a:pt x="330" y="239"/>
                  <a:pt x="330" y="245"/>
                </a:cubicBezTo>
                <a:lnTo>
                  <a:pt x="330" y="362"/>
                </a:lnTo>
                <a:close/>
                <a:moveTo>
                  <a:pt x="373" y="362"/>
                </a:moveTo>
                <a:cubicBezTo>
                  <a:pt x="373" y="368"/>
                  <a:pt x="368" y="373"/>
                  <a:pt x="362" y="373"/>
                </a:cubicBezTo>
                <a:cubicBezTo>
                  <a:pt x="356" y="373"/>
                  <a:pt x="352" y="368"/>
                  <a:pt x="352" y="362"/>
                </a:cubicBezTo>
                <a:cubicBezTo>
                  <a:pt x="352" y="213"/>
                  <a:pt x="352" y="213"/>
                  <a:pt x="352" y="213"/>
                </a:cubicBezTo>
                <a:cubicBezTo>
                  <a:pt x="352" y="207"/>
                  <a:pt x="356" y="202"/>
                  <a:pt x="362" y="202"/>
                </a:cubicBezTo>
                <a:cubicBezTo>
                  <a:pt x="368" y="202"/>
                  <a:pt x="373" y="207"/>
                  <a:pt x="373" y="213"/>
                </a:cubicBezTo>
                <a:lnTo>
                  <a:pt x="373" y="362"/>
                </a:lnTo>
                <a:close/>
                <a:moveTo>
                  <a:pt x="394" y="170"/>
                </a:moveTo>
                <a:cubicBezTo>
                  <a:pt x="394" y="176"/>
                  <a:pt x="390" y="181"/>
                  <a:pt x="384" y="181"/>
                </a:cubicBezTo>
                <a:cubicBezTo>
                  <a:pt x="378" y="181"/>
                  <a:pt x="373" y="176"/>
                  <a:pt x="373" y="170"/>
                </a:cubicBezTo>
                <a:cubicBezTo>
                  <a:pt x="373" y="153"/>
                  <a:pt x="373" y="153"/>
                  <a:pt x="373" y="153"/>
                </a:cubicBezTo>
                <a:cubicBezTo>
                  <a:pt x="285" y="242"/>
                  <a:pt x="285" y="242"/>
                  <a:pt x="285" y="242"/>
                </a:cubicBezTo>
                <a:cubicBezTo>
                  <a:pt x="283" y="244"/>
                  <a:pt x="280" y="245"/>
                  <a:pt x="277" y="245"/>
                </a:cubicBezTo>
                <a:cubicBezTo>
                  <a:pt x="195" y="245"/>
                  <a:pt x="195" y="245"/>
                  <a:pt x="195" y="245"/>
                </a:cubicBezTo>
                <a:cubicBezTo>
                  <a:pt x="113" y="307"/>
                  <a:pt x="113" y="307"/>
                  <a:pt x="113" y="307"/>
                </a:cubicBezTo>
                <a:cubicBezTo>
                  <a:pt x="111" y="308"/>
                  <a:pt x="109" y="309"/>
                  <a:pt x="106" y="309"/>
                </a:cubicBezTo>
                <a:cubicBezTo>
                  <a:pt x="103" y="309"/>
                  <a:pt x="100" y="308"/>
                  <a:pt x="98" y="305"/>
                </a:cubicBezTo>
                <a:cubicBezTo>
                  <a:pt x="94" y="300"/>
                  <a:pt x="95" y="293"/>
                  <a:pt x="100" y="290"/>
                </a:cubicBezTo>
                <a:cubicBezTo>
                  <a:pt x="185" y="226"/>
                  <a:pt x="185" y="226"/>
                  <a:pt x="185" y="226"/>
                </a:cubicBezTo>
                <a:cubicBezTo>
                  <a:pt x="187" y="224"/>
                  <a:pt x="189" y="224"/>
                  <a:pt x="192" y="224"/>
                </a:cubicBezTo>
                <a:cubicBezTo>
                  <a:pt x="273" y="224"/>
                  <a:pt x="273" y="224"/>
                  <a:pt x="273" y="224"/>
                </a:cubicBezTo>
                <a:cubicBezTo>
                  <a:pt x="358" y="138"/>
                  <a:pt x="358" y="138"/>
                  <a:pt x="358" y="138"/>
                </a:cubicBezTo>
                <a:cubicBezTo>
                  <a:pt x="341" y="138"/>
                  <a:pt x="341" y="138"/>
                  <a:pt x="341" y="138"/>
                </a:cubicBezTo>
                <a:cubicBezTo>
                  <a:pt x="335" y="138"/>
                  <a:pt x="330" y="134"/>
                  <a:pt x="330" y="128"/>
                </a:cubicBezTo>
                <a:cubicBezTo>
                  <a:pt x="330" y="122"/>
                  <a:pt x="335" y="117"/>
                  <a:pt x="341"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17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ea typeface="+mn-ea"/>
              <a:cs typeface="+mn-cs"/>
            </a:endParaRPr>
          </a:p>
        </p:txBody>
      </p:sp>
      <p:cxnSp>
        <p:nvCxnSpPr>
          <p:cNvPr id="51" name="Straight Arrow Connector 50">
            <a:extLst>
              <a:ext uri="{FF2B5EF4-FFF2-40B4-BE49-F238E27FC236}">
                <a16:creationId xmlns:a16="http://schemas.microsoft.com/office/drawing/2014/main" id="{9B0AA99A-DD7F-4BB8-8809-E7D319D407FC}"/>
              </a:ext>
            </a:extLst>
          </p:cNvPr>
          <p:cNvCxnSpPr/>
          <p:nvPr/>
        </p:nvCxnSpPr>
        <p:spPr>
          <a:xfrm flipH="1" flipV="1">
            <a:off x="3410478" y="5245654"/>
            <a:ext cx="787211" cy="21713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F5260249-635A-478B-A135-5278A1051209}"/>
              </a:ext>
            </a:extLst>
          </p:cNvPr>
          <p:cNvSpPr txBox="1"/>
          <p:nvPr/>
        </p:nvSpPr>
        <p:spPr>
          <a:xfrm>
            <a:off x="1369278" y="5022465"/>
            <a:ext cx="2351952" cy="1169551"/>
          </a:xfrm>
          <a:prstGeom prst="rect">
            <a:avLst/>
          </a:prstGeom>
          <a:noFill/>
        </p:spPr>
        <p:txBody>
          <a:bodyPr wrap="square" rtlCol="0">
            <a:spAutoFit/>
          </a:bodyPr>
          <a:lstStyle/>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prstClr val="black">
                    <a:lumMod val="95000"/>
                    <a:lumOff val="5000"/>
                  </a:prstClr>
                </a:solidFill>
                <a:effectLst/>
                <a:uLnTx/>
                <a:uFillTx/>
                <a:ea typeface="Verdana" panose="020B0604030504040204" pitchFamily="34" charset="0"/>
                <a:cs typeface="Verdana" panose="020B0604030504040204" pitchFamily="34" charset="0"/>
              </a:rPr>
              <a:t>Develop production and pricing forecasting mechanisms using statistical techniques </a:t>
            </a:r>
          </a:p>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prstClr val="black">
                    <a:lumMod val="95000"/>
                    <a:lumOff val="5000"/>
                  </a:prstClr>
                </a:solidFill>
                <a:effectLst/>
                <a:uLnTx/>
                <a:uFillTx/>
                <a:ea typeface="Verdana" panose="020B0604030504040204" pitchFamily="34" charset="0"/>
                <a:cs typeface="Verdana" panose="020B0604030504040204" pitchFamily="34" charset="0"/>
              </a:rPr>
              <a:t>Develop processes and methods, and identify sources for collecting external data and feeding into Optimizer</a:t>
            </a:r>
          </a:p>
        </p:txBody>
      </p:sp>
      <p:sp>
        <p:nvSpPr>
          <p:cNvPr id="53" name="TextBox 52">
            <a:extLst>
              <a:ext uri="{FF2B5EF4-FFF2-40B4-BE49-F238E27FC236}">
                <a16:creationId xmlns:a16="http://schemas.microsoft.com/office/drawing/2014/main" id="{7D945BC4-C230-4114-BA64-9390C363E3F4}"/>
              </a:ext>
            </a:extLst>
          </p:cNvPr>
          <p:cNvSpPr txBox="1"/>
          <p:nvPr/>
        </p:nvSpPr>
        <p:spPr>
          <a:xfrm>
            <a:off x="1155601" y="4574509"/>
            <a:ext cx="2795380" cy="49244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ea typeface="Verdana" panose="020B0604030504040204" pitchFamily="34" charset="0"/>
                <a:cs typeface="Verdana" panose="020B0604030504040204" pitchFamily="34" charset="0"/>
              </a:rPr>
              <a:t>3</a:t>
            </a:r>
            <a:r>
              <a:rPr kumimoji="0" lang="en-US" sz="1000" b="1" i="0" u="none" strike="noStrike" kern="1200" cap="none" spc="0" normalizeH="0" baseline="0" noProof="0" dirty="0">
                <a:ln>
                  <a:noFill/>
                </a:ln>
                <a:effectLst/>
                <a:uLnTx/>
                <a:uFillTx/>
                <a:ea typeface="Verdana" panose="020B0604030504040204" pitchFamily="34" charset="0"/>
                <a:cs typeface="Verdana" panose="020B0604030504040204" pitchFamily="34" charset="0"/>
              </a:rPr>
              <a:t>. Develop Cognitive Forecasting Capabilities</a:t>
            </a:r>
          </a:p>
        </p:txBody>
      </p:sp>
      <p:grpSp>
        <p:nvGrpSpPr>
          <p:cNvPr id="54" name="Group 53">
            <a:extLst>
              <a:ext uri="{FF2B5EF4-FFF2-40B4-BE49-F238E27FC236}">
                <a16:creationId xmlns:a16="http://schemas.microsoft.com/office/drawing/2014/main" id="{5F6A24E2-9686-44E2-8C4A-A2F4C8C3F9BD}"/>
              </a:ext>
            </a:extLst>
          </p:cNvPr>
          <p:cNvGrpSpPr/>
          <p:nvPr/>
        </p:nvGrpSpPr>
        <p:grpSpPr>
          <a:xfrm>
            <a:off x="5686961" y="4376897"/>
            <a:ext cx="1489103" cy="502432"/>
            <a:chOff x="5686961" y="3786756"/>
            <a:chExt cx="1489103" cy="502432"/>
          </a:xfrm>
        </p:grpSpPr>
        <p:grpSp>
          <p:nvGrpSpPr>
            <p:cNvPr id="55" name="Group 54">
              <a:extLst>
                <a:ext uri="{FF2B5EF4-FFF2-40B4-BE49-F238E27FC236}">
                  <a16:creationId xmlns:a16="http://schemas.microsoft.com/office/drawing/2014/main" id="{A76722AF-D1CD-4125-8468-ADA1C951CE9F}"/>
                </a:ext>
              </a:extLst>
            </p:cNvPr>
            <p:cNvGrpSpPr/>
            <p:nvPr/>
          </p:nvGrpSpPr>
          <p:grpSpPr>
            <a:xfrm>
              <a:off x="5686961" y="3786756"/>
              <a:ext cx="188197" cy="502432"/>
              <a:chOff x="6076448" y="3831311"/>
              <a:chExt cx="188197" cy="502432"/>
            </a:xfrm>
          </p:grpSpPr>
          <p:cxnSp>
            <p:nvCxnSpPr>
              <p:cNvPr id="57" name="Straight Connector 56">
                <a:extLst>
                  <a:ext uri="{FF2B5EF4-FFF2-40B4-BE49-F238E27FC236}">
                    <a16:creationId xmlns:a16="http://schemas.microsoft.com/office/drawing/2014/main" id="{ADFB1E33-2DA8-44F4-97D6-2F8D77DBFB44}"/>
                  </a:ext>
                </a:extLst>
              </p:cNvPr>
              <p:cNvCxnSpPr/>
              <p:nvPr/>
            </p:nvCxnSpPr>
            <p:spPr>
              <a:xfrm>
                <a:off x="6076448" y="3831311"/>
                <a:ext cx="0" cy="502432"/>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58" name="Isosceles Triangle 57">
                <a:extLst>
                  <a:ext uri="{FF2B5EF4-FFF2-40B4-BE49-F238E27FC236}">
                    <a16:creationId xmlns:a16="http://schemas.microsoft.com/office/drawing/2014/main" id="{89D61F71-F892-4E5A-A23F-90375A0B7B02}"/>
                  </a:ext>
                </a:extLst>
              </p:cNvPr>
              <p:cNvSpPr/>
              <p:nvPr/>
            </p:nvSpPr>
            <p:spPr bwMode="gray">
              <a:xfrm rot="5400000">
                <a:off x="6047059" y="3897041"/>
                <a:ext cx="263309" cy="171862"/>
              </a:xfrm>
              <a:prstGeom prst="triangle">
                <a:avLst/>
              </a:prstGeom>
              <a:solidFill>
                <a:srgbClr val="FFCD00"/>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sp>
          <p:nvSpPr>
            <p:cNvPr id="56" name="TextBox 55">
              <a:extLst>
                <a:ext uri="{FF2B5EF4-FFF2-40B4-BE49-F238E27FC236}">
                  <a16:creationId xmlns:a16="http://schemas.microsoft.com/office/drawing/2014/main" id="{4B9EF878-72A0-48AB-9D8E-DA3998916AE3}"/>
                </a:ext>
              </a:extLst>
            </p:cNvPr>
            <p:cNvSpPr txBox="1"/>
            <p:nvPr/>
          </p:nvSpPr>
          <p:spPr>
            <a:xfrm>
              <a:off x="5905890" y="3799702"/>
              <a:ext cx="1270174" cy="369332"/>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800" b="1" i="1" u="none" strike="noStrike" kern="1200" cap="none" spc="0" normalizeH="0" baseline="0" noProof="0" dirty="0">
                  <a:ln>
                    <a:noFill/>
                  </a:ln>
                  <a:solidFill>
                    <a:prstClr val="black"/>
                  </a:solidFill>
                  <a:effectLst/>
                  <a:uLnTx/>
                  <a:uFillTx/>
                  <a:ea typeface="+mn-ea"/>
                  <a:cs typeface="+mn-cs"/>
                </a:rPr>
                <a:t>Functional model on Excel, Mathematical formulation</a:t>
              </a:r>
            </a:p>
          </p:txBody>
        </p:sp>
      </p:grpSp>
      <p:grpSp>
        <p:nvGrpSpPr>
          <p:cNvPr id="59" name="Group 58">
            <a:extLst>
              <a:ext uri="{FF2B5EF4-FFF2-40B4-BE49-F238E27FC236}">
                <a16:creationId xmlns:a16="http://schemas.microsoft.com/office/drawing/2014/main" id="{7321CCC9-4062-4B64-AE70-0A447D5C08B1}"/>
              </a:ext>
            </a:extLst>
          </p:cNvPr>
          <p:cNvGrpSpPr/>
          <p:nvPr/>
        </p:nvGrpSpPr>
        <p:grpSpPr>
          <a:xfrm>
            <a:off x="4779519" y="5098538"/>
            <a:ext cx="1687679" cy="502432"/>
            <a:chOff x="4779519" y="4508397"/>
            <a:chExt cx="1687679" cy="502432"/>
          </a:xfrm>
        </p:grpSpPr>
        <p:grpSp>
          <p:nvGrpSpPr>
            <p:cNvPr id="60" name="Group 59">
              <a:extLst>
                <a:ext uri="{FF2B5EF4-FFF2-40B4-BE49-F238E27FC236}">
                  <a16:creationId xmlns:a16="http://schemas.microsoft.com/office/drawing/2014/main" id="{52C4E6B5-A52B-4703-B74D-C15523056F5F}"/>
                </a:ext>
              </a:extLst>
            </p:cNvPr>
            <p:cNvGrpSpPr/>
            <p:nvPr/>
          </p:nvGrpSpPr>
          <p:grpSpPr>
            <a:xfrm>
              <a:off x="4779519" y="4508397"/>
              <a:ext cx="188197" cy="502432"/>
              <a:chOff x="6076448" y="3831311"/>
              <a:chExt cx="188197" cy="502432"/>
            </a:xfrm>
          </p:grpSpPr>
          <p:cxnSp>
            <p:nvCxnSpPr>
              <p:cNvPr id="62" name="Straight Connector 61">
                <a:extLst>
                  <a:ext uri="{FF2B5EF4-FFF2-40B4-BE49-F238E27FC236}">
                    <a16:creationId xmlns:a16="http://schemas.microsoft.com/office/drawing/2014/main" id="{9BE1C6BC-86DF-4B19-BD6D-35EFBD3991EF}"/>
                  </a:ext>
                </a:extLst>
              </p:cNvPr>
              <p:cNvCxnSpPr/>
              <p:nvPr/>
            </p:nvCxnSpPr>
            <p:spPr>
              <a:xfrm>
                <a:off x="6076448" y="3831311"/>
                <a:ext cx="0" cy="502432"/>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Isosceles Triangle 62">
                <a:extLst>
                  <a:ext uri="{FF2B5EF4-FFF2-40B4-BE49-F238E27FC236}">
                    <a16:creationId xmlns:a16="http://schemas.microsoft.com/office/drawing/2014/main" id="{5EBCF2BE-2AE5-4620-B8DB-225701A52689}"/>
                  </a:ext>
                </a:extLst>
              </p:cNvPr>
              <p:cNvSpPr/>
              <p:nvPr/>
            </p:nvSpPr>
            <p:spPr bwMode="gray">
              <a:xfrm rot="5400000">
                <a:off x="6047059" y="3897041"/>
                <a:ext cx="263309" cy="171862"/>
              </a:xfrm>
              <a:prstGeom prst="triangle">
                <a:avLst/>
              </a:prstGeom>
              <a:solidFill>
                <a:srgbClr val="FFCD00"/>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sp>
          <p:nvSpPr>
            <p:cNvPr id="61" name="TextBox 60">
              <a:extLst>
                <a:ext uri="{FF2B5EF4-FFF2-40B4-BE49-F238E27FC236}">
                  <a16:creationId xmlns:a16="http://schemas.microsoft.com/office/drawing/2014/main" id="{CE55D9BC-BAB3-4687-90E1-A48372A17566}"/>
                </a:ext>
              </a:extLst>
            </p:cNvPr>
            <p:cNvSpPr txBox="1"/>
            <p:nvPr/>
          </p:nvSpPr>
          <p:spPr>
            <a:xfrm>
              <a:off x="5025363" y="4531529"/>
              <a:ext cx="1441835" cy="246221"/>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800" b="1" i="1" u="none" strike="noStrike" kern="1200" cap="none" spc="0" normalizeH="0" baseline="0" noProof="0" dirty="0">
                  <a:ln>
                    <a:noFill/>
                  </a:ln>
                  <a:solidFill>
                    <a:prstClr val="black"/>
                  </a:solidFill>
                  <a:effectLst/>
                  <a:uLnTx/>
                  <a:uFillTx/>
                  <a:ea typeface="+mn-ea"/>
                  <a:cs typeface="+mn-cs"/>
                </a:rPr>
                <a:t>Extended model with forecasting techniques</a:t>
              </a:r>
            </a:p>
          </p:txBody>
        </p:sp>
      </p:grpSp>
      <p:grpSp>
        <p:nvGrpSpPr>
          <p:cNvPr id="64" name="Group 63">
            <a:extLst>
              <a:ext uri="{FF2B5EF4-FFF2-40B4-BE49-F238E27FC236}">
                <a16:creationId xmlns:a16="http://schemas.microsoft.com/office/drawing/2014/main" id="{48504C81-06E5-4EE4-8667-6457E198CD57}"/>
              </a:ext>
            </a:extLst>
          </p:cNvPr>
          <p:cNvGrpSpPr/>
          <p:nvPr/>
        </p:nvGrpSpPr>
        <p:grpSpPr>
          <a:xfrm>
            <a:off x="6506496" y="5261969"/>
            <a:ext cx="1212743" cy="658444"/>
            <a:chOff x="6506496" y="4671828"/>
            <a:chExt cx="1212743" cy="658444"/>
          </a:xfrm>
        </p:grpSpPr>
        <p:grpSp>
          <p:nvGrpSpPr>
            <p:cNvPr id="65" name="Group 64">
              <a:extLst>
                <a:ext uri="{FF2B5EF4-FFF2-40B4-BE49-F238E27FC236}">
                  <a16:creationId xmlns:a16="http://schemas.microsoft.com/office/drawing/2014/main" id="{6063F282-4AC7-4F1D-80B6-9C0F1936BFE5}"/>
                </a:ext>
              </a:extLst>
            </p:cNvPr>
            <p:cNvGrpSpPr/>
            <p:nvPr/>
          </p:nvGrpSpPr>
          <p:grpSpPr>
            <a:xfrm>
              <a:off x="6506496" y="4827840"/>
              <a:ext cx="188197" cy="502432"/>
              <a:chOff x="6076448" y="3831311"/>
              <a:chExt cx="188197" cy="502432"/>
            </a:xfrm>
          </p:grpSpPr>
          <p:cxnSp>
            <p:nvCxnSpPr>
              <p:cNvPr id="67" name="Straight Connector 66">
                <a:extLst>
                  <a:ext uri="{FF2B5EF4-FFF2-40B4-BE49-F238E27FC236}">
                    <a16:creationId xmlns:a16="http://schemas.microsoft.com/office/drawing/2014/main" id="{56104FAE-71A5-47F5-B36F-0F973A9B73AA}"/>
                  </a:ext>
                </a:extLst>
              </p:cNvPr>
              <p:cNvCxnSpPr/>
              <p:nvPr/>
            </p:nvCxnSpPr>
            <p:spPr>
              <a:xfrm>
                <a:off x="6076448" y="3831311"/>
                <a:ext cx="0" cy="502432"/>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68" name="Isosceles Triangle 67">
                <a:extLst>
                  <a:ext uri="{FF2B5EF4-FFF2-40B4-BE49-F238E27FC236}">
                    <a16:creationId xmlns:a16="http://schemas.microsoft.com/office/drawing/2014/main" id="{9EAE1556-DD0D-4E8E-9B29-362839201970}"/>
                  </a:ext>
                </a:extLst>
              </p:cNvPr>
              <p:cNvSpPr/>
              <p:nvPr/>
            </p:nvSpPr>
            <p:spPr bwMode="gray">
              <a:xfrm rot="5400000">
                <a:off x="6047059" y="3897041"/>
                <a:ext cx="263309" cy="171862"/>
              </a:xfrm>
              <a:prstGeom prst="triangle">
                <a:avLst/>
              </a:prstGeom>
              <a:solidFill>
                <a:srgbClr val="FFCD00"/>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sp>
          <p:nvSpPr>
            <p:cNvPr id="66" name="TextBox 65">
              <a:extLst>
                <a:ext uri="{FF2B5EF4-FFF2-40B4-BE49-F238E27FC236}">
                  <a16:creationId xmlns:a16="http://schemas.microsoft.com/office/drawing/2014/main" id="{2ED0D003-D025-4178-B822-04C24BFEDF58}"/>
                </a:ext>
              </a:extLst>
            </p:cNvPr>
            <p:cNvSpPr txBox="1"/>
            <p:nvPr/>
          </p:nvSpPr>
          <p:spPr>
            <a:xfrm>
              <a:off x="6746263" y="4671828"/>
              <a:ext cx="972976" cy="492443"/>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800" b="1" i="1" u="none" strike="noStrike" kern="1200" cap="none" spc="0" normalizeH="0" baseline="0" noProof="0" dirty="0">
                  <a:ln>
                    <a:noFill/>
                  </a:ln>
                  <a:solidFill>
                    <a:prstClr val="black"/>
                  </a:solidFill>
                  <a:effectLst/>
                  <a:uLnTx/>
                  <a:uFillTx/>
                  <a:ea typeface="+mn-ea"/>
                  <a:cs typeface="+mn-cs"/>
                </a:rPr>
                <a:t>Implementation ready tool, system codes, data templates </a:t>
              </a:r>
            </a:p>
          </p:txBody>
        </p:sp>
      </p:grpSp>
      <p:grpSp>
        <p:nvGrpSpPr>
          <p:cNvPr id="69" name="Group 68">
            <a:extLst>
              <a:ext uri="{FF2B5EF4-FFF2-40B4-BE49-F238E27FC236}">
                <a16:creationId xmlns:a16="http://schemas.microsoft.com/office/drawing/2014/main" id="{BAB0C9A8-51D5-4D66-B48E-BFBCF176D228}"/>
              </a:ext>
            </a:extLst>
          </p:cNvPr>
          <p:cNvGrpSpPr/>
          <p:nvPr/>
        </p:nvGrpSpPr>
        <p:grpSpPr>
          <a:xfrm>
            <a:off x="8370021" y="5637088"/>
            <a:ext cx="1388383" cy="502432"/>
            <a:chOff x="8370021" y="5046947"/>
            <a:chExt cx="1388383" cy="502432"/>
          </a:xfrm>
        </p:grpSpPr>
        <p:grpSp>
          <p:nvGrpSpPr>
            <p:cNvPr id="70" name="Group 69">
              <a:extLst>
                <a:ext uri="{FF2B5EF4-FFF2-40B4-BE49-F238E27FC236}">
                  <a16:creationId xmlns:a16="http://schemas.microsoft.com/office/drawing/2014/main" id="{B5310060-11F7-4F79-B2EE-42FC1B316A13}"/>
                </a:ext>
              </a:extLst>
            </p:cNvPr>
            <p:cNvGrpSpPr/>
            <p:nvPr/>
          </p:nvGrpSpPr>
          <p:grpSpPr>
            <a:xfrm>
              <a:off x="8370021" y="5046947"/>
              <a:ext cx="188197" cy="502432"/>
              <a:chOff x="6076448" y="3831311"/>
              <a:chExt cx="188197" cy="502432"/>
            </a:xfrm>
          </p:grpSpPr>
          <p:cxnSp>
            <p:nvCxnSpPr>
              <p:cNvPr id="72" name="Straight Connector 71">
                <a:extLst>
                  <a:ext uri="{FF2B5EF4-FFF2-40B4-BE49-F238E27FC236}">
                    <a16:creationId xmlns:a16="http://schemas.microsoft.com/office/drawing/2014/main" id="{8DCF432D-4257-49A9-8AD3-2291D3BAB0E3}"/>
                  </a:ext>
                </a:extLst>
              </p:cNvPr>
              <p:cNvCxnSpPr/>
              <p:nvPr/>
            </p:nvCxnSpPr>
            <p:spPr>
              <a:xfrm>
                <a:off x="6076448" y="3831311"/>
                <a:ext cx="0" cy="502432"/>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73" name="Isosceles Triangle 72">
                <a:extLst>
                  <a:ext uri="{FF2B5EF4-FFF2-40B4-BE49-F238E27FC236}">
                    <a16:creationId xmlns:a16="http://schemas.microsoft.com/office/drawing/2014/main" id="{B1820A71-E789-4C68-B794-80AD7AB68082}"/>
                  </a:ext>
                </a:extLst>
              </p:cNvPr>
              <p:cNvSpPr/>
              <p:nvPr/>
            </p:nvSpPr>
            <p:spPr bwMode="gray">
              <a:xfrm rot="5400000">
                <a:off x="6047059" y="3897041"/>
                <a:ext cx="263309" cy="171862"/>
              </a:xfrm>
              <a:prstGeom prst="triangle">
                <a:avLst/>
              </a:prstGeom>
              <a:solidFill>
                <a:srgbClr val="FFCD00"/>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sp>
          <p:nvSpPr>
            <p:cNvPr id="71" name="TextBox 70">
              <a:extLst>
                <a:ext uri="{FF2B5EF4-FFF2-40B4-BE49-F238E27FC236}">
                  <a16:creationId xmlns:a16="http://schemas.microsoft.com/office/drawing/2014/main" id="{9495F441-7507-47AB-8440-20FF6DE7B005}"/>
                </a:ext>
              </a:extLst>
            </p:cNvPr>
            <p:cNvSpPr txBox="1"/>
            <p:nvPr/>
          </p:nvSpPr>
          <p:spPr>
            <a:xfrm>
              <a:off x="8597958" y="5073246"/>
              <a:ext cx="1160446" cy="246221"/>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800" b="1" i="1" u="none" strike="noStrike" kern="1200" cap="none" spc="0" normalizeH="0" baseline="0" noProof="0" dirty="0">
                  <a:ln>
                    <a:noFill/>
                  </a:ln>
                  <a:solidFill>
                    <a:prstClr val="black"/>
                  </a:solidFill>
                  <a:effectLst/>
                  <a:uLnTx/>
                  <a:uFillTx/>
                  <a:ea typeface="+mn-ea"/>
                  <a:cs typeface="+mn-cs"/>
                </a:rPr>
                <a:t>Documented Business Processes</a:t>
              </a:r>
            </a:p>
          </p:txBody>
        </p:sp>
      </p:grpSp>
      <p:grpSp>
        <p:nvGrpSpPr>
          <p:cNvPr id="74" name="Group 73">
            <a:extLst>
              <a:ext uri="{FF2B5EF4-FFF2-40B4-BE49-F238E27FC236}">
                <a16:creationId xmlns:a16="http://schemas.microsoft.com/office/drawing/2014/main" id="{357A52A0-334E-4B26-B64F-61D67AEE531C}"/>
              </a:ext>
            </a:extLst>
          </p:cNvPr>
          <p:cNvGrpSpPr/>
          <p:nvPr/>
        </p:nvGrpSpPr>
        <p:grpSpPr>
          <a:xfrm>
            <a:off x="10563729" y="5726147"/>
            <a:ext cx="1522197" cy="502432"/>
            <a:chOff x="10563729" y="5136006"/>
            <a:chExt cx="1522197" cy="502432"/>
          </a:xfrm>
        </p:grpSpPr>
        <p:grpSp>
          <p:nvGrpSpPr>
            <p:cNvPr id="75" name="Group 74">
              <a:extLst>
                <a:ext uri="{FF2B5EF4-FFF2-40B4-BE49-F238E27FC236}">
                  <a16:creationId xmlns:a16="http://schemas.microsoft.com/office/drawing/2014/main" id="{AE22AD0A-D0CB-455F-BABF-45CAC5FD5F62}"/>
                </a:ext>
              </a:extLst>
            </p:cNvPr>
            <p:cNvGrpSpPr/>
            <p:nvPr/>
          </p:nvGrpSpPr>
          <p:grpSpPr>
            <a:xfrm>
              <a:off x="10563729" y="5136006"/>
              <a:ext cx="188197" cy="502432"/>
              <a:chOff x="6076448" y="3831311"/>
              <a:chExt cx="188197" cy="502432"/>
            </a:xfrm>
          </p:grpSpPr>
          <p:cxnSp>
            <p:nvCxnSpPr>
              <p:cNvPr id="77" name="Straight Connector 76">
                <a:extLst>
                  <a:ext uri="{FF2B5EF4-FFF2-40B4-BE49-F238E27FC236}">
                    <a16:creationId xmlns:a16="http://schemas.microsoft.com/office/drawing/2014/main" id="{406A414D-9A8B-49F9-8564-AA3296828A1A}"/>
                  </a:ext>
                </a:extLst>
              </p:cNvPr>
              <p:cNvCxnSpPr/>
              <p:nvPr/>
            </p:nvCxnSpPr>
            <p:spPr>
              <a:xfrm>
                <a:off x="6076448" y="3831311"/>
                <a:ext cx="0" cy="502432"/>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78" name="Isosceles Triangle 77">
                <a:extLst>
                  <a:ext uri="{FF2B5EF4-FFF2-40B4-BE49-F238E27FC236}">
                    <a16:creationId xmlns:a16="http://schemas.microsoft.com/office/drawing/2014/main" id="{17038458-2591-4613-A73D-A8A0B66B57DF}"/>
                  </a:ext>
                </a:extLst>
              </p:cNvPr>
              <p:cNvSpPr/>
              <p:nvPr/>
            </p:nvSpPr>
            <p:spPr bwMode="gray">
              <a:xfrm rot="5400000">
                <a:off x="6047059" y="3897041"/>
                <a:ext cx="263309" cy="171862"/>
              </a:xfrm>
              <a:prstGeom prst="triangle">
                <a:avLst/>
              </a:prstGeom>
              <a:solidFill>
                <a:srgbClr val="FFCD00"/>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sp>
          <p:nvSpPr>
            <p:cNvPr id="76" name="TextBox 75">
              <a:extLst>
                <a:ext uri="{FF2B5EF4-FFF2-40B4-BE49-F238E27FC236}">
                  <a16:creationId xmlns:a16="http://schemas.microsoft.com/office/drawing/2014/main" id="{933879CE-6EBC-4601-95C4-667BA37FD4E5}"/>
                </a:ext>
              </a:extLst>
            </p:cNvPr>
            <p:cNvSpPr txBox="1"/>
            <p:nvPr/>
          </p:nvSpPr>
          <p:spPr>
            <a:xfrm>
              <a:off x="10810238" y="5157743"/>
              <a:ext cx="1275688" cy="246221"/>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800" b="1" i="1" u="none" strike="noStrike" kern="1200" cap="none" spc="0" normalizeH="0" baseline="0" noProof="0" dirty="0">
                  <a:ln>
                    <a:noFill/>
                  </a:ln>
                  <a:solidFill>
                    <a:prstClr val="black"/>
                  </a:solidFill>
                  <a:effectLst/>
                  <a:uLnTx/>
                  <a:uFillTx/>
                  <a:ea typeface="+mn-ea"/>
                  <a:cs typeface="+mn-cs"/>
                </a:rPr>
                <a:t>User Manual, Training documentation </a:t>
              </a:r>
            </a:p>
          </p:txBody>
        </p:sp>
      </p:grpSp>
      <p:grpSp>
        <p:nvGrpSpPr>
          <p:cNvPr id="79" name="Group 78">
            <a:extLst>
              <a:ext uri="{FF2B5EF4-FFF2-40B4-BE49-F238E27FC236}">
                <a16:creationId xmlns:a16="http://schemas.microsoft.com/office/drawing/2014/main" id="{EDDD8AC5-F104-4A24-9DB8-16F2D5002EAD}"/>
              </a:ext>
            </a:extLst>
          </p:cNvPr>
          <p:cNvGrpSpPr/>
          <p:nvPr/>
        </p:nvGrpSpPr>
        <p:grpSpPr>
          <a:xfrm>
            <a:off x="3827740" y="3296966"/>
            <a:ext cx="996648" cy="502432"/>
            <a:chOff x="3827740" y="2706825"/>
            <a:chExt cx="996648" cy="502432"/>
          </a:xfrm>
        </p:grpSpPr>
        <p:grpSp>
          <p:nvGrpSpPr>
            <p:cNvPr id="80" name="Group 79">
              <a:extLst>
                <a:ext uri="{FF2B5EF4-FFF2-40B4-BE49-F238E27FC236}">
                  <a16:creationId xmlns:a16="http://schemas.microsoft.com/office/drawing/2014/main" id="{E7034688-C4F5-4BD1-A512-F266C096E222}"/>
                </a:ext>
              </a:extLst>
            </p:cNvPr>
            <p:cNvGrpSpPr/>
            <p:nvPr/>
          </p:nvGrpSpPr>
          <p:grpSpPr>
            <a:xfrm>
              <a:off x="3827740" y="2706825"/>
              <a:ext cx="188197" cy="502432"/>
              <a:chOff x="6076448" y="3831311"/>
              <a:chExt cx="188197" cy="502432"/>
            </a:xfrm>
          </p:grpSpPr>
          <p:cxnSp>
            <p:nvCxnSpPr>
              <p:cNvPr id="82" name="Straight Connector 81">
                <a:extLst>
                  <a:ext uri="{FF2B5EF4-FFF2-40B4-BE49-F238E27FC236}">
                    <a16:creationId xmlns:a16="http://schemas.microsoft.com/office/drawing/2014/main" id="{75F0511B-4E93-4EF1-96C5-2949BC92C13F}"/>
                  </a:ext>
                </a:extLst>
              </p:cNvPr>
              <p:cNvCxnSpPr/>
              <p:nvPr/>
            </p:nvCxnSpPr>
            <p:spPr>
              <a:xfrm>
                <a:off x="6076448" y="3831311"/>
                <a:ext cx="0" cy="502432"/>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83" name="Isosceles Triangle 82">
                <a:extLst>
                  <a:ext uri="{FF2B5EF4-FFF2-40B4-BE49-F238E27FC236}">
                    <a16:creationId xmlns:a16="http://schemas.microsoft.com/office/drawing/2014/main" id="{ECE7B060-55E9-454B-90F9-FB270BC91DA6}"/>
                  </a:ext>
                </a:extLst>
              </p:cNvPr>
              <p:cNvSpPr/>
              <p:nvPr/>
            </p:nvSpPr>
            <p:spPr bwMode="gray">
              <a:xfrm rot="5400000">
                <a:off x="6047059" y="3897041"/>
                <a:ext cx="263309" cy="171862"/>
              </a:xfrm>
              <a:prstGeom prst="triangle">
                <a:avLst/>
              </a:prstGeom>
              <a:solidFill>
                <a:schemeClr val="accent3"/>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sp>
          <p:nvSpPr>
            <p:cNvPr id="81" name="TextBox 80">
              <a:extLst>
                <a:ext uri="{FF2B5EF4-FFF2-40B4-BE49-F238E27FC236}">
                  <a16:creationId xmlns:a16="http://schemas.microsoft.com/office/drawing/2014/main" id="{5AAE6CFD-6887-4BEC-8253-DA3C91CDF64D}"/>
                </a:ext>
              </a:extLst>
            </p:cNvPr>
            <p:cNvSpPr txBox="1"/>
            <p:nvPr/>
          </p:nvSpPr>
          <p:spPr>
            <a:xfrm>
              <a:off x="4046669" y="2719771"/>
              <a:ext cx="777719" cy="246221"/>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800" b="1" i="1" u="none" strike="noStrike" kern="1200" cap="none" spc="0" normalizeH="0" baseline="0" noProof="0" dirty="0">
                  <a:ln>
                    <a:noFill/>
                  </a:ln>
                  <a:solidFill>
                    <a:prstClr val="black"/>
                  </a:solidFill>
                  <a:effectLst/>
                  <a:uLnTx/>
                  <a:uFillTx/>
                  <a:ea typeface="+mn-ea"/>
                  <a:cs typeface="+mn-cs"/>
                </a:rPr>
                <a:t>Proof of Concept</a:t>
              </a:r>
            </a:p>
          </p:txBody>
        </p:sp>
      </p:grpSp>
    </p:spTree>
    <p:extLst>
      <p:ext uri="{BB962C8B-B14F-4D97-AF65-F5344CB8AC3E}">
        <p14:creationId xmlns:p14="http://schemas.microsoft.com/office/powerpoint/2010/main" val="2978604357"/>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5A77254-8858-4EC2-91AF-ECE115416E3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788" name="think-cell Slide" r:id="rId6" imgW="415" imgH="416" progId="TCLayout.ActiveDocument.1">
                  <p:embed/>
                </p:oleObj>
              </mc:Choice>
              <mc:Fallback>
                <p:oleObj name="think-cell Slide" r:id="rId6" imgW="415" imgH="416" progId="TCLayout.ActiveDocument.1">
                  <p:embed/>
                  <p:pic>
                    <p:nvPicPr>
                      <p:cNvPr id="6" name="Object 5" hidden="1">
                        <a:extLst>
                          <a:ext uri="{FF2B5EF4-FFF2-40B4-BE49-F238E27FC236}">
                            <a16:creationId xmlns:a16="http://schemas.microsoft.com/office/drawing/2014/main" id="{B5A77254-8858-4EC2-91AF-ECE115416E3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402F373-F775-4238-BAF4-C523CBAC66A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3CD9CD62-A2F1-45F7-BAFE-A197A849601D}"/>
              </a:ext>
            </a:extLst>
          </p:cNvPr>
          <p:cNvSpPr>
            <a:spLocks noGrp="1"/>
          </p:cNvSpPr>
          <p:nvPr>
            <p:ph type="title"/>
          </p:nvPr>
        </p:nvSpPr>
        <p:spPr/>
        <p:txBody>
          <a:bodyPr/>
          <a:lstStyle/>
          <a:p>
            <a:r>
              <a:rPr lang="en-US" dirty="0"/>
              <a:t>Phased approach</a:t>
            </a:r>
          </a:p>
        </p:txBody>
      </p:sp>
      <p:sp>
        <p:nvSpPr>
          <p:cNvPr id="3" name="Text Placeholder 2">
            <a:extLst>
              <a:ext uri="{FF2B5EF4-FFF2-40B4-BE49-F238E27FC236}">
                <a16:creationId xmlns:a16="http://schemas.microsoft.com/office/drawing/2014/main" id="{B7821014-980C-4C6F-BEC1-2AA3DCB17EFC}"/>
              </a:ext>
            </a:extLst>
          </p:cNvPr>
          <p:cNvSpPr>
            <a:spLocks noGrp="1"/>
          </p:cNvSpPr>
          <p:nvPr>
            <p:ph type="body" sz="quarter" idx="14"/>
          </p:nvPr>
        </p:nvSpPr>
        <p:spPr/>
        <p:txBody>
          <a:bodyPr/>
          <a:lstStyle/>
          <a:p>
            <a:r>
              <a:rPr lang="en-US" dirty="0"/>
              <a:t>We are targeting a phased approach; all subscribers receive price recommendations by April 2019</a:t>
            </a:r>
          </a:p>
        </p:txBody>
      </p:sp>
      <p:sp>
        <p:nvSpPr>
          <p:cNvPr id="4" name="Text Placeholder 3">
            <a:extLst>
              <a:ext uri="{FF2B5EF4-FFF2-40B4-BE49-F238E27FC236}">
                <a16:creationId xmlns:a16="http://schemas.microsoft.com/office/drawing/2014/main" id="{0B8C29FD-9631-4435-AFDC-699100A0EC80}"/>
              </a:ext>
            </a:extLst>
          </p:cNvPr>
          <p:cNvSpPr>
            <a:spLocks noGrp="1"/>
          </p:cNvSpPr>
          <p:nvPr>
            <p:ph type="body" sz="quarter" idx="15"/>
          </p:nvPr>
        </p:nvSpPr>
        <p:spPr/>
        <p:txBody>
          <a:bodyPr/>
          <a:lstStyle/>
          <a:p>
            <a:r>
              <a:rPr lang="en-US" dirty="0"/>
              <a:t>Plans, timelines and roadmaps</a:t>
            </a:r>
          </a:p>
        </p:txBody>
      </p:sp>
      <p:cxnSp>
        <p:nvCxnSpPr>
          <p:cNvPr id="10" name="Straight Connector 9">
            <a:extLst>
              <a:ext uri="{FF2B5EF4-FFF2-40B4-BE49-F238E27FC236}">
                <a16:creationId xmlns:a16="http://schemas.microsoft.com/office/drawing/2014/main" id="{BB17F5A7-B6D4-4EAE-961E-E058F41DFBBC}"/>
              </a:ext>
            </a:extLst>
          </p:cNvPr>
          <p:cNvCxnSpPr>
            <a:cxnSpLocks/>
          </p:cNvCxnSpPr>
          <p:nvPr/>
        </p:nvCxnSpPr>
        <p:spPr>
          <a:xfrm>
            <a:off x="10119295" y="1877274"/>
            <a:ext cx="0" cy="4314428"/>
          </a:xfrm>
          <a:prstGeom prst="line">
            <a:avLst/>
          </a:prstGeom>
          <a:ln w="22225" cmpd="sng">
            <a:solidFill>
              <a:srgbClr val="00471B"/>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E6842163-B7F8-41E6-84C3-5EC849820595}"/>
              </a:ext>
            </a:extLst>
          </p:cNvPr>
          <p:cNvCxnSpPr>
            <a:cxnSpLocks/>
          </p:cNvCxnSpPr>
          <p:nvPr/>
        </p:nvCxnSpPr>
        <p:spPr>
          <a:xfrm>
            <a:off x="6678557" y="1877274"/>
            <a:ext cx="0" cy="4314428"/>
          </a:xfrm>
          <a:prstGeom prst="line">
            <a:avLst/>
          </a:prstGeom>
          <a:ln w="22225" cmpd="sng">
            <a:solidFill>
              <a:schemeClr val="accent1"/>
            </a:solidFill>
            <a:prstDash val="dash"/>
          </a:ln>
          <a:effectLst/>
        </p:spPr>
        <p:style>
          <a:lnRef idx="2">
            <a:schemeClr val="accent1"/>
          </a:lnRef>
          <a:fillRef idx="0">
            <a:schemeClr val="accent1"/>
          </a:fillRef>
          <a:effectRef idx="1">
            <a:schemeClr val="accent1"/>
          </a:effectRef>
          <a:fontRef idx="minor">
            <a:schemeClr val="tx1"/>
          </a:fontRef>
        </p:style>
      </p:cxnSp>
      <p:graphicFrame>
        <p:nvGraphicFramePr>
          <p:cNvPr id="12" name="Table 11">
            <a:extLst>
              <a:ext uri="{FF2B5EF4-FFF2-40B4-BE49-F238E27FC236}">
                <a16:creationId xmlns:a16="http://schemas.microsoft.com/office/drawing/2014/main" id="{E19D6910-DFEB-4C45-8B1B-95F62C8E8EFB}"/>
              </a:ext>
            </a:extLst>
          </p:cNvPr>
          <p:cNvGraphicFramePr>
            <a:graphicFrameLocks noGrp="1"/>
          </p:cNvGraphicFramePr>
          <p:nvPr/>
        </p:nvGraphicFramePr>
        <p:xfrm>
          <a:off x="919179" y="1708184"/>
          <a:ext cx="10358433" cy="4483518"/>
        </p:xfrm>
        <a:graphic>
          <a:graphicData uri="http://schemas.openxmlformats.org/drawingml/2006/table">
            <a:tbl>
              <a:tblPr firstRow="1" bandRow="1">
                <a:tableStyleId>{5C22544A-7EE6-4342-B048-85BDC9FD1C3A}</a:tableStyleId>
              </a:tblPr>
              <a:tblGrid>
                <a:gridCol w="1150937">
                  <a:extLst>
                    <a:ext uri="{9D8B030D-6E8A-4147-A177-3AD203B41FA5}">
                      <a16:colId xmlns:a16="http://schemas.microsoft.com/office/drawing/2014/main" val="669516923"/>
                    </a:ext>
                  </a:extLst>
                </a:gridCol>
                <a:gridCol w="1150937">
                  <a:extLst>
                    <a:ext uri="{9D8B030D-6E8A-4147-A177-3AD203B41FA5}">
                      <a16:colId xmlns:a16="http://schemas.microsoft.com/office/drawing/2014/main" val="20000"/>
                    </a:ext>
                  </a:extLst>
                </a:gridCol>
                <a:gridCol w="1150937">
                  <a:extLst>
                    <a:ext uri="{9D8B030D-6E8A-4147-A177-3AD203B41FA5}">
                      <a16:colId xmlns:a16="http://schemas.microsoft.com/office/drawing/2014/main" val="3523884876"/>
                    </a:ext>
                  </a:extLst>
                </a:gridCol>
                <a:gridCol w="1150937">
                  <a:extLst>
                    <a:ext uri="{9D8B030D-6E8A-4147-A177-3AD203B41FA5}">
                      <a16:colId xmlns:a16="http://schemas.microsoft.com/office/drawing/2014/main" val="488489071"/>
                    </a:ext>
                  </a:extLst>
                </a:gridCol>
                <a:gridCol w="1150937">
                  <a:extLst>
                    <a:ext uri="{9D8B030D-6E8A-4147-A177-3AD203B41FA5}">
                      <a16:colId xmlns:a16="http://schemas.microsoft.com/office/drawing/2014/main" val="368251857"/>
                    </a:ext>
                  </a:extLst>
                </a:gridCol>
                <a:gridCol w="1150937">
                  <a:extLst>
                    <a:ext uri="{9D8B030D-6E8A-4147-A177-3AD203B41FA5}">
                      <a16:colId xmlns:a16="http://schemas.microsoft.com/office/drawing/2014/main" val="20001"/>
                    </a:ext>
                  </a:extLst>
                </a:gridCol>
                <a:gridCol w="1150937">
                  <a:extLst>
                    <a:ext uri="{9D8B030D-6E8A-4147-A177-3AD203B41FA5}">
                      <a16:colId xmlns:a16="http://schemas.microsoft.com/office/drawing/2014/main" val="20005"/>
                    </a:ext>
                  </a:extLst>
                </a:gridCol>
                <a:gridCol w="1150937">
                  <a:extLst>
                    <a:ext uri="{9D8B030D-6E8A-4147-A177-3AD203B41FA5}">
                      <a16:colId xmlns:a16="http://schemas.microsoft.com/office/drawing/2014/main" val="20009"/>
                    </a:ext>
                  </a:extLst>
                </a:gridCol>
                <a:gridCol w="1150937">
                  <a:extLst>
                    <a:ext uri="{9D8B030D-6E8A-4147-A177-3AD203B41FA5}">
                      <a16:colId xmlns:a16="http://schemas.microsoft.com/office/drawing/2014/main" val="3029538405"/>
                    </a:ext>
                  </a:extLst>
                </a:gridCol>
              </a:tblGrid>
              <a:tr h="345440">
                <a:tc gridSpan="5">
                  <a:txBody>
                    <a:bodyPr/>
                    <a:lstStyle/>
                    <a:p>
                      <a:pPr algn="ctr"/>
                      <a:r>
                        <a:rPr lang="en-US" sz="1200" b="1" dirty="0">
                          <a:solidFill>
                            <a:schemeClr val="bg1"/>
                          </a:solidFill>
                          <a:latin typeface="+mn-lt"/>
                        </a:rPr>
                        <a:t>2018</a:t>
                      </a:r>
                    </a:p>
                  </a:txBody>
                  <a:tcPr marL="109967" marR="109967" marT="54984" marB="54984" anchor="ctr">
                    <a:lnR w="12700" cap="flat" cmpd="sng" algn="ctr">
                      <a:solidFill>
                        <a:schemeClr val="tx1"/>
                      </a:solidFill>
                      <a:prstDash val="solid"/>
                      <a:round/>
                      <a:headEnd type="none" w="med" len="med"/>
                      <a:tailEnd type="none" w="med" len="med"/>
                    </a:lnR>
                    <a:solidFill>
                      <a:schemeClr val="bg1">
                        <a:lumMod val="65000"/>
                      </a:schemeClr>
                    </a:solidFill>
                  </a:tcPr>
                </a:tc>
                <a:tc hMerge="1">
                  <a:txBody>
                    <a:bodyPr/>
                    <a:lstStyle/>
                    <a:p>
                      <a:pPr algn="ctr"/>
                      <a:endParaRPr lang="en-US" sz="1200" b="1" dirty="0">
                        <a:solidFill>
                          <a:schemeClr val="bg1"/>
                        </a:solidFill>
                        <a:latin typeface="+mn-lt"/>
                      </a:endParaRPr>
                    </a:p>
                  </a:txBody>
                  <a:tcPr marL="109967" marR="109967" marT="54984" marB="549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65000"/>
                      </a:schemeClr>
                    </a:solidFill>
                  </a:tcPr>
                </a:tc>
                <a:tc hMerge="1">
                  <a:txBody>
                    <a:bodyPr/>
                    <a:lstStyle/>
                    <a:p>
                      <a:pPr algn="ctr"/>
                      <a:endParaRPr lang="en-US" sz="1200" b="1" dirty="0">
                        <a:solidFill>
                          <a:schemeClr val="bg1"/>
                        </a:solidFill>
                        <a:latin typeface="+mn-lt"/>
                      </a:endParaRPr>
                    </a:p>
                  </a:txBody>
                  <a:tcPr marL="109967" marR="109967" marT="54984" marB="549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65000"/>
                      </a:schemeClr>
                    </a:solidFill>
                  </a:tcPr>
                </a:tc>
                <a:tc hMerge="1">
                  <a:txBody>
                    <a:bodyPr/>
                    <a:lstStyle/>
                    <a:p>
                      <a:pPr algn="ctr"/>
                      <a:endParaRPr lang="en-US" sz="1200" b="1" dirty="0">
                        <a:solidFill>
                          <a:schemeClr val="bg1"/>
                        </a:solidFill>
                        <a:latin typeface="+mn-lt"/>
                      </a:endParaRPr>
                    </a:p>
                  </a:txBody>
                  <a:tcPr marL="109967" marR="109967" marT="54984" marB="549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65000"/>
                      </a:schemeClr>
                    </a:solidFill>
                  </a:tcPr>
                </a:tc>
                <a:tc hMerge="1">
                  <a:txBody>
                    <a:bodyPr/>
                    <a:lstStyle/>
                    <a:p>
                      <a:pPr algn="ctr"/>
                      <a:endParaRPr lang="en-US" sz="1200" b="1" dirty="0">
                        <a:solidFill>
                          <a:schemeClr val="bg1"/>
                        </a:solidFill>
                        <a:latin typeface="+mn-lt"/>
                      </a:endParaRPr>
                    </a:p>
                  </a:txBody>
                  <a:tcPr marL="109967" marR="109967" marT="54984" marB="549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65000"/>
                      </a:schemeClr>
                    </a:solidFill>
                  </a:tcPr>
                </a:tc>
                <a:tc gridSpan="4">
                  <a:txBody>
                    <a:bodyPr/>
                    <a:lstStyle/>
                    <a:p>
                      <a:pPr algn="ctr"/>
                      <a:r>
                        <a:rPr lang="en-US" sz="1200" b="1" dirty="0">
                          <a:solidFill>
                            <a:schemeClr val="bg1"/>
                          </a:solidFill>
                          <a:latin typeface="+mn-lt"/>
                        </a:rPr>
                        <a:t>2019</a:t>
                      </a:r>
                    </a:p>
                  </a:txBody>
                  <a:tcPr marL="109967" marR="109967" marT="54984" marB="54984" anchor="ctr">
                    <a:lnL w="12700" cap="flat" cmpd="sng" algn="ctr">
                      <a:solidFill>
                        <a:schemeClr val="tx1"/>
                      </a:solidFill>
                      <a:prstDash val="solid"/>
                      <a:round/>
                      <a:headEnd type="none" w="med" len="med"/>
                      <a:tailEnd type="none" w="med" len="med"/>
                    </a:lnL>
                    <a:solidFill>
                      <a:schemeClr val="bg1">
                        <a:lumMod val="65000"/>
                      </a:schemeClr>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b="1" dirty="0">
                        <a:solidFill>
                          <a:schemeClr val="bg1"/>
                        </a:solidFill>
                        <a:latin typeface="+mn-lt"/>
                      </a:endParaRPr>
                    </a:p>
                  </a:txBody>
                  <a:tcPr marL="109967" marR="109967" marT="54984" marB="549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65000"/>
                      </a:schemeClr>
                    </a:solidFill>
                  </a:tcPr>
                </a:tc>
                <a:tc hMerge="1">
                  <a:txBody>
                    <a:bodyPr/>
                    <a:lstStyle/>
                    <a:p>
                      <a:pPr algn="ctr"/>
                      <a:endParaRPr lang="en-US" sz="1200" b="1" dirty="0">
                        <a:solidFill>
                          <a:schemeClr val="bg1"/>
                        </a:solidFill>
                        <a:latin typeface="+mn-lt"/>
                      </a:endParaRPr>
                    </a:p>
                  </a:txBody>
                  <a:tcPr marL="109967" marR="109967" marT="54984" marB="54984" anchor="ctr">
                    <a:lnL w="12700" cap="flat" cmpd="sng" algn="ctr">
                      <a:solidFill>
                        <a:schemeClr val="tx1"/>
                      </a:solidFill>
                      <a:prstDash val="solid"/>
                      <a:round/>
                      <a:headEnd type="none" w="med" len="med"/>
                      <a:tailEnd type="none" w="med" len="med"/>
                    </a:lnL>
                    <a:solidFill>
                      <a:schemeClr val="bg1">
                        <a:lumMod val="65000"/>
                      </a:schemeClr>
                    </a:solidFill>
                  </a:tcPr>
                </a:tc>
                <a:tc hMerge="1">
                  <a:txBody>
                    <a:bodyPr/>
                    <a:lstStyle/>
                    <a:p>
                      <a:pPr algn="ctr"/>
                      <a:endParaRPr lang="en-US" sz="1200" b="1" dirty="0">
                        <a:solidFill>
                          <a:schemeClr val="bg1"/>
                        </a:solidFill>
                        <a:latin typeface="+mn-lt"/>
                      </a:endParaRPr>
                    </a:p>
                  </a:txBody>
                  <a:tcPr marL="109967" marR="109967" marT="54984" marB="54984" anchor="ctr">
                    <a:lnL w="12700" cap="flat" cmpd="sng" algn="ctr">
                      <a:solidFill>
                        <a:schemeClr val="tx1"/>
                      </a:solidFill>
                      <a:prstDash val="solid"/>
                      <a:round/>
                      <a:headEnd type="none" w="med" len="med"/>
                      <a:tailEnd type="none" w="med" len="med"/>
                    </a:lnL>
                    <a:solidFill>
                      <a:schemeClr val="bg1">
                        <a:lumMod val="65000"/>
                      </a:schemeClr>
                    </a:solidFill>
                  </a:tcPr>
                </a:tc>
                <a:extLst>
                  <a:ext uri="{0D108BD9-81ED-4DB2-BD59-A6C34878D82A}">
                    <a16:rowId xmlns:a16="http://schemas.microsoft.com/office/drawing/2014/main" val="10000"/>
                  </a:ext>
                </a:extLst>
              </a:tr>
              <a:tr h="314960">
                <a:tc>
                  <a:txBody>
                    <a:bodyPr/>
                    <a:lstStyle/>
                    <a:p>
                      <a:pPr algn="ctr"/>
                      <a:r>
                        <a:rPr lang="en-US" sz="1200" b="1" dirty="0">
                          <a:solidFill>
                            <a:schemeClr val="tx1">
                              <a:lumMod val="65000"/>
                              <a:lumOff val="35000"/>
                            </a:schemeClr>
                          </a:solidFill>
                          <a:latin typeface="+mn-lt"/>
                        </a:rPr>
                        <a:t>AUG</a:t>
                      </a:r>
                    </a:p>
                  </a:txBody>
                  <a:tcPr marL="109967" marR="109967" marT="54984" marB="54984" anchor="ctr">
                    <a:lnR w="12700" cap="flat" cmpd="sng" algn="ctr">
                      <a:solidFill>
                        <a:schemeClr val="tx1"/>
                      </a:solidFill>
                      <a:prstDash val="solid"/>
                      <a:round/>
                      <a:headEnd type="none" w="med" len="med"/>
                      <a:tailEnd type="none" w="med" len="med"/>
                    </a:lnR>
                    <a:solidFill>
                      <a:schemeClr val="bg1">
                        <a:lumMod val="85000"/>
                      </a:schemeClr>
                    </a:solidFill>
                  </a:tcPr>
                </a:tc>
                <a:tc>
                  <a:txBody>
                    <a:bodyPr/>
                    <a:lstStyle/>
                    <a:p>
                      <a:pPr algn="ctr"/>
                      <a:r>
                        <a:rPr lang="en-US" sz="1200" b="1" dirty="0">
                          <a:solidFill>
                            <a:schemeClr val="tx1">
                              <a:lumMod val="65000"/>
                              <a:lumOff val="35000"/>
                            </a:schemeClr>
                          </a:solidFill>
                          <a:latin typeface="+mn-lt"/>
                        </a:rPr>
                        <a:t>SEP</a:t>
                      </a:r>
                    </a:p>
                  </a:txBody>
                  <a:tcPr marL="109967" marR="109967" marT="54984" marB="549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85000"/>
                      </a:schemeClr>
                    </a:solidFill>
                  </a:tcPr>
                </a:tc>
                <a:tc>
                  <a:txBody>
                    <a:bodyPr/>
                    <a:lstStyle/>
                    <a:p>
                      <a:pPr algn="ctr"/>
                      <a:r>
                        <a:rPr lang="en-US" sz="1200" b="1" dirty="0">
                          <a:solidFill>
                            <a:schemeClr val="tx1">
                              <a:lumMod val="65000"/>
                              <a:lumOff val="35000"/>
                            </a:schemeClr>
                          </a:solidFill>
                          <a:latin typeface="+mn-lt"/>
                        </a:rPr>
                        <a:t>OCT</a:t>
                      </a:r>
                    </a:p>
                  </a:txBody>
                  <a:tcPr marL="109967" marR="109967" marT="54984" marB="549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85000"/>
                      </a:schemeClr>
                    </a:solidFill>
                  </a:tcPr>
                </a:tc>
                <a:tc>
                  <a:txBody>
                    <a:bodyPr/>
                    <a:lstStyle/>
                    <a:p>
                      <a:pPr algn="ctr"/>
                      <a:r>
                        <a:rPr lang="en-US" sz="1200" b="1" dirty="0">
                          <a:solidFill>
                            <a:schemeClr val="tx1">
                              <a:lumMod val="65000"/>
                              <a:lumOff val="35000"/>
                            </a:schemeClr>
                          </a:solidFill>
                          <a:latin typeface="+mn-lt"/>
                        </a:rPr>
                        <a:t>NOV</a:t>
                      </a:r>
                    </a:p>
                  </a:txBody>
                  <a:tcPr marL="109967" marR="109967" marT="54984" marB="549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85000"/>
                      </a:schemeClr>
                    </a:solidFill>
                  </a:tcPr>
                </a:tc>
                <a:tc>
                  <a:txBody>
                    <a:bodyPr/>
                    <a:lstStyle/>
                    <a:p>
                      <a:pPr algn="ctr"/>
                      <a:r>
                        <a:rPr lang="en-US" sz="1200" b="1" dirty="0">
                          <a:solidFill>
                            <a:schemeClr val="tx1">
                              <a:lumMod val="65000"/>
                              <a:lumOff val="35000"/>
                            </a:schemeClr>
                          </a:solidFill>
                          <a:latin typeface="+mn-lt"/>
                        </a:rPr>
                        <a:t>DEC</a:t>
                      </a:r>
                    </a:p>
                  </a:txBody>
                  <a:tcPr marL="109967" marR="109967" marT="54984" marB="549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85000"/>
                      </a:schemeClr>
                    </a:solidFill>
                  </a:tcPr>
                </a:tc>
                <a:tc>
                  <a:txBody>
                    <a:bodyPr/>
                    <a:lstStyle/>
                    <a:p>
                      <a:pPr algn="ctr"/>
                      <a:r>
                        <a:rPr lang="en-US" sz="1200" b="1" dirty="0">
                          <a:solidFill>
                            <a:schemeClr val="tx1">
                              <a:lumMod val="65000"/>
                              <a:lumOff val="35000"/>
                            </a:schemeClr>
                          </a:solidFill>
                          <a:latin typeface="+mn-lt"/>
                        </a:rPr>
                        <a:t>JAN</a:t>
                      </a:r>
                    </a:p>
                  </a:txBody>
                  <a:tcPr marL="109967" marR="109967" marT="54984" marB="549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85000"/>
                      </a:schemeClr>
                    </a:solidFill>
                  </a:tcPr>
                </a:tc>
                <a:tc>
                  <a:txBody>
                    <a:bodyPr/>
                    <a:lstStyle/>
                    <a:p>
                      <a:pPr algn="ctr"/>
                      <a:r>
                        <a:rPr lang="en-US" sz="1200" b="1" dirty="0">
                          <a:solidFill>
                            <a:schemeClr val="tx1">
                              <a:lumMod val="65000"/>
                              <a:lumOff val="35000"/>
                            </a:schemeClr>
                          </a:solidFill>
                          <a:latin typeface="+mn-lt"/>
                        </a:rPr>
                        <a:t>FEB</a:t>
                      </a:r>
                    </a:p>
                  </a:txBody>
                  <a:tcPr marL="109967" marR="109967" marT="54984" marB="549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85000"/>
                      </a:schemeClr>
                    </a:solidFill>
                  </a:tcPr>
                </a:tc>
                <a:tc>
                  <a:txBody>
                    <a:bodyPr/>
                    <a:lstStyle/>
                    <a:p>
                      <a:pPr algn="ctr"/>
                      <a:r>
                        <a:rPr lang="en-US" sz="1200" b="1" dirty="0">
                          <a:solidFill>
                            <a:schemeClr val="tx1">
                              <a:lumMod val="65000"/>
                              <a:lumOff val="35000"/>
                            </a:schemeClr>
                          </a:solidFill>
                          <a:latin typeface="+mn-lt"/>
                        </a:rPr>
                        <a:t>MAR</a:t>
                      </a:r>
                    </a:p>
                  </a:txBody>
                  <a:tcPr marL="109967" marR="109967" marT="54984" marB="549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85000"/>
                      </a:schemeClr>
                    </a:solidFill>
                  </a:tcPr>
                </a:tc>
                <a:tc>
                  <a:txBody>
                    <a:bodyPr/>
                    <a:lstStyle/>
                    <a:p>
                      <a:pPr algn="ctr"/>
                      <a:r>
                        <a:rPr lang="en-US" sz="1200" b="1" dirty="0">
                          <a:solidFill>
                            <a:schemeClr val="tx1">
                              <a:lumMod val="65000"/>
                              <a:lumOff val="35000"/>
                            </a:schemeClr>
                          </a:solidFill>
                          <a:latin typeface="+mn-lt"/>
                        </a:rPr>
                        <a:t>APR</a:t>
                      </a:r>
                    </a:p>
                  </a:txBody>
                  <a:tcPr marL="109967" marR="109967" marT="54984" marB="54984" anchor="ctr">
                    <a:lnL w="12700" cap="flat" cmpd="sng" algn="ctr">
                      <a:solidFill>
                        <a:schemeClr val="tx1"/>
                      </a:solidFill>
                      <a:prstDash val="solid"/>
                      <a:round/>
                      <a:headEnd type="none" w="med" len="med"/>
                      <a:tailEnd type="none" w="med" len="med"/>
                    </a:lnL>
                    <a:solidFill>
                      <a:schemeClr val="bg1">
                        <a:lumMod val="85000"/>
                      </a:schemeClr>
                    </a:solidFill>
                  </a:tcPr>
                </a:tc>
                <a:extLst>
                  <a:ext uri="{0D108BD9-81ED-4DB2-BD59-A6C34878D82A}">
                    <a16:rowId xmlns:a16="http://schemas.microsoft.com/office/drawing/2014/main" val="10001"/>
                  </a:ext>
                </a:extLst>
              </a:tr>
              <a:tr h="3823118">
                <a:tc>
                  <a:txBody>
                    <a:bodyPr/>
                    <a:lstStyle/>
                    <a:p>
                      <a:pPr algn="ctr"/>
                      <a:endParaRPr lang="en-US" sz="1200" b="1" dirty="0">
                        <a:solidFill>
                          <a:schemeClr val="tx1">
                            <a:lumMod val="65000"/>
                            <a:lumOff val="35000"/>
                          </a:schemeClr>
                        </a:solidFill>
                        <a:latin typeface="+mn-lt"/>
                      </a:endParaRPr>
                    </a:p>
                  </a:txBody>
                  <a:tcPr marL="109967" marR="109967" marT="54984" marB="54984" anchor="ctr">
                    <a:lnB w="12700" cap="flat" cmpd="sng" algn="ctr">
                      <a:solidFill>
                        <a:schemeClr val="tx1"/>
                      </a:solidFill>
                      <a:prstDash val="solid"/>
                      <a:round/>
                      <a:headEnd type="none" w="med" len="med"/>
                      <a:tailEnd type="none" w="med" len="med"/>
                    </a:lnB>
                    <a:noFill/>
                  </a:tcPr>
                </a:tc>
                <a:tc gridSpan="8">
                  <a:txBody>
                    <a:bodyPr/>
                    <a:lstStyle/>
                    <a:p>
                      <a:pPr algn="ctr"/>
                      <a:endParaRPr lang="en-US" sz="1200" b="1" dirty="0">
                        <a:solidFill>
                          <a:schemeClr val="tx1">
                            <a:lumMod val="65000"/>
                            <a:lumOff val="35000"/>
                          </a:schemeClr>
                        </a:solidFill>
                        <a:latin typeface="+mn-lt"/>
                      </a:endParaRPr>
                    </a:p>
                  </a:txBody>
                  <a:tcPr marL="109967" marR="109967" marT="54984" marB="54984" anchor="ctr">
                    <a:lnB w="12700"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ctr"/>
                      <a:endParaRPr lang="en-US" sz="1200" b="1" dirty="0">
                        <a:solidFill>
                          <a:schemeClr val="tx1">
                            <a:lumMod val="65000"/>
                            <a:lumOff val="35000"/>
                          </a:schemeClr>
                        </a:solidFill>
                        <a:latin typeface="+mn-lt"/>
                      </a:endParaRPr>
                    </a:p>
                  </a:txBody>
                  <a:tcPr marL="109967" marR="109967" marT="54984" marB="549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85000"/>
                      </a:schemeClr>
                    </a:solidFill>
                  </a:tcPr>
                </a:tc>
                <a:tc hMerge="1">
                  <a:txBody>
                    <a:bodyPr/>
                    <a:lstStyle/>
                    <a:p>
                      <a:pPr algn="ctr"/>
                      <a:endParaRPr lang="en-US" sz="1200" b="1" dirty="0">
                        <a:solidFill>
                          <a:schemeClr val="tx1">
                            <a:lumMod val="65000"/>
                            <a:lumOff val="35000"/>
                          </a:schemeClr>
                        </a:solidFill>
                        <a:latin typeface="+mn-lt"/>
                      </a:endParaRPr>
                    </a:p>
                  </a:txBody>
                  <a:tcPr marL="109967" marR="109967" marT="54984" marB="549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85000"/>
                      </a:schemeClr>
                    </a:solidFill>
                  </a:tcPr>
                </a:tc>
                <a:tc hMerge="1">
                  <a:txBody>
                    <a:bodyPr/>
                    <a:lstStyle/>
                    <a:p>
                      <a:pPr algn="ctr"/>
                      <a:endParaRPr lang="en-US" sz="1200" b="1" dirty="0">
                        <a:solidFill>
                          <a:schemeClr val="tx1">
                            <a:lumMod val="65000"/>
                            <a:lumOff val="35000"/>
                          </a:schemeClr>
                        </a:solidFill>
                        <a:latin typeface="+mn-lt"/>
                      </a:endParaRPr>
                    </a:p>
                  </a:txBody>
                  <a:tcPr marL="109967" marR="109967" marT="54984" marB="549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85000"/>
                      </a:schemeClr>
                    </a:solidFill>
                  </a:tcPr>
                </a:tc>
                <a:tc hMerge="1">
                  <a:txBody>
                    <a:bodyPr/>
                    <a:lstStyle/>
                    <a:p>
                      <a:pPr algn="ctr"/>
                      <a:endParaRPr lang="en-US" sz="1200" b="1" dirty="0">
                        <a:solidFill>
                          <a:schemeClr val="tx1">
                            <a:lumMod val="65000"/>
                            <a:lumOff val="35000"/>
                          </a:schemeClr>
                        </a:solidFill>
                        <a:latin typeface="+mn-lt"/>
                      </a:endParaRPr>
                    </a:p>
                  </a:txBody>
                  <a:tcPr marL="109967" marR="109967" marT="54984" marB="54984" anchor="ctr">
                    <a:lnL w="12700" cap="flat" cmpd="sng" algn="ctr">
                      <a:solidFill>
                        <a:schemeClr val="tx1"/>
                      </a:solidFill>
                      <a:prstDash val="solid"/>
                      <a:round/>
                      <a:headEnd type="none" w="med" len="med"/>
                      <a:tailEnd type="none" w="med" len="med"/>
                    </a:lnL>
                    <a:solidFill>
                      <a:schemeClr val="bg1">
                        <a:lumMod val="85000"/>
                      </a:schemeClr>
                    </a:solidFill>
                  </a:tcPr>
                </a:tc>
                <a:extLst>
                  <a:ext uri="{0D108BD9-81ED-4DB2-BD59-A6C34878D82A}">
                    <a16:rowId xmlns:a16="http://schemas.microsoft.com/office/drawing/2014/main" val="1281477460"/>
                  </a:ext>
                </a:extLst>
              </a:tr>
            </a:tbl>
          </a:graphicData>
        </a:graphic>
      </p:graphicFrame>
      <p:grpSp>
        <p:nvGrpSpPr>
          <p:cNvPr id="13" name="Group 12">
            <a:extLst>
              <a:ext uri="{FF2B5EF4-FFF2-40B4-BE49-F238E27FC236}">
                <a16:creationId xmlns:a16="http://schemas.microsoft.com/office/drawing/2014/main" id="{968A9CD5-3C72-4698-B7B0-EAAEA63541A2}"/>
              </a:ext>
            </a:extLst>
          </p:cNvPr>
          <p:cNvGrpSpPr/>
          <p:nvPr/>
        </p:nvGrpSpPr>
        <p:grpSpPr>
          <a:xfrm>
            <a:off x="6019567" y="2795403"/>
            <a:ext cx="4140369" cy="1645093"/>
            <a:chOff x="6009407" y="2971374"/>
            <a:chExt cx="4140369" cy="1645093"/>
          </a:xfrm>
        </p:grpSpPr>
        <p:sp>
          <p:nvSpPr>
            <p:cNvPr id="14" name="Right Triangle 13">
              <a:extLst>
                <a:ext uri="{FF2B5EF4-FFF2-40B4-BE49-F238E27FC236}">
                  <a16:creationId xmlns:a16="http://schemas.microsoft.com/office/drawing/2014/main" id="{1722CB9E-3367-4832-80AE-75BE5396EB2A}"/>
                </a:ext>
              </a:extLst>
            </p:cNvPr>
            <p:cNvSpPr/>
            <p:nvPr/>
          </p:nvSpPr>
          <p:spPr>
            <a:xfrm flipH="1">
              <a:off x="6009407" y="2981531"/>
              <a:ext cx="3986690" cy="1634936"/>
            </a:xfrm>
            <a:prstGeom prst="rtTriangle">
              <a:avLst/>
            </a:prstGeom>
            <a:gradFill flip="none" rotWithShape="1">
              <a:gsLst>
                <a:gs pos="0">
                  <a:schemeClr val="accent1"/>
                </a:gs>
                <a:gs pos="50000">
                  <a:schemeClr val="accent1">
                    <a:tint val="44500"/>
                    <a:satMod val="160000"/>
                  </a:schemeClr>
                </a:gs>
                <a:gs pos="100000">
                  <a:schemeClr val="accent1">
                    <a:tint val="23500"/>
                    <a:satMod val="1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75C71845-6C81-4A6E-81BB-5C11DE646CE7}"/>
                </a:ext>
              </a:extLst>
            </p:cNvPr>
            <p:cNvSpPr/>
            <p:nvPr/>
          </p:nvSpPr>
          <p:spPr>
            <a:xfrm>
              <a:off x="8592442" y="3351992"/>
              <a:ext cx="198699" cy="12644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6" name="Isosceles Triangle 15">
              <a:extLst>
                <a:ext uri="{FF2B5EF4-FFF2-40B4-BE49-F238E27FC236}">
                  <a16:creationId xmlns:a16="http://schemas.microsoft.com/office/drawing/2014/main" id="{9E3BBD95-E9EE-4ED3-AD67-3C219204C573}"/>
                </a:ext>
              </a:extLst>
            </p:cNvPr>
            <p:cNvSpPr/>
            <p:nvPr/>
          </p:nvSpPr>
          <p:spPr>
            <a:xfrm rot="5400000">
              <a:off x="9268081" y="3699391"/>
              <a:ext cx="1609711" cy="153678"/>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17" name="Group 16">
            <a:extLst>
              <a:ext uri="{FF2B5EF4-FFF2-40B4-BE49-F238E27FC236}">
                <a16:creationId xmlns:a16="http://schemas.microsoft.com/office/drawing/2014/main" id="{34E6C973-0530-4E57-B78B-5B9A5D6FBCEB}"/>
              </a:ext>
            </a:extLst>
          </p:cNvPr>
          <p:cNvGrpSpPr/>
          <p:nvPr/>
        </p:nvGrpSpPr>
        <p:grpSpPr>
          <a:xfrm>
            <a:off x="6674976" y="4642847"/>
            <a:ext cx="3447126" cy="365576"/>
            <a:chOff x="6868016" y="4377383"/>
            <a:chExt cx="3447126" cy="365576"/>
          </a:xfrm>
        </p:grpSpPr>
        <p:sp>
          <p:nvSpPr>
            <p:cNvPr id="18" name="Pentagon 195">
              <a:extLst>
                <a:ext uri="{FF2B5EF4-FFF2-40B4-BE49-F238E27FC236}">
                  <a16:creationId xmlns:a16="http://schemas.microsoft.com/office/drawing/2014/main" id="{86D2FBF4-AE79-4FAE-A01E-61AC37B2DEE7}"/>
                </a:ext>
              </a:extLst>
            </p:cNvPr>
            <p:cNvSpPr>
              <a:spLocks/>
            </p:cNvSpPr>
            <p:nvPr/>
          </p:nvSpPr>
          <p:spPr>
            <a:xfrm>
              <a:off x="6981033" y="4422919"/>
              <a:ext cx="3334109" cy="320040"/>
            </a:xfrm>
            <a:prstGeom prst="homePlate">
              <a:avLst/>
            </a:prstGeom>
            <a:solidFill>
              <a:schemeClr val="accent1"/>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tIns="73152"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Open Sans"/>
                </a:rPr>
                <a:t>Pre-Launch Development</a:t>
              </a:r>
            </a:p>
          </p:txBody>
        </p:sp>
        <p:grpSp>
          <p:nvGrpSpPr>
            <p:cNvPr id="19" name="Group 18">
              <a:extLst>
                <a:ext uri="{FF2B5EF4-FFF2-40B4-BE49-F238E27FC236}">
                  <a16:creationId xmlns:a16="http://schemas.microsoft.com/office/drawing/2014/main" id="{64A9F541-6355-41F1-B1FC-997696DBE907}"/>
                </a:ext>
              </a:extLst>
            </p:cNvPr>
            <p:cNvGrpSpPr/>
            <p:nvPr/>
          </p:nvGrpSpPr>
          <p:grpSpPr>
            <a:xfrm>
              <a:off x="6868016" y="4377383"/>
              <a:ext cx="220424" cy="212434"/>
              <a:chOff x="7053571" y="2135929"/>
              <a:chExt cx="193122" cy="193122"/>
            </a:xfrm>
          </p:grpSpPr>
          <p:sp>
            <p:nvSpPr>
              <p:cNvPr id="20" name="Oval 19">
                <a:extLst>
                  <a:ext uri="{FF2B5EF4-FFF2-40B4-BE49-F238E27FC236}">
                    <a16:creationId xmlns:a16="http://schemas.microsoft.com/office/drawing/2014/main" id="{FFD1CC6F-E8A0-477D-A39C-068C7E211626}"/>
                  </a:ext>
                </a:extLst>
              </p:cNvPr>
              <p:cNvSpPr/>
              <p:nvPr/>
            </p:nvSpPr>
            <p:spPr>
              <a:xfrm>
                <a:off x="7053571" y="2135929"/>
                <a:ext cx="193122" cy="193122"/>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21" name="Group 20">
                <a:extLst>
                  <a:ext uri="{FF2B5EF4-FFF2-40B4-BE49-F238E27FC236}">
                    <a16:creationId xmlns:a16="http://schemas.microsoft.com/office/drawing/2014/main" id="{2F659433-8825-47C3-811C-2CE2E6E028B0}"/>
                  </a:ext>
                </a:extLst>
              </p:cNvPr>
              <p:cNvGrpSpPr/>
              <p:nvPr/>
            </p:nvGrpSpPr>
            <p:grpSpPr>
              <a:xfrm>
                <a:off x="7094672" y="2177830"/>
                <a:ext cx="141444" cy="111018"/>
                <a:chOff x="6590384" y="1159101"/>
                <a:chExt cx="141444" cy="111018"/>
              </a:xfrm>
            </p:grpSpPr>
            <p:sp>
              <p:nvSpPr>
                <p:cNvPr id="22" name="Arc 21">
                  <a:extLst>
                    <a:ext uri="{FF2B5EF4-FFF2-40B4-BE49-F238E27FC236}">
                      <a16:creationId xmlns:a16="http://schemas.microsoft.com/office/drawing/2014/main" id="{886E6BB2-7D86-4A69-8571-17E84D61D80D}"/>
                    </a:ext>
                  </a:extLst>
                </p:cNvPr>
                <p:cNvSpPr/>
                <p:nvPr/>
              </p:nvSpPr>
              <p:spPr>
                <a:xfrm>
                  <a:off x="6590384" y="1159101"/>
                  <a:ext cx="111018" cy="111018"/>
                </a:xfrm>
                <a:prstGeom prst="arc">
                  <a:avLst>
                    <a:gd name="adj1" fmla="val 21092437"/>
                    <a:gd name="adj2" fmla="val 17792096"/>
                  </a:avLst>
                </a:prstGeom>
                <a:ln w="28575" cmpd="sng">
                  <a:solidFill>
                    <a:schemeClr val="tx2"/>
                  </a:solidFill>
                  <a:headEnd type="none"/>
                  <a:tailEnd type="none"/>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3" name="Isosceles Triangle 136">
                  <a:extLst>
                    <a:ext uri="{FF2B5EF4-FFF2-40B4-BE49-F238E27FC236}">
                      <a16:creationId xmlns:a16="http://schemas.microsoft.com/office/drawing/2014/main" id="{A60877E2-BD6F-4F12-83B0-40E73082432D}"/>
                    </a:ext>
                  </a:extLst>
                </p:cNvPr>
                <p:cNvSpPr/>
                <p:nvPr/>
              </p:nvSpPr>
              <p:spPr>
                <a:xfrm>
                  <a:off x="6670976" y="1173110"/>
                  <a:ext cx="60852" cy="45719"/>
                </a:xfrm>
                <a:prstGeom prst="triangle">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pSp>
      </p:grpSp>
      <p:sp>
        <p:nvSpPr>
          <p:cNvPr id="24" name="Pentagon 185">
            <a:extLst>
              <a:ext uri="{FF2B5EF4-FFF2-40B4-BE49-F238E27FC236}">
                <a16:creationId xmlns:a16="http://schemas.microsoft.com/office/drawing/2014/main" id="{F1213EA9-A458-4CBA-BDEA-644536862AA1}"/>
              </a:ext>
            </a:extLst>
          </p:cNvPr>
          <p:cNvSpPr>
            <a:spLocks/>
          </p:cNvSpPr>
          <p:nvPr/>
        </p:nvSpPr>
        <p:spPr>
          <a:xfrm>
            <a:off x="1821927" y="2407555"/>
            <a:ext cx="1632473" cy="320040"/>
          </a:xfrm>
          <a:prstGeom prst="homePlate">
            <a:avLst/>
          </a:prstGeom>
          <a:solidFill>
            <a:schemeClr val="accent3"/>
          </a:solidFill>
          <a:ln w="1270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73152"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Open Sans"/>
              </a:rPr>
              <a:t>Alpha Test</a:t>
            </a:r>
          </a:p>
        </p:txBody>
      </p:sp>
      <p:sp>
        <p:nvSpPr>
          <p:cNvPr id="25" name="Pentagon 195">
            <a:extLst>
              <a:ext uri="{FF2B5EF4-FFF2-40B4-BE49-F238E27FC236}">
                <a16:creationId xmlns:a16="http://schemas.microsoft.com/office/drawing/2014/main" id="{F234F6A6-ED17-4D52-9613-897622211D5B}"/>
              </a:ext>
            </a:extLst>
          </p:cNvPr>
          <p:cNvSpPr>
            <a:spLocks/>
          </p:cNvSpPr>
          <p:nvPr/>
        </p:nvSpPr>
        <p:spPr>
          <a:xfrm>
            <a:off x="3251200" y="2809967"/>
            <a:ext cx="2773679" cy="320040"/>
          </a:xfrm>
          <a:prstGeom prst="homePlate">
            <a:avLst/>
          </a:prstGeom>
          <a:solidFill>
            <a:schemeClr val="accent3"/>
          </a:solidFill>
          <a:ln w="1270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73152"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Open Sans"/>
              </a:rPr>
              <a:t>Beta Orientation</a:t>
            </a:r>
          </a:p>
        </p:txBody>
      </p:sp>
      <p:grpSp>
        <p:nvGrpSpPr>
          <p:cNvPr id="26" name="Group 25">
            <a:extLst>
              <a:ext uri="{FF2B5EF4-FFF2-40B4-BE49-F238E27FC236}">
                <a16:creationId xmlns:a16="http://schemas.microsoft.com/office/drawing/2014/main" id="{5CF49376-24DF-4809-817F-ED8CCD1AEB5E}"/>
              </a:ext>
            </a:extLst>
          </p:cNvPr>
          <p:cNvGrpSpPr/>
          <p:nvPr/>
        </p:nvGrpSpPr>
        <p:grpSpPr>
          <a:xfrm>
            <a:off x="8381242" y="6447060"/>
            <a:ext cx="3588978" cy="264160"/>
            <a:chOff x="7500634" y="6390640"/>
            <a:chExt cx="3588978" cy="264160"/>
          </a:xfrm>
        </p:grpSpPr>
        <p:sp>
          <p:nvSpPr>
            <p:cNvPr id="27" name="Rectangle 26">
              <a:extLst>
                <a:ext uri="{FF2B5EF4-FFF2-40B4-BE49-F238E27FC236}">
                  <a16:creationId xmlns:a16="http://schemas.microsoft.com/office/drawing/2014/main" id="{82417559-7679-47A7-BF6A-B5A1E0634C70}"/>
                </a:ext>
              </a:extLst>
            </p:cNvPr>
            <p:cNvSpPr/>
            <p:nvPr/>
          </p:nvSpPr>
          <p:spPr>
            <a:xfrm>
              <a:off x="7500634" y="6390640"/>
              <a:ext cx="1112492" cy="2641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Open Sans"/>
                  <a:ea typeface="+mn-ea"/>
                  <a:cs typeface="+mn-cs"/>
                </a:rPr>
                <a:t>Testing</a:t>
              </a:r>
            </a:p>
          </p:txBody>
        </p:sp>
        <p:sp>
          <p:nvSpPr>
            <p:cNvPr id="28" name="Rectangle 27">
              <a:extLst>
                <a:ext uri="{FF2B5EF4-FFF2-40B4-BE49-F238E27FC236}">
                  <a16:creationId xmlns:a16="http://schemas.microsoft.com/office/drawing/2014/main" id="{FDA323B4-60C2-49FD-8F50-C66180E21702}"/>
                </a:ext>
              </a:extLst>
            </p:cNvPr>
            <p:cNvSpPr/>
            <p:nvPr/>
          </p:nvSpPr>
          <p:spPr>
            <a:xfrm>
              <a:off x="9977120" y="6390640"/>
              <a:ext cx="1112492" cy="2641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Open Sans"/>
                  <a:ea typeface="+mn-ea"/>
                  <a:cs typeface="+mn-cs"/>
                </a:rPr>
                <a:t>Comms.</a:t>
              </a:r>
            </a:p>
          </p:txBody>
        </p:sp>
        <p:sp>
          <p:nvSpPr>
            <p:cNvPr id="29" name="Rectangle 28">
              <a:extLst>
                <a:ext uri="{FF2B5EF4-FFF2-40B4-BE49-F238E27FC236}">
                  <a16:creationId xmlns:a16="http://schemas.microsoft.com/office/drawing/2014/main" id="{2DF7D30F-99C5-4192-A6DC-5FBF0D4E51E8}"/>
                </a:ext>
              </a:extLst>
            </p:cNvPr>
            <p:cNvSpPr/>
            <p:nvPr/>
          </p:nvSpPr>
          <p:spPr>
            <a:xfrm>
              <a:off x="8738877" y="6390640"/>
              <a:ext cx="1112492" cy="26416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Open Sans"/>
                  <a:ea typeface="+mn-ea"/>
                  <a:cs typeface="+mn-cs"/>
                </a:rPr>
                <a:t>Launch</a:t>
              </a:r>
            </a:p>
          </p:txBody>
        </p:sp>
      </p:grpSp>
      <p:grpSp>
        <p:nvGrpSpPr>
          <p:cNvPr id="30" name="Group 29">
            <a:extLst>
              <a:ext uri="{FF2B5EF4-FFF2-40B4-BE49-F238E27FC236}">
                <a16:creationId xmlns:a16="http://schemas.microsoft.com/office/drawing/2014/main" id="{421DB3AB-8BC8-4083-B842-2E7F2C459715}"/>
              </a:ext>
            </a:extLst>
          </p:cNvPr>
          <p:cNvGrpSpPr/>
          <p:nvPr/>
        </p:nvGrpSpPr>
        <p:grpSpPr>
          <a:xfrm>
            <a:off x="4160727" y="3212379"/>
            <a:ext cx="1786052" cy="596276"/>
            <a:chOff x="4160727" y="3325288"/>
            <a:chExt cx="1786052" cy="596276"/>
          </a:xfrm>
        </p:grpSpPr>
        <p:sp>
          <p:nvSpPr>
            <p:cNvPr id="31" name="Trapezoid 30">
              <a:extLst>
                <a:ext uri="{FF2B5EF4-FFF2-40B4-BE49-F238E27FC236}">
                  <a16:creationId xmlns:a16="http://schemas.microsoft.com/office/drawing/2014/main" id="{7180D815-5020-4407-9E7C-6F2F75989916}"/>
                </a:ext>
              </a:extLst>
            </p:cNvPr>
            <p:cNvSpPr/>
            <p:nvPr/>
          </p:nvSpPr>
          <p:spPr>
            <a:xfrm>
              <a:off x="4160727" y="3662816"/>
              <a:ext cx="1715044" cy="258748"/>
            </a:xfrm>
            <a:prstGeom prst="trapezoid">
              <a:avLst>
                <a:gd name="adj" fmla="val 87826"/>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2" name="Pentagon 195">
              <a:extLst>
                <a:ext uri="{FF2B5EF4-FFF2-40B4-BE49-F238E27FC236}">
                  <a16:creationId xmlns:a16="http://schemas.microsoft.com/office/drawing/2014/main" id="{6F536E90-B3B2-4627-86AF-B1258821632D}"/>
                </a:ext>
              </a:extLst>
            </p:cNvPr>
            <p:cNvSpPr>
              <a:spLocks/>
            </p:cNvSpPr>
            <p:nvPr/>
          </p:nvSpPr>
          <p:spPr>
            <a:xfrm>
              <a:off x="4320632" y="3325288"/>
              <a:ext cx="1626147" cy="320040"/>
            </a:xfrm>
            <a:prstGeom prst="homePlate">
              <a:avLst/>
            </a:prstGeom>
            <a:solidFill>
              <a:schemeClr val="accent3"/>
            </a:solidFill>
            <a:ln w="1270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73152"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Open Sans"/>
                </a:rPr>
                <a:t>Beta Test (2 Waves)</a:t>
              </a:r>
            </a:p>
          </p:txBody>
        </p:sp>
      </p:grpSp>
      <p:grpSp>
        <p:nvGrpSpPr>
          <p:cNvPr id="33" name="Group 32">
            <a:extLst>
              <a:ext uri="{FF2B5EF4-FFF2-40B4-BE49-F238E27FC236}">
                <a16:creationId xmlns:a16="http://schemas.microsoft.com/office/drawing/2014/main" id="{3E5A17EB-0CAC-4CBE-966C-164C1DFC491C}"/>
              </a:ext>
            </a:extLst>
          </p:cNvPr>
          <p:cNvGrpSpPr/>
          <p:nvPr/>
        </p:nvGrpSpPr>
        <p:grpSpPr>
          <a:xfrm>
            <a:off x="4521585" y="3529120"/>
            <a:ext cx="907677" cy="531617"/>
            <a:chOff x="3545839" y="3799732"/>
            <a:chExt cx="907677" cy="531617"/>
          </a:xfrm>
        </p:grpSpPr>
        <p:sp>
          <p:nvSpPr>
            <p:cNvPr id="34" name="Diamond 33">
              <a:extLst>
                <a:ext uri="{FF2B5EF4-FFF2-40B4-BE49-F238E27FC236}">
                  <a16:creationId xmlns:a16="http://schemas.microsoft.com/office/drawing/2014/main" id="{D491FBBE-BC3D-4782-BE45-221914BE5583}"/>
                </a:ext>
              </a:extLst>
            </p:cNvPr>
            <p:cNvSpPr/>
            <p:nvPr/>
          </p:nvSpPr>
          <p:spPr>
            <a:xfrm>
              <a:off x="3624113" y="3799732"/>
              <a:ext cx="215622" cy="258748"/>
            </a:xfrm>
            <a:prstGeom prst="diamond">
              <a:avLst/>
            </a:prstGeom>
            <a:solidFill>
              <a:schemeClr val="accent3">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35" name="TextBox 34">
              <a:extLst>
                <a:ext uri="{FF2B5EF4-FFF2-40B4-BE49-F238E27FC236}">
                  <a16:creationId xmlns:a16="http://schemas.microsoft.com/office/drawing/2014/main" id="{CD944B2B-5529-4227-B840-5FDEAE2D5D3B}"/>
                </a:ext>
              </a:extLst>
            </p:cNvPr>
            <p:cNvSpPr txBox="1"/>
            <p:nvPr/>
          </p:nvSpPr>
          <p:spPr>
            <a:xfrm>
              <a:off x="3545839" y="4069739"/>
              <a:ext cx="90767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Wave 1</a:t>
              </a:r>
            </a:p>
          </p:txBody>
        </p:sp>
      </p:grpSp>
      <p:grpSp>
        <p:nvGrpSpPr>
          <p:cNvPr id="36" name="Group 35">
            <a:extLst>
              <a:ext uri="{FF2B5EF4-FFF2-40B4-BE49-F238E27FC236}">
                <a16:creationId xmlns:a16="http://schemas.microsoft.com/office/drawing/2014/main" id="{6F091A5C-19FC-429C-AC02-9658E3CC559F}"/>
              </a:ext>
            </a:extLst>
          </p:cNvPr>
          <p:cNvGrpSpPr/>
          <p:nvPr/>
        </p:nvGrpSpPr>
        <p:grpSpPr>
          <a:xfrm>
            <a:off x="5097875" y="3529120"/>
            <a:ext cx="907677" cy="531617"/>
            <a:chOff x="4081115" y="3799732"/>
            <a:chExt cx="907677" cy="531617"/>
          </a:xfrm>
        </p:grpSpPr>
        <p:sp>
          <p:nvSpPr>
            <p:cNvPr id="37" name="Diamond 36">
              <a:extLst>
                <a:ext uri="{FF2B5EF4-FFF2-40B4-BE49-F238E27FC236}">
                  <a16:creationId xmlns:a16="http://schemas.microsoft.com/office/drawing/2014/main" id="{07D7E1E2-FBA7-4F4D-A016-453A86A4712B}"/>
                </a:ext>
              </a:extLst>
            </p:cNvPr>
            <p:cNvSpPr/>
            <p:nvPr/>
          </p:nvSpPr>
          <p:spPr>
            <a:xfrm>
              <a:off x="4159389" y="3799732"/>
              <a:ext cx="215622" cy="258748"/>
            </a:xfrm>
            <a:prstGeom prst="diamond">
              <a:avLst/>
            </a:prstGeom>
            <a:solidFill>
              <a:schemeClr val="accent3">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38" name="TextBox 37">
              <a:extLst>
                <a:ext uri="{FF2B5EF4-FFF2-40B4-BE49-F238E27FC236}">
                  <a16:creationId xmlns:a16="http://schemas.microsoft.com/office/drawing/2014/main" id="{09422264-CBAB-451F-9DD3-A15883500C09}"/>
                </a:ext>
              </a:extLst>
            </p:cNvPr>
            <p:cNvSpPr txBox="1"/>
            <p:nvPr/>
          </p:nvSpPr>
          <p:spPr>
            <a:xfrm>
              <a:off x="4081115" y="4069739"/>
              <a:ext cx="90767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Wave 2</a:t>
              </a:r>
            </a:p>
          </p:txBody>
        </p:sp>
      </p:grpSp>
      <p:sp>
        <p:nvSpPr>
          <p:cNvPr id="39" name="Pentagon 195">
            <a:extLst>
              <a:ext uri="{FF2B5EF4-FFF2-40B4-BE49-F238E27FC236}">
                <a16:creationId xmlns:a16="http://schemas.microsoft.com/office/drawing/2014/main" id="{6F35A0FA-64B9-4234-B724-2665BC925207}"/>
              </a:ext>
            </a:extLst>
          </p:cNvPr>
          <p:cNvSpPr>
            <a:spLocks/>
          </p:cNvSpPr>
          <p:nvPr/>
        </p:nvSpPr>
        <p:spPr>
          <a:xfrm>
            <a:off x="914400" y="5783299"/>
            <a:ext cx="5334000" cy="320040"/>
          </a:xfrm>
          <a:prstGeom prst="homePlate">
            <a:avLst/>
          </a:prstGeom>
          <a:solidFill>
            <a:schemeClr val="accent2"/>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tIns="73152"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Open Sans"/>
              </a:rPr>
              <a:t>Co-op Pricing Roadshows</a:t>
            </a:r>
          </a:p>
        </p:txBody>
      </p:sp>
      <p:sp>
        <p:nvSpPr>
          <p:cNvPr id="40" name="Pentagon 195">
            <a:extLst>
              <a:ext uri="{FF2B5EF4-FFF2-40B4-BE49-F238E27FC236}">
                <a16:creationId xmlns:a16="http://schemas.microsoft.com/office/drawing/2014/main" id="{45DB0661-C02C-4F16-86ED-45B5AA50C038}"/>
              </a:ext>
            </a:extLst>
          </p:cNvPr>
          <p:cNvSpPr>
            <a:spLocks/>
          </p:cNvSpPr>
          <p:nvPr/>
        </p:nvSpPr>
        <p:spPr>
          <a:xfrm>
            <a:off x="7203093" y="5783299"/>
            <a:ext cx="3686087" cy="320040"/>
          </a:xfrm>
          <a:prstGeom prst="homePlate">
            <a:avLst/>
          </a:prstGeom>
          <a:solidFill>
            <a:schemeClr val="accent2"/>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tIns="73152"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Open Sans"/>
              </a:rPr>
              <a:t>Subscriber Support</a:t>
            </a:r>
          </a:p>
        </p:txBody>
      </p:sp>
      <p:sp>
        <p:nvSpPr>
          <p:cNvPr id="41" name="Pentagon 195">
            <a:extLst>
              <a:ext uri="{FF2B5EF4-FFF2-40B4-BE49-F238E27FC236}">
                <a16:creationId xmlns:a16="http://schemas.microsoft.com/office/drawing/2014/main" id="{D95ED942-8CCB-4696-972C-37BB0EB0B235}"/>
              </a:ext>
            </a:extLst>
          </p:cNvPr>
          <p:cNvSpPr>
            <a:spLocks/>
          </p:cNvSpPr>
          <p:nvPr/>
        </p:nvSpPr>
        <p:spPr>
          <a:xfrm>
            <a:off x="4731732" y="5249647"/>
            <a:ext cx="1876329" cy="290945"/>
          </a:xfrm>
          <a:prstGeom prst="homePlate">
            <a:avLst/>
          </a:prstGeom>
          <a:solidFill>
            <a:schemeClr val="accent2"/>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tIns="73152"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Open Sans"/>
              </a:rPr>
              <a:t>Subscriber Enrollment</a:t>
            </a:r>
          </a:p>
        </p:txBody>
      </p:sp>
      <p:sp>
        <p:nvSpPr>
          <p:cNvPr id="42" name="Pentagon 195">
            <a:extLst>
              <a:ext uri="{FF2B5EF4-FFF2-40B4-BE49-F238E27FC236}">
                <a16:creationId xmlns:a16="http://schemas.microsoft.com/office/drawing/2014/main" id="{B1C5F5FD-1A93-43C4-A4AF-0F100586718C}"/>
              </a:ext>
            </a:extLst>
          </p:cNvPr>
          <p:cNvSpPr>
            <a:spLocks/>
          </p:cNvSpPr>
          <p:nvPr/>
        </p:nvSpPr>
        <p:spPr>
          <a:xfrm>
            <a:off x="7203093" y="5249647"/>
            <a:ext cx="2849748" cy="290945"/>
          </a:xfrm>
          <a:prstGeom prst="homePlate">
            <a:avLst/>
          </a:prstGeom>
          <a:solidFill>
            <a:schemeClr val="accent2"/>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tIns="73152"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Open Sans"/>
              </a:rPr>
              <a:t>Subscriber Pre-Launch Comms.</a:t>
            </a:r>
          </a:p>
        </p:txBody>
      </p:sp>
      <p:grpSp>
        <p:nvGrpSpPr>
          <p:cNvPr id="43" name="Group 42">
            <a:extLst>
              <a:ext uri="{FF2B5EF4-FFF2-40B4-BE49-F238E27FC236}">
                <a16:creationId xmlns:a16="http://schemas.microsoft.com/office/drawing/2014/main" id="{7661BA42-BE2C-4E5F-88A2-70BABD91FF1C}"/>
              </a:ext>
            </a:extLst>
          </p:cNvPr>
          <p:cNvGrpSpPr/>
          <p:nvPr/>
        </p:nvGrpSpPr>
        <p:grpSpPr>
          <a:xfrm>
            <a:off x="6573231" y="3989806"/>
            <a:ext cx="2086130" cy="534925"/>
            <a:chOff x="6573231" y="4165777"/>
            <a:chExt cx="2086130" cy="534925"/>
          </a:xfrm>
        </p:grpSpPr>
        <p:sp>
          <p:nvSpPr>
            <p:cNvPr id="44" name="Rectangle 43">
              <a:extLst>
                <a:ext uri="{FF2B5EF4-FFF2-40B4-BE49-F238E27FC236}">
                  <a16:creationId xmlns:a16="http://schemas.microsoft.com/office/drawing/2014/main" id="{4A63C8DC-8CBF-43BC-BAFD-B2ECA826571A}"/>
                </a:ext>
              </a:extLst>
            </p:cNvPr>
            <p:cNvSpPr/>
            <p:nvPr/>
          </p:nvSpPr>
          <p:spPr>
            <a:xfrm>
              <a:off x="6847503" y="4165777"/>
              <a:ext cx="1811858" cy="534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Non-index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Min. Wage Orientation + Launch</a:t>
              </a:r>
            </a:p>
          </p:txBody>
        </p:sp>
        <p:sp>
          <p:nvSpPr>
            <p:cNvPr id="45" name="Diamond 44">
              <a:extLst>
                <a:ext uri="{FF2B5EF4-FFF2-40B4-BE49-F238E27FC236}">
                  <a16:creationId xmlns:a16="http://schemas.microsoft.com/office/drawing/2014/main" id="{0F4D3C63-03D5-4887-B754-0E4D591446AA}"/>
                </a:ext>
              </a:extLst>
            </p:cNvPr>
            <p:cNvSpPr/>
            <p:nvPr/>
          </p:nvSpPr>
          <p:spPr>
            <a:xfrm>
              <a:off x="6573231" y="4312177"/>
              <a:ext cx="215622" cy="258748"/>
            </a:xfrm>
            <a:prstGeom prst="diamond">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grpSp>
        <p:nvGrpSpPr>
          <p:cNvPr id="46" name="Group 45">
            <a:extLst>
              <a:ext uri="{FF2B5EF4-FFF2-40B4-BE49-F238E27FC236}">
                <a16:creationId xmlns:a16="http://schemas.microsoft.com/office/drawing/2014/main" id="{6BF89EE7-02E1-405C-BB9D-3378AD6002D1}"/>
              </a:ext>
            </a:extLst>
          </p:cNvPr>
          <p:cNvGrpSpPr/>
          <p:nvPr/>
        </p:nvGrpSpPr>
        <p:grpSpPr>
          <a:xfrm>
            <a:off x="1703201" y="4642847"/>
            <a:ext cx="4880949" cy="365576"/>
            <a:chOff x="1703201" y="4377383"/>
            <a:chExt cx="4880949" cy="365576"/>
          </a:xfrm>
        </p:grpSpPr>
        <p:sp>
          <p:nvSpPr>
            <p:cNvPr id="47" name="Pentagon 195">
              <a:extLst>
                <a:ext uri="{FF2B5EF4-FFF2-40B4-BE49-F238E27FC236}">
                  <a16:creationId xmlns:a16="http://schemas.microsoft.com/office/drawing/2014/main" id="{04E1B2C1-DB90-43EC-A9D0-5749DD2CDF8B}"/>
                </a:ext>
              </a:extLst>
            </p:cNvPr>
            <p:cNvSpPr>
              <a:spLocks/>
            </p:cNvSpPr>
            <p:nvPr/>
          </p:nvSpPr>
          <p:spPr>
            <a:xfrm>
              <a:off x="1821927" y="4422919"/>
              <a:ext cx="4762223" cy="320040"/>
            </a:xfrm>
            <a:prstGeom prst="homePlate">
              <a:avLst/>
            </a:prstGeom>
            <a:solidFill>
              <a:srgbClr val="DCFFCA"/>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tIns="73152"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Open Sans"/>
                </a:rPr>
                <a:t>Pre-Launch Development</a:t>
              </a:r>
            </a:p>
          </p:txBody>
        </p:sp>
        <p:grpSp>
          <p:nvGrpSpPr>
            <p:cNvPr id="48" name="Group 47">
              <a:extLst>
                <a:ext uri="{FF2B5EF4-FFF2-40B4-BE49-F238E27FC236}">
                  <a16:creationId xmlns:a16="http://schemas.microsoft.com/office/drawing/2014/main" id="{95D1588B-4FB2-4465-BF83-5011537BCC48}"/>
                </a:ext>
              </a:extLst>
            </p:cNvPr>
            <p:cNvGrpSpPr/>
            <p:nvPr/>
          </p:nvGrpSpPr>
          <p:grpSpPr>
            <a:xfrm>
              <a:off x="1703201" y="4377383"/>
              <a:ext cx="220424" cy="212434"/>
              <a:chOff x="7053571" y="2135929"/>
              <a:chExt cx="193122" cy="193122"/>
            </a:xfrm>
          </p:grpSpPr>
          <p:sp>
            <p:nvSpPr>
              <p:cNvPr id="49" name="Oval 48">
                <a:extLst>
                  <a:ext uri="{FF2B5EF4-FFF2-40B4-BE49-F238E27FC236}">
                    <a16:creationId xmlns:a16="http://schemas.microsoft.com/office/drawing/2014/main" id="{068815CA-F67F-40E8-AD83-8FBCCEAA84B7}"/>
                  </a:ext>
                </a:extLst>
              </p:cNvPr>
              <p:cNvSpPr/>
              <p:nvPr/>
            </p:nvSpPr>
            <p:spPr>
              <a:xfrm>
                <a:off x="7053571" y="2135929"/>
                <a:ext cx="193122" cy="193122"/>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50" name="Group 49">
                <a:extLst>
                  <a:ext uri="{FF2B5EF4-FFF2-40B4-BE49-F238E27FC236}">
                    <a16:creationId xmlns:a16="http://schemas.microsoft.com/office/drawing/2014/main" id="{0B5FC839-E3A1-4426-80D2-DCCB86E93602}"/>
                  </a:ext>
                </a:extLst>
              </p:cNvPr>
              <p:cNvGrpSpPr/>
              <p:nvPr/>
            </p:nvGrpSpPr>
            <p:grpSpPr>
              <a:xfrm>
                <a:off x="7094672" y="2177830"/>
                <a:ext cx="141444" cy="111018"/>
                <a:chOff x="6590384" y="1159101"/>
                <a:chExt cx="141444" cy="111018"/>
              </a:xfrm>
            </p:grpSpPr>
            <p:sp>
              <p:nvSpPr>
                <p:cNvPr id="51" name="Arc 50">
                  <a:extLst>
                    <a:ext uri="{FF2B5EF4-FFF2-40B4-BE49-F238E27FC236}">
                      <a16:creationId xmlns:a16="http://schemas.microsoft.com/office/drawing/2014/main" id="{0CEA049A-130A-414E-9561-B47BC9BE7DFA}"/>
                    </a:ext>
                  </a:extLst>
                </p:cNvPr>
                <p:cNvSpPr/>
                <p:nvPr/>
              </p:nvSpPr>
              <p:spPr>
                <a:xfrm>
                  <a:off x="6590384" y="1159101"/>
                  <a:ext cx="111018" cy="111018"/>
                </a:xfrm>
                <a:prstGeom prst="arc">
                  <a:avLst>
                    <a:gd name="adj1" fmla="val 21092437"/>
                    <a:gd name="adj2" fmla="val 17792096"/>
                  </a:avLst>
                </a:prstGeom>
                <a:ln w="28575" cmpd="sng">
                  <a:solidFill>
                    <a:schemeClr val="tx2"/>
                  </a:solidFill>
                  <a:headEnd type="none"/>
                  <a:tailEnd type="none"/>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2" name="Isosceles Triangle 136">
                  <a:extLst>
                    <a:ext uri="{FF2B5EF4-FFF2-40B4-BE49-F238E27FC236}">
                      <a16:creationId xmlns:a16="http://schemas.microsoft.com/office/drawing/2014/main" id="{CD760B9B-7B9C-4C77-AD0C-6B0CF573101E}"/>
                    </a:ext>
                  </a:extLst>
                </p:cNvPr>
                <p:cNvSpPr/>
                <p:nvPr/>
              </p:nvSpPr>
              <p:spPr>
                <a:xfrm>
                  <a:off x="6670976" y="1173110"/>
                  <a:ext cx="60852" cy="45719"/>
                </a:xfrm>
                <a:prstGeom prst="triangle">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pSp>
      </p:grpSp>
      <p:grpSp>
        <p:nvGrpSpPr>
          <p:cNvPr id="53" name="Group 52">
            <a:extLst>
              <a:ext uri="{FF2B5EF4-FFF2-40B4-BE49-F238E27FC236}">
                <a16:creationId xmlns:a16="http://schemas.microsoft.com/office/drawing/2014/main" id="{4D4100A8-160E-4B90-86FE-40BA2FF9706F}"/>
              </a:ext>
            </a:extLst>
          </p:cNvPr>
          <p:cNvGrpSpPr/>
          <p:nvPr/>
        </p:nvGrpSpPr>
        <p:grpSpPr>
          <a:xfrm>
            <a:off x="8841942" y="3437256"/>
            <a:ext cx="1357593" cy="369098"/>
            <a:chOff x="8964207" y="4302596"/>
            <a:chExt cx="1357593" cy="369098"/>
          </a:xfrm>
        </p:grpSpPr>
        <p:sp>
          <p:nvSpPr>
            <p:cNvPr id="54" name="Rectangle 53">
              <a:extLst>
                <a:ext uri="{FF2B5EF4-FFF2-40B4-BE49-F238E27FC236}">
                  <a16:creationId xmlns:a16="http://schemas.microsoft.com/office/drawing/2014/main" id="{CFE1EA65-EC7D-4185-BD2B-EDE8728934DF}"/>
                </a:ext>
              </a:extLst>
            </p:cNvPr>
            <p:cNvSpPr/>
            <p:nvPr/>
          </p:nvSpPr>
          <p:spPr>
            <a:xfrm>
              <a:off x="8964207" y="4302596"/>
              <a:ext cx="1280160" cy="3690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Subscribed Orientation +  Launch</a:t>
              </a:r>
            </a:p>
          </p:txBody>
        </p:sp>
        <p:sp>
          <p:nvSpPr>
            <p:cNvPr id="55" name="Diamond 54">
              <a:extLst>
                <a:ext uri="{FF2B5EF4-FFF2-40B4-BE49-F238E27FC236}">
                  <a16:creationId xmlns:a16="http://schemas.microsoft.com/office/drawing/2014/main" id="{DD32FA7D-A15C-476D-882E-8096674B3215}"/>
                </a:ext>
              </a:extLst>
            </p:cNvPr>
            <p:cNvSpPr/>
            <p:nvPr/>
          </p:nvSpPr>
          <p:spPr>
            <a:xfrm>
              <a:off x="10106178" y="4342657"/>
              <a:ext cx="215622" cy="258748"/>
            </a:xfrm>
            <a:prstGeom prst="diamond">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sp>
        <p:nvSpPr>
          <p:cNvPr id="56" name="TextBox 55">
            <a:extLst>
              <a:ext uri="{FF2B5EF4-FFF2-40B4-BE49-F238E27FC236}">
                <a16:creationId xmlns:a16="http://schemas.microsoft.com/office/drawing/2014/main" id="{BABC9EBE-5D61-4117-8628-995416D3CB8C}"/>
              </a:ext>
            </a:extLst>
          </p:cNvPr>
          <p:cNvSpPr txBox="1"/>
          <p:nvPr/>
        </p:nvSpPr>
        <p:spPr>
          <a:xfrm>
            <a:off x="6547078" y="6233465"/>
            <a:ext cx="1842881"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Deloitte 2019 subscription initiated </a:t>
            </a:r>
          </a:p>
        </p:txBody>
      </p:sp>
    </p:spTree>
    <p:extLst>
      <p:ext uri="{BB962C8B-B14F-4D97-AF65-F5344CB8AC3E}">
        <p14:creationId xmlns:p14="http://schemas.microsoft.com/office/powerpoint/2010/main" val="2050134648"/>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Object 47" hidden="1">
            <a:extLst>
              <a:ext uri="{FF2B5EF4-FFF2-40B4-BE49-F238E27FC236}">
                <a16:creationId xmlns:a16="http://schemas.microsoft.com/office/drawing/2014/main" id="{C0CB34C7-D8A7-4983-9024-9D0F1ACAF69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7812" name="think-cell Slide" r:id="rId6" imgW="415" imgH="416" progId="TCLayout.ActiveDocument.1">
                  <p:embed/>
                </p:oleObj>
              </mc:Choice>
              <mc:Fallback>
                <p:oleObj name="think-cell Slide" r:id="rId6" imgW="415" imgH="416" progId="TCLayout.ActiveDocument.1">
                  <p:embed/>
                  <p:pic>
                    <p:nvPicPr>
                      <p:cNvPr id="48" name="Object 47" hidden="1">
                        <a:extLst>
                          <a:ext uri="{FF2B5EF4-FFF2-40B4-BE49-F238E27FC236}">
                            <a16:creationId xmlns:a16="http://schemas.microsoft.com/office/drawing/2014/main" id="{C0CB34C7-D8A7-4983-9024-9D0F1ACAF69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7" name="Rectangle 46" hidden="1">
            <a:extLst>
              <a:ext uri="{FF2B5EF4-FFF2-40B4-BE49-F238E27FC236}">
                <a16:creationId xmlns:a16="http://schemas.microsoft.com/office/drawing/2014/main" id="{8456C0EF-7C45-4553-A56E-4A1FF00C617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EAE628C6-7DCD-472F-9089-2F1CC7DC7629}"/>
              </a:ext>
            </a:extLst>
          </p:cNvPr>
          <p:cNvSpPr>
            <a:spLocks noGrp="1"/>
          </p:cNvSpPr>
          <p:nvPr>
            <p:ph type="title"/>
          </p:nvPr>
        </p:nvSpPr>
        <p:spPr/>
        <p:txBody>
          <a:bodyPr/>
          <a:lstStyle/>
          <a:p>
            <a:r>
              <a:rPr lang="en-US" dirty="0"/>
              <a:t>Calendar view</a:t>
            </a:r>
          </a:p>
        </p:txBody>
      </p:sp>
      <p:sp>
        <p:nvSpPr>
          <p:cNvPr id="3" name="Text Placeholder 2">
            <a:extLst>
              <a:ext uri="{FF2B5EF4-FFF2-40B4-BE49-F238E27FC236}">
                <a16:creationId xmlns:a16="http://schemas.microsoft.com/office/drawing/2014/main" id="{EC5DD372-C28F-437B-B128-C22543BD19DE}"/>
              </a:ext>
            </a:extLst>
          </p:cNvPr>
          <p:cNvSpPr>
            <a:spLocks noGrp="1"/>
          </p:cNvSpPr>
          <p:nvPr>
            <p:ph type="body" sz="quarter" idx="14"/>
          </p:nvPr>
        </p:nvSpPr>
        <p:spPr/>
        <p:txBody>
          <a:bodyPr/>
          <a:lstStyle/>
          <a:p>
            <a:r>
              <a:rPr lang="en-US" dirty="0"/>
              <a:t>Subheader placeholder</a:t>
            </a:r>
          </a:p>
        </p:txBody>
      </p:sp>
      <p:sp>
        <p:nvSpPr>
          <p:cNvPr id="4" name="Text Placeholder 3">
            <a:extLst>
              <a:ext uri="{FF2B5EF4-FFF2-40B4-BE49-F238E27FC236}">
                <a16:creationId xmlns:a16="http://schemas.microsoft.com/office/drawing/2014/main" id="{A81DD641-347F-4121-87A0-5C58FEA4BF05}"/>
              </a:ext>
            </a:extLst>
          </p:cNvPr>
          <p:cNvSpPr>
            <a:spLocks noGrp="1"/>
          </p:cNvSpPr>
          <p:nvPr>
            <p:ph type="body" sz="quarter" idx="15"/>
          </p:nvPr>
        </p:nvSpPr>
        <p:spPr/>
        <p:txBody>
          <a:bodyPr/>
          <a:lstStyle/>
          <a:p>
            <a:r>
              <a:rPr lang="en-US" dirty="0"/>
              <a:t>Plans, timelines and roadmaps</a:t>
            </a:r>
          </a:p>
          <a:p>
            <a:endParaRPr lang="en-US" dirty="0"/>
          </a:p>
        </p:txBody>
      </p:sp>
      <p:grpSp>
        <p:nvGrpSpPr>
          <p:cNvPr id="5" name="Group 4">
            <a:extLst>
              <a:ext uri="{FF2B5EF4-FFF2-40B4-BE49-F238E27FC236}">
                <a16:creationId xmlns:a16="http://schemas.microsoft.com/office/drawing/2014/main" id="{A17D8D9C-B826-4107-9E16-AD091BB4BA76}"/>
              </a:ext>
            </a:extLst>
          </p:cNvPr>
          <p:cNvGrpSpPr/>
          <p:nvPr/>
        </p:nvGrpSpPr>
        <p:grpSpPr>
          <a:xfrm>
            <a:off x="7668569" y="1621190"/>
            <a:ext cx="212434" cy="212434"/>
            <a:chOff x="7053571" y="2135929"/>
            <a:chExt cx="193122" cy="193122"/>
          </a:xfrm>
        </p:grpSpPr>
        <p:sp>
          <p:nvSpPr>
            <p:cNvPr id="6" name="Oval 5">
              <a:extLst>
                <a:ext uri="{FF2B5EF4-FFF2-40B4-BE49-F238E27FC236}">
                  <a16:creationId xmlns:a16="http://schemas.microsoft.com/office/drawing/2014/main" id="{27BBD466-5C85-48ED-ACD6-88E33B5A4564}"/>
                </a:ext>
              </a:extLst>
            </p:cNvPr>
            <p:cNvSpPr/>
            <p:nvPr/>
          </p:nvSpPr>
          <p:spPr>
            <a:xfrm>
              <a:off x="7053571" y="2135929"/>
              <a:ext cx="193122" cy="193122"/>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nvGrpSpPr>
            <p:cNvPr id="7" name="Group 6">
              <a:extLst>
                <a:ext uri="{FF2B5EF4-FFF2-40B4-BE49-F238E27FC236}">
                  <a16:creationId xmlns:a16="http://schemas.microsoft.com/office/drawing/2014/main" id="{A5FFF35A-A02A-4FB2-83B7-AA138F29A46D}"/>
                </a:ext>
              </a:extLst>
            </p:cNvPr>
            <p:cNvGrpSpPr/>
            <p:nvPr/>
          </p:nvGrpSpPr>
          <p:grpSpPr>
            <a:xfrm>
              <a:off x="7094672" y="2177830"/>
              <a:ext cx="141444" cy="111018"/>
              <a:chOff x="6590384" y="1159101"/>
              <a:chExt cx="141444" cy="111018"/>
            </a:xfrm>
          </p:grpSpPr>
          <p:sp>
            <p:nvSpPr>
              <p:cNvPr id="8" name="Arc 7">
                <a:extLst>
                  <a:ext uri="{FF2B5EF4-FFF2-40B4-BE49-F238E27FC236}">
                    <a16:creationId xmlns:a16="http://schemas.microsoft.com/office/drawing/2014/main" id="{699EAF9B-B818-4CA3-9BB4-3E3CB4460779}"/>
                  </a:ext>
                </a:extLst>
              </p:cNvPr>
              <p:cNvSpPr/>
              <p:nvPr/>
            </p:nvSpPr>
            <p:spPr>
              <a:xfrm>
                <a:off x="6590384" y="1159101"/>
                <a:ext cx="111018" cy="111018"/>
              </a:xfrm>
              <a:prstGeom prst="arc">
                <a:avLst>
                  <a:gd name="adj1" fmla="val 21092437"/>
                  <a:gd name="adj2" fmla="val 17792096"/>
                </a:avLst>
              </a:prstGeom>
              <a:ln w="28575" cmpd="sng">
                <a:solidFill>
                  <a:schemeClr val="tx2"/>
                </a:solidFill>
                <a:headEnd type="none"/>
                <a:tailEnd type="none"/>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 name="Isosceles Triangle 136">
                <a:extLst>
                  <a:ext uri="{FF2B5EF4-FFF2-40B4-BE49-F238E27FC236}">
                    <a16:creationId xmlns:a16="http://schemas.microsoft.com/office/drawing/2014/main" id="{A10D28F6-B56E-479F-9DFD-DB9D84F0D41F}"/>
                  </a:ext>
                </a:extLst>
              </p:cNvPr>
              <p:cNvSpPr/>
              <p:nvPr/>
            </p:nvSpPr>
            <p:spPr>
              <a:xfrm>
                <a:off x="6670976" y="1173110"/>
                <a:ext cx="60852" cy="45719"/>
              </a:xfrm>
              <a:prstGeom prst="triangle">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pSp>
      <p:sp>
        <p:nvSpPr>
          <p:cNvPr id="10" name="object 42">
            <a:extLst>
              <a:ext uri="{FF2B5EF4-FFF2-40B4-BE49-F238E27FC236}">
                <a16:creationId xmlns:a16="http://schemas.microsoft.com/office/drawing/2014/main" id="{71F44C9D-5D65-4090-A5FE-7BE0EB1AAA80}"/>
              </a:ext>
            </a:extLst>
          </p:cNvPr>
          <p:cNvSpPr txBox="1"/>
          <p:nvPr/>
        </p:nvSpPr>
        <p:spPr>
          <a:xfrm>
            <a:off x="7840033" y="1647844"/>
            <a:ext cx="889987" cy="153888"/>
          </a:xfrm>
          <a:prstGeom prst="rect">
            <a:avLst/>
          </a:prstGeom>
          <a:noFill/>
        </p:spPr>
        <p:txBody>
          <a:bodyPr vert="horz" wrap="none" lIns="91440" tIns="0" rIns="9144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Open Sans"/>
              </a:rPr>
              <a:t>Sprint Cycle</a:t>
            </a:r>
            <a:endParaRPr kumimoji="0" lang="en-US" sz="900" b="0" i="0" u="none" strike="noStrike" kern="1200" cap="none" spc="0" normalizeH="0" baseline="0" noProof="0" dirty="0">
              <a:ln>
                <a:noFill/>
              </a:ln>
              <a:solidFill>
                <a:srgbClr val="000000"/>
              </a:solidFill>
              <a:effectLst/>
              <a:uLnTx/>
              <a:uFillTx/>
              <a:latin typeface="Open Sans"/>
              <a:ea typeface="+mn-ea"/>
              <a:cs typeface="Open Sans"/>
            </a:endParaRPr>
          </a:p>
        </p:txBody>
      </p:sp>
      <p:sp>
        <p:nvSpPr>
          <p:cNvPr id="11" name="object 42">
            <a:extLst>
              <a:ext uri="{FF2B5EF4-FFF2-40B4-BE49-F238E27FC236}">
                <a16:creationId xmlns:a16="http://schemas.microsoft.com/office/drawing/2014/main" id="{DC4452BE-DCA0-43D6-B801-69E96431DF5A}"/>
              </a:ext>
            </a:extLst>
          </p:cNvPr>
          <p:cNvSpPr txBox="1"/>
          <p:nvPr/>
        </p:nvSpPr>
        <p:spPr>
          <a:xfrm>
            <a:off x="9192725" y="1647844"/>
            <a:ext cx="838691" cy="153888"/>
          </a:xfrm>
          <a:prstGeom prst="rect">
            <a:avLst/>
          </a:prstGeom>
          <a:noFill/>
        </p:spPr>
        <p:txBody>
          <a:bodyPr vert="horz" wrap="none" lIns="91440" tIns="0" rIns="9144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Open Sans"/>
              </a:rPr>
              <a:t>Milestones</a:t>
            </a:r>
            <a:endParaRPr kumimoji="0" lang="en-US" sz="900" b="0" i="0" u="none" strike="noStrike" kern="1200" cap="none" spc="0" normalizeH="0" baseline="0" noProof="0" dirty="0">
              <a:ln>
                <a:noFill/>
              </a:ln>
              <a:solidFill>
                <a:srgbClr val="000000"/>
              </a:solidFill>
              <a:effectLst/>
              <a:uLnTx/>
              <a:uFillTx/>
              <a:latin typeface="Open Sans"/>
              <a:ea typeface="+mn-ea"/>
              <a:cs typeface="Open Sans"/>
            </a:endParaRPr>
          </a:p>
        </p:txBody>
      </p:sp>
      <p:sp>
        <p:nvSpPr>
          <p:cNvPr id="12" name="object 42">
            <a:extLst>
              <a:ext uri="{FF2B5EF4-FFF2-40B4-BE49-F238E27FC236}">
                <a16:creationId xmlns:a16="http://schemas.microsoft.com/office/drawing/2014/main" id="{A9244F5F-AFBA-4DD1-9AEE-6D557D123D0E}"/>
              </a:ext>
            </a:extLst>
          </p:cNvPr>
          <p:cNvSpPr txBox="1"/>
          <p:nvPr/>
        </p:nvSpPr>
        <p:spPr>
          <a:xfrm>
            <a:off x="10495818" y="1647844"/>
            <a:ext cx="646331" cy="153888"/>
          </a:xfrm>
          <a:prstGeom prst="rect">
            <a:avLst/>
          </a:prstGeom>
          <a:noFill/>
        </p:spPr>
        <p:txBody>
          <a:bodyPr vert="horz" wrap="none" lIns="91440" tIns="0" rIns="9144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Open Sans"/>
              </a:rPr>
              <a:t>Release</a:t>
            </a:r>
            <a:endParaRPr kumimoji="0" lang="en-US" sz="900" b="0" i="0" u="none" strike="noStrike" kern="1200" cap="none" spc="0" normalizeH="0" baseline="0" noProof="0" dirty="0">
              <a:ln>
                <a:noFill/>
              </a:ln>
              <a:solidFill>
                <a:srgbClr val="000000"/>
              </a:solidFill>
              <a:effectLst/>
              <a:uLnTx/>
              <a:uFillTx/>
              <a:latin typeface="Open Sans"/>
              <a:ea typeface="+mn-ea"/>
              <a:cs typeface="Open Sans"/>
            </a:endParaRPr>
          </a:p>
        </p:txBody>
      </p:sp>
      <p:grpSp>
        <p:nvGrpSpPr>
          <p:cNvPr id="13" name="Group 12">
            <a:extLst>
              <a:ext uri="{FF2B5EF4-FFF2-40B4-BE49-F238E27FC236}">
                <a16:creationId xmlns:a16="http://schemas.microsoft.com/office/drawing/2014/main" id="{43D004EA-A137-4F1A-BA96-FC4F1EFA9AB7}"/>
              </a:ext>
            </a:extLst>
          </p:cNvPr>
          <p:cNvGrpSpPr/>
          <p:nvPr/>
        </p:nvGrpSpPr>
        <p:grpSpPr>
          <a:xfrm>
            <a:off x="9078314" y="1618525"/>
            <a:ext cx="212434" cy="212434"/>
            <a:chOff x="6875423" y="2495288"/>
            <a:chExt cx="212434" cy="212434"/>
          </a:xfrm>
        </p:grpSpPr>
        <p:sp>
          <p:nvSpPr>
            <p:cNvPr id="14" name="Oval 13">
              <a:extLst>
                <a:ext uri="{FF2B5EF4-FFF2-40B4-BE49-F238E27FC236}">
                  <a16:creationId xmlns:a16="http://schemas.microsoft.com/office/drawing/2014/main" id="{0897B9F0-9BE5-4A19-AC7E-B63ACFD9FBDD}"/>
                </a:ext>
              </a:extLst>
            </p:cNvPr>
            <p:cNvSpPr/>
            <p:nvPr/>
          </p:nvSpPr>
          <p:spPr>
            <a:xfrm>
              <a:off x="6875423" y="2495288"/>
              <a:ext cx="212434" cy="212434"/>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5" name="Chord 14">
              <a:extLst>
                <a:ext uri="{FF2B5EF4-FFF2-40B4-BE49-F238E27FC236}">
                  <a16:creationId xmlns:a16="http://schemas.microsoft.com/office/drawing/2014/main" id="{BF503E1E-3B30-45B7-9970-AC3939FB7169}"/>
                </a:ext>
              </a:extLst>
            </p:cNvPr>
            <p:cNvSpPr/>
            <p:nvPr/>
          </p:nvSpPr>
          <p:spPr>
            <a:xfrm>
              <a:off x="6904231" y="2526510"/>
              <a:ext cx="149518" cy="149518"/>
            </a:xfrm>
            <a:prstGeom prst="chord">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16" name="Group 15">
            <a:extLst>
              <a:ext uri="{FF2B5EF4-FFF2-40B4-BE49-F238E27FC236}">
                <a16:creationId xmlns:a16="http://schemas.microsoft.com/office/drawing/2014/main" id="{70B7BBDA-C70F-4471-995A-50DDA0DA690E}"/>
              </a:ext>
            </a:extLst>
          </p:cNvPr>
          <p:cNvGrpSpPr/>
          <p:nvPr/>
        </p:nvGrpSpPr>
        <p:grpSpPr>
          <a:xfrm>
            <a:off x="10351793" y="1618525"/>
            <a:ext cx="212434" cy="212434"/>
            <a:chOff x="7211986" y="2505004"/>
            <a:chExt cx="212434" cy="212434"/>
          </a:xfrm>
        </p:grpSpPr>
        <p:sp>
          <p:nvSpPr>
            <p:cNvPr id="17" name="Oval 16">
              <a:extLst>
                <a:ext uri="{FF2B5EF4-FFF2-40B4-BE49-F238E27FC236}">
                  <a16:creationId xmlns:a16="http://schemas.microsoft.com/office/drawing/2014/main" id="{62429C81-9274-4F6F-9076-1668270ECF92}"/>
                </a:ext>
              </a:extLst>
            </p:cNvPr>
            <p:cNvSpPr/>
            <p:nvPr/>
          </p:nvSpPr>
          <p:spPr>
            <a:xfrm>
              <a:off x="7211986" y="2505004"/>
              <a:ext cx="212434" cy="212434"/>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8" name="4-Point Star 53">
              <a:extLst>
                <a:ext uri="{FF2B5EF4-FFF2-40B4-BE49-F238E27FC236}">
                  <a16:creationId xmlns:a16="http://schemas.microsoft.com/office/drawing/2014/main" id="{035668F6-D884-48B8-A20D-677BD0F3750F}"/>
                </a:ext>
              </a:extLst>
            </p:cNvPr>
            <p:cNvSpPr/>
            <p:nvPr/>
          </p:nvSpPr>
          <p:spPr>
            <a:xfrm>
              <a:off x="7243444" y="2536462"/>
              <a:ext cx="149518" cy="149518"/>
            </a:xfrm>
            <a:prstGeom prst="star4">
              <a:avLst>
                <a:gd name="adj" fmla="val 21325"/>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aphicFrame>
        <p:nvGraphicFramePr>
          <p:cNvPr id="19" name="Table 18">
            <a:extLst>
              <a:ext uri="{FF2B5EF4-FFF2-40B4-BE49-F238E27FC236}">
                <a16:creationId xmlns:a16="http://schemas.microsoft.com/office/drawing/2014/main" id="{75A32518-770F-44E3-BE5D-FCE8383D94B8}"/>
              </a:ext>
            </a:extLst>
          </p:cNvPr>
          <p:cNvGraphicFramePr>
            <a:graphicFrameLocks noGrp="1"/>
          </p:cNvGraphicFramePr>
          <p:nvPr/>
        </p:nvGraphicFramePr>
        <p:xfrm>
          <a:off x="914400" y="2243137"/>
          <a:ext cx="10363199" cy="3871750"/>
        </p:xfrm>
        <a:graphic>
          <a:graphicData uri="http://schemas.openxmlformats.org/drawingml/2006/table">
            <a:tbl>
              <a:tblPr firstRow="1" bandRow="1">
                <a:tableStyleId>{5C22544A-7EE6-4342-B048-85BDC9FD1C3A}</a:tableStyleId>
              </a:tblPr>
              <a:tblGrid>
                <a:gridCol w="1480457">
                  <a:extLst>
                    <a:ext uri="{9D8B030D-6E8A-4147-A177-3AD203B41FA5}">
                      <a16:colId xmlns:a16="http://schemas.microsoft.com/office/drawing/2014/main" val="20000"/>
                    </a:ext>
                  </a:extLst>
                </a:gridCol>
                <a:gridCol w="1480457">
                  <a:extLst>
                    <a:ext uri="{9D8B030D-6E8A-4147-A177-3AD203B41FA5}">
                      <a16:colId xmlns:a16="http://schemas.microsoft.com/office/drawing/2014/main" val="20001"/>
                    </a:ext>
                  </a:extLst>
                </a:gridCol>
                <a:gridCol w="1480457">
                  <a:extLst>
                    <a:ext uri="{9D8B030D-6E8A-4147-A177-3AD203B41FA5}">
                      <a16:colId xmlns:a16="http://schemas.microsoft.com/office/drawing/2014/main" val="20002"/>
                    </a:ext>
                  </a:extLst>
                </a:gridCol>
                <a:gridCol w="1480457">
                  <a:extLst>
                    <a:ext uri="{9D8B030D-6E8A-4147-A177-3AD203B41FA5}">
                      <a16:colId xmlns:a16="http://schemas.microsoft.com/office/drawing/2014/main" val="20003"/>
                    </a:ext>
                  </a:extLst>
                </a:gridCol>
                <a:gridCol w="1480457">
                  <a:extLst>
                    <a:ext uri="{9D8B030D-6E8A-4147-A177-3AD203B41FA5}">
                      <a16:colId xmlns:a16="http://schemas.microsoft.com/office/drawing/2014/main" val="20004"/>
                    </a:ext>
                  </a:extLst>
                </a:gridCol>
                <a:gridCol w="1480457">
                  <a:extLst>
                    <a:ext uri="{9D8B030D-6E8A-4147-A177-3AD203B41FA5}">
                      <a16:colId xmlns:a16="http://schemas.microsoft.com/office/drawing/2014/main" val="20005"/>
                    </a:ext>
                  </a:extLst>
                </a:gridCol>
                <a:gridCol w="1480457">
                  <a:extLst>
                    <a:ext uri="{9D8B030D-6E8A-4147-A177-3AD203B41FA5}">
                      <a16:colId xmlns:a16="http://schemas.microsoft.com/office/drawing/2014/main" val="20006"/>
                    </a:ext>
                  </a:extLst>
                </a:gridCol>
              </a:tblGrid>
              <a:tr h="243840">
                <a:tc>
                  <a:txBody>
                    <a:bodyPr/>
                    <a:lstStyle/>
                    <a:p>
                      <a:r>
                        <a:rPr lang="en-US" sz="1000" dirty="0">
                          <a:solidFill>
                            <a:schemeClr val="tx1"/>
                          </a:solidFill>
                          <a:latin typeface="Open Sans" charset="0"/>
                          <a:ea typeface="Open Sans" charset="0"/>
                          <a:cs typeface="Open Sans" charset="0"/>
                        </a:rPr>
                        <a:t>Sunday</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Monday</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Tuesday</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Wednesday</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Thursday</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Friday </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Saturday</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25582">
                <a:tc>
                  <a:txBody>
                    <a:bodyPr/>
                    <a:lstStyle/>
                    <a:p>
                      <a:r>
                        <a:rPr lang="en-US" sz="1000" dirty="0">
                          <a:solidFill>
                            <a:schemeClr val="tx1"/>
                          </a:solidFill>
                          <a:latin typeface="Open Sans" charset="0"/>
                          <a:ea typeface="Open Sans" charset="0"/>
                          <a:cs typeface="Open Sans" charset="0"/>
                        </a:rPr>
                        <a:t>June 22</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000" dirty="0">
                          <a:solidFill>
                            <a:schemeClr val="tx1"/>
                          </a:solidFill>
                          <a:latin typeface="Open Sans" charset="0"/>
                          <a:ea typeface="Open Sans" charset="0"/>
                          <a:cs typeface="Open Sans" charset="0"/>
                        </a:rPr>
                        <a:t>23</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000" dirty="0">
                          <a:solidFill>
                            <a:schemeClr val="tx1"/>
                          </a:solidFill>
                          <a:latin typeface="Open Sans" charset="0"/>
                          <a:ea typeface="Open Sans" charset="0"/>
                          <a:cs typeface="Open Sans" charset="0"/>
                        </a:rPr>
                        <a:t>24</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000" dirty="0">
                          <a:solidFill>
                            <a:schemeClr val="tx1"/>
                          </a:solidFill>
                          <a:latin typeface="Open Sans" charset="0"/>
                          <a:ea typeface="Open Sans" charset="0"/>
                          <a:cs typeface="Open Sans" charset="0"/>
                        </a:rPr>
                        <a:t>25</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000" dirty="0">
                          <a:solidFill>
                            <a:schemeClr val="tx1"/>
                          </a:solidFill>
                          <a:latin typeface="Open Sans" charset="0"/>
                          <a:ea typeface="Open Sans" charset="0"/>
                          <a:cs typeface="Open Sans" charset="0"/>
                        </a:rPr>
                        <a:t>26</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000" dirty="0">
                          <a:solidFill>
                            <a:schemeClr val="tx1"/>
                          </a:solidFill>
                          <a:latin typeface="Open Sans" charset="0"/>
                          <a:ea typeface="Open Sans" charset="0"/>
                          <a:cs typeface="Open Sans" charset="0"/>
                        </a:rPr>
                        <a:t>27</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000" dirty="0">
                          <a:solidFill>
                            <a:schemeClr val="tx1"/>
                          </a:solidFill>
                          <a:latin typeface="Open Sans" charset="0"/>
                          <a:ea typeface="Open Sans" charset="0"/>
                          <a:cs typeface="Open Sans" charset="0"/>
                        </a:rPr>
                        <a:t>28</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725582">
                <a:tc>
                  <a:txBody>
                    <a:bodyPr/>
                    <a:lstStyle/>
                    <a:p>
                      <a:r>
                        <a:rPr lang="en-US" sz="1000" dirty="0">
                          <a:solidFill>
                            <a:schemeClr val="tx1"/>
                          </a:solidFill>
                          <a:latin typeface="Open Sans" charset="0"/>
                          <a:ea typeface="Open Sans" charset="0"/>
                          <a:cs typeface="Open Sans" charset="0"/>
                        </a:rPr>
                        <a:t>29</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000" dirty="0">
                          <a:solidFill>
                            <a:schemeClr val="tx1"/>
                          </a:solidFill>
                          <a:latin typeface="Open Sans" charset="0"/>
                          <a:ea typeface="Open Sans" charset="0"/>
                          <a:cs typeface="Open Sans" charset="0"/>
                        </a:rPr>
                        <a:t>30</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000" dirty="0">
                          <a:solidFill>
                            <a:schemeClr val="tx1"/>
                          </a:solidFill>
                          <a:latin typeface="Open Sans" charset="0"/>
                          <a:ea typeface="Open Sans" charset="0"/>
                          <a:cs typeface="Open Sans" charset="0"/>
                        </a:rPr>
                        <a:t>July</a:t>
                      </a:r>
                      <a:r>
                        <a:rPr lang="en-US" sz="1000" baseline="0" dirty="0">
                          <a:solidFill>
                            <a:schemeClr val="tx1"/>
                          </a:solidFill>
                          <a:latin typeface="Open Sans" charset="0"/>
                          <a:ea typeface="Open Sans" charset="0"/>
                          <a:cs typeface="Open Sans" charset="0"/>
                        </a:rPr>
                        <a:t> 1</a:t>
                      </a:r>
                      <a:endParaRPr lang="en-US" sz="1000" dirty="0">
                        <a:solidFill>
                          <a:schemeClr val="tx1"/>
                        </a:solidFill>
                        <a:latin typeface="Open Sans" charset="0"/>
                        <a:ea typeface="Open Sans" charset="0"/>
                        <a:cs typeface="Open Sans" charset="0"/>
                      </a:endParaRP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2</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3</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4</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5</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25582">
                <a:tc>
                  <a:txBody>
                    <a:bodyPr/>
                    <a:lstStyle/>
                    <a:p>
                      <a:r>
                        <a:rPr lang="en-US" sz="1000" dirty="0">
                          <a:solidFill>
                            <a:schemeClr val="tx1"/>
                          </a:solidFill>
                          <a:latin typeface="Open Sans" charset="0"/>
                          <a:ea typeface="Open Sans" charset="0"/>
                          <a:cs typeface="Open Sans" charset="0"/>
                        </a:rPr>
                        <a:t>6</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7</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8</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9</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10</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11</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12</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725582">
                <a:tc>
                  <a:txBody>
                    <a:bodyPr/>
                    <a:lstStyle/>
                    <a:p>
                      <a:r>
                        <a:rPr lang="en-US" sz="1000" dirty="0">
                          <a:solidFill>
                            <a:schemeClr val="tx1"/>
                          </a:solidFill>
                          <a:latin typeface="Open Sans" charset="0"/>
                          <a:ea typeface="Open Sans" charset="0"/>
                          <a:cs typeface="Open Sans" charset="0"/>
                        </a:rPr>
                        <a:t>13</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14</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15</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16</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17</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18</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19</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725582">
                <a:tc>
                  <a:txBody>
                    <a:bodyPr/>
                    <a:lstStyle/>
                    <a:p>
                      <a:r>
                        <a:rPr lang="en-US" sz="1000" dirty="0">
                          <a:solidFill>
                            <a:schemeClr val="tx1"/>
                          </a:solidFill>
                          <a:latin typeface="Open Sans" charset="0"/>
                          <a:ea typeface="Open Sans" charset="0"/>
                          <a:cs typeface="Open Sans" charset="0"/>
                        </a:rPr>
                        <a:t>20</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21</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22</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23</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24</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25</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latin typeface="Open Sans" charset="0"/>
                          <a:ea typeface="Open Sans" charset="0"/>
                          <a:cs typeface="Open Sans" charset="0"/>
                        </a:rPr>
                        <a:t>26</a:t>
                      </a:r>
                    </a:p>
                  </a:txBody>
                  <a:tcP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
        <p:nvSpPr>
          <p:cNvPr id="20" name="Rectangle 19">
            <a:extLst>
              <a:ext uri="{FF2B5EF4-FFF2-40B4-BE49-F238E27FC236}">
                <a16:creationId xmlns:a16="http://schemas.microsoft.com/office/drawing/2014/main" id="{99655242-1738-4F0E-96EA-BE7DD41F2774}"/>
              </a:ext>
            </a:extLst>
          </p:cNvPr>
          <p:cNvSpPr/>
          <p:nvPr/>
        </p:nvSpPr>
        <p:spPr>
          <a:xfrm>
            <a:off x="3873687" y="4449719"/>
            <a:ext cx="5919275" cy="2143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Open Sans"/>
                <a:ea typeface="Open Sans" charset="0"/>
                <a:cs typeface="Open Sans" charset="0"/>
              </a:rPr>
              <a:t>Phase 2</a:t>
            </a:r>
          </a:p>
        </p:txBody>
      </p:sp>
      <p:sp>
        <p:nvSpPr>
          <p:cNvPr id="21" name="Rectangle 20">
            <a:extLst>
              <a:ext uri="{FF2B5EF4-FFF2-40B4-BE49-F238E27FC236}">
                <a16:creationId xmlns:a16="http://schemas.microsoft.com/office/drawing/2014/main" id="{BD231626-4448-4DB8-BE82-EB3181EB2D59}"/>
              </a:ext>
            </a:extLst>
          </p:cNvPr>
          <p:cNvSpPr/>
          <p:nvPr/>
        </p:nvSpPr>
        <p:spPr>
          <a:xfrm>
            <a:off x="2391294" y="5174381"/>
            <a:ext cx="7393349" cy="2103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Open Sans"/>
                <a:ea typeface="Open Sans" charset="0"/>
                <a:cs typeface="Open Sans" charset="0"/>
              </a:rPr>
              <a:t>Phase </a:t>
            </a:r>
            <a:r>
              <a:rPr lang="en-US" sz="800" b="1" dirty="0">
                <a:solidFill>
                  <a:srgbClr val="000000"/>
                </a:solidFill>
                <a:latin typeface="Open Sans"/>
                <a:ea typeface="Open Sans" charset="0"/>
                <a:cs typeface="Open Sans" charset="0"/>
              </a:rPr>
              <a:t>3</a:t>
            </a:r>
            <a:endParaRPr kumimoji="0" lang="en-US" sz="800" b="1" i="0" u="none" strike="noStrike" kern="1200" cap="none" spc="0" normalizeH="0" baseline="0" noProof="0" dirty="0">
              <a:ln>
                <a:noFill/>
              </a:ln>
              <a:solidFill>
                <a:srgbClr val="000000"/>
              </a:solidFill>
              <a:effectLst/>
              <a:uLnTx/>
              <a:uFillTx/>
              <a:latin typeface="Open Sans"/>
              <a:ea typeface="Open Sans" charset="0"/>
              <a:cs typeface="Open Sans" charset="0"/>
            </a:endParaRPr>
          </a:p>
        </p:txBody>
      </p:sp>
      <p:sp>
        <p:nvSpPr>
          <p:cNvPr id="22" name="Rectangle 21">
            <a:extLst>
              <a:ext uri="{FF2B5EF4-FFF2-40B4-BE49-F238E27FC236}">
                <a16:creationId xmlns:a16="http://schemas.microsoft.com/office/drawing/2014/main" id="{AF80F136-4CF8-4964-9A58-6593308E0951}"/>
              </a:ext>
            </a:extLst>
          </p:cNvPr>
          <p:cNvSpPr/>
          <p:nvPr/>
        </p:nvSpPr>
        <p:spPr>
          <a:xfrm>
            <a:off x="2396845" y="3727086"/>
            <a:ext cx="5915134" cy="2103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Open Sans"/>
                <a:ea typeface="Open Sans" charset="0"/>
                <a:cs typeface="Open Sans" charset="0"/>
              </a:rPr>
              <a:t>Phase 1</a:t>
            </a:r>
          </a:p>
        </p:txBody>
      </p:sp>
      <p:sp>
        <p:nvSpPr>
          <p:cNvPr id="23" name="TextBox 22">
            <a:extLst>
              <a:ext uri="{FF2B5EF4-FFF2-40B4-BE49-F238E27FC236}">
                <a16:creationId xmlns:a16="http://schemas.microsoft.com/office/drawing/2014/main" id="{B2ADF001-1B60-4681-B3CB-2B49A7400FDA}"/>
              </a:ext>
            </a:extLst>
          </p:cNvPr>
          <p:cNvSpPr txBox="1"/>
          <p:nvPr/>
        </p:nvSpPr>
        <p:spPr>
          <a:xfrm>
            <a:off x="7290517" y="5571902"/>
            <a:ext cx="60411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Open Sans" charset="0"/>
                <a:cs typeface="Open Sans" charset="0"/>
              </a:rPr>
              <a:t>Launch</a:t>
            </a:r>
          </a:p>
        </p:txBody>
      </p:sp>
      <p:grpSp>
        <p:nvGrpSpPr>
          <p:cNvPr id="24" name="Group 23">
            <a:extLst>
              <a:ext uri="{FF2B5EF4-FFF2-40B4-BE49-F238E27FC236}">
                <a16:creationId xmlns:a16="http://schemas.microsoft.com/office/drawing/2014/main" id="{B3C74797-DF5F-4179-BB28-904B52181021}"/>
              </a:ext>
            </a:extLst>
          </p:cNvPr>
          <p:cNvGrpSpPr/>
          <p:nvPr/>
        </p:nvGrpSpPr>
        <p:grpSpPr>
          <a:xfrm>
            <a:off x="8942656" y="5063138"/>
            <a:ext cx="220424" cy="212434"/>
            <a:chOff x="6875423" y="2495288"/>
            <a:chExt cx="212434" cy="212434"/>
          </a:xfrm>
        </p:grpSpPr>
        <p:sp>
          <p:nvSpPr>
            <p:cNvPr id="25" name="Oval 24">
              <a:extLst>
                <a:ext uri="{FF2B5EF4-FFF2-40B4-BE49-F238E27FC236}">
                  <a16:creationId xmlns:a16="http://schemas.microsoft.com/office/drawing/2014/main" id="{DDB7EDBC-6712-4BA5-B85C-3260EAAD47D7}"/>
                </a:ext>
              </a:extLst>
            </p:cNvPr>
            <p:cNvSpPr/>
            <p:nvPr/>
          </p:nvSpPr>
          <p:spPr>
            <a:xfrm>
              <a:off x="6875423" y="2495288"/>
              <a:ext cx="212434" cy="212434"/>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26" name="Chord 25">
              <a:extLst>
                <a:ext uri="{FF2B5EF4-FFF2-40B4-BE49-F238E27FC236}">
                  <a16:creationId xmlns:a16="http://schemas.microsoft.com/office/drawing/2014/main" id="{6FCC64AC-2F09-4A68-AE71-B034CCC5732F}"/>
                </a:ext>
              </a:extLst>
            </p:cNvPr>
            <p:cNvSpPr/>
            <p:nvPr/>
          </p:nvSpPr>
          <p:spPr>
            <a:xfrm>
              <a:off x="6904231" y="2526510"/>
              <a:ext cx="149518" cy="149518"/>
            </a:xfrm>
            <a:prstGeom prst="chord">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27" name="Group 26">
            <a:extLst>
              <a:ext uri="{FF2B5EF4-FFF2-40B4-BE49-F238E27FC236}">
                <a16:creationId xmlns:a16="http://schemas.microsoft.com/office/drawing/2014/main" id="{53E60FB7-95A4-40F2-B91C-9A0EA2F74F10}"/>
              </a:ext>
            </a:extLst>
          </p:cNvPr>
          <p:cNvGrpSpPr/>
          <p:nvPr/>
        </p:nvGrpSpPr>
        <p:grpSpPr>
          <a:xfrm>
            <a:off x="4538269" y="5063138"/>
            <a:ext cx="220424" cy="212434"/>
            <a:chOff x="7053571" y="2135929"/>
            <a:chExt cx="193122" cy="193122"/>
          </a:xfrm>
        </p:grpSpPr>
        <p:sp>
          <p:nvSpPr>
            <p:cNvPr id="28" name="Oval 27">
              <a:extLst>
                <a:ext uri="{FF2B5EF4-FFF2-40B4-BE49-F238E27FC236}">
                  <a16:creationId xmlns:a16="http://schemas.microsoft.com/office/drawing/2014/main" id="{AA4B451D-7B63-4802-817D-B165879665F0}"/>
                </a:ext>
              </a:extLst>
            </p:cNvPr>
            <p:cNvSpPr/>
            <p:nvPr/>
          </p:nvSpPr>
          <p:spPr>
            <a:xfrm>
              <a:off x="7053571" y="2135929"/>
              <a:ext cx="193122" cy="193122"/>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29" name="Group 28">
              <a:extLst>
                <a:ext uri="{FF2B5EF4-FFF2-40B4-BE49-F238E27FC236}">
                  <a16:creationId xmlns:a16="http://schemas.microsoft.com/office/drawing/2014/main" id="{BAEE90B8-7928-4834-AAB9-13136AC4BE47}"/>
                </a:ext>
              </a:extLst>
            </p:cNvPr>
            <p:cNvGrpSpPr/>
            <p:nvPr/>
          </p:nvGrpSpPr>
          <p:grpSpPr>
            <a:xfrm>
              <a:off x="7094672" y="2177830"/>
              <a:ext cx="141444" cy="111018"/>
              <a:chOff x="6590384" y="1159101"/>
              <a:chExt cx="141444" cy="111018"/>
            </a:xfrm>
          </p:grpSpPr>
          <p:sp>
            <p:nvSpPr>
              <p:cNvPr id="30" name="Arc 29">
                <a:extLst>
                  <a:ext uri="{FF2B5EF4-FFF2-40B4-BE49-F238E27FC236}">
                    <a16:creationId xmlns:a16="http://schemas.microsoft.com/office/drawing/2014/main" id="{9B8313EC-A38B-482B-A941-A24293FFF45E}"/>
                  </a:ext>
                </a:extLst>
              </p:cNvPr>
              <p:cNvSpPr/>
              <p:nvPr/>
            </p:nvSpPr>
            <p:spPr>
              <a:xfrm>
                <a:off x="6590384" y="1159101"/>
                <a:ext cx="111018" cy="111018"/>
              </a:xfrm>
              <a:prstGeom prst="arc">
                <a:avLst>
                  <a:gd name="adj1" fmla="val 21092437"/>
                  <a:gd name="adj2" fmla="val 17792096"/>
                </a:avLst>
              </a:prstGeom>
              <a:ln w="28575" cmpd="sng">
                <a:solidFill>
                  <a:schemeClr val="tx2"/>
                </a:solidFill>
                <a:headEnd type="none"/>
                <a:tailEnd type="none"/>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1" name="Isosceles Triangle 136">
                <a:extLst>
                  <a:ext uri="{FF2B5EF4-FFF2-40B4-BE49-F238E27FC236}">
                    <a16:creationId xmlns:a16="http://schemas.microsoft.com/office/drawing/2014/main" id="{8CD02334-839C-4766-BB0C-E865793E68B3}"/>
                  </a:ext>
                </a:extLst>
              </p:cNvPr>
              <p:cNvSpPr/>
              <p:nvPr/>
            </p:nvSpPr>
            <p:spPr>
              <a:xfrm>
                <a:off x="6670976" y="1173110"/>
                <a:ext cx="60852" cy="45719"/>
              </a:xfrm>
              <a:prstGeom prst="triangle">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pSp>
      <p:sp>
        <p:nvSpPr>
          <p:cNvPr id="32" name="Rectangle 31">
            <a:extLst>
              <a:ext uri="{FF2B5EF4-FFF2-40B4-BE49-F238E27FC236}">
                <a16:creationId xmlns:a16="http://schemas.microsoft.com/office/drawing/2014/main" id="{C9D95C5E-1D0E-488C-BA66-7AAE672D0FDD}"/>
              </a:ext>
            </a:extLst>
          </p:cNvPr>
          <p:cNvSpPr/>
          <p:nvPr/>
        </p:nvSpPr>
        <p:spPr>
          <a:xfrm>
            <a:off x="2398693" y="5904575"/>
            <a:ext cx="5913240" cy="2103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Open Sans"/>
                <a:ea typeface="Open Sans" charset="0"/>
                <a:cs typeface="Open Sans" charset="0"/>
              </a:rPr>
              <a:t>Phase 1</a:t>
            </a:r>
          </a:p>
        </p:txBody>
      </p:sp>
      <p:grpSp>
        <p:nvGrpSpPr>
          <p:cNvPr id="33" name="Group 32">
            <a:extLst>
              <a:ext uri="{FF2B5EF4-FFF2-40B4-BE49-F238E27FC236}">
                <a16:creationId xmlns:a16="http://schemas.microsoft.com/office/drawing/2014/main" id="{E2FF3D7E-78D9-4EE2-BB4D-4688E4DBF022}"/>
              </a:ext>
            </a:extLst>
          </p:cNvPr>
          <p:cNvGrpSpPr/>
          <p:nvPr/>
        </p:nvGrpSpPr>
        <p:grpSpPr>
          <a:xfrm>
            <a:off x="7479960" y="5798358"/>
            <a:ext cx="220424" cy="212434"/>
            <a:chOff x="7211986" y="2505004"/>
            <a:chExt cx="212434" cy="212434"/>
          </a:xfrm>
        </p:grpSpPr>
        <p:sp>
          <p:nvSpPr>
            <p:cNvPr id="34" name="Oval 33">
              <a:extLst>
                <a:ext uri="{FF2B5EF4-FFF2-40B4-BE49-F238E27FC236}">
                  <a16:creationId xmlns:a16="http://schemas.microsoft.com/office/drawing/2014/main" id="{395EC5D0-9590-4785-9AE5-AD42F86F4BBC}"/>
                </a:ext>
              </a:extLst>
            </p:cNvPr>
            <p:cNvSpPr/>
            <p:nvPr/>
          </p:nvSpPr>
          <p:spPr>
            <a:xfrm>
              <a:off x="7211986" y="2505004"/>
              <a:ext cx="212434" cy="212434"/>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5" name="4-Point Star 71">
              <a:extLst>
                <a:ext uri="{FF2B5EF4-FFF2-40B4-BE49-F238E27FC236}">
                  <a16:creationId xmlns:a16="http://schemas.microsoft.com/office/drawing/2014/main" id="{D8A96C51-2F72-4A14-B7BA-6AD993D827BB}"/>
                </a:ext>
              </a:extLst>
            </p:cNvPr>
            <p:cNvSpPr/>
            <p:nvPr/>
          </p:nvSpPr>
          <p:spPr>
            <a:xfrm>
              <a:off x="7243444" y="2536462"/>
              <a:ext cx="149518" cy="149518"/>
            </a:xfrm>
            <a:prstGeom prst="star4">
              <a:avLst>
                <a:gd name="adj" fmla="val 21325"/>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36" name="Group 35">
            <a:extLst>
              <a:ext uri="{FF2B5EF4-FFF2-40B4-BE49-F238E27FC236}">
                <a16:creationId xmlns:a16="http://schemas.microsoft.com/office/drawing/2014/main" id="{5FEFFE6A-54F1-427E-BD97-505A5C848E86}"/>
              </a:ext>
            </a:extLst>
          </p:cNvPr>
          <p:cNvGrpSpPr/>
          <p:nvPr/>
        </p:nvGrpSpPr>
        <p:grpSpPr>
          <a:xfrm>
            <a:off x="7479960" y="5063138"/>
            <a:ext cx="220424" cy="212434"/>
            <a:chOff x="7053571" y="2135929"/>
            <a:chExt cx="193122" cy="193122"/>
          </a:xfrm>
        </p:grpSpPr>
        <p:sp>
          <p:nvSpPr>
            <p:cNvPr id="37" name="Oval 36">
              <a:extLst>
                <a:ext uri="{FF2B5EF4-FFF2-40B4-BE49-F238E27FC236}">
                  <a16:creationId xmlns:a16="http://schemas.microsoft.com/office/drawing/2014/main" id="{4114F8FC-8330-4B72-B102-8655C673BF44}"/>
                </a:ext>
              </a:extLst>
            </p:cNvPr>
            <p:cNvSpPr/>
            <p:nvPr/>
          </p:nvSpPr>
          <p:spPr>
            <a:xfrm>
              <a:off x="7053571" y="2135929"/>
              <a:ext cx="193122" cy="193122"/>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38" name="Group 37">
              <a:extLst>
                <a:ext uri="{FF2B5EF4-FFF2-40B4-BE49-F238E27FC236}">
                  <a16:creationId xmlns:a16="http://schemas.microsoft.com/office/drawing/2014/main" id="{352E2604-3D89-4B38-96C1-AF372F99830C}"/>
                </a:ext>
              </a:extLst>
            </p:cNvPr>
            <p:cNvGrpSpPr/>
            <p:nvPr/>
          </p:nvGrpSpPr>
          <p:grpSpPr>
            <a:xfrm>
              <a:off x="7094672" y="2177830"/>
              <a:ext cx="141444" cy="111018"/>
              <a:chOff x="6590384" y="1159101"/>
              <a:chExt cx="141444" cy="111018"/>
            </a:xfrm>
          </p:grpSpPr>
          <p:sp>
            <p:nvSpPr>
              <p:cNvPr id="39" name="Arc 38">
                <a:extLst>
                  <a:ext uri="{FF2B5EF4-FFF2-40B4-BE49-F238E27FC236}">
                    <a16:creationId xmlns:a16="http://schemas.microsoft.com/office/drawing/2014/main" id="{6B34BBD9-72D5-4B7D-9CBB-2A20C0C5AFF1}"/>
                  </a:ext>
                </a:extLst>
              </p:cNvPr>
              <p:cNvSpPr/>
              <p:nvPr/>
            </p:nvSpPr>
            <p:spPr>
              <a:xfrm>
                <a:off x="6590384" y="1159101"/>
                <a:ext cx="111018" cy="111018"/>
              </a:xfrm>
              <a:prstGeom prst="arc">
                <a:avLst>
                  <a:gd name="adj1" fmla="val 21092437"/>
                  <a:gd name="adj2" fmla="val 17792096"/>
                </a:avLst>
              </a:prstGeom>
              <a:ln w="28575" cmpd="sng">
                <a:solidFill>
                  <a:schemeClr val="tx2"/>
                </a:solidFill>
                <a:headEnd type="none"/>
                <a:tailEnd type="none"/>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0" name="Isosceles Triangle 136">
                <a:extLst>
                  <a:ext uri="{FF2B5EF4-FFF2-40B4-BE49-F238E27FC236}">
                    <a16:creationId xmlns:a16="http://schemas.microsoft.com/office/drawing/2014/main" id="{1F7027BA-6D45-4B64-A6CC-6897FE2E147D}"/>
                  </a:ext>
                </a:extLst>
              </p:cNvPr>
              <p:cNvSpPr/>
              <p:nvPr/>
            </p:nvSpPr>
            <p:spPr>
              <a:xfrm>
                <a:off x="6670976" y="1173110"/>
                <a:ext cx="60852" cy="45719"/>
              </a:xfrm>
              <a:prstGeom prst="triangle">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pSp>
      <p:grpSp>
        <p:nvGrpSpPr>
          <p:cNvPr id="41" name="Group 40">
            <a:extLst>
              <a:ext uri="{FF2B5EF4-FFF2-40B4-BE49-F238E27FC236}">
                <a16:creationId xmlns:a16="http://schemas.microsoft.com/office/drawing/2014/main" id="{6BBC2E5B-8D56-40BC-9772-6B77CBDCAA71}"/>
              </a:ext>
            </a:extLst>
          </p:cNvPr>
          <p:cNvGrpSpPr/>
          <p:nvPr/>
        </p:nvGrpSpPr>
        <p:grpSpPr>
          <a:xfrm>
            <a:off x="8942656" y="4343502"/>
            <a:ext cx="220424" cy="212434"/>
            <a:chOff x="6875423" y="2495288"/>
            <a:chExt cx="212434" cy="212434"/>
          </a:xfrm>
        </p:grpSpPr>
        <p:sp>
          <p:nvSpPr>
            <p:cNvPr id="42" name="Oval 41">
              <a:extLst>
                <a:ext uri="{FF2B5EF4-FFF2-40B4-BE49-F238E27FC236}">
                  <a16:creationId xmlns:a16="http://schemas.microsoft.com/office/drawing/2014/main" id="{C136B5A5-0D65-4C46-9B0E-773E374F4EB9}"/>
                </a:ext>
              </a:extLst>
            </p:cNvPr>
            <p:cNvSpPr/>
            <p:nvPr/>
          </p:nvSpPr>
          <p:spPr>
            <a:xfrm>
              <a:off x="6875423" y="2495288"/>
              <a:ext cx="212434" cy="212434"/>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3" name="Chord 42">
              <a:extLst>
                <a:ext uri="{FF2B5EF4-FFF2-40B4-BE49-F238E27FC236}">
                  <a16:creationId xmlns:a16="http://schemas.microsoft.com/office/drawing/2014/main" id="{CDAB62A8-1507-4A51-85B9-116A2B538612}"/>
                </a:ext>
              </a:extLst>
            </p:cNvPr>
            <p:cNvSpPr/>
            <p:nvPr/>
          </p:nvSpPr>
          <p:spPr>
            <a:xfrm>
              <a:off x="6904231" y="2526510"/>
              <a:ext cx="149518" cy="149518"/>
            </a:xfrm>
            <a:prstGeom prst="chord">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sp>
        <p:nvSpPr>
          <p:cNvPr id="45" name="TextBox 44">
            <a:extLst>
              <a:ext uri="{FF2B5EF4-FFF2-40B4-BE49-F238E27FC236}">
                <a16:creationId xmlns:a16="http://schemas.microsoft.com/office/drawing/2014/main" id="{AA2456B6-223F-42D3-B4F7-FDA264AC7258}"/>
              </a:ext>
            </a:extLst>
          </p:cNvPr>
          <p:cNvSpPr txBox="1"/>
          <p:nvPr/>
        </p:nvSpPr>
        <p:spPr>
          <a:xfrm>
            <a:off x="8559546" y="4129621"/>
            <a:ext cx="981145"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Open Sans" charset="0"/>
                <a:cs typeface="Open Sans" charset="0"/>
              </a:rPr>
              <a:t>Touchpoint 1</a:t>
            </a:r>
          </a:p>
        </p:txBody>
      </p:sp>
      <p:sp>
        <p:nvSpPr>
          <p:cNvPr id="46" name="TextBox 45">
            <a:extLst>
              <a:ext uri="{FF2B5EF4-FFF2-40B4-BE49-F238E27FC236}">
                <a16:creationId xmlns:a16="http://schemas.microsoft.com/office/drawing/2014/main" id="{F646DD05-0209-4C7F-BCB8-BCDB2851AA33}"/>
              </a:ext>
            </a:extLst>
          </p:cNvPr>
          <p:cNvSpPr txBox="1"/>
          <p:nvPr/>
        </p:nvSpPr>
        <p:spPr>
          <a:xfrm>
            <a:off x="8559546" y="4838601"/>
            <a:ext cx="981145"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Open Sans" charset="0"/>
                <a:cs typeface="Open Sans" charset="0"/>
              </a:rPr>
              <a:t>Touchpoint 2</a:t>
            </a:r>
          </a:p>
        </p:txBody>
      </p:sp>
    </p:spTree>
    <p:extLst>
      <p:ext uri="{BB962C8B-B14F-4D97-AF65-F5344CB8AC3E}">
        <p14:creationId xmlns:p14="http://schemas.microsoft.com/office/powerpoint/2010/main" val="1765503231"/>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2" name="Object 71" hidden="1">
            <a:extLst>
              <a:ext uri="{FF2B5EF4-FFF2-40B4-BE49-F238E27FC236}">
                <a16:creationId xmlns:a16="http://schemas.microsoft.com/office/drawing/2014/main" id="{1E31B6AD-5B9A-4FFC-B5B0-D5A7282B890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8836" name="think-cell Slide" r:id="rId6" imgW="415" imgH="416" progId="TCLayout.ActiveDocument.1">
                  <p:embed/>
                </p:oleObj>
              </mc:Choice>
              <mc:Fallback>
                <p:oleObj name="think-cell Slide" r:id="rId6" imgW="415" imgH="416" progId="TCLayout.ActiveDocument.1">
                  <p:embed/>
                  <p:pic>
                    <p:nvPicPr>
                      <p:cNvPr id="72" name="Object 71" hidden="1">
                        <a:extLst>
                          <a:ext uri="{FF2B5EF4-FFF2-40B4-BE49-F238E27FC236}">
                            <a16:creationId xmlns:a16="http://schemas.microsoft.com/office/drawing/2014/main" id="{1E31B6AD-5B9A-4FFC-B5B0-D5A7282B890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1" name="Rectangle 70" hidden="1">
            <a:extLst>
              <a:ext uri="{FF2B5EF4-FFF2-40B4-BE49-F238E27FC236}">
                <a16:creationId xmlns:a16="http://schemas.microsoft.com/office/drawing/2014/main" id="{80B92573-763A-4215-A8AB-EE7A58C02E0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73" name="Rectangle 72">
            <a:extLst>
              <a:ext uri="{FF2B5EF4-FFF2-40B4-BE49-F238E27FC236}">
                <a16:creationId xmlns:a16="http://schemas.microsoft.com/office/drawing/2014/main" id="{477D7036-D106-43AD-94B0-84C80B47B554}"/>
              </a:ext>
            </a:extLst>
          </p:cNvPr>
          <p:cNvSpPr/>
          <p:nvPr/>
        </p:nvSpPr>
        <p:spPr>
          <a:xfrm>
            <a:off x="275303" y="6258774"/>
            <a:ext cx="4591665" cy="4781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E81C634-682E-4175-B485-CD0BD9E4B719}"/>
              </a:ext>
            </a:extLst>
          </p:cNvPr>
          <p:cNvSpPr>
            <a:spLocks noGrp="1"/>
          </p:cNvSpPr>
          <p:nvPr>
            <p:ph type="title"/>
          </p:nvPr>
        </p:nvSpPr>
        <p:spPr/>
        <p:txBody>
          <a:bodyPr/>
          <a:lstStyle/>
          <a:p>
            <a:r>
              <a:rPr lang="en-US" altLang="ja-JP" dirty="0"/>
              <a:t>Proposed Work Plan to Deliver a Successful Day</a:t>
            </a:r>
            <a:endParaRPr lang="en-US" dirty="0"/>
          </a:p>
        </p:txBody>
      </p:sp>
      <p:sp>
        <p:nvSpPr>
          <p:cNvPr id="3" name="Text Placeholder 2">
            <a:extLst>
              <a:ext uri="{FF2B5EF4-FFF2-40B4-BE49-F238E27FC236}">
                <a16:creationId xmlns:a16="http://schemas.microsoft.com/office/drawing/2014/main" id="{8FDF65E7-BABD-46CE-9257-F7C62435E9F4}"/>
              </a:ext>
            </a:extLst>
          </p:cNvPr>
          <p:cNvSpPr>
            <a:spLocks noGrp="1"/>
          </p:cNvSpPr>
          <p:nvPr>
            <p:ph type="body" sz="quarter" idx="14"/>
          </p:nvPr>
        </p:nvSpPr>
        <p:spPr/>
        <p:txBody>
          <a:bodyPr/>
          <a:lstStyle/>
          <a:p>
            <a:r>
              <a:rPr lang="en-US" dirty="0"/>
              <a:t>Subheader placeholder</a:t>
            </a:r>
          </a:p>
        </p:txBody>
      </p:sp>
      <p:sp>
        <p:nvSpPr>
          <p:cNvPr id="4" name="Text Placeholder 3">
            <a:extLst>
              <a:ext uri="{FF2B5EF4-FFF2-40B4-BE49-F238E27FC236}">
                <a16:creationId xmlns:a16="http://schemas.microsoft.com/office/drawing/2014/main" id="{2D18FA10-37C9-412E-BC1E-32080E9FD371}"/>
              </a:ext>
            </a:extLst>
          </p:cNvPr>
          <p:cNvSpPr>
            <a:spLocks noGrp="1"/>
          </p:cNvSpPr>
          <p:nvPr>
            <p:ph type="body" sz="quarter" idx="15"/>
          </p:nvPr>
        </p:nvSpPr>
        <p:spPr/>
        <p:txBody>
          <a:bodyPr/>
          <a:lstStyle/>
          <a:p>
            <a:r>
              <a:rPr lang="en-US" dirty="0"/>
              <a:t>Plans, timelines and roadmaps</a:t>
            </a:r>
          </a:p>
        </p:txBody>
      </p:sp>
      <p:graphicFrame>
        <p:nvGraphicFramePr>
          <p:cNvPr id="5" name="Table 4">
            <a:extLst>
              <a:ext uri="{FF2B5EF4-FFF2-40B4-BE49-F238E27FC236}">
                <a16:creationId xmlns:a16="http://schemas.microsoft.com/office/drawing/2014/main" id="{136ACD6C-0E03-4F76-A74A-B456BC75C350}"/>
              </a:ext>
            </a:extLst>
          </p:cNvPr>
          <p:cNvGraphicFramePr>
            <a:graphicFrameLocks noGrp="1"/>
          </p:cNvGraphicFramePr>
          <p:nvPr/>
        </p:nvGraphicFramePr>
        <p:xfrm>
          <a:off x="452284" y="1760027"/>
          <a:ext cx="10485977" cy="4969895"/>
        </p:xfrm>
        <a:graphic>
          <a:graphicData uri="http://schemas.openxmlformats.org/drawingml/2006/table">
            <a:tbl>
              <a:tblPr bandRow="1">
                <a:tableStyleId>{5C22544A-7EE6-4342-B048-85BDC9FD1C3A}</a:tableStyleId>
              </a:tblPr>
              <a:tblGrid>
                <a:gridCol w="3073346">
                  <a:extLst>
                    <a:ext uri="{9D8B030D-6E8A-4147-A177-3AD203B41FA5}">
                      <a16:colId xmlns:a16="http://schemas.microsoft.com/office/drawing/2014/main" val="20000"/>
                    </a:ext>
                  </a:extLst>
                </a:gridCol>
                <a:gridCol w="509375">
                  <a:extLst>
                    <a:ext uri="{9D8B030D-6E8A-4147-A177-3AD203B41FA5}">
                      <a16:colId xmlns:a16="http://schemas.microsoft.com/office/drawing/2014/main" val="20001"/>
                    </a:ext>
                  </a:extLst>
                </a:gridCol>
                <a:gridCol w="344605">
                  <a:extLst>
                    <a:ext uri="{9D8B030D-6E8A-4147-A177-3AD203B41FA5}">
                      <a16:colId xmlns:a16="http://schemas.microsoft.com/office/drawing/2014/main" val="20002"/>
                    </a:ext>
                  </a:extLst>
                </a:gridCol>
                <a:gridCol w="233443">
                  <a:extLst>
                    <a:ext uri="{9D8B030D-6E8A-4147-A177-3AD203B41FA5}">
                      <a16:colId xmlns:a16="http://schemas.microsoft.com/office/drawing/2014/main" val="20003"/>
                    </a:ext>
                  </a:extLst>
                </a:gridCol>
                <a:gridCol w="300141">
                  <a:extLst>
                    <a:ext uri="{9D8B030D-6E8A-4147-A177-3AD203B41FA5}">
                      <a16:colId xmlns:a16="http://schemas.microsoft.com/office/drawing/2014/main" val="20004"/>
                    </a:ext>
                  </a:extLst>
                </a:gridCol>
                <a:gridCol w="478000">
                  <a:extLst>
                    <a:ext uri="{9D8B030D-6E8A-4147-A177-3AD203B41FA5}">
                      <a16:colId xmlns:a16="http://schemas.microsoft.com/office/drawing/2014/main" val="20005"/>
                    </a:ext>
                  </a:extLst>
                </a:gridCol>
                <a:gridCol w="268397">
                  <a:extLst>
                    <a:ext uri="{9D8B030D-6E8A-4147-A177-3AD203B41FA5}">
                      <a16:colId xmlns:a16="http://schemas.microsoft.com/office/drawing/2014/main" val="20006"/>
                    </a:ext>
                  </a:extLst>
                </a:gridCol>
                <a:gridCol w="194988">
                  <a:extLst>
                    <a:ext uri="{9D8B030D-6E8A-4147-A177-3AD203B41FA5}">
                      <a16:colId xmlns:a16="http://schemas.microsoft.com/office/drawing/2014/main" val="20007"/>
                    </a:ext>
                  </a:extLst>
                </a:gridCol>
                <a:gridCol w="311258">
                  <a:extLst>
                    <a:ext uri="{9D8B030D-6E8A-4147-A177-3AD203B41FA5}">
                      <a16:colId xmlns:a16="http://schemas.microsoft.com/office/drawing/2014/main" val="20008"/>
                    </a:ext>
                  </a:extLst>
                </a:gridCol>
                <a:gridCol w="449468">
                  <a:extLst>
                    <a:ext uri="{9D8B030D-6E8A-4147-A177-3AD203B41FA5}">
                      <a16:colId xmlns:a16="http://schemas.microsoft.com/office/drawing/2014/main" val="20009"/>
                    </a:ext>
                  </a:extLst>
                </a:gridCol>
                <a:gridCol w="194988">
                  <a:extLst>
                    <a:ext uri="{9D8B030D-6E8A-4147-A177-3AD203B41FA5}">
                      <a16:colId xmlns:a16="http://schemas.microsoft.com/office/drawing/2014/main" val="20010"/>
                    </a:ext>
                  </a:extLst>
                </a:gridCol>
                <a:gridCol w="194988">
                  <a:extLst>
                    <a:ext uri="{9D8B030D-6E8A-4147-A177-3AD203B41FA5}">
                      <a16:colId xmlns:a16="http://schemas.microsoft.com/office/drawing/2014/main" val="20011"/>
                    </a:ext>
                  </a:extLst>
                </a:gridCol>
                <a:gridCol w="194988">
                  <a:extLst>
                    <a:ext uri="{9D8B030D-6E8A-4147-A177-3AD203B41FA5}">
                      <a16:colId xmlns:a16="http://schemas.microsoft.com/office/drawing/2014/main" val="20012"/>
                    </a:ext>
                  </a:extLst>
                </a:gridCol>
                <a:gridCol w="211210">
                  <a:extLst>
                    <a:ext uri="{9D8B030D-6E8A-4147-A177-3AD203B41FA5}">
                      <a16:colId xmlns:a16="http://schemas.microsoft.com/office/drawing/2014/main" val="20013"/>
                    </a:ext>
                  </a:extLst>
                </a:gridCol>
                <a:gridCol w="372396">
                  <a:extLst>
                    <a:ext uri="{9D8B030D-6E8A-4147-A177-3AD203B41FA5}">
                      <a16:colId xmlns:a16="http://schemas.microsoft.com/office/drawing/2014/main" val="20014"/>
                    </a:ext>
                  </a:extLst>
                </a:gridCol>
                <a:gridCol w="194508">
                  <a:extLst>
                    <a:ext uri="{9D8B030D-6E8A-4147-A177-3AD203B41FA5}">
                      <a16:colId xmlns:a16="http://schemas.microsoft.com/office/drawing/2014/main" val="20015"/>
                    </a:ext>
                  </a:extLst>
                </a:gridCol>
                <a:gridCol w="326636">
                  <a:extLst>
                    <a:ext uri="{9D8B030D-6E8A-4147-A177-3AD203B41FA5}">
                      <a16:colId xmlns:a16="http://schemas.microsoft.com/office/drawing/2014/main" val="20016"/>
                    </a:ext>
                  </a:extLst>
                </a:gridCol>
                <a:gridCol w="273672">
                  <a:extLst>
                    <a:ext uri="{9D8B030D-6E8A-4147-A177-3AD203B41FA5}">
                      <a16:colId xmlns:a16="http://schemas.microsoft.com/office/drawing/2014/main" val="20017"/>
                    </a:ext>
                  </a:extLst>
                </a:gridCol>
                <a:gridCol w="385868">
                  <a:extLst>
                    <a:ext uri="{9D8B030D-6E8A-4147-A177-3AD203B41FA5}">
                      <a16:colId xmlns:a16="http://schemas.microsoft.com/office/drawing/2014/main" val="20018"/>
                    </a:ext>
                  </a:extLst>
                </a:gridCol>
                <a:gridCol w="326636">
                  <a:extLst>
                    <a:ext uri="{9D8B030D-6E8A-4147-A177-3AD203B41FA5}">
                      <a16:colId xmlns:a16="http://schemas.microsoft.com/office/drawing/2014/main" val="20019"/>
                    </a:ext>
                  </a:extLst>
                </a:gridCol>
                <a:gridCol w="472170">
                  <a:extLst>
                    <a:ext uri="{9D8B030D-6E8A-4147-A177-3AD203B41FA5}">
                      <a16:colId xmlns:a16="http://schemas.microsoft.com/office/drawing/2014/main" val="20020"/>
                    </a:ext>
                  </a:extLst>
                </a:gridCol>
                <a:gridCol w="194988">
                  <a:extLst>
                    <a:ext uri="{9D8B030D-6E8A-4147-A177-3AD203B41FA5}">
                      <a16:colId xmlns:a16="http://schemas.microsoft.com/office/drawing/2014/main" val="20021"/>
                    </a:ext>
                  </a:extLst>
                </a:gridCol>
                <a:gridCol w="326636">
                  <a:extLst>
                    <a:ext uri="{9D8B030D-6E8A-4147-A177-3AD203B41FA5}">
                      <a16:colId xmlns:a16="http://schemas.microsoft.com/office/drawing/2014/main" val="20022"/>
                    </a:ext>
                  </a:extLst>
                </a:gridCol>
                <a:gridCol w="326636">
                  <a:extLst>
                    <a:ext uri="{9D8B030D-6E8A-4147-A177-3AD203B41FA5}">
                      <a16:colId xmlns:a16="http://schemas.microsoft.com/office/drawing/2014/main" val="20023"/>
                    </a:ext>
                  </a:extLst>
                </a:gridCol>
                <a:gridCol w="326636">
                  <a:extLst>
                    <a:ext uri="{9D8B030D-6E8A-4147-A177-3AD203B41FA5}">
                      <a16:colId xmlns:a16="http://schemas.microsoft.com/office/drawing/2014/main" val="20024"/>
                    </a:ext>
                  </a:extLst>
                </a:gridCol>
              </a:tblGrid>
              <a:tr h="239570">
                <a:tc>
                  <a:txBody>
                    <a:bodyPr/>
                    <a:lstStyle/>
                    <a:p>
                      <a:pPr>
                        <a:lnSpc>
                          <a:spcPct val="100000"/>
                        </a:lnSpc>
                        <a:spcBef>
                          <a:spcPts val="400"/>
                        </a:spcBef>
                        <a:buClr>
                          <a:schemeClr val="accent5"/>
                        </a:buClr>
                        <a:buSzPct val="75000"/>
                      </a:pPr>
                      <a:endParaRPr lang="en-US" sz="1000" dirty="0">
                        <a:solidFill>
                          <a:schemeClr val="tx1"/>
                        </a:solidFill>
                        <a:latin typeface="+mn-lt"/>
                        <a:cs typeface="Arial" panose="020B0604020202020204" pitchFamily="34" charset="0"/>
                      </a:endParaRPr>
                    </a:p>
                  </a:txBody>
                  <a:tcPr marL="42277" marR="42277" marT="42277" marB="42277"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marR="0" indent="0" algn="ctr" defTabSz="914400" rtl="0" eaLnBrk="1" fontAlgn="auto" latinLnBrk="0" hangingPunct="1">
                        <a:lnSpc>
                          <a:spcPct val="100000"/>
                        </a:lnSpc>
                        <a:spcBef>
                          <a:spcPts val="400"/>
                        </a:spcBef>
                        <a:spcAft>
                          <a:spcPts val="0"/>
                        </a:spcAft>
                        <a:buClr>
                          <a:schemeClr val="accent5"/>
                        </a:buClr>
                        <a:buSzPct val="75000"/>
                        <a:buFontTx/>
                        <a:buNone/>
                        <a:tabLst/>
                        <a:defRPr/>
                      </a:pPr>
                      <a:endParaRPr lang="en-US" sz="1000" dirty="0">
                        <a:solidFill>
                          <a:schemeClr val="tx1"/>
                        </a:solidFill>
                        <a:latin typeface="+mn-lt"/>
                        <a:cs typeface="Arial" panose="020B0604020202020204" pitchFamily="34" charset="0"/>
                      </a:endParaRPr>
                    </a:p>
                  </a:txBody>
                  <a:tcPr marL="42277" marR="42277" marT="42277" marB="42277"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gridSpan="4">
                  <a:txBody>
                    <a:bodyPr/>
                    <a:lstStyle/>
                    <a:p>
                      <a:pPr marL="0" marR="0" indent="0" algn="ctr" defTabSz="914400" rtl="0" eaLnBrk="1" fontAlgn="auto" latinLnBrk="0" hangingPunct="1">
                        <a:lnSpc>
                          <a:spcPct val="100000"/>
                        </a:lnSpc>
                        <a:spcBef>
                          <a:spcPts val="400"/>
                        </a:spcBef>
                        <a:spcAft>
                          <a:spcPts val="0"/>
                        </a:spcAft>
                        <a:buClr>
                          <a:schemeClr val="accent5"/>
                        </a:buClr>
                        <a:buSzPct val="75000"/>
                        <a:buFontTx/>
                        <a:buNone/>
                        <a:tabLst/>
                        <a:defRPr/>
                      </a:pPr>
                      <a:r>
                        <a:rPr lang="en-US" sz="1000" dirty="0">
                          <a:solidFill>
                            <a:schemeClr val="tx1"/>
                          </a:solidFill>
                          <a:latin typeface="+mn-lt"/>
                          <a:cs typeface="Arial" panose="020B0604020202020204" pitchFamily="34" charset="0"/>
                        </a:rPr>
                        <a:t>Week 1</a:t>
                      </a:r>
                    </a:p>
                  </a:txBody>
                  <a:tcPr marL="42277" marR="42277" marT="42277" marB="42277"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gridSpan="5">
                  <a:txBody>
                    <a:bodyPr/>
                    <a:lstStyle/>
                    <a:p>
                      <a:pPr marL="0" marR="0" indent="0" algn="ctr" defTabSz="914400" rtl="0" eaLnBrk="1" fontAlgn="auto" latinLnBrk="0" hangingPunct="1">
                        <a:lnSpc>
                          <a:spcPct val="100000"/>
                        </a:lnSpc>
                        <a:spcBef>
                          <a:spcPts val="400"/>
                        </a:spcBef>
                        <a:spcAft>
                          <a:spcPts val="0"/>
                        </a:spcAft>
                        <a:buClr>
                          <a:schemeClr val="accent5"/>
                        </a:buClr>
                        <a:buSzPct val="75000"/>
                        <a:buFontTx/>
                        <a:buNone/>
                        <a:tabLst/>
                        <a:defRPr/>
                      </a:pPr>
                      <a:r>
                        <a:rPr lang="en-US" sz="1000" dirty="0">
                          <a:solidFill>
                            <a:schemeClr val="tx1"/>
                          </a:solidFill>
                          <a:latin typeface="+mn-lt"/>
                          <a:cs typeface="Arial" panose="020B0604020202020204" pitchFamily="34" charset="0"/>
                        </a:rPr>
                        <a:t>Week 2</a:t>
                      </a:r>
                    </a:p>
                  </a:txBody>
                  <a:tcPr marL="42277" marR="42277" marT="42277" marB="42277"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12700"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gridSpan="4">
                  <a:txBody>
                    <a:bodyPr/>
                    <a:lstStyle/>
                    <a:p>
                      <a:pPr marL="0" marR="0" indent="0" algn="ctr" defTabSz="914400" rtl="0" eaLnBrk="1" fontAlgn="auto" latinLnBrk="0" hangingPunct="1">
                        <a:lnSpc>
                          <a:spcPct val="100000"/>
                        </a:lnSpc>
                        <a:spcBef>
                          <a:spcPts val="400"/>
                        </a:spcBef>
                        <a:spcAft>
                          <a:spcPts val="0"/>
                        </a:spcAft>
                        <a:buClr>
                          <a:schemeClr val="accent5"/>
                        </a:buClr>
                        <a:buSzPct val="75000"/>
                        <a:buFontTx/>
                        <a:buNone/>
                        <a:tabLst/>
                        <a:defRPr/>
                      </a:pPr>
                      <a:r>
                        <a:rPr lang="en-US" sz="1000" dirty="0">
                          <a:solidFill>
                            <a:schemeClr val="tx1"/>
                          </a:solidFill>
                          <a:latin typeface="+mn-lt"/>
                          <a:cs typeface="Arial" panose="020B0604020202020204" pitchFamily="34" charset="0"/>
                        </a:rPr>
                        <a:t>Week 3</a:t>
                      </a:r>
                    </a:p>
                  </a:txBody>
                  <a:tcPr marL="42277" marR="42277" marT="42277" marB="42277"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12700"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gridSpan="3">
                  <a:txBody>
                    <a:bodyPr/>
                    <a:lstStyle/>
                    <a:p>
                      <a:pPr marL="0" marR="0" indent="0" algn="ctr" defTabSz="914400" rtl="0" eaLnBrk="1" fontAlgn="auto" latinLnBrk="0" hangingPunct="1">
                        <a:lnSpc>
                          <a:spcPct val="100000"/>
                        </a:lnSpc>
                        <a:spcBef>
                          <a:spcPts val="400"/>
                        </a:spcBef>
                        <a:spcAft>
                          <a:spcPts val="0"/>
                        </a:spcAft>
                        <a:buClr>
                          <a:schemeClr val="accent5"/>
                        </a:buClr>
                        <a:buSzPct val="75000"/>
                        <a:buFontTx/>
                        <a:buNone/>
                        <a:tabLst/>
                        <a:defRPr/>
                      </a:pPr>
                      <a:r>
                        <a:rPr lang="en-US" sz="1000" dirty="0">
                          <a:solidFill>
                            <a:schemeClr val="tx1"/>
                          </a:solidFill>
                          <a:latin typeface="+mn-lt"/>
                          <a:cs typeface="Arial" panose="020B0604020202020204" pitchFamily="34" charset="0"/>
                        </a:rPr>
                        <a:t>Week 4</a:t>
                      </a:r>
                    </a:p>
                  </a:txBody>
                  <a:tcPr marL="42277" marR="42277" marT="42277" marB="42277"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gridSpan="4">
                  <a:txBody>
                    <a:bodyPr/>
                    <a:lstStyle/>
                    <a:p>
                      <a:pPr algn="ctr">
                        <a:lnSpc>
                          <a:spcPct val="100000"/>
                        </a:lnSpc>
                        <a:spcBef>
                          <a:spcPts val="400"/>
                        </a:spcBef>
                        <a:buClr>
                          <a:schemeClr val="accent5"/>
                        </a:buClr>
                        <a:buSzPct val="75000"/>
                      </a:pPr>
                      <a:r>
                        <a:rPr lang="en-US" sz="1000" dirty="0">
                          <a:solidFill>
                            <a:schemeClr val="tx1"/>
                          </a:solidFill>
                          <a:latin typeface="+mn-lt"/>
                          <a:cs typeface="Arial" panose="020B0604020202020204" pitchFamily="34" charset="0"/>
                        </a:rPr>
                        <a:t>Week 5</a:t>
                      </a:r>
                    </a:p>
                  </a:txBody>
                  <a:tcPr marL="42277" marR="42277" marT="42277" marB="42277"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0"/>
                  </a:ext>
                </a:extLst>
              </a:tr>
              <a:tr h="1014648">
                <a:tc>
                  <a:txBody>
                    <a:bodyPr/>
                    <a:lstStyle/>
                    <a:p>
                      <a:pPr marL="0" indent="0">
                        <a:lnSpc>
                          <a:spcPct val="100000"/>
                        </a:lnSpc>
                        <a:spcBef>
                          <a:spcPts val="300"/>
                        </a:spcBef>
                        <a:buClr>
                          <a:schemeClr val="accent5"/>
                        </a:buClr>
                        <a:buSzPct val="75000"/>
                        <a:buFont typeface="Arial" panose="020B0604020202020204" pitchFamily="34" charset="0"/>
                        <a:buNone/>
                      </a:pPr>
                      <a:r>
                        <a:rPr lang="en-US" sz="1000" b="1" dirty="0">
                          <a:solidFill>
                            <a:schemeClr val="tx1"/>
                          </a:solidFill>
                          <a:latin typeface="+mn-lt"/>
                          <a:cs typeface="Arial" panose="020B0604020202020204" pitchFamily="34" charset="0"/>
                        </a:rPr>
                        <a:t>Scoping with Account Tea</a:t>
                      </a:r>
                    </a:p>
                    <a:p>
                      <a:pPr marL="171450" indent="-171450">
                        <a:lnSpc>
                          <a:spcPct val="100000"/>
                        </a:lnSpc>
                        <a:spcBef>
                          <a:spcPts val="0"/>
                        </a:spcBef>
                        <a:buClr>
                          <a:schemeClr val="accent5"/>
                        </a:buClr>
                        <a:buSzPct val="75000"/>
                        <a:buFont typeface="Arial" panose="020B0604020202020204" pitchFamily="34" charset="0"/>
                        <a:buChar char="•"/>
                      </a:pPr>
                      <a:r>
                        <a:rPr lang="en-US" sz="1000" baseline="0" dirty="0">
                          <a:solidFill>
                            <a:schemeClr val="tx1"/>
                          </a:solidFill>
                          <a:latin typeface="+mn-lt"/>
                          <a:cs typeface="Arial" panose="020B0604020202020204" pitchFamily="34" charset="0"/>
                        </a:rPr>
                        <a:t>Frame &amp; align on client objective, key challenge, desired deliverables</a:t>
                      </a:r>
                    </a:p>
                    <a:p>
                      <a:pPr marL="171450" indent="-171450">
                        <a:lnSpc>
                          <a:spcPct val="100000"/>
                        </a:lnSpc>
                        <a:spcBef>
                          <a:spcPts val="0"/>
                        </a:spcBef>
                        <a:buClr>
                          <a:schemeClr val="accent5"/>
                        </a:buClr>
                        <a:buSzPct val="75000"/>
                        <a:buFont typeface="Arial" panose="020B0604020202020204" pitchFamily="34" charset="0"/>
                        <a:buChar char="•"/>
                      </a:pPr>
                      <a:r>
                        <a:rPr lang="en-US" sz="1000" baseline="0" dirty="0">
                          <a:solidFill>
                            <a:schemeClr val="tx1"/>
                          </a:solidFill>
                          <a:latin typeface="+mn-lt"/>
                          <a:cs typeface="Arial" panose="020B0604020202020204" pitchFamily="34" charset="0"/>
                        </a:rPr>
                        <a:t>Determine workshop topics of conversation &amp; modules</a:t>
                      </a:r>
                    </a:p>
                    <a:p>
                      <a:pPr marL="171450" indent="-171450">
                        <a:lnSpc>
                          <a:spcPct val="100000"/>
                        </a:lnSpc>
                        <a:spcBef>
                          <a:spcPts val="0"/>
                        </a:spcBef>
                        <a:buClr>
                          <a:schemeClr val="accent5"/>
                        </a:buClr>
                        <a:buSzPct val="75000"/>
                        <a:buFont typeface="Arial" panose="020B0604020202020204" pitchFamily="34" charset="0"/>
                        <a:buChar char="•"/>
                      </a:pPr>
                      <a:r>
                        <a:rPr lang="en-US" sz="1000" dirty="0">
                          <a:solidFill>
                            <a:schemeClr val="tx1"/>
                          </a:solidFill>
                          <a:latin typeface="+mn-lt"/>
                          <a:cs typeface="Arial" panose="020B0604020202020204" pitchFamily="34" charset="0"/>
                        </a:rPr>
                        <a:t>Confirm date before pre-work</a:t>
                      </a:r>
                      <a:r>
                        <a:rPr lang="en-US" sz="1000" baseline="0" dirty="0">
                          <a:solidFill>
                            <a:schemeClr val="tx1"/>
                          </a:solidFill>
                          <a:latin typeface="+mn-lt"/>
                          <a:cs typeface="Arial" panose="020B0604020202020204" pitchFamily="34" charset="0"/>
                        </a:rPr>
                        <a:t> begins</a:t>
                      </a:r>
                      <a:endParaRPr lang="en-US" sz="1000" dirty="0">
                        <a:solidFill>
                          <a:schemeClr val="tx1"/>
                        </a:solidFill>
                        <a:latin typeface="+mn-lt"/>
                        <a:cs typeface="Arial" panose="020B0604020202020204" pitchFamily="34" charset="0"/>
                      </a:endParaRPr>
                    </a:p>
                  </a:txBody>
                  <a:tcPr marL="42277" marR="0" marT="42277" marB="42277" anchor="ctr">
                    <a:lnL w="6350" cap="flat" cmpd="sng" algn="ctr">
                      <a:no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1014648">
                <a:tc>
                  <a:txBody>
                    <a:bodyPr/>
                    <a:lstStyle/>
                    <a:p>
                      <a:pPr marL="0" indent="0">
                        <a:lnSpc>
                          <a:spcPct val="100000"/>
                        </a:lnSpc>
                        <a:spcBef>
                          <a:spcPts val="300"/>
                        </a:spcBef>
                        <a:buClr>
                          <a:schemeClr val="accent5"/>
                        </a:buClr>
                        <a:buSzPct val="75000"/>
                        <a:buFont typeface="Arial" panose="020B0604020202020204" pitchFamily="34" charset="0"/>
                        <a:buNone/>
                      </a:pPr>
                      <a:r>
                        <a:rPr lang="en-US" sz="1000" b="1" dirty="0">
                          <a:solidFill>
                            <a:schemeClr val="tx1"/>
                          </a:solidFill>
                          <a:latin typeface="+mn-lt"/>
                          <a:cs typeface="Arial" panose="020B0604020202020204" pitchFamily="34" charset="0"/>
                        </a:rPr>
                        <a:t>Design</a:t>
                      </a:r>
                      <a:r>
                        <a:rPr lang="en-US" sz="1000" b="1" baseline="0" dirty="0">
                          <a:solidFill>
                            <a:schemeClr val="tx1"/>
                          </a:solidFill>
                          <a:latin typeface="+mn-lt"/>
                          <a:cs typeface="Arial" panose="020B0604020202020204" pitchFamily="34" charset="0"/>
                        </a:rPr>
                        <a:t> Workshop Approach</a:t>
                      </a:r>
                      <a:endParaRPr lang="en-US" sz="1000" b="1" dirty="0">
                        <a:solidFill>
                          <a:schemeClr val="tx1"/>
                        </a:solidFill>
                        <a:latin typeface="+mn-lt"/>
                        <a:cs typeface="Arial" panose="020B0604020202020204" pitchFamily="34" charset="0"/>
                      </a:endParaRPr>
                    </a:p>
                    <a:p>
                      <a:pPr marL="171450" indent="-171450">
                        <a:lnSpc>
                          <a:spcPct val="100000"/>
                        </a:lnSpc>
                        <a:spcBef>
                          <a:spcPts val="0"/>
                        </a:spcBef>
                        <a:buClr>
                          <a:schemeClr val="accent5"/>
                        </a:buClr>
                        <a:buSzPct val="75000"/>
                        <a:buFont typeface="Arial" panose="020B0604020202020204" pitchFamily="34" charset="0"/>
                        <a:buChar char="•"/>
                      </a:pPr>
                      <a:r>
                        <a:rPr lang="en-US" sz="1000" dirty="0">
                          <a:solidFill>
                            <a:schemeClr val="tx1"/>
                          </a:solidFill>
                          <a:latin typeface="+mn-lt"/>
                          <a:cs typeface="Arial" panose="020B0604020202020204" pitchFamily="34" charset="0"/>
                        </a:rPr>
                        <a:t>Identify &amp; confirm Deloitte SME’s to involve</a:t>
                      </a:r>
                    </a:p>
                    <a:p>
                      <a:pPr marL="171450" indent="-171450">
                        <a:lnSpc>
                          <a:spcPct val="100000"/>
                        </a:lnSpc>
                        <a:spcBef>
                          <a:spcPts val="0"/>
                        </a:spcBef>
                        <a:buClr>
                          <a:schemeClr val="accent5"/>
                        </a:buClr>
                        <a:buSzPct val="75000"/>
                        <a:buFont typeface="Arial" panose="020B0604020202020204" pitchFamily="34" charset="0"/>
                        <a:buChar char="•"/>
                      </a:pPr>
                      <a:r>
                        <a:rPr lang="en-US" sz="1000" dirty="0">
                          <a:solidFill>
                            <a:schemeClr val="tx1"/>
                          </a:solidFill>
                          <a:latin typeface="+mn-lt"/>
                          <a:cs typeface="Arial" panose="020B0604020202020204" pitchFamily="34" charset="0"/>
                        </a:rPr>
                        <a:t>Determine</a:t>
                      </a:r>
                      <a:r>
                        <a:rPr lang="en-US" sz="1000" baseline="0" dirty="0">
                          <a:solidFill>
                            <a:schemeClr val="tx1"/>
                          </a:solidFill>
                          <a:latin typeface="+mn-lt"/>
                          <a:cs typeface="Arial" panose="020B0604020202020204" pitchFamily="34" charset="0"/>
                        </a:rPr>
                        <a:t> number &amp; composition of client participants and digital understanding</a:t>
                      </a:r>
                    </a:p>
                    <a:p>
                      <a:pPr marL="171450" indent="-171450">
                        <a:lnSpc>
                          <a:spcPct val="100000"/>
                        </a:lnSpc>
                        <a:spcBef>
                          <a:spcPts val="0"/>
                        </a:spcBef>
                        <a:buClr>
                          <a:schemeClr val="accent5"/>
                        </a:buClr>
                        <a:buSzPct val="75000"/>
                        <a:buFont typeface="Arial" panose="020B0604020202020204" pitchFamily="34" charset="0"/>
                        <a:buChar char="•"/>
                      </a:pPr>
                      <a:r>
                        <a:rPr lang="en-US" sz="1000" baseline="0" dirty="0">
                          <a:solidFill>
                            <a:schemeClr val="tx1"/>
                          </a:solidFill>
                          <a:latin typeface="+mn-lt"/>
                          <a:cs typeface="Arial" panose="020B0604020202020204" pitchFamily="34" charset="0"/>
                        </a:rPr>
                        <a:t>Confirm who will be funding the workshop</a:t>
                      </a:r>
                    </a:p>
                    <a:p>
                      <a:pPr marL="171450" indent="-171450">
                        <a:lnSpc>
                          <a:spcPct val="100000"/>
                        </a:lnSpc>
                        <a:spcBef>
                          <a:spcPts val="0"/>
                        </a:spcBef>
                        <a:buClr>
                          <a:schemeClr val="accent5"/>
                        </a:buClr>
                        <a:buSzPct val="75000"/>
                        <a:buFont typeface="Arial" panose="020B0604020202020204" pitchFamily="34" charset="0"/>
                        <a:buChar char="•"/>
                      </a:pPr>
                      <a:r>
                        <a:rPr lang="en-US" sz="1000" baseline="0" dirty="0">
                          <a:solidFill>
                            <a:schemeClr val="tx1"/>
                          </a:solidFill>
                          <a:latin typeface="+mn-lt"/>
                          <a:cs typeface="Arial" panose="020B0604020202020204" pitchFamily="34" charset="0"/>
                        </a:rPr>
                        <a:t>Allocate number of hours for the workshop</a:t>
                      </a:r>
                      <a:endParaRPr lang="en-US" sz="1000" dirty="0">
                        <a:solidFill>
                          <a:schemeClr val="tx1"/>
                        </a:solidFill>
                        <a:latin typeface="+mn-lt"/>
                        <a:cs typeface="Arial" panose="020B0604020202020204" pitchFamily="34" charset="0"/>
                      </a:endParaRPr>
                    </a:p>
                  </a:txBody>
                  <a:tcPr marL="42277" marR="0" marT="42277" marB="42277" anchor="ctr">
                    <a:lnL w="6350" cap="flat" cmpd="sng" algn="ctr">
                      <a:no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859632">
                <a:tc>
                  <a:txBody>
                    <a:bodyPr/>
                    <a:lstStyle/>
                    <a:p>
                      <a:pPr marL="0" indent="0">
                        <a:lnSpc>
                          <a:spcPct val="100000"/>
                        </a:lnSpc>
                        <a:spcBef>
                          <a:spcPts val="300"/>
                        </a:spcBef>
                        <a:buClr>
                          <a:schemeClr val="accent5"/>
                        </a:buClr>
                        <a:buSzPct val="75000"/>
                        <a:buFont typeface="Arial" panose="020B0604020202020204" pitchFamily="34" charset="0"/>
                        <a:buNone/>
                      </a:pPr>
                      <a:r>
                        <a:rPr lang="en-US" sz="1000" b="1" baseline="0" dirty="0">
                          <a:solidFill>
                            <a:schemeClr val="tx1"/>
                          </a:solidFill>
                          <a:latin typeface="+mn-lt"/>
                          <a:cs typeface="Arial" panose="020B0604020202020204" pitchFamily="34" charset="0"/>
                        </a:rPr>
                        <a:t>Pre-work Research</a:t>
                      </a:r>
                    </a:p>
                    <a:p>
                      <a:pPr marL="171450" indent="-171450">
                        <a:lnSpc>
                          <a:spcPct val="100000"/>
                        </a:lnSpc>
                        <a:spcBef>
                          <a:spcPts val="0"/>
                        </a:spcBef>
                        <a:buClr>
                          <a:schemeClr val="accent5"/>
                        </a:buClr>
                        <a:buSzPct val="75000"/>
                        <a:buFont typeface="Arial" panose="020B0604020202020204" pitchFamily="34" charset="0"/>
                        <a:buChar char="•"/>
                      </a:pPr>
                      <a:r>
                        <a:rPr lang="en-US" sz="1000" dirty="0">
                          <a:solidFill>
                            <a:schemeClr val="tx1"/>
                          </a:solidFill>
                          <a:latin typeface="+mn-lt"/>
                          <a:cs typeface="Arial" panose="020B0604020202020204" pitchFamily="34" charset="0"/>
                        </a:rPr>
                        <a:t>Secondary/industry research</a:t>
                      </a:r>
                    </a:p>
                    <a:p>
                      <a:pPr marL="171450" indent="-171450">
                        <a:lnSpc>
                          <a:spcPct val="100000"/>
                        </a:lnSpc>
                        <a:spcBef>
                          <a:spcPts val="0"/>
                        </a:spcBef>
                        <a:buClr>
                          <a:schemeClr val="accent5"/>
                        </a:buClr>
                        <a:buSzPct val="75000"/>
                        <a:buFont typeface="Arial" panose="020B0604020202020204" pitchFamily="34" charset="0"/>
                        <a:buChar char="•"/>
                      </a:pPr>
                      <a:r>
                        <a:rPr lang="en-US" sz="1000" dirty="0">
                          <a:solidFill>
                            <a:schemeClr val="tx1"/>
                          </a:solidFill>
                          <a:latin typeface="+mn-lt"/>
                          <a:cs typeface="Arial" panose="020B0604020202020204" pitchFamily="34" charset="0"/>
                        </a:rPr>
                        <a:t>Client</a:t>
                      </a:r>
                      <a:r>
                        <a:rPr lang="en-US" sz="1000" baseline="0" dirty="0">
                          <a:solidFill>
                            <a:schemeClr val="tx1"/>
                          </a:solidFill>
                          <a:latin typeface="+mn-lt"/>
                          <a:cs typeface="Arial" panose="020B0604020202020204" pitchFamily="34" charset="0"/>
                        </a:rPr>
                        <a:t> interviews &amp; internal data analysis</a:t>
                      </a:r>
                    </a:p>
                    <a:p>
                      <a:pPr marL="171450" indent="-171450">
                        <a:lnSpc>
                          <a:spcPct val="100000"/>
                        </a:lnSpc>
                        <a:spcBef>
                          <a:spcPts val="0"/>
                        </a:spcBef>
                        <a:buClr>
                          <a:schemeClr val="accent5"/>
                        </a:buClr>
                        <a:buSzPct val="75000"/>
                        <a:buFont typeface="Arial" panose="020B0604020202020204" pitchFamily="34" charset="0"/>
                        <a:buChar char="•"/>
                      </a:pPr>
                      <a:r>
                        <a:rPr lang="en-US" sz="1000" baseline="0" dirty="0">
                          <a:solidFill>
                            <a:schemeClr val="tx1"/>
                          </a:solidFill>
                          <a:latin typeface="+mn-lt"/>
                          <a:cs typeface="Arial" panose="020B0604020202020204" pitchFamily="34" charset="0"/>
                        </a:rPr>
                        <a:t>Determine agenda </a:t>
                      </a:r>
                    </a:p>
                    <a:p>
                      <a:pPr marL="171450" indent="-171450">
                        <a:lnSpc>
                          <a:spcPct val="100000"/>
                        </a:lnSpc>
                        <a:spcBef>
                          <a:spcPts val="0"/>
                        </a:spcBef>
                        <a:buClr>
                          <a:schemeClr val="accent5"/>
                        </a:buClr>
                        <a:buSzPct val="75000"/>
                        <a:buFont typeface="Arial" panose="020B0604020202020204" pitchFamily="34" charset="0"/>
                        <a:buChar char="•"/>
                      </a:pPr>
                      <a:r>
                        <a:rPr lang="en-US" sz="1000" baseline="0" dirty="0">
                          <a:solidFill>
                            <a:schemeClr val="tx1"/>
                          </a:solidFill>
                          <a:latin typeface="+mn-lt"/>
                          <a:cs typeface="Arial" panose="020B0604020202020204" pitchFamily="34" charset="0"/>
                        </a:rPr>
                        <a:t>Create activities/exercises</a:t>
                      </a:r>
                      <a:endParaRPr lang="en-US" sz="1000" dirty="0">
                        <a:solidFill>
                          <a:schemeClr val="tx1"/>
                        </a:solidFill>
                        <a:latin typeface="+mn-lt"/>
                        <a:cs typeface="Arial" panose="020B0604020202020204" pitchFamily="34" charset="0"/>
                      </a:endParaRPr>
                    </a:p>
                  </a:txBody>
                  <a:tcPr marL="42277" marR="0" marT="42277" marB="42277" anchor="ctr">
                    <a:lnL w="6350" cap="flat" cmpd="sng" algn="ctr">
                      <a:no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704616">
                <a:tc>
                  <a:txBody>
                    <a:bodyPr/>
                    <a:lstStyle/>
                    <a:p>
                      <a:pPr marL="0" indent="0">
                        <a:lnSpc>
                          <a:spcPct val="100000"/>
                        </a:lnSpc>
                        <a:spcBef>
                          <a:spcPts val="300"/>
                        </a:spcBef>
                        <a:buClr>
                          <a:schemeClr val="accent5"/>
                        </a:buClr>
                        <a:buSzPct val="75000"/>
                        <a:buFont typeface="Arial" panose="020B0604020202020204" pitchFamily="34" charset="0"/>
                        <a:buNone/>
                      </a:pPr>
                      <a:r>
                        <a:rPr lang="en-US" sz="1000" b="1" dirty="0">
                          <a:solidFill>
                            <a:schemeClr val="tx1"/>
                          </a:solidFill>
                          <a:latin typeface="+mn-lt"/>
                          <a:cs typeface="Arial" panose="020B0604020202020204" pitchFamily="34" charset="0"/>
                        </a:rPr>
                        <a:t>Prepare material for workshop</a:t>
                      </a:r>
                      <a:r>
                        <a:rPr lang="en-US" sz="1000" b="1" baseline="0" dirty="0">
                          <a:solidFill>
                            <a:schemeClr val="tx1"/>
                          </a:solidFill>
                          <a:latin typeface="+mn-lt"/>
                          <a:cs typeface="Arial" panose="020B0604020202020204" pitchFamily="34" charset="0"/>
                        </a:rPr>
                        <a:t> </a:t>
                      </a:r>
                    </a:p>
                    <a:p>
                      <a:pPr marL="171450" indent="-171450">
                        <a:lnSpc>
                          <a:spcPct val="100000"/>
                        </a:lnSpc>
                        <a:spcBef>
                          <a:spcPts val="0"/>
                        </a:spcBef>
                        <a:buClr>
                          <a:schemeClr val="accent5"/>
                        </a:buClr>
                        <a:buSzPct val="75000"/>
                        <a:buFont typeface="Arial" panose="020B0604020202020204" pitchFamily="34" charset="0"/>
                        <a:buChar char="•"/>
                      </a:pPr>
                      <a:r>
                        <a:rPr lang="en-US" sz="1000" dirty="0">
                          <a:solidFill>
                            <a:schemeClr val="tx1"/>
                          </a:solidFill>
                          <a:latin typeface="+mn-lt"/>
                          <a:cs typeface="Arial" panose="020B0604020202020204" pitchFamily="34" charset="0"/>
                        </a:rPr>
                        <a:t>Prepare</a:t>
                      </a:r>
                      <a:r>
                        <a:rPr lang="en-US" sz="1000" baseline="0" dirty="0">
                          <a:solidFill>
                            <a:schemeClr val="tx1"/>
                          </a:solidFill>
                          <a:latin typeface="+mn-lt"/>
                          <a:cs typeface="Arial" panose="020B0604020202020204" pitchFamily="34" charset="0"/>
                        </a:rPr>
                        <a:t> templates &amp; artifacts </a:t>
                      </a:r>
                    </a:p>
                    <a:p>
                      <a:pPr marL="171450" indent="-171450">
                        <a:lnSpc>
                          <a:spcPct val="100000"/>
                        </a:lnSpc>
                        <a:spcBef>
                          <a:spcPts val="0"/>
                        </a:spcBef>
                        <a:buClr>
                          <a:schemeClr val="accent5"/>
                        </a:buClr>
                        <a:buSzPct val="75000"/>
                        <a:buFont typeface="Arial" panose="020B0604020202020204" pitchFamily="34" charset="0"/>
                        <a:buChar char="•"/>
                      </a:pPr>
                      <a:r>
                        <a:rPr lang="en-US" sz="1000" baseline="0" dirty="0">
                          <a:solidFill>
                            <a:schemeClr val="tx1"/>
                          </a:solidFill>
                          <a:latin typeface="+mn-lt"/>
                          <a:cs typeface="Arial" panose="020B0604020202020204" pitchFamily="34" charset="0"/>
                        </a:rPr>
                        <a:t>Close gaps with research</a:t>
                      </a:r>
                    </a:p>
                    <a:p>
                      <a:pPr marL="171450" indent="-171450">
                        <a:lnSpc>
                          <a:spcPct val="100000"/>
                        </a:lnSpc>
                        <a:spcBef>
                          <a:spcPts val="0"/>
                        </a:spcBef>
                        <a:buClr>
                          <a:schemeClr val="accent5"/>
                        </a:buClr>
                        <a:buSzPct val="75000"/>
                        <a:buFont typeface="Arial" panose="020B0604020202020204" pitchFamily="34" charset="0"/>
                        <a:buChar char="•"/>
                      </a:pPr>
                      <a:r>
                        <a:rPr lang="en-US" sz="1000" baseline="0" dirty="0">
                          <a:solidFill>
                            <a:schemeClr val="tx1"/>
                          </a:solidFill>
                          <a:latin typeface="+mn-lt"/>
                          <a:cs typeface="Arial" panose="020B0604020202020204" pitchFamily="34" charset="0"/>
                        </a:rPr>
                        <a:t>Issue pre-reading materials </a:t>
                      </a:r>
                      <a:endParaRPr lang="en-US" sz="1000" dirty="0">
                        <a:solidFill>
                          <a:schemeClr val="tx1"/>
                        </a:solidFill>
                        <a:latin typeface="+mn-lt"/>
                        <a:cs typeface="Arial" panose="020B0604020202020204" pitchFamily="34" charset="0"/>
                      </a:endParaRPr>
                    </a:p>
                  </a:txBody>
                  <a:tcPr marL="42277" marR="0" marT="42277" marB="42277" anchor="ctr">
                    <a:lnL w="6350" cap="flat" cmpd="sng" algn="ctr">
                      <a:no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432165">
                <a:tc>
                  <a:txBody>
                    <a:bodyPr/>
                    <a:lstStyle/>
                    <a:p>
                      <a:pPr marL="0" indent="0">
                        <a:lnSpc>
                          <a:spcPct val="100000"/>
                        </a:lnSpc>
                        <a:spcBef>
                          <a:spcPts val="300"/>
                        </a:spcBef>
                        <a:buClr>
                          <a:schemeClr val="accent5"/>
                        </a:buClr>
                        <a:buSzPct val="75000"/>
                        <a:buFont typeface="Arial" panose="020B0604020202020204" pitchFamily="34" charset="0"/>
                        <a:buNone/>
                      </a:pPr>
                      <a:r>
                        <a:rPr lang="en-US" sz="1000" b="1" dirty="0">
                          <a:solidFill>
                            <a:schemeClr val="tx1"/>
                          </a:solidFill>
                          <a:latin typeface="+mn-lt"/>
                          <a:cs typeface="Arial" panose="020B0604020202020204" pitchFamily="34" charset="0"/>
                        </a:rPr>
                        <a:t>Workshop Execution</a:t>
                      </a:r>
                      <a:r>
                        <a:rPr lang="en-US" sz="1000" b="1" baseline="0" dirty="0">
                          <a:solidFill>
                            <a:schemeClr val="tx1"/>
                          </a:solidFill>
                          <a:latin typeface="+mn-lt"/>
                          <a:cs typeface="Arial" panose="020B0604020202020204" pitchFamily="34" charset="0"/>
                        </a:rPr>
                        <a:t> (4-6 hours)</a:t>
                      </a:r>
                    </a:p>
                    <a:p>
                      <a:pPr marL="171450" indent="-171450">
                        <a:lnSpc>
                          <a:spcPct val="100000"/>
                        </a:lnSpc>
                        <a:spcBef>
                          <a:spcPts val="300"/>
                        </a:spcBef>
                        <a:buClr>
                          <a:schemeClr val="accent5"/>
                        </a:buClr>
                        <a:buSzPct val="75000"/>
                        <a:buFont typeface="Arial" panose="020B0604020202020204" pitchFamily="34" charset="0"/>
                        <a:buChar char="•"/>
                      </a:pPr>
                      <a:r>
                        <a:rPr lang="en-US" sz="1000" b="0" baseline="0" dirty="0">
                          <a:solidFill>
                            <a:schemeClr val="tx1"/>
                          </a:solidFill>
                          <a:latin typeface="+mn-lt"/>
                          <a:cs typeface="Arial" panose="020B0604020202020204" pitchFamily="34" charset="0"/>
                        </a:rPr>
                        <a:t>Feedback Debrief Meeting</a:t>
                      </a:r>
                      <a:endParaRPr lang="en-US" sz="1000" b="0" dirty="0">
                        <a:solidFill>
                          <a:schemeClr val="tx1"/>
                        </a:solidFill>
                        <a:latin typeface="+mn-lt"/>
                        <a:cs typeface="Arial" panose="020B0604020202020204" pitchFamily="34" charset="0"/>
                      </a:endParaRPr>
                    </a:p>
                  </a:txBody>
                  <a:tcPr marL="42277" marR="0" marT="42277" marB="42277" anchor="ctr">
                    <a:lnL w="6350" cap="flat" cmpd="sng" algn="ctr">
                      <a:no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r h="704616">
                <a:tc>
                  <a:txBody>
                    <a:bodyPr/>
                    <a:lstStyle/>
                    <a:p>
                      <a:pPr marL="0" indent="0">
                        <a:lnSpc>
                          <a:spcPct val="100000"/>
                        </a:lnSpc>
                        <a:spcBef>
                          <a:spcPts val="300"/>
                        </a:spcBef>
                        <a:buClr>
                          <a:schemeClr val="accent5"/>
                        </a:buClr>
                        <a:buSzPct val="75000"/>
                        <a:buFont typeface="Arial" panose="020B0604020202020204" pitchFamily="34" charset="0"/>
                        <a:buNone/>
                      </a:pPr>
                      <a:r>
                        <a:rPr lang="en-US" sz="1000" b="1" dirty="0">
                          <a:solidFill>
                            <a:schemeClr val="tx1"/>
                          </a:solidFill>
                          <a:latin typeface="+mn-lt"/>
                          <a:cs typeface="Arial" panose="020B0604020202020204" pitchFamily="34" charset="0"/>
                        </a:rPr>
                        <a:t>Post-work Generation</a:t>
                      </a:r>
                    </a:p>
                    <a:p>
                      <a:pPr marL="171450" indent="-171450">
                        <a:lnSpc>
                          <a:spcPct val="100000"/>
                        </a:lnSpc>
                        <a:spcBef>
                          <a:spcPts val="0"/>
                        </a:spcBef>
                        <a:buClr>
                          <a:schemeClr val="accent5"/>
                        </a:buClr>
                        <a:buSzPct val="75000"/>
                        <a:buFont typeface="Arial" panose="020B0604020202020204" pitchFamily="34" charset="0"/>
                        <a:buChar char="•"/>
                      </a:pPr>
                      <a:r>
                        <a:rPr lang="en-US" sz="1000" dirty="0">
                          <a:solidFill>
                            <a:schemeClr val="tx1"/>
                          </a:solidFill>
                          <a:latin typeface="+mn-lt"/>
                          <a:cs typeface="Arial" panose="020B0604020202020204" pitchFamily="34" charset="0"/>
                        </a:rPr>
                        <a:t>Creating any required deliverables  </a:t>
                      </a:r>
                    </a:p>
                    <a:p>
                      <a:pPr marL="171450" indent="-171450">
                        <a:lnSpc>
                          <a:spcPct val="100000"/>
                        </a:lnSpc>
                        <a:spcBef>
                          <a:spcPts val="0"/>
                        </a:spcBef>
                        <a:buClr>
                          <a:schemeClr val="accent5"/>
                        </a:buClr>
                        <a:buSzPct val="75000"/>
                        <a:buFont typeface="Arial" panose="020B0604020202020204" pitchFamily="34" charset="0"/>
                        <a:buChar char="•"/>
                      </a:pPr>
                      <a:r>
                        <a:rPr lang="en-US" sz="1000" dirty="0">
                          <a:solidFill>
                            <a:schemeClr val="tx1"/>
                          </a:solidFill>
                          <a:latin typeface="+mn-lt"/>
                          <a:cs typeface="Arial" panose="020B0604020202020204" pitchFamily="34" charset="0"/>
                        </a:rPr>
                        <a:t>Finalizing deliverables</a:t>
                      </a:r>
                    </a:p>
                    <a:p>
                      <a:pPr marL="171450" indent="-171450">
                        <a:lnSpc>
                          <a:spcPct val="100000"/>
                        </a:lnSpc>
                        <a:spcBef>
                          <a:spcPts val="0"/>
                        </a:spcBef>
                        <a:buClr>
                          <a:schemeClr val="accent5"/>
                        </a:buClr>
                        <a:buSzPct val="75000"/>
                        <a:buFont typeface="Arial" panose="020B0604020202020204" pitchFamily="34" charset="0"/>
                        <a:buChar char="•"/>
                      </a:pPr>
                      <a:r>
                        <a:rPr lang="en-US" sz="1000" baseline="0" dirty="0">
                          <a:solidFill>
                            <a:schemeClr val="tx1"/>
                          </a:solidFill>
                          <a:latin typeface="+mn-lt"/>
                          <a:cs typeface="Arial" panose="020B0604020202020204" pitchFamily="34" charset="0"/>
                        </a:rPr>
                        <a:t>Final review / feedback debrief</a:t>
                      </a:r>
                      <a:endParaRPr lang="en-US" sz="1000" dirty="0">
                        <a:solidFill>
                          <a:schemeClr val="tx1"/>
                        </a:solidFill>
                        <a:latin typeface="+mn-lt"/>
                        <a:cs typeface="Arial" panose="020B0604020202020204" pitchFamily="34" charset="0"/>
                      </a:endParaRPr>
                    </a:p>
                  </a:txBody>
                  <a:tcPr marL="42277" marR="0" marT="42277" marB="42277" anchor="ctr">
                    <a:lnL w="6350" cap="flat" cmpd="sng" algn="ctr">
                      <a:no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6350" cap="flat" cmpd="sng" algn="ctr">
                      <a:solidFill>
                        <a:schemeClr val="accent3"/>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nSpc>
                          <a:spcPct val="100000"/>
                        </a:lnSpc>
                        <a:spcBef>
                          <a:spcPts val="300"/>
                        </a:spcBef>
                        <a:buClr>
                          <a:schemeClr val="accent5"/>
                        </a:buClr>
                        <a:buSzPct val="75000"/>
                      </a:pPr>
                      <a:endParaRPr lang="en-US" sz="1000" dirty="0">
                        <a:solidFill>
                          <a:schemeClr val="tx1"/>
                        </a:solidFill>
                        <a:latin typeface="+mn-lt"/>
                        <a:cs typeface="Arial" panose="020B0604020202020204" pitchFamily="34" charset="0"/>
                      </a:endParaRPr>
                    </a:p>
                  </a:txBody>
                  <a:tcPr marL="84554" marR="84554" marT="84554" marB="84554"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accent3"/>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sp>
        <p:nvSpPr>
          <p:cNvPr id="6" name="Rectangle 5">
            <a:extLst>
              <a:ext uri="{FF2B5EF4-FFF2-40B4-BE49-F238E27FC236}">
                <a16:creationId xmlns:a16="http://schemas.microsoft.com/office/drawing/2014/main" id="{0ED660B2-601F-4627-B552-97984AD26117}"/>
              </a:ext>
            </a:extLst>
          </p:cNvPr>
          <p:cNvSpPr/>
          <p:nvPr/>
        </p:nvSpPr>
        <p:spPr bwMode="gray">
          <a:xfrm>
            <a:off x="3768630" y="1942795"/>
            <a:ext cx="524280" cy="9754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7" name="Oval 6">
            <a:extLst>
              <a:ext uri="{FF2B5EF4-FFF2-40B4-BE49-F238E27FC236}">
                <a16:creationId xmlns:a16="http://schemas.microsoft.com/office/drawing/2014/main" id="{0263A4B1-30C8-49AB-A15C-1A246D92F3E3}"/>
              </a:ext>
            </a:extLst>
          </p:cNvPr>
          <p:cNvSpPr/>
          <p:nvPr/>
        </p:nvSpPr>
        <p:spPr bwMode="gray">
          <a:xfrm>
            <a:off x="7686230" y="4790845"/>
            <a:ext cx="83222" cy="8322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8" name="Oval 7">
            <a:extLst>
              <a:ext uri="{FF2B5EF4-FFF2-40B4-BE49-F238E27FC236}">
                <a16:creationId xmlns:a16="http://schemas.microsoft.com/office/drawing/2014/main" id="{B929BF33-F881-4C87-B072-F2F4F362C43F}"/>
              </a:ext>
            </a:extLst>
          </p:cNvPr>
          <p:cNvSpPr/>
          <p:nvPr/>
        </p:nvSpPr>
        <p:spPr bwMode="gray">
          <a:xfrm>
            <a:off x="11318872" y="6622781"/>
            <a:ext cx="83222" cy="8322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9" name="Oval 8">
            <a:extLst>
              <a:ext uri="{FF2B5EF4-FFF2-40B4-BE49-F238E27FC236}">
                <a16:creationId xmlns:a16="http://schemas.microsoft.com/office/drawing/2014/main" id="{EEF13E44-4A29-495B-8FB3-63B7F41EFD58}"/>
              </a:ext>
            </a:extLst>
          </p:cNvPr>
          <p:cNvSpPr/>
          <p:nvPr/>
        </p:nvSpPr>
        <p:spPr bwMode="gray">
          <a:xfrm>
            <a:off x="10147771" y="1488586"/>
            <a:ext cx="83222" cy="8322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10" name="Rectangle 9">
            <a:extLst>
              <a:ext uri="{FF2B5EF4-FFF2-40B4-BE49-F238E27FC236}">
                <a16:creationId xmlns:a16="http://schemas.microsoft.com/office/drawing/2014/main" id="{9C4C3E90-A248-4883-BE19-FB1A6D8788C3}"/>
              </a:ext>
            </a:extLst>
          </p:cNvPr>
          <p:cNvSpPr/>
          <p:nvPr/>
        </p:nvSpPr>
        <p:spPr bwMode="gray">
          <a:xfrm>
            <a:off x="10278265" y="1462612"/>
            <a:ext cx="851897" cy="169277"/>
          </a:xfrm>
          <a:prstGeom prst="rect">
            <a:avLst/>
          </a:prstGeom>
          <a:noFill/>
        </p:spPr>
        <p:txBody>
          <a:bodyPr wrap="square" lIns="0" tIns="0" rIns="0" bIns="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Arial" panose="020B0604020202020204" pitchFamily="34" charset="0"/>
              </a:rPr>
              <a:t>Milestone</a:t>
            </a:r>
          </a:p>
        </p:txBody>
      </p:sp>
      <p:sp>
        <p:nvSpPr>
          <p:cNvPr id="11" name="Oval 10">
            <a:extLst>
              <a:ext uri="{FF2B5EF4-FFF2-40B4-BE49-F238E27FC236}">
                <a16:creationId xmlns:a16="http://schemas.microsoft.com/office/drawing/2014/main" id="{CE7D6E46-B169-4894-9533-3B7FC05B778F}"/>
              </a:ext>
            </a:extLst>
          </p:cNvPr>
          <p:cNvSpPr/>
          <p:nvPr/>
        </p:nvSpPr>
        <p:spPr bwMode="gray">
          <a:xfrm>
            <a:off x="9386272" y="5816534"/>
            <a:ext cx="83222" cy="8322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12" name="Oval 11">
            <a:extLst>
              <a:ext uri="{FF2B5EF4-FFF2-40B4-BE49-F238E27FC236}">
                <a16:creationId xmlns:a16="http://schemas.microsoft.com/office/drawing/2014/main" id="{6641B9C2-138F-4268-A0E1-C18EA4B14029}"/>
              </a:ext>
            </a:extLst>
          </p:cNvPr>
          <p:cNvSpPr/>
          <p:nvPr/>
        </p:nvSpPr>
        <p:spPr bwMode="gray">
          <a:xfrm>
            <a:off x="4233882" y="2432764"/>
            <a:ext cx="83222" cy="8322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13" name="5-Point Star 23">
            <a:extLst>
              <a:ext uri="{FF2B5EF4-FFF2-40B4-BE49-F238E27FC236}">
                <a16:creationId xmlns:a16="http://schemas.microsoft.com/office/drawing/2014/main" id="{B59B328A-E14D-4400-801F-AA7448181BC6}"/>
              </a:ext>
            </a:extLst>
          </p:cNvPr>
          <p:cNvSpPr/>
          <p:nvPr/>
        </p:nvSpPr>
        <p:spPr>
          <a:xfrm>
            <a:off x="9111349" y="5566981"/>
            <a:ext cx="220182" cy="223076"/>
          </a:xfrm>
          <a:prstGeom prst="star5">
            <a:avLst/>
          </a:prstGeom>
          <a:solidFill>
            <a:schemeClr val="accent6"/>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white"/>
              </a:solidFill>
              <a:effectLst/>
              <a:uLnTx/>
              <a:uFillTx/>
              <a:ea typeface="+mn-ea"/>
              <a:cs typeface="+mn-cs"/>
            </a:endParaRPr>
          </a:p>
        </p:txBody>
      </p:sp>
      <p:sp>
        <p:nvSpPr>
          <p:cNvPr id="14" name="5-Point Star 24">
            <a:extLst>
              <a:ext uri="{FF2B5EF4-FFF2-40B4-BE49-F238E27FC236}">
                <a16:creationId xmlns:a16="http://schemas.microsoft.com/office/drawing/2014/main" id="{70A34D00-33CC-4008-8086-3AA27E3960AE}"/>
              </a:ext>
            </a:extLst>
          </p:cNvPr>
          <p:cNvSpPr/>
          <p:nvPr/>
        </p:nvSpPr>
        <p:spPr>
          <a:xfrm>
            <a:off x="9135915" y="1394661"/>
            <a:ext cx="220182" cy="223076"/>
          </a:xfrm>
          <a:prstGeom prst="star5">
            <a:avLst/>
          </a:prstGeom>
          <a:solidFill>
            <a:schemeClr val="accent6"/>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white"/>
              </a:solidFill>
              <a:effectLst/>
              <a:uLnTx/>
              <a:uFillTx/>
              <a:ea typeface="+mn-ea"/>
              <a:cs typeface="+mn-cs"/>
            </a:endParaRPr>
          </a:p>
        </p:txBody>
      </p:sp>
      <p:sp>
        <p:nvSpPr>
          <p:cNvPr id="15" name="Rectangle 14">
            <a:extLst>
              <a:ext uri="{FF2B5EF4-FFF2-40B4-BE49-F238E27FC236}">
                <a16:creationId xmlns:a16="http://schemas.microsoft.com/office/drawing/2014/main" id="{092D29A0-C77D-408E-94B3-C7E986C43727}"/>
              </a:ext>
            </a:extLst>
          </p:cNvPr>
          <p:cNvSpPr/>
          <p:nvPr/>
        </p:nvSpPr>
        <p:spPr bwMode="gray">
          <a:xfrm>
            <a:off x="9447568" y="1453188"/>
            <a:ext cx="851897" cy="169277"/>
          </a:xfrm>
          <a:prstGeom prst="rect">
            <a:avLst/>
          </a:prstGeom>
          <a:noFill/>
        </p:spPr>
        <p:txBody>
          <a:bodyPr wrap="square" lIns="0" tIns="0" rIns="0" bIns="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Arial" panose="020B0604020202020204" pitchFamily="34" charset="0"/>
              </a:rPr>
              <a:t>Workshop</a:t>
            </a:r>
          </a:p>
        </p:txBody>
      </p:sp>
      <p:sp>
        <p:nvSpPr>
          <p:cNvPr id="16" name="Rectangle 15">
            <a:extLst>
              <a:ext uri="{FF2B5EF4-FFF2-40B4-BE49-F238E27FC236}">
                <a16:creationId xmlns:a16="http://schemas.microsoft.com/office/drawing/2014/main" id="{3E755C5F-3534-44D1-A986-A28703B1EA5F}"/>
              </a:ext>
            </a:extLst>
          </p:cNvPr>
          <p:cNvSpPr/>
          <p:nvPr/>
        </p:nvSpPr>
        <p:spPr bwMode="gray">
          <a:xfrm>
            <a:off x="11480313" y="6465538"/>
            <a:ext cx="545247" cy="338554"/>
          </a:xfrm>
          <a:prstGeom prst="rect">
            <a:avLst/>
          </a:prstGeom>
          <a:noFill/>
        </p:spPr>
        <p:txBody>
          <a:bodyPr wrap="square" lIns="0" tIns="0" rIns="0" bIns="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Arial" panose="020B0604020202020204" pitchFamily="34" charset="0"/>
              </a:rPr>
              <a:t>Final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Arial" panose="020B0604020202020204" pitchFamily="34" charset="0"/>
              </a:rPr>
              <a:t>Debrief</a:t>
            </a:r>
          </a:p>
        </p:txBody>
      </p:sp>
      <p:sp>
        <p:nvSpPr>
          <p:cNvPr id="17" name="Rectangle 16">
            <a:extLst>
              <a:ext uri="{FF2B5EF4-FFF2-40B4-BE49-F238E27FC236}">
                <a16:creationId xmlns:a16="http://schemas.microsoft.com/office/drawing/2014/main" id="{1F087448-7E3F-4C3A-9F13-9138C601FC9E}"/>
              </a:ext>
            </a:extLst>
          </p:cNvPr>
          <p:cNvSpPr/>
          <p:nvPr/>
        </p:nvSpPr>
        <p:spPr bwMode="gray">
          <a:xfrm>
            <a:off x="9464289" y="5377396"/>
            <a:ext cx="1076879" cy="338554"/>
          </a:xfrm>
          <a:prstGeom prst="rect">
            <a:avLst/>
          </a:prstGeom>
          <a:noFill/>
        </p:spPr>
        <p:txBody>
          <a:bodyPr wrap="square" lIns="0" tIns="0" rIns="0" bIns="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Arial" panose="020B0604020202020204" pitchFamily="34" charset="0"/>
              </a:rPr>
              <a:t>Workshop &amp;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Arial" panose="020B0604020202020204" pitchFamily="34" charset="0"/>
              </a:rPr>
              <a:t>Debrief</a:t>
            </a:r>
          </a:p>
        </p:txBody>
      </p:sp>
      <p:sp>
        <p:nvSpPr>
          <p:cNvPr id="18" name="Rectangle 17">
            <a:extLst>
              <a:ext uri="{FF2B5EF4-FFF2-40B4-BE49-F238E27FC236}">
                <a16:creationId xmlns:a16="http://schemas.microsoft.com/office/drawing/2014/main" id="{3C9355EE-B709-4E93-840E-6E2CF456EA1C}"/>
              </a:ext>
            </a:extLst>
          </p:cNvPr>
          <p:cNvSpPr/>
          <p:nvPr/>
        </p:nvSpPr>
        <p:spPr bwMode="gray">
          <a:xfrm>
            <a:off x="7071897" y="4886502"/>
            <a:ext cx="662682" cy="338554"/>
          </a:xfrm>
          <a:prstGeom prst="rect">
            <a:avLst/>
          </a:prstGeom>
          <a:noFill/>
        </p:spPr>
        <p:txBody>
          <a:bodyPr wrap="square" lIns="0" tIns="0" rIns="0" bIns="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Arial" panose="020B0604020202020204" pitchFamily="34" charset="0"/>
              </a:rPr>
              <a:t>Agenda Set</a:t>
            </a:r>
          </a:p>
        </p:txBody>
      </p:sp>
      <p:sp>
        <p:nvSpPr>
          <p:cNvPr id="19" name="Rectangle 18">
            <a:extLst>
              <a:ext uri="{FF2B5EF4-FFF2-40B4-BE49-F238E27FC236}">
                <a16:creationId xmlns:a16="http://schemas.microsoft.com/office/drawing/2014/main" id="{CF4CFBD8-E908-4D6C-9D14-01C354BD29B0}"/>
              </a:ext>
            </a:extLst>
          </p:cNvPr>
          <p:cNvSpPr/>
          <p:nvPr/>
        </p:nvSpPr>
        <p:spPr bwMode="gray">
          <a:xfrm>
            <a:off x="4517776" y="2144130"/>
            <a:ext cx="851897" cy="507831"/>
          </a:xfrm>
          <a:prstGeom prst="rect">
            <a:avLst/>
          </a:prstGeom>
          <a:noFill/>
        </p:spPr>
        <p:txBody>
          <a:bodyPr wrap="square" lIns="0" tIns="0" rIns="0" bIns="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Arial" panose="020B0604020202020204" pitchFamily="34" charset="0"/>
              </a:rPr>
              <a:t>Workshop Date Confirmed</a:t>
            </a:r>
          </a:p>
        </p:txBody>
      </p:sp>
      <p:sp>
        <p:nvSpPr>
          <p:cNvPr id="20" name="Oval 19">
            <a:extLst>
              <a:ext uri="{FF2B5EF4-FFF2-40B4-BE49-F238E27FC236}">
                <a16:creationId xmlns:a16="http://schemas.microsoft.com/office/drawing/2014/main" id="{ACAFC5A4-E806-435D-B7F9-AB043D1BD66B}"/>
              </a:ext>
            </a:extLst>
          </p:cNvPr>
          <p:cNvSpPr/>
          <p:nvPr/>
        </p:nvSpPr>
        <p:spPr bwMode="gray">
          <a:xfrm>
            <a:off x="5307594" y="3939924"/>
            <a:ext cx="83222" cy="832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21" name="Oval 20">
            <a:extLst>
              <a:ext uri="{FF2B5EF4-FFF2-40B4-BE49-F238E27FC236}">
                <a16:creationId xmlns:a16="http://schemas.microsoft.com/office/drawing/2014/main" id="{A34FE9FD-9D21-4D32-9050-CC1C517844E4}"/>
              </a:ext>
            </a:extLst>
          </p:cNvPr>
          <p:cNvSpPr/>
          <p:nvPr/>
        </p:nvSpPr>
        <p:spPr bwMode="gray">
          <a:xfrm>
            <a:off x="5788132" y="3939924"/>
            <a:ext cx="83222" cy="832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22" name="Oval 21">
            <a:extLst>
              <a:ext uri="{FF2B5EF4-FFF2-40B4-BE49-F238E27FC236}">
                <a16:creationId xmlns:a16="http://schemas.microsoft.com/office/drawing/2014/main" id="{A31E4D4B-A9B3-4F1C-AA75-813677FE95A5}"/>
              </a:ext>
            </a:extLst>
          </p:cNvPr>
          <p:cNvSpPr/>
          <p:nvPr/>
        </p:nvSpPr>
        <p:spPr bwMode="gray">
          <a:xfrm>
            <a:off x="6268670" y="3939924"/>
            <a:ext cx="83222" cy="832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23" name="Oval 22">
            <a:extLst>
              <a:ext uri="{FF2B5EF4-FFF2-40B4-BE49-F238E27FC236}">
                <a16:creationId xmlns:a16="http://schemas.microsoft.com/office/drawing/2014/main" id="{2B8758A9-FAB8-43A5-AFF8-FCD0249B4C88}"/>
              </a:ext>
            </a:extLst>
          </p:cNvPr>
          <p:cNvSpPr/>
          <p:nvPr/>
        </p:nvSpPr>
        <p:spPr bwMode="gray">
          <a:xfrm>
            <a:off x="6749208" y="3939924"/>
            <a:ext cx="83222" cy="832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24" name="Oval 23">
            <a:extLst>
              <a:ext uri="{FF2B5EF4-FFF2-40B4-BE49-F238E27FC236}">
                <a16:creationId xmlns:a16="http://schemas.microsoft.com/office/drawing/2014/main" id="{D231E93C-DE45-4684-B7BD-4226A85E9FEB}"/>
              </a:ext>
            </a:extLst>
          </p:cNvPr>
          <p:cNvSpPr/>
          <p:nvPr/>
        </p:nvSpPr>
        <p:spPr bwMode="gray">
          <a:xfrm>
            <a:off x="7710283" y="3939924"/>
            <a:ext cx="83222" cy="832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1" i="0" u="none" strike="noStrike" kern="1200" cap="none" spc="0" normalizeH="0" baseline="0" noProof="0" dirty="0">
              <a:ln>
                <a:noFill/>
              </a:ln>
              <a:solidFill>
                <a:prstClr val="white"/>
              </a:solidFill>
              <a:effectLst/>
              <a:uLnTx/>
              <a:uFillTx/>
              <a:ea typeface="+mn-ea"/>
              <a:cs typeface="+mn-cs"/>
            </a:endParaRPr>
          </a:p>
        </p:txBody>
      </p:sp>
      <p:sp>
        <p:nvSpPr>
          <p:cNvPr id="25" name="Oval 24">
            <a:extLst>
              <a:ext uri="{FF2B5EF4-FFF2-40B4-BE49-F238E27FC236}">
                <a16:creationId xmlns:a16="http://schemas.microsoft.com/office/drawing/2014/main" id="{E355C72A-4C83-4E40-9184-4F763483A484}"/>
              </a:ext>
            </a:extLst>
          </p:cNvPr>
          <p:cNvSpPr/>
          <p:nvPr/>
        </p:nvSpPr>
        <p:spPr bwMode="gray">
          <a:xfrm>
            <a:off x="7229746" y="3939924"/>
            <a:ext cx="83222" cy="832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26" name="Oval 25">
            <a:extLst>
              <a:ext uri="{FF2B5EF4-FFF2-40B4-BE49-F238E27FC236}">
                <a16:creationId xmlns:a16="http://schemas.microsoft.com/office/drawing/2014/main" id="{B6739B46-D062-4EE5-954B-7DDE5A0B1DF6}"/>
              </a:ext>
            </a:extLst>
          </p:cNvPr>
          <p:cNvSpPr/>
          <p:nvPr/>
        </p:nvSpPr>
        <p:spPr bwMode="gray">
          <a:xfrm>
            <a:off x="10901133" y="1488586"/>
            <a:ext cx="83222" cy="83222"/>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27" name="Rectangle 26">
            <a:extLst>
              <a:ext uri="{FF2B5EF4-FFF2-40B4-BE49-F238E27FC236}">
                <a16:creationId xmlns:a16="http://schemas.microsoft.com/office/drawing/2014/main" id="{BB0460DB-CA44-41FB-80C3-8919E7C0420A}"/>
              </a:ext>
            </a:extLst>
          </p:cNvPr>
          <p:cNvSpPr/>
          <p:nvPr/>
        </p:nvSpPr>
        <p:spPr bwMode="gray">
          <a:xfrm>
            <a:off x="11015295" y="1456732"/>
            <a:ext cx="851897" cy="169277"/>
          </a:xfrm>
          <a:prstGeom prst="rect">
            <a:avLst/>
          </a:prstGeom>
          <a:noFill/>
        </p:spPr>
        <p:txBody>
          <a:bodyPr wrap="square" lIns="0" tIns="0" rIns="0" bIns="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Arial" panose="020B0604020202020204" pitchFamily="34" charset="0"/>
              </a:rPr>
              <a:t>Checkpoint</a:t>
            </a:r>
          </a:p>
        </p:txBody>
      </p:sp>
      <p:sp>
        <p:nvSpPr>
          <p:cNvPr id="28" name="Oval 27">
            <a:extLst>
              <a:ext uri="{FF2B5EF4-FFF2-40B4-BE49-F238E27FC236}">
                <a16:creationId xmlns:a16="http://schemas.microsoft.com/office/drawing/2014/main" id="{FD1E85BF-DDE2-44F1-855E-04ECA8B03EE5}"/>
              </a:ext>
            </a:extLst>
          </p:cNvPr>
          <p:cNvSpPr/>
          <p:nvPr/>
        </p:nvSpPr>
        <p:spPr bwMode="gray">
          <a:xfrm>
            <a:off x="10164343" y="6115088"/>
            <a:ext cx="83222" cy="832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29" name="Oval 28">
            <a:extLst>
              <a:ext uri="{FF2B5EF4-FFF2-40B4-BE49-F238E27FC236}">
                <a16:creationId xmlns:a16="http://schemas.microsoft.com/office/drawing/2014/main" id="{F262DEE3-B4AA-47D1-AFE2-84F3CE600E38}"/>
              </a:ext>
            </a:extLst>
          </p:cNvPr>
          <p:cNvSpPr/>
          <p:nvPr/>
        </p:nvSpPr>
        <p:spPr bwMode="gray">
          <a:xfrm>
            <a:off x="9314771" y="6115088"/>
            <a:ext cx="83222" cy="832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30" name="Oval 29">
            <a:extLst>
              <a:ext uri="{FF2B5EF4-FFF2-40B4-BE49-F238E27FC236}">
                <a16:creationId xmlns:a16="http://schemas.microsoft.com/office/drawing/2014/main" id="{F3E04DB5-DFAA-4A2B-81CD-FBAFB9331948}"/>
              </a:ext>
            </a:extLst>
          </p:cNvPr>
          <p:cNvSpPr/>
          <p:nvPr/>
        </p:nvSpPr>
        <p:spPr bwMode="gray">
          <a:xfrm>
            <a:off x="9739558" y="6115088"/>
            <a:ext cx="83222" cy="832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31" name="Oval 30">
            <a:extLst>
              <a:ext uri="{FF2B5EF4-FFF2-40B4-BE49-F238E27FC236}">
                <a16:creationId xmlns:a16="http://schemas.microsoft.com/office/drawing/2014/main" id="{33514DC9-6773-451C-B158-6E62DF0E9ADD}"/>
              </a:ext>
            </a:extLst>
          </p:cNvPr>
          <p:cNvSpPr/>
          <p:nvPr/>
        </p:nvSpPr>
        <p:spPr bwMode="gray">
          <a:xfrm>
            <a:off x="10589130" y="6115088"/>
            <a:ext cx="83222" cy="832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32" name="Oval 31">
            <a:extLst>
              <a:ext uri="{FF2B5EF4-FFF2-40B4-BE49-F238E27FC236}">
                <a16:creationId xmlns:a16="http://schemas.microsoft.com/office/drawing/2014/main" id="{BA205CE8-B4E6-4B6A-93F1-8946E232ABAD}"/>
              </a:ext>
            </a:extLst>
          </p:cNvPr>
          <p:cNvSpPr/>
          <p:nvPr/>
        </p:nvSpPr>
        <p:spPr bwMode="gray">
          <a:xfrm>
            <a:off x="11438702" y="6115088"/>
            <a:ext cx="83222" cy="832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1" i="0" u="none" strike="noStrike" kern="1200" cap="none" spc="0" normalizeH="0" baseline="0" noProof="0" dirty="0">
              <a:ln>
                <a:noFill/>
              </a:ln>
              <a:solidFill>
                <a:prstClr val="white"/>
              </a:solidFill>
              <a:effectLst/>
              <a:uLnTx/>
              <a:uFillTx/>
              <a:ea typeface="+mn-ea"/>
              <a:cs typeface="+mn-cs"/>
            </a:endParaRPr>
          </a:p>
        </p:txBody>
      </p:sp>
      <p:sp>
        <p:nvSpPr>
          <p:cNvPr id="33" name="Oval 32">
            <a:extLst>
              <a:ext uri="{FF2B5EF4-FFF2-40B4-BE49-F238E27FC236}">
                <a16:creationId xmlns:a16="http://schemas.microsoft.com/office/drawing/2014/main" id="{8866E32C-5AB3-441B-8968-8F57A1FFE3E0}"/>
              </a:ext>
            </a:extLst>
          </p:cNvPr>
          <p:cNvSpPr/>
          <p:nvPr/>
        </p:nvSpPr>
        <p:spPr bwMode="gray">
          <a:xfrm>
            <a:off x="11013915" y="6115088"/>
            <a:ext cx="83222" cy="832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34" name="Rectangle 33">
            <a:extLst>
              <a:ext uri="{FF2B5EF4-FFF2-40B4-BE49-F238E27FC236}">
                <a16:creationId xmlns:a16="http://schemas.microsoft.com/office/drawing/2014/main" id="{09C4EBF4-E0B1-4A37-B1C3-F19815E8CF6D}"/>
              </a:ext>
            </a:extLst>
          </p:cNvPr>
          <p:cNvSpPr/>
          <p:nvPr/>
        </p:nvSpPr>
        <p:spPr bwMode="gray">
          <a:xfrm>
            <a:off x="5666354" y="3593397"/>
            <a:ext cx="1445376" cy="169277"/>
          </a:xfrm>
          <a:prstGeom prst="rect">
            <a:avLst/>
          </a:prstGeom>
          <a:noFill/>
        </p:spPr>
        <p:txBody>
          <a:bodyPr wrap="square" lIns="0" tIns="0" rIns="0" bIns="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Arial" panose="020B0604020202020204" pitchFamily="34" charset="0"/>
              </a:rPr>
              <a:t>5-6 Checkpoints</a:t>
            </a:r>
          </a:p>
        </p:txBody>
      </p:sp>
      <p:cxnSp>
        <p:nvCxnSpPr>
          <p:cNvPr id="35" name="Straight Connector 34">
            <a:extLst>
              <a:ext uri="{FF2B5EF4-FFF2-40B4-BE49-F238E27FC236}">
                <a16:creationId xmlns:a16="http://schemas.microsoft.com/office/drawing/2014/main" id="{BE7E2F36-E912-40E0-A218-297452927AF0}"/>
              </a:ext>
            </a:extLst>
          </p:cNvPr>
          <p:cNvCxnSpPr/>
          <p:nvPr/>
        </p:nvCxnSpPr>
        <p:spPr>
          <a:xfrm flipV="1">
            <a:off x="4295067" y="2382292"/>
            <a:ext cx="223021" cy="39279"/>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27D231E-E164-4B7A-933D-9AEDA254F6E4}"/>
              </a:ext>
            </a:extLst>
          </p:cNvPr>
          <p:cNvCxnSpPr>
            <a:endCxn id="7" idx="1"/>
          </p:cNvCxnSpPr>
          <p:nvPr/>
        </p:nvCxnSpPr>
        <p:spPr>
          <a:xfrm flipV="1">
            <a:off x="7515399" y="4803033"/>
            <a:ext cx="183019" cy="37993"/>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F1AC881C-6784-4540-B8B9-57F71DDCFA87}"/>
              </a:ext>
            </a:extLst>
          </p:cNvPr>
          <p:cNvCxnSpPr/>
          <p:nvPr/>
        </p:nvCxnSpPr>
        <p:spPr>
          <a:xfrm flipV="1">
            <a:off x="9323873" y="5595001"/>
            <a:ext cx="105278" cy="10825"/>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9" name="Left Brace 38">
            <a:extLst>
              <a:ext uri="{FF2B5EF4-FFF2-40B4-BE49-F238E27FC236}">
                <a16:creationId xmlns:a16="http://schemas.microsoft.com/office/drawing/2014/main" id="{110C3A9E-780A-428B-8ABC-3BC85F3EBACC}"/>
              </a:ext>
            </a:extLst>
          </p:cNvPr>
          <p:cNvSpPr/>
          <p:nvPr/>
        </p:nvSpPr>
        <p:spPr>
          <a:xfrm rot="5400000">
            <a:off x="10238745" y="5017000"/>
            <a:ext cx="176627" cy="2024578"/>
          </a:xfrm>
          <a:prstGeom prst="leftBrace">
            <a:avLst>
              <a:gd name="adj1" fmla="val 8333"/>
              <a:gd name="adj2" fmla="val 23321"/>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5C5C5C"/>
              </a:solidFill>
              <a:effectLst/>
              <a:uLnTx/>
              <a:uFillTx/>
              <a:ea typeface="+mn-ea"/>
              <a:cs typeface="+mn-cs"/>
            </a:endParaRPr>
          </a:p>
        </p:txBody>
      </p:sp>
      <p:sp>
        <p:nvSpPr>
          <p:cNvPr id="40" name="Rectangle 39">
            <a:extLst>
              <a:ext uri="{FF2B5EF4-FFF2-40B4-BE49-F238E27FC236}">
                <a16:creationId xmlns:a16="http://schemas.microsoft.com/office/drawing/2014/main" id="{54EB64A9-24FE-4E11-97DD-3807FECB5DD0}"/>
              </a:ext>
            </a:extLst>
          </p:cNvPr>
          <p:cNvSpPr/>
          <p:nvPr/>
        </p:nvSpPr>
        <p:spPr bwMode="gray">
          <a:xfrm>
            <a:off x="10580184" y="5678583"/>
            <a:ext cx="1445376" cy="169277"/>
          </a:xfrm>
          <a:prstGeom prst="rect">
            <a:avLst/>
          </a:prstGeom>
          <a:noFill/>
        </p:spPr>
        <p:txBody>
          <a:bodyPr wrap="square" lIns="0" tIns="0" rIns="0" bIns="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Arial" panose="020B0604020202020204" pitchFamily="34" charset="0"/>
              </a:rPr>
              <a:t>5-6 Checkpoints</a:t>
            </a:r>
          </a:p>
        </p:txBody>
      </p:sp>
      <p:sp>
        <p:nvSpPr>
          <p:cNvPr id="41" name="Left Brace 40">
            <a:extLst>
              <a:ext uri="{FF2B5EF4-FFF2-40B4-BE49-F238E27FC236}">
                <a16:creationId xmlns:a16="http://schemas.microsoft.com/office/drawing/2014/main" id="{E6771E70-3289-4292-A4FC-3F82ABA3AEA7}"/>
              </a:ext>
            </a:extLst>
          </p:cNvPr>
          <p:cNvSpPr/>
          <p:nvPr/>
        </p:nvSpPr>
        <p:spPr>
          <a:xfrm rot="5400000">
            <a:off x="6490133" y="2640377"/>
            <a:ext cx="118374" cy="2458330"/>
          </a:xfrm>
          <a:prstGeom prst="leftBrace">
            <a:avLst>
              <a:gd name="adj1" fmla="val 8333"/>
              <a:gd name="adj2" fmla="val 74366"/>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5C5C5C"/>
              </a:solidFill>
              <a:effectLst/>
              <a:uLnTx/>
              <a:uFillTx/>
              <a:ea typeface="+mn-ea"/>
              <a:cs typeface="+mn-cs"/>
            </a:endParaRPr>
          </a:p>
        </p:txBody>
      </p:sp>
      <p:sp>
        <p:nvSpPr>
          <p:cNvPr id="42" name="Oval 41">
            <a:extLst>
              <a:ext uri="{FF2B5EF4-FFF2-40B4-BE49-F238E27FC236}">
                <a16:creationId xmlns:a16="http://schemas.microsoft.com/office/drawing/2014/main" id="{FB7E3803-3BE5-4DDB-B7A4-690BA3C05A33}"/>
              </a:ext>
            </a:extLst>
          </p:cNvPr>
          <p:cNvSpPr/>
          <p:nvPr/>
        </p:nvSpPr>
        <p:spPr bwMode="gray">
          <a:xfrm>
            <a:off x="8038754" y="4824010"/>
            <a:ext cx="83222" cy="832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43" name="Oval 42">
            <a:extLst>
              <a:ext uri="{FF2B5EF4-FFF2-40B4-BE49-F238E27FC236}">
                <a16:creationId xmlns:a16="http://schemas.microsoft.com/office/drawing/2014/main" id="{F26E5071-638E-42B1-A809-6A4C7227CBE9}"/>
              </a:ext>
            </a:extLst>
          </p:cNvPr>
          <p:cNvSpPr/>
          <p:nvPr/>
        </p:nvSpPr>
        <p:spPr bwMode="gray">
          <a:xfrm>
            <a:off x="8950111" y="4824010"/>
            <a:ext cx="83222" cy="832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1" i="0" u="none" strike="noStrike" kern="1200" cap="none" spc="0" normalizeH="0" baseline="0" noProof="0" dirty="0">
              <a:ln>
                <a:noFill/>
              </a:ln>
              <a:solidFill>
                <a:prstClr val="white"/>
              </a:solidFill>
              <a:effectLst/>
              <a:uLnTx/>
              <a:uFillTx/>
              <a:ea typeface="+mn-ea"/>
              <a:cs typeface="+mn-cs"/>
            </a:endParaRPr>
          </a:p>
        </p:txBody>
      </p:sp>
      <p:sp>
        <p:nvSpPr>
          <p:cNvPr id="44" name="Oval 43">
            <a:extLst>
              <a:ext uri="{FF2B5EF4-FFF2-40B4-BE49-F238E27FC236}">
                <a16:creationId xmlns:a16="http://schemas.microsoft.com/office/drawing/2014/main" id="{2EC158EE-54A2-49E8-A2E8-EECC483FE6B3}"/>
              </a:ext>
            </a:extLst>
          </p:cNvPr>
          <p:cNvSpPr/>
          <p:nvPr/>
        </p:nvSpPr>
        <p:spPr bwMode="gray">
          <a:xfrm>
            <a:off x="8525326" y="4824010"/>
            <a:ext cx="83222" cy="832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45" name="Left Brace 44">
            <a:extLst>
              <a:ext uri="{FF2B5EF4-FFF2-40B4-BE49-F238E27FC236}">
                <a16:creationId xmlns:a16="http://schemas.microsoft.com/office/drawing/2014/main" id="{606094DE-BE32-497E-B68A-6FD6E12B2916}"/>
              </a:ext>
            </a:extLst>
          </p:cNvPr>
          <p:cNvSpPr/>
          <p:nvPr/>
        </p:nvSpPr>
        <p:spPr>
          <a:xfrm rot="5400000">
            <a:off x="8424897" y="4312667"/>
            <a:ext cx="140590" cy="930048"/>
          </a:xfrm>
          <a:prstGeom prst="leftBrace">
            <a:avLst>
              <a:gd name="adj1" fmla="val 8333"/>
              <a:gd name="adj2" fmla="val 23321"/>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5C5C5C"/>
              </a:solidFill>
              <a:effectLst/>
              <a:uLnTx/>
              <a:uFillTx/>
              <a:ea typeface="+mn-ea"/>
              <a:cs typeface="+mn-cs"/>
            </a:endParaRPr>
          </a:p>
        </p:txBody>
      </p:sp>
      <p:sp>
        <p:nvSpPr>
          <p:cNvPr id="46" name="Rectangle 45">
            <a:extLst>
              <a:ext uri="{FF2B5EF4-FFF2-40B4-BE49-F238E27FC236}">
                <a16:creationId xmlns:a16="http://schemas.microsoft.com/office/drawing/2014/main" id="{C0DFA1B9-9466-411C-A9D6-BBCDC5B6E5EC}"/>
              </a:ext>
            </a:extLst>
          </p:cNvPr>
          <p:cNvSpPr/>
          <p:nvPr/>
        </p:nvSpPr>
        <p:spPr bwMode="gray">
          <a:xfrm>
            <a:off x="8237528" y="4471839"/>
            <a:ext cx="1445376" cy="169277"/>
          </a:xfrm>
          <a:prstGeom prst="rect">
            <a:avLst/>
          </a:prstGeom>
          <a:noFill/>
        </p:spPr>
        <p:txBody>
          <a:bodyPr wrap="square" lIns="0" tIns="0" rIns="0" bIns="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Arial" panose="020B0604020202020204" pitchFamily="34" charset="0"/>
              </a:rPr>
              <a:t>2-3 Checkpoints</a:t>
            </a:r>
          </a:p>
        </p:txBody>
      </p:sp>
      <p:sp>
        <p:nvSpPr>
          <p:cNvPr id="47" name="Oval 46">
            <a:extLst>
              <a:ext uri="{FF2B5EF4-FFF2-40B4-BE49-F238E27FC236}">
                <a16:creationId xmlns:a16="http://schemas.microsoft.com/office/drawing/2014/main" id="{F71FC736-6FA6-448F-9D2B-3583B7206DAC}"/>
              </a:ext>
            </a:extLst>
          </p:cNvPr>
          <p:cNvSpPr/>
          <p:nvPr/>
        </p:nvSpPr>
        <p:spPr bwMode="gray">
          <a:xfrm>
            <a:off x="3797690" y="1780634"/>
            <a:ext cx="83222" cy="83222"/>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50" name="Oval 49">
            <a:extLst>
              <a:ext uri="{FF2B5EF4-FFF2-40B4-BE49-F238E27FC236}">
                <a16:creationId xmlns:a16="http://schemas.microsoft.com/office/drawing/2014/main" id="{E8DE8F48-D46C-490A-BC61-A68765A43C81}"/>
              </a:ext>
            </a:extLst>
          </p:cNvPr>
          <p:cNvSpPr/>
          <p:nvPr/>
        </p:nvSpPr>
        <p:spPr bwMode="gray">
          <a:xfrm>
            <a:off x="4306279" y="2710599"/>
            <a:ext cx="83222" cy="8322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51" name="Rectangle 50">
            <a:extLst>
              <a:ext uri="{FF2B5EF4-FFF2-40B4-BE49-F238E27FC236}">
                <a16:creationId xmlns:a16="http://schemas.microsoft.com/office/drawing/2014/main" id="{CAE146CC-384C-430B-980B-E062B6BE80AB}"/>
              </a:ext>
            </a:extLst>
          </p:cNvPr>
          <p:cNvSpPr/>
          <p:nvPr/>
        </p:nvSpPr>
        <p:spPr bwMode="gray">
          <a:xfrm>
            <a:off x="4566292" y="2672154"/>
            <a:ext cx="1278463" cy="338554"/>
          </a:xfrm>
          <a:prstGeom prst="rect">
            <a:avLst/>
          </a:prstGeom>
          <a:noFill/>
        </p:spPr>
        <p:txBody>
          <a:bodyPr wrap="square" lIns="0" tIns="0" rIns="0" bIns="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Arial" panose="020B0604020202020204" pitchFamily="34" charset="0"/>
              </a:rPr>
              <a:t>Internal Drafting Session</a:t>
            </a:r>
          </a:p>
        </p:txBody>
      </p:sp>
      <p:cxnSp>
        <p:nvCxnSpPr>
          <p:cNvPr id="52" name="Straight Connector 51">
            <a:extLst>
              <a:ext uri="{FF2B5EF4-FFF2-40B4-BE49-F238E27FC236}">
                <a16:creationId xmlns:a16="http://schemas.microsoft.com/office/drawing/2014/main" id="{A0CB057B-C080-49A6-B93E-177087B6B11B}"/>
              </a:ext>
            </a:extLst>
          </p:cNvPr>
          <p:cNvCxnSpPr/>
          <p:nvPr/>
        </p:nvCxnSpPr>
        <p:spPr>
          <a:xfrm flipV="1">
            <a:off x="4367466" y="2689992"/>
            <a:ext cx="109469" cy="9413"/>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E64CF59C-78B0-459A-B6CF-13EA488577A2}"/>
              </a:ext>
            </a:extLst>
          </p:cNvPr>
          <p:cNvCxnSpPr/>
          <p:nvPr/>
        </p:nvCxnSpPr>
        <p:spPr>
          <a:xfrm flipH="1" flipV="1">
            <a:off x="9439202" y="5694150"/>
            <a:ext cx="1" cy="7071"/>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728E9384-DFA4-4237-9E2D-C187657C1289}"/>
              </a:ext>
            </a:extLst>
          </p:cNvPr>
          <p:cNvCxnSpPr/>
          <p:nvPr/>
        </p:nvCxnSpPr>
        <p:spPr>
          <a:xfrm flipH="1">
            <a:off x="3824371" y="1926977"/>
            <a:ext cx="1" cy="4731043"/>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07FF6514-8118-460F-AD51-25B977656C19}"/>
              </a:ext>
            </a:extLst>
          </p:cNvPr>
          <p:cNvSpPr txBox="1"/>
          <p:nvPr/>
        </p:nvSpPr>
        <p:spPr>
          <a:xfrm>
            <a:off x="3381793" y="1471633"/>
            <a:ext cx="1148468" cy="276997"/>
          </a:xfrm>
          <a:prstGeom prst="rect">
            <a:avLst/>
          </a:prstGeom>
          <a:noFill/>
        </p:spPr>
        <p:txBody>
          <a:bodyPr wrap="square" lIns="91438" tIns="45719" rIns="91438" bIns="45719"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accent1"/>
                </a:solidFill>
                <a:effectLst/>
                <a:uLnTx/>
                <a:uFillTx/>
                <a:ea typeface="+mn-ea"/>
                <a:cs typeface="+mn-cs"/>
              </a:rPr>
              <a:t>We are here</a:t>
            </a:r>
          </a:p>
        </p:txBody>
      </p:sp>
      <p:sp>
        <p:nvSpPr>
          <p:cNvPr id="56" name="Rectangle 55">
            <a:extLst>
              <a:ext uri="{FF2B5EF4-FFF2-40B4-BE49-F238E27FC236}">
                <a16:creationId xmlns:a16="http://schemas.microsoft.com/office/drawing/2014/main" id="{E0F14782-C130-4236-96CA-18179E3607B6}"/>
              </a:ext>
            </a:extLst>
          </p:cNvPr>
          <p:cNvSpPr/>
          <p:nvPr/>
        </p:nvSpPr>
        <p:spPr bwMode="gray">
          <a:xfrm>
            <a:off x="3943499" y="2238151"/>
            <a:ext cx="404391" cy="10688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57" name="Rectangle 56">
            <a:extLst>
              <a:ext uri="{FF2B5EF4-FFF2-40B4-BE49-F238E27FC236}">
                <a16:creationId xmlns:a16="http://schemas.microsoft.com/office/drawing/2014/main" id="{FF2E1910-CD34-48A2-97D1-F52FEA8CB9B8}"/>
              </a:ext>
            </a:extLst>
          </p:cNvPr>
          <p:cNvSpPr/>
          <p:nvPr/>
        </p:nvSpPr>
        <p:spPr bwMode="gray">
          <a:xfrm>
            <a:off x="4064628" y="3219858"/>
            <a:ext cx="649746" cy="10977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58" name="Rectangle 57">
            <a:extLst>
              <a:ext uri="{FF2B5EF4-FFF2-40B4-BE49-F238E27FC236}">
                <a16:creationId xmlns:a16="http://schemas.microsoft.com/office/drawing/2014/main" id="{A827E180-DFBF-44AC-85AD-793D667ADD14}"/>
              </a:ext>
            </a:extLst>
          </p:cNvPr>
          <p:cNvSpPr/>
          <p:nvPr/>
        </p:nvSpPr>
        <p:spPr bwMode="gray">
          <a:xfrm>
            <a:off x="4346149" y="3595511"/>
            <a:ext cx="439608" cy="109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59" name="Rectangle 58">
            <a:extLst>
              <a:ext uri="{FF2B5EF4-FFF2-40B4-BE49-F238E27FC236}">
                <a16:creationId xmlns:a16="http://schemas.microsoft.com/office/drawing/2014/main" id="{1B0359B4-4BB4-482E-B5DA-4D45D7A2BFC7}"/>
              </a:ext>
            </a:extLst>
          </p:cNvPr>
          <p:cNvSpPr/>
          <p:nvPr/>
        </p:nvSpPr>
        <p:spPr bwMode="gray">
          <a:xfrm>
            <a:off x="4660053" y="3750527"/>
            <a:ext cx="439608" cy="109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60" name="Rectangle 59">
            <a:extLst>
              <a:ext uri="{FF2B5EF4-FFF2-40B4-BE49-F238E27FC236}">
                <a16:creationId xmlns:a16="http://schemas.microsoft.com/office/drawing/2014/main" id="{1EDA8632-CFD5-480F-99A9-B8BB60791D1C}"/>
              </a:ext>
            </a:extLst>
          </p:cNvPr>
          <p:cNvSpPr/>
          <p:nvPr/>
        </p:nvSpPr>
        <p:spPr bwMode="gray">
          <a:xfrm>
            <a:off x="5144020" y="4074628"/>
            <a:ext cx="1225463" cy="12626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61" name="Rectangle 60">
            <a:extLst>
              <a:ext uri="{FF2B5EF4-FFF2-40B4-BE49-F238E27FC236}">
                <a16:creationId xmlns:a16="http://schemas.microsoft.com/office/drawing/2014/main" id="{C0862259-F675-4575-A6FF-A2F9D5514884}"/>
              </a:ext>
            </a:extLst>
          </p:cNvPr>
          <p:cNvSpPr/>
          <p:nvPr/>
        </p:nvSpPr>
        <p:spPr bwMode="gray">
          <a:xfrm>
            <a:off x="5526863" y="4247517"/>
            <a:ext cx="1225463" cy="11543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62" name="Rectangle 61">
            <a:extLst>
              <a:ext uri="{FF2B5EF4-FFF2-40B4-BE49-F238E27FC236}">
                <a16:creationId xmlns:a16="http://schemas.microsoft.com/office/drawing/2014/main" id="{76CD4B96-1A4C-4FE0-8DCA-C81750406767}"/>
              </a:ext>
            </a:extLst>
          </p:cNvPr>
          <p:cNvSpPr/>
          <p:nvPr/>
        </p:nvSpPr>
        <p:spPr bwMode="gray">
          <a:xfrm>
            <a:off x="5258622" y="4418312"/>
            <a:ext cx="2256777" cy="12241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63" name="Rectangle 62">
            <a:extLst>
              <a:ext uri="{FF2B5EF4-FFF2-40B4-BE49-F238E27FC236}">
                <a16:creationId xmlns:a16="http://schemas.microsoft.com/office/drawing/2014/main" id="{1F6521EA-7E75-47EF-A286-BC3ABEF20068}"/>
              </a:ext>
            </a:extLst>
          </p:cNvPr>
          <p:cNvSpPr/>
          <p:nvPr/>
        </p:nvSpPr>
        <p:spPr bwMode="gray">
          <a:xfrm>
            <a:off x="7843893" y="4972797"/>
            <a:ext cx="948735" cy="11364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64" name="Rectangle 63">
            <a:extLst>
              <a:ext uri="{FF2B5EF4-FFF2-40B4-BE49-F238E27FC236}">
                <a16:creationId xmlns:a16="http://schemas.microsoft.com/office/drawing/2014/main" id="{2DDD40E7-33FA-407A-BC07-FBDA38D12853}"/>
              </a:ext>
            </a:extLst>
          </p:cNvPr>
          <p:cNvSpPr/>
          <p:nvPr/>
        </p:nvSpPr>
        <p:spPr bwMode="gray">
          <a:xfrm>
            <a:off x="8462412" y="5187667"/>
            <a:ext cx="515093" cy="11138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65" name="Rectangle 64">
            <a:extLst>
              <a:ext uri="{FF2B5EF4-FFF2-40B4-BE49-F238E27FC236}">
                <a16:creationId xmlns:a16="http://schemas.microsoft.com/office/drawing/2014/main" id="{8D7A2E49-B4A1-4F00-BF8D-C8115397118D}"/>
              </a:ext>
            </a:extLst>
          </p:cNvPr>
          <p:cNvSpPr/>
          <p:nvPr/>
        </p:nvSpPr>
        <p:spPr bwMode="gray">
          <a:xfrm>
            <a:off x="8838538" y="5377396"/>
            <a:ext cx="243355" cy="11138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66" name="Rectangle 65">
            <a:extLst>
              <a:ext uri="{FF2B5EF4-FFF2-40B4-BE49-F238E27FC236}">
                <a16:creationId xmlns:a16="http://schemas.microsoft.com/office/drawing/2014/main" id="{BC64CCDA-D4E7-4200-A5B8-8E3F7EED8957}"/>
              </a:ext>
            </a:extLst>
          </p:cNvPr>
          <p:cNvSpPr/>
          <p:nvPr/>
        </p:nvSpPr>
        <p:spPr bwMode="gray">
          <a:xfrm>
            <a:off x="9265190" y="6258774"/>
            <a:ext cx="948735" cy="11364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67" name="Rectangle 66">
            <a:extLst>
              <a:ext uri="{FF2B5EF4-FFF2-40B4-BE49-F238E27FC236}">
                <a16:creationId xmlns:a16="http://schemas.microsoft.com/office/drawing/2014/main" id="{794BF228-7F12-4CC9-8888-559D58169F37}"/>
              </a:ext>
            </a:extLst>
          </p:cNvPr>
          <p:cNvSpPr/>
          <p:nvPr/>
        </p:nvSpPr>
        <p:spPr bwMode="gray">
          <a:xfrm>
            <a:off x="9951518" y="6413223"/>
            <a:ext cx="948735" cy="11364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68" name="Rectangle 67">
            <a:extLst>
              <a:ext uri="{FF2B5EF4-FFF2-40B4-BE49-F238E27FC236}">
                <a16:creationId xmlns:a16="http://schemas.microsoft.com/office/drawing/2014/main" id="{F09680DD-6B49-43E5-BB7E-6A3B9873D490}"/>
              </a:ext>
            </a:extLst>
          </p:cNvPr>
          <p:cNvSpPr/>
          <p:nvPr/>
        </p:nvSpPr>
        <p:spPr bwMode="gray">
          <a:xfrm>
            <a:off x="10916322" y="6567672"/>
            <a:ext cx="243355" cy="11138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69" name="Rectangle 68">
            <a:extLst>
              <a:ext uri="{FF2B5EF4-FFF2-40B4-BE49-F238E27FC236}">
                <a16:creationId xmlns:a16="http://schemas.microsoft.com/office/drawing/2014/main" id="{1F171230-0F0D-42EB-A07A-349C0EFA1804}"/>
              </a:ext>
            </a:extLst>
          </p:cNvPr>
          <p:cNvSpPr/>
          <p:nvPr/>
        </p:nvSpPr>
        <p:spPr bwMode="gray">
          <a:xfrm>
            <a:off x="5991146" y="4597024"/>
            <a:ext cx="1714939" cy="11658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
        <p:nvSpPr>
          <p:cNvPr id="70" name="Rectangle 69">
            <a:extLst>
              <a:ext uri="{FF2B5EF4-FFF2-40B4-BE49-F238E27FC236}">
                <a16:creationId xmlns:a16="http://schemas.microsoft.com/office/drawing/2014/main" id="{9DDD9254-76C1-4D4E-90A5-B1592D4EA541}"/>
              </a:ext>
            </a:extLst>
          </p:cNvPr>
          <p:cNvSpPr/>
          <p:nvPr/>
        </p:nvSpPr>
        <p:spPr bwMode="gray">
          <a:xfrm>
            <a:off x="4064628" y="3067346"/>
            <a:ext cx="649746" cy="10977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ea typeface="+mn-ea"/>
              <a:cs typeface="+mn-cs"/>
            </a:endParaRPr>
          </a:p>
        </p:txBody>
      </p:sp>
    </p:spTree>
    <p:extLst>
      <p:ext uri="{BB962C8B-B14F-4D97-AF65-F5344CB8AC3E}">
        <p14:creationId xmlns:p14="http://schemas.microsoft.com/office/powerpoint/2010/main" val="4267401616"/>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5" hidden="1">
            <a:extLst>
              <a:ext uri="{FF2B5EF4-FFF2-40B4-BE49-F238E27FC236}">
                <a16:creationId xmlns:a16="http://schemas.microsoft.com/office/drawing/2014/main" id="{30DBCC89-EEBA-4DB7-8BC2-C4126032A9B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9860" name="think-cell Slide" r:id="rId6" imgW="415" imgH="416" progId="TCLayout.ActiveDocument.1">
                  <p:embed/>
                </p:oleObj>
              </mc:Choice>
              <mc:Fallback>
                <p:oleObj name="think-cell Slide" r:id="rId6" imgW="415" imgH="416" progId="TCLayout.ActiveDocument.1">
                  <p:embed/>
                  <p:pic>
                    <p:nvPicPr>
                      <p:cNvPr id="36" name="Object 35" hidden="1">
                        <a:extLst>
                          <a:ext uri="{FF2B5EF4-FFF2-40B4-BE49-F238E27FC236}">
                            <a16:creationId xmlns:a16="http://schemas.microsoft.com/office/drawing/2014/main" id="{30DBCC89-EEBA-4DB7-8BC2-C4126032A9B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5" name="Rectangle 34" hidden="1">
            <a:extLst>
              <a:ext uri="{FF2B5EF4-FFF2-40B4-BE49-F238E27FC236}">
                <a16:creationId xmlns:a16="http://schemas.microsoft.com/office/drawing/2014/main" id="{773D35CD-D9CC-4D56-8633-AC748B95E9D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CE14219B-4826-4665-A8E5-947CDDCC02F5}"/>
              </a:ext>
            </a:extLst>
          </p:cNvPr>
          <p:cNvSpPr>
            <a:spLocks noGrp="1"/>
          </p:cNvSpPr>
          <p:nvPr>
            <p:ph type="title"/>
          </p:nvPr>
        </p:nvSpPr>
        <p:spPr/>
        <p:txBody>
          <a:bodyPr/>
          <a:lstStyle/>
          <a:p>
            <a:r>
              <a:rPr lang="en-US" dirty="0"/>
              <a:t>Project Approach &amp; Timeline</a:t>
            </a:r>
          </a:p>
        </p:txBody>
      </p:sp>
      <p:sp>
        <p:nvSpPr>
          <p:cNvPr id="4" name="Text Placeholder 3">
            <a:extLst>
              <a:ext uri="{FF2B5EF4-FFF2-40B4-BE49-F238E27FC236}">
                <a16:creationId xmlns:a16="http://schemas.microsoft.com/office/drawing/2014/main" id="{55EBE5D3-16E4-4CA9-9245-97204E66B4AD}"/>
              </a:ext>
            </a:extLst>
          </p:cNvPr>
          <p:cNvSpPr>
            <a:spLocks noGrp="1"/>
          </p:cNvSpPr>
          <p:nvPr>
            <p:ph type="body" sz="quarter" idx="15"/>
          </p:nvPr>
        </p:nvSpPr>
        <p:spPr/>
        <p:txBody>
          <a:bodyPr/>
          <a:lstStyle/>
          <a:p>
            <a:r>
              <a:rPr lang="en-US" dirty="0"/>
              <a:t>Plans, timelines and roadmaps</a:t>
            </a:r>
          </a:p>
        </p:txBody>
      </p:sp>
      <p:graphicFrame>
        <p:nvGraphicFramePr>
          <p:cNvPr id="5" name="Table 4">
            <a:extLst>
              <a:ext uri="{FF2B5EF4-FFF2-40B4-BE49-F238E27FC236}">
                <a16:creationId xmlns:a16="http://schemas.microsoft.com/office/drawing/2014/main" id="{F43AAF1B-45B7-4AE8-A947-C4128390A66D}"/>
              </a:ext>
            </a:extLst>
          </p:cNvPr>
          <p:cNvGraphicFramePr>
            <a:graphicFrameLocks noGrp="1"/>
          </p:cNvGraphicFramePr>
          <p:nvPr/>
        </p:nvGraphicFramePr>
        <p:xfrm>
          <a:off x="469902" y="1803597"/>
          <a:ext cx="11252200" cy="4759727"/>
        </p:xfrm>
        <a:graphic>
          <a:graphicData uri="http://schemas.openxmlformats.org/drawingml/2006/table">
            <a:tbl>
              <a:tblPr>
                <a:tableStyleId>{5C22544A-7EE6-4342-B048-85BDC9FD1C3A}</a:tableStyleId>
              </a:tblPr>
              <a:tblGrid>
                <a:gridCol w="1125220">
                  <a:extLst>
                    <a:ext uri="{9D8B030D-6E8A-4147-A177-3AD203B41FA5}">
                      <a16:colId xmlns:a16="http://schemas.microsoft.com/office/drawing/2014/main" val="20000"/>
                    </a:ext>
                  </a:extLst>
                </a:gridCol>
                <a:gridCol w="1125220">
                  <a:extLst>
                    <a:ext uri="{9D8B030D-6E8A-4147-A177-3AD203B41FA5}">
                      <a16:colId xmlns:a16="http://schemas.microsoft.com/office/drawing/2014/main" val="20001"/>
                    </a:ext>
                  </a:extLst>
                </a:gridCol>
                <a:gridCol w="1125220">
                  <a:extLst>
                    <a:ext uri="{9D8B030D-6E8A-4147-A177-3AD203B41FA5}">
                      <a16:colId xmlns:a16="http://schemas.microsoft.com/office/drawing/2014/main" val="20002"/>
                    </a:ext>
                  </a:extLst>
                </a:gridCol>
                <a:gridCol w="1125220">
                  <a:extLst>
                    <a:ext uri="{9D8B030D-6E8A-4147-A177-3AD203B41FA5}">
                      <a16:colId xmlns:a16="http://schemas.microsoft.com/office/drawing/2014/main" val="20003"/>
                    </a:ext>
                  </a:extLst>
                </a:gridCol>
                <a:gridCol w="1125220">
                  <a:extLst>
                    <a:ext uri="{9D8B030D-6E8A-4147-A177-3AD203B41FA5}">
                      <a16:colId xmlns:a16="http://schemas.microsoft.com/office/drawing/2014/main" val="20004"/>
                    </a:ext>
                  </a:extLst>
                </a:gridCol>
                <a:gridCol w="1125220">
                  <a:extLst>
                    <a:ext uri="{9D8B030D-6E8A-4147-A177-3AD203B41FA5}">
                      <a16:colId xmlns:a16="http://schemas.microsoft.com/office/drawing/2014/main" val="20005"/>
                    </a:ext>
                  </a:extLst>
                </a:gridCol>
                <a:gridCol w="1125220">
                  <a:extLst>
                    <a:ext uri="{9D8B030D-6E8A-4147-A177-3AD203B41FA5}">
                      <a16:colId xmlns:a16="http://schemas.microsoft.com/office/drawing/2014/main" val="20006"/>
                    </a:ext>
                  </a:extLst>
                </a:gridCol>
                <a:gridCol w="1125220">
                  <a:extLst>
                    <a:ext uri="{9D8B030D-6E8A-4147-A177-3AD203B41FA5}">
                      <a16:colId xmlns:a16="http://schemas.microsoft.com/office/drawing/2014/main" val="20007"/>
                    </a:ext>
                  </a:extLst>
                </a:gridCol>
                <a:gridCol w="1125220">
                  <a:extLst>
                    <a:ext uri="{9D8B030D-6E8A-4147-A177-3AD203B41FA5}">
                      <a16:colId xmlns:a16="http://schemas.microsoft.com/office/drawing/2014/main" val="20008"/>
                    </a:ext>
                  </a:extLst>
                </a:gridCol>
                <a:gridCol w="1125220">
                  <a:extLst>
                    <a:ext uri="{9D8B030D-6E8A-4147-A177-3AD203B41FA5}">
                      <a16:colId xmlns:a16="http://schemas.microsoft.com/office/drawing/2014/main" val="20009"/>
                    </a:ext>
                  </a:extLst>
                </a:gridCol>
              </a:tblGrid>
              <a:tr h="303229">
                <a:tc>
                  <a:txBody>
                    <a:bodyPr/>
                    <a:lstStyle/>
                    <a:p>
                      <a:pPr algn="ctr" fontAlgn="b"/>
                      <a:r>
                        <a:rPr lang="en-US" sz="1200" b="0" u="none" strike="noStrike" dirty="0">
                          <a:solidFill>
                            <a:schemeClr val="bg1"/>
                          </a:solidFill>
                          <a:effectLst/>
                          <a:latin typeface="+mn-lt"/>
                          <a:cs typeface="HelveticaNeueLT Std Med"/>
                        </a:rPr>
                        <a:t>Week </a:t>
                      </a:r>
                      <a:r>
                        <a:rPr lang="en-US" sz="1200" b="0" u="none" strike="noStrike" baseline="0" dirty="0">
                          <a:solidFill>
                            <a:schemeClr val="bg1"/>
                          </a:solidFill>
                          <a:effectLst/>
                          <a:latin typeface="+mn-lt"/>
                          <a:cs typeface="HelveticaNeueLT Std Med"/>
                        </a:rPr>
                        <a:t>0</a:t>
                      </a:r>
                    </a:p>
                    <a:p>
                      <a:pPr algn="ctr" fontAlgn="b"/>
                      <a:r>
                        <a:rPr lang="en-US" sz="900" b="0" i="0" u="none" strike="noStrike" baseline="0" dirty="0">
                          <a:solidFill>
                            <a:schemeClr val="bg1"/>
                          </a:solidFill>
                          <a:effectLst/>
                          <a:latin typeface="+mn-lt"/>
                          <a:cs typeface="HelveticaNeueLT Std Med"/>
                        </a:rPr>
                        <a:t>Oct 16 - 20</a:t>
                      </a:r>
                      <a:endParaRPr lang="en-US" sz="900" b="0" i="0" u="none" strike="noStrike" dirty="0">
                        <a:solidFill>
                          <a:schemeClr val="bg1"/>
                        </a:solidFill>
                        <a:effectLst/>
                        <a:latin typeface="+mn-lt"/>
                        <a:cs typeface="HelveticaNeueLT Std Med"/>
                      </a:endParaRPr>
                    </a:p>
                  </a:txBody>
                  <a:tcPr marL="0" marR="0" marT="0" marB="0" anchor="ctr">
                    <a:lnL w="9525"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marL="0" algn="ctr" defTabSz="913486" rtl="0" eaLnBrk="1" fontAlgn="b" latinLnBrk="0" hangingPunct="1"/>
                      <a:r>
                        <a:rPr lang="en-US" sz="1200" b="0" u="none" strike="noStrike" kern="1200" dirty="0">
                          <a:solidFill>
                            <a:schemeClr val="bg1"/>
                          </a:solidFill>
                          <a:effectLst/>
                          <a:latin typeface="+mn-lt"/>
                          <a:ea typeface="+mn-ea"/>
                          <a:cs typeface="HelveticaNeueLT Std Med"/>
                        </a:rPr>
                        <a:t>Week 1</a:t>
                      </a:r>
                    </a:p>
                    <a:p>
                      <a:pPr marL="0" algn="ctr" defTabSz="913486" rtl="0" eaLnBrk="1" fontAlgn="b" latinLnBrk="0" hangingPunct="1"/>
                      <a:r>
                        <a:rPr lang="en-US" sz="900" b="0" u="none" strike="noStrike" kern="1200" dirty="0">
                          <a:solidFill>
                            <a:schemeClr val="bg1"/>
                          </a:solidFill>
                          <a:effectLst/>
                          <a:latin typeface="+mn-lt"/>
                          <a:ea typeface="+mn-ea"/>
                          <a:cs typeface="HelveticaNeueLT Std Med"/>
                        </a:rPr>
                        <a:t>Oct</a:t>
                      </a:r>
                      <a:r>
                        <a:rPr lang="en-US" sz="900" b="0" u="none" strike="noStrike" kern="1200" baseline="0" dirty="0">
                          <a:solidFill>
                            <a:schemeClr val="bg1"/>
                          </a:solidFill>
                          <a:effectLst/>
                          <a:latin typeface="+mn-lt"/>
                          <a:ea typeface="+mn-ea"/>
                          <a:cs typeface="HelveticaNeueLT Std Med"/>
                        </a:rPr>
                        <a:t> 23 - 27</a:t>
                      </a:r>
                      <a:endParaRPr lang="en-US" sz="1200" b="0" i="0" u="none" strike="noStrike" dirty="0">
                        <a:solidFill>
                          <a:schemeClr val="bg1"/>
                        </a:solidFill>
                        <a:effectLst/>
                        <a:latin typeface="+mn-lt"/>
                        <a:cs typeface="HelveticaNeueLT Std Med"/>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200" b="0" i="0" u="none" strike="noStrike" dirty="0">
                          <a:solidFill>
                            <a:schemeClr val="bg1"/>
                          </a:solidFill>
                          <a:effectLst/>
                          <a:latin typeface="+mn-lt"/>
                          <a:cs typeface="HelveticaNeueLT Std Med"/>
                        </a:rPr>
                        <a:t>Week 2</a:t>
                      </a:r>
                    </a:p>
                    <a:p>
                      <a:pPr algn="ctr" fontAlgn="b"/>
                      <a:r>
                        <a:rPr lang="en-US" sz="900" b="0" i="0" u="none" strike="noStrike" dirty="0">
                          <a:solidFill>
                            <a:schemeClr val="bg1"/>
                          </a:solidFill>
                          <a:effectLst/>
                          <a:latin typeface="+mn-lt"/>
                          <a:cs typeface="HelveticaNeueLT Std Med"/>
                        </a:rPr>
                        <a:t>Oct 30 – Nov 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200" b="0" i="0" u="none" strike="noStrike" dirty="0">
                          <a:solidFill>
                            <a:schemeClr val="bg1"/>
                          </a:solidFill>
                          <a:effectLst/>
                          <a:latin typeface="+mn-lt"/>
                          <a:cs typeface="HelveticaNeueLT Std Med"/>
                        </a:rPr>
                        <a:t>Week 3</a:t>
                      </a:r>
                    </a:p>
                    <a:p>
                      <a:pPr algn="ctr" fontAlgn="b"/>
                      <a:r>
                        <a:rPr lang="en-US" sz="900" b="0" i="0" u="none" strike="noStrike" dirty="0">
                          <a:solidFill>
                            <a:schemeClr val="bg1"/>
                          </a:solidFill>
                          <a:effectLst/>
                          <a:latin typeface="+mn-lt"/>
                          <a:cs typeface="HelveticaNeueLT Std Med"/>
                        </a:rPr>
                        <a:t>Nov</a:t>
                      </a:r>
                      <a:r>
                        <a:rPr lang="en-US" sz="900" b="0" i="0" u="none" strike="noStrike" baseline="0" dirty="0">
                          <a:solidFill>
                            <a:schemeClr val="bg1"/>
                          </a:solidFill>
                          <a:effectLst/>
                          <a:latin typeface="+mn-lt"/>
                          <a:cs typeface="HelveticaNeueLT Std Med"/>
                        </a:rPr>
                        <a:t> 6 – 10</a:t>
                      </a:r>
                      <a:endParaRPr lang="en-US" sz="900" b="0" i="0" u="none" strike="noStrike" dirty="0">
                        <a:solidFill>
                          <a:schemeClr val="bg1"/>
                        </a:solidFill>
                        <a:effectLst/>
                        <a:latin typeface="+mn-lt"/>
                        <a:cs typeface="HelveticaNeueLT Std Med"/>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marL="0" marR="0" indent="0" algn="ctr" defTabSz="914377" rtl="0" eaLnBrk="1" fontAlgn="b" latinLnBrk="0" hangingPunct="1">
                        <a:lnSpc>
                          <a:spcPct val="100000"/>
                        </a:lnSpc>
                        <a:spcBef>
                          <a:spcPts val="0"/>
                        </a:spcBef>
                        <a:spcAft>
                          <a:spcPts val="0"/>
                        </a:spcAft>
                        <a:buClrTx/>
                        <a:buSzTx/>
                        <a:buFontTx/>
                        <a:buNone/>
                        <a:tabLst/>
                        <a:defRPr/>
                      </a:pPr>
                      <a:r>
                        <a:rPr lang="en-US" sz="1200" b="0" i="0" u="none" strike="noStrike" dirty="0">
                          <a:solidFill>
                            <a:schemeClr val="bg1"/>
                          </a:solidFill>
                          <a:effectLst/>
                          <a:latin typeface="+mn-lt"/>
                          <a:cs typeface="HelveticaNeueLT Std Med"/>
                        </a:rPr>
                        <a:t>Week</a:t>
                      </a:r>
                      <a:r>
                        <a:rPr lang="en-US" sz="1200" b="0" i="0" u="none" strike="noStrike" baseline="0" dirty="0">
                          <a:solidFill>
                            <a:schemeClr val="bg1"/>
                          </a:solidFill>
                          <a:effectLst/>
                          <a:latin typeface="+mn-lt"/>
                          <a:cs typeface="HelveticaNeueLT Std Med"/>
                        </a:rPr>
                        <a:t> 4</a:t>
                      </a:r>
                      <a:endParaRPr lang="en-US" sz="1200" b="0" i="0" u="none" strike="noStrike" dirty="0">
                        <a:solidFill>
                          <a:schemeClr val="bg1"/>
                        </a:solidFill>
                        <a:effectLst/>
                        <a:latin typeface="+mn-lt"/>
                        <a:cs typeface="HelveticaNeueLT Std Med"/>
                      </a:endParaRPr>
                    </a:p>
                    <a:p>
                      <a:pPr marL="0" marR="0" indent="0" algn="ctr" defTabSz="914377" rtl="0" eaLnBrk="1" fontAlgn="b" latinLnBrk="0" hangingPunct="1">
                        <a:lnSpc>
                          <a:spcPct val="100000"/>
                        </a:lnSpc>
                        <a:spcBef>
                          <a:spcPts val="0"/>
                        </a:spcBef>
                        <a:spcAft>
                          <a:spcPts val="0"/>
                        </a:spcAft>
                        <a:buClrTx/>
                        <a:buSzTx/>
                        <a:buFontTx/>
                        <a:buNone/>
                        <a:tabLst/>
                        <a:defRPr/>
                      </a:pPr>
                      <a:r>
                        <a:rPr lang="en-US" sz="900" b="0" i="0" u="none" strike="noStrike" dirty="0">
                          <a:solidFill>
                            <a:schemeClr val="bg1"/>
                          </a:solidFill>
                          <a:effectLst/>
                          <a:latin typeface="+mn-lt"/>
                          <a:cs typeface="HelveticaNeueLT Std Med"/>
                        </a:rPr>
                        <a:t>Nov</a:t>
                      </a:r>
                      <a:r>
                        <a:rPr lang="en-US" sz="900" b="0" i="0" u="none" strike="noStrike" baseline="0" dirty="0">
                          <a:solidFill>
                            <a:schemeClr val="bg1"/>
                          </a:solidFill>
                          <a:effectLst/>
                          <a:latin typeface="+mn-lt"/>
                          <a:cs typeface="HelveticaNeueLT Std Med"/>
                        </a:rPr>
                        <a:t> 13 - 17</a:t>
                      </a:r>
                      <a:endParaRPr lang="en-US" sz="900" b="0" i="0" u="none" strike="noStrike" dirty="0">
                        <a:solidFill>
                          <a:schemeClr val="bg1"/>
                        </a:solidFill>
                        <a:effectLst/>
                        <a:latin typeface="+mn-lt"/>
                        <a:cs typeface="HelveticaNeueLT Std Med"/>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marL="0" marR="0" indent="0" algn="ctr" defTabSz="914377" rtl="0" eaLnBrk="1" fontAlgn="b" latinLnBrk="0" hangingPunct="1">
                        <a:lnSpc>
                          <a:spcPct val="100000"/>
                        </a:lnSpc>
                        <a:spcBef>
                          <a:spcPts val="0"/>
                        </a:spcBef>
                        <a:spcAft>
                          <a:spcPts val="0"/>
                        </a:spcAft>
                        <a:buClrTx/>
                        <a:buSzTx/>
                        <a:buFontTx/>
                        <a:buNone/>
                        <a:tabLst/>
                        <a:defRPr/>
                      </a:pPr>
                      <a:r>
                        <a:rPr lang="en-US" sz="1200" b="0" i="0" u="none" strike="noStrike" dirty="0">
                          <a:solidFill>
                            <a:schemeClr val="bg1"/>
                          </a:solidFill>
                          <a:effectLst/>
                          <a:latin typeface="+mn-lt"/>
                          <a:cs typeface="HelveticaNeueLT Std Med"/>
                        </a:rPr>
                        <a:t>Shutdown</a:t>
                      </a:r>
                    </a:p>
                    <a:p>
                      <a:pPr marL="0" marR="0" indent="0" algn="ctr" defTabSz="914377" rtl="0" eaLnBrk="1" fontAlgn="b" latinLnBrk="0" hangingPunct="1">
                        <a:lnSpc>
                          <a:spcPct val="100000"/>
                        </a:lnSpc>
                        <a:spcBef>
                          <a:spcPts val="0"/>
                        </a:spcBef>
                        <a:spcAft>
                          <a:spcPts val="0"/>
                        </a:spcAft>
                        <a:buClrTx/>
                        <a:buSzTx/>
                        <a:buFontTx/>
                        <a:buNone/>
                        <a:tabLst/>
                        <a:defRPr/>
                      </a:pPr>
                      <a:r>
                        <a:rPr lang="en-US" sz="900" b="0" i="0" u="none" strike="noStrike" dirty="0">
                          <a:solidFill>
                            <a:schemeClr val="bg1"/>
                          </a:solidFill>
                          <a:effectLst/>
                          <a:latin typeface="+mn-lt"/>
                          <a:cs typeface="HelveticaNeueLT Std Med"/>
                        </a:rPr>
                        <a:t>Nov 20 – Nov</a:t>
                      </a:r>
                      <a:r>
                        <a:rPr lang="en-US" sz="900" b="0" i="0" u="none" strike="noStrike" baseline="0" dirty="0">
                          <a:solidFill>
                            <a:schemeClr val="bg1"/>
                          </a:solidFill>
                          <a:effectLst/>
                          <a:latin typeface="+mn-lt"/>
                          <a:cs typeface="HelveticaNeueLT Std Med"/>
                        </a:rPr>
                        <a:t> 24</a:t>
                      </a:r>
                      <a:endParaRPr lang="en-US" sz="900" b="0" i="0" u="none" strike="noStrike" dirty="0">
                        <a:solidFill>
                          <a:schemeClr val="bg1"/>
                        </a:solidFill>
                        <a:effectLst/>
                        <a:latin typeface="+mn-lt"/>
                        <a:cs typeface="HelveticaNeueLT Std Med"/>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marL="0" marR="0" indent="0" algn="ctr" defTabSz="914377" rtl="0" eaLnBrk="1" fontAlgn="b" latinLnBrk="0" hangingPunct="1">
                        <a:lnSpc>
                          <a:spcPct val="100000"/>
                        </a:lnSpc>
                        <a:spcBef>
                          <a:spcPts val="0"/>
                        </a:spcBef>
                        <a:spcAft>
                          <a:spcPts val="0"/>
                        </a:spcAft>
                        <a:buClrTx/>
                        <a:buSzTx/>
                        <a:buFontTx/>
                        <a:buNone/>
                        <a:tabLst/>
                        <a:defRPr/>
                      </a:pPr>
                      <a:r>
                        <a:rPr lang="en-US" sz="1200" b="0" i="0" u="none" strike="noStrike" dirty="0">
                          <a:solidFill>
                            <a:schemeClr val="bg1"/>
                          </a:solidFill>
                          <a:effectLst/>
                          <a:latin typeface="+mn-lt"/>
                          <a:cs typeface="HelveticaNeueLT Std Med"/>
                        </a:rPr>
                        <a:t>Week</a:t>
                      </a:r>
                      <a:r>
                        <a:rPr lang="en-US" sz="1200" b="0" i="0" u="none" strike="noStrike" baseline="0" dirty="0">
                          <a:solidFill>
                            <a:schemeClr val="bg1"/>
                          </a:solidFill>
                          <a:effectLst/>
                          <a:latin typeface="+mn-lt"/>
                          <a:cs typeface="HelveticaNeueLT Std Med"/>
                        </a:rPr>
                        <a:t> 5</a:t>
                      </a:r>
                      <a:endParaRPr lang="en-US" sz="1200" b="0" i="0" u="none" strike="noStrike" dirty="0">
                        <a:solidFill>
                          <a:schemeClr val="bg1"/>
                        </a:solidFill>
                        <a:effectLst/>
                        <a:latin typeface="+mn-lt"/>
                        <a:cs typeface="HelveticaNeueLT Std Med"/>
                      </a:endParaRPr>
                    </a:p>
                    <a:p>
                      <a:pPr marL="0" marR="0" indent="0" algn="ctr" defTabSz="914377" rtl="0" eaLnBrk="1" fontAlgn="b" latinLnBrk="0" hangingPunct="1">
                        <a:lnSpc>
                          <a:spcPct val="100000"/>
                        </a:lnSpc>
                        <a:spcBef>
                          <a:spcPts val="0"/>
                        </a:spcBef>
                        <a:spcAft>
                          <a:spcPts val="0"/>
                        </a:spcAft>
                        <a:buClrTx/>
                        <a:buSzTx/>
                        <a:buFontTx/>
                        <a:buNone/>
                        <a:tabLst/>
                        <a:defRPr/>
                      </a:pPr>
                      <a:r>
                        <a:rPr lang="en-US" sz="900" b="0" i="0" u="none" strike="noStrike" dirty="0">
                          <a:solidFill>
                            <a:schemeClr val="bg1"/>
                          </a:solidFill>
                          <a:effectLst/>
                          <a:latin typeface="+mn-lt"/>
                          <a:cs typeface="HelveticaNeueLT Std Med"/>
                        </a:rPr>
                        <a:t>Nov</a:t>
                      </a:r>
                      <a:r>
                        <a:rPr lang="en-US" sz="900" b="0" i="0" u="none" strike="noStrike" baseline="0" dirty="0">
                          <a:solidFill>
                            <a:schemeClr val="bg1"/>
                          </a:solidFill>
                          <a:effectLst/>
                          <a:latin typeface="+mn-lt"/>
                          <a:cs typeface="HelveticaNeueLT Std Med"/>
                        </a:rPr>
                        <a:t> 27 – Dec 1</a:t>
                      </a:r>
                      <a:endParaRPr lang="en-US" sz="900" b="0" i="0" u="none" strike="noStrike" dirty="0">
                        <a:solidFill>
                          <a:schemeClr val="bg1"/>
                        </a:solidFill>
                        <a:effectLst/>
                        <a:latin typeface="+mn-lt"/>
                        <a:cs typeface="HelveticaNeueLT Std Med"/>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marL="0" marR="0" indent="0" algn="ctr" defTabSz="914377" rtl="0" eaLnBrk="1" fontAlgn="b" latinLnBrk="0" hangingPunct="1">
                        <a:lnSpc>
                          <a:spcPct val="100000"/>
                        </a:lnSpc>
                        <a:spcBef>
                          <a:spcPts val="0"/>
                        </a:spcBef>
                        <a:spcAft>
                          <a:spcPts val="0"/>
                        </a:spcAft>
                        <a:buClrTx/>
                        <a:buSzTx/>
                        <a:buFontTx/>
                        <a:buNone/>
                        <a:tabLst/>
                        <a:defRPr/>
                      </a:pPr>
                      <a:r>
                        <a:rPr lang="en-US" sz="1200" b="0" i="0" u="none" strike="noStrike" dirty="0">
                          <a:solidFill>
                            <a:schemeClr val="bg1"/>
                          </a:solidFill>
                          <a:effectLst/>
                          <a:latin typeface="+mn-lt"/>
                          <a:cs typeface="HelveticaNeueLT Std Med"/>
                        </a:rPr>
                        <a:t>Week 6</a:t>
                      </a:r>
                    </a:p>
                    <a:p>
                      <a:pPr marL="0" marR="0" indent="0" algn="ctr" defTabSz="914377" rtl="0" eaLnBrk="1" fontAlgn="b" latinLnBrk="0" hangingPunct="1">
                        <a:lnSpc>
                          <a:spcPct val="100000"/>
                        </a:lnSpc>
                        <a:spcBef>
                          <a:spcPts val="0"/>
                        </a:spcBef>
                        <a:spcAft>
                          <a:spcPts val="0"/>
                        </a:spcAft>
                        <a:buClrTx/>
                        <a:buSzTx/>
                        <a:buFontTx/>
                        <a:buNone/>
                        <a:tabLst/>
                        <a:defRPr/>
                      </a:pPr>
                      <a:r>
                        <a:rPr lang="en-US" sz="900" b="0" i="0" u="none" strike="noStrike" dirty="0">
                          <a:solidFill>
                            <a:schemeClr val="bg1"/>
                          </a:solidFill>
                          <a:effectLst/>
                          <a:latin typeface="+mn-lt"/>
                          <a:cs typeface="HelveticaNeueLT Std Med"/>
                        </a:rPr>
                        <a:t>Dec 4 – 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marL="0" marR="0" indent="0" algn="ctr" defTabSz="914377" rtl="0" eaLnBrk="1" fontAlgn="b" latinLnBrk="0" hangingPunct="1">
                        <a:lnSpc>
                          <a:spcPct val="100000"/>
                        </a:lnSpc>
                        <a:spcBef>
                          <a:spcPts val="0"/>
                        </a:spcBef>
                        <a:spcAft>
                          <a:spcPts val="0"/>
                        </a:spcAft>
                        <a:buClrTx/>
                        <a:buSzTx/>
                        <a:buFontTx/>
                        <a:buNone/>
                        <a:tabLst/>
                        <a:defRPr/>
                      </a:pPr>
                      <a:r>
                        <a:rPr lang="en-US" sz="1200" b="0" i="0" u="none" strike="noStrike" dirty="0">
                          <a:solidFill>
                            <a:schemeClr val="bg1"/>
                          </a:solidFill>
                          <a:effectLst/>
                          <a:latin typeface="+mn-lt"/>
                          <a:cs typeface="HelveticaNeueLT Std Med"/>
                        </a:rPr>
                        <a:t>Week 7</a:t>
                      </a:r>
                    </a:p>
                    <a:p>
                      <a:pPr marL="0" marR="0" indent="0" algn="ctr" defTabSz="914377" rtl="0" eaLnBrk="1" fontAlgn="b" latinLnBrk="0" hangingPunct="1">
                        <a:lnSpc>
                          <a:spcPct val="100000"/>
                        </a:lnSpc>
                        <a:spcBef>
                          <a:spcPts val="0"/>
                        </a:spcBef>
                        <a:spcAft>
                          <a:spcPts val="0"/>
                        </a:spcAft>
                        <a:buClrTx/>
                        <a:buSzTx/>
                        <a:buFontTx/>
                        <a:buNone/>
                        <a:tabLst/>
                        <a:defRPr/>
                      </a:pPr>
                      <a:r>
                        <a:rPr lang="en-US" sz="900" b="0" i="0" u="none" strike="noStrike" dirty="0">
                          <a:solidFill>
                            <a:schemeClr val="bg1"/>
                          </a:solidFill>
                          <a:effectLst/>
                          <a:latin typeface="+mn-lt"/>
                          <a:cs typeface="HelveticaNeueLT Std Med"/>
                        </a:rPr>
                        <a:t>Dec</a:t>
                      </a:r>
                      <a:r>
                        <a:rPr lang="en-US" sz="900" b="0" i="0" u="none" strike="noStrike" baseline="0" dirty="0">
                          <a:solidFill>
                            <a:schemeClr val="bg1"/>
                          </a:solidFill>
                          <a:effectLst/>
                          <a:latin typeface="+mn-lt"/>
                          <a:cs typeface="HelveticaNeueLT Std Med"/>
                        </a:rPr>
                        <a:t> 11 – 15</a:t>
                      </a:r>
                      <a:endParaRPr lang="en-US" sz="900" b="0" i="0" u="none" strike="noStrike" dirty="0">
                        <a:solidFill>
                          <a:schemeClr val="bg1"/>
                        </a:solidFill>
                        <a:effectLst/>
                        <a:latin typeface="+mn-lt"/>
                        <a:cs typeface="HelveticaNeueLT Std Med"/>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marL="0" marR="0" indent="0" algn="ctr" defTabSz="914377" rtl="0" eaLnBrk="1" fontAlgn="b" latinLnBrk="0" hangingPunct="1">
                        <a:lnSpc>
                          <a:spcPct val="100000"/>
                        </a:lnSpc>
                        <a:spcBef>
                          <a:spcPts val="0"/>
                        </a:spcBef>
                        <a:spcAft>
                          <a:spcPts val="0"/>
                        </a:spcAft>
                        <a:buClrTx/>
                        <a:buSzTx/>
                        <a:buFontTx/>
                        <a:buNone/>
                        <a:tabLst/>
                        <a:defRPr/>
                      </a:pPr>
                      <a:r>
                        <a:rPr lang="en-US" sz="1200" b="0" i="0" u="none" strike="noStrike" dirty="0">
                          <a:solidFill>
                            <a:schemeClr val="bg1"/>
                          </a:solidFill>
                          <a:effectLst/>
                          <a:latin typeface="+mn-lt"/>
                          <a:cs typeface="HelveticaNeueLT Std Med"/>
                        </a:rPr>
                        <a:t>Complete</a:t>
                      </a:r>
                    </a:p>
                    <a:p>
                      <a:pPr marL="0" marR="0" indent="0" algn="ctr" defTabSz="914377" rtl="0" eaLnBrk="1" fontAlgn="b" latinLnBrk="0" hangingPunct="1">
                        <a:lnSpc>
                          <a:spcPct val="100000"/>
                        </a:lnSpc>
                        <a:spcBef>
                          <a:spcPts val="0"/>
                        </a:spcBef>
                        <a:spcAft>
                          <a:spcPts val="0"/>
                        </a:spcAft>
                        <a:buClrTx/>
                        <a:buSzTx/>
                        <a:buFontTx/>
                        <a:buNone/>
                        <a:tabLst/>
                        <a:defRPr/>
                      </a:pPr>
                      <a:r>
                        <a:rPr lang="en-US" sz="900" b="0" i="0" u="none" strike="noStrike" dirty="0">
                          <a:solidFill>
                            <a:schemeClr val="bg1"/>
                          </a:solidFill>
                          <a:effectLst/>
                          <a:latin typeface="+mn-lt"/>
                          <a:cs typeface="HelveticaNeueLT Std Med"/>
                        </a:rPr>
                        <a:t>Dec 18</a:t>
                      </a:r>
                      <a:r>
                        <a:rPr lang="en-US" sz="900" b="0" i="0" u="none" strike="noStrike" baseline="0" dirty="0">
                          <a:solidFill>
                            <a:schemeClr val="bg1"/>
                          </a:solidFill>
                          <a:effectLst/>
                          <a:latin typeface="+mn-lt"/>
                          <a:cs typeface="HelveticaNeueLT Std Med"/>
                        </a:rPr>
                        <a:t> - 22</a:t>
                      </a:r>
                      <a:endParaRPr lang="en-US" sz="900" b="0" i="0" u="none" strike="noStrike" dirty="0">
                        <a:solidFill>
                          <a:schemeClr val="bg1"/>
                        </a:solidFill>
                        <a:effectLst/>
                        <a:latin typeface="+mn-lt"/>
                        <a:cs typeface="HelveticaNeueLT Std Med"/>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4439687">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9525"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pattFill prst="wdDnDiag">
                      <a:fgClr>
                        <a:schemeClr val="bg1">
                          <a:lumMod val="95000"/>
                        </a:schemeClr>
                      </a:fgClr>
                      <a:bgClr>
                        <a:schemeClr val="bg1"/>
                      </a:bgClr>
                    </a:patt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endParaRPr lang="en-US" sz="1200" b="0" i="0" u="none" strike="noStrike" dirty="0">
                        <a:solidFill>
                          <a:schemeClr val="bg1"/>
                        </a:solidFill>
                        <a:effectLst/>
                        <a:latin typeface="HelveticaNeueLT Std Med"/>
                        <a:cs typeface="HelveticaNeueLT Std Med"/>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bl>
          </a:graphicData>
        </a:graphic>
      </p:graphicFrame>
      <p:sp>
        <p:nvSpPr>
          <p:cNvPr id="7" name="Rectangle 6">
            <a:extLst>
              <a:ext uri="{FF2B5EF4-FFF2-40B4-BE49-F238E27FC236}">
                <a16:creationId xmlns:a16="http://schemas.microsoft.com/office/drawing/2014/main" id="{1A723A8E-A786-4DD9-A824-3BB6A671B1A0}"/>
              </a:ext>
            </a:extLst>
          </p:cNvPr>
          <p:cNvSpPr/>
          <p:nvPr/>
        </p:nvSpPr>
        <p:spPr>
          <a:xfrm>
            <a:off x="2080341" y="2665037"/>
            <a:ext cx="2113590" cy="4238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57150" marR="0" lvl="0" indent="0" algn="ctr"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5" normalizeH="0" baseline="0" noProof="0" dirty="0">
                <a:ln>
                  <a:noFill/>
                </a:ln>
                <a:solidFill>
                  <a:schemeClr val="tx1"/>
                </a:solidFill>
                <a:effectLst/>
                <a:uLnTx/>
                <a:uFillTx/>
                <a:latin typeface="Open Sans"/>
                <a:ea typeface="+mn-ea"/>
                <a:cs typeface="Arial"/>
              </a:rPr>
              <a:t>Build data model for analytics</a:t>
            </a:r>
          </a:p>
        </p:txBody>
      </p:sp>
      <p:sp>
        <p:nvSpPr>
          <p:cNvPr id="8" name="Rectangle 7">
            <a:extLst>
              <a:ext uri="{FF2B5EF4-FFF2-40B4-BE49-F238E27FC236}">
                <a16:creationId xmlns:a16="http://schemas.microsoft.com/office/drawing/2014/main" id="{99D21D8F-4407-42AE-9F6A-90A1CBF7FB24}"/>
              </a:ext>
            </a:extLst>
          </p:cNvPr>
          <p:cNvSpPr/>
          <p:nvPr/>
        </p:nvSpPr>
        <p:spPr>
          <a:xfrm>
            <a:off x="5097000" y="3941699"/>
            <a:ext cx="3150529" cy="4081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57150" marR="0" lvl="0" indent="0" algn="ctr"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5" normalizeH="0" baseline="0" noProof="0" dirty="0">
                <a:ln>
                  <a:noFill/>
                </a:ln>
                <a:solidFill>
                  <a:schemeClr val="tx1"/>
                </a:solidFill>
                <a:effectLst/>
                <a:uLnTx/>
                <a:uFillTx/>
                <a:latin typeface="Open Sans"/>
                <a:ea typeface="+mn-ea"/>
                <a:cs typeface="Arial"/>
              </a:rPr>
              <a:t>Identify leading industry practices applicable to nuanced </a:t>
            </a:r>
            <a:r>
              <a:rPr lang="en-US" sz="900" spc="-5" dirty="0">
                <a:solidFill>
                  <a:schemeClr val="tx1"/>
                </a:solidFill>
                <a:latin typeface="Open Sans"/>
                <a:cs typeface="Arial"/>
              </a:rPr>
              <a:t>w</a:t>
            </a:r>
            <a:r>
              <a:rPr kumimoji="0" lang="en-US" sz="900" b="0" i="0" u="none" strike="noStrike" kern="1200" cap="none" spc="-5" normalizeH="0" baseline="0" noProof="0" dirty="0" err="1">
                <a:ln>
                  <a:noFill/>
                </a:ln>
                <a:solidFill>
                  <a:schemeClr val="tx1"/>
                </a:solidFill>
                <a:effectLst/>
                <a:uLnTx/>
                <a:uFillTx/>
                <a:latin typeface="Open Sans"/>
                <a:ea typeface="+mn-ea"/>
                <a:cs typeface="Arial"/>
              </a:rPr>
              <a:t>holesale</a:t>
            </a:r>
            <a:r>
              <a:rPr kumimoji="0" lang="en-US" sz="900" b="0" i="0" u="none" strike="noStrike" kern="1200" cap="none" spc="-5" normalizeH="0" baseline="0" noProof="0" dirty="0">
                <a:ln>
                  <a:noFill/>
                </a:ln>
                <a:solidFill>
                  <a:schemeClr val="tx1"/>
                </a:solidFill>
                <a:effectLst/>
                <a:uLnTx/>
                <a:uFillTx/>
                <a:latin typeface="Open Sans"/>
                <a:ea typeface="+mn-ea"/>
                <a:cs typeface="Arial"/>
              </a:rPr>
              <a:t> channels </a:t>
            </a:r>
          </a:p>
        </p:txBody>
      </p:sp>
      <p:sp>
        <p:nvSpPr>
          <p:cNvPr id="9" name="Rectangle 8">
            <a:extLst>
              <a:ext uri="{FF2B5EF4-FFF2-40B4-BE49-F238E27FC236}">
                <a16:creationId xmlns:a16="http://schemas.microsoft.com/office/drawing/2014/main" id="{D3C5610C-A1D0-44D1-8493-5081C7A69A5A}"/>
              </a:ext>
            </a:extLst>
          </p:cNvPr>
          <p:cNvSpPr/>
          <p:nvPr/>
        </p:nvSpPr>
        <p:spPr>
          <a:xfrm>
            <a:off x="5756579" y="4481253"/>
            <a:ext cx="2462282" cy="3980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57150" marR="0" lvl="0" indent="0" algn="ctr"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5" normalizeH="0" baseline="0" noProof="0" dirty="0">
                <a:ln>
                  <a:noFill/>
                </a:ln>
                <a:solidFill>
                  <a:schemeClr val="tx1"/>
                </a:solidFill>
                <a:effectLst/>
                <a:uLnTx/>
                <a:uFillTx/>
                <a:latin typeface="Open Sans"/>
                <a:ea typeface="+mn-ea"/>
                <a:cs typeface="Arial"/>
              </a:rPr>
              <a:t>Assess feasibility of application of leading practices</a:t>
            </a:r>
          </a:p>
        </p:txBody>
      </p:sp>
      <p:sp>
        <p:nvSpPr>
          <p:cNvPr id="10" name="Rectangle 9">
            <a:extLst>
              <a:ext uri="{FF2B5EF4-FFF2-40B4-BE49-F238E27FC236}">
                <a16:creationId xmlns:a16="http://schemas.microsoft.com/office/drawing/2014/main" id="{0E2C2675-B395-4208-A6BA-BBA4FF21A077}"/>
              </a:ext>
            </a:extLst>
          </p:cNvPr>
          <p:cNvSpPr/>
          <p:nvPr/>
        </p:nvSpPr>
        <p:spPr>
          <a:xfrm>
            <a:off x="8707434" y="5640581"/>
            <a:ext cx="1164511" cy="4411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57150" marR="0" lvl="0" indent="0" algn="ctr"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5" normalizeH="0" baseline="0" noProof="0" dirty="0">
                <a:ln>
                  <a:noFill/>
                </a:ln>
                <a:solidFill>
                  <a:schemeClr val="tx1"/>
                </a:solidFill>
                <a:effectLst/>
                <a:uLnTx/>
                <a:uFillTx/>
                <a:latin typeface="Open Sans"/>
                <a:ea typeface="+mn-ea"/>
                <a:cs typeface="Arial"/>
              </a:rPr>
              <a:t>Develop high-level implementation plan</a:t>
            </a:r>
          </a:p>
        </p:txBody>
      </p:sp>
      <p:sp>
        <p:nvSpPr>
          <p:cNvPr id="11" name="Rectangle 10">
            <a:extLst>
              <a:ext uri="{FF2B5EF4-FFF2-40B4-BE49-F238E27FC236}">
                <a16:creationId xmlns:a16="http://schemas.microsoft.com/office/drawing/2014/main" id="{EE2D84AB-5149-47C9-806C-233035F1F3FD}"/>
              </a:ext>
            </a:extLst>
          </p:cNvPr>
          <p:cNvSpPr/>
          <p:nvPr/>
        </p:nvSpPr>
        <p:spPr>
          <a:xfrm>
            <a:off x="1552856" y="2255369"/>
            <a:ext cx="2447643" cy="3716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57150" marR="0" lvl="0" indent="0" algn="ctr"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5" normalizeH="0" baseline="0" noProof="0" dirty="0">
                <a:ln>
                  <a:noFill/>
                </a:ln>
                <a:solidFill>
                  <a:schemeClr val="tx1"/>
                </a:solidFill>
                <a:effectLst/>
                <a:uLnTx/>
                <a:uFillTx/>
                <a:latin typeface="Open Sans"/>
                <a:ea typeface="+mn-ea"/>
                <a:cs typeface="Arial"/>
              </a:rPr>
              <a:t>Collect and test master data</a:t>
            </a:r>
          </a:p>
        </p:txBody>
      </p:sp>
      <p:sp>
        <p:nvSpPr>
          <p:cNvPr id="12" name="Rectangle 11">
            <a:extLst>
              <a:ext uri="{FF2B5EF4-FFF2-40B4-BE49-F238E27FC236}">
                <a16:creationId xmlns:a16="http://schemas.microsoft.com/office/drawing/2014/main" id="{27E5AF7E-98AC-4A6F-AC0D-03F6F52D5C3F}"/>
              </a:ext>
            </a:extLst>
          </p:cNvPr>
          <p:cNvSpPr/>
          <p:nvPr/>
        </p:nvSpPr>
        <p:spPr>
          <a:xfrm>
            <a:off x="7035983" y="5019280"/>
            <a:ext cx="1898504" cy="4411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57150" marR="0" lvl="0" indent="0" algn="ctr"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5" normalizeH="0" baseline="0" noProof="0" dirty="0">
                <a:ln>
                  <a:noFill/>
                </a:ln>
                <a:solidFill>
                  <a:schemeClr val="tx1"/>
                </a:solidFill>
                <a:effectLst/>
                <a:uLnTx/>
                <a:uFillTx/>
                <a:latin typeface="Open Sans"/>
                <a:ea typeface="+mn-ea"/>
                <a:cs typeface="Arial"/>
              </a:rPr>
              <a:t>Estimate financial impact of aligning with leading practices with a “Win-Win” mentality</a:t>
            </a:r>
          </a:p>
        </p:txBody>
      </p:sp>
      <p:sp>
        <p:nvSpPr>
          <p:cNvPr id="13" name="object 36">
            <a:extLst>
              <a:ext uri="{FF2B5EF4-FFF2-40B4-BE49-F238E27FC236}">
                <a16:creationId xmlns:a16="http://schemas.microsoft.com/office/drawing/2014/main" id="{F2015EA1-68DB-4132-BEC7-D56F026DC4D5}"/>
              </a:ext>
            </a:extLst>
          </p:cNvPr>
          <p:cNvSpPr/>
          <p:nvPr/>
        </p:nvSpPr>
        <p:spPr>
          <a:xfrm>
            <a:off x="636494" y="2183443"/>
            <a:ext cx="3618983" cy="960074"/>
          </a:xfrm>
          <a:custGeom>
            <a:avLst/>
            <a:gdLst/>
            <a:ahLst/>
            <a:cxnLst/>
            <a:rect l="l" t="t" r="r" b="b"/>
            <a:pathLst>
              <a:path w="3264534" h="1369060">
                <a:moveTo>
                  <a:pt x="0" y="0"/>
                </a:moveTo>
                <a:lnTo>
                  <a:pt x="3264408" y="0"/>
                </a:lnTo>
                <a:lnTo>
                  <a:pt x="3264408" y="1368552"/>
                </a:lnTo>
                <a:lnTo>
                  <a:pt x="0" y="1368552"/>
                </a:lnTo>
                <a:lnTo>
                  <a:pt x="0" y="0"/>
                </a:lnTo>
                <a:close/>
              </a:path>
            </a:pathLst>
          </a:custGeom>
          <a:ln w="9144">
            <a:solidFill>
              <a:schemeClr val="tx1"/>
            </a:solidFill>
            <a:prstDash val="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4" name="object 36">
            <a:extLst>
              <a:ext uri="{FF2B5EF4-FFF2-40B4-BE49-F238E27FC236}">
                <a16:creationId xmlns:a16="http://schemas.microsoft.com/office/drawing/2014/main" id="{68610E11-B5BA-4452-8B4E-4E7CC8A329B3}"/>
              </a:ext>
            </a:extLst>
          </p:cNvPr>
          <p:cNvSpPr/>
          <p:nvPr/>
        </p:nvSpPr>
        <p:spPr>
          <a:xfrm>
            <a:off x="4330461" y="3873430"/>
            <a:ext cx="4669881" cy="1661140"/>
          </a:xfrm>
          <a:custGeom>
            <a:avLst/>
            <a:gdLst/>
            <a:ahLst/>
            <a:cxnLst/>
            <a:rect l="l" t="t" r="r" b="b"/>
            <a:pathLst>
              <a:path w="3264534" h="1369060">
                <a:moveTo>
                  <a:pt x="0" y="0"/>
                </a:moveTo>
                <a:lnTo>
                  <a:pt x="3264408" y="0"/>
                </a:lnTo>
                <a:lnTo>
                  <a:pt x="3264408" y="1368552"/>
                </a:lnTo>
                <a:lnTo>
                  <a:pt x="0" y="1368552"/>
                </a:lnTo>
                <a:lnTo>
                  <a:pt x="0" y="0"/>
                </a:lnTo>
                <a:close/>
              </a:path>
            </a:pathLst>
          </a:custGeom>
          <a:ln w="9144">
            <a:solidFill>
              <a:schemeClr val="tx1"/>
            </a:solidFill>
            <a:prstDash val="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5" name="object 36">
            <a:extLst>
              <a:ext uri="{FF2B5EF4-FFF2-40B4-BE49-F238E27FC236}">
                <a16:creationId xmlns:a16="http://schemas.microsoft.com/office/drawing/2014/main" id="{ADBFE845-58C8-44AC-9641-8F6526F1A750}"/>
              </a:ext>
            </a:extLst>
          </p:cNvPr>
          <p:cNvSpPr/>
          <p:nvPr/>
        </p:nvSpPr>
        <p:spPr>
          <a:xfrm>
            <a:off x="6892417" y="5584688"/>
            <a:ext cx="3346198" cy="806278"/>
          </a:xfrm>
          <a:custGeom>
            <a:avLst/>
            <a:gdLst/>
            <a:ahLst/>
            <a:cxnLst/>
            <a:rect l="l" t="t" r="r" b="b"/>
            <a:pathLst>
              <a:path w="3264534" h="1369060">
                <a:moveTo>
                  <a:pt x="0" y="0"/>
                </a:moveTo>
                <a:lnTo>
                  <a:pt x="3264408" y="0"/>
                </a:lnTo>
                <a:lnTo>
                  <a:pt x="3264408" y="1368552"/>
                </a:lnTo>
                <a:lnTo>
                  <a:pt x="0" y="1368552"/>
                </a:lnTo>
                <a:lnTo>
                  <a:pt x="0" y="0"/>
                </a:lnTo>
                <a:close/>
              </a:path>
            </a:pathLst>
          </a:custGeom>
          <a:ln w="9144">
            <a:solidFill>
              <a:schemeClr val="tx1"/>
            </a:solidFill>
            <a:prstDash val="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6" name="Isosceles Triangle 15">
            <a:extLst>
              <a:ext uri="{FF2B5EF4-FFF2-40B4-BE49-F238E27FC236}">
                <a16:creationId xmlns:a16="http://schemas.microsoft.com/office/drawing/2014/main" id="{87FF435D-1C59-46D0-803F-F7535D7ADE87}"/>
              </a:ext>
            </a:extLst>
          </p:cNvPr>
          <p:cNvSpPr/>
          <p:nvPr/>
        </p:nvSpPr>
        <p:spPr>
          <a:xfrm>
            <a:off x="4535334" y="6405563"/>
            <a:ext cx="239020" cy="195922"/>
          </a:xfrm>
          <a:prstGeom prst="triangl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7" name="Isosceles Triangle 16">
            <a:extLst>
              <a:ext uri="{FF2B5EF4-FFF2-40B4-BE49-F238E27FC236}">
                <a16:creationId xmlns:a16="http://schemas.microsoft.com/office/drawing/2014/main" id="{72FA8A37-DFEA-4F3F-95F6-060FEA068F03}"/>
              </a:ext>
            </a:extLst>
          </p:cNvPr>
          <p:cNvSpPr/>
          <p:nvPr/>
        </p:nvSpPr>
        <p:spPr>
          <a:xfrm>
            <a:off x="10695814" y="6405563"/>
            <a:ext cx="239020" cy="195922"/>
          </a:xfrm>
          <a:prstGeom prst="triangl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8" name="object 24">
            <a:extLst>
              <a:ext uri="{FF2B5EF4-FFF2-40B4-BE49-F238E27FC236}">
                <a16:creationId xmlns:a16="http://schemas.microsoft.com/office/drawing/2014/main" id="{8826ABDA-FEB9-4FB6-B2FF-4329DD649512}"/>
              </a:ext>
            </a:extLst>
          </p:cNvPr>
          <p:cNvSpPr txBox="1"/>
          <p:nvPr/>
        </p:nvSpPr>
        <p:spPr>
          <a:xfrm rot="5400000">
            <a:off x="7699697" y="5199810"/>
            <a:ext cx="400110" cy="1727538"/>
          </a:xfrm>
          <a:prstGeom prst="rect">
            <a:avLst/>
          </a:prstGeom>
        </p:spPr>
        <p:txBody>
          <a:bodyPr vert="vert270"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5" normalizeH="0" baseline="0" noProof="0" dirty="0">
                <a:ln>
                  <a:noFill/>
                </a:ln>
                <a:solidFill>
                  <a:srgbClr val="000000"/>
                </a:solidFill>
                <a:effectLst/>
                <a:uLnTx/>
                <a:uFillTx/>
                <a:latin typeface="Open Sans"/>
                <a:ea typeface="+mn-ea"/>
                <a:cs typeface="Arial"/>
              </a:rPr>
              <a:t>IMPLEMENTATION ROADMAP</a:t>
            </a:r>
            <a:endParaRPr kumimoji="0" lang="en-US" sz="1300" b="1" i="0" u="none" strike="noStrike" kern="1200" cap="none" spc="0" normalizeH="0" baseline="0" noProof="0" dirty="0">
              <a:ln>
                <a:noFill/>
              </a:ln>
              <a:solidFill>
                <a:srgbClr val="000000"/>
              </a:solidFill>
              <a:effectLst/>
              <a:uLnTx/>
              <a:uFillTx/>
              <a:latin typeface="Open Sans"/>
              <a:ea typeface="+mn-ea"/>
              <a:cs typeface="Arial"/>
            </a:endParaRPr>
          </a:p>
        </p:txBody>
      </p:sp>
      <p:sp>
        <p:nvSpPr>
          <p:cNvPr id="19" name="Isosceles Triangle 18">
            <a:extLst>
              <a:ext uri="{FF2B5EF4-FFF2-40B4-BE49-F238E27FC236}">
                <a16:creationId xmlns:a16="http://schemas.microsoft.com/office/drawing/2014/main" id="{06BD63ED-DE2D-4D72-A07C-AC7C0807B59C}"/>
              </a:ext>
            </a:extLst>
          </p:cNvPr>
          <p:cNvSpPr/>
          <p:nvPr/>
        </p:nvSpPr>
        <p:spPr>
          <a:xfrm>
            <a:off x="2326475" y="6405563"/>
            <a:ext cx="239020" cy="195922"/>
          </a:xfrm>
          <a:prstGeom prst="triangl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20" name="Rectangular Callout 22">
            <a:extLst>
              <a:ext uri="{FF2B5EF4-FFF2-40B4-BE49-F238E27FC236}">
                <a16:creationId xmlns:a16="http://schemas.microsoft.com/office/drawing/2014/main" id="{1116F672-395C-4983-9FC4-7B43BECBE240}"/>
              </a:ext>
            </a:extLst>
          </p:cNvPr>
          <p:cNvSpPr/>
          <p:nvPr/>
        </p:nvSpPr>
        <p:spPr>
          <a:xfrm>
            <a:off x="998099" y="3733244"/>
            <a:ext cx="1771478" cy="616590"/>
          </a:xfrm>
          <a:prstGeom prst="wedgeRectCallout">
            <a:avLst>
              <a:gd name="adj1" fmla="val 33931"/>
              <a:gd name="adj2" fmla="val -151063"/>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Open Sans"/>
                <a:ea typeface="+mn-ea"/>
                <a:cs typeface="+mn-cs"/>
              </a:rPr>
              <a:t>Baseline development took 1.5 weeks longer than planned</a:t>
            </a:r>
          </a:p>
        </p:txBody>
      </p:sp>
      <p:sp>
        <p:nvSpPr>
          <p:cNvPr id="21" name="object 36">
            <a:extLst>
              <a:ext uri="{FF2B5EF4-FFF2-40B4-BE49-F238E27FC236}">
                <a16:creationId xmlns:a16="http://schemas.microsoft.com/office/drawing/2014/main" id="{5F0620D7-7E41-4D99-8247-D1280E5E9701}"/>
              </a:ext>
            </a:extLst>
          </p:cNvPr>
          <p:cNvSpPr/>
          <p:nvPr/>
        </p:nvSpPr>
        <p:spPr>
          <a:xfrm>
            <a:off x="3048000" y="3172265"/>
            <a:ext cx="5664819" cy="626689"/>
          </a:xfrm>
          <a:custGeom>
            <a:avLst/>
            <a:gdLst/>
            <a:ahLst/>
            <a:cxnLst/>
            <a:rect l="l" t="t" r="r" b="b"/>
            <a:pathLst>
              <a:path w="3264534" h="1369060">
                <a:moveTo>
                  <a:pt x="0" y="0"/>
                </a:moveTo>
                <a:lnTo>
                  <a:pt x="3264408" y="0"/>
                </a:lnTo>
                <a:lnTo>
                  <a:pt x="3264408" y="1368552"/>
                </a:lnTo>
                <a:lnTo>
                  <a:pt x="0" y="1368552"/>
                </a:lnTo>
                <a:lnTo>
                  <a:pt x="0" y="0"/>
                </a:lnTo>
                <a:close/>
              </a:path>
            </a:pathLst>
          </a:custGeom>
          <a:ln w="9144">
            <a:solidFill>
              <a:schemeClr val="tx1"/>
            </a:solidFill>
            <a:prstDash val="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2" name="object 24">
            <a:extLst>
              <a:ext uri="{FF2B5EF4-FFF2-40B4-BE49-F238E27FC236}">
                <a16:creationId xmlns:a16="http://schemas.microsoft.com/office/drawing/2014/main" id="{EE6BEFBC-E940-4B92-AEA1-7CAD86AF0B41}"/>
              </a:ext>
            </a:extLst>
          </p:cNvPr>
          <p:cNvSpPr txBox="1"/>
          <p:nvPr/>
        </p:nvSpPr>
        <p:spPr>
          <a:xfrm rot="5400000">
            <a:off x="7166558" y="2115871"/>
            <a:ext cx="400110" cy="2573465"/>
          </a:xfrm>
          <a:prstGeom prst="rect">
            <a:avLst/>
          </a:prstGeom>
        </p:spPr>
        <p:txBody>
          <a:bodyPr vert="vert270"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5" normalizeH="0" baseline="0" noProof="0" dirty="0">
                <a:ln>
                  <a:noFill/>
                </a:ln>
                <a:solidFill>
                  <a:srgbClr val="000000"/>
                </a:solidFill>
                <a:effectLst/>
                <a:uLnTx/>
                <a:uFillTx/>
                <a:latin typeface="Open Sans"/>
                <a:ea typeface="+mn-ea"/>
                <a:cs typeface="Arial"/>
              </a:rPr>
              <a:t>IDENTIFY INTERVENTIONAL OPPORTUNITIES</a:t>
            </a:r>
            <a:endParaRPr kumimoji="0" lang="en-US" sz="1300" b="1" i="0" u="none" strike="noStrike" kern="1200" cap="none" spc="0" normalizeH="0" baseline="0" noProof="0" dirty="0">
              <a:ln>
                <a:noFill/>
              </a:ln>
              <a:solidFill>
                <a:srgbClr val="000000"/>
              </a:solidFill>
              <a:effectLst/>
              <a:uLnTx/>
              <a:uFillTx/>
              <a:latin typeface="Open Sans"/>
              <a:ea typeface="+mn-ea"/>
              <a:cs typeface="Arial"/>
            </a:endParaRPr>
          </a:p>
        </p:txBody>
      </p:sp>
      <p:sp>
        <p:nvSpPr>
          <p:cNvPr id="23" name="Rectangle 22">
            <a:extLst>
              <a:ext uri="{FF2B5EF4-FFF2-40B4-BE49-F238E27FC236}">
                <a16:creationId xmlns:a16="http://schemas.microsoft.com/office/drawing/2014/main" id="{02AF09D7-C4CA-4315-8D14-A222491A3EEF}"/>
              </a:ext>
            </a:extLst>
          </p:cNvPr>
          <p:cNvSpPr/>
          <p:nvPr/>
        </p:nvSpPr>
        <p:spPr>
          <a:xfrm>
            <a:off x="702038" y="2255369"/>
            <a:ext cx="779895" cy="3716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57150" marR="0" lvl="0" indent="0" algn="ctr"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5" normalizeH="0" baseline="0" noProof="0" dirty="0">
                <a:ln>
                  <a:noFill/>
                </a:ln>
                <a:solidFill>
                  <a:schemeClr val="tx1"/>
                </a:solidFill>
                <a:effectLst/>
                <a:uLnTx/>
                <a:uFillTx/>
                <a:latin typeface="Open Sans"/>
                <a:ea typeface="+mn-ea"/>
                <a:cs typeface="Arial"/>
              </a:rPr>
              <a:t>Submit data request</a:t>
            </a:r>
          </a:p>
        </p:txBody>
      </p:sp>
      <p:sp>
        <p:nvSpPr>
          <p:cNvPr id="24" name="TextBox 23">
            <a:extLst>
              <a:ext uri="{FF2B5EF4-FFF2-40B4-BE49-F238E27FC236}">
                <a16:creationId xmlns:a16="http://schemas.microsoft.com/office/drawing/2014/main" id="{3C8E156E-565E-4CC7-B49E-1E38BD6C5A20}"/>
              </a:ext>
            </a:extLst>
          </p:cNvPr>
          <p:cNvSpPr txBox="1"/>
          <p:nvPr/>
        </p:nvSpPr>
        <p:spPr>
          <a:xfrm>
            <a:off x="10497975" y="6613350"/>
            <a:ext cx="624548" cy="221228"/>
          </a:xfrm>
          <a:prstGeom prst="rect">
            <a:avLst/>
          </a:prstGeom>
        </p:spPr>
        <p:txBody>
          <a:bodyPr vert="horz" wrap="non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hronicle Display Black"/>
                <a:ea typeface="+mn-ea"/>
                <a:cs typeface="+mn-cs"/>
              </a:rPr>
              <a:t>12/18</a:t>
            </a:r>
            <a:endParaRPr kumimoji="0" lang="en-US" sz="1000" b="1" i="1" u="none" strike="noStrike" kern="1200" cap="none" spc="0" normalizeH="0" baseline="0" noProof="0" dirty="0">
              <a:ln>
                <a:noFill/>
              </a:ln>
              <a:solidFill>
                <a:srgbClr val="000000"/>
              </a:solidFill>
              <a:effectLst/>
              <a:uLnTx/>
              <a:uFillTx/>
              <a:latin typeface="Chronicle Display Black"/>
              <a:ea typeface="+mn-ea"/>
              <a:cs typeface="+mn-cs"/>
            </a:endParaRPr>
          </a:p>
        </p:txBody>
      </p:sp>
      <p:sp>
        <p:nvSpPr>
          <p:cNvPr id="25" name="TextBox 24">
            <a:extLst>
              <a:ext uri="{FF2B5EF4-FFF2-40B4-BE49-F238E27FC236}">
                <a16:creationId xmlns:a16="http://schemas.microsoft.com/office/drawing/2014/main" id="{EF182F2F-5DE0-4B6F-9D38-002F3BAC07AD}"/>
              </a:ext>
            </a:extLst>
          </p:cNvPr>
          <p:cNvSpPr txBox="1"/>
          <p:nvPr/>
        </p:nvSpPr>
        <p:spPr>
          <a:xfrm>
            <a:off x="4364129" y="6613350"/>
            <a:ext cx="567771" cy="221228"/>
          </a:xfrm>
          <a:prstGeom prst="rect">
            <a:avLst/>
          </a:prstGeom>
        </p:spPr>
        <p:txBody>
          <a:bodyPr vert="horz" wrap="non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hronicle Display Black"/>
                <a:ea typeface="+mn-ea"/>
                <a:cs typeface="+mn-cs"/>
              </a:rPr>
              <a:t>11/9</a:t>
            </a:r>
            <a:endParaRPr kumimoji="0" lang="en-US" sz="1000" b="1" i="1" u="none" strike="noStrike" kern="1200" cap="none" spc="0" normalizeH="0" baseline="0" noProof="0" dirty="0">
              <a:ln>
                <a:noFill/>
              </a:ln>
              <a:solidFill>
                <a:srgbClr val="000000"/>
              </a:solidFill>
              <a:effectLst/>
              <a:uLnTx/>
              <a:uFillTx/>
              <a:latin typeface="Chronicle Display Black"/>
              <a:ea typeface="+mn-ea"/>
              <a:cs typeface="+mn-cs"/>
            </a:endParaRPr>
          </a:p>
        </p:txBody>
      </p:sp>
      <p:cxnSp>
        <p:nvCxnSpPr>
          <p:cNvPr id="26" name="Straight Connector 25">
            <a:extLst>
              <a:ext uri="{FF2B5EF4-FFF2-40B4-BE49-F238E27FC236}">
                <a16:creationId xmlns:a16="http://schemas.microsoft.com/office/drawing/2014/main" id="{E8CC16F7-CF69-4AEC-AFF4-4CBF08F98D1B}"/>
              </a:ext>
            </a:extLst>
          </p:cNvPr>
          <p:cNvCxnSpPr>
            <a:cxnSpLocks/>
          </p:cNvCxnSpPr>
          <p:nvPr/>
        </p:nvCxnSpPr>
        <p:spPr>
          <a:xfrm flipV="1">
            <a:off x="4654844" y="2183443"/>
            <a:ext cx="0" cy="4207523"/>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D28D1842-15D6-4067-A77C-DB6C7473AB68}"/>
              </a:ext>
            </a:extLst>
          </p:cNvPr>
          <p:cNvSpPr/>
          <p:nvPr/>
        </p:nvSpPr>
        <p:spPr>
          <a:xfrm>
            <a:off x="3130061" y="3238036"/>
            <a:ext cx="2810547" cy="5052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57150" marR="0" lvl="0" indent="0" algn="ctr"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5" normalizeH="0" baseline="0" noProof="0" dirty="0">
                <a:ln>
                  <a:noFill/>
                </a:ln>
                <a:solidFill>
                  <a:schemeClr val="tx1"/>
                </a:solidFill>
                <a:effectLst/>
                <a:uLnTx/>
                <a:uFillTx/>
                <a:latin typeface="Open Sans"/>
                <a:ea typeface="+mn-ea"/>
                <a:cs typeface="Arial"/>
              </a:rPr>
              <a:t>Assess violations from contractual agreements for top strategic partners and deviations from leading industry practices</a:t>
            </a:r>
          </a:p>
        </p:txBody>
      </p:sp>
      <p:sp>
        <p:nvSpPr>
          <p:cNvPr id="28" name="object 24">
            <a:extLst>
              <a:ext uri="{FF2B5EF4-FFF2-40B4-BE49-F238E27FC236}">
                <a16:creationId xmlns:a16="http://schemas.microsoft.com/office/drawing/2014/main" id="{3F45473F-7993-4DFD-A029-9590A88ACF53}"/>
              </a:ext>
            </a:extLst>
          </p:cNvPr>
          <p:cNvSpPr txBox="1"/>
          <p:nvPr/>
        </p:nvSpPr>
        <p:spPr>
          <a:xfrm rot="5400000">
            <a:off x="4957547" y="4528037"/>
            <a:ext cx="400110" cy="1518212"/>
          </a:xfrm>
          <a:prstGeom prst="rect">
            <a:avLst/>
          </a:prstGeom>
        </p:spPr>
        <p:txBody>
          <a:bodyPr vert="vert270"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5" normalizeH="0" baseline="0" noProof="0" dirty="0">
                <a:ln>
                  <a:noFill/>
                </a:ln>
                <a:solidFill>
                  <a:srgbClr val="000000"/>
                </a:solidFill>
                <a:effectLst/>
                <a:uLnTx/>
                <a:uFillTx/>
                <a:latin typeface="Open Sans"/>
                <a:ea typeface="+mn-ea"/>
                <a:cs typeface="Arial"/>
              </a:rPr>
              <a:t>REDESIGN TRADE TERMS</a:t>
            </a:r>
            <a:endParaRPr kumimoji="0" lang="en-US" sz="1300" b="1" i="0" u="none" strike="noStrike" kern="1200" cap="none" spc="0" normalizeH="0" baseline="0" noProof="0" dirty="0">
              <a:ln>
                <a:noFill/>
              </a:ln>
              <a:solidFill>
                <a:srgbClr val="000000"/>
              </a:solidFill>
              <a:effectLst/>
              <a:uLnTx/>
              <a:uFillTx/>
              <a:latin typeface="Open Sans"/>
              <a:ea typeface="+mn-ea"/>
              <a:cs typeface="Arial"/>
            </a:endParaRPr>
          </a:p>
        </p:txBody>
      </p:sp>
      <p:sp>
        <p:nvSpPr>
          <p:cNvPr id="29" name="object 24">
            <a:extLst>
              <a:ext uri="{FF2B5EF4-FFF2-40B4-BE49-F238E27FC236}">
                <a16:creationId xmlns:a16="http://schemas.microsoft.com/office/drawing/2014/main" id="{C61ECF98-802D-417A-A75A-7AC9F047A679}"/>
              </a:ext>
            </a:extLst>
          </p:cNvPr>
          <p:cNvSpPr txBox="1"/>
          <p:nvPr/>
        </p:nvSpPr>
        <p:spPr>
          <a:xfrm rot="5400000">
            <a:off x="4800829" y="1747931"/>
            <a:ext cx="400110" cy="1366147"/>
          </a:xfrm>
          <a:prstGeom prst="rect">
            <a:avLst/>
          </a:prstGeom>
        </p:spPr>
        <p:txBody>
          <a:bodyPr vert="vert270"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5" normalizeH="0" baseline="0" noProof="0" dirty="0">
                <a:ln>
                  <a:noFill/>
                </a:ln>
                <a:solidFill>
                  <a:srgbClr val="000000"/>
                </a:solidFill>
                <a:effectLst/>
                <a:uLnTx/>
                <a:uFillTx/>
                <a:latin typeface="Open Sans"/>
                <a:ea typeface="+mn-ea"/>
                <a:cs typeface="Arial"/>
              </a:rPr>
              <a:t>ESTABLISH BASELINE</a:t>
            </a:r>
            <a:endParaRPr kumimoji="0" lang="en-US" sz="1300" b="1" i="0" u="none" strike="noStrike" kern="1200" cap="none" spc="0" normalizeH="0" baseline="0" noProof="0" dirty="0">
              <a:ln>
                <a:noFill/>
              </a:ln>
              <a:solidFill>
                <a:srgbClr val="000000"/>
              </a:solidFill>
              <a:effectLst/>
              <a:uLnTx/>
              <a:uFillTx/>
              <a:latin typeface="Open Sans"/>
              <a:ea typeface="+mn-ea"/>
              <a:cs typeface="Arial"/>
            </a:endParaRPr>
          </a:p>
        </p:txBody>
      </p:sp>
      <p:sp>
        <p:nvSpPr>
          <p:cNvPr id="30" name="TextBox 29">
            <a:extLst>
              <a:ext uri="{FF2B5EF4-FFF2-40B4-BE49-F238E27FC236}">
                <a16:creationId xmlns:a16="http://schemas.microsoft.com/office/drawing/2014/main" id="{CF570639-0B57-4F4D-A594-B3E9221E17FE}"/>
              </a:ext>
            </a:extLst>
          </p:cNvPr>
          <p:cNvSpPr txBox="1"/>
          <p:nvPr/>
        </p:nvSpPr>
        <p:spPr>
          <a:xfrm>
            <a:off x="2137984" y="6613350"/>
            <a:ext cx="567771" cy="221228"/>
          </a:xfrm>
          <a:prstGeom prst="rect">
            <a:avLst/>
          </a:prstGeom>
        </p:spPr>
        <p:txBody>
          <a:bodyPr vert="horz" wrap="non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hronicle Display Black"/>
                <a:ea typeface="+mn-ea"/>
                <a:cs typeface="+mn-cs"/>
              </a:rPr>
              <a:t>10/26</a:t>
            </a:r>
            <a:endParaRPr kumimoji="0" lang="en-US" sz="1000" b="1" i="1" u="none" strike="noStrike" kern="1200" cap="none" spc="0" normalizeH="0" baseline="0" noProof="0" dirty="0">
              <a:ln>
                <a:noFill/>
              </a:ln>
              <a:solidFill>
                <a:srgbClr val="000000"/>
              </a:solidFill>
              <a:effectLst/>
              <a:uLnTx/>
              <a:uFillTx/>
              <a:latin typeface="Chronicle Display Black"/>
              <a:ea typeface="+mn-ea"/>
              <a:cs typeface="+mn-cs"/>
            </a:endParaRPr>
          </a:p>
        </p:txBody>
      </p:sp>
      <p:sp>
        <p:nvSpPr>
          <p:cNvPr id="32" name="Text Placeholder 2">
            <a:extLst>
              <a:ext uri="{FF2B5EF4-FFF2-40B4-BE49-F238E27FC236}">
                <a16:creationId xmlns:a16="http://schemas.microsoft.com/office/drawing/2014/main" id="{FB17E5C7-68AC-46B2-B7DE-FF8D85392FF7}"/>
              </a:ext>
            </a:extLst>
          </p:cNvPr>
          <p:cNvSpPr>
            <a:spLocks noGrp="1"/>
          </p:cNvSpPr>
          <p:nvPr>
            <p:ph type="body" sz="quarter" idx="14"/>
          </p:nvPr>
        </p:nvSpPr>
        <p:spPr>
          <a:xfrm>
            <a:off x="914721" y="1353312"/>
            <a:ext cx="10362880" cy="475488"/>
          </a:xfrm>
        </p:spPr>
        <p:txBody>
          <a:bodyPr/>
          <a:lstStyle/>
          <a:p>
            <a:r>
              <a:rPr lang="en-US" dirty="0"/>
              <a:t>Subheader placeholder</a:t>
            </a:r>
          </a:p>
        </p:txBody>
      </p:sp>
    </p:spTree>
    <p:extLst>
      <p:ext uri="{BB962C8B-B14F-4D97-AF65-F5344CB8AC3E}">
        <p14:creationId xmlns:p14="http://schemas.microsoft.com/office/powerpoint/2010/main" val="2718969173"/>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FE4010BC-39FC-4DD8-9DB8-87E5305F466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0884" name="think-cell Slide" r:id="rId6" imgW="415" imgH="416" progId="TCLayout.ActiveDocument.1">
                  <p:embed/>
                </p:oleObj>
              </mc:Choice>
              <mc:Fallback>
                <p:oleObj name="think-cell Slide" r:id="rId6" imgW="415" imgH="416" progId="TCLayout.ActiveDocument.1">
                  <p:embed/>
                  <p:pic>
                    <p:nvPicPr>
                      <p:cNvPr id="17" name="Object 16" hidden="1">
                        <a:extLst>
                          <a:ext uri="{FF2B5EF4-FFF2-40B4-BE49-F238E27FC236}">
                            <a16:creationId xmlns:a16="http://schemas.microsoft.com/office/drawing/2014/main" id="{FE4010BC-39FC-4DD8-9DB8-87E5305F466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AAF061D4-5564-46D3-8C60-35DA6859429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C5964F80-FA1C-470F-B291-63E0DA969234}"/>
              </a:ext>
            </a:extLst>
          </p:cNvPr>
          <p:cNvSpPr>
            <a:spLocks noGrp="1"/>
          </p:cNvSpPr>
          <p:nvPr>
            <p:ph type="title"/>
          </p:nvPr>
        </p:nvSpPr>
        <p:spPr/>
        <p:txBody>
          <a:bodyPr/>
          <a:lstStyle/>
          <a:p>
            <a:r>
              <a:rPr lang="en-US" dirty="0"/>
              <a:t>Project Timeline</a:t>
            </a:r>
          </a:p>
        </p:txBody>
      </p:sp>
      <p:sp>
        <p:nvSpPr>
          <p:cNvPr id="3" name="Text Placeholder 2">
            <a:extLst>
              <a:ext uri="{FF2B5EF4-FFF2-40B4-BE49-F238E27FC236}">
                <a16:creationId xmlns:a16="http://schemas.microsoft.com/office/drawing/2014/main" id="{6BCA7525-15D1-41EB-A0F3-F6423BC515A0}"/>
              </a:ext>
            </a:extLst>
          </p:cNvPr>
          <p:cNvSpPr>
            <a:spLocks noGrp="1"/>
          </p:cNvSpPr>
          <p:nvPr>
            <p:ph type="body" sz="quarter" idx="14"/>
          </p:nvPr>
        </p:nvSpPr>
        <p:spPr/>
        <p:txBody>
          <a:bodyPr/>
          <a:lstStyle/>
          <a:p>
            <a:r>
              <a:rPr lang="en-US" dirty="0"/>
              <a:t>Subheader placeholder</a:t>
            </a:r>
          </a:p>
        </p:txBody>
      </p:sp>
      <p:sp>
        <p:nvSpPr>
          <p:cNvPr id="4" name="Text Placeholder 3">
            <a:extLst>
              <a:ext uri="{FF2B5EF4-FFF2-40B4-BE49-F238E27FC236}">
                <a16:creationId xmlns:a16="http://schemas.microsoft.com/office/drawing/2014/main" id="{92E33A2D-E925-4F22-A260-6B07D3FD14A7}"/>
              </a:ext>
            </a:extLst>
          </p:cNvPr>
          <p:cNvSpPr>
            <a:spLocks noGrp="1"/>
          </p:cNvSpPr>
          <p:nvPr>
            <p:ph type="body" sz="quarter" idx="15"/>
          </p:nvPr>
        </p:nvSpPr>
        <p:spPr/>
        <p:txBody>
          <a:bodyPr/>
          <a:lstStyle/>
          <a:p>
            <a:r>
              <a:rPr lang="en-US" dirty="0"/>
              <a:t>Plans, timelines and roadmaps</a:t>
            </a:r>
          </a:p>
        </p:txBody>
      </p:sp>
      <p:graphicFrame>
        <p:nvGraphicFramePr>
          <p:cNvPr id="35" name="Table 34">
            <a:extLst>
              <a:ext uri="{FF2B5EF4-FFF2-40B4-BE49-F238E27FC236}">
                <a16:creationId xmlns:a16="http://schemas.microsoft.com/office/drawing/2014/main" id="{8E40B516-DBA9-4E1E-BE4F-E3A5D74CBE1E}"/>
              </a:ext>
            </a:extLst>
          </p:cNvPr>
          <p:cNvGraphicFramePr>
            <a:graphicFrameLocks noGrp="1"/>
          </p:cNvGraphicFramePr>
          <p:nvPr/>
        </p:nvGraphicFramePr>
        <p:xfrm>
          <a:off x="771147" y="1662308"/>
          <a:ext cx="11062953" cy="4695962"/>
        </p:xfrm>
        <a:graphic>
          <a:graphicData uri="http://schemas.openxmlformats.org/drawingml/2006/table">
            <a:tbl>
              <a:tblPr firstRow="1" bandRow="1">
                <a:tableStyleId>{5C22544A-7EE6-4342-B048-85BDC9FD1C3A}</a:tableStyleId>
              </a:tblPr>
              <a:tblGrid>
                <a:gridCol w="1005723">
                  <a:extLst>
                    <a:ext uri="{9D8B030D-6E8A-4147-A177-3AD203B41FA5}">
                      <a16:colId xmlns:a16="http://schemas.microsoft.com/office/drawing/2014/main" val="2548778964"/>
                    </a:ext>
                  </a:extLst>
                </a:gridCol>
                <a:gridCol w="1005723">
                  <a:extLst>
                    <a:ext uri="{9D8B030D-6E8A-4147-A177-3AD203B41FA5}">
                      <a16:colId xmlns:a16="http://schemas.microsoft.com/office/drawing/2014/main" val="3934820053"/>
                    </a:ext>
                  </a:extLst>
                </a:gridCol>
                <a:gridCol w="1005723">
                  <a:extLst>
                    <a:ext uri="{9D8B030D-6E8A-4147-A177-3AD203B41FA5}">
                      <a16:colId xmlns:a16="http://schemas.microsoft.com/office/drawing/2014/main" val="566947439"/>
                    </a:ext>
                  </a:extLst>
                </a:gridCol>
                <a:gridCol w="1005723">
                  <a:extLst>
                    <a:ext uri="{9D8B030D-6E8A-4147-A177-3AD203B41FA5}">
                      <a16:colId xmlns:a16="http://schemas.microsoft.com/office/drawing/2014/main" val="1790661049"/>
                    </a:ext>
                  </a:extLst>
                </a:gridCol>
                <a:gridCol w="1005723">
                  <a:extLst>
                    <a:ext uri="{9D8B030D-6E8A-4147-A177-3AD203B41FA5}">
                      <a16:colId xmlns:a16="http://schemas.microsoft.com/office/drawing/2014/main" val="3802981537"/>
                    </a:ext>
                  </a:extLst>
                </a:gridCol>
                <a:gridCol w="1005723">
                  <a:extLst>
                    <a:ext uri="{9D8B030D-6E8A-4147-A177-3AD203B41FA5}">
                      <a16:colId xmlns:a16="http://schemas.microsoft.com/office/drawing/2014/main" val="1877084468"/>
                    </a:ext>
                  </a:extLst>
                </a:gridCol>
                <a:gridCol w="1005723">
                  <a:extLst>
                    <a:ext uri="{9D8B030D-6E8A-4147-A177-3AD203B41FA5}">
                      <a16:colId xmlns:a16="http://schemas.microsoft.com/office/drawing/2014/main" val="951223109"/>
                    </a:ext>
                  </a:extLst>
                </a:gridCol>
                <a:gridCol w="1005723">
                  <a:extLst>
                    <a:ext uri="{9D8B030D-6E8A-4147-A177-3AD203B41FA5}">
                      <a16:colId xmlns:a16="http://schemas.microsoft.com/office/drawing/2014/main" val="2746780750"/>
                    </a:ext>
                  </a:extLst>
                </a:gridCol>
                <a:gridCol w="1005723">
                  <a:extLst>
                    <a:ext uri="{9D8B030D-6E8A-4147-A177-3AD203B41FA5}">
                      <a16:colId xmlns:a16="http://schemas.microsoft.com/office/drawing/2014/main" val="1328509815"/>
                    </a:ext>
                  </a:extLst>
                </a:gridCol>
                <a:gridCol w="1005723">
                  <a:extLst>
                    <a:ext uri="{9D8B030D-6E8A-4147-A177-3AD203B41FA5}">
                      <a16:colId xmlns:a16="http://schemas.microsoft.com/office/drawing/2014/main" val="2969728248"/>
                    </a:ext>
                  </a:extLst>
                </a:gridCol>
                <a:gridCol w="1005723">
                  <a:extLst>
                    <a:ext uri="{9D8B030D-6E8A-4147-A177-3AD203B41FA5}">
                      <a16:colId xmlns:a16="http://schemas.microsoft.com/office/drawing/2014/main" val="4014666040"/>
                    </a:ext>
                  </a:extLst>
                </a:gridCol>
              </a:tblGrid>
              <a:tr h="290288">
                <a:tc>
                  <a:txBody>
                    <a:bodyPr/>
                    <a:lstStyle/>
                    <a:p>
                      <a:pPr algn="ctr"/>
                      <a:r>
                        <a:rPr lang="en-US" sz="1200" b="1" dirty="0">
                          <a:solidFill>
                            <a:schemeClr val="bg1"/>
                          </a:solidFill>
                        </a:rPr>
                        <a:t>Week 0</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200" b="1" dirty="0">
                          <a:solidFill>
                            <a:schemeClr val="bg1"/>
                          </a:solidFill>
                        </a:rPr>
                        <a:t>Week 1</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200" b="1" dirty="0">
                          <a:solidFill>
                            <a:schemeClr val="bg1"/>
                          </a:solidFill>
                        </a:rPr>
                        <a:t>Week 2</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200" b="1" dirty="0">
                          <a:solidFill>
                            <a:schemeClr val="bg1"/>
                          </a:solidFill>
                        </a:rPr>
                        <a:t>Week 3</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200" b="1" dirty="0">
                          <a:solidFill>
                            <a:schemeClr val="bg1"/>
                          </a:solidFill>
                        </a:rPr>
                        <a:t>Week 4</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200" b="1" dirty="0">
                          <a:solidFill>
                            <a:schemeClr val="bg1"/>
                          </a:solidFill>
                        </a:rPr>
                        <a:t>Week 5</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200" b="1" dirty="0">
                          <a:solidFill>
                            <a:schemeClr val="bg1"/>
                          </a:solidFill>
                        </a:rPr>
                        <a:t>Week 6</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200" b="1" dirty="0">
                          <a:solidFill>
                            <a:schemeClr val="bg1"/>
                          </a:solidFill>
                        </a:rPr>
                        <a:t>Week 7</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200" b="1" dirty="0">
                          <a:solidFill>
                            <a:schemeClr val="bg1"/>
                          </a:solidFill>
                        </a:rPr>
                        <a:t> Week 8</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200" b="1" dirty="0">
                          <a:solidFill>
                            <a:schemeClr val="bg1"/>
                          </a:solidFill>
                        </a:rPr>
                        <a:t>Week 9</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200" b="1" dirty="0">
                          <a:solidFill>
                            <a:schemeClr val="bg1"/>
                          </a:solidFill>
                        </a:rPr>
                        <a:t>Week 10</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794947601"/>
                  </a:ext>
                </a:extLst>
              </a:tr>
              <a:tr h="4405674">
                <a:tc>
                  <a:txBody>
                    <a:bodyPr/>
                    <a:lstStyle/>
                    <a:p>
                      <a:pPr algn="l"/>
                      <a:endParaRPr lang="en-US" sz="1050" b="0" dirty="0">
                        <a:solidFill>
                          <a:schemeClr val="tx1"/>
                        </a:solidFill>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50" b="0" dirty="0">
                        <a:solidFill>
                          <a:schemeClr val="tx1"/>
                        </a:solidFill>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50" b="0" dirty="0">
                        <a:solidFill>
                          <a:schemeClr val="tx1"/>
                        </a:solidFill>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50" b="0" dirty="0">
                        <a:solidFill>
                          <a:schemeClr val="tx1"/>
                        </a:solidFill>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50" b="0" dirty="0">
                        <a:solidFill>
                          <a:schemeClr val="tx1"/>
                        </a:solidFill>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50" b="0" dirty="0">
                        <a:solidFill>
                          <a:schemeClr val="tx1"/>
                        </a:solidFill>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50" b="0" dirty="0">
                        <a:solidFill>
                          <a:schemeClr val="tx1"/>
                        </a:solidFill>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50" b="0" dirty="0">
                        <a:solidFill>
                          <a:schemeClr val="tx1"/>
                        </a:solidFill>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50" b="0" dirty="0">
                        <a:solidFill>
                          <a:schemeClr val="tx1"/>
                        </a:solidFill>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50" b="0" dirty="0">
                        <a:solidFill>
                          <a:schemeClr val="tx1"/>
                        </a:solidFill>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050" b="0" dirty="0">
                        <a:solidFill>
                          <a:schemeClr val="tx1"/>
                        </a:solidFill>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82762991"/>
                  </a:ext>
                </a:extLst>
              </a:tr>
            </a:tbl>
          </a:graphicData>
        </a:graphic>
      </p:graphicFrame>
      <p:sp>
        <p:nvSpPr>
          <p:cNvPr id="36" name="TextBox 35">
            <a:extLst>
              <a:ext uri="{FF2B5EF4-FFF2-40B4-BE49-F238E27FC236}">
                <a16:creationId xmlns:a16="http://schemas.microsoft.com/office/drawing/2014/main" id="{CB7CF3A6-CCFF-4A97-8309-B476706CEF77}"/>
              </a:ext>
            </a:extLst>
          </p:cNvPr>
          <p:cNvSpPr txBox="1"/>
          <p:nvPr/>
        </p:nvSpPr>
        <p:spPr>
          <a:xfrm rot="16200000">
            <a:off x="229884" y="2881624"/>
            <a:ext cx="889876" cy="124650"/>
          </a:xfrm>
          <a:prstGeom prst="rect">
            <a:avLst/>
          </a:prstGeom>
          <a:noFill/>
        </p:spPr>
        <p:txBody>
          <a:bodyPr wrap="square" lIns="0" tIns="0" rIns="0" bIns="0" rtlCol="0">
            <a:spAutoFit/>
          </a:bodyPr>
          <a:lstStyle/>
          <a:p>
            <a:pPr algn="ctr">
              <a:lnSpc>
                <a:spcPct val="90000"/>
              </a:lnSpc>
            </a:pPr>
            <a:r>
              <a:rPr lang="en-US" sz="900" b="1" kern="0" spc="100" dirty="0"/>
              <a:t>MILESTONES</a:t>
            </a:r>
          </a:p>
        </p:txBody>
      </p:sp>
      <p:sp>
        <p:nvSpPr>
          <p:cNvPr id="37" name="TextBox 36">
            <a:extLst>
              <a:ext uri="{FF2B5EF4-FFF2-40B4-BE49-F238E27FC236}">
                <a16:creationId xmlns:a16="http://schemas.microsoft.com/office/drawing/2014/main" id="{1A87E900-E09B-4A16-AF67-F7133E53902C}"/>
              </a:ext>
            </a:extLst>
          </p:cNvPr>
          <p:cNvSpPr txBox="1"/>
          <p:nvPr/>
        </p:nvSpPr>
        <p:spPr>
          <a:xfrm rot="16200000">
            <a:off x="-264359" y="5053363"/>
            <a:ext cx="1899284" cy="124650"/>
          </a:xfrm>
          <a:prstGeom prst="rect">
            <a:avLst/>
          </a:prstGeom>
          <a:noFill/>
        </p:spPr>
        <p:txBody>
          <a:bodyPr wrap="square" lIns="0" tIns="0" rIns="0" bIns="0" rtlCol="0">
            <a:spAutoFit/>
          </a:bodyPr>
          <a:lstStyle/>
          <a:p>
            <a:pPr algn="ctr">
              <a:lnSpc>
                <a:spcPct val="90000"/>
              </a:lnSpc>
            </a:pPr>
            <a:r>
              <a:rPr lang="en-US" sz="900" b="1" kern="0" spc="100" dirty="0"/>
              <a:t>PHASE + ACTIVITIES</a:t>
            </a:r>
          </a:p>
        </p:txBody>
      </p:sp>
      <p:sp>
        <p:nvSpPr>
          <p:cNvPr id="38" name="Rectangle 37">
            <a:extLst>
              <a:ext uri="{FF2B5EF4-FFF2-40B4-BE49-F238E27FC236}">
                <a16:creationId xmlns:a16="http://schemas.microsoft.com/office/drawing/2014/main" id="{794DF556-739E-4195-A68A-1163BB5AC707}"/>
              </a:ext>
            </a:extLst>
          </p:cNvPr>
          <p:cNvSpPr/>
          <p:nvPr/>
        </p:nvSpPr>
        <p:spPr>
          <a:xfrm>
            <a:off x="771147" y="2062036"/>
            <a:ext cx="1023868" cy="684803"/>
          </a:xfrm>
          <a:prstGeom prst="rect">
            <a:avLst/>
          </a:prstGeom>
        </p:spPr>
        <p:txBody>
          <a:bodyPr wrap="square">
            <a:spAutoFit/>
          </a:bodyPr>
          <a:lstStyle/>
          <a:p>
            <a:pPr>
              <a:spcAft>
                <a:spcPts val="200"/>
              </a:spcAft>
            </a:pPr>
            <a:r>
              <a:rPr lang="en-US" sz="900" b="1" dirty="0"/>
              <a:t>Alignment</a:t>
            </a:r>
          </a:p>
          <a:p>
            <a:pPr>
              <a:spcAft>
                <a:spcPts val="200"/>
              </a:spcAft>
            </a:pPr>
            <a:r>
              <a:rPr lang="en-US" sz="900" dirty="0"/>
              <a:t>Kick off project team and planning</a:t>
            </a:r>
          </a:p>
        </p:txBody>
      </p:sp>
      <p:sp>
        <p:nvSpPr>
          <p:cNvPr id="39" name="Rectangle 38">
            <a:extLst>
              <a:ext uri="{FF2B5EF4-FFF2-40B4-BE49-F238E27FC236}">
                <a16:creationId xmlns:a16="http://schemas.microsoft.com/office/drawing/2014/main" id="{5AAB86E2-D503-41A5-AD2A-9BDE6BCAB630}"/>
              </a:ext>
            </a:extLst>
          </p:cNvPr>
          <p:cNvSpPr/>
          <p:nvPr/>
        </p:nvSpPr>
        <p:spPr>
          <a:xfrm>
            <a:off x="1743502" y="2062036"/>
            <a:ext cx="2176531" cy="546303"/>
          </a:xfrm>
          <a:prstGeom prst="rect">
            <a:avLst/>
          </a:prstGeom>
        </p:spPr>
        <p:txBody>
          <a:bodyPr wrap="square">
            <a:spAutoFit/>
          </a:bodyPr>
          <a:lstStyle/>
          <a:p>
            <a:pPr>
              <a:spcAft>
                <a:spcPts val="200"/>
              </a:spcAft>
            </a:pPr>
            <a:r>
              <a:rPr lang="en-US" sz="900" b="1" dirty="0"/>
              <a:t>Internal Planning</a:t>
            </a:r>
          </a:p>
          <a:p>
            <a:pPr>
              <a:spcAft>
                <a:spcPts val="200"/>
              </a:spcAft>
            </a:pPr>
            <a:r>
              <a:rPr lang="en-US" sz="900" dirty="0"/>
              <a:t>Customize project team approach to Digital Transformation Framework</a:t>
            </a:r>
          </a:p>
        </p:txBody>
      </p:sp>
      <p:cxnSp>
        <p:nvCxnSpPr>
          <p:cNvPr id="40" name="Straight Connector 39">
            <a:extLst>
              <a:ext uri="{FF2B5EF4-FFF2-40B4-BE49-F238E27FC236}">
                <a16:creationId xmlns:a16="http://schemas.microsoft.com/office/drawing/2014/main" id="{AF6E9D13-3656-4015-8130-32BA3F5571EB}"/>
              </a:ext>
            </a:extLst>
          </p:cNvPr>
          <p:cNvCxnSpPr>
            <a:cxnSpLocks/>
          </p:cNvCxnSpPr>
          <p:nvPr/>
        </p:nvCxnSpPr>
        <p:spPr>
          <a:xfrm>
            <a:off x="784025" y="3773297"/>
            <a:ext cx="11017874" cy="0"/>
          </a:xfrm>
          <a:prstGeom prst="line">
            <a:avLst/>
          </a:prstGeom>
          <a:ln w="19050" cmpd="sng">
            <a:solidFill>
              <a:schemeClr val="bg1">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41" name="Rectangle 40">
            <a:extLst>
              <a:ext uri="{FF2B5EF4-FFF2-40B4-BE49-F238E27FC236}">
                <a16:creationId xmlns:a16="http://schemas.microsoft.com/office/drawing/2014/main" id="{77C5ACD4-C5F1-449E-BA54-FF0380721D8D}"/>
              </a:ext>
            </a:extLst>
          </p:cNvPr>
          <p:cNvSpPr/>
          <p:nvPr/>
        </p:nvSpPr>
        <p:spPr>
          <a:xfrm>
            <a:off x="3813048" y="2062036"/>
            <a:ext cx="3163571" cy="546303"/>
          </a:xfrm>
          <a:prstGeom prst="rect">
            <a:avLst/>
          </a:prstGeom>
        </p:spPr>
        <p:txBody>
          <a:bodyPr wrap="square">
            <a:spAutoFit/>
          </a:bodyPr>
          <a:lstStyle/>
          <a:p>
            <a:pPr>
              <a:spcAft>
                <a:spcPts val="200"/>
              </a:spcAft>
            </a:pPr>
            <a:r>
              <a:rPr lang="en-US" sz="900" b="1" dirty="0"/>
              <a:t>Discovery Interviews</a:t>
            </a:r>
          </a:p>
          <a:p>
            <a:pPr>
              <a:spcAft>
                <a:spcPts val="200"/>
              </a:spcAft>
            </a:pPr>
            <a:r>
              <a:rPr lang="en-US" sz="900" dirty="0"/>
              <a:t>Meet with executives and customers to understand current state and aspirations</a:t>
            </a:r>
          </a:p>
        </p:txBody>
      </p:sp>
      <p:sp>
        <p:nvSpPr>
          <p:cNvPr id="42" name="Rectangle 41">
            <a:extLst>
              <a:ext uri="{FF2B5EF4-FFF2-40B4-BE49-F238E27FC236}">
                <a16:creationId xmlns:a16="http://schemas.microsoft.com/office/drawing/2014/main" id="{2F8DBC69-578A-41B5-BFC8-0113E9DFCDFA}"/>
              </a:ext>
            </a:extLst>
          </p:cNvPr>
          <p:cNvSpPr/>
          <p:nvPr/>
        </p:nvSpPr>
        <p:spPr>
          <a:xfrm>
            <a:off x="8796833" y="2062036"/>
            <a:ext cx="1015282" cy="961802"/>
          </a:xfrm>
          <a:prstGeom prst="rect">
            <a:avLst/>
          </a:prstGeom>
        </p:spPr>
        <p:txBody>
          <a:bodyPr wrap="square">
            <a:spAutoFit/>
          </a:bodyPr>
          <a:lstStyle/>
          <a:p>
            <a:pPr>
              <a:spcAft>
                <a:spcPts val="200"/>
              </a:spcAft>
            </a:pPr>
            <a:r>
              <a:rPr lang="en-US" sz="900" b="1" dirty="0"/>
              <a:t>Workshop</a:t>
            </a:r>
          </a:p>
          <a:p>
            <a:pPr>
              <a:spcAft>
                <a:spcPts val="200"/>
              </a:spcAft>
            </a:pPr>
            <a:r>
              <a:rPr lang="en-US" sz="900" dirty="0"/>
              <a:t>Execute Digital Ambition &amp; Alignment workshop (multiple days)</a:t>
            </a:r>
            <a:endParaRPr lang="en-US" sz="900" i="1" dirty="0"/>
          </a:p>
        </p:txBody>
      </p:sp>
      <p:sp>
        <p:nvSpPr>
          <p:cNvPr id="43" name="Rectangle 42">
            <a:extLst>
              <a:ext uri="{FF2B5EF4-FFF2-40B4-BE49-F238E27FC236}">
                <a16:creationId xmlns:a16="http://schemas.microsoft.com/office/drawing/2014/main" id="{47878511-5A54-4C90-A2F7-6BEB3204E33B}"/>
              </a:ext>
            </a:extLst>
          </p:cNvPr>
          <p:cNvSpPr/>
          <p:nvPr/>
        </p:nvSpPr>
        <p:spPr>
          <a:xfrm>
            <a:off x="9866767" y="2062036"/>
            <a:ext cx="1919627" cy="861774"/>
          </a:xfrm>
          <a:prstGeom prst="rect">
            <a:avLst/>
          </a:prstGeom>
        </p:spPr>
        <p:txBody>
          <a:bodyPr wrap="square">
            <a:spAutoFit/>
          </a:bodyPr>
          <a:lstStyle/>
          <a:p>
            <a:pPr>
              <a:spcAft>
                <a:spcPts val="200"/>
              </a:spcAft>
            </a:pPr>
            <a:r>
              <a:rPr lang="en-US" sz="900" b="1" dirty="0"/>
              <a:t>Workshop Outputs</a:t>
            </a:r>
          </a:p>
          <a:p>
            <a:pPr>
              <a:spcAft>
                <a:spcPts val="200"/>
              </a:spcAft>
            </a:pPr>
            <a:r>
              <a:rPr lang="en-US" sz="900" dirty="0"/>
              <a:t>Synthesize, package and deliver outputs from workshop</a:t>
            </a:r>
            <a:r>
              <a:rPr lang="en-US" sz="900" b="1" dirty="0"/>
              <a:t>, </a:t>
            </a:r>
            <a:r>
              <a:rPr lang="en-US" sz="900" dirty="0"/>
              <a:t>including go-forward plans</a:t>
            </a:r>
          </a:p>
          <a:p>
            <a:pPr>
              <a:spcAft>
                <a:spcPts val="200"/>
              </a:spcAft>
            </a:pPr>
            <a:endParaRPr lang="en-US" sz="900" dirty="0"/>
          </a:p>
        </p:txBody>
      </p:sp>
      <p:sp>
        <p:nvSpPr>
          <p:cNvPr id="44" name="Arrow: Pentagon 13">
            <a:extLst>
              <a:ext uri="{FF2B5EF4-FFF2-40B4-BE49-F238E27FC236}">
                <a16:creationId xmlns:a16="http://schemas.microsoft.com/office/drawing/2014/main" id="{8BA63126-CA49-4D35-95B8-E6EF9BBA0C9A}"/>
              </a:ext>
            </a:extLst>
          </p:cNvPr>
          <p:cNvSpPr>
            <a:spLocks/>
          </p:cNvSpPr>
          <p:nvPr/>
        </p:nvSpPr>
        <p:spPr>
          <a:xfrm>
            <a:off x="841415" y="3937446"/>
            <a:ext cx="6949440" cy="228600"/>
          </a:xfrm>
          <a:prstGeom prst="homePlate">
            <a:avLst/>
          </a:prstGeom>
          <a:solidFill>
            <a:srgbClr val="FCE794"/>
          </a:solidFill>
          <a:ln w="19050">
            <a:noFill/>
          </a:ln>
          <a:effectLst/>
        </p:spPr>
        <p:style>
          <a:lnRef idx="1">
            <a:schemeClr val="accent1"/>
          </a:lnRef>
          <a:fillRef idx="3">
            <a:schemeClr val="accent1"/>
          </a:fillRef>
          <a:effectRef idx="2">
            <a:schemeClr val="accent1"/>
          </a:effectRef>
          <a:fontRef idx="minor">
            <a:schemeClr val="lt1"/>
          </a:fontRef>
        </p:style>
        <p:txBody>
          <a:bodyPr lIns="27432" tIns="0" rIns="0" bIns="0" rtlCol="0" anchor="ctr"/>
          <a:lstStyle/>
          <a:p>
            <a:pPr algn="ctr"/>
            <a:r>
              <a:rPr lang="en-US" sz="900" b="1" spc="300" dirty="0">
                <a:solidFill>
                  <a:schemeClr val="tx1"/>
                </a:solidFill>
              </a:rPr>
              <a:t>SENSE</a:t>
            </a:r>
            <a:endParaRPr lang="en-US" sz="900" b="1" i="1" spc="300" dirty="0">
              <a:solidFill>
                <a:schemeClr val="tx1"/>
              </a:solidFill>
            </a:endParaRPr>
          </a:p>
        </p:txBody>
      </p:sp>
      <p:sp>
        <p:nvSpPr>
          <p:cNvPr id="45" name="Rectangle 44">
            <a:extLst>
              <a:ext uri="{FF2B5EF4-FFF2-40B4-BE49-F238E27FC236}">
                <a16:creationId xmlns:a16="http://schemas.microsoft.com/office/drawing/2014/main" id="{321BAF43-D00A-4F04-88CE-BB808ADCE0A2}"/>
              </a:ext>
            </a:extLst>
          </p:cNvPr>
          <p:cNvSpPr/>
          <p:nvPr/>
        </p:nvSpPr>
        <p:spPr>
          <a:xfrm>
            <a:off x="781607" y="4232266"/>
            <a:ext cx="3605550" cy="815608"/>
          </a:xfrm>
          <a:prstGeom prst="rect">
            <a:avLst/>
          </a:prstGeom>
        </p:spPr>
        <p:txBody>
          <a:bodyPr wrap="square" tIns="0">
            <a:spAutoFit/>
          </a:bodyPr>
          <a:lstStyle/>
          <a:p>
            <a:pPr>
              <a:spcAft>
                <a:spcPts val="300"/>
              </a:spcAft>
            </a:pPr>
            <a:r>
              <a:rPr lang="en-US" sz="900" b="1" dirty="0">
                <a:ea typeface="Open Sans" charset="0"/>
                <a:cs typeface="Open Sans" charset="0"/>
              </a:rPr>
              <a:t>Understand Trends, Disruptors,  And Opportunities </a:t>
            </a:r>
          </a:p>
          <a:p>
            <a:pPr marL="171450" indent="-171450">
              <a:spcAft>
                <a:spcPts val="300"/>
              </a:spcAft>
              <a:buSzPct val="75000"/>
              <a:buFont typeface="Arial" panose="020B0604020202020204" pitchFamily="34" charset="0"/>
              <a:buChar char="•"/>
            </a:pPr>
            <a:r>
              <a:rPr lang="en-US" sz="900" dirty="0">
                <a:ea typeface="Open Sans" charset="0"/>
                <a:cs typeface="Open Sans" charset="0"/>
              </a:rPr>
              <a:t>Conduct research to understand digital strengths, development areas, and market perceptions including industry, customer, and emerging technology trends </a:t>
            </a:r>
          </a:p>
          <a:p>
            <a:pPr marL="171450" indent="-171450">
              <a:spcAft>
                <a:spcPts val="300"/>
              </a:spcAft>
              <a:buSzPct val="75000"/>
              <a:buFont typeface="Arial" panose="020B0604020202020204" pitchFamily="34" charset="0"/>
              <a:buChar char="•"/>
            </a:pPr>
            <a:r>
              <a:rPr lang="en-US" sz="900" dirty="0">
                <a:ea typeface="Open Sans" charset="0"/>
                <a:cs typeface="Open Sans" charset="0"/>
              </a:rPr>
              <a:t>Conduct stakeholder and customer interviews</a:t>
            </a:r>
          </a:p>
        </p:txBody>
      </p:sp>
      <p:sp>
        <p:nvSpPr>
          <p:cNvPr id="46" name="Arrow: Pentagon 15">
            <a:extLst>
              <a:ext uri="{FF2B5EF4-FFF2-40B4-BE49-F238E27FC236}">
                <a16:creationId xmlns:a16="http://schemas.microsoft.com/office/drawing/2014/main" id="{34EB5E55-BE57-4EA2-8741-F25780CF336F}"/>
              </a:ext>
            </a:extLst>
          </p:cNvPr>
          <p:cNvSpPr>
            <a:spLocks/>
          </p:cNvSpPr>
          <p:nvPr/>
        </p:nvSpPr>
        <p:spPr>
          <a:xfrm>
            <a:off x="4851034" y="4252871"/>
            <a:ext cx="4480560" cy="228600"/>
          </a:xfrm>
          <a:prstGeom prst="homePlate">
            <a:avLst/>
          </a:prstGeom>
          <a:solidFill>
            <a:srgbClr val="FCDD59"/>
          </a:solidFill>
          <a:ln w="19050">
            <a:noFill/>
          </a:ln>
          <a:effectLst/>
        </p:spPr>
        <p:style>
          <a:lnRef idx="1">
            <a:schemeClr val="accent1"/>
          </a:lnRef>
          <a:fillRef idx="3">
            <a:schemeClr val="accent1"/>
          </a:fillRef>
          <a:effectRef idx="2">
            <a:schemeClr val="accent1"/>
          </a:effectRef>
          <a:fontRef idx="minor">
            <a:schemeClr val="lt1"/>
          </a:fontRef>
        </p:style>
        <p:txBody>
          <a:bodyPr lIns="27432" tIns="0" rIns="0" bIns="0" rtlCol="0" anchor="ctr"/>
          <a:lstStyle/>
          <a:p>
            <a:pPr algn="ctr"/>
            <a:r>
              <a:rPr lang="en-US" sz="900" b="1" spc="300" dirty="0">
                <a:solidFill>
                  <a:schemeClr val="tx1"/>
                </a:solidFill>
              </a:rPr>
              <a:t>ASPIRE</a:t>
            </a:r>
          </a:p>
        </p:txBody>
      </p:sp>
      <p:sp>
        <p:nvSpPr>
          <p:cNvPr id="47" name="Rectangle 46">
            <a:extLst>
              <a:ext uri="{FF2B5EF4-FFF2-40B4-BE49-F238E27FC236}">
                <a16:creationId xmlns:a16="http://schemas.microsoft.com/office/drawing/2014/main" id="{0F08F50D-670A-4CAC-B9CF-0E7840EF2461}"/>
              </a:ext>
            </a:extLst>
          </p:cNvPr>
          <p:cNvSpPr/>
          <p:nvPr/>
        </p:nvSpPr>
        <p:spPr>
          <a:xfrm>
            <a:off x="4800088" y="4581209"/>
            <a:ext cx="3996746" cy="1169551"/>
          </a:xfrm>
          <a:prstGeom prst="rect">
            <a:avLst/>
          </a:prstGeom>
        </p:spPr>
        <p:txBody>
          <a:bodyPr wrap="square" tIns="0">
            <a:spAutoFit/>
          </a:bodyPr>
          <a:lstStyle/>
          <a:p>
            <a:pPr>
              <a:spcAft>
                <a:spcPts val="300"/>
              </a:spcAft>
            </a:pPr>
            <a:r>
              <a:rPr lang="en-US" sz="900" b="1" dirty="0"/>
              <a:t>Explore Provocations</a:t>
            </a:r>
          </a:p>
          <a:p>
            <a:pPr marL="171450" indent="-171450">
              <a:spcAft>
                <a:spcPts val="300"/>
              </a:spcAft>
              <a:buSzPct val="75000"/>
              <a:buFont typeface="Arial" panose="020B0604020202020204" pitchFamily="34" charset="0"/>
              <a:buChar char="•"/>
            </a:pPr>
            <a:r>
              <a:rPr lang="en-US" sz="900" dirty="0">
                <a:ea typeface="Open Sans" charset="0"/>
                <a:cs typeface="Open Sans" charset="0"/>
              </a:rPr>
              <a:t>Develop provocations to paint the future, at distinct levels of ambition for core, adjacent, and transformational</a:t>
            </a:r>
          </a:p>
          <a:p>
            <a:pPr marL="171450" indent="-171450">
              <a:spcAft>
                <a:spcPts val="300"/>
              </a:spcAft>
              <a:buSzPct val="75000"/>
              <a:buFont typeface="Arial" panose="020B0604020202020204" pitchFamily="34" charset="0"/>
              <a:buChar char="•"/>
            </a:pPr>
            <a:r>
              <a:rPr lang="en-US" sz="900" dirty="0">
                <a:ea typeface="Open Sans" charset="0"/>
                <a:cs typeface="Open Sans" charset="0"/>
              </a:rPr>
              <a:t>Articulate the implications to brand, organization, and potential  economic impact </a:t>
            </a:r>
          </a:p>
          <a:p>
            <a:pPr marL="171450" indent="-171450">
              <a:spcAft>
                <a:spcPts val="300"/>
              </a:spcAft>
              <a:buSzPct val="75000"/>
              <a:buFont typeface="Arial" panose="020B0604020202020204" pitchFamily="34" charset="0"/>
              <a:buChar char="•"/>
            </a:pPr>
            <a:r>
              <a:rPr lang="en-US" sz="900" dirty="0">
                <a:ea typeface="Open Sans" charset="0"/>
                <a:cs typeface="Open Sans" charset="0"/>
              </a:rPr>
              <a:t>Develop evaluation criteria</a:t>
            </a:r>
          </a:p>
          <a:p>
            <a:pPr marL="171450" indent="-171450">
              <a:spcAft>
                <a:spcPts val="300"/>
              </a:spcAft>
              <a:buSzPct val="75000"/>
              <a:buFont typeface="Arial" panose="020B0604020202020204" pitchFamily="34" charset="0"/>
              <a:buChar char="•"/>
            </a:pPr>
            <a:r>
              <a:rPr lang="en-US" sz="900" dirty="0">
                <a:ea typeface="Open Sans" charset="0"/>
                <a:cs typeface="Open Sans" charset="0"/>
              </a:rPr>
              <a:t>Prep for planned workshop, including design &amp; visuals</a:t>
            </a:r>
          </a:p>
        </p:txBody>
      </p:sp>
      <p:sp>
        <p:nvSpPr>
          <p:cNvPr id="48" name="Arrow: Pentagon 17">
            <a:extLst>
              <a:ext uri="{FF2B5EF4-FFF2-40B4-BE49-F238E27FC236}">
                <a16:creationId xmlns:a16="http://schemas.microsoft.com/office/drawing/2014/main" id="{92CF1FE3-FCDD-4AFC-BE66-345EDAB2F50A}"/>
              </a:ext>
            </a:extLst>
          </p:cNvPr>
          <p:cNvSpPr>
            <a:spLocks/>
          </p:cNvSpPr>
          <p:nvPr/>
        </p:nvSpPr>
        <p:spPr>
          <a:xfrm>
            <a:off x="9304474" y="4568297"/>
            <a:ext cx="2497425" cy="228600"/>
          </a:xfrm>
          <a:prstGeom prst="homePlate">
            <a:avLst/>
          </a:pr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lIns="27432" tIns="0" rIns="0" bIns="0" rtlCol="0" anchor="ctr"/>
          <a:lstStyle/>
          <a:p>
            <a:pPr algn="ctr"/>
            <a:r>
              <a:rPr lang="en-US" sz="900" b="1" spc="300" dirty="0">
                <a:solidFill>
                  <a:schemeClr val="tx1"/>
                </a:solidFill>
              </a:rPr>
              <a:t>DECIDE</a:t>
            </a:r>
          </a:p>
        </p:txBody>
      </p:sp>
      <p:sp>
        <p:nvSpPr>
          <p:cNvPr id="49" name="Rectangle 48">
            <a:extLst>
              <a:ext uri="{FF2B5EF4-FFF2-40B4-BE49-F238E27FC236}">
                <a16:creationId xmlns:a16="http://schemas.microsoft.com/office/drawing/2014/main" id="{5D865ECD-3F5D-4635-B0FA-E7BD8A6CC2F2}"/>
              </a:ext>
            </a:extLst>
          </p:cNvPr>
          <p:cNvSpPr/>
          <p:nvPr/>
        </p:nvSpPr>
        <p:spPr>
          <a:xfrm>
            <a:off x="9333479" y="4856158"/>
            <a:ext cx="2373460" cy="85514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a:spcAft>
                <a:spcPts val="300"/>
              </a:spcAft>
            </a:pPr>
            <a:r>
              <a:rPr lang="en-US" sz="900" b="1" dirty="0">
                <a:solidFill>
                  <a:schemeClr val="tx1"/>
                </a:solidFill>
              </a:rPr>
              <a:t>Define Ambition And Map The </a:t>
            </a:r>
            <a:br>
              <a:rPr lang="en-US" sz="900" b="1" dirty="0">
                <a:solidFill>
                  <a:schemeClr val="tx1"/>
                </a:solidFill>
              </a:rPr>
            </a:br>
            <a:r>
              <a:rPr lang="en-US" sz="900" b="1" dirty="0">
                <a:solidFill>
                  <a:schemeClr val="tx1"/>
                </a:solidFill>
              </a:rPr>
              <a:t>Path Ahead</a:t>
            </a:r>
          </a:p>
          <a:p>
            <a:pPr marL="171450" indent="-171450">
              <a:spcAft>
                <a:spcPts val="300"/>
              </a:spcAft>
              <a:buSzPct val="75000"/>
              <a:buFont typeface="Arial" panose="020B0604020202020204" pitchFamily="34" charset="0"/>
              <a:buChar char="•"/>
            </a:pPr>
            <a:r>
              <a:rPr lang="en-US" sz="900" dirty="0">
                <a:solidFill>
                  <a:schemeClr val="tx1"/>
                </a:solidFill>
                <a:ea typeface="Open Sans" charset="0"/>
                <a:cs typeface="Open Sans" charset="0"/>
              </a:rPr>
              <a:t>Review, discuss, and prioritize developed provocations to align stakeholder leaders on their future vision.</a:t>
            </a:r>
          </a:p>
          <a:p>
            <a:pPr marL="171450" indent="-171450">
              <a:spcAft>
                <a:spcPts val="300"/>
              </a:spcAft>
              <a:buSzPct val="75000"/>
              <a:buFont typeface="Arial" panose="020B0604020202020204" pitchFamily="34" charset="0"/>
              <a:buChar char="•"/>
            </a:pPr>
            <a:r>
              <a:rPr lang="en-US" sz="900" dirty="0">
                <a:solidFill>
                  <a:schemeClr val="tx1"/>
                </a:solidFill>
                <a:ea typeface="Open Sans" charset="0"/>
                <a:cs typeface="Open Sans" charset="0"/>
              </a:rPr>
              <a:t>Together, define the steps to bringing the ambition to reality across our Digital Frame work including  impacts to the organization and expected customer experiences</a:t>
            </a:r>
            <a:r>
              <a:rPr lang="en-US" sz="900" dirty="0">
                <a:solidFill>
                  <a:schemeClr val="tx1"/>
                </a:solidFill>
              </a:rPr>
              <a:t>. </a:t>
            </a:r>
          </a:p>
        </p:txBody>
      </p:sp>
      <p:sp>
        <p:nvSpPr>
          <p:cNvPr id="50" name="Rectangle 49">
            <a:extLst>
              <a:ext uri="{FF2B5EF4-FFF2-40B4-BE49-F238E27FC236}">
                <a16:creationId xmlns:a16="http://schemas.microsoft.com/office/drawing/2014/main" id="{0401AA7B-75EB-46AC-9EB5-177CF32F384B}"/>
              </a:ext>
            </a:extLst>
          </p:cNvPr>
          <p:cNvSpPr/>
          <p:nvPr/>
        </p:nvSpPr>
        <p:spPr>
          <a:xfrm>
            <a:off x="5740247" y="2570513"/>
            <a:ext cx="1187216" cy="1100301"/>
          </a:xfrm>
          <a:prstGeom prst="rect">
            <a:avLst/>
          </a:prstGeom>
        </p:spPr>
        <p:txBody>
          <a:bodyPr wrap="square">
            <a:spAutoFit/>
          </a:bodyPr>
          <a:lstStyle/>
          <a:p>
            <a:pPr>
              <a:spcAft>
                <a:spcPts val="200"/>
              </a:spcAft>
            </a:pPr>
            <a:r>
              <a:rPr lang="en-US" sz="900" b="1" dirty="0"/>
              <a:t>Internal Provocation Ideation</a:t>
            </a:r>
          </a:p>
          <a:p>
            <a:pPr>
              <a:spcAft>
                <a:spcPts val="200"/>
              </a:spcAft>
            </a:pPr>
            <a:r>
              <a:rPr lang="en-US" sz="900" dirty="0"/>
              <a:t>Narrow potential provocations and build out top options</a:t>
            </a:r>
          </a:p>
        </p:txBody>
      </p:sp>
      <p:sp>
        <p:nvSpPr>
          <p:cNvPr id="51" name="Rectangle 50">
            <a:extLst>
              <a:ext uri="{FF2B5EF4-FFF2-40B4-BE49-F238E27FC236}">
                <a16:creationId xmlns:a16="http://schemas.microsoft.com/office/drawing/2014/main" id="{F182733D-EF37-49DC-BBC2-B44D14BAA84A}"/>
              </a:ext>
            </a:extLst>
          </p:cNvPr>
          <p:cNvSpPr/>
          <p:nvPr/>
        </p:nvSpPr>
        <p:spPr>
          <a:xfrm>
            <a:off x="6784349" y="2062036"/>
            <a:ext cx="1187216" cy="823302"/>
          </a:xfrm>
          <a:prstGeom prst="rect">
            <a:avLst/>
          </a:prstGeom>
        </p:spPr>
        <p:txBody>
          <a:bodyPr wrap="square">
            <a:spAutoFit/>
          </a:bodyPr>
          <a:lstStyle/>
          <a:p>
            <a:pPr>
              <a:spcAft>
                <a:spcPts val="200"/>
              </a:spcAft>
            </a:pPr>
            <a:r>
              <a:rPr lang="en-US" sz="900" b="1" dirty="0"/>
              <a:t>Core Team Connect</a:t>
            </a:r>
          </a:p>
          <a:p>
            <a:pPr>
              <a:spcAft>
                <a:spcPts val="200"/>
              </a:spcAft>
            </a:pPr>
            <a:r>
              <a:rPr lang="en-US" sz="900" dirty="0"/>
              <a:t>Share potential provocations with core client team</a:t>
            </a:r>
          </a:p>
        </p:txBody>
      </p:sp>
    </p:spTree>
    <p:extLst>
      <p:ext uri="{BB962C8B-B14F-4D97-AF65-F5344CB8AC3E}">
        <p14:creationId xmlns:p14="http://schemas.microsoft.com/office/powerpoint/2010/main" val="3325728084"/>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8CC6644-150C-42CC-8484-038CB9019015}"/>
              </a:ext>
            </a:extLst>
          </p:cNvPr>
          <p:cNvSpPr>
            <a:spLocks noGrp="1"/>
          </p:cNvSpPr>
          <p:nvPr>
            <p:ph type="body" sz="quarter" idx="10"/>
          </p:nvPr>
        </p:nvSpPr>
        <p:spPr>
          <a:xfrm>
            <a:off x="952500" y="1206500"/>
            <a:ext cx="8997745" cy="2257425"/>
          </a:xfrm>
        </p:spPr>
        <p:txBody>
          <a:bodyPr/>
          <a:lstStyle/>
          <a:p>
            <a:r>
              <a:rPr lang="en-US" spc="-100" dirty="0">
                <a:solidFill>
                  <a:srgbClr val="000000"/>
                </a:solidFill>
              </a:rPr>
              <a:t>Case Study </a:t>
            </a:r>
            <a:br>
              <a:rPr lang="en-US" spc="-100" dirty="0">
                <a:solidFill>
                  <a:srgbClr val="000000"/>
                </a:solidFill>
              </a:rPr>
            </a:br>
            <a:r>
              <a:rPr lang="en-US" spc="-100" dirty="0">
                <a:solidFill>
                  <a:srgbClr val="000000"/>
                </a:solidFill>
              </a:rPr>
              <a:t>&amp; </a:t>
            </a:r>
            <a:r>
              <a:rPr lang="en-US" spc="-100" dirty="0" err="1">
                <a:solidFill>
                  <a:srgbClr val="000000"/>
                </a:solidFill>
              </a:rPr>
              <a:t>Qual</a:t>
            </a:r>
            <a:endParaRPr lang="en-US" dirty="0"/>
          </a:p>
        </p:txBody>
      </p:sp>
      <p:grpSp>
        <p:nvGrpSpPr>
          <p:cNvPr id="3" name="Group 2">
            <a:extLst>
              <a:ext uri="{FF2B5EF4-FFF2-40B4-BE49-F238E27FC236}">
                <a16:creationId xmlns:a16="http://schemas.microsoft.com/office/drawing/2014/main" id="{2295C8D8-CB21-4A9A-8BAD-BE19FCB1F6B4}"/>
              </a:ext>
            </a:extLst>
          </p:cNvPr>
          <p:cNvGrpSpPr/>
          <p:nvPr/>
        </p:nvGrpSpPr>
        <p:grpSpPr>
          <a:xfrm>
            <a:off x="2277508" y="6274108"/>
            <a:ext cx="7636984" cy="501266"/>
            <a:chOff x="2277508" y="6274107"/>
            <a:chExt cx="7636984" cy="583893"/>
          </a:xfrm>
        </p:grpSpPr>
        <p:sp>
          <p:nvSpPr>
            <p:cNvPr id="4" name="Text Placeholder 1">
              <a:extLst>
                <a:ext uri="{FF2B5EF4-FFF2-40B4-BE49-F238E27FC236}">
                  <a16:creationId xmlns:a16="http://schemas.microsoft.com/office/drawing/2014/main" id="{5D3FDF73-6803-41AA-87C6-A9679BD47E76}"/>
                </a:ext>
              </a:extLst>
            </p:cNvPr>
            <p:cNvSpPr txBox="1">
              <a:spLocks/>
            </p:cNvSpPr>
            <p:nvPr/>
          </p:nvSpPr>
          <p:spPr>
            <a:xfrm>
              <a:off x="2277508" y="6274107"/>
              <a:ext cx="7636984" cy="583893"/>
            </a:xfrm>
            <a:prstGeom prst="rect">
              <a:avLst/>
            </a:prstGeom>
          </p:spPr>
          <p:txBody>
            <a:bodyPr vert="horz"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800" dirty="0">
                  <a:solidFill>
                    <a:srgbClr val="000000"/>
                  </a:solidFill>
                  <a:latin typeface="+mn-lt"/>
                </a:rPr>
                <a:t>Click Here to Return to the Table of Contents</a:t>
              </a:r>
              <a:endParaRPr lang="en-US" sz="2800" dirty="0">
                <a:latin typeface="+mn-lt"/>
              </a:endParaRPr>
            </a:p>
          </p:txBody>
        </p:sp>
        <p:sp>
          <p:nvSpPr>
            <p:cNvPr id="5" name="Rectangle 4">
              <a:hlinkClick r:id="rId3" action="ppaction://hlinksldjump"/>
              <a:extLst>
                <a:ext uri="{FF2B5EF4-FFF2-40B4-BE49-F238E27FC236}">
                  <a16:creationId xmlns:a16="http://schemas.microsoft.com/office/drawing/2014/main" id="{891AA864-83BE-4383-B244-E3DF8F5E6A44}"/>
                </a:ext>
              </a:extLst>
            </p:cNvPr>
            <p:cNvSpPr/>
            <p:nvPr/>
          </p:nvSpPr>
          <p:spPr>
            <a:xfrm>
              <a:off x="2401677" y="6274107"/>
              <a:ext cx="7425369" cy="4792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spTree>
    <p:extLst>
      <p:ext uri="{BB962C8B-B14F-4D97-AF65-F5344CB8AC3E}">
        <p14:creationId xmlns:p14="http://schemas.microsoft.com/office/powerpoint/2010/main" val="1838313909"/>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2CC79C1-E62B-4977-8558-51CF8CCCF5E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1908" name="think-cell Slide" r:id="rId6" imgW="415" imgH="416" progId="TCLayout.ActiveDocument.1">
                  <p:embed/>
                </p:oleObj>
              </mc:Choice>
              <mc:Fallback>
                <p:oleObj name="think-cell Slide" r:id="rId6" imgW="415" imgH="416" progId="TCLayout.ActiveDocument.1">
                  <p:embed/>
                  <p:pic>
                    <p:nvPicPr>
                      <p:cNvPr id="5" name="Object 4" hidden="1">
                        <a:extLst>
                          <a:ext uri="{FF2B5EF4-FFF2-40B4-BE49-F238E27FC236}">
                            <a16:creationId xmlns:a16="http://schemas.microsoft.com/office/drawing/2014/main" id="{D2CC79C1-E62B-4977-8558-51CF8CCCF5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583F6E0-2A00-4880-BA25-0489C3A6CD7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GB" sz="2400" dirty="0">
              <a:latin typeface="Chronicle Display Black" pitchFamily="50" charset="0"/>
              <a:sym typeface="Chronicle Display Black" pitchFamily="50" charset="0"/>
            </a:endParaRPr>
          </a:p>
        </p:txBody>
      </p:sp>
      <p:sp>
        <p:nvSpPr>
          <p:cNvPr id="3" name="Title 2">
            <a:extLst>
              <a:ext uri="{FF2B5EF4-FFF2-40B4-BE49-F238E27FC236}">
                <a16:creationId xmlns:a16="http://schemas.microsoft.com/office/drawing/2014/main" id="{CED51F20-4ADC-44E1-A814-4C51FC009F39}"/>
              </a:ext>
            </a:extLst>
          </p:cNvPr>
          <p:cNvSpPr>
            <a:spLocks noGrp="1"/>
          </p:cNvSpPr>
          <p:nvPr>
            <p:ph type="title"/>
          </p:nvPr>
        </p:nvSpPr>
        <p:spPr/>
        <p:txBody>
          <a:bodyPr/>
          <a:lstStyle/>
          <a:p>
            <a:r>
              <a:rPr lang="en-GB" dirty="0"/>
              <a:t>How our approach leads to accelerated growth </a:t>
            </a:r>
            <a:endParaRPr lang="en-US" dirty="0"/>
          </a:p>
        </p:txBody>
      </p:sp>
      <p:sp>
        <p:nvSpPr>
          <p:cNvPr id="2" name="Text Placeholder 1">
            <a:extLst>
              <a:ext uri="{FF2B5EF4-FFF2-40B4-BE49-F238E27FC236}">
                <a16:creationId xmlns:a16="http://schemas.microsoft.com/office/drawing/2014/main" id="{2D4F699E-DAA0-4B17-B077-5FED0CF52621}"/>
              </a:ext>
            </a:extLst>
          </p:cNvPr>
          <p:cNvSpPr>
            <a:spLocks noGrp="1"/>
          </p:cNvSpPr>
          <p:nvPr>
            <p:ph type="body" sz="quarter" idx="11"/>
          </p:nvPr>
        </p:nvSpPr>
        <p:spPr/>
        <p:txBody>
          <a:bodyPr/>
          <a:lstStyle/>
          <a:p>
            <a:r>
              <a:rPr lang="en-US" dirty="0"/>
              <a:t>Financial services company</a:t>
            </a:r>
          </a:p>
        </p:txBody>
      </p:sp>
      <p:sp>
        <p:nvSpPr>
          <p:cNvPr id="13" name="Text Placeholder 12">
            <a:extLst>
              <a:ext uri="{FF2B5EF4-FFF2-40B4-BE49-F238E27FC236}">
                <a16:creationId xmlns:a16="http://schemas.microsoft.com/office/drawing/2014/main" id="{76D2FC2C-5A25-4EFA-9183-1A30A3A87B91}"/>
              </a:ext>
            </a:extLst>
          </p:cNvPr>
          <p:cNvSpPr>
            <a:spLocks noGrp="1"/>
          </p:cNvSpPr>
          <p:nvPr>
            <p:ph type="body" sz="quarter" idx="15"/>
          </p:nvPr>
        </p:nvSpPr>
        <p:spPr>
          <a:xfrm>
            <a:off x="5397499" y="466344"/>
            <a:ext cx="4238113" cy="203200"/>
          </a:xfrm>
        </p:spPr>
        <p:txBody>
          <a:bodyPr/>
          <a:lstStyle/>
          <a:p>
            <a:r>
              <a:rPr lang="en-US" dirty="0"/>
              <a:t>Case study &amp; </a:t>
            </a:r>
            <a:r>
              <a:rPr lang="en-US" dirty="0" err="1"/>
              <a:t>qual</a:t>
            </a:r>
            <a:endParaRPr lang="en-US" dirty="0"/>
          </a:p>
        </p:txBody>
      </p:sp>
      <p:pic>
        <p:nvPicPr>
          <p:cNvPr id="7" name="Picture 6">
            <a:extLst>
              <a:ext uri="{FF2B5EF4-FFF2-40B4-BE49-F238E27FC236}">
                <a16:creationId xmlns:a16="http://schemas.microsoft.com/office/drawing/2014/main" id="{37002CD7-8C43-4987-8023-A1E4BC84E0CE}"/>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0" y="0"/>
            <a:ext cx="4908697" cy="6858000"/>
          </a:xfrm>
          <a:prstGeom prst="rect">
            <a:avLst/>
          </a:prstGeom>
        </p:spPr>
      </p:pic>
      <p:sp>
        <p:nvSpPr>
          <p:cNvPr id="8" name="Rectangle 7">
            <a:extLst>
              <a:ext uri="{FF2B5EF4-FFF2-40B4-BE49-F238E27FC236}">
                <a16:creationId xmlns:a16="http://schemas.microsoft.com/office/drawing/2014/main" id="{63541FF1-0C92-4E58-989D-CD744B12B0BE}"/>
              </a:ext>
            </a:extLst>
          </p:cNvPr>
          <p:cNvSpPr/>
          <p:nvPr/>
        </p:nvSpPr>
        <p:spPr>
          <a:xfrm>
            <a:off x="5397500" y="2222885"/>
            <a:ext cx="5488922" cy="4062651"/>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300"/>
              </a:spcAft>
              <a:buClrTx/>
              <a:buSzTx/>
              <a:buFontTx/>
              <a:buNone/>
              <a:tabLst/>
              <a:defRPr/>
            </a:pPr>
            <a:r>
              <a:rPr kumimoji="0" lang="en-US" sz="1000" b="1" i="0" u="none" strike="noStrike" kern="1200" cap="none" spc="300" normalizeH="0" baseline="0" noProof="0" dirty="0">
                <a:ln>
                  <a:noFill/>
                </a:ln>
                <a:solidFill>
                  <a:srgbClr val="000000"/>
                </a:solidFill>
                <a:effectLst/>
                <a:uLnTx/>
                <a:uFillTx/>
                <a:latin typeface="Open Sans"/>
                <a:ea typeface="Chronicle Display Light" charset="0"/>
                <a:cs typeface="Chronicle Display Light" charset="0"/>
              </a:rPr>
              <a:t>CONTEXT: </a:t>
            </a:r>
          </a:p>
          <a:p>
            <a:pPr marL="120650" marR="0" lvl="0" indent="-120650" algn="l" defTabSz="914400" rtl="0" eaLnBrk="1" fontAlgn="auto" latinLnBrk="0" hangingPunct="1">
              <a:lnSpc>
                <a:spcPct val="120000"/>
              </a:lnSpc>
              <a:spcBef>
                <a:spcPts val="0"/>
              </a:spcBef>
              <a:spcAft>
                <a:spcPts val="300"/>
              </a:spcAft>
              <a:buClrTx/>
              <a:buSzTx/>
              <a:buFont typeface="Arial" charset="0"/>
              <a:buChar char="•"/>
              <a:tabLst>
                <a:tab pos="457200" algn="l"/>
              </a:tabLst>
              <a:defRPr/>
            </a:pPr>
            <a:r>
              <a:rPr kumimoji="0" lang="en-US" sz="1000" b="0"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4 billion financial services company providing insurance and retirement solutions and </a:t>
            </a:r>
            <a:r>
              <a:rPr kumimoji="0" lang="en-US" sz="1000" b="1"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seeking long-term sustainable growth</a:t>
            </a:r>
          </a:p>
          <a:p>
            <a:pPr marL="120650" marR="0" lvl="0" indent="-120650" algn="l" defTabSz="914400" rtl="0" eaLnBrk="1" fontAlgn="auto" latinLnBrk="0" hangingPunct="1">
              <a:lnSpc>
                <a:spcPct val="120000"/>
              </a:lnSpc>
              <a:spcBef>
                <a:spcPts val="0"/>
              </a:spcBef>
              <a:spcAft>
                <a:spcPts val="300"/>
              </a:spcAft>
              <a:buClrTx/>
              <a:buSzTx/>
              <a:buFont typeface="Arial" charset="0"/>
              <a:buChar char="•"/>
              <a:tabLst>
                <a:tab pos="457200" algn="l"/>
              </a:tabLst>
              <a:defRPr/>
            </a:pPr>
            <a:r>
              <a:rPr kumimoji="0" lang="en-US" sz="1000" b="0"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Target customer population was </a:t>
            </a:r>
            <a:r>
              <a:rPr kumimoji="0" lang="en-US" sz="1000" b="1"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viewed as one single market, </a:t>
            </a:r>
            <a:r>
              <a:rPr kumimoji="0" lang="en-US" sz="1000" b="0"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without a grasp of the different needs and behaviors of various consumer types </a:t>
            </a:r>
            <a:r>
              <a:rPr kumimoji="0" lang="en-US" sz="1000" b="0" i="0" u="none" strike="noStrike" kern="1200" cap="none" spc="0" normalizeH="0" baseline="0" noProof="0" dirty="0">
                <a:ln>
                  <a:noFill/>
                </a:ln>
                <a:solidFill>
                  <a:srgbClr val="000000"/>
                </a:solidFill>
                <a:effectLst/>
                <a:uLnTx/>
                <a:uFillTx/>
                <a:latin typeface="Open Sans"/>
                <a:ea typeface="Calibri" panose="020F0502020204030204" pitchFamily="34" charset="0"/>
                <a:cs typeface="+mn-cs"/>
              </a:rPr>
              <a:t>within that market</a:t>
            </a:r>
          </a:p>
          <a:p>
            <a:pPr marL="120650" marR="0" lvl="0" indent="-120650" algn="l" defTabSz="914400" rtl="0" eaLnBrk="1" fontAlgn="auto" latinLnBrk="0" hangingPunct="1">
              <a:lnSpc>
                <a:spcPct val="120000"/>
              </a:lnSpc>
              <a:spcBef>
                <a:spcPts val="0"/>
              </a:spcBef>
              <a:spcAft>
                <a:spcPts val="300"/>
              </a:spcAft>
              <a:buClrTx/>
              <a:buSzTx/>
              <a:buFont typeface="Arial" charset="0"/>
              <a:buChar char="•"/>
              <a:tabLst>
                <a:tab pos="457200" algn="l"/>
              </a:tabLst>
              <a:defRPr/>
            </a:pPr>
            <a:r>
              <a:rPr kumimoji="0" lang="en-US" sz="1000" b="1" i="0" u="none" strike="noStrike" kern="1200" cap="none" spc="0" normalizeH="0" baseline="0" noProof="0" dirty="0">
                <a:ln>
                  <a:noFill/>
                </a:ln>
                <a:solidFill>
                  <a:srgbClr val="000000"/>
                </a:solidFill>
                <a:effectLst/>
                <a:uLnTx/>
                <a:uFillTx/>
                <a:latin typeface="Open Sans"/>
                <a:ea typeface="Calibri" panose="020F0502020204030204" pitchFamily="34" charset="0"/>
                <a:cs typeface="+mn-cs"/>
              </a:rPr>
              <a:t>Needed to identify distinct segments </a:t>
            </a:r>
            <a:r>
              <a:rPr kumimoji="0" lang="en-US" sz="1000" b="0" i="0" u="none" strike="noStrike" kern="1200" cap="none" spc="0" normalizeH="0" baseline="0" noProof="0" dirty="0">
                <a:ln>
                  <a:noFill/>
                </a:ln>
                <a:solidFill>
                  <a:srgbClr val="000000"/>
                </a:solidFill>
                <a:effectLst/>
                <a:uLnTx/>
                <a:uFillTx/>
                <a:latin typeface="Open Sans"/>
                <a:ea typeface="Calibri" panose="020F0502020204030204" pitchFamily="34" charset="0"/>
                <a:cs typeface="+mn-cs"/>
              </a:rPr>
              <a:t>that could support higher growth</a:t>
            </a:r>
          </a:p>
          <a:p>
            <a:pPr marL="342900" marR="0" lvl="0" indent="-342900" algn="l" defTabSz="914400" rtl="0" eaLnBrk="1" fontAlgn="auto" latinLnBrk="0" hangingPunct="1">
              <a:lnSpc>
                <a:spcPct val="120000"/>
              </a:lnSpc>
              <a:spcBef>
                <a:spcPts val="0"/>
              </a:spcBef>
              <a:spcAft>
                <a:spcPts val="300"/>
              </a:spcAft>
              <a:buClrTx/>
              <a:buSzTx/>
              <a:buFont typeface="Wingdings" panose="05000000000000000000" pitchFamily="2" charset="2"/>
              <a:buChar char=""/>
              <a:tabLst>
                <a:tab pos="457200" algn="l"/>
              </a:tabLst>
              <a:defRPr/>
            </a:pPr>
            <a:endParaRPr kumimoji="0" lang="en-US" sz="1000" b="0" i="0" u="none" strike="noStrike" kern="1200" cap="none" spc="0" normalizeH="0" baseline="0" noProof="0" dirty="0">
              <a:ln>
                <a:noFill/>
              </a:ln>
              <a:solidFill>
                <a:srgbClr val="000000"/>
              </a:solidFill>
              <a:effectLst/>
              <a:uLnTx/>
              <a:uFillTx/>
              <a:latin typeface="Open Sans"/>
              <a:ea typeface="Calibri" panose="020F0502020204030204" pitchFamily="34" charset="0"/>
              <a:cs typeface="+mn-cs"/>
            </a:endParaRPr>
          </a:p>
          <a:p>
            <a:pPr marL="0" marR="0" lvl="0" indent="0" algn="l" defTabSz="914400" rtl="0" eaLnBrk="1" fontAlgn="auto" latinLnBrk="0" hangingPunct="1">
              <a:lnSpc>
                <a:spcPct val="120000"/>
              </a:lnSpc>
              <a:spcBef>
                <a:spcPts val="0"/>
              </a:spcBef>
              <a:spcAft>
                <a:spcPts val="300"/>
              </a:spcAft>
              <a:buClrTx/>
              <a:buSzTx/>
              <a:buFontTx/>
              <a:buNone/>
              <a:tabLst/>
              <a:defRPr/>
            </a:pPr>
            <a:r>
              <a:rPr kumimoji="0" lang="en-US" sz="1000" b="1" i="0" u="none" strike="noStrike" kern="1200" cap="none" spc="300" normalizeH="0" baseline="0" noProof="0" dirty="0">
                <a:ln>
                  <a:noFill/>
                </a:ln>
                <a:solidFill>
                  <a:srgbClr val="000000"/>
                </a:solidFill>
                <a:effectLst/>
                <a:uLnTx/>
                <a:uFillTx/>
                <a:latin typeface="Open Sans"/>
                <a:ea typeface="Chronicle Display Light" charset="0"/>
                <a:cs typeface="Chronicle Display Light" charset="0"/>
              </a:rPr>
              <a:t>GROWTHPATH APPROACH:</a:t>
            </a:r>
          </a:p>
          <a:p>
            <a:pPr marL="171450" marR="0" lvl="0" indent="-171450" algn="l" defTabSz="914400" rtl="0" eaLnBrk="1" fontAlgn="auto" latinLnBrk="0" hangingPunct="1">
              <a:lnSpc>
                <a:spcPct val="120000"/>
              </a:lnSpc>
              <a:spcBef>
                <a:spcPts val="0"/>
              </a:spcBef>
              <a:spcAft>
                <a:spcPts val="300"/>
              </a:spcAft>
              <a:buClrTx/>
              <a:buSzTx/>
              <a:buFont typeface="Arial" charset="0"/>
              <a:buChar char="•"/>
              <a:tabLst>
                <a:tab pos="457200" algn="l"/>
              </a:tabLst>
              <a:defRPr/>
            </a:pPr>
            <a:r>
              <a:rPr kumimoji="0" lang="en-US" sz="1000" b="1"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Applied quantitative analysis </a:t>
            </a:r>
            <a:r>
              <a:rPr kumimoji="0" lang="en-US" sz="1000" b="0"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to the market to identify 13 statistically robust, distinct, actionable customer segments </a:t>
            </a:r>
          </a:p>
          <a:p>
            <a:pPr marL="171450" marR="0" lvl="0" indent="-171450" algn="l" defTabSz="914400" rtl="0" eaLnBrk="1" fontAlgn="auto" latinLnBrk="0" hangingPunct="1">
              <a:lnSpc>
                <a:spcPct val="120000"/>
              </a:lnSpc>
              <a:spcBef>
                <a:spcPts val="0"/>
              </a:spcBef>
              <a:spcAft>
                <a:spcPts val="300"/>
              </a:spcAft>
              <a:buClrTx/>
              <a:buSzTx/>
              <a:buFont typeface="Arial" charset="0"/>
              <a:buChar char="•"/>
              <a:tabLst>
                <a:tab pos="457200" algn="l"/>
              </a:tabLst>
              <a:defRPr/>
            </a:pPr>
            <a:r>
              <a:rPr kumimoji="0" lang="en-US" sz="1000" b="0"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Uncovered insights to build in-depth </a:t>
            </a:r>
            <a:r>
              <a:rPr kumimoji="0" lang="en-US" sz="1000" b="1"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customer profiles </a:t>
            </a:r>
            <a:r>
              <a:rPr kumimoji="0" lang="en-US" sz="1000" b="0"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for each of the segments</a:t>
            </a:r>
            <a:endParaRPr kumimoji="0" lang="en-US" sz="1000" b="0" i="0" u="none" strike="noStrike" kern="1200" cap="none" spc="0" normalizeH="0" baseline="0" noProof="0" dirty="0">
              <a:ln>
                <a:noFill/>
              </a:ln>
              <a:solidFill>
                <a:srgbClr val="000000"/>
              </a:solidFill>
              <a:effectLst/>
              <a:uLnTx/>
              <a:uFillTx/>
              <a:latin typeface="Open Sans"/>
              <a:ea typeface="Calibri" panose="020F0502020204030204" pitchFamily="34" charset="0"/>
              <a:cs typeface="+mn-cs"/>
            </a:endParaRPr>
          </a:p>
          <a:p>
            <a:pPr marL="171450" marR="0" lvl="0" indent="-171450" algn="l" defTabSz="914400" rtl="0" eaLnBrk="1" fontAlgn="auto" latinLnBrk="0" hangingPunct="1">
              <a:lnSpc>
                <a:spcPct val="120000"/>
              </a:lnSpc>
              <a:spcBef>
                <a:spcPts val="0"/>
              </a:spcBef>
              <a:spcAft>
                <a:spcPts val="300"/>
              </a:spcAft>
              <a:buClrTx/>
              <a:buSzTx/>
              <a:buFont typeface="Arial" charset="0"/>
              <a:buChar char="•"/>
              <a:tabLst>
                <a:tab pos="457200" algn="l"/>
              </a:tabLst>
              <a:defRPr/>
            </a:pPr>
            <a:r>
              <a:rPr kumimoji="0" lang="en-US" sz="1000" b="0"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Evaluated segments for future growth, based on attractiveness and ‘right to win’ within each segment, </a:t>
            </a:r>
            <a:r>
              <a:rPr kumimoji="0" lang="en-US" sz="1000" b="1"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prioritizing key segments </a:t>
            </a:r>
            <a:r>
              <a:rPr kumimoji="0" lang="en-US" sz="1000" b="0"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for near- and long-term growth activation</a:t>
            </a:r>
            <a:endParaRPr kumimoji="0" lang="en-US" sz="1000" b="0" i="0" u="none" strike="noStrike" kern="1200" cap="none" spc="0" normalizeH="0" baseline="0" noProof="0" dirty="0">
              <a:ln>
                <a:noFill/>
              </a:ln>
              <a:solidFill>
                <a:srgbClr val="000000"/>
              </a:solidFill>
              <a:effectLst/>
              <a:uLnTx/>
              <a:uFillTx/>
              <a:latin typeface="Open Sans"/>
              <a:ea typeface="Calibri" panose="020F0502020204030204" pitchFamily="34" charset="0"/>
              <a:cs typeface="+mn-cs"/>
            </a:endParaRPr>
          </a:p>
          <a:p>
            <a:pPr marL="171450" marR="0" lvl="0" indent="-171450" algn="l" defTabSz="914400" rtl="0" eaLnBrk="1" fontAlgn="auto" latinLnBrk="0" hangingPunct="1">
              <a:lnSpc>
                <a:spcPct val="120000"/>
              </a:lnSpc>
              <a:spcBef>
                <a:spcPts val="0"/>
              </a:spcBef>
              <a:spcAft>
                <a:spcPts val="300"/>
              </a:spcAft>
              <a:buClrTx/>
              <a:buSzTx/>
              <a:buFont typeface="Arial" charset="0"/>
              <a:buChar char="•"/>
              <a:tabLst>
                <a:tab pos="457200" algn="l"/>
              </a:tabLst>
              <a:defRPr/>
            </a:pPr>
            <a:r>
              <a:rPr kumimoji="0" lang="en-US" sz="1000" b="0"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Developed an </a:t>
            </a:r>
            <a:r>
              <a:rPr kumimoji="0" lang="en-US" sz="1000" b="1"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integrated roadmap </a:t>
            </a:r>
            <a:r>
              <a:rPr kumimoji="0" lang="en-US" sz="1000" b="0"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to operationalize the full segmentation across the organization</a:t>
            </a:r>
          </a:p>
          <a:p>
            <a:pPr marL="342900" marR="0" lvl="0" indent="-342900" algn="l" defTabSz="914400" rtl="0" eaLnBrk="1" fontAlgn="auto" latinLnBrk="0" hangingPunct="1">
              <a:lnSpc>
                <a:spcPct val="120000"/>
              </a:lnSpc>
              <a:spcBef>
                <a:spcPts val="0"/>
              </a:spcBef>
              <a:spcAft>
                <a:spcPts val="300"/>
              </a:spcAft>
              <a:buClrTx/>
              <a:buSzTx/>
              <a:buFont typeface="Wingdings" panose="05000000000000000000" pitchFamily="2" charset="2"/>
              <a:buChar char=""/>
              <a:tabLst>
                <a:tab pos="457200" algn="l"/>
              </a:tabLst>
              <a:defRPr/>
            </a:pPr>
            <a:endParaRPr kumimoji="0" lang="en-US" sz="1000" b="1" i="0" u="none" strike="noStrike" kern="1200" cap="none" spc="0" normalizeH="0" baseline="0" noProof="0" dirty="0">
              <a:ln>
                <a:noFill/>
              </a:ln>
              <a:solidFill>
                <a:srgbClr val="000000"/>
              </a:solidFill>
              <a:effectLst/>
              <a:uLnTx/>
              <a:uFillTx/>
              <a:latin typeface="Open Sans"/>
              <a:ea typeface="Calibri" panose="020F0502020204030204" pitchFamily="34" charset="0"/>
              <a:cs typeface="+mn-cs"/>
            </a:endParaRPr>
          </a:p>
          <a:p>
            <a:pPr marL="0" marR="0" lvl="0" indent="0" algn="l" defTabSz="914400" rtl="0" eaLnBrk="1" fontAlgn="auto" latinLnBrk="0" hangingPunct="1">
              <a:lnSpc>
                <a:spcPct val="120000"/>
              </a:lnSpc>
              <a:spcBef>
                <a:spcPts val="0"/>
              </a:spcBef>
              <a:spcAft>
                <a:spcPts val="300"/>
              </a:spcAft>
              <a:buClrTx/>
              <a:buSzTx/>
              <a:buFontTx/>
              <a:buNone/>
              <a:tabLst/>
              <a:defRPr/>
            </a:pPr>
            <a:r>
              <a:rPr kumimoji="0" lang="en-US" sz="1000" b="1" i="0" u="none" strike="noStrike" kern="1200" cap="none" spc="300" normalizeH="0" baseline="0" noProof="0" dirty="0">
                <a:ln>
                  <a:noFill/>
                </a:ln>
                <a:solidFill>
                  <a:srgbClr val="000000"/>
                </a:solidFill>
                <a:effectLst/>
                <a:uLnTx/>
                <a:uFillTx/>
                <a:latin typeface="Open Sans"/>
                <a:ea typeface="Chronicle Display Light" charset="0"/>
                <a:cs typeface="Chronicle Display Light" charset="0"/>
              </a:rPr>
              <a:t>RESULTS:</a:t>
            </a:r>
          </a:p>
          <a:p>
            <a:pPr marL="171450" marR="0" lvl="0" indent="-171450" algn="l" defTabSz="914400" rtl="0" eaLnBrk="1" fontAlgn="auto" latinLnBrk="0" hangingPunct="1">
              <a:lnSpc>
                <a:spcPct val="120000"/>
              </a:lnSpc>
              <a:spcBef>
                <a:spcPts val="0"/>
              </a:spcBef>
              <a:spcAft>
                <a:spcPts val="300"/>
              </a:spcAft>
              <a:buClrTx/>
              <a:buSzTx/>
              <a:buFont typeface="Arial" charset="0"/>
              <a:buChar char="•"/>
              <a:tabLst>
                <a:tab pos="457200" algn="l"/>
              </a:tabLst>
              <a:defRPr/>
            </a:pPr>
            <a:r>
              <a:rPr kumimoji="0" lang="en-US" sz="1000" b="0"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Positioned client to reverse 10 years of top-line decline and embark on a path of </a:t>
            </a:r>
            <a:r>
              <a:rPr kumimoji="0" lang="en-US" sz="1000" b="1"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double-digit CAGR growth</a:t>
            </a:r>
            <a:endParaRPr kumimoji="0" lang="en-US" sz="1000" b="1" i="0" u="none" strike="noStrike" kern="1200" cap="none" spc="0" normalizeH="0" baseline="0" noProof="0" dirty="0">
              <a:ln>
                <a:noFill/>
              </a:ln>
              <a:solidFill>
                <a:srgbClr val="000000"/>
              </a:solidFill>
              <a:effectLst/>
              <a:uLnTx/>
              <a:uFillTx/>
              <a:latin typeface="Open Sans"/>
              <a:ea typeface="Calibri" panose="020F0502020204030204" pitchFamily="34" charset="0"/>
              <a:cs typeface="+mn-cs"/>
            </a:endParaRPr>
          </a:p>
        </p:txBody>
      </p:sp>
    </p:spTree>
    <p:extLst>
      <p:ext uri="{BB962C8B-B14F-4D97-AF65-F5344CB8AC3E}">
        <p14:creationId xmlns:p14="http://schemas.microsoft.com/office/powerpoint/2010/main" val="1146206612"/>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87B3615-EB43-4BA8-ADD9-0E63C6F02E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2932" name="think-cell Slide" r:id="rId6" imgW="415" imgH="416" progId="TCLayout.ActiveDocument.1">
                  <p:embed/>
                </p:oleObj>
              </mc:Choice>
              <mc:Fallback>
                <p:oleObj name="think-cell Slide" r:id="rId6" imgW="415" imgH="416" progId="TCLayout.ActiveDocument.1">
                  <p:embed/>
                  <p:pic>
                    <p:nvPicPr>
                      <p:cNvPr id="5" name="Object 4" hidden="1">
                        <a:extLst>
                          <a:ext uri="{FF2B5EF4-FFF2-40B4-BE49-F238E27FC236}">
                            <a16:creationId xmlns:a16="http://schemas.microsoft.com/office/drawing/2014/main" id="{187B3615-EB43-4BA8-ADD9-0E63C6F02E6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9EA9435-9483-49F7-81F1-A59B5EDA856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7A6F61A1-9A97-4CBF-899E-7E21E96D87BE}"/>
              </a:ext>
            </a:extLst>
          </p:cNvPr>
          <p:cNvSpPr>
            <a:spLocks noGrp="1"/>
          </p:cNvSpPr>
          <p:nvPr>
            <p:ph type="title"/>
          </p:nvPr>
        </p:nvSpPr>
        <p:spPr/>
        <p:txBody>
          <a:bodyPr/>
          <a:lstStyle/>
          <a:p>
            <a:r>
              <a:rPr lang="en-US" dirty="0"/>
              <a:t>Example: Global price optimization</a:t>
            </a:r>
          </a:p>
        </p:txBody>
      </p:sp>
      <p:sp>
        <p:nvSpPr>
          <p:cNvPr id="3" name="Text Placeholder 2">
            <a:extLst>
              <a:ext uri="{FF2B5EF4-FFF2-40B4-BE49-F238E27FC236}">
                <a16:creationId xmlns:a16="http://schemas.microsoft.com/office/drawing/2014/main" id="{5E8A0CB0-285B-429F-9374-4E8460AB4D04}"/>
              </a:ext>
            </a:extLst>
          </p:cNvPr>
          <p:cNvSpPr>
            <a:spLocks noGrp="1"/>
          </p:cNvSpPr>
          <p:nvPr>
            <p:ph type="body" sz="quarter" idx="14"/>
          </p:nvPr>
        </p:nvSpPr>
        <p:spPr/>
        <p:txBody>
          <a:bodyPr/>
          <a:lstStyle/>
          <a:p>
            <a:r>
              <a:rPr lang="en-US" dirty="0"/>
              <a:t>Delivering on-demand pricing insights using a managed-services support model and Deloitte’s proprietary Polaris platform </a:t>
            </a:r>
          </a:p>
        </p:txBody>
      </p:sp>
      <p:sp>
        <p:nvSpPr>
          <p:cNvPr id="6" name="Text Placeholder 5">
            <a:extLst>
              <a:ext uri="{FF2B5EF4-FFF2-40B4-BE49-F238E27FC236}">
                <a16:creationId xmlns:a16="http://schemas.microsoft.com/office/drawing/2014/main" id="{880F0800-AB4C-47CE-8517-F93B7E351FCA}"/>
              </a:ext>
            </a:extLst>
          </p:cNvPr>
          <p:cNvSpPr>
            <a:spLocks noGrp="1"/>
          </p:cNvSpPr>
          <p:nvPr>
            <p:ph type="body" sz="quarter" idx="15"/>
          </p:nvPr>
        </p:nvSpPr>
        <p:spPr>
          <a:xfrm>
            <a:off x="914971" y="466344"/>
            <a:ext cx="3696358" cy="228600"/>
          </a:xfrm>
        </p:spPr>
        <p:txBody>
          <a:bodyPr/>
          <a:lstStyle/>
          <a:p>
            <a:r>
              <a:rPr lang="en-US" dirty="0"/>
              <a:t>Case study &amp; </a:t>
            </a:r>
            <a:r>
              <a:rPr lang="en-US" dirty="0" err="1"/>
              <a:t>qual</a:t>
            </a:r>
            <a:endParaRPr lang="en-US" dirty="0"/>
          </a:p>
          <a:p>
            <a:endParaRPr lang="en-US" dirty="0"/>
          </a:p>
        </p:txBody>
      </p:sp>
      <p:sp>
        <p:nvSpPr>
          <p:cNvPr id="7" name="Rectangle 6">
            <a:extLst>
              <a:ext uri="{FF2B5EF4-FFF2-40B4-BE49-F238E27FC236}">
                <a16:creationId xmlns:a16="http://schemas.microsoft.com/office/drawing/2014/main" id="{07F53E7E-7C2B-4921-A169-622A26354593}"/>
              </a:ext>
            </a:extLst>
          </p:cNvPr>
          <p:cNvSpPr/>
          <p:nvPr/>
        </p:nvSpPr>
        <p:spPr>
          <a:xfrm>
            <a:off x="8368581" y="1823152"/>
            <a:ext cx="2909020" cy="2217539"/>
          </a:xfrm>
          <a:prstGeom prst="rect">
            <a:avLst/>
          </a:prstGeom>
          <a:pattFill prst="wdUpDiag">
            <a:fgClr>
              <a:schemeClr val="bg1">
                <a:lumMod val="95000"/>
              </a:schemeClr>
            </a:fgClr>
            <a:bgClr>
              <a:schemeClr val="bg1"/>
            </a:bgClr>
          </a:patt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 name="Rectangle 7">
            <a:extLst>
              <a:ext uri="{FF2B5EF4-FFF2-40B4-BE49-F238E27FC236}">
                <a16:creationId xmlns:a16="http://schemas.microsoft.com/office/drawing/2014/main" id="{E2D36017-1E46-4815-8DFA-E535B8ED8301}"/>
              </a:ext>
            </a:extLst>
          </p:cNvPr>
          <p:cNvSpPr/>
          <p:nvPr/>
        </p:nvSpPr>
        <p:spPr>
          <a:xfrm>
            <a:off x="914401" y="4127666"/>
            <a:ext cx="2909020" cy="2084710"/>
          </a:xfrm>
          <a:prstGeom prst="rect">
            <a:avLst/>
          </a:prstGeom>
          <a:pattFill prst="wdUpDiag">
            <a:fgClr>
              <a:schemeClr val="bg1">
                <a:lumMod val="95000"/>
              </a:schemeClr>
            </a:fgClr>
            <a:bgClr>
              <a:schemeClr val="bg1"/>
            </a:bgClr>
          </a:patt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9" name="Rectangle 8">
            <a:extLst>
              <a:ext uri="{FF2B5EF4-FFF2-40B4-BE49-F238E27FC236}">
                <a16:creationId xmlns:a16="http://schemas.microsoft.com/office/drawing/2014/main" id="{8EACAA71-98ED-4B0C-9F95-8884881CD38D}"/>
              </a:ext>
            </a:extLst>
          </p:cNvPr>
          <p:cNvSpPr/>
          <p:nvPr/>
        </p:nvSpPr>
        <p:spPr>
          <a:xfrm>
            <a:off x="932830" y="2123557"/>
            <a:ext cx="3009778" cy="1384995"/>
          </a:xfrm>
          <a:prstGeom prst="rect">
            <a:avLst/>
          </a:prstGeom>
        </p:spPr>
        <p:txBody>
          <a:bodyPr wrap="square" lIns="0" tIns="0" rIns="0" bIns="0">
            <a:spAutoFit/>
          </a:bodyPr>
          <a:lstStyle/>
          <a:p>
            <a:pPr marL="0" marR="0" lvl="0" indent="0" algn="l" defTabSz="704281" rtl="0" eaLnBrk="1" fontAlgn="auto" latinLnBrk="0" hangingPunct="1">
              <a:lnSpc>
                <a:spcPct val="100000"/>
              </a:lnSpc>
              <a:spcBef>
                <a:spcPts val="0"/>
              </a:spcBef>
              <a:spcAft>
                <a:spcPts val="345"/>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Open Sans Light"/>
              </a:rPr>
              <a:t>A $10 billion global beverage company lacked the ability to effectively understand and monitor a complete view of pricing – from the shelf price through to net price.  In turn, this limited the company’s ability to realize the full benefit of net revenue management.  In particular, pricing strategies were determined by gut-feel or limited application of occasional elasticity studies, and not via a rigorous data- and insights-based approach</a:t>
            </a:r>
          </a:p>
        </p:txBody>
      </p:sp>
      <p:sp>
        <p:nvSpPr>
          <p:cNvPr id="10" name="Rectangle 9">
            <a:extLst>
              <a:ext uri="{FF2B5EF4-FFF2-40B4-BE49-F238E27FC236}">
                <a16:creationId xmlns:a16="http://schemas.microsoft.com/office/drawing/2014/main" id="{AE4B8267-398A-4FDA-941A-159D6BD8B261}"/>
              </a:ext>
            </a:extLst>
          </p:cNvPr>
          <p:cNvSpPr/>
          <p:nvPr/>
        </p:nvSpPr>
        <p:spPr>
          <a:xfrm>
            <a:off x="4645956" y="2123557"/>
            <a:ext cx="3185821" cy="2000548"/>
          </a:xfrm>
          <a:prstGeom prst="rect">
            <a:avLst/>
          </a:prstGeom>
        </p:spPr>
        <p:txBody>
          <a:bodyPr wrap="square" lIns="0" tIns="0" rIns="0" bIns="0">
            <a:spAutoFit/>
          </a:bodyPr>
          <a:lstStyle/>
          <a:p>
            <a:pPr marL="0" marR="0" lvl="0" indent="0" algn="l" defTabSz="704281" rtl="0" eaLnBrk="1" fontAlgn="auto" latinLnBrk="0" hangingPunct="1">
              <a:lnSpc>
                <a:spcPct val="100000"/>
              </a:lnSpc>
              <a:spcBef>
                <a:spcPts val="0"/>
              </a:spcBef>
              <a:spcAft>
                <a:spcPts val="345"/>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Open Sans Light"/>
              </a:rPr>
              <a:t>Deloitte was engaged to implement our proprietary, cloud-based pricing solution – Polaris.  This application allowed the company to centralize disparate external and internal data sources (competitive pricing, syndicated data, depletion sales data, and internal sales) to enable a true “shelf-to-net” view of pricing.  As data is updated and loaded into Polaris, our client was able to effectively monitor pricing, develop new pricing strategies according to the econometric models and scenario tools, standardize the analytics around its NRM process, manage to company guidelines, and identify new net revenue opportunities.</a:t>
            </a:r>
          </a:p>
        </p:txBody>
      </p:sp>
      <p:sp>
        <p:nvSpPr>
          <p:cNvPr id="11" name="Rectangle 10">
            <a:extLst>
              <a:ext uri="{FF2B5EF4-FFF2-40B4-BE49-F238E27FC236}">
                <a16:creationId xmlns:a16="http://schemas.microsoft.com/office/drawing/2014/main" id="{5D92EF4D-7E67-42E3-96B0-B941413ACE3B}"/>
              </a:ext>
            </a:extLst>
          </p:cNvPr>
          <p:cNvSpPr/>
          <p:nvPr/>
        </p:nvSpPr>
        <p:spPr>
          <a:xfrm>
            <a:off x="8587109" y="4233983"/>
            <a:ext cx="2267192" cy="369332"/>
          </a:xfrm>
          <a:prstGeom prst="rect">
            <a:avLst/>
          </a:prstGeom>
        </p:spPr>
        <p:txBody>
          <a:bodyPr wrap="square">
            <a:spAutoFit/>
          </a:bodyPr>
          <a:lstStyle/>
          <a:p>
            <a:pPr marL="0" marR="0" lvl="0" indent="0" algn="l" defTabSz="78886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hronicle Display Light" charset="0"/>
                <a:ea typeface="Chronicle Display Light" charset="0"/>
                <a:cs typeface="Chronicle Display Light" charset="0"/>
              </a:rPr>
              <a:t>Impact</a:t>
            </a:r>
          </a:p>
        </p:txBody>
      </p:sp>
      <p:sp>
        <p:nvSpPr>
          <p:cNvPr id="12" name="Rectangle 11">
            <a:extLst>
              <a:ext uri="{FF2B5EF4-FFF2-40B4-BE49-F238E27FC236}">
                <a16:creationId xmlns:a16="http://schemas.microsoft.com/office/drawing/2014/main" id="{3823E4F4-1EAE-411C-85DB-D3397A14A3C4}"/>
              </a:ext>
            </a:extLst>
          </p:cNvPr>
          <p:cNvSpPr/>
          <p:nvPr/>
        </p:nvSpPr>
        <p:spPr>
          <a:xfrm>
            <a:off x="8587109" y="4616019"/>
            <a:ext cx="2795031" cy="1785104"/>
          </a:xfrm>
          <a:prstGeom prst="rect">
            <a:avLst/>
          </a:prstGeom>
        </p:spPr>
        <p:txBody>
          <a:bodyPr wrap="square">
            <a:spAutoFit/>
          </a:bodyPr>
          <a:lstStyle/>
          <a:p>
            <a:pPr marL="0" marR="0" lvl="0" indent="0" algn="l" defTabSz="704281" rtl="0" eaLnBrk="1" fontAlgn="auto" latinLnBrk="0" hangingPunct="1">
              <a:lnSpc>
                <a:spcPct val="100000"/>
              </a:lnSpc>
              <a:spcBef>
                <a:spcPts val="0"/>
              </a:spcBef>
              <a:spcAft>
                <a:spcPts val="345"/>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Open Sans Light"/>
              </a:rPr>
              <a:t>Polaris enabled the company to identify $45 million in annual net revenue management benefit across multiple pilot markets.  In addition, the organization gained the ability to quickly monitor pricing, identify execution opportunities, and “drill-down” to develop insights at a granular product and customer level.  Ultimately, the solution will enable consistent revenue management capabilities in over 40 countries, enabling over $200MM in NRM benefits.</a:t>
            </a:r>
          </a:p>
        </p:txBody>
      </p:sp>
      <p:sp>
        <p:nvSpPr>
          <p:cNvPr id="13" name="Rectangle 264">
            <a:extLst>
              <a:ext uri="{FF2B5EF4-FFF2-40B4-BE49-F238E27FC236}">
                <a16:creationId xmlns:a16="http://schemas.microsoft.com/office/drawing/2014/main" id="{169C0941-3EB5-468C-AA50-3F2D4D5ADB08}"/>
              </a:ext>
            </a:extLst>
          </p:cNvPr>
          <p:cNvSpPr>
            <a:spLocks noChangeArrowheads="1"/>
          </p:cNvSpPr>
          <p:nvPr/>
        </p:nvSpPr>
        <p:spPr bwMode="auto">
          <a:xfrm>
            <a:off x="4648979" y="5111759"/>
            <a:ext cx="664282"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l" defTabSz="704281"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Open Sans"/>
                <a:ea typeface="+mn-ea"/>
                <a:cs typeface="+mn-cs"/>
              </a:rPr>
              <a:t>Analytics Platform</a:t>
            </a:r>
          </a:p>
        </p:txBody>
      </p:sp>
      <p:sp>
        <p:nvSpPr>
          <p:cNvPr id="14" name="Rectangle 264">
            <a:extLst>
              <a:ext uri="{FF2B5EF4-FFF2-40B4-BE49-F238E27FC236}">
                <a16:creationId xmlns:a16="http://schemas.microsoft.com/office/drawing/2014/main" id="{71F13E23-09AB-4DED-92CF-C80E29D88E34}"/>
              </a:ext>
            </a:extLst>
          </p:cNvPr>
          <p:cNvSpPr>
            <a:spLocks noChangeArrowheads="1"/>
          </p:cNvSpPr>
          <p:nvPr/>
        </p:nvSpPr>
        <p:spPr bwMode="auto">
          <a:xfrm>
            <a:off x="5616352" y="5111759"/>
            <a:ext cx="844732"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l" defTabSz="704281"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Open Sans"/>
                <a:ea typeface="+mn-ea"/>
                <a:cs typeface="+mn-cs"/>
              </a:rPr>
              <a:t>Cloud-based And Managed</a:t>
            </a:r>
          </a:p>
        </p:txBody>
      </p:sp>
      <p:sp>
        <p:nvSpPr>
          <p:cNvPr id="15" name="Rectangle 264">
            <a:extLst>
              <a:ext uri="{FF2B5EF4-FFF2-40B4-BE49-F238E27FC236}">
                <a16:creationId xmlns:a16="http://schemas.microsoft.com/office/drawing/2014/main" id="{8023DA8E-02EC-4953-8310-45078F6CD252}"/>
              </a:ext>
            </a:extLst>
          </p:cNvPr>
          <p:cNvSpPr>
            <a:spLocks noChangeArrowheads="1"/>
          </p:cNvSpPr>
          <p:nvPr/>
        </p:nvSpPr>
        <p:spPr bwMode="auto">
          <a:xfrm>
            <a:off x="6589158" y="5111759"/>
            <a:ext cx="863116"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l" defTabSz="704281"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Open Sans"/>
                <a:ea typeface="+mn-ea"/>
                <a:cs typeface="+mn-cs"/>
              </a:rPr>
              <a:t>Insights-</a:t>
            </a:r>
            <a:br>
              <a:rPr kumimoji="0" lang="en-US" sz="800" b="1" i="0" u="none" strike="noStrike" kern="1200" cap="none" spc="0" normalizeH="0" baseline="0" noProof="0" dirty="0">
                <a:ln>
                  <a:noFill/>
                </a:ln>
                <a:solidFill>
                  <a:srgbClr val="000000"/>
                </a:solidFill>
                <a:effectLst/>
                <a:uLnTx/>
                <a:uFillTx/>
                <a:latin typeface="Open Sans"/>
                <a:ea typeface="+mn-ea"/>
                <a:cs typeface="+mn-cs"/>
              </a:rPr>
            </a:br>
            <a:r>
              <a:rPr kumimoji="0" lang="en-US" sz="800" b="1" i="0" u="none" strike="noStrike" kern="1200" cap="none" spc="0" normalizeH="0" baseline="0" noProof="0" dirty="0">
                <a:ln>
                  <a:noFill/>
                </a:ln>
                <a:solidFill>
                  <a:srgbClr val="000000"/>
                </a:solidFill>
                <a:effectLst/>
                <a:uLnTx/>
                <a:uFillTx/>
                <a:latin typeface="Open Sans"/>
                <a:ea typeface="+mn-ea"/>
                <a:cs typeface="+mn-cs"/>
              </a:rPr>
              <a:t>As-a-service</a:t>
            </a:r>
          </a:p>
        </p:txBody>
      </p:sp>
      <p:grpSp>
        <p:nvGrpSpPr>
          <p:cNvPr id="16" name="Group 15">
            <a:extLst>
              <a:ext uri="{FF2B5EF4-FFF2-40B4-BE49-F238E27FC236}">
                <a16:creationId xmlns:a16="http://schemas.microsoft.com/office/drawing/2014/main" id="{5F4D214D-922F-4F98-90E7-3A8B3F368321}"/>
              </a:ext>
            </a:extLst>
          </p:cNvPr>
          <p:cNvGrpSpPr>
            <a:grpSpLocks noChangeAspect="1"/>
          </p:cNvGrpSpPr>
          <p:nvPr/>
        </p:nvGrpSpPr>
        <p:grpSpPr>
          <a:xfrm>
            <a:off x="5616352" y="4513985"/>
            <a:ext cx="522288" cy="520700"/>
            <a:chOff x="2309813" y="825500"/>
            <a:chExt cx="522288" cy="520700"/>
          </a:xfrm>
        </p:grpSpPr>
        <p:sp>
          <p:nvSpPr>
            <p:cNvPr id="17" name="Freeform 12">
              <a:extLst>
                <a:ext uri="{FF2B5EF4-FFF2-40B4-BE49-F238E27FC236}">
                  <a16:creationId xmlns:a16="http://schemas.microsoft.com/office/drawing/2014/main" id="{DD4A48A6-7130-4A1B-AB58-C24611F0E07F}"/>
                </a:ext>
              </a:extLst>
            </p:cNvPr>
            <p:cNvSpPr>
              <a:spLocks noEditPoints="1"/>
            </p:cNvSpPr>
            <p:nvPr/>
          </p:nvSpPr>
          <p:spPr bwMode="auto">
            <a:xfrm>
              <a:off x="2309813" y="825500"/>
              <a:ext cx="522288" cy="520700"/>
            </a:xfrm>
            <a:custGeom>
              <a:avLst/>
              <a:gdLst>
                <a:gd name="T0" fmla="*/ 311 w 656"/>
                <a:gd name="T1" fmla="*/ 657 h 657"/>
                <a:gd name="T2" fmla="*/ 262 w 656"/>
                <a:gd name="T3" fmla="*/ 650 h 657"/>
                <a:gd name="T4" fmla="*/ 200 w 656"/>
                <a:gd name="T5" fmla="*/ 631 h 657"/>
                <a:gd name="T6" fmla="*/ 119 w 656"/>
                <a:gd name="T7" fmla="*/ 582 h 657"/>
                <a:gd name="T8" fmla="*/ 55 w 656"/>
                <a:gd name="T9" fmla="*/ 512 h 657"/>
                <a:gd name="T10" fmla="*/ 15 w 656"/>
                <a:gd name="T11" fmla="*/ 426 h 657"/>
                <a:gd name="T12" fmla="*/ 2 w 656"/>
                <a:gd name="T13" fmla="*/ 379 h 657"/>
                <a:gd name="T14" fmla="*/ 0 w 656"/>
                <a:gd name="T15" fmla="*/ 328 h 657"/>
                <a:gd name="T16" fmla="*/ 1 w 656"/>
                <a:gd name="T17" fmla="*/ 294 h 657"/>
                <a:gd name="T18" fmla="*/ 9 w 656"/>
                <a:gd name="T19" fmla="*/ 246 h 657"/>
                <a:gd name="T20" fmla="*/ 39 w 656"/>
                <a:gd name="T21" fmla="*/ 172 h 657"/>
                <a:gd name="T22" fmla="*/ 95 w 656"/>
                <a:gd name="T23" fmla="*/ 95 h 657"/>
                <a:gd name="T24" fmla="*/ 172 w 656"/>
                <a:gd name="T25" fmla="*/ 39 h 657"/>
                <a:gd name="T26" fmla="*/ 245 w 656"/>
                <a:gd name="T27" fmla="*/ 9 h 657"/>
                <a:gd name="T28" fmla="*/ 294 w 656"/>
                <a:gd name="T29" fmla="*/ 1 h 657"/>
                <a:gd name="T30" fmla="*/ 327 w 656"/>
                <a:gd name="T31" fmla="*/ 0 h 657"/>
                <a:gd name="T32" fmla="*/ 378 w 656"/>
                <a:gd name="T33" fmla="*/ 4 h 657"/>
                <a:gd name="T34" fmla="*/ 425 w 656"/>
                <a:gd name="T35" fmla="*/ 15 h 657"/>
                <a:gd name="T36" fmla="*/ 511 w 656"/>
                <a:gd name="T37" fmla="*/ 56 h 657"/>
                <a:gd name="T38" fmla="*/ 581 w 656"/>
                <a:gd name="T39" fmla="*/ 120 h 657"/>
                <a:gd name="T40" fmla="*/ 631 w 656"/>
                <a:gd name="T41" fmla="*/ 200 h 657"/>
                <a:gd name="T42" fmla="*/ 650 w 656"/>
                <a:gd name="T43" fmla="*/ 262 h 657"/>
                <a:gd name="T44" fmla="*/ 656 w 656"/>
                <a:gd name="T45" fmla="*/ 312 h 657"/>
                <a:gd name="T46" fmla="*/ 656 w 656"/>
                <a:gd name="T47" fmla="*/ 345 h 657"/>
                <a:gd name="T48" fmla="*/ 650 w 656"/>
                <a:gd name="T49" fmla="*/ 395 h 657"/>
                <a:gd name="T50" fmla="*/ 631 w 656"/>
                <a:gd name="T51" fmla="*/ 457 h 657"/>
                <a:gd name="T52" fmla="*/ 581 w 656"/>
                <a:gd name="T53" fmla="*/ 537 h 657"/>
                <a:gd name="T54" fmla="*/ 511 w 656"/>
                <a:gd name="T55" fmla="*/ 600 h 657"/>
                <a:gd name="T56" fmla="*/ 425 w 656"/>
                <a:gd name="T57" fmla="*/ 642 h 657"/>
                <a:gd name="T58" fmla="*/ 378 w 656"/>
                <a:gd name="T59" fmla="*/ 653 h 657"/>
                <a:gd name="T60" fmla="*/ 327 w 656"/>
                <a:gd name="T61" fmla="*/ 657 h 657"/>
                <a:gd name="T62" fmla="*/ 327 w 656"/>
                <a:gd name="T63" fmla="*/ 38 h 657"/>
                <a:gd name="T64" fmla="*/ 241 w 656"/>
                <a:gd name="T65" fmla="*/ 50 h 657"/>
                <a:gd name="T66" fmla="*/ 165 w 656"/>
                <a:gd name="T67" fmla="*/ 87 h 657"/>
                <a:gd name="T68" fmla="*/ 103 w 656"/>
                <a:gd name="T69" fmla="*/ 144 h 657"/>
                <a:gd name="T70" fmla="*/ 60 w 656"/>
                <a:gd name="T71" fmla="*/ 215 h 657"/>
                <a:gd name="T72" fmla="*/ 39 w 656"/>
                <a:gd name="T73" fmla="*/ 298 h 657"/>
                <a:gd name="T74" fmla="*/ 39 w 656"/>
                <a:gd name="T75" fmla="*/ 359 h 657"/>
                <a:gd name="T76" fmla="*/ 60 w 656"/>
                <a:gd name="T77" fmla="*/ 442 h 657"/>
                <a:gd name="T78" fmla="*/ 103 w 656"/>
                <a:gd name="T79" fmla="*/ 513 h 657"/>
                <a:gd name="T80" fmla="*/ 165 w 656"/>
                <a:gd name="T81" fmla="*/ 569 h 657"/>
                <a:gd name="T82" fmla="*/ 241 w 656"/>
                <a:gd name="T83" fmla="*/ 606 h 657"/>
                <a:gd name="T84" fmla="*/ 327 w 656"/>
                <a:gd name="T85" fmla="*/ 619 h 657"/>
                <a:gd name="T86" fmla="*/ 386 w 656"/>
                <a:gd name="T87" fmla="*/ 614 h 657"/>
                <a:gd name="T88" fmla="*/ 467 w 656"/>
                <a:gd name="T89" fmla="*/ 584 h 657"/>
                <a:gd name="T90" fmla="*/ 534 w 656"/>
                <a:gd name="T91" fmla="*/ 535 h 657"/>
                <a:gd name="T92" fmla="*/ 584 w 656"/>
                <a:gd name="T93" fmla="*/ 467 h 657"/>
                <a:gd name="T94" fmla="*/ 613 w 656"/>
                <a:gd name="T95" fmla="*/ 387 h 657"/>
                <a:gd name="T96" fmla="*/ 619 w 656"/>
                <a:gd name="T97" fmla="*/ 328 h 657"/>
                <a:gd name="T98" fmla="*/ 605 w 656"/>
                <a:gd name="T99" fmla="*/ 242 h 657"/>
                <a:gd name="T100" fmla="*/ 569 w 656"/>
                <a:gd name="T101" fmla="*/ 165 h 657"/>
                <a:gd name="T102" fmla="*/ 513 w 656"/>
                <a:gd name="T103" fmla="*/ 103 h 657"/>
                <a:gd name="T104" fmla="*/ 442 w 656"/>
                <a:gd name="T105" fmla="*/ 60 h 657"/>
                <a:gd name="T106" fmla="*/ 357 w 656"/>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6" h="657">
                  <a:moveTo>
                    <a:pt x="327" y="657"/>
                  </a:moveTo>
                  <a:lnTo>
                    <a:pt x="327" y="657"/>
                  </a:lnTo>
                  <a:lnTo>
                    <a:pt x="311" y="657"/>
                  </a:lnTo>
                  <a:lnTo>
                    <a:pt x="294" y="655"/>
                  </a:lnTo>
                  <a:lnTo>
                    <a:pt x="278" y="653"/>
                  </a:lnTo>
                  <a:lnTo>
                    <a:pt x="262" y="650"/>
                  </a:lnTo>
                  <a:lnTo>
                    <a:pt x="245" y="646"/>
                  </a:lnTo>
                  <a:lnTo>
                    <a:pt x="231" y="642"/>
                  </a:lnTo>
                  <a:lnTo>
                    <a:pt x="200" y="631"/>
                  </a:lnTo>
                  <a:lnTo>
                    <a:pt x="172" y="618"/>
                  </a:lnTo>
                  <a:lnTo>
                    <a:pt x="145" y="600"/>
                  </a:lnTo>
                  <a:lnTo>
                    <a:pt x="119" y="582"/>
                  </a:lnTo>
                  <a:lnTo>
                    <a:pt x="95" y="560"/>
                  </a:lnTo>
                  <a:lnTo>
                    <a:pt x="75" y="537"/>
                  </a:lnTo>
                  <a:lnTo>
                    <a:pt x="55" y="512"/>
                  </a:lnTo>
                  <a:lnTo>
                    <a:pt x="39" y="485"/>
                  </a:lnTo>
                  <a:lnTo>
                    <a:pt x="25" y="457"/>
                  </a:lnTo>
                  <a:lnTo>
                    <a:pt x="15" y="426"/>
                  </a:lnTo>
                  <a:lnTo>
                    <a:pt x="9" y="411"/>
                  </a:lnTo>
                  <a:lnTo>
                    <a:pt x="6" y="395"/>
                  </a:lnTo>
                  <a:lnTo>
                    <a:pt x="2" y="379"/>
                  </a:lnTo>
                  <a:lnTo>
                    <a:pt x="1" y="361"/>
                  </a:lnTo>
                  <a:lnTo>
                    <a:pt x="0" y="345"/>
                  </a:lnTo>
                  <a:lnTo>
                    <a:pt x="0" y="328"/>
                  </a:lnTo>
                  <a:lnTo>
                    <a:pt x="0" y="328"/>
                  </a:lnTo>
                  <a:lnTo>
                    <a:pt x="0" y="312"/>
                  </a:lnTo>
                  <a:lnTo>
                    <a:pt x="1" y="294"/>
                  </a:lnTo>
                  <a:lnTo>
                    <a:pt x="2" y="278"/>
                  </a:lnTo>
                  <a:lnTo>
                    <a:pt x="6" y="262"/>
                  </a:lnTo>
                  <a:lnTo>
                    <a:pt x="9" y="246"/>
                  </a:lnTo>
                  <a:lnTo>
                    <a:pt x="15" y="231"/>
                  </a:lnTo>
                  <a:lnTo>
                    <a:pt x="25" y="200"/>
                  </a:lnTo>
                  <a:lnTo>
                    <a:pt x="39" y="172"/>
                  </a:lnTo>
                  <a:lnTo>
                    <a:pt x="55" y="145"/>
                  </a:lnTo>
                  <a:lnTo>
                    <a:pt x="75" y="120"/>
                  </a:lnTo>
                  <a:lnTo>
                    <a:pt x="95" y="95"/>
                  </a:lnTo>
                  <a:lnTo>
                    <a:pt x="119" y="75"/>
                  </a:lnTo>
                  <a:lnTo>
                    <a:pt x="145" y="56"/>
                  </a:lnTo>
                  <a:lnTo>
                    <a:pt x="172" y="39"/>
                  </a:lnTo>
                  <a:lnTo>
                    <a:pt x="200" y="26"/>
                  </a:lnTo>
                  <a:lnTo>
                    <a:pt x="231" y="15"/>
                  </a:lnTo>
                  <a:lnTo>
                    <a:pt x="245" y="9"/>
                  </a:lnTo>
                  <a:lnTo>
                    <a:pt x="262" y="7"/>
                  </a:lnTo>
                  <a:lnTo>
                    <a:pt x="278" y="4"/>
                  </a:lnTo>
                  <a:lnTo>
                    <a:pt x="294" y="1"/>
                  </a:lnTo>
                  <a:lnTo>
                    <a:pt x="311" y="0"/>
                  </a:lnTo>
                  <a:lnTo>
                    <a:pt x="327" y="0"/>
                  </a:lnTo>
                  <a:lnTo>
                    <a:pt x="327" y="0"/>
                  </a:lnTo>
                  <a:lnTo>
                    <a:pt x="345" y="0"/>
                  </a:lnTo>
                  <a:lnTo>
                    <a:pt x="361" y="1"/>
                  </a:lnTo>
                  <a:lnTo>
                    <a:pt x="378" y="4"/>
                  </a:lnTo>
                  <a:lnTo>
                    <a:pt x="395" y="7"/>
                  </a:lnTo>
                  <a:lnTo>
                    <a:pt x="409" y="9"/>
                  </a:lnTo>
                  <a:lnTo>
                    <a:pt x="425" y="15"/>
                  </a:lnTo>
                  <a:lnTo>
                    <a:pt x="456" y="26"/>
                  </a:lnTo>
                  <a:lnTo>
                    <a:pt x="484" y="39"/>
                  </a:lnTo>
                  <a:lnTo>
                    <a:pt x="511" y="56"/>
                  </a:lnTo>
                  <a:lnTo>
                    <a:pt x="537" y="75"/>
                  </a:lnTo>
                  <a:lnTo>
                    <a:pt x="560" y="95"/>
                  </a:lnTo>
                  <a:lnTo>
                    <a:pt x="581" y="120"/>
                  </a:lnTo>
                  <a:lnTo>
                    <a:pt x="600" y="145"/>
                  </a:lnTo>
                  <a:lnTo>
                    <a:pt x="616" y="172"/>
                  </a:lnTo>
                  <a:lnTo>
                    <a:pt x="631" y="200"/>
                  </a:lnTo>
                  <a:lnTo>
                    <a:pt x="642" y="231"/>
                  </a:lnTo>
                  <a:lnTo>
                    <a:pt x="646" y="246"/>
                  </a:lnTo>
                  <a:lnTo>
                    <a:pt x="650" y="262"/>
                  </a:lnTo>
                  <a:lnTo>
                    <a:pt x="652" y="278"/>
                  </a:lnTo>
                  <a:lnTo>
                    <a:pt x="655" y="294"/>
                  </a:lnTo>
                  <a:lnTo>
                    <a:pt x="656" y="312"/>
                  </a:lnTo>
                  <a:lnTo>
                    <a:pt x="656" y="328"/>
                  </a:lnTo>
                  <a:lnTo>
                    <a:pt x="656" y="328"/>
                  </a:lnTo>
                  <a:lnTo>
                    <a:pt x="656" y="345"/>
                  </a:lnTo>
                  <a:lnTo>
                    <a:pt x="655" y="361"/>
                  </a:lnTo>
                  <a:lnTo>
                    <a:pt x="652" y="379"/>
                  </a:lnTo>
                  <a:lnTo>
                    <a:pt x="650" y="395"/>
                  </a:lnTo>
                  <a:lnTo>
                    <a:pt x="646" y="411"/>
                  </a:lnTo>
                  <a:lnTo>
                    <a:pt x="642" y="426"/>
                  </a:lnTo>
                  <a:lnTo>
                    <a:pt x="631" y="457"/>
                  </a:lnTo>
                  <a:lnTo>
                    <a:pt x="616" y="485"/>
                  </a:lnTo>
                  <a:lnTo>
                    <a:pt x="600" y="512"/>
                  </a:lnTo>
                  <a:lnTo>
                    <a:pt x="581" y="537"/>
                  </a:lnTo>
                  <a:lnTo>
                    <a:pt x="560" y="560"/>
                  </a:lnTo>
                  <a:lnTo>
                    <a:pt x="537" y="582"/>
                  </a:lnTo>
                  <a:lnTo>
                    <a:pt x="511" y="600"/>
                  </a:lnTo>
                  <a:lnTo>
                    <a:pt x="484" y="618"/>
                  </a:lnTo>
                  <a:lnTo>
                    <a:pt x="456" y="631"/>
                  </a:lnTo>
                  <a:lnTo>
                    <a:pt x="425" y="642"/>
                  </a:lnTo>
                  <a:lnTo>
                    <a:pt x="409" y="646"/>
                  </a:lnTo>
                  <a:lnTo>
                    <a:pt x="395" y="650"/>
                  </a:lnTo>
                  <a:lnTo>
                    <a:pt x="378" y="653"/>
                  </a:lnTo>
                  <a:lnTo>
                    <a:pt x="361" y="655"/>
                  </a:lnTo>
                  <a:lnTo>
                    <a:pt x="345" y="657"/>
                  </a:lnTo>
                  <a:lnTo>
                    <a:pt x="327" y="657"/>
                  </a:lnTo>
                  <a:lnTo>
                    <a:pt x="327" y="657"/>
                  </a:lnTo>
                  <a:close/>
                  <a:moveTo>
                    <a:pt x="327" y="38"/>
                  </a:moveTo>
                  <a:lnTo>
                    <a:pt x="327" y="38"/>
                  </a:lnTo>
                  <a:lnTo>
                    <a:pt x="298" y="39"/>
                  </a:lnTo>
                  <a:lnTo>
                    <a:pt x="270" y="43"/>
                  </a:lnTo>
                  <a:lnTo>
                    <a:pt x="241" y="50"/>
                  </a:lnTo>
                  <a:lnTo>
                    <a:pt x="215" y="60"/>
                  </a:lnTo>
                  <a:lnTo>
                    <a:pt x="189" y="73"/>
                  </a:lnTo>
                  <a:lnTo>
                    <a:pt x="165" y="87"/>
                  </a:lnTo>
                  <a:lnTo>
                    <a:pt x="143" y="103"/>
                  </a:lnTo>
                  <a:lnTo>
                    <a:pt x="122" y="122"/>
                  </a:lnTo>
                  <a:lnTo>
                    <a:pt x="103" y="144"/>
                  </a:lnTo>
                  <a:lnTo>
                    <a:pt x="87" y="165"/>
                  </a:lnTo>
                  <a:lnTo>
                    <a:pt x="72" y="189"/>
                  </a:lnTo>
                  <a:lnTo>
                    <a:pt x="60" y="215"/>
                  </a:lnTo>
                  <a:lnTo>
                    <a:pt x="49" y="242"/>
                  </a:lnTo>
                  <a:lnTo>
                    <a:pt x="43" y="270"/>
                  </a:lnTo>
                  <a:lnTo>
                    <a:pt x="39" y="298"/>
                  </a:lnTo>
                  <a:lnTo>
                    <a:pt x="37" y="328"/>
                  </a:lnTo>
                  <a:lnTo>
                    <a:pt x="37" y="328"/>
                  </a:lnTo>
                  <a:lnTo>
                    <a:pt x="39" y="359"/>
                  </a:lnTo>
                  <a:lnTo>
                    <a:pt x="43" y="387"/>
                  </a:lnTo>
                  <a:lnTo>
                    <a:pt x="49" y="415"/>
                  </a:lnTo>
                  <a:lnTo>
                    <a:pt x="60" y="442"/>
                  </a:lnTo>
                  <a:lnTo>
                    <a:pt x="72" y="467"/>
                  </a:lnTo>
                  <a:lnTo>
                    <a:pt x="87" y="492"/>
                  </a:lnTo>
                  <a:lnTo>
                    <a:pt x="103" y="513"/>
                  </a:lnTo>
                  <a:lnTo>
                    <a:pt x="122" y="535"/>
                  </a:lnTo>
                  <a:lnTo>
                    <a:pt x="143" y="553"/>
                  </a:lnTo>
                  <a:lnTo>
                    <a:pt x="165" y="569"/>
                  </a:lnTo>
                  <a:lnTo>
                    <a:pt x="189" y="584"/>
                  </a:lnTo>
                  <a:lnTo>
                    <a:pt x="215" y="596"/>
                  </a:lnTo>
                  <a:lnTo>
                    <a:pt x="241" y="606"/>
                  </a:lnTo>
                  <a:lnTo>
                    <a:pt x="270" y="614"/>
                  </a:lnTo>
                  <a:lnTo>
                    <a:pt x="298" y="618"/>
                  </a:lnTo>
                  <a:lnTo>
                    <a:pt x="327" y="619"/>
                  </a:lnTo>
                  <a:lnTo>
                    <a:pt x="327" y="619"/>
                  </a:lnTo>
                  <a:lnTo>
                    <a:pt x="357" y="618"/>
                  </a:lnTo>
                  <a:lnTo>
                    <a:pt x="386" y="614"/>
                  </a:lnTo>
                  <a:lnTo>
                    <a:pt x="415" y="606"/>
                  </a:lnTo>
                  <a:lnTo>
                    <a:pt x="442" y="596"/>
                  </a:lnTo>
                  <a:lnTo>
                    <a:pt x="467" y="584"/>
                  </a:lnTo>
                  <a:lnTo>
                    <a:pt x="490" y="569"/>
                  </a:lnTo>
                  <a:lnTo>
                    <a:pt x="513" y="553"/>
                  </a:lnTo>
                  <a:lnTo>
                    <a:pt x="534" y="535"/>
                  </a:lnTo>
                  <a:lnTo>
                    <a:pt x="553" y="513"/>
                  </a:lnTo>
                  <a:lnTo>
                    <a:pt x="569" y="492"/>
                  </a:lnTo>
                  <a:lnTo>
                    <a:pt x="584" y="467"/>
                  </a:lnTo>
                  <a:lnTo>
                    <a:pt x="596" y="442"/>
                  </a:lnTo>
                  <a:lnTo>
                    <a:pt x="605" y="415"/>
                  </a:lnTo>
                  <a:lnTo>
                    <a:pt x="613" y="387"/>
                  </a:lnTo>
                  <a:lnTo>
                    <a:pt x="617" y="359"/>
                  </a:lnTo>
                  <a:lnTo>
                    <a:pt x="619" y="328"/>
                  </a:lnTo>
                  <a:lnTo>
                    <a:pt x="619" y="328"/>
                  </a:lnTo>
                  <a:lnTo>
                    <a:pt x="617" y="298"/>
                  </a:lnTo>
                  <a:lnTo>
                    <a:pt x="613" y="270"/>
                  </a:lnTo>
                  <a:lnTo>
                    <a:pt x="605" y="242"/>
                  </a:lnTo>
                  <a:lnTo>
                    <a:pt x="596" y="215"/>
                  </a:lnTo>
                  <a:lnTo>
                    <a:pt x="584" y="189"/>
                  </a:lnTo>
                  <a:lnTo>
                    <a:pt x="569" y="165"/>
                  </a:lnTo>
                  <a:lnTo>
                    <a:pt x="553" y="144"/>
                  </a:lnTo>
                  <a:lnTo>
                    <a:pt x="534" y="122"/>
                  </a:lnTo>
                  <a:lnTo>
                    <a:pt x="513" y="103"/>
                  </a:lnTo>
                  <a:lnTo>
                    <a:pt x="490" y="87"/>
                  </a:lnTo>
                  <a:lnTo>
                    <a:pt x="467" y="73"/>
                  </a:lnTo>
                  <a:lnTo>
                    <a:pt x="442" y="60"/>
                  </a:lnTo>
                  <a:lnTo>
                    <a:pt x="415" y="50"/>
                  </a:lnTo>
                  <a:lnTo>
                    <a:pt x="386" y="43"/>
                  </a:lnTo>
                  <a:lnTo>
                    <a:pt x="357" y="39"/>
                  </a:lnTo>
                  <a:lnTo>
                    <a:pt x="327" y="38"/>
                  </a:lnTo>
                  <a:lnTo>
                    <a:pt x="327"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160">
              <a:extLst>
                <a:ext uri="{FF2B5EF4-FFF2-40B4-BE49-F238E27FC236}">
                  <a16:creationId xmlns:a16="http://schemas.microsoft.com/office/drawing/2014/main" id="{B5E950E7-E0BA-41D7-BE1F-4D84BD665509}"/>
                </a:ext>
              </a:extLst>
            </p:cNvPr>
            <p:cNvSpPr>
              <a:spLocks/>
            </p:cNvSpPr>
            <p:nvPr/>
          </p:nvSpPr>
          <p:spPr bwMode="auto">
            <a:xfrm>
              <a:off x="2435226" y="993775"/>
              <a:ext cx="271463" cy="184150"/>
            </a:xfrm>
            <a:custGeom>
              <a:avLst/>
              <a:gdLst>
                <a:gd name="T0" fmla="*/ 286 w 342"/>
                <a:gd name="T1" fmla="*/ 101 h 233"/>
                <a:gd name="T2" fmla="*/ 280 w 342"/>
                <a:gd name="T3" fmla="*/ 79 h 233"/>
                <a:gd name="T4" fmla="*/ 272 w 342"/>
                <a:gd name="T5" fmla="*/ 61 h 233"/>
                <a:gd name="T6" fmla="*/ 262 w 342"/>
                <a:gd name="T7" fmla="*/ 43 h 233"/>
                <a:gd name="T8" fmla="*/ 247 w 342"/>
                <a:gd name="T9" fmla="*/ 28 h 233"/>
                <a:gd name="T10" fmla="*/ 231 w 342"/>
                <a:gd name="T11" fmla="*/ 16 h 233"/>
                <a:gd name="T12" fmla="*/ 212 w 342"/>
                <a:gd name="T13" fmla="*/ 8 h 233"/>
                <a:gd name="T14" fmla="*/ 192 w 342"/>
                <a:gd name="T15" fmla="*/ 2 h 233"/>
                <a:gd name="T16" fmla="*/ 170 w 342"/>
                <a:gd name="T17" fmla="*/ 0 h 233"/>
                <a:gd name="T18" fmla="*/ 153 w 342"/>
                <a:gd name="T19" fmla="*/ 2 h 233"/>
                <a:gd name="T20" fmla="*/ 118 w 342"/>
                <a:gd name="T21" fmla="*/ 12 h 233"/>
                <a:gd name="T22" fmla="*/ 90 w 342"/>
                <a:gd name="T23" fmla="*/ 34 h 233"/>
                <a:gd name="T24" fmla="*/ 68 w 342"/>
                <a:gd name="T25" fmla="*/ 62 h 233"/>
                <a:gd name="T26" fmla="*/ 60 w 342"/>
                <a:gd name="T27" fmla="*/ 79 h 233"/>
                <a:gd name="T28" fmla="*/ 36 w 342"/>
                <a:gd name="T29" fmla="*/ 89 h 233"/>
                <a:gd name="T30" fmla="*/ 17 w 342"/>
                <a:gd name="T31" fmla="*/ 106 h 233"/>
                <a:gd name="T32" fmla="*/ 4 w 342"/>
                <a:gd name="T33" fmla="*/ 129 h 233"/>
                <a:gd name="T34" fmla="*/ 0 w 342"/>
                <a:gd name="T35" fmla="*/ 155 h 233"/>
                <a:gd name="T36" fmla="*/ 1 w 342"/>
                <a:gd name="T37" fmla="*/ 169 h 233"/>
                <a:gd name="T38" fmla="*/ 12 w 342"/>
                <a:gd name="T39" fmla="*/ 196 h 233"/>
                <a:gd name="T40" fmla="*/ 31 w 342"/>
                <a:gd name="T41" fmla="*/ 216 h 233"/>
                <a:gd name="T42" fmla="*/ 56 w 342"/>
                <a:gd name="T43" fmla="*/ 230 h 233"/>
                <a:gd name="T44" fmla="*/ 282 w 342"/>
                <a:gd name="T45" fmla="*/ 233 h 233"/>
                <a:gd name="T46" fmla="*/ 282 w 342"/>
                <a:gd name="T47" fmla="*/ 233 h 233"/>
                <a:gd name="T48" fmla="*/ 306 w 342"/>
                <a:gd name="T49" fmla="*/ 226 h 233"/>
                <a:gd name="T50" fmla="*/ 325 w 342"/>
                <a:gd name="T51" fmla="*/ 211 h 233"/>
                <a:gd name="T52" fmla="*/ 337 w 342"/>
                <a:gd name="T53" fmla="*/ 191 h 233"/>
                <a:gd name="T54" fmla="*/ 342 w 342"/>
                <a:gd name="T55" fmla="*/ 165 h 233"/>
                <a:gd name="T56" fmla="*/ 341 w 342"/>
                <a:gd name="T57" fmla="*/ 155 h 233"/>
                <a:gd name="T58" fmla="*/ 333 w 342"/>
                <a:gd name="T59" fmla="*/ 132 h 233"/>
                <a:gd name="T60" fmla="*/ 318 w 342"/>
                <a:gd name="T61" fmla="*/ 114 h 233"/>
                <a:gd name="T62" fmla="*/ 298 w 342"/>
                <a:gd name="T63" fmla="*/ 104 h 233"/>
                <a:gd name="T64" fmla="*/ 286 w 342"/>
                <a:gd name="T65" fmla="*/ 10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2" h="233">
                  <a:moveTo>
                    <a:pt x="286" y="101"/>
                  </a:moveTo>
                  <a:lnTo>
                    <a:pt x="286" y="101"/>
                  </a:lnTo>
                  <a:lnTo>
                    <a:pt x="283" y="90"/>
                  </a:lnTo>
                  <a:lnTo>
                    <a:pt x="280" y="79"/>
                  </a:lnTo>
                  <a:lnTo>
                    <a:pt x="278" y="70"/>
                  </a:lnTo>
                  <a:lnTo>
                    <a:pt x="272" y="61"/>
                  </a:lnTo>
                  <a:lnTo>
                    <a:pt x="267" y="51"/>
                  </a:lnTo>
                  <a:lnTo>
                    <a:pt x="262" y="43"/>
                  </a:lnTo>
                  <a:lnTo>
                    <a:pt x="255" y="35"/>
                  </a:lnTo>
                  <a:lnTo>
                    <a:pt x="247" y="28"/>
                  </a:lnTo>
                  <a:lnTo>
                    <a:pt x="239" y="23"/>
                  </a:lnTo>
                  <a:lnTo>
                    <a:pt x="231" y="16"/>
                  </a:lnTo>
                  <a:lnTo>
                    <a:pt x="221" y="12"/>
                  </a:lnTo>
                  <a:lnTo>
                    <a:pt x="212" y="8"/>
                  </a:lnTo>
                  <a:lnTo>
                    <a:pt x="203" y="4"/>
                  </a:lnTo>
                  <a:lnTo>
                    <a:pt x="192" y="2"/>
                  </a:lnTo>
                  <a:lnTo>
                    <a:pt x="181" y="0"/>
                  </a:lnTo>
                  <a:lnTo>
                    <a:pt x="170" y="0"/>
                  </a:lnTo>
                  <a:lnTo>
                    <a:pt x="170" y="0"/>
                  </a:lnTo>
                  <a:lnTo>
                    <a:pt x="153" y="2"/>
                  </a:lnTo>
                  <a:lnTo>
                    <a:pt x="134" y="6"/>
                  </a:lnTo>
                  <a:lnTo>
                    <a:pt x="118" y="12"/>
                  </a:lnTo>
                  <a:lnTo>
                    <a:pt x="103" y="22"/>
                  </a:lnTo>
                  <a:lnTo>
                    <a:pt x="90" y="34"/>
                  </a:lnTo>
                  <a:lnTo>
                    <a:pt x="78" y="47"/>
                  </a:lnTo>
                  <a:lnTo>
                    <a:pt x="68" y="62"/>
                  </a:lnTo>
                  <a:lnTo>
                    <a:pt x="60" y="79"/>
                  </a:lnTo>
                  <a:lnTo>
                    <a:pt x="60" y="79"/>
                  </a:lnTo>
                  <a:lnTo>
                    <a:pt x="48" y="83"/>
                  </a:lnTo>
                  <a:lnTo>
                    <a:pt x="36" y="89"/>
                  </a:lnTo>
                  <a:lnTo>
                    <a:pt x="25" y="97"/>
                  </a:lnTo>
                  <a:lnTo>
                    <a:pt x="17" y="106"/>
                  </a:lnTo>
                  <a:lnTo>
                    <a:pt x="9" y="117"/>
                  </a:lnTo>
                  <a:lnTo>
                    <a:pt x="4" y="129"/>
                  </a:lnTo>
                  <a:lnTo>
                    <a:pt x="1" y="141"/>
                  </a:lnTo>
                  <a:lnTo>
                    <a:pt x="0" y="155"/>
                  </a:lnTo>
                  <a:lnTo>
                    <a:pt x="0" y="155"/>
                  </a:lnTo>
                  <a:lnTo>
                    <a:pt x="1" y="169"/>
                  </a:lnTo>
                  <a:lnTo>
                    <a:pt x="5" y="184"/>
                  </a:lnTo>
                  <a:lnTo>
                    <a:pt x="12" y="196"/>
                  </a:lnTo>
                  <a:lnTo>
                    <a:pt x="20" y="207"/>
                  </a:lnTo>
                  <a:lnTo>
                    <a:pt x="31" y="216"/>
                  </a:lnTo>
                  <a:lnTo>
                    <a:pt x="43" y="224"/>
                  </a:lnTo>
                  <a:lnTo>
                    <a:pt x="56" y="230"/>
                  </a:lnTo>
                  <a:lnTo>
                    <a:pt x="71" y="233"/>
                  </a:lnTo>
                  <a:lnTo>
                    <a:pt x="282" y="233"/>
                  </a:lnTo>
                  <a:lnTo>
                    <a:pt x="282" y="233"/>
                  </a:lnTo>
                  <a:lnTo>
                    <a:pt x="282" y="233"/>
                  </a:lnTo>
                  <a:lnTo>
                    <a:pt x="294" y="230"/>
                  </a:lnTo>
                  <a:lnTo>
                    <a:pt x="306" y="226"/>
                  </a:lnTo>
                  <a:lnTo>
                    <a:pt x="315" y="219"/>
                  </a:lnTo>
                  <a:lnTo>
                    <a:pt x="325" y="211"/>
                  </a:lnTo>
                  <a:lnTo>
                    <a:pt x="331" y="202"/>
                  </a:lnTo>
                  <a:lnTo>
                    <a:pt x="337" y="191"/>
                  </a:lnTo>
                  <a:lnTo>
                    <a:pt x="341" y="179"/>
                  </a:lnTo>
                  <a:lnTo>
                    <a:pt x="342" y="165"/>
                  </a:lnTo>
                  <a:lnTo>
                    <a:pt x="342" y="165"/>
                  </a:lnTo>
                  <a:lnTo>
                    <a:pt x="341" y="155"/>
                  </a:lnTo>
                  <a:lnTo>
                    <a:pt x="338" y="143"/>
                  </a:lnTo>
                  <a:lnTo>
                    <a:pt x="333" y="132"/>
                  </a:lnTo>
                  <a:lnTo>
                    <a:pt x="326" y="122"/>
                  </a:lnTo>
                  <a:lnTo>
                    <a:pt x="318" y="114"/>
                  </a:lnTo>
                  <a:lnTo>
                    <a:pt x="309" y="108"/>
                  </a:lnTo>
                  <a:lnTo>
                    <a:pt x="298" y="104"/>
                  </a:lnTo>
                  <a:lnTo>
                    <a:pt x="286" y="101"/>
                  </a:lnTo>
                  <a:lnTo>
                    <a:pt x="286"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19" name="Group 18">
            <a:extLst>
              <a:ext uri="{FF2B5EF4-FFF2-40B4-BE49-F238E27FC236}">
                <a16:creationId xmlns:a16="http://schemas.microsoft.com/office/drawing/2014/main" id="{4E3BA32D-C18E-4774-9359-70E3EE7395E6}"/>
              </a:ext>
            </a:extLst>
          </p:cNvPr>
          <p:cNvGrpSpPr>
            <a:grpSpLocks noChangeAspect="1"/>
          </p:cNvGrpSpPr>
          <p:nvPr/>
        </p:nvGrpSpPr>
        <p:grpSpPr>
          <a:xfrm>
            <a:off x="6589158" y="4517267"/>
            <a:ext cx="522288" cy="522288"/>
            <a:chOff x="555626" y="4175125"/>
            <a:chExt cx="522288" cy="522288"/>
          </a:xfrm>
        </p:grpSpPr>
        <p:sp>
          <p:nvSpPr>
            <p:cNvPr id="20" name="Freeform 36">
              <a:extLst>
                <a:ext uri="{FF2B5EF4-FFF2-40B4-BE49-F238E27FC236}">
                  <a16:creationId xmlns:a16="http://schemas.microsoft.com/office/drawing/2014/main" id="{3EC83C9E-2AFE-4D02-B465-358BC1E98EAC}"/>
                </a:ext>
              </a:extLst>
            </p:cNvPr>
            <p:cNvSpPr>
              <a:spLocks noEditPoints="1"/>
            </p:cNvSpPr>
            <p:nvPr/>
          </p:nvSpPr>
          <p:spPr bwMode="auto">
            <a:xfrm>
              <a:off x="555626" y="4175125"/>
              <a:ext cx="522288" cy="522288"/>
            </a:xfrm>
            <a:custGeom>
              <a:avLst/>
              <a:gdLst>
                <a:gd name="T0" fmla="*/ 312 w 659"/>
                <a:gd name="T1" fmla="*/ 657 h 657"/>
                <a:gd name="T2" fmla="*/ 264 w 659"/>
                <a:gd name="T3" fmla="*/ 650 h 657"/>
                <a:gd name="T4" fmla="*/ 202 w 659"/>
                <a:gd name="T5" fmla="*/ 632 h 657"/>
                <a:gd name="T6" fmla="*/ 120 w 659"/>
                <a:gd name="T7" fmla="*/ 582 h 657"/>
                <a:gd name="T8" fmla="*/ 57 w 659"/>
                <a:gd name="T9" fmla="*/ 512 h 657"/>
                <a:gd name="T10" fmla="*/ 15 w 659"/>
                <a:gd name="T11" fmla="*/ 426 h 657"/>
                <a:gd name="T12" fmla="*/ 4 w 659"/>
                <a:gd name="T13" fmla="*/ 379 h 657"/>
                <a:gd name="T14" fmla="*/ 0 w 659"/>
                <a:gd name="T15" fmla="*/ 329 h 657"/>
                <a:gd name="T16" fmla="*/ 2 w 659"/>
                <a:gd name="T17" fmla="*/ 296 h 657"/>
                <a:gd name="T18" fmla="*/ 11 w 659"/>
                <a:gd name="T19" fmla="*/ 246 h 657"/>
                <a:gd name="T20" fmla="*/ 41 w 659"/>
                <a:gd name="T21" fmla="*/ 172 h 657"/>
                <a:gd name="T22" fmla="*/ 97 w 659"/>
                <a:gd name="T23" fmla="*/ 97 h 657"/>
                <a:gd name="T24" fmla="*/ 172 w 659"/>
                <a:gd name="T25" fmla="*/ 39 h 657"/>
                <a:gd name="T26" fmla="*/ 247 w 659"/>
                <a:gd name="T27" fmla="*/ 10 h 657"/>
                <a:gd name="T28" fmla="*/ 296 w 659"/>
                <a:gd name="T29" fmla="*/ 2 h 657"/>
                <a:gd name="T30" fmla="*/ 329 w 659"/>
                <a:gd name="T31" fmla="*/ 0 h 657"/>
                <a:gd name="T32" fmla="*/ 379 w 659"/>
                <a:gd name="T33" fmla="*/ 4 h 657"/>
                <a:gd name="T34" fmla="*/ 427 w 659"/>
                <a:gd name="T35" fmla="*/ 15 h 657"/>
                <a:gd name="T36" fmla="*/ 513 w 659"/>
                <a:gd name="T37" fmla="*/ 57 h 657"/>
                <a:gd name="T38" fmla="*/ 583 w 659"/>
                <a:gd name="T39" fmla="*/ 120 h 657"/>
                <a:gd name="T40" fmla="*/ 632 w 659"/>
                <a:gd name="T41" fmla="*/ 200 h 657"/>
                <a:gd name="T42" fmla="*/ 652 w 659"/>
                <a:gd name="T43" fmla="*/ 262 h 657"/>
                <a:gd name="T44" fmla="*/ 657 w 659"/>
                <a:gd name="T45" fmla="*/ 312 h 657"/>
                <a:gd name="T46" fmla="*/ 657 w 659"/>
                <a:gd name="T47" fmla="*/ 346 h 657"/>
                <a:gd name="T48" fmla="*/ 652 w 659"/>
                <a:gd name="T49" fmla="*/ 395 h 657"/>
                <a:gd name="T50" fmla="*/ 632 w 659"/>
                <a:gd name="T51" fmla="*/ 457 h 657"/>
                <a:gd name="T52" fmla="*/ 583 w 659"/>
                <a:gd name="T53" fmla="*/ 538 h 657"/>
                <a:gd name="T54" fmla="*/ 513 w 659"/>
                <a:gd name="T55" fmla="*/ 601 h 657"/>
                <a:gd name="T56" fmla="*/ 427 w 659"/>
                <a:gd name="T57" fmla="*/ 642 h 657"/>
                <a:gd name="T58" fmla="*/ 379 w 659"/>
                <a:gd name="T59" fmla="*/ 653 h 657"/>
                <a:gd name="T60" fmla="*/ 329 w 659"/>
                <a:gd name="T61" fmla="*/ 657 h 657"/>
                <a:gd name="T62" fmla="*/ 329 w 659"/>
                <a:gd name="T63" fmla="*/ 38 h 657"/>
                <a:gd name="T64" fmla="*/ 242 w 659"/>
                <a:gd name="T65" fmla="*/ 51 h 657"/>
                <a:gd name="T66" fmla="*/ 167 w 659"/>
                <a:gd name="T67" fmla="*/ 88 h 657"/>
                <a:gd name="T68" fmla="*/ 105 w 659"/>
                <a:gd name="T69" fmla="*/ 144 h 657"/>
                <a:gd name="T70" fmla="*/ 61 w 659"/>
                <a:gd name="T71" fmla="*/ 215 h 657"/>
                <a:gd name="T72" fmla="*/ 39 w 659"/>
                <a:gd name="T73" fmla="*/ 298 h 657"/>
                <a:gd name="T74" fmla="*/ 39 w 659"/>
                <a:gd name="T75" fmla="*/ 359 h 657"/>
                <a:gd name="T76" fmla="*/ 61 w 659"/>
                <a:gd name="T77" fmla="*/ 442 h 657"/>
                <a:gd name="T78" fmla="*/ 105 w 659"/>
                <a:gd name="T79" fmla="*/ 513 h 657"/>
                <a:gd name="T80" fmla="*/ 167 w 659"/>
                <a:gd name="T81" fmla="*/ 570 h 657"/>
                <a:gd name="T82" fmla="*/ 242 w 659"/>
                <a:gd name="T83" fmla="*/ 607 h 657"/>
                <a:gd name="T84" fmla="*/ 329 w 659"/>
                <a:gd name="T85" fmla="*/ 620 h 657"/>
                <a:gd name="T86" fmla="*/ 389 w 659"/>
                <a:gd name="T87" fmla="*/ 614 h 657"/>
                <a:gd name="T88" fmla="*/ 468 w 659"/>
                <a:gd name="T89" fmla="*/ 585 h 657"/>
                <a:gd name="T90" fmla="*/ 535 w 659"/>
                <a:gd name="T91" fmla="*/ 535 h 657"/>
                <a:gd name="T92" fmla="*/ 585 w 659"/>
                <a:gd name="T93" fmla="*/ 468 h 657"/>
                <a:gd name="T94" fmla="*/ 614 w 659"/>
                <a:gd name="T95" fmla="*/ 387 h 657"/>
                <a:gd name="T96" fmla="*/ 621 w 659"/>
                <a:gd name="T97" fmla="*/ 329 h 657"/>
                <a:gd name="T98" fmla="*/ 607 w 659"/>
                <a:gd name="T99" fmla="*/ 242 h 657"/>
                <a:gd name="T100" fmla="*/ 571 w 659"/>
                <a:gd name="T101" fmla="*/ 166 h 657"/>
                <a:gd name="T102" fmla="*/ 515 w 659"/>
                <a:gd name="T103" fmla="*/ 104 h 657"/>
                <a:gd name="T104" fmla="*/ 442 w 659"/>
                <a:gd name="T105" fmla="*/ 61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29" y="657"/>
                  </a:moveTo>
                  <a:lnTo>
                    <a:pt x="329" y="657"/>
                  </a:lnTo>
                  <a:lnTo>
                    <a:pt x="312" y="657"/>
                  </a:lnTo>
                  <a:lnTo>
                    <a:pt x="296" y="656"/>
                  </a:lnTo>
                  <a:lnTo>
                    <a:pt x="280" y="653"/>
                  </a:lnTo>
                  <a:lnTo>
                    <a:pt x="264" y="650"/>
                  </a:lnTo>
                  <a:lnTo>
                    <a:pt x="247" y="648"/>
                  </a:lnTo>
                  <a:lnTo>
                    <a:pt x="231" y="642"/>
                  </a:lnTo>
                  <a:lnTo>
                    <a:pt x="202" y="632"/>
                  </a:lnTo>
                  <a:lnTo>
                    <a:pt x="172" y="618"/>
                  </a:lnTo>
                  <a:lnTo>
                    <a:pt x="145" y="601"/>
                  </a:lnTo>
                  <a:lnTo>
                    <a:pt x="120" y="582"/>
                  </a:lnTo>
                  <a:lnTo>
                    <a:pt x="97" y="562"/>
                  </a:lnTo>
                  <a:lnTo>
                    <a:pt x="76" y="538"/>
                  </a:lnTo>
                  <a:lnTo>
                    <a:pt x="57" y="512"/>
                  </a:lnTo>
                  <a:lnTo>
                    <a:pt x="41" y="485"/>
                  </a:lnTo>
                  <a:lnTo>
                    <a:pt x="26" y="457"/>
                  </a:lnTo>
                  <a:lnTo>
                    <a:pt x="15" y="426"/>
                  </a:lnTo>
                  <a:lnTo>
                    <a:pt x="11" y="411"/>
                  </a:lnTo>
                  <a:lnTo>
                    <a:pt x="7" y="395"/>
                  </a:lnTo>
                  <a:lnTo>
                    <a:pt x="4" y="379"/>
                  </a:lnTo>
                  <a:lnTo>
                    <a:pt x="2" y="362"/>
                  </a:lnTo>
                  <a:lnTo>
                    <a:pt x="0" y="346"/>
                  </a:lnTo>
                  <a:lnTo>
                    <a:pt x="0" y="329"/>
                  </a:lnTo>
                  <a:lnTo>
                    <a:pt x="0" y="329"/>
                  </a:lnTo>
                  <a:lnTo>
                    <a:pt x="0" y="312"/>
                  </a:lnTo>
                  <a:lnTo>
                    <a:pt x="2" y="296"/>
                  </a:lnTo>
                  <a:lnTo>
                    <a:pt x="4" y="278"/>
                  </a:lnTo>
                  <a:lnTo>
                    <a:pt x="7" y="262"/>
                  </a:lnTo>
                  <a:lnTo>
                    <a:pt x="11" y="246"/>
                  </a:lnTo>
                  <a:lnTo>
                    <a:pt x="15" y="231"/>
                  </a:lnTo>
                  <a:lnTo>
                    <a:pt x="26" y="200"/>
                  </a:lnTo>
                  <a:lnTo>
                    <a:pt x="41" y="172"/>
                  </a:lnTo>
                  <a:lnTo>
                    <a:pt x="57" y="145"/>
                  </a:lnTo>
                  <a:lnTo>
                    <a:pt x="76" y="120"/>
                  </a:lnTo>
                  <a:lnTo>
                    <a:pt x="97" y="97"/>
                  </a:lnTo>
                  <a:lnTo>
                    <a:pt x="120" y="76"/>
                  </a:lnTo>
                  <a:lnTo>
                    <a:pt x="145" y="57"/>
                  </a:lnTo>
                  <a:lnTo>
                    <a:pt x="172" y="39"/>
                  </a:lnTo>
                  <a:lnTo>
                    <a:pt x="202" y="26"/>
                  </a:lnTo>
                  <a:lnTo>
                    <a:pt x="231" y="15"/>
                  </a:lnTo>
                  <a:lnTo>
                    <a:pt x="247" y="10"/>
                  </a:lnTo>
                  <a:lnTo>
                    <a:pt x="264" y="7"/>
                  </a:lnTo>
                  <a:lnTo>
                    <a:pt x="280" y="4"/>
                  </a:lnTo>
                  <a:lnTo>
                    <a:pt x="296" y="2"/>
                  </a:lnTo>
                  <a:lnTo>
                    <a:pt x="312" y="0"/>
                  </a:lnTo>
                  <a:lnTo>
                    <a:pt x="329" y="0"/>
                  </a:lnTo>
                  <a:lnTo>
                    <a:pt x="329" y="0"/>
                  </a:lnTo>
                  <a:lnTo>
                    <a:pt x="346" y="0"/>
                  </a:lnTo>
                  <a:lnTo>
                    <a:pt x="363" y="2"/>
                  </a:lnTo>
                  <a:lnTo>
                    <a:pt x="379" y="4"/>
                  </a:lnTo>
                  <a:lnTo>
                    <a:pt x="395" y="7"/>
                  </a:lnTo>
                  <a:lnTo>
                    <a:pt x="411" y="10"/>
                  </a:lnTo>
                  <a:lnTo>
                    <a:pt x="427" y="15"/>
                  </a:lnTo>
                  <a:lnTo>
                    <a:pt x="457" y="26"/>
                  </a:lnTo>
                  <a:lnTo>
                    <a:pt x="485" y="39"/>
                  </a:lnTo>
                  <a:lnTo>
                    <a:pt x="513" y="57"/>
                  </a:lnTo>
                  <a:lnTo>
                    <a:pt x="538" y="76"/>
                  </a:lnTo>
                  <a:lnTo>
                    <a:pt x="562" y="97"/>
                  </a:lnTo>
                  <a:lnTo>
                    <a:pt x="583" y="120"/>
                  </a:lnTo>
                  <a:lnTo>
                    <a:pt x="602" y="145"/>
                  </a:lnTo>
                  <a:lnTo>
                    <a:pt x="618" y="172"/>
                  </a:lnTo>
                  <a:lnTo>
                    <a:pt x="632" y="200"/>
                  </a:lnTo>
                  <a:lnTo>
                    <a:pt x="644" y="231"/>
                  </a:lnTo>
                  <a:lnTo>
                    <a:pt x="648" y="246"/>
                  </a:lnTo>
                  <a:lnTo>
                    <a:pt x="652" y="262"/>
                  </a:lnTo>
                  <a:lnTo>
                    <a:pt x="654" y="278"/>
                  </a:lnTo>
                  <a:lnTo>
                    <a:pt x="656" y="296"/>
                  </a:lnTo>
                  <a:lnTo>
                    <a:pt x="657" y="312"/>
                  </a:lnTo>
                  <a:lnTo>
                    <a:pt x="659" y="329"/>
                  </a:lnTo>
                  <a:lnTo>
                    <a:pt x="659" y="329"/>
                  </a:lnTo>
                  <a:lnTo>
                    <a:pt x="657" y="346"/>
                  </a:lnTo>
                  <a:lnTo>
                    <a:pt x="656" y="362"/>
                  </a:lnTo>
                  <a:lnTo>
                    <a:pt x="654" y="379"/>
                  </a:lnTo>
                  <a:lnTo>
                    <a:pt x="652" y="395"/>
                  </a:lnTo>
                  <a:lnTo>
                    <a:pt x="648" y="411"/>
                  </a:lnTo>
                  <a:lnTo>
                    <a:pt x="644" y="426"/>
                  </a:lnTo>
                  <a:lnTo>
                    <a:pt x="632" y="457"/>
                  </a:lnTo>
                  <a:lnTo>
                    <a:pt x="618" y="485"/>
                  </a:lnTo>
                  <a:lnTo>
                    <a:pt x="602" y="512"/>
                  </a:lnTo>
                  <a:lnTo>
                    <a:pt x="583" y="538"/>
                  </a:lnTo>
                  <a:lnTo>
                    <a:pt x="562" y="562"/>
                  </a:lnTo>
                  <a:lnTo>
                    <a:pt x="538" y="582"/>
                  </a:lnTo>
                  <a:lnTo>
                    <a:pt x="513" y="601"/>
                  </a:lnTo>
                  <a:lnTo>
                    <a:pt x="485" y="618"/>
                  </a:lnTo>
                  <a:lnTo>
                    <a:pt x="457" y="632"/>
                  </a:lnTo>
                  <a:lnTo>
                    <a:pt x="427" y="642"/>
                  </a:lnTo>
                  <a:lnTo>
                    <a:pt x="411" y="648"/>
                  </a:lnTo>
                  <a:lnTo>
                    <a:pt x="395" y="650"/>
                  </a:lnTo>
                  <a:lnTo>
                    <a:pt x="379" y="653"/>
                  </a:lnTo>
                  <a:lnTo>
                    <a:pt x="363" y="656"/>
                  </a:lnTo>
                  <a:lnTo>
                    <a:pt x="346" y="657"/>
                  </a:lnTo>
                  <a:lnTo>
                    <a:pt x="329" y="657"/>
                  </a:lnTo>
                  <a:lnTo>
                    <a:pt x="329" y="657"/>
                  </a:lnTo>
                  <a:close/>
                  <a:moveTo>
                    <a:pt x="329" y="38"/>
                  </a:moveTo>
                  <a:lnTo>
                    <a:pt x="329" y="38"/>
                  </a:lnTo>
                  <a:lnTo>
                    <a:pt x="300" y="39"/>
                  </a:lnTo>
                  <a:lnTo>
                    <a:pt x="270" y="43"/>
                  </a:lnTo>
                  <a:lnTo>
                    <a:pt x="242" y="51"/>
                  </a:lnTo>
                  <a:lnTo>
                    <a:pt x="217" y="61"/>
                  </a:lnTo>
                  <a:lnTo>
                    <a:pt x="191" y="73"/>
                  </a:lnTo>
                  <a:lnTo>
                    <a:pt x="167" y="88"/>
                  </a:lnTo>
                  <a:lnTo>
                    <a:pt x="144" y="104"/>
                  </a:lnTo>
                  <a:lnTo>
                    <a:pt x="124" y="123"/>
                  </a:lnTo>
                  <a:lnTo>
                    <a:pt x="105" y="144"/>
                  </a:lnTo>
                  <a:lnTo>
                    <a:pt x="88" y="166"/>
                  </a:lnTo>
                  <a:lnTo>
                    <a:pt x="73" y="190"/>
                  </a:lnTo>
                  <a:lnTo>
                    <a:pt x="61" y="215"/>
                  </a:lnTo>
                  <a:lnTo>
                    <a:pt x="51" y="242"/>
                  </a:lnTo>
                  <a:lnTo>
                    <a:pt x="45" y="270"/>
                  </a:lnTo>
                  <a:lnTo>
                    <a:pt x="39" y="298"/>
                  </a:lnTo>
                  <a:lnTo>
                    <a:pt x="38" y="329"/>
                  </a:lnTo>
                  <a:lnTo>
                    <a:pt x="38" y="329"/>
                  </a:lnTo>
                  <a:lnTo>
                    <a:pt x="39" y="359"/>
                  </a:lnTo>
                  <a:lnTo>
                    <a:pt x="45" y="387"/>
                  </a:lnTo>
                  <a:lnTo>
                    <a:pt x="51" y="415"/>
                  </a:lnTo>
                  <a:lnTo>
                    <a:pt x="61" y="442"/>
                  </a:lnTo>
                  <a:lnTo>
                    <a:pt x="73" y="468"/>
                  </a:lnTo>
                  <a:lnTo>
                    <a:pt x="88" y="492"/>
                  </a:lnTo>
                  <a:lnTo>
                    <a:pt x="105" y="513"/>
                  </a:lnTo>
                  <a:lnTo>
                    <a:pt x="124" y="535"/>
                  </a:lnTo>
                  <a:lnTo>
                    <a:pt x="144" y="554"/>
                  </a:lnTo>
                  <a:lnTo>
                    <a:pt x="167" y="570"/>
                  </a:lnTo>
                  <a:lnTo>
                    <a:pt x="191" y="585"/>
                  </a:lnTo>
                  <a:lnTo>
                    <a:pt x="217" y="597"/>
                  </a:lnTo>
                  <a:lnTo>
                    <a:pt x="242" y="607"/>
                  </a:lnTo>
                  <a:lnTo>
                    <a:pt x="270" y="614"/>
                  </a:lnTo>
                  <a:lnTo>
                    <a:pt x="300" y="618"/>
                  </a:lnTo>
                  <a:lnTo>
                    <a:pt x="329" y="620"/>
                  </a:lnTo>
                  <a:lnTo>
                    <a:pt x="329" y="620"/>
                  </a:lnTo>
                  <a:lnTo>
                    <a:pt x="359" y="618"/>
                  </a:lnTo>
                  <a:lnTo>
                    <a:pt x="389" y="614"/>
                  </a:lnTo>
                  <a:lnTo>
                    <a:pt x="415" y="607"/>
                  </a:lnTo>
                  <a:lnTo>
                    <a:pt x="442" y="597"/>
                  </a:lnTo>
                  <a:lnTo>
                    <a:pt x="468" y="585"/>
                  </a:lnTo>
                  <a:lnTo>
                    <a:pt x="492" y="570"/>
                  </a:lnTo>
                  <a:lnTo>
                    <a:pt x="515" y="554"/>
                  </a:lnTo>
                  <a:lnTo>
                    <a:pt x="535" y="535"/>
                  </a:lnTo>
                  <a:lnTo>
                    <a:pt x="554" y="513"/>
                  </a:lnTo>
                  <a:lnTo>
                    <a:pt x="571" y="492"/>
                  </a:lnTo>
                  <a:lnTo>
                    <a:pt x="585" y="468"/>
                  </a:lnTo>
                  <a:lnTo>
                    <a:pt x="598" y="442"/>
                  </a:lnTo>
                  <a:lnTo>
                    <a:pt x="607" y="415"/>
                  </a:lnTo>
                  <a:lnTo>
                    <a:pt x="614" y="387"/>
                  </a:lnTo>
                  <a:lnTo>
                    <a:pt x="620" y="359"/>
                  </a:lnTo>
                  <a:lnTo>
                    <a:pt x="621" y="329"/>
                  </a:lnTo>
                  <a:lnTo>
                    <a:pt x="621" y="329"/>
                  </a:lnTo>
                  <a:lnTo>
                    <a:pt x="620" y="298"/>
                  </a:lnTo>
                  <a:lnTo>
                    <a:pt x="614" y="270"/>
                  </a:lnTo>
                  <a:lnTo>
                    <a:pt x="607" y="242"/>
                  </a:lnTo>
                  <a:lnTo>
                    <a:pt x="598" y="215"/>
                  </a:lnTo>
                  <a:lnTo>
                    <a:pt x="585" y="190"/>
                  </a:lnTo>
                  <a:lnTo>
                    <a:pt x="571" y="166"/>
                  </a:lnTo>
                  <a:lnTo>
                    <a:pt x="554" y="144"/>
                  </a:lnTo>
                  <a:lnTo>
                    <a:pt x="535" y="123"/>
                  </a:lnTo>
                  <a:lnTo>
                    <a:pt x="515" y="104"/>
                  </a:lnTo>
                  <a:lnTo>
                    <a:pt x="492" y="88"/>
                  </a:lnTo>
                  <a:lnTo>
                    <a:pt x="468" y="73"/>
                  </a:lnTo>
                  <a:lnTo>
                    <a:pt x="442" y="61"/>
                  </a:lnTo>
                  <a:lnTo>
                    <a:pt x="415" y="51"/>
                  </a:lnTo>
                  <a:lnTo>
                    <a:pt x="389" y="43"/>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 name="Freeform 337">
              <a:extLst>
                <a:ext uri="{FF2B5EF4-FFF2-40B4-BE49-F238E27FC236}">
                  <a16:creationId xmlns:a16="http://schemas.microsoft.com/office/drawing/2014/main" id="{623BB7AD-074E-4B77-BD46-ED4CECCA9331}"/>
                </a:ext>
              </a:extLst>
            </p:cNvPr>
            <p:cNvSpPr>
              <a:spLocks/>
            </p:cNvSpPr>
            <p:nvPr/>
          </p:nvSpPr>
          <p:spPr bwMode="auto">
            <a:xfrm>
              <a:off x="773113" y="4533900"/>
              <a:ext cx="85725" cy="7938"/>
            </a:xfrm>
            <a:custGeom>
              <a:avLst/>
              <a:gdLst>
                <a:gd name="T0" fmla="*/ 102 w 107"/>
                <a:gd name="T1" fmla="*/ 0 h 9"/>
                <a:gd name="T2" fmla="*/ 5 w 107"/>
                <a:gd name="T3" fmla="*/ 0 h 9"/>
                <a:gd name="T4" fmla="*/ 5 w 107"/>
                <a:gd name="T5" fmla="*/ 0 h 9"/>
                <a:gd name="T6" fmla="*/ 1 w 107"/>
                <a:gd name="T7" fmla="*/ 1 h 9"/>
                <a:gd name="T8" fmla="*/ 0 w 107"/>
                <a:gd name="T9" fmla="*/ 4 h 9"/>
                <a:gd name="T10" fmla="*/ 0 w 107"/>
                <a:gd name="T11" fmla="*/ 4 h 9"/>
                <a:gd name="T12" fmla="*/ 1 w 107"/>
                <a:gd name="T13" fmla="*/ 8 h 9"/>
                <a:gd name="T14" fmla="*/ 5 w 107"/>
                <a:gd name="T15" fmla="*/ 9 h 9"/>
                <a:gd name="T16" fmla="*/ 102 w 107"/>
                <a:gd name="T17" fmla="*/ 9 h 9"/>
                <a:gd name="T18" fmla="*/ 102 w 107"/>
                <a:gd name="T19" fmla="*/ 9 h 9"/>
                <a:gd name="T20" fmla="*/ 106 w 107"/>
                <a:gd name="T21" fmla="*/ 8 h 9"/>
                <a:gd name="T22" fmla="*/ 107 w 107"/>
                <a:gd name="T23" fmla="*/ 4 h 9"/>
                <a:gd name="T24" fmla="*/ 107 w 107"/>
                <a:gd name="T25" fmla="*/ 4 h 9"/>
                <a:gd name="T26" fmla="*/ 106 w 107"/>
                <a:gd name="T27" fmla="*/ 1 h 9"/>
                <a:gd name="T28" fmla="*/ 102 w 107"/>
                <a:gd name="T29" fmla="*/ 0 h 9"/>
                <a:gd name="T30" fmla="*/ 102 w 107"/>
                <a:gd name="T3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7" h="9">
                  <a:moveTo>
                    <a:pt x="102" y="0"/>
                  </a:moveTo>
                  <a:lnTo>
                    <a:pt x="5" y="0"/>
                  </a:lnTo>
                  <a:lnTo>
                    <a:pt x="5" y="0"/>
                  </a:lnTo>
                  <a:lnTo>
                    <a:pt x="1" y="1"/>
                  </a:lnTo>
                  <a:lnTo>
                    <a:pt x="0" y="4"/>
                  </a:lnTo>
                  <a:lnTo>
                    <a:pt x="0" y="4"/>
                  </a:lnTo>
                  <a:lnTo>
                    <a:pt x="1" y="8"/>
                  </a:lnTo>
                  <a:lnTo>
                    <a:pt x="5" y="9"/>
                  </a:lnTo>
                  <a:lnTo>
                    <a:pt x="102" y="9"/>
                  </a:lnTo>
                  <a:lnTo>
                    <a:pt x="102" y="9"/>
                  </a:lnTo>
                  <a:lnTo>
                    <a:pt x="106" y="8"/>
                  </a:lnTo>
                  <a:lnTo>
                    <a:pt x="107" y="4"/>
                  </a:lnTo>
                  <a:lnTo>
                    <a:pt x="107" y="4"/>
                  </a:lnTo>
                  <a:lnTo>
                    <a:pt x="106" y="1"/>
                  </a:lnTo>
                  <a:lnTo>
                    <a:pt x="102" y="0"/>
                  </a:lnTo>
                  <a:lnTo>
                    <a:pt x="10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 name="Freeform 338">
              <a:extLst>
                <a:ext uri="{FF2B5EF4-FFF2-40B4-BE49-F238E27FC236}">
                  <a16:creationId xmlns:a16="http://schemas.microsoft.com/office/drawing/2014/main" id="{B123DDC0-9D91-4E6E-9C3E-A8BDABA7F83E}"/>
                </a:ext>
              </a:extLst>
            </p:cNvPr>
            <p:cNvSpPr>
              <a:spLocks/>
            </p:cNvSpPr>
            <p:nvPr/>
          </p:nvSpPr>
          <p:spPr bwMode="auto">
            <a:xfrm>
              <a:off x="796926" y="4554538"/>
              <a:ext cx="38100" cy="6350"/>
            </a:xfrm>
            <a:custGeom>
              <a:avLst/>
              <a:gdLst>
                <a:gd name="T0" fmla="*/ 43 w 49"/>
                <a:gd name="T1" fmla="*/ 0 h 10"/>
                <a:gd name="T2" fmla="*/ 4 w 49"/>
                <a:gd name="T3" fmla="*/ 0 h 10"/>
                <a:gd name="T4" fmla="*/ 4 w 49"/>
                <a:gd name="T5" fmla="*/ 0 h 10"/>
                <a:gd name="T6" fmla="*/ 2 w 49"/>
                <a:gd name="T7" fmla="*/ 1 h 10"/>
                <a:gd name="T8" fmla="*/ 0 w 49"/>
                <a:gd name="T9" fmla="*/ 6 h 10"/>
                <a:gd name="T10" fmla="*/ 0 w 49"/>
                <a:gd name="T11" fmla="*/ 6 h 10"/>
                <a:gd name="T12" fmla="*/ 2 w 49"/>
                <a:gd name="T13" fmla="*/ 8 h 10"/>
                <a:gd name="T14" fmla="*/ 4 w 49"/>
                <a:gd name="T15" fmla="*/ 10 h 10"/>
                <a:gd name="T16" fmla="*/ 43 w 49"/>
                <a:gd name="T17" fmla="*/ 10 h 10"/>
                <a:gd name="T18" fmla="*/ 43 w 49"/>
                <a:gd name="T19" fmla="*/ 10 h 10"/>
                <a:gd name="T20" fmla="*/ 47 w 49"/>
                <a:gd name="T21" fmla="*/ 8 h 10"/>
                <a:gd name="T22" fmla="*/ 49 w 49"/>
                <a:gd name="T23" fmla="*/ 6 h 10"/>
                <a:gd name="T24" fmla="*/ 49 w 49"/>
                <a:gd name="T25" fmla="*/ 6 h 10"/>
                <a:gd name="T26" fmla="*/ 47 w 49"/>
                <a:gd name="T27" fmla="*/ 1 h 10"/>
                <a:gd name="T28" fmla="*/ 43 w 49"/>
                <a:gd name="T29" fmla="*/ 0 h 10"/>
                <a:gd name="T30" fmla="*/ 43 w 49"/>
                <a:gd name="T3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9" h="10">
                  <a:moveTo>
                    <a:pt x="43" y="0"/>
                  </a:moveTo>
                  <a:lnTo>
                    <a:pt x="4" y="0"/>
                  </a:lnTo>
                  <a:lnTo>
                    <a:pt x="4" y="0"/>
                  </a:lnTo>
                  <a:lnTo>
                    <a:pt x="2" y="1"/>
                  </a:lnTo>
                  <a:lnTo>
                    <a:pt x="0" y="6"/>
                  </a:lnTo>
                  <a:lnTo>
                    <a:pt x="0" y="6"/>
                  </a:lnTo>
                  <a:lnTo>
                    <a:pt x="2" y="8"/>
                  </a:lnTo>
                  <a:lnTo>
                    <a:pt x="4" y="10"/>
                  </a:lnTo>
                  <a:lnTo>
                    <a:pt x="43" y="10"/>
                  </a:lnTo>
                  <a:lnTo>
                    <a:pt x="43" y="10"/>
                  </a:lnTo>
                  <a:lnTo>
                    <a:pt x="47" y="8"/>
                  </a:lnTo>
                  <a:lnTo>
                    <a:pt x="49" y="6"/>
                  </a:lnTo>
                  <a:lnTo>
                    <a:pt x="49" y="6"/>
                  </a:lnTo>
                  <a:lnTo>
                    <a:pt x="47" y="1"/>
                  </a:lnTo>
                  <a:lnTo>
                    <a:pt x="43" y="0"/>
                  </a:lnTo>
                  <a:lnTo>
                    <a:pt x="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3" name="Freeform 339">
              <a:extLst>
                <a:ext uri="{FF2B5EF4-FFF2-40B4-BE49-F238E27FC236}">
                  <a16:creationId xmlns:a16="http://schemas.microsoft.com/office/drawing/2014/main" id="{A07899E7-A811-46E2-80C9-654DF30D4C6E}"/>
                </a:ext>
              </a:extLst>
            </p:cNvPr>
            <p:cNvSpPr>
              <a:spLocks/>
            </p:cNvSpPr>
            <p:nvPr/>
          </p:nvSpPr>
          <p:spPr bwMode="auto">
            <a:xfrm>
              <a:off x="838201" y="4419600"/>
              <a:ext cx="19050" cy="19050"/>
            </a:xfrm>
            <a:custGeom>
              <a:avLst/>
              <a:gdLst>
                <a:gd name="T0" fmla="*/ 22 w 22"/>
                <a:gd name="T1" fmla="*/ 12 h 24"/>
                <a:gd name="T2" fmla="*/ 22 w 22"/>
                <a:gd name="T3" fmla="*/ 12 h 24"/>
                <a:gd name="T4" fmla="*/ 21 w 22"/>
                <a:gd name="T5" fmla="*/ 8 h 24"/>
                <a:gd name="T6" fmla="*/ 20 w 22"/>
                <a:gd name="T7" fmla="*/ 5 h 24"/>
                <a:gd name="T8" fmla="*/ 16 w 22"/>
                <a:gd name="T9" fmla="*/ 1 h 24"/>
                <a:gd name="T10" fmla="*/ 13 w 22"/>
                <a:gd name="T11" fmla="*/ 1 h 24"/>
                <a:gd name="T12" fmla="*/ 10 w 22"/>
                <a:gd name="T13" fmla="*/ 0 h 24"/>
                <a:gd name="T14" fmla="*/ 10 w 22"/>
                <a:gd name="T15" fmla="*/ 0 h 24"/>
                <a:gd name="T16" fmla="*/ 5 w 22"/>
                <a:gd name="T17" fmla="*/ 1 h 24"/>
                <a:gd name="T18" fmla="*/ 2 w 22"/>
                <a:gd name="T19" fmla="*/ 3 h 24"/>
                <a:gd name="T20" fmla="*/ 2 w 22"/>
                <a:gd name="T21" fmla="*/ 3 h 24"/>
                <a:gd name="T22" fmla="*/ 1 w 22"/>
                <a:gd name="T23" fmla="*/ 5 h 24"/>
                <a:gd name="T24" fmla="*/ 0 w 22"/>
                <a:gd name="T25" fmla="*/ 8 h 24"/>
                <a:gd name="T26" fmla="*/ 0 w 22"/>
                <a:gd name="T27" fmla="*/ 12 h 24"/>
                <a:gd name="T28" fmla="*/ 0 w 22"/>
                <a:gd name="T29" fmla="*/ 24 h 24"/>
                <a:gd name="T30" fmla="*/ 10 w 22"/>
                <a:gd name="T31" fmla="*/ 24 h 24"/>
                <a:gd name="T32" fmla="*/ 10 w 22"/>
                <a:gd name="T33" fmla="*/ 24 h 24"/>
                <a:gd name="T34" fmla="*/ 14 w 22"/>
                <a:gd name="T35" fmla="*/ 23 h 24"/>
                <a:gd name="T36" fmla="*/ 17 w 22"/>
                <a:gd name="T37" fmla="*/ 23 h 24"/>
                <a:gd name="T38" fmla="*/ 20 w 22"/>
                <a:gd name="T39" fmla="*/ 19 h 24"/>
                <a:gd name="T40" fmla="*/ 21 w 22"/>
                <a:gd name="T41" fmla="*/ 15 h 24"/>
                <a:gd name="T42" fmla="*/ 22 w 22"/>
                <a:gd name="T43" fmla="*/ 12 h 24"/>
                <a:gd name="T44" fmla="*/ 22 w 22"/>
                <a:gd name="T45"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24">
                  <a:moveTo>
                    <a:pt x="22" y="12"/>
                  </a:moveTo>
                  <a:lnTo>
                    <a:pt x="22" y="12"/>
                  </a:lnTo>
                  <a:lnTo>
                    <a:pt x="21" y="8"/>
                  </a:lnTo>
                  <a:lnTo>
                    <a:pt x="20" y="5"/>
                  </a:lnTo>
                  <a:lnTo>
                    <a:pt x="16" y="1"/>
                  </a:lnTo>
                  <a:lnTo>
                    <a:pt x="13" y="1"/>
                  </a:lnTo>
                  <a:lnTo>
                    <a:pt x="10" y="0"/>
                  </a:lnTo>
                  <a:lnTo>
                    <a:pt x="10" y="0"/>
                  </a:lnTo>
                  <a:lnTo>
                    <a:pt x="5" y="1"/>
                  </a:lnTo>
                  <a:lnTo>
                    <a:pt x="2" y="3"/>
                  </a:lnTo>
                  <a:lnTo>
                    <a:pt x="2" y="3"/>
                  </a:lnTo>
                  <a:lnTo>
                    <a:pt x="1" y="5"/>
                  </a:lnTo>
                  <a:lnTo>
                    <a:pt x="0" y="8"/>
                  </a:lnTo>
                  <a:lnTo>
                    <a:pt x="0" y="12"/>
                  </a:lnTo>
                  <a:lnTo>
                    <a:pt x="0" y="24"/>
                  </a:lnTo>
                  <a:lnTo>
                    <a:pt x="10" y="24"/>
                  </a:lnTo>
                  <a:lnTo>
                    <a:pt x="10" y="24"/>
                  </a:lnTo>
                  <a:lnTo>
                    <a:pt x="14" y="23"/>
                  </a:lnTo>
                  <a:lnTo>
                    <a:pt x="17" y="23"/>
                  </a:lnTo>
                  <a:lnTo>
                    <a:pt x="20" y="19"/>
                  </a:lnTo>
                  <a:lnTo>
                    <a:pt x="21" y="15"/>
                  </a:lnTo>
                  <a:lnTo>
                    <a:pt x="22" y="12"/>
                  </a:lnTo>
                  <a:lnTo>
                    <a:pt x="22"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340">
              <a:extLst>
                <a:ext uri="{FF2B5EF4-FFF2-40B4-BE49-F238E27FC236}">
                  <a16:creationId xmlns:a16="http://schemas.microsoft.com/office/drawing/2014/main" id="{5DE328B3-C7C5-45DB-AFFF-DBD7407397D4}"/>
                </a:ext>
              </a:extLst>
            </p:cNvPr>
            <p:cNvSpPr>
              <a:spLocks/>
            </p:cNvSpPr>
            <p:nvPr/>
          </p:nvSpPr>
          <p:spPr bwMode="auto">
            <a:xfrm>
              <a:off x="806451" y="4451350"/>
              <a:ext cx="19050" cy="66675"/>
            </a:xfrm>
            <a:custGeom>
              <a:avLst/>
              <a:gdLst>
                <a:gd name="T0" fmla="*/ 12 w 25"/>
                <a:gd name="T1" fmla="*/ 0 h 83"/>
                <a:gd name="T2" fmla="*/ 0 w 25"/>
                <a:gd name="T3" fmla="*/ 0 h 83"/>
                <a:gd name="T4" fmla="*/ 0 w 25"/>
                <a:gd name="T5" fmla="*/ 83 h 83"/>
                <a:gd name="T6" fmla="*/ 25 w 25"/>
                <a:gd name="T7" fmla="*/ 83 h 83"/>
                <a:gd name="T8" fmla="*/ 25 w 25"/>
                <a:gd name="T9" fmla="*/ 0 h 83"/>
                <a:gd name="T10" fmla="*/ 12 w 25"/>
                <a:gd name="T11" fmla="*/ 0 h 83"/>
              </a:gdLst>
              <a:ahLst/>
              <a:cxnLst>
                <a:cxn ang="0">
                  <a:pos x="T0" y="T1"/>
                </a:cxn>
                <a:cxn ang="0">
                  <a:pos x="T2" y="T3"/>
                </a:cxn>
                <a:cxn ang="0">
                  <a:pos x="T4" y="T5"/>
                </a:cxn>
                <a:cxn ang="0">
                  <a:pos x="T6" y="T7"/>
                </a:cxn>
                <a:cxn ang="0">
                  <a:pos x="T8" y="T9"/>
                </a:cxn>
                <a:cxn ang="0">
                  <a:pos x="T10" y="T11"/>
                </a:cxn>
              </a:cxnLst>
              <a:rect l="0" t="0" r="r" b="b"/>
              <a:pathLst>
                <a:path w="25" h="83">
                  <a:moveTo>
                    <a:pt x="12" y="0"/>
                  </a:moveTo>
                  <a:lnTo>
                    <a:pt x="0" y="0"/>
                  </a:lnTo>
                  <a:lnTo>
                    <a:pt x="0" y="83"/>
                  </a:lnTo>
                  <a:lnTo>
                    <a:pt x="25" y="83"/>
                  </a:lnTo>
                  <a:lnTo>
                    <a:pt x="25" y="0"/>
                  </a:lnTo>
                  <a:lnTo>
                    <a:pt x="1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5" name="Freeform 341">
              <a:extLst>
                <a:ext uri="{FF2B5EF4-FFF2-40B4-BE49-F238E27FC236}">
                  <a16:creationId xmlns:a16="http://schemas.microsoft.com/office/drawing/2014/main" id="{4A168377-4B3B-4400-A08F-ECF36CDBE9A7}"/>
                </a:ext>
              </a:extLst>
            </p:cNvPr>
            <p:cNvSpPr>
              <a:spLocks/>
            </p:cNvSpPr>
            <p:nvPr/>
          </p:nvSpPr>
          <p:spPr bwMode="auto">
            <a:xfrm>
              <a:off x="776288" y="4419600"/>
              <a:ext cx="17463" cy="19050"/>
            </a:xfrm>
            <a:custGeom>
              <a:avLst/>
              <a:gdLst>
                <a:gd name="T0" fmla="*/ 12 w 23"/>
                <a:gd name="T1" fmla="*/ 0 h 24"/>
                <a:gd name="T2" fmla="*/ 12 w 23"/>
                <a:gd name="T3" fmla="*/ 0 h 24"/>
                <a:gd name="T4" fmla="*/ 8 w 23"/>
                <a:gd name="T5" fmla="*/ 1 h 24"/>
                <a:gd name="T6" fmla="*/ 6 w 23"/>
                <a:gd name="T7" fmla="*/ 1 h 24"/>
                <a:gd name="T8" fmla="*/ 2 w 23"/>
                <a:gd name="T9" fmla="*/ 5 h 24"/>
                <a:gd name="T10" fmla="*/ 0 w 23"/>
                <a:gd name="T11" fmla="*/ 9 h 24"/>
                <a:gd name="T12" fmla="*/ 0 w 23"/>
                <a:gd name="T13" fmla="*/ 12 h 24"/>
                <a:gd name="T14" fmla="*/ 0 w 23"/>
                <a:gd name="T15" fmla="*/ 12 h 24"/>
                <a:gd name="T16" fmla="*/ 0 w 23"/>
                <a:gd name="T17" fmla="*/ 15 h 24"/>
                <a:gd name="T18" fmla="*/ 3 w 23"/>
                <a:gd name="T19" fmla="*/ 19 h 24"/>
                <a:gd name="T20" fmla="*/ 6 w 23"/>
                <a:gd name="T21" fmla="*/ 23 h 24"/>
                <a:gd name="T22" fmla="*/ 8 w 23"/>
                <a:gd name="T23" fmla="*/ 24 h 24"/>
                <a:gd name="T24" fmla="*/ 12 w 23"/>
                <a:gd name="T25" fmla="*/ 24 h 24"/>
                <a:gd name="T26" fmla="*/ 23 w 23"/>
                <a:gd name="T27" fmla="*/ 24 h 24"/>
                <a:gd name="T28" fmla="*/ 23 w 23"/>
                <a:gd name="T29" fmla="*/ 12 h 24"/>
                <a:gd name="T30" fmla="*/ 23 w 23"/>
                <a:gd name="T31" fmla="*/ 12 h 24"/>
                <a:gd name="T32" fmla="*/ 23 w 23"/>
                <a:gd name="T33" fmla="*/ 8 h 24"/>
                <a:gd name="T34" fmla="*/ 22 w 23"/>
                <a:gd name="T35" fmla="*/ 5 h 24"/>
                <a:gd name="T36" fmla="*/ 21 w 23"/>
                <a:gd name="T37" fmla="*/ 3 h 24"/>
                <a:gd name="T38" fmla="*/ 21 w 23"/>
                <a:gd name="T39" fmla="*/ 3 h 24"/>
                <a:gd name="T40" fmla="*/ 17 w 23"/>
                <a:gd name="T41" fmla="*/ 1 h 24"/>
                <a:gd name="T42" fmla="*/ 12 w 23"/>
                <a:gd name="T43" fmla="*/ 0 h 24"/>
                <a:gd name="T44" fmla="*/ 12 w 23"/>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4">
                  <a:moveTo>
                    <a:pt x="12" y="0"/>
                  </a:moveTo>
                  <a:lnTo>
                    <a:pt x="12" y="0"/>
                  </a:lnTo>
                  <a:lnTo>
                    <a:pt x="8" y="1"/>
                  </a:lnTo>
                  <a:lnTo>
                    <a:pt x="6" y="1"/>
                  </a:lnTo>
                  <a:lnTo>
                    <a:pt x="2" y="5"/>
                  </a:lnTo>
                  <a:lnTo>
                    <a:pt x="0" y="9"/>
                  </a:lnTo>
                  <a:lnTo>
                    <a:pt x="0" y="12"/>
                  </a:lnTo>
                  <a:lnTo>
                    <a:pt x="0" y="12"/>
                  </a:lnTo>
                  <a:lnTo>
                    <a:pt x="0" y="15"/>
                  </a:lnTo>
                  <a:lnTo>
                    <a:pt x="3" y="19"/>
                  </a:lnTo>
                  <a:lnTo>
                    <a:pt x="6" y="23"/>
                  </a:lnTo>
                  <a:lnTo>
                    <a:pt x="8" y="24"/>
                  </a:lnTo>
                  <a:lnTo>
                    <a:pt x="12" y="24"/>
                  </a:lnTo>
                  <a:lnTo>
                    <a:pt x="23" y="24"/>
                  </a:lnTo>
                  <a:lnTo>
                    <a:pt x="23" y="12"/>
                  </a:lnTo>
                  <a:lnTo>
                    <a:pt x="23" y="12"/>
                  </a:lnTo>
                  <a:lnTo>
                    <a:pt x="23" y="8"/>
                  </a:lnTo>
                  <a:lnTo>
                    <a:pt x="22" y="5"/>
                  </a:lnTo>
                  <a:lnTo>
                    <a:pt x="21" y="3"/>
                  </a:lnTo>
                  <a:lnTo>
                    <a:pt x="21" y="3"/>
                  </a:lnTo>
                  <a:lnTo>
                    <a:pt x="17" y="1"/>
                  </a:lnTo>
                  <a:lnTo>
                    <a:pt x="12" y="0"/>
                  </a:lnTo>
                  <a:lnTo>
                    <a:pt x="1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342">
              <a:extLst>
                <a:ext uri="{FF2B5EF4-FFF2-40B4-BE49-F238E27FC236}">
                  <a16:creationId xmlns:a16="http://schemas.microsoft.com/office/drawing/2014/main" id="{7BE9054F-2A03-4EB3-9F54-A8430751E41C}"/>
                </a:ext>
              </a:extLst>
            </p:cNvPr>
            <p:cNvSpPr>
              <a:spLocks/>
            </p:cNvSpPr>
            <p:nvPr/>
          </p:nvSpPr>
          <p:spPr bwMode="auto">
            <a:xfrm>
              <a:off x="727076" y="4316413"/>
              <a:ext cx="177800" cy="201613"/>
            </a:xfrm>
            <a:custGeom>
              <a:avLst/>
              <a:gdLst>
                <a:gd name="T0" fmla="*/ 112 w 224"/>
                <a:gd name="T1" fmla="*/ 0 h 252"/>
                <a:gd name="T2" fmla="*/ 90 w 224"/>
                <a:gd name="T3" fmla="*/ 1 h 252"/>
                <a:gd name="T4" fmla="*/ 68 w 224"/>
                <a:gd name="T5" fmla="*/ 8 h 252"/>
                <a:gd name="T6" fmla="*/ 49 w 224"/>
                <a:gd name="T7" fmla="*/ 19 h 252"/>
                <a:gd name="T8" fmla="*/ 33 w 224"/>
                <a:gd name="T9" fmla="*/ 32 h 252"/>
                <a:gd name="T10" fmla="*/ 20 w 224"/>
                <a:gd name="T11" fmla="*/ 48 h 252"/>
                <a:gd name="T12" fmla="*/ 9 w 224"/>
                <a:gd name="T13" fmla="*/ 68 h 252"/>
                <a:gd name="T14" fmla="*/ 2 w 224"/>
                <a:gd name="T15" fmla="*/ 89 h 252"/>
                <a:gd name="T16" fmla="*/ 0 w 224"/>
                <a:gd name="T17" fmla="*/ 111 h 252"/>
                <a:gd name="T18" fmla="*/ 1 w 224"/>
                <a:gd name="T19" fmla="*/ 126 h 252"/>
                <a:gd name="T20" fmla="*/ 9 w 224"/>
                <a:gd name="T21" fmla="*/ 156 h 252"/>
                <a:gd name="T22" fmla="*/ 24 w 224"/>
                <a:gd name="T23" fmla="*/ 181 h 252"/>
                <a:gd name="T24" fmla="*/ 45 w 224"/>
                <a:gd name="T25" fmla="*/ 201 h 252"/>
                <a:gd name="T26" fmla="*/ 59 w 224"/>
                <a:gd name="T27" fmla="*/ 248 h 252"/>
                <a:gd name="T28" fmla="*/ 60 w 224"/>
                <a:gd name="T29" fmla="*/ 251 h 252"/>
                <a:gd name="T30" fmla="*/ 84 w 224"/>
                <a:gd name="T31" fmla="*/ 252 h 252"/>
                <a:gd name="T32" fmla="*/ 73 w 224"/>
                <a:gd name="T33" fmla="*/ 169 h 252"/>
                <a:gd name="T34" fmla="*/ 65 w 224"/>
                <a:gd name="T35" fmla="*/ 168 h 252"/>
                <a:gd name="T36" fmla="*/ 56 w 224"/>
                <a:gd name="T37" fmla="*/ 162 h 252"/>
                <a:gd name="T38" fmla="*/ 49 w 224"/>
                <a:gd name="T39" fmla="*/ 154 h 252"/>
                <a:gd name="T40" fmla="*/ 45 w 224"/>
                <a:gd name="T41" fmla="*/ 141 h 252"/>
                <a:gd name="T42" fmla="*/ 47 w 224"/>
                <a:gd name="T43" fmla="*/ 132 h 252"/>
                <a:gd name="T44" fmla="*/ 52 w 224"/>
                <a:gd name="T45" fmla="*/ 122 h 252"/>
                <a:gd name="T46" fmla="*/ 60 w 224"/>
                <a:gd name="T47" fmla="*/ 115 h 252"/>
                <a:gd name="T48" fmla="*/ 73 w 224"/>
                <a:gd name="T49" fmla="*/ 113 h 252"/>
                <a:gd name="T50" fmla="*/ 80 w 224"/>
                <a:gd name="T51" fmla="*/ 114 h 252"/>
                <a:gd name="T52" fmla="*/ 90 w 224"/>
                <a:gd name="T53" fmla="*/ 118 h 252"/>
                <a:gd name="T54" fmla="*/ 92 w 224"/>
                <a:gd name="T55" fmla="*/ 121 h 252"/>
                <a:gd name="T56" fmla="*/ 99 w 224"/>
                <a:gd name="T57" fmla="*/ 133 h 252"/>
                <a:gd name="T58" fmla="*/ 100 w 224"/>
                <a:gd name="T59" fmla="*/ 153 h 252"/>
                <a:gd name="T60" fmla="*/ 125 w 224"/>
                <a:gd name="T61" fmla="*/ 153 h 252"/>
                <a:gd name="T62" fmla="*/ 125 w 224"/>
                <a:gd name="T63" fmla="*/ 141 h 252"/>
                <a:gd name="T64" fmla="*/ 127 w 224"/>
                <a:gd name="T65" fmla="*/ 128 h 252"/>
                <a:gd name="T66" fmla="*/ 131 w 224"/>
                <a:gd name="T67" fmla="*/ 121 h 252"/>
                <a:gd name="T68" fmla="*/ 139 w 224"/>
                <a:gd name="T69" fmla="*/ 115 h 252"/>
                <a:gd name="T70" fmla="*/ 151 w 224"/>
                <a:gd name="T71" fmla="*/ 113 h 252"/>
                <a:gd name="T72" fmla="*/ 158 w 224"/>
                <a:gd name="T73" fmla="*/ 114 h 252"/>
                <a:gd name="T74" fmla="*/ 169 w 224"/>
                <a:gd name="T75" fmla="*/ 119 h 252"/>
                <a:gd name="T76" fmla="*/ 176 w 224"/>
                <a:gd name="T77" fmla="*/ 128 h 252"/>
                <a:gd name="T78" fmla="*/ 180 w 224"/>
                <a:gd name="T79" fmla="*/ 141 h 252"/>
                <a:gd name="T80" fmla="*/ 177 w 224"/>
                <a:gd name="T81" fmla="*/ 150 h 252"/>
                <a:gd name="T82" fmla="*/ 173 w 224"/>
                <a:gd name="T83" fmla="*/ 158 h 252"/>
                <a:gd name="T84" fmla="*/ 165 w 224"/>
                <a:gd name="T85" fmla="*/ 167 h 252"/>
                <a:gd name="T86" fmla="*/ 151 w 224"/>
                <a:gd name="T87" fmla="*/ 169 h 252"/>
                <a:gd name="T88" fmla="*/ 141 w 224"/>
                <a:gd name="T89" fmla="*/ 252 h 252"/>
                <a:gd name="T90" fmla="*/ 161 w 224"/>
                <a:gd name="T91" fmla="*/ 252 h 252"/>
                <a:gd name="T92" fmla="*/ 166 w 224"/>
                <a:gd name="T93" fmla="*/ 248 h 252"/>
                <a:gd name="T94" fmla="*/ 166 w 224"/>
                <a:gd name="T95" fmla="*/ 209 h 252"/>
                <a:gd name="T96" fmla="*/ 190 w 224"/>
                <a:gd name="T97" fmla="*/ 192 h 252"/>
                <a:gd name="T98" fmla="*/ 209 w 224"/>
                <a:gd name="T99" fmla="*/ 169 h 252"/>
                <a:gd name="T100" fmla="*/ 220 w 224"/>
                <a:gd name="T101" fmla="*/ 141 h 252"/>
                <a:gd name="T102" fmla="*/ 224 w 224"/>
                <a:gd name="T103" fmla="*/ 111 h 252"/>
                <a:gd name="T104" fmla="*/ 224 w 224"/>
                <a:gd name="T105" fmla="*/ 101 h 252"/>
                <a:gd name="T106" fmla="*/ 220 w 224"/>
                <a:gd name="T107" fmla="*/ 78 h 252"/>
                <a:gd name="T108" fmla="*/ 210 w 224"/>
                <a:gd name="T109" fmla="*/ 58 h 252"/>
                <a:gd name="T110" fmla="*/ 198 w 224"/>
                <a:gd name="T111" fmla="*/ 40 h 252"/>
                <a:gd name="T112" fmla="*/ 184 w 224"/>
                <a:gd name="T113" fmla="*/ 25 h 252"/>
                <a:gd name="T114" fmla="*/ 166 w 224"/>
                <a:gd name="T115" fmla="*/ 13 h 252"/>
                <a:gd name="T116" fmla="*/ 146 w 224"/>
                <a:gd name="T117" fmla="*/ 4 h 252"/>
                <a:gd name="T118" fmla="*/ 123 w 224"/>
                <a:gd name="T119" fmla="*/ 0 h 252"/>
                <a:gd name="T120" fmla="*/ 112 w 224"/>
                <a:gd name="T1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4" h="252">
                  <a:moveTo>
                    <a:pt x="112" y="0"/>
                  </a:moveTo>
                  <a:lnTo>
                    <a:pt x="112" y="0"/>
                  </a:lnTo>
                  <a:lnTo>
                    <a:pt x="100" y="0"/>
                  </a:lnTo>
                  <a:lnTo>
                    <a:pt x="90" y="1"/>
                  </a:lnTo>
                  <a:lnTo>
                    <a:pt x="79" y="4"/>
                  </a:lnTo>
                  <a:lnTo>
                    <a:pt x="68" y="8"/>
                  </a:lnTo>
                  <a:lnTo>
                    <a:pt x="59" y="13"/>
                  </a:lnTo>
                  <a:lnTo>
                    <a:pt x="49" y="19"/>
                  </a:lnTo>
                  <a:lnTo>
                    <a:pt x="41" y="25"/>
                  </a:lnTo>
                  <a:lnTo>
                    <a:pt x="33" y="32"/>
                  </a:lnTo>
                  <a:lnTo>
                    <a:pt x="26" y="40"/>
                  </a:lnTo>
                  <a:lnTo>
                    <a:pt x="20" y="48"/>
                  </a:lnTo>
                  <a:lnTo>
                    <a:pt x="14" y="58"/>
                  </a:lnTo>
                  <a:lnTo>
                    <a:pt x="9" y="68"/>
                  </a:lnTo>
                  <a:lnTo>
                    <a:pt x="5" y="78"/>
                  </a:lnTo>
                  <a:lnTo>
                    <a:pt x="2" y="89"/>
                  </a:lnTo>
                  <a:lnTo>
                    <a:pt x="1" y="101"/>
                  </a:lnTo>
                  <a:lnTo>
                    <a:pt x="0" y="111"/>
                  </a:lnTo>
                  <a:lnTo>
                    <a:pt x="0" y="111"/>
                  </a:lnTo>
                  <a:lnTo>
                    <a:pt x="1" y="126"/>
                  </a:lnTo>
                  <a:lnTo>
                    <a:pt x="4" y="141"/>
                  </a:lnTo>
                  <a:lnTo>
                    <a:pt x="9" y="156"/>
                  </a:lnTo>
                  <a:lnTo>
                    <a:pt x="16" y="169"/>
                  </a:lnTo>
                  <a:lnTo>
                    <a:pt x="24" y="181"/>
                  </a:lnTo>
                  <a:lnTo>
                    <a:pt x="35" y="192"/>
                  </a:lnTo>
                  <a:lnTo>
                    <a:pt x="45" y="201"/>
                  </a:lnTo>
                  <a:lnTo>
                    <a:pt x="59" y="209"/>
                  </a:lnTo>
                  <a:lnTo>
                    <a:pt x="59" y="248"/>
                  </a:lnTo>
                  <a:lnTo>
                    <a:pt x="59" y="248"/>
                  </a:lnTo>
                  <a:lnTo>
                    <a:pt x="60" y="251"/>
                  </a:lnTo>
                  <a:lnTo>
                    <a:pt x="64" y="252"/>
                  </a:lnTo>
                  <a:lnTo>
                    <a:pt x="84" y="252"/>
                  </a:lnTo>
                  <a:lnTo>
                    <a:pt x="84" y="169"/>
                  </a:lnTo>
                  <a:lnTo>
                    <a:pt x="73" y="169"/>
                  </a:lnTo>
                  <a:lnTo>
                    <a:pt x="73" y="169"/>
                  </a:lnTo>
                  <a:lnTo>
                    <a:pt x="65" y="168"/>
                  </a:lnTo>
                  <a:lnTo>
                    <a:pt x="60" y="167"/>
                  </a:lnTo>
                  <a:lnTo>
                    <a:pt x="56" y="162"/>
                  </a:lnTo>
                  <a:lnTo>
                    <a:pt x="52" y="158"/>
                  </a:lnTo>
                  <a:lnTo>
                    <a:pt x="49" y="154"/>
                  </a:lnTo>
                  <a:lnTo>
                    <a:pt x="47" y="150"/>
                  </a:lnTo>
                  <a:lnTo>
                    <a:pt x="45" y="141"/>
                  </a:lnTo>
                  <a:lnTo>
                    <a:pt x="45" y="141"/>
                  </a:lnTo>
                  <a:lnTo>
                    <a:pt x="47" y="132"/>
                  </a:lnTo>
                  <a:lnTo>
                    <a:pt x="49" y="128"/>
                  </a:lnTo>
                  <a:lnTo>
                    <a:pt x="52" y="122"/>
                  </a:lnTo>
                  <a:lnTo>
                    <a:pt x="56" y="119"/>
                  </a:lnTo>
                  <a:lnTo>
                    <a:pt x="60" y="115"/>
                  </a:lnTo>
                  <a:lnTo>
                    <a:pt x="67" y="114"/>
                  </a:lnTo>
                  <a:lnTo>
                    <a:pt x="73" y="113"/>
                  </a:lnTo>
                  <a:lnTo>
                    <a:pt x="73" y="113"/>
                  </a:lnTo>
                  <a:lnTo>
                    <a:pt x="80" y="114"/>
                  </a:lnTo>
                  <a:lnTo>
                    <a:pt x="86" y="115"/>
                  </a:lnTo>
                  <a:lnTo>
                    <a:pt x="90" y="118"/>
                  </a:lnTo>
                  <a:lnTo>
                    <a:pt x="92" y="121"/>
                  </a:lnTo>
                  <a:lnTo>
                    <a:pt x="92" y="121"/>
                  </a:lnTo>
                  <a:lnTo>
                    <a:pt x="98" y="128"/>
                  </a:lnTo>
                  <a:lnTo>
                    <a:pt x="99" y="133"/>
                  </a:lnTo>
                  <a:lnTo>
                    <a:pt x="100" y="141"/>
                  </a:lnTo>
                  <a:lnTo>
                    <a:pt x="100" y="153"/>
                  </a:lnTo>
                  <a:lnTo>
                    <a:pt x="112" y="153"/>
                  </a:lnTo>
                  <a:lnTo>
                    <a:pt x="125" y="153"/>
                  </a:lnTo>
                  <a:lnTo>
                    <a:pt x="125" y="141"/>
                  </a:lnTo>
                  <a:lnTo>
                    <a:pt x="125" y="141"/>
                  </a:lnTo>
                  <a:lnTo>
                    <a:pt x="125" y="133"/>
                  </a:lnTo>
                  <a:lnTo>
                    <a:pt x="127" y="128"/>
                  </a:lnTo>
                  <a:lnTo>
                    <a:pt x="131" y="121"/>
                  </a:lnTo>
                  <a:lnTo>
                    <a:pt x="131" y="121"/>
                  </a:lnTo>
                  <a:lnTo>
                    <a:pt x="135" y="118"/>
                  </a:lnTo>
                  <a:lnTo>
                    <a:pt x="139" y="115"/>
                  </a:lnTo>
                  <a:lnTo>
                    <a:pt x="145" y="114"/>
                  </a:lnTo>
                  <a:lnTo>
                    <a:pt x="151" y="113"/>
                  </a:lnTo>
                  <a:lnTo>
                    <a:pt x="151" y="113"/>
                  </a:lnTo>
                  <a:lnTo>
                    <a:pt x="158" y="114"/>
                  </a:lnTo>
                  <a:lnTo>
                    <a:pt x="165" y="115"/>
                  </a:lnTo>
                  <a:lnTo>
                    <a:pt x="169" y="119"/>
                  </a:lnTo>
                  <a:lnTo>
                    <a:pt x="173" y="122"/>
                  </a:lnTo>
                  <a:lnTo>
                    <a:pt x="176" y="128"/>
                  </a:lnTo>
                  <a:lnTo>
                    <a:pt x="177" y="132"/>
                  </a:lnTo>
                  <a:lnTo>
                    <a:pt x="180" y="141"/>
                  </a:lnTo>
                  <a:lnTo>
                    <a:pt x="180" y="141"/>
                  </a:lnTo>
                  <a:lnTo>
                    <a:pt x="177" y="150"/>
                  </a:lnTo>
                  <a:lnTo>
                    <a:pt x="176" y="154"/>
                  </a:lnTo>
                  <a:lnTo>
                    <a:pt x="173" y="158"/>
                  </a:lnTo>
                  <a:lnTo>
                    <a:pt x="169" y="162"/>
                  </a:lnTo>
                  <a:lnTo>
                    <a:pt x="165" y="167"/>
                  </a:lnTo>
                  <a:lnTo>
                    <a:pt x="158" y="168"/>
                  </a:lnTo>
                  <a:lnTo>
                    <a:pt x="151" y="169"/>
                  </a:lnTo>
                  <a:lnTo>
                    <a:pt x="141" y="169"/>
                  </a:lnTo>
                  <a:lnTo>
                    <a:pt x="141" y="252"/>
                  </a:lnTo>
                  <a:lnTo>
                    <a:pt x="161" y="252"/>
                  </a:lnTo>
                  <a:lnTo>
                    <a:pt x="161" y="252"/>
                  </a:lnTo>
                  <a:lnTo>
                    <a:pt x="165" y="251"/>
                  </a:lnTo>
                  <a:lnTo>
                    <a:pt x="166" y="248"/>
                  </a:lnTo>
                  <a:lnTo>
                    <a:pt x="166" y="209"/>
                  </a:lnTo>
                  <a:lnTo>
                    <a:pt x="166" y="209"/>
                  </a:lnTo>
                  <a:lnTo>
                    <a:pt x="178" y="201"/>
                  </a:lnTo>
                  <a:lnTo>
                    <a:pt x="190" y="192"/>
                  </a:lnTo>
                  <a:lnTo>
                    <a:pt x="200" y="181"/>
                  </a:lnTo>
                  <a:lnTo>
                    <a:pt x="209" y="169"/>
                  </a:lnTo>
                  <a:lnTo>
                    <a:pt x="216" y="156"/>
                  </a:lnTo>
                  <a:lnTo>
                    <a:pt x="220" y="141"/>
                  </a:lnTo>
                  <a:lnTo>
                    <a:pt x="224" y="126"/>
                  </a:lnTo>
                  <a:lnTo>
                    <a:pt x="224" y="111"/>
                  </a:lnTo>
                  <a:lnTo>
                    <a:pt x="224" y="111"/>
                  </a:lnTo>
                  <a:lnTo>
                    <a:pt x="224" y="101"/>
                  </a:lnTo>
                  <a:lnTo>
                    <a:pt x="223" y="89"/>
                  </a:lnTo>
                  <a:lnTo>
                    <a:pt x="220" y="78"/>
                  </a:lnTo>
                  <a:lnTo>
                    <a:pt x="216" y="68"/>
                  </a:lnTo>
                  <a:lnTo>
                    <a:pt x="210" y="58"/>
                  </a:lnTo>
                  <a:lnTo>
                    <a:pt x="205" y="48"/>
                  </a:lnTo>
                  <a:lnTo>
                    <a:pt x="198" y="40"/>
                  </a:lnTo>
                  <a:lnTo>
                    <a:pt x="192" y="32"/>
                  </a:lnTo>
                  <a:lnTo>
                    <a:pt x="184" y="25"/>
                  </a:lnTo>
                  <a:lnTo>
                    <a:pt x="176" y="19"/>
                  </a:lnTo>
                  <a:lnTo>
                    <a:pt x="166" y="13"/>
                  </a:lnTo>
                  <a:lnTo>
                    <a:pt x="155" y="8"/>
                  </a:lnTo>
                  <a:lnTo>
                    <a:pt x="146" y="4"/>
                  </a:lnTo>
                  <a:lnTo>
                    <a:pt x="135" y="1"/>
                  </a:lnTo>
                  <a:lnTo>
                    <a:pt x="123" y="0"/>
                  </a:lnTo>
                  <a:lnTo>
                    <a:pt x="112" y="0"/>
                  </a:lnTo>
                  <a:lnTo>
                    <a:pt x="11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343">
              <a:extLst>
                <a:ext uri="{FF2B5EF4-FFF2-40B4-BE49-F238E27FC236}">
                  <a16:creationId xmlns:a16="http://schemas.microsoft.com/office/drawing/2014/main" id="{117BEE27-E238-4EF5-B949-17C2BBF54939}"/>
                </a:ext>
              </a:extLst>
            </p:cNvPr>
            <p:cNvSpPr>
              <a:spLocks/>
            </p:cNvSpPr>
            <p:nvPr/>
          </p:nvSpPr>
          <p:spPr bwMode="auto">
            <a:xfrm>
              <a:off x="825501" y="4518025"/>
              <a:ext cx="12700" cy="0"/>
            </a:xfrm>
            <a:custGeom>
              <a:avLst/>
              <a:gdLst>
                <a:gd name="T0" fmla="*/ 0 w 16"/>
                <a:gd name="T1" fmla="*/ 0 w 16"/>
                <a:gd name="T2" fmla="*/ 16 w 16"/>
                <a:gd name="T3" fmla="*/ 16 w 16"/>
                <a:gd name="T4" fmla="*/ 12 w 16"/>
                <a:gd name="T5" fmla="*/ 0 w 16"/>
              </a:gdLst>
              <a:ahLst/>
              <a:cxnLst>
                <a:cxn ang="0">
                  <a:pos x="T0" y="0"/>
                </a:cxn>
                <a:cxn ang="0">
                  <a:pos x="T1" y="0"/>
                </a:cxn>
                <a:cxn ang="0">
                  <a:pos x="T2" y="0"/>
                </a:cxn>
                <a:cxn ang="0">
                  <a:pos x="T3" y="0"/>
                </a:cxn>
                <a:cxn ang="0">
                  <a:pos x="T4" y="0"/>
                </a:cxn>
                <a:cxn ang="0">
                  <a:pos x="T5" y="0"/>
                </a:cxn>
              </a:cxnLst>
              <a:rect l="0" t="0" r="r" b="b"/>
              <a:pathLst>
                <a:path w="16">
                  <a:moveTo>
                    <a:pt x="0" y="0"/>
                  </a:moveTo>
                  <a:lnTo>
                    <a:pt x="0" y="0"/>
                  </a:lnTo>
                  <a:lnTo>
                    <a:pt x="16" y="0"/>
                  </a:lnTo>
                  <a:lnTo>
                    <a:pt x="16" y="0"/>
                  </a:lnTo>
                  <a:lnTo>
                    <a:pt x="12"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344">
              <a:extLst>
                <a:ext uri="{FF2B5EF4-FFF2-40B4-BE49-F238E27FC236}">
                  <a16:creationId xmlns:a16="http://schemas.microsoft.com/office/drawing/2014/main" id="{C1007F1D-3714-4351-AC42-1CB5CFF3E4E8}"/>
                </a:ext>
              </a:extLst>
            </p:cNvPr>
            <p:cNvSpPr>
              <a:spLocks/>
            </p:cNvSpPr>
            <p:nvPr/>
          </p:nvSpPr>
          <p:spPr bwMode="auto">
            <a:xfrm>
              <a:off x="793751" y="4518025"/>
              <a:ext cx="12700" cy="0"/>
            </a:xfrm>
            <a:custGeom>
              <a:avLst/>
              <a:gdLst>
                <a:gd name="T0" fmla="*/ 0 w 16"/>
                <a:gd name="T1" fmla="*/ 0 w 16"/>
                <a:gd name="T2" fmla="*/ 16 w 16"/>
                <a:gd name="T3" fmla="*/ 16 w 16"/>
                <a:gd name="T4" fmla="*/ 4 w 16"/>
                <a:gd name="T5" fmla="*/ 0 w 16"/>
              </a:gdLst>
              <a:ahLst/>
              <a:cxnLst>
                <a:cxn ang="0">
                  <a:pos x="T0" y="0"/>
                </a:cxn>
                <a:cxn ang="0">
                  <a:pos x="T1" y="0"/>
                </a:cxn>
                <a:cxn ang="0">
                  <a:pos x="T2" y="0"/>
                </a:cxn>
                <a:cxn ang="0">
                  <a:pos x="T3" y="0"/>
                </a:cxn>
                <a:cxn ang="0">
                  <a:pos x="T4" y="0"/>
                </a:cxn>
                <a:cxn ang="0">
                  <a:pos x="T5" y="0"/>
                </a:cxn>
              </a:cxnLst>
              <a:rect l="0" t="0" r="r" b="b"/>
              <a:pathLst>
                <a:path w="16">
                  <a:moveTo>
                    <a:pt x="0" y="0"/>
                  </a:moveTo>
                  <a:lnTo>
                    <a:pt x="0" y="0"/>
                  </a:lnTo>
                  <a:lnTo>
                    <a:pt x="16" y="0"/>
                  </a:lnTo>
                  <a:lnTo>
                    <a:pt x="16" y="0"/>
                  </a:lnTo>
                  <a:lnTo>
                    <a:pt x="4"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29" name="Group 28">
            <a:extLst>
              <a:ext uri="{FF2B5EF4-FFF2-40B4-BE49-F238E27FC236}">
                <a16:creationId xmlns:a16="http://schemas.microsoft.com/office/drawing/2014/main" id="{B08DB129-AA72-4DDA-BFA1-27EC4870D7D2}"/>
              </a:ext>
            </a:extLst>
          </p:cNvPr>
          <p:cNvGrpSpPr>
            <a:grpSpLocks noChangeAspect="1"/>
          </p:cNvGrpSpPr>
          <p:nvPr/>
        </p:nvGrpSpPr>
        <p:grpSpPr>
          <a:xfrm>
            <a:off x="4645956" y="4510970"/>
            <a:ext cx="522288" cy="522288"/>
            <a:chOff x="3194051" y="4180523"/>
            <a:chExt cx="522288" cy="522288"/>
          </a:xfrm>
        </p:grpSpPr>
        <p:sp>
          <p:nvSpPr>
            <p:cNvPr id="30" name="Freeform 49">
              <a:extLst>
                <a:ext uri="{FF2B5EF4-FFF2-40B4-BE49-F238E27FC236}">
                  <a16:creationId xmlns:a16="http://schemas.microsoft.com/office/drawing/2014/main" id="{72440789-E233-4731-BC22-34D9795528AB}"/>
                </a:ext>
              </a:extLst>
            </p:cNvPr>
            <p:cNvSpPr>
              <a:spLocks noEditPoints="1"/>
            </p:cNvSpPr>
            <p:nvPr/>
          </p:nvSpPr>
          <p:spPr bwMode="auto">
            <a:xfrm>
              <a:off x="3194051" y="4180523"/>
              <a:ext cx="522288" cy="522288"/>
            </a:xfrm>
            <a:custGeom>
              <a:avLst/>
              <a:gdLst>
                <a:gd name="T0" fmla="*/ 312 w 659"/>
                <a:gd name="T1" fmla="*/ 657 h 657"/>
                <a:gd name="T2" fmla="*/ 262 w 659"/>
                <a:gd name="T3" fmla="*/ 650 h 657"/>
                <a:gd name="T4" fmla="*/ 202 w 659"/>
                <a:gd name="T5" fmla="*/ 632 h 657"/>
                <a:gd name="T6" fmla="*/ 120 w 659"/>
                <a:gd name="T7" fmla="*/ 582 h 657"/>
                <a:gd name="T8" fmla="*/ 57 w 659"/>
                <a:gd name="T9" fmla="*/ 512 h 657"/>
                <a:gd name="T10" fmla="*/ 15 w 659"/>
                <a:gd name="T11" fmla="*/ 426 h 657"/>
                <a:gd name="T12" fmla="*/ 4 w 659"/>
                <a:gd name="T13" fmla="*/ 379 h 657"/>
                <a:gd name="T14" fmla="*/ 0 w 659"/>
                <a:gd name="T15" fmla="*/ 329 h 657"/>
                <a:gd name="T16" fmla="*/ 2 w 659"/>
                <a:gd name="T17" fmla="*/ 296 h 657"/>
                <a:gd name="T18" fmla="*/ 11 w 659"/>
                <a:gd name="T19" fmla="*/ 246 h 657"/>
                <a:gd name="T20" fmla="*/ 41 w 659"/>
                <a:gd name="T21" fmla="*/ 172 h 657"/>
                <a:gd name="T22" fmla="*/ 97 w 659"/>
                <a:gd name="T23" fmla="*/ 97 h 657"/>
                <a:gd name="T24" fmla="*/ 172 w 659"/>
                <a:gd name="T25" fmla="*/ 39 h 657"/>
                <a:gd name="T26" fmla="*/ 248 w 659"/>
                <a:gd name="T27" fmla="*/ 9 h 657"/>
                <a:gd name="T28" fmla="*/ 296 w 659"/>
                <a:gd name="T29" fmla="*/ 1 h 657"/>
                <a:gd name="T30" fmla="*/ 330 w 659"/>
                <a:gd name="T31" fmla="*/ 0 h 657"/>
                <a:gd name="T32" fmla="*/ 379 w 659"/>
                <a:gd name="T33" fmla="*/ 4 h 657"/>
                <a:gd name="T34" fmla="*/ 426 w 659"/>
                <a:gd name="T35" fmla="*/ 15 h 657"/>
                <a:gd name="T36" fmla="*/ 514 w 659"/>
                <a:gd name="T37" fmla="*/ 56 h 657"/>
                <a:gd name="T38" fmla="*/ 584 w 659"/>
                <a:gd name="T39" fmla="*/ 119 h 657"/>
                <a:gd name="T40" fmla="*/ 632 w 659"/>
                <a:gd name="T41" fmla="*/ 200 h 657"/>
                <a:gd name="T42" fmla="*/ 652 w 659"/>
                <a:gd name="T43" fmla="*/ 262 h 657"/>
                <a:gd name="T44" fmla="*/ 658 w 659"/>
                <a:gd name="T45" fmla="*/ 312 h 657"/>
                <a:gd name="T46" fmla="*/ 658 w 659"/>
                <a:gd name="T47" fmla="*/ 345 h 657"/>
                <a:gd name="T48" fmla="*/ 652 w 659"/>
                <a:gd name="T49" fmla="*/ 395 h 657"/>
                <a:gd name="T50" fmla="*/ 632 w 659"/>
                <a:gd name="T51" fmla="*/ 457 h 657"/>
                <a:gd name="T52" fmla="*/ 584 w 659"/>
                <a:gd name="T53" fmla="*/ 537 h 657"/>
                <a:gd name="T54" fmla="*/ 514 w 659"/>
                <a:gd name="T55" fmla="*/ 601 h 657"/>
                <a:gd name="T56" fmla="*/ 426 w 659"/>
                <a:gd name="T57" fmla="*/ 642 h 657"/>
                <a:gd name="T58" fmla="*/ 379 w 659"/>
                <a:gd name="T59" fmla="*/ 653 h 657"/>
                <a:gd name="T60" fmla="*/ 330 w 659"/>
                <a:gd name="T61" fmla="*/ 657 h 657"/>
                <a:gd name="T62" fmla="*/ 330 w 659"/>
                <a:gd name="T63" fmla="*/ 37 h 657"/>
                <a:gd name="T64" fmla="*/ 242 w 659"/>
                <a:gd name="T65" fmla="*/ 51 h 657"/>
                <a:gd name="T66" fmla="*/ 167 w 659"/>
                <a:gd name="T67" fmla="*/ 87 h 657"/>
                <a:gd name="T68" fmla="*/ 105 w 659"/>
                <a:gd name="T69" fmla="*/ 144 h 657"/>
                <a:gd name="T70" fmla="*/ 61 w 659"/>
                <a:gd name="T71" fmla="*/ 215 h 657"/>
                <a:gd name="T72" fmla="*/ 39 w 659"/>
                <a:gd name="T73" fmla="*/ 298 h 657"/>
                <a:gd name="T74" fmla="*/ 39 w 659"/>
                <a:gd name="T75" fmla="*/ 359 h 657"/>
                <a:gd name="T76" fmla="*/ 61 w 659"/>
                <a:gd name="T77" fmla="*/ 442 h 657"/>
                <a:gd name="T78" fmla="*/ 105 w 659"/>
                <a:gd name="T79" fmla="*/ 513 h 657"/>
                <a:gd name="T80" fmla="*/ 167 w 659"/>
                <a:gd name="T81" fmla="*/ 570 h 657"/>
                <a:gd name="T82" fmla="*/ 242 w 659"/>
                <a:gd name="T83" fmla="*/ 607 h 657"/>
                <a:gd name="T84" fmla="*/ 330 w 659"/>
                <a:gd name="T85" fmla="*/ 619 h 657"/>
                <a:gd name="T86" fmla="*/ 387 w 659"/>
                <a:gd name="T87" fmla="*/ 614 h 657"/>
                <a:gd name="T88" fmla="*/ 468 w 659"/>
                <a:gd name="T89" fmla="*/ 584 h 657"/>
                <a:gd name="T90" fmla="*/ 535 w 659"/>
                <a:gd name="T91" fmla="*/ 535 h 657"/>
                <a:gd name="T92" fmla="*/ 585 w 659"/>
                <a:gd name="T93" fmla="*/ 468 h 657"/>
                <a:gd name="T94" fmla="*/ 615 w 659"/>
                <a:gd name="T95" fmla="*/ 387 h 657"/>
                <a:gd name="T96" fmla="*/ 621 w 659"/>
                <a:gd name="T97" fmla="*/ 329 h 657"/>
                <a:gd name="T98" fmla="*/ 608 w 659"/>
                <a:gd name="T99" fmla="*/ 242 h 657"/>
                <a:gd name="T100" fmla="*/ 570 w 659"/>
                <a:gd name="T101" fmla="*/ 165 h 657"/>
                <a:gd name="T102" fmla="*/ 515 w 659"/>
                <a:gd name="T103" fmla="*/ 103 h 657"/>
                <a:gd name="T104" fmla="*/ 443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6"/>
                  </a:lnTo>
                  <a:lnTo>
                    <a:pt x="280" y="653"/>
                  </a:lnTo>
                  <a:lnTo>
                    <a:pt x="262" y="650"/>
                  </a:lnTo>
                  <a:lnTo>
                    <a:pt x="248" y="648"/>
                  </a:lnTo>
                  <a:lnTo>
                    <a:pt x="232" y="642"/>
                  </a:lnTo>
                  <a:lnTo>
                    <a:pt x="202" y="632"/>
                  </a:lnTo>
                  <a:lnTo>
                    <a:pt x="172" y="618"/>
                  </a:lnTo>
                  <a:lnTo>
                    <a:pt x="146" y="601"/>
                  </a:lnTo>
                  <a:lnTo>
                    <a:pt x="120" y="582"/>
                  </a:lnTo>
                  <a:lnTo>
                    <a:pt x="97" y="562"/>
                  </a:lnTo>
                  <a:lnTo>
                    <a:pt x="76" y="537"/>
                  </a:lnTo>
                  <a:lnTo>
                    <a:pt x="57" y="512"/>
                  </a:lnTo>
                  <a:lnTo>
                    <a:pt x="41" y="485"/>
                  </a:lnTo>
                  <a:lnTo>
                    <a:pt x="26" y="457"/>
                  </a:lnTo>
                  <a:lnTo>
                    <a:pt x="15" y="426"/>
                  </a:lnTo>
                  <a:lnTo>
                    <a:pt x="11" y="411"/>
                  </a:lnTo>
                  <a:lnTo>
                    <a:pt x="7" y="395"/>
                  </a:lnTo>
                  <a:lnTo>
                    <a:pt x="4" y="379"/>
                  </a:lnTo>
                  <a:lnTo>
                    <a:pt x="2" y="361"/>
                  </a:lnTo>
                  <a:lnTo>
                    <a:pt x="0" y="345"/>
                  </a:lnTo>
                  <a:lnTo>
                    <a:pt x="0" y="329"/>
                  </a:lnTo>
                  <a:lnTo>
                    <a:pt x="0" y="329"/>
                  </a:lnTo>
                  <a:lnTo>
                    <a:pt x="0" y="312"/>
                  </a:lnTo>
                  <a:lnTo>
                    <a:pt x="2" y="296"/>
                  </a:lnTo>
                  <a:lnTo>
                    <a:pt x="4" y="278"/>
                  </a:lnTo>
                  <a:lnTo>
                    <a:pt x="7" y="262"/>
                  </a:lnTo>
                  <a:lnTo>
                    <a:pt x="11" y="246"/>
                  </a:lnTo>
                  <a:lnTo>
                    <a:pt x="15" y="231"/>
                  </a:lnTo>
                  <a:lnTo>
                    <a:pt x="26" y="200"/>
                  </a:lnTo>
                  <a:lnTo>
                    <a:pt x="41" y="172"/>
                  </a:lnTo>
                  <a:lnTo>
                    <a:pt x="57" y="145"/>
                  </a:lnTo>
                  <a:lnTo>
                    <a:pt x="76" y="119"/>
                  </a:lnTo>
                  <a:lnTo>
                    <a:pt x="97" y="97"/>
                  </a:lnTo>
                  <a:lnTo>
                    <a:pt x="120" y="75"/>
                  </a:lnTo>
                  <a:lnTo>
                    <a:pt x="146" y="56"/>
                  </a:lnTo>
                  <a:lnTo>
                    <a:pt x="172" y="39"/>
                  </a:lnTo>
                  <a:lnTo>
                    <a:pt x="202" y="25"/>
                  </a:lnTo>
                  <a:lnTo>
                    <a:pt x="232" y="15"/>
                  </a:lnTo>
                  <a:lnTo>
                    <a:pt x="248" y="9"/>
                  </a:lnTo>
                  <a:lnTo>
                    <a:pt x="262" y="7"/>
                  </a:lnTo>
                  <a:lnTo>
                    <a:pt x="280" y="4"/>
                  </a:lnTo>
                  <a:lnTo>
                    <a:pt x="296" y="1"/>
                  </a:lnTo>
                  <a:lnTo>
                    <a:pt x="312" y="0"/>
                  </a:lnTo>
                  <a:lnTo>
                    <a:pt x="330" y="0"/>
                  </a:lnTo>
                  <a:lnTo>
                    <a:pt x="330" y="0"/>
                  </a:lnTo>
                  <a:lnTo>
                    <a:pt x="346" y="0"/>
                  </a:lnTo>
                  <a:lnTo>
                    <a:pt x="363" y="1"/>
                  </a:lnTo>
                  <a:lnTo>
                    <a:pt x="379" y="4"/>
                  </a:lnTo>
                  <a:lnTo>
                    <a:pt x="395" y="7"/>
                  </a:lnTo>
                  <a:lnTo>
                    <a:pt x="412" y="9"/>
                  </a:lnTo>
                  <a:lnTo>
                    <a:pt x="426" y="15"/>
                  </a:lnTo>
                  <a:lnTo>
                    <a:pt x="457" y="25"/>
                  </a:lnTo>
                  <a:lnTo>
                    <a:pt x="486" y="39"/>
                  </a:lnTo>
                  <a:lnTo>
                    <a:pt x="514" y="56"/>
                  </a:lnTo>
                  <a:lnTo>
                    <a:pt x="538" y="75"/>
                  </a:lnTo>
                  <a:lnTo>
                    <a:pt x="562" y="97"/>
                  </a:lnTo>
                  <a:lnTo>
                    <a:pt x="584" y="119"/>
                  </a:lnTo>
                  <a:lnTo>
                    <a:pt x="602" y="145"/>
                  </a:lnTo>
                  <a:lnTo>
                    <a:pt x="619" y="172"/>
                  </a:lnTo>
                  <a:lnTo>
                    <a:pt x="632" y="200"/>
                  </a:lnTo>
                  <a:lnTo>
                    <a:pt x="644" y="231"/>
                  </a:lnTo>
                  <a:lnTo>
                    <a:pt x="648" y="246"/>
                  </a:lnTo>
                  <a:lnTo>
                    <a:pt x="652" y="262"/>
                  </a:lnTo>
                  <a:lnTo>
                    <a:pt x="655" y="278"/>
                  </a:lnTo>
                  <a:lnTo>
                    <a:pt x="656" y="296"/>
                  </a:lnTo>
                  <a:lnTo>
                    <a:pt x="658" y="312"/>
                  </a:lnTo>
                  <a:lnTo>
                    <a:pt x="659" y="329"/>
                  </a:lnTo>
                  <a:lnTo>
                    <a:pt x="659" y="329"/>
                  </a:lnTo>
                  <a:lnTo>
                    <a:pt x="658" y="345"/>
                  </a:lnTo>
                  <a:lnTo>
                    <a:pt x="656" y="361"/>
                  </a:lnTo>
                  <a:lnTo>
                    <a:pt x="655" y="379"/>
                  </a:lnTo>
                  <a:lnTo>
                    <a:pt x="652" y="395"/>
                  </a:lnTo>
                  <a:lnTo>
                    <a:pt x="648" y="411"/>
                  </a:lnTo>
                  <a:lnTo>
                    <a:pt x="644" y="426"/>
                  </a:lnTo>
                  <a:lnTo>
                    <a:pt x="632" y="457"/>
                  </a:lnTo>
                  <a:lnTo>
                    <a:pt x="619" y="485"/>
                  </a:lnTo>
                  <a:lnTo>
                    <a:pt x="602" y="512"/>
                  </a:lnTo>
                  <a:lnTo>
                    <a:pt x="584" y="537"/>
                  </a:lnTo>
                  <a:lnTo>
                    <a:pt x="562" y="562"/>
                  </a:lnTo>
                  <a:lnTo>
                    <a:pt x="538" y="582"/>
                  </a:lnTo>
                  <a:lnTo>
                    <a:pt x="514" y="601"/>
                  </a:lnTo>
                  <a:lnTo>
                    <a:pt x="486" y="618"/>
                  </a:lnTo>
                  <a:lnTo>
                    <a:pt x="457" y="632"/>
                  </a:lnTo>
                  <a:lnTo>
                    <a:pt x="426" y="642"/>
                  </a:lnTo>
                  <a:lnTo>
                    <a:pt x="412" y="648"/>
                  </a:lnTo>
                  <a:lnTo>
                    <a:pt x="395" y="650"/>
                  </a:lnTo>
                  <a:lnTo>
                    <a:pt x="379" y="653"/>
                  </a:lnTo>
                  <a:lnTo>
                    <a:pt x="363" y="656"/>
                  </a:lnTo>
                  <a:lnTo>
                    <a:pt x="346" y="657"/>
                  </a:lnTo>
                  <a:lnTo>
                    <a:pt x="330" y="657"/>
                  </a:lnTo>
                  <a:lnTo>
                    <a:pt x="330" y="657"/>
                  </a:lnTo>
                  <a:close/>
                  <a:moveTo>
                    <a:pt x="330" y="37"/>
                  </a:moveTo>
                  <a:lnTo>
                    <a:pt x="330" y="37"/>
                  </a:lnTo>
                  <a:lnTo>
                    <a:pt x="300" y="39"/>
                  </a:lnTo>
                  <a:lnTo>
                    <a:pt x="271" y="43"/>
                  </a:lnTo>
                  <a:lnTo>
                    <a:pt x="242" y="51"/>
                  </a:lnTo>
                  <a:lnTo>
                    <a:pt x="215" y="60"/>
                  </a:lnTo>
                  <a:lnTo>
                    <a:pt x="191" y="72"/>
                  </a:lnTo>
                  <a:lnTo>
                    <a:pt x="167" y="87"/>
                  </a:lnTo>
                  <a:lnTo>
                    <a:pt x="144" y="103"/>
                  </a:lnTo>
                  <a:lnTo>
                    <a:pt x="124" y="122"/>
                  </a:lnTo>
                  <a:lnTo>
                    <a:pt x="105" y="144"/>
                  </a:lnTo>
                  <a:lnTo>
                    <a:pt x="88" y="165"/>
                  </a:lnTo>
                  <a:lnTo>
                    <a:pt x="73" y="189"/>
                  </a:lnTo>
                  <a:lnTo>
                    <a:pt x="61" y="215"/>
                  </a:lnTo>
                  <a:lnTo>
                    <a:pt x="51" y="242"/>
                  </a:lnTo>
                  <a:lnTo>
                    <a:pt x="43" y="270"/>
                  </a:lnTo>
                  <a:lnTo>
                    <a:pt x="39" y="298"/>
                  </a:lnTo>
                  <a:lnTo>
                    <a:pt x="38" y="329"/>
                  </a:lnTo>
                  <a:lnTo>
                    <a:pt x="38" y="329"/>
                  </a:lnTo>
                  <a:lnTo>
                    <a:pt x="39" y="359"/>
                  </a:lnTo>
                  <a:lnTo>
                    <a:pt x="43" y="387"/>
                  </a:lnTo>
                  <a:lnTo>
                    <a:pt x="51" y="415"/>
                  </a:lnTo>
                  <a:lnTo>
                    <a:pt x="61" y="442"/>
                  </a:lnTo>
                  <a:lnTo>
                    <a:pt x="73" y="468"/>
                  </a:lnTo>
                  <a:lnTo>
                    <a:pt x="88" y="492"/>
                  </a:lnTo>
                  <a:lnTo>
                    <a:pt x="105" y="513"/>
                  </a:lnTo>
                  <a:lnTo>
                    <a:pt x="124" y="535"/>
                  </a:lnTo>
                  <a:lnTo>
                    <a:pt x="144" y="554"/>
                  </a:lnTo>
                  <a:lnTo>
                    <a:pt x="167" y="570"/>
                  </a:lnTo>
                  <a:lnTo>
                    <a:pt x="191" y="584"/>
                  </a:lnTo>
                  <a:lnTo>
                    <a:pt x="215" y="597"/>
                  </a:lnTo>
                  <a:lnTo>
                    <a:pt x="242" y="607"/>
                  </a:lnTo>
                  <a:lnTo>
                    <a:pt x="271" y="614"/>
                  </a:lnTo>
                  <a:lnTo>
                    <a:pt x="300" y="618"/>
                  </a:lnTo>
                  <a:lnTo>
                    <a:pt x="330" y="619"/>
                  </a:lnTo>
                  <a:lnTo>
                    <a:pt x="330" y="619"/>
                  </a:lnTo>
                  <a:lnTo>
                    <a:pt x="359" y="618"/>
                  </a:lnTo>
                  <a:lnTo>
                    <a:pt x="387" y="614"/>
                  </a:lnTo>
                  <a:lnTo>
                    <a:pt x="416" y="607"/>
                  </a:lnTo>
                  <a:lnTo>
                    <a:pt x="443" y="597"/>
                  </a:lnTo>
                  <a:lnTo>
                    <a:pt x="468" y="584"/>
                  </a:lnTo>
                  <a:lnTo>
                    <a:pt x="492" y="570"/>
                  </a:lnTo>
                  <a:lnTo>
                    <a:pt x="515" y="554"/>
                  </a:lnTo>
                  <a:lnTo>
                    <a:pt x="535" y="535"/>
                  </a:lnTo>
                  <a:lnTo>
                    <a:pt x="554" y="513"/>
                  </a:lnTo>
                  <a:lnTo>
                    <a:pt x="570" y="492"/>
                  </a:lnTo>
                  <a:lnTo>
                    <a:pt x="585" y="468"/>
                  </a:lnTo>
                  <a:lnTo>
                    <a:pt x="597" y="442"/>
                  </a:lnTo>
                  <a:lnTo>
                    <a:pt x="608" y="415"/>
                  </a:lnTo>
                  <a:lnTo>
                    <a:pt x="615" y="387"/>
                  </a:lnTo>
                  <a:lnTo>
                    <a:pt x="619" y="359"/>
                  </a:lnTo>
                  <a:lnTo>
                    <a:pt x="621" y="329"/>
                  </a:lnTo>
                  <a:lnTo>
                    <a:pt x="621" y="329"/>
                  </a:lnTo>
                  <a:lnTo>
                    <a:pt x="619" y="298"/>
                  </a:lnTo>
                  <a:lnTo>
                    <a:pt x="615" y="270"/>
                  </a:lnTo>
                  <a:lnTo>
                    <a:pt x="608" y="242"/>
                  </a:lnTo>
                  <a:lnTo>
                    <a:pt x="597" y="215"/>
                  </a:lnTo>
                  <a:lnTo>
                    <a:pt x="585" y="189"/>
                  </a:lnTo>
                  <a:lnTo>
                    <a:pt x="570" y="165"/>
                  </a:lnTo>
                  <a:lnTo>
                    <a:pt x="554" y="144"/>
                  </a:lnTo>
                  <a:lnTo>
                    <a:pt x="535" y="122"/>
                  </a:lnTo>
                  <a:lnTo>
                    <a:pt x="515" y="103"/>
                  </a:lnTo>
                  <a:lnTo>
                    <a:pt x="492" y="87"/>
                  </a:lnTo>
                  <a:lnTo>
                    <a:pt x="468" y="72"/>
                  </a:lnTo>
                  <a:lnTo>
                    <a:pt x="443" y="60"/>
                  </a:lnTo>
                  <a:lnTo>
                    <a:pt x="416" y="51"/>
                  </a:lnTo>
                  <a:lnTo>
                    <a:pt x="387" y="43"/>
                  </a:lnTo>
                  <a:lnTo>
                    <a:pt x="359" y="39"/>
                  </a:lnTo>
                  <a:lnTo>
                    <a:pt x="330" y="37"/>
                  </a:lnTo>
                  <a:lnTo>
                    <a:pt x="33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47">
              <a:extLst>
                <a:ext uri="{FF2B5EF4-FFF2-40B4-BE49-F238E27FC236}">
                  <a16:creationId xmlns:a16="http://schemas.microsoft.com/office/drawing/2014/main" id="{5FE720BB-1610-4468-B118-49825AC71DAA}"/>
                </a:ext>
              </a:extLst>
            </p:cNvPr>
            <p:cNvSpPr>
              <a:spLocks/>
            </p:cNvSpPr>
            <p:nvPr/>
          </p:nvSpPr>
          <p:spPr bwMode="auto">
            <a:xfrm>
              <a:off x="3330576" y="4309110"/>
              <a:ext cx="249238" cy="147638"/>
            </a:xfrm>
            <a:custGeom>
              <a:avLst/>
              <a:gdLst>
                <a:gd name="T0" fmla="*/ 313 w 316"/>
                <a:gd name="T1" fmla="*/ 89 h 186"/>
                <a:gd name="T2" fmla="*/ 161 w 316"/>
                <a:gd name="T3" fmla="*/ 2 h 186"/>
                <a:gd name="T4" fmla="*/ 161 w 316"/>
                <a:gd name="T5" fmla="*/ 2 h 186"/>
                <a:gd name="T6" fmla="*/ 159 w 316"/>
                <a:gd name="T7" fmla="*/ 0 h 186"/>
                <a:gd name="T8" fmla="*/ 156 w 316"/>
                <a:gd name="T9" fmla="*/ 2 h 186"/>
                <a:gd name="T10" fmla="*/ 3 w 316"/>
                <a:gd name="T11" fmla="*/ 89 h 186"/>
                <a:gd name="T12" fmla="*/ 3 w 316"/>
                <a:gd name="T13" fmla="*/ 89 h 186"/>
                <a:gd name="T14" fmla="*/ 1 w 316"/>
                <a:gd name="T15" fmla="*/ 91 h 186"/>
                <a:gd name="T16" fmla="*/ 0 w 316"/>
                <a:gd name="T17" fmla="*/ 95 h 186"/>
                <a:gd name="T18" fmla="*/ 0 w 316"/>
                <a:gd name="T19" fmla="*/ 95 h 186"/>
                <a:gd name="T20" fmla="*/ 1 w 316"/>
                <a:gd name="T21" fmla="*/ 97 h 186"/>
                <a:gd name="T22" fmla="*/ 3 w 316"/>
                <a:gd name="T23" fmla="*/ 99 h 186"/>
                <a:gd name="T24" fmla="*/ 156 w 316"/>
                <a:gd name="T25" fmla="*/ 186 h 186"/>
                <a:gd name="T26" fmla="*/ 156 w 316"/>
                <a:gd name="T27" fmla="*/ 186 h 186"/>
                <a:gd name="T28" fmla="*/ 159 w 316"/>
                <a:gd name="T29" fmla="*/ 186 h 186"/>
                <a:gd name="T30" fmla="*/ 159 w 316"/>
                <a:gd name="T31" fmla="*/ 186 h 186"/>
                <a:gd name="T32" fmla="*/ 161 w 316"/>
                <a:gd name="T33" fmla="*/ 186 h 186"/>
                <a:gd name="T34" fmla="*/ 313 w 316"/>
                <a:gd name="T35" fmla="*/ 99 h 186"/>
                <a:gd name="T36" fmla="*/ 313 w 316"/>
                <a:gd name="T37" fmla="*/ 99 h 186"/>
                <a:gd name="T38" fmla="*/ 316 w 316"/>
                <a:gd name="T39" fmla="*/ 97 h 186"/>
                <a:gd name="T40" fmla="*/ 316 w 316"/>
                <a:gd name="T41" fmla="*/ 95 h 186"/>
                <a:gd name="T42" fmla="*/ 316 w 316"/>
                <a:gd name="T43" fmla="*/ 95 h 186"/>
                <a:gd name="T44" fmla="*/ 316 w 316"/>
                <a:gd name="T45" fmla="*/ 91 h 186"/>
                <a:gd name="T46" fmla="*/ 313 w 316"/>
                <a:gd name="T47" fmla="*/ 89 h 186"/>
                <a:gd name="T48" fmla="*/ 313 w 316"/>
                <a:gd name="T49" fmla="*/ 8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6" h="186">
                  <a:moveTo>
                    <a:pt x="313" y="89"/>
                  </a:moveTo>
                  <a:lnTo>
                    <a:pt x="161" y="2"/>
                  </a:lnTo>
                  <a:lnTo>
                    <a:pt x="161" y="2"/>
                  </a:lnTo>
                  <a:lnTo>
                    <a:pt x="159" y="0"/>
                  </a:lnTo>
                  <a:lnTo>
                    <a:pt x="156" y="2"/>
                  </a:lnTo>
                  <a:lnTo>
                    <a:pt x="3" y="89"/>
                  </a:lnTo>
                  <a:lnTo>
                    <a:pt x="3" y="89"/>
                  </a:lnTo>
                  <a:lnTo>
                    <a:pt x="1" y="91"/>
                  </a:lnTo>
                  <a:lnTo>
                    <a:pt x="0" y="95"/>
                  </a:lnTo>
                  <a:lnTo>
                    <a:pt x="0" y="95"/>
                  </a:lnTo>
                  <a:lnTo>
                    <a:pt x="1" y="97"/>
                  </a:lnTo>
                  <a:lnTo>
                    <a:pt x="3" y="99"/>
                  </a:lnTo>
                  <a:lnTo>
                    <a:pt x="156" y="186"/>
                  </a:lnTo>
                  <a:lnTo>
                    <a:pt x="156" y="186"/>
                  </a:lnTo>
                  <a:lnTo>
                    <a:pt x="159" y="186"/>
                  </a:lnTo>
                  <a:lnTo>
                    <a:pt x="159" y="186"/>
                  </a:lnTo>
                  <a:lnTo>
                    <a:pt x="161" y="186"/>
                  </a:lnTo>
                  <a:lnTo>
                    <a:pt x="313" y="99"/>
                  </a:lnTo>
                  <a:lnTo>
                    <a:pt x="313" y="99"/>
                  </a:lnTo>
                  <a:lnTo>
                    <a:pt x="316" y="97"/>
                  </a:lnTo>
                  <a:lnTo>
                    <a:pt x="316" y="95"/>
                  </a:lnTo>
                  <a:lnTo>
                    <a:pt x="316" y="95"/>
                  </a:lnTo>
                  <a:lnTo>
                    <a:pt x="316" y="91"/>
                  </a:lnTo>
                  <a:lnTo>
                    <a:pt x="313" y="89"/>
                  </a:lnTo>
                  <a:lnTo>
                    <a:pt x="313" y="8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48">
              <a:extLst>
                <a:ext uri="{FF2B5EF4-FFF2-40B4-BE49-F238E27FC236}">
                  <a16:creationId xmlns:a16="http://schemas.microsoft.com/office/drawing/2014/main" id="{C37E5DD5-40B2-48F7-926E-8D97608205DD}"/>
                </a:ext>
              </a:extLst>
            </p:cNvPr>
            <p:cNvSpPr>
              <a:spLocks/>
            </p:cNvSpPr>
            <p:nvPr/>
          </p:nvSpPr>
          <p:spPr bwMode="auto">
            <a:xfrm>
              <a:off x="3330576" y="4480560"/>
              <a:ext cx="249238" cy="95250"/>
            </a:xfrm>
            <a:custGeom>
              <a:avLst/>
              <a:gdLst>
                <a:gd name="T0" fmla="*/ 313 w 316"/>
                <a:gd name="T1" fmla="*/ 21 h 118"/>
                <a:gd name="T2" fmla="*/ 276 w 316"/>
                <a:gd name="T3" fmla="*/ 0 h 118"/>
                <a:gd name="T4" fmla="*/ 167 w 316"/>
                <a:gd name="T5" fmla="*/ 62 h 118"/>
                <a:gd name="T6" fmla="*/ 167 w 316"/>
                <a:gd name="T7" fmla="*/ 62 h 118"/>
                <a:gd name="T8" fmla="*/ 163 w 316"/>
                <a:gd name="T9" fmla="*/ 63 h 118"/>
                <a:gd name="T10" fmla="*/ 159 w 316"/>
                <a:gd name="T11" fmla="*/ 64 h 118"/>
                <a:gd name="T12" fmla="*/ 159 w 316"/>
                <a:gd name="T13" fmla="*/ 64 h 118"/>
                <a:gd name="T14" fmla="*/ 155 w 316"/>
                <a:gd name="T15" fmla="*/ 63 h 118"/>
                <a:gd name="T16" fmla="*/ 151 w 316"/>
                <a:gd name="T17" fmla="*/ 62 h 118"/>
                <a:gd name="T18" fmla="*/ 42 w 316"/>
                <a:gd name="T19" fmla="*/ 0 h 118"/>
                <a:gd name="T20" fmla="*/ 3 w 316"/>
                <a:gd name="T21" fmla="*/ 21 h 118"/>
                <a:gd name="T22" fmla="*/ 3 w 316"/>
                <a:gd name="T23" fmla="*/ 21 h 118"/>
                <a:gd name="T24" fmla="*/ 1 w 316"/>
                <a:gd name="T25" fmla="*/ 23 h 118"/>
                <a:gd name="T26" fmla="*/ 0 w 316"/>
                <a:gd name="T27" fmla="*/ 25 h 118"/>
                <a:gd name="T28" fmla="*/ 0 w 316"/>
                <a:gd name="T29" fmla="*/ 25 h 118"/>
                <a:gd name="T30" fmla="*/ 1 w 316"/>
                <a:gd name="T31" fmla="*/ 29 h 118"/>
                <a:gd name="T32" fmla="*/ 3 w 316"/>
                <a:gd name="T33" fmla="*/ 31 h 118"/>
                <a:gd name="T34" fmla="*/ 156 w 316"/>
                <a:gd name="T35" fmla="*/ 118 h 118"/>
                <a:gd name="T36" fmla="*/ 156 w 316"/>
                <a:gd name="T37" fmla="*/ 118 h 118"/>
                <a:gd name="T38" fmla="*/ 159 w 316"/>
                <a:gd name="T39" fmla="*/ 118 h 118"/>
                <a:gd name="T40" fmla="*/ 159 w 316"/>
                <a:gd name="T41" fmla="*/ 118 h 118"/>
                <a:gd name="T42" fmla="*/ 161 w 316"/>
                <a:gd name="T43" fmla="*/ 118 h 118"/>
                <a:gd name="T44" fmla="*/ 313 w 316"/>
                <a:gd name="T45" fmla="*/ 31 h 118"/>
                <a:gd name="T46" fmla="*/ 313 w 316"/>
                <a:gd name="T47" fmla="*/ 31 h 118"/>
                <a:gd name="T48" fmla="*/ 316 w 316"/>
                <a:gd name="T49" fmla="*/ 29 h 118"/>
                <a:gd name="T50" fmla="*/ 316 w 316"/>
                <a:gd name="T51" fmla="*/ 25 h 118"/>
                <a:gd name="T52" fmla="*/ 316 w 316"/>
                <a:gd name="T53" fmla="*/ 25 h 118"/>
                <a:gd name="T54" fmla="*/ 316 w 316"/>
                <a:gd name="T55" fmla="*/ 23 h 118"/>
                <a:gd name="T56" fmla="*/ 313 w 316"/>
                <a:gd name="T57" fmla="*/ 21 h 118"/>
                <a:gd name="T58" fmla="*/ 313 w 316"/>
                <a:gd name="T59" fmla="*/ 2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6" h="118">
                  <a:moveTo>
                    <a:pt x="313" y="21"/>
                  </a:moveTo>
                  <a:lnTo>
                    <a:pt x="276" y="0"/>
                  </a:lnTo>
                  <a:lnTo>
                    <a:pt x="167" y="62"/>
                  </a:lnTo>
                  <a:lnTo>
                    <a:pt x="167" y="62"/>
                  </a:lnTo>
                  <a:lnTo>
                    <a:pt x="163" y="63"/>
                  </a:lnTo>
                  <a:lnTo>
                    <a:pt x="159" y="64"/>
                  </a:lnTo>
                  <a:lnTo>
                    <a:pt x="159" y="64"/>
                  </a:lnTo>
                  <a:lnTo>
                    <a:pt x="155" y="63"/>
                  </a:lnTo>
                  <a:lnTo>
                    <a:pt x="151" y="62"/>
                  </a:lnTo>
                  <a:lnTo>
                    <a:pt x="42" y="0"/>
                  </a:lnTo>
                  <a:lnTo>
                    <a:pt x="3" y="21"/>
                  </a:lnTo>
                  <a:lnTo>
                    <a:pt x="3" y="21"/>
                  </a:lnTo>
                  <a:lnTo>
                    <a:pt x="1" y="23"/>
                  </a:lnTo>
                  <a:lnTo>
                    <a:pt x="0" y="25"/>
                  </a:lnTo>
                  <a:lnTo>
                    <a:pt x="0" y="25"/>
                  </a:lnTo>
                  <a:lnTo>
                    <a:pt x="1" y="29"/>
                  </a:lnTo>
                  <a:lnTo>
                    <a:pt x="3" y="31"/>
                  </a:lnTo>
                  <a:lnTo>
                    <a:pt x="156" y="118"/>
                  </a:lnTo>
                  <a:lnTo>
                    <a:pt x="156" y="118"/>
                  </a:lnTo>
                  <a:lnTo>
                    <a:pt x="159" y="118"/>
                  </a:lnTo>
                  <a:lnTo>
                    <a:pt x="159" y="118"/>
                  </a:lnTo>
                  <a:lnTo>
                    <a:pt x="161" y="118"/>
                  </a:lnTo>
                  <a:lnTo>
                    <a:pt x="313" y="31"/>
                  </a:lnTo>
                  <a:lnTo>
                    <a:pt x="313" y="31"/>
                  </a:lnTo>
                  <a:lnTo>
                    <a:pt x="316" y="29"/>
                  </a:lnTo>
                  <a:lnTo>
                    <a:pt x="316" y="25"/>
                  </a:lnTo>
                  <a:lnTo>
                    <a:pt x="316" y="25"/>
                  </a:lnTo>
                  <a:lnTo>
                    <a:pt x="316" y="23"/>
                  </a:lnTo>
                  <a:lnTo>
                    <a:pt x="313" y="21"/>
                  </a:lnTo>
                  <a:lnTo>
                    <a:pt x="313"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49">
              <a:extLst>
                <a:ext uri="{FF2B5EF4-FFF2-40B4-BE49-F238E27FC236}">
                  <a16:creationId xmlns:a16="http://schemas.microsoft.com/office/drawing/2014/main" id="{C74CE998-3F54-4E75-8CE9-8FCD27E10D7A}"/>
                </a:ext>
              </a:extLst>
            </p:cNvPr>
            <p:cNvSpPr>
              <a:spLocks/>
            </p:cNvSpPr>
            <p:nvPr/>
          </p:nvSpPr>
          <p:spPr bwMode="auto">
            <a:xfrm>
              <a:off x="3330576" y="4421823"/>
              <a:ext cx="249238" cy="95250"/>
            </a:xfrm>
            <a:custGeom>
              <a:avLst/>
              <a:gdLst>
                <a:gd name="T0" fmla="*/ 313 w 316"/>
                <a:gd name="T1" fmla="*/ 23 h 120"/>
                <a:gd name="T2" fmla="*/ 276 w 316"/>
                <a:gd name="T3" fmla="*/ 0 h 120"/>
                <a:gd name="T4" fmla="*/ 167 w 316"/>
                <a:gd name="T5" fmla="*/ 63 h 120"/>
                <a:gd name="T6" fmla="*/ 167 w 316"/>
                <a:gd name="T7" fmla="*/ 63 h 120"/>
                <a:gd name="T8" fmla="*/ 163 w 316"/>
                <a:gd name="T9" fmla="*/ 64 h 120"/>
                <a:gd name="T10" fmla="*/ 159 w 316"/>
                <a:gd name="T11" fmla="*/ 66 h 120"/>
                <a:gd name="T12" fmla="*/ 159 w 316"/>
                <a:gd name="T13" fmla="*/ 66 h 120"/>
                <a:gd name="T14" fmla="*/ 155 w 316"/>
                <a:gd name="T15" fmla="*/ 64 h 120"/>
                <a:gd name="T16" fmla="*/ 151 w 316"/>
                <a:gd name="T17" fmla="*/ 63 h 120"/>
                <a:gd name="T18" fmla="*/ 42 w 316"/>
                <a:gd name="T19" fmla="*/ 0 h 120"/>
                <a:gd name="T20" fmla="*/ 3 w 316"/>
                <a:gd name="T21" fmla="*/ 23 h 120"/>
                <a:gd name="T22" fmla="*/ 3 w 316"/>
                <a:gd name="T23" fmla="*/ 23 h 120"/>
                <a:gd name="T24" fmla="*/ 1 w 316"/>
                <a:gd name="T25" fmla="*/ 24 h 120"/>
                <a:gd name="T26" fmla="*/ 0 w 316"/>
                <a:gd name="T27" fmla="*/ 27 h 120"/>
                <a:gd name="T28" fmla="*/ 0 w 316"/>
                <a:gd name="T29" fmla="*/ 27 h 120"/>
                <a:gd name="T30" fmla="*/ 1 w 316"/>
                <a:gd name="T31" fmla="*/ 29 h 120"/>
                <a:gd name="T32" fmla="*/ 3 w 316"/>
                <a:gd name="T33" fmla="*/ 32 h 120"/>
                <a:gd name="T34" fmla="*/ 156 w 316"/>
                <a:gd name="T35" fmla="*/ 120 h 120"/>
                <a:gd name="T36" fmla="*/ 156 w 316"/>
                <a:gd name="T37" fmla="*/ 120 h 120"/>
                <a:gd name="T38" fmla="*/ 159 w 316"/>
                <a:gd name="T39" fmla="*/ 120 h 120"/>
                <a:gd name="T40" fmla="*/ 159 w 316"/>
                <a:gd name="T41" fmla="*/ 120 h 120"/>
                <a:gd name="T42" fmla="*/ 161 w 316"/>
                <a:gd name="T43" fmla="*/ 120 h 120"/>
                <a:gd name="T44" fmla="*/ 313 w 316"/>
                <a:gd name="T45" fmla="*/ 32 h 120"/>
                <a:gd name="T46" fmla="*/ 313 w 316"/>
                <a:gd name="T47" fmla="*/ 32 h 120"/>
                <a:gd name="T48" fmla="*/ 316 w 316"/>
                <a:gd name="T49" fmla="*/ 29 h 120"/>
                <a:gd name="T50" fmla="*/ 316 w 316"/>
                <a:gd name="T51" fmla="*/ 27 h 120"/>
                <a:gd name="T52" fmla="*/ 316 w 316"/>
                <a:gd name="T53" fmla="*/ 27 h 120"/>
                <a:gd name="T54" fmla="*/ 316 w 316"/>
                <a:gd name="T55" fmla="*/ 24 h 120"/>
                <a:gd name="T56" fmla="*/ 313 w 316"/>
                <a:gd name="T57" fmla="*/ 23 h 120"/>
                <a:gd name="T58" fmla="*/ 313 w 316"/>
                <a:gd name="T59" fmla="*/ 2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6" h="120">
                  <a:moveTo>
                    <a:pt x="313" y="23"/>
                  </a:moveTo>
                  <a:lnTo>
                    <a:pt x="276" y="0"/>
                  </a:lnTo>
                  <a:lnTo>
                    <a:pt x="167" y="63"/>
                  </a:lnTo>
                  <a:lnTo>
                    <a:pt x="167" y="63"/>
                  </a:lnTo>
                  <a:lnTo>
                    <a:pt x="163" y="64"/>
                  </a:lnTo>
                  <a:lnTo>
                    <a:pt x="159" y="66"/>
                  </a:lnTo>
                  <a:lnTo>
                    <a:pt x="159" y="66"/>
                  </a:lnTo>
                  <a:lnTo>
                    <a:pt x="155" y="64"/>
                  </a:lnTo>
                  <a:lnTo>
                    <a:pt x="151" y="63"/>
                  </a:lnTo>
                  <a:lnTo>
                    <a:pt x="42" y="0"/>
                  </a:lnTo>
                  <a:lnTo>
                    <a:pt x="3" y="23"/>
                  </a:lnTo>
                  <a:lnTo>
                    <a:pt x="3" y="23"/>
                  </a:lnTo>
                  <a:lnTo>
                    <a:pt x="1" y="24"/>
                  </a:lnTo>
                  <a:lnTo>
                    <a:pt x="0" y="27"/>
                  </a:lnTo>
                  <a:lnTo>
                    <a:pt x="0" y="27"/>
                  </a:lnTo>
                  <a:lnTo>
                    <a:pt x="1" y="29"/>
                  </a:lnTo>
                  <a:lnTo>
                    <a:pt x="3" y="32"/>
                  </a:lnTo>
                  <a:lnTo>
                    <a:pt x="156" y="120"/>
                  </a:lnTo>
                  <a:lnTo>
                    <a:pt x="156" y="120"/>
                  </a:lnTo>
                  <a:lnTo>
                    <a:pt x="159" y="120"/>
                  </a:lnTo>
                  <a:lnTo>
                    <a:pt x="159" y="120"/>
                  </a:lnTo>
                  <a:lnTo>
                    <a:pt x="161" y="120"/>
                  </a:lnTo>
                  <a:lnTo>
                    <a:pt x="313" y="32"/>
                  </a:lnTo>
                  <a:lnTo>
                    <a:pt x="313" y="32"/>
                  </a:lnTo>
                  <a:lnTo>
                    <a:pt x="316" y="29"/>
                  </a:lnTo>
                  <a:lnTo>
                    <a:pt x="316" y="27"/>
                  </a:lnTo>
                  <a:lnTo>
                    <a:pt x="316" y="27"/>
                  </a:lnTo>
                  <a:lnTo>
                    <a:pt x="316" y="24"/>
                  </a:lnTo>
                  <a:lnTo>
                    <a:pt x="313" y="23"/>
                  </a:lnTo>
                  <a:lnTo>
                    <a:pt x="313"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34" name="Rectangle 264">
            <a:extLst>
              <a:ext uri="{FF2B5EF4-FFF2-40B4-BE49-F238E27FC236}">
                <a16:creationId xmlns:a16="http://schemas.microsoft.com/office/drawing/2014/main" id="{AC08D615-0AEE-4ED4-B077-837BB416ED33}"/>
              </a:ext>
            </a:extLst>
          </p:cNvPr>
          <p:cNvSpPr>
            <a:spLocks noChangeArrowheads="1"/>
          </p:cNvSpPr>
          <p:nvPr/>
        </p:nvSpPr>
        <p:spPr bwMode="auto">
          <a:xfrm>
            <a:off x="1171295" y="5753456"/>
            <a:ext cx="2468492"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l" defTabSz="704281"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300" normalizeH="0" baseline="0" noProof="0" dirty="0">
                <a:ln>
                  <a:noFill/>
                </a:ln>
                <a:solidFill>
                  <a:srgbClr val="000000"/>
                </a:solidFill>
                <a:effectLst/>
                <a:uLnTx/>
                <a:uFillTx/>
                <a:latin typeface="Open Sans"/>
                <a:ea typeface="+mn-ea"/>
                <a:cs typeface="Open Sans"/>
              </a:rPr>
              <a:t>GLOBAL REVENUE</a:t>
            </a:r>
          </a:p>
        </p:txBody>
      </p:sp>
      <p:sp>
        <p:nvSpPr>
          <p:cNvPr id="35" name="Rectangle 264">
            <a:extLst>
              <a:ext uri="{FF2B5EF4-FFF2-40B4-BE49-F238E27FC236}">
                <a16:creationId xmlns:a16="http://schemas.microsoft.com/office/drawing/2014/main" id="{F2F919F1-268A-4B6A-9485-1BB2FF0D51C4}"/>
              </a:ext>
            </a:extLst>
          </p:cNvPr>
          <p:cNvSpPr>
            <a:spLocks noChangeArrowheads="1"/>
          </p:cNvSpPr>
          <p:nvPr/>
        </p:nvSpPr>
        <p:spPr bwMode="auto">
          <a:xfrm>
            <a:off x="1144733" y="4912632"/>
            <a:ext cx="2186296" cy="8309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787477" rtl="0" eaLnBrk="1" fontAlgn="auto" latinLnBrk="0" hangingPunct="1">
              <a:lnSpc>
                <a:spcPct val="100000"/>
              </a:lnSpc>
              <a:spcBef>
                <a:spcPct val="0"/>
              </a:spcBef>
              <a:spcAft>
                <a:spcPts val="0"/>
              </a:spcAft>
              <a:buClrTx/>
              <a:buSzPct val="75000"/>
              <a:buFontTx/>
              <a:buNone/>
              <a:tabLst/>
              <a:defRPr/>
            </a:pPr>
            <a:r>
              <a:rPr kumimoji="0" lang="en-US" sz="5400" b="1" i="0" u="none" strike="noStrike" kern="1200" cap="none" spc="0" normalizeH="0" baseline="0" noProof="0" dirty="0">
                <a:ln>
                  <a:noFill/>
                </a:ln>
                <a:solidFill>
                  <a:srgbClr val="000000"/>
                </a:solidFill>
                <a:effectLst/>
                <a:uLnTx/>
                <a:uFillTx/>
                <a:latin typeface="Chronicle Display Black"/>
                <a:ea typeface="ＭＳ Ｐゴシック" pitchFamily="50" charset="-128"/>
                <a:cs typeface="Open Sans"/>
              </a:rPr>
              <a:t>$10B+</a:t>
            </a:r>
          </a:p>
        </p:txBody>
      </p:sp>
      <p:grpSp>
        <p:nvGrpSpPr>
          <p:cNvPr id="36" name="Group 35">
            <a:extLst>
              <a:ext uri="{FF2B5EF4-FFF2-40B4-BE49-F238E27FC236}">
                <a16:creationId xmlns:a16="http://schemas.microsoft.com/office/drawing/2014/main" id="{EF082BAF-7F58-41A2-880F-239F8930EEA8}"/>
              </a:ext>
            </a:extLst>
          </p:cNvPr>
          <p:cNvGrpSpPr>
            <a:grpSpLocks noChangeAspect="1"/>
          </p:cNvGrpSpPr>
          <p:nvPr/>
        </p:nvGrpSpPr>
        <p:grpSpPr>
          <a:xfrm>
            <a:off x="1190685" y="4341054"/>
            <a:ext cx="522288" cy="520700"/>
            <a:chOff x="4071938" y="822325"/>
            <a:chExt cx="522288" cy="520700"/>
          </a:xfrm>
        </p:grpSpPr>
        <p:sp>
          <p:nvSpPr>
            <p:cNvPr id="37" name="Freeform 9">
              <a:extLst>
                <a:ext uri="{FF2B5EF4-FFF2-40B4-BE49-F238E27FC236}">
                  <a16:creationId xmlns:a16="http://schemas.microsoft.com/office/drawing/2014/main" id="{0F7454F2-4762-4AF9-A781-D3885C313593}"/>
                </a:ext>
              </a:extLst>
            </p:cNvPr>
            <p:cNvSpPr>
              <a:spLocks noEditPoints="1"/>
            </p:cNvSpPr>
            <p:nvPr/>
          </p:nvSpPr>
          <p:spPr bwMode="auto">
            <a:xfrm>
              <a:off x="4071938" y="822325"/>
              <a:ext cx="522288" cy="520700"/>
            </a:xfrm>
            <a:custGeom>
              <a:avLst/>
              <a:gdLst>
                <a:gd name="T0" fmla="*/ 313 w 658"/>
                <a:gd name="T1" fmla="*/ 657 h 657"/>
                <a:gd name="T2" fmla="*/ 263 w 658"/>
                <a:gd name="T3" fmla="*/ 650 h 657"/>
                <a:gd name="T4" fmla="*/ 201 w 658"/>
                <a:gd name="T5" fmla="*/ 631 h 657"/>
                <a:gd name="T6" fmla="*/ 120 w 658"/>
                <a:gd name="T7" fmla="*/ 582 h 657"/>
                <a:gd name="T8" fmla="*/ 56 w 658"/>
                <a:gd name="T9" fmla="*/ 512 h 657"/>
                <a:gd name="T10" fmla="*/ 14 w 658"/>
                <a:gd name="T11" fmla="*/ 426 h 657"/>
                <a:gd name="T12" fmla="*/ 4 w 658"/>
                <a:gd name="T13" fmla="*/ 379 h 657"/>
                <a:gd name="T14" fmla="*/ 0 w 658"/>
                <a:gd name="T15" fmla="*/ 329 h 657"/>
                <a:gd name="T16" fmla="*/ 2 w 658"/>
                <a:gd name="T17" fmla="*/ 295 h 657"/>
                <a:gd name="T18" fmla="*/ 10 w 658"/>
                <a:gd name="T19" fmla="*/ 246 h 657"/>
                <a:gd name="T20" fmla="*/ 40 w 658"/>
                <a:gd name="T21" fmla="*/ 172 h 657"/>
                <a:gd name="T22" fmla="*/ 96 w 658"/>
                <a:gd name="T23" fmla="*/ 97 h 657"/>
                <a:gd name="T24" fmla="*/ 173 w 658"/>
                <a:gd name="T25" fmla="*/ 39 h 657"/>
                <a:gd name="T26" fmla="*/ 247 w 658"/>
                <a:gd name="T27" fmla="*/ 9 h 657"/>
                <a:gd name="T28" fmla="*/ 295 w 658"/>
                <a:gd name="T29" fmla="*/ 1 h 657"/>
                <a:gd name="T30" fmla="*/ 329 w 658"/>
                <a:gd name="T31" fmla="*/ 0 h 657"/>
                <a:gd name="T32" fmla="*/ 378 w 658"/>
                <a:gd name="T33" fmla="*/ 4 h 657"/>
                <a:gd name="T34" fmla="*/ 427 w 658"/>
                <a:gd name="T35" fmla="*/ 15 h 657"/>
                <a:gd name="T36" fmla="*/ 513 w 658"/>
                <a:gd name="T37" fmla="*/ 56 h 657"/>
                <a:gd name="T38" fmla="*/ 583 w 658"/>
                <a:gd name="T39" fmla="*/ 120 h 657"/>
                <a:gd name="T40" fmla="*/ 632 w 658"/>
                <a:gd name="T41" fmla="*/ 200 h 657"/>
                <a:gd name="T42" fmla="*/ 651 w 658"/>
                <a:gd name="T43" fmla="*/ 262 h 657"/>
                <a:gd name="T44" fmla="*/ 658 w 658"/>
                <a:gd name="T45" fmla="*/ 312 h 657"/>
                <a:gd name="T46" fmla="*/ 658 w 658"/>
                <a:gd name="T47" fmla="*/ 345 h 657"/>
                <a:gd name="T48" fmla="*/ 651 w 658"/>
                <a:gd name="T49" fmla="*/ 395 h 657"/>
                <a:gd name="T50" fmla="*/ 632 w 658"/>
                <a:gd name="T51" fmla="*/ 457 h 657"/>
                <a:gd name="T52" fmla="*/ 583 w 658"/>
                <a:gd name="T53" fmla="*/ 537 h 657"/>
                <a:gd name="T54" fmla="*/ 513 w 658"/>
                <a:gd name="T55" fmla="*/ 600 h 657"/>
                <a:gd name="T56" fmla="*/ 427 w 658"/>
                <a:gd name="T57" fmla="*/ 642 h 657"/>
                <a:gd name="T58" fmla="*/ 378 w 658"/>
                <a:gd name="T59" fmla="*/ 653 h 657"/>
                <a:gd name="T60" fmla="*/ 329 w 658"/>
                <a:gd name="T61" fmla="*/ 657 h 657"/>
                <a:gd name="T62" fmla="*/ 329 w 658"/>
                <a:gd name="T63" fmla="*/ 38 h 657"/>
                <a:gd name="T64" fmla="*/ 243 w 658"/>
                <a:gd name="T65" fmla="*/ 51 h 657"/>
                <a:gd name="T66" fmla="*/ 166 w 658"/>
                <a:gd name="T67" fmla="*/ 87 h 657"/>
                <a:gd name="T68" fmla="*/ 104 w 658"/>
                <a:gd name="T69" fmla="*/ 144 h 657"/>
                <a:gd name="T70" fmla="*/ 61 w 658"/>
                <a:gd name="T71" fmla="*/ 215 h 657"/>
                <a:gd name="T72" fmla="*/ 40 w 658"/>
                <a:gd name="T73" fmla="*/ 298 h 657"/>
                <a:gd name="T74" fmla="*/ 40 w 658"/>
                <a:gd name="T75" fmla="*/ 359 h 657"/>
                <a:gd name="T76" fmla="*/ 61 w 658"/>
                <a:gd name="T77" fmla="*/ 442 h 657"/>
                <a:gd name="T78" fmla="*/ 104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5 w 658"/>
                <a:gd name="T93" fmla="*/ 467 h 657"/>
                <a:gd name="T94" fmla="*/ 615 w 658"/>
                <a:gd name="T95" fmla="*/ 387 h 657"/>
                <a:gd name="T96" fmla="*/ 620 w 658"/>
                <a:gd name="T97" fmla="*/ 329 h 657"/>
                <a:gd name="T98" fmla="*/ 607 w 658"/>
                <a:gd name="T99" fmla="*/ 242 h 657"/>
                <a:gd name="T100" fmla="*/ 570 w 658"/>
                <a:gd name="T101" fmla="*/ 165 h 657"/>
                <a:gd name="T102" fmla="*/ 514 w 658"/>
                <a:gd name="T103" fmla="*/ 103 h 657"/>
                <a:gd name="T104" fmla="*/ 443 w 658"/>
                <a:gd name="T105" fmla="*/ 60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5" y="655"/>
                  </a:lnTo>
                  <a:lnTo>
                    <a:pt x="279" y="653"/>
                  </a:lnTo>
                  <a:lnTo>
                    <a:pt x="263" y="650"/>
                  </a:lnTo>
                  <a:lnTo>
                    <a:pt x="247" y="647"/>
                  </a:lnTo>
                  <a:lnTo>
                    <a:pt x="232" y="642"/>
                  </a:lnTo>
                  <a:lnTo>
                    <a:pt x="201" y="631"/>
                  </a:lnTo>
                  <a:lnTo>
                    <a:pt x="173" y="618"/>
                  </a:lnTo>
                  <a:lnTo>
                    <a:pt x="145" y="600"/>
                  </a:lnTo>
                  <a:lnTo>
                    <a:pt x="120" y="582"/>
                  </a:lnTo>
                  <a:lnTo>
                    <a:pt x="96" y="561"/>
                  </a:lnTo>
                  <a:lnTo>
                    <a:pt x="75" y="537"/>
                  </a:lnTo>
                  <a:lnTo>
                    <a:pt x="56" y="512"/>
                  </a:lnTo>
                  <a:lnTo>
                    <a:pt x="40" y="485"/>
                  </a:lnTo>
                  <a:lnTo>
                    <a:pt x="26" y="457"/>
                  </a:lnTo>
                  <a:lnTo>
                    <a:pt x="14" y="426"/>
                  </a:lnTo>
                  <a:lnTo>
                    <a:pt x="10" y="411"/>
                  </a:lnTo>
                  <a:lnTo>
                    <a:pt x="6" y="395"/>
                  </a:lnTo>
                  <a:lnTo>
                    <a:pt x="4" y="379"/>
                  </a:lnTo>
                  <a:lnTo>
                    <a:pt x="2" y="363"/>
                  </a:lnTo>
                  <a:lnTo>
                    <a:pt x="1" y="345"/>
                  </a:lnTo>
                  <a:lnTo>
                    <a:pt x="0" y="329"/>
                  </a:lnTo>
                  <a:lnTo>
                    <a:pt x="0" y="329"/>
                  </a:lnTo>
                  <a:lnTo>
                    <a:pt x="1" y="312"/>
                  </a:lnTo>
                  <a:lnTo>
                    <a:pt x="2" y="295"/>
                  </a:lnTo>
                  <a:lnTo>
                    <a:pt x="4" y="278"/>
                  </a:lnTo>
                  <a:lnTo>
                    <a:pt x="6" y="262"/>
                  </a:lnTo>
                  <a:lnTo>
                    <a:pt x="10" y="246"/>
                  </a:lnTo>
                  <a:lnTo>
                    <a:pt x="14" y="231"/>
                  </a:lnTo>
                  <a:lnTo>
                    <a:pt x="26" y="200"/>
                  </a:lnTo>
                  <a:lnTo>
                    <a:pt x="40" y="172"/>
                  </a:lnTo>
                  <a:lnTo>
                    <a:pt x="56" y="145"/>
                  </a:lnTo>
                  <a:lnTo>
                    <a:pt x="75" y="120"/>
                  </a:lnTo>
                  <a:lnTo>
                    <a:pt x="96" y="97"/>
                  </a:lnTo>
                  <a:lnTo>
                    <a:pt x="120" y="75"/>
                  </a:lnTo>
                  <a:lnTo>
                    <a:pt x="145" y="56"/>
                  </a:lnTo>
                  <a:lnTo>
                    <a:pt x="173" y="39"/>
                  </a:lnTo>
                  <a:lnTo>
                    <a:pt x="201" y="26"/>
                  </a:lnTo>
                  <a:lnTo>
                    <a:pt x="232" y="15"/>
                  </a:lnTo>
                  <a:lnTo>
                    <a:pt x="247" y="9"/>
                  </a:lnTo>
                  <a:lnTo>
                    <a:pt x="263" y="7"/>
                  </a:lnTo>
                  <a:lnTo>
                    <a:pt x="279" y="4"/>
                  </a:lnTo>
                  <a:lnTo>
                    <a:pt x="295" y="1"/>
                  </a:lnTo>
                  <a:lnTo>
                    <a:pt x="313" y="0"/>
                  </a:lnTo>
                  <a:lnTo>
                    <a:pt x="329" y="0"/>
                  </a:lnTo>
                  <a:lnTo>
                    <a:pt x="329" y="0"/>
                  </a:lnTo>
                  <a:lnTo>
                    <a:pt x="346" y="0"/>
                  </a:lnTo>
                  <a:lnTo>
                    <a:pt x="362" y="1"/>
                  </a:lnTo>
                  <a:lnTo>
                    <a:pt x="378" y="4"/>
                  </a:lnTo>
                  <a:lnTo>
                    <a:pt x="396" y="7"/>
                  </a:lnTo>
                  <a:lnTo>
                    <a:pt x="411" y="9"/>
                  </a:lnTo>
                  <a:lnTo>
                    <a:pt x="427" y="15"/>
                  </a:lnTo>
                  <a:lnTo>
                    <a:pt x="456" y="26"/>
                  </a:lnTo>
                  <a:lnTo>
                    <a:pt x="486" y="39"/>
                  </a:lnTo>
                  <a:lnTo>
                    <a:pt x="513" y="56"/>
                  </a:lnTo>
                  <a:lnTo>
                    <a:pt x="538" y="75"/>
                  </a:lnTo>
                  <a:lnTo>
                    <a:pt x="561" y="97"/>
                  </a:lnTo>
                  <a:lnTo>
                    <a:pt x="583" y="120"/>
                  </a:lnTo>
                  <a:lnTo>
                    <a:pt x="601" y="145"/>
                  </a:lnTo>
                  <a:lnTo>
                    <a:pt x="617" y="172"/>
                  </a:lnTo>
                  <a:lnTo>
                    <a:pt x="632" y="200"/>
                  </a:lnTo>
                  <a:lnTo>
                    <a:pt x="643" y="231"/>
                  </a:lnTo>
                  <a:lnTo>
                    <a:pt x="647" y="246"/>
                  </a:lnTo>
                  <a:lnTo>
                    <a:pt x="651" y="262"/>
                  </a:lnTo>
                  <a:lnTo>
                    <a:pt x="654" y="278"/>
                  </a:lnTo>
                  <a:lnTo>
                    <a:pt x="656" y="295"/>
                  </a:lnTo>
                  <a:lnTo>
                    <a:pt x="658" y="312"/>
                  </a:lnTo>
                  <a:lnTo>
                    <a:pt x="658" y="329"/>
                  </a:lnTo>
                  <a:lnTo>
                    <a:pt x="658" y="329"/>
                  </a:lnTo>
                  <a:lnTo>
                    <a:pt x="658" y="345"/>
                  </a:lnTo>
                  <a:lnTo>
                    <a:pt x="656" y="363"/>
                  </a:lnTo>
                  <a:lnTo>
                    <a:pt x="654" y="379"/>
                  </a:lnTo>
                  <a:lnTo>
                    <a:pt x="651" y="395"/>
                  </a:lnTo>
                  <a:lnTo>
                    <a:pt x="647" y="411"/>
                  </a:lnTo>
                  <a:lnTo>
                    <a:pt x="643" y="426"/>
                  </a:lnTo>
                  <a:lnTo>
                    <a:pt x="632" y="457"/>
                  </a:lnTo>
                  <a:lnTo>
                    <a:pt x="617" y="485"/>
                  </a:lnTo>
                  <a:lnTo>
                    <a:pt x="601" y="512"/>
                  </a:lnTo>
                  <a:lnTo>
                    <a:pt x="583" y="537"/>
                  </a:lnTo>
                  <a:lnTo>
                    <a:pt x="561" y="561"/>
                  </a:lnTo>
                  <a:lnTo>
                    <a:pt x="538" y="582"/>
                  </a:lnTo>
                  <a:lnTo>
                    <a:pt x="513" y="600"/>
                  </a:lnTo>
                  <a:lnTo>
                    <a:pt x="486" y="618"/>
                  </a:lnTo>
                  <a:lnTo>
                    <a:pt x="456" y="631"/>
                  </a:lnTo>
                  <a:lnTo>
                    <a:pt x="427" y="642"/>
                  </a:lnTo>
                  <a:lnTo>
                    <a:pt x="411" y="647"/>
                  </a:lnTo>
                  <a:lnTo>
                    <a:pt x="396" y="650"/>
                  </a:lnTo>
                  <a:lnTo>
                    <a:pt x="378" y="653"/>
                  </a:lnTo>
                  <a:lnTo>
                    <a:pt x="362" y="655"/>
                  </a:lnTo>
                  <a:lnTo>
                    <a:pt x="346" y="657"/>
                  </a:lnTo>
                  <a:lnTo>
                    <a:pt x="329" y="657"/>
                  </a:lnTo>
                  <a:lnTo>
                    <a:pt x="329" y="657"/>
                  </a:lnTo>
                  <a:close/>
                  <a:moveTo>
                    <a:pt x="329" y="38"/>
                  </a:moveTo>
                  <a:lnTo>
                    <a:pt x="329" y="38"/>
                  </a:lnTo>
                  <a:lnTo>
                    <a:pt x="299" y="39"/>
                  </a:lnTo>
                  <a:lnTo>
                    <a:pt x="271" y="43"/>
                  </a:lnTo>
                  <a:lnTo>
                    <a:pt x="243" y="51"/>
                  </a:lnTo>
                  <a:lnTo>
                    <a:pt x="216" y="60"/>
                  </a:lnTo>
                  <a:lnTo>
                    <a:pt x="190" y="73"/>
                  </a:lnTo>
                  <a:lnTo>
                    <a:pt x="166" y="87"/>
                  </a:lnTo>
                  <a:lnTo>
                    <a:pt x="143" y="103"/>
                  </a:lnTo>
                  <a:lnTo>
                    <a:pt x="123" y="122"/>
                  </a:lnTo>
                  <a:lnTo>
                    <a:pt x="104" y="144"/>
                  </a:lnTo>
                  <a:lnTo>
                    <a:pt x="88" y="165"/>
                  </a:lnTo>
                  <a:lnTo>
                    <a:pt x="73" y="189"/>
                  </a:lnTo>
                  <a:lnTo>
                    <a:pt x="61" y="215"/>
                  </a:lnTo>
                  <a:lnTo>
                    <a:pt x="51" y="242"/>
                  </a:lnTo>
                  <a:lnTo>
                    <a:pt x="44" y="270"/>
                  </a:lnTo>
                  <a:lnTo>
                    <a:pt x="40" y="298"/>
                  </a:lnTo>
                  <a:lnTo>
                    <a:pt x="37" y="329"/>
                  </a:lnTo>
                  <a:lnTo>
                    <a:pt x="37" y="329"/>
                  </a:lnTo>
                  <a:lnTo>
                    <a:pt x="40" y="359"/>
                  </a:lnTo>
                  <a:lnTo>
                    <a:pt x="44" y="387"/>
                  </a:lnTo>
                  <a:lnTo>
                    <a:pt x="51" y="415"/>
                  </a:lnTo>
                  <a:lnTo>
                    <a:pt x="61" y="442"/>
                  </a:lnTo>
                  <a:lnTo>
                    <a:pt x="73" y="467"/>
                  </a:lnTo>
                  <a:lnTo>
                    <a:pt x="88" y="492"/>
                  </a:lnTo>
                  <a:lnTo>
                    <a:pt x="104" y="513"/>
                  </a:lnTo>
                  <a:lnTo>
                    <a:pt x="123" y="535"/>
                  </a:lnTo>
                  <a:lnTo>
                    <a:pt x="143" y="553"/>
                  </a:lnTo>
                  <a:lnTo>
                    <a:pt x="166" y="570"/>
                  </a:lnTo>
                  <a:lnTo>
                    <a:pt x="190" y="584"/>
                  </a:lnTo>
                  <a:lnTo>
                    <a:pt x="216" y="596"/>
                  </a:lnTo>
                  <a:lnTo>
                    <a:pt x="243" y="607"/>
                  </a:lnTo>
                  <a:lnTo>
                    <a:pt x="271" y="614"/>
                  </a:lnTo>
                  <a:lnTo>
                    <a:pt x="299" y="618"/>
                  </a:lnTo>
                  <a:lnTo>
                    <a:pt x="329" y="619"/>
                  </a:lnTo>
                  <a:lnTo>
                    <a:pt x="329" y="619"/>
                  </a:lnTo>
                  <a:lnTo>
                    <a:pt x="358" y="618"/>
                  </a:lnTo>
                  <a:lnTo>
                    <a:pt x="388" y="614"/>
                  </a:lnTo>
                  <a:lnTo>
                    <a:pt x="416" y="607"/>
                  </a:lnTo>
                  <a:lnTo>
                    <a:pt x="443" y="596"/>
                  </a:lnTo>
                  <a:lnTo>
                    <a:pt x="467" y="584"/>
                  </a:lnTo>
                  <a:lnTo>
                    <a:pt x="491" y="570"/>
                  </a:lnTo>
                  <a:lnTo>
                    <a:pt x="514" y="553"/>
                  </a:lnTo>
                  <a:lnTo>
                    <a:pt x="534" y="535"/>
                  </a:lnTo>
                  <a:lnTo>
                    <a:pt x="553" y="513"/>
                  </a:lnTo>
                  <a:lnTo>
                    <a:pt x="570" y="492"/>
                  </a:lnTo>
                  <a:lnTo>
                    <a:pt x="585" y="467"/>
                  </a:lnTo>
                  <a:lnTo>
                    <a:pt x="597" y="442"/>
                  </a:lnTo>
                  <a:lnTo>
                    <a:pt x="607" y="415"/>
                  </a:lnTo>
                  <a:lnTo>
                    <a:pt x="615" y="387"/>
                  </a:lnTo>
                  <a:lnTo>
                    <a:pt x="619" y="359"/>
                  </a:lnTo>
                  <a:lnTo>
                    <a:pt x="620" y="329"/>
                  </a:lnTo>
                  <a:lnTo>
                    <a:pt x="620" y="329"/>
                  </a:lnTo>
                  <a:lnTo>
                    <a:pt x="619" y="298"/>
                  </a:lnTo>
                  <a:lnTo>
                    <a:pt x="615" y="270"/>
                  </a:lnTo>
                  <a:lnTo>
                    <a:pt x="607" y="242"/>
                  </a:lnTo>
                  <a:lnTo>
                    <a:pt x="597" y="215"/>
                  </a:lnTo>
                  <a:lnTo>
                    <a:pt x="585" y="189"/>
                  </a:lnTo>
                  <a:lnTo>
                    <a:pt x="570" y="165"/>
                  </a:lnTo>
                  <a:lnTo>
                    <a:pt x="553" y="144"/>
                  </a:lnTo>
                  <a:lnTo>
                    <a:pt x="534" y="122"/>
                  </a:lnTo>
                  <a:lnTo>
                    <a:pt x="514" y="103"/>
                  </a:lnTo>
                  <a:lnTo>
                    <a:pt x="491" y="87"/>
                  </a:lnTo>
                  <a:lnTo>
                    <a:pt x="467" y="73"/>
                  </a:lnTo>
                  <a:lnTo>
                    <a:pt x="443" y="60"/>
                  </a:lnTo>
                  <a:lnTo>
                    <a:pt x="416" y="51"/>
                  </a:lnTo>
                  <a:lnTo>
                    <a:pt x="388" y="43"/>
                  </a:lnTo>
                  <a:lnTo>
                    <a:pt x="358"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27">
              <a:extLst>
                <a:ext uri="{FF2B5EF4-FFF2-40B4-BE49-F238E27FC236}">
                  <a16:creationId xmlns:a16="http://schemas.microsoft.com/office/drawing/2014/main" id="{1BD21B46-52FC-4115-90B9-95A145A47CB3}"/>
                </a:ext>
              </a:extLst>
            </p:cNvPr>
            <p:cNvSpPr>
              <a:spLocks/>
            </p:cNvSpPr>
            <p:nvPr/>
          </p:nvSpPr>
          <p:spPr bwMode="auto">
            <a:xfrm>
              <a:off x="4233863" y="998538"/>
              <a:ext cx="223838" cy="163513"/>
            </a:xfrm>
            <a:custGeom>
              <a:avLst/>
              <a:gdLst>
                <a:gd name="T0" fmla="*/ 278 w 282"/>
                <a:gd name="T1" fmla="*/ 0 h 205"/>
                <a:gd name="T2" fmla="*/ 4 w 282"/>
                <a:gd name="T3" fmla="*/ 0 h 205"/>
                <a:gd name="T4" fmla="*/ 4 w 282"/>
                <a:gd name="T5" fmla="*/ 0 h 205"/>
                <a:gd name="T6" fmla="*/ 1 w 282"/>
                <a:gd name="T7" fmla="*/ 1 h 205"/>
                <a:gd name="T8" fmla="*/ 0 w 282"/>
                <a:gd name="T9" fmla="*/ 5 h 205"/>
                <a:gd name="T10" fmla="*/ 0 w 282"/>
                <a:gd name="T11" fmla="*/ 20 h 205"/>
                <a:gd name="T12" fmla="*/ 258 w 282"/>
                <a:gd name="T13" fmla="*/ 20 h 205"/>
                <a:gd name="T14" fmla="*/ 258 w 282"/>
                <a:gd name="T15" fmla="*/ 20 h 205"/>
                <a:gd name="T16" fmla="*/ 262 w 282"/>
                <a:gd name="T17" fmla="*/ 21 h 205"/>
                <a:gd name="T18" fmla="*/ 263 w 282"/>
                <a:gd name="T19" fmla="*/ 25 h 205"/>
                <a:gd name="T20" fmla="*/ 263 w 282"/>
                <a:gd name="T21" fmla="*/ 205 h 205"/>
                <a:gd name="T22" fmla="*/ 278 w 282"/>
                <a:gd name="T23" fmla="*/ 205 h 205"/>
                <a:gd name="T24" fmla="*/ 278 w 282"/>
                <a:gd name="T25" fmla="*/ 205 h 205"/>
                <a:gd name="T26" fmla="*/ 280 w 282"/>
                <a:gd name="T27" fmla="*/ 204 h 205"/>
                <a:gd name="T28" fmla="*/ 282 w 282"/>
                <a:gd name="T29" fmla="*/ 200 h 205"/>
                <a:gd name="T30" fmla="*/ 282 w 282"/>
                <a:gd name="T31" fmla="*/ 5 h 205"/>
                <a:gd name="T32" fmla="*/ 282 w 282"/>
                <a:gd name="T33" fmla="*/ 5 h 205"/>
                <a:gd name="T34" fmla="*/ 280 w 282"/>
                <a:gd name="T35" fmla="*/ 1 h 205"/>
                <a:gd name="T36" fmla="*/ 278 w 282"/>
                <a:gd name="T37" fmla="*/ 0 h 205"/>
                <a:gd name="T38" fmla="*/ 278 w 282"/>
                <a:gd name="T39"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2" h="205">
                  <a:moveTo>
                    <a:pt x="278" y="0"/>
                  </a:moveTo>
                  <a:lnTo>
                    <a:pt x="4" y="0"/>
                  </a:lnTo>
                  <a:lnTo>
                    <a:pt x="4" y="0"/>
                  </a:lnTo>
                  <a:lnTo>
                    <a:pt x="1" y="1"/>
                  </a:lnTo>
                  <a:lnTo>
                    <a:pt x="0" y="5"/>
                  </a:lnTo>
                  <a:lnTo>
                    <a:pt x="0" y="20"/>
                  </a:lnTo>
                  <a:lnTo>
                    <a:pt x="258" y="20"/>
                  </a:lnTo>
                  <a:lnTo>
                    <a:pt x="258" y="20"/>
                  </a:lnTo>
                  <a:lnTo>
                    <a:pt x="262" y="21"/>
                  </a:lnTo>
                  <a:lnTo>
                    <a:pt x="263" y="25"/>
                  </a:lnTo>
                  <a:lnTo>
                    <a:pt x="263" y="205"/>
                  </a:lnTo>
                  <a:lnTo>
                    <a:pt x="278" y="205"/>
                  </a:lnTo>
                  <a:lnTo>
                    <a:pt x="278" y="205"/>
                  </a:lnTo>
                  <a:lnTo>
                    <a:pt x="280" y="204"/>
                  </a:lnTo>
                  <a:lnTo>
                    <a:pt x="282" y="200"/>
                  </a:lnTo>
                  <a:lnTo>
                    <a:pt x="282" y="5"/>
                  </a:lnTo>
                  <a:lnTo>
                    <a:pt x="282" y="5"/>
                  </a:lnTo>
                  <a:lnTo>
                    <a:pt x="280" y="1"/>
                  </a:lnTo>
                  <a:lnTo>
                    <a:pt x="278" y="0"/>
                  </a:lnTo>
                  <a:lnTo>
                    <a:pt x="27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28">
              <a:extLst>
                <a:ext uri="{FF2B5EF4-FFF2-40B4-BE49-F238E27FC236}">
                  <a16:creationId xmlns:a16="http://schemas.microsoft.com/office/drawing/2014/main" id="{7E76F144-1066-45AF-89A9-D7CD30ABF882}"/>
                </a:ext>
              </a:extLst>
            </p:cNvPr>
            <p:cNvSpPr>
              <a:spLocks noEditPoints="1"/>
            </p:cNvSpPr>
            <p:nvPr/>
          </p:nvSpPr>
          <p:spPr bwMode="auto">
            <a:xfrm>
              <a:off x="4241801" y="1054100"/>
              <a:ext cx="163513" cy="101600"/>
            </a:xfrm>
            <a:custGeom>
              <a:avLst/>
              <a:gdLst>
                <a:gd name="T0" fmla="*/ 167 w 206"/>
                <a:gd name="T1" fmla="*/ 128 h 128"/>
                <a:gd name="T2" fmla="*/ 168 w 206"/>
                <a:gd name="T3" fmla="*/ 120 h 128"/>
                <a:gd name="T4" fmla="*/ 173 w 206"/>
                <a:gd name="T5" fmla="*/ 107 h 128"/>
                <a:gd name="T6" fmla="*/ 184 w 206"/>
                <a:gd name="T7" fmla="*/ 97 h 128"/>
                <a:gd name="T8" fmla="*/ 198 w 206"/>
                <a:gd name="T9" fmla="*/ 90 h 128"/>
                <a:gd name="T10" fmla="*/ 206 w 206"/>
                <a:gd name="T11" fmla="*/ 39 h 128"/>
                <a:gd name="T12" fmla="*/ 198 w 206"/>
                <a:gd name="T13" fmla="*/ 38 h 128"/>
                <a:gd name="T14" fmla="*/ 184 w 206"/>
                <a:gd name="T15" fmla="*/ 31 h 128"/>
                <a:gd name="T16" fmla="*/ 173 w 206"/>
                <a:gd name="T17" fmla="*/ 22 h 128"/>
                <a:gd name="T18" fmla="*/ 168 w 206"/>
                <a:gd name="T19" fmla="*/ 9 h 128"/>
                <a:gd name="T20" fmla="*/ 39 w 206"/>
                <a:gd name="T21" fmla="*/ 0 h 128"/>
                <a:gd name="T22" fmla="*/ 38 w 206"/>
                <a:gd name="T23" fmla="*/ 9 h 128"/>
                <a:gd name="T24" fmla="*/ 31 w 206"/>
                <a:gd name="T25" fmla="*/ 22 h 128"/>
                <a:gd name="T26" fmla="*/ 22 w 206"/>
                <a:gd name="T27" fmla="*/ 31 h 128"/>
                <a:gd name="T28" fmla="*/ 8 w 206"/>
                <a:gd name="T29" fmla="*/ 38 h 128"/>
                <a:gd name="T30" fmla="*/ 0 w 206"/>
                <a:gd name="T31" fmla="*/ 84 h 128"/>
                <a:gd name="T32" fmla="*/ 8 w 206"/>
                <a:gd name="T33" fmla="*/ 85 h 128"/>
                <a:gd name="T34" fmla="*/ 22 w 206"/>
                <a:gd name="T35" fmla="*/ 93 h 128"/>
                <a:gd name="T36" fmla="*/ 31 w 206"/>
                <a:gd name="T37" fmla="*/ 105 h 128"/>
                <a:gd name="T38" fmla="*/ 38 w 206"/>
                <a:gd name="T39" fmla="*/ 120 h 128"/>
                <a:gd name="T40" fmla="*/ 39 w 206"/>
                <a:gd name="T41" fmla="*/ 128 h 128"/>
                <a:gd name="T42" fmla="*/ 102 w 206"/>
                <a:gd name="T43" fmla="*/ 30 h 128"/>
                <a:gd name="T44" fmla="*/ 116 w 206"/>
                <a:gd name="T45" fmla="*/ 33 h 128"/>
                <a:gd name="T46" fmla="*/ 126 w 206"/>
                <a:gd name="T47" fmla="*/ 39 h 128"/>
                <a:gd name="T48" fmla="*/ 134 w 206"/>
                <a:gd name="T49" fmla="*/ 50 h 128"/>
                <a:gd name="T50" fmla="*/ 137 w 206"/>
                <a:gd name="T51" fmla="*/ 64 h 128"/>
                <a:gd name="T52" fmla="*/ 136 w 206"/>
                <a:gd name="T53" fmla="*/ 70 h 128"/>
                <a:gd name="T54" fmla="*/ 130 w 206"/>
                <a:gd name="T55" fmla="*/ 84 h 128"/>
                <a:gd name="T56" fmla="*/ 122 w 206"/>
                <a:gd name="T57" fmla="*/ 92 h 128"/>
                <a:gd name="T58" fmla="*/ 109 w 206"/>
                <a:gd name="T59" fmla="*/ 97 h 128"/>
                <a:gd name="T60" fmla="*/ 102 w 206"/>
                <a:gd name="T61" fmla="*/ 99 h 128"/>
                <a:gd name="T62" fmla="*/ 89 w 206"/>
                <a:gd name="T63" fmla="*/ 96 h 128"/>
                <a:gd name="T64" fmla="*/ 78 w 206"/>
                <a:gd name="T65" fmla="*/ 88 h 128"/>
                <a:gd name="T66" fmla="*/ 71 w 206"/>
                <a:gd name="T67" fmla="*/ 77 h 128"/>
                <a:gd name="T68" fmla="*/ 69 w 206"/>
                <a:gd name="T69" fmla="*/ 64 h 128"/>
                <a:gd name="T70" fmla="*/ 69 w 206"/>
                <a:gd name="T71" fmla="*/ 57 h 128"/>
                <a:gd name="T72" fmla="*/ 74 w 206"/>
                <a:gd name="T73" fmla="*/ 45 h 128"/>
                <a:gd name="T74" fmla="*/ 83 w 206"/>
                <a:gd name="T75" fmla="*/ 35 h 128"/>
                <a:gd name="T76" fmla="*/ 96 w 206"/>
                <a:gd name="T77" fmla="*/ 30 h 128"/>
                <a:gd name="T78" fmla="*/ 102 w 206"/>
                <a:gd name="T79" fmla="*/ 3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6" h="128">
                  <a:moveTo>
                    <a:pt x="39" y="128"/>
                  </a:moveTo>
                  <a:lnTo>
                    <a:pt x="167" y="128"/>
                  </a:lnTo>
                  <a:lnTo>
                    <a:pt x="167" y="128"/>
                  </a:lnTo>
                  <a:lnTo>
                    <a:pt x="168" y="120"/>
                  </a:lnTo>
                  <a:lnTo>
                    <a:pt x="171" y="113"/>
                  </a:lnTo>
                  <a:lnTo>
                    <a:pt x="173" y="107"/>
                  </a:lnTo>
                  <a:lnTo>
                    <a:pt x="179" y="101"/>
                  </a:lnTo>
                  <a:lnTo>
                    <a:pt x="184" y="97"/>
                  </a:lnTo>
                  <a:lnTo>
                    <a:pt x="191" y="93"/>
                  </a:lnTo>
                  <a:lnTo>
                    <a:pt x="198" y="90"/>
                  </a:lnTo>
                  <a:lnTo>
                    <a:pt x="206" y="89"/>
                  </a:lnTo>
                  <a:lnTo>
                    <a:pt x="206" y="39"/>
                  </a:lnTo>
                  <a:lnTo>
                    <a:pt x="206" y="39"/>
                  </a:lnTo>
                  <a:lnTo>
                    <a:pt x="198" y="38"/>
                  </a:lnTo>
                  <a:lnTo>
                    <a:pt x="191" y="35"/>
                  </a:lnTo>
                  <a:lnTo>
                    <a:pt x="184" y="31"/>
                  </a:lnTo>
                  <a:lnTo>
                    <a:pt x="179" y="27"/>
                  </a:lnTo>
                  <a:lnTo>
                    <a:pt x="173" y="22"/>
                  </a:lnTo>
                  <a:lnTo>
                    <a:pt x="171" y="15"/>
                  </a:lnTo>
                  <a:lnTo>
                    <a:pt x="168" y="9"/>
                  </a:lnTo>
                  <a:lnTo>
                    <a:pt x="167" y="0"/>
                  </a:lnTo>
                  <a:lnTo>
                    <a:pt x="39" y="0"/>
                  </a:lnTo>
                  <a:lnTo>
                    <a:pt x="39" y="0"/>
                  </a:lnTo>
                  <a:lnTo>
                    <a:pt x="38" y="9"/>
                  </a:lnTo>
                  <a:lnTo>
                    <a:pt x="35" y="15"/>
                  </a:lnTo>
                  <a:lnTo>
                    <a:pt x="31" y="22"/>
                  </a:lnTo>
                  <a:lnTo>
                    <a:pt x="27" y="27"/>
                  </a:lnTo>
                  <a:lnTo>
                    <a:pt x="22" y="31"/>
                  </a:lnTo>
                  <a:lnTo>
                    <a:pt x="15" y="35"/>
                  </a:lnTo>
                  <a:lnTo>
                    <a:pt x="8" y="38"/>
                  </a:lnTo>
                  <a:lnTo>
                    <a:pt x="0" y="39"/>
                  </a:lnTo>
                  <a:lnTo>
                    <a:pt x="0" y="84"/>
                  </a:lnTo>
                  <a:lnTo>
                    <a:pt x="0" y="84"/>
                  </a:lnTo>
                  <a:lnTo>
                    <a:pt x="8" y="85"/>
                  </a:lnTo>
                  <a:lnTo>
                    <a:pt x="15" y="89"/>
                  </a:lnTo>
                  <a:lnTo>
                    <a:pt x="22" y="93"/>
                  </a:lnTo>
                  <a:lnTo>
                    <a:pt x="27" y="99"/>
                  </a:lnTo>
                  <a:lnTo>
                    <a:pt x="31" y="105"/>
                  </a:lnTo>
                  <a:lnTo>
                    <a:pt x="35" y="112"/>
                  </a:lnTo>
                  <a:lnTo>
                    <a:pt x="38" y="120"/>
                  </a:lnTo>
                  <a:lnTo>
                    <a:pt x="39" y="128"/>
                  </a:lnTo>
                  <a:lnTo>
                    <a:pt x="39" y="128"/>
                  </a:lnTo>
                  <a:close/>
                  <a:moveTo>
                    <a:pt x="102" y="30"/>
                  </a:moveTo>
                  <a:lnTo>
                    <a:pt x="102" y="30"/>
                  </a:lnTo>
                  <a:lnTo>
                    <a:pt x="109" y="30"/>
                  </a:lnTo>
                  <a:lnTo>
                    <a:pt x="116" y="33"/>
                  </a:lnTo>
                  <a:lnTo>
                    <a:pt x="122" y="35"/>
                  </a:lnTo>
                  <a:lnTo>
                    <a:pt x="126" y="39"/>
                  </a:lnTo>
                  <a:lnTo>
                    <a:pt x="130" y="45"/>
                  </a:lnTo>
                  <a:lnTo>
                    <a:pt x="134" y="50"/>
                  </a:lnTo>
                  <a:lnTo>
                    <a:pt x="136" y="57"/>
                  </a:lnTo>
                  <a:lnTo>
                    <a:pt x="137" y="64"/>
                  </a:lnTo>
                  <a:lnTo>
                    <a:pt x="137" y="64"/>
                  </a:lnTo>
                  <a:lnTo>
                    <a:pt x="136" y="70"/>
                  </a:lnTo>
                  <a:lnTo>
                    <a:pt x="134" y="77"/>
                  </a:lnTo>
                  <a:lnTo>
                    <a:pt x="130" y="84"/>
                  </a:lnTo>
                  <a:lnTo>
                    <a:pt x="126" y="88"/>
                  </a:lnTo>
                  <a:lnTo>
                    <a:pt x="122" y="92"/>
                  </a:lnTo>
                  <a:lnTo>
                    <a:pt x="116" y="96"/>
                  </a:lnTo>
                  <a:lnTo>
                    <a:pt x="109" y="97"/>
                  </a:lnTo>
                  <a:lnTo>
                    <a:pt x="102" y="99"/>
                  </a:lnTo>
                  <a:lnTo>
                    <a:pt x="102" y="99"/>
                  </a:lnTo>
                  <a:lnTo>
                    <a:pt x="96" y="97"/>
                  </a:lnTo>
                  <a:lnTo>
                    <a:pt x="89" y="96"/>
                  </a:lnTo>
                  <a:lnTo>
                    <a:pt x="83" y="92"/>
                  </a:lnTo>
                  <a:lnTo>
                    <a:pt x="78" y="88"/>
                  </a:lnTo>
                  <a:lnTo>
                    <a:pt x="74" y="84"/>
                  </a:lnTo>
                  <a:lnTo>
                    <a:pt x="71" y="77"/>
                  </a:lnTo>
                  <a:lnTo>
                    <a:pt x="69" y="70"/>
                  </a:lnTo>
                  <a:lnTo>
                    <a:pt x="69" y="64"/>
                  </a:lnTo>
                  <a:lnTo>
                    <a:pt x="69" y="64"/>
                  </a:lnTo>
                  <a:lnTo>
                    <a:pt x="69" y="57"/>
                  </a:lnTo>
                  <a:lnTo>
                    <a:pt x="71" y="50"/>
                  </a:lnTo>
                  <a:lnTo>
                    <a:pt x="74" y="45"/>
                  </a:lnTo>
                  <a:lnTo>
                    <a:pt x="78" y="39"/>
                  </a:lnTo>
                  <a:lnTo>
                    <a:pt x="83" y="35"/>
                  </a:lnTo>
                  <a:lnTo>
                    <a:pt x="89" y="33"/>
                  </a:lnTo>
                  <a:lnTo>
                    <a:pt x="96" y="30"/>
                  </a:lnTo>
                  <a:lnTo>
                    <a:pt x="102" y="30"/>
                  </a:lnTo>
                  <a:lnTo>
                    <a:pt x="102"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29">
              <a:extLst>
                <a:ext uri="{FF2B5EF4-FFF2-40B4-BE49-F238E27FC236}">
                  <a16:creationId xmlns:a16="http://schemas.microsoft.com/office/drawing/2014/main" id="{A93BE4E6-53C9-404A-8D0B-14602CDFA4E4}"/>
                </a:ext>
              </a:extLst>
            </p:cNvPr>
            <p:cNvSpPr>
              <a:spLocks noEditPoints="1"/>
            </p:cNvSpPr>
            <p:nvPr/>
          </p:nvSpPr>
          <p:spPr bwMode="auto">
            <a:xfrm>
              <a:off x="4211638" y="1022350"/>
              <a:ext cx="223838" cy="163513"/>
            </a:xfrm>
            <a:custGeom>
              <a:avLst/>
              <a:gdLst>
                <a:gd name="T0" fmla="*/ 278 w 284"/>
                <a:gd name="T1" fmla="*/ 205 h 205"/>
                <a:gd name="T2" fmla="*/ 284 w 284"/>
                <a:gd name="T3" fmla="*/ 200 h 205"/>
                <a:gd name="T4" fmla="*/ 284 w 284"/>
                <a:gd name="T5" fmla="*/ 5 h 205"/>
                <a:gd name="T6" fmla="*/ 278 w 284"/>
                <a:gd name="T7" fmla="*/ 0 h 205"/>
                <a:gd name="T8" fmla="*/ 6 w 284"/>
                <a:gd name="T9" fmla="*/ 0 h 205"/>
                <a:gd name="T10" fmla="*/ 0 w 284"/>
                <a:gd name="T11" fmla="*/ 5 h 205"/>
                <a:gd name="T12" fmla="*/ 0 w 284"/>
                <a:gd name="T13" fmla="*/ 200 h 205"/>
                <a:gd name="T14" fmla="*/ 6 w 284"/>
                <a:gd name="T15" fmla="*/ 205 h 205"/>
                <a:gd name="T16" fmla="*/ 30 w 284"/>
                <a:gd name="T17" fmla="*/ 73 h 205"/>
                <a:gd name="T18" fmla="*/ 31 w 284"/>
                <a:gd name="T19" fmla="*/ 69 h 205"/>
                <a:gd name="T20" fmla="*/ 34 w 284"/>
                <a:gd name="T21" fmla="*/ 68 h 205"/>
                <a:gd name="T22" fmla="*/ 49 w 284"/>
                <a:gd name="T23" fmla="*/ 65 h 205"/>
                <a:gd name="T24" fmla="*/ 59 w 284"/>
                <a:gd name="T25" fmla="*/ 59 h 205"/>
                <a:gd name="T26" fmla="*/ 66 w 284"/>
                <a:gd name="T27" fmla="*/ 48 h 205"/>
                <a:gd name="T28" fmla="*/ 69 w 284"/>
                <a:gd name="T29" fmla="*/ 34 h 205"/>
                <a:gd name="T30" fmla="*/ 70 w 284"/>
                <a:gd name="T31" fmla="*/ 30 h 205"/>
                <a:gd name="T32" fmla="*/ 210 w 284"/>
                <a:gd name="T33" fmla="*/ 29 h 205"/>
                <a:gd name="T34" fmla="*/ 214 w 284"/>
                <a:gd name="T35" fmla="*/ 30 h 205"/>
                <a:gd name="T36" fmla="*/ 215 w 284"/>
                <a:gd name="T37" fmla="*/ 34 h 205"/>
                <a:gd name="T38" fmla="*/ 218 w 284"/>
                <a:gd name="T39" fmla="*/ 48 h 205"/>
                <a:gd name="T40" fmla="*/ 225 w 284"/>
                <a:gd name="T41" fmla="*/ 59 h 205"/>
                <a:gd name="T42" fmla="*/ 235 w 284"/>
                <a:gd name="T43" fmla="*/ 65 h 205"/>
                <a:gd name="T44" fmla="*/ 249 w 284"/>
                <a:gd name="T45" fmla="*/ 68 h 205"/>
                <a:gd name="T46" fmla="*/ 253 w 284"/>
                <a:gd name="T47" fmla="*/ 69 h 205"/>
                <a:gd name="T48" fmla="*/ 254 w 284"/>
                <a:gd name="T49" fmla="*/ 131 h 205"/>
                <a:gd name="T50" fmla="*/ 253 w 284"/>
                <a:gd name="T51" fmla="*/ 135 h 205"/>
                <a:gd name="T52" fmla="*/ 249 w 284"/>
                <a:gd name="T53" fmla="*/ 137 h 205"/>
                <a:gd name="T54" fmla="*/ 235 w 284"/>
                <a:gd name="T55" fmla="*/ 139 h 205"/>
                <a:gd name="T56" fmla="*/ 225 w 284"/>
                <a:gd name="T57" fmla="*/ 146 h 205"/>
                <a:gd name="T58" fmla="*/ 218 w 284"/>
                <a:gd name="T59" fmla="*/ 157 h 205"/>
                <a:gd name="T60" fmla="*/ 215 w 284"/>
                <a:gd name="T61" fmla="*/ 170 h 205"/>
                <a:gd name="T62" fmla="*/ 214 w 284"/>
                <a:gd name="T63" fmla="*/ 174 h 205"/>
                <a:gd name="T64" fmla="*/ 74 w 284"/>
                <a:gd name="T65" fmla="*/ 175 h 205"/>
                <a:gd name="T66" fmla="*/ 70 w 284"/>
                <a:gd name="T67" fmla="*/ 174 h 205"/>
                <a:gd name="T68" fmla="*/ 69 w 284"/>
                <a:gd name="T69" fmla="*/ 170 h 205"/>
                <a:gd name="T70" fmla="*/ 66 w 284"/>
                <a:gd name="T71" fmla="*/ 157 h 205"/>
                <a:gd name="T72" fmla="*/ 59 w 284"/>
                <a:gd name="T73" fmla="*/ 145 h 205"/>
                <a:gd name="T74" fmla="*/ 49 w 284"/>
                <a:gd name="T75" fmla="*/ 135 h 205"/>
                <a:gd name="T76" fmla="*/ 34 w 284"/>
                <a:gd name="T77" fmla="*/ 131 h 205"/>
                <a:gd name="T78" fmla="*/ 31 w 284"/>
                <a:gd name="T79" fmla="*/ 130 h 205"/>
                <a:gd name="T80" fmla="*/ 30 w 284"/>
                <a:gd name="T81" fmla="*/ 73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4" h="205">
                  <a:moveTo>
                    <a:pt x="278" y="205"/>
                  </a:moveTo>
                  <a:lnTo>
                    <a:pt x="278" y="205"/>
                  </a:lnTo>
                  <a:lnTo>
                    <a:pt x="281" y="204"/>
                  </a:lnTo>
                  <a:lnTo>
                    <a:pt x="284" y="200"/>
                  </a:lnTo>
                  <a:lnTo>
                    <a:pt x="284" y="5"/>
                  </a:lnTo>
                  <a:lnTo>
                    <a:pt x="284" y="5"/>
                  </a:lnTo>
                  <a:lnTo>
                    <a:pt x="281" y="1"/>
                  </a:lnTo>
                  <a:lnTo>
                    <a:pt x="278" y="0"/>
                  </a:lnTo>
                  <a:lnTo>
                    <a:pt x="6" y="0"/>
                  </a:lnTo>
                  <a:lnTo>
                    <a:pt x="6" y="0"/>
                  </a:lnTo>
                  <a:lnTo>
                    <a:pt x="2" y="1"/>
                  </a:lnTo>
                  <a:lnTo>
                    <a:pt x="0" y="5"/>
                  </a:lnTo>
                  <a:lnTo>
                    <a:pt x="0" y="200"/>
                  </a:lnTo>
                  <a:lnTo>
                    <a:pt x="0" y="200"/>
                  </a:lnTo>
                  <a:lnTo>
                    <a:pt x="2" y="204"/>
                  </a:lnTo>
                  <a:lnTo>
                    <a:pt x="6" y="205"/>
                  </a:lnTo>
                  <a:lnTo>
                    <a:pt x="278" y="205"/>
                  </a:lnTo>
                  <a:close/>
                  <a:moveTo>
                    <a:pt x="30" y="73"/>
                  </a:moveTo>
                  <a:lnTo>
                    <a:pt x="30" y="73"/>
                  </a:lnTo>
                  <a:lnTo>
                    <a:pt x="31" y="69"/>
                  </a:lnTo>
                  <a:lnTo>
                    <a:pt x="34" y="68"/>
                  </a:lnTo>
                  <a:lnTo>
                    <a:pt x="34" y="68"/>
                  </a:lnTo>
                  <a:lnTo>
                    <a:pt x="42" y="67"/>
                  </a:lnTo>
                  <a:lnTo>
                    <a:pt x="49" y="65"/>
                  </a:lnTo>
                  <a:lnTo>
                    <a:pt x="54" y="63"/>
                  </a:lnTo>
                  <a:lnTo>
                    <a:pt x="59" y="59"/>
                  </a:lnTo>
                  <a:lnTo>
                    <a:pt x="63" y="53"/>
                  </a:lnTo>
                  <a:lnTo>
                    <a:pt x="66" y="48"/>
                  </a:lnTo>
                  <a:lnTo>
                    <a:pt x="67" y="41"/>
                  </a:lnTo>
                  <a:lnTo>
                    <a:pt x="69" y="34"/>
                  </a:lnTo>
                  <a:lnTo>
                    <a:pt x="69" y="34"/>
                  </a:lnTo>
                  <a:lnTo>
                    <a:pt x="70" y="30"/>
                  </a:lnTo>
                  <a:lnTo>
                    <a:pt x="74" y="29"/>
                  </a:lnTo>
                  <a:lnTo>
                    <a:pt x="210" y="29"/>
                  </a:lnTo>
                  <a:lnTo>
                    <a:pt x="210" y="29"/>
                  </a:lnTo>
                  <a:lnTo>
                    <a:pt x="214" y="30"/>
                  </a:lnTo>
                  <a:lnTo>
                    <a:pt x="215" y="34"/>
                  </a:lnTo>
                  <a:lnTo>
                    <a:pt x="215" y="34"/>
                  </a:lnTo>
                  <a:lnTo>
                    <a:pt x="215" y="41"/>
                  </a:lnTo>
                  <a:lnTo>
                    <a:pt x="218" y="48"/>
                  </a:lnTo>
                  <a:lnTo>
                    <a:pt x="220" y="53"/>
                  </a:lnTo>
                  <a:lnTo>
                    <a:pt x="225" y="59"/>
                  </a:lnTo>
                  <a:lnTo>
                    <a:pt x="230" y="63"/>
                  </a:lnTo>
                  <a:lnTo>
                    <a:pt x="235" y="65"/>
                  </a:lnTo>
                  <a:lnTo>
                    <a:pt x="242" y="67"/>
                  </a:lnTo>
                  <a:lnTo>
                    <a:pt x="249" y="68"/>
                  </a:lnTo>
                  <a:lnTo>
                    <a:pt x="249" y="68"/>
                  </a:lnTo>
                  <a:lnTo>
                    <a:pt x="253" y="69"/>
                  </a:lnTo>
                  <a:lnTo>
                    <a:pt x="254" y="73"/>
                  </a:lnTo>
                  <a:lnTo>
                    <a:pt x="254" y="131"/>
                  </a:lnTo>
                  <a:lnTo>
                    <a:pt x="254" y="131"/>
                  </a:lnTo>
                  <a:lnTo>
                    <a:pt x="253" y="135"/>
                  </a:lnTo>
                  <a:lnTo>
                    <a:pt x="249" y="137"/>
                  </a:lnTo>
                  <a:lnTo>
                    <a:pt x="249" y="137"/>
                  </a:lnTo>
                  <a:lnTo>
                    <a:pt x="242" y="137"/>
                  </a:lnTo>
                  <a:lnTo>
                    <a:pt x="235" y="139"/>
                  </a:lnTo>
                  <a:lnTo>
                    <a:pt x="230" y="142"/>
                  </a:lnTo>
                  <a:lnTo>
                    <a:pt x="225" y="146"/>
                  </a:lnTo>
                  <a:lnTo>
                    <a:pt x="220" y="151"/>
                  </a:lnTo>
                  <a:lnTo>
                    <a:pt x="218" y="157"/>
                  </a:lnTo>
                  <a:lnTo>
                    <a:pt x="215" y="163"/>
                  </a:lnTo>
                  <a:lnTo>
                    <a:pt x="215" y="170"/>
                  </a:lnTo>
                  <a:lnTo>
                    <a:pt x="215" y="170"/>
                  </a:lnTo>
                  <a:lnTo>
                    <a:pt x="214" y="174"/>
                  </a:lnTo>
                  <a:lnTo>
                    <a:pt x="210" y="175"/>
                  </a:lnTo>
                  <a:lnTo>
                    <a:pt x="74" y="175"/>
                  </a:lnTo>
                  <a:lnTo>
                    <a:pt x="74" y="175"/>
                  </a:lnTo>
                  <a:lnTo>
                    <a:pt x="70" y="174"/>
                  </a:lnTo>
                  <a:lnTo>
                    <a:pt x="69" y="170"/>
                  </a:lnTo>
                  <a:lnTo>
                    <a:pt x="69" y="170"/>
                  </a:lnTo>
                  <a:lnTo>
                    <a:pt x="67" y="163"/>
                  </a:lnTo>
                  <a:lnTo>
                    <a:pt x="66" y="157"/>
                  </a:lnTo>
                  <a:lnTo>
                    <a:pt x="63" y="150"/>
                  </a:lnTo>
                  <a:lnTo>
                    <a:pt x="59" y="145"/>
                  </a:lnTo>
                  <a:lnTo>
                    <a:pt x="54" y="139"/>
                  </a:lnTo>
                  <a:lnTo>
                    <a:pt x="49" y="135"/>
                  </a:lnTo>
                  <a:lnTo>
                    <a:pt x="42" y="132"/>
                  </a:lnTo>
                  <a:lnTo>
                    <a:pt x="34" y="131"/>
                  </a:lnTo>
                  <a:lnTo>
                    <a:pt x="34" y="131"/>
                  </a:lnTo>
                  <a:lnTo>
                    <a:pt x="31" y="130"/>
                  </a:lnTo>
                  <a:lnTo>
                    <a:pt x="30" y="127"/>
                  </a:lnTo>
                  <a:lnTo>
                    <a:pt x="30" y="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41" name="Rectangle 40">
            <a:extLst>
              <a:ext uri="{FF2B5EF4-FFF2-40B4-BE49-F238E27FC236}">
                <a16:creationId xmlns:a16="http://schemas.microsoft.com/office/drawing/2014/main" id="{EEF0F1B4-C0C9-4A70-8A81-D63DE8664893}"/>
              </a:ext>
            </a:extLst>
          </p:cNvPr>
          <p:cNvSpPr/>
          <p:nvPr/>
        </p:nvSpPr>
        <p:spPr>
          <a:xfrm>
            <a:off x="831405" y="1720445"/>
            <a:ext cx="2808382" cy="369332"/>
          </a:xfrm>
          <a:prstGeom prst="rect">
            <a:avLst/>
          </a:prstGeom>
        </p:spPr>
        <p:txBody>
          <a:bodyPr wrap="square">
            <a:spAutoFit/>
          </a:bodyPr>
          <a:lstStyle/>
          <a:p>
            <a:pPr marL="0" marR="0" lvl="0" indent="0" algn="l" defTabSz="78886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hronicle Display Light" charset="0"/>
                <a:ea typeface="Chronicle Display Light" charset="0"/>
                <a:cs typeface="Chronicle Display Light" charset="0"/>
              </a:rPr>
              <a:t>Client Signature Issue</a:t>
            </a:r>
          </a:p>
        </p:txBody>
      </p:sp>
      <p:sp>
        <p:nvSpPr>
          <p:cNvPr id="42" name="Rectangle 41">
            <a:extLst>
              <a:ext uri="{FF2B5EF4-FFF2-40B4-BE49-F238E27FC236}">
                <a16:creationId xmlns:a16="http://schemas.microsoft.com/office/drawing/2014/main" id="{81C99183-65D2-46FA-93E3-35136CCB3D8F}"/>
              </a:ext>
            </a:extLst>
          </p:cNvPr>
          <p:cNvSpPr/>
          <p:nvPr/>
        </p:nvSpPr>
        <p:spPr>
          <a:xfrm>
            <a:off x="4558390" y="1741891"/>
            <a:ext cx="2413396" cy="369332"/>
          </a:xfrm>
          <a:prstGeom prst="rect">
            <a:avLst/>
          </a:prstGeom>
        </p:spPr>
        <p:txBody>
          <a:bodyPr wrap="square">
            <a:spAutoFit/>
          </a:bodyPr>
          <a:lstStyle/>
          <a:p>
            <a:pPr marL="0" marR="0" lvl="0" indent="0" algn="l" defTabSz="78886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hronicle Display Light" charset="0"/>
                <a:ea typeface="Chronicle Display Light" charset="0"/>
                <a:cs typeface="Chronicle Display Light" charset="0"/>
              </a:rPr>
              <a:t>Solution</a:t>
            </a:r>
          </a:p>
        </p:txBody>
      </p:sp>
      <p:sp>
        <p:nvSpPr>
          <p:cNvPr id="43" name="Rectangle 264">
            <a:extLst>
              <a:ext uri="{FF2B5EF4-FFF2-40B4-BE49-F238E27FC236}">
                <a16:creationId xmlns:a16="http://schemas.microsoft.com/office/drawing/2014/main" id="{7B027728-CD34-447D-94C6-9BBBCF651AA7}"/>
              </a:ext>
            </a:extLst>
          </p:cNvPr>
          <p:cNvSpPr>
            <a:spLocks noChangeArrowheads="1"/>
          </p:cNvSpPr>
          <p:nvPr/>
        </p:nvSpPr>
        <p:spPr bwMode="auto">
          <a:xfrm>
            <a:off x="8625475" y="3448943"/>
            <a:ext cx="2536348" cy="4924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l" defTabSz="704281"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300" normalizeH="0" baseline="0" noProof="0" dirty="0">
                <a:ln>
                  <a:noFill/>
                </a:ln>
                <a:solidFill>
                  <a:srgbClr val="000000"/>
                </a:solidFill>
                <a:effectLst/>
                <a:uLnTx/>
                <a:uFillTx/>
                <a:latin typeface="Open Sans"/>
                <a:ea typeface="+mn-ea"/>
                <a:cs typeface="Open Sans"/>
              </a:rPr>
              <a:t>PROFIT IMPROVEMENT</a:t>
            </a:r>
          </a:p>
        </p:txBody>
      </p:sp>
      <p:sp>
        <p:nvSpPr>
          <p:cNvPr id="44" name="Rectangle 264">
            <a:extLst>
              <a:ext uri="{FF2B5EF4-FFF2-40B4-BE49-F238E27FC236}">
                <a16:creationId xmlns:a16="http://schemas.microsoft.com/office/drawing/2014/main" id="{19633CE5-F0E0-4755-9B08-99A79F3C5AC3}"/>
              </a:ext>
            </a:extLst>
          </p:cNvPr>
          <p:cNvSpPr>
            <a:spLocks noChangeArrowheads="1"/>
          </p:cNvSpPr>
          <p:nvPr/>
        </p:nvSpPr>
        <p:spPr bwMode="auto">
          <a:xfrm>
            <a:off x="8598913" y="2608119"/>
            <a:ext cx="2383142" cy="8309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l" defTabSz="787477" rtl="0" eaLnBrk="1" fontAlgn="auto" latinLnBrk="0" hangingPunct="1">
              <a:lnSpc>
                <a:spcPct val="100000"/>
              </a:lnSpc>
              <a:spcBef>
                <a:spcPct val="0"/>
              </a:spcBef>
              <a:spcAft>
                <a:spcPts val="0"/>
              </a:spcAft>
              <a:buClrTx/>
              <a:buSzPct val="75000"/>
              <a:buFontTx/>
              <a:buNone/>
              <a:tabLst/>
              <a:defRPr/>
            </a:pPr>
            <a:r>
              <a:rPr kumimoji="0" lang="en-US" sz="5400" b="1" i="0" u="none" strike="noStrike" kern="1200" cap="none" spc="0" normalizeH="0" baseline="0" noProof="0" dirty="0">
                <a:ln>
                  <a:noFill/>
                </a:ln>
                <a:solidFill>
                  <a:srgbClr val="000000"/>
                </a:solidFill>
                <a:effectLst/>
                <a:uLnTx/>
                <a:uFillTx/>
                <a:latin typeface="Chronicle Display Black"/>
                <a:ea typeface="ＭＳ Ｐゴシック" pitchFamily="50" charset="-128"/>
                <a:cs typeface="Open Sans"/>
              </a:rPr>
              <a:t>$45M+</a:t>
            </a:r>
          </a:p>
        </p:txBody>
      </p:sp>
      <p:grpSp>
        <p:nvGrpSpPr>
          <p:cNvPr id="45" name="Group 44">
            <a:extLst>
              <a:ext uri="{FF2B5EF4-FFF2-40B4-BE49-F238E27FC236}">
                <a16:creationId xmlns:a16="http://schemas.microsoft.com/office/drawing/2014/main" id="{C20E19AB-C93B-4324-859C-72F4C07EA503}"/>
              </a:ext>
            </a:extLst>
          </p:cNvPr>
          <p:cNvGrpSpPr>
            <a:grpSpLocks noChangeAspect="1"/>
          </p:cNvGrpSpPr>
          <p:nvPr/>
        </p:nvGrpSpPr>
        <p:grpSpPr>
          <a:xfrm>
            <a:off x="8644865" y="2036541"/>
            <a:ext cx="522288" cy="520700"/>
            <a:chOff x="4071938" y="822325"/>
            <a:chExt cx="522288" cy="520700"/>
          </a:xfrm>
        </p:grpSpPr>
        <p:sp>
          <p:nvSpPr>
            <p:cNvPr id="46" name="Freeform 9">
              <a:extLst>
                <a:ext uri="{FF2B5EF4-FFF2-40B4-BE49-F238E27FC236}">
                  <a16:creationId xmlns:a16="http://schemas.microsoft.com/office/drawing/2014/main" id="{7C498E82-CC55-458E-8E00-2F1C5C472014}"/>
                </a:ext>
              </a:extLst>
            </p:cNvPr>
            <p:cNvSpPr>
              <a:spLocks noEditPoints="1"/>
            </p:cNvSpPr>
            <p:nvPr/>
          </p:nvSpPr>
          <p:spPr bwMode="auto">
            <a:xfrm>
              <a:off x="4071938" y="822325"/>
              <a:ext cx="522288" cy="520700"/>
            </a:xfrm>
            <a:custGeom>
              <a:avLst/>
              <a:gdLst>
                <a:gd name="T0" fmla="*/ 313 w 658"/>
                <a:gd name="T1" fmla="*/ 657 h 657"/>
                <a:gd name="T2" fmla="*/ 263 w 658"/>
                <a:gd name="T3" fmla="*/ 650 h 657"/>
                <a:gd name="T4" fmla="*/ 201 w 658"/>
                <a:gd name="T5" fmla="*/ 631 h 657"/>
                <a:gd name="T6" fmla="*/ 120 w 658"/>
                <a:gd name="T7" fmla="*/ 582 h 657"/>
                <a:gd name="T8" fmla="*/ 56 w 658"/>
                <a:gd name="T9" fmla="*/ 512 h 657"/>
                <a:gd name="T10" fmla="*/ 14 w 658"/>
                <a:gd name="T11" fmla="*/ 426 h 657"/>
                <a:gd name="T12" fmla="*/ 4 w 658"/>
                <a:gd name="T13" fmla="*/ 379 h 657"/>
                <a:gd name="T14" fmla="*/ 0 w 658"/>
                <a:gd name="T15" fmla="*/ 329 h 657"/>
                <a:gd name="T16" fmla="*/ 2 w 658"/>
                <a:gd name="T17" fmla="*/ 295 h 657"/>
                <a:gd name="T18" fmla="*/ 10 w 658"/>
                <a:gd name="T19" fmla="*/ 246 h 657"/>
                <a:gd name="T20" fmla="*/ 40 w 658"/>
                <a:gd name="T21" fmla="*/ 172 h 657"/>
                <a:gd name="T22" fmla="*/ 96 w 658"/>
                <a:gd name="T23" fmla="*/ 97 h 657"/>
                <a:gd name="T24" fmla="*/ 173 w 658"/>
                <a:gd name="T25" fmla="*/ 39 h 657"/>
                <a:gd name="T26" fmla="*/ 247 w 658"/>
                <a:gd name="T27" fmla="*/ 9 h 657"/>
                <a:gd name="T28" fmla="*/ 295 w 658"/>
                <a:gd name="T29" fmla="*/ 1 h 657"/>
                <a:gd name="T30" fmla="*/ 329 w 658"/>
                <a:gd name="T31" fmla="*/ 0 h 657"/>
                <a:gd name="T32" fmla="*/ 378 w 658"/>
                <a:gd name="T33" fmla="*/ 4 h 657"/>
                <a:gd name="T34" fmla="*/ 427 w 658"/>
                <a:gd name="T35" fmla="*/ 15 h 657"/>
                <a:gd name="T36" fmla="*/ 513 w 658"/>
                <a:gd name="T37" fmla="*/ 56 h 657"/>
                <a:gd name="T38" fmla="*/ 583 w 658"/>
                <a:gd name="T39" fmla="*/ 120 h 657"/>
                <a:gd name="T40" fmla="*/ 632 w 658"/>
                <a:gd name="T41" fmla="*/ 200 h 657"/>
                <a:gd name="T42" fmla="*/ 651 w 658"/>
                <a:gd name="T43" fmla="*/ 262 h 657"/>
                <a:gd name="T44" fmla="*/ 658 w 658"/>
                <a:gd name="T45" fmla="*/ 312 h 657"/>
                <a:gd name="T46" fmla="*/ 658 w 658"/>
                <a:gd name="T47" fmla="*/ 345 h 657"/>
                <a:gd name="T48" fmla="*/ 651 w 658"/>
                <a:gd name="T49" fmla="*/ 395 h 657"/>
                <a:gd name="T50" fmla="*/ 632 w 658"/>
                <a:gd name="T51" fmla="*/ 457 h 657"/>
                <a:gd name="T52" fmla="*/ 583 w 658"/>
                <a:gd name="T53" fmla="*/ 537 h 657"/>
                <a:gd name="T54" fmla="*/ 513 w 658"/>
                <a:gd name="T55" fmla="*/ 600 h 657"/>
                <a:gd name="T56" fmla="*/ 427 w 658"/>
                <a:gd name="T57" fmla="*/ 642 h 657"/>
                <a:gd name="T58" fmla="*/ 378 w 658"/>
                <a:gd name="T59" fmla="*/ 653 h 657"/>
                <a:gd name="T60" fmla="*/ 329 w 658"/>
                <a:gd name="T61" fmla="*/ 657 h 657"/>
                <a:gd name="T62" fmla="*/ 329 w 658"/>
                <a:gd name="T63" fmla="*/ 38 h 657"/>
                <a:gd name="T64" fmla="*/ 243 w 658"/>
                <a:gd name="T65" fmla="*/ 51 h 657"/>
                <a:gd name="T66" fmla="*/ 166 w 658"/>
                <a:gd name="T67" fmla="*/ 87 h 657"/>
                <a:gd name="T68" fmla="*/ 104 w 658"/>
                <a:gd name="T69" fmla="*/ 144 h 657"/>
                <a:gd name="T70" fmla="*/ 61 w 658"/>
                <a:gd name="T71" fmla="*/ 215 h 657"/>
                <a:gd name="T72" fmla="*/ 40 w 658"/>
                <a:gd name="T73" fmla="*/ 298 h 657"/>
                <a:gd name="T74" fmla="*/ 40 w 658"/>
                <a:gd name="T75" fmla="*/ 359 h 657"/>
                <a:gd name="T76" fmla="*/ 61 w 658"/>
                <a:gd name="T77" fmla="*/ 442 h 657"/>
                <a:gd name="T78" fmla="*/ 104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5 w 658"/>
                <a:gd name="T93" fmla="*/ 467 h 657"/>
                <a:gd name="T94" fmla="*/ 615 w 658"/>
                <a:gd name="T95" fmla="*/ 387 h 657"/>
                <a:gd name="T96" fmla="*/ 620 w 658"/>
                <a:gd name="T97" fmla="*/ 329 h 657"/>
                <a:gd name="T98" fmla="*/ 607 w 658"/>
                <a:gd name="T99" fmla="*/ 242 h 657"/>
                <a:gd name="T100" fmla="*/ 570 w 658"/>
                <a:gd name="T101" fmla="*/ 165 h 657"/>
                <a:gd name="T102" fmla="*/ 514 w 658"/>
                <a:gd name="T103" fmla="*/ 103 h 657"/>
                <a:gd name="T104" fmla="*/ 443 w 658"/>
                <a:gd name="T105" fmla="*/ 60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5" y="655"/>
                  </a:lnTo>
                  <a:lnTo>
                    <a:pt x="279" y="653"/>
                  </a:lnTo>
                  <a:lnTo>
                    <a:pt x="263" y="650"/>
                  </a:lnTo>
                  <a:lnTo>
                    <a:pt x="247" y="647"/>
                  </a:lnTo>
                  <a:lnTo>
                    <a:pt x="232" y="642"/>
                  </a:lnTo>
                  <a:lnTo>
                    <a:pt x="201" y="631"/>
                  </a:lnTo>
                  <a:lnTo>
                    <a:pt x="173" y="618"/>
                  </a:lnTo>
                  <a:lnTo>
                    <a:pt x="145" y="600"/>
                  </a:lnTo>
                  <a:lnTo>
                    <a:pt x="120" y="582"/>
                  </a:lnTo>
                  <a:lnTo>
                    <a:pt x="96" y="561"/>
                  </a:lnTo>
                  <a:lnTo>
                    <a:pt x="75" y="537"/>
                  </a:lnTo>
                  <a:lnTo>
                    <a:pt x="56" y="512"/>
                  </a:lnTo>
                  <a:lnTo>
                    <a:pt x="40" y="485"/>
                  </a:lnTo>
                  <a:lnTo>
                    <a:pt x="26" y="457"/>
                  </a:lnTo>
                  <a:lnTo>
                    <a:pt x="14" y="426"/>
                  </a:lnTo>
                  <a:lnTo>
                    <a:pt x="10" y="411"/>
                  </a:lnTo>
                  <a:lnTo>
                    <a:pt x="6" y="395"/>
                  </a:lnTo>
                  <a:lnTo>
                    <a:pt x="4" y="379"/>
                  </a:lnTo>
                  <a:lnTo>
                    <a:pt x="2" y="363"/>
                  </a:lnTo>
                  <a:lnTo>
                    <a:pt x="1" y="345"/>
                  </a:lnTo>
                  <a:lnTo>
                    <a:pt x="0" y="329"/>
                  </a:lnTo>
                  <a:lnTo>
                    <a:pt x="0" y="329"/>
                  </a:lnTo>
                  <a:lnTo>
                    <a:pt x="1" y="312"/>
                  </a:lnTo>
                  <a:lnTo>
                    <a:pt x="2" y="295"/>
                  </a:lnTo>
                  <a:lnTo>
                    <a:pt x="4" y="278"/>
                  </a:lnTo>
                  <a:lnTo>
                    <a:pt x="6" y="262"/>
                  </a:lnTo>
                  <a:lnTo>
                    <a:pt x="10" y="246"/>
                  </a:lnTo>
                  <a:lnTo>
                    <a:pt x="14" y="231"/>
                  </a:lnTo>
                  <a:lnTo>
                    <a:pt x="26" y="200"/>
                  </a:lnTo>
                  <a:lnTo>
                    <a:pt x="40" y="172"/>
                  </a:lnTo>
                  <a:lnTo>
                    <a:pt x="56" y="145"/>
                  </a:lnTo>
                  <a:lnTo>
                    <a:pt x="75" y="120"/>
                  </a:lnTo>
                  <a:lnTo>
                    <a:pt x="96" y="97"/>
                  </a:lnTo>
                  <a:lnTo>
                    <a:pt x="120" y="75"/>
                  </a:lnTo>
                  <a:lnTo>
                    <a:pt x="145" y="56"/>
                  </a:lnTo>
                  <a:lnTo>
                    <a:pt x="173" y="39"/>
                  </a:lnTo>
                  <a:lnTo>
                    <a:pt x="201" y="26"/>
                  </a:lnTo>
                  <a:lnTo>
                    <a:pt x="232" y="15"/>
                  </a:lnTo>
                  <a:lnTo>
                    <a:pt x="247" y="9"/>
                  </a:lnTo>
                  <a:lnTo>
                    <a:pt x="263" y="7"/>
                  </a:lnTo>
                  <a:lnTo>
                    <a:pt x="279" y="4"/>
                  </a:lnTo>
                  <a:lnTo>
                    <a:pt x="295" y="1"/>
                  </a:lnTo>
                  <a:lnTo>
                    <a:pt x="313" y="0"/>
                  </a:lnTo>
                  <a:lnTo>
                    <a:pt x="329" y="0"/>
                  </a:lnTo>
                  <a:lnTo>
                    <a:pt x="329" y="0"/>
                  </a:lnTo>
                  <a:lnTo>
                    <a:pt x="346" y="0"/>
                  </a:lnTo>
                  <a:lnTo>
                    <a:pt x="362" y="1"/>
                  </a:lnTo>
                  <a:lnTo>
                    <a:pt x="378" y="4"/>
                  </a:lnTo>
                  <a:lnTo>
                    <a:pt x="396" y="7"/>
                  </a:lnTo>
                  <a:lnTo>
                    <a:pt x="411" y="9"/>
                  </a:lnTo>
                  <a:lnTo>
                    <a:pt x="427" y="15"/>
                  </a:lnTo>
                  <a:lnTo>
                    <a:pt x="456" y="26"/>
                  </a:lnTo>
                  <a:lnTo>
                    <a:pt x="486" y="39"/>
                  </a:lnTo>
                  <a:lnTo>
                    <a:pt x="513" y="56"/>
                  </a:lnTo>
                  <a:lnTo>
                    <a:pt x="538" y="75"/>
                  </a:lnTo>
                  <a:lnTo>
                    <a:pt x="561" y="97"/>
                  </a:lnTo>
                  <a:lnTo>
                    <a:pt x="583" y="120"/>
                  </a:lnTo>
                  <a:lnTo>
                    <a:pt x="601" y="145"/>
                  </a:lnTo>
                  <a:lnTo>
                    <a:pt x="617" y="172"/>
                  </a:lnTo>
                  <a:lnTo>
                    <a:pt x="632" y="200"/>
                  </a:lnTo>
                  <a:lnTo>
                    <a:pt x="643" y="231"/>
                  </a:lnTo>
                  <a:lnTo>
                    <a:pt x="647" y="246"/>
                  </a:lnTo>
                  <a:lnTo>
                    <a:pt x="651" y="262"/>
                  </a:lnTo>
                  <a:lnTo>
                    <a:pt x="654" y="278"/>
                  </a:lnTo>
                  <a:lnTo>
                    <a:pt x="656" y="295"/>
                  </a:lnTo>
                  <a:lnTo>
                    <a:pt x="658" y="312"/>
                  </a:lnTo>
                  <a:lnTo>
                    <a:pt x="658" y="329"/>
                  </a:lnTo>
                  <a:lnTo>
                    <a:pt x="658" y="329"/>
                  </a:lnTo>
                  <a:lnTo>
                    <a:pt x="658" y="345"/>
                  </a:lnTo>
                  <a:lnTo>
                    <a:pt x="656" y="363"/>
                  </a:lnTo>
                  <a:lnTo>
                    <a:pt x="654" y="379"/>
                  </a:lnTo>
                  <a:lnTo>
                    <a:pt x="651" y="395"/>
                  </a:lnTo>
                  <a:lnTo>
                    <a:pt x="647" y="411"/>
                  </a:lnTo>
                  <a:lnTo>
                    <a:pt x="643" y="426"/>
                  </a:lnTo>
                  <a:lnTo>
                    <a:pt x="632" y="457"/>
                  </a:lnTo>
                  <a:lnTo>
                    <a:pt x="617" y="485"/>
                  </a:lnTo>
                  <a:lnTo>
                    <a:pt x="601" y="512"/>
                  </a:lnTo>
                  <a:lnTo>
                    <a:pt x="583" y="537"/>
                  </a:lnTo>
                  <a:lnTo>
                    <a:pt x="561" y="561"/>
                  </a:lnTo>
                  <a:lnTo>
                    <a:pt x="538" y="582"/>
                  </a:lnTo>
                  <a:lnTo>
                    <a:pt x="513" y="600"/>
                  </a:lnTo>
                  <a:lnTo>
                    <a:pt x="486" y="618"/>
                  </a:lnTo>
                  <a:lnTo>
                    <a:pt x="456" y="631"/>
                  </a:lnTo>
                  <a:lnTo>
                    <a:pt x="427" y="642"/>
                  </a:lnTo>
                  <a:lnTo>
                    <a:pt x="411" y="647"/>
                  </a:lnTo>
                  <a:lnTo>
                    <a:pt x="396" y="650"/>
                  </a:lnTo>
                  <a:lnTo>
                    <a:pt x="378" y="653"/>
                  </a:lnTo>
                  <a:lnTo>
                    <a:pt x="362" y="655"/>
                  </a:lnTo>
                  <a:lnTo>
                    <a:pt x="346" y="657"/>
                  </a:lnTo>
                  <a:lnTo>
                    <a:pt x="329" y="657"/>
                  </a:lnTo>
                  <a:lnTo>
                    <a:pt x="329" y="657"/>
                  </a:lnTo>
                  <a:close/>
                  <a:moveTo>
                    <a:pt x="329" y="38"/>
                  </a:moveTo>
                  <a:lnTo>
                    <a:pt x="329" y="38"/>
                  </a:lnTo>
                  <a:lnTo>
                    <a:pt x="299" y="39"/>
                  </a:lnTo>
                  <a:lnTo>
                    <a:pt x="271" y="43"/>
                  </a:lnTo>
                  <a:lnTo>
                    <a:pt x="243" y="51"/>
                  </a:lnTo>
                  <a:lnTo>
                    <a:pt x="216" y="60"/>
                  </a:lnTo>
                  <a:lnTo>
                    <a:pt x="190" y="73"/>
                  </a:lnTo>
                  <a:lnTo>
                    <a:pt x="166" y="87"/>
                  </a:lnTo>
                  <a:lnTo>
                    <a:pt x="143" y="103"/>
                  </a:lnTo>
                  <a:lnTo>
                    <a:pt x="123" y="122"/>
                  </a:lnTo>
                  <a:lnTo>
                    <a:pt x="104" y="144"/>
                  </a:lnTo>
                  <a:lnTo>
                    <a:pt x="88" y="165"/>
                  </a:lnTo>
                  <a:lnTo>
                    <a:pt x="73" y="189"/>
                  </a:lnTo>
                  <a:lnTo>
                    <a:pt x="61" y="215"/>
                  </a:lnTo>
                  <a:lnTo>
                    <a:pt x="51" y="242"/>
                  </a:lnTo>
                  <a:lnTo>
                    <a:pt x="44" y="270"/>
                  </a:lnTo>
                  <a:lnTo>
                    <a:pt x="40" y="298"/>
                  </a:lnTo>
                  <a:lnTo>
                    <a:pt x="37" y="329"/>
                  </a:lnTo>
                  <a:lnTo>
                    <a:pt x="37" y="329"/>
                  </a:lnTo>
                  <a:lnTo>
                    <a:pt x="40" y="359"/>
                  </a:lnTo>
                  <a:lnTo>
                    <a:pt x="44" y="387"/>
                  </a:lnTo>
                  <a:lnTo>
                    <a:pt x="51" y="415"/>
                  </a:lnTo>
                  <a:lnTo>
                    <a:pt x="61" y="442"/>
                  </a:lnTo>
                  <a:lnTo>
                    <a:pt x="73" y="467"/>
                  </a:lnTo>
                  <a:lnTo>
                    <a:pt x="88" y="492"/>
                  </a:lnTo>
                  <a:lnTo>
                    <a:pt x="104" y="513"/>
                  </a:lnTo>
                  <a:lnTo>
                    <a:pt x="123" y="535"/>
                  </a:lnTo>
                  <a:lnTo>
                    <a:pt x="143" y="553"/>
                  </a:lnTo>
                  <a:lnTo>
                    <a:pt x="166" y="570"/>
                  </a:lnTo>
                  <a:lnTo>
                    <a:pt x="190" y="584"/>
                  </a:lnTo>
                  <a:lnTo>
                    <a:pt x="216" y="596"/>
                  </a:lnTo>
                  <a:lnTo>
                    <a:pt x="243" y="607"/>
                  </a:lnTo>
                  <a:lnTo>
                    <a:pt x="271" y="614"/>
                  </a:lnTo>
                  <a:lnTo>
                    <a:pt x="299" y="618"/>
                  </a:lnTo>
                  <a:lnTo>
                    <a:pt x="329" y="619"/>
                  </a:lnTo>
                  <a:lnTo>
                    <a:pt x="329" y="619"/>
                  </a:lnTo>
                  <a:lnTo>
                    <a:pt x="358" y="618"/>
                  </a:lnTo>
                  <a:lnTo>
                    <a:pt x="388" y="614"/>
                  </a:lnTo>
                  <a:lnTo>
                    <a:pt x="416" y="607"/>
                  </a:lnTo>
                  <a:lnTo>
                    <a:pt x="443" y="596"/>
                  </a:lnTo>
                  <a:lnTo>
                    <a:pt x="467" y="584"/>
                  </a:lnTo>
                  <a:lnTo>
                    <a:pt x="491" y="570"/>
                  </a:lnTo>
                  <a:lnTo>
                    <a:pt x="514" y="553"/>
                  </a:lnTo>
                  <a:lnTo>
                    <a:pt x="534" y="535"/>
                  </a:lnTo>
                  <a:lnTo>
                    <a:pt x="553" y="513"/>
                  </a:lnTo>
                  <a:lnTo>
                    <a:pt x="570" y="492"/>
                  </a:lnTo>
                  <a:lnTo>
                    <a:pt x="585" y="467"/>
                  </a:lnTo>
                  <a:lnTo>
                    <a:pt x="597" y="442"/>
                  </a:lnTo>
                  <a:lnTo>
                    <a:pt x="607" y="415"/>
                  </a:lnTo>
                  <a:lnTo>
                    <a:pt x="615" y="387"/>
                  </a:lnTo>
                  <a:lnTo>
                    <a:pt x="619" y="359"/>
                  </a:lnTo>
                  <a:lnTo>
                    <a:pt x="620" y="329"/>
                  </a:lnTo>
                  <a:lnTo>
                    <a:pt x="620" y="329"/>
                  </a:lnTo>
                  <a:lnTo>
                    <a:pt x="619" y="298"/>
                  </a:lnTo>
                  <a:lnTo>
                    <a:pt x="615" y="270"/>
                  </a:lnTo>
                  <a:lnTo>
                    <a:pt x="607" y="242"/>
                  </a:lnTo>
                  <a:lnTo>
                    <a:pt x="597" y="215"/>
                  </a:lnTo>
                  <a:lnTo>
                    <a:pt x="585" y="189"/>
                  </a:lnTo>
                  <a:lnTo>
                    <a:pt x="570" y="165"/>
                  </a:lnTo>
                  <a:lnTo>
                    <a:pt x="553" y="144"/>
                  </a:lnTo>
                  <a:lnTo>
                    <a:pt x="534" y="122"/>
                  </a:lnTo>
                  <a:lnTo>
                    <a:pt x="514" y="103"/>
                  </a:lnTo>
                  <a:lnTo>
                    <a:pt x="491" y="87"/>
                  </a:lnTo>
                  <a:lnTo>
                    <a:pt x="467" y="73"/>
                  </a:lnTo>
                  <a:lnTo>
                    <a:pt x="443" y="60"/>
                  </a:lnTo>
                  <a:lnTo>
                    <a:pt x="416" y="51"/>
                  </a:lnTo>
                  <a:lnTo>
                    <a:pt x="388" y="43"/>
                  </a:lnTo>
                  <a:lnTo>
                    <a:pt x="358"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27">
              <a:extLst>
                <a:ext uri="{FF2B5EF4-FFF2-40B4-BE49-F238E27FC236}">
                  <a16:creationId xmlns:a16="http://schemas.microsoft.com/office/drawing/2014/main" id="{F4C59211-B9CA-4C25-B596-420C662AAD6E}"/>
                </a:ext>
              </a:extLst>
            </p:cNvPr>
            <p:cNvSpPr>
              <a:spLocks/>
            </p:cNvSpPr>
            <p:nvPr/>
          </p:nvSpPr>
          <p:spPr bwMode="auto">
            <a:xfrm>
              <a:off x="4233863" y="998538"/>
              <a:ext cx="223838" cy="163513"/>
            </a:xfrm>
            <a:custGeom>
              <a:avLst/>
              <a:gdLst>
                <a:gd name="T0" fmla="*/ 278 w 282"/>
                <a:gd name="T1" fmla="*/ 0 h 205"/>
                <a:gd name="T2" fmla="*/ 4 w 282"/>
                <a:gd name="T3" fmla="*/ 0 h 205"/>
                <a:gd name="T4" fmla="*/ 4 w 282"/>
                <a:gd name="T5" fmla="*/ 0 h 205"/>
                <a:gd name="T6" fmla="*/ 1 w 282"/>
                <a:gd name="T7" fmla="*/ 1 h 205"/>
                <a:gd name="T8" fmla="*/ 0 w 282"/>
                <a:gd name="T9" fmla="*/ 5 h 205"/>
                <a:gd name="T10" fmla="*/ 0 w 282"/>
                <a:gd name="T11" fmla="*/ 20 h 205"/>
                <a:gd name="T12" fmla="*/ 258 w 282"/>
                <a:gd name="T13" fmla="*/ 20 h 205"/>
                <a:gd name="T14" fmla="*/ 258 w 282"/>
                <a:gd name="T15" fmla="*/ 20 h 205"/>
                <a:gd name="T16" fmla="*/ 262 w 282"/>
                <a:gd name="T17" fmla="*/ 21 h 205"/>
                <a:gd name="T18" fmla="*/ 263 w 282"/>
                <a:gd name="T19" fmla="*/ 25 h 205"/>
                <a:gd name="T20" fmla="*/ 263 w 282"/>
                <a:gd name="T21" fmla="*/ 205 h 205"/>
                <a:gd name="T22" fmla="*/ 278 w 282"/>
                <a:gd name="T23" fmla="*/ 205 h 205"/>
                <a:gd name="T24" fmla="*/ 278 w 282"/>
                <a:gd name="T25" fmla="*/ 205 h 205"/>
                <a:gd name="T26" fmla="*/ 280 w 282"/>
                <a:gd name="T27" fmla="*/ 204 h 205"/>
                <a:gd name="T28" fmla="*/ 282 w 282"/>
                <a:gd name="T29" fmla="*/ 200 h 205"/>
                <a:gd name="T30" fmla="*/ 282 w 282"/>
                <a:gd name="T31" fmla="*/ 5 h 205"/>
                <a:gd name="T32" fmla="*/ 282 w 282"/>
                <a:gd name="T33" fmla="*/ 5 h 205"/>
                <a:gd name="T34" fmla="*/ 280 w 282"/>
                <a:gd name="T35" fmla="*/ 1 h 205"/>
                <a:gd name="T36" fmla="*/ 278 w 282"/>
                <a:gd name="T37" fmla="*/ 0 h 205"/>
                <a:gd name="T38" fmla="*/ 278 w 282"/>
                <a:gd name="T39"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2" h="205">
                  <a:moveTo>
                    <a:pt x="278" y="0"/>
                  </a:moveTo>
                  <a:lnTo>
                    <a:pt x="4" y="0"/>
                  </a:lnTo>
                  <a:lnTo>
                    <a:pt x="4" y="0"/>
                  </a:lnTo>
                  <a:lnTo>
                    <a:pt x="1" y="1"/>
                  </a:lnTo>
                  <a:lnTo>
                    <a:pt x="0" y="5"/>
                  </a:lnTo>
                  <a:lnTo>
                    <a:pt x="0" y="20"/>
                  </a:lnTo>
                  <a:lnTo>
                    <a:pt x="258" y="20"/>
                  </a:lnTo>
                  <a:lnTo>
                    <a:pt x="258" y="20"/>
                  </a:lnTo>
                  <a:lnTo>
                    <a:pt x="262" y="21"/>
                  </a:lnTo>
                  <a:lnTo>
                    <a:pt x="263" y="25"/>
                  </a:lnTo>
                  <a:lnTo>
                    <a:pt x="263" y="205"/>
                  </a:lnTo>
                  <a:lnTo>
                    <a:pt x="278" y="205"/>
                  </a:lnTo>
                  <a:lnTo>
                    <a:pt x="278" y="205"/>
                  </a:lnTo>
                  <a:lnTo>
                    <a:pt x="280" y="204"/>
                  </a:lnTo>
                  <a:lnTo>
                    <a:pt x="282" y="200"/>
                  </a:lnTo>
                  <a:lnTo>
                    <a:pt x="282" y="5"/>
                  </a:lnTo>
                  <a:lnTo>
                    <a:pt x="282" y="5"/>
                  </a:lnTo>
                  <a:lnTo>
                    <a:pt x="280" y="1"/>
                  </a:lnTo>
                  <a:lnTo>
                    <a:pt x="278" y="0"/>
                  </a:lnTo>
                  <a:lnTo>
                    <a:pt x="27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28">
              <a:extLst>
                <a:ext uri="{FF2B5EF4-FFF2-40B4-BE49-F238E27FC236}">
                  <a16:creationId xmlns:a16="http://schemas.microsoft.com/office/drawing/2014/main" id="{5527FF75-10C6-4520-8739-C42FF06D93C7}"/>
                </a:ext>
              </a:extLst>
            </p:cNvPr>
            <p:cNvSpPr>
              <a:spLocks noEditPoints="1"/>
            </p:cNvSpPr>
            <p:nvPr/>
          </p:nvSpPr>
          <p:spPr bwMode="auto">
            <a:xfrm>
              <a:off x="4241801" y="1054100"/>
              <a:ext cx="163513" cy="101600"/>
            </a:xfrm>
            <a:custGeom>
              <a:avLst/>
              <a:gdLst>
                <a:gd name="T0" fmla="*/ 167 w 206"/>
                <a:gd name="T1" fmla="*/ 128 h 128"/>
                <a:gd name="T2" fmla="*/ 168 w 206"/>
                <a:gd name="T3" fmla="*/ 120 h 128"/>
                <a:gd name="T4" fmla="*/ 173 w 206"/>
                <a:gd name="T5" fmla="*/ 107 h 128"/>
                <a:gd name="T6" fmla="*/ 184 w 206"/>
                <a:gd name="T7" fmla="*/ 97 h 128"/>
                <a:gd name="T8" fmla="*/ 198 w 206"/>
                <a:gd name="T9" fmla="*/ 90 h 128"/>
                <a:gd name="T10" fmla="*/ 206 w 206"/>
                <a:gd name="T11" fmla="*/ 39 h 128"/>
                <a:gd name="T12" fmla="*/ 198 w 206"/>
                <a:gd name="T13" fmla="*/ 38 h 128"/>
                <a:gd name="T14" fmla="*/ 184 w 206"/>
                <a:gd name="T15" fmla="*/ 31 h 128"/>
                <a:gd name="T16" fmla="*/ 173 w 206"/>
                <a:gd name="T17" fmla="*/ 22 h 128"/>
                <a:gd name="T18" fmla="*/ 168 w 206"/>
                <a:gd name="T19" fmla="*/ 9 h 128"/>
                <a:gd name="T20" fmla="*/ 39 w 206"/>
                <a:gd name="T21" fmla="*/ 0 h 128"/>
                <a:gd name="T22" fmla="*/ 38 w 206"/>
                <a:gd name="T23" fmla="*/ 9 h 128"/>
                <a:gd name="T24" fmla="*/ 31 w 206"/>
                <a:gd name="T25" fmla="*/ 22 h 128"/>
                <a:gd name="T26" fmla="*/ 22 w 206"/>
                <a:gd name="T27" fmla="*/ 31 h 128"/>
                <a:gd name="T28" fmla="*/ 8 w 206"/>
                <a:gd name="T29" fmla="*/ 38 h 128"/>
                <a:gd name="T30" fmla="*/ 0 w 206"/>
                <a:gd name="T31" fmla="*/ 84 h 128"/>
                <a:gd name="T32" fmla="*/ 8 w 206"/>
                <a:gd name="T33" fmla="*/ 85 h 128"/>
                <a:gd name="T34" fmla="*/ 22 w 206"/>
                <a:gd name="T35" fmla="*/ 93 h 128"/>
                <a:gd name="T36" fmla="*/ 31 w 206"/>
                <a:gd name="T37" fmla="*/ 105 h 128"/>
                <a:gd name="T38" fmla="*/ 38 w 206"/>
                <a:gd name="T39" fmla="*/ 120 h 128"/>
                <a:gd name="T40" fmla="*/ 39 w 206"/>
                <a:gd name="T41" fmla="*/ 128 h 128"/>
                <a:gd name="T42" fmla="*/ 102 w 206"/>
                <a:gd name="T43" fmla="*/ 30 h 128"/>
                <a:gd name="T44" fmla="*/ 116 w 206"/>
                <a:gd name="T45" fmla="*/ 33 h 128"/>
                <a:gd name="T46" fmla="*/ 126 w 206"/>
                <a:gd name="T47" fmla="*/ 39 h 128"/>
                <a:gd name="T48" fmla="*/ 134 w 206"/>
                <a:gd name="T49" fmla="*/ 50 h 128"/>
                <a:gd name="T50" fmla="*/ 137 w 206"/>
                <a:gd name="T51" fmla="*/ 64 h 128"/>
                <a:gd name="T52" fmla="*/ 136 w 206"/>
                <a:gd name="T53" fmla="*/ 70 h 128"/>
                <a:gd name="T54" fmla="*/ 130 w 206"/>
                <a:gd name="T55" fmla="*/ 84 h 128"/>
                <a:gd name="T56" fmla="*/ 122 w 206"/>
                <a:gd name="T57" fmla="*/ 92 h 128"/>
                <a:gd name="T58" fmla="*/ 109 w 206"/>
                <a:gd name="T59" fmla="*/ 97 h 128"/>
                <a:gd name="T60" fmla="*/ 102 w 206"/>
                <a:gd name="T61" fmla="*/ 99 h 128"/>
                <a:gd name="T62" fmla="*/ 89 w 206"/>
                <a:gd name="T63" fmla="*/ 96 h 128"/>
                <a:gd name="T64" fmla="*/ 78 w 206"/>
                <a:gd name="T65" fmla="*/ 88 h 128"/>
                <a:gd name="T66" fmla="*/ 71 w 206"/>
                <a:gd name="T67" fmla="*/ 77 h 128"/>
                <a:gd name="T68" fmla="*/ 69 w 206"/>
                <a:gd name="T69" fmla="*/ 64 h 128"/>
                <a:gd name="T70" fmla="*/ 69 w 206"/>
                <a:gd name="T71" fmla="*/ 57 h 128"/>
                <a:gd name="T72" fmla="*/ 74 w 206"/>
                <a:gd name="T73" fmla="*/ 45 h 128"/>
                <a:gd name="T74" fmla="*/ 83 w 206"/>
                <a:gd name="T75" fmla="*/ 35 h 128"/>
                <a:gd name="T76" fmla="*/ 96 w 206"/>
                <a:gd name="T77" fmla="*/ 30 h 128"/>
                <a:gd name="T78" fmla="*/ 102 w 206"/>
                <a:gd name="T79" fmla="*/ 3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6" h="128">
                  <a:moveTo>
                    <a:pt x="39" y="128"/>
                  </a:moveTo>
                  <a:lnTo>
                    <a:pt x="167" y="128"/>
                  </a:lnTo>
                  <a:lnTo>
                    <a:pt x="167" y="128"/>
                  </a:lnTo>
                  <a:lnTo>
                    <a:pt x="168" y="120"/>
                  </a:lnTo>
                  <a:lnTo>
                    <a:pt x="171" y="113"/>
                  </a:lnTo>
                  <a:lnTo>
                    <a:pt x="173" y="107"/>
                  </a:lnTo>
                  <a:lnTo>
                    <a:pt x="179" y="101"/>
                  </a:lnTo>
                  <a:lnTo>
                    <a:pt x="184" y="97"/>
                  </a:lnTo>
                  <a:lnTo>
                    <a:pt x="191" y="93"/>
                  </a:lnTo>
                  <a:lnTo>
                    <a:pt x="198" y="90"/>
                  </a:lnTo>
                  <a:lnTo>
                    <a:pt x="206" y="89"/>
                  </a:lnTo>
                  <a:lnTo>
                    <a:pt x="206" y="39"/>
                  </a:lnTo>
                  <a:lnTo>
                    <a:pt x="206" y="39"/>
                  </a:lnTo>
                  <a:lnTo>
                    <a:pt x="198" y="38"/>
                  </a:lnTo>
                  <a:lnTo>
                    <a:pt x="191" y="35"/>
                  </a:lnTo>
                  <a:lnTo>
                    <a:pt x="184" y="31"/>
                  </a:lnTo>
                  <a:lnTo>
                    <a:pt x="179" y="27"/>
                  </a:lnTo>
                  <a:lnTo>
                    <a:pt x="173" y="22"/>
                  </a:lnTo>
                  <a:lnTo>
                    <a:pt x="171" y="15"/>
                  </a:lnTo>
                  <a:lnTo>
                    <a:pt x="168" y="9"/>
                  </a:lnTo>
                  <a:lnTo>
                    <a:pt x="167" y="0"/>
                  </a:lnTo>
                  <a:lnTo>
                    <a:pt x="39" y="0"/>
                  </a:lnTo>
                  <a:lnTo>
                    <a:pt x="39" y="0"/>
                  </a:lnTo>
                  <a:lnTo>
                    <a:pt x="38" y="9"/>
                  </a:lnTo>
                  <a:lnTo>
                    <a:pt x="35" y="15"/>
                  </a:lnTo>
                  <a:lnTo>
                    <a:pt x="31" y="22"/>
                  </a:lnTo>
                  <a:lnTo>
                    <a:pt x="27" y="27"/>
                  </a:lnTo>
                  <a:lnTo>
                    <a:pt x="22" y="31"/>
                  </a:lnTo>
                  <a:lnTo>
                    <a:pt x="15" y="35"/>
                  </a:lnTo>
                  <a:lnTo>
                    <a:pt x="8" y="38"/>
                  </a:lnTo>
                  <a:lnTo>
                    <a:pt x="0" y="39"/>
                  </a:lnTo>
                  <a:lnTo>
                    <a:pt x="0" y="84"/>
                  </a:lnTo>
                  <a:lnTo>
                    <a:pt x="0" y="84"/>
                  </a:lnTo>
                  <a:lnTo>
                    <a:pt x="8" y="85"/>
                  </a:lnTo>
                  <a:lnTo>
                    <a:pt x="15" y="89"/>
                  </a:lnTo>
                  <a:lnTo>
                    <a:pt x="22" y="93"/>
                  </a:lnTo>
                  <a:lnTo>
                    <a:pt x="27" y="99"/>
                  </a:lnTo>
                  <a:lnTo>
                    <a:pt x="31" y="105"/>
                  </a:lnTo>
                  <a:lnTo>
                    <a:pt x="35" y="112"/>
                  </a:lnTo>
                  <a:lnTo>
                    <a:pt x="38" y="120"/>
                  </a:lnTo>
                  <a:lnTo>
                    <a:pt x="39" y="128"/>
                  </a:lnTo>
                  <a:lnTo>
                    <a:pt x="39" y="128"/>
                  </a:lnTo>
                  <a:close/>
                  <a:moveTo>
                    <a:pt x="102" y="30"/>
                  </a:moveTo>
                  <a:lnTo>
                    <a:pt x="102" y="30"/>
                  </a:lnTo>
                  <a:lnTo>
                    <a:pt x="109" y="30"/>
                  </a:lnTo>
                  <a:lnTo>
                    <a:pt x="116" y="33"/>
                  </a:lnTo>
                  <a:lnTo>
                    <a:pt x="122" y="35"/>
                  </a:lnTo>
                  <a:lnTo>
                    <a:pt x="126" y="39"/>
                  </a:lnTo>
                  <a:lnTo>
                    <a:pt x="130" y="45"/>
                  </a:lnTo>
                  <a:lnTo>
                    <a:pt x="134" y="50"/>
                  </a:lnTo>
                  <a:lnTo>
                    <a:pt x="136" y="57"/>
                  </a:lnTo>
                  <a:lnTo>
                    <a:pt x="137" y="64"/>
                  </a:lnTo>
                  <a:lnTo>
                    <a:pt x="137" y="64"/>
                  </a:lnTo>
                  <a:lnTo>
                    <a:pt x="136" y="70"/>
                  </a:lnTo>
                  <a:lnTo>
                    <a:pt x="134" y="77"/>
                  </a:lnTo>
                  <a:lnTo>
                    <a:pt x="130" y="84"/>
                  </a:lnTo>
                  <a:lnTo>
                    <a:pt x="126" y="88"/>
                  </a:lnTo>
                  <a:lnTo>
                    <a:pt x="122" y="92"/>
                  </a:lnTo>
                  <a:lnTo>
                    <a:pt x="116" y="96"/>
                  </a:lnTo>
                  <a:lnTo>
                    <a:pt x="109" y="97"/>
                  </a:lnTo>
                  <a:lnTo>
                    <a:pt x="102" y="99"/>
                  </a:lnTo>
                  <a:lnTo>
                    <a:pt x="102" y="99"/>
                  </a:lnTo>
                  <a:lnTo>
                    <a:pt x="96" y="97"/>
                  </a:lnTo>
                  <a:lnTo>
                    <a:pt x="89" y="96"/>
                  </a:lnTo>
                  <a:lnTo>
                    <a:pt x="83" y="92"/>
                  </a:lnTo>
                  <a:lnTo>
                    <a:pt x="78" y="88"/>
                  </a:lnTo>
                  <a:lnTo>
                    <a:pt x="74" y="84"/>
                  </a:lnTo>
                  <a:lnTo>
                    <a:pt x="71" y="77"/>
                  </a:lnTo>
                  <a:lnTo>
                    <a:pt x="69" y="70"/>
                  </a:lnTo>
                  <a:lnTo>
                    <a:pt x="69" y="64"/>
                  </a:lnTo>
                  <a:lnTo>
                    <a:pt x="69" y="64"/>
                  </a:lnTo>
                  <a:lnTo>
                    <a:pt x="69" y="57"/>
                  </a:lnTo>
                  <a:lnTo>
                    <a:pt x="71" y="50"/>
                  </a:lnTo>
                  <a:lnTo>
                    <a:pt x="74" y="45"/>
                  </a:lnTo>
                  <a:lnTo>
                    <a:pt x="78" y="39"/>
                  </a:lnTo>
                  <a:lnTo>
                    <a:pt x="83" y="35"/>
                  </a:lnTo>
                  <a:lnTo>
                    <a:pt x="89" y="33"/>
                  </a:lnTo>
                  <a:lnTo>
                    <a:pt x="96" y="30"/>
                  </a:lnTo>
                  <a:lnTo>
                    <a:pt x="102" y="30"/>
                  </a:lnTo>
                  <a:lnTo>
                    <a:pt x="102"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29">
              <a:extLst>
                <a:ext uri="{FF2B5EF4-FFF2-40B4-BE49-F238E27FC236}">
                  <a16:creationId xmlns:a16="http://schemas.microsoft.com/office/drawing/2014/main" id="{FD6867AA-79C3-4078-9990-E45CA7920B66}"/>
                </a:ext>
              </a:extLst>
            </p:cNvPr>
            <p:cNvSpPr>
              <a:spLocks noEditPoints="1"/>
            </p:cNvSpPr>
            <p:nvPr/>
          </p:nvSpPr>
          <p:spPr bwMode="auto">
            <a:xfrm>
              <a:off x="4211638" y="1022350"/>
              <a:ext cx="223838" cy="163513"/>
            </a:xfrm>
            <a:custGeom>
              <a:avLst/>
              <a:gdLst>
                <a:gd name="T0" fmla="*/ 278 w 284"/>
                <a:gd name="T1" fmla="*/ 205 h 205"/>
                <a:gd name="T2" fmla="*/ 284 w 284"/>
                <a:gd name="T3" fmla="*/ 200 h 205"/>
                <a:gd name="T4" fmla="*/ 284 w 284"/>
                <a:gd name="T5" fmla="*/ 5 h 205"/>
                <a:gd name="T6" fmla="*/ 278 w 284"/>
                <a:gd name="T7" fmla="*/ 0 h 205"/>
                <a:gd name="T8" fmla="*/ 6 w 284"/>
                <a:gd name="T9" fmla="*/ 0 h 205"/>
                <a:gd name="T10" fmla="*/ 0 w 284"/>
                <a:gd name="T11" fmla="*/ 5 h 205"/>
                <a:gd name="T12" fmla="*/ 0 w 284"/>
                <a:gd name="T13" fmla="*/ 200 h 205"/>
                <a:gd name="T14" fmla="*/ 6 w 284"/>
                <a:gd name="T15" fmla="*/ 205 h 205"/>
                <a:gd name="T16" fmla="*/ 30 w 284"/>
                <a:gd name="T17" fmla="*/ 73 h 205"/>
                <a:gd name="T18" fmla="*/ 31 w 284"/>
                <a:gd name="T19" fmla="*/ 69 h 205"/>
                <a:gd name="T20" fmla="*/ 34 w 284"/>
                <a:gd name="T21" fmla="*/ 68 h 205"/>
                <a:gd name="T22" fmla="*/ 49 w 284"/>
                <a:gd name="T23" fmla="*/ 65 h 205"/>
                <a:gd name="T24" fmla="*/ 59 w 284"/>
                <a:gd name="T25" fmla="*/ 59 h 205"/>
                <a:gd name="T26" fmla="*/ 66 w 284"/>
                <a:gd name="T27" fmla="*/ 48 h 205"/>
                <a:gd name="T28" fmla="*/ 69 w 284"/>
                <a:gd name="T29" fmla="*/ 34 h 205"/>
                <a:gd name="T30" fmla="*/ 70 w 284"/>
                <a:gd name="T31" fmla="*/ 30 h 205"/>
                <a:gd name="T32" fmla="*/ 210 w 284"/>
                <a:gd name="T33" fmla="*/ 29 h 205"/>
                <a:gd name="T34" fmla="*/ 214 w 284"/>
                <a:gd name="T35" fmla="*/ 30 h 205"/>
                <a:gd name="T36" fmla="*/ 215 w 284"/>
                <a:gd name="T37" fmla="*/ 34 h 205"/>
                <a:gd name="T38" fmla="*/ 218 w 284"/>
                <a:gd name="T39" fmla="*/ 48 h 205"/>
                <a:gd name="T40" fmla="*/ 225 w 284"/>
                <a:gd name="T41" fmla="*/ 59 h 205"/>
                <a:gd name="T42" fmla="*/ 235 w 284"/>
                <a:gd name="T43" fmla="*/ 65 h 205"/>
                <a:gd name="T44" fmla="*/ 249 w 284"/>
                <a:gd name="T45" fmla="*/ 68 h 205"/>
                <a:gd name="T46" fmla="*/ 253 w 284"/>
                <a:gd name="T47" fmla="*/ 69 h 205"/>
                <a:gd name="T48" fmla="*/ 254 w 284"/>
                <a:gd name="T49" fmla="*/ 131 h 205"/>
                <a:gd name="T50" fmla="*/ 253 w 284"/>
                <a:gd name="T51" fmla="*/ 135 h 205"/>
                <a:gd name="T52" fmla="*/ 249 w 284"/>
                <a:gd name="T53" fmla="*/ 137 h 205"/>
                <a:gd name="T54" fmla="*/ 235 w 284"/>
                <a:gd name="T55" fmla="*/ 139 h 205"/>
                <a:gd name="T56" fmla="*/ 225 w 284"/>
                <a:gd name="T57" fmla="*/ 146 h 205"/>
                <a:gd name="T58" fmla="*/ 218 w 284"/>
                <a:gd name="T59" fmla="*/ 157 h 205"/>
                <a:gd name="T60" fmla="*/ 215 w 284"/>
                <a:gd name="T61" fmla="*/ 170 h 205"/>
                <a:gd name="T62" fmla="*/ 214 w 284"/>
                <a:gd name="T63" fmla="*/ 174 h 205"/>
                <a:gd name="T64" fmla="*/ 74 w 284"/>
                <a:gd name="T65" fmla="*/ 175 h 205"/>
                <a:gd name="T66" fmla="*/ 70 w 284"/>
                <a:gd name="T67" fmla="*/ 174 h 205"/>
                <a:gd name="T68" fmla="*/ 69 w 284"/>
                <a:gd name="T69" fmla="*/ 170 h 205"/>
                <a:gd name="T70" fmla="*/ 66 w 284"/>
                <a:gd name="T71" fmla="*/ 157 h 205"/>
                <a:gd name="T72" fmla="*/ 59 w 284"/>
                <a:gd name="T73" fmla="*/ 145 h 205"/>
                <a:gd name="T74" fmla="*/ 49 w 284"/>
                <a:gd name="T75" fmla="*/ 135 h 205"/>
                <a:gd name="T76" fmla="*/ 34 w 284"/>
                <a:gd name="T77" fmla="*/ 131 h 205"/>
                <a:gd name="T78" fmla="*/ 31 w 284"/>
                <a:gd name="T79" fmla="*/ 130 h 205"/>
                <a:gd name="T80" fmla="*/ 30 w 284"/>
                <a:gd name="T81" fmla="*/ 73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4" h="205">
                  <a:moveTo>
                    <a:pt x="278" y="205"/>
                  </a:moveTo>
                  <a:lnTo>
                    <a:pt x="278" y="205"/>
                  </a:lnTo>
                  <a:lnTo>
                    <a:pt x="281" y="204"/>
                  </a:lnTo>
                  <a:lnTo>
                    <a:pt x="284" y="200"/>
                  </a:lnTo>
                  <a:lnTo>
                    <a:pt x="284" y="5"/>
                  </a:lnTo>
                  <a:lnTo>
                    <a:pt x="284" y="5"/>
                  </a:lnTo>
                  <a:lnTo>
                    <a:pt x="281" y="1"/>
                  </a:lnTo>
                  <a:lnTo>
                    <a:pt x="278" y="0"/>
                  </a:lnTo>
                  <a:lnTo>
                    <a:pt x="6" y="0"/>
                  </a:lnTo>
                  <a:lnTo>
                    <a:pt x="6" y="0"/>
                  </a:lnTo>
                  <a:lnTo>
                    <a:pt x="2" y="1"/>
                  </a:lnTo>
                  <a:lnTo>
                    <a:pt x="0" y="5"/>
                  </a:lnTo>
                  <a:lnTo>
                    <a:pt x="0" y="200"/>
                  </a:lnTo>
                  <a:lnTo>
                    <a:pt x="0" y="200"/>
                  </a:lnTo>
                  <a:lnTo>
                    <a:pt x="2" y="204"/>
                  </a:lnTo>
                  <a:lnTo>
                    <a:pt x="6" y="205"/>
                  </a:lnTo>
                  <a:lnTo>
                    <a:pt x="278" y="205"/>
                  </a:lnTo>
                  <a:close/>
                  <a:moveTo>
                    <a:pt x="30" y="73"/>
                  </a:moveTo>
                  <a:lnTo>
                    <a:pt x="30" y="73"/>
                  </a:lnTo>
                  <a:lnTo>
                    <a:pt x="31" y="69"/>
                  </a:lnTo>
                  <a:lnTo>
                    <a:pt x="34" y="68"/>
                  </a:lnTo>
                  <a:lnTo>
                    <a:pt x="34" y="68"/>
                  </a:lnTo>
                  <a:lnTo>
                    <a:pt x="42" y="67"/>
                  </a:lnTo>
                  <a:lnTo>
                    <a:pt x="49" y="65"/>
                  </a:lnTo>
                  <a:lnTo>
                    <a:pt x="54" y="63"/>
                  </a:lnTo>
                  <a:lnTo>
                    <a:pt x="59" y="59"/>
                  </a:lnTo>
                  <a:lnTo>
                    <a:pt x="63" y="53"/>
                  </a:lnTo>
                  <a:lnTo>
                    <a:pt x="66" y="48"/>
                  </a:lnTo>
                  <a:lnTo>
                    <a:pt x="67" y="41"/>
                  </a:lnTo>
                  <a:lnTo>
                    <a:pt x="69" y="34"/>
                  </a:lnTo>
                  <a:lnTo>
                    <a:pt x="69" y="34"/>
                  </a:lnTo>
                  <a:lnTo>
                    <a:pt x="70" y="30"/>
                  </a:lnTo>
                  <a:lnTo>
                    <a:pt x="74" y="29"/>
                  </a:lnTo>
                  <a:lnTo>
                    <a:pt x="210" y="29"/>
                  </a:lnTo>
                  <a:lnTo>
                    <a:pt x="210" y="29"/>
                  </a:lnTo>
                  <a:lnTo>
                    <a:pt x="214" y="30"/>
                  </a:lnTo>
                  <a:lnTo>
                    <a:pt x="215" y="34"/>
                  </a:lnTo>
                  <a:lnTo>
                    <a:pt x="215" y="34"/>
                  </a:lnTo>
                  <a:lnTo>
                    <a:pt x="215" y="41"/>
                  </a:lnTo>
                  <a:lnTo>
                    <a:pt x="218" y="48"/>
                  </a:lnTo>
                  <a:lnTo>
                    <a:pt x="220" y="53"/>
                  </a:lnTo>
                  <a:lnTo>
                    <a:pt x="225" y="59"/>
                  </a:lnTo>
                  <a:lnTo>
                    <a:pt x="230" y="63"/>
                  </a:lnTo>
                  <a:lnTo>
                    <a:pt x="235" y="65"/>
                  </a:lnTo>
                  <a:lnTo>
                    <a:pt x="242" y="67"/>
                  </a:lnTo>
                  <a:lnTo>
                    <a:pt x="249" y="68"/>
                  </a:lnTo>
                  <a:lnTo>
                    <a:pt x="249" y="68"/>
                  </a:lnTo>
                  <a:lnTo>
                    <a:pt x="253" y="69"/>
                  </a:lnTo>
                  <a:lnTo>
                    <a:pt x="254" y="73"/>
                  </a:lnTo>
                  <a:lnTo>
                    <a:pt x="254" y="131"/>
                  </a:lnTo>
                  <a:lnTo>
                    <a:pt x="254" y="131"/>
                  </a:lnTo>
                  <a:lnTo>
                    <a:pt x="253" y="135"/>
                  </a:lnTo>
                  <a:lnTo>
                    <a:pt x="249" y="137"/>
                  </a:lnTo>
                  <a:lnTo>
                    <a:pt x="249" y="137"/>
                  </a:lnTo>
                  <a:lnTo>
                    <a:pt x="242" y="137"/>
                  </a:lnTo>
                  <a:lnTo>
                    <a:pt x="235" y="139"/>
                  </a:lnTo>
                  <a:lnTo>
                    <a:pt x="230" y="142"/>
                  </a:lnTo>
                  <a:lnTo>
                    <a:pt x="225" y="146"/>
                  </a:lnTo>
                  <a:lnTo>
                    <a:pt x="220" y="151"/>
                  </a:lnTo>
                  <a:lnTo>
                    <a:pt x="218" y="157"/>
                  </a:lnTo>
                  <a:lnTo>
                    <a:pt x="215" y="163"/>
                  </a:lnTo>
                  <a:lnTo>
                    <a:pt x="215" y="170"/>
                  </a:lnTo>
                  <a:lnTo>
                    <a:pt x="215" y="170"/>
                  </a:lnTo>
                  <a:lnTo>
                    <a:pt x="214" y="174"/>
                  </a:lnTo>
                  <a:lnTo>
                    <a:pt x="210" y="175"/>
                  </a:lnTo>
                  <a:lnTo>
                    <a:pt x="74" y="175"/>
                  </a:lnTo>
                  <a:lnTo>
                    <a:pt x="74" y="175"/>
                  </a:lnTo>
                  <a:lnTo>
                    <a:pt x="70" y="174"/>
                  </a:lnTo>
                  <a:lnTo>
                    <a:pt x="69" y="170"/>
                  </a:lnTo>
                  <a:lnTo>
                    <a:pt x="69" y="170"/>
                  </a:lnTo>
                  <a:lnTo>
                    <a:pt x="67" y="163"/>
                  </a:lnTo>
                  <a:lnTo>
                    <a:pt x="66" y="157"/>
                  </a:lnTo>
                  <a:lnTo>
                    <a:pt x="63" y="150"/>
                  </a:lnTo>
                  <a:lnTo>
                    <a:pt x="59" y="145"/>
                  </a:lnTo>
                  <a:lnTo>
                    <a:pt x="54" y="139"/>
                  </a:lnTo>
                  <a:lnTo>
                    <a:pt x="49" y="135"/>
                  </a:lnTo>
                  <a:lnTo>
                    <a:pt x="42" y="132"/>
                  </a:lnTo>
                  <a:lnTo>
                    <a:pt x="34" y="131"/>
                  </a:lnTo>
                  <a:lnTo>
                    <a:pt x="34" y="131"/>
                  </a:lnTo>
                  <a:lnTo>
                    <a:pt x="31" y="130"/>
                  </a:lnTo>
                  <a:lnTo>
                    <a:pt x="30" y="127"/>
                  </a:lnTo>
                  <a:lnTo>
                    <a:pt x="30" y="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pic>
        <p:nvPicPr>
          <p:cNvPr id="50" name="Picture 49">
            <a:extLst>
              <a:ext uri="{FF2B5EF4-FFF2-40B4-BE49-F238E27FC236}">
                <a16:creationId xmlns:a16="http://schemas.microsoft.com/office/drawing/2014/main" id="{C3B73CF6-5766-4215-822F-95FAF3075B21}"/>
              </a:ext>
            </a:extLst>
          </p:cNvPr>
          <p:cNvPicPr>
            <a:picLocks noChangeAspect="1"/>
          </p:cNvPicPr>
          <p:nvPr/>
        </p:nvPicPr>
        <p:blipFill>
          <a:blip r:embed="rId8">
            <a:grayscl/>
            <a:extLst>
              <a:ext uri="{28A0092B-C50C-407E-A947-70E740481C1C}">
                <a14:useLocalDpi xmlns:a14="http://schemas.microsoft.com/office/drawing/2010/main" val="0"/>
              </a:ext>
            </a:extLst>
          </a:blip>
          <a:stretch>
            <a:fillRect/>
          </a:stretch>
        </p:blipFill>
        <p:spPr>
          <a:xfrm>
            <a:off x="4943606" y="5697996"/>
            <a:ext cx="1622270" cy="514380"/>
          </a:xfrm>
          <a:prstGeom prst="rect">
            <a:avLst/>
          </a:prstGeom>
        </p:spPr>
      </p:pic>
    </p:spTree>
    <p:extLst>
      <p:ext uri="{BB962C8B-B14F-4D97-AF65-F5344CB8AC3E}">
        <p14:creationId xmlns:p14="http://schemas.microsoft.com/office/powerpoint/2010/main" val="2491910645"/>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A13144E-9ECB-42C2-8B78-B9B61F821FF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3956" name="think-cell Slide" r:id="rId6" imgW="415" imgH="416" progId="TCLayout.ActiveDocument.1">
                  <p:embed/>
                </p:oleObj>
              </mc:Choice>
              <mc:Fallback>
                <p:oleObj name="think-cell Slide" r:id="rId6" imgW="415" imgH="416" progId="TCLayout.ActiveDocument.1">
                  <p:embed/>
                  <p:pic>
                    <p:nvPicPr>
                      <p:cNvPr id="7" name="Object 6" hidden="1">
                        <a:extLst>
                          <a:ext uri="{FF2B5EF4-FFF2-40B4-BE49-F238E27FC236}">
                            <a16:creationId xmlns:a16="http://schemas.microsoft.com/office/drawing/2014/main" id="{1A13144E-9ECB-42C2-8B78-B9B61F821FF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A1451A6-044B-459B-AF0E-8F7775B7CED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06E25920-4013-4C07-AAE9-4AC2EA939AEE}"/>
              </a:ext>
            </a:extLst>
          </p:cNvPr>
          <p:cNvSpPr>
            <a:spLocks noGrp="1"/>
          </p:cNvSpPr>
          <p:nvPr>
            <p:ph type="title"/>
          </p:nvPr>
        </p:nvSpPr>
        <p:spPr/>
        <p:txBody>
          <a:bodyPr/>
          <a:lstStyle/>
          <a:p>
            <a:r>
              <a:rPr lang="en-US" spc="0" dirty="0">
                <a:solidFill>
                  <a:srgbClr val="000000"/>
                </a:solidFill>
                <a:cs typeface="Frutiger Next Pro Medium"/>
              </a:rPr>
              <a:t>Multi-national Consumer Packaged Goods</a:t>
            </a:r>
            <a:endParaRPr lang="en-US" dirty="0"/>
          </a:p>
        </p:txBody>
      </p:sp>
      <p:pic>
        <p:nvPicPr>
          <p:cNvPr id="16" name="Picture Placeholder 15">
            <a:extLst>
              <a:ext uri="{FF2B5EF4-FFF2-40B4-BE49-F238E27FC236}">
                <a16:creationId xmlns:a16="http://schemas.microsoft.com/office/drawing/2014/main" id="{628B4172-055D-4034-BDEB-245AB9157278}"/>
              </a:ext>
            </a:extLst>
          </p:cNvPr>
          <p:cNvPicPr>
            <a:picLocks noGrp="1" noChangeAspect="1"/>
          </p:cNvPicPr>
          <p:nvPr>
            <p:ph type="pic" sz="quarter" idx="10"/>
          </p:nvPr>
        </p:nvPicPr>
        <p:blipFill>
          <a:blip r:embed="rId8">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6F1FBB4A-E233-4C36-8E13-511BC8CA9B9E}"/>
              </a:ext>
            </a:extLst>
          </p:cNvPr>
          <p:cNvSpPr>
            <a:spLocks noGrp="1"/>
          </p:cNvSpPr>
          <p:nvPr>
            <p:ph type="body" sz="quarter" idx="11"/>
          </p:nvPr>
        </p:nvSpPr>
        <p:spPr/>
        <p:txBody>
          <a:bodyPr/>
          <a:lstStyle/>
          <a:p>
            <a:r>
              <a:rPr lang="en-US" spc="0" dirty="0">
                <a:solidFill>
                  <a:srgbClr val="000000"/>
                </a:solidFill>
                <a:cs typeface="Frutiger Next Pro Medium"/>
              </a:rPr>
              <a:t>Digital Transformation focused on leveraging consumer data</a:t>
            </a:r>
          </a:p>
        </p:txBody>
      </p:sp>
      <p:sp>
        <p:nvSpPr>
          <p:cNvPr id="3" name="Text Placeholder 2">
            <a:extLst>
              <a:ext uri="{FF2B5EF4-FFF2-40B4-BE49-F238E27FC236}">
                <a16:creationId xmlns:a16="http://schemas.microsoft.com/office/drawing/2014/main" id="{817BD8ED-B9D2-4FF3-B24F-328DA6481131}"/>
              </a:ext>
            </a:extLst>
          </p:cNvPr>
          <p:cNvSpPr>
            <a:spLocks noGrp="1"/>
          </p:cNvSpPr>
          <p:nvPr>
            <p:ph type="body" sz="quarter" idx="15"/>
          </p:nvPr>
        </p:nvSpPr>
        <p:spPr/>
        <p:txBody>
          <a:bodyPr/>
          <a:lstStyle/>
          <a:p>
            <a:r>
              <a:rPr lang="en-US" dirty="0"/>
              <a:t>Case study &amp; </a:t>
            </a:r>
            <a:r>
              <a:rPr lang="en-US" dirty="0" err="1"/>
              <a:t>qual</a:t>
            </a:r>
            <a:endParaRPr lang="en-US" dirty="0"/>
          </a:p>
        </p:txBody>
      </p:sp>
      <p:sp>
        <p:nvSpPr>
          <p:cNvPr id="8" name="Text Placeholder 42">
            <a:extLst>
              <a:ext uri="{FF2B5EF4-FFF2-40B4-BE49-F238E27FC236}">
                <a16:creationId xmlns:a16="http://schemas.microsoft.com/office/drawing/2014/main" id="{F7983547-937E-4741-9EA3-EBD3180F5C9F}"/>
              </a:ext>
            </a:extLst>
          </p:cNvPr>
          <p:cNvSpPr txBox="1">
            <a:spLocks/>
          </p:cNvSpPr>
          <p:nvPr/>
        </p:nvSpPr>
        <p:spPr>
          <a:xfrm>
            <a:off x="5402318" y="2062302"/>
            <a:ext cx="3462337" cy="194733"/>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Clr>
                <a:schemeClr val="accent5"/>
              </a:buClr>
              <a:buSzPct val="75000"/>
              <a:buFontTx/>
              <a:buNone/>
              <a:defRPr lang="en-US" sz="1200" kern="1200" spc="-30" dirty="0">
                <a:solidFill>
                  <a:srgbClr val="92D400"/>
                </a:solidFill>
                <a:latin typeface="Frutiger Next Pro Medium"/>
                <a:ea typeface="Open Sans" charset="0"/>
                <a:cs typeface="Frutiger Next Pro Medium"/>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1000"/>
              </a:spcBef>
              <a:spcAft>
                <a:spcPts val="0"/>
              </a:spcAft>
              <a:buClr>
                <a:srgbClr val="787878"/>
              </a:buClr>
              <a:buSzPct val="75000"/>
              <a:buFontTx/>
              <a:buNone/>
              <a:tabLst/>
              <a:defRPr/>
            </a:pPr>
            <a:r>
              <a:rPr kumimoji="0" lang="en-US" sz="900" b="1" i="0" u="none" strike="noStrike" kern="1200" cap="none" spc="300" normalizeH="0" baseline="0" noProof="0">
                <a:ln>
                  <a:noFill/>
                </a:ln>
                <a:solidFill>
                  <a:srgbClr val="000000"/>
                </a:solidFill>
                <a:effectLst/>
                <a:uLnTx/>
                <a:uFillTx/>
                <a:latin typeface="Open Sans"/>
                <a:ea typeface="Open Sans" charset="0"/>
              </a:rPr>
              <a:t>ISSUE</a:t>
            </a:r>
          </a:p>
        </p:txBody>
      </p:sp>
      <p:sp>
        <p:nvSpPr>
          <p:cNvPr id="9" name="Content Placeholder 43">
            <a:extLst>
              <a:ext uri="{FF2B5EF4-FFF2-40B4-BE49-F238E27FC236}">
                <a16:creationId xmlns:a16="http://schemas.microsoft.com/office/drawing/2014/main" id="{328AB00E-26F6-49E4-BA6B-FD8D6344A429}"/>
              </a:ext>
            </a:extLst>
          </p:cNvPr>
          <p:cNvSpPr txBox="1">
            <a:spLocks/>
          </p:cNvSpPr>
          <p:nvPr/>
        </p:nvSpPr>
        <p:spPr>
          <a:xfrm>
            <a:off x="5402318" y="2271198"/>
            <a:ext cx="5751457" cy="1015999"/>
          </a:xfrm>
          <a:prstGeom prst="rect">
            <a:avLst/>
          </a:prstGeom>
        </p:spPr>
        <p:txBody>
          <a:bodyPr vert="horz" lIns="0" tIns="0" rIns="0" bIns="0" rtlCol="0">
            <a:noAutofit/>
          </a:bodyPr>
          <a:lstStyle>
            <a:lvl1pPr marL="0" indent="0" algn="l" defTabSz="914400" rtl="0" eaLnBrk="1" latinLnBrk="0" hangingPunct="1">
              <a:lnSpc>
                <a:spcPct val="120000"/>
              </a:lnSpc>
              <a:spcBef>
                <a:spcPts val="1000"/>
              </a:spcBef>
              <a:buClr>
                <a:schemeClr val="accent5"/>
              </a:buClr>
              <a:buSzPct val="75000"/>
              <a:buFont typeface="Arial" panose="020B0604020202020204" pitchFamily="34" charset="0"/>
              <a:buNone/>
              <a:defRPr lang="en-US" sz="800" b="0" i="0" kern="1200" spc="-30" dirty="0" err="1" smtClean="0">
                <a:solidFill>
                  <a:schemeClr val="bg1"/>
                </a:solidFill>
                <a:latin typeface="Frutiger Next Pro Light"/>
                <a:ea typeface="+mn-ea"/>
                <a:cs typeface="Frutiger Next Pro Light"/>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20000"/>
              </a:lnSpc>
              <a:spcBef>
                <a:spcPts val="1000"/>
              </a:spcBef>
              <a:spcAft>
                <a:spcPts val="272"/>
              </a:spcAft>
              <a:buClr>
                <a:srgbClr val="787878"/>
              </a:buClr>
              <a:buSzPct val="75000"/>
              <a:buFont typeface="Arial" panose="020B0604020202020204" pitchFamily="34" charset="0"/>
              <a:buNone/>
              <a:tabLst/>
              <a:defRPr/>
            </a:pPr>
            <a:r>
              <a:rPr kumimoji="0" lang="en-GB" sz="1000" b="0" i="0" u="none" strike="noStrike" kern="1200" cap="none" spc="-30" normalizeH="0" baseline="0" noProof="0" dirty="0">
                <a:ln>
                  <a:noFill/>
                </a:ln>
                <a:solidFill>
                  <a:srgbClr val="313131"/>
                </a:solidFill>
                <a:effectLst/>
                <a:uLnTx/>
                <a:uFillTx/>
                <a:latin typeface="Open Sans"/>
                <a:ea typeface="+mn-ea"/>
              </a:rPr>
              <a:t>A multi-national client has embarked on a Digital transformation program with the goal of  becoming a data driven marketing organization. Recognizing that the collection and use data is key to the success of this strategy, the organization needed to strengthen their capability in managing and leveraging Consumer Data to produce tangible ROI.</a:t>
            </a:r>
          </a:p>
        </p:txBody>
      </p:sp>
      <p:sp>
        <p:nvSpPr>
          <p:cNvPr id="10" name="Text Placeholder 44">
            <a:extLst>
              <a:ext uri="{FF2B5EF4-FFF2-40B4-BE49-F238E27FC236}">
                <a16:creationId xmlns:a16="http://schemas.microsoft.com/office/drawing/2014/main" id="{E698BA2F-815D-4A5C-8E6A-1E599D330E46}"/>
              </a:ext>
            </a:extLst>
          </p:cNvPr>
          <p:cNvSpPr txBox="1">
            <a:spLocks/>
          </p:cNvSpPr>
          <p:nvPr/>
        </p:nvSpPr>
        <p:spPr>
          <a:xfrm>
            <a:off x="5402318" y="3199557"/>
            <a:ext cx="3462337" cy="194733"/>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Clr>
                <a:schemeClr val="accent5"/>
              </a:buClr>
              <a:buSzPct val="75000"/>
              <a:buFontTx/>
              <a:buNone/>
              <a:defRPr lang="en-US" sz="1200" kern="1200" spc="-30" dirty="0">
                <a:solidFill>
                  <a:srgbClr val="92D400"/>
                </a:solidFill>
                <a:latin typeface="Frutiger Next Pro Medium"/>
                <a:ea typeface="Open Sans" charset="0"/>
                <a:cs typeface="Frutiger Next Pro Medium"/>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1000"/>
              </a:spcBef>
              <a:spcAft>
                <a:spcPts val="0"/>
              </a:spcAft>
              <a:buClr>
                <a:srgbClr val="787878"/>
              </a:buClr>
              <a:buSzPct val="75000"/>
              <a:buFontTx/>
              <a:buNone/>
              <a:tabLst/>
              <a:defRPr/>
            </a:pPr>
            <a:r>
              <a:rPr kumimoji="0" lang="en-US" sz="900" b="1" i="0" u="none" strike="noStrike" kern="1200" cap="none" spc="300" normalizeH="0" baseline="0" noProof="0" dirty="0">
                <a:ln>
                  <a:noFill/>
                </a:ln>
                <a:solidFill>
                  <a:srgbClr val="000000"/>
                </a:solidFill>
                <a:effectLst/>
                <a:uLnTx/>
                <a:uFillTx/>
                <a:latin typeface="Open Sans"/>
                <a:ea typeface="Open Sans" charset="0"/>
              </a:rPr>
              <a:t>SOLUTION</a:t>
            </a:r>
          </a:p>
        </p:txBody>
      </p:sp>
      <p:sp>
        <p:nvSpPr>
          <p:cNvPr id="11" name="Content Placeholder 45">
            <a:extLst>
              <a:ext uri="{FF2B5EF4-FFF2-40B4-BE49-F238E27FC236}">
                <a16:creationId xmlns:a16="http://schemas.microsoft.com/office/drawing/2014/main" id="{8DD6D8FD-787B-4CFD-B765-7EAC159021EE}"/>
              </a:ext>
            </a:extLst>
          </p:cNvPr>
          <p:cNvSpPr txBox="1">
            <a:spLocks/>
          </p:cNvSpPr>
          <p:nvPr/>
        </p:nvSpPr>
        <p:spPr>
          <a:xfrm>
            <a:off x="5402318" y="3402757"/>
            <a:ext cx="5751457" cy="1015999"/>
          </a:xfrm>
          <a:prstGeom prst="rect">
            <a:avLst/>
          </a:prstGeom>
        </p:spPr>
        <p:txBody>
          <a:bodyPr vert="horz" lIns="0" tIns="0" rIns="0" bIns="0" rtlCol="0">
            <a:noAutofit/>
          </a:bodyPr>
          <a:lstStyle>
            <a:lvl1pPr marL="0" indent="0" algn="l" defTabSz="914400" rtl="0" eaLnBrk="1" latinLnBrk="0" hangingPunct="1">
              <a:lnSpc>
                <a:spcPct val="120000"/>
              </a:lnSpc>
              <a:spcBef>
                <a:spcPts val="1000"/>
              </a:spcBef>
              <a:buClr>
                <a:schemeClr val="accent5"/>
              </a:buClr>
              <a:buSzPct val="75000"/>
              <a:buFont typeface="Arial" panose="020B0604020202020204" pitchFamily="34" charset="0"/>
              <a:buNone/>
              <a:defRPr lang="en-US" sz="800" b="0" i="0" kern="1200" spc="-30" dirty="0" err="1" smtClean="0">
                <a:solidFill>
                  <a:schemeClr val="bg1"/>
                </a:solidFill>
                <a:latin typeface="Frutiger Next Pro Light"/>
                <a:ea typeface="+mn-ea"/>
                <a:cs typeface="Frutiger Next Pro Light"/>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20000"/>
              </a:lnSpc>
              <a:spcBef>
                <a:spcPts val="1000"/>
              </a:spcBef>
              <a:spcAft>
                <a:spcPts val="272"/>
              </a:spcAft>
              <a:buClr>
                <a:srgbClr val="787878"/>
              </a:buClr>
              <a:buSzPct val="75000"/>
              <a:buFont typeface="Arial" panose="020B0604020202020204" pitchFamily="34" charset="0"/>
              <a:buNone/>
              <a:tabLst/>
              <a:defRPr/>
            </a:pPr>
            <a:r>
              <a:rPr kumimoji="0" lang="en-GB" sz="1000" b="0" i="0" u="none" strike="noStrike" kern="1200" cap="none" spc="-30" normalizeH="0" baseline="0" noProof="0" dirty="0">
                <a:ln>
                  <a:noFill/>
                </a:ln>
                <a:solidFill>
                  <a:srgbClr val="313131"/>
                </a:solidFill>
                <a:effectLst/>
                <a:uLnTx/>
                <a:uFillTx/>
                <a:latin typeface="Open Sans"/>
                <a:ea typeface="+mn-ea"/>
              </a:rPr>
              <a:t>Deloitte was engaged to provide structure to the complex transformational program and implement a clear process to allow for clarity and progress across a cross-functional digital transformation. </a:t>
            </a:r>
            <a:r>
              <a:rPr kumimoji="0" lang="en-US" sz="1000" b="0" i="0" u="none" strike="noStrike" kern="1200" cap="none" spc="-30" normalizeH="0" baseline="0" noProof="0" dirty="0">
                <a:ln>
                  <a:noFill/>
                </a:ln>
                <a:solidFill>
                  <a:srgbClr val="313131"/>
                </a:solidFill>
                <a:effectLst/>
                <a:uLnTx/>
                <a:uFillTx/>
                <a:latin typeface="Open Sans"/>
                <a:ea typeface="+mn-ea"/>
              </a:rPr>
              <a:t>The team used a phased and agile approach to create an environment for the usage and a strategy around how to collect, analyze, and leverage 1</a:t>
            </a:r>
            <a:r>
              <a:rPr kumimoji="0" lang="en-US" sz="1000" b="0" i="0" u="none" strike="noStrike" kern="1200" cap="none" spc="-30" normalizeH="0" baseline="30000" noProof="0" dirty="0">
                <a:ln>
                  <a:noFill/>
                </a:ln>
                <a:solidFill>
                  <a:srgbClr val="313131"/>
                </a:solidFill>
                <a:effectLst/>
                <a:uLnTx/>
                <a:uFillTx/>
                <a:latin typeface="Open Sans"/>
                <a:ea typeface="+mn-ea"/>
              </a:rPr>
              <a:t>st</a:t>
            </a:r>
            <a:r>
              <a:rPr kumimoji="0" lang="en-US" sz="1000" b="0" i="0" u="none" strike="noStrike" kern="1200" cap="none" spc="-30" normalizeH="0" baseline="0" noProof="0" dirty="0">
                <a:ln>
                  <a:noFill/>
                </a:ln>
                <a:solidFill>
                  <a:srgbClr val="313131"/>
                </a:solidFill>
                <a:effectLst/>
                <a:uLnTx/>
                <a:uFillTx/>
                <a:latin typeface="Open Sans"/>
                <a:ea typeface="+mn-ea"/>
              </a:rPr>
              <a:t> party data for a CPG business:  identifying, assessing and supporting the implementation of a capability and processes. </a:t>
            </a:r>
            <a:r>
              <a:rPr kumimoji="0" lang="en-GB" sz="1000" b="0" i="0" u="none" strike="noStrike" kern="1200" cap="none" spc="-30" normalizeH="0" baseline="0" noProof="0" dirty="0">
                <a:ln>
                  <a:noFill/>
                </a:ln>
                <a:solidFill>
                  <a:srgbClr val="313131"/>
                </a:solidFill>
                <a:effectLst/>
                <a:uLnTx/>
                <a:uFillTx/>
                <a:latin typeface="Open Sans"/>
                <a:ea typeface="+mn-ea"/>
              </a:rPr>
              <a:t>Deloitte worked closely with the client to define the way Consumer data is collected, used to test for insights and value capture, and how it can be leveraged for marketing innovation and efficiency leading to a more meaningful direct consumer relationship for both communications and commerce </a:t>
            </a:r>
            <a:r>
              <a:rPr kumimoji="0" lang="en-US" sz="1000" b="0" i="0" u="none" strike="noStrike" kern="1200" cap="none" spc="-30" normalizeH="0" baseline="0" noProof="0" dirty="0">
                <a:ln>
                  <a:noFill/>
                </a:ln>
                <a:solidFill>
                  <a:srgbClr val="313131"/>
                </a:solidFill>
                <a:effectLst/>
                <a:uLnTx/>
                <a:uFillTx/>
                <a:latin typeface="Open Sans"/>
                <a:ea typeface="+mn-ea"/>
              </a:rPr>
              <a:t>realization over time.</a:t>
            </a:r>
          </a:p>
        </p:txBody>
      </p:sp>
      <p:sp>
        <p:nvSpPr>
          <p:cNvPr id="12" name="Text Placeholder 46">
            <a:extLst>
              <a:ext uri="{FF2B5EF4-FFF2-40B4-BE49-F238E27FC236}">
                <a16:creationId xmlns:a16="http://schemas.microsoft.com/office/drawing/2014/main" id="{CECD6E54-61FF-48A1-98BD-584B76EBC172}"/>
              </a:ext>
            </a:extLst>
          </p:cNvPr>
          <p:cNvSpPr txBox="1">
            <a:spLocks/>
          </p:cNvSpPr>
          <p:nvPr/>
        </p:nvSpPr>
        <p:spPr>
          <a:xfrm>
            <a:off x="5402318" y="5079030"/>
            <a:ext cx="3462337" cy="194733"/>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Clr>
                <a:schemeClr val="accent5"/>
              </a:buClr>
              <a:buSzPct val="75000"/>
              <a:buFontTx/>
              <a:buNone/>
              <a:defRPr lang="en-US" sz="1200" kern="1200" spc="-30" dirty="0">
                <a:solidFill>
                  <a:srgbClr val="92D400"/>
                </a:solidFill>
                <a:latin typeface="Frutiger Next Pro Medium"/>
                <a:ea typeface="Open Sans" charset="0"/>
                <a:cs typeface="Frutiger Next Pro Medium"/>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1000"/>
              </a:spcBef>
              <a:spcAft>
                <a:spcPts val="0"/>
              </a:spcAft>
              <a:buClr>
                <a:srgbClr val="787878"/>
              </a:buClr>
              <a:buSzPct val="75000"/>
              <a:buFontTx/>
              <a:buNone/>
              <a:tabLst/>
              <a:defRPr/>
            </a:pPr>
            <a:r>
              <a:rPr kumimoji="0" lang="en-US" sz="900" b="1" i="0" u="none" strike="noStrike" kern="1200" cap="none" spc="300" normalizeH="0" baseline="0" noProof="0" dirty="0">
                <a:ln>
                  <a:noFill/>
                </a:ln>
                <a:solidFill>
                  <a:srgbClr val="000000"/>
                </a:solidFill>
                <a:effectLst/>
                <a:uLnTx/>
                <a:uFillTx/>
                <a:latin typeface="Open Sans"/>
                <a:ea typeface="Open Sans" charset="0"/>
              </a:rPr>
              <a:t>IMPACT</a:t>
            </a:r>
          </a:p>
        </p:txBody>
      </p:sp>
      <p:sp>
        <p:nvSpPr>
          <p:cNvPr id="13" name="Content Placeholder 47">
            <a:extLst>
              <a:ext uri="{FF2B5EF4-FFF2-40B4-BE49-F238E27FC236}">
                <a16:creationId xmlns:a16="http://schemas.microsoft.com/office/drawing/2014/main" id="{B20297F9-4744-4090-B45F-A6B4D9A4C4D1}"/>
              </a:ext>
            </a:extLst>
          </p:cNvPr>
          <p:cNvSpPr txBox="1">
            <a:spLocks/>
          </p:cNvSpPr>
          <p:nvPr/>
        </p:nvSpPr>
        <p:spPr>
          <a:xfrm>
            <a:off x="5402318" y="5271489"/>
            <a:ext cx="5751457" cy="1298643"/>
          </a:xfrm>
          <a:prstGeom prst="rect">
            <a:avLst/>
          </a:prstGeom>
        </p:spPr>
        <p:txBody>
          <a:bodyPr vert="horz" lIns="0" tIns="0" rIns="0" bIns="0" rtlCol="0">
            <a:noAutofit/>
          </a:bodyPr>
          <a:lstStyle>
            <a:lvl1pPr marL="0" indent="0" algn="l" defTabSz="914400" rtl="0" eaLnBrk="1" latinLnBrk="0" hangingPunct="1">
              <a:lnSpc>
                <a:spcPct val="120000"/>
              </a:lnSpc>
              <a:spcBef>
                <a:spcPts val="1000"/>
              </a:spcBef>
              <a:buClr>
                <a:schemeClr val="accent5"/>
              </a:buClr>
              <a:buSzPct val="75000"/>
              <a:buFont typeface="Arial" panose="020B0604020202020204" pitchFamily="34" charset="0"/>
              <a:buNone/>
              <a:defRPr lang="en-US" sz="800" b="0" i="0" kern="1200" spc="-30" dirty="0" err="1" smtClean="0">
                <a:solidFill>
                  <a:schemeClr val="bg1"/>
                </a:solidFill>
                <a:latin typeface="Frutiger Next Pro Light"/>
                <a:ea typeface="+mn-ea"/>
                <a:cs typeface="Frutiger Next Pro Light"/>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20000"/>
              </a:lnSpc>
              <a:spcBef>
                <a:spcPts val="1000"/>
              </a:spcBef>
              <a:spcAft>
                <a:spcPts val="272"/>
              </a:spcAft>
              <a:buClr>
                <a:srgbClr val="787878"/>
              </a:buClr>
              <a:buSzPct val="75000"/>
              <a:buFont typeface="Arial" panose="020B0604020202020204" pitchFamily="34" charset="0"/>
              <a:buNone/>
              <a:tabLst/>
              <a:defRPr/>
            </a:pPr>
            <a:r>
              <a:rPr kumimoji="0" lang="en-US" sz="1000" b="0" i="0" u="none" strike="noStrike" kern="1200" cap="none" spc="-30" normalizeH="0" baseline="0" noProof="0" dirty="0">
                <a:ln>
                  <a:noFill/>
                </a:ln>
                <a:solidFill>
                  <a:srgbClr val="313131"/>
                </a:solidFill>
                <a:effectLst/>
                <a:uLnTx/>
                <a:uFillTx/>
                <a:latin typeface="Open Sans"/>
                <a:ea typeface="+mn-ea"/>
              </a:rPr>
              <a:t>Supported by a robust Consumer Data Governance capability, Deloitte developed a cross-business consumer data strategy that provided a consistent message for all markets and business groups, and an Evaluation Framework that intensified the level of rigor around the evaluation of digital marketing campaigns and ROI. After exploring external providers to accelerate the strategy to capture, analyze, and leverage data, Deloitte helped the client implement a unified marketing environment with the Adobe Cloud. This improved environment supported the global strategy through the build-out of personalized communications in defined test cases.</a:t>
            </a:r>
          </a:p>
        </p:txBody>
      </p:sp>
    </p:spTree>
    <p:extLst>
      <p:ext uri="{BB962C8B-B14F-4D97-AF65-F5344CB8AC3E}">
        <p14:creationId xmlns:p14="http://schemas.microsoft.com/office/powerpoint/2010/main" val="262125627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EF64B2E5-F3CD-4F89-808F-EDABEAFBEF18}"/>
              </a:ext>
            </a:extLst>
          </p:cNvPr>
          <p:cNvCxnSpPr>
            <a:cxnSpLocks/>
          </p:cNvCxnSpPr>
          <p:nvPr/>
        </p:nvCxnSpPr>
        <p:spPr>
          <a:xfrm>
            <a:off x="875523" y="3214487"/>
            <a:ext cx="3210212"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5C66A3A8-8F5E-4948-8053-75B898857B24}"/>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6104965" y="-1"/>
            <a:ext cx="6087035" cy="6858001"/>
          </a:xfrm>
          <a:prstGeom prst="rect">
            <a:avLst/>
          </a:prstGeom>
        </p:spPr>
      </p:pic>
      <p:cxnSp>
        <p:nvCxnSpPr>
          <p:cNvPr id="4" name="Straight Connector 3">
            <a:extLst>
              <a:ext uri="{FF2B5EF4-FFF2-40B4-BE49-F238E27FC236}">
                <a16:creationId xmlns:a16="http://schemas.microsoft.com/office/drawing/2014/main" id="{174818A4-7BD1-4A9B-BCAD-3778BCE8C23A}"/>
              </a:ext>
            </a:extLst>
          </p:cNvPr>
          <p:cNvCxnSpPr>
            <a:cxnSpLocks/>
          </p:cNvCxnSpPr>
          <p:nvPr/>
        </p:nvCxnSpPr>
        <p:spPr>
          <a:xfrm>
            <a:off x="888012" y="2772704"/>
            <a:ext cx="1983525"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Text Placeholder 2">
            <a:extLst>
              <a:ext uri="{FF2B5EF4-FFF2-40B4-BE49-F238E27FC236}">
                <a16:creationId xmlns:a16="http://schemas.microsoft.com/office/drawing/2014/main" id="{1B993F45-4720-4F9A-8211-10E3E07B03A9}"/>
              </a:ext>
            </a:extLst>
          </p:cNvPr>
          <p:cNvSpPr txBox="1">
            <a:spLocks/>
          </p:cNvSpPr>
          <p:nvPr/>
        </p:nvSpPr>
        <p:spPr>
          <a:xfrm>
            <a:off x="914399" y="1888619"/>
            <a:ext cx="4347412" cy="2720168"/>
          </a:xfrm>
          <a:prstGeom prst="rect">
            <a:avLst/>
          </a:prstGeom>
        </p:spPr>
        <p:txBody>
          <a:bodyPr wrap="square" lIns="0">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600"/>
              </a:spcBef>
              <a:spcAft>
                <a:spcPts val="0"/>
              </a:spcAft>
              <a:buClr>
                <a:srgbClr val="787878"/>
              </a:buClr>
              <a:buSzPct val="75000"/>
              <a:buFont typeface="Arial" panose="020B0604020202020204" pitchFamily="34" charset="0"/>
              <a:buNone/>
              <a:tabLst/>
              <a:defRPr/>
            </a:pPr>
            <a:r>
              <a:rPr kumimoji="0" lang="en-US" sz="2400" b="0" i="0" u="none" strike="noStrike" kern="1200" cap="none" spc="-30" normalizeH="0" baseline="0" noProof="0" dirty="0">
                <a:ln>
                  <a:noFill/>
                </a:ln>
                <a:solidFill>
                  <a:srgbClr val="000000"/>
                </a:solidFill>
                <a:effectLst/>
                <a:uLnTx/>
                <a:uFillTx/>
                <a:latin typeface="Open Sans Light" charset="0"/>
                <a:ea typeface="Open Sans Light" charset="0"/>
                <a:cs typeface="Open Sans Light" charset="0"/>
              </a:rPr>
              <a:t>How might we design a more </a:t>
            </a:r>
            <a:r>
              <a:rPr kumimoji="0" lang="en-US" sz="2400" b="1" i="0" u="none" strike="noStrike" kern="1200" cap="none" spc="-30" normalizeH="0" baseline="0" noProof="0" dirty="0">
                <a:ln>
                  <a:noFill/>
                </a:ln>
                <a:solidFill>
                  <a:srgbClr val="000000"/>
                </a:solidFill>
                <a:effectLst/>
                <a:uLnTx/>
                <a:uFillTx/>
                <a:latin typeface="Open Sans" charset="0"/>
                <a:ea typeface="Open Sans" charset="0"/>
                <a:cs typeface="Open Sans" charset="0"/>
              </a:rPr>
              <a:t>personalized</a:t>
            </a:r>
            <a:r>
              <a:rPr kumimoji="0" lang="en-US" sz="2400" b="0" i="0" u="none" strike="noStrike" kern="1200" cap="none" spc="-30" normalizeH="0" baseline="0" noProof="0" dirty="0">
                <a:ln>
                  <a:noFill/>
                </a:ln>
                <a:solidFill>
                  <a:srgbClr val="000000"/>
                </a:solidFill>
                <a:effectLst/>
                <a:uLnTx/>
                <a:uFillTx/>
                <a:latin typeface="Open Sans Light" charset="0"/>
                <a:ea typeface="Open Sans Light" charset="0"/>
                <a:cs typeface="Open Sans Light" charset="0"/>
              </a:rPr>
              <a:t>, 5-star </a:t>
            </a:r>
            <a:r>
              <a:rPr lang="en-US" sz="2400" dirty="0">
                <a:solidFill>
                  <a:srgbClr val="000000"/>
                </a:solidFill>
                <a:latin typeface="Open Sans Light" charset="0"/>
                <a:ea typeface="Open Sans Light" charset="0"/>
                <a:cs typeface="Open Sans Light" charset="0"/>
              </a:rPr>
              <a:t>airline</a:t>
            </a:r>
            <a:r>
              <a:rPr kumimoji="0" lang="en-US" sz="2400" b="0" i="0" u="none" strike="noStrike" kern="1200" cap="none" spc="-30" normalizeH="0" baseline="0" noProof="0" dirty="0">
                <a:ln>
                  <a:noFill/>
                </a:ln>
                <a:solidFill>
                  <a:srgbClr val="000000"/>
                </a:solidFill>
                <a:effectLst/>
                <a:uLnTx/>
                <a:uFillTx/>
                <a:latin typeface="Open Sans Light" charset="0"/>
                <a:ea typeface="Open Sans Light" charset="0"/>
                <a:cs typeface="Open Sans Light" charset="0"/>
              </a:rPr>
              <a:t> </a:t>
            </a:r>
            <a:r>
              <a:rPr kumimoji="0" lang="en-US" sz="2400" b="1" i="0" u="none" strike="noStrike" kern="1200" cap="none" spc="-30" normalizeH="0" baseline="0" noProof="0" dirty="0">
                <a:ln>
                  <a:noFill/>
                </a:ln>
                <a:solidFill>
                  <a:srgbClr val="000000"/>
                </a:solidFill>
                <a:effectLst/>
                <a:uLnTx/>
                <a:uFillTx/>
                <a:latin typeface="Open Sans" charset="0"/>
                <a:ea typeface="Open Sans" charset="0"/>
                <a:cs typeface="Open Sans" charset="0"/>
              </a:rPr>
              <a:t>customer experience </a:t>
            </a:r>
            <a:r>
              <a:rPr kumimoji="0" lang="en-US" sz="2400" b="0" i="0" u="none" strike="noStrike" kern="1200" cap="none" spc="-30" normalizeH="0" baseline="0" noProof="0" dirty="0">
                <a:ln>
                  <a:noFill/>
                </a:ln>
                <a:solidFill>
                  <a:srgbClr val="000000"/>
                </a:solidFill>
                <a:effectLst/>
                <a:uLnTx/>
                <a:uFillTx/>
                <a:latin typeface="Open Sans Light" charset="0"/>
                <a:ea typeface="Open Sans Light" charset="0"/>
                <a:cs typeface="Open Sans Light" charset="0"/>
              </a:rPr>
              <a:t>that increases the loyalty of “marginal customers” and their willingness to pay?</a:t>
            </a:r>
          </a:p>
        </p:txBody>
      </p:sp>
      <p:sp>
        <p:nvSpPr>
          <p:cNvPr id="6" name="Title 5">
            <a:extLst>
              <a:ext uri="{FF2B5EF4-FFF2-40B4-BE49-F238E27FC236}">
                <a16:creationId xmlns:a16="http://schemas.microsoft.com/office/drawing/2014/main" id="{A3E26A23-A6CD-4222-AE16-BC011191354A}"/>
              </a:ext>
            </a:extLst>
          </p:cNvPr>
          <p:cNvSpPr txBox="1">
            <a:spLocks/>
          </p:cNvSpPr>
          <p:nvPr/>
        </p:nvSpPr>
        <p:spPr>
          <a:xfrm>
            <a:off x="914400" y="694944"/>
            <a:ext cx="10363200" cy="594360"/>
          </a:xfrm>
          <a:prstGeom prst="rect">
            <a:avLst/>
          </a:prstGeom>
        </p:spPr>
        <p:txBody>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r>
              <a:rPr lang="en-US">
                <a:solidFill>
                  <a:schemeClr val="tx2"/>
                </a:solidFill>
              </a:rPr>
              <a:t>Aspiration</a:t>
            </a:r>
            <a:endParaRPr lang="en-US" dirty="0"/>
          </a:p>
        </p:txBody>
      </p:sp>
      <p:grpSp>
        <p:nvGrpSpPr>
          <p:cNvPr id="7" name="Group 6">
            <a:extLst>
              <a:ext uri="{FF2B5EF4-FFF2-40B4-BE49-F238E27FC236}">
                <a16:creationId xmlns:a16="http://schemas.microsoft.com/office/drawing/2014/main" id="{5CEFC111-39FA-4622-85E2-9FC697CFCFBE}"/>
              </a:ext>
            </a:extLst>
          </p:cNvPr>
          <p:cNvGrpSpPr/>
          <p:nvPr/>
        </p:nvGrpSpPr>
        <p:grpSpPr>
          <a:xfrm>
            <a:off x="0" y="0"/>
            <a:ext cx="12192000" cy="104172"/>
            <a:chOff x="0" y="0"/>
            <a:chExt cx="9815332" cy="138896"/>
          </a:xfrm>
          <a:solidFill>
            <a:schemeClr val="bg1">
              <a:lumMod val="95000"/>
            </a:schemeClr>
          </a:solidFill>
        </p:grpSpPr>
        <p:sp>
          <p:nvSpPr>
            <p:cNvPr id="8" name="Rectangle 7">
              <a:extLst>
                <a:ext uri="{FF2B5EF4-FFF2-40B4-BE49-F238E27FC236}">
                  <a16:creationId xmlns:a16="http://schemas.microsoft.com/office/drawing/2014/main" id="{BE6D444E-9160-4B45-BD39-B4383B9C5E20}"/>
                </a:ext>
              </a:extLst>
            </p:cNvPr>
            <p:cNvSpPr/>
            <p:nvPr/>
          </p:nvSpPr>
          <p:spPr>
            <a:xfrm>
              <a:off x="0" y="0"/>
              <a:ext cx="2453833" cy="1388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9" name="Rectangle 8">
              <a:extLst>
                <a:ext uri="{FF2B5EF4-FFF2-40B4-BE49-F238E27FC236}">
                  <a16:creationId xmlns:a16="http://schemas.microsoft.com/office/drawing/2014/main" id="{30E92B7F-C459-4ED8-936F-700045BA5E29}"/>
                </a:ext>
              </a:extLst>
            </p:cNvPr>
            <p:cNvSpPr/>
            <p:nvPr/>
          </p:nvSpPr>
          <p:spPr>
            <a:xfrm>
              <a:off x="2453833" y="0"/>
              <a:ext cx="2453833" cy="13889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B1F0B474-25A2-43A1-8567-91445305897F}"/>
                </a:ext>
              </a:extLst>
            </p:cNvPr>
            <p:cNvSpPr/>
            <p:nvPr/>
          </p:nvSpPr>
          <p:spPr>
            <a:xfrm>
              <a:off x="4907666" y="0"/>
              <a:ext cx="2453833" cy="13889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001DD4BC-D729-4D76-AE38-D80791FDAA82}"/>
                </a:ext>
              </a:extLst>
            </p:cNvPr>
            <p:cNvSpPr/>
            <p:nvPr/>
          </p:nvSpPr>
          <p:spPr>
            <a:xfrm>
              <a:off x="7361499" y="0"/>
              <a:ext cx="2453833" cy="13889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spTree>
    <p:extLst>
      <p:ext uri="{BB962C8B-B14F-4D97-AF65-F5344CB8AC3E}">
        <p14:creationId xmlns:p14="http://schemas.microsoft.com/office/powerpoint/2010/main" val="866457816"/>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8A88855-676A-46A7-893E-86D286E67CD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4980" name="think-cell Slide" r:id="rId6" imgW="415" imgH="416" progId="TCLayout.ActiveDocument.1">
                  <p:embed/>
                </p:oleObj>
              </mc:Choice>
              <mc:Fallback>
                <p:oleObj name="think-cell Slide" r:id="rId6" imgW="415" imgH="416" progId="TCLayout.ActiveDocument.1">
                  <p:embed/>
                  <p:pic>
                    <p:nvPicPr>
                      <p:cNvPr id="7" name="Object 6" hidden="1">
                        <a:extLst>
                          <a:ext uri="{FF2B5EF4-FFF2-40B4-BE49-F238E27FC236}">
                            <a16:creationId xmlns:a16="http://schemas.microsoft.com/office/drawing/2014/main" id="{18A88855-676A-46A7-893E-86D286E67C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23D93FB-4B37-4C5C-B5DC-4F5685EED58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CC90CD57-0992-4792-AE6C-76602E8E44F6}"/>
              </a:ext>
            </a:extLst>
          </p:cNvPr>
          <p:cNvSpPr>
            <a:spLocks noGrp="1"/>
          </p:cNvSpPr>
          <p:nvPr>
            <p:ph type="title"/>
          </p:nvPr>
        </p:nvSpPr>
        <p:spPr/>
        <p:txBody>
          <a:bodyPr/>
          <a:lstStyle/>
          <a:p>
            <a:r>
              <a:rPr lang="en-US" spc="0" dirty="0">
                <a:solidFill>
                  <a:srgbClr val="000000"/>
                </a:solidFill>
              </a:rPr>
              <a:t>Global pharmaceutical company </a:t>
            </a:r>
            <a:endParaRPr lang="en-US" dirty="0"/>
          </a:p>
        </p:txBody>
      </p:sp>
      <p:pic>
        <p:nvPicPr>
          <p:cNvPr id="36" name="Picture Placeholder 35">
            <a:extLst>
              <a:ext uri="{FF2B5EF4-FFF2-40B4-BE49-F238E27FC236}">
                <a16:creationId xmlns:a16="http://schemas.microsoft.com/office/drawing/2014/main" id="{84074D01-6DD2-4B44-8224-168C801C58B9}"/>
              </a:ext>
            </a:extLst>
          </p:cNvPr>
          <p:cNvPicPr>
            <a:picLocks noGrp="1" noChangeAspect="1"/>
          </p:cNvPicPr>
          <p:nvPr>
            <p:ph type="pic" sz="quarter" idx="10"/>
          </p:nvPr>
        </p:nvPicPr>
        <p:blipFill>
          <a:blip r:embed="rId8">
            <a:extLst>
              <a:ext uri="{28A0092B-C50C-407E-A947-70E740481C1C}">
                <a14:useLocalDpi xmlns:a14="http://schemas.microsoft.com/office/drawing/2010/main" val="0"/>
              </a:ext>
            </a:extLst>
          </a:blip>
          <a:srcRect/>
          <a:stretch>
            <a:fillRect/>
          </a:stretch>
        </p:blipFill>
        <p:spPr/>
      </p:pic>
      <p:sp>
        <p:nvSpPr>
          <p:cNvPr id="3" name="Text Placeholder 2">
            <a:extLst>
              <a:ext uri="{FF2B5EF4-FFF2-40B4-BE49-F238E27FC236}">
                <a16:creationId xmlns:a16="http://schemas.microsoft.com/office/drawing/2014/main" id="{54B3C7BF-DFA6-4BA5-A230-BCA0F3C47E7E}"/>
              </a:ext>
            </a:extLst>
          </p:cNvPr>
          <p:cNvSpPr>
            <a:spLocks noGrp="1"/>
          </p:cNvSpPr>
          <p:nvPr>
            <p:ph type="body" sz="quarter" idx="11"/>
          </p:nvPr>
        </p:nvSpPr>
        <p:spPr/>
        <p:txBody>
          <a:bodyPr/>
          <a:lstStyle/>
          <a:p>
            <a:r>
              <a:rPr lang="en-US" spc="0" dirty="0">
                <a:solidFill>
                  <a:srgbClr val="000000"/>
                </a:solidFill>
              </a:rPr>
              <a:t>Spend optimization</a:t>
            </a:r>
            <a:endParaRPr lang="en-US" dirty="0"/>
          </a:p>
        </p:txBody>
      </p:sp>
      <p:sp>
        <p:nvSpPr>
          <p:cNvPr id="4" name="Text Placeholder 3">
            <a:extLst>
              <a:ext uri="{FF2B5EF4-FFF2-40B4-BE49-F238E27FC236}">
                <a16:creationId xmlns:a16="http://schemas.microsoft.com/office/drawing/2014/main" id="{1E175C08-CB38-41F7-B086-37E26771A426}"/>
              </a:ext>
            </a:extLst>
          </p:cNvPr>
          <p:cNvSpPr>
            <a:spLocks noGrp="1"/>
          </p:cNvSpPr>
          <p:nvPr>
            <p:ph type="body" sz="quarter" idx="15"/>
          </p:nvPr>
        </p:nvSpPr>
        <p:spPr/>
        <p:txBody>
          <a:bodyPr/>
          <a:lstStyle/>
          <a:p>
            <a:r>
              <a:rPr lang="en-US" dirty="0"/>
              <a:t>Case study &amp; </a:t>
            </a:r>
            <a:r>
              <a:rPr lang="en-US" dirty="0" err="1"/>
              <a:t>qual</a:t>
            </a:r>
            <a:endParaRPr lang="en-US" dirty="0"/>
          </a:p>
        </p:txBody>
      </p:sp>
      <p:sp>
        <p:nvSpPr>
          <p:cNvPr id="8" name="Rectangle 7">
            <a:extLst>
              <a:ext uri="{FF2B5EF4-FFF2-40B4-BE49-F238E27FC236}">
                <a16:creationId xmlns:a16="http://schemas.microsoft.com/office/drawing/2014/main" id="{F394F4AA-9A82-48D1-ABE5-5D0B0A0612E8}"/>
              </a:ext>
            </a:extLst>
          </p:cNvPr>
          <p:cNvSpPr/>
          <p:nvPr/>
        </p:nvSpPr>
        <p:spPr>
          <a:xfrm>
            <a:off x="8430526" y="4530428"/>
            <a:ext cx="3944236" cy="207039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9" name="Content Placeholder 43">
            <a:extLst>
              <a:ext uri="{FF2B5EF4-FFF2-40B4-BE49-F238E27FC236}">
                <a16:creationId xmlns:a16="http://schemas.microsoft.com/office/drawing/2014/main" id="{1D51A3A7-7807-4799-A708-535ED2382F5E}"/>
              </a:ext>
            </a:extLst>
          </p:cNvPr>
          <p:cNvSpPr txBox="1">
            <a:spLocks/>
          </p:cNvSpPr>
          <p:nvPr/>
        </p:nvSpPr>
        <p:spPr>
          <a:xfrm>
            <a:off x="5397501" y="1930930"/>
            <a:ext cx="6137512" cy="539093"/>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US" sz="1000" b="0" i="0" u="none" strike="noStrike" kern="1200" cap="none" spc="-30" normalizeH="0" baseline="0" noProof="0" dirty="0">
                <a:ln>
                  <a:noFill/>
                </a:ln>
                <a:solidFill>
                  <a:srgbClr val="000000"/>
                </a:solidFill>
                <a:effectLst/>
                <a:uLnTx/>
                <a:uFillTx/>
                <a:latin typeface="Open Sans"/>
                <a:ea typeface="Open Sans" charset="0"/>
                <a:cs typeface="Open Sans" charset="0"/>
              </a:rPr>
              <a:t>Company sought to assess </a:t>
            </a:r>
            <a:r>
              <a:rPr kumimoji="0" lang="en-US" sz="1000" b="1" i="0" u="none" strike="noStrike" kern="1200" cap="none" spc="-30" normalizeH="0" baseline="0" noProof="0" dirty="0">
                <a:ln>
                  <a:noFill/>
                </a:ln>
                <a:solidFill>
                  <a:srgbClr val="000000"/>
                </a:solidFill>
                <a:effectLst/>
                <a:uLnTx/>
                <a:uFillTx/>
                <a:latin typeface="Open Sans"/>
                <a:ea typeface="Open Sans" charset="0"/>
                <a:cs typeface="Open Sans" charset="0"/>
              </a:rPr>
              <a:t>the strategic coherence </a:t>
            </a:r>
            <a:r>
              <a:rPr kumimoji="0" lang="en-US" sz="1000" b="0" i="0" u="none" strike="noStrike" kern="1200" cap="none" spc="-30" normalizeH="0" baseline="0" noProof="0" dirty="0">
                <a:ln>
                  <a:noFill/>
                </a:ln>
                <a:solidFill>
                  <a:srgbClr val="000000"/>
                </a:solidFill>
                <a:effectLst/>
                <a:uLnTx/>
                <a:uFillTx/>
                <a:latin typeface="Open Sans"/>
                <a:ea typeface="Open Sans" charset="0"/>
                <a:cs typeface="Open Sans" charset="0"/>
              </a:rPr>
              <a:t>of </a:t>
            </a:r>
            <a:r>
              <a:rPr kumimoji="0" lang="en-US" sz="1000" b="1" i="0" u="none" strike="noStrike" kern="1200" cap="none" spc="-30" normalizeH="0" baseline="0" noProof="0" dirty="0">
                <a:ln>
                  <a:noFill/>
                </a:ln>
                <a:solidFill>
                  <a:srgbClr val="000000"/>
                </a:solidFill>
                <a:effectLst/>
                <a:uLnTx/>
                <a:uFillTx/>
                <a:latin typeface="Open Sans"/>
                <a:ea typeface="Open Sans" charset="0"/>
                <a:cs typeface="Open Sans" charset="0"/>
              </a:rPr>
              <a:t>advertising and promotional non-working spend</a:t>
            </a:r>
            <a:r>
              <a:rPr kumimoji="0" lang="en-US" sz="1000" b="0" i="0" u="none" strike="noStrike" kern="1200" cap="none" spc="-30" normalizeH="0" baseline="0" noProof="0" dirty="0">
                <a:ln>
                  <a:noFill/>
                </a:ln>
                <a:solidFill>
                  <a:srgbClr val="000000"/>
                </a:solidFill>
                <a:effectLst/>
                <a:uLnTx/>
                <a:uFillTx/>
                <a:latin typeface="Open Sans"/>
                <a:ea typeface="Open Sans" charset="0"/>
                <a:cs typeface="Open Sans" charset="0"/>
              </a:rPr>
              <a:t> on a regional level, and to </a:t>
            </a:r>
            <a:r>
              <a:rPr kumimoji="0" lang="en-US" sz="1000" b="1" i="0" u="none" strike="noStrike" kern="1200" cap="none" spc="-30" normalizeH="0" baseline="0" noProof="0" dirty="0">
                <a:ln>
                  <a:noFill/>
                </a:ln>
                <a:solidFill>
                  <a:srgbClr val="000000"/>
                </a:solidFill>
                <a:effectLst/>
                <a:uLnTx/>
                <a:uFillTx/>
                <a:latin typeface="Open Sans"/>
                <a:ea typeface="Open Sans" charset="0"/>
                <a:cs typeface="Open Sans" charset="0"/>
              </a:rPr>
              <a:t>quantify improvement opportunities </a:t>
            </a:r>
            <a:r>
              <a:rPr kumimoji="0" lang="en-US" sz="1000" b="0" i="0" u="none" strike="noStrike" kern="1200" cap="none" spc="-30" normalizeH="0" baseline="0" noProof="0" dirty="0">
                <a:ln>
                  <a:noFill/>
                </a:ln>
                <a:solidFill>
                  <a:srgbClr val="000000"/>
                </a:solidFill>
                <a:effectLst/>
                <a:uLnTx/>
                <a:uFillTx/>
                <a:latin typeface="Open Sans"/>
                <a:ea typeface="Open Sans" charset="0"/>
                <a:cs typeface="Open Sans" charset="0"/>
              </a:rPr>
              <a:t>in moving to a franchise-driven (vs. region-driven) business model</a:t>
            </a:r>
          </a:p>
        </p:txBody>
      </p:sp>
      <p:sp>
        <p:nvSpPr>
          <p:cNvPr id="10" name="Content Placeholder 47">
            <a:extLst>
              <a:ext uri="{FF2B5EF4-FFF2-40B4-BE49-F238E27FC236}">
                <a16:creationId xmlns:a16="http://schemas.microsoft.com/office/drawing/2014/main" id="{06BC21F1-690B-4B35-8725-4BF556FF46BA}"/>
              </a:ext>
            </a:extLst>
          </p:cNvPr>
          <p:cNvSpPr txBox="1">
            <a:spLocks/>
          </p:cNvSpPr>
          <p:nvPr/>
        </p:nvSpPr>
        <p:spPr>
          <a:xfrm>
            <a:off x="5460583" y="4586589"/>
            <a:ext cx="2969943" cy="1691511"/>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Char char="•"/>
              <a:tabLst/>
              <a:defRPr/>
            </a:pPr>
            <a:r>
              <a:rPr kumimoji="0" lang="en-US" sz="1000" b="0" i="0" u="none" strike="noStrike" kern="1200" cap="none" spc="-30" normalizeH="0" baseline="0" noProof="0" dirty="0">
                <a:ln>
                  <a:noFill/>
                </a:ln>
                <a:solidFill>
                  <a:srgbClr val="000000"/>
                </a:solidFill>
                <a:effectLst/>
                <a:uLnTx/>
                <a:uFillTx/>
                <a:latin typeface="Open Sans"/>
                <a:ea typeface="Open Sans" charset="0"/>
                <a:cs typeface="Open Sans" charset="0"/>
              </a:rPr>
              <a:t>Deloitte partnered with in-region marketers to categorize non-working spend across brands to create spend transparency utilizing our </a:t>
            </a:r>
            <a:r>
              <a:rPr kumimoji="0" lang="en-US" sz="1000" b="1" i="0" u="none" strike="noStrike" kern="1200" cap="none" spc="-30" normalizeH="0" baseline="0" noProof="0" dirty="0">
                <a:ln>
                  <a:noFill/>
                </a:ln>
                <a:solidFill>
                  <a:srgbClr val="000000"/>
                </a:solidFill>
                <a:effectLst/>
                <a:uLnTx/>
                <a:uFillTx/>
                <a:latin typeface="Open Sans"/>
                <a:ea typeface="Open Sans" charset="0"/>
                <a:cs typeface="Open Sans" charset="0"/>
              </a:rPr>
              <a:t>Excel Transparency Tool.</a:t>
            </a:r>
          </a:p>
          <a:p>
            <a:pPr marL="228600" marR="0" lvl="0" indent="-22860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Char char="•"/>
              <a:tabLst/>
              <a:defRPr/>
            </a:pPr>
            <a:r>
              <a:rPr kumimoji="0" lang="en-US" sz="1000" b="0" i="0" u="none" strike="noStrike" kern="1200" cap="none" spc="-30" normalizeH="0" baseline="0" noProof="0" dirty="0">
                <a:ln>
                  <a:noFill/>
                </a:ln>
                <a:solidFill>
                  <a:srgbClr val="000000"/>
                </a:solidFill>
                <a:effectLst/>
                <a:uLnTx/>
                <a:uFillTx/>
                <a:latin typeface="Open Sans"/>
                <a:ea typeface="Open Sans" charset="0"/>
                <a:cs typeface="Open Sans" charset="0"/>
              </a:rPr>
              <a:t> Deloitte identified </a:t>
            </a:r>
            <a:r>
              <a:rPr kumimoji="0" lang="en-US" sz="1000" b="1" i="0" u="none" strike="noStrike" kern="1200" cap="none" spc="-30" normalizeH="0" baseline="0" noProof="0" dirty="0">
                <a:ln>
                  <a:noFill/>
                </a:ln>
                <a:solidFill>
                  <a:srgbClr val="000000"/>
                </a:solidFill>
                <a:effectLst/>
                <a:uLnTx/>
                <a:uFillTx/>
                <a:latin typeface="Open Sans"/>
                <a:ea typeface="Open Sans" charset="0"/>
                <a:cs typeface="Open Sans" charset="0"/>
              </a:rPr>
              <a:t>opportunities to focus on priority categories and brands</a:t>
            </a:r>
            <a:r>
              <a:rPr kumimoji="0" lang="en-US" sz="1000" b="0" i="0" u="none" strike="noStrike" kern="1200" cap="none" spc="-30" normalizeH="0" baseline="0" noProof="0" dirty="0">
                <a:ln>
                  <a:noFill/>
                </a:ln>
                <a:solidFill>
                  <a:srgbClr val="000000"/>
                </a:solidFill>
                <a:effectLst/>
                <a:uLnTx/>
                <a:uFillTx/>
                <a:latin typeface="Open Sans"/>
                <a:ea typeface="Open Sans" charset="0"/>
                <a:cs typeface="Open Sans" charset="0"/>
              </a:rPr>
              <a:t> and align investments with global strategy, while shifting investment allocations to support the increased role of franchises.</a:t>
            </a:r>
          </a:p>
        </p:txBody>
      </p:sp>
      <p:grpSp>
        <p:nvGrpSpPr>
          <p:cNvPr id="11" name="Group 10">
            <a:extLst>
              <a:ext uri="{FF2B5EF4-FFF2-40B4-BE49-F238E27FC236}">
                <a16:creationId xmlns:a16="http://schemas.microsoft.com/office/drawing/2014/main" id="{FA0FE3AF-28F8-4850-B444-95D6C8729B95}"/>
              </a:ext>
            </a:extLst>
          </p:cNvPr>
          <p:cNvGrpSpPr/>
          <p:nvPr/>
        </p:nvGrpSpPr>
        <p:grpSpPr>
          <a:xfrm>
            <a:off x="5475850" y="4284207"/>
            <a:ext cx="1075764" cy="215444"/>
            <a:chOff x="5055419" y="4949388"/>
            <a:chExt cx="1075764" cy="215444"/>
          </a:xfrm>
        </p:grpSpPr>
        <p:cxnSp>
          <p:nvCxnSpPr>
            <p:cNvPr id="12" name="Straight Connector 11">
              <a:extLst>
                <a:ext uri="{FF2B5EF4-FFF2-40B4-BE49-F238E27FC236}">
                  <a16:creationId xmlns:a16="http://schemas.microsoft.com/office/drawing/2014/main" id="{71DCBEA3-AD3A-4DF2-BA10-EC3D24F77B7D}"/>
                </a:ext>
              </a:extLst>
            </p:cNvPr>
            <p:cNvCxnSpPr/>
            <p:nvPr/>
          </p:nvCxnSpPr>
          <p:spPr>
            <a:xfrm>
              <a:off x="5055419" y="5144638"/>
              <a:ext cx="1005840" cy="0"/>
            </a:xfrm>
            <a:prstGeom prst="line">
              <a:avLst/>
            </a:prstGeom>
            <a:ln w="76200" cmpd="sng">
              <a:solidFill>
                <a:schemeClr val="accent1"/>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0486F156-3C78-41B4-871D-9F6F4C1531A2}"/>
                </a:ext>
              </a:extLst>
            </p:cNvPr>
            <p:cNvSpPr txBox="1"/>
            <p:nvPr/>
          </p:nvSpPr>
          <p:spPr>
            <a:xfrm>
              <a:off x="5055419" y="4949388"/>
              <a:ext cx="1075764"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mn-cs"/>
                </a:rPr>
                <a:t>IMPACT </a:t>
              </a:r>
            </a:p>
          </p:txBody>
        </p:sp>
      </p:grpSp>
      <p:grpSp>
        <p:nvGrpSpPr>
          <p:cNvPr id="14" name="Group 13">
            <a:extLst>
              <a:ext uri="{FF2B5EF4-FFF2-40B4-BE49-F238E27FC236}">
                <a16:creationId xmlns:a16="http://schemas.microsoft.com/office/drawing/2014/main" id="{3AE8A4A1-E0F8-46AB-A28A-7C319B4528ED}"/>
              </a:ext>
            </a:extLst>
          </p:cNvPr>
          <p:cNvGrpSpPr/>
          <p:nvPr/>
        </p:nvGrpSpPr>
        <p:grpSpPr>
          <a:xfrm>
            <a:off x="5482222" y="2774313"/>
            <a:ext cx="1130465" cy="215444"/>
            <a:chOff x="5441429" y="3042518"/>
            <a:chExt cx="1130465" cy="215444"/>
          </a:xfrm>
        </p:grpSpPr>
        <p:cxnSp>
          <p:nvCxnSpPr>
            <p:cNvPr id="15" name="Straight Connector 14">
              <a:extLst>
                <a:ext uri="{FF2B5EF4-FFF2-40B4-BE49-F238E27FC236}">
                  <a16:creationId xmlns:a16="http://schemas.microsoft.com/office/drawing/2014/main" id="{4AB5F58B-D6AF-40CC-BFB2-C271ECB01D18}"/>
                </a:ext>
              </a:extLst>
            </p:cNvPr>
            <p:cNvCxnSpPr/>
            <p:nvPr/>
          </p:nvCxnSpPr>
          <p:spPr>
            <a:xfrm>
              <a:off x="5441429" y="3226602"/>
              <a:ext cx="1097280" cy="0"/>
            </a:xfrm>
            <a:prstGeom prst="line">
              <a:avLst/>
            </a:prstGeom>
            <a:ln w="76200" cmpd="sng">
              <a:solidFill>
                <a:schemeClr val="accent1"/>
              </a:solidFill>
            </a:ln>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FDC26AE3-6575-42A0-B102-A282FCF90B1C}"/>
                </a:ext>
              </a:extLst>
            </p:cNvPr>
            <p:cNvSpPr txBox="1"/>
            <p:nvPr/>
          </p:nvSpPr>
          <p:spPr>
            <a:xfrm>
              <a:off x="5441429" y="3042518"/>
              <a:ext cx="1130465"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mn-cs"/>
                </a:rPr>
                <a:t>SOLUTION</a:t>
              </a:r>
            </a:p>
          </p:txBody>
        </p:sp>
      </p:grpSp>
      <p:sp>
        <p:nvSpPr>
          <p:cNvPr id="17" name="TextBox 16">
            <a:extLst>
              <a:ext uri="{FF2B5EF4-FFF2-40B4-BE49-F238E27FC236}">
                <a16:creationId xmlns:a16="http://schemas.microsoft.com/office/drawing/2014/main" id="{7398F21F-8C5C-4DF2-BD35-61E5B56EB7C8}"/>
              </a:ext>
            </a:extLst>
          </p:cNvPr>
          <p:cNvSpPr txBox="1"/>
          <p:nvPr/>
        </p:nvSpPr>
        <p:spPr>
          <a:xfrm>
            <a:off x="8667282" y="4646930"/>
            <a:ext cx="2908300" cy="9079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ESTIMATED NET SAVINGS OF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3600" b="1" i="0" u="none" strike="noStrike" kern="1200" cap="none" spc="0" normalizeH="0" baseline="0" noProof="0" dirty="0">
                <a:ln>
                  <a:noFill/>
                </a:ln>
                <a:solidFill>
                  <a:srgbClr val="000000"/>
                </a:solidFill>
                <a:effectLst/>
                <a:uLnTx/>
                <a:uFillTx/>
                <a:latin typeface="Chronicle Display Black"/>
                <a:ea typeface="+mn-ea"/>
                <a:cs typeface="+mn-cs"/>
              </a:rPr>
              <a:t>27.5%</a:t>
            </a:r>
            <a:r>
              <a:rPr kumimoji="0" lang="en-US" sz="2800" b="1" i="0" u="none" strike="noStrike" kern="1200" cap="none" spc="0" normalizeH="0" baseline="0" noProof="0" dirty="0">
                <a:ln>
                  <a:noFill/>
                </a:ln>
                <a:solidFill>
                  <a:srgbClr val="000000"/>
                </a:solidFill>
                <a:effectLst/>
                <a:uLnTx/>
                <a:uFillTx/>
                <a:latin typeface="Chronicle Display Black"/>
                <a:ea typeface="+mn-ea"/>
                <a:cs typeface="+mn-cs"/>
              </a:rPr>
              <a:t> </a:t>
            </a:r>
            <a:r>
              <a:rPr kumimoji="0" lang="en-US" sz="1050" b="1" i="0" u="none" strike="noStrike" kern="1200" cap="none" spc="0" normalizeH="0" baseline="0" noProof="0" dirty="0">
                <a:ln>
                  <a:noFill/>
                </a:ln>
                <a:solidFill>
                  <a:srgbClr val="000000"/>
                </a:solidFill>
                <a:effectLst/>
                <a:uLnTx/>
                <a:uFillTx/>
                <a:latin typeface="Open Sans"/>
                <a:ea typeface="+mn-ea"/>
                <a:cs typeface="+mn-cs"/>
              </a:rPr>
              <a:t> </a:t>
            </a:r>
          </a:p>
        </p:txBody>
      </p:sp>
      <p:sp>
        <p:nvSpPr>
          <p:cNvPr id="18" name="TextBox 17">
            <a:extLst>
              <a:ext uri="{FF2B5EF4-FFF2-40B4-BE49-F238E27FC236}">
                <a16:creationId xmlns:a16="http://schemas.microsoft.com/office/drawing/2014/main" id="{32DDA3AA-07EB-4633-83F1-DBEE3E7C6C1E}"/>
              </a:ext>
            </a:extLst>
          </p:cNvPr>
          <p:cNvSpPr txBox="1"/>
          <p:nvPr/>
        </p:nvSpPr>
        <p:spPr>
          <a:xfrm>
            <a:off x="8667282" y="5658892"/>
            <a:ext cx="290830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00000"/>
                </a:solidFill>
                <a:effectLst/>
                <a:uLnTx/>
                <a:uFillTx/>
                <a:latin typeface="Chronicle Display Black"/>
                <a:ea typeface="+mn-ea"/>
                <a:cs typeface="+mn-cs"/>
              </a:rPr>
              <a:t>5.5%</a:t>
            </a:r>
            <a:endParaRPr kumimoji="0" lang="en-US" sz="36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19" name="Rectangle 18">
            <a:extLst>
              <a:ext uri="{FF2B5EF4-FFF2-40B4-BE49-F238E27FC236}">
                <a16:creationId xmlns:a16="http://schemas.microsoft.com/office/drawing/2014/main" id="{15709E08-99F8-4840-9A05-1779D829AD86}"/>
              </a:ext>
            </a:extLst>
          </p:cNvPr>
          <p:cNvSpPr/>
          <p:nvPr/>
        </p:nvSpPr>
        <p:spPr>
          <a:xfrm>
            <a:off x="10344827" y="5765800"/>
            <a:ext cx="1712789"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Open Sans"/>
                <a:ea typeface="+mn-ea"/>
                <a:cs typeface="+mn-cs"/>
              </a:rPr>
              <a:t>IN ESTIMATED REALIZABLE POTENTIAL IN FIRST 6 MONTHS</a:t>
            </a:r>
            <a:endParaRPr kumimoji="0" lang="en-US" sz="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DBAE80E0-C3E3-44DB-820B-037811F7C73D}"/>
              </a:ext>
            </a:extLst>
          </p:cNvPr>
          <p:cNvSpPr/>
          <p:nvPr/>
        </p:nvSpPr>
        <p:spPr>
          <a:xfrm>
            <a:off x="10344827" y="5054600"/>
            <a:ext cx="1712789"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Open Sans"/>
                <a:ea typeface="+mn-ea"/>
                <a:cs typeface="+mn-cs"/>
              </a:rPr>
              <a:t>IN A&amp;P IMPROVEMENT POTENTIAL ACROSS FOUR  KEY OPPORTUNITY AREAS</a:t>
            </a:r>
            <a:endParaRPr kumimoji="0" lang="en-US" sz="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1" name="Content Placeholder 47">
            <a:extLst>
              <a:ext uri="{FF2B5EF4-FFF2-40B4-BE49-F238E27FC236}">
                <a16:creationId xmlns:a16="http://schemas.microsoft.com/office/drawing/2014/main" id="{F59CC51D-8BE7-4BE6-BC2A-A284625B35D7}"/>
              </a:ext>
            </a:extLst>
          </p:cNvPr>
          <p:cNvSpPr txBox="1">
            <a:spLocks/>
          </p:cNvSpPr>
          <p:nvPr/>
        </p:nvSpPr>
        <p:spPr>
          <a:xfrm>
            <a:off x="5464200" y="3014077"/>
            <a:ext cx="6506019" cy="1148370"/>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marR="0" lvl="0" indent="-171450" algn="l" defTabSz="1219170" rtl="0" eaLnBrk="1" fontAlgn="auto" latinLnBrk="0" hangingPunct="1">
              <a:lnSpc>
                <a:spcPct val="100000"/>
              </a:lnSpc>
              <a:spcBef>
                <a:spcPts val="0"/>
              </a:spcBef>
              <a:spcAft>
                <a:spcPts val="600"/>
              </a:spcAft>
              <a:buClr>
                <a:srgbClr val="787878"/>
              </a:buClr>
              <a:buSzPct val="75000"/>
              <a:buFont typeface="Arial" panose="020B0604020202020204" pitchFamily="34" charset="0"/>
              <a:buChar char="•"/>
              <a:tabLst/>
              <a:defRPr/>
            </a:pPr>
            <a:r>
              <a:rPr kumimoji="0" lang="en-US" sz="1000" b="1" i="0" u="none" strike="noStrike" kern="1200" cap="none" spc="-30" normalizeH="0" baseline="0" noProof="0" dirty="0">
                <a:ln>
                  <a:noFill/>
                </a:ln>
                <a:solidFill>
                  <a:prstClr val="black"/>
                </a:solidFill>
                <a:effectLst/>
                <a:uLnTx/>
                <a:uFillTx/>
                <a:latin typeface="Open Sans"/>
                <a:ea typeface="Open Sans" charset="0"/>
                <a:cs typeface="Times New Roman" pitchFamily="18" charset="0"/>
              </a:rPr>
              <a:t>Developed spend baseline </a:t>
            </a:r>
            <a:r>
              <a:rPr kumimoji="0" lang="en-US" sz="1000" b="0" i="0" u="none" strike="noStrike" kern="1200" cap="none" spc="-30" normalizeH="0" baseline="0" noProof="0" dirty="0">
                <a:ln>
                  <a:noFill/>
                </a:ln>
                <a:solidFill>
                  <a:prstClr val="black"/>
                </a:solidFill>
                <a:effectLst/>
                <a:uLnTx/>
                <a:uFillTx/>
                <a:latin typeface="Open Sans"/>
                <a:ea typeface="Open Sans" charset="0"/>
                <a:cs typeface="Times New Roman" pitchFamily="18" charset="0"/>
              </a:rPr>
              <a:t>to uncover spend visibility categories to identify opportunities of ineffective spend</a:t>
            </a:r>
          </a:p>
          <a:p>
            <a:pPr marL="171450" marR="0" lvl="0" indent="-171450" algn="l" defTabSz="1219170" rtl="0" eaLnBrk="1" fontAlgn="auto" latinLnBrk="0" hangingPunct="1">
              <a:lnSpc>
                <a:spcPct val="100000"/>
              </a:lnSpc>
              <a:spcBef>
                <a:spcPts val="0"/>
              </a:spcBef>
              <a:spcAft>
                <a:spcPts val="600"/>
              </a:spcAft>
              <a:buClr>
                <a:srgbClr val="787878"/>
              </a:buClr>
              <a:buSzPct val="75000"/>
              <a:buFont typeface="Arial" panose="020B0604020202020204" pitchFamily="34" charset="0"/>
              <a:buChar char="•"/>
              <a:tabLst/>
              <a:defRPr/>
            </a:pPr>
            <a:r>
              <a:rPr kumimoji="0" lang="en-US" sz="1000" b="1" i="0" u="none" strike="noStrike" kern="1200" cap="none" spc="-30" normalizeH="0" baseline="0" noProof="0" dirty="0">
                <a:ln>
                  <a:noFill/>
                </a:ln>
                <a:solidFill>
                  <a:prstClr val="black"/>
                </a:solidFill>
                <a:effectLst/>
                <a:uLnTx/>
                <a:uFillTx/>
                <a:latin typeface="Open Sans"/>
                <a:ea typeface="Open Sans" charset="0"/>
                <a:cs typeface="Times New Roman" pitchFamily="18" charset="0"/>
              </a:rPr>
              <a:t>Developed and Refined Opportunity Areas </a:t>
            </a:r>
            <a:r>
              <a:rPr kumimoji="0" lang="en-US" sz="1000" b="0" i="0" u="none" strike="noStrike" kern="1200" cap="none" spc="-30" normalizeH="0" baseline="0" noProof="0" dirty="0">
                <a:ln>
                  <a:noFill/>
                </a:ln>
                <a:solidFill>
                  <a:prstClr val="black"/>
                </a:solidFill>
                <a:effectLst/>
                <a:uLnTx/>
                <a:uFillTx/>
                <a:latin typeface="Open Sans"/>
                <a:ea typeface="Open Sans" charset="0"/>
                <a:cs typeface="Times New Roman" pitchFamily="18" charset="0"/>
              </a:rPr>
              <a:t>to identify benefits of global coordination and quick wins </a:t>
            </a:r>
          </a:p>
          <a:p>
            <a:pPr marL="171450" marR="0" lvl="0" indent="-171450" algn="l" defTabSz="1219170" rtl="0" eaLnBrk="1" fontAlgn="auto" latinLnBrk="0" hangingPunct="1">
              <a:lnSpc>
                <a:spcPct val="100000"/>
              </a:lnSpc>
              <a:spcBef>
                <a:spcPts val="0"/>
              </a:spcBef>
              <a:spcAft>
                <a:spcPts val="600"/>
              </a:spcAft>
              <a:buClr>
                <a:srgbClr val="787878"/>
              </a:buClr>
              <a:buSzPct val="75000"/>
              <a:buFont typeface="Arial" panose="020B0604020202020204" pitchFamily="34" charset="0"/>
              <a:buChar char="•"/>
              <a:tabLst/>
              <a:defRPr/>
            </a:pPr>
            <a:r>
              <a:rPr kumimoji="0" lang="en-US" sz="1000" b="1" i="0" u="none" strike="noStrike" kern="1200" cap="none" spc="-30" normalizeH="0" baseline="0" noProof="0" dirty="0">
                <a:ln>
                  <a:noFill/>
                </a:ln>
                <a:solidFill>
                  <a:prstClr val="black"/>
                </a:solidFill>
                <a:effectLst/>
                <a:uLnTx/>
                <a:uFillTx/>
                <a:latin typeface="Open Sans"/>
                <a:ea typeface="Open Sans" charset="0"/>
                <a:cs typeface="Times New Roman" pitchFamily="18" charset="0"/>
              </a:rPr>
              <a:t>Validated Opportunity Areas and Developed Pilots </a:t>
            </a:r>
            <a:r>
              <a:rPr kumimoji="0" lang="en-US" sz="1000" b="0" i="0" u="none" strike="noStrike" kern="1200" cap="none" spc="-30" normalizeH="0" baseline="0" noProof="0" dirty="0">
                <a:ln>
                  <a:noFill/>
                </a:ln>
                <a:solidFill>
                  <a:prstClr val="black"/>
                </a:solidFill>
                <a:effectLst/>
                <a:uLnTx/>
                <a:uFillTx/>
                <a:latin typeface="Open Sans"/>
                <a:ea typeface="Open Sans" charset="0"/>
                <a:cs typeface="Times New Roman" pitchFamily="18" charset="0"/>
              </a:rPr>
              <a:t>to prepare for handover and implementation</a:t>
            </a:r>
          </a:p>
        </p:txBody>
      </p:sp>
      <p:grpSp>
        <p:nvGrpSpPr>
          <p:cNvPr id="22" name="Group 21">
            <a:extLst>
              <a:ext uri="{FF2B5EF4-FFF2-40B4-BE49-F238E27FC236}">
                <a16:creationId xmlns:a16="http://schemas.microsoft.com/office/drawing/2014/main" id="{1524D18D-BDAF-4A0A-8622-E36DF76BCD09}"/>
              </a:ext>
            </a:extLst>
          </p:cNvPr>
          <p:cNvGrpSpPr/>
          <p:nvPr/>
        </p:nvGrpSpPr>
        <p:grpSpPr>
          <a:xfrm>
            <a:off x="5460583" y="1661371"/>
            <a:ext cx="2446762" cy="215444"/>
            <a:chOff x="4476576" y="1587481"/>
            <a:chExt cx="2446762" cy="215444"/>
          </a:xfrm>
        </p:grpSpPr>
        <p:cxnSp>
          <p:nvCxnSpPr>
            <p:cNvPr id="23" name="Straight Connector 22">
              <a:extLst>
                <a:ext uri="{FF2B5EF4-FFF2-40B4-BE49-F238E27FC236}">
                  <a16:creationId xmlns:a16="http://schemas.microsoft.com/office/drawing/2014/main" id="{9E87F472-6D73-437C-9C96-0FED0164014B}"/>
                </a:ext>
              </a:extLst>
            </p:cNvPr>
            <p:cNvCxnSpPr/>
            <p:nvPr/>
          </p:nvCxnSpPr>
          <p:spPr>
            <a:xfrm>
              <a:off x="4503790" y="1776145"/>
              <a:ext cx="1188720" cy="0"/>
            </a:xfrm>
            <a:prstGeom prst="line">
              <a:avLst/>
            </a:prstGeom>
            <a:ln w="76200" cmpd="sng">
              <a:solidFill>
                <a:schemeClr val="accent1"/>
              </a:solidFill>
            </a:ln>
          </p:spPr>
          <p:style>
            <a:lnRef idx="2">
              <a:schemeClr val="accent1"/>
            </a:lnRef>
            <a:fillRef idx="0">
              <a:schemeClr val="accent1"/>
            </a:fillRef>
            <a:effectRef idx="1">
              <a:schemeClr val="accent1"/>
            </a:effectRef>
            <a:fontRef idx="minor">
              <a:schemeClr val="tx1"/>
            </a:fontRef>
          </p:style>
        </p:cxnSp>
        <p:sp>
          <p:nvSpPr>
            <p:cNvPr id="24" name="TextBox 23">
              <a:extLst>
                <a:ext uri="{FF2B5EF4-FFF2-40B4-BE49-F238E27FC236}">
                  <a16:creationId xmlns:a16="http://schemas.microsoft.com/office/drawing/2014/main" id="{288EF8EB-775C-4230-B586-9813453AE538}"/>
                </a:ext>
              </a:extLst>
            </p:cNvPr>
            <p:cNvSpPr txBox="1"/>
            <p:nvPr/>
          </p:nvSpPr>
          <p:spPr>
            <a:xfrm>
              <a:off x="4476576" y="1587481"/>
              <a:ext cx="2446762"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mn-cs"/>
                </a:rPr>
                <a:t>SITUATION</a:t>
              </a:r>
            </a:p>
          </p:txBody>
        </p:sp>
      </p:grpSp>
    </p:spTree>
    <p:extLst>
      <p:ext uri="{BB962C8B-B14F-4D97-AF65-F5344CB8AC3E}">
        <p14:creationId xmlns:p14="http://schemas.microsoft.com/office/powerpoint/2010/main" val="1001375471"/>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6" name="Object 65" hidden="1">
            <a:extLst>
              <a:ext uri="{FF2B5EF4-FFF2-40B4-BE49-F238E27FC236}">
                <a16:creationId xmlns:a16="http://schemas.microsoft.com/office/drawing/2014/main" id="{C1ADE21E-EEBE-4462-BFEB-9DFC65F98C5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04" name="think-cell Slide" r:id="rId6" imgW="415" imgH="416" progId="TCLayout.ActiveDocument.1">
                  <p:embed/>
                </p:oleObj>
              </mc:Choice>
              <mc:Fallback>
                <p:oleObj name="think-cell Slide" r:id="rId6" imgW="415" imgH="416" progId="TCLayout.ActiveDocument.1">
                  <p:embed/>
                  <p:pic>
                    <p:nvPicPr>
                      <p:cNvPr id="66" name="Object 65" hidden="1">
                        <a:extLst>
                          <a:ext uri="{FF2B5EF4-FFF2-40B4-BE49-F238E27FC236}">
                            <a16:creationId xmlns:a16="http://schemas.microsoft.com/office/drawing/2014/main" id="{C1ADE21E-EEBE-4462-BFEB-9DFC65F98C5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7" name="Rectangle 66" hidden="1">
            <a:extLst>
              <a:ext uri="{FF2B5EF4-FFF2-40B4-BE49-F238E27FC236}">
                <a16:creationId xmlns:a16="http://schemas.microsoft.com/office/drawing/2014/main" id="{B9DA7ABB-7A9D-4DFD-89F5-8184BC82403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graphicFrame>
        <p:nvGraphicFramePr>
          <p:cNvPr id="3" name="Table 2">
            <a:extLst>
              <a:ext uri="{FF2B5EF4-FFF2-40B4-BE49-F238E27FC236}">
                <a16:creationId xmlns:a16="http://schemas.microsoft.com/office/drawing/2014/main" id="{322D8B60-5429-41DF-9ACA-2F4EE01054B7}"/>
              </a:ext>
            </a:extLst>
          </p:cNvPr>
          <p:cNvGraphicFramePr>
            <a:graphicFrameLocks noGrp="1"/>
          </p:cNvGraphicFramePr>
          <p:nvPr/>
        </p:nvGraphicFramePr>
        <p:xfrm>
          <a:off x="914400" y="2800334"/>
          <a:ext cx="10763856" cy="3634624"/>
        </p:xfrm>
        <a:graphic>
          <a:graphicData uri="http://schemas.openxmlformats.org/drawingml/2006/table">
            <a:tbl>
              <a:tblPr firstRow="1" bandRow="1">
                <a:tableStyleId>{5C22544A-7EE6-4342-B048-85BDC9FD1C3A}</a:tableStyleId>
              </a:tblPr>
              <a:tblGrid>
                <a:gridCol w="3587952">
                  <a:extLst>
                    <a:ext uri="{9D8B030D-6E8A-4147-A177-3AD203B41FA5}">
                      <a16:colId xmlns:a16="http://schemas.microsoft.com/office/drawing/2014/main" val="20000"/>
                    </a:ext>
                  </a:extLst>
                </a:gridCol>
                <a:gridCol w="3587952">
                  <a:extLst>
                    <a:ext uri="{9D8B030D-6E8A-4147-A177-3AD203B41FA5}">
                      <a16:colId xmlns:a16="http://schemas.microsoft.com/office/drawing/2014/main" val="20001"/>
                    </a:ext>
                  </a:extLst>
                </a:gridCol>
                <a:gridCol w="3587952">
                  <a:extLst>
                    <a:ext uri="{9D8B030D-6E8A-4147-A177-3AD203B41FA5}">
                      <a16:colId xmlns:a16="http://schemas.microsoft.com/office/drawing/2014/main" val="20002"/>
                    </a:ext>
                  </a:extLst>
                </a:gridCol>
              </a:tblGrid>
              <a:tr h="1965375">
                <a:tc>
                  <a:txBody>
                    <a:bodyPr/>
                    <a:lstStyle/>
                    <a:p>
                      <a:pPr marL="290513" indent="0" algn="l" defTabSz="914126" rtl="0" eaLnBrk="1" latinLnBrk="0" hangingPunct="1">
                        <a:spcAft>
                          <a:spcPts val="800"/>
                        </a:spcAft>
                      </a:pPr>
                      <a:r>
                        <a:rPr lang="en-US" sz="1200" b="1" kern="1200" dirty="0">
                          <a:solidFill>
                            <a:schemeClr val="tx1"/>
                          </a:solidFill>
                          <a:latin typeface="+mn-lt"/>
                          <a:ea typeface="+mn-ea"/>
                          <a:cs typeface="+mn-cs"/>
                        </a:rPr>
                        <a:t>Customer</a:t>
                      </a:r>
                    </a:p>
                    <a:p>
                      <a:pPr marL="285750" marR="0" lvl="0" indent="-28575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kern="1200" dirty="0">
                          <a:solidFill>
                            <a:schemeClr val="tx1"/>
                          </a:solidFill>
                          <a:latin typeface="+mn-lt"/>
                          <a:ea typeface="+mn-ea"/>
                          <a:cs typeface="+mn-cs"/>
                        </a:rPr>
                        <a:t>Ensures a consistent go-to-market engagement platform to provide customer with a seamless and consistent</a:t>
                      </a:r>
                      <a:r>
                        <a:rPr lang="en-US" sz="1100" b="0" kern="1200" baseline="0" dirty="0">
                          <a:solidFill>
                            <a:schemeClr val="tx1"/>
                          </a:solidFill>
                          <a:latin typeface="+mn-lt"/>
                          <a:ea typeface="+mn-ea"/>
                          <a:cs typeface="+mn-cs"/>
                        </a:rPr>
                        <a:t> experience</a:t>
                      </a:r>
                      <a:endParaRPr lang="en-US" sz="1100" b="0" kern="1200" dirty="0">
                        <a:solidFill>
                          <a:schemeClr val="tx1"/>
                        </a:solidFill>
                        <a:latin typeface="+mn-lt"/>
                        <a:ea typeface="+mn-ea"/>
                        <a:cs typeface="+mn-cs"/>
                      </a:endParaRPr>
                    </a:p>
                    <a:p>
                      <a:pPr marL="285750" indent="-285750">
                        <a:buFont typeface="Arial" panose="020B0604020202020204" pitchFamily="34" charset="0"/>
                        <a:buChar char="•"/>
                      </a:pPr>
                      <a:r>
                        <a:rPr lang="en-US" sz="1100" b="0" kern="1200" baseline="0" dirty="0">
                          <a:solidFill>
                            <a:schemeClr val="tx1"/>
                          </a:solidFill>
                          <a:latin typeface="+mn-lt"/>
                          <a:ea typeface="+mn-ea"/>
                          <a:cs typeface="+mn-cs"/>
                        </a:rPr>
                        <a:t>Monitors behaviors across the journey </a:t>
                      </a:r>
                      <a:r>
                        <a:rPr lang="en-US" sz="1100" b="0" kern="1200" dirty="0">
                          <a:solidFill>
                            <a:schemeClr val="tx1"/>
                          </a:solidFill>
                          <a:latin typeface="+mn-lt"/>
                          <a:ea typeface="+mn-ea"/>
                          <a:cs typeface="+mn-cs"/>
                        </a:rPr>
                        <a:t>to improve </a:t>
                      </a:r>
                      <a:r>
                        <a:rPr lang="en-US" sz="1100" b="0" kern="1200" baseline="0" dirty="0">
                          <a:solidFill>
                            <a:schemeClr val="tx1"/>
                          </a:solidFill>
                          <a:latin typeface="+mn-lt"/>
                          <a:ea typeface="+mn-ea"/>
                          <a:cs typeface="+mn-cs"/>
                        </a:rPr>
                        <a:t>understanding of customer behaviors and their implications </a:t>
                      </a:r>
                    </a:p>
                    <a:p>
                      <a:pPr marL="285750" indent="-285750">
                        <a:buFont typeface="Arial" panose="020B0604020202020204" pitchFamily="34" charset="0"/>
                        <a:buChar char="•"/>
                      </a:pPr>
                      <a:r>
                        <a:rPr lang="en-US" sz="1100" b="0" kern="1200" dirty="0">
                          <a:solidFill>
                            <a:schemeClr val="tx1"/>
                          </a:solidFill>
                          <a:latin typeface="+mn-lt"/>
                          <a:ea typeface="+mn-ea"/>
                          <a:cs typeface="+mn-cs"/>
                        </a:rPr>
                        <a:t>Proactively “delights” customers </a:t>
                      </a:r>
                      <a:r>
                        <a:rPr lang="en-US" sz="1100" b="0" kern="1200" baseline="0" dirty="0">
                          <a:solidFill>
                            <a:schemeClr val="tx1"/>
                          </a:solidFill>
                          <a:latin typeface="+mn-lt"/>
                          <a:ea typeface="+mn-ea"/>
                          <a:cs typeface="+mn-cs"/>
                        </a:rPr>
                        <a:t>to build relationships and improve retention (e.g., surprise account credit given if a high # of dropped calls occur)</a:t>
                      </a:r>
                      <a:endParaRPr lang="en-US" sz="1100" b="0" kern="1200" dirty="0">
                        <a:solidFill>
                          <a:schemeClr val="tx1"/>
                        </a:solidFill>
                        <a:latin typeface="+mn-lt"/>
                        <a:ea typeface="+mn-ea"/>
                        <a:cs typeface="+mn-cs"/>
                      </a:endParaRPr>
                    </a:p>
                  </a:txBody>
                  <a:tcPr marL="228600" marT="13716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290513" indent="0" algn="l" defTabSz="914126" rtl="0" eaLnBrk="1" latinLnBrk="0" hangingPunct="1">
                        <a:spcAft>
                          <a:spcPts val="800"/>
                        </a:spcAft>
                      </a:pPr>
                      <a:r>
                        <a:rPr lang="en-US" sz="1200" b="1" kern="1200" dirty="0">
                          <a:solidFill>
                            <a:schemeClr val="tx1"/>
                          </a:solidFill>
                          <a:latin typeface="+mn-lt"/>
                          <a:ea typeface="+mn-ea"/>
                          <a:cs typeface="+mn-cs"/>
                        </a:rPr>
                        <a:t>KPIs</a:t>
                      </a:r>
                    </a:p>
                    <a:p>
                      <a:pPr marL="285750" indent="-285750">
                        <a:buFont typeface="Arial" panose="020B0604020202020204" pitchFamily="34" charset="0"/>
                        <a:buChar char="•"/>
                      </a:pPr>
                      <a:r>
                        <a:rPr lang="en-US" sz="1100" b="0" kern="1200" dirty="0">
                          <a:solidFill>
                            <a:schemeClr val="tx1"/>
                          </a:solidFill>
                          <a:latin typeface="+mn-lt"/>
                          <a:ea typeface="+mn-ea"/>
                          <a:cs typeface="+mn-cs"/>
                        </a:rPr>
                        <a:t>Ties marketing tactics at each stage of the journey</a:t>
                      </a:r>
                      <a:r>
                        <a:rPr lang="en-US" sz="1100" b="0" kern="1200" baseline="0" dirty="0">
                          <a:solidFill>
                            <a:schemeClr val="tx1"/>
                          </a:solidFill>
                          <a:latin typeface="+mn-lt"/>
                          <a:ea typeface="+mn-ea"/>
                          <a:cs typeface="+mn-cs"/>
                        </a:rPr>
                        <a:t> to a KPI that was indicative of: </a:t>
                      </a:r>
                    </a:p>
                    <a:p>
                      <a:pPr marL="742813" lvl="1" indent="-285750">
                        <a:buFont typeface="Courier New" panose="02070309020205020404" pitchFamily="49" charset="0"/>
                        <a:buChar char="o"/>
                      </a:pPr>
                      <a:r>
                        <a:rPr lang="en-US" sz="1100" b="0" kern="1200" baseline="0" dirty="0">
                          <a:solidFill>
                            <a:schemeClr val="tx1"/>
                          </a:solidFill>
                          <a:latin typeface="+mn-lt"/>
                          <a:ea typeface="+mn-ea"/>
                          <a:cs typeface="+mn-cs"/>
                        </a:rPr>
                        <a:t>Customer satisfaction level</a:t>
                      </a:r>
                    </a:p>
                    <a:p>
                      <a:pPr marL="742813" lvl="1" indent="-285750">
                        <a:buFont typeface="Courier New" panose="02070309020205020404" pitchFamily="49" charset="0"/>
                        <a:buChar char="o"/>
                      </a:pPr>
                      <a:r>
                        <a:rPr lang="en-US" sz="1100" b="0" kern="1200" baseline="0" dirty="0">
                          <a:solidFill>
                            <a:schemeClr val="tx1"/>
                          </a:solidFill>
                          <a:latin typeface="+mn-lt"/>
                          <a:ea typeface="+mn-ea"/>
                          <a:cs typeface="+mn-cs"/>
                        </a:rPr>
                        <a:t>Likelihood to engage relative to other journey stages</a:t>
                      </a:r>
                    </a:p>
                    <a:p>
                      <a:pPr marL="742813" lvl="1" indent="-285750">
                        <a:buFont typeface="Courier New" panose="02070309020205020404" pitchFamily="49" charset="0"/>
                        <a:buChar char="o"/>
                      </a:pPr>
                      <a:r>
                        <a:rPr lang="en-US" sz="1100" b="0" kern="1200" baseline="0" dirty="0">
                          <a:solidFill>
                            <a:schemeClr val="tx1"/>
                          </a:solidFill>
                          <a:latin typeface="+mn-lt"/>
                          <a:ea typeface="+mn-ea"/>
                          <a:cs typeface="+mn-cs"/>
                        </a:rPr>
                        <a:t>Likelihood to cancel</a:t>
                      </a:r>
                      <a:endParaRPr lang="en-US" sz="1100" b="0" kern="1200" dirty="0">
                        <a:solidFill>
                          <a:schemeClr val="tx1"/>
                        </a:solidFill>
                        <a:latin typeface="+mn-lt"/>
                        <a:ea typeface="+mn-ea"/>
                        <a:cs typeface="+mn-cs"/>
                      </a:endParaRPr>
                    </a:p>
                  </a:txBody>
                  <a:tcPr marL="228600" marT="13716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290513" indent="0" algn="l" defTabSz="914126" rtl="0" eaLnBrk="1" latinLnBrk="0" hangingPunct="1">
                        <a:spcAft>
                          <a:spcPts val="800"/>
                        </a:spcAft>
                      </a:pPr>
                      <a:r>
                        <a:rPr lang="en-US" sz="1200" b="1" kern="1200" dirty="0">
                          <a:solidFill>
                            <a:schemeClr val="tx1"/>
                          </a:solidFill>
                          <a:latin typeface="+mn-lt"/>
                          <a:ea typeface="+mn-ea"/>
                          <a:cs typeface="+mn-cs"/>
                        </a:rPr>
                        <a:t>Data Model </a:t>
                      </a:r>
                    </a:p>
                    <a:p>
                      <a:pPr marL="285750" marR="0" lvl="0" indent="-28575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kern="1200" baseline="0" dirty="0">
                          <a:solidFill>
                            <a:schemeClr val="tx1"/>
                          </a:solidFill>
                          <a:latin typeface="+mn-lt"/>
                          <a:ea typeface="+mn-ea"/>
                          <a:cs typeface="+mn-cs"/>
                        </a:rPr>
                        <a:t>Data aggregated across all data platforms, channels, and customer touchpoints and </a:t>
                      </a:r>
                      <a:r>
                        <a:rPr lang="en-US" sz="1100" b="0" kern="1200" dirty="0">
                          <a:solidFill>
                            <a:schemeClr val="tx1"/>
                          </a:solidFill>
                          <a:latin typeface="+mn-lt"/>
                          <a:ea typeface="+mn-ea"/>
                          <a:cs typeface="+mn-cs"/>
                        </a:rPr>
                        <a:t>gathered in a tiered fashion based on platform data (e.g.,</a:t>
                      </a:r>
                      <a:r>
                        <a:rPr lang="en-US" sz="1100" b="0" kern="1200" baseline="0" dirty="0">
                          <a:solidFill>
                            <a:schemeClr val="tx1"/>
                          </a:solidFill>
                          <a:latin typeface="+mn-lt"/>
                          <a:ea typeface="+mn-ea"/>
                          <a:cs typeface="+mn-cs"/>
                        </a:rPr>
                        <a:t> CRM, SAP HANA and web systems), emerging channels data (e.g., social media), back office channels (e.g., billing system, network usage data)</a:t>
                      </a:r>
                      <a:endParaRPr lang="en-US" sz="1100" b="0" kern="1200" dirty="0">
                        <a:solidFill>
                          <a:schemeClr val="tx1"/>
                        </a:solidFill>
                        <a:latin typeface="+mn-lt"/>
                        <a:ea typeface="+mn-ea"/>
                        <a:cs typeface="+mn-cs"/>
                      </a:endParaRPr>
                    </a:p>
                    <a:p>
                      <a:pPr marL="285750" indent="-285750">
                        <a:buFont typeface="Arial" panose="020B0604020202020204" pitchFamily="34" charset="0"/>
                        <a:buChar char="•"/>
                      </a:pPr>
                      <a:r>
                        <a:rPr lang="en-US" sz="1100" b="0" kern="1200" dirty="0">
                          <a:solidFill>
                            <a:schemeClr val="tx1"/>
                          </a:solidFill>
                          <a:latin typeface="+mn-lt"/>
                          <a:ea typeface="+mn-ea"/>
                          <a:cs typeface="+mn-cs"/>
                        </a:rPr>
                        <a:t>Enable</a:t>
                      </a:r>
                      <a:r>
                        <a:rPr lang="en-US" sz="1100" b="0" kern="1200" baseline="0" dirty="0">
                          <a:solidFill>
                            <a:schemeClr val="tx1"/>
                          </a:solidFill>
                          <a:latin typeface="+mn-lt"/>
                          <a:ea typeface="+mn-ea"/>
                          <a:cs typeface="+mn-cs"/>
                        </a:rPr>
                        <a:t> insights specific to product requests (e.g., upgrades) and service pain points (e.g., dropped calls)</a:t>
                      </a:r>
                      <a:endParaRPr lang="en-US" sz="1100" b="0" kern="1200" dirty="0">
                        <a:solidFill>
                          <a:schemeClr val="tx1"/>
                        </a:solidFill>
                        <a:latin typeface="+mn-lt"/>
                        <a:ea typeface="+mn-ea"/>
                        <a:cs typeface="+mn-cs"/>
                      </a:endParaRPr>
                    </a:p>
                  </a:txBody>
                  <a:tcPr marL="228600" marT="13716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0"/>
                  </a:ext>
                </a:extLst>
              </a:tr>
              <a:tr h="1490864">
                <a:tc>
                  <a:txBody>
                    <a:bodyPr/>
                    <a:lstStyle/>
                    <a:p>
                      <a:pPr marL="290513" indent="0" algn="l" defTabSz="914126" rtl="0" eaLnBrk="1" latinLnBrk="0" hangingPunct="1">
                        <a:spcAft>
                          <a:spcPts val="800"/>
                        </a:spcAft>
                      </a:pPr>
                      <a:r>
                        <a:rPr lang="en-US" sz="1200" b="1" kern="1200" dirty="0">
                          <a:solidFill>
                            <a:schemeClr val="tx1"/>
                          </a:solidFill>
                          <a:latin typeface="+mn-lt"/>
                          <a:ea typeface="+mn-ea"/>
                          <a:cs typeface="+mn-cs"/>
                        </a:rPr>
                        <a:t>Process &amp; Capabilities</a:t>
                      </a:r>
                    </a:p>
                    <a:p>
                      <a:pPr marL="285750" marR="0" lvl="0" indent="-28575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mn-lt"/>
                          <a:ea typeface="+mn-ea"/>
                          <a:cs typeface="+mn-cs"/>
                        </a:rPr>
                        <a:t>Consolidates offers cross-channel to provide consistency </a:t>
                      </a:r>
                    </a:p>
                    <a:p>
                      <a:pPr marL="285750" marR="0" lvl="0" indent="-28575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mn-lt"/>
                          <a:ea typeface="+mn-ea"/>
                          <a:cs typeface="+mn-cs"/>
                        </a:rPr>
                        <a:t>Process to determine if pilot is specific to one channel or cross-channel before building and deploying cross-functional agile team</a:t>
                      </a:r>
                      <a:endParaRPr lang="en-US" sz="1200" b="1" kern="1200" dirty="0">
                        <a:solidFill>
                          <a:schemeClr val="tx1"/>
                        </a:solidFill>
                        <a:latin typeface="+mn-lt"/>
                        <a:ea typeface="+mn-ea"/>
                        <a:cs typeface="+mn-cs"/>
                      </a:endParaRPr>
                    </a:p>
                  </a:txBody>
                  <a:tcPr marL="228600" marT="13716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290513" indent="0" algn="l" defTabSz="914126" rtl="0" eaLnBrk="1" latinLnBrk="0" hangingPunct="1">
                        <a:spcAft>
                          <a:spcPts val="800"/>
                        </a:spcAft>
                      </a:pPr>
                      <a:r>
                        <a:rPr lang="en-US" sz="1200" b="1" kern="1200" dirty="0">
                          <a:solidFill>
                            <a:schemeClr val="tx1"/>
                          </a:solidFill>
                          <a:latin typeface="+mn-lt"/>
                          <a:ea typeface="+mn-ea"/>
                          <a:cs typeface="+mn-cs"/>
                        </a:rPr>
                        <a:t>Decision (DACI)</a:t>
                      </a:r>
                    </a:p>
                    <a:p>
                      <a:pPr marL="285750" marR="0" lvl="0" indent="-28575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kern="1200" baseline="0" dirty="0">
                          <a:solidFill>
                            <a:schemeClr val="tx1"/>
                          </a:solidFill>
                          <a:latin typeface="+mn-lt"/>
                          <a:ea typeface="+mn-ea"/>
                          <a:cs typeface="+mn-cs"/>
                        </a:rPr>
                        <a:t>Minimal decision-making at executive levels – teams given autonomy to test and learn quickly and make decisions without fear of failure</a:t>
                      </a:r>
                      <a:endParaRPr lang="en-US" sz="1100" b="0" kern="1200" dirty="0">
                        <a:solidFill>
                          <a:schemeClr val="tx1"/>
                        </a:solidFill>
                        <a:latin typeface="+mn-lt"/>
                        <a:ea typeface="+mn-ea"/>
                        <a:cs typeface="+mn-cs"/>
                      </a:endParaRPr>
                    </a:p>
                  </a:txBody>
                  <a:tcPr marL="228600" marT="13716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290513" indent="0" algn="l" defTabSz="914126" rtl="0" eaLnBrk="1" latinLnBrk="0" hangingPunct="1">
                        <a:spcAft>
                          <a:spcPts val="800"/>
                        </a:spcAft>
                      </a:pPr>
                      <a:r>
                        <a:rPr lang="en-US" sz="1200" b="1" kern="1200" dirty="0">
                          <a:solidFill>
                            <a:schemeClr val="tx1"/>
                          </a:solidFill>
                          <a:latin typeface="+mn-lt"/>
                          <a:ea typeface="+mn-ea"/>
                          <a:cs typeface="+mn-cs"/>
                        </a:rPr>
                        <a:t>Organization </a:t>
                      </a:r>
                    </a:p>
                    <a:p>
                      <a:pPr marL="285750" indent="-285750">
                        <a:buFont typeface="Arial" panose="020B0604020202020204" pitchFamily="34" charset="0"/>
                        <a:buChar char="•"/>
                      </a:pPr>
                      <a:r>
                        <a:rPr lang="en-US" sz="1100" b="0" kern="1200" dirty="0">
                          <a:solidFill>
                            <a:schemeClr val="tx1"/>
                          </a:solidFill>
                          <a:latin typeface="+mn-lt"/>
                          <a:ea typeface="+mn-ea"/>
                          <a:cs typeface="+mn-cs"/>
                        </a:rPr>
                        <a:t>IT</a:t>
                      </a:r>
                      <a:r>
                        <a:rPr lang="en-US" sz="1100" b="0" kern="1200" baseline="0" dirty="0">
                          <a:solidFill>
                            <a:schemeClr val="tx1"/>
                          </a:solidFill>
                          <a:latin typeface="+mn-lt"/>
                          <a:ea typeface="+mn-ea"/>
                          <a:cs typeface="+mn-cs"/>
                        </a:rPr>
                        <a:t> organized SCRUM teams to deploy against pilot projects to understand how to better leverage technology to engage customers more effectively</a:t>
                      </a:r>
                    </a:p>
                    <a:p>
                      <a:pPr marL="285750" indent="-285750">
                        <a:buFont typeface="Arial" panose="020B0604020202020204" pitchFamily="34" charset="0"/>
                        <a:buChar char="•"/>
                      </a:pPr>
                      <a:r>
                        <a:rPr lang="en-US" sz="1100" b="0" kern="1200" baseline="0" dirty="0">
                          <a:solidFill>
                            <a:schemeClr val="tx1"/>
                          </a:solidFill>
                          <a:latin typeface="+mn-lt"/>
                          <a:ea typeface="+mn-ea"/>
                          <a:cs typeface="+mn-cs"/>
                        </a:rPr>
                        <a:t>VPs shifted to cross-channel oversight</a:t>
                      </a:r>
                      <a:endParaRPr lang="en-US" sz="1200" b="1" kern="1200" dirty="0">
                        <a:solidFill>
                          <a:schemeClr val="tx1"/>
                        </a:solidFill>
                        <a:latin typeface="+mn-lt"/>
                        <a:ea typeface="+mn-ea"/>
                        <a:cs typeface="+mn-cs"/>
                      </a:endParaRPr>
                    </a:p>
                  </a:txBody>
                  <a:tcPr marL="228600" marT="13716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graphicFrame>
        <p:nvGraphicFramePr>
          <p:cNvPr id="4" name="Table 3">
            <a:extLst>
              <a:ext uri="{FF2B5EF4-FFF2-40B4-BE49-F238E27FC236}">
                <a16:creationId xmlns:a16="http://schemas.microsoft.com/office/drawing/2014/main" id="{85ED11E0-CA9B-4310-8A7B-F96CCC65DF85}"/>
              </a:ext>
            </a:extLst>
          </p:cNvPr>
          <p:cNvGraphicFramePr>
            <a:graphicFrameLocks noGrp="1"/>
          </p:cNvGraphicFramePr>
          <p:nvPr/>
        </p:nvGraphicFramePr>
        <p:xfrm>
          <a:off x="914400" y="1992613"/>
          <a:ext cx="10763856" cy="716280"/>
        </p:xfrm>
        <a:graphic>
          <a:graphicData uri="http://schemas.openxmlformats.org/drawingml/2006/table">
            <a:tbl>
              <a:tblPr firstRow="1" bandRow="1">
                <a:tableStyleId>{5C22544A-7EE6-4342-B048-85BDC9FD1C3A}</a:tableStyleId>
              </a:tblPr>
              <a:tblGrid>
                <a:gridCol w="1977114">
                  <a:extLst>
                    <a:ext uri="{9D8B030D-6E8A-4147-A177-3AD203B41FA5}">
                      <a16:colId xmlns:a16="http://schemas.microsoft.com/office/drawing/2014/main" val="20000"/>
                    </a:ext>
                  </a:extLst>
                </a:gridCol>
                <a:gridCol w="8786742">
                  <a:extLst>
                    <a:ext uri="{9D8B030D-6E8A-4147-A177-3AD203B41FA5}">
                      <a16:colId xmlns:a16="http://schemas.microsoft.com/office/drawing/2014/main" val="20001"/>
                    </a:ext>
                  </a:extLst>
                </a:gridCol>
              </a:tblGrid>
              <a:tr h="154705">
                <a:tc>
                  <a:txBody>
                    <a:bodyPr/>
                    <a:lstStyle/>
                    <a:p>
                      <a:endParaRPr lang="en-US" sz="16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Aft>
                          <a:spcPts val="600"/>
                        </a:spcAft>
                      </a:pPr>
                      <a:r>
                        <a:rPr lang="en-US" sz="1200" dirty="0">
                          <a:solidFill>
                            <a:schemeClr val="tx2"/>
                          </a:solidFill>
                        </a:rPr>
                        <a:t>KEY</a:t>
                      </a:r>
                      <a:r>
                        <a:rPr lang="en-US" sz="1200" baseline="0" dirty="0">
                          <a:solidFill>
                            <a:schemeClr val="tx2"/>
                          </a:solidFill>
                        </a:rPr>
                        <a:t> THEME: </a:t>
                      </a:r>
                      <a:r>
                        <a:rPr lang="en-US" sz="1200" b="0" baseline="0" dirty="0">
                          <a:solidFill>
                            <a:schemeClr val="tx2"/>
                          </a:solidFill>
                        </a:rPr>
                        <a:t>Creating a multichannel customer engagement plan to build relationships &amp; retention</a:t>
                      </a:r>
                    </a:p>
                    <a:p>
                      <a:pPr>
                        <a:spcAft>
                          <a:spcPts val="600"/>
                        </a:spcAft>
                      </a:pPr>
                      <a:r>
                        <a:rPr lang="en-US" sz="1200" baseline="0" dirty="0">
                          <a:solidFill>
                            <a:schemeClr val="tx2"/>
                          </a:solidFill>
                        </a:rPr>
                        <a:t>RELEVANCE TO ADOBE: </a:t>
                      </a:r>
                      <a:r>
                        <a:rPr lang="en-US" sz="1200" b="0" baseline="0" dirty="0">
                          <a:solidFill>
                            <a:schemeClr val="tx2"/>
                          </a:solidFill>
                        </a:rPr>
                        <a:t>Ensuring “one voice” for go-to-market tactics and effectively engaging and learning from the customer throughout the journe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pSp>
        <p:nvGrpSpPr>
          <p:cNvPr id="5" name="Group 4">
            <a:extLst>
              <a:ext uri="{FF2B5EF4-FFF2-40B4-BE49-F238E27FC236}">
                <a16:creationId xmlns:a16="http://schemas.microsoft.com/office/drawing/2014/main" id="{17675C86-B8A6-42B4-9FEA-73F5F41BDD1D}"/>
              </a:ext>
            </a:extLst>
          </p:cNvPr>
          <p:cNvGrpSpPr/>
          <p:nvPr/>
        </p:nvGrpSpPr>
        <p:grpSpPr>
          <a:xfrm>
            <a:off x="1008743" y="2864974"/>
            <a:ext cx="365760" cy="365760"/>
            <a:chOff x="6693324" y="5746580"/>
            <a:chExt cx="575854" cy="411480"/>
          </a:xfrm>
        </p:grpSpPr>
        <p:sp>
          <p:nvSpPr>
            <p:cNvPr id="6" name="Freeform 28">
              <a:extLst>
                <a:ext uri="{FF2B5EF4-FFF2-40B4-BE49-F238E27FC236}">
                  <a16:creationId xmlns:a16="http://schemas.microsoft.com/office/drawing/2014/main" id="{5182F220-9F21-48AA-B9D3-147A1310ADEF}"/>
                </a:ext>
              </a:extLst>
            </p:cNvPr>
            <p:cNvSpPr>
              <a:spLocks noEditPoints="1"/>
            </p:cNvSpPr>
            <p:nvPr/>
          </p:nvSpPr>
          <p:spPr bwMode="auto">
            <a:xfrm>
              <a:off x="6693324" y="5746580"/>
              <a:ext cx="575854" cy="411480"/>
            </a:xfrm>
            <a:custGeom>
              <a:avLst/>
              <a:gdLst>
                <a:gd name="T0" fmla="*/ 312 w 659"/>
                <a:gd name="T1" fmla="*/ 657 h 657"/>
                <a:gd name="T2" fmla="*/ 262 w 659"/>
                <a:gd name="T3" fmla="*/ 652 h 657"/>
                <a:gd name="T4" fmla="*/ 202 w 659"/>
                <a:gd name="T5" fmla="*/ 632 h 657"/>
                <a:gd name="T6" fmla="*/ 120 w 659"/>
                <a:gd name="T7" fmla="*/ 583 h 657"/>
                <a:gd name="T8" fmla="*/ 57 w 659"/>
                <a:gd name="T9" fmla="*/ 512 h 657"/>
                <a:gd name="T10" fmla="*/ 15 w 659"/>
                <a:gd name="T11" fmla="*/ 426 h 657"/>
                <a:gd name="T12" fmla="*/ 4 w 659"/>
                <a:gd name="T13" fmla="*/ 379 h 657"/>
                <a:gd name="T14" fmla="*/ 0 w 659"/>
                <a:gd name="T15" fmla="*/ 329 h 657"/>
                <a:gd name="T16" fmla="*/ 2 w 659"/>
                <a:gd name="T17" fmla="*/ 296 h 657"/>
                <a:gd name="T18" fmla="*/ 11 w 659"/>
                <a:gd name="T19" fmla="*/ 247 h 657"/>
                <a:gd name="T20" fmla="*/ 41 w 659"/>
                <a:gd name="T21" fmla="*/ 172 h 657"/>
                <a:gd name="T22" fmla="*/ 97 w 659"/>
                <a:gd name="T23" fmla="*/ 97 h 657"/>
                <a:gd name="T24" fmla="*/ 172 w 659"/>
                <a:gd name="T25" fmla="*/ 40 h 657"/>
                <a:gd name="T26" fmla="*/ 248 w 659"/>
                <a:gd name="T27" fmla="*/ 11 h 657"/>
                <a:gd name="T28" fmla="*/ 296 w 659"/>
                <a:gd name="T29" fmla="*/ 1 h 657"/>
                <a:gd name="T30" fmla="*/ 330 w 659"/>
                <a:gd name="T31" fmla="*/ 0 h 657"/>
                <a:gd name="T32" fmla="*/ 379 w 659"/>
                <a:gd name="T33" fmla="*/ 4 h 657"/>
                <a:gd name="T34" fmla="*/ 426 w 659"/>
                <a:gd name="T35" fmla="*/ 15 h 657"/>
                <a:gd name="T36" fmla="*/ 514 w 659"/>
                <a:gd name="T37" fmla="*/ 56 h 657"/>
                <a:gd name="T38" fmla="*/ 584 w 659"/>
                <a:gd name="T39" fmla="*/ 120 h 657"/>
                <a:gd name="T40" fmla="*/ 632 w 659"/>
                <a:gd name="T41" fmla="*/ 202 h 657"/>
                <a:gd name="T42" fmla="*/ 652 w 659"/>
                <a:gd name="T43" fmla="*/ 262 h 657"/>
                <a:gd name="T44" fmla="*/ 658 w 659"/>
                <a:gd name="T45" fmla="*/ 312 h 657"/>
                <a:gd name="T46" fmla="*/ 658 w 659"/>
                <a:gd name="T47" fmla="*/ 345 h 657"/>
                <a:gd name="T48" fmla="*/ 652 w 659"/>
                <a:gd name="T49" fmla="*/ 395 h 657"/>
                <a:gd name="T50" fmla="*/ 632 w 659"/>
                <a:gd name="T51" fmla="*/ 457 h 657"/>
                <a:gd name="T52" fmla="*/ 584 w 659"/>
                <a:gd name="T53" fmla="*/ 538 h 657"/>
                <a:gd name="T54" fmla="*/ 514 w 659"/>
                <a:gd name="T55" fmla="*/ 602 h 657"/>
                <a:gd name="T56" fmla="*/ 426 w 659"/>
                <a:gd name="T57" fmla="*/ 642 h 657"/>
                <a:gd name="T58" fmla="*/ 379 w 659"/>
                <a:gd name="T59" fmla="*/ 654 h 657"/>
                <a:gd name="T60" fmla="*/ 330 w 659"/>
                <a:gd name="T61" fmla="*/ 657 h 657"/>
                <a:gd name="T62" fmla="*/ 330 w 659"/>
                <a:gd name="T63" fmla="*/ 38 h 657"/>
                <a:gd name="T64" fmla="*/ 242 w 659"/>
                <a:gd name="T65" fmla="*/ 51 h 657"/>
                <a:gd name="T66" fmla="*/ 167 w 659"/>
                <a:gd name="T67" fmla="*/ 87 h 657"/>
                <a:gd name="T68" fmla="*/ 105 w 659"/>
                <a:gd name="T69" fmla="*/ 144 h 657"/>
                <a:gd name="T70" fmla="*/ 61 w 659"/>
                <a:gd name="T71" fmla="*/ 215 h 657"/>
                <a:gd name="T72" fmla="*/ 39 w 659"/>
                <a:gd name="T73" fmla="*/ 300 h 657"/>
                <a:gd name="T74" fmla="*/ 39 w 659"/>
                <a:gd name="T75" fmla="*/ 359 h 657"/>
                <a:gd name="T76" fmla="*/ 61 w 659"/>
                <a:gd name="T77" fmla="*/ 442 h 657"/>
                <a:gd name="T78" fmla="*/ 105 w 659"/>
                <a:gd name="T79" fmla="*/ 515 h 657"/>
                <a:gd name="T80" fmla="*/ 167 w 659"/>
                <a:gd name="T81" fmla="*/ 570 h 657"/>
                <a:gd name="T82" fmla="*/ 242 w 659"/>
                <a:gd name="T83" fmla="*/ 607 h 657"/>
                <a:gd name="T84" fmla="*/ 330 w 659"/>
                <a:gd name="T85" fmla="*/ 620 h 657"/>
                <a:gd name="T86" fmla="*/ 387 w 659"/>
                <a:gd name="T87" fmla="*/ 614 h 657"/>
                <a:gd name="T88" fmla="*/ 468 w 659"/>
                <a:gd name="T89" fmla="*/ 585 h 657"/>
                <a:gd name="T90" fmla="*/ 535 w 659"/>
                <a:gd name="T91" fmla="*/ 535 h 657"/>
                <a:gd name="T92" fmla="*/ 585 w 659"/>
                <a:gd name="T93" fmla="*/ 468 h 657"/>
                <a:gd name="T94" fmla="*/ 615 w 659"/>
                <a:gd name="T95" fmla="*/ 387 h 657"/>
                <a:gd name="T96" fmla="*/ 621 w 659"/>
                <a:gd name="T97" fmla="*/ 329 h 657"/>
                <a:gd name="T98" fmla="*/ 608 w 659"/>
                <a:gd name="T99" fmla="*/ 242 h 657"/>
                <a:gd name="T100" fmla="*/ 570 w 659"/>
                <a:gd name="T101" fmla="*/ 167 h 657"/>
                <a:gd name="T102" fmla="*/ 515 w 659"/>
                <a:gd name="T103" fmla="*/ 105 h 657"/>
                <a:gd name="T104" fmla="*/ 443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6"/>
                  </a:lnTo>
                  <a:lnTo>
                    <a:pt x="280" y="654"/>
                  </a:lnTo>
                  <a:lnTo>
                    <a:pt x="262" y="652"/>
                  </a:lnTo>
                  <a:lnTo>
                    <a:pt x="248" y="648"/>
                  </a:lnTo>
                  <a:lnTo>
                    <a:pt x="232" y="642"/>
                  </a:lnTo>
                  <a:lnTo>
                    <a:pt x="202" y="632"/>
                  </a:lnTo>
                  <a:lnTo>
                    <a:pt x="172" y="618"/>
                  </a:lnTo>
                  <a:lnTo>
                    <a:pt x="146" y="602"/>
                  </a:lnTo>
                  <a:lnTo>
                    <a:pt x="120" y="583"/>
                  </a:lnTo>
                  <a:lnTo>
                    <a:pt x="97" y="562"/>
                  </a:lnTo>
                  <a:lnTo>
                    <a:pt x="76" y="538"/>
                  </a:lnTo>
                  <a:lnTo>
                    <a:pt x="57" y="512"/>
                  </a:lnTo>
                  <a:lnTo>
                    <a:pt x="41" y="485"/>
                  </a:lnTo>
                  <a:lnTo>
                    <a:pt x="26" y="457"/>
                  </a:lnTo>
                  <a:lnTo>
                    <a:pt x="15" y="426"/>
                  </a:lnTo>
                  <a:lnTo>
                    <a:pt x="11" y="411"/>
                  </a:lnTo>
                  <a:lnTo>
                    <a:pt x="7" y="395"/>
                  </a:lnTo>
                  <a:lnTo>
                    <a:pt x="4" y="379"/>
                  </a:lnTo>
                  <a:lnTo>
                    <a:pt x="2" y="363"/>
                  </a:lnTo>
                  <a:lnTo>
                    <a:pt x="0" y="345"/>
                  </a:lnTo>
                  <a:lnTo>
                    <a:pt x="0" y="329"/>
                  </a:lnTo>
                  <a:lnTo>
                    <a:pt x="0" y="329"/>
                  </a:lnTo>
                  <a:lnTo>
                    <a:pt x="0" y="312"/>
                  </a:lnTo>
                  <a:lnTo>
                    <a:pt x="2" y="296"/>
                  </a:lnTo>
                  <a:lnTo>
                    <a:pt x="4" y="279"/>
                  </a:lnTo>
                  <a:lnTo>
                    <a:pt x="7" y="262"/>
                  </a:lnTo>
                  <a:lnTo>
                    <a:pt x="11" y="247"/>
                  </a:lnTo>
                  <a:lnTo>
                    <a:pt x="15" y="231"/>
                  </a:lnTo>
                  <a:lnTo>
                    <a:pt x="26" y="202"/>
                  </a:lnTo>
                  <a:lnTo>
                    <a:pt x="41" y="172"/>
                  </a:lnTo>
                  <a:lnTo>
                    <a:pt x="57" y="145"/>
                  </a:lnTo>
                  <a:lnTo>
                    <a:pt x="76" y="120"/>
                  </a:lnTo>
                  <a:lnTo>
                    <a:pt x="97" y="97"/>
                  </a:lnTo>
                  <a:lnTo>
                    <a:pt x="120" y="75"/>
                  </a:lnTo>
                  <a:lnTo>
                    <a:pt x="146" y="56"/>
                  </a:lnTo>
                  <a:lnTo>
                    <a:pt x="172" y="40"/>
                  </a:lnTo>
                  <a:lnTo>
                    <a:pt x="202" y="25"/>
                  </a:lnTo>
                  <a:lnTo>
                    <a:pt x="232" y="15"/>
                  </a:lnTo>
                  <a:lnTo>
                    <a:pt x="248" y="11"/>
                  </a:lnTo>
                  <a:lnTo>
                    <a:pt x="262" y="7"/>
                  </a:lnTo>
                  <a:lnTo>
                    <a:pt x="280" y="4"/>
                  </a:lnTo>
                  <a:lnTo>
                    <a:pt x="296" y="1"/>
                  </a:lnTo>
                  <a:lnTo>
                    <a:pt x="312" y="0"/>
                  </a:lnTo>
                  <a:lnTo>
                    <a:pt x="330" y="0"/>
                  </a:lnTo>
                  <a:lnTo>
                    <a:pt x="330" y="0"/>
                  </a:lnTo>
                  <a:lnTo>
                    <a:pt x="346" y="0"/>
                  </a:lnTo>
                  <a:lnTo>
                    <a:pt x="363" y="1"/>
                  </a:lnTo>
                  <a:lnTo>
                    <a:pt x="379" y="4"/>
                  </a:lnTo>
                  <a:lnTo>
                    <a:pt x="395" y="7"/>
                  </a:lnTo>
                  <a:lnTo>
                    <a:pt x="412" y="11"/>
                  </a:lnTo>
                  <a:lnTo>
                    <a:pt x="426" y="15"/>
                  </a:lnTo>
                  <a:lnTo>
                    <a:pt x="457" y="25"/>
                  </a:lnTo>
                  <a:lnTo>
                    <a:pt x="486" y="40"/>
                  </a:lnTo>
                  <a:lnTo>
                    <a:pt x="514" y="56"/>
                  </a:lnTo>
                  <a:lnTo>
                    <a:pt x="538" y="75"/>
                  </a:lnTo>
                  <a:lnTo>
                    <a:pt x="562" y="97"/>
                  </a:lnTo>
                  <a:lnTo>
                    <a:pt x="584" y="120"/>
                  </a:lnTo>
                  <a:lnTo>
                    <a:pt x="602" y="145"/>
                  </a:lnTo>
                  <a:lnTo>
                    <a:pt x="619" y="172"/>
                  </a:lnTo>
                  <a:lnTo>
                    <a:pt x="632" y="202"/>
                  </a:lnTo>
                  <a:lnTo>
                    <a:pt x="644" y="231"/>
                  </a:lnTo>
                  <a:lnTo>
                    <a:pt x="648" y="247"/>
                  </a:lnTo>
                  <a:lnTo>
                    <a:pt x="652" y="262"/>
                  </a:lnTo>
                  <a:lnTo>
                    <a:pt x="655" y="279"/>
                  </a:lnTo>
                  <a:lnTo>
                    <a:pt x="656" y="296"/>
                  </a:lnTo>
                  <a:lnTo>
                    <a:pt x="658" y="312"/>
                  </a:lnTo>
                  <a:lnTo>
                    <a:pt x="659" y="329"/>
                  </a:lnTo>
                  <a:lnTo>
                    <a:pt x="659" y="329"/>
                  </a:lnTo>
                  <a:lnTo>
                    <a:pt x="658" y="345"/>
                  </a:lnTo>
                  <a:lnTo>
                    <a:pt x="656" y="363"/>
                  </a:lnTo>
                  <a:lnTo>
                    <a:pt x="655" y="379"/>
                  </a:lnTo>
                  <a:lnTo>
                    <a:pt x="652" y="395"/>
                  </a:lnTo>
                  <a:lnTo>
                    <a:pt x="648" y="411"/>
                  </a:lnTo>
                  <a:lnTo>
                    <a:pt x="644" y="426"/>
                  </a:lnTo>
                  <a:lnTo>
                    <a:pt x="632" y="457"/>
                  </a:lnTo>
                  <a:lnTo>
                    <a:pt x="619" y="485"/>
                  </a:lnTo>
                  <a:lnTo>
                    <a:pt x="602" y="512"/>
                  </a:lnTo>
                  <a:lnTo>
                    <a:pt x="584" y="538"/>
                  </a:lnTo>
                  <a:lnTo>
                    <a:pt x="562" y="562"/>
                  </a:lnTo>
                  <a:lnTo>
                    <a:pt x="538" y="583"/>
                  </a:lnTo>
                  <a:lnTo>
                    <a:pt x="514" y="602"/>
                  </a:lnTo>
                  <a:lnTo>
                    <a:pt x="486" y="618"/>
                  </a:lnTo>
                  <a:lnTo>
                    <a:pt x="457" y="632"/>
                  </a:lnTo>
                  <a:lnTo>
                    <a:pt x="426" y="642"/>
                  </a:lnTo>
                  <a:lnTo>
                    <a:pt x="412" y="648"/>
                  </a:lnTo>
                  <a:lnTo>
                    <a:pt x="395" y="652"/>
                  </a:lnTo>
                  <a:lnTo>
                    <a:pt x="379" y="654"/>
                  </a:lnTo>
                  <a:lnTo>
                    <a:pt x="363" y="656"/>
                  </a:lnTo>
                  <a:lnTo>
                    <a:pt x="346" y="657"/>
                  </a:lnTo>
                  <a:lnTo>
                    <a:pt x="330" y="657"/>
                  </a:lnTo>
                  <a:lnTo>
                    <a:pt x="330" y="657"/>
                  </a:lnTo>
                  <a:close/>
                  <a:moveTo>
                    <a:pt x="330" y="38"/>
                  </a:moveTo>
                  <a:lnTo>
                    <a:pt x="330" y="38"/>
                  </a:lnTo>
                  <a:lnTo>
                    <a:pt x="300" y="39"/>
                  </a:lnTo>
                  <a:lnTo>
                    <a:pt x="271" y="43"/>
                  </a:lnTo>
                  <a:lnTo>
                    <a:pt x="242" y="51"/>
                  </a:lnTo>
                  <a:lnTo>
                    <a:pt x="215" y="60"/>
                  </a:lnTo>
                  <a:lnTo>
                    <a:pt x="191" y="73"/>
                  </a:lnTo>
                  <a:lnTo>
                    <a:pt x="167" y="87"/>
                  </a:lnTo>
                  <a:lnTo>
                    <a:pt x="144" y="105"/>
                  </a:lnTo>
                  <a:lnTo>
                    <a:pt x="124" y="124"/>
                  </a:lnTo>
                  <a:lnTo>
                    <a:pt x="105" y="144"/>
                  </a:lnTo>
                  <a:lnTo>
                    <a:pt x="88" y="167"/>
                  </a:lnTo>
                  <a:lnTo>
                    <a:pt x="73" y="189"/>
                  </a:lnTo>
                  <a:lnTo>
                    <a:pt x="61" y="215"/>
                  </a:lnTo>
                  <a:lnTo>
                    <a:pt x="51" y="242"/>
                  </a:lnTo>
                  <a:lnTo>
                    <a:pt x="43" y="270"/>
                  </a:lnTo>
                  <a:lnTo>
                    <a:pt x="39" y="300"/>
                  </a:lnTo>
                  <a:lnTo>
                    <a:pt x="38" y="329"/>
                  </a:lnTo>
                  <a:lnTo>
                    <a:pt x="38" y="329"/>
                  </a:lnTo>
                  <a:lnTo>
                    <a:pt x="39" y="359"/>
                  </a:lnTo>
                  <a:lnTo>
                    <a:pt x="43" y="387"/>
                  </a:lnTo>
                  <a:lnTo>
                    <a:pt x="51" y="415"/>
                  </a:lnTo>
                  <a:lnTo>
                    <a:pt x="61" y="442"/>
                  </a:lnTo>
                  <a:lnTo>
                    <a:pt x="73" y="468"/>
                  </a:lnTo>
                  <a:lnTo>
                    <a:pt x="88" y="492"/>
                  </a:lnTo>
                  <a:lnTo>
                    <a:pt x="105" y="515"/>
                  </a:lnTo>
                  <a:lnTo>
                    <a:pt x="124" y="535"/>
                  </a:lnTo>
                  <a:lnTo>
                    <a:pt x="144" y="554"/>
                  </a:lnTo>
                  <a:lnTo>
                    <a:pt x="167" y="570"/>
                  </a:lnTo>
                  <a:lnTo>
                    <a:pt x="191" y="585"/>
                  </a:lnTo>
                  <a:lnTo>
                    <a:pt x="215" y="597"/>
                  </a:lnTo>
                  <a:lnTo>
                    <a:pt x="242" y="607"/>
                  </a:lnTo>
                  <a:lnTo>
                    <a:pt x="271" y="614"/>
                  </a:lnTo>
                  <a:lnTo>
                    <a:pt x="300" y="618"/>
                  </a:lnTo>
                  <a:lnTo>
                    <a:pt x="330" y="620"/>
                  </a:lnTo>
                  <a:lnTo>
                    <a:pt x="330" y="620"/>
                  </a:lnTo>
                  <a:lnTo>
                    <a:pt x="359" y="618"/>
                  </a:lnTo>
                  <a:lnTo>
                    <a:pt x="387" y="614"/>
                  </a:lnTo>
                  <a:lnTo>
                    <a:pt x="416" y="607"/>
                  </a:lnTo>
                  <a:lnTo>
                    <a:pt x="443" y="597"/>
                  </a:lnTo>
                  <a:lnTo>
                    <a:pt x="468" y="585"/>
                  </a:lnTo>
                  <a:lnTo>
                    <a:pt x="492" y="570"/>
                  </a:lnTo>
                  <a:lnTo>
                    <a:pt x="515" y="554"/>
                  </a:lnTo>
                  <a:lnTo>
                    <a:pt x="535" y="535"/>
                  </a:lnTo>
                  <a:lnTo>
                    <a:pt x="554" y="515"/>
                  </a:lnTo>
                  <a:lnTo>
                    <a:pt x="570" y="492"/>
                  </a:lnTo>
                  <a:lnTo>
                    <a:pt x="585" y="468"/>
                  </a:lnTo>
                  <a:lnTo>
                    <a:pt x="597" y="442"/>
                  </a:lnTo>
                  <a:lnTo>
                    <a:pt x="608" y="415"/>
                  </a:lnTo>
                  <a:lnTo>
                    <a:pt x="615" y="387"/>
                  </a:lnTo>
                  <a:lnTo>
                    <a:pt x="619" y="359"/>
                  </a:lnTo>
                  <a:lnTo>
                    <a:pt x="621" y="329"/>
                  </a:lnTo>
                  <a:lnTo>
                    <a:pt x="621" y="329"/>
                  </a:lnTo>
                  <a:lnTo>
                    <a:pt x="619" y="300"/>
                  </a:lnTo>
                  <a:lnTo>
                    <a:pt x="615" y="270"/>
                  </a:lnTo>
                  <a:lnTo>
                    <a:pt x="608" y="242"/>
                  </a:lnTo>
                  <a:lnTo>
                    <a:pt x="597" y="215"/>
                  </a:lnTo>
                  <a:lnTo>
                    <a:pt x="585" y="189"/>
                  </a:lnTo>
                  <a:lnTo>
                    <a:pt x="570" y="167"/>
                  </a:lnTo>
                  <a:lnTo>
                    <a:pt x="554" y="144"/>
                  </a:lnTo>
                  <a:lnTo>
                    <a:pt x="535" y="124"/>
                  </a:lnTo>
                  <a:lnTo>
                    <a:pt x="515" y="105"/>
                  </a:lnTo>
                  <a:lnTo>
                    <a:pt x="492" y="87"/>
                  </a:lnTo>
                  <a:lnTo>
                    <a:pt x="468" y="73"/>
                  </a:lnTo>
                  <a:lnTo>
                    <a:pt x="443" y="60"/>
                  </a:lnTo>
                  <a:lnTo>
                    <a:pt x="416" y="51"/>
                  </a:lnTo>
                  <a:lnTo>
                    <a:pt x="387" y="43"/>
                  </a:lnTo>
                  <a:lnTo>
                    <a:pt x="359" y="39"/>
                  </a:lnTo>
                  <a:lnTo>
                    <a:pt x="330" y="38"/>
                  </a:lnTo>
                  <a:lnTo>
                    <a:pt x="330"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 name="Freeform 132">
              <a:extLst>
                <a:ext uri="{FF2B5EF4-FFF2-40B4-BE49-F238E27FC236}">
                  <a16:creationId xmlns:a16="http://schemas.microsoft.com/office/drawing/2014/main" id="{5B7B0D39-4BD1-41F9-A488-D8826084AFF9}"/>
                </a:ext>
              </a:extLst>
            </p:cNvPr>
            <p:cNvSpPr>
              <a:spLocks/>
            </p:cNvSpPr>
            <p:nvPr/>
          </p:nvSpPr>
          <p:spPr bwMode="auto">
            <a:xfrm>
              <a:off x="6829848" y="5929182"/>
              <a:ext cx="85766" cy="107560"/>
            </a:xfrm>
            <a:custGeom>
              <a:avLst/>
              <a:gdLst>
                <a:gd name="T0" fmla="*/ 86 w 97"/>
                <a:gd name="T1" fmla="*/ 92 h 172"/>
                <a:gd name="T2" fmla="*/ 86 w 97"/>
                <a:gd name="T3" fmla="*/ 0 h 172"/>
                <a:gd name="T4" fmla="*/ 6 w 97"/>
                <a:gd name="T5" fmla="*/ 0 h 172"/>
                <a:gd name="T6" fmla="*/ 6 w 97"/>
                <a:gd name="T7" fmla="*/ 0 h 172"/>
                <a:gd name="T8" fmla="*/ 4 w 97"/>
                <a:gd name="T9" fmla="*/ 2 h 172"/>
                <a:gd name="T10" fmla="*/ 3 w 97"/>
                <a:gd name="T11" fmla="*/ 3 h 172"/>
                <a:gd name="T12" fmla="*/ 2 w 97"/>
                <a:gd name="T13" fmla="*/ 4 h 172"/>
                <a:gd name="T14" fmla="*/ 0 w 97"/>
                <a:gd name="T15" fmla="*/ 6 h 172"/>
                <a:gd name="T16" fmla="*/ 0 w 97"/>
                <a:gd name="T17" fmla="*/ 59 h 172"/>
                <a:gd name="T18" fmla="*/ 0 w 97"/>
                <a:gd name="T19" fmla="*/ 59 h 172"/>
                <a:gd name="T20" fmla="*/ 2 w 97"/>
                <a:gd name="T21" fmla="*/ 62 h 172"/>
                <a:gd name="T22" fmla="*/ 3 w 97"/>
                <a:gd name="T23" fmla="*/ 63 h 172"/>
                <a:gd name="T24" fmla="*/ 33 w 97"/>
                <a:gd name="T25" fmla="*/ 94 h 172"/>
                <a:gd name="T26" fmla="*/ 33 w 97"/>
                <a:gd name="T27" fmla="*/ 167 h 172"/>
                <a:gd name="T28" fmla="*/ 33 w 97"/>
                <a:gd name="T29" fmla="*/ 167 h 172"/>
                <a:gd name="T30" fmla="*/ 34 w 97"/>
                <a:gd name="T31" fmla="*/ 170 h 172"/>
                <a:gd name="T32" fmla="*/ 35 w 97"/>
                <a:gd name="T33" fmla="*/ 171 h 172"/>
                <a:gd name="T34" fmla="*/ 37 w 97"/>
                <a:gd name="T35" fmla="*/ 172 h 172"/>
                <a:gd name="T36" fmla="*/ 38 w 97"/>
                <a:gd name="T37" fmla="*/ 172 h 172"/>
                <a:gd name="T38" fmla="*/ 92 w 97"/>
                <a:gd name="T39" fmla="*/ 172 h 172"/>
                <a:gd name="T40" fmla="*/ 92 w 97"/>
                <a:gd name="T41" fmla="*/ 172 h 172"/>
                <a:gd name="T42" fmla="*/ 94 w 97"/>
                <a:gd name="T43" fmla="*/ 172 h 172"/>
                <a:gd name="T44" fmla="*/ 96 w 97"/>
                <a:gd name="T45" fmla="*/ 171 h 172"/>
                <a:gd name="T46" fmla="*/ 97 w 97"/>
                <a:gd name="T47" fmla="*/ 170 h 172"/>
                <a:gd name="T48" fmla="*/ 97 w 97"/>
                <a:gd name="T49" fmla="*/ 167 h 172"/>
                <a:gd name="T50" fmla="*/ 97 w 97"/>
                <a:gd name="T51" fmla="*/ 109 h 172"/>
                <a:gd name="T52" fmla="*/ 92 w 97"/>
                <a:gd name="T53" fmla="*/ 104 h 172"/>
                <a:gd name="T54" fmla="*/ 92 w 97"/>
                <a:gd name="T55" fmla="*/ 104 h 172"/>
                <a:gd name="T56" fmla="*/ 88 w 97"/>
                <a:gd name="T57" fmla="*/ 98 h 172"/>
                <a:gd name="T58" fmla="*/ 86 w 97"/>
                <a:gd name="T59" fmla="*/ 92 h 172"/>
                <a:gd name="T60" fmla="*/ 86 w 97"/>
                <a:gd name="T61" fmla="*/ 9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86" y="92"/>
                  </a:moveTo>
                  <a:lnTo>
                    <a:pt x="86" y="0"/>
                  </a:lnTo>
                  <a:lnTo>
                    <a:pt x="6" y="0"/>
                  </a:lnTo>
                  <a:lnTo>
                    <a:pt x="6" y="0"/>
                  </a:lnTo>
                  <a:lnTo>
                    <a:pt x="4" y="2"/>
                  </a:lnTo>
                  <a:lnTo>
                    <a:pt x="3" y="3"/>
                  </a:lnTo>
                  <a:lnTo>
                    <a:pt x="2" y="4"/>
                  </a:lnTo>
                  <a:lnTo>
                    <a:pt x="0" y="6"/>
                  </a:lnTo>
                  <a:lnTo>
                    <a:pt x="0" y="59"/>
                  </a:lnTo>
                  <a:lnTo>
                    <a:pt x="0" y="59"/>
                  </a:lnTo>
                  <a:lnTo>
                    <a:pt x="2" y="62"/>
                  </a:lnTo>
                  <a:lnTo>
                    <a:pt x="3" y="63"/>
                  </a:lnTo>
                  <a:lnTo>
                    <a:pt x="33" y="94"/>
                  </a:lnTo>
                  <a:lnTo>
                    <a:pt x="33" y="167"/>
                  </a:lnTo>
                  <a:lnTo>
                    <a:pt x="33" y="167"/>
                  </a:lnTo>
                  <a:lnTo>
                    <a:pt x="34" y="170"/>
                  </a:lnTo>
                  <a:lnTo>
                    <a:pt x="35" y="171"/>
                  </a:lnTo>
                  <a:lnTo>
                    <a:pt x="37" y="172"/>
                  </a:lnTo>
                  <a:lnTo>
                    <a:pt x="38" y="172"/>
                  </a:lnTo>
                  <a:lnTo>
                    <a:pt x="92" y="172"/>
                  </a:lnTo>
                  <a:lnTo>
                    <a:pt x="92" y="172"/>
                  </a:lnTo>
                  <a:lnTo>
                    <a:pt x="94" y="172"/>
                  </a:lnTo>
                  <a:lnTo>
                    <a:pt x="96" y="171"/>
                  </a:lnTo>
                  <a:lnTo>
                    <a:pt x="97" y="170"/>
                  </a:lnTo>
                  <a:lnTo>
                    <a:pt x="97" y="167"/>
                  </a:lnTo>
                  <a:lnTo>
                    <a:pt x="97" y="109"/>
                  </a:lnTo>
                  <a:lnTo>
                    <a:pt x="92" y="104"/>
                  </a:lnTo>
                  <a:lnTo>
                    <a:pt x="92" y="104"/>
                  </a:lnTo>
                  <a:lnTo>
                    <a:pt x="88" y="98"/>
                  </a:lnTo>
                  <a:lnTo>
                    <a:pt x="86" y="92"/>
                  </a:lnTo>
                  <a:lnTo>
                    <a:pt x="86" y="9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 name="Freeform 133">
              <a:extLst>
                <a:ext uri="{FF2B5EF4-FFF2-40B4-BE49-F238E27FC236}">
                  <a16:creationId xmlns:a16="http://schemas.microsoft.com/office/drawing/2014/main" id="{80419C8E-8AC0-4A4A-B30D-243D95B52E42}"/>
                </a:ext>
              </a:extLst>
            </p:cNvPr>
            <p:cNvSpPr>
              <a:spLocks/>
            </p:cNvSpPr>
            <p:nvPr/>
          </p:nvSpPr>
          <p:spPr bwMode="auto">
            <a:xfrm>
              <a:off x="7046887" y="5929182"/>
              <a:ext cx="85766" cy="107560"/>
            </a:xfrm>
            <a:custGeom>
              <a:avLst/>
              <a:gdLst>
                <a:gd name="T0" fmla="*/ 91 w 97"/>
                <a:gd name="T1" fmla="*/ 0 h 172"/>
                <a:gd name="T2" fmla="*/ 11 w 97"/>
                <a:gd name="T3" fmla="*/ 0 h 172"/>
                <a:gd name="T4" fmla="*/ 11 w 97"/>
                <a:gd name="T5" fmla="*/ 92 h 172"/>
                <a:gd name="T6" fmla="*/ 11 w 97"/>
                <a:gd name="T7" fmla="*/ 92 h 172"/>
                <a:gd name="T8" fmla="*/ 9 w 97"/>
                <a:gd name="T9" fmla="*/ 98 h 172"/>
                <a:gd name="T10" fmla="*/ 7 w 97"/>
                <a:gd name="T11" fmla="*/ 104 h 172"/>
                <a:gd name="T12" fmla="*/ 0 w 97"/>
                <a:gd name="T13" fmla="*/ 109 h 172"/>
                <a:gd name="T14" fmla="*/ 0 w 97"/>
                <a:gd name="T15" fmla="*/ 167 h 172"/>
                <a:gd name="T16" fmla="*/ 0 w 97"/>
                <a:gd name="T17" fmla="*/ 167 h 172"/>
                <a:gd name="T18" fmla="*/ 1 w 97"/>
                <a:gd name="T19" fmla="*/ 170 h 172"/>
                <a:gd name="T20" fmla="*/ 1 w 97"/>
                <a:gd name="T21" fmla="*/ 171 h 172"/>
                <a:gd name="T22" fmla="*/ 4 w 97"/>
                <a:gd name="T23" fmla="*/ 172 h 172"/>
                <a:gd name="T24" fmla="*/ 5 w 97"/>
                <a:gd name="T25" fmla="*/ 172 h 172"/>
                <a:gd name="T26" fmla="*/ 59 w 97"/>
                <a:gd name="T27" fmla="*/ 172 h 172"/>
                <a:gd name="T28" fmla="*/ 59 w 97"/>
                <a:gd name="T29" fmla="*/ 172 h 172"/>
                <a:gd name="T30" fmla="*/ 62 w 97"/>
                <a:gd name="T31" fmla="*/ 172 h 172"/>
                <a:gd name="T32" fmla="*/ 63 w 97"/>
                <a:gd name="T33" fmla="*/ 171 h 172"/>
                <a:gd name="T34" fmla="*/ 64 w 97"/>
                <a:gd name="T35" fmla="*/ 170 h 172"/>
                <a:gd name="T36" fmla="*/ 64 w 97"/>
                <a:gd name="T37" fmla="*/ 167 h 172"/>
                <a:gd name="T38" fmla="*/ 64 w 97"/>
                <a:gd name="T39" fmla="*/ 94 h 172"/>
                <a:gd name="T40" fmla="*/ 95 w 97"/>
                <a:gd name="T41" fmla="*/ 63 h 172"/>
                <a:gd name="T42" fmla="*/ 95 w 97"/>
                <a:gd name="T43" fmla="*/ 63 h 172"/>
                <a:gd name="T44" fmla="*/ 97 w 97"/>
                <a:gd name="T45" fmla="*/ 62 h 172"/>
                <a:gd name="T46" fmla="*/ 97 w 97"/>
                <a:gd name="T47" fmla="*/ 59 h 172"/>
                <a:gd name="T48" fmla="*/ 97 w 97"/>
                <a:gd name="T49" fmla="*/ 6 h 172"/>
                <a:gd name="T50" fmla="*/ 97 w 97"/>
                <a:gd name="T51" fmla="*/ 6 h 172"/>
                <a:gd name="T52" fmla="*/ 97 w 97"/>
                <a:gd name="T53" fmla="*/ 4 h 172"/>
                <a:gd name="T54" fmla="*/ 95 w 97"/>
                <a:gd name="T55" fmla="*/ 3 h 172"/>
                <a:gd name="T56" fmla="*/ 94 w 97"/>
                <a:gd name="T57" fmla="*/ 2 h 172"/>
                <a:gd name="T58" fmla="*/ 91 w 97"/>
                <a:gd name="T59" fmla="*/ 0 h 172"/>
                <a:gd name="T60" fmla="*/ 91 w 97"/>
                <a:gd name="T6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91" y="0"/>
                  </a:moveTo>
                  <a:lnTo>
                    <a:pt x="11" y="0"/>
                  </a:lnTo>
                  <a:lnTo>
                    <a:pt x="11" y="92"/>
                  </a:lnTo>
                  <a:lnTo>
                    <a:pt x="11" y="92"/>
                  </a:lnTo>
                  <a:lnTo>
                    <a:pt x="9" y="98"/>
                  </a:lnTo>
                  <a:lnTo>
                    <a:pt x="7" y="104"/>
                  </a:lnTo>
                  <a:lnTo>
                    <a:pt x="0" y="109"/>
                  </a:lnTo>
                  <a:lnTo>
                    <a:pt x="0" y="167"/>
                  </a:lnTo>
                  <a:lnTo>
                    <a:pt x="0" y="167"/>
                  </a:lnTo>
                  <a:lnTo>
                    <a:pt x="1" y="170"/>
                  </a:lnTo>
                  <a:lnTo>
                    <a:pt x="1" y="171"/>
                  </a:lnTo>
                  <a:lnTo>
                    <a:pt x="4" y="172"/>
                  </a:lnTo>
                  <a:lnTo>
                    <a:pt x="5" y="172"/>
                  </a:lnTo>
                  <a:lnTo>
                    <a:pt x="59" y="172"/>
                  </a:lnTo>
                  <a:lnTo>
                    <a:pt x="59" y="172"/>
                  </a:lnTo>
                  <a:lnTo>
                    <a:pt x="62" y="172"/>
                  </a:lnTo>
                  <a:lnTo>
                    <a:pt x="63" y="171"/>
                  </a:lnTo>
                  <a:lnTo>
                    <a:pt x="64" y="170"/>
                  </a:lnTo>
                  <a:lnTo>
                    <a:pt x="64" y="167"/>
                  </a:lnTo>
                  <a:lnTo>
                    <a:pt x="64" y="94"/>
                  </a:lnTo>
                  <a:lnTo>
                    <a:pt x="95" y="63"/>
                  </a:lnTo>
                  <a:lnTo>
                    <a:pt x="95" y="63"/>
                  </a:lnTo>
                  <a:lnTo>
                    <a:pt x="97" y="62"/>
                  </a:lnTo>
                  <a:lnTo>
                    <a:pt x="97" y="59"/>
                  </a:lnTo>
                  <a:lnTo>
                    <a:pt x="97" y="6"/>
                  </a:lnTo>
                  <a:lnTo>
                    <a:pt x="97" y="6"/>
                  </a:lnTo>
                  <a:lnTo>
                    <a:pt x="97" y="4"/>
                  </a:lnTo>
                  <a:lnTo>
                    <a:pt x="95" y="3"/>
                  </a:lnTo>
                  <a:lnTo>
                    <a:pt x="94" y="2"/>
                  </a:lnTo>
                  <a:lnTo>
                    <a:pt x="91" y="0"/>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 name="Freeform 134">
              <a:extLst>
                <a:ext uri="{FF2B5EF4-FFF2-40B4-BE49-F238E27FC236}">
                  <a16:creationId xmlns:a16="http://schemas.microsoft.com/office/drawing/2014/main" id="{1ECFA2F1-22D9-42AA-8C02-7001FBF3B609}"/>
                </a:ext>
              </a:extLst>
            </p:cNvPr>
            <p:cNvSpPr>
              <a:spLocks/>
            </p:cNvSpPr>
            <p:nvPr/>
          </p:nvSpPr>
          <p:spPr bwMode="auto">
            <a:xfrm>
              <a:off x="6920865" y="5929182"/>
              <a:ext cx="122522" cy="135075"/>
            </a:xfrm>
            <a:custGeom>
              <a:avLst/>
              <a:gdLst>
                <a:gd name="T0" fmla="*/ 134 w 140"/>
                <a:gd name="T1" fmla="*/ 0 h 215"/>
                <a:gd name="T2" fmla="*/ 5 w 140"/>
                <a:gd name="T3" fmla="*/ 0 h 215"/>
                <a:gd name="T4" fmla="*/ 5 w 140"/>
                <a:gd name="T5" fmla="*/ 0 h 215"/>
                <a:gd name="T6" fmla="*/ 2 w 140"/>
                <a:gd name="T7" fmla="*/ 1 h 215"/>
                <a:gd name="T8" fmla="*/ 1 w 140"/>
                <a:gd name="T9" fmla="*/ 1 h 215"/>
                <a:gd name="T10" fmla="*/ 0 w 140"/>
                <a:gd name="T11" fmla="*/ 4 h 215"/>
                <a:gd name="T12" fmla="*/ 0 w 140"/>
                <a:gd name="T13" fmla="*/ 5 h 215"/>
                <a:gd name="T14" fmla="*/ 0 w 140"/>
                <a:gd name="T15" fmla="*/ 91 h 215"/>
                <a:gd name="T16" fmla="*/ 0 w 140"/>
                <a:gd name="T17" fmla="*/ 91 h 215"/>
                <a:gd name="T18" fmla="*/ 0 w 140"/>
                <a:gd name="T19" fmla="*/ 94 h 215"/>
                <a:gd name="T20" fmla="*/ 1 w 140"/>
                <a:gd name="T21" fmla="*/ 95 h 215"/>
                <a:gd name="T22" fmla="*/ 32 w 140"/>
                <a:gd name="T23" fmla="*/ 126 h 215"/>
                <a:gd name="T24" fmla="*/ 32 w 140"/>
                <a:gd name="T25" fmla="*/ 209 h 215"/>
                <a:gd name="T26" fmla="*/ 32 w 140"/>
                <a:gd name="T27" fmla="*/ 209 h 215"/>
                <a:gd name="T28" fmla="*/ 32 w 140"/>
                <a:gd name="T29" fmla="*/ 211 h 215"/>
                <a:gd name="T30" fmla="*/ 33 w 140"/>
                <a:gd name="T31" fmla="*/ 213 h 215"/>
                <a:gd name="T32" fmla="*/ 35 w 140"/>
                <a:gd name="T33" fmla="*/ 215 h 215"/>
                <a:gd name="T34" fmla="*/ 37 w 140"/>
                <a:gd name="T35" fmla="*/ 215 h 215"/>
                <a:gd name="T36" fmla="*/ 102 w 140"/>
                <a:gd name="T37" fmla="*/ 215 h 215"/>
                <a:gd name="T38" fmla="*/ 102 w 140"/>
                <a:gd name="T39" fmla="*/ 215 h 215"/>
                <a:gd name="T40" fmla="*/ 103 w 140"/>
                <a:gd name="T41" fmla="*/ 215 h 215"/>
                <a:gd name="T42" fmla="*/ 106 w 140"/>
                <a:gd name="T43" fmla="*/ 213 h 215"/>
                <a:gd name="T44" fmla="*/ 106 w 140"/>
                <a:gd name="T45" fmla="*/ 211 h 215"/>
                <a:gd name="T46" fmla="*/ 107 w 140"/>
                <a:gd name="T47" fmla="*/ 209 h 215"/>
                <a:gd name="T48" fmla="*/ 107 w 140"/>
                <a:gd name="T49" fmla="*/ 126 h 215"/>
                <a:gd name="T50" fmla="*/ 137 w 140"/>
                <a:gd name="T51" fmla="*/ 95 h 215"/>
                <a:gd name="T52" fmla="*/ 137 w 140"/>
                <a:gd name="T53" fmla="*/ 95 h 215"/>
                <a:gd name="T54" fmla="*/ 138 w 140"/>
                <a:gd name="T55" fmla="*/ 94 h 215"/>
                <a:gd name="T56" fmla="*/ 140 w 140"/>
                <a:gd name="T57" fmla="*/ 91 h 215"/>
                <a:gd name="T58" fmla="*/ 140 w 140"/>
                <a:gd name="T59" fmla="*/ 5 h 215"/>
                <a:gd name="T60" fmla="*/ 140 w 140"/>
                <a:gd name="T61" fmla="*/ 5 h 215"/>
                <a:gd name="T62" fmla="*/ 138 w 140"/>
                <a:gd name="T63" fmla="*/ 4 h 215"/>
                <a:gd name="T64" fmla="*/ 137 w 140"/>
                <a:gd name="T65" fmla="*/ 1 h 215"/>
                <a:gd name="T66" fmla="*/ 135 w 140"/>
                <a:gd name="T67" fmla="*/ 1 h 215"/>
                <a:gd name="T68" fmla="*/ 134 w 140"/>
                <a:gd name="T69" fmla="*/ 0 h 215"/>
                <a:gd name="T70" fmla="*/ 134 w 140"/>
                <a:gd name="T71"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0" h="215">
                  <a:moveTo>
                    <a:pt x="134" y="0"/>
                  </a:moveTo>
                  <a:lnTo>
                    <a:pt x="5" y="0"/>
                  </a:lnTo>
                  <a:lnTo>
                    <a:pt x="5" y="0"/>
                  </a:lnTo>
                  <a:lnTo>
                    <a:pt x="2" y="1"/>
                  </a:lnTo>
                  <a:lnTo>
                    <a:pt x="1" y="1"/>
                  </a:lnTo>
                  <a:lnTo>
                    <a:pt x="0" y="4"/>
                  </a:lnTo>
                  <a:lnTo>
                    <a:pt x="0" y="5"/>
                  </a:lnTo>
                  <a:lnTo>
                    <a:pt x="0" y="91"/>
                  </a:lnTo>
                  <a:lnTo>
                    <a:pt x="0" y="91"/>
                  </a:lnTo>
                  <a:lnTo>
                    <a:pt x="0" y="94"/>
                  </a:lnTo>
                  <a:lnTo>
                    <a:pt x="1" y="95"/>
                  </a:lnTo>
                  <a:lnTo>
                    <a:pt x="32" y="126"/>
                  </a:lnTo>
                  <a:lnTo>
                    <a:pt x="32" y="209"/>
                  </a:lnTo>
                  <a:lnTo>
                    <a:pt x="32" y="209"/>
                  </a:lnTo>
                  <a:lnTo>
                    <a:pt x="32" y="211"/>
                  </a:lnTo>
                  <a:lnTo>
                    <a:pt x="33" y="213"/>
                  </a:lnTo>
                  <a:lnTo>
                    <a:pt x="35" y="215"/>
                  </a:lnTo>
                  <a:lnTo>
                    <a:pt x="37" y="215"/>
                  </a:lnTo>
                  <a:lnTo>
                    <a:pt x="102" y="215"/>
                  </a:lnTo>
                  <a:lnTo>
                    <a:pt x="102" y="215"/>
                  </a:lnTo>
                  <a:lnTo>
                    <a:pt x="103" y="215"/>
                  </a:lnTo>
                  <a:lnTo>
                    <a:pt x="106" y="213"/>
                  </a:lnTo>
                  <a:lnTo>
                    <a:pt x="106" y="211"/>
                  </a:lnTo>
                  <a:lnTo>
                    <a:pt x="107" y="209"/>
                  </a:lnTo>
                  <a:lnTo>
                    <a:pt x="107" y="126"/>
                  </a:lnTo>
                  <a:lnTo>
                    <a:pt x="137" y="95"/>
                  </a:lnTo>
                  <a:lnTo>
                    <a:pt x="137" y="95"/>
                  </a:lnTo>
                  <a:lnTo>
                    <a:pt x="138" y="94"/>
                  </a:lnTo>
                  <a:lnTo>
                    <a:pt x="140" y="91"/>
                  </a:lnTo>
                  <a:lnTo>
                    <a:pt x="140" y="5"/>
                  </a:lnTo>
                  <a:lnTo>
                    <a:pt x="140" y="5"/>
                  </a:lnTo>
                  <a:lnTo>
                    <a:pt x="138" y="4"/>
                  </a:lnTo>
                  <a:lnTo>
                    <a:pt x="137" y="1"/>
                  </a:lnTo>
                  <a:lnTo>
                    <a:pt x="135" y="1"/>
                  </a:lnTo>
                  <a:lnTo>
                    <a:pt x="134" y="0"/>
                  </a:lnTo>
                  <a:lnTo>
                    <a:pt x="13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 name="Freeform 135">
              <a:extLst>
                <a:ext uri="{FF2B5EF4-FFF2-40B4-BE49-F238E27FC236}">
                  <a16:creationId xmlns:a16="http://schemas.microsoft.com/office/drawing/2014/main" id="{1D775183-BD02-4507-87E1-7F4598BDBDC1}"/>
                </a:ext>
              </a:extLst>
            </p:cNvPr>
            <p:cNvSpPr>
              <a:spLocks/>
            </p:cNvSpPr>
            <p:nvPr/>
          </p:nvSpPr>
          <p:spPr bwMode="auto">
            <a:xfrm>
              <a:off x="7045136" y="5862895"/>
              <a:ext cx="70013" cy="48778"/>
            </a:xfrm>
            <a:custGeom>
              <a:avLst/>
              <a:gdLst>
                <a:gd name="T0" fmla="*/ 41 w 80"/>
                <a:gd name="T1" fmla="*/ 79 h 79"/>
                <a:gd name="T2" fmla="*/ 41 w 80"/>
                <a:gd name="T3" fmla="*/ 79 h 79"/>
                <a:gd name="T4" fmla="*/ 49 w 80"/>
                <a:gd name="T5" fmla="*/ 79 h 79"/>
                <a:gd name="T6" fmla="*/ 55 w 80"/>
                <a:gd name="T7" fmla="*/ 77 h 79"/>
                <a:gd name="T8" fmla="*/ 62 w 80"/>
                <a:gd name="T9" fmla="*/ 73 h 79"/>
                <a:gd name="T10" fmla="*/ 69 w 80"/>
                <a:gd name="T11" fmla="*/ 69 h 79"/>
                <a:gd name="T12" fmla="*/ 73 w 80"/>
                <a:gd name="T13" fmla="*/ 62 h 79"/>
                <a:gd name="T14" fmla="*/ 77 w 80"/>
                <a:gd name="T15" fmla="*/ 55 h 79"/>
                <a:gd name="T16" fmla="*/ 80 w 80"/>
                <a:gd name="T17" fmla="*/ 48 h 79"/>
                <a:gd name="T18" fmla="*/ 80 w 80"/>
                <a:gd name="T19" fmla="*/ 40 h 79"/>
                <a:gd name="T20" fmla="*/ 80 w 80"/>
                <a:gd name="T21" fmla="*/ 40 h 79"/>
                <a:gd name="T22" fmla="*/ 80 w 80"/>
                <a:gd name="T23" fmla="*/ 32 h 79"/>
                <a:gd name="T24" fmla="*/ 77 w 80"/>
                <a:gd name="T25" fmla="*/ 24 h 79"/>
                <a:gd name="T26" fmla="*/ 73 w 80"/>
                <a:gd name="T27" fmla="*/ 18 h 79"/>
                <a:gd name="T28" fmla="*/ 69 w 80"/>
                <a:gd name="T29" fmla="*/ 12 h 79"/>
                <a:gd name="T30" fmla="*/ 62 w 80"/>
                <a:gd name="T31" fmla="*/ 7 h 79"/>
                <a:gd name="T32" fmla="*/ 55 w 80"/>
                <a:gd name="T33" fmla="*/ 4 h 79"/>
                <a:gd name="T34" fmla="*/ 49 w 80"/>
                <a:gd name="T35" fmla="*/ 1 h 79"/>
                <a:gd name="T36" fmla="*/ 41 w 80"/>
                <a:gd name="T37" fmla="*/ 0 h 79"/>
                <a:gd name="T38" fmla="*/ 41 w 80"/>
                <a:gd name="T39" fmla="*/ 0 h 79"/>
                <a:gd name="T40" fmla="*/ 32 w 80"/>
                <a:gd name="T41" fmla="*/ 1 h 79"/>
                <a:gd name="T42" fmla="*/ 24 w 80"/>
                <a:gd name="T43" fmla="*/ 4 h 79"/>
                <a:gd name="T44" fmla="*/ 18 w 80"/>
                <a:gd name="T45" fmla="*/ 7 h 79"/>
                <a:gd name="T46" fmla="*/ 12 w 80"/>
                <a:gd name="T47" fmla="*/ 12 h 79"/>
                <a:gd name="T48" fmla="*/ 7 w 80"/>
                <a:gd name="T49" fmla="*/ 18 h 79"/>
                <a:gd name="T50" fmla="*/ 4 w 80"/>
                <a:gd name="T51" fmla="*/ 24 h 79"/>
                <a:gd name="T52" fmla="*/ 2 w 80"/>
                <a:gd name="T53" fmla="*/ 32 h 79"/>
                <a:gd name="T54" fmla="*/ 0 w 80"/>
                <a:gd name="T55" fmla="*/ 40 h 79"/>
                <a:gd name="T56" fmla="*/ 0 w 80"/>
                <a:gd name="T57" fmla="*/ 40 h 79"/>
                <a:gd name="T58" fmla="*/ 2 w 80"/>
                <a:gd name="T59" fmla="*/ 48 h 79"/>
                <a:gd name="T60" fmla="*/ 4 w 80"/>
                <a:gd name="T61" fmla="*/ 55 h 79"/>
                <a:gd name="T62" fmla="*/ 7 w 80"/>
                <a:gd name="T63" fmla="*/ 62 h 79"/>
                <a:gd name="T64" fmla="*/ 12 w 80"/>
                <a:gd name="T65" fmla="*/ 69 h 79"/>
                <a:gd name="T66" fmla="*/ 18 w 80"/>
                <a:gd name="T67" fmla="*/ 73 h 79"/>
                <a:gd name="T68" fmla="*/ 24 w 80"/>
                <a:gd name="T69" fmla="*/ 77 h 79"/>
                <a:gd name="T70" fmla="*/ 32 w 80"/>
                <a:gd name="T71" fmla="*/ 79 h 79"/>
                <a:gd name="T72" fmla="*/ 41 w 80"/>
                <a:gd name="T73" fmla="*/ 79 h 79"/>
                <a:gd name="T74" fmla="*/ 41 w 80"/>
                <a:gd name="T75"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79"/>
                  </a:moveTo>
                  <a:lnTo>
                    <a:pt x="41" y="79"/>
                  </a:lnTo>
                  <a:lnTo>
                    <a:pt x="49" y="79"/>
                  </a:lnTo>
                  <a:lnTo>
                    <a:pt x="55"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5" y="4"/>
                  </a:lnTo>
                  <a:lnTo>
                    <a:pt x="49" y="1"/>
                  </a:lnTo>
                  <a:lnTo>
                    <a:pt x="41" y="0"/>
                  </a:lnTo>
                  <a:lnTo>
                    <a:pt x="41" y="0"/>
                  </a:lnTo>
                  <a:lnTo>
                    <a:pt x="32" y="1"/>
                  </a:lnTo>
                  <a:lnTo>
                    <a:pt x="24" y="4"/>
                  </a:lnTo>
                  <a:lnTo>
                    <a:pt x="18" y="7"/>
                  </a:lnTo>
                  <a:lnTo>
                    <a:pt x="12" y="12"/>
                  </a:lnTo>
                  <a:lnTo>
                    <a:pt x="7" y="18"/>
                  </a:lnTo>
                  <a:lnTo>
                    <a:pt x="4" y="24"/>
                  </a:lnTo>
                  <a:lnTo>
                    <a:pt x="2" y="32"/>
                  </a:lnTo>
                  <a:lnTo>
                    <a:pt x="0" y="40"/>
                  </a:lnTo>
                  <a:lnTo>
                    <a:pt x="0" y="40"/>
                  </a:lnTo>
                  <a:lnTo>
                    <a:pt x="2" y="48"/>
                  </a:lnTo>
                  <a:lnTo>
                    <a:pt x="4" y="55"/>
                  </a:lnTo>
                  <a:lnTo>
                    <a:pt x="7" y="62"/>
                  </a:lnTo>
                  <a:lnTo>
                    <a:pt x="12" y="69"/>
                  </a:lnTo>
                  <a:lnTo>
                    <a:pt x="18" y="73"/>
                  </a:lnTo>
                  <a:lnTo>
                    <a:pt x="24" y="77"/>
                  </a:lnTo>
                  <a:lnTo>
                    <a:pt x="32" y="79"/>
                  </a:lnTo>
                  <a:lnTo>
                    <a:pt x="41" y="79"/>
                  </a:lnTo>
                  <a:lnTo>
                    <a:pt x="41" y="7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 name="Freeform 136">
              <a:extLst>
                <a:ext uri="{FF2B5EF4-FFF2-40B4-BE49-F238E27FC236}">
                  <a16:creationId xmlns:a16="http://schemas.microsoft.com/office/drawing/2014/main" id="{60042E8F-F9A8-45EC-AA6B-4C798629F171}"/>
                </a:ext>
              </a:extLst>
            </p:cNvPr>
            <p:cNvSpPr>
              <a:spLocks/>
            </p:cNvSpPr>
            <p:nvPr/>
          </p:nvSpPr>
          <p:spPr bwMode="auto">
            <a:xfrm>
              <a:off x="6847352" y="5862895"/>
              <a:ext cx="70013" cy="48778"/>
            </a:xfrm>
            <a:custGeom>
              <a:avLst/>
              <a:gdLst>
                <a:gd name="T0" fmla="*/ 41 w 80"/>
                <a:gd name="T1" fmla="*/ 0 h 79"/>
                <a:gd name="T2" fmla="*/ 41 w 80"/>
                <a:gd name="T3" fmla="*/ 0 h 79"/>
                <a:gd name="T4" fmla="*/ 33 w 80"/>
                <a:gd name="T5" fmla="*/ 1 h 79"/>
                <a:gd name="T6" fmla="*/ 25 w 80"/>
                <a:gd name="T7" fmla="*/ 4 h 79"/>
                <a:gd name="T8" fmla="*/ 18 w 80"/>
                <a:gd name="T9" fmla="*/ 7 h 79"/>
                <a:gd name="T10" fmla="*/ 13 w 80"/>
                <a:gd name="T11" fmla="*/ 12 h 79"/>
                <a:gd name="T12" fmla="*/ 7 w 80"/>
                <a:gd name="T13" fmla="*/ 18 h 79"/>
                <a:gd name="T14" fmla="*/ 4 w 80"/>
                <a:gd name="T15" fmla="*/ 24 h 79"/>
                <a:gd name="T16" fmla="*/ 2 w 80"/>
                <a:gd name="T17" fmla="*/ 32 h 79"/>
                <a:gd name="T18" fmla="*/ 0 w 80"/>
                <a:gd name="T19" fmla="*/ 40 h 79"/>
                <a:gd name="T20" fmla="*/ 0 w 80"/>
                <a:gd name="T21" fmla="*/ 40 h 79"/>
                <a:gd name="T22" fmla="*/ 2 w 80"/>
                <a:gd name="T23" fmla="*/ 48 h 79"/>
                <a:gd name="T24" fmla="*/ 4 w 80"/>
                <a:gd name="T25" fmla="*/ 55 h 79"/>
                <a:gd name="T26" fmla="*/ 7 w 80"/>
                <a:gd name="T27" fmla="*/ 62 h 79"/>
                <a:gd name="T28" fmla="*/ 13 w 80"/>
                <a:gd name="T29" fmla="*/ 69 h 79"/>
                <a:gd name="T30" fmla="*/ 18 w 80"/>
                <a:gd name="T31" fmla="*/ 73 h 79"/>
                <a:gd name="T32" fmla="*/ 25 w 80"/>
                <a:gd name="T33" fmla="*/ 77 h 79"/>
                <a:gd name="T34" fmla="*/ 33 w 80"/>
                <a:gd name="T35" fmla="*/ 79 h 79"/>
                <a:gd name="T36" fmla="*/ 41 w 80"/>
                <a:gd name="T37" fmla="*/ 79 h 79"/>
                <a:gd name="T38" fmla="*/ 41 w 80"/>
                <a:gd name="T39" fmla="*/ 79 h 79"/>
                <a:gd name="T40" fmla="*/ 49 w 80"/>
                <a:gd name="T41" fmla="*/ 79 h 79"/>
                <a:gd name="T42" fmla="*/ 56 w 80"/>
                <a:gd name="T43" fmla="*/ 77 h 79"/>
                <a:gd name="T44" fmla="*/ 62 w 80"/>
                <a:gd name="T45" fmla="*/ 73 h 79"/>
                <a:gd name="T46" fmla="*/ 69 w 80"/>
                <a:gd name="T47" fmla="*/ 69 h 79"/>
                <a:gd name="T48" fmla="*/ 73 w 80"/>
                <a:gd name="T49" fmla="*/ 62 h 79"/>
                <a:gd name="T50" fmla="*/ 77 w 80"/>
                <a:gd name="T51" fmla="*/ 55 h 79"/>
                <a:gd name="T52" fmla="*/ 80 w 80"/>
                <a:gd name="T53" fmla="*/ 48 h 79"/>
                <a:gd name="T54" fmla="*/ 80 w 80"/>
                <a:gd name="T55" fmla="*/ 40 h 79"/>
                <a:gd name="T56" fmla="*/ 80 w 80"/>
                <a:gd name="T57" fmla="*/ 40 h 79"/>
                <a:gd name="T58" fmla="*/ 80 w 80"/>
                <a:gd name="T59" fmla="*/ 32 h 79"/>
                <a:gd name="T60" fmla="*/ 77 w 80"/>
                <a:gd name="T61" fmla="*/ 24 h 79"/>
                <a:gd name="T62" fmla="*/ 73 w 80"/>
                <a:gd name="T63" fmla="*/ 18 h 79"/>
                <a:gd name="T64" fmla="*/ 69 w 80"/>
                <a:gd name="T65" fmla="*/ 12 h 79"/>
                <a:gd name="T66" fmla="*/ 62 w 80"/>
                <a:gd name="T67" fmla="*/ 7 h 79"/>
                <a:gd name="T68" fmla="*/ 56 w 80"/>
                <a:gd name="T69" fmla="*/ 4 h 79"/>
                <a:gd name="T70" fmla="*/ 49 w 80"/>
                <a:gd name="T71" fmla="*/ 1 h 79"/>
                <a:gd name="T72" fmla="*/ 41 w 80"/>
                <a:gd name="T73" fmla="*/ 0 h 79"/>
                <a:gd name="T74" fmla="*/ 41 w 80"/>
                <a:gd name="T75"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0"/>
                  </a:moveTo>
                  <a:lnTo>
                    <a:pt x="41" y="0"/>
                  </a:lnTo>
                  <a:lnTo>
                    <a:pt x="33" y="1"/>
                  </a:lnTo>
                  <a:lnTo>
                    <a:pt x="25" y="4"/>
                  </a:lnTo>
                  <a:lnTo>
                    <a:pt x="18" y="7"/>
                  </a:lnTo>
                  <a:lnTo>
                    <a:pt x="13" y="12"/>
                  </a:lnTo>
                  <a:lnTo>
                    <a:pt x="7" y="18"/>
                  </a:lnTo>
                  <a:lnTo>
                    <a:pt x="4" y="24"/>
                  </a:lnTo>
                  <a:lnTo>
                    <a:pt x="2" y="32"/>
                  </a:lnTo>
                  <a:lnTo>
                    <a:pt x="0" y="40"/>
                  </a:lnTo>
                  <a:lnTo>
                    <a:pt x="0" y="40"/>
                  </a:lnTo>
                  <a:lnTo>
                    <a:pt x="2" y="48"/>
                  </a:lnTo>
                  <a:lnTo>
                    <a:pt x="4" y="55"/>
                  </a:lnTo>
                  <a:lnTo>
                    <a:pt x="7" y="62"/>
                  </a:lnTo>
                  <a:lnTo>
                    <a:pt x="13" y="69"/>
                  </a:lnTo>
                  <a:lnTo>
                    <a:pt x="18" y="73"/>
                  </a:lnTo>
                  <a:lnTo>
                    <a:pt x="25" y="77"/>
                  </a:lnTo>
                  <a:lnTo>
                    <a:pt x="33" y="79"/>
                  </a:lnTo>
                  <a:lnTo>
                    <a:pt x="41" y="79"/>
                  </a:lnTo>
                  <a:lnTo>
                    <a:pt x="41" y="79"/>
                  </a:lnTo>
                  <a:lnTo>
                    <a:pt x="49" y="79"/>
                  </a:lnTo>
                  <a:lnTo>
                    <a:pt x="56"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6" y="4"/>
                  </a:lnTo>
                  <a:lnTo>
                    <a:pt x="49" y="1"/>
                  </a:lnTo>
                  <a:lnTo>
                    <a:pt x="41" y="0"/>
                  </a:lnTo>
                  <a:lnTo>
                    <a:pt x="4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 name="Freeform 137">
              <a:extLst>
                <a:ext uri="{FF2B5EF4-FFF2-40B4-BE49-F238E27FC236}">
                  <a16:creationId xmlns:a16="http://schemas.microsoft.com/office/drawing/2014/main" id="{9A14677D-289A-4DEE-B277-3EE4DBFD8971}"/>
                </a:ext>
              </a:extLst>
            </p:cNvPr>
            <p:cNvSpPr>
              <a:spLocks/>
            </p:cNvSpPr>
            <p:nvPr/>
          </p:nvSpPr>
          <p:spPr bwMode="auto">
            <a:xfrm>
              <a:off x="6936617" y="5849137"/>
              <a:ext cx="89267" cy="62535"/>
            </a:xfrm>
            <a:custGeom>
              <a:avLst/>
              <a:gdLst>
                <a:gd name="T0" fmla="*/ 51 w 102"/>
                <a:gd name="T1" fmla="*/ 100 h 100"/>
                <a:gd name="T2" fmla="*/ 51 w 102"/>
                <a:gd name="T3" fmla="*/ 100 h 100"/>
                <a:gd name="T4" fmla="*/ 60 w 102"/>
                <a:gd name="T5" fmla="*/ 99 h 100"/>
                <a:gd name="T6" fmla="*/ 69 w 102"/>
                <a:gd name="T7" fmla="*/ 96 h 100"/>
                <a:gd name="T8" fmla="*/ 79 w 102"/>
                <a:gd name="T9" fmla="*/ 92 h 100"/>
                <a:gd name="T10" fmla="*/ 86 w 102"/>
                <a:gd name="T11" fmla="*/ 86 h 100"/>
                <a:gd name="T12" fmla="*/ 92 w 102"/>
                <a:gd name="T13" fmla="*/ 78 h 100"/>
                <a:gd name="T14" fmla="*/ 98 w 102"/>
                <a:gd name="T15" fmla="*/ 69 h 100"/>
                <a:gd name="T16" fmla="*/ 100 w 102"/>
                <a:gd name="T17" fmla="*/ 60 h 100"/>
                <a:gd name="T18" fmla="*/ 102 w 102"/>
                <a:gd name="T19" fmla="*/ 49 h 100"/>
                <a:gd name="T20" fmla="*/ 102 w 102"/>
                <a:gd name="T21" fmla="*/ 49 h 100"/>
                <a:gd name="T22" fmla="*/ 100 w 102"/>
                <a:gd name="T23" fmla="*/ 40 h 100"/>
                <a:gd name="T24" fmla="*/ 98 w 102"/>
                <a:gd name="T25" fmla="*/ 30 h 100"/>
                <a:gd name="T26" fmla="*/ 92 w 102"/>
                <a:gd name="T27" fmla="*/ 21 h 100"/>
                <a:gd name="T28" fmla="*/ 86 w 102"/>
                <a:gd name="T29" fmla="*/ 14 h 100"/>
                <a:gd name="T30" fmla="*/ 79 w 102"/>
                <a:gd name="T31" fmla="*/ 8 h 100"/>
                <a:gd name="T32" fmla="*/ 69 w 102"/>
                <a:gd name="T33" fmla="*/ 4 h 100"/>
                <a:gd name="T34" fmla="*/ 60 w 102"/>
                <a:gd name="T35" fmla="*/ 0 h 100"/>
                <a:gd name="T36" fmla="*/ 51 w 102"/>
                <a:gd name="T37" fmla="*/ 0 h 100"/>
                <a:gd name="T38" fmla="*/ 51 w 102"/>
                <a:gd name="T39" fmla="*/ 0 h 100"/>
                <a:gd name="T40" fmla="*/ 40 w 102"/>
                <a:gd name="T41" fmla="*/ 0 h 100"/>
                <a:gd name="T42" fmla="*/ 30 w 102"/>
                <a:gd name="T43" fmla="*/ 4 h 100"/>
                <a:gd name="T44" fmla="*/ 22 w 102"/>
                <a:gd name="T45" fmla="*/ 8 h 100"/>
                <a:gd name="T46" fmla="*/ 14 w 102"/>
                <a:gd name="T47" fmla="*/ 14 h 100"/>
                <a:gd name="T48" fmla="*/ 8 w 102"/>
                <a:gd name="T49" fmla="*/ 21 h 100"/>
                <a:gd name="T50" fmla="*/ 4 w 102"/>
                <a:gd name="T51" fmla="*/ 30 h 100"/>
                <a:gd name="T52" fmla="*/ 1 w 102"/>
                <a:gd name="T53" fmla="*/ 40 h 100"/>
                <a:gd name="T54" fmla="*/ 0 w 102"/>
                <a:gd name="T55" fmla="*/ 49 h 100"/>
                <a:gd name="T56" fmla="*/ 0 w 102"/>
                <a:gd name="T57" fmla="*/ 49 h 100"/>
                <a:gd name="T58" fmla="*/ 1 w 102"/>
                <a:gd name="T59" fmla="*/ 60 h 100"/>
                <a:gd name="T60" fmla="*/ 4 w 102"/>
                <a:gd name="T61" fmla="*/ 69 h 100"/>
                <a:gd name="T62" fmla="*/ 8 w 102"/>
                <a:gd name="T63" fmla="*/ 78 h 100"/>
                <a:gd name="T64" fmla="*/ 14 w 102"/>
                <a:gd name="T65" fmla="*/ 86 h 100"/>
                <a:gd name="T66" fmla="*/ 22 w 102"/>
                <a:gd name="T67" fmla="*/ 92 h 100"/>
                <a:gd name="T68" fmla="*/ 30 w 102"/>
                <a:gd name="T69" fmla="*/ 96 h 100"/>
                <a:gd name="T70" fmla="*/ 40 w 102"/>
                <a:gd name="T71" fmla="*/ 99 h 100"/>
                <a:gd name="T72" fmla="*/ 51 w 102"/>
                <a:gd name="T73" fmla="*/ 100 h 100"/>
                <a:gd name="T74" fmla="*/ 51 w 102"/>
                <a:gd name="T75"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0">
                  <a:moveTo>
                    <a:pt x="51" y="100"/>
                  </a:moveTo>
                  <a:lnTo>
                    <a:pt x="51" y="100"/>
                  </a:lnTo>
                  <a:lnTo>
                    <a:pt x="60" y="99"/>
                  </a:lnTo>
                  <a:lnTo>
                    <a:pt x="69" y="96"/>
                  </a:lnTo>
                  <a:lnTo>
                    <a:pt x="79" y="92"/>
                  </a:lnTo>
                  <a:lnTo>
                    <a:pt x="86" y="86"/>
                  </a:lnTo>
                  <a:lnTo>
                    <a:pt x="92" y="78"/>
                  </a:lnTo>
                  <a:lnTo>
                    <a:pt x="98" y="69"/>
                  </a:lnTo>
                  <a:lnTo>
                    <a:pt x="100" y="60"/>
                  </a:lnTo>
                  <a:lnTo>
                    <a:pt x="102" y="49"/>
                  </a:lnTo>
                  <a:lnTo>
                    <a:pt x="102" y="49"/>
                  </a:lnTo>
                  <a:lnTo>
                    <a:pt x="100" y="40"/>
                  </a:lnTo>
                  <a:lnTo>
                    <a:pt x="98" y="30"/>
                  </a:lnTo>
                  <a:lnTo>
                    <a:pt x="92" y="21"/>
                  </a:lnTo>
                  <a:lnTo>
                    <a:pt x="86" y="14"/>
                  </a:lnTo>
                  <a:lnTo>
                    <a:pt x="79" y="8"/>
                  </a:lnTo>
                  <a:lnTo>
                    <a:pt x="69" y="4"/>
                  </a:lnTo>
                  <a:lnTo>
                    <a:pt x="60" y="0"/>
                  </a:lnTo>
                  <a:lnTo>
                    <a:pt x="51" y="0"/>
                  </a:lnTo>
                  <a:lnTo>
                    <a:pt x="51" y="0"/>
                  </a:lnTo>
                  <a:lnTo>
                    <a:pt x="40" y="0"/>
                  </a:lnTo>
                  <a:lnTo>
                    <a:pt x="30" y="4"/>
                  </a:lnTo>
                  <a:lnTo>
                    <a:pt x="22" y="8"/>
                  </a:lnTo>
                  <a:lnTo>
                    <a:pt x="14" y="14"/>
                  </a:lnTo>
                  <a:lnTo>
                    <a:pt x="8" y="21"/>
                  </a:lnTo>
                  <a:lnTo>
                    <a:pt x="4" y="30"/>
                  </a:lnTo>
                  <a:lnTo>
                    <a:pt x="1" y="40"/>
                  </a:lnTo>
                  <a:lnTo>
                    <a:pt x="0" y="49"/>
                  </a:lnTo>
                  <a:lnTo>
                    <a:pt x="0" y="49"/>
                  </a:lnTo>
                  <a:lnTo>
                    <a:pt x="1" y="60"/>
                  </a:lnTo>
                  <a:lnTo>
                    <a:pt x="4" y="69"/>
                  </a:lnTo>
                  <a:lnTo>
                    <a:pt x="8" y="78"/>
                  </a:lnTo>
                  <a:lnTo>
                    <a:pt x="14" y="86"/>
                  </a:lnTo>
                  <a:lnTo>
                    <a:pt x="22" y="92"/>
                  </a:lnTo>
                  <a:lnTo>
                    <a:pt x="30" y="96"/>
                  </a:lnTo>
                  <a:lnTo>
                    <a:pt x="40" y="99"/>
                  </a:lnTo>
                  <a:lnTo>
                    <a:pt x="51" y="100"/>
                  </a:lnTo>
                  <a:lnTo>
                    <a:pt x="51"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3" name="Group 12">
            <a:extLst>
              <a:ext uri="{FF2B5EF4-FFF2-40B4-BE49-F238E27FC236}">
                <a16:creationId xmlns:a16="http://schemas.microsoft.com/office/drawing/2014/main" id="{146CAC56-9F39-4DCC-893A-6910A1F9344E}"/>
              </a:ext>
            </a:extLst>
          </p:cNvPr>
          <p:cNvGrpSpPr/>
          <p:nvPr/>
        </p:nvGrpSpPr>
        <p:grpSpPr>
          <a:xfrm>
            <a:off x="4566962" y="2845038"/>
            <a:ext cx="365760" cy="365760"/>
            <a:chOff x="7438390" y="5746580"/>
            <a:chExt cx="575854" cy="411480"/>
          </a:xfrm>
        </p:grpSpPr>
        <p:sp>
          <p:nvSpPr>
            <p:cNvPr id="14" name="Freeform 11">
              <a:extLst>
                <a:ext uri="{FF2B5EF4-FFF2-40B4-BE49-F238E27FC236}">
                  <a16:creationId xmlns:a16="http://schemas.microsoft.com/office/drawing/2014/main" id="{09660BA9-8A81-4E64-AB2E-6729D48E889A}"/>
                </a:ext>
              </a:extLst>
            </p:cNvPr>
            <p:cNvSpPr>
              <a:spLocks noEditPoints="1"/>
            </p:cNvSpPr>
            <p:nvPr/>
          </p:nvSpPr>
          <p:spPr bwMode="auto">
            <a:xfrm>
              <a:off x="7438390" y="5746580"/>
              <a:ext cx="575854" cy="411480"/>
            </a:xfrm>
            <a:custGeom>
              <a:avLst/>
              <a:gdLst>
                <a:gd name="T0" fmla="*/ 312 w 657"/>
                <a:gd name="T1" fmla="*/ 657 h 658"/>
                <a:gd name="T2" fmla="*/ 262 w 657"/>
                <a:gd name="T3" fmla="*/ 651 h 658"/>
                <a:gd name="T4" fmla="*/ 201 w 657"/>
                <a:gd name="T5" fmla="*/ 631 h 658"/>
                <a:gd name="T6" fmla="*/ 120 w 657"/>
                <a:gd name="T7" fmla="*/ 583 h 658"/>
                <a:gd name="T8" fmla="*/ 57 w 657"/>
                <a:gd name="T9" fmla="*/ 513 h 658"/>
                <a:gd name="T10" fmla="*/ 15 w 657"/>
                <a:gd name="T11" fmla="*/ 427 h 658"/>
                <a:gd name="T12" fmla="*/ 5 w 657"/>
                <a:gd name="T13" fmla="*/ 379 h 658"/>
                <a:gd name="T14" fmla="*/ 0 w 657"/>
                <a:gd name="T15" fmla="*/ 329 h 658"/>
                <a:gd name="T16" fmla="*/ 2 w 657"/>
                <a:gd name="T17" fmla="*/ 296 h 658"/>
                <a:gd name="T18" fmla="*/ 10 w 657"/>
                <a:gd name="T19" fmla="*/ 247 h 658"/>
                <a:gd name="T20" fmla="*/ 39 w 657"/>
                <a:gd name="T21" fmla="*/ 172 h 658"/>
                <a:gd name="T22" fmla="*/ 97 w 657"/>
                <a:gd name="T23" fmla="*/ 97 h 658"/>
                <a:gd name="T24" fmla="*/ 172 w 657"/>
                <a:gd name="T25" fmla="*/ 40 h 658"/>
                <a:gd name="T26" fmla="*/ 246 w 657"/>
                <a:gd name="T27" fmla="*/ 11 h 658"/>
                <a:gd name="T28" fmla="*/ 296 w 657"/>
                <a:gd name="T29" fmla="*/ 1 h 658"/>
                <a:gd name="T30" fmla="*/ 329 w 657"/>
                <a:gd name="T31" fmla="*/ 0 h 658"/>
                <a:gd name="T32" fmla="*/ 379 w 657"/>
                <a:gd name="T33" fmla="*/ 4 h 658"/>
                <a:gd name="T34" fmla="*/ 426 w 657"/>
                <a:gd name="T35" fmla="*/ 15 h 658"/>
                <a:gd name="T36" fmla="*/ 512 w 657"/>
                <a:gd name="T37" fmla="*/ 57 h 658"/>
                <a:gd name="T38" fmla="*/ 582 w 657"/>
                <a:gd name="T39" fmla="*/ 120 h 658"/>
                <a:gd name="T40" fmla="*/ 632 w 657"/>
                <a:gd name="T41" fmla="*/ 202 h 658"/>
                <a:gd name="T42" fmla="*/ 650 w 657"/>
                <a:gd name="T43" fmla="*/ 263 h 658"/>
                <a:gd name="T44" fmla="*/ 657 w 657"/>
                <a:gd name="T45" fmla="*/ 312 h 658"/>
                <a:gd name="T46" fmla="*/ 657 w 657"/>
                <a:gd name="T47" fmla="*/ 345 h 658"/>
                <a:gd name="T48" fmla="*/ 650 w 657"/>
                <a:gd name="T49" fmla="*/ 395 h 658"/>
                <a:gd name="T50" fmla="*/ 632 w 657"/>
                <a:gd name="T51" fmla="*/ 457 h 658"/>
                <a:gd name="T52" fmla="*/ 582 w 657"/>
                <a:gd name="T53" fmla="*/ 539 h 658"/>
                <a:gd name="T54" fmla="*/ 512 w 657"/>
                <a:gd name="T55" fmla="*/ 602 h 658"/>
                <a:gd name="T56" fmla="*/ 426 w 657"/>
                <a:gd name="T57" fmla="*/ 643 h 658"/>
                <a:gd name="T58" fmla="*/ 379 w 657"/>
                <a:gd name="T59" fmla="*/ 654 h 658"/>
                <a:gd name="T60" fmla="*/ 329 w 657"/>
                <a:gd name="T61" fmla="*/ 658 h 658"/>
                <a:gd name="T62" fmla="*/ 329 w 657"/>
                <a:gd name="T63" fmla="*/ 38 h 658"/>
                <a:gd name="T64" fmla="*/ 242 w 657"/>
                <a:gd name="T65" fmla="*/ 51 h 658"/>
                <a:gd name="T66" fmla="*/ 166 w 657"/>
                <a:gd name="T67" fmla="*/ 87 h 658"/>
                <a:gd name="T68" fmla="*/ 104 w 657"/>
                <a:gd name="T69" fmla="*/ 144 h 658"/>
                <a:gd name="T70" fmla="*/ 61 w 657"/>
                <a:gd name="T71" fmla="*/ 216 h 658"/>
                <a:gd name="T72" fmla="*/ 39 w 657"/>
                <a:gd name="T73" fmla="*/ 300 h 658"/>
                <a:gd name="T74" fmla="*/ 39 w 657"/>
                <a:gd name="T75" fmla="*/ 359 h 658"/>
                <a:gd name="T76" fmla="*/ 61 w 657"/>
                <a:gd name="T77" fmla="*/ 442 h 658"/>
                <a:gd name="T78" fmla="*/ 104 w 657"/>
                <a:gd name="T79" fmla="*/ 514 h 658"/>
                <a:gd name="T80" fmla="*/ 166 w 657"/>
                <a:gd name="T81" fmla="*/ 571 h 658"/>
                <a:gd name="T82" fmla="*/ 242 w 657"/>
                <a:gd name="T83" fmla="*/ 607 h 658"/>
                <a:gd name="T84" fmla="*/ 329 w 657"/>
                <a:gd name="T85" fmla="*/ 621 h 658"/>
                <a:gd name="T86" fmla="*/ 387 w 657"/>
                <a:gd name="T87" fmla="*/ 614 h 658"/>
                <a:gd name="T88" fmla="*/ 468 w 657"/>
                <a:gd name="T89" fmla="*/ 584 h 658"/>
                <a:gd name="T90" fmla="*/ 535 w 657"/>
                <a:gd name="T91" fmla="*/ 535 h 658"/>
                <a:gd name="T92" fmla="*/ 585 w 657"/>
                <a:gd name="T93" fmla="*/ 467 h 658"/>
                <a:gd name="T94" fmla="*/ 614 w 657"/>
                <a:gd name="T95" fmla="*/ 388 h 658"/>
                <a:gd name="T96" fmla="*/ 619 w 657"/>
                <a:gd name="T97" fmla="*/ 329 h 658"/>
                <a:gd name="T98" fmla="*/ 607 w 657"/>
                <a:gd name="T99" fmla="*/ 243 h 658"/>
                <a:gd name="T100" fmla="*/ 570 w 657"/>
                <a:gd name="T101" fmla="*/ 167 h 658"/>
                <a:gd name="T102" fmla="*/ 513 w 657"/>
                <a:gd name="T103" fmla="*/ 105 h 658"/>
                <a:gd name="T104" fmla="*/ 442 w 657"/>
                <a:gd name="T105" fmla="*/ 61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7"/>
                  </a:lnTo>
                  <a:lnTo>
                    <a:pt x="296" y="656"/>
                  </a:lnTo>
                  <a:lnTo>
                    <a:pt x="278" y="654"/>
                  </a:lnTo>
                  <a:lnTo>
                    <a:pt x="262" y="651"/>
                  </a:lnTo>
                  <a:lnTo>
                    <a:pt x="246" y="647"/>
                  </a:lnTo>
                  <a:lnTo>
                    <a:pt x="231" y="643"/>
                  </a:lnTo>
                  <a:lnTo>
                    <a:pt x="201" y="631"/>
                  </a:lnTo>
                  <a:lnTo>
                    <a:pt x="172" y="618"/>
                  </a:lnTo>
                  <a:lnTo>
                    <a:pt x="146" y="602"/>
                  </a:lnTo>
                  <a:lnTo>
                    <a:pt x="120" y="583"/>
                  </a:lnTo>
                  <a:lnTo>
                    <a:pt x="97" y="561"/>
                  </a:lnTo>
                  <a:lnTo>
                    <a:pt x="76" y="539"/>
                  </a:lnTo>
                  <a:lnTo>
                    <a:pt x="57" y="513"/>
                  </a:lnTo>
                  <a:lnTo>
                    <a:pt x="39" y="485"/>
                  </a:lnTo>
                  <a:lnTo>
                    <a:pt x="26" y="457"/>
                  </a:lnTo>
                  <a:lnTo>
                    <a:pt x="15" y="427"/>
                  </a:lnTo>
                  <a:lnTo>
                    <a:pt x="10" y="411"/>
                  </a:lnTo>
                  <a:lnTo>
                    <a:pt x="7" y="395"/>
                  </a:lnTo>
                  <a:lnTo>
                    <a:pt x="5" y="379"/>
                  </a:lnTo>
                  <a:lnTo>
                    <a:pt x="2" y="363"/>
                  </a:lnTo>
                  <a:lnTo>
                    <a:pt x="0" y="345"/>
                  </a:lnTo>
                  <a:lnTo>
                    <a:pt x="0" y="329"/>
                  </a:lnTo>
                  <a:lnTo>
                    <a:pt x="0" y="329"/>
                  </a:lnTo>
                  <a:lnTo>
                    <a:pt x="0" y="312"/>
                  </a:lnTo>
                  <a:lnTo>
                    <a:pt x="2" y="296"/>
                  </a:lnTo>
                  <a:lnTo>
                    <a:pt x="5" y="279"/>
                  </a:lnTo>
                  <a:lnTo>
                    <a:pt x="7" y="263"/>
                  </a:lnTo>
                  <a:lnTo>
                    <a:pt x="10" y="247"/>
                  </a:lnTo>
                  <a:lnTo>
                    <a:pt x="15" y="231"/>
                  </a:lnTo>
                  <a:lnTo>
                    <a:pt x="26" y="202"/>
                  </a:lnTo>
                  <a:lnTo>
                    <a:pt x="39" y="172"/>
                  </a:lnTo>
                  <a:lnTo>
                    <a:pt x="57" y="145"/>
                  </a:lnTo>
                  <a:lnTo>
                    <a:pt x="76" y="120"/>
                  </a:lnTo>
                  <a:lnTo>
                    <a:pt x="97" y="97"/>
                  </a:lnTo>
                  <a:lnTo>
                    <a:pt x="120" y="75"/>
                  </a:lnTo>
                  <a:lnTo>
                    <a:pt x="146" y="57"/>
                  </a:lnTo>
                  <a:lnTo>
                    <a:pt x="172" y="40"/>
                  </a:lnTo>
                  <a:lnTo>
                    <a:pt x="201" y="26"/>
                  </a:lnTo>
                  <a:lnTo>
                    <a:pt x="231" y="15"/>
                  </a:lnTo>
                  <a:lnTo>
                    <a:pt x="246" y="11"/>
                  </a:lnTo>
                  <a:lnTo>
                    <a:pt x="262" y="7"/>
                  </a:lnTo>
                  <a:lnTo>
                    <a:pt x="278" y="4"/>
                  </a:lnTo>
                  <a:lnTo>
                    <a:pt x="296" y="1"/>
                  </a:lnTo>
                  <a:lnTo>
                    <a:pt x="312" y="0"/>
                  </a:lnTo>
                  <a:lnTo>
                    <a:pt x="329" y="0"/>
                  </a:lnTo>
                  <a:lnTo>
                    <a:pt x="329" y="0"/>
                  </a:lnTo>
                  <a:lnTo>
                    <a:pt x="346" y="0"/>
                  </a:lnTo>
                  <a:lnTo>
                    <a:pt x="363" y="1"/>
                  </a:lnTo>
                  <a:lnTo>
                    <a:pt x="379" y="4"/>
                  </a:lnTo>
                  <a:lnTo>
                    <a:pt x="395" y="7"/>
                  </a:lnTo>
                  <a:lnTo>
                    <a:pt x="411" y="11"/>
                  </a:lnTo>
                  <a:lnTo>
                    <a:pt x="426" y="15"/>
                  </a:lnTo>
                  <a:lnTo>
                    <a:pt x="457" y="26"/>
                  </a:lnTo>
                  <a:lnTo>
                    <a:pt x="485" y="40"/>
                  </a:lnTo>
                  <a:lnTo>
                    <a:pt x="512" y="57"/>
                  </a:lnTo>
                  <a:lnTo>
                    <a:pt x="538" y="75"/>
                  </a:lnTo>
                  <a:lnTo>
                    <a:pt x="562" y="97"/>
                  </a:lnTo>
                  <a:lnTo>
                    <a:pt x="582" y="120"/>
                  </a:lnTo>
                  <a:lnTo>
                    <a:pt x="601" y="145"/>
                  </a:lnTo>
                  <a:lnTo>
                    <a:pt x="618" y="172"/>
                  </a:lnTo>
                  <a:lnTo>
                    <a:pt x="632" y="202"/>
                  </a:lnTo>
                  <a:lnTo>
                    <a:pt x="642" y="231"/>
                  </a:lnTo>
                  <a:lnTo>
                    <a:pt x="648" y="247"/>
                  </a:lnTo>
                  <a:lnTo>
                    <a:pt x="650" y="263"/>
                  </a:lnTo>
                  <a:lnTo>
                    <a:pt x="653" y="279"/>
                  </a:lnTo>
                  <a:lnTo>
                    <a:pt x="656" y="296"/>
                  </a:lnTo>
                  <a:lnTo>
                    <a:pt x="657" y="312"/>
                  </a:lnTo>
                  <a:lnTo>
                    <a:pt x="657" y="329"/>
                  </a:lnTo>
                  <a:lnTo>
                    <a:pt x="657" y="329"/>
                  </a:lnTo>
                  <a:lnTo>
                    <a:pt x="657" y="345"/>
                  </a:lnTo>
                  <a:lnTo>
                    <a:pt x="656" y="363"/>
                  </a:lnTo>
                  <a:lnTo>
                    <a:pt x="653" y="379"/>
                  </a:lnTo>
                  <a:lnTo>
                    <a:pt x="650" y="395"/>
                  </a:lnTo>
                  <a:lnTo>
                    <a:pt x="648" y="411"/>
                  </a:lnTo>
                  <a:lnTo>
                    <a:pt x="642" y="427"/>
                  </a:lnTo>
                  <a:lnTo>
                    <a:pt x="632" y="457"/>
                  </a:lnTo>
                  <a:lnTo>
                    <a:pt x="618" y="485"/>
                  </a:lnTo>
                  <a:lnTo>
                    <a:pt x="601" y="513"/>
                  </a:lnTo>
                  <a:lnTo>
                    <a:pt x="582" y="539"/>
                  </a:lnTo>
                  <a:lnTo>
                    <a:pt x="562" y="561"/>
                  </a:lnTo>
                  <a:lnTo>
                    <a:pt x="538" y="583"/>
                  </a:lnTo>
                  <a:lnTo>
                    <a:pt x="512" y="602"/>
                  </a:lnTo>
                  <a:lnTo>
                    <a:pt x="485" y="618"/>
                  </a:lnTo>
                  <a:lnTo>
                    <a:pt x="457" y="631"/>
                  </a:lnTo>
                  <a:lnTo>
                    <a:pt x="426" y="643"/>
                  </a:lnTo>
                  <a:lnTo>
                    <a:pt x="411" y="647"/>
                  </a:lnTo>
                  <a:lnTo>
                    <a:pt x="395" y="651"/>
                  </a:lnTo>
                  <a:lnTo>
                    <a:pt x="379" y="654"/>
                  </a:lnTo>
                  <a:lnTo>
                    <a:pt x="363" y="656"/>
                  </a:lnTo>
                  <a:lnTo>
                    <a:pt x="346" y="657"/>
                  </a:lnTo>
                  <a:lnTo>
                    <a:pt x="329" y="658"/>
                  </a:lnTo>
                  <a:lnTo>
                    <a:pt x="329" y="658"/>
                  </a:lnTo>
                  <a:close/>
                  <a:moveTo>
                    <a:pt x="329" y="38"/>
                  </a:moveTo>
                  <a:lnTo>
                    <a:pt x="329" y="38"/>
                  </a:lnTo>
                  <a:lnTo>
                    <a:pt x="299" y="39"/>
                  </a:lnTo>
                  <a:lnTo>
                    <a:pt x="270" y="44"/>
                  </a:lnTo>
                  <a:lnTo>
                    <a:pt x="242" y="51"/>
                  </a:lnTo>
                  <a:lnTo>
                    <a:pt x="215" y="61"/>
                  </a:lnTo>
                  <a:lnTo>
                    <a:pt x="190" y="73"/>
                  </a:lnTo>
                  <a:lnTo>
                    <a:pt x="166" y="87"/>
                  </a:lnTo>
                  <a:lnTo>
                    <a:pt x="144" y="105"/>
                  </a:lnTo>
                  <a:lnTo>
                    <a:pt x="123" y="124"/>
                  </a:lnTo>
                  <a:lnTo>
                    <a:pt x="104" y="144"/>
                  </a:lnTo>
                  <a:lnTo>
                    <a:pt x="88" y="167"/>
                  </a:lnTo>
                  <a:lnTo>
                    <a:pt x="73" y="191"/>
                  </a:lnTo>
                  <a:lnTo>
                    <a:pt x="61" y="216"/>
                  </a:lnTo>
                  <a:lnTo>
                    <a:pt x="52" y="243"/>
                  </a:lnTo>
                  <a:lnTo>
                    <a:pt x="43" y="270"/>
                  </a:lnTo>
                  <a:lnTo>
                    <a:pt x="39" y="300"/>
                  </a:lnTo>
                  <a:lnTo>
                    <a:pt x="38" y="329"/>
                  </a:lnTo>
                  <a:lnTo>
                    <a:pt x="38" y="329"/>
                  </a:lnTo>
                  <a:lnTo>
                    <a:pt x="39" y="359"/>
                  </a:lnTo>
                  <a:lnTo>
                    <a:pt x="43" y="388"/>
                  </a:lnTo>
                  <a:lnTo>
                    <a:pt x="52" y="415"/>
                  </a:lnTo>
                  <a:lnTo>
                    <a:pt x="61" y="442"/>
                  </a:lnTo>
                  <a:lnTo>
                    <a:pt x="73" y="467"/>
                  </a:lnTo>
                  <a:lnTo>
                    <a:pt x="88" y="492"/>
                  </a:lnTo>
                  <a:lnTo>
                    <a:pt x="104" y="514"/>
                  </a:lnTo>
                  <a:lnTo>
                    <a:pt x="123" y="535"/>
                  </a:lnTo>
                  <a:lnTo>
                    <a:pt x="144" y="553"/>
                  </a:lnTo>
                  <a:lnTo>
                    <a:pt x="166" y="571"/>
                  </a:lnTo>
                  <a:lnTo>
                    <a:pt x="190" y="584"/>
                  </a:lnTo>
                  <a:lnTo>
                    <a:pt x="215" y="598"/>
                  </a:lnTo>
                  <a:lnTo>
                    <a:pt x="242" y="607"/>
                  </a:lnTo>
                  <a:lnTo>
                    <a:pt x="270" y="614"/>
                  </a:lnTo>
                  <a:lnTo>
                    <a:pt x="299" y="619"/>
                  </a:lnTo>
                  <a:lnTo>
                    <a:pt x="329" y="621"/>
                  </a:lnTo>
                  <a:lnTo>
                    <a:pt x="329" y="621"/>
                  </a:lnTo>
                  <a:lnTo>
                    <a:pt x="359" y="619"/>
                  </a:lnTo>
                  <a:lnTo>
                    <a:pt x="387" y="614"/>
                  </a:lnTo>
                  <a:lnTo>
                    <a:pt x="415" y="607"/>
                  </a:lnTo>
                  <a:lnTo>
                    <a:pt x="442" y="598"/>
                  </a:lnTo>
                  <a:lnTo>
                    <a:pt x="468" y="584"/>
                  </a:lnTo>
                  <a:lnTo>
                    <a:pt x="492" y="571"/>
                  </a:lnTo>
                  <a:lnTo>
                    <a:pt x="513" y="553"/>
                  </a:lnTo>
                  <a:lnTo>
                    <a:pt x="535" y="535"/>
                  </a:lnTo>
                  <a:lnTo>
                    <a:pt x="554" y="514"/>
                  </a:lnTo>
                  <a:lnTo>
                    <a:pt x="570" y="492"/>
                  </a:lnTo>
                  <a:lnTo>
                    <a:pt x="585" y="467"/>
                  </a:lnTo>
                  <a:lnTo>
                    <a:pt x="597" y="442"/>
                  </a:lnTo>
                  <a:lnTo>
                    <a:pt x="607" y="415"/>
                  </a:lnTo>
                  <a:lnTo>
                    <a:pt x="614" y="388"/>
                  </a:lnTo>
                  <a:lnTo>
                    <a:pt x="618" y="359"/>
                  </a:lnTo>
                  <a:lnTo>
                    <a:pt x="619" y="329"/>
                  </a:lnTo>
                  <a:lnTo>
                    <a:pt x="619" y="329"/>
                  </a:lnTo>
                  <a:lnTo>
                    <a:pt x="618" y="300"/>
                  </a:lnTo>
                  <a:lnTo>
                    <a:pt x="614" y="270"/>
                  </a:lnTo>
                  <a:lnTo>
                    <a:pt x="607" y="243"/>
                  </a:lnTo>
                  <a:lnTo>
                    <a:pt x="597" y="216"/>
                  </a:lnTo>
                  <a:lnTo>
                    <a:pt x="585" y="191"/>
                  </a:lnTo>
                  <a:lnTo>
                    <a:pt x="570" y="167"/>
                  </a:lnTo>
                  <a:lnTo>
                    <a:pt x="554" y="144"/>
                  </a:lnTo>
                  <a:lnTo>
                    <a:pt x="535" y="124"/>
                  </a:lnTo>
                  <a:lnTo>
                    <a:pt x="513" y="105"/>
                  </a:lnTo>
                  <a:lnTo>
                    <a:pt x="492" y="87"/>
                  </a:lnTo>
                  <a:lnTo>
                    <a:pt x="468" y="73"/>
                  </a:lnTo>
                  <a:lnTo>
                    <a:pt x="442" y="61"/>
                  </a:lnTo>
                  <a:lnTo>
                    <a:pt x="415" y="51"/>
                  </a:lnTo>
                  <a:lnTo>
                    <a:pt x="387" y="44"/>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5" name="Freeform 221">
              <a:extLst>
                <a:ext uri="{FF2B5EF4-FFF2-40B4-BE49-F238E27FC236}">
                  <a16:creationId xmlns:a16="http://schemas.microsoft.com/office/drawing/2014/main" id="{B16D9517-E5CB-42BA-85C7-3E76156FA70E}"/>
                </a:ext>
              </a:extLst>
            </p:cNvPr>
            <p:cNvSpPr>
              <a:spLocks noEditPoints="1"/>
            </p:cNvSpPr>
            <p:nvPr/>
          </p:nvSpPr>
          <p:spPr bwMode="auto">
            <a:xfrm>
              <a:off x="7566162" y="5907920"/>
              <a:ext cx="318557" cy="88800"/>
            </a:xfrm>
            <a:custGeom>
              <a:avLst/>
              <a:gdLst>
                <a:gd name="T0" fmla="*/ 307 w 364"/>
                <a:gd name="T1" fmla="*/ 52 h 141"/>
                <a:gd name="T2" fmla="*/ 305 w 364"/>
                <a:gd name="T3" fmla="*/ 58 h 141"/>
                <a:gd name="T4" fmla="*/ 299 w 364"/>
                <a:gd name="T5" fmla="*/ 60 h 141"/>
                <a:gd name="T6" fmla="*/ 291 w 364"/>
                <a:gd name="T7" fmla="*/ 55 h 141"/>
                <a:gd name="T8" fmla="*/ 258 w 364"/>
                <a:gd name="T9" fmla="*/ 0 h 141"/>
                <a:gd name="T10" fmla="*/ 258 w 364"/>
                <a:gd name="T11" fmla="*/ 30 h 141"/>
                <a:gd name="T12" fmla="*/ 252 w 364"/>
                <a:gd name="T13" fmla="*/ 38 h 141"/>
                <a:gd name="T14" fmla="*/ 247 w 364"/>
                <a:gd name="T15" fmla="*/ 38 h 141"/>
                <a:gd name="T16" fmla="*/ 242 w 364"/>
                <a:gd name="T17" fmla="*/ 30 h 141"/>
                <a:gd name="T18" fmla="*/ 213 w 364"/>
                <a:gd name="T19" fmla="*/ 52 h 141"/>
                <a:gd name="T20" fmla="*/ 211 w 364"/>
                <a:gd name="T21" fmla="*/ 58 h 141"/>
                <a:gd name="T22" fmla="*/ 205 w 364"/>
                <a:gd name="T23" fmla="*/ 60 h 141"/>
                <a:gd name="T24" fmla="*/ 197 w 364"/>
                <a:gd name="T25" fmla="*/ 55 h 141"/>
                <a:gd name="T26" fmla="*/ 164 w 364"/>
                <a:gd name="T27" fmla="*/ 0 h 141"/>
                <a:gd name="T28" fmla="*/ 164 w 364"/>
                <a:gd name="T29" fmla="*/ 30 h 141"/>
                <a:gd name="T30" fmla="*/ 158 w 364"/>
                <a:gd name="T31" fmla="*/ 38 h 141"/>
                <a:gd name="T32" fmla="*/ 153 w 364"/>
                <a:gd name="T33" fmla="*/ 38 h 141"/>
                <a:gd name="T34" fmla="*/ 148 w 364"/>
                <a:gd name="T35" fmla="*/ 30 h 141"/>
                <a:gd name="T36" fmla="*/ 121 w 364"/>
                <a:gd name="T37" fmla="*/ 52 h 141"/>
                <a:gd name="T38" fmla="*/ 118 w 364"/>
                <a:gd name="T39" fmla="*/ 58 h 141"/>
                <a:gd name="T40" fmla="*/ 113 w 364"/>
                <a:gd name="T41" fmla="*/ 60 h 141"/>
                <a:gd name="T42" fmla="*/ 105 w 364"/>
                <a:gd name="T43" fmla="*/ 55 h 141"/>
                <a:gd name="T44" fmla="*/ 71 w 364"/>
                <a:gd name="T45" fmla="*/ 0 h 141"/>
                <a:gd name="T46" fmla="*/ 70 w 364"/>
                <a:gd name="T47" fmla="*/ 34 h 141"/>
                <a:gd name="T48" fmla="*/ 63 w 364"/>
                <a:gd name="T49" fmla="*/ 38 h 141"/>
                <a:gd name="T50" fmla="*/ 56 w 364"/>
                <a:gd name="T51" fmla="*/ 36 h 141"/>
                <a:gd name="T52" fmla="*/ 55 w 364"/>
                <a:gd name="T53" fmla="*/ 0 h 141"/>
                <a:gd name="T54" fmla="*/ 4 w 364"/>
                <a:gd name="T55" fmla="*/ 1 h 141"/>
                <a:gd name="T56" fmla="*/ 0 w 364"/>
                <a:gd name="T57" fmla="*/ 7 h 141"/>
                <a:gd name="T58" fmla="*/ 0 w 364"/>
                <a:gd name="T59" fmla="*/ 138 h 141"/>
                <a:gd name="T60" fmla="*/ 5 w 364"/>
                <a:gd name="T61" fmla="*/ 141 h 141"/>
                <a:gd name="T62" fmla="*/ 360 w 364"/>
                <a:gd name="T63" fmla="*/ 141 h 141"/>
                <a:gd name="T64" fmla="*/ 364 w 364"/>
                <a:gd name="T65" fmla="*/ 136 h 141"/>
                <a:gd name="T66" fmla="*/ 364 w 364"/>
                <a:gd name="T67" fmla="*/ 4 h 141"/>
                <a:gd name="T68" fmla="*/ 358 w 364"/>
                <a:gd name="T69" fmla="*/ 0 h 141"/>
                <a:gd name="T70" fmla="*/ 326 w 364"/>
                <a:gd name="T71" fmla="*/ 118 h 141"/>
                <a:gd name="T72" fmla="*/ 311 w 364"/>
                <a:gd name="T73" fmla="*/ 109 h 141"/>
                <a:gd name="T74" fmla="*/ 311 w 364"/>
                <a:gd name="T75" fmla="*/ 98 h 141"/>
                <a:gd name="T76" fmla="*/ 326 w 364"/>
                <a:gd name="T77" fmla="*/ 89 h 141"/>
                <a:gd name="T78" fmla="*/ 336 w 364"/>
                <a:gd name="T79" fmla="*/ 93 h 141"/>
                <a:gd name="T80" fmla="*/ 340 w 364"/>
                <a:gd name="T81" fmla="*/ 103 h 141"/>
                <a:gd name="T82" fmla="*/ 331 w 364"/>
                <a:gd name="T83" fmla="*/ 117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4" h="141">
                  <a:moveTo>
                    <a:pt x="358" y="0"/>
                  </a:moveTo>
                  <a:lnTo>
                    <a:pt x="307" y="0"/>
                  </a:lnTo>
                  <a:lnTo>
                    <a:pt x="307" y="52"/>
                  </a:lnTo>
                  <a:lnTo>
                    <a:pt x="307" y="52"/>
                  </a:lnTo>
                  <a:lnTo>
                    <a:pt x="307" y="55"/>
                  </a:lnTo>
                  <a:lnTo>
                    <a:pt x="305" y="58"/>
                  </a:lnTo>
                  <a:lnTo>
                    <a:pt x="302" y="59"/>
                  </a:lnTo>
                  <a:lnTo>
                    <a:pt x="299" y="60"/>
                  </a:lnTo>
                  <a:lnTo>
                    <a:pt x="299" y="60"/>
                  </a:lnTo>
                  <a:lnTo>
                    <a:pt x="297" y="59"/>
                  </a:lnTo>
                  <a:lnTo>
                    <a:pt x="294" y="58"/>
                  </a:lnTo>
                  <a:lnTo>
                    <a:pt x="291" y="55"/>
                  </a:lnTo>
                  <a:lnTo>
                    <a:pt x="291" y="52"/>
                  </a:lnTo>
                  <a:lnTo>
                    <a:pt x="291" y="0"/>
                  </a:lnTo>
                  <a:lnTo>
                    <a:pt x="258" y="0"/>
                  </a:lnTo>
                  <a:lnTo>
                    <a:pt x="258" y="0"/>
                  </a:lnTo>
                  <a:lnTo>
                    <a:pt x="258" y="30"/>
                  </a:lnTo>
                  <a:lnTo>
                    <a:pt x="258" y="30"/>
                  </a:lnTo>
                  <a:lnTo>
                    <a:pt x="258" y="34"/>
                  </a:lnTo>
                  <a:lnTo>
                    <a:pt x="255" y="36"/>
                  </a:lnTo>
                  <a:lnTo>
                    <a:pt x="252" y="38"/>
                  </a:lnTo>
                  <a:lnTo>
                    <a:pt x="250" y="38"/>
                  </a:lnTo>
                  <a:lnTo>
                    <a:pt x="250" y="38"/>
                  </a:lnTo>
                  <a:lnTo>
                    <a:pt x="247" y="38"/>
                  </a:lnTo>
                  <a:lnTo>
                    <a:pt x="244" y="36"/>
                  </a:lnTo>
                  <a:lnTo>
                    <a:pt x="242" y="34"/>
                  </a:lnTo>
                  <a:lnTo>
                    <a:pt x="242" y="30"/>
                  </a:lnTo>
                  <a:lnTo>
                    <a:pt x="242" y="0"/>
                  </a:lnTo>
                  <a:lnTo>
                    <a:pt x="213" y="0"/>
                  </a:lnTo>
                  <a:lnTo>
                    <a:pt x="213" y="52"/>
                  </a:lnTo>
                  <a:lnTo>
                    <a:pt x="213" y="52"/>
                  </a:lnTo>
                  <a:lnTo>
                    <a:pt x="213" y="55"/>
                  </a:lnTo>
                  <a:lnTo>
                    <a:pt x="211" y="58"/>
                  </a:lnTo>
                  <a:lnTo>
                    <a:pt x="208" y="59"/>
                  </a:lnTo>
                  <a:lnTo>
                    <a:pt x="205" y="60"/>
                  </a:lnTo>
                  <a:lnTo>
                    <a:pt x="205" y="60"/>
                  </a:lnTo>
                  <a:lnTo>
                    <a:pt x="203" y="59"/>
                  </a:lnTo>
                  <a:lnTo>
                    <a:pt x="200" y="58"/>
                  </a:lnTo>
                  <a:lnTo>
                    <a:pt x="197" y="55"/>
                  </a:lnTo>
                  <a:lnTo>
                    <a:pt x="197" y="52"/>
                  </a:lnTo>
                  <a:lnTo>
                    <a:pt x="197" y="0"/>
                  </a:lnTo>
                  <a:lnTo>
                    <a:pt x="164" y="0"/>
                  </a:lnTo>
                  <a:lnTo>
                    <a:pt x="164" y="0"/>
                  </a:lnTo>
                  <a:lnTo>
                    <a:pt x="164" y="30"/>
                  </a:lnTo>
                  <a:lnTo>
                    <a:pt x="164" y="30"/>
                  </a:lnTo>
                  <a:lnTo>
                    <a:pt x="164" y="34"/>
                  </a:lnTo>
                  <a:lnTo>
                    <a:pt x="161" y="36"/>
                  </a:lnTo>
                  <a:lnTo>
                    <a:pt x="158" y="38"/>
                  </a:lnTo>
                  <a:lnTo>
                    <a:pt x="156" y="38"/>
                  </a:lnTo>
                  <a:lnTo>
                    <a:pt x="156" y="38"/>
                  </a:lnTo>
                  <a:lnTo>
                    <a:pt x="153" y="38"/>
                  </a:lnTo>
                  <a:lnTo>
                    <a:pt x="150" y="36"/>
                  </a:lnTo>
                  <a:lnTo>
                    <a:pt x="148" y="34"/>
                  </a:lnTo>
                  <a:lnTo>
                    <a:pt x="148" y="30"/>
                  </a:lnTo>
                  <a:lnTo>
                    <a:pt x="148" y="0"/>
                  </a:lnTo>
                  <a:lnTo>
                    <a:pt x="121" y="0"/>
                  </a:lnTo>
                  <a:lnTo>
                    <a:pt x="121" y="52"/>
                  </a:lnTo>
                  <a:lnTo>
                    <a:pt x="121" y="52"/>
                  </a:lnTo>
                  <a:lnTo>
                    <a:pt x="119" y="55"/>
                  </a:lnTo>
                  <a:lnTo>
                    <a:pt x="118" y="58"/>
                  </a:lnTo>
                  <a:lnTo>
                    <a:pt x="115" y="59"/>
                  </a:lnTo>
                  <a:lnTo>
                    <a:pt x="113" y="60"/>
                  </a:lnTo>
                  <a:lnTo>
                    <a:pt x="113" y="60"/>
                  </a:lnTo>
                  <a:lnTo>
                    <a:pt x="109" y="59"/>
                  </a:lnTo>
                  <a:lnTo>
                    <a:pt x="106" y="58"/>
                  </a:lnTo>
                  <a:lnTo>
                    <a:pt x="105" y="55"/>
                  </a:lnTo>
                  <a:lnTo>
                    <a:pt x="105" y="52"/>
                  </a:lnTo>
                  <a:lnTo>
                    <a:pt x="105" y="0"/>
                  </a:lnTo>
                  <a:lnTo>
                    <a:pt x="71" y="0"/>
                  </a:lnTo>
                  <a:lnTo>
                    <a:pt x="71" y="30"/>
                  </a:lnTo>
                  <a:lnTo>
                    <a:pt x="71" y="30"/>
                  </a:lnTo>
                  <a:lnTo>
                    <a:pt x="70" y="34"/>
                  </a:lnTo>
                  <a:lnTo>
                    <a:pt x="68" y="36"/>
                  </a:lnTo>
                  <a:lnTo>
                    <a:pt x="66" y="38"/>
                  </a:lnTo>
                  <a:lnTo>
                    <a:pt x="63" y="38"/>
                  </a:lnTo>
                  <a:lnTo>
                    <a:pt x="63" y="38"/>
                  </a:lnTo>
                  <a:lnTo>
                    <a:pt x="59" y="38"/>
                  </a:lnTo>
                  <a:lnTo>
                    <a:pt x="56" y="36"/>
                  </a:lnTo>
                  <a:lnTo>
                    <a:pt x="55" y="34"/>
                  </a:lnTo>
                  <a:lnTo>
                    <a:pt x="55" y="30"/>
                  </a:lnTo>
                  <a:lnTo>
                    <a:pt x="55" y="0"/>
                  </a:lnTo>
                  <a:lnTo>
                    <a:pt x="5" y="0"/>
                  </a:lnTo>
                  <a:lnTo>
                    <a:pt x="5" y="0"/>
                  </a:lnTo>
                  <a:lnTo>
                    <a:pt x="4" y="1"/>
                  </a:lnTo>
                  <a:lnTo>
                    <a:pt x="1" y="3"/>
                  </a:lnTo>
                  <a:lnTo>
                    <a:pt x="0" y="4"/>
                  </a:lnTo>
                  <a:lnTo>
                    <a:pt x="0" y="7"/>
                  </a:lnTo>
                  <a:lnTo>
                    <a:pt x="0" y="136"/>
                  </a:lnTo>
                  <a:lnTo>
                    <a:pt x="0" y="136"/>
                  </a:lnTo>
                  <a:lnTo>
                    <a:pt x="0" y="138"/>
                  </a:lnTo>
                  <a:lnTo>
                    <a:pt x="1" y="140"/>
                  </a:lnTo>
                  <a:lnTo>
                    <a:pt x="4" y="141"/>
                  </a:lnTo>
                  <a:lnTo>
                    <a:pt x="5" y="141"/>
                  </a:lnTo>
                  <a:lnTo>
                    <a:pt x="358" y="141"/>
                  </a:lnTo>
                  <a:lnTo>
                    <a:pt x="358" y="141"/>
                  </a:lnTo>
                  <a:lnTo>
                    <a:pt x="360" y="141"/>
                  </a:lnTo>
                  <a:lnTo>
                    <a:pt x="362" y="140"/>
                  </a:lnTo>
                  <a:lnTo>
                    <a:pt x="364" y="138"/>
                  </a:lnTo>
                  <a:lnTo>
                    <a:pt x="364" y="136"/>
                  </a:lnTo>
                  <a:lnTo>
                    <a:pt x="364" y="7"/>
                  </a:lnTo>
                  <a:lnTo>
                    <a:pt x="364" y="7"/>
                  </a:lnTo>
                  <a:lnTo>
                    <a:pt x="364" y="4"/>
                  </a:lnTo>
                  <a:lnTo>
                    <a:pt x="362" y="3"/>
                  </a:lnTo>
                  <a:lnTo>
                    <a:pt x="360" y="1"/>
                  </a:lnTo>
                  <a:lnTo>
                    <a:pt x="358" y="0"/>
                  </a:lnTo>
                  <a:lnTo>
                    <a:pt x="358" y="0"/>
                  </a:lnTo>
                  <a:close/>
                  <a:moveTo>
                    <a:pt x="326" y="118"/>
                  </a:moveTo>
                  <a:lnTo>
                    <a:pt x="326" y="118"/>
                  </a:lnTo>
                  <a:lnTo>
                    <a:pt x="319" y="117"/>
                  </a:lnTo>
                  <a:lnTo>
                    <a:pt x="315" y="114"/>
                  </a:lnTo>
                  <a:lnTo>
                    <a:pt x="311" y="109"/>
                  </a:lnTo>
                  <a:lnTo>
                    <a:pt x="311" y="103"/>
                  </a:lnTo>
                  <a:lnTo>
                    <a:pt x="311" y="103"/>
                  </a:lnTo>
                  <a:lnTo>
                    <a:pt x="311" y="98"/>
                  </a:lnTo>
                  <a:lnTo>
                    <a:pt x="315" y="93"/>
                  </a:lnTo>
                  <a:lnTo>
                    <a:pt x="319" y="90"/>
                  </a:lnTo>
                  <a:lnTo>
                    <a:pt x="326" y="89"/>
                  </a:lnTo>
                  <a:lnTo>
                    <a:pt x="326" y="89"/>
                  </a:lnTo>
                  <a:lnTo>
                    <a:pt x="331" y="90"/>
                  </a:lnTo>
                  <a:lnTo>
                    <a:pt x="336" y="93"/>
                  </a:lnTo>
                  <a:lnTo>
                    <a:pt x="340" y="98"/>
                  </a:lnTo>
                  <a:lnTo>
                    <a:pt x="340" y="103"/>
                  </a:lnTo>
                  <a:lnTo>
                    <a:pt x="340" y="103"/>
                  </a:lnTo>
                  <a:lnTo>
                    <a:pt x="340" y="109"/>
                  </a:lnTo>
                  <a:lnTo>
                    <a:pt x="336" y="114"/>
                  </a:lnTo>
                  <a:lnTo>
                    <a:pt x="331" y="117"/>
                  </a:lnTo>
                  <a:lnTo>
                    <a:pt x="326" y="118"/>
                  </a:lnTo>
                  <a:lnTo>
                    <a:pt x="32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6" name="Group 15">
            <a:extLst>
              <a:ext uri="{FF2B5EF4-FFF2-40B4-BE49-F238E27FC236}">
                <a16:creationId xmlns:a16="http://schemas.microsoft.com/office/drawing/2014/main" id="{75981F12-74E6-4C20-AD50-7F34F0374758}"/>
              </a:ext>
            </a:extLst>
          </p:cNvPr>
          <p:cNvGrpSpPr/>
          <p:nvPr/>
        </p:nvGrpSpPr>
        <p:grpSpPr>
          <a:xfrm>
            <a:off x="8165430" y="2864974"/>
            <a:ext cx="365760" cy="365760"/>
            <a:chOff x="8183455" y="5746579"/>
            <a:chExt cx="575854" cy="411480"/>
          </a:xfrm>
        </p:grpSpPr>
        <p:sp>
          <p:nvSpPr>
            <p:cNvPr id="17" name="Freeform 20">
              <a:extLst>
                <a:ext uri="{FF2B5EF4-FFF2-40B4-BE49-F238E27FC236}">
                  <a16:creationId xmlns:a16="http://schemas.microsoft.com/office/drawing/2014/main" id="{BEAC00FD-2E07-4791-B71B-0B49CB6795A5}"/>
                </a:ext>
              </a:extLst>
            </p:cNvPr>
            <p:cNvSpPr>
              <a:spLocks noEditPoints="1"/>
            </p:cNvSpPr>
            <p:nvPr/>
          </p:nvSpPr>
          <p:spPr bwMode="auto">
            <a:xfrm>
              <a:off x="8183455" y="5746579"/>
              <a:ext cx="575854" cy="411480"/>
            </a:xfrm>
            <a:custGeom>
              <a:avLst/>
              <a:gdLst>
                <a:gd name="T0" fmla="*/ 313 w 658"/>
                <a:gd name="T1" fmla="*/ 657 h 658"/>
                <a:gd name="T2" fmla="*/ 263 w 658"/>
                <a:gd name="T3" fmla="*/ 651 h 658"/>
                <a:gd name="T4" fmla="*/ 201 w 658"/>
                <a:gd name="T5" fmla="*/ 631 h 658"/>
                <a:gd name="T6" fmla="*/ 120 w 658"/>
                <a:gd name="T7" fmla="*/ 583 h 658"/>
                <a:gd name="T8" fmla="*/ 56 w 658"/>
                <a:gd name="T9" fmla="*/ 513 h 658"/>
                <a:gd name="T10" fmla="*/ 14 w 658"/>
                <a:gd name="T11" fmla="*/ 426 h 658"/>
                <a:gd name="T12" fmla="*/ 4 w 658"/>
                <a:gd name="T13" fmla="*/ 379 h 658"/>
                <a:gd name="T14" fmla="*/ 0 w 658"/>
                <a:gd name="T15" fmla="*/ 329 h 658"/>
                <a:gd name="T16" fmla="*/ 2 w 658"/>
                <a:gd name="T17" fmla="*/ 295 h 658"/>
                <a:gd name="T18" fmla="*/ 10 w 658"/>
                <a:gd name="T19" fmla="*/ 247 h 658"/>
                <a:gd name="T20" fmla="*/ 40 w 658"/>
                <a:gd name="T21" fmla="*/ 172 h 658"/>
                <a:gd name="T22" fmla="*/ 96 w 658"/>
                <a:gd name="T23" fmla="*/ 96 h 658"/>
                <a:gd name="T24" fmla="*/ 173 w 658"/>
                <a:gd name="T25" fmla="*/ 40 h 658"/>
                <a:gd name="T26" fmla="*/ 247 w 658"/>
                <a:gd name="T27" fmla="*/ 10 h 658"/>
                <a:gd name="T28" fmla="*/ 295 w 658"/>
                <a:gd name="T29" fmla="*/ 1 h 658"/>
                <a:gd name="T30" fmla="*/ 329 w 658"/>
                <a:gd name="T31" fmla="*/ 0 h 658"/>
                <a:gd name="T32" fmla="*/ 378 w 658"/>
                <a:gd name="T33" fmla="*/ 4 h 658"/>
                <a:gd name="T34" fmla="*/ 427 w 658"/>
                <a:gd name="T35" fmla="*/ 15 h 658"/>
                <a:gd name="T36" fmla="*/ 513 w 658"/>
                <a:gd name="T37" fmla="*/ 56 h 658"/>
                <a:gd name="T38" fmla="*/ 583 w 658"/>
                <a:gd name="T39" fmla="*/ 119 h 658"/>
                <a:gd name="T40" fmla="*/ 632 w 658"/>
                <a:gd name="T41" fmla="*/ 201 h 658"/>
                <a:gd name="T42" fmla="*/ 651 w 658"/>
                <a:gd name="T43" fmla="*/ 263 h 658"/>
                <a:gd name="T44" fmla="*/ 658 w 658"/>
                <a:gd name="T45" fmla="*/ 311 h 658"/>
                <a:gd name="T46" fmla="*/ 658 w 658"/>
                <a:gd name="T47" fmla="*/ 345 h 658"/>
                <a:gd name="T48" fmla="*/ 651 w 658"/>
                <a:gd name="T49" fmla="*/ 395 h 658"/>
                <a:gd name="T50" fmla="*/ 632 w 658"/>
                <a:gd name="T51" fmla="*/ 456 h 658"/>
                <a:gd name="T52" fmla="*/ 583 w 658"/>
                <a:gd name="T53" fmla="*/ 537 h 658"/>
                <a:gd name="T54" fmla="*/ 513 w 658"/>
                <a:gd name="T55" fmla="*/ 601 h 658"/>
                <a:gd name="T56" fmla="*/ 427 w 658"/>
                <a:gd name="T57" fmla="*/ 643 h 658"/>
                <a:gd name="T58" fmla="*/ 378 w 658"/>
                <a:gd name="T59" fmla="*/ 654 h 658"/>
                <a:gd name="T60" fmla="*/ 329 w 658"/>
                <a:gd name="T61" fmla="*/ 658 h 658"/>
                <a:gd name="T62" fmla="*/ 329 w 658"/>
                <a:gd name="T63" fmla="*/ 37 h 658"/>
                <a:gd name="T64" fmla="*/ 243 w 658"/>
                <a:gd name="T65" fmla="*/ 51 h 658"/>
                <a:gd name="T66" fmla="*/ 166 w 658"/>
                <a:gd name="T67" fmla="*/ 87 h 658"/>
                <a:gd name="T68" fmla="*/ 104 w 658"/>
                <a:gd name="T69" fmla="*/ 143 h 658"/>
                <a:gd name="T70" fmla="*/ 61 w 658"/>
                <a:gd name="T71" fmla="*/ 215 h 658"/>
                <a:gd name="T72" fmla="*/ 40 w 658"/>
                <a:gd name="T73" fmla="*/ 299 h 658"/>
                <a:gd name="T74" fmla="*/ 40 w 658"/>
                <a:gd name="T75" fmla="*/ 358 h 658"/>
                <a:gd name="T76" fmla="*/ 61 w 658"/>
                <a:gd name="T77" fmla="*/ 442 h 658"/>
                <a:gd name="T78" fmla="*/ 104 w 658"/>
                <a:gd name="T79" fmla="*/ 514 h 658"/>
                <a:gd name="T80" fmla="*/ 166 w 658"/>
                <a:gd name="T81" fmla="*/ 569 h 658"/>
                <a:gd name="T82" fmla="*/ 243 w 658"/>
                <a:gd name="T83" fmla="*/ 607 h 658"/>
                <a:gd name="T84" fmla="*/ 329 w 658"/>
                <a:gd name="T85" fmla="*/ 620 h 658"/>
                <a:gd name="T86" fmla="*/ 388 w 658"/>
                <a:gd name="T87" fmla="*/ 614 h 658"/>
                <a:gd name="T88" fmla="*/ 467 w 658"/>
                <a:gd name="T89" fmla="*/ 584 h 658"/>
                <a:gd name="T90" fmla="*/ 534 w 658"/>
                <a:gd name="T91" fmla="*/ 534 h 658"/>
                <a:gd name="T92" fmla="*/ 585 w 658"/>
                <a:gd name="T93" fmla="*/ 467 h 658"/>
                <a:gd name="T94" fmla="*/ 615 w 658"/>
                <a:gd name="T95" fmla="*/ 387 h 658"/>
                <a:gd name="T96" fmla="*/ 620 w 658"/>
                <a:gd name="T97" fmla="*/ 329 h 658"/>
                <a:gd name="T98" fmla="*/ 607 w 658"/>
                <a:gd name="T99" fmla="*/ 242 h 658"/>
                <a:gd name="T100" fmla="*/ 570 w 658"/>
                <a:gd name="T101" fmla="*/ 166 h 658"/>
                <a:gd name="T102" fmla="*/ 514 w 658"/>
                <a:gd name="T103" fmla="*/ 105 h 658"/>
                <a:gd name="T104" fmla="*/ 443 w 658"/>
                <a:gd name="T105" fmla="*/ 60 h 658"/>
                <a:gd name="T106" fmla="*/ 358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7"/>
                  </a:lnTo>
                  <a:lnTo>
                    <a:pt x="295" y="655"/>
                  </a:lnTo>
                  <a:lnTo>
                    <a:pt x="279" y="654"/>
                  </a:lnTo>
                  <a:lnTo>
                    <a:pt x="263" y="651"/>
                  </a:lnTo>
                  <a:lnTo>
                    <a:pt x="247" y="647"/>
                  </a:lnTo>
                  <a:lnTo>
                    <a:pt x="232" y="643"/>
                  </a:lnTo>
                  <a:lnTo>
                    <a:pt x="201" y="631"/>
                  </a:lnTo>
                  <a:lnTo>
                    <a:pt x="173" y="618"/>
                  </a:lnTo>
                  <a:lnTo>
                    <a:pt x="145" y="601"/>
                  </a:lnTo>
                  <a:lnTo>
                    <a:pt x="120" y="583"/>
                  </a:lnTo>
                  <a:lnTo>
                    <a:pt x="96" y="561"/>
                  </a:lnTo>
                  <a:lnTo>
                    <a:pt x="75" y="537"/>
                  </a:lnTo>
                  <a:lnTo>
                    <a:pt x="56" y="513"/>
                  </a:lnTo>
                  <a:lnTo>
                    <a:pt x="40" y="485"/>
                  </a:lnTo>
                  <a:lnTo>
                    <a:pt x="26" y="456"/>
                  </a:lnTo>
                  <a:lnTo>
                    <a:pt x="14" y="426"/>
                  </a:lnTo>
                  <a:lnTo>
                    <a:pt x="10" y="411"/>
                  </a:lnTo>
                  <a:lnTo>
                    <a:pt x="6" y="395"/>
                  </a:lnTo>
                  <a:lnTo>
                    <a:pt x="4" y="379"/>
                  </a:lnTo>
                  <a:lnTo>
                    <a:pt x="2" y="362"/>
                  </a:lnTo>
                  <a:lnTo>
                    <a:pt x="1" y="345"/>
                  </a:lnTo>
                  <a:lnTo>
                    <a:pt x="0" y="329"/>
                  </a:lnTo>
                  <a:lnTo>
                    <a:pt x="0" y="329"/>
                  </a:lnTo>
                  <a:lnTo>
                    <a:pt x="1" y="311"/>
                  </a:lnTo>
                  <a:lnTo>
                    <a:pt x="2" y="295"/>
                  </a:lnTo>
                  <a:lnTo>
                    <a:pt x="4" y="279"/>
                  </a:lnTo>
                  <a:lnTo>
                    <a:pt x="6" y="263"/>
                  </a:lnTo>
                  <a:lnTo>
                    <a:pt x="10" y="247"/>
                  </a:lnTo>
                  <a:lnTo>
                    <a:pt x="14" y="231"/>
                  </a:lnTo>
                  <a:lnTo>
                    <a:pt x="26" y="201"/>
                  </a:lnTo>
                  <a:lnTo>
                    <a:pt x="40" y="172"/>
                  </a:lnTo>
                  <a:lnTo>
                    <a:pt x="56" y="145"/>
                  </a:lnTo>
                  <a:lnTo>
                    <a:pt x="75" y="119"/>
                  </a:lnTo>
                  <a:lnTo>
                    <a:pt x="96" y="96"/>
                  </a:lnTo>
                  <a:lnTo>
                    <a:pt x="120" y="75"/>
                  </a:lnTo>
                  <a:lnTo>
                    <a:pt x="145" y="56"/>
                  </a:lnTo>
                  <a:lnTo>
                    <a:pt x="173" y="40"/>
                  </a:lnTo>
                  <a:lnTo>
                    <a:pt x="201" y="25"/>
                  </a:lnTo>
                  <a:lnTo>
                    <a:pt x="232" y="15"/>
                  </a:lnTo>
                  <a:lnTo>
                    <a:pt x="247" y="10"/>
                  </a:lnTo>
                  <a:lnTo>
                    <a:pt x="263" y="6"/>
                  </a:lnTo>
                  <a:lnTo>
                    <a:pt x="279" y="4"/>
                  </a:lnTo>
                  <a:lnTo>
                    <a:pt x="295" y="1"/>
                  </a:lnTo>
                  <a:lnTo>
                    <a:pt x="313" y="0"/>
                  </a:lnTo>
                  <a:lnTo>
                    <a:pt x="329" y="0"/>
                  </a:lnTo>
                  <a:lnTo>
                    <a:pt x="329" y="0"/>
                  </a:lnTo>
                  <a:lnTo>
                    <a:pt x="346" y="0"/>
                  </a:lnTo>
                  <a:lnTo>
                    <a:pt x="362" y="1"/>
                  </a:lnTo>
                  <a:lnTo>
                    <a:pt x="378" y="4"/>
                  </a:lnTo>
                  <a:lnTo>
                    <a:pt x="396" y="6"/>
                  </a:lnTo>
                  <a:lnTo>
                    <a:pt x="411" y="10"/>
                  </a:lnTo>
                  <a:lnTo>
                    <a:pt x="427" y="15"/>
                  </a:lnTo>
                  <a:lnTo>
                    <a:pt x="456" y="25"/>
                  </a:lnTo>
                  <a:lnTo>
                    <a:pt x="486" y="40"/>
                  </a:lnTo>
                  <a:lnTo>
                    <a:pt x="513" y="56"/>
                  </a:lnTo>
                  <a:lnTo>
                    <a:pt x="538" y="75"/>
                  </a:lnTo>
                  <a:lnTo>
                    <a:pt x="561" y="96"/>
                  </a:lnTo>
                  <a:lnTo>
                    <a:pt x="583" y="119"/>
                  </a:lnTo>
                  <a:lnTo>
                    <a:pt x="601" y="145"/>
                  </a:lnTo>
                  <a:lnTo>
                    <a:pt x="617" y="172"/>
                  </a:lnTo>
                  <a:lnTo>
                    <a:pt x="632" y="201"/>
                  </a:lnTo>
                  <a:lnTo>
                    <a:pt x="643" y="231"/>
                  </a:lnTo>
                  <a:lnTo>
                    <a:pt x="647" y="247"/>
                  </a:lnTo>
                  <a:lnTo>
                    <a:pt x="651" y="263"/>
                  </a:lnTo>
                  <a:lnTo>
                    <a:pt x="654" y="279"/>
                  </a:lnTo>
                  <a:lnTo>
                    <a:pt x="656" y="295"/>
                  </a:lnTo>
                  <a:lnTo>
                    <a:pt x="658" y="311"/>
                  </a:lnTo>
                  <a:lnTo>
                    <a:pt x="658" y="329"/>
                  </a:lnTo>
                  <a:lnTo>
                    <a:pt x="658" y="329"/>
                  </a:lnTo>
                  <a:lnTo>
                    <a:pt x="658" y="345"/>
                  </a:lnTo>
                  <a:lnTo>
                    <a:pt x="656" y="362"/>
                  </a:lnTo>
                  <a:lnTo>
                    <a:pt x="654" y="379"/>
                  </a:lnTo>
                  <a:lnTo>
                    <a:pt x="651" y="395"/>
                  </a:lnTo>
                  <a:lnTo>
                    <a:pt x="647" y="411"/>
                  </a:lnTo>
                  <a:lnTo>
                    <a:pt x="643" y="426"/>
                  </a:lnTo>
                  <a:lnTo>
                    <a:pt x="632" y="456"/>
                  </a:lnTo>
                  <a:lnTo>
                    <a:pt x="617" y="485"/>
                  </a:lnTo>
                  <a:lnTo>
                    <a:pt x="601" y="513"/>
                  </a:lnTo>
                  <a:lnTo>
                    <a:pt x="583" y="537"/>
                  </a:lnTo>
                  <a:lnTo>
                    <a:pt x="561" y="561"/>
                  </a:lnTo>
                  <a:lnTo>
                    <a:pt x="538" y="583"/>
                  </a:lnTo>
                  <a:lnTo>
                    <a:pt x="513" y="601"/>
                  </a:lnTo>
                  <a:lnTo>
                    <a:pt x="486" y="618"/>
                  </a:lnTo>
                  <a:lnTo>
                    <a:pt x="456" y="631"/>
                  </a:lnTo>
                  <a:lnTo>
                    <a:pt x="427" y="643"/>
                  </a:lnTo>
                  <a:lnTo>
                    <a:pt x="411" y="647"/>
                  </a:lnTo>
                  <a:lnTo>
                    <a:pt x="396" y="651"/>
                  </a:lnTo>
                  <a:lnTo>
                    <a:pt x="378" y="654"/>
                  </a:lnTo>
                  <a:lnTo>
                    <a:pt x="362" y="655"/>
                  </a:lnTo>
                  <a:lnTo>
                    <a:pt x="346" y="657"/>
                  </a:lnTo>
                  <a:lnTo>
                    <a:pt x="329" y="658"/>
                  </a:lnTo>
                  <a:lnTo>
                    <a:pt x="329" y="658"/>
                  </a:lnTo>
                  <a:close/>
                  <a:moveTo>
                    <a:pt x="329" y="37"/>
                  </a:moveTo>
                  <a:lnTo>
                    <a:pt x="329" y="37"/>
                  </a:lnTo>
                  <a:lnTo>
                    <a:pt x="299" y="39"/>
                  </a:lnTo>
                  <a:lnTo>
                    <a:pt x="271" y="43"/>
                  </a:lnTo>
                  <a:lnTo>
                    <a:pt x="243" y="51"/>
                  </a:lnTo>
                  <a:lnTo>
                    <a:pt x="216" y="60"/>
                  </a:lnTo>
                  <a:lnTo>
                    <a:pt x="190" y="72"/>
                  </a:lnTo>
                  <a:lnTo>
                    <a:pt x="166" y="87"/>
                  </a:lnTo>
                  <a:lnTo>
                    <a:pt x="143" y="105"/>
                  </a:lnTo>
                  <a:lnTo>
                    <a:pt x="123" y="123"/>
                  </a:lnTo>
                  <a:lnTo>
                    <a:pt x="104" y="143"/>
                  </a:lnTo>
                  <a:lnTo>
                    <a:pt x="88" y="166"/>
                  </a:lnTo>
                  <a:lnTo>
                    <a:pt x="73" y="190"/>
                  </a:lnTo>
                  <a:lnTo>
                    <a:pt x="61" y="215"/>
                  </a:lnTo>
                  <a:lnTo>
                    <a:pt x="51" y="242"/>
                  </a:lnTo>
                  <a:lnTo>
                    <a:pt x="44" y="270"/>
                  </a:lnTo>
                  <a:lnTo>
                    <a:pt x="40" y="299"/>
                  </a:lnTo>
                  <a:lnTo>
                    <a:pt x="37" y="329"/>
                  </a:lnTo>
                  <a:lnTo>
                    <a:pt x="37" y="329"/>
                  </a:lnTo>
                  <a:lnTo>
                    <a:pt x="40" y="358"/>
                  </a:lnTo>
                  <a:lnTo>
                    <a:pt x="44" y="387"/>
                  </a:lnTo>
                  <a:lnTo>
                    <a:pt x="51" y="415"/>
                  </a:lnTo>
                  <a:lnTo>
                    <a:pt x="61" y="442"/>
                  </a:lnTo>
                  <a:lnTo>
                    <a:pt x="73" y="467"/>
                  </a:lnTo>
                  <a:lnTo>
                    <a:pt x="88" y="491"/>
                  </a:lnTo>
                  <a:lnTo>
                    <a:pt x="104" y="514"/>
                  </a:lnTo>
                  <a:lnTo>
                    <a:pt x="123" y="534"/>
                  </a:lnTo>
                  <a:lnTo>
                    <a:pt x="143" y="553"/>
                  </a:lnTo>
                  <a:lnTo>
                    <a:pt x="166" y="569"/>
                  </a:lnTo>
                  <a:lnTo>
                    <a:pt x="190" y="584"/>
                  </a:lnTo>
                  <a:lnTo>
                    <a:pt x="216" y="596"/>
                  </a:lnTo>
                  <a:lnTo>
                    <a:pt x="243" y="607"/>
                  </a:lnTo>
                  <a:lnTo>
                    <a:pt x="271" y="614"/>
                  </a:lnTo>
                  <a:lnTo>
                    <a:pt x="299" y="618"/>
                  </a:lnTo>
                  <a:lnTo>
                    <a:pt x="329" y="620"/>
                  </a:lnTo>
                  <a:lnTo>
                    <a:pt x="329" y="620"/>
                  </a:lnTo>
                  <a:lnTo>
                    <a:pt x="358" y="618"/>
                  </a:lnTo>
                  <a:lnTo>
                    <a:pt x="388" y="614"/>
                  </a:lnTo>
                  <a:lnTo>
                    <a:pt x="416" y="607"/>
                  </a:lnTo>
                  <a:lnTo>
                    <a:pt x="443" y="596"/>
                  </a:lnTo>
                  <a:lnTo>
                    <a:pt x="467" y="584"/>
                  </a:lnTo>
                  <a:lnTo>
                    <a:pt x="491" y="569"/>
                  </a:lnTo>
                  <a:lnTo>
                    <a:pt x="514" y="553"/>
                  </a:lnTo>
                  <a:lnTo>
                    <a:pt x="534" y="534"/>
                  </a:lnTo>
                  <a:lnTo>
                    <a:pt x="553" y="514"/>
                  </a:lnTo>
                  <a:lnTo>
                    <a:pt x="570" y="491"/>
                  </a:lnTo>
                  <a:lnTo>
                    <a:pt x="585" y="467"/>
                  </a:lnTo>
                  <a:lnTo>
                    <a:pt x="597" y="442"/>
                  </a:lnTo>
                  <a:lnTo>
                    <a:pt x="607" y="415"/>
                  </a:lnTo>
                  <a:lnTo>
                    <a:pt x="615" y="387"/>
                  </a:lnTo>
                  <a:lnTo>
                    <a:pt x="619" y="358"/>
                  </a:lnTo>
                  <a:lnTo>
                    <a:pt x="620" y="329"/>
                  </a:lnTo>
                  <a:lnTo>
                    <a:pt x="620" y="329"/>
                  </a:lnTo>
                  <a:lnTo>
                    <a:pt x="619" y="299"/>
                  </a:lnTo>
                  <a:lnTo>
                    <a:pt x="615" y="270"/>
                  </a:lnTo>
                  <a:lnTo>
                    <a:pt x="607" y="242"/>
                  </a:lnTo>
                  <a:lnTo>
                    <a:pt x="597" y="215"/>
                  </a:lnTo>
                  <a:lnTo>
                    <a:pt x="585" y="190"/>
                  </a:lnTo>
                  <a:lnTo>
                    <a:pt x="570" y="166"/>
                  </a:lnTo>
                  <a:lnTo>
                    <a:pt x="553" y="143"/>
                  </a:lnTo>
                  <a:lnTo>
                    <a:pt x="534" y="123"/>
                  </a:lnTo>
                  <a:lnTo>
                    <a:pt x="514" y="105"/>
                  </a:lnTo>
                  <a:lnTo>
                    <a:pt x="491" y="87"/>
                  </a:lnTo>
                  <a:lnTo>
                    <a:pt x="467" y="72"/>
                  </a:lnTo>
                  <a:lnTo>
                    <a:pt x="443" y="60"/>
                  </a:lnTo>
                  <a:lnTo>
                    <a:pt x="416" y="51"/>
                  </a:lnTo>
                  <a:lnTo>
                    <a:pt x="388" y="43"/>
                  </a:lnTo>
                  <a:lnTo>
                    <a:pt x="358"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8" name="Freeform 182">
              <a:extLst>
                <a:ext uri="{FF2B5EF4-FFF2-40B4-BE49-F238E27FC236}">
                  <a16:creationId xmlns:a16="http://schemas.microsoft.com/office/drawing/2014/main" id="{4F6573A5-8081-45D4-B284-5216418A2125}"/>
                </a:ext>
              </a:extLst>
            </p:cNvPr>
            <p:cNvSpPr>
              <a:spLocks/>
            </p:cNvSpPr>
            <p:nvPr/>
          </p:nvSpPr>
          <p:spPr bwMode="auto">
            <a:xfrm>
              <a:off x="8439001" y="5951693"/>
              <a:ext cx="66512" cy="82546"/>
            </a:xfrm>
            <a:custGeom>
              <a:avLst/>
              <a:gdLst>
                <a:gd name="T0" fmla="*/ 71 w 75"/>
                <a:gd name="T1" fmla="*/ 0 h 131"/>
                <a:gd name="T2" fmla="*/ 5 w 75"/>
                <a:gd name="T3" fmla="*/ 0 h 131"/>
                <a:gd name="T4" fmla="*/ 5 w 75"/>
                <a:gd name="T5" fmla="*/ 0 h 131"/>
                <a:gd name="T6" fmla="*/ 1 w 75"/>
                <a:gd name="T7" fmla="*/ 1 h 131"/>
                <a:gd name="T8" fmla="*/ 0 w 75"/>
                <a:gd name="T9" fmla="*/ 5 h 131"/>
                <a:gd name="T10" fmla="*/ 0 w 75"/>
                <a:gd name="T11" fmla="*/ 127 h 131"/>
                <a:gd name="T12" fmla="*/ 0 w 75"/>
                <a:gd name="T13" fmla="*/ 127 h 131"/>
                <a:gd name="T14" fmla="*/ 1 w 75"/>
                <a:gd name="T15" fmla="*/ 130 h 131"/>
                <a:gd name="T16" fmla="*/ 5 w 75"/>
                <a:gd name="T17" fmla="*/ 131 h 131"/>
                <a:gd name="T18" fmla="*/ 71 w 75"/>
                <a:gd name="T19" fmla="*/ 131 h 131"/>
                <a:gd name="T20" fmla="*/ 71 w 75"/>
                <a:gd name="T21" fmla="*/ 131 h 131"/>
                <a:gd name="T22" fmla="*/ 74 w 75"/>
                <a:gd name="T23" fmla="*/ 130 h 131"/>
                <a:gd name="T24" fmla="*/ 75 w 75"/>
                <a:gd name="T25" fmla="*/ 127 h 131"/>
                <a:gd name="T26" fmla="*/ 75 w 75"/>
                <a:gd name="T27" fmla="*/ 5 h 131"/>
                <a:gd name="T28" fmla="*/ 75 w 75"/>
                <a:gd name="T29" fmla="*/ 5 h 131"/>
                <a:gd name="T30" fmla="*/ 74 w 75"/>
                <a:gd name="T31" fmla="*/ 1 h 131"/>
                <a:gd name="T32" fmla="*/ 71 w 75"/>
                <a:gd name="T33" fmla="*/ 0 h 131"/>
                <a:gd name="T34" fmla="*/ 71 w 75"/>
                <a:gd name="T35"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 h="131">
                  <a:moveTo>
                    <a:pt x="71" y="0"/>
                  </a:moveTo>
                  <a:lnTo>
                    <a:pt x="5" y="0"/>
                  </a:lnTo>
                  <a:lnTo>
                    <a:pt x="5" y="0"/>
                  </a:lnTo>
                  <a:lnTo>
                    <a:pt x="1" y="1"/>
                  </a:lnTo>
                  <a:lnTo>
                    <a:pt x="0" y="5"/>
                  </a:lnTo>
                  <a:lnTo>
                    <a:pt x="0" y="127"/>
                  </a:lnTo>
                  <a:lnTo>
                    <a:pt x="0" y="127"/>
                  </a:lnTo>
                  <a:lnTo>
                    <a:pt x="1" y="130"/>
                  </a:lnTo>
                  <a:lnTo>
                    <a:pt x="5" y="131"/>
                  </a:lnTo>
                  <a:lnTo>
                    <a:pt x="71" y="131"/>
                  </a:lnTo>
                  <a:lnTo>
                    <a:pt x="71" y="131"/>
                  </a:lnTo>
                  <a:lnTo>
                    <a:pt x="74" y="130"/>
                  </a:lnTo>
                  <a:lnTo>
                    <a:pt x="75" y="127"/>
                  </a:lnTo>
                  <a:lnTo>
                    <a:pt x="75" y="5"/>
                  </a:lnTo>
                  <a:lnTo>
                    <a:pt x="75" y="5"/>
                  </a:lnTo>
                  <a:lnTo>
                    <a:pt x="74" y="1"/>
                  </a:lnTo>
                  <a:lnTo>
                    <a:pt x="71" y="0"/>
                  </a:lnTo>
                  <a:lnTo>
                    <a:pt x="7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9" name="Freeform 183">
              <a:extLst>
                <a:ext uri="{FF2B5EF4-FFF2-40B4-BE49-F238E27FC236}">
                  <a16:creationId xmlns:a16="http://schemas.microsoft.com/office/drawing/2014/main" id="{9C11453A-3A86-4F85-AFBB-C6AA524A0F1F}"/>
                </a:ext>
              </a:extLst>
            </p:cNvPr>
            <p:cNvSpPr>
              <a:spLocks/>
            </p:cNvSpPr>
            <p:nvPr/>
          </p:nvSpPr>
          <p:spPr bwMode="auto">
            <a:xfrm>
              <a:off x="8349736" y="5987964"/>
              <a:ext cx="64762" cy="46276"/>
            </a:xfrm>
            <a:custGeom>
              <a:avLst/>
              <a:gdLst>
                <a:gd name="T0" fmla="*/ 70 w 74"/>
                <a:gd name="T1" fmla="*/ 0 h 75"/>
                <a:gd name="T2" fmla="*/ 4 w 74"/>
                <a:gd name="T3" fmla="*/ 0 h 75"/>
                <a:gd name="T4" fmla="*/ 4 w 74"/>
                <a:gd name="T5" fmla="*/ 0 h 75"/>
                <a:gd name="T6" fmla="*/ 1 w 74"/>
                <a:gd name="T7" fmla="*/ 2 h 75"/>
                <a:gd name="T8" fmla="*/ 0 w 74"/>
                <a:gd name="T9" fmla="*/ 6 h 75"/>
                <a:gd name="T10" fmla="*/ 0 w 74"/>
                <a:gd name="T11" fmla="*/ 71 h 75"/>
                <a:gd name="T12" fmla="*/ 0 w 74"/>
                <a:gd name="T13" fmla="*/ 71 h 75"/>
                <a:gd name="T14" fmla="*/ 1 w 74"/>
                <a:gd name="T15" fmla="*/ 74 h 75"/>
                <a:gd name="T16" fmla="*/ 4 w 74"/>
                <a:gd name="T17" fmla="*/ 75 h 75"/>
                <a:gd name="T18" fmla="*/ 70 w 74"/>
                <a:gd name="T19" fmla="*/ 75 h 75"/>
                <a:gd name="T20" fmla="*/ 70 w 74"/>
                <a:gd name="T21" fmla="*/ 75 h 75"/>
                <a:gd name="T22" fmla="*/ 73 w 74"/>
                <a:gd name="T23" fmla="*/ 74 h 75"/>
                <a:gd name="T24" fmla="*/ 74 w 74"/>
                <a:gd name="T25" fmla="*/ 71 h 75"/>
                <a:gd name="T26" fmla="*/ 74 w 74"/>
                <a:gd name="T27" fmla="*/ 6 h 75"/>
                <a:gd name="T28" fmla="*/ 74 w 74"/>
                <a:gd name="T29" fmla="*/ 6 h 75"/>
                <a:gd name="T30" fmla="*/ 73 w 74"/>
                <a:gd name="T31" fmla="*/ 2 h 75"/>
                <a:gd name="T32" fmla="*/ 70 w 74"/>
                <a:gd name="T33" fmla="*/ 0 h 75"/>
                <a:gd name="T34" fmla="*/ 70 w 74"/>
                <a:gd name="T35"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75">
                  <a:moveTo>
                    <a:pt x="70" y="0"/>
                  </a:moveTo>
                  <a:lnTo>
                    <a:pt x="4" y="0"/>
                  </a:lnTo>
                  <a:lnTo>
                    <a:pt x="4" y="0"/>
                  </a:lnTo>
                  <a:lnTo>
                    <a:pt x="1" y="2"/>
                  </a:lnTo>
                  <a:lnTo>
                    <a:pt x="0" y="6"/>
                  </a:lnTo>
                  <a:lnTo>
                    <a:pt x="0" y="71"/>
                  </a:lnTo>
                  <a:lnTo>
                    <a:pt x="0" y="71"/>
                  </a:lnTo>
                  <a:lnTo>
                    <a:pt x="1" y="74"/>
                  </a:lnTo>
                  <a:lnTo>
                    <a:pt x="4" y="75"/>
                  </a:lnTo>
                  <a:lnTo>
                    <a:pt x="70" y="75"/>
                  </a:lnTo>
                  <a:lnTo>
                    <a:pt x="70" y="75"/>
                  </a:lnTo>
                  <a:lnTo>
                    <a:pt x="73" y="74"/>
                  </a:lnTo>
                  <a:lnTo>
                    <a:pt x="74" y="71"/>
                  </a:lnTo>
                  <a:lnTo>
                    <a:pt x="74" y="6"/>
                  </a:lnTo>
                  <a:lnTo>
                    <a:pt x="74" y="6"/>
                  </a:lnTo>
                  <a:lnTo>
                    <a:pt x="73" y="2"/>
                  </a:lnTo>
                  <a:lnTo>
                    <a:pt x="70" y="0"/>
                  </a:lnTo>
                  <a:lnTo>
                    <a:pt x="7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0" name="Freeform 184">
              <a:extLst>
                <a:ext uri="{FF2B5EF4-FFF2-40B4-BE49-F238E27FC236}">
                  <a16:creationId xmlns:a16="http://schemas.microsoft.com/office/drawing/2014/main" id="{34650D55-609D-4E7B-93D3-A0542F048DC1}"/>
                </a:ext>
              </a:extLst>
            </p:cNvPr>
            <p:cNvSpPr>
              <a:spLocks/>
            </p:cNvSpPr>
            <p:nvPr/>
          </p:nvSpPr>
          <p:spPr bwMode="auto">
            <a:xfrm>
              <a:off x="8530017" y="5916674"/>
              <a:ext cx="64762" cy="117566"/>
            </a:xfrm>
            <a:custGeom>
              <a:avLst/>
              <a:gdLst>
                <a:gd name="T0" fmla="*/ 70 w 76"/>
                <a:gd name="T1" fmla="*/ 0 h 188"/>
                <a:gd name="T2" fmla="*/ 6 w 76"/>
                <a:gd name="T3" fmla="*/ 0 h 188"/>
                <a:gd name="T4" fmla="*/ 6 w 76"/>
                <a:gd name="T5" fmla="*/ 0 h 188"/>
                <a:gd name="T6" fmla="*/ 2 w 76"/>
                <a:gd name="T7" fmla="*/ 2 h 188"/>
                <a:gd name="T8" fmla="*/ 0 w 76"/>
                <a:gd name="T9" fmla="*/ 6 h 188"/>
                <a:gd name="T10" fmla="*/ 0 w 76"/>
                <a:gd name="T11" fmla="*/ 184 h 188"/>
                <a:gd name="T12" fmla="*/ 0 w 76"/>
                <a:gd name="T13" fmla="*/ 184 h 188"/>
                <a:gd name="T14" fmla="*/ 2 w 76"/>
                <a:gd name="T15" fmla="*/ 187 h 188"/>
                <a:gd name="T16" fmla="*/ 6 w 76"/>
                <a:gd name="T17" fmla="*/ 188 h 188"/>
                <a:gd name="T18" fmla="*/ 70 w 76"/>
                <a:gd name="T19" fmla="*/ 188 h 188"/>
                <a:gd name="T20" fmla="*/ 70 w 76"/>
                <a:gd name="T21" fmla="*/ 188 h 188"/>
                <a:gd name="T22" fmla="*/ 74 w 76"/>
                <a:gd name="T23" fmla="*/ 187 h 188"/>
                <a:gd name="T24" fmla="*/ 76 w 76"/>
                <a:gd name="T25" fmla="*/ 184 h 188"/>
                <a:gd name="T26" fmla="*/ 76 w 76"/>
                <a:gd name="T27" fmla="*/ 6 h 188"/>
                <a:gd name="T28" fmla="*/ 76 w 76"/>
                <a:gd name="T29" fmla="*/ 6 h 188"/>
                <a:gd name="T30" fmla="*/ 74 w 76"/>
                <a:gd name="T31" fmla="*/ 2 h 188"/>
                <a:gd name="T32" fmla="*/ 70 w 76"/>
                <a:gd name="T33" fmla="*/ 0 h 188"/>
                <a:gd name="T34" fmla="*/ 70 w 76"/>
                <a:gd name="T35"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188">
                  <a:moveTo>
                    <a:pt x="70" y="0"/>
                  </a:moveTo>
                  <a:lnTo>
                    <a:pt x="6" y="0"/>
                  </a:lnTo>
                  <a:lnTo>
                    <a:pt x="6" y="0"/>
                  </a:lnTo>
                  <a:lnTo>
                    <a:pt x="2" y="2"/>
                  </a:lnTo>
                  <a:lnTo>
                    <a:pt x="0" y="6"/>
                  </a:lnTo>
                  <a:lnTo>
                    <a:pt x="0" y="184"/>
                  </a:lnTo>
                  <a:lnTo>
                    <a:pt x="0" y="184"/>
                  </a:lnTo>
                  <a:lnTo>
                    <a:pt x="2" y="187"/>
                  </a:lnTo>
                  <a:lnTo>
                    <a:pt x="6" y="188"/>
                  </a:lnTo>
                  <a:lnTo>
                    <a:pt x="70" y="188"/>
                  </a:lnTo>
                  <a:lnTo>
                    <a:pt x="70" y="188"/>
                  </a:lnTo>
                  <a:lnTo>
                    <a:pt x="74" y="187"/>
                  </a:lnTo>
                  <a:lnTo>
                    <a:pt x="76" y="184"/>
                  </a:lnTo>
                  <a:lnTo>
                    <a:pt x="76" y="6"/>
                  </a:lnTo>
                  <a:lnTo>
                    <a:pt x="76" y="6"/>
                  </a:lnTo>
                  <a:lnTo>
                    <a:pt x="74" y="2"/>
                  </a:lnTo>
                  <a:lnTo>
                    <a:pt x="70" y="0"/>
                  </a:lnTo>
                  <a:lnTo>
                    <a:pt x="7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1" name="Freeform 185">
              <a:extLst>
                <a:ext uri="{FF2B5EF4-FFF2-40B4-BE49-F238E27FC236}">
                  <a16:creationId xmlns:a16="http://schemas.microsoft.com/office/drawing/2014/main" id="{76B1EDBF-6390-434F-9A2E-3979FA43A194}"/>
                </a:ext>
              </a:extLst>
            </p:cNvPr>
            <p:cNvSpPr>
              <a:spLocks/>
            </p:cNvSpPr>
            <p:nvPr/>
          </p:nvSpPr>
          <p:spPr bwMode="auto">
            <a:xfrm>
              <a:off x="8382991" y="5850387"/>
              <a:ext cx="180283" cy="68789"/>
            </a:xfrm>
            <a:custGeom>
              <a:avLst/>
              <a:gdLst>
                <a:gd name="T0" fmla="*/ 102 w 205"/>
                <a:gd name="T1" fmla="*/ 110 h 110"/>
                <a:gd name="T2" fmla="*/ 102 w 205"/>
                <a:gd name="T3" fmla="*/ 110 h 110"/>
                <a:gd name="T4" fmla="*/ 106 w 205"/>
                <a:gd name="T5" fmla="*/ 110 h 110"/>
                <a:gd name="T6" fmla="*/ 108 w 205"/>
                <a:gd name="T7" fmla="*/ 109 h 110"/>
                <a:gd name="T8" fmla="*/ 188 w 205"/>
                <a:gd name="T9" fmla="*/ 30 h 110"/>
                <a:gd name="T10" fmla="*/ 188 w 205"/>
                <a:gd name="T11" fmla="*/ 65 h 110"/>
                <a:gd name="T12" fmla="*/ 188 w 205"/>
                <a:gd name="T13" fmla="*/ 65 h 110"/>
                <a:gd name="T14" fmla="*/ 188 w 205"/>
                <a:gd name="T15" fmla="*/ 69 h 110"/>
                <a:gd name="T16" fmla="*/ 189 w 205"/>
                <a:gd name="T17" fmla="*/ 71 h 110"/>
                <a:gd name="T18" fmla="*/ 192 w 205"/>
                <a:gd name="T19" fmla="*/ 73 h 110"/>
                <a:gd name="T20" fmla="*/ 196 w 205"/>
                <a:gd name="T21" fmla="*/ 74 h 110"/>
                <a:gd name="T22" fmla="*/ 196 w 205"/>
                <a:gd name="T23" fmla="*/ 74 h 110"/>
                <a:gd name="T24" fmla="*/ 200 w 205"/>
                <a:gd name="T25" fmla="*/ 73 h 110"/>
                <a:gd name="T26" fmla="*/ 202 w 205"/>
                <a:gd name="T27" fmla="*/ 71 h 110"/>
                <a:gd name="T28" fmla="*/ 204 w 205"/>
                <a:gd name="T29" fmla="*/ 69 h 110"/>
                <a:gd name="T30" fmla="*/ 205 w 205"/>
                <a:gd name="T31" fmla="*/ 65 h 110"/>
                <a:gd name="T32" fmla="*/ 205 w 205"/>
                <a:gd name="T33" fmla="*/ 8 h 110"/>
                <a:gd name="T34" fmla="*/ 205 w 205"/>
                <a:gd name="T35" fmla="*/ 8 h 110"/>
                <a:gd name="T36" fmla="*/ 204 w 205"/>
                <a:gd name="T37" fmla="*/ 6 h 110"/>
                <a:gd name="T38" fmla="*/ 204 w 205"/>
                <a:gd name="T39" fmla="*/ 6 h 110"/>
                <a:gd name="T40" fmla="*/ 202 w 205"/>
                <a:gd name="T41" fmla="*/ 3 h 110"/>
                <a:gd name="T42" fmla="*/ 198 w 205"/>
                <a:gd name="T43" fmla="*/ 0 h 110"/>
                <a:gd name="T44" fmla="*/ 198 w 205"/>
                <a:gd name="T45" fmla="*/ 0 h 110"/>
                <a:gd name="T46" fmla="*/ 196 w 205"/>
                <a:gd name="T47" fmla="*/ 0 h 110"/>
                <a:gd name="T48" fmla="*/ 139 w 205"/>
                <a:gd name="T49" fmla="*/ 0 h 110"/>
                <a:gd name="T50" fmla="*/ 139 w 205"/>
                <a:gd name="T51" fmla="*/ 0 h 110"/>
                <a:gd name="T52" fmla="*/ 137 w 205"/>
                <a:gd name="T53" fmla="*/ 0 h 110"/>
                <a:gd name="T54" fmla="*/ 134 w 205"/>
                <a:gd name="T55" fmla="*/ 3 h 110"/>
                <a:gd name="T56" fmla="*/ 131 w 205"/>
                <a:gd name="T57" fmla="*/ 6 h 110"/>
                <a:gd name="T58" fmla="*/ 131 w 205"/>
                <a:gd name="T59" fmla="*/ 8 h 110"/>
                <a:gd name="T60" fmla="*/ 131 w 205"/>
                <a:gd name="T61" fmla="*/ 8 h 110"/>
                <a:gd name="T62" fmla="*/ 131 w 205"/>
                <a:gd name="T63" fmla="*/ 12 h 110"/>
                <a:gd name="T64" fmla="*/ 134 w 205"/>
                <a:gd name="T65" fmla="*/ 15 h 110"/>
                <a:gd name="T66" fmla="*/ 137 w 205"/>
                <a:gd name="T67" fmla="*/ 16 h 110"/>
                <a:gd name="T68" fmla="*/ 139 w 205"/>
                <a:gd name="T69" fmla="*/ 18 h 110"/>
                <a:gd name="T70" fmla="*/ 174 w 205"/>
                <a:gd name="T71" fmla="*/ 18 h 110"/>
                <a:gd name="T72" fmla="*/ 102 w 205"/>
                <a:gd name="T73" fmla="*/ 90 h 110"/>
                <a:gd name="T74" fmla="*/ 61 w 205"/>
                <a:gd name="T75" fmla="*/ 50 h 110"/>
                <a:gd name="T76" fmla="*/ 61 w 205"/>
                <a:gd name="T77" fmla="*/ 50 h 110"/>
                <a:gd name="T78" fmla="*/ 59 w 205"/>
                <a:gd name="T79" fmla="*/ 47 h 110"/>
                <a:gd name="T80" fmla="*/ 55 w 205"/>
                <a:gd name="T81" fmla="*/ 47 h 110"/>
                <a:gd name="T82" fmla="*/ 52 w 205"/>
                <a:gd name="T83" fmla="*/ 47 h 110"/>
                <a:gd name="T84" fmla="*/ 49 w 205"/>
                <a:gd name="T85" fmla="*/ 50 h 110"/>
                <a:gd name="T86" fmla="*/ 2 w 205"/>
                <a:gd name="T87" fmla="*/ 96 h 110"/>
                <a:gd name="T88" fmla="*/ 2 w 205"/>
                <a:gd name="T89" fmla="*/ 96 h 110"/>
                <a:gd name="T90" fmla="*/ 0 w 205"/>
                <a:gd name="T91" fmla="*/ 100 h 110"/>
                <a:gd name="T92" fmla="*/ 0 w 205"/>
                <a:gd name="T93" fmla="*/ 102 h 110"/>
                <a:gd name="T94" fmla="*/ 0 w 205"/>
                <a:gd name="T95" fmla="*/ 105 h 110"/>
                <a:gd name="T96" fmla="*/ 2 w 205"/>
                <a:gd name="T97" fmla="*/ 109 h 110"/>
                <a:gd name="T98" fmla="*/ 2 w 205"/>
                <a:gd name="T99" fmla="*/ 109 h 110"/>
                <a:gd name="T100" fmla="*/ 5 w 205"/>
                <a:gd name="T101" fmla="*/ 110 h 110"/>
                <a:gd name="T102" fmla="*/ 8 w 205"/>
                <a:gd name="T103" fmla="*/ 110 h 110"/>
                <a:gd name="T104" fmla="*/ 12 w 205"/>
                <a:gd name="T105" fmla="*/ 110 h 110"/>
                <a:gd name="T106" fmla="*/ 14 w 205"/>
                <a:gd name="T107" fmla="*/ 109 h 110"/>
                <a:gd name="T108" fmla="*/ 55 w 205"/>
                <a:gd name="T109" fmla="*/ 67 h 110"/>
                <a:gd name="T110" fmla="*/ 96 w 205"/>
                <a:gd name="T111" fmla="*/ 109 h 110"/>
                <a:gd name="T112" fmla="*/ 96 w 205"/>
                <a:gd name="T113" fmla="*/ 109 h 110"/>
                <a:gd name="T114" fmla="*/ 99 w 205"/>
                <a:gd name="T115" fmla="*/ 110 h 110"/>
                <a:gd name="T116" fmla="*/ 102 w 205"/>
                <a:gd name="T117" fmla="*/ 110 h 110"/>
                <a:gd name="T118" fmla="*/ 102 w 205"/>
                <a:gd name="T119"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5" h="110">
                  <a:moveTo>
                    <a:pt x="102" y="110"/>
                  </a:moveTo>
                  <a:lnTo>
                    <a:pt x="102" y="110"/>
                  </a:lnTo>
                  <a:lnTo>
                    <a:pt x="106" y="110"/>
                  </a:lnTo>
                  <a:lnTo>
                    <a:pt x="108" y="109"/>
                  </a:lnTo>
                  <a:lnTo>
                    <a:pt x="188" y="30"/>
                  </a:lnTo>
                  <a:lnTo>
                    <a:pt x="188" y="65"/>
                  </a:lnTo>
                  <a:lnTo>
                    <a:pt x="188" y="65"/>
                  </a:lnTo>
                  <a:lnTo>
                    <a:pt x="188" y="69"/>
                  </a:lnTo>
                  <a:lnTo>
                    <a:pt x="189" y="71"/>
                  </a:lnTo>
                  <a:lnTo>
                    <a:pt x="192" y="73"/>
                  </a:lnTo>
                  <a:lnTo>
                    <a:pt x="196" y="74"/>
                  </a:lnTo>
                  <a:lnTo>
                    <a:pt x="196" y="74"/>
                  </a:lnTo>
                  <a:lnTo>
                    <a:pt x="200" y="73"/>
                  </a:lnTo>
                  <a:lnTo>
                    <a:pt x="202" y="71"/>
                  </a:lnTo>
                  <a:lnTo>
                    <a:pt x="204" y="69"/>
                  </a:lnTo>
                  <a:lnTo>
                    <a:pt x="205" y="65"/>
                  </a:lnTo>
                  <a:lnTo>
                    <a:pt x="205" y="8"/>
                  </a:lnTo>
                  <a:lnTo>
                    <a:pt x="205" y="8"/>
                  </a:lnTo>
                  <a:lnTo>
                    <a:pt x="204" y="6"/>
                  </a:lnTo>
                  <a:lnTo>
                    <a:pt x="204" y="6"/>
                  </a:lnTo>
                  <a:lnTo>
                    <a:pt x="202" y="3"/>
                  </a:lnTo>
                  <a:lnTo>
                    <a:pt x="198" y="0"/>
                  </a:lnTo>
                  <a:lnTo>
                    <a:pt x="198" y="0"/>
                  </a:lnTo>
                  <a:lnTo>
                    <a:pt x="196" y="0"/>
                  </a:lnTo>
                  <a:lnTo>
                    <a:pt x="139" y="0"/>
                  </a:lnTo>
                  <a:lnTo>
                    <a:pt x="139" y="0"/>
                  </a:lnTo>
                  <a:lnTo>
                    <a:pt x="137" y="0"/>
                  </a:lnTo>
                  <a:lnTo>
                    <a:pt x="134" y="3"/>
                  </a:lnTo>
                  <a:lnTo>
                    <a:pt x="131" y="6"/>
                  </a:lnTo>
                  <a:lnTo>
                    <a:pt x="131" y="8"/>
                  </a:lnTo>
                  <a:lnTo>
                    <a:pt x="131" y="8"/>
                  </a:lnTo>
                  <a:lnTo>
                    <a:pt x="131" y="12"/>
                  </a:lnTo>
                  <a:lnTo>
                    <a:pt x="134" y="15"/>
                  </a:lnTo>
                  <a:lnTo>
                    <a:pt x="137" y="16"/>
                  </a:lnTo>
                  <a:lnTo>
                    <a:pt x="139" y="18"/>
                  </a:lnTo>
                  <a:lnTo>
                    <a:pt x="174" y="18"/>
                  </a:lnTo>
                  <a:lnTo>
                    <a:pt x="102" y="90"/>
                  </a:lnTo>
                  <a:lnTo>
                    <a:pt x="61" y="50"/>
                  </a:lnTo>
                  <a:lnTo>
                    <a:pt x="61" y="50"/>
                  </a:lnTo>
                  <a:lnTo>
                    <a:pt x="59" y="47"/>
                  </a:lnTo>
                  <a:lnTo>
                    <a:pt x="55" y="47"/>
                  </a:lnTo>
                  <a:lnTo>
                    <a:pt x="52" y="47"/>
                  </a:lnTo>
                  <a:lnTo>
                    <a:pt x="49" y="50"/>
                  </a:lnTo>
                  <a:lnTo>
                    <a:pt x="2" y="96"/>
                  </a:lnTo>
                  <a:lnTo>
                    <a:pt x="2" y="96"/>
                  </a:lnTo>
                  <a:lnTo>
                    <a:pt x="0" y="100"/>
                  </a:lnTo>
                  <a:lnTo>
                    <a:pt x="0" y="102"/>
                  </a:lnTo>
                  <a:lnTo>
                    <a:pt x="0" y="105"/>
                  </a:lnTo>
                  <a:lnTo>
                    <a:pt x="2" y="109"/>
                  </a:lnTo>
                  <a:lnTo>
                    <a:pt x="2" y="109"/>
                  </a:lnTo>
                  <a:lnTo>
                    <a:pt x="5" y="110"/>
                  </a:lnTo>
                  <a:lnTo>
                    <a:pt x="8" y="110"/>
                  </a:lnTo>
                  <a:lnTo>
                    <a:pt x="12" y="110"/>
                  </a:lnTo>
                  <a:lnTo>
                    <a:pt x="14" y="109"/>
                  </a:lnTo>
                  <a:lnTo>
                    <a:pt x="55" y="67"/>
                  </a:lnTo>
                  <a:lnTo>
                    <a:pt x="96" y="109"/>
                  </a:lnTo>
                  <a:lnTo>
                    <a:pt x="96" y="109"/>
                  </a:lnTo>
                  <a:lnTo>
                    <a:pt x="99" y="110"/>
                  </a:lnTo>
                  <a:lnTo>
                    <a:pt x="102" y="110"/>
                  </a:lnTo>
                  <a:lnTo>
                    <a:pt x="102" y="1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2" name="Group 21">
            <a:extLst>
              <a:ext uri="{FF2B5EF4-FFF2-40B4-BE49-F238E27FC236}">
                <a16:creationId xmlns:a16="http://schemas.microsoft.com/office/drawing/2014/main" id="{772C0793-8EAC-4446-BFA2-F6FB8636D2E2}"/>
              </a:ext>
            </a:extLst>
          </p:cNvPr>
          <p:cNvGrpSpPr/>
          <p:nvPr/>
        </p:nvGrpSpPr>
        <p:grpSpPr>
          <a:xfrm>
            <a:off x="988974" y="5047896"/>
            <a:ext cx="365760" cy="365760"/>
            <a:chOff x="8928521" y="5745785"/>
            <a:chExt cx="574103" cy="411480"/>
          </a:xfrm>
        </p:grpSpPr>
        <p:sp>
          <p:nvSpPr>
            <p:cNvPr id="23" name="Freeform 24">
              <a:extLst>
                <a:ext uri="{FF2B5EF4-FFF2-40B4-BE49-F238E27FC236}">
                  <a16:creationId xmlns:a16="http://schemas.microsoft.com/office/drawing/2014/main" id="{B9FDC3C5-BA01-4776-9C3E-989061E94C99}"/>
                </a:ext>
              </a:extLst>
            </p:cNvPr>
            <p:cNvSpPr>
              <a:spLocks noEditPoints="1"/>
            </p:cNvSpPr>
            <p:nvPr/>
          </p:nvSpPr>
          <p:spPr bwMode="auto">
            <a:xfrm>
              <a:off x="8928521" y="5745785"/>
              <a:ext cx="574103" cy="411480"/>
            </a:xfrm>
            <a:custGeom>
              <a:avLst/>
              <a:gdLst>
                <a:gd name="T0" fmla="*/ 312 w 657"/>
                <a:gd name="T1" fmla="*/ 658 h 658"/>
                <a:gd name="T2" fmla="*/ 262 w 657"/>
                <a:gd name="T3" fmla="*/ 652 h 658"/>
                <a:gd name="T4" fmla="*/ 200 w 657"/>
                <a:gd name="T5" fmla="*/ 633 h 658"/>
                <a:gd name="T6" fmla="*/ 120 w 657"/>
                <a:gd name="T7" fmla="*/ 583 h 658"/>
                <a:gd name="T8" fmla="*/ 57 w 657"/>
                <a:gd name="T9" fmla="*/ 513 h 658"/>
                <a:gd name="T10" fmla="*/ 15 w 657"/>
                <a:gd name="T11" fmla="*/ 427 h 658"/>
                <a:gd name="T12" fmla="*/ 4 w 657"/>
                <a:gd name="T13" fmla="*/ 379 h 658"/>
                <a:gd name="T14" fmla="*/ 0 w 657"/>
                <a:gd name="T15" fmla="*/ 329 h 658"/>
                <a:gd name="T16" fmla="*/ 2 w 657"/>
                <a:gd name="T17" fmla="*/ 296 h 658"/>
                <a:gd name="T18" fmla="*/ 10 w 657"/>
                <a:gd name="T19" fmla="*/ 247 h 658"/>
                <a:gd name="T20" fmla="*/ 39 w 657"/>
                <a:gd name="T21" fmla="*/ 173 h 658"/>
                <a:gd name="T22" fmla="*/ 96 w 657"/>
                <a:gd name="T23" fmla="*/ 97 h 658"/>
                <a:gd name="T24" fmla="*/ 172 w 657"/>
                <a:gd name="T25" fmla="*/ 41 h 658"/>
                <a:gd name="T26" fmla="*/ 246 w 657"/>
                <a:gd name="T27" fmla="*/ 11 h 658"/>
                <a:gd name="T28" fmla="*/ 294 w 657"/>
                <a:gd name="T29" fmla="*/ 3 h 658"/>
                <a:gd name="T30" fmla="*/ 328 w 657"/>
                <a:gd name="T31" fmla="*/ 0 h 658"/>
                <a:gd name="T32" fmla="*/ 379 w 657"/>
                <a:gd name="T33" fmla="*/ 4 h 658"/>
                <a:gd name="T34" fmla="*/ 426 w 657"/>
                <a:gd name="T35" fmla="*/ 16 h 658"/>
                <a:gd name="T36" fmla="*/ 512 w 657"/>
                <a:gd name="T37" fmla="*/ 57 h 658"/>
                <a:gd name="T38" fmla="*/ 582 w 657"/>
                <a:gd name="T39" fmla="*/ 121 h 658"/>
                <a:gd name="T40" fmla="*/ 631 w 657"/>
                <a:gd name="T41" fmla="*/ 202 h 658"/>
                <a:gd name="T42" fmla="*/ 650 w 657"/>
                <a:gd name="T43" fmla="*/ 263 h 658"/>
                <a:gd name="T44" fmla="*/ 657 w 657"/>
                <a:gd name="T45" fmla="*/ 313 h 658"/>
                <a:gd name="T46" fmla="*/ 657 w 657"/>
                <a:gd name="T47" fmla="*/ 347 h 658"/>
                <a:gd name="T48" fmla="*/ 650 w 657"/>
                <a:gd name="T49" fmla="*/ 396 h 658"/>
                <a:gd name="T50" fmla="*/ 631 w 657"/>
                <a:gd name="T51" fmla="*/ 457 h 658"/>
                <a:gd name="T52" fmla="*/ 582 w 657"/>
                <a:gd name="T53" fmla="*/ 539 h 658"/>
                <a:gd name="T54" fmla="*/ 512 w 657"/>
                <a:gd name="T55" fmla="*/ 602 h 658"/>
                <a:gd name="T56" fmla="*/ 426 w 657"/>
                <a:gd name="T57" fmla="*/ 644 h 658"/>
                <a:gd name="T58" fmla="*/ 379 w 657"/>
                <a:gd name="T59" fmla="*/ 654 h 658"/>
                <a:gd name="T60" fmla="*/ 328 w 657"/>
                <a:gd name="T61" fmla="*/ 658 h 658"/>
                <a:gd name="T62" fmla="*/ 328 w 657"/>
                <a:gd name="T63" fmla="*/ 38 h 658"/>
                <a:gd name="T64" fmla="*/ 242 w 657"/>
                <a:gd name="T65" fmla="*/ 51 h 658"/>
                <a:gd name="T66" fmla="*/ 165 w 657"/>
                <a:gd name="T67" fmla="*/ 89 h 658"/>
                <a:gd name="T68" fmla="*/ 104 w 657"/>
                <a:gd name="T69" fmla="*/ 144 h 658"/>
                <a:gd name="T70" fmla="*/ 61 w 657"/>
                <a:gd name="T71" fmla="*/ 216 h 658"/>
                <a:gd name="T72" fmla="*/ 39 w 657"/>
                <a:gd name="T73" fmla="*/ 300 h 658"/>
                <a:gd name="T74" fmla="*/ 39 w 657"/>
                <a:gd name="T75" fmla="*/ 359 h 658"/>
                <a:gd name="T76" fmla="*/ 61 w 657"/>
                <a:gd name="T77" fmla="*/ 443 h 658"/>
                <a:gd name="T78" fmla="*/ 104 w 657"/>
                <a:gd name="T79" fmla="*/ 515 h 658"/>
                <a:gd name="T80" fmla="*/ 165 w 657"/>
                <a:gd name="T81" fmla="*/ 571 h 658"/>
                <a:gd name="T82" fmla="*/ 242 w 657"/>
                <a:gd name="T83" fmla="*/ 607 h 658"/>
                <a:gd name="T84" fmla="*/ 328 w 657"/>
                <a:gd name="T85" fmla="*/ 621 h 658"/>
                <a:gd name="T86" fmla="*/ 387 w 657"/>
                <a:gd name="T87" fmla="*/ 615 h 658"/>
                <a:gd name="T88" fmla="*/ 468 w 657"/>
                <a:gd name="T89" fmla="*/ 586 h 658"/>
                <a:gd name="T90" fmla="*/ 535 w 657"/>
                <a:gd name="T91" fmla="*/ 535 h 658"/>
                <a:gd name="T92" fmla="*/ 584 w 657"/>
                <a:gd name="T93" fmla="*/ 468 h 658"/>
                <a:gd name="T94" fmla="*/ 614 w 657"/>
                <a:gd name="T95" fmla="*/ 388 h 658"/>
                <a:gd name="T96" fmla="*/ 619 w 657"/>
                <a:gd name="T97" fmla="*/ 329 h 658"/>
                <a:gd name="T98" fmla="*/ 606 w 657"/>
                <a:gd name="T99" fmla="*/ 243 h 658"/>
                <a:gd name="T100" fmla="*/ 570 w 657"/>
                <a:gd name="T101" fmla="*/ 167 h 658"/>
                <a:gd name="T102" fmla="*/ 513 w 657"/>
                <a:gd name="T103" fmla="*/ 105 h 658"/>
                <a:gd name="T104" fmla="*/ 442 w 657"/>
                <a:gd name="T105" fmla="*/ 62 h 658"/>
                <a:gd name="T106" fmla="*/ 359 w 657"/>
                <a:gd name="T107" fmla="*/ 41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8" y="658"/>
                  </a:moveTo>
                  <a:lnTo>
                    <a:pt x="328" y="658"/>
                  </a:lnTo>
                  <a:lnTo>
                    <a:pt x="312" y="658"/>
                  </a:lnTo>
                  <a:lnTo>
                    <a:pt x="294" y="657"/>
                  </a:lnTo>
                  <a:lnTo>
                    <a:pt x="278" y="654"/>
                  </a:lnTo>
                  <a:lnTo>
                    <a:pt x="262" y="652"/>
                  </a:lnTo>
                  <a:lnTo>
                    <a:pt x="246" y="648"/>
                  </a:lnTo>
                  <a:lnTo>
                    <a:pt x="231" y="644"/>
                  </a:lnTo>
                  <a:lnTo>
                    <a:pt x="200" y="633"/>
                  </a:lnTo>
                  <a:lnTo>
                    <a:pt x="172" y="618"/>
                  </a:lnTo>
                  <a:lnTo>
                    <a:pt x="145" y="602"/>
                  </a:lnTo>
                  <a:lnTo>
                    <a:pt x="120" y="583"/>
                  </a:lnTo>
                  <a:lnTo>
                    <a:pt x="96" y="562"/>
                  </a:lnTo>
                  <a:lnTo>
                    <a:pt x="75" y="539"/>
                  </a:lnTo>
                  <a:lnTo>
                    <a:pt x="57" y="513"/>
                  </a:lnTo>
                  <a:lnTo>
                    <a:pt x="39" y="486"/>
                  </a:lnTo>
                  <a:lnTo>
                    <a:pt x="26" y="457"/>
                  </a:lnTo>
                  <a:lnTo>
                    <a:pt x="15" y="427"/>
                  </a:lnTo>
                  <a:lnTo>
                    <a:pt x="10" y="411"/>
                  </a:lnTo>
                  <a:lnTo>
                    <a:pt x="7" y="396"/>
                  </a:lnTo>
                  <a:lnTo>
                    <a:pt x="4" y="379"/>
                  </a:lnTo>
                  <a:lnTo>
                    <a:pt x="2" y="363"/>
                  </a:lnTo>
                  <a:lnTo>
                    <a:pt x="0" y="347"/>
                  </a:lnTo>
                  <a:lnTo>
                    <a:pt x="0" y="329"/>
                  </a:lnTo>
                  <a:lnTo>
                    <a:pt x="0" y="329"/>
                  </a:lnTo>
                  <a:lnTo>
                    <a:pt x="0" y="313"/>
                  </a:lnTo>
                  <a:lnTo>
                    <a:pt x="2" y="296"/>
                  </a:lnTo>
                  <a:lnTo>
                    <a:pt x="4" y="280"/>
                  </a:lnTo>
                  <a:lnTo>
                    <a:pt x="7" y="263"/>
                  </a:lnTo>
                  <a:lnTo>
                    <a:pt x="10" y="247"/>
                  </a:lnTo>
                  <a:lnTo>
                    <a:pt x="15" y="233"/>
                  </a:lnTo>
                  <a:lnTo>
                    <a:pt x="26" y="202"/>
                  </a:lnTo>
                  <a:lnTo>
                    <a:pt x="39" y="173"/>
                  </a:lnTo>
                  <a:lnTo>
                    <a:pt x="57" y="147"/>
                  </a:lnTo>
                  <a:lnTo>
                    <a:pt x="75" y="121"/>
                  </a:lnTo>
                  <a:lnTo>
                    <a:pt x="96" y="97"/>
                  </a:lnTo>
                  <a:lnTo>
                    <a:pt x="120" y="75"/>
                  </a:lnTo>
                  <a:lnTo>
                    <a:pt x="145" y="57"/>
                  </a:lnTo>
                  <a:lnTo>
                    <a:pt x="172" y="41"/>
                  </a:lnTo>
                  <a:lnTo>
                    <a:pt x="200" y="27"/>
                  </a:lnTo>
                  <a:lnTo>
                    <a:pt x="231" y="16"/>
                  </a:lnTo>
                  <a:lnTo>
                    <a:pt x="246" y="11"/>
                  </a:lnTo>
                  <a:lnTo>
                    <a:pt x="262" y="7"/>
                  </a:lnTo>
                  <a:lnTo>
                    <a:pt x="278" y="4"/>
                  </a:lnTo>
                  <a:lnTo>
                    <a:pt x="294" y="3"/>
                  </a:lnTo>
                  <a:lnTo>
                    <a:pt x="312" y="2"/>
                  </a:lnTo>
                  <a:lnTo>
                    <a:pt x="328" y="0"/>
                  </a:lnTo>
                  <a:lnTo>
                    <a:pt x="328" y="0"/>
                  </a:lnTo>
                  <a:lnTo>
                    <a:pt x="345" y="2"/>
                  </a:lnTo>
                  <a:lnTo>
                    <a:pt x="361" y="3"/>
                  </a:lnTo>
                  <a:lnTo>
                    <a:pt x="379" y="4"/>
                  </a:lnTo>
                  <a:lnTo>
                    <a:pt x="395" y="7"/>
                  </a:lnTo>
                  <a:lnTo>
                    <a:pt x="411" y="11"/>
                  </a:lnTo>
                  <a:lnTo>
                    <a:pt x="426" y="16"/>
                  </a:lnTo>
                  <a:lnTo>
                    <a:pt x="457" y="27"/>
                  </a:lnTo>
                  <a:lnTo>
                    <a:pt x="485" y="41"/>
                  </a:lnTo>
                  <a:lnTo>
                    <a:pt x="512" y="57"/>
                  </a:lnTo>
                  <a:lnTo>
                    <a:pt x="537" y="75"/>
                  </a:lnTo>
                  <a:lnTo>
                    <a:pt x="560" y="97"/>
                  </a:lnTo>
                  <a:lnTo>
                    <a:pt x="582" y="121"/>
                  </a:lnTo>
                  <a:lnTo>
                    <a:pt x="601" y="147"/>
                  </a:lnTo>
                  <a:lnTo>
                    <a:pt x="618" y="173"/>
                  </a:lnTo>
                  <a:lnTo>
                    <a:pt x="631" y="202"/>
                  </a:lnTo>
                  <a:lnTo>
                    <a:pt x="642" y="233"/>
                  </a:lnTo>
                  <a:lnTo>
                    <a:pt x="648" y="247"/>
                  </a:lnTo>
                  <a:lnTo>
                    <a:pt x="650" y="263"/>
                  </a:lnTo>
                  <a:lnTo>
                    <a:pt x="653" y="280"/>
                  </a:lnTo>
                  <a:lnTo>
                    <a:pt x="656" y="296"/>
                  </a:lnTo>
                  <a:lnTo>
                    <a:pt x="657" y="313"/>
                  </a:lnTo>
                  <a:lnTo>
                    <a:pt x="657" y="329"/>
                  </a:lnTo>
                  <a:lnTo>
                    <a:pt x="657" y="329"/>
                  </a:lnTo>
                  <a:lnTo>
                    <a:pt x="657" y="347"/>
                  </a:lnTo>
                  <a:lnTo>
                    <a:pt x="656" y="363"/>
                  </a:lnTo>
                  <a:lnTo>
                    <a:pt x="653" y="379"/>
                  </a:lnTo>
                  <a:lnTo>
                    <a:pt x="650" y="396"/>
                  </a:lnTo>
                  <a:lnTo>
                    <a:pt x="648" y="411"/>
                  </a:lnTo>
                  <a:lnTo>
                    <a:pt x="642" y="427"/>
                  </a:lnTo>
                  <a:lnTo>
                    <a:pt x="631" y="457"/>
                  </a:lnTo>
                  <a:lnTo>
                    <a:pt x="618" y="486"/>
                  </a:lnTo>
                  <a:lnTo>
                    <a:pt x="601" y="513"/>
                  </a:lnTo>
                  <a:lnTo>
                    <a:pt x="582" y="539"/>
                  </a:lnTo>
                  <a:lnTo>
                    <a:pt x="560" y="562"/>
                  </a:lnTo>
                  <a:lnTo>
                    <a:pt x="537" y="583"/>
                  </a:lnTo>
                  <a:lnTo>
                    <a:pt x="512" y="602"/>
                  </a:lnTo>
                  <a:lnTo>
                    <a:pt x="485" y="618"/>
                  </a:lnTo>
                  <a:lnTo>
                    <a:pt x="457" y="633"/>
                  </a:lnTo>
                  <a:lnTo>
                    <a:pt x="426" y="644"/>
                  </a:lnTo>
                  <a:lnTo>
                    <a:pt x="411" y="648"/>
                  </a:lnTo>
                  <a:lnTo>
                    <a:pt x="395" y="652"/>
                  </a:lnTo>
                  <a:lnTo>
                    <a:pt x="379" y="654"/>
                  </a:lnTo>
                  <a:lnTo>
                    <a:pt x="361" y="657"/>
                  </a:lnTo>
                  <a:lnTo>
                    <a:pt x="345" y="658"/>
                  </a:lnTo>
                  <a:lnTo>
                    <a:pt x="328" y="658"/>
                  </a:lnTo>
                  <a:lnTo>
                    <a:pt x="328" y="658"/>
                  </a:lnTo>
                  <a:close/>
                  <a:moveTo>
                    <a:pt x="328" y="38"/>
                  </a:moveTo>
                  <a:lnTo>
                    <a:pt x="328" y="38"/>
                  </a:lnTo>
                  <a:lnTo>
                    <a:pt x="298" y="41"/>
                  </a:lnTo>
                  <a:lnTo>
                    <a:pt x="270" y="45"/>
                  </a:lnTo>
                  <a:lnTo>
                    <a:pt x="242" y="51"/>
                  </a:lnTo>
                  <a:lnTo>
                    <a:pt x="215" y="62"/>
                  </a:lnTo>
                  <a:lnTo>
                    <a:pt x="190" y="74"/>
                  </a:lnTo>
                  <a:lnTo>
                    <a:pt x="165" y="89"/>
                  </a:lnTo>
                  <a:lnTo>
                    <a:pt x="144" y="105"/>
                  </a:lnTo>
                  <a:lnTo>
                    <a:pt x="122" y="124"/>
                  </a:lnTo>
                  <a:lnTo>
                    <a:pt x="104" y="144"/>
                  </a:lnTo>
                  <a:lnTo>
                    <a:pt x="87" y="167"/>
                  </a:lnTo>
                  <a:lnTo>
                    <a:pt x="73" y="191"/>
                  </a:lnTo>
                  <a:lnTo>
                    <a:pt x="61" y="216"/>
                  </a:lnTo>
                  <a:lnTo>
                    <a:pt x="50" y="243"/>
                  </a:lnTo>
                  <a:lnTo>
                    <a:pt x="43" y="272"/>
                  </a:lnTo>
                  <a:lnTo>
                    <a:pt x="39" y="300"/>
                  </a:lnTo>
                  <a:lnTo>
                    <a:pt x="38" y="329"/>
                  </a:lnTo>
                  <a:lnTo>
                    <a:pt x="38" y="329"/>
                  </a:lnTo>
                  <a:lnTo>
                    <a:pt x="39" y="359"/>
                  </a:lnTo>
                  <a:lnTo>
                    <a:pt x="43" y="388"/>
                  </a:lnTo>
                  <a:lnTo>
                    <a:pt x="50" y="417"/>
                  </a:lnTo>
                  <a:lnTo>
                    <a:pt x="61" y="443"/>
                  </a:lnTo>
                  <a:lnTo>
                    <a:pt x="73" y="468"/>
                  </a:lnTo>
                  <a:lnTo>
                    <a:pt x="87" y="492"/>
                  </a:lnTo>
                  <a:lnTo>
                    <a:pt x="104" y="515"/>
                  </a:lnTo>
                  <a:lnTo>
                    <a:pt x="122" y="535"/>
                  </a:lnTo>
                  <a:lnTo>
                    <a:pt x="144" y="554"/>
                  </a:lnTo>
                  <a:lnTo>
                    <a:pt x="165" y="571"/>
                  </a:lnTo>
                  <a:lnTo>
                    <a:pt x="190" y="586"/>
                  </a:lnTo>
                  <a:lnTo>
                    <a:pt x="215" y="598"/>
                  </a:lnTo>
                  <a:lnTo>
                    <a:pt x="242" y="607"/>
                  </a:lnTo>
                  <a:lnTo>
                    <a:pt x="270" y="615"/>
                  </a:lnTo>
                  <a:lnTo>
                    <a:pt x="298" y="619"/>
                  </a:lnTo>
                  <a:lnTo>
                    <a:pt x="328" y="621"/>
                  </a:lnTo>
                  <a:lnTo>
                    <a:pt x="328" y="621"/>
                  </a:lnTo>
                  <a:lnTo>
                    <a:pt x="359" y="619"/>
                  </a:lnTo>
                  <a:lnTo>
                    <a:pt x="387" y="615"/>
                  </a:lnTo>
                  <a:lnTo>
                    <a:pt x="415" y="607"/>
                  </a:lnTo>
                  <a:lnTo>
                    <a:pt x="442" y="598"/>
                  </a:lnTo>
                  <a:lnTo>
                    <a:pt x="468" y="586"/>
                  </a:lnTo>
                  <a:lnTo>
                    <a:pt x="492" y="571"/>
                  </a:lnTo>
                  <a:lnTo>
                    <a:pt x="513" y="554"/>
                  </a:lnTo>
                  <a:lnTo>
                    <a:pt x="535" y="535"/>
                  </a:lnTo>
                  <a:lnTo>
                    <a:pt x="554" y="515"/>
                  </a:lnTo>
                  <a:lnTo>
                    <a:pt x="570" y="492"/>
                  </a:lnTo>
                  <a:lnTo>
                    <a:pt x="584" y="468"/>
                  </a:lnTo>
                  <a:lnTo>
                    <a:pt x="597" y="443"/>
                  </a:lnTo>
                  <a:lnTo>
                    <a:pt x="606" y="417"/>
                  </a:lnTo>
                  <a:lnTo>
                    <a:pt x="614" y="388"/>
                  </a:lnTo>
                  <a:lnTo>
                    <a:pt x="618" y="359"/>
                  </a:lnTo>
                  <a:lnTo>
                    <a:pt x="619" y="329"/>
                  </a:lnTo>
                  <a:lnTo>
                    <a:pt x="619" y="329"/>
                  </a:lnTo>
                  <a:lnTo>
                    <a:pt x="618" y="300"/>
                  </a:lnTo>
                  <a:lnTo>
                    <a:pt x="614" y="272"/>
                  </a:lnTo>
                  <a:lnTo>
                    <a:pt x="606" y="243"/>
                  </a:lnTo>
                  <a:lnTo>
                    <a:pt x="597" y="216"/>
                  </a:lnTo>
                  <a:lnTo>
                    <a:pt x="584" y="191"/>
                  </a:lnTo>
                  <a:lnTo>
                    <a:pt x="570" y="167"/>
                  </a:lnTo>
                  <a:lnTo>
                    <a:pt x="554" y="144"/>
                  </a:lnTo>
                  <a:lnTo>
                    <a:pt x="535" y="124"/>
                  </a:lnTo>
                  <a:lnTo>
                    <a:pt x="513" y="105"/>
                  </a:lnTo>
                  <a:lnTo>
                    <a:pt x="492" y="89"/>
                  </a:lnTo>
                  <a:lnTo>
                    <a:pt x="468" y="74"/>
                  </a:lnTo>
                  <a:lnTo>
                    <a:pt x="442" y="62"/>
                  </a:lnTo>
                  <a:lnTo>
                    <a:pt x="415" y="51"/>
                  </a:lnTo>
                  <a:lnTo>
                    <a:pt x="387" y="45"/>
                  </a:lnTo>
                  <a:lnTo>
                    <a:pt x="359" y="41"/>
                  </a:lnTo>
                  <a:lnTo>
                    <a:pt x="328" y="38"/>
                  </a:lnTo>
                  <a:lnTo>
                    <a:pt x="328"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4" name="Freeform 123">
              <a:extLst>
                <a:ext uri="{FF2B5EF4-FFF2-40B4-BE49-F238E27FC236}">
                  <a16:creationId xmlns:a16="http://schemas.microsoft.com/office/drawing/2014/main" id="{6E9850C5-8681-4DA7-818E-893DD9D9F748}"/>
                </a:ext>
              </a:extLst>
            </p:cNvPr>
            <p:cNvSpPr>
              <a:spLocks/>
            </p:cNvSpPr>
            <p:nvPr/>
          </p:nvSpPr>
          <p:spPr bwMode="auto">
            <a:xfrm>
              <a:off x="9180566" y="5985919"/>
              <a:ext cx="66512" cy="41273"/>
            </a:xfrm>
            <a:custGeom>
              <a:avLst/>
              <a:gdLst>
                <a:gd name="T0" fmla="*/ 69 w 76"/>
                <a:gd name="T1" fmla="*/ 0 h 64"/>
                <a:gd name="T2" fmla="*/ 5 w 76"/>
                <a:gd name="T3" fmla="*/ 0 h 64"/>
                <a:gd name="T4" fmla="*/ 5 w 76"/>
                <a:gd name="T5" fmla="*/ 0 h 64"/>
                <a:gd name="T6" fmla="*/ 4 w 76"/>
                <a:gd name="T7" fmla="*/ 0 h 64"/>
                <a:gd name="T8" fmla="*/ 1 w 76"/>
                <a:gd name="T9" fmla="*/ 1 h 64"/>
                <a:gd name="T10" fmla="*/ 0 w 76"/>
                <a:gd name="T11" fmla="*/ 2 h 64"/>
                <a:gd name="T12" fmla="*/ 0 w 76"/>
                <a:gd name="T13" fmla="*/ 5 h 64"/>
                <a:gd name="T14" fmla="*/ 0 w 76"/>
                <a:gd name="T15" fmla="*/ 59 h 64"/>
                <a:gd name="T16" fmla="*/ 0 w 76"/>
                <a:gd name="T17" fmla="*/ 59 h 64"/>
                <a:gd name="T18" fmla="*/ 0 w 76"/>
                <a:gd name="T19" fmla="*/ 61 h 64"/>
                <a:gd name="T20" fmla="*/ 1 w 76"/>
                <a:gd name="T21" fmla="*/ 63 h 64"/>
                <a:gd name="T22" fmla="*/ 4 w 76"/>
                <a:gd name="T23" fmla="*/ 64 h 64"/>
                <a:gd name="T24" fmla="*/ 5 w 76"/>
                <a:gd name="T25" fmla="*/ 64 h 64"/>
                <a:gd name="T26" fmla="*/ 69 w 76"/>
                <a:gd name="T27" fmla="*/ 64 h 64"/>
                <a:gd name="T28" fmla="*/ 69 w 76"/>
                <a:gd name="T29" fmla="*/ 64 h 64"/>
                <a:gd name="T30" fmla="*/ 72 w 76"/>
                <a:gd name="T31" fmla="*/ 64 h 64"/>
                <a:gd name="T32" fmla="*/ 73 w 76"/>
                <a:gd name="T33" fmla="*/ 63 h 64"/>
                <a:gd name="T34" fmla="*/ 75 w 76"/>
                <a:gd name="T35" fmla="*/ 61 h 64"/>
                <a:gd name="T36" fmla="*/ 76 w 76"/>
                <a:gd name="T37" fmla="*/ 59 h 64"/>
                <a:gd name="T38" fmla="*/ 76 w 76"/>
                <a:gd name="T39" fmla="*/ 5 h 64"/>
                <a:gd name="T40" fmla="*/ 76 w 76"/>
                <a:gd name="T41" fmla="*/ 5 h 64"/>
                <a:gd name="T42" fmla="*/ 75 w 76"/>
                <a:gd name="T43" fmla="*/ 2 h 64"/>
                <a:gd name="T44" fmla="*/ 73 w 76"/>
                <a:gd name="T45" fmla="*/ 1 h 64"/>
                <a:gd name="T46" fmla="*/ 72 w 76"/>
                <a:gd name="T47" fmla="*/ 0 h 64"/>
                <a:gd name="T48" fmla="*/ 69 w 76"/>
                <a:gd name="T49" fmla="*/ 0 h 64"/>
                <a:gd name="T50" fmla="*/ 69 w 76"/>
                <a:gd name="T5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6" h="64">
                  <a:moveTo>
                    <a:pt x="69" y="0"/>
                  </a:moveTo>
                  <a:lnTo>
                    <a:pt x="5" y="0"/>
                  </a:lnTo>
                  <a:lnTo>
                    <a:pt x="5" y="0"/>
                  </a:lnTo>
                  <a:lnTo>
                    <a:pt x="4" y="0"/>
                  </a:lnTo>
                  <a:lnTo>
                    <a:pt x="1" y="1"/>
                  </a:lnTo>
                  <a:lnTo>
                    <a:pt x="0" y="2"/>
                  </a:lnTo>
                  <a:lnTo>
                    <a:pt x="0" y="5"/>
                  </a:lnTo>
                  <a:lnTo>
                    <a:pt x="0" y="59"/>
                  </a:lnTo>
                  <a:lnTo>
                    <a:pt x="0" y="59"/>
                  </a:lnTo>
                  <a:lnTo>
                    <a:pt x="0" y="61"/>
                  </a:lnTo>
                  <a:lnTo>
                    <a:pt x="1" y="63"/>
                  </a:lnTo>
                  <a:lnTo>
                    <a:pt x="4" y="64"/>
                  </a:lnTo>
                  <a:lnTo>
                    <a:pt x="5" y="64"/>
                  </a:lnTo>
                  <a:lnTo>
                    <a:pt x="69" y="64"/>
                  </a:lnTo>
                  <a:lnTo>
                    <a:pt x="69" y="64"/>
                  </a:lnTo>
                  <a:lnTo>
                    <a:pt x="72" y="64"/>
                  </a:lnTo>
                  <a:lnTo>
                    <a:pt x="73" y="63"/>
                  </a:lnTo>
                  <a:lnTo>
                    <a:pt x="75" y="61"/>
                  </a:lnTo>
                  <a:lnTo>
                    <a:pt x="76" y="59"/>
                  </a:lnTo>
                  <a:lnTo>
                    <a:pt x="76" y="5"/>
                  </a:lnTo>
                  <a:lnTo>
                    <a:pt x="76" y="5"/>
                  </a:lnTo>
                  <a:lnTo>
                    <a:pt x="75" y="2"/>
                  </a:lnTo>
                  <a:lnTo>
                    <a:pt x="73" y="1"/>
                  </a:lnTo>
                  <a:lnTo>
                    <a:pt x="72" y="0"/>
                  </a:lnTo>
                  <a:lnTo>
                    <a:pt x="69" y="0"/>
                  </a:ln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5" name="Freeform 124">
              <a:extLst>
                <a:ext uri="{FF2B5EF4-FFF2-40B4-BE49-F238E27FC236}">
                  <a16:creationId xmlns:a16="http://schemas.microsoft.com/office/drawing/2014/main" id="{1685B302-EBDD-4AFD-9172-CBA01C62B5FE}"/>
                </a:ext>
              </a:extLst>
            </p:cNvPr>
            <p:cNvSpPr>
              <a:spLocks/>
            </p:cNvSpPr>
            <p:nvPr/>
          </p:nvSpPr>
          <p:spPr bwMode="auto">
            <a:xfrm>
              <a:off x="9180566" y="5858348"/>
              <a:ext cx="66512" cy="40022"/>
            </a:xfrm>
            <a:custGeom>
              <a:avLst/>
              <a:gdLst>
                <a:gd name="T0" fmla="*/ 5 w 76"/>
                <a:gd name="T1" fmla="*/ 65 h 65"/>
                <a:gd name="T2" fmla="*/ 69 w 76"/>
                <a:gd name="T3" fmla="*/ 65 h 65"/>
                <a:gd name="T4" fmla="*/ 69 w 76"/>
                <a:gd name="T5" fmla="*/ 65 h 65"/>
                <a:gd name="T6" fmla="*/ 72 w 76"/>
                <a:gd name="T7" fmla="*/ 65 h 65"/>
                <a:gd name="T8" fmla="*/ 73 w 76"/>
                <a:gd name="T9" fmla="*/ 63 h 65"/>
                <a:gd name="T10" fmla="*/ 75 w 76"/>
                <a:gd name="T11" fmla="*/ 62 h 65"/>
                <a:gd name="T12" fmla="*/ 76 w 76"/>
                <a:gd name="T13" fmla="*/ 59 h 65"/>
                <a:gd name="T14" fmla="*/ 76 w 76"/>
                <a:gd name="T15" fmla="*/ 6 h 65"/>
                <a:gd name="T16" fmla="*/ 76 w 76"/>
                <a:gd name="T17" fmla="*/ 6 h 65"/>
                <a:gd name="T18" fmla="*/ 75 w 76"/>
                <a:gd name="T19" fmla="*/ 3 h 65"/>
                <a:gd name="T20" fmla="*/ 73 w 76"/>
                <a:gd name="T21" fmla="*/ 2 h 65"/>
                <a:gd name="T22" fmla="*/ 72 w 76"/>
                <a:gd name="T23" fmla="*/ 0 h 65"/>
                <a:gd name="T24" fmla="*/ 69 w 76"/>
                <a:gd name="T25" fmla="*/ 0 h 65"/>
                <a:gd name="T26" fmla="*/ 5 w 76"/>
                <a:gd name="T27" fmla="*/ 0 h 65"/>
                <a:gd name="T28" fmla="*/ 5 w 76"/>
                <a:gd name="T29" fmla="*/ 0 h 65"/>
                <a:gd name="T30" fmla="*/ 4 w 76"/>
                <a:gd name="T31" fmla="*/ 0 h 65"/>
                <a:gd name="T32" fmla="*/ 1 w 76"/>
                <a:gd name="T33" fmla="*/ 2 h 65"/>
                <a:gd name="T34" fmla="*/ 0 w 76"/>
                <a:gd name="T35" fmla="*/ 3 h 65"/>
                <a:gd name="T36" fmla="*/ 0 w 76"/>
                <a:gd name="T37" fmla="*/ 6 h 65"/>
                <a:gd name="T38" fmla="*/ 0 w 76"/>
                <a:gd name="T39" fmla="*/ 59 h 65"/>
                <a:gd name="T40" fmla="*/ 0 w 76"/>
                <a:gd name="T41" fmla="*/ 59 h 65"/>
                <a:gd name="T42" fmla="*/ 0 w 76"/>
                <a:gd name="T43" fmla="*/ 62 h 65"/>
                <a:gd name="T44" fmla="*/ 1 w 76"/>
                <a:gd name="T45" fmla="*/ 63 h 65"/>
                <a:gd name="T46" fmla="*/ 4 w 76"/>
                <a:gd name="T47" fmla="*/ 65 h 65"/>
                <a:gd name="T48" fmla="*/ 5 w 76"/>
                <a:gd name="T49" fmla="*/ 65 h 65"/>
                <a:gd name="T50" fmla="*/ 5 w 76"/>
                <a:gd name="T51"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6" h="65">
                  <a:moveTo>
                    <a:pt x="5" y="65"/>
                  </a:moveTo>
                  <a:lnTo>
                    <a:pt x="69" y="65"/>
                  </a:lnTo>
                  <a:lnTo>
                    <a:pt x="69" y="65"/>
                  </a:lnTo>
                  <a:lnTo>
                    <a:pt x="72" y="65"/>
                  </a:lnTo>
                  <a:lnTo>
                    <a:pt x="73" y="63"/>
                  </a:lnTo>
                  <a:lnTo>
                    <a:pt x="75" y="62"/>
                  </a:lnTo>
                  <a:lnTo>
                    <a:pt x="76" y="59"/>
                  </a:lnTo>
                  <a:lnTo>
                    <a:pt x="76" y="6"/>
                  </a:lnTo>
                  <a:lnTo>
                    <a:pt x="76" y="6"/>
                  </a:lnTo>
                  <a:lnTo>
                    <a:pt x="75" y="3"/>
                  </a:lnTo>
                  <a:lnTo>
                    <a:pt x="73" y="2"/>
                  </a:lnTo>
                  <a:lnTo>
                    <a:pt x="72" y="0"/>
                  </a:lnTo>
                  <a:lnTo>
                    <a:pt x="69" y="0"/>
                  </a:lnTo>
                  <a:lnTo>
                    <a:pt x="5" y="0"/>
                  </a:lnTo>
                  <a:lnTo>
                    <a:pt x="5" y="0"/>
                  </a:lnTo>
                  <a:lnTo>
                    <a:pt x="4" y="0"/>
                  </a:lnTo>
                  <a:lnTo>
                    <a:pt x="1" y="2"/>
                  </a:lnTo>
                  <a:lnTo>
                    <a:pt x="0" y="3"/>
                  </a:lnTo>
                  <a:lnTo>
                    <a:pt x="0" y="6"/>
                  </a:lnTo>
                  <a:lnTo>
                    <a:pt x="0" y="59"/>
                  </a:lnTo>
                  <a:lnTo>
                    <a:pt x="0" y="59"/>
                  </a:lnTo>
                  <a:lnTo>
                    <a:pt x="0" y="62"/>
                  </a:lnTo>
                  <a:lnTo>
                    <a:pt x="1" y="63"/>
                  </a:lnTo>
                  <a:lnTo>
                    <a:pt x="4" y="65"/>
                  </a:lnTo>
                  <a:lnTo>
                    <a:pt x="5" y="65"/>
                  </a:lnTo>
                  <a:lnTo>
                    <a:pt x="5"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6" name="Freeform 125">
              <a:extLst>
                <a:ext uri="{FF2B5EF4-FFF2-40B4-BE49-F238E27FC236}">
                  <a16:creationId xmlns:a16="http://schemas.microsoft.com/office/drawing/2014/main" id="{FB0C5505-85CC-46C8-9A70-FF1C024AB4AB}"/>
                </a:ext>
              </a:extLst>
            </p:cNvPr>
            <p:cNvSpPr>
              <a:spLocks/>
            </p:cNvSpPr>
            <p:nvPr/>
          </p:nvSpPr>
          <p:spPr bwMode="auto">
            <a:xfrm>
              <a:off x="9285585" y="5985919"/>
              <a:ext cx="64762" cy="41273"/>
            </a:xfrm>
            <a:custGeom>
              <a:avLst/>
              <a:gdLst>
                <a:gd name="T0" fmla="*/ 70 w 75"/>
                <a:gd name="T1" fmla="*/ 0 h 64"/>
                <a:gd name="T2" fmla="*/ 6 w 75"/>
                <a:gd name="T3" fmla="*/ 0 h 64"/>
                <a:gd name="T4" fmla="*/ 6 w 75"/>
                <a:gd name="T5" fmla="*/ 0 h 64"/>
                <a:gd name="T6" fmla="*/ 3 w 75"/>
                <a:gd name="T7" fmla="*/ 0 h 64"/>
                <a:gd name="T8" fmla="*/ 2 w 75"/>
                <a:gd name="T9" fmla="*/ 1 h 64"/>
                <a:gd name="T10" fmla="*/ 0 w 75"/>
                <a:gd name="T11" fmla="*/ 2 h 64"/>
                <a:gd name="T12" fmla="*/ 0 w 75"/>
                <a:gd name="T13" fmla="*/ 5 h 64"/>
                <a:gd name="T14" fmla="*/ 0 w 75"/>
                <a:gd name="T15" fmla="*/ 59 h 64"/>
                <a:gd name="T16" fmla="*/ 0 w 75"/>
                <a:gd name="T17" fmla="*/ 59 h 64"/>
                <a:gd name="T18" fmla="*/ 0 w 75"/>
                <a:gd name="T19" fmla="*/ 61 h 64"/>
                <a:gd name="T20" fmla="*/ 2 w 75"/>
                <a:gd name="T21" fmla="*/ 63 h 64"/>
                <a:gd name="T22" fmla="*/ 3 w 75"/>
                <a:gd name="T23" fmla="*/ 64 h 64"/>
                <a:gd name="T24" fmla="*/ 6 w 75"/>
                <a:gd name="T25" fmla="*/ 64 h 64"/>
                <a:gd name="T26" fmla="*/ 70 w 75"/>
                <a:gd name="T27" fmla="*/ 64 h 64"/>
                <a:gd name="T28" fmla="*/ 70 w 75"/>
                <a:gd name="T29" fmla="*/ 64 h 64"/>
                <a:gd name="T30" fmla="*/ 73 w 75"/>
                <a:gd name="T31" fmla="*/ 64 h 64"/>
                <a:gd name="T32" fmla="*/ 74 w 75"/>
                <a:gd name="T33" fmla="*/ 63 h 64"/>
                <a:gd name="T34" fmla="*/ 75 w 75"/>
                <a:gd name="T35" fmla="*/ 61 h 64"/>
                <a:gd name="T36" fmla="*/ 75 w 75"/>
                <a:gd name="T37" fmla="*/ 59 h 64"/>
                <a:gd name="T38" fmla="*/ 75 w 75"/>
                <a:gd name="T39" fmla="*/ 5 h 64"/>
                <a:gd name="T40" fmla="*/ 75 w 75"/>
                <a:gd name="T41" fmla="*/ 5 h 64"/>
                <a:gd name="T42" fmla="*/ 75 w 75"/>
                <a:gd name="T43" fmla="*/ 2 h 64"/>
                <a:gd name="T44" fmla="*/ 74 w 75"/>
                <a:gd name="T45" fmla="*/ 1 h 64"/>
                <a:gd name="T46" fmla="*/ 73 w 75"/>
                <a:gd name="T47" fmla="*/ 0 h 64"/>
                <a:gd name="T48" fmla="*/ 70 w 75"/>
                <a:gd name="T49" fmla="*/ 0 h 64"/>
                <a:gd name="T50" fmla="*/ 70 w 75"/>
                <a:gd name="T5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5" h="64">
                  <a:moveTo>
                    <a:pt x="70" y="0"/>
                  </a:moveTo>
                  <a:lnTo>
                    <a:pt x="6" y="0"/>
                  </a:lnTo>
                  <a:lnTo>
                    <a:pt x="6" y="0"/>
                  </a:lnTo>
                  <a:lnTo>
                    <a:pt x="3" y="0"/>
                  </a:lnTo>
                  <a:lnTo>
                    <a:pt x="2" y="1"/>
                  </a:lnTo>
                  <a:lnTo>
                    <a:pt x="0" y="2"/>
                  </a:lnTo>
                  <a:lnTo>
                    <a:pt x="0" y="5"/>
                  </a:lnTo>
                  <a:lnTo>
                    <a:pt x="0" y="59"/>
                  </a:lnTo>
                  <a:lnTo>
                    <a:pt x="0" y="59"/>
                  </a:lnTo>
                  <a:lnTo>
                    <a:pt x="0" y="61"/>
                  </a:lnTo>
                  <a:lnTo>
                    <a:pt x="2" y="63"/>
                  </a:lnTo>
                  <a:lnTo>
                    <a:pt x="3" y="64"/>
                  </a:lnTo>
                  <a:lnTo>
                    <a:pt x="6" y="64"/>
                  </a:lnTo>
                  <a:lnTo>
                    <a:pt x="70" y="64"/>
                  </a:lnTo>
                  <a:lnTo>
                    <a:pt x="70" y="64"/>
                  </a:lnTo>
                  <a:lnTo>
                    <a:pt x="73" y="64"/>
                  </a:lnTo>
                  <a:lnTo>
                    <a:pt x="74" y="63"/>
                  </a:lnTo>
                  <a:lnTo>
                    <a:pt x="75" y="61"/>
                  </a:lnTo>
                  <a:lnTo>
                    <a:pt x="75" y="59"/>
                  </a:lnTo>
                  <a:lnTo>
                    <a:pt x="75" y="5"/>
                  </a:lnTo>
                  <a:lnTo>
                    <a:pt x="75" y="5"/>
                  </a:lnTo>
                  <a:lnTo>
                    <a:pt x="75" y="2"/>
                  </a:lnTo>
                  <a:lnTo>
                    <a:pt x="74" y="1"/>
                  </a:lnTo>
                  <a:lnTo>
                    <a:pt x="73" y="0"/>
                  </a:lnTo>
                  <a:lnTo>
                    <a:pt x="70" y="0"/>
                  </a:lnTo>
                  <a:lnTo>
                    <a:pt x="7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7" name="Freeform 126">
              <a:extLst>
                <a:ext uri="{FF2B5EF4-FFF2-40B4-BE49-F238E27FC236}">
                  <a16:creationId xmlns:a16="http://schemas.microsoft.com/office/drawing/2014/main" id="{AFD538E7-3945-47C4-95D5-B6E3047FD5D2}"/>
                </a:ext>
              </a:extLst>
            </p:cNvPr>
            <p:cNvSpPr>
              <a:spLocks/>
            </p:cNvSpPr>
            <p:nvPr/>
          </p:nvSpPr>
          <p:spPr bwMode="auto">
            <a:xfrm>
              <a:off x="9075547" y="5985919"/>
              <a:ext cx="66512" cy="41273"/>
            </a:xfrm>
            <a:custGeom>
              <a:avLst/>
              <a:gdLst>
                <a:gd name="T0" fmla="*/ 71 w 77"/>
                <a:gd name="T1" fmla="*/ 0 h 64"/>
                <a:gd name="T2" fmla="*/ 5 w 77"/>
                <a:gd name="T3" fmla="*/ 0 h 64"/>
                <a:gd name="T4" fmla="*/ 5 w 77"/>
                <a:gd name="T5" fmla="*/ 0 h 64"/>
                <a:gd name="T6" fmla="*/ 4 w 77"/>
                <a:gd name="T7" fmla="*/ 0 h 64"/>
                <a:gd name="T8" fmla="*/ 3 w 77"/>
                <a:gd name="T9" fmla="*/ 1 h 64"/>
                <a:gd name="T10" fmla="*/ 1 w 77"/>
                <a:gd name="T11" fmla="*/ 2 h 64"/>
                <a:gd name="T12" fmla="*/ 0 w 77"/>
                <a:gd name="T13" fmla="*/ 5 h 64"/>
                <a:gd name="T14" fmla="*/ 0 w 77"/>
                <a:gd name="T15" fmla="*/ 59 h 64"/>
                <a:gd name="T16" fmla="*/ 0 w 77"/>
                <a:gd name="T17" fmla="*/ 59 h 64"/>
                <a:gd name="T18" fmla="*/ 1 w 77"/>
                <a:gd name="T19" fmla="*/ 61 h 64"/>
                <a:gd name="T20" fmla="*/ 3 w 77"/>
                <a:gd name="T21" fmla="*/ 63 h 64"/>
                <a:gd name="T22" fmla="*/ 4 w 77"/>
                <a:gd name="T23" fmla="*/ 64 h 64"/>
                <a:gd name="T24" fmla="*/ 5 w 77"/>
                <a:gd name="T25" fmla="*/ 64 h 64"/>
                <a:gd name="T26" fmla="*/ 71 w 77"/>
                <a:gd name="T27" fmla="*/ 64 h 64"/>
                <a:gd name="T28" fmla="*/ 71 w 77"/>
                <a:gd name="T29" fmla="*/ 64 h 64"/>
                <a:gd name="T30" fmla="*/ 73 w 77"/>
                <a:gd name="T31" fmla="*/ 64 h 64"/>
                <a:gd name="T32" fmla="*/ 75 w 77"/>
                <a:gd name="T33" fmla="*/ 63 h 64"/>
                <a:gd name="T34" fmla="*/ 77 w 77"/>
                <a:gd name="T35" fmla="*/ 61 h 64"/>
                <a:gd name="T36" fmla="*/ 77 w 77"/>
                <a:gd name="T37" fmla="*/ 59 h 64"/>
                <a:gd name="T38" fmla="*/ 77 w 77"/>
                <a:gd name="T39" fmla="*/ 5 h 64"/>
                <a:gd name="T40" fmla="*/ 77 w 77"/>
                <a:gd name="T41" fmla="*/ 5 h 64"/>
                <a:gd name="T42" fmla="*/ 77 w 77"/>
                <a:gd name="T43" fmla="*/ 2 h 64"/>
                <a:gd name="T44" fmla="*/ 75 w 77"/>
                <a:gd name="T45" fmla="*/ 1 h 64"/>
                <a:gd name="T46" fmla="*/ 73 w 77"/>
                <a:gd name="T47" fmla="*/ 0 h 64"/>
                <a:gd name="T48" fmla="*/ 71 w 77"/>
                <a:gd name="T49" fmla="*/ 0 h 64"/>
                <a:gd name="T50" fmla="*/ 71 w 77"/>
                <a:gd name="T5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7" h="64">
                  <a:moveTo>
                    <a:pt x="71" y="0"/>
                  </a:moveTo>
                  <a:lnTo>
                    <a:pt x="5" y="0"/>
                  </a:lnTo>
                  <a:lnTo>
                    <a:pt x="5" y="0"/>
                  </a:lnTo>
                  <a:lnTo>
                    <a:pt x="4" y="0"/>
                  </a:lnTo>
                  <a:lnTo>
                    <a:pt x="3" y="1"/>
                  </a:lnTo>
                  <a:lnTo>
                    <a:pt x="1" y="2"/>
                  </a:lnTo>
                  <a:lnTo>
                    <a:pt x="0" y="5"/>
                  </a:lnTo>
                  <a:lnTo>
                    <a:pt x="0" y="59"/>
                  </a:lnTo>
                  <a:lnTo>
                    <a:pt x="0" y="59"/>
                  </a:lnTo>
                  <a:lnTo>
                    <a:pt x="1" y="61"/>
                  </a:lnTo>
                  <a:lnTo>
                    <a:pt x="3" y="63"/>
                  </a:lnTo>
                  <a:lnTo>
                    <a:pt x="4" y="64"/>
                  </a:lnTo>
                  <a:lnTo>
                    <a:pt x="5" y="64"/>
                  </a:lnTo>
                  <a:lnTo>
                    <a:pt x="71" y="64"/>
                  </a:lnTo>
                  <a:lnTo>
                    <a:pt x="71" y="64"/>
                  </a:lnTo>
                  <a:lnTo>
                    <a:pt x="73" y="64"/>
                  </a:lnTo>
                  <a:lnTo>
                    <a:pt x="75" y="63"/>
                  </a:lnTo>
                  <a:lnTo>
                    <a:pt x="77" y="61"/>
                  </a:lnTo>
                  <a:lnTo>
                    <a:pt x="77" y="59"/>
                  </a:lnTo>
                  <a:lnTo>
                    <a:pt x="77" y="5"/>
                  </a:lnTo>
                  <a:lnTo>
                    <a:pt x="77" y="5"/>
                  </a:lnTo>
                  <a:lnTo>
                    <a:pt x="77" y="2"/>
                  </a:lnTo>
                  <a:lnTo>
                    <a:pt x="75" y="1"/>
                  </a:lnTo>
                  <a:lnTo>
                    <a:pt x="73" y="0"/>
                  </a:lnTo>
                  <a:lnTo>
                    <a:pt x="71" y="0"/>
                  </a:lnTo>
                  <a:lnTo>
                    <a:pt x="7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8" name="Freeform 127">
              <a:extLst>
                <a:ext uri="{FF2B5EF4-FFF2-40B4-BE49-F238E27FC236}">
                  <a16:creationId xmlns:a16="http://schemas.microsoft.com/office/drawing/2014/main" id="{45312C78-325A-46F8-908D-E32139EC39BA}"/>
                </a:ext>
              </a:extLst>
            </p:cNvPr>
            <p:cNvSpPr>
              <a:spLocks/>
            </p:cNvSpPr>
            <p:nvPr/>
          </p:nvSpPr>
          <p:spPr bwMode="auto">
            <a:xfrm>
              <a:off x="9101801" y="5909627"/>
              <a:ext cx="224040" cy="66287"/>
            </a:xfrm>
            <a:custGeom>
              <a:avLst/>
              <a:gdLst>
                <a:gd name="T0" fmla="*/ 9 w 256"/>
                <a:gd name="T1" fmla="*/ 106 h 106"/>
                <a:gd name="T2" fmla="*/ 16 w 256"/>
                <a:gd name="T3" fmla="*/ 104 h 106"/>
                <a:gd name="T4" fmla="*/ 18 w 256"/>
                <a:gd name="T5" fmla="*/ 97 h 106"/>
                <a:gd name="T6" fmla="*/ 118 w 256"/>
                <a:gd name="T7" fmla="*/ 62 h 106"/>
                <a:gd name="T8" fmla="*/ 118 w 256"/>
                <a:gd name="T9" fmla="*/ 97 h 106"/>
                <a:gd name="T10" fmla="*/ 121 w 256"/>
                <a:gd name="T11" fmla="*/ 104 h 106"/>
                <a:gd name="T12" fmla="*/ 127 w 256"/>
                <a:gd name="T13" fmla="*/ 106 h 106"/>
                <a:gd name="T14" fmla="*/ 131 w 256"/>
                <a:gd name="T15" fmla="*/ 105 h 106"/>
                <a:gd name="T16" fmla="*/ 137 w 256"/>
                <a:gd name="T17" fmla="*/ 100 h 106"/>
                <a:gd name="T18" fmla="*/ 137 w 256"/>
                <a:gd name="T19" fmla="*/ 62 h 106"/>
                <a:gd name="T20" fmla="*/ 237 w 256"/>
                <a:gd name="T21" fmla="*/ 97 h 106"/>
                <a:gd name="T22" fmla="*/ 239 w 256"/>
                <a:gd name="T23" fmla="*/ 100 h 106"/>
                <a:gd name="T24" fmla="*/ 243 w 256"/>
                <a:gd name="T25" fmla="*/ 105 h 106"/>
                <a:gd name="T26" fmla="*/ 247 w 256"/>
                <a:gd name="T27" fmla="*/ 106 h 106"/>
                <a:gd name="T28" fmla="*/ 253 w 256"/>
                <a:gd name="T29" fmla="*/ 104 h 106"/>
                <a:gd name="T30" fmla="*/ 256 w 256"/>
                <a:gd name="T31" fmla="*/ 97 h 106"/>
                <a:gd name="T32" fmla="*/ 256 w 256"/>
                <a:gd name="T33" fmla="*/ 53 h 106"/>
                <a:gd name="T34" fmla="*/ 253 w 256"/>
                <a:gd name="T35" fmla="*/ 46 h 106"/>
                <a:gd name="T36" fmla="*/ 247 w 256"/>
                <a:gd name="T37" fmla="*/ 43 h 106"/>
                <a:gd name="T38" fmla="*/ 137 w 256"/>
                <a:gd name="T39" fmla="*/ 10 h 106"/>
                <a:gd name="T40" fmla="*/ 137 w 256"/>
                <a:gd name="T41" fmla="*/ 6 h 106"/>
                <a:gd name="T42" fmla="*/ 131 w 256"/>
                <a:gd name="T43" fmla="*/ 1 h 106"/>
                <a:gd name="T44" fmla="*/ 127 w 256"/>
                <a:gd name="T45" fmla="*/ 0 h 106"/>
                <a:gd name="T46" fmla="*/ 121 w 256"/>
                <a:gd name="T47" fmla="*/ 3 h 106"/>
                <a:gd name="T48" fmla="*/ 118 w 256"/>
                <a:gd name="T49" fmla="*/ 10 h 106"/>
                <a:gd name="T50" fmla="*/ 9 w 256"/>
                <a:gd name="T51" fmla="*/ 43 h 106"/>
                <a:gd name="T52" fmla="*/ 5 w 256"/>
                <a:gd name="T53" fmla="*/ 44 h 106"/>
                <a:gd name="T54" fmla="*/ 0 w 256"/>
                <a:gd name="T55" fmla="*/ 50 h 106"/>
                <a:gd name="T56" fmla="*/ 0 w 256"/>
                <a:gd name="T57" fmla="*/ 97 h 106"/>
                <a:gd name="T58" fmla="*/ 0 w 256"/>
                <a:gd name="T59" fmla="*/ 100 h 106"/>
                <a:gd name="T60" fmla="*/ 5 w 256"/>
                <a:gd name="T61" fmla="*/ 105 h 106"/>
                <a:gd name="T62" fmla="*/ 9 w 256"/>
                <a:gd name="T63"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106">
                  <a:moveTo>
                    <a:pt x="9" y="106"/>
                  </a:moveTo>
                  <a:lnTo>
                    <a:pt x="9" y="106"/>
                  </a:lnTo>
                  <a:lnTo>
                    <a:pt x="12" y="105"/>
                  </a:lnTo>
                  <a:lnTo>
                    <a:pt x="16" y="104"/>
                  </a:lnTo>
                  <a:lnTo>
                    <a:pt x="17" y="100"/>
                  </a:lnTo>
                  <a:lnTo>
                    <a:pt x="18" y="97"/>
                  </a:lnTo>
                  <a:lnTo>
                    <a:pt x="18" y="62"/>
                  </a:lnTo>
                  <a:lnTo>
                    <a:pt x="118" y="62"/>
                  </a:lnTo>
                  <a:lnTo>
                    <a:pt x="118" y="97"/>
                  </a:lnTo>
                  <a:lnTo>
                    <a:pt x="118" y="97"/>
                  </a:lnTo>
                  <a:lnTo>
                    <a:pt x="119" y="100"/>
                  </a:lnTo>
                  <a:lnTo>
                    <a:pt x="121" y="104"/>
                  </a:lnTo>
                  <a:lnTo>
                    <a:pt x="125" y="105"/>
                  </a:lnTo>
                  <a:lnTo>
                    <a:pt x="127" y="106"/>
                  </a:lnTo>
                  <a:lnTo>
                    <a:pt x="127" y="106"/>
                  </a:lnTo>
                  <a:lnTo>
                    <a:pt x="131" y="105"/>
                  </a:lnTo>
                  <a:lnTo>
                    <a:pt x="134" y="104"/>
                  </a:lnTo>
                  <a:lnTo>
                    <a:pt x="137" y="100"/>
                  </a:lnTo>
                  <a:lnTo>
                    <a:pt x="137" y="97"/>
                  </a:lnTo>
                  <a:lnTo>
                    <a:pt x="137" y="62"/>
                  </a:lnTo>
                  <a:lnTo>
                    <a:pt x="237" y="62"/>
                  </a:lnTo>
                  <a:lnTo>
                    <a:pt x="237" y="97"/>
                  </a:lnTo>
                  <a:lnTo>
                    <a:pt x="237" y="97"/>
                  </a:lnTo>
                  <a:lnTo>
                    <a:pt x="239" y="100"/>
                  </a:lnTo>
                  <a:lnTo>
                    <a:pt x="240" y="104"/>
                  </a:lnTo>
                  <a:lnTo>
                    <a:pt x="243" y="105"/>
                  </a:lnTo>
                  <a:lnTo>
                    <a:pt x="247" y="106"/>
                  </a:lnTo>
                  <a:lnTo>
                    <a:pt x="247" y="106"/>
                  </a:lnTo>
                  <a:lnTo>
                    <a:pt x="251" y="105"/>
                  </a:lnTo>
                  <a:lnTo>
                    <a:pt x="253" y="104"/>
                  </a:lnTo>
                  <a:lnTo>
                    <a:pt x="255" y="100"/>
                  </a:lnTo>
                  <a:lnTo>
                    <a:pt x="256" y="97"/>
                  </a:lnTo>
                  <a:lnTo>
                    <a:pt x="256" y="53"/>
                  </a:lnTo>
                  <a:lnTo>
                    <a:pt x="256" y="53"/>
                  </a:lnTo>
                  <a:lnTo>
                    <a:pt x="255" y="50"/>
                  </a:lnTo>
                  <a:lnTo>
                    <a:pt x="253" y="46"/>
                  </a:lnTo>
                  <a:lnTo>
                    <a:pt x="251" y="44"/>
                  </a:lnTo>
                  <a:lnTo>
                    <a:pt x="247" y="43"/>
                  </a:lnTo>
                  <a:lnTo>
                    <a:pt x="137" y="43"/>
                  </a:lnTo>
                  <a:lnTo>
                    <a:pt x="137" y="10"/>
                  </a:lnTo>
                  <a:lnTo>
                    <a:pt x="137" y="10"/>
                  </a:lnTo>
                  <a:lnTo>
                    <a:pt x="137" y="6"/>
                  </a:lnTo>
                  <a:lnTo>
                    <a:pt x="134" y="3"/>
                  </a:lnTo>
                  <a:lnTo>
                    <a:pt x="131" y="1"/>
                  </a:lnTo>
                  <a:lnTo>
                    <a:pt x="127" y="0"/>
                  </a:lnTo>
                  <a:lnTo>
                    <a:pt x="127" y="0"/>
                  </a:lnTo>
                  <a:lnTo>
                    <a:pt x="125" y="1"/>
                  </a:lnTo>
                  <a:lnTo>
                    <a:pt x="121" y="3"/>
                  </a:lnTo>
                  <a:lnTo>
                    <a:pt x="119" y="6"/>
                  </a:lnTo>
                  <a:lnTo>
                    <a:pt x="118" y="10"/>
                  </a:lnTo>
                  <a:lnTo>
                    <a:pt x="118" y="43"/>
                  </a:lnTo>
                  <a:lnTo>
                    <a:pt x="9" y="43"/>
                  </a:lnTo>
                  <a:lnTo>
                    <a:pt x="9" y="43"/>
                  </a:lnTo>
                  <a:lnTo>
                    <a:pt x="5" y="44"/>
                  </a:lnTo>
                  <a:lnTo>
                    <a:pt x="2" y="46"/>
                  </a:lnTo>
                  <a:lnTo>
                    <a:pt x="0" y="50"/>
                  </a:lnTo>
                  <a:lnTo>
                    <a:pt x="0" y="53"/>
                  </a:lnTo>
                  <a:lnTo>
                    <a:pt x="0" y="97"/>
                  </a:lnTo>
                  <a:lnTo>
                    <a:pt x="0" y="97"/>
                  </a:lnTo>
                  <a:lnTo>
                    <a:pt x="0" y="100"/>
                  </a:lnTo>
                  <a:lnTo>
                    <a:pt x="2" y="104"/>
                  </a:lnTo>
                  <a:lnTo>
                    <a:pt x="5" y="105"/>
                  </a:lnTo>
                  <a:lnTo>
                    <a:pt x="9" y="106"/>
                  </a:lnTo>
                  <a:lnTo>
                    <a:pt x="9" y="10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9" name="Group 28">
            <a:extLst>
              <a:ext uri="{FF2B5EF4-FFF2-40B4-BE49-F238E27FC236}">
                <a16:creationId xmlns:a16="http://schemas.microsoft.com/office/drawing/2014/main" id="{1FFC6D35-329C-4055-8CD5-AEA1FC82D405}"/>
              </a:ext>
            </a:extLst>
          </p:cNvPr>
          <p:cNvGrpSpPr/>
          <p:nvPr/>
        </p:nvGrpSpPr>
        <p:grpSpPr>
          <a:xfrm>
            <a:off x="8187109" y="5027416"/>
            <a:ext cx="365760" cy="365760"/>
            <a:chOff x="10416901" y="5734673"/>
            <a:chExt cx="574103" cy="411480"/>
          </a:xfrm>
        </p:grpSpPr>
        <p:sp>
          <p:nvSpPr>
            <p:cNvPr id="30" name="Freeform 70">
              <a:extLst>
                <a:ext uri="{FF2B5EF4-FFF2-40B4-BE49-F238E27FC236}">
                  <a16:creationId xmlns:a16="http://schemas.microsoft.com/office/drawing/2014/main" id="{74BE3A4E-4965-4B89-B56B-2C6D27215CF6}"/>
                </a:ext>
              </a:extLst>
            </p:cNvPr>
            <p:cNvSpPr>
              <a:spLocks noEditPoints="1"/>
            </p:cNvSpPr>
            <p:nvPr/>
          </p:nvSpPr>
          <p:spPr bwMode="auto">
            <a:xfrm>
              <a:off x="10416901" y="5734673"/>
              <a:ext cx="574103" cy="411480"/>
            </a:xfrm>
            <a:custGeom>
              <a:avLst/>
              <a:gdLst>
                <a:gd name="T0" fmla="*/ 312 w 657"/>
                <a:gd name="T1" fmla="*/ 657 h 657"/>
                <a:gd name="T2" fmla="*/ 262 w 657"/>
                <a:gd name="T3" fmla="*/ 650 h 657"/>
                <a:gd name="T4" fmla="*/ 200 w 657"/>
                <a:gd name="T5" fmla="*/ 632 h 657"/>
                <a:gd name="T6" fmla="*/ 120 w 657"/>
                <a:gd name="T7" fmla="*/ 582 h 657"/>
                <a:gd name="T8" fmla="*/ 55 w 657"/>
                <a:gd name="T9" fmla="*/ 512 h 657"/>
                <a:gd name="T10" fmla="*/ 15 w 657"/>
                <a:gd name="T11" fmla="*/ 426 h 657"/>
                <a:gd name="T12" fmla="*/ 3 w 657"/>
                <a:gd name="T13" fmla="*/ 379 h 657"/>
                <a:gd name="T14" fmla="*/ 0 w 657"/>
                <a:gd name="T15" fmla="*/ 328 h 657"/>
                <a:gd name="T16" fmla="*/ 1 w 657"/>
                <a:gd name="T17" fmla="*/ 294 h 657"/>
                <a:gd name="T18" fmla="*/ 10 w 657"/>
                <a:gd name="T19" fmla="*/ 246 h 657"/>
                <a:gd name="T20" fmla="*/ 39 w 657"/>
                <a:gd name="T21" fmla="*/ 172 h 657"/>
                <a:gd name="T22" fmla="*/ 96 w 657"/>
                <a:gd name="T23" fmla="*/ 96 h 657"/>
                <a:gd name="T24" fmla="*/ 172 w 657"/>
                <a:gd name="T25" fmla="*/ 39 h 657"/>
                <a:gd name="T26" fmla="*/ 246 w 657"/>
                <a:gd name="T27" fmla="*/ 10 h 657"/>
                <a:gd name="T28" fmla="*/ 294 w 657"/>
                <a:gd name="T29" fmla="*/ 2 h 657"/>
                <a:gd name="T30" fmla="*/ 328 w 657"/>
                <a:gd name="T31" fmla="*/ 0 h 657"/>
                <a:gd name="T32" fmla="*/ 378 w 657"/>
                <a:gd name="T33" fmla="*/ 3 h 657"/>
                <a:gd name="T34" fmla="*/ 426 w 657"/>
                <a:gd name="T35" fmla="*/ 15 h 657"/>
                <a:gd name="T36" fmla="*/ 512 w 657"/>
                <a:gd name="T37" fmla="*/ 57 h 657"/>
                <a:gd name="T38" fmla="*/ 582 w 657"/>
                <a:gd name="T39" fmla="*/ 120 h 657"/>
                <a:gd name="T40" fmla="*/ 631 w 657"/>
                <a:gd name="T41" fmla="*/ 200 h 657"/>
                <a:gd name="T42" fmla="*/ 650 w 657"/>
                <a:gd name="T43" fmla="*/ 262 h 657"/>
                <a:gd name="T44" fmla="*/ 657 w 657"/>
                <a:gd name="T45" fmla="*/ 312 h 657"/>
                <a:gd name="T46" fmla="*/ 657 w 657"/>
                <a:gd name="T47" fmla="*/ 345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8 w 657"/>
                <a:gd name="T59" fmla="*/ 653 h 657"/>
                <a:gd name="T60" fmla="*/ 328 w 657"/>
                <a:gd name="T61" fmla="*/ 657 h 657"/>
                <a:gd name="T62" fmla="*/ 328 w 657"/>
                <a:gd name="T63" fmla="*/ 38 h 657"/>
                <a:gd name="T64" fmla="*/ 242 w 657"/>
                <a:gd name="T65" fmla="*/ 50 h 657"/>
                <a:gd name="T66" fmla="*/ 165 w 657"/>
                <a:gd name="T67" fmla="*/ 88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5 w 657"/>
                <a:gd name="T81" fmla="*/ 570 h 657"/>
                <a:gd name="T82" fmla="*/ 242 w 657"/>
                <a:gd name="T83" fmla="*/ 606 h 657"/>
                <a:gd name="T84" fmla="*/ 328 w 657"/>
                <a:gd name="T85" fmla="*/ 619 h 657"/>
                <a:gd name="T86" fmla="*/ 387 w 657"/>
                <a:gd name="T87" fmla="*/ 614 h 657"/>
                <a:gd name="T88" fmla="*/ 468 w 657"/>
                <a:gd name="T89" fmla="*/ 585 h 657"/>
                <a:gd name="T90" fmla="*/ 533 w 657"/>
                <a:gd name="T91" fmla="*/ 535 h 657"/>
                <a:gd name="T92" fmla="*/ 584 w 657"/>
                <a:gd name="T93" fmla="*/ 468 h 657"/>
                <a:gd name="T94" fmla="*/ 614 w 657"/>
                <a:gd name="T95" fmla="*/ 387 h 657"/>
                <a:gd name="T96" fmla="*/ 619 w 657"/>
                <a:gd name="T97" fmla="*/ 328 h 657"/>
                <a:gd name="T98" fmla="*/ 606 w 657"/>
                <a:gd name="T99" fmla="*/ 242 h 657"/>
                <a:gd name="T100" fmla="*/ 570 w 657"/>
                <a:gd name="T101" fmla="*/ 165 h 657"/>
                <a:gd name="T102" fmla="*/ 513 w 657"/>
                <a:gd name="T103" fmla="*/ 104 h 657"/>
                <a:gd name="T104" fmla="*/ 442 w 657"/>
                <a:gd name="T105" fmla="*/ 61 h 657"/>
                <a:gd name="T106" fmla="*/ 357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4" y="656"/>
                  </a:lnTo>
                  <a:lnTo>
                    <a:pt x="278" y="653"/>
                  </a:lnTo>
                  <a:lnTo>
                    <a:pt x="262" y="650"/>
                  </a:lnTo>
                  <a:lnTo>
                    <a:pt x="246" y="646"/>
                  </a:lnTo>
                  <a:lnTo>
                    <a:pt x="231" y="642"/>
                  </a:lnTo>
                  <a:lnTo>
                    <a:pt x="200" y="632"/>
                  </a:lnTo>
                  <a:lnTo>
                    <a:pt x="172" y="618"/>
                  </a:lnTo>
                  <a:lnTo>
                    <a:pt x="145" y="601"/>
                  </a:lnTo>
                  <a:lnTo>
                    <a:pt x="120" y="582"/>
                  </a:lnTo>
                  <a:lnTo>
                    <a:pt x="96" y="560"/>
                  </a:lnTo>
                  <a:lnTo>
                    <a:pt x="74" y="538"/>
                  </a:lnTo>
                  <a:lnTo>
                    <a:pt x="55" y="512"/>
                  </a:lnTo>
                  <a:lnTo>
                    <a:pt x="39" y="485"/>
                  </a:lnTo>
                  <a:lnTo>
                    <a:pt x="26" y="457"/>
                  </a:lnTo>
                  <a:lnTo>
                    <a:pt x="15" y="426"/>
                  </a:lnTo>
                  <a:lnTo>
                    <a:pt x="10" y="411"/>
                  </a:lnTo>
                  <a:lnTo>
                    <a:pt x="6" y="395"/>
                  </a:lnTo>
                  <a:lnTo>
                    <a:pt x="3" y="379"/>
                  </a:lnTo>
                  <a:lnTo>
                    <a:pt x="1" y="362"/>
                  </a:lnTo>
                  <a:lnTo>
                    <a:pt x="0" y="345"/>
                  </a:lnTo>
                  <a:lnTo>
                    <a:pt x="0" y="328"/>
                  </a:lnTo>
                  <a:lnTo>
                    <a:pt x="0" y="328"/>
                  </a:lnTo>
                  <a:lnTo>
                    <a:pt x="0" y="312"/>
                  </a:lnTo>
                  <a:lnTo>
                    <a:pt x="1" y="294"/>
                  </a:lnTo>
                  <a:lnTo>
                    <a:pt x="3" y="278"/>
                  </a:lnTo>
                  <a:lnTo>
                    <a:pt x="6" y="262"/>
                  </a:lnTo>
                  <a:lnTo>
                    <a:pt x="10" y="246"/>
                  </a:lnTo>
                  <a:lnTo>
                    <a:pt x="15" y="231"/>
                  </a:lnTo>
                  <a:lnTo>
                    <a:pt x="26" y="200"/>
                  </a:lnTo>
                  <a:lnTo>
                    <a:pt x="39" y="172"/>
                  </a:lnTo>
                  <a:lnTo>
                    <a:pt x="55" y="145"/>
                  </a:lnTo>
                  <a:lnTo>
                    <a:pt x="74" y="120"/>
                  </a:lnTo>
                  <a:lnTo>
                    <a:pt x="96" y="96"/>
                  </a:lnTo>
                  <a:lnTo>
                    <a:pt x="120" y="75"/>
                  </a:lnTo>
                  <a:lnTo>
                    <a:pt x="145" y="57"/>
                  </a:lnTo>
                  <a:lnTo>
                    <a:pt x="172" y="39"/>
                  </a:lnTo>
                  <a:lnTo>
                    <a:pt x="200" y="26"/>
                  </a:lnTo>
                  <a:lnTo>
                    <a:pt x="231" y="15"/>
                  </a:lnTo>
                  <a:lnTo>
                    <a:pt x="246" y="10"/>
                  </a:lnTo>
                  <a:lnTo>
                    <a:pt x="262" y="7"/>
                  </a:lnTo>
                  <a:lnTo>
                    <a:pt x="278" y="3"/>
                  </a:lnTo>
                  <a:lnTo>
                    <a:pt x="294" y="2"/>
                  </a:lnTo>
                  <a:lnTo>
                    <a:pt x="312" y="0"/>
                  </a:lnTo>
                  <a:lnTo>
                    <a:pt x="328" y="0"/>
                  </a:lnTo>
                  <a:lnTo>
                    <a:pt x="328" y="0"/>
                  </a:lnTo>
                  <a:lnTo>
                    <a:pt x="345" y="0"/>
                  </a:lnTo>
                  <a:lnTo>
                    <a:pt x="361" y="2"/>
                  </a:lnTo>
                  <a:lnTo>
                    <a:pt x="378" y="3"/>
                  </a:lnTo>
                  <a:lnTo>
                    <a:pt x="395" y="7"/>
                  </a:lnTo>
                  <a:lnTo>
                    <a:pt x="410" y="10"/>
                  </a:lnTo>
                  <a:lnTo>
                    <a:pt x="426" y="15"/>
                  </a:lnTo>
                  <a:lnTo>
                    <a:pt x="455" y="26"/>
                  </a:lnTo>
                  <a:lnTo>
                    <a:pt x="485" y="39"/>
                  </a:lnTo>
                  <a:lnTo>
                    <a:pt x="512" y="57"/>
                  </a:lnTo>
                  <a:lnTo>
                    <a:pt x="537" y="75"/>
                  </a:lnTo>
                  <a:lnTo>
                    <a:pt x="560" y="96"/>
                  </a:lnTo>
                  <a:lnTo>
                    <a:pt x="582" y="120"/>
                  </a:lnTo>
                  <a:lnTo>
                    <a:pt x="601" y="145"/>
                  </a:lnTo>
                  <a:lnTo>
                    <a:pt x="617" y="172"/>
                  </a:lnTo>
                  <a:lnTo>
                    <a:pt x="631" y="200"/>
                  </a:lnTo>
                  <a:lnTo>
                    <a:pt x="642" y="231"/>
                  </a:lnTo>
                  <a:lnTo>
                    <a:pt x="646" y="246"/>
                  </a:lnTo>
                  <a:lnTo>
                    <a:pt x="650" y="262"/>
                  </a:lnTo>
                  <a:lnTo>
                    <a:pt x="653" y="278"/>
                  </a:lnTo>
                  <a:lnTo>
                    <a:pt x="656" y="294"/>
                  </a:lnTo>
                  <a:lnTo>
                    <a:pt x="657" y="312"/>
                  </a:lnTo>
                  <a:lnTo>
                    <a:pt x="657" y="328"/>
                  </a:lnTo>
                  <a:lnTo>
                    <a:pt x="657" y="328"/>
                  </a:lnTo>
                  <a:lnTo>
                    <a:pt x="657" y="345"/>
                  </a:lnTo>
                  <a:lnTo>
                    <a:pt x="656" y="362"/>
                  </a:lnTo>
                  <a:lnTo>
                    <a:pt x="653" y="379"/>
                  </a:lnTo>
                  <a:lnTo>
                    <a:pt x="650" y="395"/>
                  </a:lnTo>
                  <a:lnTo>
                    <a:pt x="646" y="411"/>
                  </a:lnTo>
                  <a:lnTo>
                    <a:pt x="642" y="426"/>
                  </a:lnTo>
                  <a:lnTo>
                    <a:pt x="631" y="457"/>
                  </a:lnTo>
                  <a:lnTo>
                    <a:pt x="617" y="485"/>
                  </a:lnTo>
                  <a:lnTo>
                    <a:pt x="601" y="512"/>
                  </a:lnTo>
                  <a:lnTo>
                    <a:pt x="582" y="538"/>
                  </a:lnTo>
                  <a:lnTo>
                    <a:pt x="560" y="560"/>
                  </a:lnTo>
                  <a:lnTo>
                    <a:pt x="537" y="582"/>
                  </a:lnTo>
                  <a:lnTo>
                    <a:pt x="512" y="601"/>
                  </a:lnTo>
                  <a:lnTo>
                    <a:pt x="485" y="618"/>
                  </a:lnTo>
                  <a:lnTo>
                    <a:pt x="455" y="632"/>
                  </a:lnTo>
                  <a:lnTo>
                    <a:pt x="426" y="642"/>
                  </a:lnTo>
                  <a:lnTo>
                    <a:pt x="410" y="646"/>
                  </a:lnTo>
                  <a:lnTo>
                    <a:pt x="395" y="650"/>
                  </a:lnTo>
                  <a:lnTo>
                    <a:pt x="378" y="653"/>
                  </a:lnTo>
                  <a:lnTo>
                    <a:pt x="361" y="656"/>
                  </a:lnTo>
                  <a:lnTo>
                    <a:pt x="345" y="657"/>
                  </a:lnTo>
                  <a:lnTo>
                    <a:pt x="328" y="657"/>
                  </a:lnTo>
                  <a:lnTo>
                    <a:pt x="328" y="657"/>
                  </a:lnTo>
                  <a:close/>
                  <a:moveTo>
                    <a:pt x="328" y="38"/>
                  </a:moveTo>
                  <a:lnTo>
                    <a:pt x="328" y="38"/>
                  </a:lnTo>
                  <a:lnTo>
                    <a:pt x="298" y="39"/>
                  </a:lnTo>
                  <a:lnTo>
                    <a:pt x="270" y="43"/>
                  </a:lnTo>
                  <a:lnTo>
                    <a:pt x="242" y="50"/>
                  </a:lnTo>
                  <a:lnTo>
                    <a:pt x="215" y="61"/>
                  </a:lnTo>
                  <a:lnTo>
                    <a:pt x="190" y="73"/>
                  </a:lnTo>
                  <a:lnTo>
                    <a:pt x="165" y="88"/>
                  </a:lnTo>
                  <a:lnTo>
                    <a:pt x="143" y="104"/>
                  </a:lnTo>
                  <a:lnTo>
                    <a:pt x="122" y="122"/>
                  </a:lnTo>
                  <a:lnTo>
                    <a:pt x="104" y="144"/>
                  </a:lnTo>
                  <a:lnTo>
                    <a:pt x="87" y="165"/>
                  </a:lnTo>
                  <a:lnTo>
                    <a:pt x="73" y="190"/>
                  </a:lnTo>
                  <a:lnTo>
                    <a:pt x="61" y="215"/>
                  </a:lnTo>
                  <a:lnTo>
                    <a:pt x="50" y="242"/>
                  </a:lnTo>
                  <a:lnTo>
                    <a:pt x="43" y="270"/>
                  </a:lnTo>
                  <a:lnTo>
                    <a:pt x="39" y="298"/>
                  </a:lnTo>
                  <a:lnTo>
                    <a:pt x="38" y="328"/>
                  </a:lnTo>
                  <a:lnTo>
                    <a:pt x="38" y="328"/>
                  </a:lnTo>
                  <a:lnTo>
                    <a:pt x="39" y="359"/>
                  </a:lnTo>
                  <a:lnTo>
                    <a:pt x="43" y="387"/>
                  </a:lnTo>
                  <a:lnTo>
                    <a:pt x="50" y="415"/>
                  </a:lnTo>
                  <a:lnTo>
                    <a:pt x="61" y="442"/>
                  </a:lnTo>
                  <a:lnTo>
                    <a:pt x="73" y="468"/>
                  </a:lnTo>
                  <a:lnTo>
                    <a:pt x="87" y="492"/>
                  </a:lnTo>
                  <a:lnTo>
                    <a:pt x="104" y="513"/>
                  </a:lnTo>
                  <a:lnTo>
                    <a:pt x="122" y="535"/>
                  </a:lnTo>
                  <a:lnTo>
                    <a:pt x="143" y="554"/>
                  </a:lnTo>
                  <a:lnTo>
                    <a:pt x="165" y="570"/>
                  </a:lnTo>
                  <a:lnTo>
                    <a:pt x="190" y="585"/>
                  </a:lnTo>
                  <a:lnTo>
                    <a:pt x="215" y="597"/>
                  </a:lnTo>
                  <a:lnTo>
                    <a:pt x="242" y="606"/>
                  </a:lnTo>
                  <a:lnTo>
                    <a:pt x="270" y="614"/>
                  </a:lnTo>
                  <a:lnTo>
                    <a:pt x="298" y="618"/>
                  </a:lnTo>
                  <a:lnTo>
                    <a:pt x="328" y="619"/>
                  </a:lnTo>
                  <a:lnTo>
                    <a:pt x="328" y="619"/>
                  </a:lnTo>
                  <a:lnTo>
                    <a:pt x="357" y="618"/>
                  </a:lnTo>
                  <a:lnTo>
                    <a:pt x="387" y="614"/>
                  </a:lnTo>
                  <a:lnTo>
                    <a:pt x="415" y="606"/>
                  </a:lnTo>
                  <a:lnTo>
                    <a:pt x="442" y="597"/>
                  </a:lnTo>
                  <a:lnTo>
                    <a:pt x="468" y="585"/>
                  </a:lnTo>
                  <a:lnTo>
                    <a:pt x="490" y="570"/>
                  </a:lnTo>
                  <a:lnTo>
                    <a:pt x="513" y="554"/>
                  </a:lnTo>
                  <a:lnTo>
                    <a:pt x="533" y="535"/>
                  </a:lnTo>
                  <a:lnTo>
                    <a:pt x="552" y="513"/>
                  </a:lnTo>
                  <a:lnTo>
                    <a:pt x="570" y="492"/>
                  </a:lnTo>
                  <a:lnTo>
                    <a:pt x="584" y="468"/>
                  </a:lnTo>
                  <a:lnTo>
                    <a:pt x="597" y="442"/>
                  </a:lnTo>
                  <a:lnTo>
                    <a:pt x="606" y="415"/>
                  </a:lnTo>
                  <a:lnTo>
                    <a:pt x="614" y="387"/>
                  </a:lnTo>
                  <a:lnTo>
                    <a:pt x="618" y="359"/>
                  </a:lnTo>
                  <a:lnTo>
                    <a:pt x="619" y="328"/>
                  </a:lnTo>
                  <a:lnTo>
                    <a:pt x="619" y="328"/>
                  </a:lnTo>
                  <a:lnTo>
                    <a:pt x="618" y="298"/>
                  </a:lnTo>
                  <a:lnTo>
                    <a:pt x="614" y="270"/>
                  </a:lnTo>
                  <a:lnTo>
                    <a:pt x="606" y="242"/>
                  </a:lnTo>
                  <a:lnTo>
                    <a:pt x="597" y="215"/>
                  </a:lnTo>
                  <a:lnTo>
                    <a:pt x="584" y="190"/>
                  </a:lnTo>
                  <a:lnTo>
                    <a:pt x="570" y="165"/>
                  </a:lnTo>
                  <a:lnTo>
                    <a:pt x="552" y="144"/>
                  </a:lnTo>
                  <a:lnTo>
                    <a:pt x="533" y="122"/>
                  </a:lnTo>
                  <a:lnTo>
                    <a:pt x="513" y="104"/>
                  </a:lnTo>
                  <a:lnTo>
                    <a:pt x="490" y="88"/>
                  </a:lnTo>
                  <a:lnTo>
                    <a:pt x="468" y="73"/>
                  </a:lnTo>
                  <a:lnTo>
                    <a:pt x="442" y="61"/>
                  </a:lnTo>
                  <a:lnTo>
                    <a:pt x="415" y="50"/>
                  </a:lnTo>
                  <a:lnTo>
                    <a:pt x="387" y="43"/>
                  </a:lnTo>
                  <a:lnTo>
                    <a:pt x="357" y="39"/>
                  </a:lnTo>
                  <a:lnTo>
                    <a:pt x="328" y="38"/>
                  </a:lnTo>
                  <a:lnTo>
                    <a:pt x="328"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1" name="Freeform 378">
              <a:extLst>
                <a:ext uri="{FF2B5EF4-FFF2-40B4-BE49-F238E27FC236}">
                  <a16:creationId xmlns:a16="http://schemas.microsoft.com/office/drawing/2014/main" id="{7B5110A0-A7D3-4A5F-A294-A76B7FF79E48}"/>
                </a:ext>
              </a:extLst>
            </p:cNvPr>
            <p:cNvSpPr>
              <a:spLocks/>
            </p:cNvSpPr>
            <p:nvPr/>
          </p:nvSpPr>
          <p:spPr bwMode="auto">
            <a:xfrm>
              <a:off x="10577930" y="6018193"/>
              <a:ext cx="45508" cy="11291"/>
            </a:xfrm>
            <a:custGeom>
              <a:avLst/>
              <a:gdLst>
                <a:gd name="T0" fmla="*/ 44 w 54"/>
                <a:gd name="T1" fmla="*/ 17 h 17"/>
                <a:gd name="T2" fmla="*/ 10 w 54"/>
                <a:gd name="T3" fmla="*/ 17 h 17"/>
                <a:gd name="T4" fmla="*/ 10 w 54"/>
                <a:gd name="T5" fmla="*/ 17 h 17"/>
                <a:gd name="T6" fmla="*/ 6 w 54"/>
                <a:gd name="T7" fmla="*/ 17 h 17"/>
                <a:gd name="T8" fmla="*/ 3 w 54"/>
                <a:gd name="T9" fmla="*/ 15 h 17"/>
                <a:gd name="T10" fmla="*/ 0 w 54"/>
                <a:gd name="T11" fmla="*/ 12 h 17"/>
                <a:gd name="T12" fmla="*/ 0 w 54"/>
                <a:gd name="T13" fmla="*/ 8 h 17"/>
                <a:gd name="T14" fmla="*/ 0 w 54"/>
                <a:gd name="T15" fmla="*/ 8 h 17"/>
                <a:gd name="T16" fmla="*/ 0 w 54"/>
                <a:gd name="T17" fmla="*/ 5 h 17"/>
                <a:gd name="T18" fmla="*/ 3 w 54"/>
                <a:gd name="T19" fmla="*/ 1 h 17"/>
                <a:gd name="T20" fmla="*/ 6 w 54"/>
                <a:gd name="T21" fmla="*/ 0 h 17"/>
                <a:gd name="T22" fmla="*/ 10 w 54"/>
                <a:gd name="T23" fmla="*/ 0 h 17"/>
                <a:gd name="T24" fmla="*/ 44 w 54"/>
                <a:gd name="T25" fmla="*/ 0 h 17"/>
                <a:gd name="T26" fmla="*/ 44 w 54"/>
                <a:gd name="T27" fmla="*/ 0 h 17"/>
                <a:gd name="T28" fmla="*/ 49 w 54"/>
                <a:gd name="T29" fmla="*/ 0 h 17"/>
                <a:gd name="T30" fmla="*/ 51 w 54"/>
                <a:gd name="T31" fmla="*/ 1 h 17"/>
                <a:gd name="T32" fmla="*/ 53 w 54"/>
                <a:gd name="T33" fmla="*/ 5 h 17"/>
                <a:gd name="T34" fmla="*/ 54 w 54"/>
                <a:gd name="T35" fmla="*/ 8 h 17"/>
                <a:gd name="T36" fmla="*/ 54 w 54"/>
                <a:gd name="T37" fmla="*/ 8 h 17"/>
                <a:gd name="T38" fmla="*/ 53 w 54"/>
                <a:gd name="T39" fmla="*/ 12 h 17"/>
                <a:gd name="T40" fmla="*/ 51 w 54"/>
                <a:gd name="T41" fmla="*/ 15 h 17"/>
                <a:gd name="T42" fmla="*/ 49 w 54"/>
                <a:gd name="T43" fmla="*/ 17 h 17"/>
                <a:gd name="T44" fmla="*/ 44 w 54"/>
                <a:gd name="T45" fmla="*/ 17 h 17"/>
                <a:gd name="T46" fmla="*/ 44 w 54"/>
                <a:gd name="T4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17">
                  <a:moveTo>
                    <a:pt x="44" y="17"/>
                  </a:moveTo>
                  <a:lnTo>
                    <a:pt x="10" y="17"/>
                  </a:lnTo>
                  <a:lnTo>
                    <a:pt x="10" y="17"/>
                  </a:lnTo>
                  <a:lnTo>
                    <a:pt x="6" y="17"/>
                  </a:lnTo>
                  <a:lnTo>
                    <a:pt x="3" y="15"/>
                  </a:lnTo>
                  <a:lnTo>
                    <a:pt x="0" y="12"/>
                  </a:lnTo>
                  <a:lnTo>
                    <a:pt x="0" y="8"/>
                  </a:lnTo>
                  <a:lnTo>
                    <a:pt x="0" y="8"/>
                  </a:lnTo>
                  <a:lnTo>
                    <a:pt x="0" y="5"/>
                  </a:lnTo>
                  <a:lnTo>
                    <a:pt x="3" y="1"/>
                  </a:lnTo>
                  <a:lnTo>
                    <a:pt x="6" y="0"/>
                  </a:lnTo>
                  <a:lnTo>
                    <a:pt x="10" y="0"/>
                  </a:lnTo>
                  <a:lnTo>
                    <a:pt x="44" y="0"/>
                  </a:lnTo>
                  <a:lnTo>
                    <a:pt x="44" y="0"/>
                  </a:lnTo>
                  <a:lnTo>
                    <a:pt x="49" y="0"/>
                  </a:lnTo>
                  <a:lnTo>
                    <a:pt x="51" y="1"/>
                  </a:lnTo>
                  <a:lnTo>
                    <a:pt x="53" y="5"/>
                  </a:lnTo>
                  <a:lnTo>
                    <a:pt x="54" y="8"/>
                  </a:lnTo>
                  <a:lnTo>
                    <a:pt x="54" y="8"/>
                  </a:lnTo>
                  <a:lnTo>
                    <a:pt x="53" y="12"/>
                  </a:lnTo>
                  <a:lnTo>
                    <a:pt x="51" y="15"/>
                  </a:lnTo>
                  <a:lnTo>
                    <a:pt x="49" y="17"/>
                  </a:lnTo>
                  <a:lnTo>
                    <a:pt x="44" y="17"/>
                  </a:lnTo>
                  <a:lnTo>
                    <a:pt x="44"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2" name="Freeform 379">
              <a:extLst>
                <a:ext uri="{FF2B5EF4-FFF2-40B4-BE49-F238E27FC236}">
                  <a16:creationId xmlns:a16="http://schemas.microsoft.com/office/drawing/2014/main" id="{8C85196A-307A-434E-85DF-27F07C7548EC}"/>
                </a:ext>
              </a:extLst>
            </p:cNvPr>
            <p:cNvSpPr>
              <a:spLocks/>
            </p:cNvSpPr>
            <p:nvPr/>
          </p:nvSpPr>
          <p:spPr bwMode="auto">
            <a:xfrm>
              <a:off x="10684699" y="6016939"/>
              <a:ext cx="148777" cy="12545"/>
            </a:xfrm>
            <a:custGeom>
              <a:avLst/>
              <a:gdLst>
                <a:gd name="T0" fmla="*/ 157 w 169"/>
                <a:gd name="T1" fmla="*/ 20 h 20"/>
                <a:gd name="T2" fmla="*/ 10 w 169"/>
                <a:gd name="T3" fmla="*/ 20 h 20"/>
                <a:gd name="T4" fmla="*/ 10 w 169"/>
                <a:gd name="T5" fmla="*/ 20 h 20"/>
                <a:gd name="T6" fmla="*/ 5 w 169"/>
                <a:gd name="T7" fmla="*/ 19 h 20"/>
                <a:gd name="T8" fmla="*/ 1 w 169"/>
                <a:gd name="T9" fmla="*/ 18 h 20"/>
                <a:gd name="T10" fmla="*/ 0 w 169"/>
                <a:gd name="T11" fmla="*/ 15 h 20"/>
                <a:gd name="T12" fmla="*/ 0 w 169"/>
                <a:gd name="T13" fmla="*/ 11 h 20"/>
                <a:gd name="T14" fmla="*/ 0 w 169"/>
                <a:gd name="T15" fmla="*/ 11 h 20"/>
                <a:gd name="T16" fmla="*/ 0 w 169"/>
                <a:gd name="T17" fmla="*/ 7 h 20"/>
                <a:gd name="T18" fmla="*/ 1 w 169"/>
                <a:gd name="T19" fmla="*/ 4 h 20"/>
                <a:gd name="T20" fmla="*/ 5 w 169"/>
                <a:gd name="T21" fmla="*/ 2 h 20"/>
                <a:gd name="T22" fmla="*/ 10 w 169"/>
                <a:gd name="T23" fmla="*/ 0 h 20"/>
                <a:gd name="T24" fmla="*/ 157 w 169"/>
                <a:gd name="T25" fmla="*/ 0 h 20"/>
                <a:gd name="T26" fmla="*/ 157 w 169"/>
                <a:gd name="T27" fmla="*/ 0 h 20"/>
                <a:gd name="T28" fmla="*/ 164 w 169"/>
                <a:gd name="T29" fmla="*/ 2 h 20"/>
                <a:gd name="T30" fmla="*/ 166 w 169"/>
                <a:gd name="T31" fmla="*/ 4 h 20"/>
                <a:gd name="T32" fmla="*/ 168 w 169"/>
                <a:gd name="T33" fmla="*/ 7 h 20"/>
                <a:gd name="T34" fmla="*/ 169 w 169"/>
                <a:gd name="T35" fmla="*/ 11 h 20"/>
                <a:gd name="T36" fmla="*/ 169 w 169"/>
                <a:gd name="T37" fmla="*/ 11 h 20"/>
                <a:gd name="T38" fmla="*/ 168 w 169"/>
                <a:gd name="T39" fmla="*/ 15 h 20"/>
                <a:gd name="T40" fmla="*/ 166 w 169"/>
                <a:gd name="T41" fmla="*/ 18 h 20"/>
                <a:gd name="T42" fmla="*/ 164 w 169"/>
                <a:gd name="T43" fmla="*/ 19 h 20"/>
                <a:gd name="T44" fmla="*/ 157 w 169"/>
                <a:gd name="T45" fmla="*/ 20 h 20"/>
                <a:gd name="T46" fmla="*/ 157 w 169"/>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20">
                  <a:moveTo>
                    <a:pt x="157" y="20"/>
                  </a:moveTo>
                  <a:lnTo>
                    <a:pt x="10" y="20"/>
                  </a:lnTo>
                  <a:lnTo>
                    <a:pt x="10" y="20"/>
                  </a:lnTo>
                  <a:lnTo>
                    <a:pt x="5" y="19"/>
                  </a:lnTo>
                  <a:lnTo>
                    <a:pt x="1" y="18"/>
                  </a:lnTo>
                  <a:lnTo>
                    <a:pt x="0" y="15"/>
                  </a:lnTo>
                  <a:lnTo>
                    <a:pt x="0" y="11"/>
                  </a:lnTo>
                  <a:lnTo>
                    <a:pt x="0" y="11"/>
                  </a:lnTo>
                  <a:lnTo>
                    <a:pt x="0" y="7"/>
                  </a:lnTo>
                  <a:lnTo>
                    <a:pt x="1" y="4"/>
                  </a:lnTo>
                  <a:lnTo>
                    <a:pt x="5" y="2"/>
                  </a:lnTo>
                  <a:lnTo>
                    <a:pt x="10" y="0"/>
                  </a:lnTo>
                  <a:lnTo>
                    <a:pt x="157" y="0"/>
                  </a:lnTo>
                  <a:lnTo>
                    <a:pt x="157" y="0"/>
                  </a:lnTo>
                  <a:lnTo>
                    <a:pt x="164" y="2"/>
                  </a:lnTo>
                  <a:lnTo>
                    <a:pt x="166" y="4"/>
                  </a:lnTo>
                  <a:lnTo>
                    <a:pt x="168" y="7"/>
                  </a:lnTo>
                  <a:lnTo>
                    <a:pt x="169" y="11"/>
                  </a:lnTo>
                  <a:lnTo>
                    <a:pt x="169" y="11"/>
                  </a:lnTo>
                  <a:lnTo>
                    <a:pt x="168" y="15"/>
                  </a:lnTo>
                  <a:lnTo>
                    <a:pt x="166" y="18"/>
                  </a:lnTo>
                  <a:lnTo>
                    <a:pt x="164" y="19"/>
                  </a:lnTo>
                  <a:lnTo>
                    <a:pt x="157" y="20"/>
                  </a:lnTo>
                  <a:lnTo>
                    <a:pt x="157"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3" name="Freeform 380">
              <a:extLst>
                <a:ext uri="{FF2B5EF4-FFF2-40B4-BE49-F238E27FC236}">
                  <a16:creationId xmlns:a16="http://schemas.microsoft.com/office/drawing/2014/main" id="{215DFF3A-3A96-42A5-AD39-23624111F452}"/>
                </a:ext>
              </a:extLst>
            </p:cNvPr>
            <p:cNvSpPr>
              <a:spLocks/>
            </p:cNvSpPr>
            <p:nvPr/>
          </p:nvSpPr>
          <p:spPr bwMode="auto">
            <a:xfrm>
              <a:off x="10577930" y="5919087"/>
              <a:ext cx="77014" cy="45162"/>
            </a:xfrm>
            <a:custGeom>
              <a:avLst/>
              <a:gdLst>
                <a:gd name="T0" fmla="*/ 86 w 89"/>
                <a:gd name="T1" fmla="*/ 15 h 71"/>
                <a:gd name="T2" fmla="*/ 34 w 89"/>
                <a:gd name="T3" fmla="*/ 68 h 71"/>
                <a:gd name="T4" fmla="*/ 34 w 89"/>
                <a:gd name="T5" fmla="*/ 68 h 71"/>
                <a:gd name="T6" fmla="*/ 30 w 89"/>
                <a:gd name="T7" fmla="*/ 71 h 71"/>
                <a:gd name="T8" fmla="*/ 27 w 89"/>
                <a:gd name="T9" fmla="*/ 71 h 71"/>
                <a:gd name="T10" fmla="*/ 27 w 89"/>
                <a:gd name="T11" fmla="*/ 71 h 71"/>
                <a:gd name="T12" fmla="*/ 23 w 89"/>
                <a:gd name="T13" fmla="*/ 71 h 71"/>
                <a:gd name="T14" fmla="*/ 20 w 89"/>
                <a:gd name="T15" fmla="*/ 68 h 71"/>
                <a:gd name="T16" fmla="*/ 3 w 89"/>
                <a:gd name="T17" fmla="*/ 51 h 71"/>
                <a:gd name="T18" fmla="*/ 3 w 89"/>
                <a:gd name="T19" fmla="*/ 51 h 71"/>
                <a:gd name="T20" fmla="*/ 0 w 89"/>
                <a:gd name="T21" fmla="*/ 48 h 71"/>
                <a:gd name="T22" fmla="*/ 0 w 89"/>
                <a:gd name="T23" fmla="*/ 44 h 71"/>
                <a:gd name="T24" fmla="*/ 0 w 89"/>
                <a:gd name="T25" fmla="*/ 41 h 71"/>
                <a:gd name="T26" fmla="*/ 3 w 89"/>
                <a:gd name="T27" fmla="*/ 37 h 71"/>
                <a:gd name="T28" fmla="*/ 3 w 89"/>
                <a:gd name="T29" fmla="*/ 37 h 71"/>
                <a:gd name="T30" fmla="*/ 6 w 89"/>
                <a:gd name="T31" fmla="*/ 36 h 71"/>
                <a:gd name="T32" fmla="*/ 10 w 89"/>
                <a:gd name="T33" fmla="*/ 35 h 71"/>
                <a:gd name="T34" fmla="*/ 12 w 89"/>
                <a:gd name="T35" fmla="*/ 36 h 71"/>
                <a:gd name="T36" fmla="*/ 15 w 89"/>
                <a:gd name="T37" fmla="*/ 37 h 71"/>
                <a:gd name="T38" fmla="*/ 27 w 89"/>
                <a:gd name="T39" fmla="*/ 49 h 71"/>
                <a:gd name="T40" fmla="*/ 74 w 89"/>
                <a:gd name="T41" fmla="*/ 2 h 71"/>
                <a:gd name="T42" fmla="*/ 74 w 89"/>
                <a:gd name="T43" fmla="*/ 2 h 71"/>
                <a:gd name="T44" fmla="*/ 77 w 89"/>
                <a:gd name="T45" fmla="*/ 0 h 71"/>
                <a:gd name="T46" fmla="*/ 81 w 89"/>
                <a:gd name="T47" fmla="*/ 0 h 71"/>
                <a:gd name="T48" fmla="*/ 83 w 89"/>
                <a:gd name="T49" fmla="*/ 0 h 71"/>
                <a:gd name="T50" fmla="*/ 86 w 89"/>
                <a:gd name="T51" fmla="*/ 2 h 71"/>
                <a:gd name="T52" fmla="*/ 86 w 89"/>
                <a:gd name="T53" fmla="*/ 2 h 71"/>
                <a:gd name="T54" fmla="*/ 89 w 89"/>
                <a:gd name="T55" fmla="*/ 5 h 71"/>
                <a:gd name="T56" fmla="*/ 89 w 89"/>
                <a:gd name="T57" fmla="*/ 9 h 71"/>
                <a:gd name="T58" fmla="*/ 89 w 89"/>
                <a:gd name="T59" fmla="*/ 12 h 71"/>
                <a:gd name="T60" fmla="*/ 86 w 89"/>
                <a:gd name="T61" fmla="*/ 15 h 71"/>
                <a:gd name="T62" fmla="*/ 86 w 89"/>
                <a:gd name="T63" fmla="*/ 1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 h="71">
                  <a:moveTo>
                    <a:pt x="86" y="15"/>
                  </a:moveTo>
                  <a:lnTo>
                    <a:pt x="34" y="68"/>
                  </a:lnTo>
                  <a:lnTo>
                    <a:pt x="34" y="68"/>
                  </a:lnTo>
                  <a:lnTo>
                    <a:pt x="30" y="71"/>
                  </a:lnTo>
                  <a:lnTo>
                    <a:pt x="27" y="71"/>
                  </a:lnTo>
                  <a:lnTo>
                    <a:pt x="27" y="71"/>
                  </a:lnTo>
                  <a:lnTo>
                    <a:pt x="23" y="71"/>
                  </a:lnTo>
                  <a:lnTo>
                    <a:pt x="20" y="68"/>
                  </a:lnTo>
                  <a:lnTo>
                    <a:pt x="3" y="51"/>
                  </a:lnTo>
                  <a:lnTo>
                    <a:pt x="3" y="51"/>
                  </a:lnTo>
                  <a:lnTo>
                    <a:pt x="0" y="48"/>
                  </a:lnTo>
                  <a:lnTo>
                    <a:pt x="0" y="44"/>
                  </a:lnTo>
                  <a:lnTo>
                    <a:pt x="0" y="41"/>
                  </a:lnTo>
                  <a:lnTo>
                    <a:pt x="3" y="37"/>
                  </a:lnTo>
                  <a:lnTo>
                    <a:pt x="3" y="37"/>
                  </a:lnTo>
                  <a:lnTo>
                    <a:pt x="6" y="36"/>
                  </a:lnTo>
                  <a:lnTo>
                    <a:pt x="10" y="35"/>
                  </a:lnTo>
                  <a:lnTo>
                    <a:pt x="12" y="36"/>
                  </a:lnTo>
                  <a:lnTo>
                    <a:pt x="15" y="37"/>
                  </a:lnTo>
                  <a:lnTo>
                    <a:pt x="27" y="49"/>
                  </a:lnTo>
                  <a:lnTo>
                    <a:pt x="74" y="2"/>
                  </a:lnTo>
                  <a:lnTo>
                    <a:pt x="74" y="2"/>
                  </a:lnTo>
                  <a:lnTo>
                    <a:pt x="77" y="0"/>
                  </a:lnTo>
                  <a:lnTo>
                    <a:pt x="81" y="0"/>
                  </a:lnTo>
                  <a:lnTo>
                    <a:pt x="83" y="0"/>
                  </a:lnTo>
                  <a:lnTo>
                    <a:pt x="86" y="2"/>
                  </a:lnTo>
                  <a:lnTo>
                    <a:pt x="86" y="2"/>
                  </a:lnTo>
                  <a:lnTo>
                    <a:pt x="89" y="5"/>
                  </a:lnTo>
                  <a:lnTo>
                    <a:pt x="89" y="9"/>
                  </a:lnTo>
                  <a:lnTo>
                    <a:pt x="89" y="12"/>
                  </a:lnTo>
                  <a:lnTo>
                    <a:pt x="86" y="15"/>
                  </a:lnTo>
                  <a:lnTo>
                    <a:pt x="86"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4" name="Freeform 381">
              <a:extLst>
                <a:ext uri="{FF2B5EF4-FFF2-40B4-BE49-F238E27FC236}">
                  <a16:creationId xmlns:a16="http://schemas.microsoft.com/office/drawing/2014/main" id="{9E4012D7-ADB9-4BAA-9748-802CF275F477}"/>
                </a:ext>
              </a:extLst>
            </p:cNvPr>
            <p:cNvSpPr>
              <a:spLocks/>
            </p:cNvSpPr>
            <p:nvPr/>
          </p:nvSpPr>
          <p:spPr bwMode="auto">
            <a:xfrm>
              <a:off x="10684699" y="5941668"/>
              <a:ext cx="148777" cy="11291"/>
            </a:xfrm>
            <a:custGeom>
              <a:avLst/>
              <a:gdLst>
                <a:gd name="T0" fmla="*/ 157 w 169"/>
                <a:gd name="T1" fmla="*/ 18 h 18"/>
                <a:gd name="T2" fmla="*/ 10 w 169"/>
                <a:gd name="T3" fmla="*/ 18 h 18"/>
                <a:gd name="T4" fmla="*/ 10 w 169"/>
                <a:gd name="T5" fmla="*/ 18 h 18"/>
                <a:gd name="T6" fmla="*/ 5 w 169"/>
                <a:gd name="T7" fmla="*/ 18 h 18"/>
                <a:gd name="T8" fmla="*/ 1 w 169"/>
                <a:gd name="T9" fmla="*/ 16 h 18"/>
                <a:gd name="T10" fmla="*/ 0 w 169"/>
                <a:gd name="T11" fmla="*/ 13 h 18"/>
                <a:gd name="T12" fmla="*/ 0 w 169"/>
                <a:gd name="T13" fmla="*/ 9 h 18"/>
                <a:gd name="T14" fmla="*/ 0 w 169"/>
                <a:gd name="T15" fmla="*/ 9 h 18"/>
                <a:gd name="T16" fmla="*/ 0 w 169"/>
                <a:gd name="T17" fmla="*/ 5 h 18"/>
                <a:gd name="T18" fmla="*/ 1 w 169"/>
                <a:gd name="T19" fmla="*/ 2 h 18"/>
                <a:gd name="T20" fmla="*/ 5 w 169"/>
                <a:gd name="T21" fmla="*/ 0 h 18"/>
                <a:gd name="T22" fmla="*/ 10 w 169"/>
                <a:gd name="T23" fmla="*/ 0 h 18"/>
                <a:gd name="T24" fmla="*/ 157 w 169"/>
                <a:gd name="T25" fmla="*/ 0 h 18"/>
                <a:gd name="T26" fmla="*/ 157 w 169"/>
                <a:gd name="T27" fmla="*/ 0 h 18"/>
                <a:gd name="T28" fmla="*/ 164 w 169"/>
                <a:gd name="T29" fmla="*/ 0 h 18"/>
                <a:gd name="T30" fmla="*/ 166 w 169"/>
                <a:gd name="T31" fmla="*/ 2 h 18"/>
                <a:gd name="T32" fmla="*/ 168 w 169"/>
                <a:gd name="T33" fmla="*/ 5 h 18"/>
                <a:gd name="T34" fmla="*/ 169 w 169"/>
                <a:gd name="T35" fmla="*/ 9 h 18"/>
                <a:gd name="T36" fmla="*/ 169 w 169"/>
                <a:gd name="T37" fmla="*/ 9 h 18"/>
                <a:gd name="T38" fmla="*/ 168 w 169"/>
                <a:gd name="T39" fmla="*/ 13 h 18"/>
                <a:gd name="T40" fmla="*/ 166 w 169"/>
                <a:gd name="T41" fmla="*/ 16 h 18"/>
                <a:gd name="T42" fmla="*/ 164 w 169"/>
                <a:gd name="T43" fmla="*/ 18 h 18"/>
                <a:gd name="T44" fmla="*/ 157 w 169"/>
                <a:gd name="T45" fmla="*/ 18 h 18"/>
                <a:gd name="T46" fmla="*/ 157 w 169"/>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18">
                  <a:moveTo>
                    <a:pt x="157" y="18"/>
                  </a:moveTo>
                  <a:lnTo>
                    <a:pt x="10" y="18"/>
                  </a:lnTo>
                  <a:lnTo>
                    <a:pt x="10" y="18"/>
                  </a:lnTo>
                  <a:lnTo>
                    <a:pt x="5" y="18"/>
                  </a:lnTo>
                  <a:lnTo>
                    <a:pt x="1" y="16"/>
                  </a:lnTo>
                  <a:lnTo>
                    <a:pt x="0" y="13"/>
                  </a:lnTo>
                  <a:lnTo>
                    <a:pt x="0" y="9"/>
                  </a:lnTo>
                  <a:lnTo>
                    <a:pt x="0" y="9"/>
                  </a:lnTo>
                  <a:lnTo>
                    <a:pt x="0" y="5"/>
                  </a:lnTo>
                  <a:lnTo>
                    <a:pt x="1" y="2"/>
                  </a:lnTo>
                  <a:lnTo>
                    <a:pt x="5" y="0"/>
                  </a:lnTo>
                  <a:lnTo>
                    <a:pt x="10" y="0"/>
                  </a:lnTo>
                  <a:lnTo>
                    <a:pt x="157" y="0"/>
                  </a:lnTo>
                  <a:lnTo>
                    <a:pt x="157" y="0"/>
                  </a:lnTo>
                  <a:lnTo>
                    <a:pt x="164" y="0"/>
                  </a:lnTo>
                  <a:lnTo>
                    <a:pt x="166" y="2"/>
                  </a:lnTo>
                  <a:lnTo>
                    <a:pt x="168" y="5"/>
                  </a:lnTo>
                  <a:lnTo>
                    <a:pt x="169" y="9"/>
                  </a:lnTo>
                  <a:lnTo>
                    <a:pt x="169" y="9"/>
                  </a:lnTo>
                  <a:lnTo>
                    <a:pt x="168" y="13"/>
                  </a:lnTo>
                  <a:lnTo>
                    <a:pt x="166" y="16"/>
                  </a:lnTo>
                  <a:lnTo>
                    <a:pt x="164" y="18"/>
                  </a:lnTo>
                  <a:lnTo>
                    <a:pt x="157" y="18"/>
                  </a:lnTo>
                  <a:lnTo>
                    <a:pt x="15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5" name="Freeform 382">
              <a:extLst>
                <a:ext uri="{FF2B5EF4-FFF2-40B4-BE49-F238E27FC236}">
                  <a16:creationId xmlns:a16="http://schemas.microsoft.com/office/drawing/2014/main" id="{B1EDAF69-B7FA-4D8E-80A4-0155FA156AA1}"/>
                </a:ext>
              </a:extLst>
            </p:cNvPr>
            <p:cNvSpPr>
              <a:spLocks/>
            </p:cNvSpPr>
            <p:nvPr/>
          </p:nvSpPr>
          <p:spPr bwMode="auto">
            <a:xfrm>
              <a:off x="10577930" y="5838798"/>
              <a:ext cx="77014" cy="43908"/>
            </a:xfrm>
            <a:custGeom>
              <a:avLst/>
              <a:gdLst>
                <a:gd name="T0" fmla="*/ 86 w 89"/>
                <a:gd name="T1" fmla="*/ 15 h 71"/>
                <a:gd name="T2" fmla="*/ 34 w 89"/>
                <a:gd name="T3" fmla="*/ 68 h 71"/>
                <a:gd name="T4" fmla="*/ 34 w 89"/>
                <a:gd name="T5" fmla="*/ 68 h 71"/>
                <a:gd name="T6" fmla="*/ 30 w 89"/>
                <a:gd name="T7" fmla="*/ 70 h 71"/>
                <a:gd name="T8" fmla="*/ 27 w 89"/>
                <a:gd name="T9" fmla="*/ 71 h 71"/>
                <a:gd name="T10" fmla="*/ 27 w 89"/>
                <a:gd name="T11" fmla="*/ 71 h 71"/>
                <a:gd name="T12" fmla="*/ 23 w 89"/>
                <a:gd name="T13" fmla="*/ 70 h 71"/>
                <a:gd name="T14" fmla="*/ 20 w 89"/>
                <a:gd name="T15" fmla="*/ 68 h 71"/>
                <a:gd name="T16" fmla="*/ 3 w 89"/>
                <a:gd name="T17" fmla="*/ 51 h 71"/>
                <a:gd name="T18" fmla="*/ 3 w 89"/>
                <a:gd name="T19" fmla="*/ 51 h 71"/>
                <a:gd name="T20" fmla="*/ 0 w 89"/>
                <a:gd name="T21" fmla="*/ 47 h 71"/>
                <a:gd name="T22" fmla="*/ 0 w 89"/>
                <a:gd name="T23" fmla="*/ 44 h 71"/>
                <a:gd name="T24" fmla="*/ 0 w 89"/>
                <a:gd name="T25" fmla="*/ 40 h 71"/>
                <a:gd name="T26" fmla="*/ 3 w 89"/>
                <a:gd name="T27" fmla="*/ 37 h 71"/>
                <a:gd name="T28" fmla="*/ 3 w 89"/>
                <a:gd name="T29" fmla="*/ 37 h 71"/>
                <a:gd name="T30" fmla="*/ 6 w 89"/>
                <a:gd name="T31" fmla="*/ 36 h 71"/>
                <a:gd name="T32" fmla="*/ 10 w 89"/>
                <a:gd name="T33" fmla="*/ 35 h 71"/>
                <a:gd name="T34" fmla="*/ 12 w 89"/>
                <a:gd name="T35" fmla="*/ 36 h 71"/>
                <a:gd name="T36" fmla="*/ 15 w 89"/>
                <a:gd name="T37" fmla="*/ 37 h 71"/>
                <a:gd name="T38" fmla="*/ 27 w 89"/>
                <a:gd name="T39" fmla="*/ 50 h 71"/>
                <a:gd name="T40" fmla="*/ 74 w 89"/>
                <a:gd name="T41" fmla="*/ 2 h 71"/>
                <a:gd name="T42" fmla="*/ 74 w 89"/>
                <a:gd name="T43" fmla="*/ 2 h 71"/>
                <a:gd name="T44" fmla="*/ 77 w 89"/>
                <a:gd name="T45" fmla="*/ 0 h 71"/>
                <a:gd name="T46" fmla="*/ 81 w 89"/>
                <a:gd name="T47" fmla="*/ 0 h 71"/>
                <a:gd name="T48" fmla="*/ 83 w 89"/>
                <a:gd name="T49" fmla="*/ 0 h 71"/>
                <a:gd name="T50" fmla="*/ 86 w 89"/>
                <a:gd name="T51" fmla="*/ 2 h 71"/>
                <a:gd name="T52" fmla="*/ 86 w 89"/>
                <a:gd name="T53" fmla="*/ 2 h 71"/>
                <a:gd name="T54" fmla="*/ 89 w 89"/>
                <a:gd name="T55" fmla="*/ 5 h 71"/>
                <a:gd name="T56" fmla="*/ 89 w 89"/>
                <a:gd name="T57" fmla="*/ 8 h 71"/>
                <a:gd name="T58" fmla="*/ 89 w 89"/>
                <a:gd name="T59" fmla="*/ 12 h 71"/>
                <a:gd name="T60" fmla="*/ 86 w 89"/>
                <a:gd name="T61" fmla="*/ 15 h 71"/>
                <a:gd name="T62" fmla="*/ 86 w 89"/>
                <a:gd name="T63" fmla="*/ 1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 h="71">
                  <a:moveTo>
                    <a:pt x="86" y="15"/>
                  </a:moveTo>
                  <a:lnTo>
                    <a:pt x="34" y="68"/>
                  </a:lnTo>
                  <a:lnTo>
                    <a:pt x="34" y="68"/>
                  </a:lnTo>
                  <a:lnTo>
                    <a:pt x="30" y="70"/>
                  </a:lnTo>
                  <a:lnTo>
                    <a:pt x="27" y="71"/>
                  </a:lnTo>
                  <a:lnTo>
                    <a:pt x="27" y="71"/>
                  </a:lnTo>
                  <a:lnTo>
                    <a:pt x="23" y="70"/>
                  </a:lnTo>
                  <a:lnTo>
                    <a:pt x="20" y="68"/>
                  </a:lnTo>
                  <a:lnTo>
                    <a:pt x="3" y="51"/>
                  </a:lnTo>
                  <a:lnTo>
                    <a:pt x="3" y="51"/>
                  </a:lnTo>
                  <a:lnTo>
                    <a:pt x="0" y="47"/>
                  </a:lnTo>
                  <a:lnTo>
                    <a:pt x="0" y="44"/>
                  </a:lnTo>
                  <a:lnTo>
                    <a:pt x="0" y="40"/>
                  </a:lnTo>
                  <a:lnTo>
                    <a:pt x="3" y="37"/>
                  </a:lnTo>
                  <a:lnTo>
                    <a:pt x="3" y="37"/>
                  </a:lnTo>
                  <a:lnTo>
                    <a:pt x="6" y="36"/>
                  </a:lnTo>
                  <a:lnTo>
                    <a:pt x="10" y="35"/>
                  </a:lnTo>
                  <a:lnTo>
                    <a:pt x="12" y="36"/>
                  </a:lnTo>
                  <a:lnTo>
                    <a:pt x="15" y="37"/>
                  </a:lnTo>
                  <a:lnTo>
                    <a:pt x="27" y="50"/>
                  </a:lnTo>
                  <a:lnTo>
                    <a:pt x="74" y="2"/>
                  </a:lnTo>
                  <a:lnTo>
                    <a:pt x="74" y="2"/>
                  </a:lnTo>
                  <a:lnTo>
                    <a:pt x="77" y="0"/>
                  </a:lnTo>
                  <a:lnTo>
                    <a:pt x="81" y="0"/>
                  </a:lnTo>
                  <a:lnTo>
                    <a:pt x="83" y="0"/>
                  </a:lnTo>
                  <a:lnTo>
                    <a:pt x="86" y="2"/>
                  </a:lnTo>
                  <a:lnTo>
                    <a:pt x="86" y="2"/>
                  </a:lnTo>
                  <a:lnTo>
                    <a:pt x="89" y="5"/>
                  </a:lnTo>
                  <a:lnTo>
                    <a:pt x="89" y="8"/>
                  </a:lnTo>
                  <a:lnTo>
                    <a:pt x="89" y="12"/>
                  </a:lnTo>
                  <a:lnTo>
                    <a:pt x="86" y="15"/>
                  </a:lnTo>
                  <a:lnTo>
                    <a:pt x="86"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6" name="Freeform 383">
              <a:extLst>
                <a:ext uri="{FF2B5EF4-FFF2-40B4-BE49-F238E27FC236}">
                  <a16:creationId xmlns:a16="http://schemas.microsoft.com/office/drawing/2014/main" id="{BC076640-97C7-42FF-9BA3-D4011A25149D}"/>
                </a:ext>
              </a:extLst>
            </p:cNvPr>
            <p:cNvSpPr>
              <a:spLocks/>
            </p:cNvSpPr>
            <p:nvPr/>
          </p:nvSpPr>
          <p:spPr bwMode="auto">
            <a:xfrm>
              <a:off x="10684699" y="5860124"/>
              <a:ext cx="148777" cy="12545"/>
            </a:xfrm>
            <a:custGeom>
              <a:avLst/>
              <a:gdLst>
                <a:gd name="T0" fmla="*/ 157 w 169"/>
                <a:gd name="T1" fmla="*/ 20 h 20"/>
                <a:gd name="T2" fmla="*/ 10 w 169"/>
                <a:gd name="T3" fmla="*/ 20 h 20"/>
                <a:gd name="T4" fmla="*/ 10 w 169"/>
                <a:gd name="T5" fmla="*/ 20 h 20"/>
                <a:gd name="T6" fmla="*/ 5 w 169"/>
                <a:gd name="T7" fmla="*/ 19 h 20"/>
                <a:gd name="T8" fmla="*/ 1 w 169"/>
                <a:gd name="T9" fmla="*/ 17 h 20"/>
                <a:gd name="T10" fmla="*/ 0 w 169"/>
                <a:gd name="T11" fmla="*/ 15 h 20"/>
                <a:gd name="T12" fmla="*/ 0 w 169"/>
                <a:gd name="T13" fmla="*/ 10 h 20"/>
                <a:gd name="T14" fmla="*/ 0 w 169"/>
                <a:gd name="T15" fmla="*/ 10 h 20"/>
                <a:gd name="T16" fmla="*/ 0 w 169"/>
                <a:gd name="T17" fmla="*/ 6 h 20"/>
                <a:gd name="T18" fmla="*/ 1 w 169"/>
                <a:gd name="T19" fmla="*/ 4 h 20"/>
                <a:gd name="T20" fmla="*/ 5 w 169"/>
                <a:gd name="T21" fmla="*/ 1 h 20"/>
                <a:gd name="T22" fmla="*/ 10 w 169"/>
                <a:gd name="T23" fmla="*/ 0 h 20"/>
                <a:gd name="T24" fmla="*/ 157 w 169"/>
                <a:gd name="T25" fmla="*/ 0 h 20"/>
                <a:gd name="T26" fmla="*/ 157 w 169"/>
                <a:gd name="T27" fmla="*/ 0 h 20"/>
                <a:gd name="T28" fmla="*/ 164 w 169"/>
                <a:gd name="T29" fmla="*/ 1 h 20"/>
                <a:gd name="T30" fmla="*/ 166 w 169"/>
                <a:gd name="T31" fmla="*/ 4 h 20"/>
                <a:gd name="T32" fmla="*/ 168 w 169"/>
                <a:gd name="T33" fmla="*/ 6 h 20"/>
                <a:gd name="T34" fmla="*/ 169 w 169"/>
                <a:gd name="T35" fmla="*/ 10 h 20"/>
                <a:gd name="T36" fmla="*/ 169 w 169"/>
                <a:gd name="T37" fmla="*/ 10 h 20"/>
                <a:gd name="T38" fmla="*/ 168 w 169"/>
                <a:gd name="T39" fmla="*/ 15 h 20"/>
                <a:gd name="T40" fmla="*/ 166 w 169"/>
                <a:gd name="T41" fmla="*/ 17 h 20"/>
                <a:gd name="T42" fmla="*/ 164 w 169"/>
                <a:gd name="T43" fmla="*/ 19 h 20"/>
                <a:gd name="T44" fmla="*/ 157 w 169"/>
                <a:gd name="T45" fmla="*/ 20 h 20"/>
                <a:gd name="T46" fmla="*/ 157 w 169"/>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20">
                  <a:moveTo>
                    <a:pt x="157" y="20"/>
                  </a:moveTo>
                  <a:lnTo>
                    <a:pt x="10" y="20"/>
                  </a:lnTo>
                  <a:lnTo>
                    <a:pt x="10" y="20"/>
                  </a:lnTo>
                  <a:lnTo>
                    <a:pt x="5" y="19"/>
                  </a:lnTo>
                  <a:lnTo>
                    <a:pt x="1" y="17"/>
                  </a:lnTo>
                  <a:lnTo>
                    <a:pt x="0" y="15"/>
                  </a:lnTo>
                  <a:lnTo>
                    <a:pt x="0" y="10"/>
                  </a:lnTo>
                  <a:lnTo>
                    <a:pt x="0" y="10"/>
                  </a:lnTo>
                  <a:lnTo>
                    <a:pt x="0" y="6"/>
                  </a:lnTo>
                  <a:lnTo>
                    <a:pt x="1" y="4"/>
                  </a:lnTo>
                  <a:lnTo>
                    <a:pt x="5" y="1"/>
                  </a:lnTo>
                  <a:lnTo>
                    <a:pt x="10" y="0"/>
                  </a:lnTo>
                  <a:lnTo>
                    <a:pt x="157" y="0"/>
                  </a:lnTo>
                  <a:lnTo>
                    <a:pt x="157" y="0"/>
                  </a:lnTo>
                  <a:lnTo>
                    <a:pt x="164" y="1"/>
                  </a:lnTo>
                  <a:lnTo>
                    <a:pt x="166" y="4"/>
                  </a:lnTo>
                  <a:lnTo>
                    <a:pt x="168" y="6"/>
                  </a:lnTo>
                  <a:lnTo>
                    <a:pt x="169" y="10"/>
                  </a:lnTo>
                  <a:lnTo>
                    <a:pt x="169" y="10"/>
                  </a:lnTo>
                  <a:lnTo>
                    <a:pt x="168" y="15"/>
                  </a:lnTo>
                  <a:lnTo>
                    <a:pt x="166" y="17"/>
                  </a:lnTo>
                  <a:lnTo>
                    <a:pt x="164" y="19"/>
                  </a:lnTo>
                  <a:lnTo>
                    <a:pt x="157" y="20"/>
                  </a:lnTo>
                  <a:lnTo>
                    <a:pt x="157"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37" name="Group 36">
            <a:extLst>
              <a:ext uri="{FF2B5EF4-FFF2-40B4-BE49-F238E27FC236}">
                <a16:creationId xmlns:a16="http://schemas.microsoft.com/office/drawing/2014/main" id="{337199CB-A349-4862-AB62-6C1D84E9AC0F}"/>
              </a:ext>
            </a:extLst>
          </p:cNvPr>
          <p:cNvGrpSpPr/>
          <p:nvPr/>
        </p:nvGrpSpPr>
        <p:grpSpPr>
          <a:xfrm>
            <a:off x="4566962" y="5021407"/>
            <a:ext cx="365760" cy="365760"/>
            <a:chOff x="9671836" y="5734673"/>
            <a:chExt cx="575854" cy="411480"/>
          </a:xfrm>
        </p:grpSpPr>
        <p:sp>
          <p:nvSpPr>
            <p:cNvPr id="38" name="Freeform 61">
              <a:extLst>
                <a:ext uri="{FF2B5EF4-FFF2-40B4-BE49-F238E27FC236}">
                  <a16:creationId xmlns:a16="http://schemas.microsoft.com/office/drawing/2014/main" id="{45AB9DDC-859F-409B-8FBF-05CFC55ED30F}"/>
                </a:ext>
              </a:extLst>
            </p:cNvPr>
            <p:cNvSpPr>
              <a:spLocks noEditPoints="1"/>
            </p:cNvSpPr>
            <p:nvPr/>
          </p:nvSpPr>
          <p:spPr bwMode="auto">
            <a:xfrm>
              <a:off x="9671836" y="5734673"/>
              <a:ext cx="575854" cy="411480"/>
            </a:xfrm>
            <a:custGeom>
              <a:avLst/>
              <a:gdLst>
                <a:gd name="T0" fmla="*/ 312 w 659"/>
                <a:gd name="T1" fmla="*/ 656 h 658"/>
                <a:gd name="T2" fmla="*/ 264 w 659"/>
                <a:gd name="T3" fmla="*/ 651 h 658"/>
                <a:gd name="T4" fmla="*/ 202 w 659"/>
                <a:gd name="T5" fmla="*/ 631 h 658"/>
                <a:gd name="T6" fmla="*/ 120 w 659"/>
                <a:gd name="T7" fmla="*/ 583 h 658"/>
                <a:gd name="T8" fmla="*/ 57 w 659"/>
                <a:gd name="T9" fmla="*/ 513 h 658"/>
                <a:gd name="T10" fmla="*/ 15 w 659"/>
                <a:gd name="T11" fmla="*/ 427 h 658"/>
                <a:gd name="T12" fmla="*/ 4 w 659"/>
                <a:gd name="T13" fmla="*/ 378 h 658"/>
                <a:gd name="T14" fmla="*/ 0 w 659"/>
                <a:gd name="T15" fmla="*/ 329 h 658"/>
                <a:gd name="T16" fmla="*/ 2 w 659"/>
                <a:gd name="T17" fmla="*/ 295 h 658"/>
                <a:gd name="T18" fmla="*/ 11 w 659"/>
                <a:gd name="T19" fmla="*/ 247 h 658"/>
                <a:gd name="T20" fmla="*/ 41 w 659"/>
                <a:gd name="T21" fmla="*/ 171 h 658"/>
                <a:gd name="T22" fmla="*/ 97 w 659"/>
                <a:gd name="T23" fmla="*/ 96 h 658"/>
                <a:gd name="T24" fmla="*/ 172 w 659"/>
                <a:gd name="T25" fmla="*/ 40 h 658"/>
                <a:gd name="T26" fmla="*/ 248 w 659"/>
                <a:gd name="T27" fmla="*/ 10 h 658"/>
                <a:gd name="T28" fmla="*/ 296 w 659"/>
                <a:gd name="T29" fmla="*/ 1 h 658"/>
                <a:gd name="T30" fmla="*/ 330 w 659"/>
                <a:gd name="T31" fmla="*/ 0 h 658"/>
                <a:gd name="T32" fmla="*/ 379 w 659"/>
                <a:gd name="T33" fmla="*/ 4 h 658"/>
                <a:gd name="T34" fmla="*/ 428 w 659"/>
                <a:gd name="T35" fmla="*/ 14 h 658"/>
                <a:gd name="T36" fmla="*/ 514 w 659"/>
                <a:gd name="T37" fmla="*/ 56 h 658"/>
                <a:gd name="T38" fmla="*/ 583 w 659"/>
                <a:gd name="T39" fmla="*/ 119 h 658"/>
                <a:gd name="T40" fmla="*/ 632 w 659"/>
                <a:gd name="T41" fmla="*/ 201 h 658"/>
                <a:gd name="T42" fmla="*/ 652 w 659"/>
                <a:gd name="T43" fmla="*/ 263 h 658"/>
                <a:gd name="T44" fmla="*/ 657 w 659"/>
                <a:gd name="T45" fmla="*/ 311 h 658"/>
                <a:gd name="T46" fmla="*/ 657 w 659"/>
                <a:gd name="T47" fmla="*/ 346 h 658"/>
                <a:gd name="T48" fmla="*/ 652 w 659"/>
                <a:gd name="T49" fmla="*/ 394 h 658"/>
                <a:gd name="T50" fmla="*/ 632 w 659"/>
                <a:gd name="T51" fmla="*/ 456 h 658"/>
                <a:gd name="T52" fmla="*/ 583 w 659"/>
                <a:gd name="T53" fmla="*/ 538 h 658"/>
                <a:gd name="T54" fmla="*/ 514 w 659"/>
                <a:gd name="T55" fmla="*/ 601 h 658"/>
                <a:gd name="T56" fmla="*/ 428 w 659"/>
                <a:gd name="T57" fmla="*/ 643 h 658"/>
                <a:gd name="T58" fmla="*/ 379 w 659"/>
                <a:gd name="T59" fmla="*/ 654 h 658"/>
                <a:gd name="T60" fmla="*/ 330 w 659"/>
                <a:gd name="T61" fmla="*/ 658 h 658"/>
                <a:gd name="T62" fmla="*/ 330 w 659"/>
                <a:gd name="T63" fmla="*/ 37 h 658"/>
                <a:gd name="T64" fmla="*/ 244 w 659"/>
                <a:gd name="T65" fmla="*/ 51 h 658"/>
                <a:gd name="T66" fmla="*/ 167 w 659"/>
                <a:gd name="T67" fmla="*/ 87 h 658"/>
                <a:gd name="T68" fmla="*/ 105 w 659"/>
                <a:gd name="T69" fmla="*/ 143 h 658"/>
                <a:gd name="T70" fmla="*/ 61 w 659"/>
                <a:gd name="T71" fmla="*/ 216 h 658"/>
                <a:gd name="T72" fmla="*/ 39 w 659"/>
                <a:gd name="T73" fmla="*/ 299 h 658"/>
                <a:gd name="T74" fmla="*/ 39 w 659"/>
                <a:gd name="T75" fmla="*/ 358 h 658"/>
                <a:gd name="T76" fmla="*/ 61 w 659"/>
                <a:gd name="T77" fmla="*/ 441 h 658"/>
                <a:gd name="T78" fmla="*/ 105 w 659"/>
                <a:gd name="T79" fmla="*/ 514 h 658"/>
                <a:gd name="T80" fmla="*/ 167 w 659"/>
                <a:gd name="T81" fmla="*/ 570 h 658"/>
                <a:gd name="T82" fmla="*/ 244 w 659"/>
                <a:gd name="T83" fmla="*/ 607 h 658"/>
                <a:gd name="T84" fmla="*/ 330 w 659"/>
                <a:gd name="T85" fmla="*/ 620 h 658"/>
                <a:gd name="T86" fmla="*/ 389 w 659"/>
                <a:gd name="T87" fmla="*/ 613 h 658"/>
                <a:gd name="T88" fmla="*/ 468 w 659"/>
                <a:gd name="T89" fmla="*/ 585 h 658"/>
                <a:gd name="T90" fmla="*/ 535 w 659"/>
                <a:gd name="T91" fmla="*/ 534 h 658"/>
                <a:gd name="T92" fmla="*/ 585 w 659"/>
                <a:gd name="T93" fmla="*/ 467 h 658"/>
                <a:gd name="T94" fmla="*/ 614 w 659"/>
                <a:gd name="T95" fmla="*/ 388 h 658"/>
                <a:gd name="T96" fmla="*/ 621 w 659"/>
                <a:gd name="T97" fmla="*/ 329 h 658"/>
                <a:gd name="T98" fmla="*/ 608 w 659"/>
                <a:gd name="T99" fmla="*/ 243 h 658"/>
                <a:gd name="T100" fmla="*/ 571 w 659"/>
                <a:gd name="T101" fmla="*/ 166 h 658"/>
                <a:gd name="T102" fmla="*/ 515 w 659"/>
                <a:gd name="T103" fmla="*/ 104 h 658"/>
                <a:gd name="T104" fmla="*/ 442 w 659"/>
                <a:gd name="T105" fmla="*/ 60 h 658"/>
                <a:gd name="T106" fmla="*/ 359 w 659"/>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30" y="658"/>
                  </a:moveTo>
                  <a:lnTo>
                    <a:pt x="330" y="658"/>
                  </a:lnTo>
                  <a:lnTo>
                    <a:pt x="312" y="656"/>
                  </a:lnTo>
                  <a:lnTo>
                    <a:pt x="296" y="655"/>
                  </a:lnTo>
                  <a:lnTo>
                    <a:pt x="280" y="654"/>
                  </a:lnTo>
                  <a:lnTo>
                    <a:pt x="264" y="651"/>
                  </a:lnTo>
                  <a:lnTo>
                    <a:pt x="248" y="647"/>
                  </a:lnTo>
                  <a:lnTo>
                    <a:pt x="231" y="643"/>
                  </a:lnTo>
                  <a:lnTo>
                    <a:pt x="202" y="631"/>
                  </a:lnTo>
                  <a:lnTo>
                    <a:pt x="172" y="617"/>
                  </a:lnTo>
                  <a:lnTo>
                    <a:pt x="146" y="601"/>
                  </a:lnTo>
                  <a:lnTo>
                    <a:pt x="120" y="583"/>
                  </a:lnTo>
                  <a:lnTo>
                    <a:pt x="97" y="561"/>
                  </a:lnTo>
                  <a:lnTo>
                    <a:pt x="76" y="538"/>
                  </a:lnTo>
                  <a:lnTo>
                    <a:pt x="57" y="513"/>
                  </a:lnTo>
                  <a:lnTo>
                    <a:pt x="41" y="486"/>
                  </a:lnTo>
                  <a:lnTo>
                    <a:pt x="26" y="456"/>
                  </a:lnTo>
                  <a:lnTo>
                    <a:pt x="15" y="427"/>
                  </a:lnTo>
                  <a:lnTo>
                    <a:pt x="11" y="411"/>
                  </a:lnTo>
                  <a:lnTo>
                    <a:pt x="7" y="394"/>
                  </a:lnTo>
                  <a:lnTo>
                    <a:pt x="4" y="378"/>
                  </a:lnTo>
                  <a:lnTo>
                    <a:pt x="2" y="362"/>
                  </a:lnTo>
                  <a:lnTo>
                    <a:pt x="0" y="346"/>
                  </a:lnTo>
                  <a:lnTo>
                    <a:pt x="0" y="329"/>
                  </a:lnTo>
                  <a:lnTo>
                    <a:pt x="0" y="329"/>
                  </a:lnTo>
                  <a:lnTo>
                    <a:pt x="0" y="311"/>
                  </a:lnTo>
                  <a:lnTo>
                    <a:pt x="2" y="295"/>
                  </a:lnTo>
                  <a:lnTo>
                    <a:pt x="4" y="279"/>
                  </a:lnTo>
                  <a:lnTo>
                    <a:pt x="7" y="263"/>
                  </a:lnTo>
                  <a:lnTo>
                    <a:pt x="11" y="247"/>
                  </a:lnTo>
                  <a:lnTo>
                    <a:pt x="15" y="231"/>
                  </a:lnTo>
                  <a:lnTo>
                    <a:pt x="26" y="201"/>
                  </a:lnTo>
                  <a:lnTo>
                    <a:pt x="41" y="171"/>
                  </a:lnTo>
                  <a:lnTo>
                    <a:pt x="57" y="145"/>
                  </a:lnTo>
                  <a:lnTo>
                    <a:pt x="76" y="119"/>
                  </a:lnTo>
                  <a:lnTo>
                    <a:pt x="97" y="96"/>
                  </a:lnTo>
                  <a:lnTo>
                    <a:pt x="120" y="75"/>
                  </a:lnTo>
                  <a:lnTo>
                    <a:pt x="146" y="56"/>
                  </a:lnTo>
                  <a:lnTo>
                    <a:pt x="172" y="40"/>
                  </a:lnTo>
                  <a:lnTo>
                    <a:pt x="202" y="25"/>
                  </a:lnTo>
                  <a:lnTo>
                    <a:pt x="231" y="14"/>
                  </a:lnTo>
                  <a:lnTo>
                    <a:pt x="248" y="10"/>
                  </a:lnTo>
                  <a:lnTo>
                    <a:pt x="264" y="6"/>
                  </a:lnTo>
                  <a:lnTo>
                    <a:pt x="280" y="4"/>
                  </a:lnTo>
                  <a:lnTo>
                    <a:pt x="296" y="1"/>
                  </a:lnTo>
                  <a:lnTo>
                    <a:pt x="312" y="1"/>
                  </a:lnTo>
                  <a:lnTo>
                    <a:pt x="330" y="0"/>
                  </a:lnTo>
                  <a:lnTo>
                    <a:pt x="330" y="0"/>
                  </a:lnTo>
                  <a:lnTo>
                    <a:pt x="346" y="1"/>
                  </a:lnTo>
                  <a:lnTo>
                    <a:pt x="363" y="1"/>
                  </a:lnTo>
                  <a:lnTo>
                    <a:pt x="379" y="4"/>
                  </a:lnTo>
                  <a:lnTo>
                    <a:pt x="395" y="6"/>
                  </a:lnTo>
                  <a:lnTo>
                    <a:pt x="411" y="10"/>
                  </a:lnTo>
                  <a:lnTo>
                    <a:pt x="428" y="14"/>
                  </a:lnTo>
                  <a:lnTo>
                    <a:pt x="457" y="25"/>
                  </a:lnTo>
                  <a:lnTo>
                    <a:pt x="485" y="40"/>
                  </a:lnTo>
                  <a:lnTo>
                    <a:pt x="514" y="56"/>
                  </a:lnTo>
                  <a:lnTo>
                    <a:pt x="539" y="75"/>
                  </a:lnTo>
                  <a:lnTo>
                    <a:pt x="562" y="96"/>
                  </a:lnTo>
                  <a:lnTo>
                    <a:pt x="583" y="119"/>
                  </a:lnTo>
                  <a:lnTo>
                    <a:pt x="602" y="145"/>
                  </a:lnTo>
                  <a:lnTo>
                    <a:pt x="618" y="171"/>
                  </a:lnTo>
                  <a:lnTo>
                    <a:pt x="632" y="201"/>
                  </a:lnTo>
                  <a:lnTo>
                    <a:pt x="644" y="231"/>
                  </a:lnTo>
                  <a:lnTo>
                    <a:pt x="648" y="247"/>
                  </a:lnTo>
                  <a:lnTo>
                    <a:pt x="652" y="263"/>
                  </a:lnTo>
                  <a:lnTo>
                    <a:pt x="655" y="279"/>
                  </a:lnTo>
                  <a:lnTo>
                    <a:pt x="656" y="295"/>
                  </a:lnTo>
                  <a:lnTo>
                    <a:pt x="657" y="311"/>
                  </a:lnTo>
                  <a:lnTo>
                    <a:pt x="659" y="329"/>
                  </a:lnTo>
                  <a:lnTo>
                    <a:pt x="659" y="329"/>
                  </a:lnTo>
                  <a:lnTo>
                    <a:pt x="657" y="346"/>
                  </a:lnTo>
                  <a:lnTo>
                    <a:pt x="656" y="362"/>
                  </a:lnTo>
                  <a:lnTo>
                    <a:pt x="655" y="378"/>
                  </a:lnTo>
                  <a:lnTo>
                    <a:pt x="652" y="394"/>
                  </a:lnTo>
                  <a:lnTo>
                    <a:pt x="648" y="411"/>
                  </a:lnTo>
                  <a:lnTo>
                    <a:pt x="644" y="427"/>
                  </a:lnTo>
                  <a:lnTo>
                    <a:pt x="632" y="456"/>
                  </a:lnTo>
                  <a:lnTo>
                    <a:pt x="618" y="486"/>
                  </a:lnTo>
                  <a:lnTo>
                    <a:pt x="602" y="513"/>
                  </a:lnTo>
                  <a:lnTo>
                    <a:pt x="583" y="538"/>
                  </a:lnTo>
                  <a:lnTo>
                    <a:pt x="562" y="561"/>
                  </a:lnTo>
                  <a:lnTo>
                    <a:pt x="539" y="583"/>
                  </a:lnTo>
                  <a:lnTo>
                    <a:pt x="514" y="601"/>
                  </a:lnTo>
                  <a:lnTo>
                    <a:pt x="485" y="617"/>
                  </a:lnTo>
                  <a:lnTo>
                    <a:pt x="457" y="631"/>
                  </a:lnTo>
                  <a:lnTo>
                    <a:pt x="428" y="643"/>
                  </a:lnTo>
                  <a:lnTo>
                    <a:pt x="411" y="647"/>
                  </a:lnTo>
                  <a:lnTo>
                    <a:pt x="395" y="651"/>
                  </a:lnTo>
                  <a:lnTo>
                    <a:pt x="379" y="654"/>
                  </a:lnTo>
                  <a:lnTo>
                    <a:pt x="363" y="655"/>
                  </a:lnTo>
                  <a:lnTo>
                    <a:pt x="346" y="656"/>
                  </a:lnTo>
                  <a:lnTo>
                    <a:pt x="330" y="658"/>
                  </a:lnTo>
                  <a:lnTo>
                    <a:pt x="330" y="658"/>
                  </a:lnTo>
                  <a:close/>
                  <a:moveTo>
                    <a:pt x="330" y="37"/>
                  </a:moveTo>
                  <a:lnTo>
                    <a:pt x="330" y="37"/>
                  </a:lnTo>
                  <a:lnTo>
                    <a:pt x="300" y="39"/>
                  </a:lnTo>
                  <a:lnTo>
                    <a:pt x="270" y="44"/>
                  </a:lnTo>
                  <a:lnTo>
                    <a:pt x="244" y="51"/>
                  </a:lnTo>
                  <a:lnTo>
                    <a:pt x="217" y="60"/>
                  </a:lnTo>
                  <a:lnTo>
                    <a:pt x="191" y="72"/>
                  </a:lnTo>
                  <a:lnTo>
                    <a:pt x="167" y="87"/>
                  </a:lnTo>
                  <a:lnTo>
                    <a:pt x="144" y="104"/>
                  </a:lnTo>
                  <a:lnTo>
                    <a:pt x="124" y="123"/>
                  </a:lnTo>
                  <a:lnTo>
                    <a:pt x="105" y="143"/>
                  </a:lnTo>
                  <a:lnTo>
                    <a:pt x="88" y="166"/>
                  </a:lnTo>
                  <a:lnTo>
                    <a:pt x="73" y="190"/>
                  </a:lnTo>
                  <a:lnTo>
                    <a:pt x="61" y="216"/>
                  </a:lnTo>
                  <a:lnTo>
                    <a:pt x="51" y="243"/>
                  </a:lnTo>
                  <a:lnTo>
                    <a:pt x="45" y="270"/>
                  </a:lnTo>
                  <a:lnTo>
                    <a:pt x="39" y="299"/>
                  </a:lnTo>
                  <a:lnTo>
                    <a:pt x="38" y="329"/>
                  </a:lnTo>
                  <a:lnTo>
                    <a:pt x="38" y="329"/>
                  </a:lnTo>
                  <a:lnTo>
                    <a:pt x="39" y="358"/>
                  </a:lnTo>
                  <a:lnTo>
                    <a:pt x="45" y="388"/>
                  </a:lnTo>
                  <a:lnTo>
                    <a:pt x="51" y="415"/>
                  </a:lnTo>
                  <a:lnTo>
                    <a:pt x="61" y="441"/>
                  </a:lnTo>
                  <a:lnTo>
                    <a:pt x="73" y="467"/>
                  </a:lnTo>
                  <a:lnTo>
                    <a:pt x="88" y="491"/>
                  </a:lnTo>
                  <a:lnTo>
                    <a:pt x="105" y="514"/>
                  </a:lnTo>
                  <a:lnTo>
                    <a:pt x="124" y="534"/>
                  </a:lnTo>
                  <a:lnTo>
                    <a:pt x="144" y="553"/>
                  </a:lnTo>
                  <a:lnTo>
                    <a:pt x="167" y="570"/>
                  </a:lnTo>
                  <a:lnTo>
                    <a:pt x="191" y="585"/>
                  </a:lnTo>
                  <a:lnTo>
                    <a:pt x="217" y="597"/>
                  </a:lnTo>
                  <a:lnTo>
                    <a:pt x="244" y="607"/>
                  </a:lnTo>
                  <a:lnTo>
                    <a:pt x="270" y="613"/>
                  </a:lnTo>
                  <a:lnTo>
                    <a:pt x="300" y="619"/>
                  </a:lnTo>
                  <a:lnTo>
                    <a:pt x="330" y="620"/>
                  </a:lnTo>
                  <a:lnTo>
                    <a:pt x="330" y="620"/>
                  </a:lnTo>
                  <a:lnTo>
                    <a:pt x="359" y="619"/>
                  </a:lnTo>
                  <a:lnTo>
                    <a:pt x="389" y="613"/>
                  </a:lnTo>
                  <a:lnTo>
                    <a:pt x="415" y="607"/>
                  </a:lnTo>
                  <a:lnTo>
                    <a:pt x="442" y="597"/>
                  </a:lnTo>
                  <a:lnTo>
                    <a:pt x="468" y="585"/>
                  </a:lnTo>
                  <a:lnTo>
                    <a:pt x="492" y="570"/>
                  </a:lnTo>
                  <a:lnTo>
                    <a:pt x="515" y="553"/>
                  </a:lnTo>
                  <a:lnTo>
                    <a:pt x="535" y="534"/>
                  </a:lnTo>
                  <a:lnTo>
                    <a:pt x="554" y="514"/>
                  </a:lnTo>
                  <a:lnTo>
                    <a:pt x="571" y="491"/>
                  </a:lnTo>
                  <a:lnTo>
                    <a:pt x="585" y="467"/>
                  </a:lnTo>
                  <a:lnTo>
                    <a:pt x="598" y="441"/>
                  </a:lnTo>
                  <a:lnTo>
                    <a:pt x="608" y="415"/>
                  </a:lnTo>
                  <a:lnTo>
                    <a:pt x="614" y="388"/>
                  </a:lnTo>
                  <a:lnTo>
                    <a:pt x="620" y="358"/>
                  </a:lnTo>
                  <a:lnTo>
                    <a:pt x="621" y="329"/>
                  </a:lnTo>
                  <a:lnTo>
                    <a:pt x="621" y="329"/>
                  </a:lnTo>
                  <a:lnTo>
                    <a:pt x="620" y="299"/>
                  </a:lnTo>
                  <a:lnTo>
                    <a:pt x="614" y="270"/>
                  </a:lnTo>
                  <a:lnTo>
                    <a:pt x="608" y="243"/>
                  </a:lnTo>
                  <a:lnTo>
                    <a:pt x="598" y="216"/>
                  </a:lnTo>
                  <a:lnTo>
                    <a:pt x="585" y="190"/>
                  </a:lnTo>
                  <a:lnTo>
                    <a:pt x="571" y="166"/>
                  </a:lnTo>
                  <a:lnTo>
                    <a:pt x="554" y="143"/>
                  </a:lnTo>
                  <a:lnTo>
                    <a:pt x="535" y="123"/>
                  </a:lnTo>
                  <a:lnTo>
                    <a:pt x="515" y="104"/>
                  </a:lnTo>
                  <a:lnTo>
                    <a:pt x="492" y="87"/>
                  </a:lnTo>
                  <a:lnTo>
                    <a:pt x="468" y="72"/>
                  </a:lnTo>
                  <a:lnTo>
                    <a:pt x="442" y="60"/>
                  </a:lnTo>
                  <a:lnTo>
                    <a:pt x="415" y="51"/>
                  </a:lnTo>
                  <a:lnTo>
                    <a:pt x="389" y="44"/>
                  </a:lnTo>
                  <a:lnTo>
                    <a:pt x="359" y="39"/>
                  </a:lnTo>
                  <a:lnTo>
                    <a:pt x="330" y="37"/>
                  </a:lnTo>
                  <a:lnTo>
                    <a:pt x="33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9" name="Freeform 283">
              <a:extLst>
                <a:ext uri="{FF2B5EF4-FFF2-40B4-BE49-F238E27FC236}">
                  <a16:creationId xmlns:a16="http://schemas.microsoft.com/office/drawing/2014/main" id="{7DFC417C-8AED-46D1-9F95-D01BB79AB546}"/>
                </a:ext>
              </a:extLst>
            </p:cNvPr>
            <p:cNvSpPr>
              <a:spLocks/>
            </p:cNvSpPr>
            <p:nvPr/>
          </p:nvSpPr>
          <p:spPr bwMode="auto">
            <a:xfrm>
              <a:off x="9857369" y="5858492"/>
              <a:ext cx="77014" cy="55031"/>
            </a:xfrm>
            <a:custGeom>
              <a:avLst/>
              <a:gdLst>
                <a:gd name="T0" fmla="*/ 0 w 89"/>
                <a:gd name="T1" fmla="*/ 78 h 87"/>
                <a:gd name="T2" fmla="*/ 0 w 89"/>
                <a:gd name="T3" fmla="*/ 78 h 87"/>
                <a:gd name="T4" fmla="*/ 2 w 89"/>
                <a:gd name="T5" fmla="*/ 82 h 87"/>
                <a:gd name="T6" fmla="*/ 4 w 89"/>
                <a:gd name="T7" fmla="*/ 85 h 87"/>
                <a:gd name="T8" fmla="*/ 4 w 89"/>
                <a:gd name="T9" fmla="*/ 85 h 87"/>
                <a:gd name="T10" fmla="*/ 4 w 89"/>
                <a:gd name="T11" fmla="*/ 85 h 87"/>
                <a:gd name="T12" fmla="*/ 7 w 89"/>
                <a:gd name="T13" fmla="*/ 87 h 87"/>
                <a:gd name="T14" fmla="*/ 11 w 89"/>
                <a:gd name="T15" fmla="*/ 87 h 87"/>
                <a:gd name="T16" fmla="*/ 14 w 89"/>
                <a:gd name="T17" fmla="*/ 87 h 87"/>
                <a:gd name="T18" fmla="*/ 18 w 89"/>
                <a:gd name="T19" fmla="*/ 85 h 87"/>
                <a:gd name="T20" fmla="*/ 45 w 89"/>
                <a:gd name="T21" fmla="*/ 58 h 87"/>
                <a:gd name="T22" fmla="*/ 72 w 89"/>
                <a:gd name="T23" fmla="*/ 85 h 87"/>
                <a:gd name="T24" fmla="*/ 72 w 89"/>
                <a:gd name="T25" fmla="*/ 85 h 87"/>
                <a:gd name="T26" fmla="*/ 76 w 89"/>
                <a:gd name="T27" fmla="*/ 87 h 87"/>
                <a:gd name="T28" fmla="*/ 78 w 89"/>
                <a:gd name="T29" fmla="*/ 87 h 87"/>
                <a:gd name="T30" fmla="*/ 78 w 89"/>
                <a:gd name="T31" fmla="*/ 87 h 87"/>
                <a:gd name="T32" fmla="*/ 82 w 89"/>
                <a:gd name="T33" fmla="*/ 87 h 87"/>
                <a:gd name="T34" fmla="*/ 85 w 89"/>
                <a:gd name="T35" fmla="*/ 85 h 87"/>
                <a:gd name="T36" fmla="*/ 85 w 89"/>
                <a:gd name="T37" fmla="*/ 85 h 87"/>
                <a:gd name="T38" fmla="*/ 88 w 89"/>
                <a:gd name="T39" fmla="*/ 82 h 87"/>
                <a:gd name="T40" fmla="*/ 89 w 89"/>
                <a:gd name="T41" fmla="*/ 78 h 87"/>
                <a:gd name="T42" fmla="*/ 88 w 89"/>
                <a:gd name="T43" fmla="*/ 74 h 87"/>
                <a:gd name="T44" fmla="*/ 85 w 89"/>
                <a:gd name="T45" fmla="*/ 71 h 87"/>
                <a:gd name="T46" fmla="*/ 58 w 89"/>
                <a:gd name="T47" fmla="*/ 44 h 87"/>
                <a:gd name="T48" fmla="*/ 85 w 89"/>
                <a:gd name="T49" fmla="*/ 17 h 87"/>
                <a:gd name="T50" fmla="*/ 85 w 89"/>
                <a:gd name="T51" fmla="*/ 17 h 87"/>
                <a:gd name="T52" fmla="*/ 88 w 89"/>
                <a:gd name="T53" fmla="*/ 13 h 87"/>
                <a:gd name="T54" fmla="*/ 89 w 89"/>
                <a:gd name="T55" fmla="*/ 9 h 87"/>
                <a:gd name="T56" fmla="*/ 88 w 89"/>
                <a:gd name="T57" fmla="*/ 7 h 87"/>
                <a:gd name="T58" fmla="*/ 85 w 89"/>
                <a:gd name="T59" fmla="*/ 3 h 87"/>
                <a:gd name="T60" fmla="*/ 85 w 89"/>
                <a:gd name="T61" fmla="*/ 3 h 87"/>
                <a:gd name="T62" fmla="*/ 82 w 89"/>
                <a:gd name="T63" fmla="*/ 1 h 87"/>
                <a:gd name="T64" fmla="*/ 78 w 89"/>
                <a:gd name="T65" fmla="*/ 0 h 87"/>
                <a:gd name="T66" fmla="*/ 78 w 89"/>
                <a:gd name="T67" fmla="*/ 0 h 87"/>
                <a:gd name="T68" fmla="*/ 78 w 89"/>
                <a:gd name="T69" fmla="*/ 0 h 87"/>
                <a:gd name="T70" fmla="*/ 76 w 89"/>
                <a:gd name="T71" fmla="*/ 1 h 87"/>
                <a:gd name="T72" fmla="*/ 72 w 89"/>
                <a:gd name="T73" fmla="*/ 3 h 87"/>
                <a:gd name="T74" fmla="*/ 45 w 89"/>
                <a:gd name="T75" fmla="*/ 31 h 87"/>
                <a:gd name="T76" fmla="*/ 18 w 89"/>
                <a:gd name="T77" fmla="*/ 3 h 87"/>
                <a:gd name="T78" fmla="*/ 18 w 89"/>
                <a:gd name="T79" fmla="*/ 3 h 87"/>
                <a:gd name="T80" fmla="*/ 14 w 89"/>
                <a:gd name="T81" fmla="*/ 1 h 87"/>
                <a:gd name="T82" fmla="*/ 11 w 89"/>
                <a:gd name="T83" fmla="*/ 0 h 87"/>
                <a:gd name="T84" fmla="*/ 7 w 89"/>
                <a:gd name="T85" fmla="*/ 1 h 87"/>
                <a:gd name="T86" fmla="*/ 4 w 89"/>
                <a:gd name="T87" fmla="*/ 3 h 87"/>
                <a:gd name="T88" fmla="*/ 4 w 89"/>
                <a:gd name="T89" fmla="*/ 3 h 87"/>
                <a:gd name="T90" fmla="*/ 2 w 89"/>
                <a:gd name="T91" fmla="*/ 7 h 87"/>
                <a:gd name="T92" fmla="*/ 0 w 89"/>
                <a:gd name="T93" fmla="*/ 9 h 87"/>
                <a:gd name="T94" fmla="*/ 0 w 89"/>
                <a:gd name="T95" fmla="*/ 9 h 87"/>
                <a:gd name="T96" fmla="*/ 2 w 89"/>
                <a:gd name="T97" fmla="*/ 13 h 87"/>
                <a:gd name="T98" fmla="*/ 4 w 89"/>
                <a:gd name="T99" fmla="*/ 17 h 87"/>
                <a:gd name="T100" fmla="*/ 31 w 89"/>
                <a:gd name="T101" fmla="*/ 44 h 87"/>
                <a:gd name="T102" fmla="*/ 4 w 89"/>
                <a:gd name="T103" fmla="*/ 71 h 87"/>
                <a:gd name="T104" fmla="*/ 4 w 89"/>
                <a:gd name="T105" fmla="*/ 71 h 87"/>
                <a:gd name="T106" fmla="*/ 2 w 89"/>
                <a:gd name="T107" fmla="*/ 74 h 87"/>
                <a:gd name="T108" fmla="*/ 0 w 89"/>
                <a:gd name="T109" fmla="*/ 78 h 87"/>
                <a:gd name="T110" fmla="*/ 0 w 89"/>
                <a:gd name="T111" fmla="*/ 7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 h="87">
                  <a:moveTo>
                    <a:pt x="0" y="78"/>
                  </a:moveTo>
                  <a:lnTo>
                    <a:pt x="0" y="78"/>
                  </a:lnTo>
                  <a:lnTo>
                    <a:pt x="2" y="82"/>
                  </a:lnTo>
                  <a:lnTo>
                    <a:pt x="4" y="85"/>
                  </a:lnTo>
                  <a:lnTo>
                    <a:pt x="4" y="85"/>
                  </a:lnTo>
                  <a:lnTo>
                    <a:pt x="4" y="85"/>
                  </a:lnTo>
                  <a:lnTo>
                    <a:pt x="7" y="87"/>
                  </a:lnTo>
                  <a:lnTo>
                    <a:pt x="11" y="87"/>
                  </a:lnTo>
                  <a:lnTo>
                    <a:pt x="14" y="87"/>
                  </a:lnTo>
                  <a:lnTo>
                    <a:pt x="18" y="85"/>
                  </a:lnTo>
                  <a:lnTo>
                    <a:pt x="45" y="58"/>
                  </a:lnTo>
                  <a:lnTo>
                    <a:pt x="72" y="85"/>
                  </a:lnTo>
                  <a:lnTo>
                    <a:pt x="72" y="85"/>
                  </a:lnTo>
                  <a:lnTo>
                    <a:pt x="76" y="87"/>
                  </a:lnTo>
                  <a:lnTo>
                    <a:pt x="78" y="87"/>
                  </a:lnTo>
                  <a:lnTo>
                    <a:pt x="78" y="87"/>
                  </a:lnTo>
                  <a:lnTo>
                    <a:pt x="82" y="87"/>
                  </a:lnTo>
                  <a:lnTo>
                    <a:pt x="85" y="85"/>
                  </a:lnTo>
                  <a:lnTo>
                    <a:pt x="85" y="85"/>
                  </a:lnTo>
                  <a:lnTo>
                    <a:pt x="88" y="82"/>
                  </a:lnTo>
                  <a:lnTo>
                    <a:pt x="89" y="78"/>
                  </a:lnTo>
                  <a:lnTo>
                    <a:pt x="88" y="74"/>
                  </a:lnTo>
                  <a:lnTo>
                    <a:pt x="85" y="71"/>
                  </a:lnTo>
                  <a:lnTo>
                    <a:pt x="58" y="44"/>
                  </a:lnTo>
                  <a:lnTo>
                    <a:pt x="85" y="17"/>
                  </a:lnTo>
                  <a:lnTo>
                    <a:pt x="85" y="17"/>
                  </a:lnTo>
                  <a:lnTo>
                    <a:pt x="88" y="13"/>
                  </a:lnTo>
                  <a:lnTo>
                    <a:pt x="89" y="9"/>
                  </a:lnTo>
                  <a:lnTo>
                    <a:pt x="88" y="7"/>
                  </a:lnTo>
                  <a:lnTo>
                    <a:pt x="85" y="3"/>
                  </a:lnTo>
                  <a:lnTo>
                    <a:pt x="85" y="3"/>
                  </a:lnTo>
                  <a:lnTo>
                    <a:pt x="82" y="1"/>
                  </a:lnTo>
                  <a:lnTo>
                    <a:pt x="78" y="0"/>
                  </a:lnTo>
                  <a:lnTo>
                    <a:pt x="78" y="0"/>
                  </a:lnTo>
                  <a:lnTo>
                    <a:pt x="78" y="0"/>
                  </a:lnTo>
                  <a:lnTo>
                    <a:pt x="76" y="1"/>
                  </a:lnTo>
                  <a:lnTo>
                    <a:pt x="72" y="3"/>
                  </a:lnTo>
                  <a:lnTo>
                    <a:pt x="45" y="31"/>
                  </a:lnTo>
                  <a:lnTo>
                    <a:pt x="18" y="3"/>
                  </a:lnTo>
                  <a:lnTo>
                    <a:pt x="18" y="3"/>
                  </a:lnTo>
                  <a:lnTo>
                    <a:pt x="14" y="1"/>
                  </a:lnTo>
                  <a:lnTo>
                    <a:pt x="11" y="0"/>
                  </a:lnTo>
                  <a:lnTo>
                    <a:pt x="7" y="1"/>
                  </a:lnTo>
                  <a:lnTo>
                    <a:pt x="4" y="3"/>
                  </a:lnTo>
                  <a:lnTo>
                    <a:pt x="4" y="3"/>
                  </a:lnTo>
                  <a:lnTo>
                    <a:pt x="2" y="7"/>
                  </a:lnTo>
                  <a:lnTo>
                    <a:pt x="0" y="9"/>
                  </a:lnTo>
                  <a:lnTo>
                    <a:pt x="0" y="9"/>
                  </a:lnTo>
                  <a:lnTo>
                    <a:pt x="2" y="13"/>
                  </a:lnTo>
                  <a:lnTo>
                    <a:pt x="4" y="17"/>
                  </a:lnTo>
                  <a:lnTo>
                    <a:pt x="31" y="44"/>
                  </a:lnTo>
                  <a:lnTo>
                    <a:pt x="4" y="71"/>
                  </a:lnTo>
                  <a:lnTo>
                    <a:pt x="4" y="71"/>
                  </a:lnTo>
                  <a:lnTo>
                    <a:pt x="2" y="74"/>
                  </a:lnTo>
                  <a:lnTo>
                    <a:pt x="0" y="78"/>
                  </a:lnTo>
                  <a:lnTo>
                    <a:pt x="0" y="7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0" name="Freeform 284">
              <a:extLst>
                <a:ext uri="{FF2B5EF4-FFF2-40B4-BE49-F238E27FC236}">
                  <a16:creationId xmlns:a16="http://schemas.microsoft.com/office/drawing/2014/main" id="{07BFFCEA-8411-455C-826B-EF902C6A79C1}"/>
                </a:ext>
              </a:extLst>
            </p:cNvPr>
            <p:cNvSpPr>
              <a:spLocks/>
            </p:cNvSpPr>
            <p:nvPr/>
          </p:nvSpPr>
          <p:spPr bwMode="auto">
            <a:xfrm>
              <a:off x="9997394" y="5958548"/>
              <a:ext cx="75264" cy="55031"/>
            </a:xfrm>
            <a:custGeom>
              <a:avLst/>
              <a:gdLst>
                <a:gd name="T0" fmla="*/ 57 w 87"/>
                <a:gd name="T1" fmla="*/ 43 h 87"/>
                <a:gd name="T2" fmla="*/ 85 w 87"/>
                <a:gd name="T3" fmla="*/ 16 h 87"/>
                <a:gd name="T4" fmla="*/ 85 w 87"/>
                <a:gd name="T5" fmla="*/ 16 h 87"/>
                <a:gd name="T6" fmla="*/ 86 w 87"/>
                <a:gd name="T7" fmla="*/ 12 h 87"/>
                <a:gd name="T8" fmla="*/ 87 w 87"/>
                <a:gd name="T9" fmla="*/ 9 h 87"/>
                <a:gd name="T10" fmla="*/ 87 w 87"/>
                <a:gd name="T11" fmla="*/ 9 h 87"/>
                <a:gd name="T12" fmla="*/ 86 w 87"/>
                <a:gd name="T13" fmla="*/ 5 h 87"/>
                <a:gd name="T14" fmla="*/ 85 w 87"/>
                <a:gd name="T15" fmla="*/ 3 h 87"/>
                <a:gd name="T16" fmla="*/ 85 w 87"/>
                <a:gd name="T17" fmla="*/ 3 h 87"/>
                <a:gd name="T18" fmla="*/ 81 w 87"/>
                <a:gd name="T19" fmla="*/ 0 h 87"/>
                <a:gd name="T20" fmla="*/ 78 w 87"/>
                <a:gd name="T21" fmla="*/ 0 h 87"/>
                <a:gd name="T22" fmla="*/ 74 w 87"/>
                <a:gd name="T23" fmla="*/ 0 h 87"/>
                <a:gd name="T24" fmla="*/ 71 w 87"/>
                <a:gd name="T25" fmla="*/ 3 h 87"/>
                <a:gd name="T26" fmla="*/ 43 w 87"/>
                <a:gd name="T27" fmla="*/ 29 h 87"/>
                <a:gd name="T28" fmla="*/ 16 w 87"/>
                <a:gd name="T29" fmla="*/ 3 h 87"/>
                <a:gd name="T30" fmla="*/ 16 w 87"/>
                <a:gd name="T31" fmla="*/ 3 h 87"/>
                <a:gd name="T32" fmla="*/ 14 w 87"/>
                <a:gd name="T33" fmla="*/ 0 h 87"/>
                <a:gd name="T34" fmla="*/ 10 w 87"/>
                <a:gd name="T35" fmla="*/ 0 h 87"/>
                <a:gd name="T36" fmla="*/ 6 w 87"/>
                <a:gd name="T37" fmla="*/ 0 h 87"/>
                <a:gd name="T38" fmla="*/ 3 w 87"/>
                <a:gd name="T39" fmla="*/ 3 h 87"/>
                <a:gd name="T40" fmla="*/ 3 w 87"/>
                <a:gd name="T41" fmla="*/ 3 h 87"/>
                <a:gd name="T42" fmla="*/ 0 w 87"/>
                <a:gd name="T43" fmla="*/ 5 h 87"/>
                <a:gd name="T44" fmla="*/ 0 w 87"/>
                <a:gd name="T45" fmla="*/ 9 h 87"/>
                <a:gd name="T46" fmla="*/ 0 w 87"/>
                <a:gd name="T47" fmla="*/ 12 h 87"/>
                <a:gd name="T48" fmla="*/ 3 w 87"/>
                <a:gd name="T49" fmla="*/ 16 h 87"/>
                <a:gd name="T50" fmla="*/ 30 w 87"/>
                <a:gd name="T51" fmla="*/ 43 h 87"/>
                <a:gd name="T52" fmla="*/ 3 w 87"/>
                <a:gd name="T53" fmla="*/ 70 h 87"/>
                <a:gd name="T54" fmla="*/ 3 w 87"/>
                <a:gd name="T55" fmla="*/ 70 h 87"/>
                <a:gd name="T56" fmla="*/ 0 w 87"/>
                <a:gd name="T57" fmla="*/ 74 h 87"/>
                <a:gd name="T58" fmla="*/ 0 w 87"/>
                <a:gd name="T59" fmla="*/ 76 h 87"/>
                <a:gd name="T60" fmla="*/ 0 w 87"/>
                <a:gd name="T61" fmla="*/ 80 h 87"/>
                <a:gd name="T62" fmla="*/ 3 w 87"/>
                <a:gd name="T63" fmla="*/ 84 h 87"/>
                <a:gd name="T64" fmla="*/ 3 w 87"/>
                <a:gd name="T65" fmla="*/ 84 h 87"/>
                <a:gd name="T66" fmla="*/ 6 w 87"/>
                <a:gd name="T67" fmla="*/ 86 h 87"/>
                <a:gd name="T68" fmla="*/ 10 w 87"/>
                <a:gd name="T69" fmla="*/ 87 h 87"/>
                <a:gd name="T70" fmla="*/ 14 w 87"/>
                <a:gd name="T71" fmla="*/ 86 h 87"/>
                <a:gd name="T72" fmla="*/ 16 w 87"/>
                <a:gd name="T73" fmla="*/ 84 h 87"/>
                <a:gd name="T74" fmla="*/ 43 w 87"/>
                <a:gd name="T75" fmla="*/ 56 h 87"/>
                <a:gd name="T76" fmla="*/ 71 w 87"/>
                <a:gd name="T77" fmla="*/ 84 h 87"/>
                <a:gd name="T78" fmla="*/ 71 w 87"/>
                <a:gd name="T79" fmla="*/ 84 h 87"/>
                <a:gd name="T80" fmla="*/ 74 w 87"/>
                <a:gd name="T81" fmla="*/ 86 h 87"/>
                <a:gd name="T82" fmla="*/ 78 w 87"/>
                <a:gd name="T83" fmla="*/ 87 h 87"/>
                <a:gd name="T84" fmla="*/ 78 w 87"/>
                <a:gd name="T85" fmla="*/ 87 h 87"/>
                <a:gd name="T86" fmla="*/ 81 w 87"/>
                <a:gd name="T87" fmla="*/ 86 h 87"/>
                <a:gd name="T88" fmla="*/ 85 w 87"/>
                <a:gd name="T89" fmla="*/ 84 h 87"/>
                <a:gd name="T90" fmla="*/ 85 w 87"/>
                <a:gd name="T91" fmla="*/ 84 h 87"/>
                <a:gd name="T92" fmla="*/ 86 w 87"/>
                <a:gd name="T93" fmla="*/ 80 h 87"/>
                <a:gd name="T94" fmla="*/ 87 w 87"/>
                <a:gd name="T95" fmla="*/ 76 h 87"/>
                <a:gd name="T96" fmla="*/ 87 w 87"/>
                <a:gd name="T97" fmla="*/ 76 h 87"/>
                <a:gd name="T98" fmla="*/ 86 w 87"/>
                <a:gd name="T99" fmla="*/ 74 h 87"/>
                <a:gd name="T100" fmla="*/ 85 w 87"/>
                <a:gd name="T101" fmla="*/ 70 h 87"/>
                <a:gd name="T102" fmla="*/ 57 w 87"/>
                <a:gd name="T103" fmla="*/ 43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7" h="87">
                  <a:moveTo>
                    <a:pt x="57" y="43"/>
                  </a:moveTo>
                  <a:lnTo>
                    <a:pt x="85" y="16"/>
                  </a:lnTo>
                  <a:lnTo>
                    <a:pt x="85" y="16"/>
                  </a:lnTo>
                  <a:lnTo>
                    <a:pt x="86" y="12"/>
                  </a:lnTo>
                  <a:lnTo>
                    <a:pt x="87" y="9"/>
                  </a:lnTo>
                  <a:lnTo>
                    <a:pt x="87" y="9"/>
                  </a:lnTo>
                  <a:lnTo>
                    <a:pt x="86" y="5"/>
                  </a:lnTo>
                  <a:lnTo>
                    <a:pt x="85" y="3"/>
                  </a:lnTo>
                  <a:lnTo>
                    <a:pt x="85" y="3"/>
                  </a:lnTo>
                  <a:lnTo>
                    <a:pt x="81" y="0"/>
                  </a:lnTo>
                  <a:lnTo>
                    <a:pt x="78" y="0"/>
                  </a:lnTo>
                  <a:lnTo>
                    <a:pt x="74" y="0"/>
                  </a:lnTo>
                  <a:lnTo>
                    <a:pt x="71" y="3"/>
                  </a:lnTo>
                  <a:lnTo>
                    <a:pt x="43" y="29"/>
                  </a:lnTo>
                  <a:lnTo>
                    <a:pt x="16" y="3"/>
                  </a:lnTo>
                  <a:lnTo>
                    <a:pt x="16" y="3"/>
                  </a:lnTo>
                  <a:lnTo>
                    <a:pt x="14" y="0"/>
                  </a:lnTo>
                  <a:lnTo>
                    <a:pt x="10" y="0"/>
                  </a:lnTo>
                  <a:lnTo>
                    <a:pt x="6" y="0"/>
                  </a:lnTo>
                  <a:lnTo>
                    <a:pt x="3" y="3"/>
                  </a:lnTo>
                  <a:lnTo>
                    <a:pt x="3" y="3"/>
                  </a:lnTo>
                  <a:lnTo>
                    <a:pt x="0" y="5"/>
                  </a:lnTo>
                  <a:lnTo>
                    <a:pt x="0" y="9"/>
                  </a:lnTo>
                  <a:lnTo>
                    <a:pt x="0" y="12"/>
                  </a:lnTo>
                  <a:lnTo>
                    <a:pt x="3" y="16"/>
                  </a:lnTo>
                  <a:lnTo>
                    <a:pt x="30" y="43"/>
                  </a:lnTo>
                  <a:lnTo>
                    <a:pt x="3" y="70"/>
                  </a:lnTo>
                  <a:lnTo>
                    <a:pt x="3" y="70"/>
                  </a:lnTo>
                  <a:lnTo>
                    <a:pt x="0" y="74"/>
                  </a:lnTo>
                  <a:lnTo>
                    <a:pt x="0" y="76"/>
                  </a:lnTo>
                  <a:lnTo>
                    <a:pt x="0" y="80"/>
                  </a:lnTo>
                  <a:lnTo>
                    <a:pt x="3" y="84"/>
                  </a:lnTo>
                  <a:lnTo>
                    <a:pt x="3" y="84"/>
                  </a:lnTo>
                  <a:lnTo>
                    <a:pt x="6" y="86"/>
                  </a:lnTo>
                  <a:lnTo>
                    <a:pt x="10" y="87"/>
                  </a:lnTo>
                  <a:lnTo>
                    <a:pt x="14" y="86"/>
                  </a:lnTo>
                  <a:lnTo>
                    <a:pt x="16" y="84"/>
                  </a:lnTo>
                  <a:lnTo>
                    <a:pt x="43" y="56"/>
                  </a:lnTo>
                  <a:lnTo>
                    <a:pt x="71" y="84"/>
                  </a:lnTo>
                  <a:lnTo>
                    <a:pt x="71" y="84"/>
                  </a:lnTo>
                  <a:lnTo>
                    <a:pt x="74" y="86"/>
                  </a:lnTo>
                  <a:lnTo>
                    <a:pt x="78" y="87"/>
                  </a:lnTo>
                  <a:lnTo>
                    <a:pt x="78" y="87"/>
                  </a:lnTo>
                  <a:lnTo>
                    <a:pt x="81" y="86"/>
                  </a:lnTo>
                  <a:lnTo>
                    <a:pt x="85" y="84"/>
                  </a:lnTo>
                  <a:lnTo>
                    <a:pt x="85" y="84"/>
                  </a:lnTo>
                  <a:lnTo>
                    <a:pt x="86" y="80"/>
                  </a:lnTo>
                  <a:lnTo>
                    <a:pt x="87" y="76"/>
                  </a:lnTo>
                  <a:lnTo>
                    <a:pt x="87" y="76"/>
                  </a:lnTo>
                  <a:lnTo>
                    <a:pt x="86" y="74"/>
                  </a:lnTo>
                  <a:lnTo>
                    <a:pt x="85" y="70"/>
                  </a:lnTo>
                  <a:lnTo>
                    <a:pt x="57" y="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1" name="Freeform 285">
              <a:extLst>
                <a:ext uri="{FF2B5EF4-FFF2-40B4-BE49-F238E27FC236}">
                  <a16:creationId xmlns:a16="http://schemas.microsoft.com/office/drawing/2014/main" id="{C3FA7F0C-AB27-4453-8111-BB3ABD9DAA6D}"/>
                </a:ext>
              </a:extLst>
            </p:cNvPr>
            <p:cNvSpPr>
              <a:spLocks noEditPoints="1"/>
            </p:cNvSpPr>
            <p:nvPr/>
          </p:nvSpPr>
          <p:spPr bwMode="auto">
            <a:xfrm>
              <a:off x="9846867" y="5865997"/>
              <a:ext cx="215289" cy="153836"/>
            </a:xfrm>
            <a:custGeom>
              <a:avLst/>
              <a:gdLst>
                <a:gd name="T0" fmla="*/ 227 w 245"/>
                <a:gd name="T1" fmla="*/ 78 h 246"/>
                <a:gd name="T2" fmla="*/ 228 w 245"/>
                <a:gd name="T3" fmla="*/ 81 h 246"/>
                <a:gd name="T4" fmla="*/ 232 w 245"/>
                <a:gd name="T5" fmla="*/ 86 h 246"/>
                <a:gd name="T6" fmla="*/ 236 w 245"/>
                <a:gd name="T7" fmla="*/ 87 h 246"/>
                <a:gd name="T8" fmla="*/ 243 w 245"/>
                <a:gd name="T9" fmla="*/ 85 h 246"/>
                <a:gd name="T10" fmla="*/ 245 w 245"/>
                <a:gd name="T11" fmla="*/ 78 h 246"/>
                <a:gd name="T12" fmla="*/ 245 w 245"/>
                <a:gd name="T13" fmla="*/ 10 h 246"/>
                <a:gd name="T14" fmla="*/ 243 w 245"/>
                <a:gd name="T15" fmla="*/ 3 h 246"/>
                <a:gd name="T16" fmla="*/ 236 w 245"/>
                <a:gd name="T17" fmla="*/ 0 h 246"/>
                <a:gd name="T18" fmla="*/ 167 w 245"/>
                <a:gd name="T19" fmla="*/ 0 h 246"/>
                <a:gd name="T20" fmla="*/ 161 w 245"/>
                <a:gd name="T21" fmla="*/ 3 h 246"/>
                <a:gd name="T22" fmla="*/ 158 w 245"/>
                <a:gd name="T23" fmla="*/ 10 h 246"/>
                <a:gd name="T24" fmla="*/ 159 w 245"/>
                <a:gd name="T25" fmla="*/ 14 h 246"/>
                <a:gd name="T26" fmla="*/ 165 w 245"/>
                <a:gd name="T27" fmla="*/ 19 h 246"/>
                <a:gd name="T28" fmla="*/ 213 w 245"/>
                <a:gd name="T29" fmla="*/ 19 h 246"/>
                <a:gd name="T30" fmla="*/ 86 w 245"/>
                <a:gd name="T31" fmla="*/ 145 h 246"/>
                <a:gd name="T32" fmla="*/ 71 w 245"/>
                <a:gd name="T33" fmla="*/ 138 h 246"/>
                <a:gd name="T34" fmla="*/ 55 w 245"/>
                <a:gd name="T35" fmla="*/ 136 h 246"/>
                <a:gd name="T36" fmla="*/ 44 w 245"/>
                <a:gd name="T37" fmla="*/ 137 h 246"/>
                <a:gd name="T38" fmla="*/ 24 w 245"/>
                <a:gd name="T39" fmla="*/ 145 h 246"/>
                <a:gd name="T40" fmla="*/ 9 w 245"/>
                <a:gd name="T41" fmla="*/ 160 h 246"/>
                <a:gd name="T42" fmla="*/ 1 w 245"/>
                <a:gd name="T43" fmla="*/ 180 h 246"/>
                <a:gd name="T44" fmla="*/ 0 w 245"/>
                <a:gd name="T45" fmla="*/ 191 h 246"/>
                <a:gd name="T46" fmla="*/ 4 w 245"/>
                <a:gd name="T47" fmla="*/ 212 h 246"/>
                <a:gd name="T48" fmla="*/ 16 w 245"/>
                <a:gd name="T49" fmla="*/ 230 h 246"/>
                <a:gd name="T50" fmla="*/ 33 w 245"/>
                <a:gd name="T51" fmla="*/ 242 h 246"/>
                <a:gd name="T52" fmla="*/ 55 w 245"/>
                <a:gd name="T53" fmla="*/ 246 h 246"/>
                <a:gd name="T54" fmla="*/ 65 w 245"/>
                <a:gd name="T55" fmla="*/ 245 h 246"/>
                <a:gd name="T56" fmla="*/ 86 w 245"/>
                <a:gd name="T57" fmla="*/ 236 h 246"/>
                <a:gd name="T58" fmla="*/ 100 w 245"/>
                <a:gd name="T59" fmla="*/ 222 h 246"/>
                <a:gd name="T60" fmla="*/ 108 w 245"/>
                <a:gd name="T61" fmla="*/ 202 h 246"/>
                <a:gd name="T62" fmla="*/ 110 w 245"/>
                <a:gd name="T63" fmla="*/ 191 h 246"/>
                <a:gd name="T64" fmla="*/ 107 w 245"/>
                <a:gd name="T65" fmla="*/ 175 h 246"/>
                <a:gd name="T66" fmla="*/ 100 w 245"/>
                <a:gd name="T67" fmla="*/ 160 h 246"/>
                <a:gd name="T68" fmla="*/ 91 w 245"/>
                <a:gd name="T69" fmla="*/ 191 h 246"/>
                <a:gd name="T70" fmla="*/ 90 w 245"/>
                <a:gd name="T71" fmla="*/ 198 h 246"/>
                <a:gd name="T72" fmla="*/ 84 w 245"/>
                <a:gd name="T73" fmla="*/ 211 h 246"/>
                <a:gd name="T74" fmla="*/ 75 w 245"/>
                <a:gd name="T75" fmla="*/ 220 h 246"/>
                <a:gd name="T76" fmla="*/ 61 w 245"/>
                <a:gd name="T77" fmla="*/ 226 h 246"/>
                <a:gd name="T78" fmla="*/ 55 w 245"/>
                <a:gd name="T79" fmla="*/ 227 h 246"/>
                <a:gd name="T80" fmla="*/ 41 w 245"/>
                <a:gd name="T81" fmla="*/ 224 h 246"/>
                <a:gd name="T82" fmla="*/ 29 w 245"/>
                <a:gd name="T83" fmla="*/ 216 h 246"/>
                <a:gd name="T84" fmla="*/ 22 w 245"/>
                <a:gd name="T85" fmla="*/ 204 h 246"/>
                <a:gd name="T86" fmla="*/ 18 w 245"/>
                <a:gd name="T87" fmla="*/ 191 h 246"/>
                <a:gd name="T88" fmla="*/ 20 w 245"/>
                <a:gd name="T89" fmla="*/ 184 h 246"/>
                <a:gd name="T90" fmla="*/ 25 w 245"/>
                <a:gd name="T91" fmla="*/ 171 h 246"/>
                <a:gd name="T92" fmla="*/ 35 w 245"/>
                <a:gd name="T93" fmla="*/ 161 h 246"/>
                <a:gd name="T94" fmla="*/ 48 w 245"/>
                <a:gd name="T95" fmla="*/ 156 h 246"/>
                <a:gd name="T96" fmla="*/ 55 w 245"/>
                <a:gd name="T97" fmla="*/ 156 h 246"/>
                <a:gd name="T98" fmla="*/ 68 w 245"/>
                <a:gd name="T99" fmla="*/ 159 h 246"/>
                <a:gd name="T100" fmla="*/ 80 w 245"/>
                <a:gd name="T101" fmla="*/ 165 h 246"/>
                <a:gd name="T102" fmla="*/ 87 w 245"/>
                <a:gd name="T103" fmla="*/ 177 h 246"/>
                <a:gd name="T104" fmla="*/ 91 w 245"/>
                <a:gd name="T105" fmla="*/ 191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5" h="246">
                  <a:moveTo>
                    <a:pt x="227" y="32"/>
                  </a:moveTo>
                  <a:lnTo>
                    <a:pt x="227" y="78"/>
                  </a:lnTo>
                  <a:lnTo>
                    <a:pt x="227" y="78"/>
                  </a:lnTo>
                  <a:lnTo>
                    <a:pt x="228" y="81"/>
                  </a:lnTo>
                  <a:lnTo>
                    <a:pt x="229" y="85"/>
                  </a:lnTo>
                  <a:lnTo>
                    <a:pt x="232" y="86"/>
                  </a:lnTo>
                  <a:lnTo>
                    <a:pt x="236" y="87"/>
                  </a:lnTo>
                  <a:lnTo>
                    <a:pt x="236" y="87"/>
                  </a:lnTo>
                  <a:lnTo>
                    <a:pt x="240" y="86"/>
                  </a:lnTo>
                  <a:lnTo>
                    <a:pt x="243" y="85"/>
                  </a:lnTo>
                  <a:lnTo>
                    <a:pt x="245" y="81"/>
                  </a:lnTo>
                  <a:lnTo>
                    <a:pt x="245" y="78"/>
                  </a:lnTo>
                  <a:lnTo>
                    <a:pt x="245" y="10"/>
                  </a:lnTo>
                  <a:lnTo>
                    <a:pt x="245" y="10"/>
                  </a:lnTo>
                  <a:lnTo>
                    <a:pt x="245" y="5"/>
                  </a:lnTo>
                  <a:lnTo>
                    <a:pt x="243" y="3"/>
                  </a:lnTo>
                  <a:lnTo>
                    <a:pt x="240" y="0"/>
                  </a:lnTo>
                  <a:lnTo>
                    <a:pt x="236" y="0"/>
                  </a:lnTo>
                  <a:lnTo>
                    <a:pt x="167" y="0"/>
                  </a:lnTo>
                  <a:lnTo>
                    <a:pt x="167" y="0"/>
                  </a:lnTo>
                  <a:lnTo>
                    <a:pt x="165" y="0"/>
                  </a:lnTo>
                  <a:lnTo>
                    <a:pt x="161" y="3"/>
                  </a:lnTo>
                  <a:lnTo>
                    <a:pt x="159" y="5"/>
                  </a:lnTo>
                  <a:lnTo>
                    <a:pt x="158" y="10"/>
                  </a:lnTo>
                  <a:lnTo>
                    <a:pt x="158" y="10"/>
                  </a:lnTo>
                  <a:lnTo>
                    <a:pt x="159" y="14"/>
                  </a:lnTo>
                  <a:lnTo>
                    <a:pt x="161" y="16"/>
                  </a:lnTo>
                  <a:lnTo>
                    <a:pt x="165" y="19"/>
                  </a:lnTo>
                  <a:lnTo>
                    <a:pt x="167" y="19"/>
                  </a:lnTo>
                  <a:lnTo>
                    <a:pt x="213" y="19"/>
                  </a:lnTo>
                  <a:lnTo>
                    <a:pt x="86" y="145"/>
                  </a:lnTo>
                  <a:lnTo>
                    <a:pt x="86" y="145"/>
                  </a:lnTo>
                  <a:lnTo>
                    <a:pt x="79" y="141"/>
                  </a:lnTo>
                  <a:lnTo>
                    <a:pt x="71" y="138"/>
                  </a:lnTo>
                  <a:lnTo>
                    <a:pt x="63" y="137"/>
                  </a:lnTo>
                  <a:lnTo>
                    <a:pt x="55" y="136"/>
                  </a:lnTo>
                  <a:lnTo>
                    <a:pt x="55" y="136"/>
                  </a:lnTo>
                  <a:lnTo>
                    <a:pt x="44" y="137"/>
                  </a:lnTo>
                  <a:lnTo>
                    <a:pt x="33" y="140"/>
                  </a:lnTo>
                  <a:lnTo>
                    <a:pt x="24" y="145"/>
                  </a:lnTo>
                  <a:lnTo>
                    <a:pt x="16" y="152"/>
                  </a:lnTo>
                  <a:lnTo>
                    <a:pt x="9" y="160"/>
                  </a:lnTo>
                  <a:lnTo>
                    <a:pt x="4" y="169"/>
                  </a:lnTo>
                  <a:lnTo>
                    <a:pt x="1" y="180"/>
                  </a:lnTo>
                  <a:lnTo>
                    <a:pt x="0" y="191"/>
                  </a:lnTo>
                  <a:lnTo>
                    <a:pt x="0" y="191"/>
                  </a:lnTo>
                  <a:lnTo>
                    <a:pt x="1" y="202"/>
                  </a:lnTo>
                  <a:lnTo>
                    <a:pt x="4" y="212"/>
                  </a:lnTo>
                  <a:lnTo>
                    <a:pt x="9" y="222"/>
                  </a:lnTo>
                  <a:lnTo>
                    <a:pt x="16" y="230"/>
                  </a:lnTo>
                  <a:lnTo>
                    <a:pt x="24" y="236"/>
                  </a:lnTo>
                  <a:lnTo>
                    <a:pt x="33" y="242"/>
                  </a:lnTo>
                  <a:lnTo>
                    <a:pt x="44" y="245"/>
                  </a:lnTo>
                  <a:lnTo>
                    <a:pt x="55" y="246"/>
                  </a:lnTo>
                  <a:lnTo>
                    <a:pt x="55" y="246"/>
                  </a:lnTo>
                  <a:lnTo>
                    <a:pt x="65" y="245"/>
                  </a:lnTo>
                  <a:lnTo>
                    <a:pt x="76" y="242"/>
                  </a:lnTo>
                  <a:lnTo>
                    <a:pt x="86" y="236"/>
                  </a:lnTo>
                  <a:lnTo>
                    <a:pt x="94" y="230"/>
                  </a:lnTo>
                  <a:lnTo>
                    <a:pt x="100" y="222"/>
                  </a:lnTo>
                  <a:lnTo>
                    <a:pt x="106" y="212"/>
                  </a:lnTo>
                  <a:lnTo>
                    <a:pt x="108" y="202"/>
                  </a:lnTo>
                  <a:lnTo>
                    <a:pt x="110" y="191"/>
                  </a:lnTo>
                  <a:lnTo>
                    <a:pt x="110" y="191"/>
                  </a:lnTo>
                  <a:lnTo>
                    <a:pt x="110" y="183"/>
                  </a:lnTo>
                  <a:lnTo>
                    <a:pt x="107" y="175"/>
                  </a:lnTo>
                  <a:lnTo>
                    <a:pt x="104" y="167"/>
                  </a:lnTo>
                  <a:lnTo>
                    <a:pt x="100" y="160"/>
                  </a:lnTo>
                  <a:lnTo>
                    <a:pt x="227" y="32"/>
                  </a:lnTo>
                  <a:close/>
                  <a:moveTo>
                    <a:pt x="91" y="191"/>
                  </a:moveTo>
                  <a:lnTo>
                    <a:pt x="91" y="191"/>
                  </a:lnTo>
                  <a:lnTo>
                    <a:pt x="90" y="198"/>
                  </a:lnTo>
                  <a:lnTo>
                    <a:pt x="87" y="204"/>
                  </a:lnTo>
                  <a:lnTo>
                    <a:pt x="84" y="211"/>
                  </a:lnTo>
                  <a:lnTo>
                    <a:pt x="80" y="216"/>
                  </a:lnTo>
                  <a:lnTo>
                    <a:pt x="75" y="220"/>
                  </a:lnTo>
                  <a:lnTo>
                    <a:pt x="68" y="224"/>
                  </a:lnTo>
                  <a:lnTo>
                    <a:pt x="61" y="226"/>
                  </a:lnTo>
                  <a:lnTo>
                    <a:pt x="55" y="227"/>
                  </a:lnTo>
                  <a:lnTo>
                    <a:pt x="55" y="227"/>
                  </a:lnTo>
                  <a:lnTo>
                    <a:pt x="48" y="226"/>
                  </a:lnTo>
                  <a:lnTo>
                    <a:pt x="41" y="224"/>
                  </a:lnTo>
                  <a:lnTo>
                    <a:pt x="35" y="220"/>
                  </a:lnTo>
                  <a:lnTo>
                    <a:pt x="29" y="216"/>
                  </a:lnTo>
                  <a:lnTo>
                    <a:pt x="25" y="211"/>
                  </a:lnTo>
                  <a:lnTo>
                    <a:pt x="22" y="204"/>
                  </a:lnTo>
                  <a:lnTo>
                    <a:pt x="20" y="198"/>
                  </a:lnTo>
                  <a:lnTo>
                    <a:pt x="18" y="191"/>
                  </a:lnTo>
                  <a:lnTo>
                    <a:pt x="18" y="191"/>
                  </a:lnTo>
                  <a:lnTo>
                    <a:pt x="20" y="184"/>
                  </a:lnTo>
                  <a:lnTo>
                    <a:pt x="22" y="177"/>
                  </a:lnTo>
                  <a:lnTo>
                    <a:pt x="25" y="171"/>
                  </a:lnTo>
                  <a:lnTo>
                    <a:pt x="29" y="165"/>
                  </a:lnTo>
                  <a:lnTo>
                    <a:pt x="35" y="161"/>
                  </a:lnTo>
                  <a:lnTo>
                    <a:pt x="41" y="159"/>
                  </a:lnTo>
                  <a:lnTo>
                    <a:pt x="48" y="156"/>
                  </a:lnTo>
                  <a:lnTo>
                    <a:pt x="55" y="156"/>
                  </a:lnTo>
                  <a:lnTo>
                    <a:pt x="55" y="156"/>
                  </a:lnTo>
                  <a:lnTo>
                    <a:pt x="61" y="156"/>
                  </a:lnTo>
                  <a:lnTo>
                    <a:pt x="68" y="159"/>
                  </a:lnTo>
                  <a:lnTo>
                    <a:pt x="75" y="161"/>
                  </a:lnTo>
                  <a:lnTo>
                    <a:pt x="80" y="165"/>
                  </a:lnTo>
                  <a:lnTo>
                    <a:pt x="84" y="171"/>
                  </a:lnTo>
                  <a:lnTo>
                    <a:pt x="87" y="177"/>
                  </a:lnTo>
                  <a:lnTo>
                    <a:pt x="90" y="184"/>
                  </a:lnTo>
                  <a:lnTo>
                    <a:pt x="91" y="191"/>
                  </a:lnTo>
                  <a:lnTo>
                    <a:pt x="91" y="19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55" name="TextBox 54">
            <a:extLst>
              <a:ext uri="{FF2B5EF4-FFF2-40B4-BE49-F238E27FC236}">
                <a16:creationId xmlns:a16="http://schemas.microsoft.com/office/drawing/2014/main" id="{CD9C4C34-DCD0-4DF8-B719-CEF0733D1E9C}"/>
              </a:ext>
            </a:extLst>
          </p:cNvPr>
          <p:cNvSpPr txBox="1"/>
          <p:nvPr/>
        </p:nvSpPr>
        <p:spPr>
          <a:xfrm>
            <a:off x="914400" y="1895762"/>
            <a:ext cx="1748413" cy="276999"/>
          </a:xfrm>
          <a:prstGeom prst="rect">
            <a:avLst/>
          </a:prstGeom>
          <a:noFill/>
        </p:spPr>
        <p:txBody>
          <a:bodyPr wrap="square" rtlCol="0">
            <a:spAutoFit/>
          </a:bodyPr>
          <a:lstStyle/>
          <a:p>
            <a:r>
              <a:rPr lang="en-US" sz="1200" b="1" dirty="0"/>
              <a:t>[CUSTOMER LOGO]</a:t>
            </a:r>
          </a:p>
        </p:txBody>
      </p:sp>
      <p:sp>
        <p:nvSpPr>
          <p:cNvPr id="63" name="Title 62">
            <a:extLst>
              <a:ext uri="{FF2B5EF4-FFF2-40B4-BE49-F238E27FC236}">
                <a16:creationId xmlns:a16="http://schemas.microsoft.com/office/drawing/2014/main" id="{9DFA2C8D-3F3F-42DE-A1A6-9C82248389B2}"/>
              </a:ext>
            </a:extLst>
          </p:cNvPr>
          <p:cNvSpPr>
            <a:spLocks noGrp="1"/>
          </p:cNvSpPr>
          <p:nvPr>
            <p:ph type="title"/>
          </p:nvPr>
        </p:nvSpPr>
        <p:spPr/>
        <p:txBody>
          <a:bodyPr/>
          <a:lstStyle/>
          <a:p>
            <a:r>
              <a:rPr lang="en-US" dirty="0"/>
              <a:t>Targeting through personalized marketing</a:t>
            </a:r>
          </a:p>
        </p:txBody>
      </p:sp>
      <p:sp>
        <p:nvSpPr>
          <p:cNvPr id="65" name="Text Placeholder 64">
            <a:extLst>
              <a:ext uri="{FF2B5EF4-FFF2-40B4-BE49-F238E27FC236}">
                <a16:creationId xmlns:a16="http://schemas.microsoft.com/office/drawing/2014/main" id="{56E6CBF9-381A-498A-8CE2-9E3C1C55F838}"/>
              </a:ext>
            </a:extLst>
          </p:cNvPr>
          <p:cNvSpPr>
            <a:spLocks noGrp="1"/>
          </p:cNvSpPr>
          <p:nvPr>
            <p:ph type="body" sz="quarter" idx="14"/>
          </p:nvPr>
        </p:nvSpPr>
        <p:spPr/>
        <p:txBody>
          <a:bodyPr/>
          <a:lstStyle/>
          <a:p>
            <a:r>
              <a:rPr lang="en-US" dirty="0"/>
              <a:t>Leading practice #2</a:t>
            </a:r>
          </a:p>
        </p:txBody>
      </p:sp>
      <p:sp>
        <p:nvSpPr>
          <p:cNvPr id="69" name="Text Placeholder 68">
            <a:extLst>
              <a:ext uri="{FF2B5EF4-FFF2-40B4-BE49-F238E27FC236}">
                <a16:creationId xmlns:a16="http://schemas.microsoft.com/office/drawing/2014/main" id="{71D7DDEA-97E5-4944-9651-531D3227389A}"/>
              </a:ext>
            </a:extLst>
          </p:cNvPr>
          <p:cNvSpPr>
            <a:spLocks noGrp="1"/>
          </p:cNvSpPr>
          <p:nvPr>
            <p:ph type="body" sz="quarter" idx="15"/>
          </p:nvPr>
        </p:nvSpPr>
        <p:spPr>
          <a:xfrm>
            <a:off x="914970" y="466344"/>
            <a:ext cx="4482939" cy="164592"/>
          </a:xfrm>
        </p:spPr>
        <p:txBody>
          <a:bodyPr/>
          <a:lstStyle/>
          <a:p>
            <a:r>
              <a:rPr lang="en-US" dirty="0"/>
              <a:t>Case study &amp; </a:t>
            </a:r>
            <a:r>
              <a:rPr lang="en-US" dirty="0" err="1"/>
              <a:t>qual</a:t>
            </a:r>
            <a:endParaRPr lang="en-US" dirty="0"/>
          </a:p>
        </p:txBody>
      </p:sp>
    </p:spTree>
    <p:extLst>
      <p:ext uri="{BB962C8B-B14F-4D97-AF65-F5344CB8AC3E}">
        <p14:creationId xmlns:p14="http://schemas.microsoft.com/office/powerpoint/2010/main" val="1098473987"/>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C090458-DF73-419B-B118-B0AFF81A8C86}"/>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6745857" y="-73329"/>
            <a:ext cx="5451530" cy="6985179"/>
          </a:xfrm>
          <a:prstGeom prst="rect">
            <a:avLst/>
          </a:prstGeom>
        </p:spPr>
      </p:pic>
      <p:sp>
        <p:nvSpPr>
          <p:cNvPr id="3" name="TextBox 2">
            <a:extLst>
              <a:ext uri="{FF2B5EF4-FFF2-40B4-BE49-F238E27FC236}">
                <a16:creationId xmlns:a16="http://schemas.microsoft.com/office/drawing/2014/main" id="{56D2D774-AAB3-4478-A215-A08481DE3972}"/>
              </a:ext>
            </a:extLst>
          </p:cNvPr>
          <p:cNvSpPr txBox="1"/>
          <p:nvPr/>
        </p:nvSpPr>
        <p:spPr>
          <a:xfrm>
            <a:off x="835720" y="1563614"/>
            <a:ext cx="5936555" cy="786369"/>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hronicle Display Black"/>
                <a:ea typeface="Verdana" panose="020B0604030504040204" pitchFamily="34" charset="0"/>
                <a:cs typeface="Verdana" panose="020B0604030504040204" pitchFamily="34" charset="0"/>
              </a:rPr>
              <a:t>Client is a Houston based mid stream oil and gas company that offers transportation and storage services to their clients</a:t>
            </a: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CA" sz="9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CA" sz="1400" b="1" i="0" u="none" strike="noStrike" kern="1200" cap="none" spc="0" normalizeH="0" baseline="0" noProof="0" dirty="0">
                <a:ln>
                  <a:noFill/>
                </a:ln>
                <a:solidFill>
                  <a:srgbClr val="000000"/>
                </a:solidFill>
                <a:effectLst/>
                <a:uLnTx/>
                <a:uFillTx/>
                <a:latin typeface="Chronicle Display Black"/>
                <a:ea typeface="Verdana" panose="020B0604030504040204" pitchFamily="34" charset="0"/>
                <a:cs typeface="Verdana" panose="020B0604030504040204" pitchFamily="34" charset="0"/>
              </a:rPr>
              <a:t>INDUSTRY: ENERGY</a:t>
            </a:r>
            <a:endParaRPr kumimoji="0" lang="en-US" sz="1400" b="1" i="0" u="none" strike="noStrike" kern="1200" cap="none" spc="0" normalizeH="0" baseline="0" noProof="0" dirty="0">
              <a:ln>
                <a:noFill/>
              </a:ln>
              <a:solidFill>
                <a:srgbClr val="000000"/>
              </a:solidFill>
              <a:effectLst/>
              <a:uLnTx/>
              <a:uFillTx/>
              <a:latin typeface="Chronicle Display Black"/>
              <a:ea typeface="Verdana" panose="020B0604030504040204" pitchFamily="34" charset="0"/>
              <a:cs typeface="Verdana" panose="020B0604030504040204" pitchFamily="34" charset="0"/>
            </a:endParaRPr>
          </a:p>
        </p:txBody>
      </p:sp>
      <p:cxnSp>
        <p:nvCxnSpPr>
          <p:cNvPr id="4" name="Straight Connector 3">
            <a:extLst>
              <a:ext uri="{FF2B5EF4-FFF2-40B4-BE49-F238E27FC236}">
                <a16:creationId xmlns:a16="http://schemas.microsoft.com/office/drawing/2014/main" id="{83A5196A-8A8A-4B4A-939B-2781EFB3AA10}"/>
              </a:ext>
            </a:extLst>
          </p:cNvPr>
          <p:cNvCxnSpPr/>
          <p:nvPr/>
        </p:nvCxnSpPr>
        <p:spPr>
          <a:xfrm>
            <a:off x="934473" y="1524445"/>
            <a:ext cx="5644243"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704D4F86-8E29-49DD-935B-566EE2A47AF8}"/>
              </a:ext>
            </a:extLst>
          </p:cNvPr>
          <p:cNvSpPr/>
          <p:nvPr/>
        </p:nvSpPr>
        <p:spPr bwMode="gray">
          <a:xfrm>
            <a:off x="932618" y="3290586"/>
            <a:ext cx="1647560" cy="2881613"/>
          </a:xfrm>
          <a:prstGeom prst="rect">
            <a:avLst/>
          </a:prstGeom>
          <a:solidFill>
            <a:schemeClr val="accent2">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Open Sans"/>
              <a:ea typeface="+mn-ea"/>
              <a:cs typeface="+mn-cs"/>
            </a:endParaRPr>
          </a:p>
        </p:txBody>
      </p:sp>
      <p:sp>
        <p:nvSpPr>
          <p:cNvPr id="6" name="Rectangle 5">
            <a:extLst>
              <a:ext uri="{FF2B5EF4-FFF2-40B4-BE49-F238E27FC236}">
                <a16:creationId xmlns:a16="http://schemas.microsoft.com/office/drawing/2014/main" id="{0EE95A70-DD5D-4769-9951-62D869C2DC5E}"/>
              </a:ext>
            </a:extLst>
          </p:cNvPr>
          <p:cNvSpPr/>
          <p:nvPr/>
        </p:nvSpPr>
        <p:spPr bwMode="gray">
          <a:xfrm>
            <a:off x="2812970" y="3290586"/>
            <a:ext cx="1755008" cy="2881613"/>
          </a:xfrm>
          <a:prstGeom prst="rect">
            <a:avLst/>
          </a:prstGeom>
          <a:solidFill>
            <a:schemeClr val="accent3">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Open Sans"/>
              <a:ea typeface="+mn-ea"/>
              <a:cs typeface="+mn-cs"/>
            </a:endParaRPr>
          </a:p>
        </p:txBody>
      </p:sp>
      <p:sp>
        <p:nvSpPr>
          <p:cNvPr id="7" name="Rectangle 6">
            <a:extLst>
              <a:ext uri="{FF2B5EF4-FFF2-40B4-BE49-F238E27FC236}">
                <a16:creationId xmlns:a16="http://schemas.microsoft.com/office/drawing/2014/main" id="{0C34FAA8-7443-4860-91DB-E5E33D6D1BBA}"/>
              </a:ext>
            </a:extLst>
          </p:cNvPr>
          <p:cNvSpPr/>
          <p:nvPr/>
        </p:nvSpPr>
        <p:spPr bwMode="gray">
          <a:xfrm>
            <a:off x="4854510" y="3290586"/>
            <a:ext cx="1755008" cy="2881613"/>
          </a:xfrm>
          <a:prstGeom prst="rect">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Open Sans"/>
              <a:ea typeface="+mn-ea"/>
              <a:cs typeface="+mn-cs"/>
            </a:endParaRPr>
          </a:p>
        </p:txBody>
      </p:sp>
      <p:sp>
        <p:nvSpPr>
          <p:cNvPr id="8" name="Oval 7">
            <a:extLst>
              <a:ext uri="{FF2B5EF4-FFF2-40B4-BE49-F238E27FC236}">
                <a16:creationId xmlns:a16="http://schemas.microsoft.com/office/drawing/2014/main" id="{9CAB86E6-EB6B-4D2F-8BD0-1E59449DF1D8}"/>
              </a:ext>
            </a:extLst>
          </p:cNvPr>
          <p:cNvSpPr/>
          <p:nvPr/>
        </p:nvSpPr>
        <p:spPr bwMode="gray">
          <a:xfrm>
            <a:off x="1104501" y="2444695"/>
            <a:ext cx="1303795" cy="1258880"/>
          </a:xfrm>
          <a:prstGeom prst="ellipse">
            <a:avLst/>
          </a:prstGeom>
          <a:solidFill>
            <a:schemeClr val="accent2">
              <a:lumMod val="75000"/>
            </a:schemeClr>
          </a:solidFill>
          <a:ln w="7620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Open Sans"/>
              <a:ea typeface="+mn-ea"/>
              <a:cs typeface="+mn-cs"/>
            </a:endParaRPr>
          </a:p>
        </p:txBody>
      </p:sp>
      <p:sp>
        <p:nvSpPr>
          <p:cNvPr id="9" name="Text Placeholder 5">
            <a:extLst>
              <a:ext uri="{FF2B5EF4-FFF2-40B4-BE49-F238E27FC236}">
                <a16:creationId xmlns:a16="http://schemas.microsoft.com/office/drawing/2014/main" id="{BD2A7436-22CA-470D-8BA0-12FA6A07648D}"/>
              </a:ext>
            </a:extLst>
          </p:cNvPr>
          <p:cNvSpPr txBox="1">
            <a:spLocks/>
          </p:cNvSpPr>
          <p:nvPr/>
        </p:nvSpPr>
        <p:spPr>
          <a:xfrm>
            <a:off x="943438" y="4125612"/>
            <a:ext cx="1625919" cy="1581972"/>
          </a:xfrm>
          <a:prstGeom prst="rect">
            <a:avLst/>
          </a:prstGeom>
        </p:spPr>
        <p:txBody>
          <a:bodyPr vert="horz" lIns="73152" tIns="36576" rIns="73152" bIns="36576" rtlCol="0">
            <a:spAutoFit/>
          </a:bodyPr>
          <a:lstStyle>
            <a:defPPr>
              <a:defRPr lang="en-US"/>
            </a:defPPr>
            <a:lvl1pPr indent="0">
              <a:lnSpc>
                <a:spcPct val="100000"/>
              </a:lnSpc>
              <a:spcBef>
                <a:spcPts val="0"/>
              </a:spcBef>
              <a:buClr>
                <a:schemeClr val="accent5"/>
              </a:buClr>
              <a:buSzPct val="75000"/>
              <a:buFont typeface="Arial" panose="020B0604020202020204" pitchFamily="34" charset="0"/>
              <a:buNone/>
              <a:defRPr sz="900" spc="-30">
                <a:ea typeface="Chronicle Display Black" charset="0"/>
                <a:cs typeface="Chronicle Display Black" charset="0"/>
              </a:defRPr>
            </a:lvl1pPr>
            <a:lvl2pPr indent="0">
              <a:lnSpc>
                <a:spcPct val="100000"/>
              </a:lnSpc>
              <a:spcBef>
                <a:spcPts val="500"/>
              </a:spcBef>
              <a:buClr>
                <a:schemeClr val="accent5"/>
              </a:buClr>
              <a:buSzPct val="75000"/>
              <a:buFont typeface="Arial" panose="020B0604020202020204" pitchFamily="34" charset="0"/>
              <a:buNone/>
              <a:defRPr spc="-30">
                <a:latin typeface="Open Sans" charset="0"/>
                <a:ea typeface="Open Sans" charset="0"/>
                <a:cs typeface="Open Sans" charset="0"/>
              </a:defRPr>
            </a:lvl2pPr>
            <a:lvl3pPr indent="0">
              <a:lnSpc>
                <a:spcPct val="100000"/>
              </a:lnSpc>
              <a:spcBef>
                <a:spcPts val="500"/>
              </a:spcBef>
              <a:buClr>
                <a:schemeClr val="accent5"/>
              </a:buClr>
              <a:buSzPct val="75000"/>
              <a:buFont typeface="Arial" panose="020B0604020202020204" pitchFamily="34" charset="0"/>
              <a:buNone/>
              <a:defRPr sz="1600" spc="-30">
                <a:latin typeface="Open Sans" charset="0"/>
                <a:ea typeface="Open Sans" charset="0"/>
                <a:cs typeface="Open Sans" charset="0"/>
              </a:defRPr>
            </a:lvl3pPr>
            <a:lvl4pPr indent="0">
              <a:lnSpc>
                <a:spcPct val="100000"/>
              </a:lnSpc>
              <a:spcBef>
                <a:spcPts val="500"/>
              </a:spcBef>
              <a:buClr>
                <a:schemeClr val="accent5"/>
              </a:buClr>
              <a:buSzPct val="75000"/>
              <a:buFont typeface="Arial" panose="020B0604020202020204" pitchFamily="34" charset="0"/>
              <a:buNone/>
              <a:defRPr sz="1400" spc="-30">
                <a:latin typeface="Open Sans" charset="0"/>
                <a:ea typeface="Open Sans" charset="0"/>
                <a:cs typeface="Open Sans" charset="0"/>
              </a:defRPr>
            </a:lvl4pPr>
            <a:lvl5pPr indent="0">
              <a:lnSpc>
                <a:spcPct val="100000"/>
              </a:lnSpc>
              <a:spcBef>
                <a:spcPts val="500"/>
              </a:spcBef>
              <a:buClr>
                <a:schemeClr val="accent5"/>
              </a:buClr>
              <a:buSzPct val="75000"/>
              <a:buFont typeface="Arial" panose="020B0604020202020204" pitchFamily="34" charset="0"/>
              <a:buNone/>
              <a:defRPr sz="1400" spc="-30">
                <a:latin typeface="Open Sans" charset="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700" b="0" i="0" u="none" strike="noStrike" kern="1200" cap="none" spc="-30" normalizeH="0" baseline="0" noProof="0" dirty="0">
                <a:ln>
                  <a:noFill/>
                </a:ln>
                <a:solidFill>
                  <a:srgbClr val="000000"/>
                </a:solidFill>
                <a:effectLst/>
                <a:uLnTx/>
                <a:uFillTx/>
                <a:latin typeface="Open Sans"/>
              </a:rPr>
              <a:t>Centralize their client information - Before Salesforce each sales user was using Microsoft Outlook to manage their account and contact information. </a:t>
            </a:r>
          </a:p>
          <a:p>
            <a:pPr marL="0" marR="0" lvl="0" indent="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700" b="0" i="0" u="none" strike="noStrike" kern="1200" cap="none" spc="-30" normalizeH="0" baseline="0" noProof="0" dirty="0">
                <a:ln>
                  <a:noFill/>
                </a:ln>
                <a:solidFill>
                  <a:srgbClr val="000000"/>
                </a:solidFill>
                <a:effectLst/>
                <a:uLnTx/>
                <a:uFillTx/>
                <a:latin typeface="Open Sans"/>
              </a:rPr>
              <a:t>Manage all their sales opportunities in a more streamlined manner - Before Salesforce multiple spreadsheets were used to track active sales opportunities and contracted opportunities. </a:t>
            </a:r>
          </a:p>
          <a:p>
            <a:pPr marL="0" marR="0" lvl="0" indent="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700" b="0" i="0" u="none" strike="noStrike" kern="1200" cap="none" spc="-30" normalizeH="0" baseline="0" noProof="0" dirty="0">
                <a:ln>
                  <a:noFill/>
                </a:ln>
                <a:solidFill>
                  <a:srgbClr val="000000"/>
                </a:solidFill>
                <a:effectLst/>
                <a:uLnTx/>
                <a:uFillTx/>
                <a:latin typeface="Open Sans"/>
              </a:rPr>
              <a:t>Streamlined collaboration between sales users during their sales cycle - Collaboration between sales users was done via emails and off hand conversations.</a:t>
            </a:r>
            <a:endParaRPr kumimoji="0" lang="en-CA" sz="700" b="0" i="0" u="none" strike="noStrike" kern="1200" cap="none" spc="-30" normalizeH="0" baseline="0" noProof="0" dirty="0">
              <a:ln>
                <a:noFill/>
              </a:ln>
              <a:solidFill>
                <a:srgbClr val="000000"/>
              </a:solidFill>
              <a:effectLst/>
              <a:uLnTx/>
              <a:uFillTx/>
              <a:latin typeface="Open Sans"/>
            </a:endParaRPr>
          </a:p>
        </p:txBody>
      </p:sp>
      <p:sp>
        <p:nvSpPr>
          <p:cNvPr id="10" name="TextBox 9">
            <a:extLst>
              <a:ext uri="{FF2B5EF4-FFF2-40B4-BE49-F238E27FC236}">
                <a16:creationId xmlns:a16="http://schemas.microsoft.com/office/drawing/2014/main" id="{D22CDA69-E652-4D11-97B3-78D06C315EDC}"/>
              </a:ext>
            </a:extLst>
          </p:cNvPr>
          <p:cNvSpPr txBox="1"/>
          <p:nvPr/>
        </p:nvSpPr>
        <p:spPr>
          <a:xfrm>
            <a:off x="1187240" y="3810069"/>
            <a:ext cx="1138316" cy="307777"/>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Chronicle Display Light" charset="0"/>
                <a:cs typeface="Chronicle Display Light" charset="0"/>
              </a:rPr>
              <a:t>CHALLENGE</a:t>
            </a:r>
            <a:endParaRPr kumimoji="0" lang="en-US" sz="6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11" name="Oval 10">
            <a:extLst>
              <a:ext uri="{FF2B5EF4-FFF2-40B4-BE49-F238E27FC236}">
                <a16:creationId xmlns:a16="http://schemas.microsoft.com/office/drawing/2014/main" id="{432000AC-B7AC-4BAB-8C7A-25E956AE9B4E}"/>
              </a:ext>
            </a:extLst>
          </p:cNvPr>
          <p:cNvSpPr/>
          <p:nvPr/>
        </p:nvSpPr>
        <p:spPr bwMode="gray">
          <a:xfrm>
            <a:off x="3038577" y="2444695"/>
            <a:ext cx="1303795" cy="1258880"/>
          </a:xfrm>
          <a:prstGeom prst="ellipse">
            <a:avLst/>
          </a:prstGeom>
          <a:solidFill>
            <a:schemeClr val="accent3"/>
          </a:solidFill>
          <a:ln w="7620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Open Sans"/>
              <a:ea typeface="+mn-ea"/>
              <a:cs typeface="+mn-cs"/>
            </a:endParaRPr>
          </a:p>
        </p:txBody>
      </p:sp>
      <p:sp>
        <p:nvSpPr>
          <p:cNvPr id="12" name="TextBox 11">
            <a:extLst>
              <a:ext uri="{FF2B5EF4-FFF2-40B4-BE49-F238E27FC236}">
                <a16:creationId xmlns:a16="http://schemas.microsoft.com/office/drawing/2014/main" id="{960847AD-F1DB-42AA-B8DF-DB863E7ACF88}"/>
              </a:ext>
            </a:extLst>
          </p:cNvPr>
          <p:cNvSpPr txBox="1"/>
          <p:nvPr/>
        </p:nvSpPr>
        <p:spPr>
          <a:xfrm>
            <a:off x="3126525" y="2557314"/>
            <a:ext cx="1127898"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Open Sans"/>
                <a:ea typeface="Chronicle Display Light" charset="0"/>
                <a:cs typeface="Chronicle Display Light" charset="0"/>
              </a:rPr>
              <a:t> </a:t>
            </a:r>
            <a:endParaRPr kumimoji="0" lang="en-US" sz="10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3" name="Text Placeholder 5">
            <a:extLst>
              <a:ext uri="{FF2B5EF4-FFF2-40B4-BE49-F238E27FC236}">
                <a16:creationId xmlns:a16="http://schemas.microsoft.com/office/drawing/2014/main" id="{B8BB39CE-D17A-41EE-93F3-9DD1CDDD95DE}"/>
              </a:ext>
            </a:extLst>
          </p:cNvPr>
          <p:cNvSpPr txBox="1">
            <a:spLocks/>
          </p:cNvSpPr>
          <p:nvPr/>
        </p:nvSpPr>
        <p:spPr>
          <a:xfrm>
            <a:off x="2884422" y="4125612"/>
            <a:ext cx="1612104" cy="1366528"/>
          </a:xfrm>
          <a:prstGeom prst="rect">
            <a:avLst/>
          </a:prstGeom>
        </p:spPr>
        <p:txBody>
          <a:bodyPr vert="horz" lIns="73152" tIns="36576" rIns="73152" bIns="36576" rtlCol="0">
            <a:spAutoFit/>
          </a:bodyPr>
          <a:lstStyle>
            <a:defPPr>
              <a:defRPr lang="en-US"/>
            </a:defPPr>
            <a:lvl1pPr indent="0">
              <a:lnSpc>
                <a:spcPct val="100000"/>
              </a:lnSpc>
              <a:spcBef>
                <a:spcPts val="0"/>
              </a:spcBef>
              <a:buClr>
                <a:schemeClr val="accent5"/>
              </a:buClr>
              <a:buSzPct val="75000"/>
              <a:buFont typeface="Arial" panose="020B0604020202020204" pitchFamily="34" charset="0"/>
              <a:buNone/>
              <a:defRPr sz="900" spc="-30">
                <a:ea typeface="Chronicle Display Black" charset="0"/>
                <a:cs typeface="Chronicle Display Black" charset="0"/>
              </a:defRPr>
            </a:lvl1pPr>
            <a:lvl2pPr indent="0">
              <a:lnSpc>
                <a:spcPct val="100000"/>
              </a:lnSpc>
              <a:spcBef>
                <a:spcPts val="500"/>
              </a:spcBef>
              <a:buClr>
                <a:schemeClr val="accent5"/>
              </a:buClr>
              <a:buSzPct val="75000"/>
              <a:buFont typeface="Arial" panose="020B0604020202020204" pitchFamily="34" charset="0"/>
              <a:buNone/>
              <a:defRPr spc="-30">
                <a:latin typeface="Open Sans" charset="0"/>
                <a:ea typeface="Open Sans" charset="0"/>
                <a:cs typeface="Open Sans" charset="0"/>
              </a:defRPr>
            </a:lvl2pPr>
            <a:lvl3pPr indent="0">
              <a:lnSpc>
                <a:spcPct val="100000"/>
              </a:lnSpc>
              <a:spcBef>
                <a:spcPts val="500"/>
              </a:spcBef>
              <a:buClr>
                <a:schemeClr val="accent5"/>
              </a:buClr>
              <a:buSzPct val="75000"/>
              <a:buFont typeface="Arial" panose="020B0604020202020204" pitchFamily="34" charset="0"/>
              <a:buNone/>
              <a:defRPr sz="1600" spc="-30">
                <a:latin typeface="Open Sans" charset="0"/>
                <a:ea typeface="Open Sans" charset="0"/>
                <a:cs typeface="Open Sans" charset="0"/>
              </a:defRPr>
            </a:lvl3pPr>
            <a:lvl4pPr indent="0">
              <a:lnSpc>
                <a:spcPct val="100000"/>
              </a:lnSpc>
              <a:spcBef>
                <a:spcPts val="500"/>
              </a:spcBef>
              <a:buClr>
                <a:schemeClr val="accent5"/>
              </a:buClr>
              <a:buSzPct val="75000"/>
              <a:buFont typeface="Arial" panose="020B0604020202020204" pitchFamily="34" charset="0"/>
              <a:buNone/>
              <a:defRPr sz="1400" spc="-30">
                <a:latin typeface="Open Sans" charset="0"/>
                <a:ea typeface="Open Sans" charset="0"/>
                <a:cs typeface="Open Sans" charset="0"/>
              </a:defRPr>
            </a:lvl4pPr>
            <a:lvl5pPr indent="0">
              <a:lnSpc>
                <a:spcPct val="100000"/>
              </a:lnSpc>
              <a:spcBef>
                <a:spcPts val="500"/>
              </a:spcBef>
              <a:buClr>
                <a:schemeClr val="accent5"/>
              </a:buClr>
              <a:buSzPct val="75000"/>
              <a:buFont typeface="Arial" panose="020B0604020202020204" pitchFamily="34" charset="0"/>
              <a:buNone/>
              <a:defRPr sz="1400" spc="-30">
                <a:latin typeface="Open Sans" charset="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700" b="0" i="0" u="none" strike="noStrike" kern="1200" cap="none" spc="-30" normalizeH="0" baseline="0" noProof="0" dirty="0">
                <a:ln>
                  <a:noFill/>
                </a:ln>
                <a:solidFill>
                  <a:srgbClr val="000000"/>
                </a:solidFill>
                <a:effectLst/>
                <a:uLnTx/>
                <a:uFillTx/>
                <a:latin typeface="Open Sans"/>
              </a:rPr>
              <a:t>Implemented a lighting app for the sales users to manage their accounts, contacts and opportunities. </a:t>
            </a:r>
          </a:p>
          <a:p>
            <a:pPr marL="0" marR="0" lvl="0" indent="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700" b="0" i="0" u="none" strike="noStrike" kern="1200" cap="none" spc="-30" normalizeH="0" baseline="0" noProof="0" dirty="0">
                <a:ln>
                  <a:noFill/>
                </a:ln>
                <a:solidFill>
                  <a:srgbClr val="000000"/>
                </a:solidFill>
                <a:effectLst/>
                <a:uLnTx/>
                <a:uFillTx/>
                <a:latin typeface="Open Sans"/>
              </a:rPr>
              <a:t>We implemented two sales processes for their opportunity management. </a:t>
            </a:r>
          </a:p>
          <a:p>
            <a:pPr marL="0" marR="0" lvl="0" indent="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700" b="0" i="0" u="none" strike="noStrike" kern="1200" cap="none" spc="-30" normalizeH="0" baseline="0" noProof="0" dirty="0" err="1">
                <a:ln>
                  <a:noFill/>
                </a:ln>
                <a:solidFill>
                  <a:srgbClr val="000000"/>
                </a:solidFill>
                <a:effectLst/>
                <a:uLnTx/>
                <a:uFillTx/>
                <a:latin typeface="Open Sans"/>
              </a:rPr>
              <a:t>TWC</a:t>
            </a:r>
            <a:r>
              <a:rPr kumimoji="0" lang="en-US" sz="700" b="0" i="0" u="none" strike="noStrike" kern="1200" cap="none" spc="-30" normalizeH="0" baseline="0" noProof="0" dirty="0">
                <a:ln>
                  <a:noFill/>
                </a:ln>
                <a:solidFill>
                  <a:srgbClr val="000000"/>
                </a:solidFill>
                <a:effectLst/>
                <a:uLnTx/>
                <a:uFillTx/>
                <a:latin typeface="Open Sans"/>
              </a:rPr>
              <a:t> implemented a custom object for Crestwood to track their capacity offer which are related to their opportunities </a:t>
            </a:r>
          </a:p>
          <a:p>
            <a:pPr marL="0" marR="0" lvl="0" indent="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700" b="0" i="0" u="none" strike="noStrike" kern="1200" cap="none" spc="-30" normalizeH="0" baseline="0" noProof="0" dirty="0" err="1">
                <a:ln>
                  <a:noFill/>
                </a:ln>
                <a:solidFill>
                  <a:srgbClr val="000000"/>
                </a:solidFill>
                <a:effectLst/>
                <a:uLnTx/>
                <a:uFillTx/>
                <a:latin typeface="Open Sans"/>
              </a:rPr>
              <a:t>TWC</a:t>
            </a:r>
            <a:r>
              <a:rPr kumimoji="0" lang="en-US" sz="700" b="0" i="0" u="none" strike="noStrike" kern="1200" cap="none" spc="-30" normalizeH="0" baseline="0" noProof="0" dirty="0">
                <a:ln>
                  <a:noFill/>
                </a:ln>
                <a:solidFill>
                  <a:srgbClr val="000000"/>
                </a:solidFill>
                <a:effectLst/>
                <a:uLnTx/>
                <a:uFillTx/>
                <a:latin typeface="Open Sans"/>
              </a:rPr>
              <a:t> implemented chatter for the users to collaborate with each other within the context of a specific record</a:t>
            </a:r>
            <a:endParaRPr kumimoji="0" lang="en-CA" sz="700" b="0" i="0" u="none" strike="noStrike" kern="1200" cap="none" spc="-30" normalizeH="0" baseline="0" noProof="0" dirty="0">
              <a:ln>
                <a:noFill/>
              </a:ln>
              <a:solidFill>
                <a:srgbClr val="000000"/>
              </a:solidFill>
              <a:effectLst/>
              <a:uLnTx/>
              <a:uFillTx/>
              <a:latin typeface="Open Sans"/>
            </a:endParaRPr>
          </a:p>
        </p:txBody>
      </p:sp>
      <p:sp>
        <p:nvSpPr>
          <p:cNvPr id="14" name="Oval 13">
            <a:extLst>
              <a:ext uri="{FF2B5EF4-FFF2-40B4-BE49-F238E27FC236}">
                <a16:creationId xmlns:a16="http://schemas.microsoft.com/office/drawing/2014/main" id="{61D45161-73BE-49C4-A814-9B1F15F1CEDE}"/>
              </a:ext>
            </a:extLst>
          </p:cNvPr>
          <p:cNvSpPr/>
          <p:nvPr/>
        </p:nvSpPr>
        <p:spPr bwMode="gray">
          <a:xfrm>
            <a:off x="5080117" y="2444695"/>
            <a:ext cx="1303795" cy="1258880"/>
          </a:xfrm>
          <a:prstGeom prst="ellipse">
            <a:avLst/>
          </a:prstGeom>
          <a:solidFill>
            <a:schemeClr val="accent4">
              <a:lumMod val="75000"/>
            </a:schemeClr>
          </a:solidFill>
          <a:ln w="7620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FFFFFF"/>
              </a:solidFill>
              <a:effectLst/>
              <a:uLnTx/>
              <a:uFillTx/>
              <a:latin typeface="Open Sans"/>
              <a:ea typeface="+mn-ea"/>
              <a:cs typeface="+mn-cs"/>
            </a:endParaRPr>
          </a:p>
        </p:txBody>
      </p:sp>
      <p:sp>
        <p:nvSpPr>
          <p:cNvPr id="15" name="Text Placeholder 5">
            <a:extLst>
              <a:ext uri="{FF2B5EF4-FFF2-40B4-BE49-F238E27FC236}">
                <a16:creationId xmlns:a16="http://schemas.microsoft.com/office/drawing/2014/main" id="{BE82E907-B95D-4A1C-AE45-83E9C40183C0}"/>
              </a:ext>
            </a:extLst>
          </p:cNvPr>
          <p:cNvSpPr txBox="1">
            <a:spLocks/>
          </p:cNvSpPr>
          <p:nvPr/>
        </p:nvSpPr>
        <p:spPr>
          <a:xfrm>
            <a:off x="4859472" y="4125612"/>
            <a:ext cx="1745084" cy="2012859"/>
          </a:xfrm>
          <a:prstGeom prst="rect">
            <a:avLst/>
          </a:prstGeom>
        </p:spPr>
        <p:txBody>
          <a:bodyPr vert="horz" lIns="73152" tIns="36576" rIns="73152" bIns="36576" rtlCol="0">
            <a:spAutoFit/>
          </a:bodyPr>
          <a:lstStyle>
            <a:defPPr>
              <a:defRPr lang="en-US"/>
            </a:defPPr>
            <a:lvl1pPr indent="0">
              <a:lnSpc>
                <a:spcPct val="100000"/>
              </a:lnSpc>
              <a:spcBef>
                <a:spcPts val="0"/>
              </a:spcBef>
              <a:buClr>
                <a:schemeClr val="accent5"/>
              </a:buClr>
              <a:buSzPct val="75000"/>
              <a:buFont typeface="Arial" panose="020B0604020202020204" pitchFamily="34" charset="0"/>
              <a:buNone/>
              <a:defRPr sz="900" spc="-30">
                <a:ea typeface="Chronicle Display Black" charset="0"/>
                <a:cs typeface="Chronicle Display Black" charset="0"/>
              </a:defRPr>
            </a:lvl1pPr>
            <a:lvl2pPr indent="0">
              <a:lnSpc>
                <a:spcPct val="100000"/>
              </a:lnSpc>
              <a:spcBef>
                <a:spcPts val="500"/>
              </a:spcBef>
              <a:buClr>
                <a:schemeClr val="accent5"/>
              </a:buClr>
              <a:buSzPct val="75000"/>
              <a:buFont typeface="Arial" panose="020B0604020202020204" pitchFamily="34" charset="0"/>
              <a:buNone/>
              <a:defRPr spc="-30">
                <a:latin typeface="Open Sans" charset="0"/>
                <a:ea typeface="Open Sans" charset="0"/>
                <a:cs typeface="Open Sans" charset="0"/>
              </a:defRPr>
            </a:lvl2pPr>
            <a:lvl3pPr indent="0">
              <a:lnSpc>
                <a:spcPct val="100000"/>
              </a:lnSpc>
              <a:spcBef>
                <a:spcPts val="500"/>
              </a:spcBef>
              <a:buClr>
                <a:schemeClr val="accent5"/>
              </a:buClr>
              <a:buSzPct val="75000"/>
              <a:buFont typeface="Arial" panose="020B0604020202020204" pitchFamily="34" charset="0"/>
              <a:buNone/>
              <a:defRPr sz="1600" spc="-30">
                <a:latin typeface="Open Sans" charset="0"/>
                <a:ea typeface="Open Sans" charset="0"/>
                <a:cs typeface="Open Sans" charset="0"/>
              </a:defRPr>
            </a:lvl3pPr>
            <a:lvl4pPr indent="0">
              <a:lnSpc>
                <a:spcPct val="100000"/>
              </a:lnSpc>
              <a:spcBef>
                <a:spcPts val="500"/>
              </a:spcBef>
              <a:buClr>
                <a:schemeClr val="accent5"/>
              </a:buClr>
              <a:buSzPct val="75000"/>
              <a:buFont typeface="Arial" panose="020B0604020202020204" pitchFamily="34" charset="0"/>
              <a:buNone/>
              <a:defRPr sz="1400" spc="-30">
                <a:latin typeface="Open Sans" charset="0"/>
                <a:ea typeface="Open Sans" charset="0"/>
                <a:cs typeface="Open Sans" charset="0"/>
              </a:defRPr>
            </a:lvl4pPr>
            <a:lvl5pPr indent="0">
              <a:lnSpc>
                <a:spcPct val="100000"/>
              </a:lnSpc>
              <a:spcBef>
                <a:spcPts val="500"/>
              </a:spcBef>
              <a:buClr>
                <a:schemeClr val="accent5"/>
              </a:buClr>
              <a:buSzPct val="75000"/>
              <a:buFont typeface="Arial" panose="020B0604020202020204" pitchFamily="34" charset="0"/>
              <a:buNone/>
              <a:defRPr sz="1400" spc="-30">
                <a:latin typeface="Open Sans" charset="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700" b="0" i="0" u="none" strike="noStrike" kern="1200" cap="none" spc="-30" normalizeH="0" baseline="0" noProof="0" dirty="0">
                <a:ln>
                  <a:noFill/>
                </a:ln>
                <a:solidFill>
                  <a:srgbClr val="000000"/>
                </a:solidFill>
                <a:effectLst/>
                <a:uLnTx/>
                <a:uFillTx/>
                <a:latin typeface="Open Sans"/>
              </a:rPr>
              <a:t>Client has streamlined their account and contact information by centralizing their data into one system. </a:t>
            </a:r>
            <a:r>
              <a:rPr lang="en-US" sz="700" dirty="0">
                <a:solidFill>
                  <a:srgbClr val="000000"/>
                </a:solidFill>
                <a:latin typeface="Open Sans"/>
              </a:rPr>
              <a:t>Vendor </a:t>
            </a:r>
            <a:r>
              <a:rPr kumimoji="0" lang="en-US" sz="700" b="0" i="0" u="none" strike="noStrike" kern="1200" cap="none" spc="-30" normalizeH="0" baseline="0" noProof="0" dirty="0">
                <a:ln>
                  <a:noFill/>
                </a:ln>
                <a:solidFill>
                  <a:srgbClr val="000000"/>
                </a:solidFill>
                <a:effectLst/>
                <a:uLnTx/>
                <a:uFillTx/>
                <a:latin typeface="Open Sans"/>
              </a:rPr>
              <a:t>allows their users to share the updated information about their contacts within Microsoft Exchange environment. </a:t>
            </a:r>
          </a:p>
          <a:p>
            <a:pPr marL="0" marR="0" lvl="0" indent="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700" b="0" i="0" u="none" strike="noStrike" kern="1200" cap="none" spc="-30" normalizeH="0" baseline="0" noProof="0" dirty="0">
                <a:ln>
                  <a:noFill/>
                </a:ln>
                <a:solidFill>
                  <a:srgbClr val="000000"/>
                </a:solidFill>
                <a:effectLst/>
                <a:uLnTx/>
                <a:uFillTx/>
                <a:latin typeface="Open Sans"/>
              </a:rPr>
              <a:t>By implementing an email integration tool, users will be able to relate email items to salesforce records directly form Outlook. Client is now able to report on opportunity data on demand since the data is now centralized in Salesforce. </a:t>
            </a:r>
          </a:p>
          <a:p>
            <a:pPr marL="0" marR="0" lvl="0" indent="0" algn="l"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700" b="0" i="0" u="none" strike="noStrike" kern="1200" cap="none" spc="-30" normalizeH="0" baseline="0" noProof="0" dirty="0">
                <a:ln>
                  <a:noFill/>
                </a:ln>
                <a:solidFill>
                  <a:srgbClr val="000000"/>
                </a:solidFill>
                <a:effectLst/>
                <a:uLnTx/>
                <a:uFillTx/>
                <a:latin typeface="Open Sans"/>
              </a:rPr>
              <a:t>Sales team behavior is driven towards a structured sales process as Salesforce provides the users with guidance for success through their opportunity sales cycle. Ability to identify effectiveness of their capacity offers.</a:t>
            </a:r>
            <a:endParaRPr kumimoji="0" lang="en-CA" sz="700" b="0" i="0" u="none" strike="noStrike" kern="1200" cap="none" spc="-30" normalizeH="0" baseline="0" noProof="0" dirty="0">
              <a:ln>
                <a:noFill/>
              </a:ln>
              <a:solidFill>
                <a:srgbClr val="000000"/>
              </a:solidFill>
              <a:effectLst/>
              <a:uLnTx/>
              <a:uFillTx/>
              <a:latin typeface="Open Sans"/>
            </a:endParaRPr>
          </a:p>
        </p:txBody>
      </p:sp>
      <p:pic>
        <p:nvPicPr>
          <p:cNvPr id="16" name="Picture 15">
            <a:extLst>
              <a:ext uri="{FF2B5EF4-FFF2-40B4-BE49-F238E27FC236}">
                <a16:creationId xmlns:a16="http://schemas.microsoft.com/office/drawing/2014/main" id="{D20CA83D-30A8-4060-83F9-405431295ADB}"/>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932618" y="457200"/>
            <a:ext cx="1788289" cy="828260"/>
          </a:xfrm>
          <a:prstGeom prst="rect">
            <a:avLst/>
          </a:prstGeom>
        </p:spPr>
      </p:pic>
      <p:sp>
        <p:nvSpPr>
          <p:cNvPr id="17" name="TextBox 16">
            <a:extLst>
              <a:ext uri="{FF2B5EF4-FFF2-40B4-BE49-F238E27FC236}">
                <a16:creationId xmlns:a16="http://schemas.microsoft.com/office/drawing/2014/main" id="{0A427242-A96F-4FA5-86B3-204E0A4D7AF3}"/>
              </a:ext>
            </a:extLst>
          </p:cNvPr>
          <p:cNvSpPr txBox="1"/>
          <p:nvPr/>
        </p:nvSpPr>
        <p:spPr>
          <a:xfrm>
            <a:off x="3121316" y="3810069"/>
            <a:ext cx="1138316" cy="307777"/>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Chronicle Display Light" charset="0"/>
                <a:cs typeface="Chronicle Display Light" charset="0"/>
              </a:rPr>
              <a:t>SOLUTION</a:t>
            </a:r>
          </a:p>
        </p:txBody>
      </p:sp>
      <p:sp>
        <p:nvSpPr>
          <p:cNvPr id="18" name="TextBox 17">
            <a:extLst>
              <a:ext uri="{FF2B5EF4-FFF2-40B4-BE49-F238E27FC236}">
                <a16:creationId xmlns:a16="http://schemas.microsoft.com/office/drawing/2014/main" id="{7FC47189-A75A-4EC9-A544-0CD0FF39FA69}"/>
              </a:ext>
            </a:extLst>
          </p:cNvPr>
          <p:cNvSpPr txBox="1"/>
          <p:nvPr/>
        </p:nvSpPr>
        <p:spPr>
          <a:xfrm>
            <a:off x="5162856" y="3810069"/>
            <a:ext cx="1138316" cy="307777"/>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Chronicle Display Light" charset="0"/>
                <a:cs typeface="Chronicle Display Light" charset="0"/>
              </a:rPr>
              <a:t>RESULTS</a:t>
            </a:r>
          </a:p>
        </p:txBody>
      </p:sp>
      <p:grpSp>
        <p:nvGrpSpPr>
          <p:cNvPr id="19" name="Group 18">
            <a:extLst>
              <a:ext uri="{FF2B5EF4-FFF2-40B4-BE49-F238E27FC236}">
                <a16:creationId xmlns:a16="http://schemas.microsoft.com/office/drawing/2014/main" id="{0E40090F-B262-4DE8-9DC4-21383935CB4A}"/>
              </a:ext>
            </a:extLst>
          </p:cNvPr>
          <p:cNvGrpSpPr>
            <a:grpSpLocks noChangeAspect="1"/>
          </p:cNvGrpSpPr>
          <p:nvPr/>
        </p:nvGrpSpPr>
        <p:grpSpPr>
          <a:xfrm>
            <a:off x="3274422" y="2658083"/>
            <a:ext cx="832104" cy="832104"/>
            <a:chOff x="2316163" y="4175125"/>
            <a:chExt cx="522288" cy="522288"/>
          </a:xfrm>
          <a:solidFill>
            <a:schemeClr val="bg1"/>
          </a:solidFill>
        </p:grpSpPr>
        <p:sp>
          <p:nvSpPr>
            <p:cNvPr id="20" name="Freeform 38">
              <a:extLst>
                <a:ext uri="{FF2B5EF4-FFF2-40B4-BE49-F238E27FC236}">
                  <a16:creationId xmlns:a16="http://schemas.microsoft.com/office/drawing/2014/main" id="{559C7BC3-F08E-4D52-94F6-21BEA8F0C85F}"/>
                </a:ext>
              </a:extLst>
            </p:cNvPr>
            <p:cNvSpPr>
              <a:spLocks noEditPoints="1"/>
            </p:cNvSpPr>
            <p:nvPr/>
          </p:nvSpPr>
          <p:spPr bwMode="auto">
            <a:xfrm>
              <a:off x="2316163" y="4175125"/>
              <a:ext cx="522288" cy="522288"/>
            </a:xfrm>
            <a:custGeom>
              <a:avLst/>
              <a:gdLst>
                <a:gd name="T0" fmla="*/ 312 w 657"/>
                <a:gd name="T1" fmla="*/ 657 h 657"/>
                <a:gd name="T2" fmla="*/ 262 w 657"/>
                <a:gd name="T3" fmla="*/ 650 h 657"/>
                <a:gd name="T4" fmla="*/ 200 w 657"/>
                <a:gd name="T5" fmla="*/ 632 h 657"/>
                <a:gd name="T6" fmla="*/ 120 w 657"/>
                <a:gd name="T7" fmla="*/ 582 h 657"/>
                <a:gd name="T8" fmla="*/ 55 w 657"/>
                <a:gd name="T9" fmla="*/ 512 h 657"/>
                <a:gd name="T10" fmla="*/ 15 w 657"/>
                <a:gd name="T11" fmla="*/ 426 h 657"/>
                <a:gd name="T12" fmla="*/ 3 w 657"/>
                <a:gd name="T13" fmla="*/ 379 h 657"/>
                <a:gd name="T14" fmla="*/ 0 w 657"/>
                <a:gd name="T15" fmla="*/ 329 h 657"/>
                <a:gd name="T16" fmla="*/ 2 w 657"/>
                <a:gd name="T17" fmla="*/ 296 h 657"/>
                <a:gd name="T18" fmla="*/ 10 w 657"/>
                <a:gd name="T19" fmla="*/ 246 h 657"/>
                <a:gd name="T20" fmla="*/ 39 w 657"/>
                <a:gd name="T21" fmla="*/ 172 h 657"/>
                <a:gd name="T22" fmla="*/ 96 w 657"/>
                <a:gd name="T23" fmla="*/ 97 h 657"/>
                <a:gd name="T24" fmla="*/ 172 w 657"/>
                <a:gd name="T25" fmla="*/ 39 h 657"/>
                <a:gd name="T26" fmla="*/ 246 w 657"/>
                <a:gd name="T27" fmla="*/ 10 h 657"/>
                <a:gd name="T28" fmla="*/ 294 w 657"/>
                <a:gd name="T29" fmla="*/ 2 h 657"/>
                <a:gd name="T30" fmla="*/ 328 w 657"/>
                <a:gd name="T31" fmla="*/ 0 h 657"/>
                <a:gd name="T32" fmla="*/ 379 w 657"/>
                <a:gd name="T33" fmla="*/ 4 h 657"/>
                <a:gd name="T34" fmla="*/ 426 w 657"/>
                <a:gd name="T35" fmla="*/ 15 h 657"/>
                <a:gd name="T36" fmla="*/ 512 w 657"/>
                <a:gd name="T37" fmla="*/ 57 h 657"/>
                <a:gd name="T38" fmla="*/ 582 w 657"/>
                <a:gd name="T39" fmla="*/ 120 h 657"/>
                <a:gd name="T40" fmla="*/ 632 w 657"/>
                <a:gd name="T41" fmla="*/ 200 h 657"/>
                <a:gd name="T42" fmla="*/ 650 w 657"/>
                <a:gd name="T43" fmla="*/ 262 h 657"/>
                <a:gd name="T44" fmla="*/ 657 w 657"/>
                <a:gd name="T45" fmla="*/ 312 h 657"/>
                <a:gd name="T46" fmla="*/ 657 w 657"/>
                <a:gd name="T47" fmla="*/ 346 h 657"/>
                <a:gd name="T48" fmla="*/ 650 w 657"/>
                <a:gd name="T49" fmla="*/ 395 h 657"/>
                <a:gd name="T50" fmla="*/ 632 w 657"/>
                <a:gd name="T51" fmla="*/ 457 h 657"/>
                <a:gd name="T52" fmla="*/ 582 w 657"/>
                <a:gd name="T53" fmla="*/ 538 h 657"/>
                <a:gd name="T54" fmla="*/ 512 w 657"/>
                <a:gd name="T55" fmla="*/ 601 h 657"/>
                <a:gd name="T56" fmla="*/ 426 w 657"/>
                <a:gd name="T57" fmla="*/ 642 h 657"/>
                <a:gd name="T58" fmla="*/ 379 w 657"/>
                <a:gd name="T59" fmla="*/ 653 h 657"/>
                <a:gd name="T60" fmla="*/ 328 w 657"/>
                <a:gd name="T61" fmla="*/ 657 h 657"/>
                <a:gd name="T62" fmla="*/ 328 w 657"/>
                <a:gd name="T63" fmla="*/ 38 h 657"/>
                <a:gd name="T64" fmla="*/ 242 w 657"/>
                <a:gd name="T65" fmla="*/ 51 h 657"/>
                <a:gd name="T66" fmla="*/ 166 w 657"/>
                <a:gd name="T67" fmla="*/ 88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6 w 657"/>
                <a:gd name="T81" fmla="*/ 570 h 657"/>
                <a:gd name="T82" fmla="*/ 242 w 657"/>
                <a:gd name="T83" fmla="*/ 607 h 657"/>
                <a:gd name="T84" fmla="*/ 328 w 657"/>
                <a:gd name="T85" fmla="*/ 620 h 657"/>
                <a:gd name="T86" fmla="*/ 387 w 657"/>
                <a:gd name="T87" fmla="*/ 614 h 657"/>
                <a:gd name="T88" fmla="*/ 468 w 657"/>
                <a:gd name="T89" fmla="*/ 585 h 657"/>
                <a:gd name="T90" fmla="*/ 535 w 657"/>
                <a:gd name="T91" fmla="*/ 535 h 657"/>
                <a:gd name="T92" fmla="*/ 585 w 657"/>
                <a:gd name="T93" fmla="*/ 468 h 657"/>
                <a:gd name="T94" fmla="*/ 614 w 657"/>
                <a:gd name="T95" fmla="*/ 387 h 657"/>
                <a:gd name="T96" fmla="*/ 620 w 657"/>
                <a:gd name="T97" fmla="*/ 329 h 657"/>
                <a:gd name="T98" fmla="*/ 606 w 657"/>
                <a:gd name="T99" fmla="*/ 242 h 657"/>
                <a:gd name="T100" fmla="*/ 570 w 657"/>
                <a:gd name="T101" fmla="*/ 166 h 657"/>
                <a:gd name="T102" fmla="*/ 513 w 657"/>
                <a:gd name="T103" fmla="*/ 104 h 657"/>
                <a:gd name="T104" fmla="*/ 442 w 657"/>
                <a:gd name="T105" fmla="*/ 61 h 657"/>
                <a:gd name="T106" fmla="*/ 358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4" y="656"/>
                  </a:lnTo>
                  <a:lnTo>
                    <a:pt x="278" y="653"/>
                  </a:lnTo>
                  <a:lnTo>
                    <a:pt x="262" y="650"/>
                  </a:lnTo>
                  <a:lnTo>
                    <a:pt x="246" y="648"/>
                  </a:lnTo>
                  <a:lnTo>
                    <a:pt x="231" y="642"/>
                  </a:lnTo>
                  <a:lnTo>
                    <a:pt x="200" y="632"/>
                  </a:lnTo>
                  <a:lnTo>
                    <a:pt x="172" y="618"/>
                  </a:lnTo>
                  <a:lnTo>
                    <a:pt x="145" y="601"/>
                  </a:lnTo>
                  <a:lnTo>
                    <a:pt x="120" y="582"/>
                  </a:lnTo>
                  <a:lnTo>
                    <a:pt x="96" y="562"/>
                  </a:lnTo>
                  <a:lnTo>
                    <a:pt x="76" y="538"/>
                  </a:lnTo>
                  <a:lnTo>
                    <a:pt x="55" y="512"/>
                  </a:lnTo>
                  <a:lnTo>
                    <a:pt x="39" y="485"/>
                  </a:lnTo>
                  <a:lnTo>
                    <a:pt x="26" y="457"/>
                  </a:lnTo>
                  <a:lnTo>
                    <a:pt x="15" y="426"/>
                  </a:lnTo>
                  <a:lnTo>
                    <a:pt x="10" y="411"/>
                  </a:lnTo>
                  <a:lnTo>
                    <a:pt x="7" y="395"/>
                  </a:lnTo>
                  <a:lnTo>
                    <a:pt x="3" y="379"/>
                  </a:lnTo>
                  <a:lnTo>
                    <a:pt x="2" y="362"/>
                  </a:lnTo>
                  <a:lnTo>
                    <a:pt x="0" y="346"/>
                  </a:lnTo>
                  <a:lnTo>
                    <a:pt x="0" y="329"/>
                  </a:lnTo>
                  <a:lnTo>
                    <a:pt x="0" y="329"/>
                  </a:lnTo>
                  <a:lnTo>
                    <a:pt x="0" y="312"/>
                  </a:lnTo>
                  <a:lnTo>
                    <a:pt x="2" y="296"/>
                  </a:lnTo>
                  <a:lnTo>
                    <a:pt x="3" y="278"/>
                  </a:lnTo>
                  <a:lnTo>
                    <a:pt x="7" y="262"/>
                  </a:lnTo>
                  <a:lnTo>
                    <a:pt x="10" y="246"/>
                  </a:lnTo>
                  <a:lnTo>
                    <a:pt x="15" y="231"/>
                  </a:lnTo>
                  <a:lnTo>
                    <a:pt x="26" y="200"/>
                  </a:lnTo>
                  <a:lnTo>
                    <a:pt x="39" y="172"/>
                  </a:lnTo>
                  <a:lnTo>
                    <a:pt x="55" y="145"/>
                  </a:lnTo>
                  <a:lnTo>
                    <a:pt x="76" y="120"/>
                  </a:lnTo>
                  <a:lnTo>
                    <a:pt x="96" y="97"/>
                  </a:lnTo>
                  <a:lnTo>
                    <a:pt x="120" y="76"/>
                  </a:lnTo>
                  <a:lnTo>
                    <a:pt x="145" y="57"/>
                  </a:lnTo>
                  <a:lnTo>
                    <a:pt x="172" y="39"/>
                  </a:lnTo>
                  <a:lnTo>
                    <a:pt x="200" y="26"/>
                  </a:lnTo>
                  <a:lnTo>
                    <a:pt x="231" y="15"/>
                  </a:lnTo>
                  <a:lnTo>
                    <a:pt x="246" y="10"/>
                  </a:lnTo>
                  <a:lnTo>
                    <a:pt x="262" y="7"/>
                  </a:lnTo>
                  <a:lnTo>
                    <a:pt x="278" y="4"/>
                  </a:lnTo>
                  <a:lnTo>
                    <a:pt x="294" y="2"/>
                  </a:lnTo>
                  <a:lnTo>
                    <a:pt x="312" y="0"/>
                  </a:lnTo>
                  <a:lnTo>
                    <a:pt x="328" y="0"/>
                  </a:lnTo>
                  <a:lnTo>
                    <a:pt x="328" y="0"/>
                  </a:lnTo>
                  <a:lnTo>
                    <a:pt x="346" y="0"/>
                  </a:lnTo>
                  <a:lnTo>
                    <a:pt x="362" y="2"/>
                  </a:lnTo>
                  <a:lnTo>
                    <a:pt x="379" y="4"/>
                  </a:lnTo>
                  <a:lnTo>
                    <a:pt x="395" y="7"/>
                  </a:lnTo>
                  <a:lnTo>
                    <a:pt x="410" y="10"/>
                  </a:lnTo>
                  <a:lnTo>
                    <a:pt x="426" y="15"/>
                  </a:lnTo>
                  <a:lnTo>
                    <a:pt x="457" y="26"/>
                  </a:lnTo>
                  <a:lnTo>
                    <a:pt x="485" y="39"/>
                  </a:lnTo>
                  <a:lnTo>
                    <a:pt x="512" y="57"/>
                  </a:lnTo>
                  <a:lnTo>
                    <a:pt x="538" y="76"/>
                  </a:lnTo>
                  <a:lnTo>
                    <a:pt x="560" y="97"/>
                  </a:lnTo>
                  <a:lnTo>
                    <a:pt x="582" y="120"/>
                  </a:lnTo>
                  <a:lnTo>
                    <a:pt x="601" y="145"/>
                  </a:lnTo>
                  <a:lnTo>
                    <a:pt x="618" y="172"/>
                  </a:lnTo>
                  <a:lnTo>
                    <a:pt x="632" y="200"/>
                  </a:lnTo>
                  <a:lnTo>
                    <a:pt x="642" y="231"/>
                  </a:lnTo>
                  <a:lnTo>
                    <a:pt x="646" y="246"/>
                  </a:lnTo>
                  <a:lnTo>
                    <a:pt x="650" y="262"/>
                  </a:lnTo>
                  <a:lnTo>
                    <a:pt x="653" y="278"/>
                  </a:lnTo>
                  <a:lnTo>
                    <a:pt x="656" y="296"/>
                  </a:lnTo>
                  <a:lnTo>
                    <a:pt x="657" y="312"/>
                  </a:lnTo>
                  <a:lnTo>
                    <a:pt x="657" y="329"/>
                  </a:lnTo>
                  <a:lnTo>
                    <a:pt x="657" y="329"/>
                  </a:lnTo>
                  <a:lnTo>
                    <a:pt x="657" y="346"/>
                  </a:lnTo>
                  <a:lnTo>
                    <a:pt x="656" y="362"/>
                  </a:lnTo>
                  <a:lnTo>
                    <a:pt x="653" y="379"/>
                  </a:lnTo>
                  <a:lnTo>
                    <a:pt x="650" y="395"/>
                  </a:lnTo>
                  <a:lnTo>
                    <a:pt x="646" y="411"/>
                  </a:lnTo>
                  <a:lnTo>
                    <a:pt x="642" y="426"/>
                  </a:lnTo>
                  <a:lnTo>
                    <a:pt x="632" y="457"/>
                  </a:lnTo>
                  <a:lnTo>
                    <a:pt x="618" y="485"/>
                  </a:lnTo>
                  <a:lnTo>
                    <a:pt x="601" y="512"/>
                  </a:lnTo>
                  <a:lnTo>
                    <a:pt x="582" y="538"/>
                  </a:lnTo>
                  <a:lnTo>
                    <a:pt x="560" y="562"/>
                  </a:lnTo>
                  <a:lnTo>
                    <a:pt x="538" y="582"/>
                  </a:lnTo>
                  <a:lnTo>
                    <a:pt x="512" y="601"/>
                  </a:lnTo>
                  <a:lnTo>
                    <a:pt x="485" y="618"/>
                  </a:lnTo>
                  <a:lnTo>
                    <a:pt x="457" y="632"/>
                  </a:lnTo>
                  <a:lnTo>
                    <a:pt x="426" y="642"/>
                  </a:lnTo>
                  <a:lnTo>
                    <a:pt x="410" y="648"/>
                  </a:lnTo>
                  <a:lnTo>
                    <a:pt x="395" y="650"/>
                  </a:lnTo>
                  <a:lnTo>
                    <a:pt x="379" y="653"/>
                  </a:lnTo>
                  <a:lnTo>
                    <a:pt x="362" y="656"/>
                  </a:lnTo>
                  <a:lnTo>
                    <a:pt x="346" y="657"/>
                  </a:lnTo>
                  <a:lnTo>
                    <a:pt x="328" y="657"/>
                  </a:lnTo>
                  <a:lnTo>
                    <a:pt x="328" y="657"/>
                  </a:lnTo>
                  <a:close/>
                  <a:moveTo>
                    <a:pt x="328" y="38"/>
                  </a:moveTo>
                  <a:lnTo>
                    <a:pt x="328" y="38"/>
                  </a:lnTo>
                  <a:lnTo>
                    <a:pt x="299" y="39"/>
                  </a:lnTo>
                  <a:lnTo>
                    <a:pt x="270" y="43"/>
                  </a:lnTo>
                  <a:lnTo>
                    <a:pt x="242" y="51"/>
                  </a:lnTo>
                  <a:lnTo>
                    <a:pt x="215" y="61"/>
                  </a:lnTo>
                  <a:lnTo>
                    <a:pt x="190" y="73"/>
                  </a:lnTo>
                  <a:lnTo>
                    <a:pt x="166" y="88"/>
                  </a:lnTo>
                  <a:lnTo>
                    <a:pt x="144" y="104"/>
                  </a:lnTo>
                  <a:lnTo>
                    <a:pt x="123" y="123"/>
                  </a:lnTo>
                  <a:lnTo>
                    <a:pt x="104" y="144"/>
                  </a:lnTo>
                  <a:lnTo>
                    <a:pt x="88" y="166"/>
                  </a:lnTo>
                  <a:lnTo>
                    <a:pt x="73" y="190"/>
                  </a:lnTo>
                  <a:lnTo>
                    <a:pt x="61" y="215"/>
                  </a:lnTo>
                  <a:lnTo>
                    <a:pt x="50" y="242"/>
                  </a:lnTo>
                  <a:lnTo>
                    <a:pt x="43" y="270"/>
                  </a:lnTo>
                  <a:lnTo>
                    <a:pt x="39" y="298"/>
                  </a:lnTo>
                  <a:lnTo>
                    <a:pt x="38" y="329"/>
                  </a:lnTo>
                  <a:lnTo>
                    <a:pt x="38" y="329"/>
                  </a:lnTo>
                  <a:lnTo>
                    <a:pt x="39" y="359"/>
                  </a:lnTo>
                  <a:lnTo>
                    <a:pt x="43" y="387"/>
                  </a:lnTo>
                  <a:lnTo>
                    <a:pt x="50" y="415"/>
                  </a:lnTo>
                  <a:lnTo>
                    <a:pt x="61" y="442"/>
                  </a:lnTo>
                  <a:lnTo>
                    <a:pt x="73" y="468"/>
                  </a:lnTo>
                  <a:lnTo>
                    <a:pt x="88" y="492"/>
                  </a:lnTo>
                  <a:lnTo>
                    <a:pt x="104" y="513"/>
                  </a:lnTo>
                  <a:lnTo>
                    <a:pt x="123" y="535"/>
                  </a:lnTo>
                  <a:lnTo>
                    <a:pt x="144" y="554"/>
                  </a:lnTo>
                  <a:lnTo>
                    <a:pt x="166" y="570"/>
                  </a:lnTo>
                  <a:lnTo>
                    <a:pt x="190" y="585"/>
                  </a:lnTo>
                  <a:lnTo>
                    <a:pt x="215" y="597"/>
                  </a:lnTo>
                  <a:lnTo>
                    <a:pt x="242" y="607"/>
                  </a:lnTo>
                  <a:lnTo>
                    <a:pt x="270" y="614"/>
                  </a:lnTo>
                  <a:lnTo>
                    <a:pt x="299" y="618"/>
                  </a:lnTo>
                  <a:lnTo>
                    <a:pt x="328" y="620"/>
                  </a:lnTo>
                  <a:lnTo>
                    <a:pt x="328" y="620"/>
                  </a:lnTo>
                  <a:lnTo>
                    <a:pt x="358" y="618"/>
                  </a:lnTo>
                  <a:lnTo>
                    <a:pt x="387" y="614"/>
                  </a:lnTo>
                  <a:lnTo>
                    <a:pt x="415" y="607"/>
                  </a:lnTo>
                  <a:lnTo>
                    <a:pt x="442" y="597"/>
                  </a:lnTo>
                  <a:lnTo>
                    <a:pt x="468" y="585"/>
                  </a:lnTo>
                  <a:lnTo>
                    <a:pt x="491" y="570"/>
                  </a:lnTo>
                  <a:lnTo>
                    <a:pt x="513" y="554"/>
                  </a:lnTo>
                  <a:lnTo>
                    <a:pt x="535" y="535"/>
                  </a:lnTo>
                  <a:lnTo>
                    <a:pt x="554" y="513"/>
                  </a:lnTo>
                  <a:lnTo>
                    <a:pt x="570" y="492"/>
                  </a:lnTo>
                  <a:lnTo>
                    <a:pt x="585" y="468"/>
                  </a:lnTo>
                  <a:lnTo>
                    <a:pt x="597" y="442"/>
                  </a:lnTo>
                  <a:lnTo>
                    <a:pt x="606" y="415"/>
                  </a:lnTo>
                  <a:lnTo>
                    <a:pt x="614" y="387"/>
                  </a:lnTo>
                  <a:lnTo>
                    <a:pt x="618" y="359"/>
                  </a:lnTo>
                  <a:lnTo>
                    <a:pt x="620" y="329"/>
                  </a:lnTo>
                  <a:lnTo>
                    <a:pt x="620" y="329"/>
                  </a:lnTo>
                  <a:lnTo>
                    <a:pt x="618" y="298"/>
                  </a:lnTo>
                  <a:lnTo>
                    <a:pt x="614" y="270"/>
                  </a:lnTo>
                  <a:lnTo>
                    <a:pt x="606" y="242"/>
                  </a:lnTo>
                  <a:lnTo>
                    <a:pt x="597" y="215"/>
                  </a:lnTo>
                  <a:lnTo>
                    <a:pt x="585" y="190"/>
                  </a:lnTo>
                  <a:lnTo>
                    <a:pt x="570" y="166"/>
                  </a:lnTo>
                  <a:lnTo>
                    <a:pt x="554" y="144"/>
                  </a:lnTo>
                  <a:lnTo>
                    <a:pt x="535" y="123"/>
                  </a:lnTo>
                  <a:lnTo>
                    <a:pt x="513" y="104"/>
                  </a:lnTo>
                  <a:lnTo>
                    <a:pt x="491" y="88"/>
                  </a:lnTo>
                  <a:lnTo>
                    <a:pt x="468" y="73"/>
                  </a:lnTo>
                  <a:lnTo>
                    <a:pt x="442" y="61"/>
                  </a:lnTo>
                  <a:lnTo>
                    <a:pt x="415" y="51"/>
                  </a:lnTo>
                  <a:lnTo>
                    <a:pt x="387" y="43"/>
                  </a:lnTo>
                  <a:lnTo>
                    <a:pt x="358" y="39"/>
                  </a:lnTo>
                  <a:lnTo>
                    <a:pt x="328" y="38"/>
                  </a:lnTo>
                  <a:lnTo>
                    <a:pt x="328"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 name="Freeform 161">
              <a:extLst>
                <a:ext uri="{FF2B5EF4-FFF2-40B4-BE49-F238E27FC236}">
                  <a16:creationId xmlns:a16="http://schemas.microsoft.com/office/drawing/2014/main" id="{298E5AF7-8877-4A58-8CC5-23108827D4DD}"/>
                </a:ext>
              </a:extLst>
            </p:cNvPr>
            <p:cNvSpPr>
              <a:spLocks/>
            </p:cNvSpPr>
            <p:nvPr/>
          </p:nvSpPr>
          <p:spPr bwMode="auto">
            <a:xfrm>
              <a:off x="2447926" y="4430713"/>
              <a:ext cx="33338" cy="14288"/>
            </a:xfrm>
            <a:custGeom>
              <a:avLst/>
              <a:gdLst>
                <a:gd name="T0" fmla="*/ 32 w 42"/>
                <a:gd name="T1" fmla="*/ 0 h 19"/>
                <a:gd name="T2" fmla="*/ 9 w 42"/>
                <a:gd name="T3" fmla="*/ 0 h 19"/>
                <a:gd name="T4" fmla="*/ 9 w 42"/>
                <a:gd name="T5" fmla="*/ 0 h 19"/>
                <a:gd name="T6" fmla="*/ 7 w 42"/>
                <a:gd name="T7" fmla="*/ 0 h 19"/>
                <a:gd name="T8" fmla="*/ 3 w 42"/>
                <a:gd name="T9" fmla="*/ 3 h 19"/>
                <a:gd name="T10" fmla="*/ 1 w 42"/>
                <a:gd name="T11" fmla="*/ 6 h 19"/>
                <a:gd name="T12" fmla="*/ 0 w 42"/>
                <a:gd name="T13" fmla="*/ 10 h 19"/>
                <a:gd name="T14" fmla="*/ 0 w 42"/>
                <a:gd name="T15" fmla="*/ 10 h 19"/>
                <a:gd name="T16" fmla="*/ 1 w 42"/>
                <a:gd name="T17" fmla="*/ 12 h 19"/>
                <a:gd name="T18" fmla="*/ 3 w 42"/>
                <a:gd name="T19" fmla="*/ 16 h 19"/>
                <a:gd name="T20" fmla="*/ 7 w 42"/>
                <a:gd name="T21" fmla="*/ 18 h 19"/>
                <a:gd name="T22" fmla="*/ 9 w 42"/>
                <a:gd name="T23" fmla="*/ 19 h 19"/>
                <a:gd name="T24" fmla="*/ 32 w 42"/>
                <a:gd name="T25" fmla="*/ 19 h 19"/>
                <a:gd name="T26" fmla="*/ 32 w 42"/>
                <a:gd name="T27" fmla="*/ 19 h 19"/>
                <a:gd name="T28" fmla="*/ 35 w 42"/>
                <a:gd name="T29" fmla="*/ 18 h 19"/>
                <a:gd name="T30" fmla="*/ 39 w 42"/>
                <a:gd name="T31" fmla="*/ 16 h 19"/>
                <a:gd name="T32" fmla="*/ 40 w 42"/>
                <a:gd name="T33" fmla="*/ 12 h 19"/>
                <a:gd name="T34" fmla="*/ 42 w 42"/>
                <a:gd name="T35" fmla="*/ 10 h 19"/>
                <a:gd name="T36" fmla="*/ 42 w 42"/>
                <a:gd name="T37" fmla="*/ 10 h 19"/>
                <a:gd name="T38" fmla="*/ 40 w 42"/>
                <a:gd name="T39" fmla="*/ 6 h 19"/>
                <a:gd name="T40" fmla="*/ 39 w 42"/>
                <a:gd name="T41" fmla="*/ 3 h 19"/>
                <a:gd name="T42" fmla="*/ 35 w 42"/>
                <a:gd name="T43" fmla="*/ 0 h 19"/>
                <a:gd name="T44" fmla="*/ 32 w 42"/>
                <a:gd name="T45" fmla="*/ 0 h 19"/>
                <a:gd name="T46" fmla="*/ 32 w 42"/>
                <a:gd name="T4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19">
                  <a:moveTo>
                    <a:pt x="32" y="0"/>
                  </a:moveTo>
                  <a:lnTo>
                    <a:pt x="9" y="0"/>
                  </a:lnTo>
                  <a:lnTo>
                    <a:pt x="9" y="0"/>
                  </a:lnTo>
                  <a:lnTo>
                    <a:pt x="7" y="0"/>
                  </a:lnTo>
                  <a:lnTo>
                    <a:pt x="3" y="3"/>
                  </a:lnTo>
                  <a:lnTo>
                    <a:pt x="1" y="6"/>
                  </a:lnTo>
                  <a:lnTo>
                    <a:pt x="0" y="10"/>
                  </a:lnTo>
                  <a:lnTo>
                    <a:pt x="0" y="10"/>
                  </a:lnTo>
                  <a:lnTo>
                    <a:pt x="1" y="12"/>
                  </a:lnTo>
                  <a:lnTo>
                    <a:pt x="3" y="16"/>
                  </a:lnTo>
                  <a:lnTo>
                    <a:pt x="7" y="18"/>
                  </a:lnTo>
                  <a:lnTo>
                    <a:pt x="9" y="19"/>
                  </a:lnTo>
                  <a:lnTo>
                    <a:pt x="32" y="19"/>
                  </a:lnTo>
                  <a:lnTo>
                    <a:pt x="32" y="19"/>
                  </a:lnTo>
                  <a:lnTo>
                    <a:pt x="35" y="18"/>
                  </a:lnTo>
                  <a:lnTo>
                    <a:pt x="39" y="16"/>
                  </a:lnTo>
                  <a:lnTo>
                    <a:pt x="40" y="12"/>
                  </a:lnTo>
                  <a:lnTo>
                    <a:pt x="42" y="10"/>
                  </a:lnTo>
                  <a:lnTo>
                    <a:pt x="42" y="10"/>
                  </a:lnTo>
                  <a:lnTo>
                    <a:pt x="40" y="6"/>
                  </a:lnTo>
                  <a:lnTo>
                    <a:pt x="39" y="3"/>
                  </a:lnTo>
                  <a:lnTo>
                    <a:pt x="35" y="0"/>
                  </a:lnTo>
                  <a:lnTo>
                    <a:pt x="32" y="0"/>
                  </a:ln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 name="Freeform 162">
              <a:extLst>
                <a:ext uri="{FF2B5EF4-FFF2-40B4-BE49-F238E27FC236}">
                  <a16:creationId xmlns:a16="http://schemas.microsoft.com/office/drawing/2014/main" id="{960E48F8-915D-412F-95F0-96F951F92504}"/>
                </a:ext>
              </a:extLst>
            </p:cNvPr>
            <p:cNvSpPr>
              <a:spLocks/>
            </p:cNvSpPr>
            <p:nvPr/>
          </p:nvSpPr>
          <p:spPr bwMode="auto">
            <a:xfrm>
              <a:off x="2484438" y="4344988"/>
              <a:ext cx="26988" cy="26988"/>
            </a:xfrm>
            <a:custGeom>
              <a:avLst/>
              <a:gdLst>
                <a:gd name="T0" fmla="*/ 32 w 35"/>
                <a:gd name="T1" fmla="*/ 31 h 33"/>
                <a:gd name="T2" fmla="*/ 32 w 35"/>
                <a:gd name="T3" fmla="*/ 31 h 33"/>
                <a:gd name="T4" fmla="*/ 34 w 35"/>
                <a:gd name="T5" fmla="*/ 28 h 33"/>
                <a:gd name="T6" fmla="*/ 35 w 35"/>
                <a:gd name="T7" fmla="*/ 24 h 33"/>
                <a:gd name="T8" fmla="*/ 35 w 35"/>
                <a:gd name="T9" fmla="*/ 24 h 33"/>
                <a:gd name="T10" fmla="*/ 34 w 35"/>
                <a:gd name="T11" fmla="*/ 20 h 33"/>
                <a:gd name="T12" fmla="*/ 32 w 35"/>
                <a:gd name="T13" fmla="*/ 17 h 33"/>
                <a:gd name="T14" fmla="*/ 16 w 35"/>
                <a:gd name="T15" fmla="*/ 3 h 33"/>
                <a:gd name="T16" fmla="*/ 16 w 35"/>
                <a:gd name="T17" fmla="*/ 3 h 33"/>
                <a:gd name="T18" fmla="*/ 14 w 35"/>
                <a:gd name="T19" fmla="*/ 0 h 33"/>
                <a:gd name="T20" fmla="*/ 11 w 35"/>
                <a:gd name="T21" fmla="*/ 0 h 33"/>
                <a:gd name="T22" fmla="*/ 7 w 35"/>
                <a:gd name="T23" fmla="*/ 0 h 33"/>
                <a:gd name="T24" fmla="*/ 4 w 35"/>
                <a:gd name="T25" fmla="*/ 3 h 33"/>
                <a:gd name="T26" fmla="*/ 4 w 35"/>
                <a:gd name="T27" fmla="*/ 3 h 33"/>
                <a:gd name="T28" fmla="*/ 2 w 35"/>
                <a:gd name="T29" fmla="*/ 5 h 33"/>
                <a:gd name="T30" fmla="*/ 0 w 35"/>
                <a:gd name="T31" fmla="*/ 9 h 33"/>
                <a:gd name="T32" fmla="*/ 2 w 35"/>
                <a:gd name="T33" fmla="*/ 12 h 33"/>
                <a:gd name="T34" fmla="*/ 4 w 35"/>
                <a:gd name="T35" fmla="*/ 16 h 33"/>
                <a:gd name="T36" fmla="*/ 19 w 35"/>
                <a:gd name="T37" fmla="*/ 31 h 33"/>
                <a:gd name="T38" fmla="*/ 19 w 35"/>
                <a:gd name="T39" fmla="*/ 31 h 33"/>
                <a:gd name="T40" fmla="*/ 19 w 35"/>
                <a:gd name="T41" fmla="*/ 31 h 33"/>
                <a:gd name="T42" fmla="*/ 22 w 35"/>
                <a:gd name="T43" fmla="*/ 33 h 33"/>
                <a:gd name="T44" fmla="*/ 26 w 35"/>
                <a:gd name="T45" fmla="*/ 33 h 33"/>
                <a:gd name="T46" fmla="*/ 26 w 35"/>
                <a:gd name="T47" fmla="*/ 33 h 33"/>
                <a:gd name="T48" fmla="*/ 30 w 35"/>
                <a:gd name="T49" fmla="*/ 33 h 33"/>
                <a:gd name="T50" fmla="*/ 32 w 35"/>
                <a:gd name="T51" fmla="*/ 31 h 33"/>
                <a:gd name="T52" fmla="*/ 32 w 35"/>
                <a:gd name="T53"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5" h="33">
                  <a:moveTo>
                    <a:pt x="32" y="31"/>
                  </a:moveTo>
                  <a:lnTo>
                    <a:pt x="32" y="31"/>
                  </a:lnTo>
                  <a:lnTo>
                    <a:pt x="34" y="28"/>
                  </a:lnTo>
                  <a:lnTo>
                    <a:pt x="35" y="24"/>
                  </a:lnTo>
                  <a:lnTo>
                    <a:pt x="35" y="24"/>
                  </a:lnTo>
                  <a:lnTo>
                    <a:pt x="34" y="20"/>
                  </a:lnTo>
                  <a:lnTo>
                    <a:pt x="32" y="17"/>
                  </a:lnTo>
                  <a:lnTo>
                    <a:pt x="16" y="3"/>
                  </a:lnTo>
                  <a:lnTo>
                    <a:pt x="16" y="3"/>
                  </a:lnTo>
                  <a:lnTo>
                    <a:pt x="14" y="0"/>
                  </a:lnTo>
                  <a:lnTo>
                    <a:pt x="11" y="0"/>
                  </a:lnTo>
                  <a:lnTo>
                    <a:pt x="7" y="0"/>
                  </a:lnTo>
                  <a:lnTo>
                    <a:pt x="4" y="3"/>
                  </a:lnTo>
                  <a:lnTo>
                    <a:pt x="4" y="3"/>
                  </a:lnTo>
                  <a:lnTo>
                    <a:pt x="2" y="5"/>
                  </a:lnTo>
                  <a:lnTo>
                    <a:pt x="0" y="9"/>
                  </a:lnTo>
                  <a:lnTo>
                    <a:pt x="2" y="12"/>
                  </a:lnTo>
                  <a:lnTo>
                    <a:pt x="4" y="16"/>
                  </a:lnTo>
                  <a:lnTo>
                    <a:pt x="19" y="31"/>
                  </a:lnTo>
                  <a:lnTo>
                    <a:pt x="19" y="31"/>
                  </a:lnTo>
                  <a:lnTo>
                    <a:pt x="19" y="31"/>
                  </a:lnTo>
                  <a:lnTo>
                    <a:pt x="22" y="33"/>
                  </a:lnTo>
                  <a:lnTo>
                    <a:pt x="26" y="33"/>
                  </a:lnTo>
                  <a:lnTo>
                    <a:pt x="26" y="33"/>
                  </a:lnTo>
                  <a:lnTo>
                    <a:pt x="30" y="33"/>
                  </a:lnTo>
                  <a:lnTo>
                    <a:pt x="32" y="31"/>
                  </a:lnTo>
                  <a:lnTo>
                    <a:pt x="32"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3" name="Freeform 163">
              <a:extLst>
                <a:ext uri="{FF2B5EF4-FFF2-40B4-BE49-F238E27FC236}">
                  <a16:creationId xmlns:a16="http://schemas.microsoft.com/office/drawing/2014/main" id="{63F13349-BE08-41FA-83F0-B9098CE8ECB6}"/>
                </a:ext>
              </a:extLst>
            </p:cNvPr>
            <p:cNvSpPr>
              <a:spLocks/>
            </p:cNvSpPr>
            <p:nvPr/>
          </p:nvSpPr>
          <p:spPr bwMode="auto">
            <a:xfrm>
              <a:off x="2568576" y="4310063"/>
              <a:ext cx="15875" cy="31750"/>
            </a:xfrm>
            <a:custGeom>
              <a:avLst/>
              <a:gdLst>
                <a:gd name="T0" fmla="*/ 9 w 18"/>
                <a:gd name="T1" fmla="*/ 40 h 40"/>
                <a:gd name="T2" fmla="*/ 9 w 18"/>
                <a:gd name="T3" fmla="*/ 40 h 40"/>
                <a:gd name="T4" fmla="*/ 13 w 18"/>
                <a:gd name="T5" fmla="*/ 38 h 40"/>
                <a:gd name="T6" fmla="*/ 16 w 18"/>
                <a:gd name="T7" fmla="*/ 37 h 40"/>
                <a:gd name="T8" fmla="*/ 18 w 18"/>
                <a:gd name="T9" fmla="*/ 34 h 40"/>
                <a:gd name="T10" fmla="*/ 18 w 18"/>
                <a:gd name="T11" fmla="*/ 30 h 40"/>
                <a:gd name="T12" fmla="*/ 18 w 18"/>
                <a:gd name="T13" fmla="*/ 9 h 40"/>
                <a:gd name="T14" fmla="*/ 18 w 18"/>
                <a:gd name="T15" fmla="*/ 9 h 40"/>
                <a:gd name="T16" fmla="*/ 18 w 18"/>
                <a:gd name="T17" fmla="*/ 5 h 40"/>
                <a:gd name="T18" fmla="*/ 16 w 18"/>
                <a:gd name="T19" fmla="*/ 2 h 40"/>
                <a:gd name="T20" fmla="*/ 13 w 18"/>
                <a:gd name="T21" fmla="*/ 0 h 40"/>
                <a:gd name="T22" fmla="*/ 9 w 18"/>
                <a:gd name="T23" fmla="*/ 0 h 40"/>
                <a:gd name="T24" fmla="*/ 9 w 18"/>
                <a:gd name="T25" fmla="*/ 0 h 40"/>
                <a:gd name="T26" fmla="*/ 6 w 18"/>
                <a:gd name="T27" fmla="*/ 0 h 40"/>
                <a:gd name="T28" fmla="*/ 2 w 18"/>
                <a:gd name="T29" fmla="*/ 2 h 40"/>
                <a:gd name="T30" fmla="*/ 1 w 18"/>
                <a:gd name="T31" fmla="*/ 5 h 40"/>
                <a:gd name="T32" fmla="*/ 0 w 18"/>
                <a:gd name="T33" fmla="*/ 9 h 40"/>
                <a:gd name="T34" fmla="*/ 0 w 18"/>
                <a:gd name="T35" fmla="*/ 30 h 40"/>
                <a:gd name="T36" fmla="*/ 0 w 18"/>
                <a:gd name="T37" fmla="*/ 30 h 40"/>
                <a:gd name="T38" fmla="*/ 1 w 18"/>
                <a:gd name="T39" fmla="*/ 34 h 40"/>
                <a:gd name="T40" fmla="*/ 2 w 18"/>
                <a:gd name="T41" fmla="*/ 37 h 40"/>
                <a:gd name="T42" fmla="*/ 6 w 18"/>
                <a:gd name="T43" fmla="*/ 38 h 40"/>
                <a:gd name="T44" fmla="*/ 9 w 18"/>
                <a:gd name="T45" fmla="*/ 40 h 40"/>
                <a:gd name="T46" fmla="*/ 9 w 18"/>
                <a:gd name="T4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 h="40">
                  <a:moveTo>
                    <a:pt x="9" y="40"/>
                  </a:moveTo>
                  <a:lnTo>
                    <a:pt x="9" y="40"/>
                  </a:lnTo>
                  <a:lnTo>
                    <a:pt x="13" y="38"/>
                  </a:lnTo>
                  <a:lnTo>
                    <a:pt x="16" y="37"/>
                  </a:lnTo>
                  <a:lnTo>
                    <a:pt x="18" y="34"/>
                  </a:lnTo>
                  <a:lnTo>
                    <a:pt x="18" y="30"/>
                  </a:lnTo>
                  <a:lnTo>
                    <a:pt x="18" y="9"/>
                  </a:lnTo>
                  <a:lnTo>
                    <a:pt x="18" y="9"/>
                  </a:lnTo>
                  <a:lnTo>
                    <a:pt x="18" y="5"/>
                  </a:lnTo>
                  <a:lnTo>
                    <a:pt x="16" y="2"/>
                  </a:lnTo>
                  <a:lnTo>
                    <a:pt x="13" y="0"/>
                  </a:lnTo>
                  <a:lnTo>
                    <a:pt x="9" y="0"/>
                  </a:lnTo>
                  <a:lnTo>
                    <a:pt x="9" y="0"/>
                  </a:lnTo>
                  <a:lnTo>
                    <a:pt x="6" y="0"/>
                  </a:lnTo>
                  <a:lnTo>
                    <a:pt x="2" y="2"/>
                  </a:lnTo>
                  <a:lnTo>
                    <a:pt x="1" y="5"/>
                  </a:lnTo>
                  <a:lnTo>
                    <a:pt x="0" y="9"/>
                  </a:lnTo>
                  <a:lnTo>
                    <a:pt x="0" y="30"/>
                  </a:lnTo>
                  <a:lnTo>
                    <a:pt x="0" y="30"/>
                  </a:lnTo>
                  <a:lnTo>
                    <a:pt x="1" y="34"/>
                  </a:lnTo>
                  <a:lnTo>
                    <a:pt x="2" y="37"/>
                  </a:lnTo>
                  <a:lnTo>
                    <a:pt x="6" y="38"/>
                  </a:lnTo>
                  <a:lnTo>
                    <a:pt x="9" y="40"/>
                  </a:lnTo>
                  <a:lnTo>
                    <a:pt x="9"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164">
              <a:extLst>
                <a:ext uri="{FF2B5EF4-FFF2-40B4-BE49-F238E27FC236}">
                  <a16:creationId xmlns:a16="http://schemas.microsoft.com/office/drawing/2014/main" id="{BFB51AC8-C040-4871-8F4E-B5572365E550}"/>
                </a:ext>
              </a:extLst>
            </p:cNvPr>
            <p:cNvSpPr>
              <a:spLocks/>
            </p:cNvSpPr>
            <p:nvPr/>
          </p:nvSpPr>
          <p:spPr bwMode="auto">
            <a:xfrm>
              <a:off x="2643188" y="4344988"/>
              <a:ext cx="25400" cy="26988"/>
            </a:xfrm>
            <a:custGeom>
              <a:avLst/>
              <a:gdLst>
                <a:gd name="T0" fmla="*/ 18 w 34"/>
                <a:gd name="T1" fmla="*/ 3 h 33"/>
                <a:gd name="T2" fmla="*/ 3 w 34"/>
                <a:gd name="T3" fmla="*/ 17 h 33"/>
                <a:gd name="T4" fmla="*/ 3 w 34"/>
                <a:gd name="T5" fmla="*/ 17 h 33"/>
                <a:gd name="T6" fmla="*/ 0 w 34"/>
                <a:gd name="T7" fmla="*/ 20 h 33"/>
                <a:gd name="T8" fmla="*/ 0 w 34"/>
                <a:gd name="T9" fmla="*/ 24 h 33"/>
                <a:gd name="T10" fmla="*/ 0 w 34"/>
                <a:gd name="T11" fmla="*/ 24 h 33"/>
                <a:gd name="T12" fmla="*/ 0 w 34"/>
                <a:gd name="T13" fmla="*/ 28 h 33"/>
                <a:gd name="T14" fmla="*/ 3 w 34"/>
                <a:gd name="T15" fmla="*/ 31 h 33"/>
                <a:gd name="T16" fmla="*/ 3 w 34"/>
                <a:gd name="T17" fmla="*/ 31 h 33"/>
                <a:gd name="T18" fmla="*/ 6 w 34"/>
                <a:gd name="T19" fmla="*/ 33 h 33"/>
                <a:gd name="T20" fmla="*/ 10 w 34"/>
                <a:gd name="T21" fmla="*/ 33 h 33"/>
                <a:gd name="T22" fmla="*/ 10 w 34"/>
                <a:gd name="T23" fmla="*/ 33 h 33"/>
                <a:gd name="T24" fmla="*/ 12 w 34"/>
                <a:gd name="T25" fmla="*/ 33 h 33"/>
                <a:gd name="T26" fmla="*/ 16 w 34"/>
                <a:gd name="T27" fmla="*/ 31 h 33"/>
                <a:gd name="T28" fmla="*/ 31 w 34"/>
                <a:gd name="T29" fmla="*/ 16 h 33"/>
                <a:gd name="T30" fmla="*/ 31 w 34"/>
                <a:gd name="T31" fmla="*/ 16 h 33"/>
                <a:gd name="T32" fmla="*/ 34 w 34"/>
                <a:gd name="T33" fmla="*/ 12 h 33"/>
                <a:gd name="T34" fmla="*/ 34 w 34"/>
                <a:gd name="T35" fmla="*/ 9 h 33"/>
                <a:gd name="T36" fmla="*/ 34 w 34"/>
                <a:gd name="T37" fmla="*/ 5 h 33"/>
                <a:gd name="T38" fmla="*/ 31 w 34"/>
                <a:gd name="T39" fmla="*/ 3 h 33"/>
                <a:gd name="T40" fmla="*/ 31 w 34"/>
                <a:gd name="T41" fmla="*/ 3 h 33"/>
                <a:gd name="T42" fmla="*/ 29 w 34"/>
                <a:gd name="T43" fmla="*/ 0 h 33"/>
                <a:gd name="T44" fmla="*/ 25 w 34"/>
                <a:gd name="T45" fmla="*/ 0 h 33"/>
                <a:gd name="T46" fmla="*/ 22 w 34"/>
                <a:gd name="T47" fmla="*/ 0 h 33"/>
                <a:gd name="T48" fmla="*/ 18 w 34"/>
                <a:gd name="T49" fmla="*/ 3 h 33"/>
                <a:gd name="T50" fmla="*/ 18 w 34"/>
                <a:gd name="T51" fmla="*/ 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4" h="33">
                  <a:moveTo>
                    <a:pt x="18" y="3"/>
                  </a:moveTo>
                  <a:lnTo>
                    <a:pt x="3" y="17"/>
                  </a:lnTo>
                  <a:lnTo>
                    <a:pt x="3" y="17"/>
                  </a:lnTo>
                  <a:lnTo>
                    <a:pt x="0" y="20"/>
                  </a:lnTo>
                  <a:lnTo>
                    <a:pt x="0" y="24"/>
                  </a:lnTo>
                  <a:lnTo>
                    <a:pt x="0" y="24"/>
                  </a:lnTo>
                  <a:lnTo>
                    <a:pt x="0" y="28"/>
                  </a:lnTo>
                  <a:lnTo>
                    <a:pt x="3" y="31"/>
                  </a:lnTo>
                  <a:lnTo>
                    <a:pt x="3" y="31"/>
                  </a:lnTo>
                  <a:lnTo>
                    <a:pt x="6" y="33"/>
                  </a:lnTo>
                  <a:lnTo>
                    <a:pt x="10" y="33"/>
                  </a:lnTo>
                  <a:lnTo>
                    <a:pt x="10" y="33"/>
                  </a:lnTo>
                  <a:lnTo>
                    <a:pt x="12" y="33"/>
                  </a:lnTo>
                  <a:lnTo>
                    <a:pt x="16" y="31"/>
                  </a:lnTo>
                  <a:lnTo>
                    <a:pt x="31" y="16"/>
                  </a:lnTo>
                  <a:lnTo>
                    <a:pt x="31" y="16"/>
                  </a:lnTo>
                  <a:lnTo>
                    <a:pt x="34" y="12"/>
                  </a:lnTo>
                  <a:lnTo>
                    <a:pt x="34" y="9"/>
                  </a:lnTo>
                  <a:lnTo>
                    <a:pt x="34" y="5"/>
                  </a:lnTo>
                  <a:lnTo>
                    <a:pt x="31" y="3"/>
                  </a:lnTo>
                  <a:lnTo>
                    <a:pt x="31" y="3"/>
                  </a:lnTo>
                  <a:lnTo>
                    <a:pt x="29" y="0"/>
                  </a:lnTo>
                  <a:lnTo>
                    <a:pt x="25" y="0"/>
                  </a:lnTo>
                  <a:lnTo>
                    <a:pt x="22" y="0"/>
                  </a:lnTo>
                  <a:lnTo>
                    <a:pt x="18" y="3"/>
                  </a:lnTo>
                  <a:lnTo>
                    <a:pt x="18"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5" name="Freeform 165">
              <a:extLst>
                <a:ext uri="{FF2B5EF4-FFF2-40B4-BE49-F238E27FC236}">
                  <a16:creationId xmlns:a16="http://schemas.microsoft.com/office/drawing/2014/main" id="{3E5417D6-B160-4C6B-8F5E-296096C33FAE}"/>
                </a:ext>
              </a:extLst>
            </p:cNvPr>
            <p:cNvSpPr>
              <a:spLocks/>
            </p:cNvSpPr>
            <p:nvPr/>
          </p:nvSpPr>
          <p:spPr bwMode="auto">
            <a:xfrm>
              <a:off x="2671763" y="4430713"/>
              <a:ext cx="33338" cy="14288"/>
            </a:xfrm>
            <a:custGeom>
              <a:avLst/>
              <a:gdLst>
                <a:gd name="T0" fmla="*/ 31 w 40"/>
                <a:gd name="T1" fmla="*/ 0 h 19"/>
                <a:gd name="T2" fmla="*/ 9 w 40"/>
                <a:gd name="T3" fmla="*/ 0 h 19"/>
                <a:gd name="T4" fmla="*/ 9 w 40"/>
                <a:gd name="T5" fmla="*/ 0 h 19"/>
                <a:gd name="T6" fmla="*/ 5 w 40"/>
                <a:gd name="T7" fmla="*/ 0 h 19"/>
                <a:gd name="T8" fmla="*/ 3 w 40"/>
                <a:gd name="T9" fmla="*/ 3 h 19"/>
                <a:gd name="T10" fmla="*/ 1 w 40"/>
                <a:gd name="T11" fmla="*/ 6 h 19"/>
                <a:gd name="T12" fmla="*/ 0 w 40"/>
                <a:gd name="T13" fmla="*/ 10 h 19"/>
                <a:gd name="T14" fmla="*/ 0 w 40"/>
                <a:gd name="T15" fmla="*/ 10 h 19"/>
                <a:gd name="T16" fmla="*/ 1 w 40"/>
                <a:gd name="T17" fmla="*/ 12 h 19"/>
                <a:gd name="T18" fmla="*/ 3 w 40"/>
                <a:gd name="T19" fmla="*/ 16 h 19"/>
                <a:gd name="T20" fmla="*/ 5 w 40"/>
                <a:gd name="T21" fmla="*/ 18 h 19"/>
                <a:gd name="T22" fmla="*/ 9 w 40"/>
                <a:gd name="T23" fmla="*/ 19 h 19"/>
                <a:gd name="T24" fmla="*/ 31 w 40"/>
                <a:gd name="T25" fmla="*/ 19 h 19"/>
                <a:gd name="T26" fmla="*/ 31 w 40"/>
                <a:gd name="T27" fmla="*/ 19 h 19"/>
                <a:gd name="T28" fmla="*/ 35 w 40"/>
                <a:gd name="T29" fmla="*/ 18 h 19"/>
                <a:gd name="T30" fmla="*/ 38 w 40"/>
                <a:gd name="T31" fmla="*/ 16 h 19"/>
                <a:gd name="T32" fmla="*/ 40 w 40"/>
                <a:gd name="T33" fmla="*/ 12 h 19"/>
                <a:gd name="T34" fmla="*/ 40 w 40"/>
                <a:gd name="T35" fmla="*/ 10 h 19"/>
                <a:gd name="T36" fmla="*/ 40 w 40"/>
                <a:gd name="T37" fmla="*/ 10 h 19"/>
                <a:gd name="T38" fmla="*/ 40 w 40"/>
                <a:gd name="T39" fmla="*/ 6 h 19"/>
                <a:gd name="T40" fmla="*/ 38 w 40"/>
                <a:gd name="T41" fmla="*/ 3 h 19"/>
                <a:gd name="T42" fmla="*/ 35 w 40"/>
                <a:gd name="T43" fmla="*/ 0 h 19"/>
                <a:gd name="T44" fmla="*/ 31 w 40"/>
                <a:gd name="T45" fmla="*/ 0 h 19"/>
                <a:gd name="T46" fmla="*/ 31 w 40"/>
                <a:gd name="T4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19">
                  <a:moveTo>
                    <a:pt x="31" y="0"/>
                  </a:moveTo>
                  <a:lnTo>
                    <a:pt x="9" y="0"/>
                  </a:lnTo>
                  <a:lnTo>
                    <a:pt x="9" y="0"/>
                  </a:lnTo>
                  <a:lnTo>
                    <a:pt x="5" y="0"/>
                  </a:lnTo>
                  <a:lnTo>
                    <a:pt x="3" y="3"/>
                  </a:lnTo>
                  <a:lnTo>
                    <a:pt x="1" y="6"/>
                  </a:lnTo>
                  <a:lnTo>
                    <a:pt x="0" y="10"/>
                  </a:lnTo>
                  <a:lnTo>
                    <a:pt x="0" y="10"/>
                  </a:lnTo>
                  <a:lnTo>
                    <a:pt x="1" y="12"/>
                  </a:lnTo>
                  <a:lnTo>
                    <a:pt x="3" y="16"/>
                  </a:lnTo>
                  <a:lnTo>
                    <a:pt x="5" y="18"/>
                  </a:lnTo>
                  <a:lnTo>
                    <a:pt x="9" y="19"/>
                  </a:lnTo>
                  <a:lnTo>
                    <a:pt x="31" y="19"/>
                  </a:lnTo>
                  <a:lnTo>
                    <a:pt x="31" y="19"/>
                  </a:lnTo>
                  <a:lnTo>
                    <a:pt x="35" y="18"/>
                  </a:lnTo>
                  <a:lnTo>
                    <a:pt x="38" y="16"/>
                  </a:lnTo>
                  <a:lnTo>
                    <a:pt x="40" y="12"/>
                  </a:lnTo>
                  <a:lnTo>
                    <a:pt x="40" y="10"/>
                  </a:lnTo>
                  <a:lnTo>
                    <a:pt x="40" y="10"/>
                  </a:lnTo>
                  <a:lnTo>
                    <a:pt x="40" y="6"/>
                  </a:lnTo>
                  <a:lnTo>
                    <a:pt x="38" y="3"/>
                  </a:lnTo>
                  <a:lnTo>
                    <a:pt x="35" y="0"/>
                  </a:lnTo>
                  <a:lnTo>
                    <a:pt x="31" y="0"/>
                  </a:lnTo>
                  <a:lnTo>
                    <a:pt x="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166">
              <a:extLst>
                <a:ext uri="{FF2B5EF4-FFF2-40B4-BE49-F238E27FC236}">
                  <a16:creationId xmlns:a16="http://schemas.microsoft.com/office/drawing/2014/main" id="{5D7113B8-DD26-464C-B4BE-B334D3095070}"/>
                </a:ext>
              </a:extLst>
            </p:cNvPr>
            <p:cNvSpPr>
              <a:spLocks/>
            </p:cNvSpPr>
            <p:nvPr/>
          </p:nvSpPr>
          <p:spPr bwMode="auto">
            <a:xfrm>
              <a:off x="2503488" y="4364038"/>
              <a:ext cx="146050" cy="153988"/>
            </a:xfrm>
            <a:custGeom>
              <a:avLst/>
              <a:gdLst>
                <a:gd name="T0" fmla="*/ 91 w 184"/>
                <a:gd name="T1" fmla="*/ 0 h 195"/>
                <a:gd name="T2" fmla="*/ 74 w 184"/>
                <a:gd name="T3" fmla="*/ 1 h 195"/>
                <a:gd name="T4" fmla="*/ 56 w 184"/>
                <a:gd name="T5" fmla="*/ 7 h 195"/>
                <a:gd name="T6" fmla="*/ 40 w 184"/>
                <a:gd name="T7" fmla="*/ 16 h 195"/>
                <a:gd name="T8" fmla="*/ 27 w 184"/>
                <a:gd name="T9" fmla="*/ 27 h 195"/>
                <a:gd name="T10" fmla="*/ 16 w 184"/>
                <a:gd name="T11" fmla="*/ 40 h 195"/>
                <a:gd name="T12" fmla="*/ 6 w 184"/>
                <a:gd name="T13" fmla="*/ 56 h 195"/>
                <a:gd name="T14" fmla="*/ 1 w 184"/>
                <a:gd name="T15" fmla="*/ 74 h 195"/>
                <a:gd name="T16" fmla="*/ 0 w 184"/>
                <a:gd name="T17" fmla="*/ 93 h 195"/>
                <a:gd name="T18" fmla="*/ 1 w 184"/>
                <a:gd name="T19" fmla="*/ 106 h 195"/>
                <a:gd name="T20" fmla="*/ 8 w 184"/>
                <a:gd name="T21" fmla="*/ 130 h 195"/>
                <a:gd name="T22" fmla="*/ 23 w 184"/>
                <a:gd name="T23" fmla="*/ 152 h 195"/>
                <a:gd name="T24" fmla="*/ 41 w 184"/>
                <a:gd name="T25" fmla="*/ 169 h 195"/>
                <a:gd name="T26" fmla="*/ 53 w 184"/>
                <a:gd name="T27" fmla="*/ 189 h 195"/>
                <a:gd name="T28" fmla="*/ 53 w 184"/>
                <a:gd name="T29" fmla="*/ 192 h 195"/>
                <a:gd name="T30" fmla="*/ 57 w 184"/>
                <a:gd name="T31" fmla="*/ 195 h 195"/>
                <a:gd name="T32" fmla="*/ 125 w 184"/>
                <a:gd name="T33" fmla="*/ 195 h 195"/>
                <a:gd name="T34" fmla="*/ 126 w 184"/>
                <a:gd name="T35" fmla="*/ 195 h 195"/>
                <a:gd name="T36" fmla="*/ 129 w 184"/>
                <a:gd name="T37" fmla="*/ 192 h 195"/>
                <a:gd name="T38" fmla="*/ 130 w 184"/>
                <a:gd name="T39" fmla="*/ 176 h 195"/>
                <a:gd name="T40" fmla="*/ 141 w 184"/>
                <a:gd name="T41" fmla="*/ 169 h 195"/>
                <a:gd name="T42" fmla="*/ 161 w 184"/>
                <a:gd name="T43" fmla="*/ 152 h 195"/>
                <a:gd name="T44" fmla="*/ 176 w 184"/>
                <a:gd name="T45" fmla="*/ 130 h 195"/>
                <a:gd name="T46" fmla="*/ 182 w 184"/>
                <a:gd name="T47" fmla="*/ 106 h 195"/>
                <a:gd name="T48" fmla="*/ 184 w 184"/>
                <a:gd name="T49" fmla="*/ 93 h 195"/>
                <a:gd name="T50" fmla="*/ 181 w 184"/>
                <a:gd name="T51" fmla="*/ 74 h 195"/>
                <a:gd name="T52" fmla="*/ 176 w 184"/>
                <a:gd name="T53" fmla="*/ 56 h 195"/>
                <a:gd name="T54" fmla="*/ 168 w 184"/>
                <a:gd name="T55" fmla="*/ 40 h 195"/>
                <a:gd name="T56" fmla="*/ 157 w 184"/>
                <a:gd name="T57" fmla="*/ 27 h 195"/>
                <a:gd name="T58" fmla="*/ 143 w 184"/>
                <a:gd name="T59" fmla="*/ 16 h 195"/>
                <a:gd name="T60" fmla="*/ 127 w 184"/>
                <a:gd name="T61" fmla="*/ 7 h 195"/>
                <a:gd name="T62" fmla="*/ 110 w 184"/>
                <a:gd name="T63" fmla="*/ 1 h 195"/>
                <a:gd name="T64" fmla="*/ 91 w 184"/>
                <a:gd name="T65"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4" h="195">
                  <a:moveTo>
                    <a:pt x="91" y="0"/>
                  </a:moveTo>
                  <a:lnTo>
                    <a:pt x="91" y="0"/>
                  </a:lnTo>
                  <a:lnTo>
                    <a:pt x="82" y="0"/>
                  </a:lnTo>
                  <a:lnTo>
                    <a:pt x="74" y="1"/>
                  </a:lnTo>
                  <a:lnTo>
                    <a:pt x="64" y="4"/>
                  </a:lnTo>
                  <a:lnTo>
                    <a:pt x="56" y="7"/>
                  </a:lnTo>
                  <a:lnTo>
                    <a:pt x="48" y="11"/>
                  </a:lnTo>
                  <a:lnTo>
                    <a:pt x="40" y="16"/>
                  </a:lnTo>
                  <a:lnTo>
                    <a:pt x="33" y="22"/>
                  </a:lnTo>
                  <a:lnTo>
                    <a:pt x="27" y="27"/>
                  </a:lnTo>
                  <a:lnTo>
                    <a:pt x="20" y="34"/>
                  </a:lnTo>
                  <a:lnTo>
                    <a:pt x="16" y="40"/>
                  </a:lnTo>
                  <a:lnTo>
                    <a:pt x="10" y="48"/>
                  </a:lnTo>
                  <a:lnTo>
                    <a:pt x="6" y="56"/>
                  </a:lnTo>
                  <a:lnTo>
                    <a:pt x="4" y="65"/>
                  </a:lnTo>
                  <a:lnTo>
                    <a:pt x="1" y="74"/>
                  </a:lnTo>
                  <a:lnTo>
                    <a:pt x="0" y="83"/>
                  </a:lnTo>
                  <a:lnTo>
                    <a:pt x="0" y="93"/>
                  </a:lnTo>
                  <a:lnTo>
                    <a:pt x="0" y="93"/>
                  </a:lnTo>
                  <a:lnTo>
                    <a:pt x="1" y="106"/>
                  </a:lnTo>
                  <a:lnTo>
                    <a:pt x="4" y="118"/>
                  </a:lnTo>
                  <a:lnTo>
                    <a:pt x="8" y="130"/>
                  </a:lnTo>
                  <a:lnTo>
                    <a:pt x="15" y="142"/>
                  </a:lnTo>
                  <a:lnTo>
                    <a:pt x="23" y="152"/>
                  </a:lnTo>
                  <a:lnTo>
                    <a:pt x="31" y="161"/>
                  </a:lnTo>
                  <a:lnTo>
                    <a:pt x="41" y="169"/>
                  </a:lnTo>
                  <a:lnTo>
                    <a:pt x="53" y="176"/>
                  </a:lnTo>
                  <a:lnTo>
                    <a:pt x="53" y="189"/>
                  </a:lnTo>
                  <a:lnTo>
                    <a:pt x="53" y="189"/>
                  </a:lnTo>
                  <a:lnTo>
                    <a:pt x="53" y="192"/>
                  </a:lnTo>
                  <a:lnTo>
                    <a:pt x="55" y="193"/>
                  </a:lnTo>
                  <a:lnTo>
                    <a:pt x="57" y="195"/>
                  </a:lnTo>
                  <a:lnTo>
                    <a:pt x="59" y="195"/>
                  </a:lnTo>
                  <a:lnTo>
                    <a:pt x="125" y="195"/>
                  </a:lnTo>
                  <a:lnTo>
                    <a:pt x="125" y="195"/>
                  </a:lnTo>
                  <a:lnTo>
                    <a:pt x="126" y="195"/>
                  </a:lnTo>
                  <a:lnTo>
                    <a:pt x="127" y="193"/>
                  </a:lnTo>
                  <a:lnTo>
                    <a:pt x="129" y="192"/>
                  </a:lnTo>
                  <a:lnTo>
                    <a:pt x="130" y="189"/>
                  </a:lnTo>
                  <a:lnTo>
                    <a:pt x="130" y="176"/>
                  </a:lnTo>
                  <a:lnTo>
                    <a:pt x="130" y="176"/>
                  </a:lnTo>
                  <a:lnTo>
                    <a:pt x="141" y="169"/>
                  </a:lnTo>
                  <a:lnTo>
                    <a:pt x="152" y="161"/>
                  </a:lnTo>
                  <a:lnTo>
                    <a:pt x="161" y="152"/>
                  </a:lnTo>
                  <a:lnTo>
                    <a:pt x="169" y="142"/>
                  </a:lnTo>
                  <a:lnTo>
                    <a:pt x="176" y="130"/>
                  </a:lnTo>
                  <a:lnTo>
                    <a:pt x="180" y="118"/>
                  </a:lnTo>
                  <a:lnTo>
                    <a:pt x="182" y="106"/>
                  </a:lnTo>
                  <a:lnTo>
                    <a:pt x="184" y="93"/>
                  </a:lnTo>
                  <a:lnTo>
                    <a:pt x="184" y="93"/>
                  </a:lnTo>
                  <a:lnTo>
                    <a:pt x="184" y="83"/>
                  </a:lnTo>
                  <a:lnTo>
                    <a:pt x="181" y="74"/>
                  </a:lnTo>
                  <a:lnTo>
                    <a:pt x="180" y="65"/>
                  </a:lnTo>
                  <a:lnTo>
                    <a:pt x="176" y="56"/>
                  </a:lnTo>
                  <a:lnTo>
                    <a:pt x="173" y="48"/>
                  </a:lnTo>
                  <a:lnTo>
                    <a:pt x="168" y="40"/>
                  </a:lnTo>
                  <a:lnTo>
                    <a:pt x="162" y="34"/>
                  </a:lnTo>
                  <a:lnTo>
                    <a:pt x="157" y="27"/>
                  </a:lnTo>
                  <a:lnTo>
                    <a:pt x="150" y="22"/>
                  </a:lnTo>
                  <a:lnTo>
                    <a:pt x="143" y="16"/>
                  </a:lnTo>
                  <a:lnTo>
                    <a:pt x="135" y="11"/>
                  </a:lnTo>
                  <a:lnTo>
                    <a:pt x="127" y="7"/>
                  </a:lnTo>
                  <a:lnTo>
                    <a:pt x="119" y="4"/>
                  </a:lnTo>
                  <a:lnTo>
                    <a:pt x="110" y="1"/>
                  </a:lnTo>
                  <a:lnTo>
                    <a:pt x="100" y="0"/>
                  </a:lnTo>
                  <a:lnTo>
                    <a:pt x="91" y="0"/>
                  </a:lnTo>
                  <a:lnTo>
                    <a:pt x="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167">
              <a:extLst>
                <a:ext uri="{FF2B5EF4-FFF2-40B4-BE49-F238E27FC236}">
                  <a16:creationId xmlns:a16="http://schemas.microsoft.com/office/drawing/2014/main" id="{7E3386D4-F491-4723-8F74-CF2394D93513}"/>
                </a:ext>
              </a:extLst>
            </p:cNvPr>
            <p:cNvSpPr>
              <a:spLocks/>
            </p:cNvSpPr>
            <p:nvPr/>
          </p:nvSpPr>
          <p:spPr bwMode="auto">
            <a:xfrm>
              <a:off x="2546351" y="4533900"/>
              <a:ext cx="61913" cy="9525"/>
            </a:xfrm>
            <a:custGeom>
              <a:avLst/>
              <a:gdLst>
                <a:gd name="T0" fmla="*/ 72 w 77"/>
                <a:gd name="T1" fmla="*/ 0 h 11"/>
                <a:gd name="T2" fmla="*/ 6 w 77"/>
                <a:gd name="T3" fmla="*/ 0 h 11"/>
                <a:gd name="T4" fmla="*/ 6 w 77"/>
                <a:gd name="T5" fmla="*/ 0 h 11"/>
                <a:gd name="T6" fmla="*/ 4 w 77"/>
                <a:gd name="T7" fmla="*/ 0 h 11"/>
                <a:gd name="T8" fmla="*/ 2 w 77"/>
                <a:gd name="T9" fmla="*/ 1 h 11"/>
                <a:gd name="T10" fmla="*/ 0 w 77"/>
                <a:gd name="T11" fmla="*/ 3 h 11"/>
                <a:gd name="T12" fmla="*/ 0 w 77"/>
                <a:gd name="T13" fmla="*/ 5 h 11"/>
                <a:gd name="T14" fmla="*/ 0 w 77"/>
                <a:gd name="T15" fmla="*/ 5 h 11"/>
                <a:gd name="T16" fmla="*/ 0 w 77"/>
                <a:gd name="T17" fmla="*/ 7 h 11"/>
                <a:gd name="T18" fmla="*/ 2 w 77"/>
                <a:gd name="T19" fmla="*/ 9 h 11"/>
                <a:gd name="T20" fmla="*/ 4 w 77"/>
                <a:gd name="T21" fmla="*/ 11 h 11"/>
                <a:gd name="T22" fmla="*/ 6 w 77"/>
                <a:gd name="T23" fmla="*/ 11 h 11"/>
                <a:gd name="T24" fmla="*/ 72 w 77"/>
                <a:gd name="T25" fmla="*/ 11 h 11"/>
                <a:gd name="T26" fmla="*/ 72 w 77"/>
                <a:gd name="T27" fmla="*/ 11 h 11"/>
                <a:gd name="T28" fmla="*/ 73 w 77"/>
                <a:gd name="T29" fmla="*/ 11 h 11"/>
                <a:gd name="T30" fmla="*/ 74 w 77"/>
                <a:gd name="T31" fmla="*/ 9 h 11"/>
                <a:gd name="T32" fmla="*/ 76 w 77"/>
                <a:gd name="T33" fmla="*/ 7 h 11"/>
                <a:gd name="T34" fmla="*/ 77 w 77"/>
                <a:gd name="T35" fmla="*/ 5 h 11"/>
                <a:gd name="T36" fmla="*/ 77 w 77"/>
                <a:gd name="T37" fmla="*/ 5 h 11"/>
                <a:gd name="T38" fmla="*/ 76 w 77"/>
                <a:gd name="T39" fmla="*/ 3 h 11"/>
                <a:gd name="T40" fmla="*/ 74 w 77"/>
                <a:gd name="T41" fmla="*/ 1 h 11"/>
                <a:gd name="T42" fmla="*/ 73 w 77"/>
                <a:gd name="T43" fmla="*/ 0 h 11"/>
                <a:gd name="T44" fmla="*/ 72 w 77"/>
                <a:gd name="T45" fmla="*/ 0 h 11"/>
                <a:gd name="T46" fmla="*/ 72 w 77"/>
                <a:gd name="T4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7" h="11">
                  <a:moveTo>
                    <a:pt x="72" y="0"/>
                  </a:moveTo>
                  <a:lnTo>
                    <a:pt x="6" y="0"/>
                  </a:lnTo>
                  <a:lnTo>
                    <a:pt x="6" y="0"/>
                  </a:lnTo>
                  <a:lnTo>
                    <a:pt x="4" y="0"/>
                  </a:lnTo>
                  <a:lnTo>
                    <a:pt x="2" y="1"/>
                  </a:lnTo>
                  <a:lnTo>
                    <a:pt x="0" y="3"/>
                  </a:lnTo>
                  <a:lnTo>
                    <a:pt x="0" y="5"/>
                  </a:lnTo>
                  <a:lnTo>
                    <a:pt x="0" y="5"/>
                  </a:lnTo>
                  <a:lnTo>
                    <a:pt x="0" y="7"/>
                  </a:lnTo>
                  <a:lnTo>
                    <a:pt x="2" y="9"/>
                  </a:lnTo>
                  <a:lnTo>
                    <a:pt x="4" y="11"/>
                  </a:lnTo>
                  <a:lnTo>
                    <a:pt x="6" y="11"/>
                  </a:lnTo>
                  <a:lnTo>
                    <a:pt x="72" y="11"/>
                  </a:lnTo>
                  <a:lnTo>
                    <a:pt x="72" y="11"/>
                  </a:lnTo>
                  <a:lnTo>
                    <a:pt x="73" y="11"/>
                  </a:lnTo>
                  <a:lnTo>
                    <a:pt x="74" y="9"/>
                  </a:lnTo>
                  <a:lnTo>
                    <a:pt x="76" y="7"/>
                  </a:lnTo>
                  <a:lnTo>
                    <a:pt x="77" y="5"/>
                  </a:lnTo>
                  <a:lnTo>
                    <a:pt x="77" y="5"/>
                  </a:lnTo>
                  <a:lnTo>
                    <a:pt x="76" y="3"/>
                  </a:lnTo>
                  <a:lnTo>
                    <a:pt x="74" y="1"/>
                  </a:lnTo>
                  <a:lnTo>
                    <a:pt x="73" y="0"/>
                  </a:lnTo>
                  <a:lnTo>
                    <a:pt x="72" y="0"/>
                  </a:lnTo>
                  <a:lnTo>
                    <a:pt x="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168">
              <a:extLst>
                <a:ext uri="{FF2B5EF4-FFF2-40B4-BE49-F238E27FC236}">
                  <a16:creationId xmlns:a16="http://schemas.microsoft.com/office/drawing/2014/main" id="{A1AE8738-7CA3-4225-99FD-EAC6FE96B1F3}"/>
                </a:ext>
              </a:extLst>
            </p:cNvPr>
            <p:cNvSpPr>
              <a:spLocks/>
            </p:cNvSpPr>
            <p:nvPr/>
          </p:nvSpPr>
          <p:spPr bwMode="auto">
            <a:xfrm>
              <a:off x="2563813" y="4554538"/>
              <a:ext cx="25400" cy="7938"/>
            </a:xfrm>
            <a:custGeom>
              <a:avLst/>
              <a:gdLst>
                <a:gd name="T0" fmla="*/ 27 w 32"/>
                <a:gd name="T1" fmla="*/ 0 h 11"/>
                <a:gd name="T2" fmla="*/ 5 w 32"/>
                <a:gd name="T3" fmla="*/ 0 h 11"/>
                <a:gd name="T4" fmla="*/ 5 w 32"/>
                <a:gd name="T5" fmla="*/ 0 h 11"/>
                <a:gd name="T6" fmla="*/ 4 w 32"/>
                <a:gd name="T7" fmla="*/ 1 h 11"/>
                <a:gd name="T8" fmla="*/ 1 w 32"/>
                <a:gd name="T9" fmla="*/ 3 h 11"/>
                <a:gd name="T10" fmla="*/ 1 w 32"/>
                <a:gd name="T11" fmla="*/ 4 h 11"/>
                <a:gd name="T12" fmla="*/ 0 w 32"/>
                <a:gd name="T13" fmla="*/ 6 h 11"/>
                <a:gd name="T14" fmla="*/ 0 w 32"/>
                <a:gd name="T15" fmla="*/ 6 h 11"/>
                <a:gd name="T16" fmla="*/ 1 w 32"/>
                <a:gd name="T17" fmla="*/ 8 h 11"/>
                <a:gd name="T18" fmla="*/ 1 w 32"/>
                <a:gd name="T19" fmla="*/ 10 h 11"/>
                <a:gd name="T20" fmla="*/ 4 w 32"/>
                <a:gd name="T21" fmla="*/ 11 h 11"/>
                <a:gd name="T22" fmla="*/ 5 w 32"/>
                <a:gd name="T23" fmla="*/ 11 h 11"/>
                <a:gd name="T24" fmla="*/ 27 w 32"/>
                <a:gd name="T25" fmla="*/ 11 h 11"/>
                <a:gd name="T26" fmla="*/ 27 w 32"/>
                <a:gd name="T27" fmla="*/ 11 h 11"/>
                <a:gd name="T28" fmla="*/ 29 w 32"/>
                <a:gd name="T29" fmla="*/ 11 h 11"/>
                <a:gd name="T30" fmla="*/ 31 w 32"/>
                <a:gd name="T31" fmla="*/ 10 h 11"/>
                <a:gd name="T32" fmla="*/ 32 w 32"/>
                <a:gd name="T33" fmla="*/ 8 h 11"/>
                <a:gd name="T34" fmla="*/ 32 w 32"/>
                <a:gd name="T35" fmla="*/ 6 h 11"/>
                <a:gd name="T36" fmla="*/ 32 w 32"/>
                <a:gd name="T37" fmla="*/ 6 h 11"/>
                <a:gd name="T38" fmla="*/ 32 w 32"/>
                <a:gd name="T39" fmla="*/ 4 h 11"/>
                <a:gd name="T40" fmla="*/ 31 w 32"/>
                <a:gd name="T41" fmla="*/ 3 h 11"/>
                <a:gd name="T42" fmla="*/ 29 w 32"/>
                <a:gd name="T43" fmla="*/ 1 h 11"/>
                <a:gd name="T44" fmla="*/ 27 w 32"/>
                <a:gd name="T45" fmla="*/ 0 h 11"/>
                <a:gd name="T46" fmla="*/ 27 w 32"/>
                <a:gd name="T4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11">
                  <a:moveTo>
                    <a:pt x="27" y="0"/>
                  </a:moveTo>
                  <a:lnTo>
                    <a:pt x="5" y="0"/>
                  </a:lnTo>
                  <a:lnTo>
                    <a:pt x="5" y="0"/>
                  </a:lnTo>
                  <a:lnTo>
                    <a:pt x="4" y="1"/>
                  </a:lnTo>
                  <a:lnTo>
                    <a:pt x="1" y="3"/>
                  </a:lnTo>
                  <a:lnTo>
                    <a:pt x="1" y="4"/>
                  </a:lnTo>
                  <a:lnTo>
                    <a:pt x="0" y="6"/>
                  </a:lnTo>
                  <a:lnTo>
                    <a:pt x="0" y="6"/>
                  </a:lnTo>
                  <a:lnTo>
                    <a:pt x="1" y="8"/>
                  </a:lnTo>
                  <a:lnTo>
                    <a:pt x="1" y="10"/>
                  </a:lnTo>
                  <a:lnTo>
                    <a:pt x="4" y="11"/>
                  </a:lnTo>
                  <a:lnTo>
                    <a:pt x="5" y="11"/>
                  </a:lnTo>
                  <a:lnTo>
                    <a:pt x="27" y="11"/>
                  </a:lnTo>
                  <a:lnTo>
                    <a:pt x="27" y="11"/>
                  </a:lnTo>
                  <a:lnTo>
                    <a:pt x="29" y="11"/>
                  </a:lnTo>
                  <a:lnTo>
                    <a:pt x="31" y="10"/>
                  </a:lnTo>
                  <a:lnTo>
                    <a:pt x="32" y="8"/>
                  </a:lnTo>
                  <a:lnTo>
                    <a:pt x="32" y="6"/>
                  </a:lnTo>
                  <a:lnTo>
                    <a:pt x="32" y="6"/>
                  </a:lnTo>
                  <a:lnTo>
                    <a:pt x="32" y="4"/>
                  </a:lnTo>
                  <a:lnTo>
                    <a:pt x="31" y="3"/>
                  </a:lnTo>
                  <a:lnTo>
                    <a:pt x="29" y="1"/>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29" name="Group 28">
            <a:extLst>
              <a:ext uri="{FF2B5EF4-FFF2-40B4-BE49-F238E27FC236}">
                <a16:creationId xmlns:a16="http://schemas.microsoft.com/office/drawing/2014/main" id="{AACAA3AC-225B-48EB-98FC-A8DE60C5C9E0}"/>
              </a:ext>
            </a:extLst>
          </p:cNvPr>
          <p:cNvGrpSpPr>
            <a:grpSpLocks noChangeAspect="1"/>
          </p:cNvGrpSpPr>
          <p:nvPr/>
        </p:nvGrpSpPr>
        <p:grpSpPr>
          <a:xfrm>
            <a:off x="5317227" y="2658083"/>
            <a:ext cx="829574" cy="832104"/>
            <a:chOff x="11117263" y="4176713"/>
            <a:chExt cx="520700" cy="522288"/>
          </a:xfrm>
          <a:solidFill>
            <a:schemeClr val="bg1"/>
          </a:solidFill>
        </p:grpSpPr>
        <p:sp>
          <p:nvSpPr>
            <p:cNvPr id="30" name="Freeform 67">
              <a:extLst>
                <a:ext uri="{FF2B5EF4-FFF2-40B4-BE49-F238E27FC236}">
                  <a16:creationId xmlns:a16="http://schemas.microsoft.com/office/drawing/2014/main" id="{B2E19183-6F78-4B0E-9D40-916F057EED97}"/>
                </a:ext>
              </a:extLst>
            </p:cNvPr>
            <p:cNvSpPr>
              <a:spLocks noEditPoints="1"/>
            </p:cNvSpPr>
            <p:nvPr/>
          </p:nvSpPr>
          <p:spPr bwMode="auto">
            <a:xfrm>
              <a:off x="11117263" y="4176713"/>
              <a:ext cx="520700" cy="522288"/>
            </a:xfrm>
            <a:custGeom>
              <a:avLst/>
              <a:gdLst>
                <a:gd name="T0" fmla="*/ 312 w 657"/>
                <a:gd name="T1" fmla="*/ 657 h 658"/>
                <a:gd name="T2" fmla="*/ 262 w 657"/>
                <a:gd name="T3" fmla="*/ 652 h 658"/>
                <a:gd name="T4" fmla="*/ 200 w 657"/>
                <a:gd name="T5" fmla="*/ 633 h 658"/>
                <a:gd name="T6" fmla="*/ 120 w 657"/>
                <a:gd name="T7" fmla="*/ 583 h 658"/>
                <a:gd name="T8" fmla="*/ 57 w 657"/>
                <a:gd name="T9" fmla="*/ 513 h 658"/>
                <a:gd name="T10" fmla="*/ 15 w 657"/>
                <a:gd name="T11" fmla="*/ 427 h 658"/>
                <a:gd name="T12" fmla="*/ 4 w 657"/>
                <a:gd name="T13" fmla="*/ 379 h 658"/>
                <a:gd name="T14" fmla="*/ 0 w 657"/>
                <a:gd name="T15" fmla="*/ 329 h 658"/>
                <a:gd name="T16" fmla="*/ 2 w 657"/>
                <a:gd name="T17" fmla="*/ 296 h 658"/>
                <a:gd name="T18" fmla="*/ 11 w 657"/>
                <a:gd name="T19" fmla="*/ 247 h 658"/>
                <a:gd name="T20" fmla="*/ 39 w 657"/>
                <a:gd name="T21" fmla="*/ 172 h 658"/>
                <a:gd name="T22" fmla="*/ 97 w 657"/>
                <a:gd name="T23" fmla="*/ 97 h 658"/>
                <a:gd name="T24" fmla="*/ 172 w 657"/>
                <a:gd name="T25" fmla="*/ 41 h 658"/>
                <a:gd name="T26" fmla="*/ 246 w 657"/>
                <a:gd name="T27" fmla="*/ 11 h 658"/>
                <a:gd name="T28" fmla="*/ 296 w 657"/>
                <a:gd name="T29" fmla="*/ 3 h 658"/>
                <a:gd name="T30" fmla="*/ 329 w 657"/>
                <a:gd name="T31" fmla="*/ 0 h 658"/>
                <a:gd name="T32" fmla="*/ 379 w 657"/>
                <a:gd name="T33" fmla="*/ 4 h 658"/>
                <a:gd name="T34" fmla="*/ 426 w 657"/>
                <a:gd name="T35" fmla="*/ 15 h 658"/>
                <a:gd name="T36" fmla="*/ 512 w 657"/>
                <a:gd name="T37" fmla="*/ 57 h 658"/>
                <a:gd name="T38" fmla="*/ 582 w 657"/>
                <a:gd name="T39" fmla="*/ 120 h 658"/>
                <a:gd name="T40" fmla="*/ 631 w 657"/>
                <a:gd name="T41" fmla="*/ 202 h 658"/>
                <a:gd name="T42" fmla="*/ 650 w 657"/>
                <a:gd name="T43" fmla="*/ 263 h 658"/>
                <a:gd name="T44" fmla="*/ 657 w 657"/>
                <a:gd name="T45" fmla="*/ 312 h 658"/>
                <a:gd name="T46" fmla="*/ 657 w 657"/>
                <a:gd name="T47" fmla="*/ 347 h 658"/>
                <a:gd name="T48" fmla="*/ 650 w 657"/>
                <a:gd name="T49" fmla="*/ 395 h 658"/>
                <a:gd name="T50" fmla="*/ 631 w 657"/>
                <a:gd name="T51" fmla="*/ 457 h 658"/>
                <a:gd name="T52" fmla="*/ 582 w 657"/>
                <a:gd name="T53" fmla="*/ 539 h 658"/>
                <a:gd name="T54" fmla="*/ 512 w 657"/>
                <a:gd name="T55" fmla="*/ 602 h 658"/>
                <a:gd name="T56" fmla="*/ 426 w 657"/>
                <a:gd name="T57" fmla="*/ 644 h 658"/>
                <a:gd name="T58" fmla="*/ 379 w 657"/>
                <a:gd name="T59" fmla="*/ 654 h 658"/>
                <a:gd name="T60" fmla="*/ 329 w 657"/>
                <a:gd name="T61" fmla="*/ 658 h 658"/>
                <a:gd name="T62" fmla="*/ 329 w 657"/>
                <a:gd name="T63" fmla="*/ 38 h 658"/>
                <a:gd name="T64" fmla="*/ 242 w 657"/>
                <a:gd name="T65" fmla="*/ 51 h 658"/>
                <a:gd name="T66" fmla="*/ 166 w 657"/>
                <a:gd name="T67" fmla="*/ 88 h 658"/>
                <a:gd name="T68" fmla="*/ 104 w 657"/>
                <a:gd name="T69" fmla="*/ 144 h 658"/>
                <a:gd name="T70" fmla="*/ 61 w 657"/>
                <a:gd name="T71" fmla="*/ 216 h 658"/>
                <a:gd name="T72" fmla="*/ 39 w 657"/>
                <a:gd name="T73" fmla="*/ 300 h 658"/>
                <a:gd name="T74" fmla="*/ 39 w 657"/>
                <a:gd name="T75" fmla="*/ 359 h 658"/>
                <a:gd name="T76" fmla="*/ 61 w 657"/>
                <a:gd name="T77" fmla="*/ 442 h 658"/>
                <a:gd name="T78" fmla="*/ 104 w 657"/>
                <a:gd name="T79" fmla="*/ 515 h 658"/>
                <a:gd name="T80" fmla="*/ 166 w 657"/>
                <a:gd name="T81" fmla="*/ 571 h 658"/>
                <a:gd name="T82" fmla="*/ 242 w 657"/>
                <a:gd name="T83" fmla="*/ 607 h 658"/>
                <a:gd name="T84" fmla="*/ 329 w 657"/>
                <a:gd name="T85" fmla="*/ 621 h 658"/>
                <a:gd name="T86" fmla="*/ 387 w 657"/>
                <a:gd name="T87" fmla="*/ 614 h 658"/>
                <a:gd name="T88" fmla="*/ 468 w 657"/>
                <a:gd name="T89" fmla="*/ 586 h 658"/>
                <a:gd name="T90" fmla="*/ 535 w 657"/>
                <a:gd name="T91" fmla="*/ 535 h 658"/>
                <a:gd name="T92" fmla="*/ 584 w 657"/>
                <a:gd name="T93" fmla="*/ 468 h 658"/>
                <a:gd name="T94" fmla="*/ 614 w 657"/>
                <a:gd name="T95" fmla="*/ 388 h 658"/>
                <a:gd name="T96" fmla="*/ 619 w 657"/>
                <a:gd name="T97" fmla="*/ 329 h 658"/>
                <a:gd name="T98" fmla="*/ 607 w 657"/>
                <a:gd name="T99" fmla="*/ 243 h 658"/>
                <a:gd name="T100" fmla="*/ 570 w 657"/>
                <a:gd name="T101" fmla="*/ 167 h 658"/>
                <a:gd name="T102" fmla="*/ 513 w 657"/>
                <a:gd name="T103" fmla="*/ 105 h 658"/>
                <a:gd name="T104" fmla="*/ 442 w 657"/>
                <a:gd name="T105" fmla="*/ 61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7"/>
                  </a:lnTo>
                  <a:lnTo>
                    <a:pt x="296" y="657"/>
                  </a:lnTo>
                  <a:lnTo>
                    <a:pt x="278" y="654"/>
                  </a:lnTo>
                  <a:lnTo>
                    <a:pt x="262" y="652"/>
                  </a:lnTo>
                  <a:lnTo>
                    <a:pt x="246" y="648"/>
                  </a:lnTo>
                  <a:lnTo>
                    <a:pt x="231" y="644"/>
                  </a:lnTo>
                  <a:lnTo>
                    <a:pt x="200" y="633"/>
                  </a:lnTo>
                  <a:lnTo>
                    <a:pt x="172" y="618"/>
                  </a:lnTo>
                  <a:lnTo>
                    <a:pt x="145" y="602"/>
                  </a:lnTo>
                  <a:lnTo>
                    <a:pt x="120" y="583"/>
                  </a:lnTo>
                  <a:lnTo>
                    <a:pt x="97" y="562"/>
                  </a:lnTo>
                  <a:lnTo>
                    <a:pt x="76" y="539"/>
                  </a:lnTo>
                  <a:lnTo>
                    <a:pt x="57" y="513"/>
                  </a:lnTo>
                  <a:lnTo>
                    <a:pt x="39" y="486"/>
                  </a:lnTo>
                  <a:lnTo>
                    <a:pt x="26" y="457"/>
                  </a:lnTo>
                  <a:lnTo>
                    <a:pt x="15" y="427"/>
                  </a:lnTo>
                  <a:lnTo>
                    <a:pt x="11" y="411"/>
                  </a:lnTo>
                  <a:lnTo>
                    <a:pt x="7" y="395"/>
                  </a:lnTo>
                  <a:lnTo>
                    <a:pt x="4" y="379"/>
                  </a:lnTo>
                  <a:lnTo>
                    <a:pt x="2" y="363"/>
                  </a:lnTo>
                  <a:lnTo>
                    <a:pt x="0" y="347"/>
                  </a:lnTo>
                  <a:lnTo>
                    <a:pt x="0" y="329"/>
                  </a:lnTo>
                  <a:lnTo>
                    <a:pt x="0" y="329"/>
                  </a:lnTo>
                  <a:lnTo>
                    <a:pt x="0" y="312"/>
                  </a:lnTo>
                  <a:lnTo>
                    <a:pt x="2" y="296"/>
                  </a:lnTo>
                  <a:lnTo>
                    <a:pt x="4" y="280"/>
                  </a:lnTo>
                  <a:lnTo>
                    <a:pt x="7" y="263"/>
                  </a:lnTo>
                  <a:lnTo>
                    <a:pt x="11" y="247"/>
                  </a:lnTo>
                  <a:lnTo>
                    <a:pt x="15" y="231"/>
                  </a:lnTo>
                  <a:lnTo>
                    <a:pt x="26" y="202"/>
                  </a:lnTo>
                  <a:lnTo>
                    <a:pt x="39" y="172"/>
                  </a:lnTo>
                  <a:lnTo>
                    <a:pt x="57" y="145"/>
                  </a:lnTo>
                  <a:lnTo>
                    <a:pt x="76" y="120"/>
                  </a:lnTo>
                  <a:lnTo>
                    <a:pt x="97" y="97"/>
                  </a:lnTo>
                  <a:lnTo>
                    <a:pt x="120" y="75"/>
                  </a:lnTo>
                  <a:lnTo>
                    <a:pt x="145" y="57"/>
                  </a:lnTo>
                  <a:lnTo>
                    <a:pt x="172" y="41"/>
                  </a:lnTo>
                  <a:lnTo>
                    <a:pt x="200" y="27"/>
                  </a:lnTo>
                  <a:lnTo>
                    <a:pt x="231" y="15"/>
                  </a:lnTo>
                  <a:lnTo>
                    <a:pt x="246" y="11"/>
                  </a:lnTo>
                  <a:lnTo>
                    <a:pt x="262" y="7"/>
                  </a:lnTo>
                  <a:lnTo>
                    <a:pt x="278" y="4"/>
                  </a:lnTo>
                  <a:lnTo>
                    <a:pt x="296" y="3"/>
                  </a:lnTo>
                  <a:lnTo>
                    <a:pt x="312" y="2"/>
                  </a:lnTo>
                  <a:lnTo>
                    <a:pt x="329" y="0"/>
                  </a:lnTo>
                  <a:lnTo>
                    <a:pt x="329" y="0"/>
                  </a:lnTo>
                  <a:lnTo>
                    <a:pt x="345" y="2"/>
                  </a:lnTo>
                  <a:lnTo>
                    <a:pt x="363" y="3"/>
                  </a:lnTo>
                  <a:lnTo>
                    <a:pt x="379" y="4"/>
                  </a:lnTo>
                  <a:lnTo>
                    <a:pt x="395" y="7"/>
                  </a:lnTo>
                  <a:lnTo>
                    <a:pt x="411" y="11"/>
                  </a:lnTo>
                  <a:lnTo>
                    <a:pt x="426" y="15"/>
                  </a:lnTo>
                  <a:lnTo>
                    <a:pt x="457" y="27"/>
                  </a:lnTo>
                  <a:lnTo>
                    <a:pt x="485" y="41"/>
                  </a:lnTo>
                  <a:lnTo>
                    <a:pt x="512" y="57"/>
                  </a:lnTo>
                  <a:lnTo>
                    <a:pt x="538" y="75"/>
                  </a:lnTo>
                  <a:lnTo>
                    <a:pt x="562" y="97"/>
                  </a:lnTo>
                  <a:lnTo>
                    <a:pt x="582" y="120"/>
                  </a:lnTo>
                  <a:lnTo>
                    <a:pt x="601" y="145"/>
                  </a:lnTo>
                  <a:lnTo>
                    <a:pt x="618" y="172"/>
                  </a:lnTo>
                  <a:lnTo>
                    <a:pt x="631" y="202"/>
                  </a:lnTo>
                  <a:lnTo>
                    <a:pt x="642" y="231"/>
                  </a:lnTo>
                  <a:lnTo>
                    <a:pt x="648" y="247"/>
                  </a:lnTo>
                  <a:lnTo>
                    <a:pt x="650" y="263"/>
                  </a:lnTo>
                  <a:lnTo>
                    <a:pt x="654" y="280"/>
                  </a:lnTo>
                  <a:lnTo>
                    <a:pt x="656" y="296"/>
                  </a:lnTo>
                  <a:lnTo>
                    <a:pt x="657" y="312"/>
                  </a:lnTo>
                  <a:lnTo>
                    <a:pt x="657" y="329"/>
                  </a:lnTo>
                  <a:lnTo>
                    <a:pt x="657" y="329"/>
                  </a:lnTo>
                  <a:lnTo>
                    <a:pt x="657" y="347"/>
                  </a:lnTo>
                  <a:lnTo>
                    <a:pt x="656" y="363"/>
                  </a:lnTo>
                  <a:lnTo>
                    <a:pt x="654" y="379"/>
                  </a:lnTo>
                  <a:lnTo>
                    <a:pt x="650" y="395"/>
                  </a:lnTo>
                  <a:lnTo>
                    <a:pt x="648" y="411"/>
                  </a:lnTo>
                  <a:lnTo>
                    <a:pt x="642" y="427"/>
                  </a:lnTo>
                  <a:lnTo>
                    <a:pt x="631" y="457"/>
                  </a:lnTo>
                  <a:lnTo>
                    <a:pt x="618" y="486"/>
                  </a:lnTo>
                  <a:lnTo>
                    <a:pt x="601" y="513"/>
                  </a:lnTo>
                  <a:lnTo>
                    <a:pt x="582" y="539"/>
                  </a:lnTo>
                  <a:lnTo>
                    <a:pt x="562" y="562"/>
                  </a:lnTo>
                  <a:lnTo>
                    <a:pt x="538" y="583"/>
                  </a:lnTo>
                  <a:lnTo>
                    <a:pt x="512" y="602"/>
                  </a:lnTo>
                  <a:lnTo>
                    <a:pt x="485" y="618"/>
                  </a:lnTo>
                  <a:lnTo>
                    <a:pt x="457" y="633"/>
                  </a:lnTo>
                  <a:lnTo>
                    <a:pt x="426" y="644"/>
                  </a:lnTo>
                  <a:lnTo>
                    <a:pt x="411" y="648"/>
                  </a:lnTo>
                  <a:lnTo>
                    <a:pt x="395" y="652"/>
                  </a:lnTo>
                  <a:lnTo>
                    <a:pt x="379" y="654"/>
                  </a:lnTo>
                  <a:lnTo>
                    <a:pt x="363" y="657"/>
                  </a:lnTo>
                  <a:lnTo>
                    <a:pt x="345" y="657"/>
                  </a:lnTo>
                  <a:lnTo>
                    <a:pt x="329" y="658"/>
                  </a:lnTo>
                  <a:lnTo>
                    <a:pt x="329" y="658"/>
                  </a:lnTo>
                  <a:close/>
                  <a:moveTo>
                    <a:pt x="329" y="38"/>
                  </a:moveTo>
                  <a:lnTo>
                    <a:pt x="329" y="38"/>
                  </a:lnTo>
                  <a:lnTo>
                    <a:pt x="299" y="39"/>
                  </a:lnTo>
                  <a:lnTo>
                    <a:pt x="270" y="45"/>
                  </a:lnTo>
                  <a:lnTo>
                    <a:pt x="242" y="51"/>
                  </a:lnTo>
                  <a:lnTo>
                    <a:pt x="215" y="61"/>
                  </a:lnTo>
                  <a:lnTo>
                    <a:pt x="190" y="73"/>
                  </a:lnTo>
                  <a:lnTo>
                    <a:pt x="166" y="88"/>
                  </a:lnTo>
                  <a:lnTo>
                    <a:pt x="144" y="105"/>
                  </a:lnTo>
                  <a:lnTo>
                    <a:pt x="123" y="124"/>
                  </a:lnTo>
                  <a:lnTo>
                    <a:pt x="104" y="144"/>
                  </a:lnTo>
                  <a:lnTo>
                    <a:pt x="88" y="167"/>
                  </a:lnTo>
                  <a:lnTo>
                    <a:pt x="73" y="191"/>
                  </a:lnTo>
                  <a:lnTo>
                    <a:pt x="61" y="216"/>
                  </a:lnTo>
                  <a:lnTo>
                    <a:pt x="51" y="243"/>
                  </a:lnTo>
                  <a:lnTo>
                    <a:pt x="43" y="270"/>
                  </a:lnTo>
                  <a:lnTo>
                    <a:pt x="39" y="300"/>
                  </a:lnTo>
                  <a:lnTo>
                    <a:pt x="38" y="329"/>
                  </a:lnTo>
                  <a:lnTo>
                    <a:pt x="38" y="329"/>
                  </a:lnTo>
                  <a:lnTo>
                    <a:pt x="39" y="359"/>
                  </a:lnTo>
                  <a:lnTo>
                    <a:pt x="43" y="388"/>
                  </a:lnTo>
                  <a:lnTo>
                    <a:pt x="51" y="415"/>
                  </a:lnTo>
                  <a:lnTo>
                    <a:pt x="61" y="442"/>
                  </a:lnTo>
                  <a:lnTo>
                    <a:pt x="73" y="468"/>
                  </a:lnTo>
                  <a:lnTo>
                    <a:pt x="88" y="492"/>
                  </a:lnTo>
                  <a:lnTo>
                    <a:pt x="104" y="515"/>
                  </a:lnTo>
                  <a:lnTo>
                    <a:pt x="123" y="535"/>
                  </a:lnTo>
                  <a:lnTo>
                    <a:pt x="144" y="554"/>
                  </a:lnTo>
                  <a:lnTo>
                    <a:pt x="166" y="571"/>
                  </a:lnTo>
                  <a:lnTo>
                    <a:pt x="190" y="586"/>
                  </a:lnTo>
                  <a:lnTo>
                    <a:pt x="215" y="598"/>
                  </a:lnTo>
                  <a:lnTo>
                    <a:pt x="242" y="607"/>
                  </a:lnTo>
                  <a:lnTo>
                    <a:pt x="270" y="614"/>
                  </a:lnTo>
                  <a:lnTo>
                    <a:pt x="299" y="619"/>
                  </a:lnTo>
                  <a:lnTo>
                    <a:pt x="329" y="621"/>
                  </a:lnTo>
                  <a:lnTo>
                    <a:pt x="329" y="621"/>
                  </a:lnTo>
                  <a:lnTo>
                    <a:pt x="359" y="619"/>
                  </a:lnTo>
                  <a:lnTo>
                    <a:pt x="387" y="614"/>
                  </a:lnTo>
                  <a:lnTo>
                    <a:pt x="415" y="607"/>
                  </a:lnTo>
                  <a:lnTo>
                    <a:pt x="442" y="598"/>
                  </a:lnTo>
                  <a:lnTo>
                    <a:pt x="468" y="586"/>
                  </a:lnTo>
                  <a:lnTo>
                    <a:pt x="492" y="571"/>
                  </a:lnTo>
                  <a:lnTo>
                    <a:pt x="513" y="554"/>
                  </a:lnTo>
                  <a:lnTo>
                    <a:pt x="535" y="535"/>
                  </a:lnTo>
                  <a:lnTo>
                    <a:pt x="554" y="515"/>
                  </a:lnTo>
                  <a:lnTo>
                    <a:pt x="570" y="492"/>
                  </a:lnTo>
                  <a:lnTo>
                    <a:pt x="584" y="468"/>
                  </a:lnTo>
                  <a:lnTo>
                    <a:pt x="597" y="442"/>
                  </a:lnTo>
                  <a:lnTo>
                    <a:pt x="607" y="415"/>
                  </a:lnTo>
                  <a:lnTo>
                    <a:pt x="614" y="388"/>
                  </a:lnTo>
                  <a:lnTo>
                    <a:pt x="618" y="359"/>
                  </a:lnTo>
                  <a:lnTo>
                    <a:pt x="619" y="329"/>
                  </a:lnTo>
                  <a:lnTo>
                    <a:pt x="619" y="329"/>
                  </a:lnTo>
                  <a:lnTo>
                    <a:pt x="618" y="300"/>
                  </a:lnTo>
                  <a:lnTo>
                    <a:pt x="614" y="270"/>
                  </a:lnTo>
                  <a:lnTo>
                    <a:pt x="607" y="243"/>
                  </a:lnTo>
                  <a:lnTo>
                    <a:pt x="597" y="216"/>
                  </a:lnTo>
                  <a:lnTo>
                    <a:pt x="584" y="191"/>
                  </a:lnTo>
                  <a:lnTo>
                    <a:pt x="570" y="167"/>
                  </a:lnTo>
                  <a:lnTo>
                    <a:pt x="554" y="144"/>
                  </a:lnTo>
                  <a:lnTo>
                    <a:pt x="535" y="124"/>
                  </a:lnTo>
                  <a:lnTo>
                    <a:pt x="513" y="105"/>
                  </a:lnTo>
                  <a:lnTo>
                    <a:pt x="492" y="88"/>
                  </a:lnTo>
                  <a:lnTo>
                    <a:pt x="468" y="73"/>
                  </a:lnTo>
                  <a:lnTo>
                    <a:pt x="442" y="61"/>
                  </a:lnTo>
                  <a:lnTo>
                    <a:pt x="415" y="51"/>
                  </a:lnTo>
                  <a:lnTo>
                    <a:pt x="387" y="45"/>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4">
              <a:extLst>
                <a:ext uri="{FF2B5EF4-FFF2-40B4-BE49-F238E27FC236}">
                  <a16:creationId xmlns:a16="http://schemas.microsoft.com/office/drawing/2014/main" id="{83488B38-250A-489E-84C3-800E79F6BF39}"/>
                </a:ext>
              </a:extLst>
            </p:cNvPr>
            <p:cNvSpPr>
              <a:spLocks/>
            </p:cNvSpPr>
            <p:nvPr/>
          </p:nvSpPr>
          <p:spPr bwMode="auto">
            <a:xfrm>
              <a:off x="11303001" y="4319588"/>
              <a:ext cx="174625" cy="204788"/>
            </a:xfrm>
            <a:custGeom>
              <a:avLst/>
              <a:gdLst>
                <a:gd name="T0" fmla="*/ 217 w 221"/>
                <a:gd name="T1" fmla="*/ 0 h 258"/>
                <a:gd name="T2" fmla="*/ 4 w 221"/>
                <a:gd name="T3" fmla="*/ 0 h 258"/>
                <a:gd name="T4" fmla="*/ 4 w 221"/>
                <a:gd name="T5" fmla="*/ 0 h 258"/>
                <a:gd name="T6" fmla="*/ 2 w 221"/>
                <a:gd name="T7" fmla="*/ 2 h 258"/>
                <a:gd name="T8" fmla="*/ 0 w 221"/>
                <a:gd name="T9" fmla="*/ 6 h 258"/>
                <a:gd name="T10" fmla="*/ 0 w 221"/>
                <a:gd name="T11" fmla="*/ 24 h 258"/>
                <a:gd name="T12" fmla="*/ 0 w 221"/>
                <a:gd name="T13" fmla="*/ 24 h 258"/>
                <a:gd name="T14" fmla="*/ 2 w 221"/>
                <a:gd name="T15" fmla="*/ 27 h 258"/>
                <a:gd name="T16" fmla="*/ 4 w 221"/>
                <a:gd name="T17" fmla="*/ 28 h 258"/>
                <a:gd name="T18" fmla="*/ 194 w 221"/>
                <a:gd name="T19" fmla="*/ 28 h 258"/>
                <a:gd name="T20" fmla="*/ 194 w 221"/>
                <a:gd name="T21" fmla="*/ 254 h 258"/>
                <a:gd name="T22" fmla="*/ 194 w 221"/>
                <a:gd name="T23" fmla="*/ 254 h 258"/>
                <a:gd name="T24" fmla="*/ 194 w 221"/>
                <a:gd name="T25" fmla="*/ 257 h 258"/>
                <a:gd name="T26" fmla="*/ 198 w 221"/>
                <a:gd name="T27" fmla="*/ 258 h 258"/>
                <a:gd name="T28" fmla="*/ 217 w 221"/>
                <a:gd name="T29" fmla="*/ 258 h 258"/>
                <a:gd name="T30" fmla="*/ 217 w 221"/>
                <a:gd name="T31" fmla="*/ 258 h 258"/>
                <a:gd name="T32" fmla="*/ 219 w 221"/>
                <a:gd name="T33" fmla="*/ 257 h 258"/>
                <a:gd name="T34" fmla="*/ 221 w 221"/>
                <a:gd name="T35" fmla="*/ 254 h 258"/>
                <a:gd name="T36" fmla="*/ 221 w 221"/>
                <a:gd name="T37" fmla="*/ 6 h 258"/>
                <a:gd name="T38" fmla="*/ 221 w 221"/>
                <a:gd name="T39" fmla="*/ 6 h 258"/>
                <a:gd name="T40" fmla="*/ 219 w 221"/>
                <a:gd name="T41" fmla="*/ 2 h 258"/>
                <a:gd name="T42" fmla="*/ 217 w 221"/>
                <a:gd name="T43" fmla="*/ 0 h 258"/>
                <a:gd name="T44" fmla="*/ 217 w 221"/>
                <a:gd name="T45"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1" h="258">
                  <a:moveTo>
                    <a:pt x="217" y="0"/>
                  </a:moveTo>
                  <a:lnTo>
                    <a:pt x="4" y="0"/>
                  </a:lnTo>
                  <a:lnTo>
                    <a:pt x="4" y="0"/>
                  </a:lnTo>
                  <a:lnTo>
                    <a:pt x="2" y="2"/>
                  </a:lnTo>
                  <a:lnTo>
                    <a:pt x="0" y="6"/>
                  </a:lnTo>
                  <a:lnTo>
                    <a:pt x="0" y="24"/>
                  </a:lnTo>
                  <a:lnTo>
                    <a:pt x="0" y="24"/>
                  </a:lnTo>
                  <a:lnTo>
                    <a:pt x="2" y="27"/>
                  </a:lnTo>
                  <a:lnTo>
                    <a:pt x="4" y="28"/>
                  </a:lnTo>
                  <a:lnTo>
                    <a:pt x="194" y="28"/>
                  </a:lnTo>
                  <a:lnTo>
                    <a:pt x="194" y="254"/>
                  </a:lnTo>
                  <a:lnTo>
                    <a:pt x="194" y="254"/>
                  </a:lnTo>
                  <a:lnTo>
                    <a:pt x="194" y="257"/>
                  </a:lnTo>
                  <a:lnTo>
                    <a:pt x="198" y="258"/>
                  </a:lnTo>
                  <a:lnTo>
                    <a:pt x="217" y="258"/>
                  </a:lnTo>
                  <a:lnTo>
                    <a:pt x="217" y="258"/>
                  </a:lnTo>
                  <a:lnTo>
                    <a:pt x="219" y="257"/>
                  </a:lnTo>
                  <a:lnTo>
                    <a:pt x="221" y="254"/>
                  </a:lnTo>
                  <a:lnTo>
                    <a:pt x="221" y="6"/>
                  </a:lnTo>
                  <a:lnTo>
                    <a:pt x="221" y="6"/>
                  </a:lnTo>
                  <a:lnTo>
                    <a:pt x="219" y="2"/>
                  </a:lnTo>
                  <a:lnTo>
                    <a:pt x="217" y="0"/>
                  </a:lnTo>
                  <a:lnTo>
                    <a:pt x="21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5">
              <a:extLst>
                <a:ext uri="{FF2B5EF4-FFF2-40B4-BE49-F238E27FC236}">
                  <a16:creationId xmlns:a16="http://schemas.microsoft.com/office/drawing/2014/main" id="{55E65EB4-44D4-46A7-97FD-5480563CF8CA}"/>
                </a:ext>
              </a:extLst>
            </p:cNvPr>
            <p:cNvSpPr>
              <a:spLocks noEditPoints="1"/>
            </p:cNvSpPr>
            <p:nvPr/>
          </p:nvSpPr>
          <p:spPr bwMode="auto">
            <a:xfrm>
              <a:off x="11272838" y="4357688"/>
              <a:ext cx="168275" cy="198438"/>
            </a:xfrm>
            <a:custGeom>
              <a:avLst/>
              <a:gdLst>
                <a:gd name="T0" fmla="*/ 6 w 213"/>
                <a:gd name="T1" fmla="*/ 0 h 248"/>
                <a:gd name="T2" fmla="*/ 2 w 213"/>
                <a:gd name="T3" fmla="*/ 1 h 248"/>
                <a:gd name="T4" fmla="*/ 0 w 213"/>
                <a:gd name="T5" fmla="*/ 243 h 248"/>
                <a:gd name="T6" fmla="*/ 2 w 213"/>
                <a:gd name="T7" fmla="*/ 247 h 248"/>
                <a:gd name="T8" fmla="*/ 207 w 213"/>
                <a:gd name="T9" fmla="*/ 248 h 248"/>
                <a:gd name="T10" fmla="*/ 211 w 213"/>
                <a:gd name="T11" fmla="*/ 247 h 248"/>
                <a:gd name="T12" fmla="*/ 213 w 213"/>
                <a:gd name="T13" fmla="*/ 4 h 248"/>
                <a:gd name="T14" fmla="*/ 211 w 213"/>
                <a:gd name="T15" fmla="*/ 1 h 248"/>
                <a:gd name="T16" fmla="*/ 207 w 213"/>
                <a:gd name="T17" fmla="*/ 0 h 248"/>
                <a:gd name="T18" fmla="*/ 47 w 213"/>
                <a:gd name="T19" fmla="*/ 177 h 248"/>
                <a:gd name="T20" fmla="*/ 43 w 213"/>
                <a:gd name="T21" fmla="*/ 177 h 248"/>
                <a:gd name="T22" fmla="*/ 39 w 213"/>
                <a:gd name="T23" fmla="*/ 173 h 248"/>
                <a:gd name="T24" fmla="*/ 39 w 213"/>
                <a:gd name="T25" fmla="*/ 169 h 248"/>
                <a:gd name="T26" fmla="*/ 41 w 213"/>
                <a:gd name="T27" fmla="*/ 163 h 248"/>
                <a:gd name="T28" fmla="*/ 47 w 213"/>
                <a:gd name="T29" fmla="*/ 161 h 248"/>
                <a:gd name="T30" fmla="*/ 88 w 213"/>
                <a:gd name="T31" fmla="*/ 161 h 248"/>
                <a:gd name="T32" fmla="*/ 94 w 213"/>
                <a:gd name="T33" fmla="*/ 163 h 248"/>
                <a:gd name="T34" fmla="*/ 96 w 213"/>
                <a:gd name="T35" fmla="*/ 169 h 248"/>
                <a:gd name="T36" fmla="*/ 96 w 213"/>
                <a:gd name="T37" fmla="*/ 173 h 248"/>
                <a:gd name="T38" fmla="*/ 92 w 213"/>
                <a:gd name="T39" fmla="*/ 177 h 248"/>
                <a:gd name="T40" fmla="*/ 88 w 213"/>
                <a:gd name="T41" fmla="*/ 177 h 248"/>
                <a:gd name="T42" fmla="*/ 47 w 213"/>
                <a:gd name="T43" fmla="*/ 131 h 248"/>
                <a:gd name="T44" fmla="*/ 43 w 213"/>
                <a:gd name="T45" fmla="*/ 131 h 248"/>
                <a:gd name="T46" fmla="*/ 39 w 213"/>
                <a:gd name="T47" fmla="*/ 127 h 248"/>
                <a:gd name="T48" fmla="*/ 39 w 213"/>
                <a:gd name="T49" fmla="*/ 123 h 248"/>
                <a:gd name="T50" fmla="*/ 41 w 213"/>
                <a:gd name="T51" fmla="*/ 118 h 248"/>
                <a:gd name="T52" fmla="*/ 47 w 213"/>
                <a:gd name="T53" fmla="*/ 115 h 248"/>
                <a:gd name="T54" fmla="*/ 162 w 213"/>
                <a:gd name="T55" fmla="*/ 115 h 248"/>
                <a:gd name="T56" fmla="*/ 167 w 213"/>
                <a:gd name="T57" fmla="*/ 118 h 248"/>
                <a:gd name="T58" fmla="*/ 170 w 213"/>
                <a:gd name="T59" fmla="*/ 123 h 248"/>
                <a:gd name="T60" fmla="*/ 170 w 213"/>
                <a:gd name="T61" fmla="*/ 127 h 248"/>
                <a:gd name="T62" fmla="*/ 164 w 213"/>
                <a:gd name="T63" fmla="*/ 131 h 248"/>
                <a:gd name="T64" fmla="*/ 162 w 213"/>
                <a:gd name="T65" fmla="*/ 131 h 248"/>
                <a:gd name="T66" fmla="*/ 47 w 213"/>
                <a:gd name="T67" fmla="*/ 86 h 248"/>
                <a:gd name="T68" fmla="*/ 43 w 213"/>
                <a:gd name="T69" fmla="*/ 86 h 248"/>
                <a:gd name="T70" fmla="*/ 39 w 213"/>
                <a:gd name="T71" fmla="*/ 80 h 248"/>
                <a:gd name="T72" fmla="*/ 39 w 213"/>
                <a:gd name="T73" fmla="*/ 77 h 248"/>
                <a:gd name="T74" fmla="*/ 41 w 213"/>
                <a:gd name="T75" fmla="*/ 72 h 248"/>
                <a:gd name="T76" fmla="*/ 47 w 213"/>
                <a:gd name="T77" fmla="*/ 69 h 248"/>
                <a:gd name="T78" fmla="*/ 162 w 213"/>
                <a:gd name="T79" fmla="*/ 69 h 248"/>
                <a:gd name="T80" fmla="*/ 167 w 213"/>
                <a:gd name="T81" fmla="*/ 72 h 248"/>
                <a:gd name="T82" fmla="*/ 170 w 213"/>
                <a:gd name="T83" fmla="*/ 77 h 248"/>
                <a:gd name="T84" fmla="*/ 170 w 213"/>
                <a:gd name="T85" fmla="*/ 80 h 248"/>
                <a:gd name="T86" fmla="*/ 164 w 213"/>
                <a:gd name="T87" fmla="*/ 86 h 248"/>
                <a:gd name="T88" fmla="*/ 162 w 213"/>
                <a:gd name="T89" fmla="*/ 86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3" h="248">
                  <a:moveTo>
                    <a:pt x="207" y="0"/>
                  </a:moveTo>
                  <a:lnTo>
                    <a:pt x="6" y="0"/>
                  </a:lnTo>
                  <a:lnTo>
                    <a:pt x="6" y="0"/>
                  </a:lnTo>
                  <a:lnTo>
                    <a:pt x="2" y="1"/>
                  </a:lnTo>
                  <a:lnTo>
                    <a:pt x="0" y="4"/>
                  </a:lnTo>
                  <a:lnTo>
                    <a:pt x="0" y="243"/>
                  </a:lnTo>
                  <a:lnTo>
                    <a:pt x="0" y="243"/>
                  </a:lnTo>
                  <a:lnTo>
                    <a:pt x="2" y="247"/>
                  </a:lnTo>
                  <a:lnTo>
                    <a:pt x="6" y="248"/>
                  </a:lnTo>
                  <a:lnTo>
                    <a:pt x="207" y="248"/>
                  </a:lnTo>
                  <a:lnTo>
                    <a:pt x="207" y="248"/>
                  </a:lnTo>
                  <a:lnTo>
                    <a:pt x="211" y="247"/>
                  </a:lnTo>
                  <a:lnTo>
                    <a:pt x="213" y="243"/>
                  </a:lnTo>
                  <a:lnTo>
                    <a:pt x="213" y="4"/>
                  </a:lnTo>
                  <a:lnTo>
                    <a:pt x="213" y="4"/>
                  </a:lnTo>
                  <a:lnTo>
                    <a:pt x="211" y="1"/>
                  </a:lnTo>
                  <a:lnTo>
                    <a:pt x="207" y="0"/>
                  </a:lnTo>
                  <a:lnTo>
                    <a:pt x="207" y="0"/>
                  </a:lnTo>
                  <a:close/>
                  <a:moveTo>
                    <a:pt x="88" y="177"/>
                  </a:moveTo>
                  <a:lnTo>
                    <a:pt x="47" y="177"/>
                  </a:lnTo>
                  <a:lnTo>
                    <a:pt x="47" y="177"/>
                  </a:lnTo>
                  <a:lnTo>
                    <a:pt x="43" y="177"/>
                  </a:lnTo>
                  <a:lnTo>
                    <a:pt x="41" y="176"/>
                  </a:lnTo>
                  <a:lnTo>
                    <a:pt x="39" y="173"/>
                  </a:lnTo>
                  <a:lnTo>
                    <a:pt x="39" y="169"/>
                  </a:lnTo>
                  <a:lnTo>
                    <a:pt x="39" y="169"/>
                  </a:lnTo>
                  <a:lnTo>
                    <a:pt x="39" y="166"/>
                  </a:lnTo>
                  <a:lnTo>
                    <a:pt x="41" y="163"/>
                  </a:lnTo>
                  <a:lnTo>
                    <a:pt x="43" y="162"/>
                  </a:lnTo>
                  <a:lnTo>
                    <a:pt x="47" y="161"/>
                  </a:lnTo>
                  <a:lnTo>
                    <a:pt x="88" y="161"/>
                  </a:lnTo>
                  <a:lnTo>
                    <a:pt x="88" y="161"/>
                  </a:lnTo>
                  <a:lnTo>
                    <a:pt x="92" y="162"/>
                  </a:lnTo>
                  <a:lnTo>
                    <a:pt x="94" y="163"/>
                  </a:lnTo>
                  <a:lnTo>
                    <a:pt x="96" y="166"/>
                  </a:lnTo>
                  <a:lnTo>
                    <a:pt x="96" y="169"/>
                  </a:lnTo>
                  <a:lnTo>
                    <a:pt x="96" y="169"/>
                  </a:lnTo>
                  <a:lnTo>
                    <a:pt x="96" y="173"/>
                  </a:lnTo>
                  <a:lnTo>
                    <a:pt x="94" y="176"/>
                  </a:lnTo>
                  <a:lnTo>
                    <a:pt x="92" y="177"/>
                  </a:lnTo>
                  <a:lnTo>
                    <a:pt x="88" y="177"/>
                  </a:lnTo>
                  <a:lnTo>
                    <a:pt x="88" y="177"/>
                  </a:lnTo>
                  <a:close/>
                  <a:moveTo>
                    <a:pt x="162" y="131"/>
                  </a:moveTo>
                  <a:lnTo>
                    <a:pt x="47" y="131"/>
                  </a:lnTo>
                  <a:lnTo>
                    <a:pt x="47" y="131"/>
                  </a:lnTo>
                  <a:lnTo>
                    <a:pt x="43" y="131"/>
                  </a:lnTo>
                  <a:lnTo>
                    <a:pt x="41" y="129"/>
                  </a:lnTo>
                  <a:lnTo>
                    <a:pt x="39" y="127"/>
                  </a:lnTo>
                  <a:lnTo>
                    <a:pt x="39" y="123"/>
                  </a:lnTo>
                  <a:lnTo>
                    <a:pt x="39" y="123"/>
                  </a:lnTo>
                  <a:lnTo>
                    <a:pt x="39" y="120"/>
                  </a:lnTo>
                  <a:lnTo>
                    <a:pt x="41" y="118"/>
                  </a:lnTo>
                  <a:lnTo>
                    <a:pt x="43" y="116"/>
                  </a:lnTo>
                  <a:lnTo>
                    <a:pt x="47" y="115"/>
                  </a:lnTo>
                  <a:lnTo>
                    <a:pt x="162" y="115"/>
                  </a:lnTo>
                  <a:lnTo>
                    <a:pt x="162" y="115"/>
                  </a:lnTo>
                  <a:lnTo>
                    <a:pt x="164" y="116"/>
                  </a:lnTo>
                  <a:lnTo>
                    <a:pt x="167" y="118"/>
                  </a:lnTo>
                  <a:lnTo>
                    <a:pt x="170" y="120"/>
                  </a:lnTo>
                  <a:lnTo>
                    <a:pt x="170" y="123"/>
                  </a:lnTo>
                  <a:lnTo>
                    <a:pt x="170" y="123"/>
                  </a:lnTo>
                  <a:lnTo>
                    <a:pt x="170" y="127"/>
                  </a:lnTo>
                  <a:lnTo>
                    <a:pt x="167" y="129"/>
                  </a:lnTo>
                  <a:lnTo>
                    <a:pt x="164" y="131"/>
                  </a:lnTo>
                  <a:lnTo>
                    <a:pt x="162" y="131"/>
                  </a:lnTo>
                  <a:lnTo>
                    <a:pt x="162" y="131"/>
                  </a:lnTo>
                  <a:close/>
                  <a:moveTo>
                    <a:pt x="162" y="86"/>
                  </a:moveTo>
                  <a:lnTo>
                    <a:pt x="47" y="86"/>
                  </a:lnTo>
                  <a:lnTo>
                    <a:pt x="47" y="86"/>
                  </a:lnTo>
                  <a:lnTo>
                    <a:pt x="43" y="86"/>
                  </a:lnTo>
                  <a:lnTo>
                    <a:pt x="41" y="83"/>
                  </a:lnTo>
                  <a:lnTo>
                    <a:pt x="39" y="80"/>
                  </a:lnTo>
                  <a:lnTo>
                    <a:pt x="39" y="77"/>
                  </a:lnTo>
                  <a:lnTo>
                    <a:pt x="39" y="77"/>
                  </a:lnTo>
                  <a:lnTo>
                    <a:pt x="39" y="75"/>
                  </a:lnTo>
                  <a:lnTo>
                    <a:pt x="41" y="72"/>
                  </a:lnTo>
                  <a:lnTo>
                    <a:pt x="43" y="69"/>
                  </a:lnTo>
                  <a:lnTo>
                    <a:pt x="47" y="69"/>
                  </a:lnTo>
                  <a:lnTo>
                    <a:pt x="162" y="69"/>
                  </a:lnTo>
                  <a:lnTo>
                    <a:pt x="162" y="69"/>
                  </a:lnTo>
                  <a:lnTo>
                    <a:pt x="164" y="69"/>
                  </a:lnTo>
                  <a:lnTo>
                    <a:pt x="167" y="72"/>
                  </a:lnTo>
                  <a:lnTo>
                    <a:pt x="170" y="75"/>
                  </a:lnTo>
                  <a:lnTo>
                    <a:pt x="170" y="77"/>
                  </a:lnTo>
                  <a:lnTo>
                    <a:pt x="170" y="77"/>
                  </a:lnTo>
                  <a:lnTo>
                    <a:pt x="170" y="80"/>
                  </a:lnTo>
                  <a:lnTo>
                    <a:pt x="167" y="83"/>
                  </a:lnTo>
                  <a:lnTo>
                    <a:pt x="164" y="86"/>
                  </a:lnTo>
                  <a:lnTo>
                    <a:pt x="162" y="86"/>
                  </a:lnTo>
                  <a:lnTo>
                    <a:pt x="162"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33" name="Group 32">
            <a:extLst>
              <a:ext uri="{FF2B5EF4-FFF2-40B4-BE49-F238E27FC236}">
                <a16:creationId xmlns:a16="http://schemas.microsoft.com/office/drawing/2014/main" id="{A265E22D-4325-4190-84B4-463CA1851FB3}"/>
              </a:ext>
            </a:extLst>
          </p:cNvPr>
          <p:cNvGrpSpPr>
            <a:grpSpLocks noChangeAspect="1"/>
          </p:cNvGrpSpPr>
          <p:nvPr/>
        </p:nvGrpSpPr>
        <p:grpSpPr>
          <a:xfrm>
            <a:off x="1342608" y="2660345"/>
            <a:ext cx="827580" cy="827580"/>
            <a:chOff x="4071938" y="1660525"/>
            <a:chExt cx="522288" cy="522288"/>
          </a:xfrm>
          <a:solidFill>
            <a:schemeClr val="bg1"/>
          </a:solidFill>
        </p:grpSpPr>
        <p:sp>
          <p:nvSpPr>
            <p:cNvPr id="34" name="Freeform 20">
              <a:extLst>
                <a:ext uri="{FF2B5EF4-FFF2-40B4-BE49-F238E27FC236}">
                  <a16:creationId xmlns:a16="http://schemas.microsoft.com/office/drawing/2014/main" id="{AC09AE7D-FA5B-42BB-BECF-059C3F815177}"/>
                </a:ext>
              </a:extLst>
            </p:cNvPr>
            <p:cNvSpPr>
              <a:spLocks noEditPoints="1"/>
            </p:cNvSpPr>
            <p:nvPr/>
          </p:nvSpPr>
          <p:spPr bwMode="auto">
            <a:xfrm>
              <a:off x="4071938" y="1660525"/>
              <a:ext cx="522288" cy="522288"/>
            </a:xfrm>
            <a:custGeom>
              <a:avLst/>
              <a:gdLst>
                <a:gd name="T0" fmla="*/ 313 w 658"/>
                <a:gd name="T1" fmla="*/ 657 h 658"/>
                <a:gd name="T2" fmla="*/ 263 w 658"/>
                <a:gd name="T3" fmla="*/ 651 h 658"/>
                <a:gd name="T4" fmla="*/ 201 w 658"/>
                <a:gd name="T5" fmla="*/ 631 h 658"/>
                <a:gd name="T6" fmla="*/ 120 w 658"/>
                <a:gd name="T7" fmla="*/ 583 h 658"/>
                <a:gd name="T8" fmla="*/ 56 w 658"/>
                <a:gd name="T9" fmla="*/ 513 h 658"/>
                <a:gd name="T10" fmla="*/ 14 w 658"/>
                <a:gd name="T11" fmla="*/ 426 h 658"/>
                <a:gd name="T12" fmla="*/ 4 w 658"/>
                <a:gd name="T13" fmla="*/ 379 h 658"/>
                <a:gd name="T14" fmla="*/ 0 w 658"/>
                <a:gd name="T15" fmla="*/ 329 h 658"/>
                <a:gd name="T16" fmla="*/ 2 w 658"/>
                <a:gd name="T17" fmla="*/ 295 h 658"/>
                <a:gd name="T18" fmla="*/ 10 w 658"/>
                <a:gd name="T19" fmla="*/ 247 h 658"/>
                <a:gd name="T20" fmla="*/ 40 w 658"/>
                <a:gd name="T21" fmla="*/ 172 h 658"/>
                <a:gd name="T22" fmla="*/ 96 w 658"/>
                <a:gd name="T23" fmla="*/ 96 h 658"/>
                <a:gd name="T24" fmla="*/ 173 w 658"/>
                <a:gd name="T25" fmla="*/ 40 h 658"/>
                <a:gd name="T26" fmla="*/ 247 w 658"/>
                <a:gd name="T27" fmla="*/ 10 h 658"/>
                <a:gd name="T28" fmla="*/ 295 w 658"/>
                <a:gd name="T29" fmla="*/ 1 h 658"/>
                <a:gd name="T30" fmla="*/ 329 w 658"/>
                <a:gd name="T31" fmla="*/ 0 h 658"/>
                <a:gd name="T32" fmla="*/ 378 w 658"/>
                <a:gd name="T33" fmla="*/ 4 h 658"/>
                <a:gd name="T34" fmla="*/ 427 w 658"/>
                <a:gd name="T35" fmla="*/ 15 h 658"/>
                <a:gd name="T36" fmla="*/ 513 w 658"/>
                <a:gd name="T37" fmla="*/ 56 h 658"/>
                <a:gd name="T38" fmla="*/ 583 w 658"/>
                <a:gd name="T39" fmla="*/ 119 h 658"/>
                <a:gd name="T40" fmla="*/ 632 w 658"/>
                <a:gd name="T41" fmla="*/ 201 h 658"/>
                <a:gd name="T42" fmla="*/ 651 w 658"/>
                <a:gd name="T43" fmla="*/ 263 h 658"/>
                <a:gd name="T44" fmla="*/ 658 w 658"/>
                <a:gd name="T45" fmla="*/ 311 h 658"/>
                <a:gd name="T46" fmla="*/ 658 w 658"/>
                <a:gd name="T47" fmla="*/ 345 h 658"/>
                <a:gd name="T48" fmla="*/ 651 w 658"/>
                <a:gd name="T49" fmla="*/ 395 h 658"/>
                <a:gd name="T50" fmla="*/ 632 w 658"/>
                <a:gd name="T51" fmla="*/ 456 h 658"/>
                <a:gd name="T52" fmla="*/ 583 w 658"/>
                <a:gd name="T53" fmla="*/ 537 h 658"/>
                <a:gd name="T54" fmla="*/ 513 w 658"/>
                <a:gd name="T55" fmla="*/ 601 h 658"/>
                <a:gd name="T56" fmla="*/ 427 w 658"/>
                <a:gd name="T57" fmla="*/ 643 h 658"/>
                <a:gd name="T58" fmla="*/ 378 w 658"/>
                <a:gd name="T59" fmla="*/ 654 h 658"/>
                <a:gd name="T60" fmla="*/ 329 w 658"/>
                <a:gd name="T61" fmla="*/ 658 h 658"/>
                <a:gd name="T62" fmla="*/ 329 w 658"/>
                <a:gd name="T63" fmla="*/ 37 h 658"/>
                <a:gd name="T64" fmla="*/ 243 w 658"/>
                <a:gd name="T65" fmla="*/ 51 h 658"/>
                <a:gd name="T66" fmla="*/ 166 w 658"/>
                <a:gd name="T67" fmla="*/ 87 h 658"/>
                <a:gd name="T68" fmla="*/ 104 w 658"/>
                <a:gd name="T69" fmla="*/ 143 h 658"/>
                <a:gd name="T70" fmla="*/ 61 w 658"/>
                <a:gd name="T71" fmla="*/ 215 h 658"/>
                <a:gd name="T72" fmla="*/ 40 w 658"/>
                <a:gd name="T73" fmla="*/ 299 h 658"/>
                <a:gd name="T74" fmla="*/ 40 w 658"/>
                <a:gd name="T75" fmla="*/ 358 h 658"/>
                <a:gd name="T76" fmla="*/ 61 w 658"/>
                <a:gd name="T77" fmla="*/ 442 h 658"/>
                <a:gd name="T78" fmla="*/ 104 w 658"/>
                <a:gd name="T79" fmla="*/ 514 h 658"/>
                <a:gd name="T80" fmla="*/ 166 w 658"/>
                <a:gd name="T81" fmla="*/ 569 h 658"/>
                <a:gd name="T82" fmla="*/ 243 w 658"/>
                <a:gd name="T83" fmla="*/ 607 h 658"/>
                <a:gd name="T84" fmla="*/ 329 w 658"/>
                <a:gd name="T85" fmla="*/ 620 h 658"/>
                <a:gd name="T86" fmla="*/ 388 w 658"/>
                <a:gd name="T87" fmla="*/ 614 h 658"/>
                <a:gd name="T88" fmla="*/ 467 w 658"/>
                <a:gd name="T89" fmla="*/ 584 h 658"/>
                <a:gd name="T90" fmla="*/ 534 w 658"/>
                <a:gd name="T91" fmla="*/ 534 h 658"/>
                <a:gd name="T92" fmla="*/ 585 w 658"/>
                <a:gd name="T93" fmla="*/ 467 h 658"/>
                <a:gd name="T94" fmla="*/ 615 w 658"/>
                <a:gd name="T95" fmla="*/ 387 h 658"/>
                <a:gd name="T96" fmla="*/ 620 w 658"/>
                <a:gd name="T97" fmla="*/ 329 h 658"/>
                <a:gd name="T98" fmla="*/ 607 w 658"/>
                <a:gd name="T99" fmla="*/ 242 h 658"/>
                <a:gd name="T100" fmla="*/ 570 w 658"/>
                <a:gd name="T101" fmla="*/ 166 h 658"/>
                <a:gd name="T102" fmla="*/ 514 w 658"/>
                <a:gd name="T103" fmla="*/ 105 h 658"/>
                <a:gd name="T104" fmla="*/ 443 w 658"/>
                <a:gd name="T105" fmla="*/ 60 h 658"/>
                <a:gd name="T106" fmla="*/ 358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7"/>
                  </a:lnTo>
                  <a:lnTo>
                    <a:pt x="295" y="655"/>
                  </a:lnTo>
                  <a:lnTo>
                    <a:pt x="279" y="654"/>
                  </a:lnTo>
                  <a:lnTo>
                    <a:pt x="263" y="651"/>
                  </a:lnTo>
                  <a:lnTo>
                    <a:pt x="247" y="647"/>
                  </a:lnTo>
                  <a:lnTo>
                    <a:pt x="232" y="643"/>
                  </a:lnTo>
                  <a:lnTo>
                    <a:pt x="201" y="631"/>
                  </a:lnTo>
                  <a:lnTo>
                    <a:pt x="173" y="618"/>
                  </a:lnTo>
                  <a:lnTo>
                    <a:pt x="145" y="601"/>
                  </a:lnTo>
                  <a:lnTo>
                    <a:pt x="120" y="583"/>
                  </a:lnTo>
                  <a:lnTo>
                    <a:pt x="96" y="561"/>
                  </a:lnTo>
                  <a:lnTo>
                    <a:pt x="75" y="537"/>
                  </a:lnTo>
                  <a:lnTo>
                    <a:pt x="56" y="513"/>
                  </a:lnTo>
                  <a:lnTo>
                    <a:pt x="40" y="485"/>
                  </a:lnTo>
                  <a:lnTo>
                    <a:pt x="26" y="456"/>
                  </a:lnTo>
                  <a:lnTo>
                    <a:pt x="14" y="426"/>
                  </a:lnTo>
                  <a:lnTo>
                    <a:pt x="10" y="411"/>
                  </a:lnTo>
                  <a:lnTo>
                    <a:pt x="6" y="395"/>
                  </a:lnTo>
                  <a:lnTo>
                    <a:pt x="4" y="379"/>
                  </a:lnTo>
                  <a:lnTo>
                    <a:pt x="2" y="362"/>
                  </a:lnTo>
                  <a:lnTo>
                    <a:pt x="1" y="345"/>
                  </a:lnTo>
                  <a:lnTo>
                    <a:pt x="0" y="329"/>
                  </a:lnTo>
                  <a:lnTo>
                    <a:pt x="0" y="329"/>
                  </a:lnTo>
                  <a:lnTo>
                    <a:pt x="1" y="311"/>
                  </a:lnTo>
                  <a:lnTo>
                    <a:pt x="2" y="295"/>
                  </a:lnTo>
                  <a:lnTo>
                    <a:pt x="4" y="279"/>
                  </a:lnTo>
                  <a:lnTo>
                    <a:pt x="6" y="263"/>
                  </a:lnTo>
                  <a:lnTo>
                    <a:pt x="10" y="247"/>
                  </a:lnTo>
                  <a:lnTo>
                    <a:pt x="14" y="231"/>
                  </a:lnTo>
                  <a:lnTo>
                    <a:pt x="26" y="201"/>
                  </a:lnTo>
                  <a:lnTo>
                    <a:pt x="40" y="172"/>
                  </a:lnTo>
                  <a:lnTo>
                    <a:pt x="56" y="145"/>
                  </a:lnTo>
                  <a:lnTo>
                    <a:pt x="75" y="119"/>
                  </a:lnTo>
                  <a:lnTo>
                    <a:pt x="96" y="96"/>
                  </a:lnTo>
                  <a:lnTo>
                    <a:pt x="120" y="75"/>
                  </a:lnTo>
                  <a:lnTo>
                    <a:pt x="145" y="56"/>
                  </a:lnTo>
                  <a:lnTo>
                    <a:pt x="173" y="40"/>
                  </a:lnTo>
                  <a:lnTo>
                    <a:pt x="201" y="25"/>
                  </a:lnTo>
                  <a:lnTo>
                    <a:pt x="232" y="15"/>
                  </a:lnTo>
                  <a:lnTo>
                    <a:pt x="247" y="10"/>
                  </a:lnTo>
                  <a:lnTo>
                    <a:pt x="263" y="6"/>
                  </a:lnTo>
                  <a:lnTo>
                    <a:pt x="279" y="4"/>
                  </a:lnTo>
                  <a:lnTo>
                    <a:pt x="295" y="1"/>
                  </a:lnTo>
                  <a:lnTo>
                    <a:pt x="313" y="0"/>
                  </a:lnTo>
                  <a:lnTo>
                    <a:pt x="329" y="0"/>
                  </a:lnTo>
                  <a:lnTo>
                    <a:pt x="329" y="0"/>
                  </a:lnTo>
                  <a:lnTo>
                    <a:pt x="346" y="0"/>
                  </a:lnTo>
                  <a:lnTo>
                    <a:pt x="362" y="1"/>
                  </a:lnTo>
                  <a:lnTo>
                    <a:pt x="378" y="4"/>
                  </a:lnTo>
                  <a:lnTo>
                    <a:pt x="396" y="6"/>
                  </a:lnTo>
                  <a:lnTo>
                    <a:pt x="411" y="10"/>
                  </a:lnTo>
                  <a:lnTo>
                    <a:pt x="427" y="15"/>
                  </a:lnTo>
                  <a:lnTo>
                    <a:pt x="456" y="25"/>
                  </a:lnTo>
                  <a:lnTo>
                    <a:pt x="486" y="40"/>
                  </a:lnTo>
                  <a:lnTo>
                    <a:pt x="513" y="56"/>
                  </a:lnTo>
                  <a:lnTo>
                    <a:pt x="538" y="75"/>
                  </a:lnTo>
                  <a:lnTo>
                    <a:pt x="561" y="96"/>
                  </a:lnTo>
                  <a:lnTo>
                    <a:pt x="583" y="119"/>
                  </a:lnTo>
                  <a:lnTo>
                    <a:pt x="601" y="145"/>
                  </a:lnTo>
                  <a:lnTo>
                    <a:pt x="617" y="172"/>
                  </a:lnTo>
                  <a:lnTo>
                    <a:pt x="632" y="201"/>
                  </a:lnTo>
                  <a:lnTo>
                    <a:pt x="643" y="231"/>
                  </a:lnTo>
                  <a:lnTo>
                    <a:pt x="647" y="247"/>
                  </a:lnTo>
                  <a:lnTo>
                    <a:pt x="651" y="263"/>
                  </a:lnTo>
                  <a:lnTo>
                    <a:pt x="654" y="279"/>
                  </a:lnTo>
                  <a:lnTo>
                    <a:pt x="656" y="295"/>
                  </a:lnTo>
                  <a:lnTo>
                    <a:pt x="658" y="311"/>
                  </a:lnTo>
                  <a:lnTo>
                    <a:pt x="658" y="329"/>
                  </a:lnTo>
                  <a:lnTo>
                    <a:pt x="658" y="329"/>
                  </a:lnTo>
                  <a:lnTo>
                    <a:pt x="658" y="345"/>
                  </a:lnTo>
                  <a:lnTo>
                    <a:pt x="656" y="362"/>
                  </a:lnTo>
                  <a:lnTo>
                    <a:pt x="654" y="379"/>
                  </a:lnTo>
                  <a:lnTo>
                    <a:pt x="651" y="395"/>
                  </a:lnTo>
                  <a:lnTo>
                    <a:pt x="647" y="411"/>
                  </a:lnTo>
                  <a:lnTo>
                    <a:pt x="643" y="426"/>
                  </a:lnTo>
                  <a:lnTo>
                    <a:pt x="632" y="456"/>
                  </a:lnTo>
                  <a:lnTo>
                    <a:pt x="617" y="485"/>
                  </a:lnTo>
                  <a:lnTo>
                    <a:pt x="601" y="513"/>
                  </a:lnTo>
                  <a:lnTo>
                    <a:pt x="583" y="537"/>
                  </a:lnTo>
                  <a:lnTo>
                    <a:pt x="561" y="561"/>
                  </a:lnTo>
                  <a:lnTo>
                    <a:pt x="538" y="583"/>
                  </a:lnTo>
                  <a:lnTo>
                    <a:pt x="513" y="601"/>
                  </a:lnTo>
                  <a:lnTo>
                    <a:pt x="486" y="618"/>
                  </a:lnTo>
                  <a:lnTo>
                    <a:pt x="456" y="631"/>
                  </a:lnTo>
                  <a:lnTo>
                    <a:pt x="427" y="643"/>
                  </a:lnTo>
                  <a:lnTo>
                    <a:pt x="411" y="647"/>
                  </a:lnTo>
                  <a:lnTo>
                    <a:pt x="396" y="651"/>
                  </a:lnTo>
                  <a:lnTo>
                    <a:pt x="378" y="654"/>
                  </a:lnTo>
                  <a:lnTo>
                    <a:pt x="362" y="655"/>
                  </a:lnTo>
                  <a:lnTo>
                    <a:pt x="346" y="657"/>
                  </a:lnTo>
                  <a:lnTo>
                    <a:pt x="329" y="658"/>
                  </a:lnTo>
                  <a:lnTo>
                    <a:pt x="329" y="658"/>
                  </a:lnTo>
                  <a:close/>
                  <a:moveTo>
                    <a:pt x="329" y="37"/>
                  </a:moveTo>
                  <a:lnTo>
                    <a:pt x="329" y="37"/>
                  </a:lnTo>
                  <a:lnTo>
                    <a:pt x="299" y="39"/>
                  </a:lnTo>
                  <a:lnTo>
                    <a:pt x="271" y="43"/>
                  </a:lnTo>
                  <a:lnTo>
                    <a:pt x="243" y="51"/>
                  </a:lnTo>
                  <a:lnTo>
                    <a:pt x="216" y="60"/>
                  </a:lnTo>
                  <a:lnTo>
                    <a:pt x="190" y="72"/>
                  </a:lnTo>
                  <a:lnTo>
                    <a:pt x="166" y="87"/>
                  </a:lnTo>
                  <a:lnTo>
                    <a:pt x="143" y="105"/>
                  </a:lnTo>
                  <a:lnTo>
                    <a:pt x="123" y="123"/>
                  </a:lnTo>
                  <a:lnTo>
                    <a:pt x="104" y="143"/>
                  </a:lnTo>
                  <a:lnTo>
                    <a:pt x="88" y="166"/>
                  </a:lnTo>
                  <a:lnTo>
                    <a:pt x="73" y="190"/>
                  </a:lnTo>
                  <a:lnTo>
                    <a:pt x="61" y="215"/>
                  </a:lnTo>
                  <a:lnTo>
                    <a:pt x="51" y="242"/>
                  </a:lnTo>
                  <a:lnTo>
                    <a:pt x="44" y="270"/>
                  </a:lnTo>
                  <a:lnTo>
                    <a:pt x="40" y="299"/>
                  </a:lnTo>
                  <a:lnTo>
                    <a:pt x="37" y="329"/>
                  </a:lnTo>
                  <a:lnTo>
                    <a:pt x="37" y="329"/>
                  </a:lnTo>
                  <a:lnTo>
                    <a:pt x="40" y="358"/>
                  </a:lnTo>
                  <a:lnTo>
                    <a:pt x="44" y="387"/>
                  </a:lnTo>
                  <a:lnTo>
                    <a:pt x="51" y="415"/>
                  </a:lnTo>
                  <a:lnTo>
                    <a:pt x="61" y="442"/>
                  </a:lnTo>
                  <a:lnTo>
                    <a:pt x="73" y="467"/>
                  </a:lnTo>
                  <a:lnTo>
                    <a:pt x="88" y="491"/>
                  </a:lnTo>
                  <a:lnTo>
                    <a:pt x="104" y="514"/>
                  </a:lnTo>
                  <a:lnTo>
                    <a:pt x="123" y="534"/>
                  </a:lnTo>
                  <a:lnTo>
                    <a:pt x="143" y="553"/>
                  </a:lnTo>
                  <a:lnTo>
                    <a:pt x="166" y="569"/>
                  </a:lnTo>
                  <a:lnTo>
                    <a:pt x="190" y="584"/>
                  </a:lnTo>
                  <a:lnTo>
                    <a:pt x="216" y="596"/>
                  </a:lnTo>
                  <a:lnTo>
                    <a:pt x="243" y="607"/>
                  </a:lnTo>
                  <a:lnTo>
                    <a:pt x="271" y="614"/>
                  </a:lnTo>
                  <a:lnTo>
                    <a:pt x="299" y="618"/>
                  </a:lnTo>
                  <a:lnTo>
                    <a:pt x="329" y="620"/>
                  </a:lnTo>
                  <a:lnTo>
                    <a:pt x="329" y="620"/>
                  </a:lnTo>
                  <a:lnTo>
                    <a:pt x="358" y="618"/>
                  </a:lnTo>
                  <a:lnTo>
                    <a:pt x="388" y="614"/>
                  </a:lnTo>
                  <a:lnTo>
                    <a:pt x="416" y="607"/>
                  </a:lnTo>
                  <a:lnTo>
                    <a:pt x="443" y="596"/>
                  </a:lnTo>
                  <a:lnTo>
                    <a:pt x="467" y="584"/>
                  </a:lnTo>
                  <a:lnTo>
                    <a:pt x="491" y="569"/>
                  </a:lnTo>
                  <a:lnTo>
                    <a:pt x="514" y="553"/>
                  </a:lnTo>
                  <a:lnTo>
                    <a:pt x="534" y="534"/>
                  </a:lnTo>
                  <a:lnTo>
                    <a:pt x="553" y="514"/>
                  </a:lnTo>
                  <a:lnTo>
                    <a:pt x="570" y="491"/>
                  </a:lnTo>
                  <a:lnTo>
                    <a:pt x="585" y="467"/>
                  </a:lnTo>
                  <a:lnTo>
                    <a:pt x="597" y="442"/>
                  </a:lnTo>
                  <a:lnTo>
                    <a:pt x="607" y="415"/>
                  </a:lnTo>
                  <a:lnTo>
                    <a:pt x="615" y="387"/>
                  </a:lnTo>
                  <a:lnTo>
                    <a:pt x="619" y="358"/>
                  </a:lnTo>
                  <a:lnTo>
                    <a:pt x="620" y="329"/>
                  </a:lnTo>
                  <a:lnTo>
                    <a:pt x="620" y="329"/>
                  </a:lnTo>
                  <a:lnTo>
                    <a:pt x="619" y="299"/>
                  </a:lnTo>
                  <a:lnTo>
                    <a:pt x="615" y="270"/>
                  </a:lnTo>
                  <a:lnTo>
                    <a:pt x="607" y="242"/>
                  </a:lnTo>
                  <a:lnTo>
                    <a:pt x="597" y="215"/>
                  </a:lnTo>
                  <a:lnTo>
                    <a:pt x="585" y="190"/>
                  </a:lnTo>
                  <a:lnTo>
                    <a:pt x="570" y="166"/>
                  </a:lnTo>
                  <a:lnTo>
                    <a:pt x="553" y="143"/>
                  </a:lnTo>
                  <a:lnTo>
                    <a:pt x="534" y="123"/>
                  </a:lnTo>
                  <a:lnTo>
                    <a:pt x="514" y="105"/>
                  </a:lnTo>
                  <a:lnTo>
                    <a:pt x="491" y="87"/>
                  </a:lnTo>
                  <a:lnTo>
                    <a:pt x="467" y="72"/>
                  </a:lnTo>
                  <a:lnTo>
                    <a:pt x="443" y="60"/>
                  </a:lnTo>
                  <a:lnTo>
                    <a:pt x="416" y="51"/>
                  </a:lnTo>
                  <a:lnTo>
                    <a:pt x="388" y="43"/>
                  </a:lnTo>
                  <a:lnTo>
                    <a:pt x="358" y="39"/>
                  </a:lnTo>
                  <a:lnTo>
                    <a:pt x="329" y="37"/>
                  </a:lnTo>
                  <a:lnTo>
                    <a:pt x="329"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182">
              <a:extLst>
                <a:ext uri="{FF2B5EF4-FFF2-40B4-BE49-F238E27FC236}">
                  <a16:creationId xmlns:a16="http://schemas.microsoft.com/office/drawing/2014/main" id="{F21C21E6-5AFB-44AC-B1D7-9157A8B5D74E}"/>
                </a:ext>
              </a:extLst>
            </p:cNvPr>
            <p:cNvSpPr>
              <a:spLocks/>
            </p:cNvSpPr>
            <p:nvPr/>
          </p:nvSpPr>
          <p:spPr bwMode="auto">
            <a:xfrm>
              <a:off x="4303713" y="1920875"/>
              <a:ext cx="60325" cy="104775"/>
            </a:xfrm>
            <a:custGeom>
              <a:avLst/>
              <a:gdLst>
                <a:gd name="T0" fmla="*/ 71 w 75"/>
                <a:gd name="T1" fmla="*/ 0 h 131"/>
                <a:gd name="T2" fmla="*/ 5 w 75"/>
                <a:gd name="T3" fmla="*/ 0 h 131"/>
                <a:gd name="T4" fmla="*/ 5 w 75"/>
                <a:gd name="T5" fmla="*/ 0 h 131"/>
                <a:gd name="T6" fmla="*/ 1 w 75"/>
                <a:gd name="T7" fmla="*/ 1 h 131"/>
                <a:gd name="T8" fmla="*/ 0 w 75"/>
                <a:gd name="T9" fmla="*/ 5 h 131"/>
                <a:gd name="T10" fmla="*/ 0 w 75"/>
                <a:gd name="T11" fmla="*/ 127 h 131"/>
                <a:gd name="T12" fmla="*/ 0 w 75"/>
                <a:gd name="T13" fmla="*/ 127 h 131"/>
                <a:gd name="T14" fmla="*/ 1 w 75"/>
                <a:gd name="T15" fmla="*/ 130 h 131"/>
                <a:gd name="T16" fmla="*/ 5 w 75"/>
                <a:gd name="T17" fmla="*/ 131 h 131"/>
                <a:gd name="T18" fmla="*/ 71 w 75"/>
                <a:gd name="T19" fmla="*/ 131 h 131"/>
                <a:gd name="T20" fmla="*/ 71 w 75"/>
                <a:gd name="T21" fmla="*/ 131 h 131"/>
                <a:gd name="T22" fmla="*/ 74 w 75"/>
                <a:gd name="T23" fmla="*/ 130 h 131"/>
                <a:gd name="T24" fmla="*/ 75 w 75"/>
                <a:gd name="T25" fmla="*/ 127 h 131"/>
                <a:gd name="T26" fmla="*/ 75 w 75"/>
                <a:gd name="T27" fmla="*/ 5 h 131"/>
                <a:gd name="T28" fmla="*/ 75 w 75"/>
                <a:gd name="T29" fmla="*/ 5 h 131"/>
                <a:gd name="T30" fmla="*/ 74 w 75"/>
                <a:gd name="T31" fmla="*/ 1 h 131"/>
                <a:gd name="T32" fmla="*/ 71 w 75"/>
                <a:gd name="T33" fmla="*/ 0 h 131"/>
                <a:gd name="T34" fmla="*/ 71 w 75"/>
                <a:gd name="T35"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 h="131">
                  <a:moveTo>
                    <a:pt x="71" y="0"/>
                  </a:moveTo>
                  <a:lnTo>
                    <a:pt x="5" y="0"/>
                  </a:lnTo>
                  <a:lnTo>
                    <a:pt x="5" y="0"/>
                  </a:lnTo>
                  <a:lnTo>
                    <a:pt x="1" y="1"/>
                  </a:lnTo>
                  <a:lnTo>
                    <a:pt x="0" y="5"/>
                  </a:lnTo>
                  <a:lnTo>
                    <a:pt x="0" y="127"/>
                  </a:lnTo>
                  <a:lnTo>
                    <a:pt x="0" y="127"/>
                  </a:lnTo>
                  <a:lnTo>
                    <a:pt x="1" y="130"/>
                  </a:lnTo>
                  <a:lnTo>
                    <a:pt x="5" y="131"/>
                  </a:lnTo>
                  <a:lnTo>
                    <a:pt x="71" y="131"/>
                  </a:lnTo>
                  <a:lnTo>
                    <a:pt x="71" y="131"/>
                  </a:lnTo>
                  <a:lnTo>
                    <a:pt x="74" y="130"/>
                  </a:lnTo>
                  <a:lnTo>
                    <a:pt x="75" y="127"/>
                  </a:lnTo>
                  <a:lnTo>
                    <a:pt x="75" y="5"/>
                  </a:lnTo>
                  <a:lnTo>
                    <a:pt x="75" y="5"/>
                  </a:lnTo>
                  <a:lnTo>
                    <a:pt x="74" y="1"/>
                  </a:lnTo>
                  <a:lnTo>
                    <a:pt x="71" y="0"/>
                  </a:lnTo>
                  <a:lnTo>
                    <a:pt x="7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183">
              <a:extLst>
                <a:ext uri="{FF2B5EF4-FFF2-40B4-BE49-F238E27FC236}">
                  <a16:creationId xmlns:a16="http://schemas.microsoft.com/office/drawing/2014/main" id="{94EB58F3-2AC9-4D12-841A-E579F08DB66C}"/>
                </a:ext>
              </a:extLst>
            </p:cNvPr>
            <p:cNvSpPr>
              <a:spLocks/>
            </p:cNvSpPr>
            <p:nvPr/>
          </p:nvSpPr>
          <p:spPr bwMode="auto">
            <a:xfrm>
              <a:off x="4222751" y="1966913"/>
              <a:ext cx="58738" cy="58738"/>
            </a:xfrm>
            <a:custGeom>
              <a:avLst/>
              <a:gdLst>
                <a:gd name="T0" fmla="*/ 70 w 74"/>
                <a:gd name="T1" fmla="*/ 0 h 75"/>
                <a:gd name="T2" fmla="*/ 4 w 74"/>
                <a:gd name="T3" fmla="*/ 0 h 75"/>
                <a:gd name="T4" fmla="*/ 4 w 74"/>
                <a:gd name="T5" fmla="*/ 0 h 75"/>
                <a:gd name="T6" fmla="*/ 1 w 74"/>
                <a:gd name="T7" fmla="*/ 2 h 75"/>
                <a:gd name="T8" fmla="*/ 0 w 74"/>
                <a:gd name="T9" fmla="*/ 6 h 75"/>
                <a:gd name="T10" fmla="*/ 0 w 74"/>
                <a:gd name="T11" fmla="*/ 71 h 75"/>
                <a:gd name="T12" fmla="*/ 0 w 74"/>
                <a:gd name="T13" fmla="*/ 71 h 75"/>
                <a:gd name="T14" fmla="*/ 1 w 74"/>
                <a:gd name="T15" fmla="*/ 74 h 75"/>
                <a:gd name="T16" fmla="*/ 4 w 74"/>
                <a:gd name="T17" fmla="*/ 75 h 75"/>
                <a:gd name="T18" fmla="*/ 70 w 74"/>
                <a:gd name="T19" fmla="*/ 75 h 75"/>
                <a:gd name="T20" fmla="*/ 70 w 74"/>
                <a:gd name="T21" fmla="*/ 75 h 75"/>
                <a:gd name="T22" fmla="*/ 73 w 74"/>
                <a:gd name="T23" fmla="*/ 74 h 75"/>
                <a:gd name="T24" fmla="*/ 74 w 74"/>
                <a:gd name="T25" fmla="*/ 71 h 75"/>
                <a:gd name="T26" fmla="*/ 74 w 74"/>
                <a:gd name="T27" fmla="*/ 6 h 75"/>
                <a:gd name="T28" fmla="*/ 74 w 74"/>
                <a:gd name="T29" fmla="*/ 6 h 75"/>
                <a:gd name="T30" fmla="*/ 73 w 74"/>
                <a:gd name="T31" fmla="*/ 2 h 75"/>
                <a:gd name="T32" fmla="*/ 70 w 74"/>
                <a:gd name="T33" fmla="*/ 0 h 75"/>
                <a:gd name="T34" fmla="*/ 70 w 74"/>
                <a:gd name="T35"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75">
                  <a:moveTo>
                    <a:pt x="70" y="0"/>
                  </a:moveTo>
                  <a:lnTo>
                    <a:pt x="4" y="0"/>
                  </a:lnTo>
                  <a:lnTo>
                    <a:pt x="4" y="0"/>
                  </a:lnTo>
                  <a:lnTo>
                    <a:pt x="1" y="2"/>
                  </a:lnTo>
                  <a:lnTo>
                    <a:pt x="0" y="6"/>
                  </a:lnTo>
                  <a:lnTo>
                    <a:pt x="0" y="71"/>
                  </a:lnTo>
                  <a:lnTo>
                    <a:pt x="0" y="71"/>
                  </a:lnTo>
                  <a:lnTo>
                    <a:pt x="1" y="74"/>
                  </a:lnTo>
                  <a:lnTo>
                    <a:pt x="4" y="75"/>
                  </a:lnTo>
                  <a:lnTo>
                    <a:pt x="70" y="75"/>
                  </a:lnTo>
                  <a:lnTo>
                    <a:pt x="70" y="75"/>
                  </a:lnTo>
                  <a:lnTo>
                    <a:pt x="73" y="74"/>
                  </a:lnTo>
                  <a:lnTo>
                    <a:pt x="74" y="71"/>
                  </a:lnTo>
                  <a:lnTo>
                    <a:pt x="74" y="6"/>
                  </a:lnTo>
                  <a:lnTo>
                    <a:pt x="74" y="6"/>
                  </a:lnTo>
                  <a:lnTo>
                    <a:pt x="73" y="2"/>
                  </a:lnTo>
                  <a:lnTo>
                    <a:pt x="70" y="0"/>
                  </a:lnTo>
                  <a:lnTo>
                    <a:pt x="7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184">
              <a:extLst>
                <a:ext uri="{FF2B5EF4-FFF2-40B4-BE49-F238E27FC236}">
                  <a16:creationId xmlns:a16="http://schemas.microsoft.com/office/drawing/2014/main" id="{14455FA7-6574-4B5A-AD1C-7173BB99B7D3}"/>
                </a:ext>
              </a:extLst>
            </p:cNvPr>
            <p:cNvSpPr>
              <a:spLocks/>
            </p:cNvSpPr>
            <p:nvPr/>
          </p:nvSpPr>
          <p:spPr bwMode="auto">
            <a:xfrm>
              <a:off x="4386263" y="1876425"/>
              <a:ext cx="58738" cy="149225"/>
            </a:xfrm>
            <a:custGeom>
              <a:avLst/>
              <a:gdLst>
                <a:gd name="T0" fmla="*/ 70 w 76"/>
                <a:gd name="T1" fmla="*/ 0 h 188"/>
                <a:gd name="T2" fmla="*/ 6 w 76"/>
                <a:gd name="T3" fmla="*/ 0 h 188"/>
                <a:gd name="T4" fmla="*/ 6 w 76"/>
                <a:gd name="T5" fmla="*/ 0 h 188"/>
                <a:gd name="T6" fmla="*/ 2 w 76"/>
                <a:gd name="T7" fmla="*/ 2 h 188"/>
                <a:gd name="T8" fmla="*/ 0 w 76"/>
                <a:gd name="T9" fmla="*/ 6 h 188"/>
                <a:gd name="T10" fmla="*/ 0 w 76"/>
                <a:gd name="T11" fmla="*/ 184 h 188"/>
                <a:gd name="T12" fmla="*/ 0 w 76"/>
                <a:gd name="T13" fmla="*/ 184 h 188"/>
                <a:gd name="T14" fmla="*/ 2 w 76"/>
                <a:gd name="T15" fmla="*/ 187 h 188"/>
                <a:gd name="T16" fmla="*/ 6 w 76"/>
                <a:gd name="T17" fmla="*/ 188 h 188"/>
                <a:gd name="T18" fmla="*/ 70 w 76"/>
                <a:gd name="T19" fmla="*/ 188 h 188"/>
                <a:gd name="T20" fmla="*/ 70 w 76"/>
                <a:gd name="T21" fmla="*/ 188 h 188"/>
                <a:gd name="T22" fmla="*/ 74 w 76"/>
                <a:gd name="T23" fmla="*/ 187 h 188"/>
                <a:gd name="T24" fmla="*/ 76 w 76"/>
                <a:gd name="T25" fmla="*/ 184 h 188"/>
                <a:gd name="T26" fmla="*/ 76 w 76"/>
                <a:gd name="T27" fmla="*/ 6 h 188"/>
                <a:gd name="T28" fmla="*/ 76 w 76"/>
                <a:gd name="T29" fmla="*/ 6 h 188"/>
                <a:gd name="T30" fmla="*/ 74 w 76"/>
                <a:gd name="T31" fmla="*/ 2 h 188"/>
                <a:gd name="T32" fmla="*/ 70 w 76"/>
                <a:gd name="T33" fmla="*/ 0 h 188"/>
                <a:gd name="T34" fmla="*/ 70 w 76"/>
                <a:gd name="T35"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188">
                  <a:moveTo>
                    <a:pt x="70" y="0"/>
                  </a:moveTo>
                  <a:lnTo>
                    <a:pt x="6" y="0"/>
                  </a:lnTo>
                  <a:lnTo>
                    <a:pt x="6" y="0"/>
                  </a:lnTo>
                  <a:lnTo>
                    <a:pt x="2" y="2"/>
                  </a:lnTo>
                  <a:lnTo>
                    <a:pt x="0" y="6"/>
                  </a:lnTo>
                  <a:lnTo>
                    <a:pt x="0" y="184"/>
                  </a:lnTo>
                  <a:lnTo>
                    <a:pt x="0" y="184"/>
                  </a:lnTo>
                  <a:lnTo>
                    <a:pt x="2" y="187"/>
                  </a:lnTo>
                  <a:lnTo>
                    <a:pt x="6" y="188"/>
                  </a:lnTo>
                  <a:lnTo>
                    <a:pt x="70" y="188"/>
                  </a:lnTo>
                  <a:lnTo>
                    <a:pt x="70" y="188"/>
                  </a:lnTo>
                  <a:lnTo>
                    <a:pt x="74" y="187"/>
                  </a:lnTo>
                  <a:lnTo>
                    <a:pt x="76" y="184"/>
                  </a:lnTo>
                  <a:lnTo>
                    <a:pt x="76" y="6"/>
                  </a:lnTo>
                  <a:lnTo>
                    <a:pt x="76" y="6"/>
                  </a:lnTo>
                  <a:lnTo>
                    <a:pt x="74" y="2"/>
                  </a:lnTo>
                  <a:lnTo>
                    <a:pt x="70" y="0"/>
                  </a:lnTo>
                  <a:lnTo>
                    <a:pt x="7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185">
              <a:extLst>
                <a:ext uri="{FF2B5EF4-FFF2-40B4-BE49-F238E27FC236}">
                  <a16:creationId xmlns:a16="http://schemas.microsoft.com/office/drawing/2014/main" id="{840FAF41-4E43-4A34-B68B-E038A4E04B88}"/>
                </a:ext>
              </a:extLst>
            </p:cNvPr>
            <p:cNvSpPr>
              <a:spLocks/>
            </p:cNvSpPr>
            <p:nvPr/>
          </p:nvSpPr>
          <p:spPr bwMode="auto">
            <a:xfrm>
              <a:off x="4252913" y="1792288"/>
              <a:ext cx="163513" cy="87313"/>
            </a:xfrm>
            <a:custGeom>
              <a:avLst/>
              <a:gdLst>
                <a:gd name="T0" fmla="*/ 102 w 205"/>
                <a:gd name="T1" fmla="*/ 110 h 110"/>
                <a:gd name="T2" fmla="*/ 102 w 205"/>
                <a:gd name="T3" fmla="*/ 110 h 110"/>
                <a:gd name="T4" fmla="*/ 106 w 205"/>
                <a:gd name="T5" fmla="*/ 110 h 110"/>
                <a:gd name="T6" fmla="*/ 108 w 205"/>
                <a:gd name="T7" fmla="*/ 109 h 110"/>
                <a:gd name="T8" fmla="*/ 188 w 205"/>
                <a:gd name="T9" fmla="*/ 30 h 110"/>
                <a:gd name="T10" fmla="*/ 188 w 205"/>
                <a:gd name="T11" fmla="*/ 65 h 110"/>
                <a:gd name="T12" fmla="*/ 188 w 205"/>
                <a:gd name="T13" fmla="*/ 65 h 110"/>
                <a:gd name="T14" fmla="*/ 188 w 205"/>
                <a:gd name="T15" fmla="*/ 69 h 110"/>
                <a:gd name="T16" fmla="*/ 189 w 205"/>
                <a:gd name="T17" fmla="*/ 71 h 110"/>
                <a:gd name="T18" fmla="*/ 192 w 205"/>
                <a:gd name="T19" fmla="*/ 73 h 110"/>
                <a:gd name="T20" fmla="*/ 196 w 205"/>
                <a:gd name="T21" fmla="*/ 74 h 110"/>
                <a:gd name="T22" fmla="*/ 196 w 205"/>
                <a:gd name="T23" fmla="*/ 74 h 110"/>
                <a:gd name="T24" fmla="*/ 200 w 205"/>
                <a:gd name="T25" fmla="*/ 73 h 110"/>
                <a:gd name="T26" fmla="*/ 202 w 205"/>
                <a:gd name="T27" fmla="*/ 71 h 110"/>
                <a:gd name="T28" fmla="*/ 204 w 205"/>
                <a:gd name="T29" fmla="*/ 69 h 110"/>
                <a:gd name="T30" fmla="*/ 205 w 205"/>
                <a:gd name="T31" fmla="*/ 65 h 110"/>
                <a:gd name="T32" fmla="*/ 205 w 205"/>
                <a:gd name="T33" fmla="*/ 8 h 110"/>
                <a:gd name="T34" fmla="*/ 205 w 205"/>
                <a:gd name="T35" fmla="*/ 8 h 110"/>
                <a:gd name="T36" fmla="*/ 204 w 205"/>
                <a:gd name="T37" fmla="*/ 6 h 110"/>
                <a:gd name="T38" fmla="*/ 204 w 205"/>
                <a:gd name="T39" fmla="*/ 6 h 110"/>
                <a:gd name="T40" fmla="*/ 202 w 205"/>
                <a:gd name="T41" fmla="*/ 3 h 110"/>
                <a:gd name="T42" fmla="*/ 198 w 205"/>
                <a:gd name="T43" fmla="*/ 0 h 110"/>
                <a:gd name="T44" fmla="*/ 198 w 205"/>
                <a:gd name="T45" fmla="*/ 0 h 110"/>
                <a:gd name="T46" fmla="*/ 196 w 205"/>
                <a:gd name="T47" fmla="*/ 0 h 110"/>
                <a:gd name="T48" fmla="*/ 139 w 205"/>
                <a:gd name="T49" fmla="*/ 0 h 110"/>
                <a:gd name="T50" fmla="*/ 139 w 205"/>
                <a:gd name="T51" fmla="*/ 0 h 110"/>
                <a:gd name="T52" fmla="*/ 137 w 205"/>
                <a:gd name="T53" fmla="*/ 0 h 110"/>
                <a:gd name="T54" fmla="*/ 134 w 205"/>
                <a:gd name="T55" fmla="*/ 3 h 110"/>
                <a:gd name="T56" fmla="*/ 131 w 205"/>
                <a:gd name="T57" fmla="*/ 6 h 110"/>
                <a:gd name="T58" fmla="*/ 131 w 205"/>
                <a:gd name="T59" fmla="*/ 8 h 110"/>
                <a:gd name="T60" fmla="*/ 131 w 205"/>
                <a:gd name="T61" fmla="*/ 8 h 110"/>
                <a:gd name="T62" fmla="*/ 131 w 205"/>
                <a:gd name="T63" fmla="*/ 12 h 110"/>
                <a:gd name="T64" fmla="*/ 134 w 205"/>
                <a:gd name="T65" fmla="*/ 15 h 110"/>
                <a:gd name="T66" fmla="*/ 137 w 205"/>
                <a:gd name="T67" fmla="*/ 16 h 110"/>
                <a:gd name="T68" fmla="*/ 139 w 205"/>
                <a:gd name="T69" fmla="*/ 18 h 110"/>
                <a:gd name="T70" fmla="*/ 174 w 205"/>
                <a:gd name="T71" fmla="*/ 18 h 110"/>
                <a:gd name="T72" fmla="*/ 102 w 205"/>
                <a:gd name="T73" fmla="*/ 90 h 110"/>
                <a:gd name="T74" fmla="*/ 61 w 205"/>
                <a:gd name="T75" fmla="*/ 50 h 110"/>
                <a:gd name="T76" fmla="*/ 61 w 205"/>
                <a:gd name="T77" fmla="*/ 50 h 110"/>
                <a:gd name="T78" fmla="*/ 59 w 205"/>
                <a:gd name="T79" fmla="*/ 47 h 110"/>
                <a:gd name="T80" fmla="*/ 55 w 205"/>
                <a:gd name="T81" fmla="*/ 47 h 110"/>
                <a:gd name="T82" fmla="*/ 52 w 205"/>
                <a:gd name="T83" fmla="*/ 47 h 110"/>
                <a:gd name="T84" fmla="*/ 49 w 205"/>
                <a:gd name="T85" fmla="*/ 50 h 110"/>
                <a:gd name="T86" fmla="*/ 2 w 205"/>
                <a:gd name="T87" fmla="*/ 96 h 110"/>
                <a:gd name="T88" fmla="*/ 2 w 205"/>
                <a:gd name="T89" fmla="*/ 96 h 110"/>
                <a:gd name="T90" fmla="*/ 0 w 205"/>
                <a:gd name="T91" fmla="*/ 100 h 110"/>
                <a:gd name="T92" fmla="*/ 0 w 205"/>
                <a:gd name="T93" fmla="*/ 102 h 110"/>
                <a:gd name="T94" fmla="*/ 0 w 205"/>
                <a:gd name="T95" fmla="*/ 105 h 110"/>
                <a:gd name="T96" fmla="*/ 2 w 205"/>
                <a:gd name="T97" fmla="*/ 109 h 110"/>
                <a:gd name="T98" fmla="*/ 2 w 205"/>
                <a:gd name="T99" fmla="*/ 109 h 110"/>
                <a:gd name="T100" fmla="*/ 5 w 205"/>
                <a:gd name="T101" fmla="*/ 110 h 110"/>
                <a:gd name="T102" fmla="*/ 8 w 205"/>
                <a:gd name="T103" fmla="*/ 110 h 110"/>
                <a:gd name="T104" fmla="*/ 12 w 205"/>
                <a:gd name="T105" fmla="*/ 110 h 110"/>
                <a:gd name="T106" fmla="*/ 14 w 205"/>
                <a:gd name="T107" fmla="*/ 109 h 110"/>
                <a:gd name="T108" fmla="*/ 55 w 205"/>
                <a:gd name="T109" fmla="*/ 67 h 110"/>
                <a:gd name="T110" fmla="*/ 96 w 205"/>
                <a:gd name="T111" fmla="*/ 109 h 110"/>
                <a:gd name="T112" fmla="*/ 96 w 205"/>
                <a:gd name="T113" fmla="*/ 109 h 110"/>
                <a:gd name="T114" fmla="*/ 99 w 205"/>
                <a:gd name="T115" fmla="*/ 110 h 110"/>
                <a:gd name="T116" fmla="*/ 102 w 205"/>
                <a:gd name="T117" fmla="*/ 110 h 110"/>
                <a:gd name="T118" fmla="*/ 102 w 205"/>
                <a:gd name="T119"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5" h="110">
                  <a:moveTo>
                    <a:pt x="102" y="110"/>
                  </a:moveTo>
                  <a:lnTo>
                    <a:pt x="102" y="110"/>
                  </a:lnTo>
                  <a:lnTo>
                    <a:pt x="106" y="110"/>
                  </a:lnTo>
                  <a:lnTo>
                    <a:pt x="108" y="109"/>
                  </a:lnTo>
                  <a:lnTo>
                    <a:pt x="188" y="30"/>
                  </a:lnTo>
                  <a:lnTo>
                    <a:pt x="188" y="65"/>
                  </a:lnTo>
                  <a:lnTo>
                    <a:pt x="188" y="65"/>
                  </a:lnTo>
                  <a:lnTo>
                    <a:pt x="188" y="69"/>
                  </a:lnTo>
                  <a:lnTo>
                    <a:pt x="189" y="71"/>
                  </a:lnTo>
                  <a:lnTo>
                    <a:pt x="192" y="73"/>
                  </a:lnTo>
                  <a:lnTo>
                    <a:pt x="196" y="74"/>
                  </a:lnTo>
                  <a:lnTo>
                    <a:pt x="196" y="74"/>
                  </a:lnTo>
                  <a:lnTo>
                    <a:pt x="200" y="73"/>
                  </a:lnTo>
                  <a:lnTo>
                    <a:pt x="202" y="71"/>
                  </a:lnTo>
                  <a:lnTo>
                    <a:pt x="204" y="69"/>
                  </a:lnTo>
                  <a:lnTo>
                    <a:pt x="205" y="65"/>
                  </a:lnTo>
                  <a:lnTo>
                    <a:pt x="205" y="8"/>
                  </a:lnTo>
                  <a:lnTo>
                    <a:pt x="205" y="8"/>
                  </a:lnTo>
                  <a:lnTo>
                    <a:pt x="204" y="6"/>
                  </a:lnTo>
                  <a:lnTo>
                    <a:pt x="204" y="6"/>
                  </a:lnTo>
                  <a:lnTo>
                    <a:pt x="202" y="3"/>
                  </a:lnTo>
                  <a:lnTo>
                    <a:pt x="198" y="0"/>
                  </a:lnTo>
                  <a:lnTo>
                    <a:pt x="198" y="0"/>
                  </a:lnTo>
                  <a:lnTo>
                    <a:pt x="196" y="0"/>
                  </a:lnTo>
                  <a:lnTo>
                    <a:pt x="139" y="0"/>
                  </a:lnTo>
                  <a:lnTo>
                    <a:pt x="139" y="0"/>
                  </a:lnTo>
                  <a:lnTo>
                    <a:pt x="137" y="0"/>
                  </a:lnTo>
                  <a:lnTo>
                    <a:pt x="134" y="3"/>
                  </a:lnTo>
                  <a:lnTo>
                    <a:pt x="131" y="6"/>
                  </a:lnTo>
                  <a:lnTo>
                    <a:pt x="131" y="8"/>
                  </a:lnTo>
                  <a:lnTo>
                    <a:pt x="131" y="8"/>
                  </a:lnTo>
                  <a:lnTo>
                    <a:pt x="131" y="12"/>
                  </a:lnTo>
                  <a:lnTo>
                    <a:pt x="134" y="15"/>
                  </a:lnTo>
                  <a:lnTo>
                    <a:pt x="137" y="16"/>
                  </a:lnTo>
                  <a:lnTo>
                    <a:pt x="139" y="18"/>
                  </a:lnTo>
                  <a:lnTo>
                    <a:pt x="174" y="18"/>
                  </a:lnTo>
                  <a:lnTo>
                    <a:pt x="102" y="90"/>
                  </a:lnTo>
                  <a:lnTo>
                    <a:pt x="61" y="50"/>
                  </a:lnTo>
                  <a:lnTo>
                    <a:pt x="61" y="50"/>
                  </a:lnTo>
                  <a:lnTo>
                    <a:pt x="59" y="47"/>
                  </a:lnTo>
                  <a:lnTo>
                    <a:pt x="55" y="47"/>
                  </a:lnTo>
                  <a:lnTo>
                    <a:pt x="52" y="47"/>
                  </a:lnTo>
                  <a:lnTo>
                    <a:pt x="49" y="50"/>
                  </a:lnTo>
                  <a:lnTo>
                    <a:pt x="2" y="96"/>
                  </a:lnTo>
                  <a:lnTo>
                    <a:pt x="2" y="96"/>
                  </a:lnTo>
                  <a:lnTo>
                    <a:pt x="0" y="100"/>
                  </a:lnTo>
                  <a:lnTo>
                    <a:pt x="0" y="102"/>
                  </a:lnTo>
                  <a:lnTo>
                    <a:pt x="0" y="105"/>
                  </a:lnTo>
                  <a:lnTo>
                    <a:pt x="2" y="109"/>
                  </a:lnTo>
                  <a:lnTo>
                    <a:pt x="2" y="109"/>
                  </a:lnTo>
                  <a:lnTo>
                    <a:pt x="5" y="110"/>
                  </a:lnTo>
                  <a:lnTo>
                    <a:pt x="8" y="110"/>
                  </a:lnTo>
                  <a:lnTo>
                    <a:pt x="12" y="110"/>
                  </a:lnTo>
                  <a:lnTo>
                    <a:pt x="14" y="109"/>
                  </a:lnTo>
                  <a:lnTo>
                    <a:pt x="55" y="67"/>
                  </a:lnTo>
                  <a:lnTo>
                    <a:pt x="96" y="109"/>
                  </a:lnTo>
                  <a:lnTo>
                    <a:pt x="96" y="109"/>
                  </a:lnTo>
                  <a:lnTo>
                    <a:pt x="99" y="110"/>
                  </a:lnTo>
                  <a:lnTo>
                    <a:pt x="102" y="110"/>
                  </a:lnTo>
                  <a:lnTo>
                    <a:pt x="102"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Tree>
    <p:extLst>
      <p:ext uri="{BB962C8B-B14F-4D97-AF65-F5344CB8AC3E}">
        <p14:creationId xmlns:p14="http://schemas.microsoft.com/office/powerpoint/2010/main" val="1479296521"/>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Object 45" hidden="1">
            <a:extLst>
              <a:ext uri="{FF2B5EF4-FFF2-40B4-BE49-F238E27FC236}">
                <a16:creationId xmlns:a16="http://schemas.microsoft.com/office/drawing/2014/main" id="{6C7741CA-EB94-49FC-A532-904048F17A5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7028" name="think-cell Slide" r:id="rId6" imgW="415" imgH="416" progId="TCLayout.ActiveDocument.1">
                  <p:embed/>
                </p:oleObj>
              </mc:Choice>
              <mc:Fallback>
                <p:oleObj name="think-cell Slide" r:id="rId6" imgW="415" imgH="416" progId="TCLayout.ActiveDocument.1">
                  <p:embed/>
                  <p:pic>
                    <p:nvPicPr>
                      <p:cNvPr id="46" name="Object 45" hidden="1">
                        <a:extLst>
                          <a:ext uri="{FF2B5EF4-FFF2-40B4-BE49-F238E27FC236}">
                            <a16:creationId xmlns:a16="http://schemas.microsoft.com/office/drawing/2014/main" id="{6C7741CA-EB94-49FC-A532-904048F17A5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5" name="Rectangle 44" hidden="1">
            <a:extLst>
              <a:ext uri="{FF2B5EF4-FFF2-40B4-BE49-F238E27FC236}">
                <a16:creationId xmlns:a16="http://schemas.microsoft.com/office/drawing/2014/main" id="{E38AFA0D-0C00-4407-A0BE-E7197AD9522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ea typeface="Verdana" panose="020B0604030504040204" pitchFamily="34" charset="0"/>
              <a:cs typeface="Verdana" panose="020B0604030504040204" pitchFamily="34" charset="0"/>
              <a:sym typeface="Chronicle Display Black" pitchFamily="50" charset="0"/>
            </a:endParaRPr>
          </a:p>
        </p:txBody>
      </p:sp>
      <p:sp>
        <p:nvSpPr>
          <p:cNvPr id="2" name="Title 1">
            <a:extLst>
              <a:ext uri="{FF2B5EF4-FFF2-40B4-BE49-F238E27FC236}">
                <a16:creationId xmlns:a16="http://schemas.microsoft.com/office/drawing/2014/main" id="{54A25788-BB4E-4F87-92B1-65DA9A02F7F6}"/>
              </a:ext>
            </a:extLst>
          </p:cNvPr>
          <p:cNvSpPr>
            <a:spLocks noGrp="1"/>
          </p:cNvSpPr>
          <p:nvPr>
            <p:ph type="title"/>
          </p:nvPr>
        </p:nvSpPr>
        <p:spPr/>
        <p:txBody>
          <a:bodyPr/>
          <a:lstStyle/>
          <a:p>
            <a:r>
              <a:rPr lang="en-US" dirty="0">
                <a:ea typeface="Verdana" panose="020B0604030504040204" pitchFamily="34" charset="0"/>
                <a:cs typeface="Verdana" panose="020B0604030504040204" pitchFamily="34" charset="0"/>
              </a:rPr>
              <a:t>Winning more than just races</a:t>
            </a:r>
            <a:endParaRPr lang="en-US" dirty="0"/>
          </a:p>
        </p:txBody>
      </p:sp>
      <p:sp>
        <p:nvSpPr>
          <p:cNvPr id="3" name="Text Placeholder 2">
            <a:extLst>
              <a:ext uri="{FF2B5EF4-FFF2-40B4-BE49-F238E27FC236}">
                <a16:creationId xmlns:a16="http://schemas.microsoft.com/office/drawing/2014/main" id="{E8CC4190-D169-436C-93E6-20EFDD3FA6A0}"/>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D21E8214-5A9A-4B48-84B0-1DEC2A4195E8}"/>
              </a:ext>
            </a:extLst>
          </p:cNvPr>
          <p:cNvSpPr>
            <a:spLocks noGrp="1"/>
          </p:cNvSpPr>
          <p:nvPr>
            <p:ph type="body" sz="quarter" idx="15"/>
          </p:nvPr>
        </p:nvSpPr>
        <p:spPr>
          <a:xfrm>
            <a:off x="914971" y="466344"/>
            <a:ext cx="4384616" cy="235262"/>
          </a:xfrm>
        </p:spPr>
        <p:txBody>
          <a:bodyPr/>
          <a:lstStyle/>
          <a:p>
            <a:r>
              <a:rPr lang="en-US" dirty="0"/>
              <a:t>Case study &amp; </a:t>
            </a:r>
            <a:r>
              <a:rPr lang="en-US" dirty="0" err="1"/>
              <a:t>qual</a:t>
            </a:r>
            <a:endParaRPr lang="en-US" dirty="0"/>
          </a:p>
        </p:txBody>
      </p:sp>
      <p:sp>
        <p:nvSpPr>
          <p:cNvPr id="20" name="Text Placeholder 3"/>
          <p:cNvSpPr txBox="1">
            <a:spLocks/>
          </p:cNvSpPr>
          <p:nvPr/>
        </p:nvSpPr>
        <p:spPr>
          <a:xfrm>
            <a:off x="793070" y="2810719"/>
            <a:ext cx="3462337" cy="219678"/>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100" dirty="0">
                <a:solidFill>
                  <a:schemeClr val="accent1"/>
                </a:solidFill>
              </a:rPr>
              <a:t>APPROACH</a:t>
            </a:r>
          </a:p>
        </p:txBody>
      </p:sp>
      <p:sp>
        <p:nvSpPr>
          <p:cNvPr id="21" name="Text Placeholder 4"/>
          <p:cNvSpPr txBox="1">
            <a:spLocks/>
          </p:cNvSpPr>
          <p:nvPr/>
        </p:nvSpPr>
        <p:spPr>
          <a:xfrm>
            <a:off x="793070" y="4807011"/>
            <a:ext cx="3463925" cy="208097"/>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100" dirty="0">
                <a:solidFill>
                  <a:schemeClr val="accent1"/>
                </a:solidFill>
              </a:rPr>
              <a:t>OUTCOME</a:t>
            </a:r>
          </a:p>
        </p:txBody>
      </p:sp>
      <p:sp>
        <p:nvSpPr>
          <p:cNvPr id="22" name="Text Placeholder 8"/>
          <p:cNvSpPr txBox="1">
            <a:spLocks/>
          </p:cNvSpPr>
          <p:nvPr/>
        </p:nvSpPr>
        <p:spPr>
          <a:xfrm>
            <a:off x="793070" y="1964759"/>
            <a:ext cx="3463925" cy="228600"/>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100" dirty="0">
                <a:solidFill>
                  <a:schemeClr val="accent1"/>
                </a:solidFill>
              </a:rPr>
              <a:t>CHALLENGE</a:t>
            </a:r>
          </a:p>
        </p:txBody>
      </p:sp>
      <p:sp>
        <p:nvSpPr>
          <p:cNvPr id="23" name="Text Placeholder 5"/>
          <p:cNvSpPr txBox="1">
            <a:spLocks/>
          </p:cNvSpPr>
          <p:nvPr/>
        </p:nvSpPr>
        <p:spPr>
          <a:xfrm>
            <a:off x="793069" y="2212920"/>
            <a:ext cx="10484531" cy="664797"/>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Client needed to </a:t>
            </a:r>
            <a:r>
              <a:rPr lang="en-US" sz="1200" b="1" dirty="0"/>
              <a:t>transform its digital business</a:t>
            </a:r>
            <a:r>
              <a:rPr lang="en-US" sz="1200" dirty="0"/>
              <a:t>, </a:t>
            </a:r>
            <a:r>
              <a:rPr lang="en-US" sz="1200" b="1" dirty="0"/>
              <a:t>expand and better leverage its online existing online presence and brand equity</a:t>
            </a:r>
            <a:r>
              <a:rPr lang="en-US" sz="1200" dirty="0"/>
              <a:t>, </a:t>
            </a:r>
            <a:br>
              <a:rPr lang="en-US" sz="1200" dirty="0"/>
            </a:br>
            <a:r>
              <a:rPr lang="en-US" sz="1200" dirty="0"/>
              <a:t>and </a:t>
            </a:r>
            <a:r>
              <a:rPr lang="en-US" sz="1200" b="1" dirty="0"/>
              <a:t>develop new opportunities to engage consumers </a:t>
            </a:r>
            <a:r>
              <a:rPr lang="en-US" sz="1200" dirty="0"/>
              <a:t>to meet it’s FY20 online sales goals</a:t>
            </a:r>
          </a:p>
        </p:txBody>
      </p:sp>
      <p:sp>
        <p:nvSpPr>
          <p:cNvPr id="24" name="Text Placeholder 7"/>
          <p:cNvSpPr txBox="1">
            <a:spLocks/>
          </p:cNvSpPr>
          <p:nvPr/>
        </p:nvSpPr>
        <p:spPr>
          <a:xfrm>
            <a:off x="793070" y="5091308"/>
            <a:ext cx="4903092" cy="1077218"/>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600"/>
              </a:spcBef>
              <a:buNone/>
            </a:pPr>
            <a:r>
              <a:rPr lang="en-US" sz="1200" b="1" dirty="0"/>
              <a:t>Client create a more seamless, enjoyable user experience with:</a:t>
            </a:r>
          </a:p>
          <a:p>
            <a:pPr marL="171450" indent="-171450">
              <a:spcBef>
                <a:spcPts val="600"/>
              </a:spcBef>
            </a:pPr>
            <a:r>
              <a:rPr lang="en-US" sz="1200" dirty="0"/>
              <a:t>Higher-quality landing pages </a:t>
            </a:r>
          </a:p>
          <a:p>
            <a:pPr marL="171450" indent="-171450">
              <a:spcBef>
                <a:spcPts val="600"/>
              </a:spcBef>
            </a:pPr>
            <a:r>
              <a:rPr lang="en-US" sz="1200" dirty="0"/>
              <a:t>More compelling creative assets in the short-term</a:t>
            </a:r>
          </a:p>
        </p:txBody>
      </p:sp>
      <p:grpSp>
        <p:nvGrpSpPr>
          <p:cNvPr id="25" name="Group 24"/>
          <p:cNvGrpSpPr/>
          <p:nvPr/>
        </p:nvGrpSpPr>
        <p:grpSpPr>
          <a:xfrm>
            <a:off x="729360" y="3111154"/>
            <a:ext cx="2515066" cy="1619657"/>
            <a:chOff x="1176823" y="2322231"/>
            <a:chExt cx="2515066" cy="1619657"/>
          </a:xfrm>
        </p:grpSpPr>
        <p:sp>
          <p:nvSpPr>
            <p:cNvPr id="26" name="Parallelogram 25"/>
            <p:cNvSpPr/>
            <p:nvPr/>
          </p:nvSpPr>
          <p:spPr>
            <a:xfrm>
              <a:off x="1270493" y="2327713"/>
              <a:ext cx="2377440" cy="466344"/>
            </a:xfrm>
            <a:prstGeom prst="parallelogram">
              <a:avLst/>
            </a:prstGeom>
            <a:solidFill>
              <a:schemeClr val="accent1">
                <a:lumMod val="20000"/>
                <a:lumOff val="80000"/>
              </a:schemeClr>
            </a:solid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Open Sans"/>
                  <a:ea typeface="+mn-ea"/>
                  <a:cs typeface="Arial" panose="020B0604020202020204" pitchFamily="34" charset="0"/>
                </a:rPr>
                <a:t>Develop Digital Strategy</a:t>
              </a:r>
              <a:endParaRPr kumimoji="0" lang="en-US" sz="1200" b="0" i="0" u="none" strike="noStrike" kern="1200" cap="none" spc="0" normalizeH="0" baseline="0" noProof="0" dirty="0">
                <a:ln>
                  <a:noFill/>
                </a:ln>
                <a:solidFill>
                  <a:prstClr val="black"/>
                </a:solidFill>
                <a:effectLst/>
                <a:uLnTx/>
                <a:uFillTx/>
                <a:latin typeface="Open Sans"/>
                <a:ea typeface="+mn-ea"/>
                <a:cs typeface="Arial" panose="020B0604020202020204" pitchFamily="34" charset="0"/>
              </a:endParaRPr>
            </a:p>
          </p:txBody>
        </p:sp>
        <p:sp>
          <p:nvSpPr>
            <p:cNvPr id="27" name="Oval 26"/>
            <p:cNvSpPr/>
            <p:nvPr/>
          </p:nvSpPr>
          <p:spPr>
            <a:xfrm>
              <a:off x="1176823" y="2322231"/>
              <a:ext cx="245637" cy="388100"/>
            </a:xfrm>
            <a:prstGeom prst="ellipse">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chemeClr val="accent2"/>
                  </a:solidFill>
                  <a:effectLst/>
                  <a:uLnTx/>
                  <a:uFillTx/>
                  <a:latin typeface="Open Sans"/>
                  <a:ea typeface="+mn-ea"/>
                  <a:cs typeface="Arial" panose="020B0604020202020204" pitchFamily="34" charset="0"/>
                </a:rPr>
                <a:t>1</a:t>
              </a:r>
            </a:p>
          </p:txBody>
        </p:sp>
        <p:sp>
          <p:nvSpPr>
            <p:cNvPr id="28" name="TextBox 27"/>
            <p:cNvSpPr txBox="1"/>
            <p:nvPr/>
          </p:nvSpPr>
          <p:spPr>
            <a:xfrm>
              <a:off x="1270493" y="2926225"/>
              <a:ext cx="2421396" cy="1015663"/>
            </a:xfrm>
            <a:prstGeom prst="rect">
              <a:avLst/>
            </a:prstGeom>
            <a:noFill/>
          </p:spPr>
          <p:txBody>
            <a:bodyPr wrap="square" rtlCol="0">
              <a:spAutoFit/>
            </a:bodyPr>
            <a:lstStyle/>
            <a:p>
              <a:pPr lvl="0">
                <a:spcAft>
                  <a:spcPts val="1200"/>
                </a:spcAft>
                <a:defRPr/>
              </a:pPr>
              <a:r>
                <a:rPr lang="en-US" sz="1200" dirty="0"/>
                <a:t>External review of industry and market place trends</a:t>
              </a:r>
              <a:r>
                <a:rPr lang="en-US" sz="1200" dirty="0">
                  <a:solidFill>
                    <a:prstClr val="black"/>
                  </a:solidFill>
                  <a:latin typeface="Open Sans"/>
                  <a:cs typeface="Arial" panose="020B0604020202020204" pitchFamily="34" charset="0"/>
                </a:rPr>
                <a:t> to develop a </a:t>
              </a:r>
              <a:r>
                <a:rPr lang="en-US" sz="1200" dirty="0"/>
                <a:t>dotcom purpose and design principles, with a prioritization of tactics to achieve the vision</a:t>
              </a:r>
              <a:endParaRPr kumimoji="0" lang="en-US" sz="1200" b="0" i="0" u="none" strike="noStrike" kern="1200" cap="none" spc="0" normalizeH="0" baseline="0" noProof="0" dirty="0">
                <a:ln>
                  <a:noFill/>
                </a:ln>
                <a:solidFill>
                  <a:prstClr val="black"/>
                </a:solidFill>
                <a:effectLst/>
                <a:uLnTx/>
                <a:uFillTx/>
                <a:latin typeface="Open Sans"/>
                <a:ea typeface="+mn-ea"/>
                <a:cs typeface="Arial" panose="020B0604020202020204" pitchFamily="34" charset="0"/>
              </a:endParaRPr>
            </a:p>
          </p:txBody>
        </p:sp>
      </p:grpSp>
      <p:grpSp>
        <p:nvGrpSpPr>
          <p:cNvPr id="29" name="Group 28"/>
          <p:cNvGrpSpPr/>
          <p:nvPr/>
        </p:nvGrpSpPr>
        <p:grpSpPr>
          <a:xfrm>
            <a:off x="3444690" y="3116636"/>
            <a:ext cx="2471111" cy="1429509"/>
            <a:chOff x="3899138" y="2327713"/>
            <a:chExt cx="2471111" cy="1429509"/>
          </a:xfrm>
        </p:grpSpPr>
        <p:sp>
          <p:nvSpPr>
            <p:cNvPr id="30" name="Parallelogram 29"/>
            <p:cNvSpPr/>
            <p:nvPr/>
          </p:nvSpPr>
          <p:spPr>
            <a:xfrm>
              <a:off x="3992809" y="2327713"/>
              <a:ext cx="2377440" cy="466344"/>
            </a:xfrm>
            <a:prstGeom prst="parallelogram">
              <a:avLst/>
            </a:prstGeom>
            <a:solidFill>
              <a:schemeClr val="accent1">
                <a:lumMod val="20000"/>
                <a:lumOff val="80000"/>
              </a:schemeClr>
            </a:solidFill>
          </p:spPr>
          <p:txBody>
            <a:bodyPr wrap="square" lIns="0" tIns="0" rIns="0" bIns="0" anchor="ctr">
              <a:spAutoFit/>
            </a:bodyPr>
            <a:lstStyle/>
            <a:p>
              <a:pPr lvl="0">
                <a:spcAft>
                  <a:spcPts val="1200"/>
                </a:spcAft>
                <a:defRPr/>
              </a:pPr>
              <a:r>
                <a:rPr lang="en-US" sz="1200" b="1" dirty="0">
                  <a:solidFill>
                    <a:prstClr val="black"/>
                  </a:solidFill>
                  <a:cs typeface="Arial" panose="020B0604020202020204" pitchFamily="34" charset="0"/>
                </a:rPr>
                <a:t>Assess Existing Capabilities</a:t>
              </a:r>
            </a:p>
          </p:txBody>
        </p:sp>
        <p:sp>
          <p:nvSpPr>
            <p:cNvPr id="31" name="Oval 30"/>
            <p:cNvSpPr/>
            <p:nvPr/>
          </p:nvSpPr>
          <p:spPr>
            <a:xfrm>
              <a:off x="3899138" y="2366835"/>
              <a:ext cx="245637" cy="388100"/>
            </a:xfrm>
            <a:prstGeom prst="ellipse">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chemeClr val="accent2"/>
                  </a:solidFill>
                  <a:effectLst/>
                  <a:uLnTx/>
                  <a:uFillTx/>
                  <a:latin typeface="Open Sans"/>
                  <a:ea typeface="+mn-ea"/>
                  <a:cs typeface="Arial" panose="020B0604020202020204" pitchFamily="34" charset="0"/>
                </a:rPr>
                <a:t>2</a:t>
              </a:r>
            </a:p>
          </p:txBody>
        </p:sp>
        <p:sp>
          <p:nvSpPr>
            <p:cNvPr id="32" name="TextBox 31"/>
            <p:cNvSpPr txBox="1"/>
            <p:nvPr/>
          </p:nvSpPr>
          <p:spPr>
            <a:xfrm>
              <a:off x="3992809" y="2926225"/>
              <a:ext cx="2377440" cy="830997"/>
            </a:xfrm>
            <a:prstGeom prst="rect">
              <a:avLst/>
            </a:prstGeom>
            <a:noFill/>
          </p:spPr>
          <p:txBody>
            <a:bodyPr wrap="square" rtlCol="0">
              <a:spAutoFit/>
            </a:bodyPr>
            <a:lstStyle/>
            <a:p>
              <a:pPr lvl="0">
                <a:spcAft>
                  <a:spcPts val="1200"/>
                </a:spcAft>
                <a:defRPr/>
              </a:pPr>
              <a:r>
                <a:rPr lang="en-US" sz="1200" dirty="0">
                  <a:solidFill>
                    <a:prstClr val="black"/>
                  </a:solidFill>
                  <a:cs typeface="Arial" panose="020B0604020202020204" pitchFamily="34" charset="0"/>
                </a:rPr>
                <a:t>Current state assessment </a:t>
              </a:r>
              <a:br>
                <a:rPr lang="en-US" sz="1200" dirty="0">
                  <a:solidFill>
                    <a:prstClr val="black"/>
                  </a:solidFill>
                  <a:cs typeface="Arial" panose="020B0604020202020204" pitchFamily="34" charset="0"/>
                </a:rPr>
              </a:br>
              <a:r>
                <a:rPr lang="en-US" sz="1200" dirty="0"/>
                <a:t>to identify any missing capabilities necessary for strategy execution</a:t>
              </a:r>
              <a:endParaRPr lang="en-US" sz="1200" dirty="0">
                <a:solidFill>
                  <a:prstClr val="black"/>
                </a:solidFill>
                <a:cs typeface="Arial" panose="020B0604020202020204" pitchFamily="34" charset="0"/>
              </a:endParaRPr>
            </a:p>
          </p:txBody>
        </p:sp>
      </p:grpSp>
      <p:grpSp>
        <p:nvGrpSpPr>
          <p:cNvPr id="33" name="Group 32"/>
          <p:cNvGrpSpPr/>
          <p:nvPr/>
        </p:nvGrpSpPr>
        <p:grpSpPr>
          <a:xfrm>
            <a:off x="6116065" y="3116636"/>
            <a:ext cx="2471110" cy="1244843"/>
            <a:chOff x="6486057" y="2327713"/>
            <a:chExt cx="2471110" cy="1244843"/>
          </a:xfrm>
        </p:grpSpPr>
        <p:sp>
          <p:nvSpPr>
            <p:cNvPr id="34" name="Parallelogram 33"/>
            <p:cNvSpPr/>
            <p:nvPr/>
          </p:nvSpPr>
          <p:spPr>
            <a:xfrm>
              <a:off x="6579727" y="2327713"/>
              <a:ext cx="2377440" cy="466344"/>
            </a:xfrm>
            <a:prstGeom prst="parallelogram">
              <a:avLst/>
            </a:prstGeom>
            <a:solidFill>
              <a:schemeClr val="accent1">
                <a:lumMod val="20000"/>
                <a:lumOff val="80000"/>
              </a:schemeClr>
            </a:solid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lang="en-US" sz="1200" b="1" dirty="0">
                  <a:solidFill>
                    <a:prstClr val="black"/>
                  </a:solidFill>
                  <a:latin typeface="Open Sans"/>
                  <a:cs typeface="Arial" panose="020B0604020202020204" pitchFamily="34" charset="0"/>
                </a:rPr>
                <a:t>Design Organizational Structure</a:t>
              </a:r>
              <a:endParaRPr kumimoji="0" lang="en-US" sz="1200" b="1" i="0" u="none" strike="noStrike" kern="1200" cap="none" spc="0" normalizeH="0" baseline="0" noProof="0" dirty="0">
                <a:ln>
                  <a:noFill/>
                </a:ln>
                <a:solidFill>
                  <a:prstClr val="black"/>
                </a:solidFill>
                <a:effectLst/>
                <a:uLnTx/>
                <a:uFillTx/>
                <a:latin typeface="Open Sans"/>
                <a:ea typeface="+mn-ea"/>
                <a:cs typeface="Arial" panose="020B0604020202020204" pitchFamily="34" charset="0"/>
              </a:endParaRPr>
            </a:p>
          </p:txBody>
        </p:sp>
        <p:sp>
          <p:nvSpPr>
            <p:cNvPr id="35" name="Oval 34"/>
            <p:cNvSpPr/>
            <p:nvPr/>
          </p:nvSpPr>
          <p:spPr>
            <a:xfrm>
              <a:off x="6486057" y="2366835"/>
              <a:ext cx="245637" cy="388100"/>
            </a:xfrm>
            <a:prstGeom prst="ellipse">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chemeClr val="accent2"/>
                  </a:solidFill>
                  <a:effectLst/>
                  <a:uLnTx/>
                  <a:uFillTx/>
                  <a:latin typeface="Open Sans"/>
                  <a:ea typeface="+mn-ea"/>
                  <a:cs typeface="Arial" panose="020B0604020202020204" pitchFamily="34" charset="0"/>
                </a:rPr>
                <a:t>3</a:t>
              </a:r>
            </a:p>
          </p:txBody>
        </p:sp>
        <p:sp>
          <p:nvSpPr>
            <p:cNvPr id="49" name="TextBox 48"/>
            <p:cNvSpPr txBox="1"/>
            <p:nvPr/>
          </p:nvSpPr>
          <p:spPr>
            <a:xfrm>
              <a:off x="6579727" y="2926225"/>
              <a:ext cx="2377440" cy="646331"/>
            </a:xfrm>
            <a:prstGeom prst="rect">
              <a:avLst/>
            </a:prstGeom>
            <a:noFill/>
          </p:spPr>
          <p:txBody>
            <a:bodyPr wrap="square" rtlCol="0">
              <a:spAutoFit/>
            </a:bodyPr>
            <a:lstStyle/>
            <a:p>
              <a:pPr lvl="0">
                <a:spcAft>
                  <a:spcPts val="1200"/>
                </a:spcAft>
                <a:defRPr/>
              </a:pPr>
              <a:r>
                <a:rPr lang="en-US" sz="1200" dirty="0">
                  <a:solidFill>
                    <a:prstClr val="black"/>
                  </a:solidFill>
                  <a:latin typeface="Open Sans"/>
                  <a:cs typeface="Arial" panose="020B0604020202020204" pitchFamily="34" charset="0"/>
                </a:rPr>
                <a:t>Future state organizational design and requirements to support the digital vision</a:t>
              </a:r>
              <a:endParaRPr kumimoji="0" lang="en-US" sz="1200" i="0" u="none" strike="noStrike" kern="1200" cap="none" spc="0" normalizeH="0" baseline="0" noProof="0" dirty="0">
                <a:ln>
                  <a:noFill/>
                </a:ln>
                <a:solidFill>
                  <a:prstClr val="black"/>
                </a:solidFill>
                <a:effectLst/>
                <a:uLnTx/>
                <a:uFillTx/>
                <a:latin typeface="Open Sans"/>
                <a:ea typeface="+mn-ea"/>
                <a:cs typeface="Arial" panose="020B0604020202020204" pitchFamily="34" charset="0"/>
              </a:endParaRPr>
            </a:p>
          </p:txBody>
        </p:sp>
      </p:grpSp>
      <p:grpSp>
        <p:nvGrpSpPr>
          <p:cNvPr id="50" name="Group 49"/>
          <p:cNvGrpSpPr/>
          <p:nvPr/>
        </p:nvGrpSpPr>
        <p:grpSpPr>
          <a:xfrm>
            <a:off x="8787438" y="3116636"/>
            <a:ext cx="2490162" cy="1614175"/>
            <a:chOff x="9053926" y="2327713"/>
            <a:chExt cx="2490162" cy="1614175"/>
          </a:xfrm>
        </p:grpSpPr>
        <p:sp>
          <p:nvSpPr>
            <p:cNvPr id="51" name="Parallelogram 50"/>
            <p:cNvSpPr/>
            <p:nvPr/>
          </p:nvSpPr>
          <p:spPr>
            <a:xfrm>
              <a:off x="9166648" y="2327713"/>
              <a:ext cx="2377440" cy="466344"/>
            </a:xfrm>
            <a:prstGeom prst="parallelogram">
              <a:avLst/>
            </a:prstGeom>
            <a:solidFill>
              <a:schemeClr val="accent1">
                <a:lumMod val="20000"/>
                <a:lumOff val="80000"/>
              </a:schemeClr>
            </a:solid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Open Sans"/>
                  <a:ea typeface="+mn-ea"/>
                  <a:cs typeface="Arial" panose="020B0604020202020204" pitchFamily="34" charset="0"/>
                </a:rPr>
                <a:t>Outline Execution Roadmap</a:t>
              </a:r>
            </a:p>
          </p:txBody>
        </p:sp>
        <p:sp>
          <p:nvSpPr>
            <p:cNvPr id="52" name="Oval 51"/>
            <p:cNvSpPr/>
            <p:nvPr/>
          </p:nvSpPr>
          <p:spPr>
            <a:xfrm>
              <a:off x="9053926" y="2366835"/>
              <a:ext cx="245637" cy="388100"/>
            </a:xfrm>
            <a:prstGeom prst="ellipse">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chemeClr val="accent2"/>
                  </a:solidFill>
                  <a:effectLst/>
                  <a:uLnTx/>
                  <a:uFillTx/>
                  <a:latin typeface="Open Sans"/>
                  <a:ea typeface="+mn-ea"/>
                  <a:cs typeface="Arial" panose="020B0604020202020204" pitchFamily="34" charset="0"/>
                </a:rPr>
                <a:t>4</a:t>
              </a:r>
            </a:p>
          </p:txBody>
        </p:sp>
        <p:sp>
          <p:nvSpPr>
            <p:cNvPr id="54" name="TextBox 53"/>
            <p:cNvSpPr txBox="1"/>
            <p:nvPr/>
          </p:nvSpPr>
          <p:spPr>
            <a:xfrm>
              <a:off x="9166648" y="2926225"/>
              <a:ext cx="2377440" cy="1015663"/>
            </a:xfrm>
            <a:prstGeom prst="rect">
              <a:avLst/>
            </a:prstGeom>
            <a:noFill/>
          </p:spPr>
          <p:txBody>
            <a:bodyPr wrap="square" rtlCol="0">
              <a:spAutoFit/>
            </a:bodyPr>
            <a:lstStyle/>
            <a:p>
              <a:pPr lvl="0">
                <a:spcAft>
                  <a:spcPts val="1200"/>
                </a:spcAft>
                <a:defRPr/>
              </a:pPr>
              <a:r>
                <a:rPr lang="en-US" sz="1200" dirty="0">
                  <a:solidFill>
                    <a:prstClr val="black"/>
                  </a:solidFill>
                  <a:latin typeface="Open Sans"/>
                  <a:cs typeface="Arial" panose="020B0604020202020204" pitchFamily="34" charset="0"/>
                </a:rPr>
                <a:t>Execution roadmap </a:t>
              </a:r>
              <a:r>
                <a:rPr lang="en-US" sz="1200" dirty="0"/>
                <a:t>with defined owners and KPIs for ongoing assessment of the strategy and mobilization of the execution of the program</a:t>
              </a:r>
              <a:endParaRPr kumimoji="0" lang="en-US" sz="1200" b="1" i="0" u="none" strike="noStrike" kern="1200" cap="none" spc="0" normalizeH="0" baseline="0" noProof="0" dirty="0">
                <a:ln>
                  <a:noFill/>
                </a:ln>
                <a:solidFill>
                  <a:prstClr val="black"/>
                </a:solidFill>
                <a:effectLst/>
                <a:uLnTx/>
                <a:uFillTx/>
                <a:latin typeface="Open Sans"/>
                <a:ea typeface="+mn-ea"/>
                <a:cs typeface="Arial" panose="020B0604020202020204" pitchFamily="34" charset="0"/>
              </a:endParaRPr>
            </a:p>
          </p:txBody>
        </p:sp>
      </p:grpSp>
      <p:sp>
        <p:nvSpPr>
          <p:cNvPr id="56" name="Text Placeholder 7"/>
          <p:cNvSpPr txBox="1">
            <a:spLocks/>
          </p:cNvSpPr>
          <p:nvPr/>
        </p:nvSpPr>
        <p:spPr>
          <a:xfrm>
            <a:off x="6314880" y="5091308"/>
            <a:ext cx="5591582" cy="1077218"/>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600"/>
              </a:spcBef>
              <a:buNone/>
            </a:pPr>
            <a:r>
              <a:rPr lang="en-US" sz="1200" b="1" dirty="0"/>
              <a:t>…and enabled long term results with:</a:t>
            </a:r>
          </a:p>
          <a:p>
            <a:pPr marL="171450" indent="-171450">
              <a:spcBef>
                <a:spcPts val="600"/>
              </a:spcBef>
            </a:pPr>
            <a:r>
              <a:rPr lang="en-US" sz="1200" dirty="0"/>
              <a:t>A clear vision and plan for transformative growth</a:t>
            </a:r>
          </a:p>
          <a:p>
            <a:pPr marL="171450" indent="-171450">
              <a:spcBef>
                <a:spcPts val="600"/>
              </a:spcBef>
            </a:pPr>
            <a:r>
              <a:rPr lang="en-US" sz="1200" dirty="0"/>
              <a:t>A uniform analytics process for tracking and sharing dotcom business results</a:t>
            </a:r>
          </a:p>
        </p:txBody>
      </p:sp>
    </p:spTree>
    <p:extLst>
      <p:ext uri="{BB962C8B-B14F-4D97-AF65-F5344CB8AC3E}">
        <p14:creationId xmlns:p14="http://schemas.microsoft.com/office/powerpoint/2010/main" val="2287348757"/>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6B3F668-E566-4115-9950-E27D955B242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8052" name="think-cell Slide" r:id="rId6" imgW="415" imgH="416" progId="TCLayout.ActiveDocument.1">
                  <p:embed/>
                </p:oleObj>
              </mc:Choice>
              <mc:Fallback>
                <p:oleObj name="think-cell Slide" r:id="rId6" imgW="415" imgH="416" progId="TCLayout.ActiveDocument.1">
                  <p:embed/>
                  <p:pic>
                    <p:nvPicPr>
                      <p:cNvPr id="5" name="Object 4" hidden="1">
                        <a:extLst>
                          <a:ext uri="{FF2B5EF4-FFF2-40B4-BE49-F238E27FC236}">
                            <a16:creationId xmlns:a16="http://schemas.microsoft.com/office/drawing/2014/main" id="{16B3F668-E566-4115-9950-E27D955B242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F5662DB-5A0A-48FD-979D-A197F993173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88423DD1-1671-4A2A-9409-6446A5791B12}"/>
              </a:ext>
            </a:extLst>
          </p:cNvPr>
          <p:cNvSpPr>
            <a:spLocks noGrp="1"/>
          </p:cNvSpPr>
          <p:nvPr>
            <p:ph type="title"/>
          </p:nvPr>
        </p:nvSpPr>
        <p:spPr/>
        <p:txBody>
          <a:bodyPr/>
          <a:lstStyle/>
          <a:p>
            <a:r>
              <a:rPr lang="en-US" dirty="0"/>
              <a:t>Building organizational capacity</a:t>
            </a:r>
          </a:p>
        </p:txBody>
      </p:sp>
      <p:sp>
        <p:nvSpPr>
          <p:cNvPr id="3" name="Text Placeholder 2">
            <a:extLst>
              <a:ext uri="{FF2B5EF4-FFF2-40B4-BE49-F238E27FC236}">
                <a16:creationId xmlns:a16="http://schemas.microsoft.com/office/drawing/2014/main" id="{2F9274C9-F723-496A-A457-C7553EC16FE6}"/>
              </a:ext>
            </a:extLst>
          </p:cNvPr>
          <p:cNvSpPr>
            <a:spLocks noGrp="1"/>
          </p:cNvSpPr>
          <p:nvPr>
            <p:ph type="body" sz="quarter" idx="14"/>
          </p:nvPr>
        </p:nvSpPr>
        <p:spPr/>
        <p:txBody>
          <a:bodyPr/>
          <a:lstStyle/>
          <a:p>
            <a:r>
              <a:rPr lang="en-US" dirty="0"/>
              <a:t>Subheader</a:t>
            </a:r>
          </a:p>
        </p:txBody>
      </p:sp>
      <p:sp>
        <p:nvSpPr>
          <p:cNvPr id="17" name="Text Placeholder 16">
            <a:extLst>
              <a:ext uri="{FF2B5EF4-FFF2-40B4-BE49-F238E27FC236}">
                <a16:creationId xmlns:a16="http://schemas.microsoft.com/office/drawing/2014/main" id="{7D2F3583-4DEF-4DF5-B8BB-9F849CE2E71D}"/>
              </a:ext>
            </a:extLst>
          </p:cNvPr>
          <p:cNvSpPr>
            <a:spLocks noGrp="1"/>
          </p:cNvSpPr>
          <p:nvPr>
            <p:ph type="body" sz="quarter" idx="15"/>
          </p:nvPr>
        </p:nvSpPr>
        <p:spPr/>
        <p:txBody>
          <a:bodyPr/>
          <a:lstStyle/>
          <a:p>
            <a:r>
              <a:rPr lang="en-US" dirty="0"/>
              <a:t>Case study &amp; </a:t>
            </a:r>
            <a:r>
              <a:rPr lang="en-US" dirty="0" err="1"/>
              <a:t>qual</a:t>
            </a:r>
            <a:endParaRPr lang="en-US" dirty="0"/>
          </a:p>
        </p:txBody>
      </p:sp>
      <p:sp>
        <p:nvSpPr>
          <p:cNvPr id="6" name="Text Placeholder 2">
            <a:extLst>
              <a:ext uri="{FF2B5EF4-FFF2-40B4-BE49-F238E27FC236}">
                <a16:creationId xmlns:a16="http://schemas.microsoft.com/office/drawing/2014/main" id="{6FE32AA5-CCD5-4733-A628-CB7C2B754BE3}"/>
              </a:ext>
            </a:extLst>
          </p:cNvPr>
          <p:cNvSpPr txBox="1">
            <a:spLocks/>
          </p:cNvSpPr>
          <p:nvPr/>
        </p:nvSpPr>
        <p:spPr>
          <a:xfrm>
            <a:off x="864343" y="1826569"/>
            <a:ext cx="3474720" cy="4604737"/>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229">
              <a:spcAft>
                <a:spcPts val="600"/>
              </a:spcAft>
              <a:buFont typeface="Arial" panose="020B0604020202020204" pitchFamily="34" charset="0"/>
              <a:buNone/>
              <a:defRPr/>
            </a:pPr>
            <a:r>
              <a:rPr lang="en-US" sz="1200" b="1" spc="150" dirty="0">
                <a:solidFill>
                  <a:schemeClr val="accent1"/>
                </a:solidFill>
              </a:rPr>
              <a:t>THE CHALLENGE</a:t>
            </a:r>
          </a:p>
          <a:p>
            <a:pPr defTabSz="914229">
              <a:spcAft>
                <a:spcPts val="300"/>
              </a:spcAft>
              <a:defRPr/>
            </a:pPr>
            <a:r>
              <a:rPr lang="en-US" sz="1100" dirty="0">
                <a:solidFill>
                  <a:srgbClr val="000000"/>
                </a:solidFill>
                <a:ea typeface="Calibri" charset="0"/>
                <a:cs typeface="Calibri" charset="0"/>
              </a:rPr>
              <a:t>Newly appointed Chief Innovation Officer looking to build the organizational capability to innovation, with two primary objectives:</a:t>
            </a:r>
          </a:p>
          <a:p>
            <a:pPr lvl="1" defTabSz="914229">
              <a:spcBef>
                <a:spcPts val="200"/>
              </a:spcBef>
              <a:spcAft>
                <a:spcPts val="300"/>
              </a:spcAft>
              <a:buFont typeface="+mj-lt"/>
              <a:buAutoNum type="arabicPeriod"/>
              <a:defRPr/>
            </a:pPr>
            <a:r>
              <a:rPr lang="en-US" sz="1100" dirty="0">
                <a:solidFill>
                  <a:srgbClr val="000000"/>
                </a:solidFill>
                <a:ea typeface="Calibri" charset="0"/>
                <a:cs typeface="Calibri" charset="0"/>
              </a:rPr>
              <a:t>Drive adjacent-space and transformational innovation for the company.</a:t>
            </a:r>
          </a:p>
          <a:p>
            <a:pPr lvl="1" defTabSz="914229">
              <a:spcBef>
                <a:spcPts val="200"/>
              </a:spcBef>
              <a:spcAft>
                <a:spcPts val="300"/>
              </a:spcAft>
              <a:buFont typeface="+mj-lt"/>
              <a:buAutoNum type="arabicPeriod"/>
              <a:defRPr/>
            </a:pPr>
            <a:r>
              <a:rPr lang="en-US" sz="1100" dirty="0">
                <a:solidFill>
                  <a:srgbClr val="000000"/>
                </a:solidFill>
                <a:ea typeface="Calibri" charset="0"/>
                <a:cs typeface="Calibri" charset="0"/>
              </a:rPr>
              <a:t>Establish an ongoing stream of new consumer-oriented solutions. </a:t>
            </a:r>
          </a:p>
          <a:p>
            <a:pPr marL="0" indent="0" defTabSz="914229">
              <a:spcBef>
                <a:spcPts val="1400"/>
              </a:spcBef>
              <a:spcAft>
                <a:spcPts val="600"/>
              </a:spcAft>
              <a:buFont typeface="Arial" panose="020B0604020202020204" pitchFamily="34" charset="0"/>
              <a:buNone/>
              <a:defRPr/>
            </a:pPr>
            <a:r>
              <a:rPr lang="en-US" sz="1200" b="1" spc="150" dirty="0">
                <a:solidFill>
                  <a:schemeClr val="accent1"/>
                </a:solidFill>
              </a:rPr>
              <a:t>THE APPROACH</a:t>
            </a:r>
            <a:endParaRPr lang="en-US" sz="1200" dirty="0">
              <a:solidFill>
                <a:schemeClr val="accent1"/>
              </a:solidFill>
            </a:endParaRPr>
          </a:p>
          <a:p>
            <a:pPr defTabSz="914229">
              <a:spcAft>
                <a:spcPts val="600"/>
              </a:spcAft>
              <a:defRPr/>
            </a:pPr>
            <a:r>
              <a:rPr lang="en-US" sz="1100" dirty="0"/>
              <a:t>Establish a clear innovation strategy by developing an outside-in view of the key forces of change  and disruption in healthcare, and identifying key future-oriented company focus areas at the intersection of key forces of change. </a:t>
            </a:r>
          </a:p>
          <a:p>
            <a:pPr defTabSz="914229">
              <a:spcAft>
                <a:spcPts val="600"/>
              </a:spcAft>
              <a:defRPr/>
            </a:pPr>
            <a:r>
              <a:rPr lang="en-US" sz="1100" dirty="0"/>
              <a:t>Design the innovation operating model, including organizational structure, innovation process, funding, connection to the business, and metrics and goals for the organization.</a:t>
            </a:r>
          </a:p>
        </p:txBody>
      </p:sp>
      <p:sp>
        <p:nvSpPr>
          <p:cNvPr id="7" name="Text Placeholder 7">
            <a:extLst>
              <a:ext uri="{FF2B5EF4-FFF2-40B4-BE49-F238E27FC236}">
                <a16:creationId xmlns:a16="http://schemas.microsoft.com/office/drawing/2014/main" id="{2EEB5993-250D-4571-8C4F-5546024E9517}"/>
              </a:ext>
            </a:extLst>
          </p:cNvPr>
          <p:cNvSpPr txBox="1">
            <a:spLocks/>
          </p:cNvSpPr>
          <p:nvPr/>
        </p:nvSpPr>
        <p:spPr>
          <a:xfrm>
            <a:off x="4520384" y="1826569"/>
            <a:ext cx="2775753" cy="4604737"/>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229">
              <a:lnSpc>
                <a:spcPct val="110000"/>
              </a:lnSpc>
              <a:spcAft>
                <a:spcPts val="600"/>
              </a:spcAft>
              <a:buFont typeface="Arial" panose="020B0604020202020204" pitchFamily="34" charset="0"/>
              <a:buNone/>
              <a:defRPr/>
            </a:pPr>
            <a:r>
              <a:rPr lang="en-US" sz="1200" b="1" spc="150" dirty="0">
                <a:solidFill>
                  <a:schemeClr val="accent1"/>
                </a:solidFill>
              </a:rPr>
              <a:t>OUTCOMES</a:t>
            </a:r>
            <a:endParaRPr lang="en-US" sz="1200" dirty="0"/>
          </a:p>
          <a:p>
            <a:pPr defTabSz="914229">
              <a:spcAft>
                <a:spcPts val="600"/>
              </a:spcAft>
              <a:defRPr/>
            </a:pPr>
            <a:r>
              <a:rPr lang="en-US" sz="1100" dirty="0"/>
              <a:t>Defined five key focus areas for the company, which have now been adopted by the organization and have helped shape future strategy of the overall company.</a:t>
            </a:r>
          </a:p>
          <a:p>
            <a:pPr defTabSz="914229">
              <a:spcAft>
                <a:spcPts val="600"/>
              </a:spcAft>
              <a:defRPr/>
            </a:pPr>
            <a:r>
              <a:rPr lang="en-US" sz="1100" dirty="0"/>
              <a:t>Established new innovation function with three geographic  innovation “hubs” and a diverse team of innovators with backgrounds in design, behavioral economics and analytics capabilities and an entrepreneurial mindset.</a:t>
            </a:r>
          </a:p>
          <a:p>
            <a:pPr defTabSz="914229">
              <a:spcAft>
                <a:spcPts val="600"/>
              </a:spcAft>
              <a:defRPr/>
            </a:pPr>
            <a:r>
              <a:rPr lang="en-US" sz="1100" dirty="0"/>
              <a:t>Set up initial new product Accelerator and launched first set of “minimum viable products” within five months; second Accelerator now planned.</a:t>
            </a:r>
          </a:p>
          <a:p>
            <a:pPr>
              <a:lnSpc>
                <a:spcPct val="110000"/>
              </a:lnSpc>
              <a:spcAft>
                <a:spcPts val="600"/>
              </a:spcAft>
            </a:pPr>
            <a:endParaRPr lang="en-US" dirty="0"/>
          </a:p>
        </p:txBody>
      </p:sp>
      <p:sp>
        <p:nvSpPr>
          <p:cNvPr id="8" name="Oval 7">
            <a:extLst>
              <a:ext uri="{FF2B5EF4-FFF2-40B4-BE49-F238E27FC236}">
                <a16:creationId xmlns:a16="http://schemas.microsoft.com/office/drawing/2014/main" id="{85A317D2-D99E-4282-9E4C-3143E5EC5B98}"/>
              </a:ext>
            </a:extLst>
          </p:cNvPr>
          <p:cNvSpPr/>
          <p:nvPr/>
        </p:nvSpPr>
        <p:spPr>
          <a:xfrm>
            <a:off x="8613039" y="1012149"/>
            <a:ext cx="3853746" cy="3853746"/>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2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000000"/>
                </a:solidFill>
                <a:effectLst/>
                <a:uLnTx/>
                <a:uFillTx/>
                <a:ea typeface="+mn-ea"/>
                <a:cs typeface="Georgia"/>
              </a:rPr>
              <a:t>We need to accelerate our development of industry-leading offerings and experiences</a:t>
            </a:r>
          </a:p>
        </p:txBody>
      </p:sp>
      <p:pic>
        <p:nvPicPr>
          <p:cNvPr id="9" name="Picture 8" descr="photo 4[1].JPG">
            <a:extLst>
              <a:ext uri="{FF2B5EF4-FFF2-40B4-BE49-F238E27FC236}">
                <a16:creationId xmlns:a16="http://schemas.microsoft.com/office/drawing/2014/main" id="{B6A62FBA-6D22-4BE0-A1A2-223BD493BCA5}"/>
              </a:ext>
            </a:extLst>
          </p:cNvPr>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rot="10800000">
            <a:off x="7296137" y="3942269"/>
            <a:ext cx="3131612" cy="3131612"/>
          </a:xfrm>
          <a:prstGeom prst="ellipse">
            <a:avLst/>
          </a:prstGeom>
        </p:spPr>
      </p:pic>
      <p:pic>
        <p:nvPicPr>
          <p:cNvPr id="10" name="Picture 9" descr="Scan-Jul-15,-2014,-4_10-PM-1.jpg">
            <a:extLst>
              <a:ext uri="{FF2B5EF4-FFF2-40B4-BE49-F238E27FC236}">
                <a16:creationId xmlns:a16="http://schemas.microsoft.com/office/drawing/2014/main" id="{90611E1B-CD46-478B-B87C-32F67D1B6607}"/>
              </a:ext>
            </a:extLst>
          </p:cNvPr>
          <p:cNvPicPr>
            <a:picLocks noChangeAspect="1"/>
          </p:cNvPicPr>
          <p:nvPr/>
        </p:nvPicPr>
        <p:blipFill rotWithShape="1">
          <a:blip r:embed="rId9" cstate="screen">
            <a:extLst>
              <a:ext uri="{28A0092B-C50C-407E-A947-70E740481C1C}">
                <a14:useLocalDpi xmlns:a14="http://schemas.microsoft.com/office/drawing/2010/main" val="0"/>
              </a:ext>
            </a:extLst>
          </a:blip>
          <a:srcRect/>
          <a:stretch/>
        </p:blipFill>
        <p:spPr>
          <a:xfrm>
            <a:off x="9964536" y="4174901"/>
            <a:ext cx="2116574" cy="2116574"/>
          </a:xfrm>
          <a:prstGeom prst="ellipse">
            <a:avLst/>
          </a:prstGeom>
          <a:ln>
            <a:noFill/>
          </a:ln>
          <a:effectLst/>
        </p:spPr>
      </p:pic>
      <p:cxnSp>
        <p:nvCxnSpPr>
          <p:cNvPr id="11" name="Straight Connector 10">
            <a:extLst>
              <a:ext uri="{FF2B5EF4-FFF2-40B4-BE49-F238E27FC236}">
                <a16:creationId xmlns:a16="http://schemas.microsoft.com/office/drawing/2014/main" id="{08D2FCBE-346B-44D9-B074-CF028715D220}"/>
              </a:ext>
            </a:extLst>
          </p:cNvPr>
          <p:cNvCxnSpPr/>
          <p:nvPr/>
        </p:nvCxnSpPr>
        <p:spPr>
          <a:xfrm>
            <a:off x="864343" y="1815617"/>
            <a:ext cx="3249880" cy="0"/>
          </a:xfrm>
          <a:prstGeom prst="line">
            <a:avLst/>
          </a:prstGeom>
          <a:ln w="19050" cmpd="sng">
            <a:solidFill>
              <a:schemeClr val="accent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956DB059-63E4-402A-8C1C-2932966B7D32}"/>
              </a:ext>
            </a:extLst>
          </p:cNvPr>
          <p:cNvCxnSpPr/>
          <p:nvPr/>
        </p:nvCxnSpPr>
        <p:spPr>
          <a:xfrm flipV="1">
            <a:off x="4496320" y="1815617"/>
            <a:ext cx="2799817" cy="0"/>
          </a:xfrm>
          <a:prstGeom prst="line">
            <a:avLst/>
          </a:prstGeom>
          <a:ln w="19050" cmpd="sng">
            <a:solidFill>
              <a:schemeClr val="accent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5D4930E7-B62D-4706-92C3-5C329F321343}"/>
              </a:ext>
            </a:extLst>
          </p:cNvPr>
          <p:cNvCxnSpPr/>
          <p:nvPr/>
        </p:nvCxnSpPr>
        <p:spPr>
          <a:xfrm>
            <a:off x="864343" y="3896675"/>
            <a:ext cx="3249880" cy="0"/>
          </a:xfrm>
          <a:prstGeom prst="line">
            <a:avLst/>
          </a:prstGeom>
          <a:ln w="19050" cmpd="sng">
            <a:solidFill>
              <a:schemeClr val="accent1"/>
            </a:solidFill>
            <a:prstDash val="soli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76838058"/>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Object 45" hidden="1">
            <a:extLst>
              <a:ext uri="{FF2B5EF4-FFF2-40B4-BE49-F238E27FC236}">
                <a16:creationId xmlns:a16="http://schemas.microsoft.com/office/drawing/2014/main" id="{6C7741CA-EB94-49FC-A532-904048F17A5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9076" name="think-cell Slide" r:id="rId6" imgW="415" imgH="416" progId="TCLayout.ActiveDocument.1">
                  <p:embed/>
                </p:oleObj>
              </mc:Choice>
              <mc:Fallback>
                <p:oleObj name="think-cell Slide" r:id="rId6" imgW="415" imgH="416" progId="TCLayout.ActiveDocument.1">
                  <p:embed/>
                  <p:pic>
                    <p:nvPicPr>
                      <p:cNvPr id="46" name="Object 45" hidden="1">
                        <a:extLst>
                          <a:ext uri="{FF2B5EF4-FFF2-40B4-BE49-F238E27FC236}">
                            <a16:creationId xmlns:a16="http://schemas.microsoft.com/office/drawing/2014/main" id="{6C7741CA-EB94-49FC-A532-904048F17A5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5" name="Rectangle 44" hidden="1">
            <a:extLst>
              <a:ext uri="{FF2B5EF4-FFF2-40B4-BE49-F238E27FC236}">
                <a16:creationId xmlns:a16="http://schemas.microsoft.com/office/drawing/2014/main" id="{E38AFA0D-0C00-4407-A0BE-E7197AD9522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ea typeface="Verdana" panose="020B0604030504040204" pitchFamily="34" charset="0"/>
              <a:cs typeface="Verdana" panose="020B0604030504040204" pitchFamily="34" charset="0"/>
              <a:sym typeface="Chronicle Display Black" pitchFamily="50" charset="0"/>
            </a:endParaRPr>
          </a:p>
        </p:txBody>
      </p:sp>
      <p:sp>
        <p:nvSpPr>
          <p:cNvPr id="2" name="Title 1">
            <a:extLst>
              <a:ext uri="{FF2B5EF4-FFF2-40B4-BE49-F238E27FC236}">
                <a16:creationId xmlns:a16="http://schemas.microsoft.com/office/drawing/2014/main" id="{54A25788-BB4E-4F87-92B1-65DA9A02F7F6}"/>
              </a:ext>
            </a:extLst>
          </p:cNvPr>
          <p:cNvSpPr>
            <a:spLocks noGrp="1"/>
          </p:cNvSpPr>
          <p:nvPr>
            <p:ph type="title"/>
          </p:nvPr>
        </p:nvSpPr>
        <p:spPr/>
        <p:txBody>
          <a:bodyPr/>
          <a:lstStyle/>
          <a:p>
            <a:r>
              <a:rPr lang="en-US" dirty="0">
                <a:ea typeface="Verdana" panose="020B0604030504040204" pitchFamily="34" charset="0"/>
                <a:cs typeface="Verdana" panose="020B0604030504040204" pitchFamily="34" charset="0"/>
              </a:rPr>
              <a:t>Industry Leading Examples</a:t>
            </a:r>
            <a:endParaRPr lang="en-US" dirty="0"/>
          </a:p>
        </p:txBody>
      </p:sp>
      <p:sp>
        <p:nvSpPr>
          <p:cNvPr id="3" name="Text Placeholder 2">
            <a:extLst>
              <a:ext uri="{FF2B5EF4-FFF2-40B4-BE49-F238E27FC236}">
                <a16:creationId xmlns:a16="http://schemas.microsoft.com/office/drawing/2014/main" id="{C053C2A5-8D8D-43AA-AA34-D86DF893337C}"/>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7B82C5B4-12AF-41AD-90A7-3B5509013E61}"/>
              </a:ext>
            </a:extLst>
          </p:cNvPr>
          <p:cNvSpPr>
            <a:spLocks noGrp="1"/>
          </p:cNvSpPr>
          <p:nvPr>
            <p:ph type="body" sz="quarter" idx="15"/>
          </p:nvPr>
        </p:nvSpPr>
        <p:spPr>
          <a:xfrm>
            <a:off x="914971" y="466344"/>
            <a:ext cx="4296126" cy="228600"/>
          </a:xfrm>
        </p:spPr>
        <p:txBody>
          <a:bodyPr/>
          <a:lstStyle/>
          <a:p>
            <a:r>
              <a:rPr lang="en-US" dirty="0"/>
              <a:t>Case study &amp; </a:t>
            </a:r>
            <a:r>
              <a:rPr lang="en-US" dirty="0" err="1"/>
              <a:t>qual</a:t>
            </a:r>
            <a:endParaRPr lang="en-US" dirty="0"/>
          </a:p>
        </p:txBody>
      </p:sp>
      <p:sp>
        <p:nvSpPr>
          <p:cNvPr id="36" name="Rectangle 35">
            <a:extLst>
              <a:ext uri="{FF2B5EF4-FFF2-40B4-BE49-F238E27FC236}">
                <a16:creationId xmlns:a16="http://schemas.microsoft.com/office/drawing/2014/main" id="{BF0488BF-189B-4F03-92C8-6963BC59B929}"/>
              </a:ext>
            </a:extLst>
          </p:cNvPr>
          <p:cNvSpPr/>
          <p:nvPr/>
        </p:nvSpPr>
        <p:spPr>
          <a:xfrm>
            <a:off x="8295875" y="2087370"/>
            <a:ext cx="3072060" cy="424497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7" name="Picture 36">
            <a:extLst>
              <a:ext uri="{FF2B5EF4-FFF2-40B4-BE49-F238E27FC236}">
                <a16:creationId xmlns:a16="http://schemas.microsoft.com/office/drawing/2014/main" id="{C15F1454-F554-F746-B299-9DD21C8ACC5D}"/>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933201" y="2087370"/>
            <a:ext cx="3364992" cy="4227037"/>
          </a:xfrm>
          <a:prstGeom prst="rect">
            <a:avLst/>
          </a:prstGeom>
        </p:spPr>
      </p:pic>
      <p:sp>
        <p:nvSpPr>
          <p:cNvPr id="38" name="TextBox 37">
            <a:extLst>
              <a:ext uri="{FF2B5EF4-FFF2-40B4-BE49-F238E27FC236}">
                <a16:creationId xmlns:a16="http://schemas.microsoft.com/office/drawing/2014/main" id="{48A2C24B-7E74-BF46-9489-CDEEA2CAF933}"/>
              </a:ext>
            </a:extLst>
          </p:cNvPr>
          <p:cNvSpPr txBox="1"/>
          <p:nvPr/>
        </p:nvSpPr>
        <p:spPr>
          <a:xfrm>
            <a:off x="8382742" y="5578274"/>
            <a:ext cx="3072060" cy="707886"/>
          </a:xfrm>
          <a:prstGeom prst="rect">
            <a:avLst/>
          </a:prstGeom>
          <a:noFill/>
        </p:spPr>
        <p:txBody>
          <a:bodyPr wrap="square" rtlCol="0">
            <a:spAutoFit/>
          </a:bodyPr>
          <a:lstStyle/>
          <a:p>
            <a:pPr>
              <a:lnSpc>
                <a:spcPts val="1160"/>
              </a:lnSpc>
            </a:pPr>
            <a:r>
              <a:rPr lang="en-US" sz="1000" dirty="0">
                <a:solidFill>
                  <a:srgbClr val="2B2D32"/>
                </a:solidFill>
                <a:latin typeface="Open Sans" panose="020B0606030504020204" pitchFamily="34" charset="0"/>
                <a:ea typeface="Open Sans" panose="020B0606030504020204" pitchFamily="34" charset="0"/>
                <a:cs typeface="Open Sans" panose="020B0606030504020204" pitchFamily="34" charset="0"/>
              </a:rPr>
              <a:t>The digital app serves functional purposes for consumers both while they are in the store (payment)  and away from the store (advance order, account management, loyalty, etc.)</a:t>
            </a:r>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39" name="TextBox 38">
            <a:extLst>
              <a:ext uri="{FF2B5EF4-FFF2-40B4-BE49-F238E27FC236}">
                <a16:creationId xmlns:a16="http://schemas.microsoft.com/office/drawing/2014/main" id="{7B154615-419F-EA42-A671-C7D149ABCD8A}"/>
              </a:ext>
            </a:extLst>
          </p:cNvPr>
          <p:cNvSpPr txBox="1"/>
          <p:nvPr/>
        </p:nvSpPr>
        <p:spPr>
          <a:xfrm>
            <a:off x="1064742" y="5578274"/>
            <a:ext cx="3111128" cy="553998"/>
          </a:xfrm>
          <a:prstGeom prst="rect">
            <a:avLst/>
          </a:prstGeom>
          <a:noFill/>
        </p:spPr>
        <p:txBody>
          <a:bodyPr wrap="square" rtlCol="0">
            <a:spAutoFit/>
          </a:bodyPr>
          <a:lstStyle/>
          <a:p>
            <a:pPr>
              <a:lnSpc>
                <a:spcPts val="1160"/>
              </a:lnSpc>
            </a:pPr>
            <a:r>
              <a:rPr lang="en-US" sz="1000" dirty="0">
                <a:solidFill>
                  <a:srgbClr val="2B2D32"/>
                </a:solidFill>
                <a:latin typeface="Open Sans" panose="020B0606030504020204" pitchFamily="34" charset="0"/>
                <a:ea typeface="Open Sans" panose="020B0606030504020204" pitchFamily="34" charset="0"/>
                <a:cs typeface="Open Sans" panose="020B0606030504020204" pitchFamily="34" charset="0"/>
              </a:rPr>
              <a:t>Users can schedule an in-store appointment and save cart online and continue to review at any T-Mobile store. </a:t>
            </a:r>
          </a:p>
        </p:txBody>
      </p:sp>
      <p:sp>
        <p:nvSpPr>
          <p:cNvPr id="40" name="Title 1">
            <a:extLst>
              <a:ext uri="{FF2B5EF4-FFF2-40B4-BE49-F238E27FC236}">
                <a16:creationId xmlns:a16="http://schemas.microsoft.com/office/drawing/2014/main" id="{931B5B68-554B-EE4F-8E28-4F70B2B5C996}"/>
              </a:ext>
            </a:extLst>
          </p:cNvPr>
          <p:cNvSpPr txBox="1">
            <a:spLocks/>
          </p:cNvSpPr>
          <p:nvPr/>
        </p:nvSpPr>
        <p:spPr>
          <a:xfrm>
            <a:off x="900701" y="1680360"/>
            <a:ext cx="3560858" cy="309306"/>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r>
              <a:rPr lang="en-US" sz="1600" b="1" dirty="0">
                <a:latin typeface="Open Sans" panose="020B0606030504020204" pitchFamily="34" charset="0"/>
                <a:ea typeface="Open Sans" panose="020B0606030504020204" pitchFamily="34" charset="0"/>
                <a:cs typeface="Open Sans" panose="020B0606030504020204" pitchFamily="34" charset="0"/>
              </a:rPr>
              <a:t>Seamless</a:t>
            </a:r>
          </a:p>
        </p:txBody>
      </p:sp>
      <p:sp>
        <p:nvSpPr>
          <p:cNvPr id="41" name="Title 1">
            <a:extLst>
              <a:ext uri="{FF2B5EF4-FFF2-40B4-BE49-F238E27FC236}">
                <a16:creationId xmlns:a16="http://schemas.microsoft.com/office/drawing/2014/main" id="{372C6AF1-C9D2-2E4C-87DD-A243044EFACC}"/>
              </a:ext>
            </a:extLst>
          </p:cNvPr>
          <p:cNvSpPr txBox="1">
            <a:spLocks/>
          </p:cNvSpPr>
          <p:nvPr/>
        </p:nvSpPr>
        <p:spPr>
          <a:xfrm>
            <a:off x="4603920" y="1680360"/>
            <a:ext cx="2817749" cy="309306"/>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r>
              <a:rPr lang="en-US" sz="1600" b="1" dirty="0">
                <a:latin typeface="Open Sans" panose="020B0606030504020204" pitchFamily="34" charset="0"/>
                <a:ea typeface="Open Sans" panose="020B0606030504020204" pitchFamily="34" charset="0"/>
                <a:cs typeface="Open Sans" panose="020B0606030504020204" pitchFamily="34" charset="0"/>
              </a:rPr>
              <a:t>Consistent</a:t>
            </a:r>
          </a:p>
        </p:txBody>
      </p:sp>
      <p:sp>
        <p:nvSpPr>
          <p:cNvPr id="42" name="Title 1">
            <a:extLst>
              <a:ext uri="{FF2B5EF4-FFF2-40B4-BE49-F238E27FC236}">
                <a16:creationId xmlns:a16="http://schemas.microsoft.com/office/drawing/2014/main" id="{62725F98-14D9-7947-B7A1-C47C67BFA5B9}"/>
              </a:ext>
            </a:extLst>
          </p:cNvPr>
          <p:cNvSpPr txBox="1">
            <a:spLocks/>
          </p:cNvSpPr>
          <p:nvPr/>
        </p:nvSpPr>
        <p:spPr>
          <a:xfrm>
            <a:off x="8274639" y="1691890"/>
            <a:ext cx="3448247" cy="309306"/>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r>
              <a:rPr lang="en-US" sz="1600" b="1" dirty="0">
                <a:latin typeface="Open Sans" panose="020B0606030504020204" pitchFamily="34" charset="0"/>
                <a:ea typeface="Open Sans" panose="020B0606030504020204" pitchFamily="34" charset="0"/>
                <a:cs typeface="Open Sans" panose="020B0606030504020204" pitchFamily="34" charset="0"/>
              </a:rPr>
              <a:t>Mutually Reinforcing</a:t>
            </a:r>
          </a:p>
        </p:txBody>
      </p:sp>
      <p:sp>
        <p:nvSpPr>
          <p:cNvPr id="43" name="Rectangle 42">
            <a:extLst>
              <a:ext uri="{FF2B5EF4-FFF2-40B4-BE49-F238E27FC236}">
                <a16:creationId xmlns:a16="http://schemas.microsoft.com/office/drawing/2014/main" id="{05EEF211-A24C-4FED-9589-91BFD11DDE4E}"/>
              </a:ext>
            </a:extLst>
          </p:cNvPr>
          <p:cNvSpPr/>
          <p:nvPr/>
        </p:nvSpPr>
        <p:spPr>
          <a:xfrm>
            <a:off x="4603920" y="2087370"/>
            <a:ext cx="3364992" cy="424497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4" name="Picture 2" descr="Image result for bonobos store">
            <a:extLst>
              <a:ext uri="{FF2B5EF4-FFF2-40B4-BE49-F238E27FC236}">
                <a16:creationId xmlns:a16="http://schemas.microsoft.com/office/drawing/2014/main" id="{CDF902C7-090D-45CF-97F0-4B713D20F6A0}"/>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flipH="1">
            <a:off x="5014006" y="3133251"/>
            <a:ext cx="2544819" cy="1978469"/>
          </a:xfrm>
          <a:prstGeom prst="rect">
            <a:avLst/>
          </a:prstGeom>
          <a:noFill/>
          <a:extLst>
            <a:ext uri="{909E8E84-426E-40DD-AFC4-6F175D3DCCD1}">
              <a14:hiddenFill xmlns:a14="http://schemas.microsoft.com/office/drawing/2010/main">
                <a:solidFill>
                  <a:srgbClr val="FFFFFF"/>
                </a:solidFill>
              </a14:hiddenFill>
            </a:ext>
          </a:extLst>
        </p:spPr>
      </p:pic>
      <p:sp>
        <p:nvSpPr>
          <p:cNvPr id="47" name="TextBox 46">
            <a:extLst>
              <a:ext uri="{FF2B5EF4-FFF2-40B4-BE49-F238E27FC236}">
                <a16:creationId xmlns:a16="http://schemas.microsoft.com/office/drawing/2014/main" id="{88A4EC77-0DDB-2442-84AD-CA2CFF3E8349}"/>
              </a:ext>
            </a:extLst>
          </p:cNvPr>
          <p:cNvSpPr txBox="1"/>
          <p:nvPr/>
        </p:nvSpPr>
        <p:spPr>
          <a:xfrm>
            <a:off x="4663426" y="5578274"/>
            <a:ext cx="3055806" cy="553998"/>
          </a:xfrm>
          <a:prstGeom prst="rect">
            <a:avLst/>
          </a:prstGeom>
          <a:noFill/>
        </p:spPr>
        <p:txBody>
          <a:bodyPr wrap="square" rtlCol="0">
            <a:spAutoFit/>
          </a:bodyPr>
          <a:lstStyle/>
          <a:p>
            <a:pPr>
              <a:lnSpc>
                <a:spcPts val="1160"/>
              </a:lnSpc>
            </a:pPr>
            <a:r>
              <a:rPr lang="en-US" sz="1000" dirty="0">
                <a:solidFill>
                  <a:srgbClr val="2B2D32"/>
                </a:solidFill>
                <a:latin typeface="Open Sans" panose="020B0606030504020204" pitchFamily="34" charset="0"/>
                <a:ea typeface="Open Sans" panose="020B0606030504020204" pitchFamily="34" charset="0"/>
                <a:cs typeface="Open Sans" panose="020B0606030504020204" pitchFamily="34" charset="0"/>
              </a:rPr>
              <a:t>The physical store and digital assets look and feel the same, with identical assortment, styling, pricing, and tone across all touchpoints</a:t>
            </a:r>
          </a:p>
        </p:txBody>
      </p:sp>
      <p:pic>
        <p:nvPicPr>
          <p:cNvPr id="48" name="4F6BD958-8310-46AA-AD1B-DCC687F53258" descr="4F6BD958-8310-46AA-AD1B-DCC687F53258">
            <a:extLst>
              <a:ext uri="{FF2B5EF4-FFF2-40B4-BE49-F238E27FC236}">
                <a16:creationId xmlns:a16="http://schemas.microsoft.com/office/drawing/2014/main" id="{78F9D4F3-674E-4A4B-BE63-FE3B9CAE9977}"/>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930883" y="4001873"/>
            <a:ext cx="678410" cy="147873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53" name="Picture 5" descr="Image result for bonobos logo">
            <a:extLst>
              <a:ext uri="{FF2B5EF4-FFF2-40B4-BE49-F238E27FC236}">
                <a16:creationId xmlns:a16="http://schemas.microsoft.com/office/drawing/2014/main" id="{ECD034F6-A819-43CA-8C44-E34784218D05}"/>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477100" y="2452431"/>
            <a:ext cx="1237801" cy="173743"/>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9" descr="Related image">
            <a:extLst>
              <a:ext uri="{FF2B5EF4-FFF2-40B4-BE49-F238E27FC236}">
                <a16:creationId xmlns:a16="http://schemas.microsoft.com/office/drawing/2014/main" id="{C2675FFF-3A2D-4985-A8A1-68F0D4187465}"/>
              </a:ext>
            </a:extLst>
          </p:cNvPr>
          <p:cNvPicPr>
            <a:picLocks noChangeAspect="1" noChangeArrowheads="1"/>
          </p:cNvPicPr>
          <p:nvPr/>
        </p:nvPicPr>
        <p:blipFill>
          <a:blip r:embed="rId12" cstate="hqprint">
            <a:extLst>
              <a:ext uri="{28A0092B-C50C-407E-A947-70E740481C1C}">
                <a14:useLocalDpi xmlns:a14="http://schemas.microsoft.com/office/drawing/2010/main" val="0"/>
              </a:ext>
            </a:extLst>
          </a:blip>
          <a:srcRect/>
          <a:stretch>
            <a:fillRect/>
          </a:stretch>
        </p:blipFill>
        <p:spPr bwMode="auto">
          <a:xfrm>
            <a:off x="8619364" y="3133251"/>
            <a:ext cx="2507894" cy="1978469"/>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7" descr="Related image">
            <a:extLst>
              <a:ext uri="{FF2B5EF4-FFF2-40B4-BE49-F238E27FC236}">
                <a16:creationId xmlns:a16="http://schemas.microsoft.com/office/drawing/2014/main" id="{5EF744EE-B1F5-459F-BBD7-D7FEE78E5227}"/>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447631" y="4001873"/>
            <a:ext cx="788622" cy="1543164"/>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11" descr="Image result for starbucks logo">
            <a:extLst>
              <a:ext uri="{FF2B5EF4-FFF2-40B4-BE49-F238E27FC236}">
                <a16:creationId xmlns:a16="http://schemas.microsoft.com/office/drawing/2014/main" id="{2ACDBEBD-7E3A-4C62-BC8F-832EA9DDD53A}"/>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9512335" y="2300308"/>
            <a:ext cx="632965" cy="6329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3023373"/>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Object 45" hidden="1">
            <a:extLst>
              <a:ext uri="{FF2B5EF4-FFF2-40B4-BE49-F238E27FC236}">
                <a16:creationId xmlns:a16="http://schemas.microsoft.com/office/drawing/2014/main" id="{6C7741CA-EB94-49FC-A532-904048F17A5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0100" name="think-cell Slide" r:id="rId6" imgW="415" imgH="416" progId="TCLayout.ActiveDocument.1">
                  <p:embed/>
                </p:oleObj>
              </mc:Choice>
              <mc:Fallback>
                <p:oleObj name="think-cell Slide" r:id="rId6" imgW="415" imgH="416" progId="TCLayout.ActiveDocument.1">
                  <p:embed/>
                  <p:pic>
                    <p:nvPicPr>
                      <p:cNvPr id="46" name="Object 45" hidden="1">
                        <a:extLst>
                          <a:ext uri="{FF2B5EF4-FFF2-40B4-BE49-F238E27FC236}">
                            <a16:creationId xmlns:a16="http://schemas.microsoft.com/office/drawing/2014/main" id="{6C7741CA-EB94-49FC-A532-904048F17A5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5" name="Rectangle 44" hidden="1">
            <a:extLst>
              <a:ext uri="{FF2B5EF4-FFF2-40B4-BE49-F238E27FC236}">
                <a16:creationId xmlns:a16="http://schemas.microsoft.com/office/drawing/2014/main" id="{E38AFA0D-0C00-4407-A0BE-E7197AD9522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ea typeface="Verdana" panose="020B0604030504040204" pitchFamily="34" charset="0"/>
              <a:cs typeface="Verdana" panose="020B0604030504040204" pitchFamily="34" charset="0"/>
              <a:sym typeface="Chronicle Display Black" pitchFamily="50" charset="0"/>
            </a:endParaRPr>
          </a:p>
        </p:txBody>
      </p:sp>
      <p:pic>
        <p:nvPicPr>
          <p:cNvPr id="25" name="Picture 24">
            <a:extLst>
              <a:ext uri="{FF2B5EF4-FFF2-40B4-BE49-F238E27FC236}">
                <a16:creationId xmlns:a16="http://schemas.microsoft.com/office/drawing/2014/main" id="{047EC3AF-4FFC-490A-B140-A279A234DD79}"/>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26" name="Rectangle 25">
            <a:extLst>
              <a:ext uri="{FF2B5EF4-FFF2-40B4-BE49-F238E27FC236}">
                <a16:creationId xmlns:a16="http://schemas.microsoft.com/office/drawing/2014/main" id="{D0FAD4A3-B73C-471D-8BF7-AE031A371A73}"/>
              </a:ext>
            </a:extLst>
          </p:cNvPr>
          <p:cNvSpPr/>
          <p:nvPr/>
        </p:nvSpPr>
        <p:spPr>
          <a:xfrm>
            <a:off x="1" y="0"/>
            <a:ext cx="4440244" cy="6858000"/>
          </a:xfrm>
          <a:prstGeom prst="rect">
            <a:avLst/>
          </a:prstGeom>
          <a:solidFill>
            <a:srgbClr val="FFFFFF">
              <a:alpha val="80000"/>
            </a:srgbClr>
          </a:solidFill>
        </p:spPr>
        <p:txBody>
          <a:bodyPr wrap="square" rtlCol="0" anchor="t">
            <a:noAutofit/>
          </a:bodyPr>
          <a:lstStyle/>
          <a:p>
            <a:pPr algn="l">
              <a:spcAft>
                <a:spcPts val="600"/>
              </a:spcAft>
            </a:pPr>
            <a:endParaRPr lang="en-US" b="1" dirty="0">
              <a:latin typeface="Open Sans" panose="020B0606030504020204" pitchFamily="34" charset="0"/>
            </a:endParaRPr>
          </a:p>
          <a:p>
            <a:pPr algn="l">
              <a:spcAft>
                <a:spcPts val="600"/>
              </a:spcAft>
            </a:pPr>
            <a:endParaRPr lang="en-US" b="1" dirty="0">
              <a:latin typeface="Open Sans" panose="020B0606030504020204" pitchFamily="34" charset="0"/>
            </a:endParaRPr>
          </a:p>
          <a:p>
            <a:pPr algn="l">
              <a:spcAft>
                <a:spcPts val="600"/>
              </a:spcAft>
            </a:pPr>
            <a:r>
              <a:rPr lang="en-US" b="1" dirty="0">
                <a:latin typeface="Open Sans" panose="020B0606030504020204" pitchFamily="34" charset="0"/>
              </a:rPr>
              <a:t>The Challenge</a:t>
            </a:r>
          </a:p>
          <a:p>
            <a:pPr marL="285750" indent="-285750" algn="l">
              <a:spcAft>
                <a:spcPts val="600"/>
              </a:spcAft>
              <a:buFont typeface="Arial" panose="020B0604020202020204" pitchFamily="34" charset="0"/>
              <a:buChar char="•"/>
            </a:pPr>
            <a:r>
              <a:rPr lang="en-US" sz="1200" dirty="0">
                <a:latin typeface="Open Sans" panose="020B0606030504020204" pitchFamily="34" charset="0"/>
              </a:rPr>
              <a:t>Facing increased competition from new competitors</a:t>
            </a:r>
          </a:p>
          <a:p>
            <a:pPr marL="285750" indent="-285750" algn="l">
              <a:spcAft>
                <a:spcPts val="600"/>
              </a:spcAft>
              <a:buFont typeface="Arial" panose="020B0604020202020204" pitchFamily="34" charset="0"/>
              <a:buChar char="•"/>
            </a:pPr>
            <a:r>
              <a:rPr lang="en-US" sz="1200" dirty="0">
                <a:latin typeface="Open Sans" panose="020B0606030504020204" pitchFamily="34" charset="0"/>
              </a:rPr>
              <a:t>Lagging peers in eCommerce</a:t>
            </a:r>
          </a:p>
          <a:p>
            <a:pPr marL="285750" indent="-285750" algn="l">
              <a:spcAft>
                <a:spcPts val="600"/>
              </a:spcAft>
              <a:buFont typeface="Arial" panose="020B0604020202020204" pitchFamily="34" charset="0"/>
              <a:buChar char="•"/>
            </a:pPr>
            <a:r>
              <a:rPr lang="en-US" sz="1200" dirty="0">
                <a:latin typeface="Open Sans" panose="020B0606030504020204" pitchFamily="34" charset="0"/>
              </a:rPr>
              <a:t>No unified strategy for how to grow was creating internal turmoil</a:t>
            </a:r>
            <a:endParaRPr lang="en-US" sz="900" dirty="0">
              <a:latin typeface="Open Sans" panose="020B0606030504020204" pitchFamily="34" charset="0"/>
            </a:endParaRPr>
          </a:p>
          <a:p>
            <a:pPr>
              <a:spcAft>
                <a:spcPts val="600"/>
              </a:spcAft>
            </a:pPr>
            <a:endParaRPr lang="en-US" sz="400" b="1" dirty="0">
              <a:latin typeface="Open Sans" panose="020B0606030504020204" pitchFamily="34" charset="0"/>
            </a:endParaRPr>
          </a:p>
          <a:p>
            <a:pPr>
              <a:spcAft>
                <a:spcPts val="600"/>
              </a:spcAft>
            </a:pPr>
            <a:r>
              <a:rPr lang="en-US" b="1" dirty="0">
                <a:latin typeface="Open Sans" panose="020B0606030504020204" pitchFamily="34" charset="0"/>
              </a:rPr>
              <a:t>Winning Plays</a:t>
            </a:r>
          </a:p>
          <a:p>
            <a:pPr>
              <a:spcAft>
                <a:spcPts val="600"/>
              </a:spcAft>
            </a:pPr>
            <a:endParaRPr lang="en-US" b="1" dirty="0">
              <a:latin typeface="Open Sans" panose="020B0606030504020204" pitchFamily="34" charset="0"/>
            </a:endParaRPr>
          </a:p>
          <a:p>
            <a:pPr>
              <a:spcAft>
                <a:spcPts val="600"/>
              </a:spcAft>
            </a:pPr>
            <a:endParaRPr lang="en-US" b="1" dirty="0">
              <a:latin typeface="Open Sans" panose="020B0606030504020204" pitchFamily="34" charset="0"/>
            </a:endParaRPr>
          </a:p>
          <a:p>
            <a:pPr>
              <a:spcAft>
                <a:spcPts val="600"/>
              </a:spcAft>
            </a:pPr>
            <a:endParaRPr lang="en-US" b="1" dirty="0">
              <a:latin typeface="Open Sans" panose="020B0606030504020204" pitchFamily="34" charset="0"/>
            </a:endParaRPr>
          </a:p>
          <a:p>
            <a:pPr>
              <a:spcAft>
                <a:spcPts val="600"/>
              </a:spcAft>
            </a:pPr>
            <a:endParaRPr lang="en-US" b="1" dirty="0">
              <a:latin typeface="Open Sans" panose="020B0606030504020204" pitchFamily="34" charset="0"/>
            </a:endParaRPr>
          </a:p>
          <a:p>
            <a:pPr>
              <a:spcAft>
                <a:spcPts val="600"/>
              </a:spcAft>
            </a:pPr>
            <a:endParaRPr lang="en-US" b="1" dirty="0">
              <a:latin typeface="Open Sans" panose="020B0606030504020204" pitchFamily="34" charset="0"/>
            </a:endParaRPr>
          </a:p>
          <a:p>
            <a:pPr>
              <a:spcAft>
                <a:spcPts val="600"/>
              </a:spcAft>
            </a:pPr>
            <a:endParaRPr lang="en-US" sz="400" b="1" dirty="0">
              <a:latin typeface="Open Sans" panose="020B0606030504020204" pitchFamily="34" charset="0"/>
            </a:endParaRPr>
          </a:p>
          <a:p>
            <a:pPr>
              <a:spcAft>
                <a:spcPts val="600"/>
              </a:spcAft>
            </a:pPr>
            <a:r>
              <a:rPr lang="en-US" b="1" dirty="0">
                <a:latin typeface="Open Sans" panose="020B0606030504020204" pitchFamily="34" charset="0"/>
              </a:rPr>
              <a:t>The Payoff</a:t>
            </a:r>
          </a:p>
          <a:p>
            <a:pPr marL="285750" indent="-285750">
              <a:spcAft>
                <a:spcPts val="600"/>
              </a:spcAft>
              <a:buFont typeface="Arial" panose="020B0604020202020204" pitchFamily="34" charset="0"/>
              <a:buChar char="•"/>
            </a:pPr>
            <a:r>
              <a:rPr lang="en-US" sz="1200" dirty="0">
                <a:latin typeface="Open Sans" panose="020B0606030504020204" pitchFamily="34" charset="0"/>
              </a:rPr>
              <a:t>eCommerce revenues have grown from €500M in 2017 to a projected </a:t>
            </a:r>
            <a:r>
              <a:rPr lang="en-US" sz="1200" b="1" dirty="0">
                <a:latin typeface="Open Sans" panose="020B0606030504020204" pitchFamily="34" charset="0"/>
              </a:rPr>
              <a:t>€4B by 2020</a:t>
            </a:r>
          </a:p>
          <a:p>
            <a:pPr marL="285750" indent="-285750">
              <a:spcAft>
                <a:spcPts val="600"/>
              </a:spcAft>
              <a:buFont typeface="Arial" panose="020B0604020202020204" pitchFamily="34" charset="0"/>
              <a:buChar char="•"/>
            </a:pPr>
            <a:r>
              <a:rPr lang="en-US" sz="1200" dirty="0">
                <a:latin typeface="Open Sans" panose="020B0606030504020204" pitchFamily="34" charset="0"/>
              </a:rPr>
              <a:t>Drastically increased share in North America</a:t>
            </a:r>
          </a:p>
          <a:p>
            <a:pPr marL="285750" indent="-285750">
              <a:spcAft>
                <a:spcPts val="600"/>
              </a:spcAft>
              <a:buFont typeface="Arial" panose="020B0604020202020204" pitchFamily="34" charset="0"/>
              <a:buChar char="•"/>
            </a:pPr>
            <a:r>
              <a:rPr lang="en-US" sz="1200" dirty="0">
                <a:latin typeface="Open Sans" panose="020B0606030504020204" pitchFamily="34" charset="0"/>
              </a:rPr>
              <a:t>Launched a portfolio of apps that are interconnected and provide a consistent consumer-first experience across brick &amp; mortar, online and mobile</a:t>
            </a:r>
          </a:p>
          <a:p>
            <a:pPr>
              <a:spcAft>
                <a:spcPts val="600"/>
              </a:spcAft>
            </a:pPr>
            <a:endParaRPr lang="en-US" b="1" dirty="0">
              <a:latin typeface="Open Sans" panose="020B0606030504020204" pitchFamily="34" charset="0"/>
            </a:endParaRPr>
          </a:p>
          <a:p>
            <a:pPr marL="285750" indent="-285750" algn="l">
              <a:spcAft>
                <a:spcPts val="600"/>
              </a:spcAft>
              <a:buFont typeface="Arial" panose="020B0604020202020204" pitchFamily="34" charset="0"/>
              <a:buChar char="•"/>
            </a:pPr>
            <a:endParaRPr lang="en-US" b="1" dirty="0">
              <a:latin typeface="Open Sans" panose="020B0606030504020204" pitchFamily="34" charset="0"/>
            </a:endParaRPr>
          </a:p>
          <a:p>
            <a:pPr algn="l">
              <a:spcAft>
                <a:spcPts val="600"/>
              </a:spcAft>
            </a:pPr>
            <a:endParaRPr lang="en-US" b="1" dirty="0">
              <a:latin typeface="Open Sans" panose="020B0606030504020204" pitchFamily="34" charset="0"/>
            </a:endParaRPr>
          </a:p>
        </p:txBody>
      </p:sp>
      <p:sp>
        <p:nvSpPr>
          <p:cNvPr id="27" name="Arrow: Pentagon 65">
            <a:extLst>
              <a:ext uri="{FF2B5EF4-FFF2-40B4-BE49-F238E27FC236}">
                <a16:creationId xmlns:a16="http://schemas.microsoft.com/office/drawing/2014/main" id="{D996C9D2-C71C-4DEE-936D-2DF9685945D8}"/>
              </a:ext>
            </a:extLst>
          </p:cNvPr>
          <p:cNvSpPr/>
          <p:nvPr/>
        </p:nvSpPr>
        <p:spPr>
          <a:xfrm>
            <a:off x="0" y="2575227"/>
            <a:ext cx="3922776" cy="320040"/>
          </a:xfrm>
          <a:prstGeom prst="homePlate">
            <a:avLst/>
          </a:prstGeom>
          <a:solidFill>
            <a:schemeClr val="accent4">
              <a:lumMod val="40000"/>
              <a:lumOff val="60000"/>
            </a:schemeClr>
          </a:solidFill>
        </p:spPr>
        <p:txBody>
          <a:bodyPr wrap="square" rtlCol="0" anchor="ctr">
            <a:noAutofit/>
          </a:bodyPr>
          <a:lstStyle/>
          <a:p>
            <a:pPr algn="l"/>
            <a:r>
              <a:rPr lang="en-US" sz="1200" b="1" dirty="0">
                <a:latin typeface="Open Sans" panose="020B0606030504020204" pitchFamily="34" charset="0"/>
              </a:rPr>
              <a:t>ALIGNED AMBITION &amp; STRATEGIC CHOICES</a:t>
            </a:r>
          </a:p>
        </p:txBody>
      </p:sp>
      <p:sp>
        <p:nvSpPr>
          <p:cNvPr id="28" name="Arrow: Pentagon 67">
            <a:extLst>
              <a:ext uri="{FF2B5EF4-FFF2-40B4-BE49-F238E27FC236}">
                <a16:creationId xmlns:a16="http://schemas.microsoft.com/office/drawing/2014/main" id="{B75FF8D6-E02E-4A38-AE6A-1AE66E8659BA}"/>
              </a:ext>
            </a:extLst>
          </p:cNvPr>
          <p:cNvSpPr/>
          <p:nvPr/>
        </p:nvSpPr>
        <p:spPr>
          <a:xfrm>
            <a:off x="0" y="2941606"/>
            <a:ext cx="3922776" cy="320040"/>
          </a:xfrm>
          <a:prstGeom prst="homePlate">
            <a:avLst/>
          </a:prstGeom>
          <a:solidFill>
            <a:schemeClr val="accent4">
              <a:lumMod val="40000"/>
              <a:lumOff val="60000"/>
            </a:schemeClr>
          </a:solidFill>
        </p:spPr>
        <p:txBody>
          <a:bodyPr wrap="square" rtlCol="0" anchor="ctr">
            <a:noAutofit/>
          </a:bodyPr>
          <a:lstStyle/>
          <a:p>
            <a:pPr algn="l"/>
            <a:r>
              <a:rPr lang="en-US" sz="1200" b="1" dirty="0">
                <a:latin typeface="Open Sans" panose="020B0606030504020204" pitchFamily="34" charset="0"/>
              </a:rPr>
              <a:t>ENHANCED PREMIUM SITE EXPERIENCE</a:t>
            </a:r>
          </a:p>
        </p:txBody>
      </p:sp>
      <p:sp>
        <p:nvSpPr>
          <p:cNvPr id="29" name="Arrow: Pentagon 68">
            <a:extLst>
              <a:ext uri="{FF2B5EF4-FFF2-40B4-BE49-F238E27FC236}">
                <a16:creationId xmlns:a16="http://schemas.microsoft.com/office/drawing/2014/main" id="{B853A177-3900-4491-8647-1884E8B5E548}"/>
              </a:ext>
            </a:extLst>
          </p:cNvPr>
          <p:cNvSpPr/>
          <p:nvPr/>
        </p:nvSpPr>
        <p:spPr>
          <a:xfrm>
            <a:off x="0" y="3307985"/>
            <a:ext cx="3922776" cy="320040"/>
          </a:xfrm>
          <a:prstGeom prst="homePlate">
            <a:avLst/>
          </a:prstGeom>
          <a:solidFill>
            <a:schemeClr val="accent4">
              <a:lumMod val="40000"/>
              <a:lumOff val="60000"/>
            </a:schemeClr>
          </a:solidFill>
        </p:spPr>
        <p:txBody>
          <a:bodyPr wrap="square" rtlCol="0" anchor="ctr">
            <a:noAutofit/>
          </a:bodyPr>
          <a:lstStyle/>
          <a:p>
            <a:pPr algn="l"/>
            <a:r>
              <a:rPr lang="en-US" sz="1200" b="1" dirty="0">
                <a:latin typeface="Open Sans" panose="020B0606030504020204" pitchFamily="34" charset="0"/>
              </a:rPr>
              <a:t>DEFINED CHANNEL STRATEGY</a:t>
            </a:r>
          </a:p>
        </p:txBody>
      </p:sp>
      <p:sp>
        <p:nvSpPr>
          <p:cNvPr id="30" name="Arrow: Pentagon 69">
            <a:extLst>
              <a:ext uri="{FF2B5EF4-FFF2-40B4-BE49-F238E27FC236}">
                <a16:creationId xmlns:a16="http://schemas.microsoft.com/office/drawing/2014/main" id="{8FFE45CB-45E9-4EFC-BF16-C14B19C99673}"/>
              </a:ext>
            </a:extLst>
          </p:cNvPr>
          <p:cNvSpPr/>
          <p:nvPr/>
        </p:nvSpPr>
        <p:spPr>
          <a:xfrm>
            <a:off x="0" y="3674364"/>
            <a:ext cx="3922776" cy="320040"/>
          </a:xfrm>
          <a:prstGeom prst="homePlate">
            <a:avLst/>
          </a:prstGeom>
          <a:solidFill>
            <a:schemeClr val="accent4">
              <a:lumMod val="40000"/>
              <a:lumOff val="60000"/>
            </a:schemeClr>
          </a:solidFill>
        </p:spPr>
        <p:txBody>
          <a:bodyPr wrap="square" rtlCol="0" anchor="ctr">
            <a:noAutofit/>
          </a:bodyPr>
          <a:lstStyle/>
          <a:p>
            <a:pPr algn="l"/>
            <a:r>
              <a:rPr lang="en-US" sz="1200" b="1" dirty="0">
                <a:latin typeface="Open Sans" panose="020B0606030504020204" pitchFamily="34" charset="0"/>
              </a:rPr>
              <a:t>RECONFIGURED OPERATING MODEL</a:t>
            </a:r>
          </a:p>
        </p:txBody>
      </p:sp>
      <p:sp>
        <p:nvSpPr>
          <p:cNvPr id="31" name="Arrow: Pentagon 70">
            <a:extLst>
              <a:ext uri="{FF2B5EF4-FFF2-40B4-BE49-F238E27FC236}">
                <a16:creationId xmlns:a16="http://schemas.microsoft.com/office/drawing/2014/main" id="{24423CA2-6AB4-4B8B-B199-91B8D56AF46A}"/>
              </a:ext>
            </a:extLst>
          </p:cNvPr>
          <p:cNvSpPr/>
          <p:nvPr/>
        </p:nvSpPr>
        <p:spPr>
          <a:xfrm>
            <a:off x="0" y="4040741"/>
            <a:ext cx="3922776" cy="320040"/>
          </a:xfrm>
          <a:prstGeom prst="homePlate">
            <a:avLst/>
          </a:prstGeom>
          <a:solidFill>
            <a:schemeClr val="accent4">
              <a:lumMod val="40000"/>
              <a:lumOff val="60000"/>
            </a:schemeClr>
          </a:solidFill>
        </p:spPr>
        <p:txBody>
          <a:bodyPr wrap="square" rtlCol="0" anchor="ctr">
            <a:noAutofit/>
          </a:bodyPr>
          <a:lstStyle/>
          <a:p>
            <a:pPr algn="l"/>
            <a:r>
              <a:rPr lang="en-US" sz="1200" b="1" dirty="0">
                <a:latin typeface="Open Sans" panose="020B0606030504020204" pitchFamily="34" charset="0"/>
              </a:rPr>
              <a:t>MAJOR UPGRADES IN SUPPLY CHAIN / LOGISTICS</a:t>
            </a:r>
          </a:p>
        </p:txBody>
      </p:sp>
    </p:spTree>
    <p:extLst>
      <p:ext uri="{BB962C8B-B14F-4D97-AF65-F5344CB8AC3E}">
        <p14:creationId xmlns:p14="http://schemas.microsoft.com/office/powerpoint/2010/main" val="905298788"/>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19D700C-69FE-420F-9F49-254352708489}"/>
              </a:ext>
            </a:extLst>
          </p:cNvPr>
          <p:cNvSpPr>
            <a:spLocks noGrp="1"/>
          </p:cNvSpPr>
          <p:nvPr>
            <p:ph type="body" sz="quarter" idx="10"/>
          </p:nvPr>
        </p:nvSpPr>
        <p:spPr>
          <a:xfrm>
            <a:off x="952501" y="1206500"/>
            <a:ext cx="6340666" cy="2257425"/>
          </a:xfrm>
        </p:spPr>
        <p:txBody>
          <a:bodyPr/>
          <a:lstStyle/>
          <a:p>
            <a:r>
              <a:rPr lang="en-US" dirty="0"/>
              <a:t>Organization Structure &amp; Bios</a:t>
            </a:r>
          </a:p>
        </p:txBody>
      </p:sp>
      <p:grpSp>
        <p:nvGrpSpPr>
          <p:cNvPr id="3" name="Group 2">
            <a:extLst>
              <a:ext uri="{FF2B5EF4-FFF2-40B4-BE49-F238E27FC236}">
                <a16:creationId xmlns:a16="http://schemas.microsoft.com/office/drawing/2014/main" id="{934EFB89-AF97-404C-9350-8779F80824E4}"/>
              </a:ext>
            </a:extLst>
          </p:cNvPr>
          <p:cNvGrpSpPr/>
          <p:nvPr/>
        </p:nvGrpSpPr>
        <p:grpSpPr>
          <a:xfrm>
            <a:off x="2277508" y="6274108"/>
            <a:ext cx="7636984" cy="501266"/>
            <a:chOff x="2277508" y="6274107"/>
            <a:chExt cx="7636984" cy="583893"/>
          </a:xfrm>
        </p:grpSpPr>
        <p:sp>
          <p:nvSpPr>
            <p:cNvPr id="4" name="Text Placeholder 1">
              <a:extLst>
                <a:ext uri="{FF2B5EF4-FFF2-40B4-BE49-F238E27FC236}">
                  <a16:creationId xmlns:a16="http://schemas.microsoft.com/office/drawing/2014/main" id="{76D9DECC-1EA1-4BBB-9218-A24C39634CA4}"/>
                </a:ext>
              </a:extLst>
            </p:cNvPr>
            <p:cNvSpPr txBox="1">
              <a:spLocks/>
            </p:cNvSpPr>
            <p:nvPr/>
          </p:nvSpPr>
          <p:spPr>
            <a:xfrm>
              <a:off x="2277508" y="6274107"/>
              <a:ext cx="7636984" cy="583893"/>
            </a:xfrm>
            <a:prstGeom prst="rect">
              <a:avLst/>
            </a:prstGeom>
          </p:spPr>
          <p:txBody>
            <a:bodyPr vert="horz"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800" dirty="0">
                  <a:solidFill>
                    <a:srgbClr val="000000"/>
                  </a:solidFill>
                  <a:latin typeface="+mn-lt"/>
                </a:rPr>
                <a:t>Click Here to Return to the Table of Contents</a:t>
              </a:r>
              <a:endParaRPr lang="en-US" sz="2800" dirty="0">
                <a:latin typeface="+mn-lt"/>
              </a:endParaRPr>
            </a:p>
          </p:txBody>
        </p:sp>
        <p:sp>
          <p:nvSpPr>
            <p:cNvPr id="5" name="Rectangle 4">
              <a:hlinkClick r:id="rId3" action="ppaction://hlinksldjump"/>
              <a:extLst>
                <a:ext uri="{FF2B5EF4-FFF2-40B4-BE49-F238E27FC236}">
                  <a16:creationId xmlns:a16="http://schemas.microsoft.com/office/drawing/2014/main" id="{3B6DE23C-FF94-448A-8A5A-D9C8BE86A013}"/>
                </a:ext>
              </a:extLst>
            </p:cNvPr>
            <p:cNvSpPr/>
            <p:nvPr/>
          </p:nvSpPr>
          <p:spPr>
            <a:xfrm>
              <a:off x="2401677" y="6274107"/>
              <a:ext cx="7425369" cy="4792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spTree>
    <p:extLst>
      <p:ext uri="{BB962C8B-B14F-4D97-AF65-F5344CB8AC3E}">
        <p14:creationId xmlns:p14="http://schemas.microsoft.com/office/powerpoint/2010/main" val="3106410896"/>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0" name="Object 89" hidden="1">
            <a:extLst>
              <a:ext uri="{FF2B5EF4-FFF2-40B4-BE49-F238E27FC236}">
                <a16:creationId xmlns:a16="http://schemas.microsoft.com/office/drawing/2014/main" id="{13139D41-749A-42B7-A652-390A3666C71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1124" name="think-cell Slide" r:id="rId6" imgW="415" imgH="416" progId="TCLayout.ActiveDocument.1">
                  <p:embed/>
                </p:oleObj>
              </mc:Choice>
              <mc:Fallback>
                <p:oleObj name="think-cell Slide" r:id="rId6" imgW="415" imgH="416" progId="TCLayout.ActiveDocument.1">
                  <p:embed/>
                  <p:pic>
                    <p:nvPicPr>
                      <p:cNvPr id="90" name="Object 89" hidden="1">
                        <a:extLst>
                          <a:ext uri="{FF2B5EF4-FFF2-40B4-BE49-F238E27FC236}">
                            <a16:creationId xmlns:a16="http://schemas.microsoft.com/office/drawing/2014/main" id="{13139D41-749A-42B7-A652-390A3666C71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9" name="Rectangle 88" hidden="1">
            <a:extLst>
              <a:ext uri="{FF2B5EF4-FFF2-40B4-BE49-F238E27FC236}">
                <a16:creationId xmlns:a16="http://schemas.microsoft.com/office/drawing/2014/main" id="{9903F154-F3A5-41BC-8DAD-91495B19AA1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93C4EC71-03E3-4B35-8A58-D7419B1213C4}"/>
              </a:ext>
            </a:extLst>
          </p:cNvPr>
          <p:cNvSpPr>
            <a:spLocks noGrp="1"/>
          </p:cNvSpPr>
          <p:nvPr>
            <p:ph type="title"/>
          </p:nvPr>
        </p:nvSpPr>
        <p:spPr/>
        <p:txBody>
          <a:bodyPr/>
          <a:lstStyle/>
          <a:p>
            <a:r>
              <a:rPr lang="en-US" dirty="0"/>
              <a:t>Our Teaming Approach</a:t>
            </a:r>
          </a:p>
        </p:txBody>
      </p:sp>
      <p:sp>
        <p:nvSpPr>
          <p:cNvPr id="3" name="Text Placeholder 2">
            <a:extLst>
              <a:ext uri="{FF2B5EF4-FFF2-40B4-BE49-F238E27FC236}">
                <a16:creationId xmlns:a16="http://schemas.microsoft.com/office/drawing/2014/main" id="{7FB411FE-CFCD-433A-A540-3B5B8C5CADE0}"/>
              </a:ext>
            </a:extLst>
          </p:cNvPr>
          <p:cNvSpPr>
            <a:spLocks noGrp="1"/>
          </p:cNvSpPr>
          <p:nvPr>
            <p:ph type="body" sz="quarter" idx="14"/>
          </p:nvPr>
        </p:nvSpPr>
        <p:spPr/>
        <p:txBody>
          <a:bodyPr/>
          <a:lstStyle/>
          <a:p>
            <a:r>
              <a:rPr lang="en-US" dirty="0"/>
              <a:t>Deloitte Digital will work with Client to finalize our teaming approach. Below is our recommendation.</a:t>
            </a:r>
          </a:p>
        </p:txBody>
      </p:sp>
      <p:sp>
        <p:nvSpPr>
          <p:cNvPr id="4" name="Text Placeholder 3">
            <a:extLst>
              <a:ext uri="{FF2B5EF4-FFF2-40B4-BE49-F238E27FC236}">
                <a16:creationId xmlns:a16="http://schemas.microsoft.com/office/drawing/2014/main" id="{22CCA518-3B12-4590-AB37-C75AE472AAC4}"/>
              </a:ext>
            </a:extLst>
          </p:cNvPr>
          <p:cNvSpPr>
            <a:spLocks noGrp="1"/>
          </p:cNvSpPr>
          <p:nvPr>
            <p:ph type="body" sz="quarter" idx="15"/>
          </p:nvPr>
        </p:nvSpPr>
        <p:spPr/>
        <p:txBody>
          <a:bodyPr/>
          <a:lstStyle/>
          <a:p>
            <a:r>
              <a:rPr lang="en-US" dirty="0"/>
              <a:t>ORGANIZATION STRUCTURE &amp; BIOS</a:t>
            </a:r>
          </a:p>
        </p:txBody>
      </p:sp>
      <p:sp>
        <p:nvSpPr>
          <p:cNvPr id="5" name="Rectangle 4">
            <a:extLst>
              <a:ext uri="{FF2B5EF4-FFF2-40B4-BE49-F238E27FC236}">
                <a16:creationId xmlns:a16="http://schemas.microsoft.com/office/drawing/2014/main" id="{B13F2338-720E-4565-B86A-680A8F42FBE8}"/>
              </a:ext>
            </a:extLst>
          </p:cNvPr>
          <p:cNvSpPr/>
          <p:nvPr/>
        </p:nvSpPr>
        <p:spPr>
          <a:xfrm>
            <a:off x="1002647" y="2435330"/>
            <a:ext cx="3474720" cy="3925214"/>
          </a:xfrm>
          <a:prstGeom prst="rect">
            <a:avLst/>
          </a:prstGeom>
          <a:noFill/>
          <a:ln>
            <a:solidFill>
              <a:schemeClr val="accent6">
                <a:lumMod val="40000"/>
                <a:lumOff val="60000"/>
              </a:schemeClr>
            </a:solidFill>
            <a:prstDash val="solid"/>
          </a:ln>
        </p:spPr>
        <p:style>
          <a:lnRef idx="2">
            <a:schemeClr val="dk1"/>
          </a:lnRef>
          <a:fillRef idx="1">
            <a:schemeClr val="lt1"/>
          </a:fillRef>
          <a:effectRef idx="0">
            <a:schemeClr val="dk1"/>
          </a:effectRef>
          <a:fontRef idx="minor">
            <a:schemeClr val="dk1"/>
          </a:fontRef>
        </p:style>
        <p:txBody>
          <a:bodyPr wrap="square">
            <a:noAutofit/>
          </a:bodyPr>
          <a:lstStyle/>
          <a:p>
            <a:pPr marL="0" marR="0" lvl="0" indent="0" algn="l" defTabSz="109711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 name="Rectangle 5">
            <a:extLst>
              <a:ext uri="{FF2B5EF4-FFF2-40B4-BE49-F238E27FC236}">
                <a16:creationId xmlns:a16="http://schemas.microsoft.com/office/drawing/2014/main" id="{AD64E748-A827-416B-BB5F-BEFF645C2ADD}"/>
              </a:ext>
            </a:extLst>
          </p:cNvPr>
          <p:cNvSpPr/>
          <p:nvPr/>
        </p:nvSpPr>
        <p:spPr>
          <a:xfrm>
            <a:off x="4540320" y="2426318"/>
            <a:ext cx="7012392" cy="3934226"/>
          </a:xfrm>
          <a:prstGeom prst="rect">
            <a:avLst/>
          </a:prstGeom>
          <a:noFill/>
          <a:ln>
            <a:solidFill>
              <a:schemeClr val="accent6">
                <a:lumMod val="40000"/>
                <a:lumOff val="60000"/>
              </a:schemeClr>
            </a:solidFill>
            <a:prstDash val="solid"/>
          </a:ln>
        </p:spPr>
        <p:style>
          <a:lnRef idx="2">
            <a:schemeClr val="dk1"/>
          </a:lnRef>
          <a:fillRef idx="1">
            <a:schemeClr val="lt1"/>
          </a:fillRef>
          <a:effectRef idx="0">
            <a:schemeClr val="dk1"/>
          </a:effectRef>
          <a:fontRef idx="minor">
            <a:schemeClr val="dk1"/>
          </a:fontRef>
        </p:style>
        <p:txBody>
          <a:bodyPr wrap="square">
            <a:noAutofit/>
          </a:bodyPr>
          <a:lstStyle/>
          <a:p>
            <a:pPr marL="0" marR="0" lvl="0" indent="0" algn="l" defTabSz="109711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7" name="Group 6">
            <a:extLst>
              <a:ext uri="{FF2B5EF4-FFF2-40B4-BE49-F238E27FC236}">
                <a16:creationId xmlns:a16="http://schemas.microsoft.com/office/drawing/2014/main" id="{81E8E0A2-979F-465F-BAA8-306D428E80CE}"/>
              </a:ext>
            </a:extLst>
          </p:cNvPr>
          <p:cNvGrpSpPr>
            <a:grpSpLocks noChangeAspect="1"/>
          </p:cNvGrpSpPr>
          <p:nvPr/>
        </p:nvGrpSpPr>
        <p:grpSpPr>
          <a:xfrm>
            <a:off x="3344484" y="2764463"/>
            <a:ext cx="455998" cy="457200"/>
            <a:chOff x="5640388" y="5289550"/>
            <a:chExt cx="601663" cy="603250"/>
          </a:xfrm>
          <a:solidFill>
            <a:srgbClr val="404040"/>
          </a:solidFill>
        </p:grpSpPr>
        <p:sp>
          <p:nvSpPr>
            <p:cNvPr id="8" name="Freeform 235">
              <a:extLst>
                <a:ext uri="{FF2B5EF4-FFF2-40B4-BE49-F238E27FC236}">
                  <a16:creationId xmlns:a16="http://schemas.microsoft.com/office/drawing/2014/main" id="{69A217DC-283F-4227-AA42-B4FBE3AB9789}"/>
                </a:ext>
              </a:extLst>
            </p:cNvPr>
            <p:cNvSpPr>
              <a:spLocks noEditPoints="1"/>
            </p:cNvSpPr>
            <p:nvPr/>
          </p:nvSpPr>
          <p:spPr bwMode="auto">
            <a:xfrm>
              <a:off x="5794375" y="5470525"/>
              <a:ext cx="209550" cy="209550"/>
            </a:xfrm>
            <a:custGeom>
              <a:avLst/>
              <a:gdLst>
                <a:gd name="T0" fmla="*/ 213 w 265"/>
                <a:gd name="T1" fmla="*/ 185 h 265"/>
                <a:gd name="T2" fmla="*/ 171 w 265"/>
                <a:gd name="T3" fmla="*/ 160 h 265"/>
                <a:gd name="T4" fmla="*/ 176 w 265"/>
                <a:gd name="T5" fmla="*/ 146 h 265"/>
                <a:gd name="T6" fmla="*/ 188 w 265"/>
                <a:gd name="T7" fmla="*/ 119 h 265"/>
                <a:gd name="T8" fmla="*/ 196 w 265"/>
                <a:gd name="T9" fmla="*/ 110 h 265"/>
                <a:gd name="T10" fmla="*/ 198 w 265"/>
                <a:gd name="T11" fmla="*/ 99 h 265"/>
                <a:gd name="T12" fmla="*/ 193 w 265"/>
                <a:gd name="T13" fmla="*/ 58 h 265"/>
                <a:gd name="T14" fmla="*/ 190 w 265"/>
                <a:gd name="T15" fmla="*/ 33 h 265"/>
                <a:gd name="T16" fmla="*/ 169 w 265"/>
                <a:gd name="T17" fmla="*/ 10 h 265"/>
                <a:gd name="T18" fmla="*/ 133 w 265"/>
                <a:gd name="T19" fmla="*/ 0 h 265"/>
                <a:gd name="T20" fmla="*/ 107 w 265"/>
                <a:gd name="T21" fmla="*/ 5 h 265"/>
                <a:gd name="T22" fmla="*/ 82 w 265"/>
                <a:gd name="T23" fmla="*/ 24 h 265"/>
                <a:gd name="T24" fmla="*/ 72 w 265"/>
                <a:gd name="T25" fmla="*/ 58 h 265"/>
                <a:gd name="T26" fmla="*/ 69 w 265"/>
                <a:gd name="T27" fmla="*/ 91 h 265"/>
                <a:gd name="T28" fmla="*/ 68 w 265"/>
                <a:gd name="T29" fmla="*/ 105 h 265"/>
                <a:gd name="T30" fmla="*/ 77 w 265"/>
                <a:gd name="T31" fmla="*/ 119 h 265"/>
                <a:gd name="T32" fmla="*/ 85 w 265"/>
                <a:gd name="T33" fmla="*/ 138 h 265"/>
                <a:gd name="T34" fmla="*/ 94 w 265"/>
                <a:gd name="T35" fmla="*/ 160 h 265"/>
                <a:gd name="T36" fmla="*/ 79 w 265"/>
                <a:gd name="T37" fmla="*/ 173 h 265"/>
                <a:gd name="T38" fmla="*/ 11 w 265"/>
                <a:gd name="T39" fmla="*/ 202 h 265"/>
                <a:gd name="T40" fmla="*/ 2 w 265"/>
                <a:gd name="T41" fmla="*/ 213 h 265"/>
                <a:gd name="T42" fmla="*/ 0 w 265"/>
                <a:gd name="T43" fmla="*/ 249 h 265"/>
                <a:gd name="T44" fmla="*/ 11 w 265"/>
                <a:gd name="T45" fmla="*/ 263 h 265"/>
                <a:gd name="T46" fmla="*/ 249 w 265"/>
                <a:gd name="T47" fmla="*/ 265 h 265"/>
                <a:gd name="T48" fmla="*/ 263 w 265"/>
                <a:gd name="T49" fmla="*/ 256 h 265"/>
                <a:gd name="T50" fmla="*/ 265 w 265"/>
                <a:gd name="T51" fmla="*/ 218 h 265"/>
                <a:gd name="T52" fmla="*/ 259 w 265"/>
                <a:gd name="T53" fmla="*/ 205 h 265"/>
                <a:gd name="T54" fmla="*/ 251 w 265"/>
                <a:gd name="T55" fmla="*/ 249 h 265"/>
                <a:gd name="T56" fmla="*/ 17 w 265"/>
                <a:gd name="T57" fmla="*/ 251 h 265"/>
                <a:gd name="T58" fmla="*/ 16 w 265"/>
                <a:gd name="T59" fmla="*/ 218 h 265"/>
                <a:gd name="T60" fmla="*/ 16 w 265"/>
                <a:gd name="T61" fmla="*/ 216 h 265"/>
                <a:gd name="T62" fmla="*/ 99 w 265"/>
                <a:gd name="T63" fmla="*/ 177 h 265"/>
                <a:gd name="T64" fmla="*/ 110 w 265"/>
                <a:gd name="T65" fmla="*/ 165 h 265"/>
                <a:gd name="T66" fmla="*/ 110 w 265"/>
                <a:gd name="T67" fmla="*/ 149 h 265"/>
                <a:gd name="T68" fmla="*/ 107 w 265"/>
                <a:gd name="T69" fmla="*/ 144 h 265"/>
                <a:gd name="T70" fmla="*/ 97 w 265"/>
                <a:gd name="T71" fmla="*/ 130 h 265"/>
                <a:gd name="T72" fmla="*/ 91 w 265"/>
                <a:gd name="T73" fmla="*/ 113 h 265"/>
                <a:gd name="T74" fmla="*/ 83 w 265"/>
                <a:gd name="T75" fmla="*/ 105 h 265"/>
                <a:gd name="T76" fmla="*/ 83 w 265"/>
                <a:gd name="T77" fmla="*/ 94 h 265"/>
                <a:gd name="T78" fmla="*/ 86 w 265"/>
                <a:gd name="T79" fmla="*/ 86 h 265"/>
                <a:gd name="T80" fmla="*/ 88 w 265"/>
                <a:gd name="T81" fmla="*/ 47 h 265"/>
                <a:gd name="T82" fmla="*/ 99 w 265"/>
                <a:gd name="T83" fmla="*/ 27 h 265"/>
                <a:gd name="T84" fmla="*/ 122 w 265"/>
                <a:gd name="T85" fmla="*/ 16 h 265"/>
                <a:gd name="T86" fmla="*/ 143 w 265"/>
                <a:gd name="T87" fmla="*/ 16 h 265"/>
                <a:gd name="T88" fmla="*/ 168 w 265"/>
                <a:gd name="T89" fmla="*/ 27 h 265"/>
                <a:gd name="T90" fmla="*/ 179 w 265"/>
                <a:gd name="T91" fmla="*/ 47 h 265"/>
                <a:gd name="T92" fmla="*/ 179 w 265"/>
                <a:gd name="T93" fmla="*/ 86 h 265"/>
                <a:gd name="T94" fmla="*/ 182 w 265"/>
                <a:gd name="T95" fmla="*/ 94 h 265"/>
                <a:gd name="T96" fmla="*/ 182 w 265"/>
                <a:gd name="T97" fmla="*/ 105 h 265"/>
                <a:gd name="T98" fmla="*/ 176 w 265"/>
                <a:gd name="T99" fmla="*/ 113 h 265"/>
                <a:gd name="T100" fmla="*/ 168 w 265"/>
                <a:gd name="T101" fmla="*/ 130 h 265"/>
                <a:gd name="T102" fmla="*/ 158 w 265"/>
                <a:gd name="T103" fmla="*/ 144 h 265"/>
                <a:gd name="T104" fmla="*/ 155 w 265"/>
                <a:gd name="T105" fmla="*/ 162 h 265"/>
                <a:gd name="T106" fmla="*/ 157 w 265"/>
                <a:gd name="T107" fmla="*/ 165 h 265"/>
                <a:gd name="T108" fmla="*/ 166 w 265"/>
                <a:gd name="T109" fmla="*/ 177 h 265"/>
                <a:gd name="T110" fmla="*/ 249 w 265"/>
                <a:gd name="T111" fmla="*/ 216 h 265"/>
                <a:gd name="T112" fmla="*/ 251 w 265"/>
                <a:gd name="T113" fmla="*/ 249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5" h="265">
                  <a:moveTo>
                    <a:pt x="254" y="202"/>
                  </a:moveTo>
                  <a:lnTo>
                    <a:pt x="254" y="202"/>
                  </a:lnTo>
                  <a:lnTo>
                    <a:pt x="213" y="185"/>
                  </a:lnTo>
                  <a:lnTo>
                    <a:pt x="188" y="173"/>
                  </a:lnTo>
                  <a:lnTo>
                    <a:pt x="176" y="165"/>
                  </a:lnTo>
                  <a:lnTo>
                    <a:pt x="171" y="160"/>
                  </a:lnTo>
                  <a:lnTo>
                    <a:pt x="171" y="152"/>
                  </a:lnTo>
                  <a:lnTo>
                    <a:pt x="171" y="152"/>
                  </a:lnTo>
                  <a:lnTo>
                    <a:pt x="176" y="146"/>
                  </a:lnTo>
                  <a:lnTo>
                    <a:pt x="180" y="138"/>
                  </a:lnTo>
                  <a:lnTo>
                    <a:pt x="185" y="129"/>
                  </a:lnTo>
                  <a:lnTo>
                    <a:pt x="188" y="119"/>
                  </a:lnTo>
                  <a:lnTo>
                    <a:pt x="188" y="119"/>
                  </a:lnTo>
                  <a:lnTo>
                    <a:pt x="193" y="115"/>
                  </a:lnTo>
                  <a:lnTo>
                    <a:pt x="196" y="110"/>
                  </a:lnTo>
                  <a:lnTo>
                    <a:pt x="198" y="105"/>
                  </a:lnTo>
                  <a:lnTo>
                    <a:pt x="198" y="99"/>
                  </a:lnTo>
                  <a:lnTo>
                    <a:pt x="198" y="99"/>
                  </a:lnTo>
                  <a:lnTo>
                    <a:pt x="198" y="91"/>
                  </a:lnTo>
                  <a:lnTo>
                    <a:pt x="193" y="83"/>
                  </a:lnTo>
                  <a:lnTo>
                    <a:pt x="193" y="58"/>
                  </a:lnTo>
                  <a:lnTo>
                    <a:pt x="193" y="58"/>
                  </a:lnTo>
                  <a:lnTo>
                    <a:pt x="193" y="44"/>
                  </a:lnTo>
                  <a:lnTo>
                    <a:pt x="190" y="33"/>
                  </a:lnTo>
                  <a:lnTo>
                    <a:pt x="185" y="24"/>
                  </a:lnTo>
                  <a:lnTo>
                    <a:pt x="177" y="16"/>
                  </a:lnTo>
                  <a:lnTo>
                    <a:pt x="169" y="10"/>
                  </a:lnTo>
                  <a:lnTo>
                    <a:pt x="158" y="5"/>
                  </a:lnTo>
                  <a:lnTo>
                    <a:pt x="146" y="2"/>
                  </a:lnTo>
                  <a:lnTo>
                    <a:pt x="133" y="0"/>
                  </a:lnTo>
                  <a:lnTo>
                    <a:pt x="133" y="0"/>
                  </a:lnTo>
                  <a:lnTo>
                    <a:pt x="119" y="2"/>
                  </a:lnTo>
                  <a:lnTo>
                    <a:pt x="107" y="5"/>
                  </a:lnTo>
                  <a:lnTo>
                    <a:pt x="97" y="10"/>
                  </a:lnTo>
                  <a:lnTo>
                    <a:pt x="88" y="16"/>
                  </a:lnTo>
                  <a:lnTo>
                    <a:pt x="82" y="24"/>
                  </a:lnTo>
                  <a:lnTo>
                    <a:pt x="77" y="33"/>
                  </a:lnTo>
                  <a:lnTo>
                    <a:pt x="74" y="46"/>
                  </a:lnTo>
                  <a:lnTo>
                    <a:pt x="72" y="58"/>
                  </a:lnTo>
                  <a:lnTo>
                    <a:pt x="72" y="83"/>
                  </a:lnTo>
                  <a:lnTo>
                    <a:pt x="72" y="83"/>
                  </a:lnTo>
                  <a:lnTo>
                    <a:pt x="69" y="91"/>
                  </a:lnTo>
                  <a:lnTo>
                    <a:pt x="68" y="99"/>
                  </a:lnTo>
                  <a:lnTo>
                    <a:pt x="68" y="99"/>
                  </a:lnTo>
                  <a:lnTo>
                    <a:pt x="68" y="105"/>
                  </a:lnTo>
                  <a:lnTo>
                    <a:pt x="71" y="110"/>
                  </a:lnTo>
                  <a:lnTo>
                    <a:pt x="72" y="115"/>
                  </a:lnTo>
                  <a:lnTo>
                    <a:pt x="77" y="119"/>
                  </a:lnTo>
                  <a:lnTo>
                    <a:pt x="77" y="119"/>
                  </a:lnTo>
                  <a:lnTo>
                    <a:pt x="80" y="129"/>
                  </a:lnTo>
                  <a:lnTo>
                    <a:pt x="85" y="138"/>
                  </a:lnTo>
                  <a:lnTo>
                    <a:pt x="90" y="146"/>
                  </a:lnTo>
                  <a:lnTo>
                    <a:pt x="94" y="152"/>
                  </a:lnTo>
                  <a:lnTo>
                    <a:pt x="94" y="160"/>
                  </a:lnTo>
                  <a:lnTo>
                    <a:pt x="94" y="160"/>
                  </a:lnTo>
                  <a:lnTo>
                    <a:pt x="91" y="165"/>
                  </a:lnTo>
                  <a:lnTo>
                    <a:pt x="79" y="173"/>
                  </a:lnTo>
                  <a:lnTo>
                    <a:pt x="54" y="185"/>
                  </a:lnTo>
                  <a:lnTo>
                    <a:pt x="11" y="202"/>
                  </a:lnTo>
                  <a:lnTo>
                    <a:pt x="11" y="202"/>
                  </a:lnTo>
                  <a:lnTo>
                    <a:pt x="7" y="205"/>
                  </a:lnTo>
                  <a:lnTo>
                    <a:pt x="3" y="209"/>
                  </a:lnTo>
                  <a:lnTo>
                    <a:pt x="2" y="213"/>
                  </a:lnTo>
                  <a:lnTo>
                    <a:pt x="0" y="218"/>
                  </a:lnTo>
                  <a:lnTo>
                    <a:pt x="0" y="249"/>
                  </a:lnTo>
                  <a:lnTo>
                    <a:pt x="0" y="249"/>
                  </a:lnTo>
                  <a:lnTo>
                    <a:pt x="2" y="256"/>
                  </a:lnTo>
                  <a:lnTo>
                    <a:pt x="5" y="260"/>
                  </a:lnTo>
                  <a:lnTo>
                    <a:pt x="11" y="263"/>
                  </a:lnTo>
                  <a:lnTo>
                    <a:pt x="17" y="265"/>
                  </a:lnTo>
                  <a:lnTo>
                    <a:pt x="249" y="265"/>
                  </a:lnTo>
                  <a:lnTo>
                    <a:pt x="249" y="265"/>
                  </a:lnTo>
                  <a:lnTo>
                    <a:pt x="256" y="263"/>
                  </a:lnTo>
                  <a:lnTo>
                    <a:pt x="260" y="260"/>
                  </a:lnTo>
                  <a:lnTo>
                    <a:pt x="263" y="256"/>
                  </a:lnTo>
                  <a:lnTo>
                    <a:pt x="265" y="249"/>
                  </a:lnTo>
                  <a:lnTo>
                    <a:pt x="265" y="218"/>
                  </a:lnTo>
                  <a:lnTo>
                    <a:pt x="265" y="218"/>
                  </a:lnTo>
                  <a:lnTo>
                    <a:pt x="265" y="213"/>
                  </a:lnTo>
                  <a:lnTo>
                    <a:pt x="262" y="209"/>
                  </a:lnTo>
                  <a:lnTo>
                    <a:pt x="259" y="205"/>
                  </a:lnTo>
                  <a:lnTo>
                    <a:pt x="254" y="202"/>
                  </a:lnTo>
                  <a:lnTo>
                    <a:pt x="254" y="202"/>
                  </a:lnTo>
                  <a:close/>
                  <a:moveTo>
                    <a:pt x="251" y="249"/>
                  </a:moveTo>
                  <a:lnTo>
                    <a:pt x="251" y="249"/>
                  </a:lnTo>
                  <a:lnTo>
                    <a:pt x="249" y="251"/>
                  </a:lnTo>
                  <a:lnTo>
                    <a:pt x="17" y="251"/>
                  </a:lnTo>
                  <a:lnTo>
                    <a:pt x="17" y="251"/>
                  </a:lnTo>
                  <a:lnTo>
                    <a:pt x="16" y="249"/>
                  </a:lnTo>
                  <a:lnTo>
                    <a:pt x="16" y="218"/>
                  </a:lnTo>
                  <a:lnTo>
                    <a:pt x="16" y="218"/>
                  </a:lnTo>
                  <a:lnTo>
                    <a:pt x="16" y="216"/>
                  </a:lnTo>
                  <a:lnTo>
                    <a:pt x="16" y="216"/>
                  </a:lnTo>
                  <a:lnTo>
                    <a:pt x="63" y="196"/>
                  </a:lnTo>
                  <a:lnTo>
                    <a:pt x="91" y="182"/>
                  </a:lnTo>
                  <a:lnTo>
                    <a:pt x="99" y="177"/>
                  </a:lnTo>
                  <a:lnTo>
                    <a:pt x="104" y="173"/>
                  </a:lnTo>
                  <a:lnTo>
                    <a:pt x="108" y="168"/>
                  </a:lnTo>
                  <a:lnTo>
                    <a:pt x="110" y="165"/>
                  </a:lnTo>
                  <a:lnTo>
                    <a:pt x="110" y="165"/>
                  </a:lnTo>
                  <a:lnTo>
                    <a:pt x="110" y="162"/>
                  </a:lnTo>
                  <a:lnTo>
                    <a:pt x="110" y="149"/>
                  </a:lnTo>
                  <a:lnTo>
                    <a:pt x="110" y="149"/>
                  </a:lnTo>
                  <a:lnTo>
                    <a:pt x="108" y="147"/>
                  </a:lnTo>
                  <a:lnTo>
                    <a:pt x="107" y="144"/>
                  </a:lnTo>
                  <a:lnTo>
                    <a:pt x="107" y="144"/>
                  </a:lnTo>
                  <a:lnTo>
                    <a:pt x="102" y="138"/>
                  </a:lnTo>
                  <a:lnTo>
                    <a:pt x="97" y="130"/>
                  </a:lnTo>
                  <a:lnTo>
                    <a:pt x="94" y="122"/>
                  </a:lnTo>
                  <a:lnTo>
                    <a:pt x="91" y="113"/>
                  </a:lnTo>
                  <a:lnTo>
                    <a:pt x="91" y="113"/>
                  </a:lnTo>
                  <a:lnTo>
                    <a:pt x="88" y="110"/>
                  </a:lnTo>
                  <a:lnTo>
                    <a:pt x="88" y="110"/>
                  </a:lnTo>
                  <a:lnTo>
                    <a:pt x="83" y="105"/>
                  </a:lnTo>
                  <a:lnTo>
                    <a:pt x="82" y="99"/>
                  </a:lnTo>
                  <a:lnTo>
                    <a:pt x="82" y="99"/>
                  </a:lnTo>
                  <a:lnTo>
                    <a:pt x="83" y="94"/>
                  </a:lnTo>
                  <a:lnTo>
                    <a:pt x="85" y="91"/>
                  </a:lnTo>
                  <a:lnTo>
                    <a:pt x="85" y="91"/>
                  </a:lnTo>
                  <a:lnTo>
                    <a:pt x="86" y="86"/>
                  </a:lnTo>
                  <a:lnTo>
                    <a:pt x="86" y="58"/>
                  </a:lnTo>
                  <a:lnTo>
                    <a:pt x="86" y="58"/>
                  </a:lnTo>
                  <a:lnTo>
                    <a:pt x="88" y="47"/>
                  </a:lnTo>
                  <a:lnTo>
                    <a:pt x="90" y="39"/>
                  </a:lnTo>
                  <a:lnTo>
                    <a:pt x="94" y="32"/>
                  </a:lnTo>
                  <a:lnTo>
                    <a:pt x="99" y="27"/>
                  </a:lnTo>
                  <a:lnTo>
                    <a:pt x="105" y="22"/>
                  </a:lnTo>
                  <a:lnTo>
                    <a:pt x="113" y="19"/>
                  </a:lnTo>
                  <a:lnTo>
                    <a:pt x="122" y="16"/>
                  </a:lnTo>
                  <a:lnTo>
                    <a:pt x="133" y="16"/>
                  </a:lnTo>
                  <a:lnTo>
                    <a:pt x="133" y="16"/>
                  </a:lnTo>
                  <a:lnTo>
                    <a:pt x="143" y="16"/>
                  </a:lnTo>
                  <a:lnTo>
                    <a:pt x="152" y="19"/>
                  </a:lnTo>
                  <a:lnTo>
                    <a:pt x="160" y="22"/>
                  </a:lnTo>
                  <a:lnTo>
                    <a:pt x="168" y="27"/>
                  </a:lnTo>
                  <a:lnTo>
                    <a:pt x="173" y="32"/>
                  </a:lnTo>
                  <a:lnTo>
                    <a:pt x="176" y="39"/>
                  </a:lnTo>
                  <a:lnTo>
                    <a:pt x="179" y="47"/>
                  </a:lnTo>
                  <a:lnTo>
                    <a:pt x="179" y="58"/>
                  </a:lnTo>
                  <a:lnTo>
                    <a:pt x="179" y="86"/>
                  </a:lnTo>
                  <a:lnTo>
                    <a:pt x="179" y="86"/>
                  </a:lnTo>
                  <a:lnTo>
                    <a:pt x="180" y="91"/>
                  </a:lnTo>
                  <a:lnTo>
                    <a:pt x="180" y="91"/>
                  </a:lnTo>
                  <a:lnTo>
                    <a:pt x="182" y="94"/>
                  </a:lnTo>
                  <a:lnTo>
                    <a:pt x="184" y="99"/>
                  </a:lnTo>
                  <a:lnTo>
                    <a:pt x="184" y="99"/>
                  </a:lnTo>
                  <a:lnTo>
                    <a:pt x="182" y="105"/>
                  </a:lnTo>
                  <a:lnTo>
                    <a:pt x="177" y="110"/>
                  </a:lnTo>
                  <a:lnTo>
                    <a:pt x="177" y="110"/>
                  </a:lnTo>
                  <a:lnTo>
                    <a:pt x="176" y="113"/>
                  </a:lnTo>
                  <a:lnTo>
                    <a:pt x="176" y="113"/>
                  </a:lnTo>
                  <a:lnTo>
                    <a:pt x="173" y="122"/>
                  </a:lnTo>
                  <a:lnTo>
                    <a:pt x="168" y="130"/>
                  </a:lnTo>
                  <a:lnTo>
                    <a:pt x="163" y="138"/>
                  </a:lnTo>
                  <a:lnTo>
                    <a:pt x="158" y="144"/>
                  </a:lnTo>
                  <a:lnTo>
                    <a:pt x="158" y="144"/>
                  </a:lnTo>
                  <a:lnTo>
                    <a:pt x="157" y="147"/>
                  </a:lnTo>
                  <a:lnTo>
                    <a:pt x="155" y="149"/>
                  </a:lnTo>
                  <a:lnTo>
                    <a:pt x="155" y="162"/>
                  </a:lnTo>
                  <a:lnTo>
                    <a:pt x="155" y="162"/>
                  </a:lnTo>
                  <a:lnTo>
                    <a:pt x="157" y="165"/>
                  </a:lnTo>
                  <a:lnTo>
                    <a:pt x="157" y="165"/>
                  </a:lnTo>
                  <a:lnTo>
                    <a:pt x="158" y="168"/>
                  </a:lnTo>
                  <a:lnTo>
                    <a:pt x="162" y="173"/>
                  </a:lnTo>
                  <a:lnTo>
                    <a:pt x="166" y="177"/>
                  </a:lnTo>
                  <a:lnTo>
                    <a:pt x="176" y="182"/>
                  </a:lnTo>
                  <a:lnTo>
                    <a:pt x="202" y="196"/>
                  </a:lnTo>
                  <a:lnTo>
                    <a:pt x="249" y="216"/>
                  </a:lnTo>
                  <a:lnTo>
                    <a:pt x="249" y="216"/>
                  </a:lnTo>
                  <a:lnTo>
                    <a:pt x="251" y="218"/>
                  </a:lnTo>
                  <a:lnTo>
                    <a:pt x="251" y="2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9" name="Freeform 236">
              <a:extLst>
                <a:ext uri="{FF2B5EF4-FFF2-40B4-BE49-F238E27FC236}">
                  <a16:creationId xmlns:a16="http://schemas.microsoft.com/office/drawing/2014/main" id="{3EFEE75A-78C1-4651-9D81-708D5357B96D}"/>
                </a:ext>
              </a:extLst>
            </p:cNvPr>
            <p:cNvSpPr>
              <a:spLocks/>
            </p:cNvSpPr>
            <p:nvPr/>
          </p:nvSpPr>
          <p:spPr bwMode="auto">
            <a:xfrm>
              <a:off x="5951538" y="5483225"/>
              <a:ext cx="130175" cy="196850"/>
            </a:xfrm>
            <a:custGeom>
              <a:avLst/>
              <a:gdLst>
                <a:gd name="T0" fmla="*/ 143 w 165"/>
                <a:gd name="T1" fmla="*/ 184 h 248"/>
                <a:gd name="T2" fmla="*/ 105 w 165"/>
                <a:gd name="T3" fmla="*/ 176 h 248"/>
                <a:gd name="T4" fmla="*/ 78 w 165"/>
                <a:gd name="T5" fmla="*/ 162 h 248"/>
                <a:gd name="T6" fmla="*/ 100 w 165"/>
                <a:gd name="T7" fmla="*/ 159 h 248"/>
                <a:gd name="T8" fmla="*/ 127 w 165"/>
                <a:gd name="T9" fmla="*/ 148 h 248"/>
                <a:gd name="T10" fmla="*/ 130 w 165"/>
                <a:gd name="T11" fmla="*/ 141 h 248"/>
                <a:gd name="T12" fmla="*/ 125 w 165"/>
                <a:gd name="T13" fmla="*/ 135 h 248"/>
                <a:gd name="T14" fmla="*/ 121 w 165"/>
                <a:gd name="T15" fmla="*/ 127 h 248"/>
                <a:gd name="T16" fmla="*/ 110 w 165"/>
                <a:gd name="T17" fmla="*/ 71 h 248"/>
                <a:gd name="T18" fmla="*/ 104 w 165"/>
                <a:gd name="T19" fmla="*/ 43 h 248"/>
                <a:gd name="T20" fmla="*/ 86 w 165"/>
                <a:gd name="T21" fmla="*/ 19 h 248"/>
                <a:gd name="T22" fmla="*/ 64 w 165"/>
                <a:gd name="T23" fmla="*/ 5 h 248"/>
                <a:gd name="T24" fmla="*/ 41 w 165"/>
                <a:gd name="T25" fmla="*/ 0 h 248"/>
                <a:gd name="T26" fmla="*/ 19 w 165"/>
                <a:gd name="T27" fmla="*/ 5 h 248"/>
                <a:gd name="T28" fmla="*/ 2 w 165"/>
                <a:gd name="T29" fmla="*/ 15 h 248"/>
                <a:gd name="T30" fmla="*/ 0 w 165"/>
                <a:gd name="T31" fmla="*/ 21 h 248"/>
                <a:gd name="T32" fmla="*/ 3 w 165"/>
                <a:gd name="T33" fmla="*/ 26 h 248"/>
                <a:gd name="T34" fmla="*/ 11 w 165"/>
                <a:gd name="T35" fmla="*/ 26 h 248"/>
                <a:gd name="T36" fmla="*/ 24 w 165"/>
                <a:gd name="T37" fmla="*/ 19 h 248"/>
                <a:gd name="T38" fmla="*/ 41 w 165"/>
                <a:gd name="T39" fmla="*/ 16 h 248"/>
                <a:gd name="T40" fmla="*/ 60 w 165"/>
                <a:gd name="T41" fmla="*/ 19 h 248"/>
                <a:gd name="T42" fmla="*/ 75 w 165"/>
                <a:gd name="T43" fmla="*/ 29 h 248"/>
                <a:gd name="T44" fmla="*/ 85 w 165"/>
                <a:gd name="T45" fmla="*/ 38 h 248"/>
                <a:gd name="T46" fmla="*/ 94 w 165"/>
                <a:gd name="T47" fmla="*/ 73 h 248"/>
                <a:gd name="T48" fmla="*/ 99 w 165"/>
                <a:gd name="T49" fmla="*/ 104 h 248"/>
                <a:gd name="T50" fmla="*/ 111 w 165"/>
                <a:gd name="T51" fmla="*/ 140 h 248"/>
                <a:gd name="T52" fmla="*/ 85 w 165"/>
                <a:gd name="T53" fmla="*/ 146 h 248"/>
                <a:gd name="T54" fmla="*/ 68 w 165"/>
                <a:gd name="T55" fmla="*/ 148 h 248"/>
                <a:gd name="T56" fmla="*/ 63 w 165"/>
                <a:gd name="T57" fmla="*/ 154 h 248"/>
                <a:gd name="T58" fmla="*/ 63 w 165"/>
                <a:gd name="T59" fmla="*/ 173 h 248"/>
                <a:gd name="T60" fmla="*/ 68 w 165"/>
                <a:gd name="T61" fmla="*/ 179 h 248"/>
                <a:gd name="T62" fmla="*/ 102 w 165"/>
                <a:gd name="T63" fmla="*/ 190 h 248"/>
                <a:gd name="T64" fmla="*/ 138 w 165"/>
                <a:gd name="T65" fmla="*/ 198 h 248"/>
                <a:gd name="T66" fmla="*/ 151 w 165"/>
                <a:gd name="T67" fmla="*/ 204 h 248"/>
                <a:gd name="T68" fmla="*/ 151 w 165"/>
                <a:gd name="T69" fmla="*/ 234 h 248"/>
                <a:gd name="T70" fmla="*/ 85 w 165"/>
                <a:gd name="T71" fmla="*/ 234 h 248"/>
                <a:gd name="T72" fmla="*/ 80 w 165"/>
                <a:gd name="T73" fmla="*/ 242 h 248"/>
                <a:gd name="T74" fmla="*/ 82 w 165"/>
                <a:gd name="T75" fmla="*/ 246 h 248"/>
                <a:gd name="T76" fmla="*/ 151 w 165"/>
                <a:gd name="T77" fmla="*/ 248 h 248"/>
                <a:gd name="T78" fmla="*/ 162 w 165"/>
                <a:gd name="T79" fmla="*/ 243 h 248"/>
                <a:gd name="T80" fmla="*/ 165 w 165"/>
                <a:gd name="T81" fmla="*/ 204 h 248"/>
                <a:gd name="T82" fmla="*/ 163 w 165"/>
                <a:gd name="T83" fmla="*/ 195 h 248"/>
                <a:gd name="T84" fmla="*/ 155 w 165"/>
                <a:gd name="T85" fmla="*/ 18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5" h="248">
                  <a:moveTo>
                    <a:pt x="155" y="188"/>
                  </a:moveTo>
                  <a:lnTo>
                    <a:pt x="155" y="188"/>
                  </a:lnTo>
                  <a:lnTo>
                    <a:pt x="143" y="184"/>
                  </a:lnTo>
                  <a:lnTo>
                    <a:pt x="129" y="181"/>
                  </a:lnTo>
                  <a:lnTo>
                    <a:pt x="105" y="176"/>
                  </a:lnTo>
                  <a:lnTo>
                    <a:pt x="105" y="176"/>
                  </a:lnTo>
                  <a:lnTo>
                    <a:pt x="88" y="173"/>
                  </a:lnTo>
                  <a:lnTo>
                    <a:pt x="78" y="170"/>
                  </a:lnTo>
                  <a:lnTo>
                    <a:pt x="78" y="162"/>
                  </a:lnTo>
                  <a:lnTo>
                    <a:pt x="78" y="162"/>
                  </a:lnTo>
                  <a:lnTo>
                    <a:pt x="89" y="160"/>
                  </a:lnTo>
                  <a:lnTo>
                    <a:pt x="100" y="159"/>
                  </a:lnTo>
                  <a:lnTo>
                    <a:pt x="115" y="154"/>
                  </a:lnTo>
                  <a:lnTo>
                    <a:pt x="124" y="149"/>
                  </a:lnTo>
                  <a:lnTo>
                    <a:pt x="127" y="148"/>
                  </a:lnTo>
                  <a:lnTo>
                    <a:pt x="127" y="148"/>
                  </a:lnTo>
                  <a:lnTo>
                    <a:pt x="129" y="145"/>
                  </a:lnTo>
                  <a:lnTo>
                    <a:pt x="130" y="141"/>
                  </a:lnTo>
                  <a:lnTo>
                    <a:pt x="130" y="141"/>
                  </a:lnTo>
                  <a:lnTo>
                    <a:pt x="129" y="138"/>
                  </a:lnTo>
                  <a:lnTo>
                    <a:pt x="125" y="135"/>
                  </a:lnTo>
                  <a:lnTo>
                    <a:pt x="125" y="135"/>
                  </a:lnTo>
                  <a:lnTo>
                    <a:pt x="124" y="132"/>
                  </a:lnTo>
                  <a:lnTo>
                    <a:pt x="121" y="127"/>
                  </a:lnTo>
                  <a:lnTo>
                    <a:pt x="116" y="112"/>
                  </a:lnTo>
                  <a:lnTo>
                    <a:pt x="111" y="93"/>
                  </a:lnTo>
                  <a:lnTo>
                    <a:pt x="110" y="71"/>
                  </a:lnTo>
                  <a:lnTo>
                    <a:pt x="110" y="71"/>
                  </a:lnTo>
                  <a:lnTo>
                    <a:pt x="108" y="57"/>
                  </a:lnTo>
                  <a:lnTo>
                    <a:pt x="104" y="43"/>
                  </a:lnTo>
                  <a:lnTo>
                    <a:pt x="96" y="30"/>
                  </a:lnTo>
                  <a:lnTo>
                    <a:pt x="86" y="19"/>
                  </a:lnTo>
                  <a:lnTo>
                    <a:pt x="86" y="19"/>
                  </a:lnTo>
                  <a:lnTo>
                    <a:pt x="82" y="15"/>
                  </a:lnTo>
                  <a:lnTo>
                    <a:pt x="77" y="10"/>
                  </a:lnTo>
                  <a:lnTo>
                    <a:pt x="64" y="5"/>
                  </a:lnTo>
                  <a:lnTo>
                    <a:pt x="64" y="5"/>
                  </a:lnTo>
                  <a:lnTo>
                    <a:pt x="53" y="2"/>
                  </a:lnTo>
                  <a:lnTo>
                    <a:pt x="41" y="0"/>
                  </a:lnTo>
                  <a:lnTo>
                    <a:pt x="30" y="2"/>
                  </a:lnTo>
                  <a:lnTo>
                    <a:pt x="19" y="5"/>
                  </a:lnTo>
                  <a:lnTo>
                    <a:pt x="19" y="5"/>
                  </a:lnTo>
                  <a:lnTo>
                    <a:pt x="10" y="8"/>
                  </a:lnTo>
                  <a:lnTo>
                    <a:pt x="2" y="15"/>
                  </a:lnTo>
                  <a:lnTo>
                    <a:pt x="2" y="15"/>
                  </a:lnTo>
                  <a:lnTo>
                    <a:pt x="0" y="16"/>
                  </a:lnTo>
                  <a:lnTo>
                    <a:pt x="0" y="19"/>
                  </a:lnTo>
                  <a:lnTo>
                    <a:pt x="0" y="21"/>
                  </a:lnTo>
                  <a:lnTo>
                    <a:pt x="2" y="24"/>
                  </a:lnTo>
                  <a:lnTo>
                    <a:pt x="2" y="24"/>
                  </a:lnTo>
                  <a:lnTo>
                    <a:pt x="3" y="26"/>
                  </a:lnTo>
                  <a:lnTo>
                    <a:pt x="6" y="27"/>
                  </a:lnTo>
                  <a:lnTo>
                    <a:pt x="10" y="27"/>
                  </a:lnTo>
                  <a:lnTo>
                    <a:pt x="11" y="26"/>
                  </a:lnTo>
                  <a:lnTo>
                    <a:pt x="11" y="26"/>
                  </a:lnTo>
                  <a:lnTo>
                    <a:pt x="17" y="22"/>
                  </a:lnTo>
                  <a:lnTo>
                    <a:pt x="24" y="19"/>
                  </a:lnTo>
                  <a:lnTo>
                    <a:pt x="24" y="19"/>
                  </a:lnTo>
                  <a:lnTo>
                    <a:pt x="33" y="16"/>
                  </a:lnTo>
                  <a:lnTo>
                    <a:pt x="41" y="16"/>
                  </a:lnTo>
                  <a:lnTo>
                    <a:pt x="50" y="16"/>
                  </a:lnTo>
                  <a:lnTo>
                    <a:pt x="60" y="19"/>
                  </a:lnTo>
                  <a:lnTo>
                    <a:pt x="60" y="19"/>
                  </a:lnTo>
                  <a:lnTo>
                    <a:pt x="69" y="22"/>
                  </a:lnTo>
                  <a:lnTo>
                    <a:pt x="75" y="29"/>
                  </a:lnTo>
                  <a:lnTo>
                    <a:pt x="75" y="29"/>
                  </a:lnTo>
                  <a:lnTo>
                    <a:pt x="77" y="29"/>
                  </a:lnTo>
                  <a:lnTo>
                    <a:pt x="77" y="29"/>
                  </a:lnTo>
                  <a:lnTo>
                    <a:pt x="85" y="38"/>
                  </a:lnTo>
                  <a:lnTo>
                    <a:pt x="89" y="47"/>
                  </a:lnTo>
                  <a:lnTo>
                    <a:pt x="94" y="60"/>
                  </a:lnTo>
                  <a:lnTo>
                    <a:pt x="94" y="73"/>
                  </a:lnTo>
                  <a:lnTo>
                    <a:pt x="94" y="73"/>
                  </a:lnTo>
                  <a:lnTo>
                    <a:pt x="96" y="85"/>
                  </a:lnTo>
                  <a:lnTo>
                    <a:pt x="99" y="104"/>
                  </a:lnTo>
                  <a:lnTo>
                    <a:pt x="104" y="123"/>
                  </a:lnTo>
                  <a:lnTo>
                    <a:pt x="107" y="132"/>
                  </a:lnTo>
                  <a:lnTo>
                    <a:pt x="111" y="140"/>
                  </a:lnTo>
                  <a:lnTo>
                    <a:pt x="111" y="140"/>
                  </a:lnTo>
                  <a:lnTo>
                    <a:pt x="96" y="145"/>
                  </a:lnTo>
                  <a:lnTo>
                    <a:pt x="85" y="146"/>
                  </a:lnTo>
                  <a:lnTo>
                    <a:pt x="71" y="146"/>
                  </a:lnTo>
                  <a:lnTo>
                    <a:pt x="71" y="146"/>
                  </a:lnTo>
                  <a:lnTo>
                    <a:pt x="68" y="148"/>
                  </a:lnTo>
                  <a:lnTo>
                    <a:pt x="66" y="149"/>
                  </a:lnTo>
                  <a:lnTo>
                    <a:pt x="63" y="151"/>
                  </a:lnTo>
                  <a:lnTo>
                    <a:pt x="63" y="154"/>
                  </a:lnTo>
                  <a:lnTo>
                    <a:pt x="63" y="171"/>
                  </a:lnTo>
                  <a:lnTo>
                    <a:pt x="63" y="171"/>
                  </a:lnTo>
                  <a:lnTo>
                    <a:pt x="63" y="173"/>
                  </a:lnTo>
                  <a:lnTo>
                    <a:pt x="63" y="173"/>
                  </a:lnTo>
                  <a:lnTo>
                    <a:pt x="64" y="176"/>
                  </a:lnTo>
                  <a:lnTo>
                    <a:pt x="68" y="179"/>
                  </a:lnTo>
                  <a:lnTo>
                    <a:pt x="75" y="184"/>
                  </a:lnTo>
                  <a:lnTo>
                    <a:pt x="88" y="187"/>
                  </a:lnTo>
                  <a:lnTo>
                    <a:pt x="102" y="190"/>
                  </a:lnTo>
                  <a:lnTo>
                    <a:pt x="102" y="190"/>
                  </a:lnTo>
                  <a:lnTo>
                    <a:pt x="125" y="195"/>
                  </a:lnTo>
                  <a:lnTo>
                    <a:pt x="138" y="198"/>
                  </a:lnTo>
                  <a:lnTo>
                    <a:pt x="151" y="203"/>
                  </a:lnTo>
                  <a:lnTo>
                    <a:pt x="151" y="203"/>
                  </a:lnTo>
                  <a:lnTo>
                    <a:pt x="151" y="204"/>
                  </a:lnTo>
                  <a:lnTo>
                    <a:pt x="151" y="232"/>
                  </a:lnTo>
                  <a:lnTo>
                    <a:pt x="151" y="232"/>
                  </a:lnTo>
                  <a:lnTo>
                    <a:pt x="151" y="234"/>
                  </a:lnTo>
                  <a:lnTo>
                    <a:pt x="86" y="234"/>
                  </a:lnTo>
                  <a:lnTo>
                    <a:pt x="86" y="234"/>
                  </a:lnTo>
                  <a:lnTo>
                    <a:pt x="85" y="234"/>
                  </a:lnTo>
                  <a:lnTo>
                    <a:pt x="82" y="235"/>
                  </a:lnTo>
                  <a:lnTo>
                    <a:pt x="80" y="239"/>
                  </a:lnTo>
                  <a:lnTo>
                    <a:pt x="80" y="242"/>
                  </a:lnTo>
                  <a:lnTo>
                    <a:pt x="80" y="242"/>
                  </a:lnTo>
                  <a:lnTo>
                    <a:pt x="80" y="243"/>
                  </a:lnTo>
                  <a:lnTo>
                    <a:pt x="82" y="246"/>
                  </a:lnTo>
                  <a:lnTo>
                    <a:pt x="85" y="248"/>
                  </a:lnTo>
                  <a:lnTo>
                    <a:pt x="86" y="248"/>
                  </a:lnTo>
                  <a:lnTo>
                    <a:pt x="151" y="248"/>
                  </a:lnTo>
                  <a:lnTo>
                    <a:pt x="151" y="248"/>
                  </a:lnTo>
                  <a:lnTo>
                    <a:pt x="155" y="248"/>
                  </a:lnTo>
                  <a:lnTo>
                    <a:pt x="162" y="243"/>
                  </a:lnTo>
                  <a:lnTo>
                    <a:pt x="165" y="239"/>
                  </a:lnTo>
                  <a:lnTo>
                    <a:pt x="165" y="232"/>
                  </a:lnTo>
                  <a:lnTo>
                    <a:pt x="165" y="204"/>
                  </a:lnTo>
                  <a:lnTo>
                    <a:pt x="165" y="204"/>
                  </a:lnTo>
                  <a:lnTo>
                    <a:pt x="165" y="199"/>
                  </a:lnTo>
                  <a:lnTo>
                    <a:pt x="163" y="195"/>
                  </a:lnTo>
                  <a:lnTo>
                    <a:pt x="160" y="192"/>
                  </a:lnTo>
                  <a:lnTo>
                    <a:pt x="155" y="188"/>
                  </a:lnTo>
                  <a:lnTo>
                    <a:pt x="155" y="18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10" name="Freeform 244">
              <a:extLst>
                <a:ext uri="{FF2B5EF4-FFF2-40B4-BE49-F238E27FC236}">
                  <a16:creationId xmlns:a16="http://schemas.microsoft.com/office/drawing/2014/main" id="{48664E88-155D-4517-A5F7-1ECC579FD74C}"/>
                </a:ext>
              </a:extLst>
            </p:cNvPr>
            <p:cNvSpPr>
              <a:spLocks noEditPoints="1"/>
            </p:cNvSpPr>
            <p:nvPr/>
          </p:nvSpPr>
          <p:spPr bwMode="auto">
            <a:xfrm>
              <a:off x="5640388" y="5289550"/>
              <a:ext cx="601663" cy="603250"/>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11" name="Rectangle 10">
            <a:extLst>
              <a:ext uri="{FF2B5EF4-FFF2-40B4-BE49-F238E27FC236}">
                <a16:creationId xmlns:a16="http://schemas.microsoft.com/office/drawing/2014/main" id="{9AAB290C-1CEF-4F5D-9C16-DD92C78E0856}"/>
              </a:ext>
            </a:extLst>
          </p:cNvPr>
          <p:cNvSpPr/>
          <p:nvPr/>
        </p:nvSpPr>
        <p:spPr>
          <a:xfrm rot="16200000">
            <a:off x="94442" y="4178481"/>
            <a:ext cx="1289304" cy="457200"/>
          </a:xfrm>
          <a:prstGeom prst="rect">
            <a:avLst/>
          </a:prstGeom>
          <a:solidFill>
            <a:srgbClr val="34F0FF"/>
          </a:solidFill>
        </p:spPr>
        <p:txBody>
          <a:bodyPr wrap="square" lIns="0" tIns="0" rIns="0" bIns="0" anchor="ctr" anchorCtr="0">
            <a:noAutofit/>
          </a:bodyPr>
          <a:lstStyle/>
          <a:p>
            <a:pPr marL="0" marR="0" lvl="0" indent="0" algn="ctr" defTabSz="10971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Functional</a:t>
            </a:r>
          </a:p>
        </p:txBody>
      </p:sp>
      <p:sp>
        <p:nvSpPr>
          <p:cNvPr id="12" name="Rectangle 11">
            <a:extLst>
              <a:ext uri="{FF2B5EF4-FFF2-40B4-BE49-F238E27FC236}">
                <a16:creationId xmlns:a16="http://schemas.microsoft.com/office/drawing/2014/main" id="{737AD4FD-BC8E-411E-97AA-EE5E5DC0C2BE}"/>
              </a:ext>
            </a:extLst>
          </p:cNvPr>
          <p:cNvSpPr/>
          <p:nvPr/>
        </p:nvSpPr>
        <p:spPr>
          <a:xfrm rot="16200000">
            <a:off x="94442" y="5496304"/>
            <a:ext cx="1289304" cy="457200"/>
          </a:xfrm>
          <a:prstGeom prst="rect">
            <a:avLst/>
          </a:prstGeom>
          <a:solidFill>
            <a:srgbClr val="86F200"/>
          </a:solidFill>
          <a:ln>
            <a:noFill/>
          </a:ln>
        </p:spPr>
        <p:txBody>
          <a:bodyPr wrap="square" lIns="0" tIns="0" rIns="0" bIns="0" anchor="ctr" anchorCtr="0">
            <a:noAutofit/>
          </a:bodyPr>
          <a:lstStyle/>
          <a:p>
            <a:pPr marL="0" marR="0" lvl="0" indent="0" algn="ctr" defTabSz="10971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Technology</a:t>
            </a:r>
          </a:p>
        </p:txBody>
      </p:sp>
      <p:sp>
        <p:nvSpPr>
          <p:cNvPr id="13" name="Rectangle 12">
            <a:extLst>
              <a:ext uri="{FF2B5EF4-FFF2-40B4-BE49-F238E27FC236}">
                <a16:creationId xmlns:a16="http://schemas.microsoft.com/office/drawing/2014/main" id="{2B81278F-3D27-4103-BA01-0F6092F0B501}"/>
              </a:ext>
            </a:extLst>
          </p:cNvPr>
          <p:cNvSpPr/>
          <p:nvPr/>
        </p:nvSpPr>
        <p:spPr>
          <a:xfrm rot="16200000">
            <a:off x="94442" y="2860658"/>
            <a:ext cx="1289304" cy="457200"/>
          </a:xfrm>
          <a:prstGeom prst="rect">
            <a:avLst/>
          </a:prstGeom>
          <a:solidFill>
            <a:srgbClr val="FDD300"/>
          </a:solidFill>
        </p:spPr>
        <p:txBody>
          <a:bodyPr wrap="square" lIns="0" tIns="0" rIns="0" bIns="0" anchor="ctr" anchorCtr="0">
            <a:noAutofit/>
          </a:bodyPr>
          <a:lstStyle/>
          <a:p>
            <a:pPr marL="0" marR="0" lvl="0" indent="0" algn="ctr" defTabSz="10971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Business</a:t>
            </a:r>
          </a:p>
        </p:txBody>
      </p:sp>
      <p:sp>
        <p:nvSpPr>
          <p:cNvPr id="14" name="Rectangle 18">
            <a:extLst>
              <a:ext uri="{FF2B5EF4-FFF2-40B4-BE49-F238E27FC236}">
                <a16:creationId xmlns:a16="http://schemas.microsoft.com/office/drawing/2014/main" id="{9C83FD02-4535-400C-8DC6-81DD1AB508AA}"/>
              </a:ext>
            </a:extLst>
          </p:cNvPr>
          <p:cNvSpPr>
            <a:spLocks noChangeArrowheads="1"/>
          </p:cNvSpPr>
          <p:nvPr/>
        </p:nvSpPr>
        <p:spPr bwMode="auto">
          <a:xfrm>
            <a:off x="8701991" y="2116598"/>
            <a:ext cx="1944092" cy="382674"/>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1200" b="1" i="0" u="none" strike="noStrike" kern="1200" cap="none" spc="200" normalizeH="0" baseline="0" noProof="0" dirty="0">
                <a:ln>
                  <a:noFill/>
                </a:ln>
                <a:solidFill>
                  <a:srgbClr val="000000"/>
                </a:solidFill>
                <a:effectLst/>
                <a:uLnTx/>
                <a:uFillTx/>
                <a:latin typeface="Open Sans" charset="0"/>
                <a:ea typeface="Open Sans" charset="0"/>
                <a:cs typeface="Open Sans" charset="0"/>
              </a:rPr>
              <a:t>KEY TASKS</a:t>
            </a:r>
          </a:p>
        </p:txBody>
      </p:sp>
      <p:sp>
        <p:nvSpPr>
          <p:cNvPr id="15" name="Rectangle 14">
            <a:extLst>
              <a:ext uri="{FF2B5EF4-FFF2-40B4-BE49-F238E27FC236}">
                <a16:creationId xmlns:a16="http://schemas.microsoft.com/office/drawing/2014/main" id="{1C1706AB-2F1B-4853-9E2F-6ECD53F685D4}"/>
              </a:ext>
            </a:extLst>
          </p:cNvPr>
          <p:cNvSpPr/>
          <p:nvPr/>
        </p:nvSpPr>
        <p:spPr>
          <a:xfrm>
            <a:off x="8077993" y="2426318"/>
            <a:ext cx="3474720" cy="3934226"/>
          </a:xfrm>
          <a:prstGeom prst="rect">
            <a:avLst/>
          </a:prstGeom>
          <a:noFill/>
          <a:ln>
            <a:solidFill>
              <a:schemeClr val="accent6">
                <a:lumMod val="40000"/>
                <a:lumOff val="60000"/>
              </a:schemeClr>
            </a:solidFill>
            <a:prstDash val="solid"/>
          </a:ln>
        </p:spPr>
        <p:style>
          <a:lnRef idx="2">
            <a:schemeClr val="dk1"/>
          </a:lnRef>
          <a:fillRef idx="1">
            <a:schemeClr val="lt1"/>
          </a:fillRef>
          <a:effectRef idx="0">
            <a:schemeClr val="dk1"/>
          </a:effectRef>
          <a:fontRef idx="minor">
            <a:schemeClr val="dk1"/>
          </a:fontRef>
        </p:style>
        <p:txBody>
          <a:bodyPr wrap="square" lIns="182880" anchor="ctr">
            <a:noAutofit/>
          </a:bodyPr>
          <a:lstStyle/>
          <a:p>
            <a:pPr marL="150813" marR="0" lvl="0" indent="-150813" algn="l" defTabSz="914400" rtl="0" eaLnBrk="1" fontAlgn="auto" latinLnBrk="0" hangingPunct="1">
              <a:lnSpc>
                <a:spcPct val="110000"/>
              </a:lnSpc>
              <a:spcBef>
                <a:spcPts val="0"/>
              </a:spcBef>
              <a:spcAft>
                <a:spcPts val="300"/>
              </a:spcAft>
              <a:buClr>
                <a:srgbClr val="787878"/>
              </a:buClr>
              <a:buSzPct val="75000"/>
              <a:buFont typeface="Arial"/>
              <a:buChar char="•"/>
              <a:tabLst/>
              <a:defRPr/>
            </a:pPr>
            <a:endParaRPr kumimoji="0" lang="en-US" sz="1000" b="0" i="0" u="none" strike="noStrike" kern="1200" cap="none" spc="0" normalizeH="0" baseline="0" noProof="0" dirty="0">
              <a:ln>
                <a:noFill/>
              </a:ln>
              <a:solidFill>
                <a:srgbClr val="000000"/>
              </a:solidFill>
              <a:effectLst/>
              <a:uLnTx/>
              <a:uFillTx/>
              <a:latin typeface="Open Sans"/>
              <a:ea typeface="+mn-ea"/>
              <a:cs typeface="Arial"/>
              <a:sym typeface="Frutiger Next Pro Medium" charset="0"/>
            </a:endParaRPr>
          </a:p>
        </p:txBody>
      </p:sp>
      <p:cxnSp>
        <p:nvCxnSpPr>
          <p:cNvPr id="16" name="Straight Connector 15">
            <a:extLst>
              <a:ext uri="{FF2B5EF4-FFF2-40B4-BE49-F238E27FC236}">
                <a16:creationId xmlns:a16="http://schemas.microsoft.com/office/drawing/2014/main" id="{34A45B3B-AF53-484B-A007-90CC18993ADA}"/>
              </a:ext>
            </a:extLst>
          </p:cNvPr>
          <p:cNvCxnSpPr/>
          <p:nvPr/>
        </p:nvCxnSpPr>
        <p:spPr>
          <a:xfrm>
            <a:off x="510493" y="3745236"/>
            <a:ext cx="11042220" cy="0"/>
          </a:xfrm>
          <a:prstGeom prst="line">
            <a:avLst/>
          </a:prstGeom>
          <a:ln w="19050">
            <a:solidFill>
              <a:schemeClr val="accent6">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D26357C-5455-4EE7-97F2-CC9FA2089B67}"/>
              </a:ext>
            </a:extLst>
          </p:cNvPr>
          <p:cNvCxnSpPr/>
          <p:nvPr/>
        </p:nvCxnSpPr>
        <p:spPr>
          <a:xfrm>
            <a:off x="510493" y="5059473"/>
            <a:ext cx="11042220" cy="0"/>
          </a:xfrm>
          <a:prstGeom prst="line">
            <a:avLst/>
          </a:prstGeom>
          <a:ln w="19050">
            <a:solidFill>
              <a:schemeClr val="accent6">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31E495E8-DA8B-4B01-A864-38511181265B}"/>
              </a:ext>
            </a:extLst>
          </p:cNvPr>
          <p:cNvSpPr>
            <a:spLocks noChangeArrowheads="1"/>
          </p:cNvSpPr>
          <p:nvPr/>
        </p:nvSpPr>
        <p:spPr bwMode="auto">
          <a:xfrm>
            <a:off x="8077993" y="2426256"/>
            <a:ext cx="3502012" cy="1336173"/>
          </a:xfrm>
          <a:prstGeom prst="rect">
            <a:avLst/>
          </a:prstGeom>
          <a:noFill/>
          <a:ln>
            <a:noFill/>
            <a:prstDash val="solid"/>
          </a:ln>
        </p:spPr>
        <p:style>
          <a:lnRef idx="2">
            <a:schemeClr val="dk1"/>
          </a:lnRef>
          <a:fillRef idx="1">
            <a:schemeClr val="lt1"/>
          </a:fillRef>
          <a:effectRef idx="0">
            <a:schemeClr val="dk1"/>
          </a:effectRef>
          <a:fontRef idx="minor">
            <a:schemeClr val="dk1"/>
          </a:fontRef>
        </p:style>
        <p:txBody>
          <a:bodyPr wrap="square" anchor="ctr">
            <a:noAutofit/>
          </a:bodyPr>
          <a:lstStyle/>
          <a:p>
            <a:pPr marL="150813" marR="0" lvl="0" indent="-150813" algn="l" defTabSz="914400" rtl="0" eaLnBrk="1" fontAlgn="auto" latinLnBrk="0" hangingPunct="1">
              <a:lnSpc>
                <a:spcPct val="110000"/>
              </a:lnSpc>
              <a:spcBef>
                <a:spcPts val="0"/>
              </a:spcBef>
              <a:spcAft>
                <a:spcPts val="300"/>
              </a:spcAft>
              <a:buClr>
                <a:srgbClr val="787878"/>
              </a:buClr>
              <a:buSzPct val="75000"/>
              <a:buFont typeface="Arial"/>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Arial"/>
                <a:sym typeface="Frutiger Next Pro Medium" charset="0"/>
              </a:rPr>
              <a:t>Program management</a:t>
            </a:r>
          </a:p>
          <a:p>
            <a:pPr marL="150813" marR="0" lvl="0" indent="-150813" algn="l" defTabSz="914400" rtl="0" eaLnBrk="1" fontAlgn="auto" latinLnBrk="0" hangingPunct="1">
              <a:lnSpc>
                <a:spcPct val="110000"/>
              </a:lnSpc>
              <a:spcBef>
                <a:spcPts val="0"/>
              </a:spcBef>
              <a:spcAft>
                <a:spcPts val="300"/>
              </a:spcAft>
              <a:buClr>
                <a:srgbClr val="787878"/>
              </a:buClr>
              <a:buSzPct val="75000"/>
              <a:buFont typeface="Arial"/>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Arial"/>
                <a:sym typeface="Frutiger Next Pro Medium" charset="0"/>
              </a:rPr>
              <a:t>Best practices &amp; thought leadership</a:t>
            </a:r>
          </a:p>
          <a:p>
            <a:pPr marL="150813" marR="0" lvl="0" indent="-150813" algn="l" defTabSz="914400" rtl="0" eaLnBrk="1" fontAlgn="auto" latinLnBrk="0" hangingPunct="1">
              <a:lnSpc>
                <a:spcPct val="110000"/>
              </a:lnSpc>
              <a:spcBef>
                <a:spcPts val="0"/>
              </a:spcBef>
              <a:spcAft>
                <a:spcPts val="300"/>
              </a:spcAft>
              <a:buClr>
                <a:srgbClr val="787878"/>
              </a:buClr>
              <a:buSzPct val="75000"/>
              <a:buFont typeface="Arial"/>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Arial"/>
                <a:sym typeface="Frutiger Next Pro Medium" charset="0"/>
              </a:rPr>
              <a:t>Guide team members</a:t>
            </a:r>
          </a:p>
          <a:p>
            <a:pPr marL="150813" marR="0" lvl="0" indent="-150813" algn="l" defTabSz="914400" rtl="0" eaLnBrk="1" fontAlgn="auto" latinLnBrk="0" hangingPunct="1">
              <a:lnSpc>
                <a:spcPct val="110000"/>
              </a:lnSpc>
              <a:spcBef>
                <a:spcPts val="0"/>
              </a:spcBef>
              <a:spcAft>
                <a:spcPts val="300"/>
              </a:spcAft>
              <a:buClr>
                <a:srgbClr val="787878"/>
              </a:buClr>
              <a:buSzPct val="75000"/>
              <a:buFont typeface="Arial"/>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Arial"/>
                <a:sym typeface="Frutiger Next Pro Medium" charset="0"/>
              </a:rPr>
              <a:t>Executive presentations</a:t>
            </a:r>
          </a:p>
        </p:txBody>
      </p:sp>
      <p:sp>
        <p:nvSpPr>
          <p:cNvPr id="19" name="Rectangle 18">
            <a:extLst>
              <a:ext uri="{FF2B5EF4-FFF2-40B4-BE49-F238E27FC236}">
                <a16:creationId xmlns:a16="http://schemas.microsoft.com/office/drawing/2014/main" id="{372EEC5C-90B3-4508-B1FE-F2012E325610}"/>
              </a:ext>
            </a:extLst>
          </p:cNvPr>
          <p:cNvSpPr>
            <a:spLocks noChangeArrowheads="1"/>
          </p:cNvSpPr>
          <p:nvPr/>
        </p:nvSpPr>
        <p:spPr bwMode="auto">
          <a:xfrm>
            <a:off x="8091475" y="3762429"/>
            <a:ext cx="3461237" cy="1289304"/>
          </a:xfrm>
          <a:prstGeom prst="rect">
            <a:avLst/>
          </a:prstGeom>
          <a:noFill/>
          <a:ln>
            <a:noFill/>
            <a:prstDash val="solid"/>
          </a:ln>
        </p:spPr>
        <p:style>
          <a:lnRef idx="2">
            <a:schemeClr val="dk1"/>
          </a:lnRef>
          <a:fillRef idx="1">
            <a:schemeClr val="lt1"/>
          </a:fillRef>
          <a:effectRef idx="0">
            <a:schemeClr val="dk1"/>
          </a:effectRef>
          <a:fontRef idx="minor">
            <a:schemeClr val="dk1"/>
          </a:fontRef>
        </p:style>
        <p:txBody>
          <a:bodyPr wrap="square" anchor="ctr">
            <a:noAutofit/>
          </a:bodyPr>
          <a:lstStyle/>
          <a:p>
            <a:pPr marL="150813" marR="0" lvl="0" indent="-150813" algn="l" defTabSz="914400" rtl="0" eaLnBrk="1" fontAlgn="auto" latinLnBrk="0" hangingPunct="1">
              <a:lnSpc>
                <a:spcPct val="110000"/>
              </a:lnSpc>
              <a:spcBef>
                <a:spcPts val="0"/>
              </a:spcBef>
              <a:spcAft>
                <a:spcPts val="300"/>
              </a:spcAft>
              <a:buClr>
                <a:srgbClr val="787878"/>
              </a:buClr>
              <a:buSzPct val="75000"/>
              <a:buFont typeface="Arial"/>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Arial"/>
                <a:sym typeface="Frutiger Next Pro Medium" charset="0"/>
              </a:rPr>
              <a:t>Architecture review</a:t>
            </a:r>
          </a:p>
          <a:p>
            <a:pPr marL="150813" marR="0" lvl="0" indent="-150813" algn="l" defTabSz="914400" rtl="0" eaLnBrk="1" fontAlgn="auto" latinLnBrk="0" hangingPunct="1">
              <a:lnSpc>
                <a:spcPct val="110000"/>
              </a:lnSpc>
              <a:spcBef>
                <a:spcPts val="0"/>
              </a:spcBef>
              <a:spcAft>
                <a:spcPts val="300"/>
              </a:spcAft>
              <a:buClr>
                <a:srgbClr val="787878"/>
              </a:buClr>
              <a:buSzPct val="75000"/>
              <a:buFont typeface="Arial"/>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Arial"/>
                <a:sym typeface="Frutiger Next Pro Medium" charset="0"/>
              </a:rPr>
              <a:t>Tech stack review</a:t>
            </a:r>
          </a:p>
          <a:p>
            <a:pPr marL="150813" marR="0" lvl="0" indent="-150813" algn="l" defTabSz="914400" rtl="0" eaLnBrk="1" fontAlgn="auto" latinLnBrk="0" hangingPunct="1">
              <a:lnSpc>
                <a:spcPct val="110000"/>
              </a:lnSpc>
              <a:spcBef>
                <a:spcPts val="0"/>
              </a:spcBef>
              <a:spcAft>
                <a:spcPts val="300"/>
              </a:spcAft>
              <a:buClr>
                <a:srgbClr val="787878"/>
              </a:buClr>
              <a:buSzPct val="75000"/>
              <a:buFont typeface="Arial"/>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Arial"/>
                <a:sym typeface="Frutiger Next Pro Medium" charset="0"/>
              </a:rPr>
              <a:t>Capability review</a:t>
            </a:r>
          </a:p>
          <a:p>
            <a:pPr marL="150813" marR="0" lvl="0" indent="-150813" algn="l" defTabSz="914400" rtl="0" eaLnBrk="1" fontAlgn="auto" latinLnBrk="0" hangingPunct="1">
              <a:lnSpc>
                <a:spcPct val="110000"/>
              </a:lnSpc>
              <a:spcBef>
                <a:spcPts val="0"/>
              </a:spcBef>
              <a:spcAft>
                <a:spcPts val="300"/>
              </a:spcAft>
              <a:buClr>
                <a:srgbClr val="787878"/>
              </a:buClr>
              <a:buSzPct val="75000"/>
              <a:buFont typeface="Arial"/>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Arial"/>
                <a:sym typeface="Frutiger Next Pro Medium" charset="0"/>
              </a:rPr>
              <a:t>Benchmark with other engagements </a:t>
            </a:r>
          </a:p>
        </p:txBody>
      </p:sp>
      <p:sp>
        <p:nvSpPr>
          <p:cNvPr id="20" name="Rectangle 18">
            <a:extLst>
              <a:ext uri="{FF2B5EF4-FFF2-40B4-BE49-F238E27FC236}">
                <a16:creationId xmlns:a16="http://schemas.microsoft.com/office/drawing/2014/main" id="{FAB0A1F6-619B-4134-9E9A-EAE3247664EC}"/>
              </a:ext>
            </a:extLst>
          </p:cNvPr>
          <p:cNvSpPr>
            <a:spLocks noChangeArrowheads="1"/>
          </p:cNvSpPr>
          <p:nvPr/>
        </p:nvSpPr>
        <p:spPr bwMode="auto">
          <a:xfrm>
            <a:off x="8077992" y="5059473"/>
            <a:ext cx="3502013" cy="1310083"/>
          </a:xfrm>
          <a:prstGeom prst="rect">
            <a:avLst/>
          </a:prstGeom>
          <a:noFill/>
          <a:ln>
            <a:noFill/>
            <a:prstDash val="solid"/>
          </a:ln>
        </p:spPr>
        <p:style>
          <a:lnRef idx="2">
            <a:schemeClr val="dk1"/>
          </a:lnRef>
          <a:fillRef idx="1">
            <a:schemeClr val="lt1"/>
          </a:fillRef>
          <a:effectRef idx="0">
            <a:schemeClr val="dk1"/>
          </a:effectRef>
          <a:fontRef idx="minor">
            <a:schemeClr val="dk1"/>
          </a:fontRef>
        </p:style>
        <p:txBody>
          <a:bodyPr wrap="square" anchor="ctr">
            <a:noAutofit/>
          </a:bodyPr>
          <a:lstStyle/>
          <a:p>
            <a:pPr marL="150813" marR="0" lvl="0" indent="-150813" algn="l" defTabSz="914400" rtl="0" eaLnBrk="1" fontAlgn="auto" latinLnBrk="0" hangingPunct="1">
              <a:lnSpc>
                <a:spcPct val="110000"/>
              </a:lnSpc>
              <a:spcBef>
                <a:spcPts val="0"/>
              </a:spcBef>
              <a:spcAft>
                <a:spcPts val="300"/>
              </a:spcAft>
              <a:buClr>
                <a:srgbClr val="787878"/>
              </a:buClr>
              <a:buSzPct val="75000"/>
              <a:buFont typeface="Arial"/>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Arial"/>
                <a:sym typeface="Frutiger Next Pro Medium" charset="0"/>
              </a:rPr>
              <a:t>Code review</a:t>
            </a:r>
          </a:p>
          <a:p>
            <a:pPr marL="150813" marR="0" lvl="0" indent="-150813" algn="l" defTabSz="914400" rtl="0" eaLnBrk="1" fontAlgn="auto" latinLnBrk="0" hangingPunct="1">
              <a:lnSpc>
                <a:spcPct val="110000"/>
              </a:lnSpc>
              <a:spcBef>
                <a:spcPts val="0"/>
              </a:spcBef>
              <a:spcAft>
                <a:spcPts val="300"/>
              </a:spcAft>
              <a:buClr>
                <a:srgbClr val="787878"/>
              </a:buClr>
              <a:buSzPct val="75000"/>
              <a:buFont typeface="Arial"/>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Arial"/>
                <a:sym typeface="Frutiger Next Pro Medium" charset="0"/>
              </a:rPr>
              <a:t>QA process review</a:t>
            </a:r>
          </a:p>
          <a:p>
            <a:pPr marL="150813" marR="0" lvl="0" indent="-150813" algn="l" defTabSz="914400" rtl="0" eaLnBrk="1" fontAlgn="auto" latinLnBrk="0" hangingPunct="1">
              <a:lnSpc>
                <a:spcPct val="110000"/>
              </a:lnSpc>
              <a:spcBef>
                <a:spcPts val="0"/>
              </a:spcBef>
              <a:spcAft>
                <a:spcPts val="300"/>
              </a:spcAft>
              <a:buClr>
                <a:srgbClr val="787878"/>
              </a:buClr>
              <a:buSzPct val="75000"/>
              <a:buFont typeface="Arial"/>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Arial"/>
                <a:sym typeface="Frutiger Next Pro Medium" charset="0"/>
              </a:rPr>
              <a:t>Interviews </a:t>
            </a:r>
          </a:p>
          <a:p>
            <a:pPr marL="150813" marR="0" lvl="0" indent="-150813" algn="l" defTabSz="914400" rtl="0" eaLnBrk="1" fontAlgn="auto" latinLnBrk="0" hangingPunct="1">
              <a:lnSpc>
                <a:spcPct val="110000"/>
              </a:lnSpc>
              <a:spcBef>
                <a:spcPts val="0"/>
              </a:spcBef>
              <a:spcAft>
                <a:spcPts val="300"/>
              </a:spcAft>
              <a:buClr>
                <a:srgbClr val="787878"/>
              </a:buClr>
              <a:buSzPct val="75000"/>
              <a:buFont typeface="Arial"/>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Arial"/>
                <a:sym typeface="Frutiger Next Pro Medium" charset="0"/>
              </a:rPr>
              <a:t>Collect data for benchmarking</a:t>
            </a:r>
          </a:p>
        </p:txBody>
      </p:sp>
      <p:sp>
        <p:nvSpPr>
          <p:cNvPr id="21" name="Rectangle 18">
            <a:extLst>
              <a:ext uri="{FF2B5EF4-FFF2-40B4-BE49-F238E27FC236}">
                <a16:creationId xmlns:a16="http://schemas.microsoft.com/office/drawing/2014/main" id="{43AB9E72-B56B-46CB-86BD-2A734C49806C}"/>
              </a:ext>
            </a:extLst>
          </p:cNvPr>
          <p:cNvSpPr>
            <a:spLocks noChangeArrowheads="1"/>
          </p:cNvSpPr>
          <p:nvPr/>
        </p:nvSpPr>
        <p:spPr bwMode="auto">
          <a:xfrm>
            <a:off x="1176824" y="4577435"/>
            <a:ext cx="1341988" cy="288122"/>
          </a:xfrm>
          <a:prstGeom prst="rect">
            <a:avLst/>
          </a:prstGeom>
          <a:noFill/>
          <a:ln>
            <a:noFill/>
            <a:prstDash val="solid"/>
          </a:ln>
        </p:spPr>
        <p:style>
          <a:lnRef idx="2">
            <a:schemeClr val="dk1"/>
          </a:lnRef>
          <a:fillRef idx="1">
            <a:schemeClr val="lt1"/>
          </a:fillRef>
          <a:effectRef idx="0">
            <a:schemeClr val="dk1"/>
          </a:effectRef>
          <a:fontRef idx="minor">
            <a:schemeClr val="dk1"/>
          </a:fontRef>
        </p:style>
        <p:txBody>
          <a:bodyPr wrap="square" lIns="0" tIns="45720" rIns="0" bIns="0" anchor="t">
            <a:noAutofit/>
          </a:bodyPr>
          <a:lstStyle/>
          <a:p>
            <a:pPr marL="0" marR="0" lvl="0" indent="0" algn="ctr" defTabSz="914400" rtl="0" eaLnBrk="1" fontAlgn="auto" latinLnBrk="0" hangingPunct="1">
              <a:lnSpc>
                <a:spcPct val="100000"/>
              </a:lnSpc>
              <a:spcBef>
                <a:spcPts val="0"/>
              </a:spcBef>
              <a:spcAft>
                <a:spcPts val="0"/>
              </a:spcAft>
              <a:buClr>
                <a:srgbClr val="787878"/>
              </a:buClr>
              <a:buSzPct val="75000"/>
              <a:buFontTx/>
              <a:buNone/>
              <a:tabLst/>
              <a:defRPr/>
            </a:pPr>
            <a:r>
              <a:rPr kumimoji="0" lang="en-US" sz="900" b="0" i="0" u="none" strike="noStrike" kern="1200" cap="none" spc="0" normalizeH="0" baseline="0" noProof="0" dirty="0">
                <a:ln>
                  <a:noFill/>
                </a:ln>
                <a:solidFill>
                  <a:srgbClr val="000000"/>
                </a:solidFill>
                <a:effectLst/>
                <a:uLnTx/>
                <a:uFillTx/>
                <a:latin typeface="Frutiger Next Pro Medium" pitchFamily="34" charset="0"/>
                <a:ea typeface="+mn-ea"/>
                <a:cs typeface="Arial"/>
                <a:sym typeface="Frutiger Next Pro Medium" charset="0"/>
              </a:rPr>
              <a:t>Product Owner, Business Analyst</a:t>
            </a:r>
          </a:p>
        </p:txBody>
      </p:sp>
      <p:grpSp>
        <p:nvGrpSpPr>
          <p:cNvPr id="22" name="Group 21">
            <a:extLst>
              <a:ext uri="{FF2B5EF4-FFF2-40B4-BE49-F238E27FC236}">
                <a16:creationId xmlns:a16="http://schemas.microsoft.com/office/drawing/2014/main" id="{088B6A3B-ED51-4510-87DA-D1AF2CE212B0}"/>
              </a:ext>
            </a:extLst>
          </p:cNvPr>
          <p:cNvGrpSpPr>
            <a:grpSpLocks noChangeAspect="1"/>
          </p:cNvGrpSpPr>
          <p:nvPr/>
        </p:nvGrpSpPr>
        <p:grpSpPr>
          <a:xfrm>
            <a:off x="1619819" y="4099497"/>
            <a:ext cx="455998" cy="457200"/>
            <a:chOff x="2870200" y="5289550"/>
            <a:chExt cx="601663" cy="603250"/>
          </a:xfrm>
          <a:solidFill>
            <a:schemeClr val="tx2"/>
          </a:solidFill>
        </p:grpSpPr>
        <p:sp>
          <p:nvSpPr>
            <p:cNvPr id="23" name="Freeform 140">
              <a:extLst>
                <a:ext uri="{FF2B5EF4-FFF2-40B4-BE49-F238E27FC236}">
                  <a16:creationId xmlns:a16="http://schemas.microsoft.com/office/drawing/2014/main" id="{0D3A3A45-41F4-48D8-8355-67E853BB503C}"/>
                </a:ext>
              </a:extLst>
            </p:cNvPr>
            <p:cNvSpPr>
              <a:spLocks noEditPoints="1"/>
            </p:cNvSpPr>
            <p:nvPr/>
          </p:nvSpPr>
          <p:spPr bwMode="auto">
            <a:xfrm>
              <a:off x="3028950" y="5430838"/>
              <a:ext cx="288925" cy="288925"/>
            </a:xfrm>
            <a:custGeom>
              <a:avLst/>
              <a:gdLst>
                <a:gd name="T0" fmla="*/ 290 w 363"/>
                <a:gd name="T1" fmla="*/ 257 h 363"/>
                <a:gd name="T2" fmla="*/ 236 w 363"/>
                <a:gd name="T3" fmla="*/ 227 h 363"/>
                <a:gd name="T4" fmla="*/ 232 w 363"/>
                <a:gd name="T5" fmla="*/ 206 h 363"/>
                <a:gd name="T6" fmla="*/ 246 w 363"/>
                <a:gd name="T7" fmla="*/ 186 h 363"/>
                <a:gd name="T8" fmla="*/ 257 w 363"/>
                <a:gd name="T9" fmla="*/ 161 h 363"/>
                <a:gd name="T10" fmla="*/ 268 w 363"/>
                <a:gd name="T11" fmla="*/ 141 h 363"/>
                <a:gd name="T12" fmla="*/ 268 w 363"/>
                <a:gd name="T13" fmla="*/ 122 h 363"/>
                <a:gd name="T14" fmla="*/ 263 w 363"/>
                <a:gd name="T15" fmla="*/ 75 h 363"/>
                <a:gd name="T16" fmla="*/ 250 w 363"/>
                <a:gd name="T17" fmla="*/ 31 h 363"/>
                <a:gd name="T18" fmla="*/ 216 w 363"/>
                <a:gd name="T19" fmla="*/ 4 h 363"/>
                <a:gd name="T20" fmla="*/ 181 w 363"/>
                <a:gd name="T21" fmla="*/ 0 h 363"/>
                <a:gd name="T22" fmla="*/ 133 w 363"/>
                <a:gd name="T23" fmla="*/ 11 h 363"/>
                <a:gd name="T24" fmla="*/ 105 w 363"/>
                <a:gd name="T25" fmla="*/ 44 h 363"/>
                <a:gd name="T26" fmla="*/ 98 w 363"/>
                <a:gd name="T27" fmla="*/ 112 h 363"/>
                <a:gd name="T28" fmla="*/ 92 w 363"/>
                <a:gd name="T29" fmla="*/ 133 h 363"/>
                <a:gd name="T30" fmla="*/ 95 w 363"/>
                <a:gd name="T31" fmla="*/ 148 h 363"/>
                <a:gd name="T32" fmla="*/ 105 w 363"/>
                <a:gd name="T33" fmla="*/ 161 h 363"/>
                <a:gd name="T34" fmla="*/ 124 w 363"/>
                <a:gd name="T35" fmla="*/ 197 h 363"/>
                <a:gd name="T36" fmla="*/ 131 w 363"/>
                <a:gd name="T37" fmla="*/ 221 h 363"/>
                <a:gd name="T38" fmla="*/ 117 w 363"/>
                <a:gd name="T39" fmla="*/ 232 h 363"/>
                <a:gd name="T40" fmla="*/ 12 w 363"/>
                <a:gd name="T41" fmla="*/ 280 h 363"/>
                <a:gd name="T42" fmla="*/ 3 w 363"/>
                <a:gd name="T43" fmla="*/ 288 h 363"/>
                <a:gd name="T44" fmla="*/ 0 w 363"/>
                <a:gd name="T45" fmla="*/ 343 h 363"/>
                <a:gd name="T46" fmla="*/ 4 w 363"/>
                <a:gd name="T47" fmla="*/ 357 h 363"/>
                <a:gd name="T48" fmla="*/ 343 w 363"/>
                <a:gd name="T49" fmla="*/ 363 h 363"/>
                <a:gd name="T50" fmla="*/ 357 w 363"/>
                <a:gd name="T51" fmla="*/ 357 h 363"/>
                <a:gd name="T52" fmla="*/ 363 w 363"/>
                <a:gd name="T53" fmla="*/ 299 h 363"/>
                <a:gd name="T54" fmla="*/ 358 w 363"/>
                <a:gd name="T55" fmla="*/ 288 h 363"/>
                <a:gd name="T56" fmla="*/ 349 w 363"/>
                <a:gd name="T57" fmla="*/ 280 h 363"/>
                <a:gd name="T58" fmla="*/ 346 w 363"/>
                <a:gd name="T59" fmla="*/ 346 h 363"/>
                <a:gd name="T60" fmla="*/ 19 w 363"/>
                <a:gd name="T61" fmla="*/ 347 h 363"/>
                <a:gd name="T62" fmla="*/ 14 w 363"/>
                <a:gd name="T63" fmla="*/ 299 h 363"/>
                <a:gd name="T64" fmla="*/ 17 w 363"/>
                <a:gd name="T65" fmla="*/ 294 h 363"/>
                <a:gd name="T66" fmla="*/ 81 w 363"/>
                <a:gd name="T67" fmla="*/ 268 h 363"/>
                <a:gd name="T68" fmla="*/ 131 w 363"/>
                <a:gd name="T69" fmla="*/ 241 h 363"/>
                <a:gd name="T70" fmla="*/ 145 w 363"/>
                <a:gd name="T71" fmla="*/ 224 h 363"/>
                <a:gd name="T72" fmla="*/ 145 w 363"/>
                <a:gd name="T73" fmla="*/ 205 h 363"/>
                <a:gd name="T74" fmla="*/ 144 w 363"/>
                <a:gd name="T75" fmla="*/ 199 h 363"/>
                <a:gd name="T76" fmla="*/ 130 w 363"/>
                <a:gd name="T77" fmla="*/ 180 h 363"/>
                <a:gd name="T78" fmla="*/ 119 w 363"/>
                <a:gd name="T79" fmla="*/ 155 h 363"/>
                <a:gd name="T80" fmla="*/ 113 w 363"/>
                <a:gd name="T81" fmla="*/ 147 h 363"/>
                <a:gd name="T82" fmla="*/ 108 w 363"/>
                <a:gd name="T83" fmla="*/ 133 h 363"/>
                <a:gd name="T84" fmla="*/ 113 w 363"/>
                <a:gd name="T85" fmla="*/ 120 h 363"/>
                <a:gd name="T86" fmla="*/ 114 w 363"/>
                <a:gd name="T87" fmla="*/ 75 h 363"/>
                <a:gd name="T88" fmla="*/ 119 w 363"/>
                <a:gd name="T89" fmla="*/ 50 h 363"/>
                <a:gd name="T90" fmla="*/ 141 w 363"/>
                <a:gd name="T91" fmla="*/ 23 h 363"/>
                <a:gd name="T92" fmla="*/ 181 w 363"/>
                <a:gd name="T93" fmla="*/ 14 h 363"/>
                <a:gd name="T94" fmla="*/ 210 w 363"/>
                <a:gd name="T95" fmla="*/ 18 h 363"/>
                <a:gd name="T96" fmla="*/ 238 w 363"/>
                <a:gd name="T97" fmla="*/ 39 h 363"/>
                <a:gd name="T98" fmla="*/ 247 w 363"/>
                <a:gd name="T99" fmla="*/ 75 h 363"/>
                <a:gd name="T100" fmla="*/ 249 w 363"/>
                <a:gd name="T101" fmla="*/ 120 h 363"/>
                <a:gd name="T102" fmla="*/ 255 w 363"/>
                <a:gd name="T103" fmla="*/ 133 h 363"/>
                <a:gd name="T104" fmla="*/ 252 w 363"/>
                <a:gd name="T105" fmla="*/ 142 h 363"/>
                <a:gd name="T106" fmla="*/ 246 w 363"/>
                <a:gd name="T107" fmla="*/ 150 h 363"/>
                <a:gd name="T108" fmla="*/ 238 w 363"/>
                <a:gd name="T109" fmla="*/ 167 h 363"/>
                <a:gd name="T110" fmla="*/ 218 w 363"/>
                <a:gd name="T111" fmla="*/ 199 h 363"/>
                <a:gd name="T112" fmla="*/ 216 w 363"/>
                <a:gd name="T113" fmla="*/ 205 h 363"/>
                <a:gd name="T114" fmla="*/ 216 w 363"/>
                <a:gd name="T115" fmla="*/ 224 h 363"/>
                <a:gd name="T116" fmla="*/ 224 w 363"/>
                <a:gd name="T117" fmla="*/ 235 h 363"/>
                <a:gd name="T118" fmla="*/ 258 w 363"/>
                <a:gd name="T119" fmla="*/ 257 h 363"/>
                <a:gd name="T120" fmla="*/ 344 w 363"/>
                <a:gd name="T121" fmla="*/ 294 h 363"/>
                <a:gd name="T122" fmla="*/ 348 w 363"/>
                <a:gd name="T123" fmla="*/ 299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3" h="363">
                  <a:moveTo>
                    <a:pt x="349" y="280"/>
                  </a:moveTo>
                  <a:lnTo>
                    <a:pt x="349" y="280"/>
                  </a:lnTo>
                  <a:lnTo>
                    <a:pt x="290" y="257"/>
                  </a:lnTo>
                  <a:lnTo>
                    <a:pt x="255" y="238"/>
                  </a:lnTo>
                  <a:lnTo>
                    <a:pt x="244" y="232"/>
                  </a:lnTo>
                  <a:lnTo>
                    <a:pt x="236" y="227"/>
                  </a:lnTo>
                  <a:lnTo>
                    <a:pt x="233" y="224"/>
                  </a:lnTo>
                  <a:lnTo>
                    <a:pt x="232" y="221"/>
                  </a:lnTo>
                  <a:lnTo>
                    <a:pt x="232" y="206"/>
                  </a:lnTo>
                  <a:lnTo>
                    <a:pt x="232" y="206"/>
                  </a:lnTo>
                  <a:lnTo>
                    <a:pt x="239" y="197"/>
                  </a:lnTo>
                  <a:lnTo>
                    <a:pt x="246" y="186"/>
                  </a:lnTo>
                  <a:lnTo>
                    <a:pt x="252" y="174"/>
                  </a:lnTo>
                  <a:lnTo>
                    <a:pt x="257" y="161"/>
                  </a:lnTo>
                  <a:lnTo>
                    <a:pt x="257" y="161"/>
                  </a:lnTo>
                  <a:lnTo>
                    <a:pt x="261" y="155"/>
                  </a:lnTo>
                  <a:lnTo>
                    <a:pt x="266" y="148"/>
                  </a:lnTo>
                  <a:lnTo>
                    <a:pt x="268" y="141"/>
                  </a:lnTo>
                  <a:lnTo>
                    <a:pt x="269" y="133"/>
                  </a:lnTo>
                  <a:lnTo>
                    <a:pt x="269" y="133"/>
                  </a:lnTo>
                  <a:lnTo>
                    <a:pt x="268" y="122"/>
                  </a:lnTo>
                  <a:lnTo>
                    <a:pt x="263" y="112"/>
                  </a:lnTo>
                  <a:lnTo>
                    <a:pt x="263" y="75"/>
                  </a:lnTo>
                  <a:lnTo>
                    <a:pt x="263" y="75"/>
                  </a:lnTo>
                  <a:lnTo>
                    <a:pt x="261" y="58"/>
                  </a:lnTo>
                  <a:lnTo>
                    <a:pt x="257" y="44"/>
                  </a:lnTo>
                  <a:lnTo>
                    <a:pt x="250" y="31"/>
                  </a:lnTo>
                  <a:lnTo>
                    <a:pt x="241" y="20"/>
                  </a:lnTo>
                  <a:lnTo>
                    <a:pt x="230" y="11"/>
                  </a:lnTo>
                  <a:lnTo>
                    <a:pt x="216" y="4"/>
                  </a:lnTo>
                  <a:lnTo>
                    <a:pt x="199" y="1"/>
                  </a:lnTo>
                  <a:lnTo>
                    <a:pt x="181" y="0"/>
                  </a:lnTo>
                  <a:lnTo>
                    <a:pt x="181" y="0"/>
                  </a:lnTo>
                  <a:lnTo>
                    <a:pt x="163" y="1"/>
                  </a:lnTo>
                  <a:lnTo>
                    <a:pt x="147" y="4"/>
                  </a:lnTo>
                  <a:lnTo>
                    <a:pt x="133" y="11"/>
                  </a:lnTo>
                  <a:lnTo>
                    <a:pt x="120" y="20"/>
                  </a:lnTo>
                  <a:lnTo>
                    <a:pt x="111" y="31"/>
                  </a:lnTo>
                  <a:lnTo>
                    <a:pt x="105" y="44"/>
                  </a:lnTo>
                  <a:lnTo>
                    <a:pt x="100" y="59"/>
                  </a:lnTo>
                  <a:lnTo>
                    <a:pt x="98" y="75"/>
                  </a:lnTo>
                  <a:lnTo>
                    <a:pt x="98" y="112"/>
                  </a:lnTo>
                  <a:lnTo>
                    <a:pt x="98" y="112"/>
                  </a:lnTo>
                  <a:lnTo>
                    <a:pt x="94" y="122"/>
                  </a:lnTo>
                  <a:lnTo>
                    <a:pt x="92" y="133"/>
                  </a:lnTo>
                  <a:lnTo>
                    <a:pt x="92" y="133"/>
                  </a:lnTo>
                  <a:lnTo>
                    <a:pt x="94" y="141"/>
                  </a:lnTo>
                  <a:lnTo>
                    <a:pt x="95" y="148"/>
                  </a:lnTo>
                  <a:lnTo>
                    <a:pt x="100" y="155"/>
                  </a:lnTo>
                  <a:lnTo>
                    <a:pt x="105" y="161"/>
                  </a:lnTo>
                  <a:lnTo>
                    <a:pt x="105" y="161"/>
                  </a:lnTo>
                  <a:lnTo>
                    <a:pt x="109" y="174"/>
                  </a:lnTo>
                  <a:lnTo>
                    <a:pt x="116" y="186"/>
                  </a:lnTo>
                  <a:lnTo>
                    <a:pt x="124" y="197"/>
                  </a:lnTo>
                  <a:lnTo>
                    <a:pt x="131" y="206"/>
                  </a:lnTo>
                  <a:lnTo>
                    <a:pt x="131" y="221"/>
                  </a:lnTo>
                  <a:lnTo>
                    <a:pt x="131" y="221"/>
                  </a:lnTo>
                  <a:lnTo>
                    <a:pt x="128" y="224"/>
                  </a:lnTo>
                  <a:lnTo>
                    <a:pt x="125" y="227"/>
                  </a:lnTo>
                  <a:lnTo>
                    <a:pt x="117" y="232"/>
                  </a:lnTo>
                  <a:lnTo>
                    <a:pt x="106" y="238"/>
                  </a:lnTo>
                  <a:lnTo>
                    <a:pt x="72" y="257"/>
                  </a:lnTo>
                  <a:lnTo>
                    <a:pt x="12" y="280"/>
                  </a:lnTo>
                  <a:lnTo>
                    <a:pt x="12" y="280"/>
                  </a:lnTo>
                  <a:lnTo>
                    <a:pt x="6" y="283"/>
                  </a:lnTo>
                  <a:lnTo>
                    <a:pt x="3" y="288"/>
                  </a:lnTo>
                  <a:lnTo>
                    <a:pt x="0" y="293"/>
                  </a:lnTo>
                  <a:lnTo>
                    <a:pt x="0" y="299"/>
                  </a:lnTo>
                  <a:lnTo>
                    <a:pt x="0" y="343"/>
                  </a:lnTo>
                  <a:lnTo>
                    <a:pt x="0" y="343"/>
                  </a:lnTo>
                  <a:lnTo>
                    <a:pt x="1" y="351"/>
                  </a:lnTo>
                  <a:lnTo>
                    <a:pt x="4" y="357"/>
                  </a:lnTo>
                  <a:lnTo>
                    <a:pt x="11" y="362"/>
                  </a:lnTo>
                  <a:lnTo>
                    <a:pt x="19" y="363"/>
                  </a:lnTo>
                  <a:lnTo>
                    <a:pt x="343" y="363"/>
                  </a:lnTo>
                  <a:lnTo>
                    <a:pt x="343" y="363"/>
                  </a:lnTo>
                  <a:lnTo>
                    <a:pt x="351" y="362"/>
                  </a:lnTo>
                  <a:lnTo>
                    <a:pt x="357" y="357"/>
                  </a:lnTo>
                  <a:lnTo>
                    <a:pt x="362" y="351"/>
                  </a:lnTo>
                  <a:lnTo>
                    <a:pt x="363" y="343"/>
                  </a:lnTo>
                  <a:lnTo>
                    <a:pt x="363" y="299"/>
                  </a:lnTo>
                  <a:lnTo>
                    <a:pt x="363" y="299"/>
                  </a:lnTo>
                  <a:lnTo>
                    <a:pt x="362" y="293"/>
                  </a:lnTo>
                  <a:lnTo>
                    <a:pt x="358" y="288"/>
                  </a:lnTo>
                  <a:lnTo>
                    <a:pt x="355" y="283"/>
                  </a:lnTo>
                  <a:lnTo>
                    <a:pt x="349" y="280"/>
                  </a:lnTo>
                  <a:lnTo>
                    <a:pt x="349" y="280"/>
                  </a:lnTo>
                  <a:close/>
                  <a:moveTo>
                    <a:pt x="348" y="343"/>
                  </a:moveTo>
                  <a:lnTo>
                    <a:pt x="348" y="343"/>
                  </a:lnTo>
                  <a:lnTo>
                    <a:pt x="346" y="346"/>
                  </a:lnTo>
                  <a:lnTo>
                    <a:pt x="343" y="347"/>
                  </a:lnTo>
                  <a:lnTo>
                    <a:pt x="19" y="347"/>
                  </a:lnTo>
                  <a:lnTo>
                    <a:pt x="19" y="347"/>
                  </a:lnTo>
                  <a:lnTo>
                    <a:pt x="15" y="346"/>
                  </a:lnTo>
                  <a:lnTo>
                    <a:pt x="14" y="343"/>
                  </a:lnTo>
                  <a:lnTo>
                    <a:pt x="14" y="299"/>
                  </a:lnTo>
                  <a:lnTo>
                    <a:pt x="14" y="299"/>
                  </a:lnTo>
                  <a:lnTo>
                    <a:pt x="15" y="296"/>
                  </a:lnTo>
                  <a:lnTo>
                    <a:pt x="17" y="294"/>
                  </a:lnTo>
                  <a:lnTo>
                    <a:pt x="17" y="294"/>
                  </a:lnTo>
                  <a:lnTo>
                    <a:pt x="53" y="280"/>
                  </a:lnTo>
                  <a:lnTo>
                    <a:pt x="81" y="268"/>
                  </a:lnTo>
                  <a:lnTo>
                    <a:pt x="103" y="257"/>
                  </a:lnTo>
                  <a:lnTo>
                    <a:pt x="120" y="247"/>
                  </a:lnTo>
                  <a:lnTo>
                    <a:pt x="131" y="241"/>
                  </a:lnTo>
                  <a:lnTo>
                    <a:pt x="139" y="235"/>
                  </a:lnTo>
                  <a:lnTo>
                    <a:pt x="142" y="228"/>
                  </a:lnTo>
                  <a:lnTo>
                    <a:pt x="145" y="224"/>
                  </a:lnTo>
                  <a:lnTo>
                    <a:pt x="145" y="224"/>
                  </a:lnTo>
                  <a:lnTo>
                    <a:pt x="145" y="222"/>
                  </a:lnTo>
                  <a:lnTo>
                    <a:pt x="145" y="205"/>
                  </a:lnTo>
                  <a:lnTo>
                    <a:pt x="145" y="205"/>
                  </a:lnTo>
                  <a:lnTo>
                    <a:pt x="145" y="202"/>
                  </a:lnTo>
                  <a:lnTo>
                    <a:pt x="144" y="199"/>
                  </a:lnTo>
                  <a:lnTo>
                    <a:pt x="144" y="199"/>
                  </a:lnTo>
                  <a:lnTo>
                    <a:pt x="136" y="189"/>
                  </a:lnTo>
                  <a:lnTo>
                    <a:pt x="130" y="180"/>
                  </a:lnTo>
                  <a:lnTo>
                    <a:pt x="124" y="167"/>
                  </a:lnTo>
                  <a:lnTo>
                    <a:pt x="119" y="155"/>
                  </a:lnTo>
                  <a:lnTo>
                    <a:pt x="119" y="155"/>
                  </a:lnTo>
                  <a:lnTo>
                    <a:pt x="116" y="150"/>
                  </a:lnTo>
                  <a:lnTo>
                    <a:pt x="116" y="150"/>
                  </a:lnTo>
                  <a:lnTo>
                    <a:pt x="113" y="147"/>
                  </a:lnTo>
                  <a:lnTo>
                    <a:pt x="109" y="142"/>
                  </a:lnTo>
                  <a:lnTo>
                    <a:pt x="108" y="138"/>
                  </a:lnTo>
                  <a:lnTo>
                    <a:pt x="108" y="133"/>
                  </a:lnTo>
                  <a:lnTo>
                    <a:pt x="108" y="133"/>
                  </a:lnTo>
                  <a:lnTo>
                    <a:pt x="109" y="125"/>
                  </a:lnTo>
                  <a:lnTo>
                    <a:pt x="113" y="120"/>
                  </a:lnTo>
                  <a:lnTo>
                    <a:pt x="113" y="120"/>
                  </a:lnTo>
                  <a:lnTo>
                    <a:pt x="114" y="116"/>
                  </a:lnTo>
                  <a:lnTo>
                    <a:pt x="114" y="75"/>
                  </a:lnTo>
                  <a:lnTo>
                    <a:pt x="114" y="75"/>
                  </a:lnTo>
                  <a:lnTo>
                    <a:pt x="114" y="62"/>
                  </a:lnTo>
                  <a:lnTo>
                    <a:pt x="119" y="50"/>
                  </a:lnTo>
                  <a:lnTo>
                    <a:pt x="124" y="39"/>
                  </a:lnTo>
                  <a:lnTo>
                    <a:pt x="131" y="29"/>
                  </a:lnTo>
                  <a:lnTo>
                    <a:pt x="141" y="23"/>
                  </a:lnTo>
                  <a:lnTo>
                    <a:pt x="152" y="18"/>
                  </a:lnTo>
                  <a:lnTo>
                    <a:pt x="166" y="15"/>
                  </a:lnTo>
                  <a:lnTo>
                    <a:pt x="181" y="14"/>
                  </a:lnTo>
                  <a:lnTo>
                    <a:pt x="181" y="14"/>
                  </a:lnTo>
                  <a:lnTo>
                    <a:pt x="196" y="15"/>
                  </a:lnTo>
                  <a:lnTo>
                    <a:pt x="210" y="18"/>
                  </a:lnTo>
                  <a:lnTo>
                    <a:pt x="221" y="23"/>
                  </a:lnTo>
                  <a:lnTo>
                    <a:pt x="232" y="29"/>
                  </a:lnTo>
                  <a:lnTo>
                    <a:pt x="238" y="39"/>
                  </a:lnTo>
                  <a:lnTo>
                    <a:pt x="244" y="50"/>
                  </a:lnTo>
                  <a:lnTo>
                    <a:pt x="247" y="61"/>
                  </a:lnTo>
                  <a:lnTo>
                    <a:pt x="247" y="75"/>
                  </a:lnTo>
                  <a:lnTo>
                    <a:pt x="247" y="116"/>
                  </a:lnTo>
                  <a:lnTo>
                    <a:pt x="247" y="116"/>
                  </a:lnTo>
                  <a:lnTo>
                    <a:pt x="249" y="120"/>
                  </a:lnTo>
                  <a:lnTo>
                    <a:pt x="249" y="120"/>
                  </a:lnTo>
                  <a:lnTo>
                    <a:pt x="254" y="125"/>
                  </a:lnTo>
                  <a:lnTo>
                    <a:pt x="255" y="133"/>
                  </a:lnTo>
                  <a:lnTo>
                    <a:pt x="255" y="133"/>
                  </a:lnTo>
                  <a:lnTo>
                    <a:pt x="254" y="138"/>
                  </a:lnTo>
                  <a:lnTo>
                    <a:pt x="252" y="142"/>
                  </a:lnTo>
                  <a:lnTo>
                    <a:pt x="249" y="147"/>
                  </a:lnTo>
                  <a:lnTo>
                    <a:pt x="246" y="150"/>
                  </a:lnTo>
                  <a:lnTo>
                    <a:pt x="246" y="150"/>
                  </a:lnTo>
                  <a:lnTo>
                    <a:pt x="243" y="155"/>
                  </a:lnTo>
                  <a:lnTo>
                    <a:pt x="243" y="155"/>
                  </a:lnTo>
                  <a:lnTo>
                    <a:pt x="238" y="167"/>
                  </a:lnTo>
                  <a:lnTo>
                    <a:pt x="233" y="180"/>
                  </a:lnTo>
                  <a:lnTo>
                    <a:pt x="225" y="189"/>
                  </a:lnTo>
                  <a:lnTo>
                    <a:pt x="218" y="199"/>
                  </a:lnTo>
                  <a:lnTo>
                    <a:pt x="218" y="199"/>
                  </a:lnTo>
                  <a:lnTo>
                    <a:pt x="216" y="202"/>
                  </a:lnTo>
                  <a:lnTo>
                    <a:pt x="216" y="205"/>
                  </a:lnTo>
                  <a:lnTo>
                    <a:pt x="216" y="222"/>
                  </a:lnTo>
                  <a:lnTo>
                    <a:pt x="216" y="222"/>
                  </a:lnTo>
                  <a:lnTo>
                    <a:pt x="216" y="224"/>
                  </a:lnTo>
                  <a:lnTo>
                    <a:pt x="216" y="224"/>
                  </a:lnTo>
                  <a:lnTo>
                    <a:pt x="219" y="228"/>
                  </a:lnTo>
                  <a:lnTo>
                    <a:pt x="224" y="235"/>
                  </a:lnTo>
                  <a:lnTo>
                    <a:pt x="230" y="241"/>
                  </a:lnTo>
                  <a:lnTo>
                    <a:pt x="243" y="249"/>
                  </a:lnTo>
                  <a:lnTo>
                    <a:pt x="258" y="257"/>
                  </a:lnTo>
                  <a:lnTo>
                    <a:pt x="280" y="268"/>
                  </a:lnTo>
                  <a:lnTo>
                    <a:pt x="308" y="280"/>
                  </a:lnTo>
                  <a:lnTo>
                    <a:pt x="344" y="294"/>
                  </a:lnTo>
                  <a:lnTo>
                    <a:pt x="344" y="294"/>
                  </a:lnTo>
                  <a:lnTo>
                    <a:pt x="348" y="296"/>
                  </a:lnTo>
                  <a:lnTo>
                    <a:pt x="348" y="299"/>
                  </a:lnTo>
                  <a:lnTo>
                    <a:pt x="348" y="34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148">
              <a:extLst>
                <a:ext uri="{FF2B5EF4-FFF2-40B4-BE49-F238E27FC236}">
                  <a16:creationId xmlns:a16="http://schemas.microsoft.com/office/drawing/2014/main" id="{EF6934B2-0757-45DB-9FC4-9E91B9E46E16}"/>
                </a:ext>
              </a:extLst>
            </p:cNvPr>
            <p:cNvSpPr>
              <a:spLocks noEditPoints="1"/>
            </p:cNvSpPr>
            <p:nvPr/>
          </p:nvSpPr>
          <p:spPr bwMode="auto">
            <a:xfrm>
              <a:off x="2870200" y="5289550"/>
              <a:ext cx="601663" cy="603250"/>
            </a:xfrm>
            <a:custGeom>
              <a:avLst/>
              <a:gdLst>
                <a:gd name="T0" fmla="*/ 359 w 758"/>
                <a:gd name="T1" fmla="*/ 758 h 760"/>
                <a:gd name="T2" fmla="*/ 303 w 758"/>
                <a:gd name="T3" fmla="*/ 752 h 760"/>
                <a:gd name="T4" fmla="*/ 232 w 758"/>
                <a:gd name="T5" fmla="*/ 730 h 760"/>
                <a:gd name="T6" fmla="*/ 138 w 758"/>
                <a:gd name="T7" fmla="*/ 672 h 760"/>
                <a:gd name="T8" fmla="*/ 65 w 758"/>
                <a:gd name="T9" fmla="*/ 592 h 760"/>
                <a:gd name="T10" fmla="*/ 18 w 758"/>
                <a:gd name="T11" fmla="*/ 492 h 760"/>
                <a:gd name="T12" fmla="*/ 3 w 758"/>
                <a:gd name="T13" fmla="*/ 437 h 760"/>
                <a:gd name="T14" fmla="*/ 0 w 758"/>
                <a:gd name="T15" fmla="*/ 379 h 760"/>
                <a:gd name="T16" fmla="*/ 2 w 758"/>
                <a:gd name="T17" fmla="*/ 342 h 760"/>
                <a:gd name="T18" fmla="*/ 11 w 758"/>
                <a:gd name="T19" fmla="*/ 285 h 760"/>
                <a:gd name="T20" fmla="*/ 46 w 758"/>
                <a:gd name="T21" fmla="*/ 199 h 760"/>
                <a:gd name="T22" fmla="*/ 112 w 758"/>
                <a:gd name="T23" fmla="*/ 111 h 760"/>
                <a:gd name="T24" fmla="*/ 198 w 758"/>
                <a:gd name="T25" fmla="*/ 47 h 760"/>
                <a:gd name="T26" fmla="*/ 284 w 758"/>
                <a:gd name="T27" fmla="*/ 13 h 760"/>
                <a:gd name="T28" fmla="*/ 340 w 758"/>
                <a:gd name="T29" fmla="*/ 3 h 760"/>
                <a:gd name="T30" fmla="*/ 379 w 758"/>
                <a:gd name="T31" fmla="*/ 0 h 760"/>
                <a:gd name="T32" fmla="*/ 437 w 758"/>
                <a:gd name="T33" fmla="*/ 5 h 760"/>
                <a:gd name="T34" fmla="*/ 492 w 758"/>
                <a:gd name="T35" fmla="*/ 17 h 760"/>
                <a:gd name="T36" fmla="*/ 591 w 758"/>
                <a:gd name="T37" fmla="*/ 66 h 760"/>
                <a:gd name="T38" fmla="*/ 672 w 758"/>
                <a:gd name="T39" fmla="*/ 138 h 760"/>
                <a:gd name="T40" fmla="*/ 729 w 758"/>
                <a:gd name="T41" fmla="*/ 232 h 760"/>
                <a:gd name="T42" fmla="*/ 751 w 758"/>
                <a:gd name="T43" fmla="*/ 304 h 760"/>
                <a:gd name="T44" fmla="*/ 758 w 758"/>
                <a:gd name="T45" fmla="*/ 360 h 760"/>
                <a:gd name="T46" fmla="*/ 758 w 758"/>
                <a:gd name="T47" fmla="*/ 400 h 760"/>
                <a:gd name="T48" fmla="*/ 751 w 758"/>
                <a:gd name="T49" fmla="*/ 456 h 760"/>
                <a:gd name="T50" fmla="*/ 729 w 758"/>
                <a:gd name="T51" fmla="*/ 528 h 760"/>
                <a:gd name="T52" fmla="*/ 672 w 758"/>
                <a:gd name="T53" fmla="*/ 620 h 760"/>
                <a:gd name="T54" fmla="*/ 591 w 758"/>
                <a:gd name="T55" fmla="*/ 694 h 760"/>
                <a:gd name="T56" fmla="*/ 492 w 758"/>
                <a:gd name="T57" fmla="*/ 743 h 760"/>
                <a:gd name="T58" fmla="*/ 437 w 758"/>
                <a:gd name="T59" fmla="*/ 755 h 760"/>
                <a:gd name="T60" fmla="*/ 379 w 758"/>
                <a:gd name="T61" fmla="*/ 760 h 760"/>
                <a:gd name="T62" fmla="*/ 379 w 758"/>
                <a:gd name="T63" fmla="*/ 22 h 760"/>
                <a:gd name="T64" fmla="*/ 273 w 758"/>
                <a:gd name="T65" fmla="*/ 38 h 760"/>
                <a:gd name="T66" fmla="*/ 179 w 758"/>
                <a:gd name="T67" fmla="*/ 83 h 760"/>
                <a:gd name="T68" fmla="*/ 104 w 758"/>
                <a:gd name="T69" fmla="*/ 152 h 760"/>
                <a:gd name="T70" fmla="*/ 49 w 758"/>
                <a:gd name="T71" fmla="*/ 241 h 760"/>
                <a:gd name="T72" fmla="*/ 22 w 758"/>
                <a:gd name="T73" fmla="*/ 343 h 760"/>
                <a:gd name="T74" fmla="*/ 22 w 758"/>
                <a:gd name="T75" fmla="*/ 417 h 760"/>
                <a:gd name="T76" fmla="*/ 49 w 758"/>
                <a:gd name="T77" fmla="*/ 519 h 760"/>
                <a:gd name="T78" fmla="*/ 104 w 758"/>
                <a:gd name="T79" fmla="*/ 608 h 760"/>
                <a:gd name="T80" fmla="*/ 179 w 758"/>
                <a:gd name="T81" fmla="*/ 677 h 760"/>
                <a:gd name="T82" fmla="*/ 273 w 758"/>
                <a:gd name="T83" fmla="*/ 722 h 760"/>
                <a:gd name="T84" fmla="*/ 379 w 758"/>
                <a:gd name="T85" fmla="*/ 738 h 760"/>
                <a:gd name="T86" fmla="*/ 451 w 758"/>
                <a:gd name="T87" fmla="*/ 730 h 760"/>
                <a:gd name="T88" fmla="*/ 550 w 758"/>
                <a:gd name="T89" fmla="*/ 694 h 760"/>
                <a:gd name="T90" fmla="*/ 632 w 758"/>
                <a:gd name="T91" fmla="*/ 633 h 760"/>
                <a:gd name="T92" fmla="*/ 694 w 758"/>
                <a:gd name="T93" fmla="*/ 550 h 760"/>
                <a:gd name="T94" fmla="*/ 730 w 758"/>
                <a:gd name="T95" fmla="*/ 451 h 760"/>
                <a:gd name="T96" fmla="*/ 736 w 758"/>
                <a:gd name="T97" fmla="*/ 379 h 760"/>
                <a:gd name="T98" fmla="*/ 721 w 758"/>
                <a:gd name="T99" fmla="*/ 274 h 760"/>
                <a:gd name="T100" fmla="*/ 675 w 758"/>
                <a:gd name="T101" fmla="*/ 180 h 760"/>
                <a:gd name="T102" fmla="*/ 606 w 758"/>
                <a:gd name="T103" fmla="*/ 104 h 760"/>
                <a:gd name="T104" fmla="*/ 519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9" y="758"/>
                  </a:lnTo>
                  <a:lnTo>
                    <a:pt x="340" y="757"/>
                  </a:lnTo>
                  <a:lnTo>
                    <a:pt x="321" y="755"/>
                  </a:lnTo>
                  <a:lnTo>
                    <a:pt x="303" y="752"/>
                  </a:lnTo>
                  <a:lnTo>
                    <a:pt x="284" y="747"/>
                  </a:lnTo>
                  <a:lnTo>
                    <a:pt x="267" y="743"/>
                  </a:lnTo>
                  <a:lnTo>
                    <a:pt x="232" y="730"/>
                  </a:lnTo>
                  <a:lnTo>
                    <a:pt x="198" y="713"/>
                  </a:lnTo>
                  <a:lnTo>
                    <a:pt x="168" y="694"/>
                  </a:lnTo>
                  <a:lnTo>
                    <a:pt x="138" y="672"/>
                  </a:lnTo>
                  <a:lnTo>
                    <a:pt x="112" y="649"/>
                  </a:lnTo>
                  <a:lnTo>
                    <a:pt x="86" y="620"/>
                  </a:lnTo>
                  <a:lnTo>
                    <a:pt x="65" y="592"/>
                  </a:lnTo>
                  <a:lnTo>
                    <a:pt x="46" y="561"/>
                  </a:lnTo>
                  <a:lnTo>
                    <a:pt x="30" y="528"/>
                  </a:lnTo>
                  <a:lnTo>
                    <a:pt x="18" y="492"/>
                  </a:lnTo>
                  <a:lnTo>
                    <a:pt x="11" y="475"/>
                  </a:lnTo>
                  <a:lnTo>
                    <a:pt x="8" y="456"/>
                  </a:lnTo>
                  <a:lnTo>
                    <a:pt x="3" y="437"/>
                  </a:lnTo>
                  <a:lnTo>
                    <a:pt x="2" y="418"/>
                  </a:lnTo>
                  <a:lnTo>
                    <a:pt x="0" y="400"/>
                  </a:lnTo>
                  <a:lnTo>
                    <a:pt x="0" y="379"/>
                  </a:lnTo>
                  <a:lnTo>
                    <a:pt x="0" y="379"/>
                  </a:lnTo>
                  <a:lnTo>
                    <a:pt x="0" y="360"/>
                  </a:lnTo>
                  <a:lnTo>
                    <a:pt x="2" y="342"/>
                  </a:lnTo>
                  <a:lnTo>
                    <a:pt x="3" y="323"/>
                  </a:lnTo>
                  <a:lnTo>
                    <a:pt x="8" y="304"/>
                  </a:lnTo>
                  <a:lnTo>
                    <a:pt x="11" y="285"/>
                  </a:lnTo>
                  <a:lnTo>
                    <a:pt x="18" y="266"/>
                  </a:lnTo>
                  <a:lnTo>
                    <a:pt x="30" y="232"/>
                  </a:lnTo>
                  <a:lnTo>
                    <a:pt x="46" y="199"/>
                  </a:lnTo>
                  <a:lnTo>
                    <a:pt x="65" y="168"/>
                  </a:lnTo>
                  <a:lnTo>
                    <a:pt x="86" y="138"/>
                  </a:lnTo>
                  <a:lnTo>
                    <a:pt x="112" y="111"/>
                  </a:lnTo>
                  <a:lnTo>
                    <a:pt x="138" y="88"/>
                  </a:lnTo>
                  <a:lnTo>
                    <a:pt x="168" y="66"/>
                  </a:lnTo>
                  <a:lnTo>
                    <a:pt x="198" y="47"/>
                  </a:lnTo>
                  <a:lnTo>
                    <a:pt x="232" y="30"/>
                  </a:lnTo>
                  <a:lnTo>
                    <a:pt x="267" y="17"/>
                  </a:lnTo>
                  <a:lnTo>
                    <a:pt x="284" y="13"/>
                  </a:lnTo>
                  <a:lnTo>
                    <a:pt x="303" y="8"/>
                  </a:lnTo>
                  <a:lnTo>
                    <a:pt x="321" y="5"/>
                  </a:lnTo>
                  <a:lnTo>
                    <a:pt x="340" y="3"/>
                  </a:lnTo>
                  <a:lnTo>
                    <a:pt x="359" y="2"/>
                  </a:lnTo>
                  <a:lnTo>
                    <a:pt x="379" y="0"/>
                  </a:lnTo>
                  <a:lnTo>
                    <a:pt x="379" y="0"/>
                  </a:lnTo>
                  <a:lnTo>
                    <a:pt x="398" y="2"/>
                  </a:lnTo>
                  <a:lnTo>
                    <a:pt x="419" y="3"/>
                  </a:lnTo>
                  <a:lnTo>
                    <a:pt x="437" y="5"/>
                  </a:lnTo>
                  <a:lnTo>
                    <a:pt x="456" y="8"/>
                  </a:lnTo>
                  <a:lnTo>
                    <a:pt x="473" y="13"/>
                  </a:lnTo>
                  <a:lnTo>
                    <a:pt x="492" y="17"/>
                  </a:lnTo>
                  <a:lnTo>
                    <a:pt x="527" y="30"/>
                  </a:lnTo>
                  <a:lnTo>
                    <a:pt x="559" y="47"/>
                  </a:lnTo>
                  <a:lnTo>
                    <a:pt x="591" y="66"/>
                  </a:lnTo>
                  <a:lnTo>
                    <a:pt x="621" y="88"/>
                  </a:lnTo>
                  <a:lnTo>
                    <a:pt x="647" y="111"/>
                  </a:lnTo>
                  <a:lnTo>
                    <a:pt x="672" y="138"/>
                  </a:lnTo>
                  <a:lnTo>
                    <a:pt x="694" y="168"/>
                  </a:lnTo>
                  <a:lnTo>
                    <a:pt x="713" y="199"/>
                  </a:lnTo>
                  <a:lnTo>
                    <a:pt x="729" y="232"/>
                  </a:lnTo>
                  <a:lnTo>
                    <a:pt x="741" y="266"/>
                  </a:lnTo>
                  <a:lnTo>
                    <a:pt x="746" y="285"/>
                  </a:lnTo>
                  <a:lnTo>
                    <a:pt x="751" y="304"/>
                  </a:lnTo>
                  <a:lnTo>
                    <a:pt x="754" y="323"/>
                  </a:lnTo>
                  <a:lnTo>
                    <a:pt x="757" y="342"/>
                  </a:lnTo>
                  <a:lnTo>
                    <a:pt x="758" y="360"/>
                  </a:lnTo>
                  <a:lnTo>
                    <a:pt x="758" y="379"/>
                  </a:lnTo>
                  <a:lnTo>
                    <a:pt x="758" y="379"/>
                  </a:lnTo>
                  <a:lnTo>
                    <a:pt x="758" y="400"/>
                  </a:lnTo>
                  <a:lnTo>
                    <a:pt x="757" y="418"/>
                  </a:lnTo>
                  <a:lnTo>
                    <a:pt x="754" y="437"/>
                  </a:lnTo>
                  <a:lnTo>
                    <a:pt x="751" y="456"/>
                  </a:lnTo>
                  <a:lnTo>
                    <a:pt x="746" y="475"/>
                  </a:lnTo>
                  <a:lnTo>
                    <a:pt x="741" y="492"/>
                  </a:lnTo>
                  <a:lnTo>
                    <a:pt x="729" y="528"/>
                  </a:lnTo>
                  <a:lnTo>
                    <a:pt x="713" y="561"/>
                  </a:lnTo>
                  <a:lnTo>
                    <a:pt x="694" y="592"/>
                  </a:lnTo>
                  <a:lnTo>
                    <a:pt x="672" y="620"/>
                  </a:lnTo>
                  <a:lnTo>
                    <a:pt x="647" y="649"/>
                  </a:lnTo>
                  <a:lnTo>
                    <a:pt x="621" y="672"/>
                  </a:lnTo>
                  <a:lnTo>
                    <a:pt x="591" y="694"/>
                  </a:lnTo>
                  <a:lnTo>
                    <a:pt x="559" y="713"/>
                  </a:lnTo>
                  <a:lnTo>
                    <a:pt x="527" y="730"/>
                  </a:lnTo>
                  <a:lnTo>
                    <a:pt x="492" y="743"/>
                  </a:lnTo>
                  <a:lnTo>
                    <a:pt x="473" y="747"/>
                  </a:lnTo>
                  <a:lnTo>
                    <a:pt x="456" y="752"/>
                  </a:lnTo>
                  <a:lnTo>
                    <a:pt x="437" y="755"/>
                  </a:lnTo>
                  <a:lnTo>
                    <a:pt x="419" y="757"/>
                  </a:lnTo>
                  <a:lnTo>
                    <a:pt x="398" y="758"/>
                  </a:lnTo>
                  <a:lnTo>
                    <a:pt x="379" y="760"/>
                  </a:lnTo>
                  <a:lnTo>
                    <a:pt x="379" y="760"/>
                  </a:lnTo>
                  <a:close/>
                  <a:moveTo>
                    <a:pt x="379" y="22"/>
                  </a:moveTo>
                  <a:lnTo>
                    <a:pt x="379" y="22"/>
                  </a:lnTo>
                  <a:lnTo>
                    <a:pt x="342" y="24"/>
                  </a:lnTo>
                  <a:lnTo>
                    <a:pt x="307" y="30"/>
                  </a:lnTo>
                  <a:lnTo>
                    <a:pt x="273" y="38"/>
                  </a:lnTo>
                  <a:lnTo>
                    <a:pt x="240" y="50"/>
                  </a:lnTo>
                  <a:lnTo>
                    <a:pt x="209" y="66"/>
                  </a:lnTo>
                  <a:lnTo>
                    <a:pt x="179" y="83"/>
                  </a:lnTo>
                  <a:lnTo>
                    <a:pt x="152" y="104"/>
                  </a:lnTo>
                  <a:lnTo>
                    <a:pt x="126" y="127"/>
                  </a:lnTo>
                  <a:lnTo>
                    <a:pt x="104" y="152"/>
                  </a:lnTo>
                  <a:lnTo>
                    <a:pt x="82" y="180"/>
                  </a:lnTo>
                  <a:lnTo>
                    <a:pt x="65" y="210"/>
                  </a:lnTo>
                  <a:lnTo>
                    <a:pt x="49" y="241"/>
                  </a:lnTo>
                  <a:lnTo>
                    <a:pt x="38" y="274"/>
                  </a:lnTo>
                  <a:lnTo>
                    <a:pt x="28" y="307"/>
                  </a:lnTo>
                  <a:lnTo>
                    <a:pt x="22" y="343"/>
                  </a:lnTo>
                  <a:lnTo>
                    <a:pt x="21" y="379"/>
                  </a:lnTo>
                  <a:lnTo>
                    <a:pt x="21" y="379"/>
                  </a:lnTo>
                  <a:lnTo>
                    <a:pt x="22" y="417"/>
                  </a:lnTo>
                  <a:lnTo>
                    <a:pt x="28" y="451"/>
                  </a:lnTo>
                  <a:lnTo>
                    <a:pt x="38" y="486"/>
                  </a:lnTo>
                  <a:lnTo>
                    <a:pt x="49" y="519"/>
                  </a:lnTo>
                  <a:lnTo>
                    <a:pt x="65" y="550"/>
                  </a:lnTo>
                  <a:lnTo>
                    <a:pt x="82" y="580"/>
                  </a:lnTo>
                  <a:lnTo>
                    <a:pt x="104" y="608"/>
                  </a:lnTo>
                  <a:lnTo>
                    <a:pt x="126" y="633"/>
                  </a:lnTo>
                  <a:lnTo>
                    <a:pt x="152" y="656"/>
                  </a:lnTo>
                  <a:lnTo>
                    <a:pt x="179" y="677"/>
                  </a:lnTo>
                  <a:lnTo>
                    <a:pt x="209" y="694"/>
                  </a:lnTo>
                  <a:lnTo>
                    <a:pt x="240" y="710"/>
                  </a:lnTo>
                  <a:lnTo>
                    <a:pt x="273" y="722"/>
                  </a:lnTo>
                  <a:lnTo>
                    <a:pt x="307" y="730"/>
                  </a:lnTo>
                  <a:lnTo>
                    <a:pt x="342" y="736"/>
                  </a:lnTo>
                  <a:lnTo>
                    <a:pt x="379" y="738"/>
                  </a:lnTo>
                  <a:lnTo>
                    <a:pt x="379" y="738"/>
                  </a:lnTo>
                  <a:lnTo>
                    <a:pt x="415" y="736"/>
                  </a:lnTo>
                  <a:lnTo>
                    <a:pt x="451" y="730"/>
                  </a:lnTo>
                  <a:lnTo>
                    <a:pt x="486" y="722"/>
                  </a:lnTo>
                  <a:lnTo>
                    <a:pt x="519" y="710"/>
                  </a:lnTo>
                  <a:lnTo>
                    <a:pt x="550" y="694"/>
                  </a:lnTo>
                  <a:lnTo>
                    <a:pt x="580" y="677"/>
                  </a:lnTo>
                  <a:lnTo>
                    <a:pt x="606" y="656"/>
                  </a:lnTo>
                  <a:lnTo>
                    <a:pt x="632" y="633"/>
                  </a:lnTo>
                  <a:lnTo>
                    <a:pt x="655" y="608"/>
                  </a:lnTo>
                  <a:lnTo>
                    <a:pt x="675" y="580"/>
                  </a:lnTo>
                  <a:lnTo>
                    <a:pt x="694" y="550"/>
                  </a:lnTo>
                  <a:lnTo>
                    <a:pt x="708" y="519"/>
                  </a:lnTo>
                  <a:lnTo>
                    <a:pt x="721" y="486"/>
                  </a:lnTo>
                  <a:lnTo>
                    <a:pt x="730" y="451"/>
                  </a:lnTo>
                  <a:lnTo>
                    <a:pt x="735" y="417"/>
                  </a:lnTo>
                  <a:lnTo>
                    <a:pt x="736" y="379"/>
                  </a:lnTo>
                  <a:lnTo>
                    <a:pt x="736" y="379"/>
                  </a:lnTo>
                  <a:lnTo>
                    <a:pt x="735" y="343"/>
                  </a:lnTo>
                  <a:lnTo>
                    <a:pt x="730" y="307"/>
                  </a:lnTo>
                  <a:lnTo>
                    <a:pt x="721" y="274"/>
                  </a:lnTo>
                  <a:lnTo>
                    <a:pt x="708" y="241"/>
                  </a:lnTo>
                  <a:lnTo>
                    <a:pt x="694" y="210"/>
                  </a:lnTo>
                  <a:lnTo>
                    <a:pt x="675" y="180"/>
                  </a:lnTo>
                  <a:lnTo>
                    <a:pt x="655" y="152"/>
                  </a:lnTo>
                  <a:lnTo>
                    <a:pt x="632" y="127"/>
                  </a:lnTo>
                  <a:lnTo>
                    <a:pt x="606" y="104"/>
                  </a:lnTo>
                  <a:lnTo>
                    <a:pt x="580" y="83"/>
                  </a:lnTo>
                  <a:lnTo>
                    <a:pt x="550" y="66"/>
                  </a:lnTo>
                  <a:lnTo>
                    <a:pt x="519" y="50"/>
                  </a:lnTo>
                  <a:lnTo>
                    <a:pt x="486" y="38"/>
                  </a:lnTo>
                  <a:lnTo>
                    <a:pt x="451" y="30"/>
                  </a:lnTo>
                  <a:lnTo>
                    <a:pt x="415" y="24"/>
                  </a:lnTo>
                  <a:lnTo>
                    <a:pt x="379" y="22"/>
                  </a:lnTo>
                  <a:lnTo>
                    <a:pt x="379"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25" name="Group 24">
            <a:extLst>
              <a:ext uri="{FF2B5EF4-FFF2-40B4-BE49-F238E27FC236}">
                <a16:creationId xmlns:a16="http://schemas.microsoft.com/office/drawing/2014/main" id="{01B5C3F9-9870-4545-8E11-6487264A84F3}"/>
              </a:ext>
            </a:extLst>
          </p:cNvPr>
          <p:cNvGrpSpPr>
            <a:grpSpLocks noChangeAspect="1"/>
          </p:cNvGrpSpPr>
          <p:nvPr/>
        </p:nvGrpSpPr>
        <p:grpSpPr>
          <a:xfrm>
            <a:off x="5331787" y="4075002"/>
            <a:ext cx="455998" cy="457200"/>
            <a:chOff x="3794125" y="5289550"/>
            <a:chExt cx="601663" cy="603250"/>
          </a:xfrm>
          <a:solidFill>
            <a:srgbClr val="404040"/>
          </a:solidFill>
        </p:grpSpPr>
        <p:sp>
          <p:nvSpPr>
            <p:cNvPr id="26" name="Freeform 176">
              <a:extLst>
                <a:ext uri="{FF2B5EF4-FFF2-40B4-BE49-F238E27FC236}">
                  <a16:creationId xmlns:a16="http://schemas.microsoft.com/office/drawing/2014/main" id="{0F439486-4C45-43B0-836F-9A90C670E76E}"/>
                </a:ext>
              </a:extLst>
            </p:cNvPr>
            <p:cNvSpPr>
              <a:spLocks noEditPoints="1"/>
            </p:cNvSpPr>
            <p:nvPr/>
          </p:nvSpPr>
          <p:spPr bwMode="auto">
            <a:xfrm>
              <a:off x="3952875" y="5430838"/>
              <a:ext cx="287338" cy="288925"/>
            </a:xfrm>
            <a:custGeom>
              <a:avLst/>
              <a:gdLst>
                <a:gd name="T0" fmla="*/ 311 w 363"/>
                <a:gd name="T1" fmla="*/ 271 h 365"/>
                <a:gd name="T2" fmla="*/ 238 w 363"/>
                <a:gd name="T3" fmla="*/ 254 h 365"/>
                <a:gd name="T4" fmla="*/ 250 w 363"/>
                <a:gd name="T5" fmla="*/ 234 h 365"/>
                <a:gd name="T6" fmla="*/ 303 w 363"/>
                <a:gd name="T7" fmla="*/ 218 h 365"/>
                <a:gd name="T8" fmla="*/ 310 w 363"/>
                <a:gd name="T9" fmla="*/ 208 h 365"/>
                <a:gd name="T10" fmla="*/ 307 w 363"/>
                <a:gd name="T11" fmla="*/ 202 h 365"/>
                <a:gd name="T12" fmla="*/ 289 w 363"/>
                <a:gd name="T13" fmla="*/ 163 h 365"/>
                <a:gd name="T14" fmla="*/ 278 w 363"/>
                <a:gd name="T15" fmla="*/ 93 h 365"/>
                <a:gd name="T16" fmla="*/ 266 w 363"/>
                <a:gd name="T17" fmla="*/ 52 h 365"/>
                <a:gd name="T18" fmla="*/ 247 w 363"/>
                <a:gd name="T19" fmla="*/ 27 h 365"/>
                <a:gd name="T20" fmla="*/ 214 w 363"/>
                <a:gd name="T21" fmla="*/ 6 h 365"/>
                <a:gd name="T22" fmla="*/ 164 w 363"/>
                <a:gd name="T23" fmla="*/ 3 h 365"/>
                <a:gd name="T24" fmla="*/ 126 w 363"/>
                <a:gd name="T25" fmla="*/ 19 h 365"/>
                <a:gd name="T26" fmla="*/ 104 w 363"/>
                <a:gd name="T27" fmla="*/ 39 h 365"/>
                <a:gd name="T28" fmla="*/ 87 w 363"/>
                <a:gd name="T29" fmla="*/ 80 h 365"/>
                <a:gd name="T30" fmla="*/ 81 w 363"/>
                <a:gd name="T31" fmla="*/ 133 h 365"/>
                <a:gd name="T32" fmla="*/ 62 w 363"/>
                <a:gd name="T33" fmla="*/ 197 h 365"/>
                <a:gd name="T34" fmla="*/ 54 w 363"/>
                <a:gd name="T35" fmla="*/ 208 h 365"/>
                <a:gd name="T36" fmla="*/ 56 w 363"/>
                <a:gd name="T37" fmla="*/ 215 h 365"/>
                <a:gd name="T38" fmla="*/ 98 w 363"/>
                <a:gd name="T39" fmla="*/ 230 h 365"/>
                <a:gd name="T40" fmla="*/ 131 w 363"/>
                <a:gd name="T41" fmla="*/ 251 h 365"/>
                <a:gd name="T42" fmla="*/ 89 w 363"/>
                <a:gd name="T43" fmla="*/ 263 h 365"/>
                <a:gd name="T44" fmla="*/ 14 w 363"/>
                <a:gd name="T45" fmla="*/ 284 h 365"/>
                <a:gd name="T46" fmla="*/ 0 w 363"/>
                <a:gd name="T47" fmla="*/ 301 h 365"/>
                <a:gd name="T48" fmla="*/ 6 w 363"/>
                <a:gd name="T49" fmla="*/ 360 h 365"/>
                <a:gd name="T50" fmla="*/ 344 w 363"/>
                <a:gd name="T51" fmla="*/ 365 h 365"/>
                <a:gd name="T52" fmla="*/ 363 w 363"/>
                <a:gd name="T53" fmla="*/ 346 h 365"/>
                <a:gd name="T54" fmla="*/ 360 w 363"/>
                <a:gd name="T55" fmla="*/ 290 h 365"/>
                <a:gd name="T56" fmla="*/ 349 w 363"/>
                <a:gd name="T57" fmla="*/ 346 h 365"/>
                <a:gd name="T58" fmla="*/ 20 w 363"/>
                <a:gd name="T59" fmla="*/ 351 h 365"/>
                <a:gd name="T60" fmla="*/ 15 w 363"/>
                <a:gd name="T61" fmla="*/ 301 h 365"/>
                <a:gd name="T62" fmla="*/ 18 w 363"/>
                <a:gd name="T63" fmla="*/ 296 h 365"/>
                <a:gd name="T64" fmla="*/ 92 w 363"/>
                <a:gd name="T65" fmla="*/ 277 h 365"/>
                <a:gd name="T66" fmla="*/ 141 w 363"/>
                <a:gd name="T67" fmla="*/ 263 h 365"/>
                <a:gd name="T68" fmla="*/ 147 w 363"/>
                <a:gd name="T69" fmla="*/ 252 h 365"/>
                <a:gd name="T70" fmla="*/ 145 w 363"/>
                <a:gd name="T71" fmla="*/ 223 h 365"/>
                <a:gd name="T72" fmla="*/ 115 w 363"/>
                <a:gd name="T73" fmla="*/ 219 h 365"/>
                <a:gd name="T74" fmla="*/ 73 w 363"/>
                <a:gd name="T75" fmla="*/ 207 h 365"/>
                <a:gd name="T76" fmla="*/ 92 w 363"/>
                <a:gd name="T77" fmla="*/ 152 h 365"/>
                <a:gd name="T78" fmla="*/ 100 w 363"/>
                <a:gd name="T79" fmla="*/ 93 h 365"/>
                <a:gd name="T80" fmla="*/ 112 w 363"/>
                <a:gd name="T81" fmla="*/ 57 h 365"/>
                <a:gd name="T82" fmla="*/ 131 w 363"/>
                <a:gd name="T83" fmla="*/ 35 h 365"/>
                <a:gd name="T84" fmla="*/ 167 w 363"/>
                <a:gd name="T85" fmla="*/ 17 h 365"/>
                <a:gd name="T86" fmla="*/ 209 w 363"/>
                <a:gd name="T87" fmla="*/ 20 h 365"/>
                <a:gd name="T88" fmla="*/ 236 w 363"/>
                <a:gd name="T89" fmla="*/ 36 h 365"/>
                <a:gd name="T90" fmla="*/ 242 w 363"/>
                <a:gd name="T91" fmla="*/ 44 h 365"/>
                <a:gd name="T92" fmla="*/ 261 w 363"/>
                <a:gd name="T93" fmla="*/ 75 h 365"/>
                <a:gd name="T94" fmla="*/ 264 w 363"/>
                <a:gd name="T95" fmla="*/ 104 h 365"/>
                <a:gd name="T96" fmla="*/ 278 w 363"/>
                <a:gd name="T97" fmla="*/ 183 h 365"/>
                <a:gd name="T98" fmla="*/ 281 w 363"/>
                <a:gd name="T99" fmla="*/ 212 h 365"/>
                <a:gd name="T100" fmla="*/ 225 w 363"/>
                <a:gd name="T101" fmla="*/ 219 h 365"/>
                <a:gd name="T102" fmla="*/ 217 w 363"/>
                <a:gd name="T103" fmla="*/ 227 h 365"/>
                <a:gd name="T104" fmla="*/ 217 w 363"/>
                <a:gd name="T105" fmla="*/ 255 h 365"/>
                <a:gd name="T106" fmla="*/ 235 w 363"/>
                <a:gd name="T107" fmla="*/ 270 h 365"/>
                <a:gd name="T108" fmla="*/ 308 w 363"/>
                <a:gd name="T109" fmla="*/ 285 h 365"/>
                <a:gd name="T110" fmla="*/ 347 w 363"/>
                <a:gd name="T111" fmla="*/ 299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63" h="365">
                  <a:moveTo>
                    <a:pt x="350" y="284"/>
                  </a:moveTo>
                  <a:lnTo>
                    <a:pt x="350" y="284"/>
                  </a:lnTo>
                  <a:lnTo>
                    <a:pt x="332" y="276"/>
                  </a:lnTo>
                  <a:lnTo>
                    <a:pt x="311" y="271"/>
                  </a:lnTo>
                  <a:lnTo>
                    <a:pt x="275" y="263"/>
                  </a:lnTo>
                  <a:lnTo>
                    <a:pt x="275" y="263"/>
                  </a:lnTo>
                  <a:lnTo>
                    <a:pt x="249" y="259"/>
                  </a:lnTo>
                  <a:lnTo>
                    <a:pt x="238" y="254"/>
                  </a:lnTo>
                  <a:lnTo>
                    <a:pt x="231" y="251"/>
                  </a:lnTo>
                  <a:lnTo>
                    <a:pt x="231" y="235"/>
                  </a:lnTo>
                  <a:lnTo>
                    <a:pt x="231" y="235"/>
                  </a:lnTo>
                  <a:lnTo>
                    <a:pt x="250" y="234"/>
                  </a:lnTo>
                  <a:lnTo>
                    <a:pt x="266" y="230"/>
                  </a:lnTo>
                  <a:lnTo>
                    <a:pt x="278" y="227"/>
                  </a:lnTo>
                  <a:lnTo>
                    <a:pt x="289" y="224"/>
                  </a:lnTo>
                  <a:lnTo>
                    <a:pt x="303" y="218"/>
                  </a:lnTo>
                  <a:lnTo>
                    <a:pt x="308" y="215"/>
                  </a:lnTo>
                  <a:lnTo>
                    <a:pt x="308" y="215"/>
                  </a:lnTo>
                  <a:lnTo>
                    <a:pt x="310" y="212"/>
                  </a:lnTo>
                  <a:lnTo>
                    <a:pt x="310" y="208"/>
                  </a:lnTo>
                  <a:lnTo>
                    <a:pt x="310" y="208"/>
                  </a:lnTo>
                  <a:lnTo>
                    <a:pt x="310" y="205"/>
                  </a:lnTo>
                  <a:lnTo>
                    <a:pt x="307" y="202"/>
                  </a:lnTo>
                  <a:lnTo>
                    <a:pt x="307" y="202"/>
                  </a:lnTo>
                  <a:lnTo>
                    <a:pt x="302" y="197"/>
                  </a:lnTo>
                  <a:lnTo>
                    <a:pt x="297" y="190"/>
                  </a:lnTo>
                  <a:lnTo>
                    <a:pt x="292" y="177"/>
                  </a:lnTo>
                  <a:lnTo>
                    <a:pt x="289" y="163"/>
                  </a:lnTo>
                  <a:lnTo>
                    <a:pt x="283" y="133"/>
                  </a:lnTo>
                  <a:lnTo>
                    <a:pt x="280" y="104"/>
                  </a:lnTo>
                  <a:lnTo>
                    <a:pt x="280" y="104"/>
                  </a:lnTo>
                  <a:lnTo>
                    <a:pt x="278" y="93"/>
                  </a:lnTo>
                  <a:lnTo>
                    <a:pt x="277" y="82"/>
                  </a:lnTo>
                  <a:lnTo>
                    <a:pt x="275" y="71"/>
                  </a:lnTo>
                  <a:lnTo>
                    <a:pt x="271" y="61"/>
                  </a:lnTo>
                  <a:lnTo>
                    <a:pt x="266" y="52"/>
                  </a:lnTo>
                  <a:lnTo>
                    <a:pt x="261" y="42"/>
                  </a:lnTo>
                  <a:lnTo>
                    <a:pt x="253" y="35"/>
                  </a:lnTo>
                  <a:lnTo>
                    <a:pt x="247" y="27"/>
                  </a:lnTo>
                  <a:lnTo>
                    <a:pt x="247" y="27"/>
                  </a:lnTo>
                  <a:lnTo>
                    <a:pt x="241" y="20"/>
                  </a:lnTo>
                  <a:lnTo>
                    <a:pt x="233" y="14"/>
                  </a:lnTo>
                  <a:lnTo>
                    <a:pt x="224" y="10"/>
                  </a:lnTo>
                  <a:lnTo>
                    <a:pt x="214" y="6"/>
                  </a:lnTo>
                  <a:lnTo>
                    <a:pt x="214" y="6"/>
                  </a:lnTo>
                  <a:lnTo>
                    <a:pt x="198" y="2"/>
                  </a:lnTo>
                  <a:lnTo>
                    <a:pt x="181" y="0"/>
                  </a:lnTo>
                  <a:lnTo>
                    <a:pt x="164" y="3"/>
                  </a:lnTo>
                  <a:lnTo>
                    <a:pt x="148" y="8"/>
                  </a:lnTo>
                  <a:lnTo>
                    <a:pt x="148" y="8"/>
                  </a:lnTo>
                  <a:lnTo>
                    <a:pt x="133" y="14"/>
                  </a:lnTo>
                  <a:lnTo>
                    <a:pt x="126" y="19"/>
                  </a:lnTo>
                  <a:lnTo>
                    <a:pt x="120" y="24"/>
                  </a:lnTo>
                  <a:lnTo>
                    <a:pt x="120" y="24"/>
                  </a:lnTo>
                  <a:lnTo>
                    <a:pt x="112" y="31"/>
                  </a:lnTo>
                  <a:lnTo>
                    <a:pt x="104" y="39"/>
                  </a:lnTo>
                  <a:lnTo>
                    <a:pt x="98" y="49"/>
                  </a:lnTo>
                  <a:lnTo>
                    <a:pt x="94" y="60"/>
                  </a:lnTo>
                  <a:lnTo>
                    <a:pt x="90" y="69"/>
                  </a:lnTo>
                  <a:lnTo>
                    <a:pt x="87" y="80"/>
                  </a:lnTo>
                  <a:lnTo>
                    <a:pt x="86" y="91"/>
                  </a:lnTo>
                  <a:lnTo>
                    <a:pt x="84" y="102"/>
                  </a:lnTo>
                  <a:lnTo>
                    <a:pt x="84" y="102"/>
                  </a:lnTo>
                  <a:lnTo>
                    <a:pt x="81" y="133"/>
                  </a:lnTo>
                  <a:lnTo>
                    <a:pt x="75" y="163"/>
                  </a:lnTo>
                  <a:lnTo>
                    <a:pt x="72" y="177"/>
                  </a:lnTo>
                  <a:lnTo>
                    <a:pt x="67" y="190"/>
                  </a:lnTo>
                  <a:lnTo>
                    <a:pt x="62" y="197"/>
                  </a:lnTo>
                  <a:lnTo>
                    <a:pt x="58" y="202"/>
                  </a:lnTo>
                  <a:lnTo>
                    <a:pt x="58" y="202"/>
                  </a:lnTo>
                  <a:lnTo>
                    <a:pt x="54" y="205"/>
                  </a:lnTo>
                  <a:lnTo>
                    <a:pt x="54" y="208"/>
                  </a:lnTo>
                  <a:lnTo>
                    <a:pt x="54" y="208"/>
                  </a:lnTo>
                  <a:lnTo>
                    <a:pt x="54" y="212"/>
                  </a:lnTo>
                  <a:lnTo>
                    <a:pt x="56" y="215"/>
                  </a:lnTo>
                  <a:lnTo>
                    <a:pt x="56" y="215"/>
                  </a:lnTo>
                  <a:lnTo>
                    <a:pt x="61" y="218"/>
                  </a:lnTo>
                  <a:lnTo>
                    <a:pt x="75" y="224"/>
                  </a:lnTo>
                  <a:lnTo>
                    <a:pt x="86" y="227"/>
                  </a:lnTo>
                  <a:lnTo>
                    <a:pt x="98" y="230"/>
                  </a:lnTo>
                  <a:lnTo>
                    <a:pt x="114" y="234"/>
                  </a:lnTo>
                  <a:lnTo>
                    <a:pt x="131" y="235"/>
                  </a:lnTo>
                  <a:lnTo>
                    <a:pt x="131" y="251"/>
                  </a:lnTo>
                  <a:lnTo>
                    <a:pt x="131" y="251"/>
                  </a:lnTo>
                  <a:lnTo>
                    <a:pt x="126" y="254"/>
                  </a:lnTo>
                  <a:lnTo>
                    <a:pt x="115" y="257"/>
                  </a:lnTo>
                  <a:lnTo>
                    <a:pt x="89" y="263"/>
                  </a:lnTo>
                  <a:lnTo>
                    <a:pt x="89" y="263"/>
                  </a:lnTo>
                  <a:lnTo>
                    <a:pt x="53" y="271"/>
                  </a:lnTo>
                  <a:lnTo>
                    <a:pt x="32" y="276"/>
                  </a:lnTo>
                  <a:lnTo>
                    <a:pt x="14" y="284"/>
                  </a:lnTo>
                  <a:lnTo>
                    <a:pt x="14" y="284"/>
                  </a:lnTo>
                  <a:lnTo>
                    <a:pt x="7" y="287"/>
                  </a:lnTo>
                  <a:lnTo>
                    <a:pt x="4" y="290"/>
                  </a:lnTo>
                  <a:lnTo>
                    <a:pt x="1" y="296"/>
                  </a:lnTo>
                  <a:lnTo>
                    <a:pt x="0" y="301"/>
                  </a:lnTo>
                  <a:lnTo>
                    <a:pt x="0" y="346"/>
                  </a:lnTo>
                  <a:lnTo>
                    <a:pt x="0" y="346"/>
                  </a:lnTo>
                  <a:lnTo>
                    <a:pt x="1" y="354"/>
                  </a:lnTo>
                  <a:lnTo>
                    <a:pt x="6" y="360"/>
                  </a:lnTo>
                  <a:lnTo>
                    <a:pt x="12" y="364"/>
                  </a:lnTo>
                  <a:lnTo>
                    <a:pt x="20" y="365"/>
                  </a:lnTo>
                  <a:lnTo>
                    <a:pt x="344" y="365"/>
                  </a:lnTo>
                  <a:lnTo>
                    <a:pt x="344" y="365"/>
                  </a:lnTo>
                  <a:lnTo>
                    <a:pt x="352" y="364"/>
                  </a:lnTo>
                  <a:lnTo>
                    <a:pt x="358" y="360"/>
                  </a:lnTo>
                  <a:lnTo>
                    <a:pt x="361" y="354"/>
                  </a:lnTo>
                  <a:lnTo>
                    <a:pt x="363" y="346"/>
                  </a:lnTo>
                  <a:lnTo>
                    <a:pt x="363" y="301"/>
                  </a:lnTo>
                  <a:lnTo>
                    <a:pt x="363" y="301"/>
                  </a:lnTo>
                  <a:lnTo>
                    <a:pt x="363" y="296"/>
                  </a:lnTo>
                  <a:lnTo>
                    <a:pt x="360" y="290"/>
                  </a:lnTo>
                  <a:lnTo>
                    <a:pt x="357" y="287"/>
                  </a:lnTo>
                  <a:lnTo>
                    <a:pt x="350" y="284"/>
                  </a:lnTo>
                  <a:lnTo>
                    <a:pt x="350" y="284"/>
                  </a:lnTo>
                  <a:close/>
                  <a:moveTo>
                    <a:pt x="349" y="346"/>
                  </a:moveTo>
                  <a:lnTo>
                    <a:pt x="349" y="346"/>
                  </a:lnTo>
                  <a:lnTo>
                    <a:pt x="347" y="349"/>
                  </a:lnTo>
                  <a:lnTo>
                    <a:pt x="344" y="351"/>
                  </a:lnTo>
                  <a:lnTo>
                    <a:pt x="20" y="351"/>
                  </a:lnTo>
                  <a:lnTo>
                    <a:pt x="20" y="351"/>
                  </a:lnTo>
                  <a:lnTo>
                    <a:pt x="17" y="349"/>
                  </a:lnTo>
                  <a:lnTo>
                    <a:pt x="15" y="346"/>
                  </a:lnTo>
                  <a:lnTo>
                    <a:pt x="15" y="301"/>
                  </a:lnTo>
                  <a:lnTo>
                    <a:pt x="15" y="301"/>
                  </a:lnTo>
                  <a:lnTo>
                    <a:pt x="15" y="299"/>
                  </a:lnTo>
                  <a:lnTo>
                    <a:pt x="18" y="296"/>
                  </a:lnTo>
                  <a:lnTo>
                    <a:pt x="18" y="296"/>
                  </a:lnTo>
                  <a:lnTo>
                    <a:pt x="37" y="290"/>
                  </a:lnTo>
                  <a:lnTo>
                    <a:pt x="56" y="285"/>
                  </a:lnTo>
                  <a:lnTo>
                    <a:pt x="92" y="277"/>
                  </a:lnTo>
                  <a:lnTo>
                    <a:pt x="92" y="277"/>
                  </a:lnTo>
                  <a:lnTo>
                    <a:pt x="112" y="274"/>
                  </a:lnTo>
                  <a:lnTo>
                    <a:pt x="128" y="270"/>
                  </a:lnTo>
                  <a:lnTo>
                    <a:pt x="136" y="266"/>
                  </a:lnTo>
                  <a:lnTo>
                    <a:pt x="141" y="263"/>
                  </a:lnTo>
                  <a:lnTo>
                    <a:pt x="144" y="260"/>
                  </a:lnTo>
                  <a:lnTo>
                    <a:pt x="147" y="255"/>
                  </a:lnTo>
                  <a:lnTo>
                    <a:pt x="147" y="255"/>
                  </a:lnTo>
                  <a:lnTo>
                    <a:pt x="147" y="252"/>
                  </a:lnTo>
                  <a:lnTo>
                    <a:pt x="147" y="227"/>
                  </a:lnTo>
                  <a:lnTo>
                    <a:pt x="147" y="227"/>
                  </a:lnTo>
                  <a:lnTo>
                    <a:pt x="147" y="224"/>
                  </a:lnTo>
                  <a:lnTo>
                    <a:pt x="145" y="223"/>
                  </a:lnTo>
                  <a:lnTo>
                    <a:pt x="142" y="221"/>
                  </a:lnTo>
                  <a:lnTo>
                    <a:pt x="139" y="219"/>
                  </a:lnTo>
                  <a:lnTo>
                    <a:pt x="139" y="219"/>
                  </a:lnTo>
                  <a:lnTo>
                    <a:pt x="115" y="219"/>
                  </a:lnTo>
                  <a:lnTo>
                    <a:pt x="97" y="216"/>
                  </a:lnTo>
                  <a:lnTo>
                    <a:pt x="83" y="212"/>
                  </a:lnTo>
                  <a:lnTo>
                    <a:pt x="73" y="207"/>
                  </a:lnTo>
                  <a:lnTo>
                    <a:pt x="73" y="207"/>
                  </a:lnTo>
                  <a:lnTo>
                    <a:pt x="79" y="196"/>
                  </a:lnTo>
                  <a:lnTo>
                    <a:pt x="86" y="183"/>
                  </a:lnTo>
                  <a:lnTo>
                    <a:pt x="89" y="168"/>
                  </a:lnTo>
                  <a:lnTo>
                    <a:pt x="92" y="152"/>
                  </a:lnTo>
                  <a:lnTo>
                    <a:pt x="97" y="122"/>
                  </a:lnTo>
                  <a:lnTo>
                    <a:pt x="100" y="104"/>
                  </a:lnTo>
                  <a:lnTo>
                    <a:pt x="100" y="104"/>
                  </a:lnTo>
                  <a:lnTo>
                    <a:pt x="100" y="93"/>
                  </a:lnTo>
                  <a:lnTo>
                    <a:pt x="101" y="83"/>
                  </a:lnTo>
                  <a:lnTo>
                    <a:pt x="104" y="74"/>
                  </a:lnTo>
                  <a:lnTo>
                    <a:pt x="108" y="66"/>
                  </a:lnTo>
                  <a:lnTo>
                    <a:pt x="112" y="57"/>
                  </a:lnTo>
                  <a:lnTo>
                    <a:pt x="117" y="49"/>
                  </a:lnTo>
                  <a:lnTo>
                    <a:pt x="123" y="41"/>
                  </a:lnTo>
                  <a:lnTo>
                    <a:pt x="131" y="35"/>
                  </a:lnTo>
                  <a:lnTo>
                    <a:pt x="131" y="35"/>
                  </a:lnTo>
                  <a:lnTo>
                    <a:pt x="141" y="27"/>
                  </a:lnTo>
                  <a:lnTo>
                    <a:pt x="153" y="20"/>
                  </a:lnTo>
                  <a:lnTo>
                    <a:pt x="153" y="20"/>
                  </a:lnTo>
                  <a:lnTo>
                    <a:pt x="167" y="17"/>
                  </a:lnTo>
                  <a:lnTo>
                    <a:pt x="181" y="16"/>
                  </a:lnTo>
                  <a:lnTo>
                    <a:pt x="195" y="17"/>
                  </a:lnTo>
                  <a:lnTo>
                    <a:pt x="209" y="20"/>
                  </a:lnTo>
                  <a:lnTo>
                    <a:pt x="209" y="20"/>
                  </a:lnTo>
                  <a:lnTo>
                    <a:pt x="217" y="24"/>
                  </a:lnTo>
                  <a:lnTo>
                    <a:pt x="225" y="27"/>
                  </a:lnTo>
                  <a:lnTo>
                    <a:pt x="231" y="31"/>
                  </a:lnTo>
                  <a:lnTo>
                    <a:pt x="236" y="36"/>
                  </a:lnTo>
                  <a:lnTo>
                    <a:pt x="236" y="36"/>
                  </a:lnTo>
                  <a:lnTo>
                    <a:pt x="236" y="38"/>
                  </a:lnTo>
                  <a:lnTo>
                    <a:pt x="236" y="38"/>
                  </a:lnTo>
                  <a:lnTo>
                    <a:pt x="242" y="44"/>
                  </a:lnTo>
                  <a:lnTo>
                    <a:pt x="249" y="50"/>
                  </a:lnTo>
                  <a:lnTo>
                    <a:pt x="253" y="58"/>
                  </a:lnTo>
                  <a:lnTo>
                    <a:pt x="258" y="67"/>
                  </a:lnTo>
                  <a:lnTo>
                    <a:pt x="261" y="75"/>
                  </a:lnTo>
                  <a:lnTo>
                    <a:pt x="263" y="85"/>
                  </a:lnTo>
                  <a:lnTo>
                    <a:pt x="264" y="94"/>
                  </a:lnTo>
                  <a:lnTo>
                    <a:pt x="264" y="104"/>
                  </a:lnTo>
                  <a:lnTo>
                    <a:pt x="264" y="104"/>
                  </a:lnTo>
                  <a:lnTo>
                    <a:pt x="267" y="122"/>
                  </a:lnTo>
                  <a:lnTo>
                    <a:pt x="271" y="152"/>
                  </a:lnTo>
                  <a:lnTo>
                    <a:pt x="275" y="168"/>
                  </a:lnTo>
                  <a:lnTo>
                    <a:pt x="278" y="183"/>
                  </a:lnTo>
                  <a:lnTo>
                    <a:pt x="285" y="196"/>
                  </a:lnTo>
                  <a:lnTo>
                    <a:pt x="291" y="207"/>
                  </a:lnTo>
                  <a:lnTo>
                    <a:pt x="291" y="207"/>
                  </a:lnTo>
                  <a:lnTo>
                    <a:pt x="281" y="212"/>
                  </a:lnTo>
                  <a:lnTo>
                    <a:pt x="267" y="216"/>
                  </a:lnTo>
                  <a:lnTo>
                    <a:pt x="249" y="219"/>
                  </a:lnTo>
                  <a:lnTo>
                    <a:pt x="225" y="219"/>
                  </a:lnTo>
                  <a:lnTo>
                    <a:pt x="225" y="219"/>
                  </a:lnTo>
                  <a:lnTo>
                    <a:pt x="222" y="221"/>
                  </a:lnTo>
                  <a:lnTo>
                    <a:pt x="219" y="223"/>
                  </a:lnTo>
                  <a:lnTo>
                    <a:pt x="217" y="224"/>
                  </a:lnTo>
                  <a:lnTo>
                    <a:pt x="217" y="227"/>
                  </a:lnTo>
                  <a:lnTo>
                    <a:pt x="217" y="252"/>
                  </a:lnTo>
                  <a:lnTo>
                    <a:pt x="217" y="252"/>
                  </a:lnTo>
                  <a:lnTo>
                    <a:pt x="217" y="255"/>
                  </a:lnTo>
                  <a:lnTo>
                    <a:pt x="217" y="255"/>
                  </a:lnTo>
                  <a:lnTo>
                    <a:pt x="220" y="260"/>
                  </a:lnTo>
                  <a:lnTo>
                    <a:pt x="224" y="263"/>
                  </a:lnTo>
                  <a:lnTo>
                    <a:pt x="228" y="266"/>
                  </a:lnTo>
                  <a:lnTo>
                    <a:pt x="235" y="270"/>
                  </a:lnTo>
                  <a:lnTo>
                    <a:pt x="252" y="274"/>
                  </a:lnTo>
                  <a:lnTo>
                    <a:pt x="272" y="277"/>
                  </a:lnTo>
                  <a:lnTo>
                    <a:pt x="272" y="277"/>
                  </a:lnTo>
                  <a:lnTo>
                    <a:pt x="308" y="285"/>
                  </a:lnTo>
                  <a:lnTo>
                    <a:pt x="327" y="290"/>
                  </a:lnTo>
                  <a:lnTo>
                    <a:pt x="346" y="296"/>
                  </a:lnTo>
                  <a:lnTo>
                    <a:pt x="346" y="296"/>
                  </a:lnTo>
                  <a:lnTo>
                    <a:pt x="347" y="299"/>
                  </a:lnTo>
                  <a:lnTo>
                    <a:pt x="349" y="301"/>
                  </a:lnTo>
                  <a:lnTo>
                    <a:pt x="349" y="34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184">
              <a:extLst>
                <a:ext uri="{FF2B5EF4-FFF2-40B4-BE49-F238E27FC236}">
                  <a16:creationId xmlns:a16="http://schemas.microsoft.com/office/drawing/2014/main" id="{933A8F58-C465-40ED-ABBD-0F1D5BFA4E99}"/>
                </a:ext>
              </a:extLst>
            </p:cNvPr>
            <p:cNvSpPr>
              <a:spLocks noEditPoints="1"/>
            </p:cNvSpPr>
            <p:nvPr/>
          </p:nvSpPr>
          <p:spPr bwMode="auto">
            <a:xfrm>
              <a:off x="3794125" y="5289550"/>
              <a:ext cx="601663" cy="603250"/>
            </a:xfrm>
            <a:custGeom>
              <a:avLst/>
              <a:gdLst>
                <a:gd name="T0" fmla="*/ 359 w 758"/>
                <a:gd name="T1" fmla="*/ 758 h 760"/>
                <a:gd name="T2" fmla="*/ 302 w 758"/>
                <a:gd name="T3" fmla="*/ 752 h 760"/>
                <a:gd name="T4" fmla="*/ 232 w 758"/>
                <a:gd name="T5" fmla="*/ 730 h 760"/>
                <a:gd name="T6" fmla="*/ 138 w 758"/>
                <a:gd name="T7" fmla="*/ 672 h 760"/>
                <a:gd name="T8" fmla="*/ 64 w 758"/>
                <a:gd name="T9" fmla="*/ 592 h 760"/>
                <a:gd name="T10" fmla="*/ 17 w 758"/>
                <a:gd name="T11" fmla="*/ 492 h 760"/>
                <a:gd name="T12" fmla="*/ 3 w 758"/>
                <a:gd name="T13" fmla="*/ 437 h 760"/>
                <a:gd name="T14" fmla="*/ 0 w 758"/>
                <a:gd name="T15" fmla="*/ 379 h 760"/>
                <a:gd name="T16" fmla="*/ 2 w 758"/>
                <a:gd name="T17" fmla="*/ 342 h 760"/>
                <a:gd name="T18" fmla="*/ 11 w 758"/>
                <a:gd name="T19" fmla="*/ 285 h 760"/>
                <a:gd name="T20" fmla="*/ 45 w 758"/>
                <a:gd name="T21" fmla="*/ 199 h 760"/>
                <a:gd name="T22" fmla="*/ 111 w 758"/>
                <a:gd name="T23" fmla="*/ 111 h 760"/>
                <a:gd name="T24" fmla="*/ 197 w 758"/>
                <a:gd name="T25" fmla="*/ 47 h 760"/>
                <a:gd name="T26" fmla="*/ 284 w 758"/>
                <a:gd name="T27" fmla="*/ 13 h 760"/>
                <a:gd name="T28" fmla="*/ 340 w 758"/>
                <a:gd name="T29" fmla="*/ 3 h 760"/>
                <a:gd name="T30" fmla="*/ 379 w 758"/>
                <a:gd name="T31" fmla="*/ 0 h 760"/>
                <a:gd name="T32" fmla="*/ 437 w 758"/>
                <a:gd name="T33" fmla="*/ 5 h 760"/>
                <a:gd name="T34" fmla="*/ 492 w 758"/>
                <a:gd name="T35" fmla="*/ 17 h 760"/>
                <a:gd name="T36" fmla="*/ 591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1 w 758"/>
                <a:gd name="T55" fmla="*/ 694 h 760"/>
                <a:gd name="T56" fmla="*/ 492 w 758"/>
                <a:gd name="T57" fmla="*/ 743 h 760"/>
                <a:gd name="T58" fmla="*/ 437 w 758"/>
                <a:gd name="T59" fmla="*/ 755 h 760"/>
                <a:gd name="T60" fmla="*/ 379 w 758"/>
                <a:gd name="T61" fmla="*/ 760 h 760"/>
                <a:gd name="T62" fmla="*/ 379 w 758"/>
                <a:gd name="T63" fmla="*/ 22 h 760"/>
                <a:gd name="T64" fmla="*/ 273 w 758"/>
                <a:gd name="T65" fmla="*/ 38 h 760"/>
                <a:gd name="T66" fmla="*/ 179 w 758"/>
                <a:gd name="T67" fmla="*/ 83 h 760"/>
                <a:gd name="T68" fmla="*/ 103 w 758"/>
                <a:gd name="T69" fmla="*/ 152 h 760"/>
                <a:gd name="T70" fmla="*/ 49 w 758"/>
                <a:gd name="T71" fmla="*/ 241 h 760"/>
                <a:gd name="T72" fmla="*/ 22 w 758"/>
                <a:gd name="T73" fmla="*/ 343 h 760"/>
                <a:gd name="T74" fmla="*/ 22 w 758"/>
                <a:gd name="T75" fmla="*/ 417 h 760"/>
                <a:gd name="T76" fmla="*/ 49 w 758"/>
                <a:gd name="T77" fmla="*/ 519 h 760"/>
                <a:gd name="T78" fmla="*/ 103 w 758"/>
                <a:gd name="T79" fmla="*/ 608 h 760"/>
                <a:gd name="T80" fmla="*/ 179 w 758"/>
                <a:gd name="T81" fmla="*/ 677 h 760"/>
                <a:gd name="T82" fmla="*/ 273 w 758"/>
                <a:gd name="T83" fmla="*/ 722 h 760"/>
                <a:gd name="T84" fmla="*/ 379 w 758"/>
                <a:gd name="T85" fmla="*/ 738 h 760"/>
                <a:gd name="T86" fmla="*/ 451 w 758"/>
                <a:gd name="T87" fmla="*/ 730 h 760"/>
                <a:gd name="T88" fmla="*/ 550 w 758"/>
                <a:gd name="T89" fmla="*/ 694 h 760"/>
                <a:gd name="T90" fmla="*/ 631 w 758"/>
                <a:gd name="T91" fmla="*/ 633 h 760"/>
                <a:gd name="T92" fmla="*/ 694 w 758"/>
                <a:gd name="T93" fmla="*/ 550 h 760"/>
                <a:gd name="T94" fmla="*/ 730 w 758"/>
                <a:gd name="T95" fmla="*/ 451 h 760"/>
                <a:gd name="T96" fmla="*/ 736 w 758"/>
                <a:gd name="T97" fmla="*/ 379 h 760"/>
                <a:gd name="T98" fmla="*/ 721 w 758"/>
                <a:gd name="T99" fmla="*/ 274 h 760"/>
                <a:gd name="T100" fmla="*/ 675 w 758"/>
                <a:gd name="T101" fmla="*/ 180 h 760"/>
                <a:gd name="T102" fmla="*/ 606 w 758"/>
                <a:gd name="T103" fmla="*/ 104 h 760"/>
                <a:gd name="T104" fmla="*/ 519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9" y="758"/>
                  </a:lnTo>
                  <a:lnTo>
                    <a:pt x="340" y="757"/>
                  </a:lnTo>
                  <a:lnTo>
                    <a:pt x="321" y="755"/>
                  </a:lnTo>
                  <a:lnTo>
                    <a:pt x="302" y="752"/>
                  </a:lnTo>
                  <a:lnTo>
                    <a:pt x="284" y="747"/>
                  </a:lnTo>
                  <a:lnTo>
                    <a:pt x="266" y="743"/>
                  </a:lnTo>
                  <a:lnTo>
                    <a:pt x="232" y="730"/>
                  </a:lnTo>
                  <a:lnTo>
                    <a:pt x="197" y="713"/>
                  </a:lnTo>
                  <a:lnTo>
                    <a:pt x="166" y="694"/>
                  </a:lnTo>
                  <a:lnTo>
                    <a:pt x="138" y="672"/>
                  </a:lnTo>
                  <a:lnTo>
                    <a:pt x="111" y="649"/>
                  </a:lnTo>
                  <a:lnTo>
                    <a:pt x="86" y="620"/>
                  </a:lnTo>
                  <a:lnTo>
                    <a:pt x="64" y="592"/>
                  </a:lnTo>
                  <a:lnTo>
                    <a:pt x="45" y="561"/>
                  </a:lnTo>
                  <a:lnTo>
                    <a:pt x="30" y="528"/>
                  </a:lnTo>
                  <a:lnTo>
                    <a:pt x="17" y="492"/>
                  </a:lnTo>
                  <a:lnTo>
                    <a:pt x="11" y="475"/>
                  </a:lnTo>
                  <a:lnTo>
                    <a:pt x="8" y="456"/>
                  </a:lnTo>
                  <a:lnTo>
                    <a:pt x="3" y="437"/>
                  </a:lnTo>
                  <a:lnTo>
                    <a:pt x="2" y="418"/>
                  </a:lnTo>
                  <a:lnTo>
                    <a:pt x="0" y="400"/>
                  </a:lnTo>
                  <a:lnTo>
                    <a:pt x="0" y="379"/>
                  </a:lnTo>
                  <a:lnTo>
                    <a:pt x="0" y="379"/>
                  </a:lnTo>
                  <a:lnTo>
                    <a:pt x="0" y="360"/>
                  </a:lnTo>
                  <a:lnTo>
                    <a:pt x="2" y="342"/>
                  </a:lnTo>
                  <a:lnTo>
                    <a:pt x="3" y="323"/>
                  </a:lnTo>
                  <a:lnTo>
                    <a:pt x="8" y="304"/>
                  </a:lnTo>
                  <a:lnTo>
                    <a:pt x="11" y="285"/>
                  </a:lnTo>
                  <a:lnTo>
                    <a:pt x="17" y="266"/>
                  </a:lnTo>
                  <a:lnTo>
                    <a:pt x="30" y="232"/>
                  </a:lnTo>
                  <a:lnTo>
                    <a:pt x="45" y="199"/>
                  </a:lnTo>
                  <a:lnTo>
                    <a:pt x="64" y="168"/>
                  </a:lnTo>
                  <a:lnTo>
                    <a:pt x="86" y="138"/>
                  </a:lnTo>
                  <a:lnTo>
                    <a:pt x="111" y="111"/>
                  </a:lnTo>
                  <a:lnTo>
                    <a:pt x="138" y="88"/>
                  </a:lnTo>
                  <a:lnTo>
                    <a:pt x="166" y="66"/>
                  </a:lnTo>
                  <a:lnTo>
                    <a:pt x="197" y="47"/>
                  </a:lnTo>
                  <a:lnTo>
                    <a:pt x="232" y="30"/>
                  </a:lnTo>
                  <a:lnTo>
                    <a:pt x="266" y="17"/>
                  </a:lnTo>
                  <a:lnTo>
                    <a:pt x="284" y="13"/>
                  </a:lnTo>
                  <a:lnTo>
                    <a:pt x="302" y="8"/>
                  </a:lnTo>
                  <a:lnTo>
                    <a:pt x="321" y="5"/>
                  </a:lnTo>
                  <a:lnTo>
                    <a:pt x="340" y="3"/>
                  </a:lnTo>
                  <a:lnTo>
                    <a:pt x="359" y="2"/>
                  </a:lnTo>
                  <a:lnTo>
                    <a:pt x="379" y="0"/>
                  </a:lnTo>
                  <a:lnTo>
                    <a:pt x="379" y="0"/>
                  </a:lnTo>
                  <a:lnTo>
                    <a:pt x="398" y="2"/>
                  </a:lnTo>
                  <a:lnTo>
                    <a:pt x="418" y="3"/>
                  </a:lnTo>
                  <a:lnTo>
                    <a:pt x="437" y="5"/>
                  </a:lnTo>
                  <a:lnTo>
                    <a:pt x="456" y="8"/>
                  </a:lnTo>
                  <a:lnTo>
                    <a:pt x="473" y="13"/>
                  </a:lnTo>
                  <a:lnTo>
                    <a:pt x="492" y="17"/>
                  </a:lnTo>
                  <a:lnTo>
                    <a:pt x="526" y="30"/>
                  </a:lnTo>
                  <a:lnTo>
                    <a:pt x="559" y="47"/>
                  </a:lnTo>
                  <a:lnTo>
                    <a:pt x="591" y="66"/>
                  </a:lnTo>
                  <a:lnTo>
                    <a:pt x="620" y="88"/>
                  </a:lnTo>
                  <a:lnTo>
                    <a:pt x="647" y="111"/>
                  </a:lnTo>
                  <a:lnTo>
                    <a:pt x="672" y="138"/>
                  </a:lnTo>
                  <a:lnTo>
                    <a:pt x="694" y="168"/>
                  </a:lnTo>
                  <a:lnTo>
                    <a:pt x="713" y="199"/>
                  </a:lnTo>
                  <a:lnTo>
                    <a:pt x="728" y="232"/>
                  </a:lnTo>
                  <a:lnTo>
                    <a:pt x="741" y="266"/>
                  </a:lnTo>
                  <a:lnTo>
                    <a:pt x="746" y="285"/>
                  </a:lnTo>
                  <a:lnTo>
                    <a:pt x="750" y="304"/>
                  </a:lnTo>
                  <a:lnTo>
                    <a:pt x="753" y="323"/>
                  </a:lnTo>
                  <a:lnTo>
                    <a:pt x="757" y="342"/>
                  </a:lnTo>
                  <a:lnTo>
                    <a:pt x="758" y="360"/>
                  </a:lnTo>
                  <a:lnTo>
                    <a:pt x="758" y="379"/>
                  </a:lnTo>
                  <a:lnTo>
                    <a:pt x="758" y="379"/>
                  </a:lnTo>
                  <a:lnTo>
                    <a:pt x="758" y="400"/>
                  </a:lnTo>
                  <a:lnTo>
                    <a:pt x="757" y="418"/>
                  </a:lnTo>
                  <a:lnTo>
                    <a:pt x="753" y="437"/>
                  </a:lnTo>
                  <a:lnTo>
                    <a:pt x="750" y="456"/>
                  </a:lnTo>
                  <a:lnTo>
                    <a:pt x="746" y="475"/>
                  </a:lnTo>
                  <a:lnTo>
                    <a:pt x="741" y="492"/>
                  </a:lnTo>
                  <a:lnTo>
                    <a:pt x="728" y="528"/>
                  </a:lnTo>
                  <a:lnTo>
                    <a:pt x="713" y="561"/>
                  </a:lnTo>
                  <a:lnTo>
                    <a:pt x="694" y="592"/>
                  </a:lnTo>
                  <a:lnTo>
                    <a:pt x="672" y="620"/>
                  </a:lnTo>
                  <a:lnTo>
                    <a:pt x="647" y="649"/>
                  </a:lnTo>
                  <a:lnTo>
                    <a:pt x="620" y="672"/>
                  </a:lnTo>
                  <a:lnTo>
                    <a:pt x="591" y="694"/>
                  </a:lnTo>
                  <a:lnTo>
                    <a:pt x="559" y="713"/>
                  </a:lnTo>
                  <a:lnTo>
                    <a:pt x="526" y="730"/>
                  </a:lnTo>
                  <a:lnTo>
                    <a:pt x="492" y="743"/>
                  </a:lnTo>
                  <a:lnTo>
                    <a:pt x="473" y="747"/>
                  </a:lnTo>
                  <a:lnTo>
                    <a:pt x="456" y="752"/>
                  </a:lnTo>
                  <a:lnTo>
                    <a:pt x="437" y="755"/>
                  </a:lnTo>
                  <a:lnTo>
                    <a:pt x="418" y="757"/>
                  </a:lnTo>
                  <a:lnTo>
                    <a:pt x="398" y="758"/>
                  </a:lnTo>
                  <a:lnTo>
                    <a:pt x="379" y="760"/>
                  </a:lnTo>
                  <a:lnTo>
                    <a:pt x="379" y="760"/>
                  </a:lnTo>
                  <a:close/>
                  <a:moveTo>
                    <a:pt x="379" y="22"/>
                  </a:moveTo>
                  <a:lnTo>
                    <a:pt x="379" y="22"/>
                  </a:lnTo>
                  <a:lnTo>
                    <a:pt x="342" y="24"/>
                  </a:lnTo>
                  <a:lnTo>
                    <a:pt x="307" y="30"/>
                  </a:lnTo>
                  <a:lnTo>
                    <a:pt x="273" y="38"/>
                  </a:lnTo>
                  <a:lnTo>
                    <a:pt x="240" y="50"/>
                  </a:lnTo>
                  <a:lnTo>
                    <a:pt x="208" y="66"/>
                  </a:lnTo>
                  <a:lnTo>
                    <a:pt x="179" y="83"/>
                  </a:lnTo>
                  <a:lnTo>
                    <a:pt x="152" y="104"/>
                  </a:lnTo>
                  <a:lnTo>
                    <a:pt x="125" y="127"/>
                  </a:lnTo>
                  <a:lnTo>
                    <a:pt x="103" y="152"/>
                  </a:lnTo>
                  <a:lnTo>
                    <a:pt x="82" y="180"/>
                  </a:lnTo>
                  <a:lnTo>
                    <a:pt x="64" y="210"/>
                  </a:lnTo>
                  <a:lnTo>
                    <a:pt x="49" y="241"/>
                  </a:lnTo>
                  <a:lnTo>
                    <a:pt x="38" y="274"/>
                  </a:lnTo>
                  <a:lnTo>
                    <a:pt x="28" y="307"/>
                  </a:lnTo>
                  <a:lnTo>
                    <a:pt x="22" y="343"/>
                  </a:lnTo>
                  <a:lnTo>
                    <a:pt x="20" y="379"/>
                  </a:lnTo>
                  <a:lnTo>
                    <a:pt x="20" y="379"/>
                  </a:lnTo>
                  <a:lnTo>
                    <a:pt x="22" y="417"/>
                  </a:lnTo>
                  <a:lnTo>
                    <a:pt x="28" y="451"/>
                  </a:lnTo>
                  <a:lnTo>
                    <a:pt x="38" y="486"/>
                  </a:lnTo>
                  <a:lnTo>
                    <a:pt x="49" y="519"/>
                  </a:lnTo>
                  <a:lnTo>
                    <a:pt x="64" y="550"/>
                  </a:lnTo>
                  <a:lnTo>
                    <a:pt x="82" y="580"/>
                  </a:lnTo>
                  <a:lnTo>
                    <a:pt x="103" y="608"/>
                  </a:lnTo>
                  <a:lnTo>
                    <a:pt x="125" y="633"/>
                  </a:lnTo>
                  <a:lnTo>
                    <a:pt x="152" y="656"/>
                  </a:lnTo>
                  <a:lnTo>
                    <a:pt x="179" y="677"/>
                  </a:lnTo>
                  <a:lnTo>
                    <a:pt x="208" y="694"/>
                  </a:lnTo>
                  <a:lnTo>
                    <a:pt x="240" y="710"/>
                  </a:lnTo>
                  <a:lnTo>
                    <a:pt x="273" y="722"/>
                  </a:lnTo>
                  <a:lnTo>
                    <a:pt x="307" y="730"/>
                  </a:lnTo>
                  <a:lnTo>
                    <a:pt x="342" y="736"/>
                  </a:lnTo>
                  <a:lnTo>
                    <a:pt x="379" y="738"/>
                  </a:lnTo>
                  <a:lnTo>
                    <a:pt x="379" y="738"/>
                  </a:lnTo>
                  <a:lnTo>
                    <a:pt x="415" y="736"/>
                  </a:lnTo>
                  <a:lnTo>
                    <a:pt x="451" y="730"/>
                  </a:lnTo>
                  <a:lnTo>
                    <a:pt x="486" y="722"/>
                  </a:lnTo>
                  <a:lnTo>
                    <a:pt x="519" y="710"/>
                  </a:lnTo>
                  <a:lnTo>
                    <a:pt x="550" y="694"/>
                  </a:lnTo>
                  <a:lnTo>
                    <a:pt x="578" y="677"/>
                  </a:lnTo>
                  <a:lnTo>
                    <a:pt x="606" y="656"/>
                  </a:lnTo>
                  <a:lnTo>
                    <a:pt x="631" y="633"/>
                  </a:lnTo>
                  <a:lnTo>
                    <a:pt x="655" y="608"/>
                  </a:lnTo>
                  <a:lnTo>
                    <a:pt x="675" y="580"/>
                  </a:lnTo>
                  <a:lnTo>
                    <a:pt x="694" y="550"/>
                  </a:lnTo>
                  <a:lnTo>
                    <a:pt x="708" y="519"/>
                  </a:lnTo>
                  <a:lnTo>
                    <a:pt x="721" y="486"/>
                  </a:lnTo>
                  <a:lnTo>
                    <a:pt x="730" y="451"/>
                  </a:lnTo>
                  <a:lnTo>
                    <a:pt x="735" y="417"/>
                  </a:lnTo>
                  <a:lnTo>
                    <a:pt x="736" y="379"/>
                  </a:lnTo>
                  <a:lnTo>
                    <a:pt x="736" y="379"/>
                  </a:lnTo>
                  <a:lnTo>
                    <a:pt x="735" y="343"/>
                  </a:lnTo>
                  <a:lnTo>
                    <a:pt x="730" y="307"/>
                  </a:lnTo>
                  <a:lnTo>
                    <a:pt x="721" y="274"/>
                  </a:lnTo>
                  <a:lnTo>
                    <a:pt x="708" y="241"/>
                  </a:lnTo>
                  <a:lnTo>
                    <a:pt x="694" y="210"/>
                  </a:lnTo>
                  <a:lnTo>
                    <a:pt x="675" y="180"/>
                  </a:lnTo>
                  <a:lnTo>
                    <a:pt x="655" y="152"/>
                  </a:lnTo>
                  <a:lnTo>
                    <a:pt x="631" y="127"/>
                  </a:lnTo>
                  <a:lnTo>
                    <a:pt x="606" y="104"/>
                  </a:lnTo>
                  <a:lnTo>
                    <a:pt x="578" y="83"/>
                  </a:lnTo>
                  <a:lnTo>
                    <a:pt x="550" y="66"/>
                  </a:lnTo>
                  <a:lnTo>
                    <a:pt x="519" y="50"/>
                  </a:lnTo>
                  <a:lnTo>
                    <a:pt x="486" y="38"/>
                  </a:lnTo>
                  <a:lnTo>
                    <a:pt x="451" y="30"/>
                  </a:lnTo>
                  <a:lnTo>
                    <a:pt x="415" y="24"/>
                  </a:lnTo>
                  <a:lnTo>
                    <a:pt x="379" y="22"/>
                  </a:lnTo>
                  <a:lnTo>
                    <a:pt x="379"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28" name="Group 27">
            <a:extLst>
              <a:ext uri="{FF2B5EF4-FFF2-40B4-BE49-F238E27FC236}">
                <a16:creationId xmlns:a16="http://schemas.microsoft.com/office/drawing/2014/main" id="{7E48BE37-9812-41DF-AB4A-C22ECDF57F43}"/>
              </a:ext>
            </a:extLst>
          </p:cNvPr>
          <p:cNvGrpSpPr>
            <a:grpSpLocks noChangeAspect="1"/>
          </p:cNvGrpSpPr>
          <p:nvPr/>
        </p:nvGrpSpPr>
        <p:grpSpPr>
          <a:xfrm>
            <a:off x="2007092" y="2776495"/>
            <a:ext cx="455998" cy="457200"/>
            <a:chOff x="3794125" y="5289550"/>
            <a:chExt cx="601663" cy="603250"/>
          </a:xfrm>
          <a:solidFill>
            <a:srgbClr val="404040"/>
          </a:solidFill>
        </p:grpSpPr>
        <p:sp>
          <p:nvSpPr>
            <p:cNvPr id="29" name="Freeform 176">
              <a:extLst>
                <a:ext uri="{FF2B5EF4-FFF2-40B4-BE49-F238E27FC236}">
                  <a16:creationId xmlns:a16="http://schemas.microsoft.com/office/drawing/2014/main" id="{5CECD809-3ECC-4546-933E-6CED27204372}"/>
                </a:ext>
              </a:extLst>
            </p:cNvPr>
            <p:cNvSpPr>
              <a:spLocks noEditPoints="1"/>
            </p:cNvSpPr>
            <p:nvPr/>
          </p:nvSpPr>
          <p:spPr bwMode="auto">
            <a:xfrm>
              <a:off x="3952875" y="5430838"/>
              <a:ext cx="287338" cy="288925"/>
            </a:xfrm>
            <a:custGeom>
              <a:avLst/>
              <a:gdLst>
                <a:gd name="T0" fmla="*/ 311 w 363"/>
                <a:gd name="T1" fmla="*/ 271 h 365"/>
                <a:gd name="T2" fmla="*/ 238 w 363"/>
                <a:gd name="T3" fmla="*/ 254 h 365"/>
                <a:gd name="T4" fmla="*/ 250 w 363"/>
                <a:gd name="T5" fmla="*/ 234 h 365"/>
                <a:gd name="T6" fmla="*/ 303 w 363"/>
                <a:gd name="T7" fmla="*/ 218 h 365"/>
                <a:gd name="T8" fmla="*/ 310 w 363"/>
                <a:gd name="T9" fmla="*/ 208 h 365"/>
                <a:gd name="T10" fmla="*/ 307 w 363"/>
                <a:gd name="T11" fmla="*/ 202 h 365"/>
                <a:gd name="T12" fmla="*/ 289 w 363"/>
                <a:gd name="T13" fmla="*/ 163 h 365"/>
                <a:gd name="T14" fmla="*/ 278 w 363"/>
                <a:gd name="T15" fmla="*/ 93 h 365"/>
                <a:gd name="T16" fmla="*/ 266 w 363"/>
                <a:gd name="T17" fmla="*/ 52 h 365"/>
                <a:gd name="T18" fmla="*/ 247 w 363"/>
                <a:gd name="T19" fmla="*/ 27 h 365"/>
                <a:gd name="T20" fmla="*/ 214 w 363"/>
                <a:gd name="T21" fmla="*/ 6 h 365"/>
                <a:gd name="T22" fmla="*/ 164 w 363"/>
                <a:gd name="T23" fmla="*/ 3 h 365"/>
                <a:gd name="T24" fmla="*/ 126 w 363"/>
                <a:gd name="T25" fmla="*/ 19 h 365"/>
                <a:gd name="T26" fmla="*/ 104 w 363"/>
                <a:gd name="T27" fmla="*/ 39 h 365"/>
                <a:gd name="T28" fmla="*/ 87 w 363"/>
                <a:gd name="T29" fmla="*/ 80 h 365"/>
                <a:gd name="T30" fmla="*/ 81 w 363"/>
                <a:gd name="T31" fmla="*/ 133 h 365"/>
                <a:gd name="T32" fmla="*/ 62 w 363"/>
                <a:gd name="T33" fmla="*/ 197 h 365"/>
                <a:gd name="T34" fmla="*/ 54 w 363"/>
                <a:gd name="T35" fmla="*/ 208 h 365"/>
                <a:gd name="T36" fmla="*/ 56 w 363"/>
                <a:gd name="T37" fmla="*/ 215 h 365"/>
                <a:gd name="T38" fmla="*/ 98 w 363"/>
                <a:gd name="T39" fmla="*/ 230 h 365"/>
                <a:gd name="T40" fmla="*/ 131 w 363"/>
                <a:gd name="T41" fmla="*/ 251 h 365"/>
                <a:gd name="T42" fmla="*/ 89 w 363"/>
                <a:gd name="T43" fmla="*/ 263 h 365"/>
                <a:gd name="T44" fmla="*/ 14 w 363"/>
                <a:gd name="T45" fmla="*/ 284 h 365"/>
                <a:gd name="T46" fmla="*/ 0 w 363"/>
                <a:gd name="T47" fmla="*/ 301 h 365"/>
                <a:gd name="T48" fmla="*/ 6 w 363"/>
                <a:gd name="T49" fmla="*/ 360 h 365"/>
                <a:gd name="T50" fmla="*/ 344 w 363"/>
                <a:gd name="T51" fmla="*/ 365 h 365"/>
                <a:gd name="T52" fmla="*/ 363 w 363"/>
                <a:gd name="T53" fmla="*/ 346 h 365"/>
                <a:gd name="T54" fmla="*/ 360 w 363"/>
                <a:gd name="T55" fmla="*/ 290 h 365"/>
                <a:gd name="T56" fmla="*/ 349 w 363"/>
                <a:gd name="T57" fmla="*/ 346 h 365"/>
                <a:gd name="T58" fmla="*/ 20 w 363"/>
                <a:gd name="T59" fmla="*/ 351 h 365"/>
                <a:gd name="T60" fmla="*/ 15 w 363"/>
                <a:gd name="T61" fmla="*/ 301 h 365"/>
                <a:gd name="T62" fmla="*/ 18 w 363"/>
                <a:gd name="T63" fmla="*/ 296 h 365"/>
                <a:gd name="T64" fmla="*/ 92 w 363"/>
                <a:gd name="T65" fmla="*/ 277 h 365"/>
                <a:gd name="T66" fmla="*/ 141 w 363"/>
                <a:gd name="T67" fmla="*/ 263 h 365"/>
                <a:gd name="T68" fmla="*/ 147 w 363"/>
                <a:gd name="T69" fmla="*/ 252 h 365"/>
                <a:gd name="T70" fmla="*/ 145 w 363"/>
                <a:gd name="T71" fmla="*/ 223 h 365"/>
                <a:gd name="T72" fmla="*/ 115 w 363"/>
                <a:gd name="T73" fmla="*/ 219 h 365"/>
                <a:gd name="T74" fmla="*/ 73 w 363"/>
                <a:gd name="T75" fmla="*/ 207 h 365"/>
                <a:gd name="T76" fmla="*/ 92 w 363"/>
                <a:gd name="T77" fmla="*/ 152 h 365"/>
                <a:gd name="T78" fmla="*/ 100 w 363"/>
                <a:gd name="T79" fmla="*/ 93 h 365"/>
                <a:gd name="T80" fmla="*/ 112 w 363"/>
                <a:gd name="T81" fmla="*/ 57 h 365"/>
                <a:gd name="T82" fmla="*/ 131 w 363"/>
                <a:gd name="T83" fmla="*/ 35 h 365"/>
                <a:gd name="T84" fmla="*/ 167 w 363"/>
                <a:gd name="T85" fmla="*/ 17 h 365"/>
                <a:gd name="T86" fmla="*/ 209 w 363"/>
                <a:gd name="T87" fmla="*/ 20 h 365"/>
                <a:gd name="T88" fmla="*/ 236 w 363"/>
                <a:gd name="T89" fmla="*/ 36 h 365"/>
                <a:gd name="T90" fmla="*/ 242 w 363"/>
                <a:gd name="T91" fmla="*/ 44 h 365"/>
                <a:gd name="T92" fmla="*/ 261 w 363"/>
                <a:gd name="T93" fmla="*/ 75 h 365"/>
                <a:gd name="T94" fmla="*/ 264 w 363"/>
                <a:gd name="T95" fmla="*/ 104 h 365"/>
                <a:gd name="T96" fmla="*/ 278 w 363"/>
                <a:gd name="T97" fmla="*/ 183 h 365"/>
                <a:gd name="T98" fmla="*/ 281 w 363"/>
                <a:gd name="T99" fmla="*/ 212 h 365"/>
                <a:gd name="T100" fmla="*/ 225 w 363"/>
                <a:gd name="T101" fmla="*/ 219 h 365"/>
                <a:gd name="T102" fmla="*/ 217 w 363"/>
                <a:gd name="T103" fmla="*/ 227 h 365"/>
                <a:gd name="T104" fmla="*/ 217 w 363"/>
                <a:gd name="T105" fmla="*/ 255 h 365"/>
                <a:gd name="T106" fmla="*/ 235 w 363"/>
                <a:gd name="T107" fmla="*/ 270 h 365"/>
                <a:gd name="T108" fmla="*/ 308 w 363"/>
                <a:gd name="T109" fmla="*/ 285 h 365"/>
                <a:gd name="T110" fmla="*/ 347 w 363"/>
                <a:gd name="T111" fmla="*/ 299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63" h="365">
                  <a:moveTo>
                    <a:pt x="350" y="284"/>
                  </a:moveTo>
                  <a:lnTo>
                    <a:pt x="350" y="284"/>
                  </a:lnTo>
                  <a:lnTo>
                    <a:pt x="332" y="276"/>
                  </a:lnTo>
                  <a:lnTo>
                    <a:pt x="311" y="271"/>
                  </a:lnTo>
                  <a:lnTo>
                    <a:pt x="275" y="263"/>
                  </a:lnTo>
                  <a:lnTo>
                    <a:pt x="275" y="263"/>
                  </a:lnTo>
                  <a:lnTo>
                    <a:pt x="249" y="259"/>
                  </a:lnTo>
                  <a:lnTo>
                    <a:pt x="238" y="254"/>
                  </a:lnTo>
                  <a:lnTo>
                    <a:pt x="231" y="251"/>
                  </a:lnTo>
                  <a:lnTo>
                    <a:pt x="231" y="235"/>
                  </a:lnTo>
                  <a:lnTo>
                    <a:pt x="231" y="235"/>
                  </a:lnTo>
                  <a:lnTo>
                    <a:pt x="250" y="234"/>
                  </a:lnTo>
                  <a:lnTo>
                    <a:pt x="266" y="230"/>
                  </a:lnTo>
                  <a:lnTo>
                    <a:pt x="278" y="227"/>
                  </a:lnTo>
                  <a:lnTo>
                    <a:pt x="289" y="224"/>
                  </a:lnTo>
                  <a:lnTo>
                    <a:pt x="303" y="218"/>
                  </a:lnTo>
                  <a:lnTo>
                    <a:pt x="308" y="215"/>
                  </a:lnTo>
                  <a:lnTo>
                    <a:pt x="308" y="215"/>
                  </a:lnTo>
                  <a:lnTo>
                    <a:pt x="310" y="212"/>
                  </a:lnTo>
                  <a:lnTo>
                    <a:pt x="310" y="208"/>
                  </a:lnTo>
                  <a:lnTo>
                    <a:pt x="310" y="208"/>
                  </a:lnTo>
                  <a:lnTo>
                    <a:pt x="310" y="205"/>
                  </a:lnTo>
                  <a:lnTo>
                    <a:pt x="307" y="202"/>
                  </a:lnTo>
                  <a:lnTo>
                    <a:pt x="307" y="202"/>
                  </a:lnTo>
                  <a:lnTo>
                    <a:pt x="302" y="197"/>
                  </a:lnTo>
                  <a:lnTo>
                    <a:pt x="297" y="190"/>
                  </a:lnTo>
                  <a:lnTo>
                    <a:pt x="292" y="177"/>
                  </a:lnTo>
                  <a:lnTo>
                    <a:pt x="289" y="163"/>
                  </a:lnTo>
                  <a:lnTo>
                    <a:pt x="283" y="133"/>
                  </a:lnTo>
                  <a:lnTo>
                    <a:pt x="280" y="104"/>
                  </a:lnTo>
                  <a:lnTo>
                    <a:pt x="280" y="104"/>
                  </a:lnTo>
                  <a:lnTo>
                    <a:pt x="278" y="93"/>
                  </a:lnTo>
                  <a:lnTo>
                    <a:pt x="277" y="82"/>
                  </a:lnTo>
                  <a:lnTo>
                    <a:pt x="275" y="71"/>
                  </a:lnTo>
                  <a:lnTo>
                    <a:pt x="271" y="61"/>
                  </a:lnTo>
                  <a:lnTo>
                    <a:pt x="266" y="52"/>
                  </a:lnTo>
                  <a:lnTo>
                    <a:pt x="261" y="42"/>
                  </a:lnTo>
                  <a:lnTo>
                    <a:pt x="253" y="35"/>
                  </a:lnTo>
                  <a:lnTo>
                    <a:pt x="247" y="27"/>
                  </a:lnTo>
                  <a:lnTo>
                    <a:pt x="247" y="27"/>
                  </a:lnTo>
                  <a:lnTo>
                    <a:pt x="241" y="20"/>
                  </a:lnTo>
                  <a:lnTo>
                    <a:pt x="233" y="14"/>
                  </a:lnTo>
                  <a:lnTo>
                    <a:pt x="224" y="10"/>
                  </a:lnTo>
                  <a:lnTo>
                    <a:pt x="214" y="6"/>
                  </a:lnTo>
                  <a:lnTo>
                    <a:pt x="214" y="6"/>
                  </a:lnTo>
                  <a:lnTo>
                    <a:pt x="198" y="2"/>
                  </a:lnTo>
                  <a:lnTo>
                    <a:pt x="181" y="0"/>
                  </a:lnTo>
                  <a:lnTo>
                    <a:pt x="164" y="3"/>
                  </a:lnTo>
                  <a:lnTo>
                    <a:pt x="148" y="8"/>
                  </a:lnTo>
                  <a:lnTo>
                    <a:pt x="148" y="8"/>
                  </a:lnTo>
                  <a:lnTo>
                    <a:pt x="133" y="14"/>
                  </a:lnTo>
                  <a:lnTo>
                    <a:pt x="126" y="19"/>
                  </a:lnTo>
                  <a:lnTo>
                    <a:pt x="120" y="24"/>
                  </a:lnTo>
                  <a:lnTo>
                    <a:pt x="120" y="24"/>
                  </a:lnTo>
                  <a:lnTo>
                    <a:pt x="112" y="31"/>
                  </a:lnTo>
                  <a:lnTo>
                    <a:pt x="104" y="39"/>
                  </a:lnTo>
                  <a:lnTo>
                    <a:pt x="98" y="49"/>
                  </a:lnTo>
                  <a:lnTo>
                    <a:pt x="94" y="60"/>
                  </a:lnTo>
                  <a:lnTo>
                    <a:pt x="90" y="69"/>
                  </a:lnTo>
                  <a:lnTo>
                    <a:pt x="87" y="80"/>
                  </a:lnTo>
                  <a:lnTo>
                    <a:pt x="86" y="91"/>
                  </a:lnTo>
                  <a:lnTo>
                    <a:pt x="84" y="102"/>
                  </a:lnTo>
                  <a:lnTo>
                    <a:pt x="84" y="102"/>
                  </a:lnTo>
                  <a:lnTo>
                    <a:pt x="81" y="133"/>
                  </a:lnTo>
                  <a:lnTo>
                    <a:pt x="75" y="163"/>
                  </a:lnTo>
                  <a:lnTo>
                    <a:pt x="72" y="177"/>
                  </a:lnTo>
                  <a:lnTo>
                    <a:pt x="67" y="190"/>
                  </a:lnTo>
                  <a:lnTo>
                    <a:pt x="62" y="197"/>
                  </a:lnTo>
                  <a:lnTo>
                    <a:pt x="58" y="202"/>
                  </a:lnTo>
                  <a:lnTo>
                    <a:pt x="58" y="202"/>
                  </a:lnTo>
                  <a:lnTo>
                    <a:pt x="54" y="205"/>
                  </a:lnTo>
                  <a:lnTo>
                    <a:pt x="54" y="208"/>
                  </a:lnTo>
                  <a:lnTo>
                    <a:pt x="54" y="208"/>
                  </a:lnTo>
                  <a:lnTo>
                    <a:pt x="54" y="212"/>
                  </a:lnTo>
                  <a:lnTo>
                    <a:pt x="56" y="215"/>
                  </a:lnTo>
                  <a:lnTo>
                    <a:pt x="56" y="215"/>
                  </a:lnTo>
                  <a:lnTo>
                    <a:pt x="61" y="218"/>
                  </a:lnTo>
                  <a:lnTo>
                    <a:pt x="75" y="224"/>
                  </a:lnTo>
                  <a:lnTo>
                    <a:pt x="86" y="227"/>
                  </a:lnTo>
                  <a:lnTo>
                    <a:pt x="98" y="230"/>
                  </a:lnTo>
                  <a:lnTo>
                    <a:pt x="114" y="234"/>
                  </a:lnTo>
                  <a:lnTo>
                    <a:pt x="131" y="235"/>
                  </a:lnTo>
                  <a:lnTo>
                    <a:pt x="131" y="251"/>
                  </a:lnTo>
                  <a:lnTo>
                    <a:pt x="131" y="251"/>
                  </a:lnTo>
                  <a:lnTo>
                    <a:pt x="126" y="254"/>
                  </a:lnTo>
                  <a:lnTo>
                    <a:pt x="115" y="257"/>
                  </a:lnTo>
                  <a:lnTo>
                    <a:pt x="89" y="263"/>
                  </a:lnTo>
                  <a:lnTo>
                    <a:pt x="89" y="263"/>
                  </a:lnTo>
                  <a:lnTo>
                    <a:pt x="53" y="271"/>
                  </a:lnTo>
                  <a:lnTo>
                    <a:pt x="32" y="276"/>
                  </a:lnTo>
                  <a:lnTo>
                    <a:pt x="14" y="284"/>
                  </a:lnTo>
                  <a:lnTo>
                    <a:pt x="14" y="284"/>
                  </a:lnTo>
                  <a:lnTo>
                    <a:pt x="7" y="287"/>
                  </a:lnTo>
                  <a:lnTo>
                    <a:pt x="4" y="290"/>
                  </a:lnTo>
                  <a:lnTo>
                    <a:pt x="1" y="296"/>
                  </a:lnTo>
                  <a:lnTo>
                    <a:pt x="0" y="301"/>
                  </a:lnTo>
                  <a:lnTo>
                    <a:pt x="0" y="346"/>
                  </a:lnTo>
                  <a:lnTo>
                    <a:pt x="0" y="346"/>
                  </a:lnTo>
                  <a:lnTo>
                    <a:pt x="1" y="354"/>
                  </a:lnTo>
                  <a:lnTo>
                    <a:pt x="6" y="360"/>
                  </a:lnTo>
                  <a:lnTo>
                    <a:pt x="12" y="364"/>
                  </a:lnTo>
                  <a:lnTo>
                    <a:pt x="20" y="365"/>
                  </a:lnTo>
                  <a:lnTo>
                    <a:pt x="344" y="365"/>
                  </a:lnTo>
                  <a:lnTo>
                    <a:pt x="344" y="365"/>
                  </a:lnTo>
                  <a:lnTo>
                    <a:pt x="352" y="364"/>
                  </a:lnTo>
                  <a:lnTo>
                    <a:pt x="358" y="360"/>
                  </a:lnTo>
                  <a:lnTo>
                    <a:pt x="361" y="354"/>
                  </a:lnTo>
                  <a:lnTo>
                    <a:pt x="363" y="346"/>
                  </a:lnTo>
                  <a:lnTo>
                    <a:pt x="363" y="301"/>
                  </a:lnTo>
                  <a:lnTo>
                    <a:pt x="363" y="301"/>
                  </a:lnTo>
                  <a:lnTo>
                    <a:pt x="363" y="296"/>
                  </a:lnTo>
                  <a:lnTo>
                    <a:pt x="360" y="290"/>
                  </a:lnTo>
                  <a:lnTo>
                    <a:pt x="357" y="287"/>
                  </a:lnTo>
                  <a:lnTo>
                    <a:pt x="350" y="284"/>
                  </a:lnTo>
                  <a:lnTo>
                    <a:pt x="350" y="284"/>
                  </a:lnTo>
                  <a:close/>
                  <a:moveTo>
                    <a:pt x="349" y="346"/>
                  </a:moveTo>
                  <a:lnTo>
                    <a:pt x="349" y="346"/>
                  </a:lnTo>
                  <a:lnTo>
                    <a:pt x="347" y="349"/>
                  </a:lnTo>
                  <a:lnTo>
                    <a:pt x="344" y="351"/>
                  </a:lnTo>
                  <a:lnTo>
                    <a:pt x="20" y="351"/>
                  </a:lnTo>
                  <a:lnTo>
                    <a:pt x="20" y="351"/>
                  </a:lnTo>
                  <a:lnTo>
                    <a:pt x="17" y="349"/>
                  </a:lnTo>
                  <a:lnTo>
                    <a:pt x="15" y="346"/>
                  </a:lnTo>
                  <a:lnTo>
                    <a:pt x="15" y="301"/>
                  </a:lnTo>
                  <a:lnTo>
                    <a:pt x="15" y="301"/>
                  </a:lnTo>
                  <a:lnTo>
                    <a:pt x="15" y="299"/>
                  </a:lnTo>
                  <a:lnTo>
                    <a:pt x="18" y="296"/>
                  </a:lnTo>
                  <a:lnTo>
                    <a:pt x="18" y="296"/>
                  </a:lnTo>
                  <a:lnTo>
                    <a:pt x="37" y="290"/>
                  </a:lnTo>
                  <a:lnTo>
                    <a:pt x="56" y="285"/>
                  </a:lnTo>
                  <a:lnTo>
                    <a:pt x="92" y="277"/>
                  </a:lnTo>
                  <a:lnTo>
                    <a:pt x="92" y="277"/>
                  </a:lnTo>
                  <a:lnTo>
                    <a:pt x="112" y="274"/>
                  </a:lnTo>
                  <a:lnTo>
                    <a:pt x="128" y="270"/>
                  </a:lnTo>
                  <a:lnTo>
                    <a:pt x="136" y="266"/>
                  </a:lnTo>
                  <a:lnTo>
                    <a:pt x="141" y="263"/>
                  </a:lnTo>
                  <a:lnTo>
                    <a:pt x="144" y="260"/>
                  </a:lnTo>
                  <a:lnTo>
                    <a:pt x="147" y="255"/>
                  </a:lnTo>
                  <a:lnTo>
                    <a:pt x="147" y="255"/>
                  </a:lnTo>
                  <a:lnTo>
                    <a:pt x="147" y="252"/>
                  </a:lnTo>
                  <a:lnTo>
                    <a:pt x="147" y="227"/>
                  </a:lnTo>
                  <a:lnTo>
                    <a:pt x="147" y="227"/>
                  </a:lnTo>
                  <a:lnTo>
                    <a:pt x="147" y="224"/>
                  </a:lnTo>
                  <a:lnTo>
                    <a:pt x="145" y="223"/>
                  </a:lnTo>
                  <a:lnTo>
                    <a:pt x="142" y="221"/>
                  </a:lnTo>
                  <a:lnTo>
                    <a:pt x="139" y="219"/>
                  </a:lnTo>
                  <a:lnTo>
                    <a:pt x="139" y="219"/>
                  </a:lnTo>
                  <a:lnTo>
                    <a:pt x="115" y="219"/>
                  </a:lnTo>
                  <a:lnTo>
                    <a:pt x="97" y="216"/>
                  </a:lnTo>
                  <a:lnTo>
                    <a:pt x="83" y="212"/>
                  </a:lnTo>
                  <a:lnTo>
                    <a:pt x="73" y="207"/>
                  </a:lnTo>
                  <a:lnTo>
                    <a:pt x="73" y="207"/>
                  </a:lnTo>
                  <a:lnTo>
                    <a:pt x="79" y="196"/>
                  </a:lnTo>
                  <a:lnTo>
                    <a:pt x="86" y="183"/>
                  </a:lnTo>
                  <a:lnTo>
                    <a:pt x="89" y="168"/>
                  </a:lnTo>
                  <a:lnTo>
                    <a:pt x="92" y="152"/>
                  </a:lnTo>
                  <a:lnTo>
                    <a:pt x="97" y="122"/>
                  </a:lnTo>
                  <a:lnTo>
                    <a:pt x="100" y="104"/>
                  </a:lnTo>
                  <a:lnTo>
                    <a:pt x="100" y="104"/>
                  </a:lnTo>
                  <a:lnTo>
                    <a:pt x="100" y="93"/>
                  </a:lnTo>
                  <a:lnTo>
                    <a:pt x="101" y="83"/>
                  </a:lnTo>
                  <a:lnTo>
                    <a:pt x="104" y="74"/>
                  </a:lnTo>
                  <a:lnTo>
                    <a:pt x="108" y="66"/>
                  </a:lnTo>
                  <a:lnTo>
                    <a:pt x="112" y="57"/>
                  </a:lnTo>
                  <a:lnTo>
                    <a:pt x="117" y="49"/>
                  </a:lnTo>
                  <a:lnTo>
                    <a:pt x="123" y="41"/>
                  </a:lnTo>
                  <a:lnTo>
                    <a:pt x="131" y="35"/>
                  </a:lnTo>
                  <a:lnTo>
                    <a:pt x="131" y="35"/>
                  </a:lnTo>
                  <a:lnTo>
                    <a:pt x="141" y="27"/>
                  </a:lnTo>
                  <a:lnTo>
                    <a:pt x="153" y="20"/>
                  </a:lnTo>
                  <a:lnTo>
                    <a:pt x="153" y="20"/>
                  </a:lnTo>
                  <a:lnTo>
                    <a:pt x="167" y="17"/>
                  </a:lnTo>
                  <a:lnTo>
                    <a:pt x="181" y="16"/>
                  </a:lnTo>
                  <a:lnTo>
                    <a:pt x="195" y="17"/>
                  </a:lnTo>
                  <a:lnTo>
                    <a:pt x="209" y="20"/>
                  </a:lnTo>
                  <a:lnTo>
                    <a:pt x="209" y="20"/>
                  </a:lnTo>
                  <a:lnTo>
                    <a:pt x="217" y="24"/>
                  </a:lnTo>
                  <a:lnTo>
                    <a:pt x="225" y="27"/>
                  </a:lnTo>
                  <a:lnTo>
                    <a:pt x="231" y="31"/>
                  </a:lnTo>
                  <a:lnTo>
                    <a:pt x="236" y="36"/>
                  </a:lnTo>
                  <a:lnTo>
                    <a:pt x="236" y="36"/>
                  </a:lnTo>
                  <a:lnTo>
                    <a:pt x="236" y="38"/>
                  </a:lnTo>
                  <a:lnTo>
                    <a:pt x="236" y="38"/>
                  </a:lnTo>
                  <a:lnTo>
                    <a:pt x="242" y="44"/>
                  </a:lnTo>
                  <a:lnTo>
                    <a:pt x="249" y="50"/>
                  </a:lnTo>
                  <a:lnTo>
                    <a:pt x="253" y="58"/>
                  </a:lnTo>
                  <a:lnTo>
                    <a:pt x="258" y="67"/>
                  </a:lnTo>
                  <a:lnTo>
                    <a:pt x="261" y="75"/>
                  </a:lnTo>
                  <a:lnTo>
                    <a:pt x="263" y="85"/>
                  </a:lnTo>
                  <a:lnTo>
                    <a:pt x="264" y="94"/>
                  </a:lnTo>
                  <a:lnTo>
                    <a:pt x="264" y="104"/>
                  </a:lnTo>
                  <a:lnTo>
                    <a:pt x="264" y="104"/>
                  </a:lnTo>
                  <a:lnTo>
                    <a:pt x="267" y="122"/>
                  </a:lnTo>
                  <a:lnTo>
                    <a:pt x="271" y="152"/>
                  </a:lnTo>
                  <a:lnTo>
                    <a:pt x="275" y="168"/>
                  </a:lnTo>
                  <a:lnTo>
                    <a:pt x="278" y="183"/>
                  </a:lnTo>
                  <a:lnTo>
                    <a:pt x="285" y="196"/>
                  </a:lnTo>
                  <a:lnTo>
                    <a:pt x="291" y="207"/>
                  </a:lnTo>
                  <a:lnTo>
                    <a:pt x="291" y="207"/>
                  </a:lnTo>
                  <a:lnTo>
                    <a:pt x="281" y="212"/>
                  </a:lnTo>
                  <a:lnTo>
                    <a:pt x="267" y="216"/>
                  </a:lnTo>
                  <a:lnTo>
                    <a:pt x="249" y="219"/>
                  </a:lnTo>
                  <a:lnTo>
                    <a:pt x="225" y="219"/>
                  </a:lnTo>
                  <a:lnTo>
                    <a:pt x="225" y="219"/>
                  </a:lnTo>
                  <a:lnTo>
                    <a:pt x="222" y="221"/>
                  </a:lnTo>
                  <a:lnTo>
                    <a:pt x="219" y="223"/>
                  </a:lnTo>
                  <a:lnTo>
                    <a:pt x="217" y="224"/>
                  </a:lnTo>
                  <a:lnTo>
                    <a:pt x="217" y="227"/>
                  </a:lnTo>
                  <a:lnTo>
                    <a:pt x="217" y="252"/>
                  </a:lnTo>
                  <a:lnTo>
                    <a:pt x="217" y="252"/>
                  </a:lnTo>
                  <a:lnTo>
                    <a:pt x="217" y="255"/>
                  </a:lnTo>
                  <a:lnTo>
                    <a:pt x="217" y="255"/>
                  </a:lnTo>
                  <a:lnTo>
                    <a:pt x="220" y="260"/>
                  </a:lnTo>
                  <a:lnTo>
                    <a:pt x="224" y="263"/>
                  </a:lnTo>
                  <a:lnTo>
                    <a:pt x="228" y="266"/>
                  </a:lnTo>
                  <a:lnTo>
                    <a:pt x="235" y="270"/>
                  </a:lnTo>
                  <a:lnTo>
                    <a:pt x="252" y="274"/>
                  </a:lnTo>
                  <a:lnTo>
                    <a:pt x="272" y="277"/>
                  </a:lnTo>
                  <a:lnTo>
                    <a:pt x="272" y="277"/>
                  </a:lnTo>
                  <a:lnTo>
                    <a:pt x="308" y="285"/>
                  </a:lnTo>
                  <a:lnTo>
                    <a:pt x="327" y="290"/>
                  </a:lnTo>
                  <a:lnTo>
                    <a:pt x="346" y="296"/>
                  </a:lnTo>
                  <a:lnTo>
                    <a:pt x="346" y="296"/>
                  </a:lnTo>
                  <a:lnTo>
                    <a:pt x="347" y="299"/>
                  </a:lnTo>
                  <a:lnTo>
                    <a:pt x="349" y="301"/>
                  </a:lnTo>
                  <a:lnTo>
                    <a:pt x="349" y="34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30" name="Freeform 184">
              <a:extLst>
                <a:ext uri="{FF2B5EF4-FFF2-40B4-BE49-F238E27FC236}">
                  <a16:creationId xmlns:a16="http://schemas.microsoft.com/office/drawing/2014/main" id="{BE06A5D7-C6CF-4F0A-B660-17854935C5B1}"/>
                </a:ext>
              </a:extLst>
            </p:cNvPr>
            <p:cNvSpPr>
              <a:spLocks noEditPoints="1"/>
            </p:cNvSpPr>
            <p:nvPr/>
          </p:nvSpPr>
          <p:spPr bwMode="auto">
            <a:xfrm>
              <a:off x="3794125" y="5289550"/>
              <a:ext cx="601663" cy="603250"/>
            </a:xfrm>
            <a:custGeom>
              <a:avLst/>
              <a:gdLst>
                <a:gd name="T0" fmla="*/ 359 w 758"/>
                <a:gd name="T1" fmla="*/ 758 h 760"/>
                <a:gd name="T2" fmla="*/ 302 w 758"/>
                <a:gd name="T3" fmla="*/ 752 h 760"/>
                <a:gd name="T4" fmla="*/ 232 w 758"/>
                <a:gd name="T5" fmla="*/ 730 h 760"/>
                <a:gd name="T6" fmla="*/ 138 w 758"/>
                <a:gd name="T7" fmla="*/ 672 h 760"/>
                <a:gd name="T8" fmla="*/ 64 w 758"/>
                <a:gd name="T9" fmla="*/ 592 h 760"/>
                <a:gd name="T10" fmla="*/ 17 w 758"/>
                <a:gd name="T11" fmla="*/ 492 h 760"/>
                <a:gd name="T12" fmla="*/ 3 w 758"/>
                <a:gd name="T13" fmla="*/ 437 h 760"/>
                <a:gd name="T14" fmla="*/ 0 w 758"/>
                <a:gd name="T15" fmla="*/ 379 h 760"/>
                <a:gd name="T16" fmla="*/ 2 w 758"/>
                <a:gd name="T17" fmla="*/ 342 h 760"/>
                <a:gd name="T18" fmla="*/ 11 w 758"/>
                <a:gd name="T19" fmla="*/ 285 h 760"/>
                <a:gd name="T20" fmla="*/ 45 w 758"/>
                <a:gd name="T21" fmla="*/ 199 h 760"/>
                <a:gd name="T22" fmla="*/ 111 w 758"/>
                <a:gd name="T23" fmla="*/ 111 h 760"/>
                <a:gd name="T24" fmla="*/ 197 w 758"/>
                <a:gd name="T25" fmla="*/ 47 h 760"/>
                <a:gd name="T26" fmla="*/ 284 w 758"/>
                <a:gd name="T27" fmla="*/ 13 h 760"/>
                <a:gd name="T28" fmla="*/ 340 w 758"/>
                <a:gd name="T29" fmla="*/ 3 h 760"/>
                <a:gd name="T30" fmla="*/ 379 w 758"/>
                <a:gd name="T31" fmla="*/ 0 h 760"/>
                <a:gd name="T32" fmla="*/ 437 w 758"/>
                <a:gd name="T33" fmla="*/ 5 h 760"/>
                <a:gd name="T34" fmla="*/ 492 w 758"/>
                <a:gd name="T35" fmla="*/ 17 h 760"/>
                <a:gd name="T36" fmla="*/ 591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1 w 758"/>
                <a:gd name="T55" fmla="*/ 694 h 760"/>
                <a:gd name="T56" fmla="*/ 492 w 758"/>
                <a:gd name="T57" fmla="*/ 743 h 760"/>
                <a:gd name="T58" fmla="*/ 437 w 758"/>
                <a:gd name="T59" fmla="*/ 755 h 760"/>
                <a:gd name="T60" fmla="*/ 379 w 758"/>
                <a:gd name="T61" fmla="*/ 760 h 760"/>
                <a:gd name="T62" fmla="*/ 379 w 758"/>
                <a:gd name="T63" fmla="*/ 22 h 760"/>
                <a:gd name="T64" fmla="*/ 273 w 758"/>
                <a:gd name="T65" fmla="*/ 38 h 760"/>
                <a:gd name="T66" fmla="*/ 179 w 758"/>
                <a:gd name="T67" fmla="*/ 83 h 760"/>
                <a:gd name="T68" fmla="*/ 103 w 758"/>
                <a:gd name="T69" fmla="*/ 152 h 760"/>
                <a:gd name="T70" fmla="*/ 49 w 758"/>
                <a:gd name="T71" fmla="*/ 241 h 760"/>
                <a:gd name="T72" fmla="*/ 22 w 758"/>
                <a:gd name="T73" fmla="*/ 343 h 760"/>
                <a:gd name="T74" fmla="*/ 22 w 758"/>
                <a:gd name="T75" fmla="*/ 417 h 760"/>
                <a:gd name="T76" fmla="*/ 49 w 758"/>
                <a:gd name="T77" fmla="*/ 519 h 760"/>
                <a:gd name="T78" fmla="*/ 103 w 758"/>
                <a:gd name="T79" fmla="*/ 608 h 760"/>
                <a:gd name="T80" fmla="*/ 179 w 758"/>
                <a:gd name="T81" fmla="*/ 677 h 760"/>
                <a:gd name="T82" fmla="*/ 273 w 758"/>
                <a:gd name="T83" fmla="*/ 722 h 760"/>
                <a:gd name="T84" fmla="*/ 379 w 758"/>
                <a:gd name="T85" fmla="*/ 738 h 760"/>
                <a:gd name="T86" fmla="*/ 451 w 758"/>
                <a:gd name="T87" fmla="*/ 730 h 760"/>
                <a:gd name="T88" fmla="*/ 550 w 758"/>
                <a:gd name="T89" fmla="*/ 694 h 760"/>
                <a:gd name="T90" fmla="*/ 631 w 758"/>
                <a:gd name="T91" fmla="*/ 633 h 760"/>
                <a:gd name="T92" fmla="*/ 694 w 758"/>
                <a:gd name="T93" fmla="*/ 550 h 760"/>
                <a:gd name="T94" fmla="*/ 730 w 758"/>
                <a:gd name="T95" fmla="*/ 451 h 760"/>
                <a:gd name="T96" fmla="*/ 736 w 758"/>
                <a:gd name="T97" fmla="*/ 379 h 760"/>
                <a:gd name="T98" fmla="*/ 721 w 758"/>
                <a:gd name="T99" fmla="*/ 274 h 760"/>
                <a:gd name="T100" fmla="*/ 675 w 758"/>
                <a:gd name="T101" fmla="*/ 180 h 760"/>
                <a:gd name="T102" fmla="*/ 606 w 758"/>
                <a:gd name="T103" fmla="*/ 104 h 760"/>
                <a:gd name="T104" fmla="*/ 519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9" y="758"/>
                  </a:lnTo>
                  <a:lnTo>
                    <a:pt x="340" y="757"/>
                  </a:lnTo>
                  <a:lnTo>
                    <a:pt x="321" y="755"/>
                  </a:lnTo>
                  <a:lnTo>
                    <a:pt x="302" y="752"/>
                  </a:lnTo>
                  <a:lnTo>
                    <a:pt x="284" y="747"/>
                  </a:lnTo>
                  <a:lnTo>
                    <a:pt x="266" y="743"/>
                  </a:lnTo>
                  <a:lnTo>
                    <a:pt x="232" y="730"/>
                  </a:lnTo>
                  <a:lnTo>
                    <a:pt x="197" y="713"/>
                  </a:lnTo>
                  <a:lnTo>
                    <a:pt x="166" y="694"/>
                  </a:lnTo>
                  <a:lnTo>
                    <a:pt x="138" y="672"/>
                  </a:lnTo>
                  <a:lnTo>
                    <a:pt x="111" y="649"/>
                  </a:lnTo>
                  <a:lnTo>
                    <a:pt x="86" y="620"/>
                  </a:lnTo>
                  <a:lnTo>
                    <a:pt x="64" y="592"/>
                  </a:lnTo>
                  <a:lnTo>
                    <a:pt x="45" y="561"/>
                  </a:lnTo>
                  <a:lnTo>
                    <a:pt x="30" y="528"/>
                  </a:lnTo>
                  <a:lnTo>
                    <a:pt x="17" y="492"/>
                  </a:lnTo>
                  <a:lnTo>
                    <a:pt x="11" y="475"/>
                  </a:lnTo>
                  <a:lnTo>
                    <a:pt x="8" y="456"/>
                  </a:lnTo>
                  <a:lnTo>
                    <a:pt x="3" y="437"/>
                  </a:lnTo>
                  <a:lnTo>
                    <a:pt x="2" y="418"/>
                  </a:lnTo>
                  <a:lnTo>
                    <a:pt x="0" y="400"/>
                  </a:lnTo>
                  <a:lnTo>
                    <a:pt x="0" y="379"/>
                  </a:lnTo>
                  <a:lnTo>
                    <a:pt x="0" y="379"/>
                  </a:lnTo>
                  <a:lnTo>
                    <a:pt x="0" y="360"/>
                  </a:lnTo>
                  <a:lnTo>
                    <a:pt x="2" y="342"/>
                  </a:lnTo>
                  <a:lnTo>
                    <a:pt x="3" y="323"/>
                  </a:lnTo>
                  <a:lnTo>
                    <a:pt x="8" y="304"/>
                  </a:lnTo>
                  <a:lnTo>
                    <a:pt x="11" y="285"/>
                  </a:lnTo>
                  <a:lnTo>
                    <a:pt x="17" y="266"/>
                  </a:lnTo>
                  <a:lnTo>
                    <a:pt x="30" y="232"/>
                  </a:lnTo>
                  <a:lnTo>
                    <a:pt x="45" y="199"/>
                  </a:lnTo>
                  <a:lnTo>
                    <a:pt x="64" y="168"/>
                  </a:lnTo>
                  <a:lnTo>
                    <a:pt x="86" y="138"/>
                  </a:lnTo>
                  <a:lnTo>
                    <a:pt x="111" y="111"/>
                  </a:lnTo>
                  <a:lnTo>
                    <a:pt x="138" y="88"/>
                  </a:lnTo>
                  <a:lnTo>
                    <a:pt x="166" y="66"/>
                  </a:lnTo>
                  <a:lnTo>
                    <a:pt x="197" y="47"/>
                  </a:lnTo>
                  <a:lnTo>
                    <a:pt x="232" y="30"/>
                  </a:lnTo>
                  <a:lnTo>
                    <a:pt x="266" y="17"/>
                  </a:lnTo>
                  <a:lnTo>
                    <a:pt x="284" y="13"/>
                  </a:lnTo>
                  <a:lnTo>
                    <a:pt x="302" y="8"/>
                  </a:lnTo>
                  <a:lnTo>
                    <a:pt x="321" y="5"/>
                  </a:lnTo>
                  <a:lnTo>
                    <a:pt x="340" y="3"/>
                  </a:lnTo>
                  <a:lnTo>
                    <a:pt x="359" y="2"/>
                  </a:lnTo>
                  <a:lnTo>
                    <a:pt x="379" y="0"/>
                  </a:lnTo>
                  <a:lnTo>
                    <a:pt x="379" y="0"/>
                  </a:lnTo>
                  <a:lnTo>
                    <a:pt x="398" y="2"/>
                  </a:lnTo>
                  <a:lnTo>
                    <a:pt x="418" y="3"/>
                  </a:lnTo>
                  <a:lnTo>
                    <a:pt x="437" y="5"/>
                  </a:lnTo>
                  <a:lnTo>
                    <a:pt x="456" y="8"/>
                  </a:lnTo>
                  <a:lnTo>
                    <a:pt x="473" y="13"/>
                  </a:lnTo>
                  <a:lnTo>
                    <a:pt x="492" y="17"/>
                  </a:lnTo>
                  <a:lnTo>
                    <a:pt x="526" y="30"/>
                  </a:lnTo>
                  <a:lnTo>
                    <a:pt x="559" y="47"/>
                  </a:lnTo>
                  <a:lnTo>
                    <a:pt x="591" y="66"/>
                  </a:lnTo>
                  <a:lnTo>
                    <a:pt x="620" y="88"/>
                  </a:lnTo>
                  <a:lnTo>
                    <a:pt x="647" y="111"/>
                  </a:lnTo>
                  <a:lnTo>
                    <a:pt x="672" y="138"/>
                  </a:lnTo>
                  <a:lnTo>
                    <a:pt x="694" y="168"/>
                  </a:lnTo>
                  <a:lnTo>
                    <a:pt x="713" y="199"/>
                  </a:lnTo>
                  <a:lnTo>
                    <a:pt x="728" y="232"/>
                  </a:lnTo>
                  <a:lnTo>
                    <a:pt x="741" y="266"/>
                  </a:lnTo>
                  <a:lnTo>
                    <a:pt x="746" y="285"/>
                  </a:lnTo>
                  <a:lnTo>
                    <a:pt x="750" y="304"/>
                  </a:lnTo>
                  <a:lnTo>
                    <a:pt x="753" y="323"/>
                  </a:lnTo>
                  <a:lnTo>
                    <a:pt x="757" y="342"/>
                  </a:lnTo>
                  <a:lnTo>
                    <a:pt x="758" y="360"/>
                  </a:lnTo>
                  <a:lnTo>
                    <a:pt x="758" y="379"/>
                  </a:lnTo>
                  <a:lnTo>
                    <a:pt x="758" y="379"/>
                  </a:lnTo>
                  <a:lnTo>
                    <a:pt x="758" y="400"/>
                  </a:lnTo>
                  <a:lnTo>
                    <a:pt x="757" y="418"/>
                  </a:lnTo>
                  <a:lnTo>
                    <a:pt x="753" y="437"/>
                  </a:lnTo>
                  <a:lnTo>
                    <a:pt x="750" y="456"/>
                  </a:lnTo>
                  <a:lnTo>
                    <a:pt x="746" y="475"/>
                  </a:lnTo>
                  <a:lnTo>
                    <a:pt x="741" y="492"/>
                  </a:lnTo>
                  <a:lnTo>
                    <a:pt x="728" y="528"/>
                  </a:lnTo>
                  <a:lnTo>
                    <a:pt x="713" y="561"/>
                  </a:lnTo>
                  <a:lnTo>
                    <a:pt x="694" y="592"/>
                  </a:lnTo>
                  <a:lnTo>
                    <a:pt x="672" y="620"/>
                  </a:lnTo>
                  <a:lnTo>
                    <a:pt x="647" y="649"/>
                  </a:lnTo>
                  <a:lnTo>
                    <a:pt x="620" y="672"/>
                  </a:lnTo>
                  <a:lnTo>
                    <a:pt x="591" y="694"/>
                  </a:lnTo>
                  <a:lnTo>
                    <a:pt x="559" y="713"/>
                  </a:lnTo>
                  <a:lnTo>
                    <a:pt x="526" y="730"/>
                  </a:lnTo>
                  <a:lnTo>
                    <a:pt x="492" y="743"/>
                  </a:lnTo>
                  <a:lnTo>
                    <a:pt x="473" y="747"/>
                  </a:lnTo>
                  <a:lnTo>
                    <a:pt x="456" y="752"/>
                  </a:lnTo>
                  <a:lnTo>
                    <a:pt x="437" y="755"/>
                  </a:lnTo>
                  <a:lnTo>
                    <a:pt x="418" y="757"/>
                  </a:lnTo>
                  <a:lnTo>
                    <a:pt x="398" y="758"/>
                  </a:lnTo>
                  <a:lnTo>
                    <a:pt x="379" y="760"/>
                  </a:lnTo>
                  <a:lnTo>
                    <a:pt x="379" y="760"/>
                  </a:lnTo>
                  <a:close/>
                  <a:moveTo>
                    <a:pt x="379" y="22"/>
                  </a:moveTo>
                  <a:lnTo>
                    <a:pt x="379" y="22"/>
                  </a:lnTo>
                  <a:lnTo>
                    <a:pt x="342" y="24"/>
                  </a:lnTo>
                  <a:lnTo>
                    <a:pt x="307" y="30"/>
                  </a:lnTo>
                  <a:lnTo>
                    <a:pt x="273" y="38"/>
                  </a:lnTo>
                  <a:lnTo>
                    <a:pt x="240" y="50"/>
                  </a:lnTo>
                  <a:lnTo>
                    <a:pt x="208" y="66"/>
                  </a:lnTo>
                  <a:lnTo>
                    <a:pt x="179" y="83"/>
                  </a:lnTo>
                  <a:lnTo>
                    <a:pt x="152" y="104"/>
                  </a:lnTo>
                  <a:lnTo>
                    <a:pt x="125" y="127"/>
                  </a:lnTo>
                  <a:lnTo>
                    <a:pt x="103" y="152"/>
                  </a:lnTo>
                  <a:lnTo>
                    <a:pt x="82" y="180"/>
                  </a:lnTo>
                  <a:lnTo>
                    <a:pt x="64" y="210"/>
                  </a:lnTo>
                  <a:lnTo>
                    <a:pt x="49" y="241"/>
                  </a:lnTo>
                  <a:lnTo>
                    <a:pt x="38" y="274"/>
                  </a:lnTo>
                  <a:lnTo>
                    <a:pt x="28" y="307"/>
                  </a:lnTo>
                  <a:lnTo>
                    <a:pt x="22" y="343"/>
                  </a:lnTo>
                  <a:lnTo>
                    <a:pt x="20" y="379"/>
                  </a:lnTo>
                  <a:lnTo>
                    <a:pt x="20" y="379"/>
                  </a:lnTo>
                  <a:lnTo>
                    <a:pt x="22" y="417"/>
                  </a:lnTo>
                  <a:lnTo>
                    <a:pt x="28" y="451"/>
                  </a:lnTo>
                  <a:lnTo>
                    <a:pt x="38" y="486"/>
                  </a:lnTo>
                  <a:lnTo>
                    <a:pt x="49" y="519"/>
                  </a:lnTo>
                  <a:lnTo>
                    <a:pt x="64" y="550"/>
                  </a:lnTo>
                  <a:lnTo>
                    <a:pt x="82" y="580"/>
                  </a:lnTo>
                  <a:lnTo>
                    <a:pt x="103" y="608"/>
                  </a:lnTo>
                  <a:lnTo>
                    <a:pt x="125" y="633"/>
                  </a:lnTo>
                  <a:lnTo>
                    <a:pt x="152" y="656"/>
                  </a:lnTo>
                  <a:lnTo>
                    <a:pt x="179" y="677"/>
                  </a:lnTo>
                  <a:lnTo>
                    <a:pt x="208" y="694"/>
                  </a:lnTo>
                  <a:lnTo>
                    <a:pt x="240" y="710"/>
                  </a:lnTo>
                  <a:lnTo>
                    <a:pt x="273" y="722"/>
                  </a:lnTo>
                  <a:lnTo>
                    <a:pt x="307" y="730"/>
                  </a:lnTo>
                  <a:lnTo>
                    <a:pt x="342" y="736"/>
                  </a:lnTo>
                  <a:lnTo>
                    <a:pt x="379" y="738"/>
                  </a:lnTo>
                  <a:lnTo>
                    <a:pt x="379" y="738"/>
                  </a:lnTo>
                  <a:lnTo>
                    <a:pt x="415" y="736"/>
                  </a:lnTo>
                  <a:lnTo>
                    <a:pt x="451" y="730"/>
                  </a:lnTo>
                  <a:lnTo>
                    <a:pt x="486" y="722"/>
                  </a:lnTo>
                  <a:lnTo>
                    <a:pt x="519" y="710"/>
                  </a:lnTo>
                  <a:lnTo>
                    <a:pt x="550" y="694"/>
                  </a:lnTo>
                  <a:lnTo>
                    <a:pt x="578" y="677"/>
                  </a:lnTo>
                  <a:lnTo>
                    <a:pt x="606" y="656"/>
                  </a:lnTo>
                  <a:lnTo>
                    <a:pt x="631" y="633"/>
                  </a:lnTo>
                  <a:lnTo>
                    <a:pt x="655" y="608"/>
                  </a:lnTo>
                  <a:lnTo>
                    <a:pt x="675" y="580"/>
                  </a:lnTo>
                  <a:lnTo>
                    <a:pt x="694" y="550"/>
                  </a:lnTo>
                  <a:lnTo>
                    <a:pt x="708" y="519"/>
                  </a:lnTo>
                  <a:lnTo>
                    <a:pt x="721" y="486"/>
                  </a:lnTo>
                  <a:lnTo>
                    <a:pt x="730" y="451"/>
                  </a:lnTo>
                  <a:lnTo>
                    <a:pt x="735" y="417"/>
                  </a:lnTo>
                  <a:lnTo>
                    <a:pt x="736" y="379"/>
                  </a:lnTo>
                  <a:lnTo>
                    <a:pt x="736" y="379"/>
                  </a:lnTo>
                  <a:lnTo>
                    <a:pt x="735" y="343"/>
                  </a:lnTo>
                  <a:lnTo>
                    <a:pt x="730" y="307"/>
                  </a:lnTo>
                  <a:lnTo>
                    <a:pt x="721" y="274"/>
                  </a:lnTo>
                  <a:lnTo>
                    <a:pt x="708" y="241"/>
                  </a:lnTo>
                  <a:lnTo>
                    <a:pt x="694" y="210"/>
                  </a:lnTo>
                  <a:lnTo>
                    <a:pt x="675" y="180"/>
                  </a:lnTo>
                  <a:lnTo>
                    <a:pt x="655" y="152"/>
                  </a:lnTo>
                  <a:lnTo>
                    <a:pt x="631" y="127"/>
                  </a:lnTo>
                  <a:lnTo>
                    <a:pt x="606" y="104"/>
                  </a:lnTo>
                  <a:lnTo>
                    <a:pt x="578" y="83"/>
                  </a:lnTo>
                  <a:lnTo>
                    <a:pt x="550" y="66"/>
                  </a:lnTo>
                  <a:lnTo>
                    <a:pt x="519" y="50"/>
                  </a:lnTo>
                  <a:lnTo>
                    <a:pt x="486" y="38"/>
                  </a:lnTo>
                  <a:lnTo>
                    <a:pt x="451" y="30"/>
                  </a:lnTo>
                  <a:lnTo>
                    <a:pt x="415" y="24"/>
                  </a:lnTo>
                  <a:lnTo>
                    <a:pt x="379" y="22"/>
                  </a:lnTo>
                  <a:lnTo>
                    <a:pt x="379"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31" name="Rectangle 18">
            <a:extLst>
              <a:ext uri="{FF2B5EF4-FFF2-40B4-BE49-F238E27FC236}">
                <a16:creationId xmlns:a16="http://schemas.microsoft.com/office/drawing/2014/main" id="{C298A9CE-773D-47E9-B790-7ECD4B2A81E8}"/>
              </a:ext>
            </a:extLst>
          </p:cNvPr>
          <p:cNvSpPr>
            <a:spLocks noChangeArrowheads="1"/>
          </p:cNvSpPr>
          <p:nvPr/>
        </p:nvSpPr>
        <p:spPr bwMode="auto">
          <a:xfrm>
            <a:off x="2005888" y="3236142"/>
            <a:ext cx="458406" cy="308517"/>
          </a:xfrm>
          <a:prstGeom prst="rect">
            <a:avLst/>
          </a:prstGeom>
          <a:noFill/>
          <a:ln>
            <a:noFill/>
            <a:prstDash val="solid"/>
          </a:ln>
        </p:spPr>
        <p:style>
          <a:lnRef idx="2">
            <a:schemeClr val="dk1"/>
          </a:lnRef>
          <a:fillRef idx="1">
            <a:schemeClr val="lt1"/>
          </a:fillRef>
          <a:effectRef idx="0">
            <a:schemeClr val="dk1"/>
          </a:effectRef>
          <a:fontRef idx="minor">
            <a:schemeClr val="dk1"/>
          </a:fontRef>
        </p:style>
        <p:txBody>
          <a:bodyPr wrap="square" lIns="0" tIns="45720" rIns="0" bIns="0" anchor="t">
            <a:noAutofit/>
          </a:bodyPr>
          <a:lstStyle/>
          <a:p>
            <a:pPr marL="0" marR="0" lvl="0" indent="0" algn="ctr" defTabSz="914400" rtl="0" eaLnBrk="1" fontAlgn="auto" latinLnBrk="0" hangingPunct="1">
              <a:lnSpc>
                <a:spcPct val="100000"/>
              </a:lnSpc>
              <a:spcBef>
                <a:spcPts val="0"/>
              </a:spcBef>
              <a:spcAft>
                <a:spcPts val="0"/>
              </a:spcAft>
              <a:buClr>
                <a:srgbClr val="787878"/>
              </a:buClr>
              <a:buSzPct val="75000"/>
              <a:buFontTx/>
              <a:buNone/>
              <a:tabLst/>
              <a:defRPr/>
            </a:pPr>
            <a:r>
              <a:rPr kumimoji="0" lang="en-US" sz="900" b="0" i="0" u="none" strike="noStrike" kern="1200" cap="none" spc="0" normalizeH="0" baseline="0" noProof="0" dirty="0">
                <a:ln>
                  <a:noFill/>
                </a:ln>
                <a:solidFill>
                  <a:srgbClr val="000000"/>
                </a:solidFill>
                <a:effectLst/>
                <a:uLnTx/>
                <a:uFillTx/>
                <a:latin typeface="Frutiger Next Pro Medium" pitchFamily="34" charset="0"/>
                <a:ea typeface="+mn-ea"/>
                <a:cs typeface="Arial"/>
                <a:sym typeface="Frutiger Next Pro Medium" charset="0"/>
              </a:rPr>
              <a:t>PMO</a:t>
            </a:r>
          </a:p>
        </p:txBody>
      </p:sp>
      <p:sp>
        <p:nvSpPr>
          <p:cNvPr id="32" name="Rectangle 18">
            <a:extLst>
              <a:ext uri="{FF2B5EF4-FFF2-40B4-BE49-F238E27FC236}">
                <a16:creationId xmlns:a16="http://schemas.microsoft.com/office/drawing/2014/main" id="{9DE45575-1B5C-4AF6-8C9A-6D00F10C5472}"/>
              </a:ext>
            </a:extLst>
          </p:cNvPr>
          <p:cNvSpPr>
            <a:spLocks noChangeArrowheads="1"/>
          </p:cNvSpPr>
          <p:nvPr/>
        </p:nvSpPr>
        <p:spPr bwMode="auto">
          <a:xfrm>
            <a:off x="3037665" y="3236142"/>
            <a:ext cx="1069636" cy="308517"/>
          </a:xfrm>
          <a:prstGeom prst="rect">
            <a:avLst/>
          </a:prstGeom>
          <a:noFill/>
          <a:ln>
            <a:noFill/>
            <a:prstDash val="solid"/>
          </a:ln>
        </p:spPr>
        <p:style>
          <a:lnRef idx="2">
            <a:schemeClr val="dk1"/>
          </a:lnRef>
          <a:fillRef idx="1">
            <a:schemeClr val="lt1"/>
          </a:fillRef>
          <a:effectRef idx="0">
            <a:schemeClr val="dk1"/>
          </a:effectRef>
          <a:fontRef idx="minor">
            <a:schemeClr val="dk1"/>
          </a:fontRef>
        </p:style>
        <p:txBody>
          <a:bodyPr wrap="square" lIns="0" tIns="45720" rIns="0" bIns="0" anchor="t">
            <a:noAutofit/>
          </a:bodyPr>
          <a:lstStyle/>
          <a:p>
            <a:pPr marL="0" marR="0" lvl="0" indent="0" algn="ctr" defTabSz="914400" rtl="0" eaLnBrk="1" fontAlgn="auto" latinLnBrk="0" hangingPunct="1">
              <a:lnSpc>
                <a:spcPct val="100000"/>
              </a:lnSpc>
              <a:spcBef>
                <a:spcPts val="0"/>
              </a:spcBef>
              <a:spcAft>
                <a:spcPts val="0"/>
              </a:spcAft>
              <a:buClr>
                <a:srgbClr val="787878"/>
              </a:buClr>
              <a:buSzPct val="75000"/>
              <a:buFontTx/>
              <a:buNone/>
              <a:tabLst/>
              <a:defRPr/>
            </a:pPr>
            <a:r>
              <a:rPr kumimoji="0" lang="en-US" sz="900" b="0" i="0" u="none" strike="noStrike" kern="1200" cap="none" spc="0" normalizeH="0" baseline="0" noProof="0" dirty="0">
                <a:ln>
                  <a:noFill/>
                </a:ln>
                <a:solidFill>
                  <a:srgbClr val="000000"/>
                </a:solidFill>
                <a:effectLst/>
                <a:uLnTx/>
                <a:uFillTx/>
                <a:latin typeface="Frutiger Next Pro Medium" pitchFamily="34" charset="0"/>
                <a:ea typeface="+mn-ea"/>
                <a:cs typeface="Arial"/>
                <a:sym typeface="Frutiger Next Pro Medium" charset="0"/>
              </a:rPr>
              <a:t>External Partners</a:t>
            </a:r>
          </a:p>
        </p:txBody>
      </p:sp>
      <p:grpSp>
        <p:nvGrpSpPr>
          <p:cNvPr id="33" name="Group 32">
            <a:extLst>
              <a:ext uri="{FF2B5EF4-FFF2-40B4-BE49-F238E27FC236}">
                <a16:creationId xmlns:a16="http://schemas.microsoft.com/office/drawing/2014/main" id="{A0C722D2-1DEE-40F9-A9CA-DE835755E5F4}"/>
              </a:ext>
            </a:extLst>
          </p:cNvPr>
          <p:cNvGrpSpPr/>
          <p:nvPr/>
        </p:nvGrpSpPr>
        <p:grpSpPr>
          <a:xfrm>
            <a:off x="5878539" y="2764463"/>
            <a:ext cx="853540" cy="759801"/>
            <a:chOff x="5943692" y="2697125"/>
            <a:chExt cx="853540" cy="759801"/>
          </a:xfrm>
        </p:grpSpPr>
        <p:sp>
          <p:nvSpPr>
            <p:cNvPr id="34" name="Rectangle 18">
              <a:extLst>
                <a:ext uri="{FF2B5EF4-FFF2-40B4-BE49-F238E27FC236}">
                  <a16:creationId xmlns:a16="http://schemas.microsoft.com/office/drawing/2014/main" id="{FB4B1AB6-3DC1-488D-A544-7A107E66F451}"/>
                </a:ext>
              </a:extLst>
            </p:cNvPr>
            <p:cNvSpPr>
              <a:spLocks noChangeArrowheads="1"/>
            </p:cNvSpPr>
            <p:nvPr/>
          </p:nvSpPr>
          <p:spPr bwMode="auto">
            <a:xfrm>
              <a:off x="5943692" y="3168804"/>
              <a:ext cx="853540" cy="288122"/>
            </a:xfrm>
            <a:prstGeom prst="rect">
              <a:avLst/>
            </a:prstGeom>
            <a:noFill/>
            <a:ln>
              <a:noFill/>
              <a:prstDash val="solid"/>
            </a:ln>
          </p:spPr>
          <p:style>
            <a:lnRef idx="2">
              <a:schemeClr val="dk1"/>
            </a:lnRef>
            <a:fillRef idx="1">
              <a:schemeClr val="lt1"/>
            </a:fillRef>
            <a:effectRef idx="0">
              <a:schemeClr val="dk1"/>
            </a:effectRef>
            <a:fontRef idx="minor">
              <a:schemeClr val="dk1"/>
            </a:fontRef>
          </p:style>
          <p:txBody>
            <a:bodyPr wrap="square" lIns="0" tIns="45720" rIns="0" bIns="0" anchor="t">
              <a:noAutofit/>
            </a:bodyPr>
            <a:lstStyle/>
            <a:p>
              <a:pPr marL="0" marR="0" lvl="0" indent="0" algn="ctr" defTabSz="914400" rtl="0" eaLnBrk="1" fontAlgn="auto" latinLnBrk="0" hangingPunct="1">
                <a:lnSpc>
                  <a:spcPct val="100000"/>
                </a:lnSpc>
                <a:spcBef>
                  <a:spcPts val="0"/>
                </a:spcBef>
                <a:spcAft>
                  <a:spcPts val="0"/>
                </a:spcAft>
                <a:buClr>
                  <a:srgbClr val="787878"/>
                </a:buClr>
                <a:buSzPct val="75000"/>
                <a:buFontTx/>
                <a:buNone/>
                <a:tabLst/>
                <a:defRPr/>
              </a:pPr>
              <a:r>
                <a:rPr kumimoji="0" lang="en-US" sz="900" b="0" i="0" u="none" strike="noStrike" kern="1200" cap="none" spc="0" normalizeH="0" baseline="0" noProof="0" dirty="0">
                  <a:ln>
                    <a:noFill/>
                  </a:ln>
                  <a:solidFill>
                    <a:srgbClr val="000000"/>
                  </a:solidFill>
                  <a:effectLst/>
                  <a:uLnTx/>
                  <a:uFillTx/>
                  <a:latin typeface="Frutiger Next Pro Medium" pitchFamily="34" charset="0"/>
                  <a:ea typeface="+mn-ea"/>
                  <a:cs typeface="Arial"/>
                  <a:sym typeface="Frutiger Next Pro Medium" charset="0"/>
                </a:rPr>
                <a:t>Engagement/ Program Lead</a:t>
              </a:r>
            </a:p>
          </p:txBody>
        </p:sp>
        <p:grpSp>
          <p:nvGrpSpPr>
            <p:cNvPr id="35" name="Group 34">
              <a:extLst>
                <a:ext uri="{FF2B5EF4-FFF2-40B4-BE49-F238E27FC236}">
                  <a16:creationId xmlns:a16="http://schemas.microsoft.com/office/drawing/2014/main" id="{445E8D93-435D-4C63-A8CA-DD22728D24EA}"/>
                </a:ext>
              </a:extLst>
            </p:cNvPr>
            <p:cNvGrpSpPr>
              <a:grpSpLocks noChangeAspect="1"/>
            </p:cNvGrpSpPr>
            <p:nvPr/>
          </p:nvGrpSpPr>
          <p:grpSpPr>
            <a:xfrm>
              <a:off x="6134643" y="2697125"/>
              <a:ext cx="455998" cy="457200"/>
              <a:chOff x="3794125" y="5289550"/>
              <a:chExt cx="601663" cy="603250"/>
            </a:xfrm>
            <a:solidFill>
              <a:srgbClr val="404040"/>
            </a:solidFill>
          </p:grpSpPr>
          <p:sp>
            <p:nvSpPr>
              <p:cNvPr id="36" name="Freeform 176">
                <a:extLst>
                  <a:ext uri="{FF2B5EF4-FFF2-40B4-BE49-F238E27FC236}">
                    <a16:creationId xmlns:a16="http://schemas.microsoft.com/office/drawing/2014/main" id="{E1526858-8ECC-47BD-A9D4-7227ECC12262}"/>
                  </a:ext>
                </a:extLst>
              </p:cNvPr>
              <p:cNvSpPr>
                <a:spLocks noEditPoints="1"/>
              </p:cNvSpPr>
              <p:nvPr/>
            </p:nvSpPr>
            <p:spPr bwMode="auto">
              <a:xfrm>
                <a:off x="3952875" y="5430838"/>
                <a:ext cx="287338" cy="288925"/>
              </a:xfrm>
              <a:custGeom>
                <a:avLst/>
                <a:gdLst>
                  <a:gd name="T0" fmla="*/ 311 w 363"/>
                  <a:gd name="T1" fmla="*/ 271 h 365"/>
                  <a:gd name="T2" fmla="*/ 238 w 363"/>
                  <a:gd name="T3" fmla="*/ 254 h 365"/>
                  <a:gd name="T4" fmla="*/ 250 w 363"/>
                  <a:gd name="T5" fmla="*/ 234 h 365"/>
                  <a:gd name="T6" fmla="*/ 303 w 363"/>
                  <a:gd name="T7" fmla="*/ 218 h 365"/>
                  <a:gd name="T8" fmla="*/ 310 w 363"/>
                  <a:gd name="T9" fmla="*/ 208 h 365"/>
                  <a:gd name="T10" fmla="*/ 307 w 363"/>
                  <a:gd name="T11" fmla="*/ 202 h 365"/>
                  <a:gd name="T12" fmla="*/ 289 w 363"/>
                  <a:gd name="T13" fmla="*/ 163 h 365"/>
                  <a:gd name="T14" fmla="*/ 278 w 363"/>
                  <a:gd name="T15" fmla="*/ 93 h 365"/>
                  <a:gd name="T16" fmla="*/ 266 w 363"/>
                  <a:gd name="T17" fmla="*/ 52 h 365"/>
                  <a:gd name="T18" fmla="*/ 247 w 363"/>
                  <a:gd name="T19" fmla="*/ 27 h 365"/>
                  <a:gd name="T20" fmla="*/ 214 w 363"/>
                  <a:gd name="T21" fmla="*/ 6 h 365"/>
                  <a:gd name="T22" fmla="*/ 164 w 363"/>
                  <a:gd name="T23" fmla="*/ 3 h 365"/>
                  <a:gd name="T24" fmla="*/ 126 w 363"/>
                  <a:gd name="T25" fmla="*/ 19 h 365"/>
                  <a:gd name="T26" fmla="*/ 104 w 363"/>
                  <a:gd name="T27" fmla="*/ 39 h 365"/>
                  <a:gd name="T28" fmla="*/ 87 w 363"/>
                  <a:gd name="T29" fmla="*/ 80 h 365"/>
                  <a:gd name="T30" fmla="*/ 81 w 363"/>
                  <a:gd name="T31" fmla="*/ 133 h 365"/>
                  <a:gd name="T32" fmla="*/ 62 w 363"/>
                  <a:gd name="T33" fmla="*/ 197 h 365"/>
                  <a:gd name="T34" fmla="*/ 54 w 363"/>
                  <a:gd name="T35" fmla="*/ 208 h 365"/>
                  <a:gd name="T36" fmla="*/ 56 w 363"/>
                  <a:gd name="T37" fmla="*/ 215 h 365"/>
                  <a:gd name="T38" fmla="*/ 98 w 363"/>
                  <a:gd name="T39" fmla="*/ 230 h 365"/>
                  <a:gd name="T40" fmla="*/ 131 w 363"/>
                  <a:gd name="T41" fmla="*/ 251 h 365"/>
                  <a:gd name="T42" fmla="*/ 89 w 363"/>
                  <a:gd name="T43" fmla="*/ 263 h 365"/>
                  <a:gd name="T44" fmla="*/ 14 w 363"/>
                  <a:gd name="T45" fmla="*/ 284 h 365"/>
                  <a:gd name="T46" fmla="*/ 0 w 363"/>
                  <a:gd name="T47" fmla="*/ 301 h 365"/>
                  <a:gd name="T48" fmla="*/ 6 w 363"/>
                  <a:gd name="T49" fmla="*/ 360 h 365"/>
                  <a:gd name="T50" fmla="*/ 344 w 363"/>
                  <a:gd name="T51" fmla="*/ 365 h 365"/>
                  <a:gd name="T52" fmla="*/ 363 w 363"/>
                  <a:gd name="T53" fmla="*/ 346 h 365"/>
                  <a:gd name="T54" fmla="*/ 360 w 363"/>
                  <a:gd name="T55" fmla="*/ 290 h 365"/>
                  <a:gd name="T56" fmla="*/ 349 w 363"/>
                  <a:gd name="T57" fmla="*/ 346 h 365"/>
                  <a:gd name="T58" fmla="*/ 20 w 363"/>
                  <a:gd name="T59" fmla="*/ 351 h 365"/>
                  <a:gd name="T60" fmla="*/ 15 w 363"/>
                  <a:gd name="T61" fmla="*/ 301 h 365"/>
                  <a:gd name="T62" fmla="*/ 18 w 363"/>
                  <a:gd name="T63" fmla="*/ 296 h 365"/>
                  <a:gd name="T64" fmla="*/ 92 w 363"/>
                  <a:gd name="T65" fmla="*/ 277 h 365"/>
                  <a:gd name="T66" fmla="*/ 141 w 363"/>
                  <a:gd name="T67" fmla="*/ 263 h 365"/>
                  <a:gd name="T68" fmla="*/ 147 w 363"/>
                  <a:gd name="T69" fmla="*/ 252 h 365"/>
                  <a:gd name="T70" fmla="*/ 145 w 363"/>
                  <a:gd name="T71" fmla="*/ 223 h 365"/>
                  <a:gd name="T72" fmla="*/ 115 w 363"/>
                  <a:gd name="T73" fmla="*/ 219 h 365"/>
                  <a:gd name="T74" fmla="*/ 73 w 363"/>
                  <a:gd name="T75" fmla="*/ 207 h 365"/>
                  <a:gd name="T76" fmla="*/ 92 w 363"/>
                  <a:gd name="T77" fmla="*/ 152 h 365"/>
                  <a:gd name="T78" fmla="*/ 100 w 363"/>
                  <a:gd name="T79" fmla="*/ 93 h 365"/>
                  <a:gd name="T80" fmla="*/ 112 w 363"/>
                  <a:gd name="T81" fmla="*/ 57 h 365"/>
                  <a:gd name="T82" fmla="*/ 131 w 363"/>
                  <a:gd name="T83" fmla="*/ 35 h 365"/>
                  <a:gd name="T84" fmla="*/ 167 w 363"/>
                  <a:gd name="T85" fmla="*/ 17 h 365"/>
                  <a:gd name="T86" fmla="*/ 209 w 363"/>
                  <a:gd name="T87" fmla="*/ 20 h 365"/>
                  <a:gd name="T88" fmla="*/ 236 w 363"/>
                  <a:gd name="T89" fmla="*/ 36 h 365"/>
                  <a:gd name="T90" fmla="*/ 242 w 363"/>
                  <a:gd name="T91" fmla="*/ 44 h 365"/>
                  <a:gd name="T92" fmla="*/ 261 w 363"/>
                  <a:gd name="T93" fmla="*/ 75 h 365"/>
                  <a:gd name="T94" fmla="*/ 264 w 363"/>
                  <a:gd name="T95" fmla="*/ 104 h 365"/>
                  <a:gd name="T96" fmla="*/ 278 w 363"/>
                  <a:gd name="T97" fmla="*/ 183 h 365"/>
                  <a:gd name="T98" fmla="*/ 281 w 363"/>
                  <a:gd name="T99" fmla="*/ 212 h 365"/>
                  <a:gd name="T100" fmla="*/ 225 w 363"/>
                  <a:gd name="T101" fmla="*/ 219 h 365"/>
                  <a:gd name="T102" fmla="*/ 217 w 363"/>
                  <a:gd name="T103" fmla="*/ 227 h 365"/>
                  <a:gd name="T104" fmla="*/ 217 w 363"/>
                  <a:gd name="T105" fmla="*/ 255 h 365"/>
                  <a:gd name="T106" fmla="*/ 235 w 363"/>
                  <a:gd name="T107" fmla="*/ 270 h 365"/>
                  <a:gd name="T108" fmla="*/ 308 w 363"/>
                  <a:gd name="T109" fmla="*/ 285 h 365"/>
                  <a:gd name="T110" fmla="*/ 347 w 363"/>
                  <a:gd name="T111" fmla="*/ 299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63" h="365">
                    <a:moveTo>
                      <a:pt x="350" y="284"/>
                    </a:moveTo>
                    <a:lnTo>
                      <a:pt x="350" y="284"/>
                    </a:lnTo>
                    <a:lnTo>
                      <a:pt x="332" y="276"/>
                    </a:lnTo>
                    <a:lnTo>
                      <a:pt x="311" y="271"/>
                    </a:lnTo>
                    <a:lnTo>
                      <a:pt x="275" y="263"/>
                    </a:lnTo>
                    <a:lnTo>
                      <a:pt x="275" y="263"/>
                    </a:lnTo>
                    <a:lnTo>
                      <a:pt x="249" y="259"/>
                    </a:lnTo>
                    <a:lnTo>
                      <a:pt x="238" y="254"/>
                    </a:lnTo>
                    <a:lnTo>
                      <a:pt x="231" y="251"/>
                    </a:lnTo>
                    <a:lnTo>
                      <a:pt x="231" y="235"/>
                    </a:lnTo>
                    <a:lnTo>
                      <a:pt x="231" y="235"/>
                    </a:lnTo>
                    <a:lnTo>
                      <a:pt x="250" y="234"/>
                    </a:lnTo>
                    <a:lnTo>
                      <a:pt x="266" y="230"/>
                    </a:lnTo>
                    <a:lnTo>
                      <a:pt x="278" y="227"/>
                    </a:lnTo>
                    <a:lnTo>
                      <a:pt x="289" y="224"/>
                    </a:lnTo>
                    <a:lnTo>
                      <a:pt x="303" y="218"/>
                    </a:lnTo>
                    <a:lnTo>
                      <a:pt x="308" y="215"/>
                    </a:lnTo>
                    <a:lnTo>
                      <a:pt x="308" y="215"/>
                    </a:lnTo>
                    <a:lnTo>
                      <a:pt x="310" y="212"/>
                    </a:lnTo>
                    <a:lnTo>
                      <a:pt x="310" y="208"/>
                    </a:lnTo>
                    <a:lnTo>
                      <a:pt x="310" y="208"/>
                    </a:lnTo>
                    <a:lnTo>
                      <a:pt x="310" y="205"/>
                    </a:lnTo>
                    <a:lnTo>
                      <a:pt x="307" y="202"/>
                    </a:lnTo>
                    <a:lnTo>
                      <a:pt x="307" y="202"/>
                    </a:lnTo>
                    <a:lnTo>
                      <a:pt x="302" y="197"/>
                    </a:lnTo>
                    <a:lnTo>
                      <a:pt x="297" y="190"/>
                    </a:lnTo>
                    <a:lnTo>
                      <a:pt x="292" y="177"/>
                    </a:lnTo>
                    <a:lnTo>
                      <a:pt x="289" y="163"/>
                    </a:lnTo>
                    <a:lnTo>
                      <a:pt x="283" y="133"/>
                    </a:lnTo>
                    <a:lnTo>
                      <a:pt x="280" y="104"/>
                    </a:lnTo>
                    <a:lnTo>
                      <a:pt x="280" y="104"/>
                    </a:lnTo>
                    <a:lnTo>
                      <a:pt x="278" y="93"/>
                    </a:lnTo>
                    <a:lnTo>
                      <a:pt x="277" y="82"/>
                    </a:lnTo>
                    <a:lnTo>
                      <a:pt x="275" y="71"/>
                    </a:lnTo>
                    <a:lnTo>
                      <a:pt x="271" y="61"/>
                    </a:lnTo>
                    <a:lnTo>
                      <a:pt x="266" y="52"/>
                    </a:lnTo>
                    <a:lnTo>
                      <a:pt x="261" y="42"/>
                    </a:lnTo>
                    <a:lnTo>
                      <a:pt x="253" y="35"/>
                    </a:lnTo>
                    <a:lnTo>
                      <a:pt x="247" y="27"/>
                    </a:lnTo>
                    <a:lnTo>
                      <a:pt x="247" y="27"/>
                    </a:lnTo>
                    <a:lnTo>
                      <a:pt x="241" y="20"/>
                    </a:lnTo>
                    <a:lnTo>
                      <a:pt x="233" y="14"/>
                    </a:lnTo>
                    <a:lnTo>
                      <a:pt x="224" y="10"/>
                    </a:lnTo>
                    <a:lnTo>
                      <a:pt x="214" y="6"/>
                    </a:lnTo>
                    <a:lnTo>
                      <a:pt x="214" y="6"/>
                    </a:lnTo>
                    <a:lnTo>
                      <a:pt x="198" y="2"/>
                    </a:lnTo>
                    <a:lnTo>
                      <a:pt x="181" y="0"/>
                    </a:lnTo>
                    <a:lnTo>
                      <a:pt x="164" y="3"/>
                    </a:lnTo>
                    <a:lnTo>
                      <a:pt x="148" y="8"/>
                    </a:lnTo>
                    <a:lnTo>
                      <a:pt x="148" y="8"/>
                    </a:lnTo>
                    <a:lnTo>
                      <a:pt x="133" y="14"/>
                    </a:lnTo>
                    <a:lnTo>
                      <a:pt x="126" y="19"/>
                    </a:lnTo>
                    <a:lnTo>
                      <a:pt x="120" y="24"/>
                    </a:lnTo>
                    <a:lnTo>
                      <a:pt x="120" y="24"/>
                    </a:lnTo>
                    <a:lnTo>
                      <a:pt x="112" y="31"/>
                    </a:lnTo>
                    <a:lnTo>
                      <a:pt x="104" y="39"/>
                    </a:lnTo>
                    <a:lnTo>
                      <a:pt x="98" y="49"/>
                    </a:lnTo>
                    <a:lnTo>
                      <a:pt x="94" y="60"/>
                    </a:lnTo>
                    <a:lnTo>
                      <a:pt x="90" y="69"/>
                    </a:lnTo>
                    <a:lnTo>
                      <a:pt x="87" y="80"/>
                    </a:lnTo>
                    <a:lnTo>
                      <a:pt x="86" y="91"/>
                    </a:lnTo>
                    <a:lnTo>
                      <a:pt x="84" y="102"/>
                    </a:lnTo>
                    <a:lnTo>
                      <a:pt x="84" y="102"/>
                    </a:lnTo>
                    <a:lnTo>
                      <a:pt x="81" y="133"/>
                    </a:lnTo>
                    <a:lnTo>
                      <a:pt x="75" y="163"/>
                    </a:lnTo>
                    <a:lnTo>
                      <a:pt x="72" y="177"/>
                    </a:lnTo>
                    <a:lnTo>
                      <a:pt x="67" y="190"/>
                    </a:lnTo>
                    <a:lnTo>
                      <a:pt x="62" y="197"/>
                    </a:lnTo>
                    <a:lnTo>
                      <a:pt x="58" y="202"/>
                    </a:lnTo>
                    <a:lnTo>
                      <a:pt x="58" y="202"/>
                    </a:lnTo>
                    <a:lnTo>
                      <a:pt x="54" y="205"/>
                    </a:lnTo>
                    <a:lnTo>
                      <a:pt x="54" y="208"/>
                    </a:lnTo>
                    <a:lnTo>
                      <a:pt x="54" y="208"/>
                    </a:lnTo>
                    <a:lnTo>
                      <a:pt x="54" y="212"/>
                    </a:lnTo>
                    <a:lnTo>
                      <a:pt x="56" y="215"/>
                    </a:lnTo>
                    <a:lnTo>
                      <a:pt x="56" y="215"/>
                    </a:lnTo>
                    <a:lnTo>
                      <a:pt x="61" y="218"/>
                    </a:lnTo>
                    <a:lnTo>
                      <a:pt x="75" y="224"/>
                    </a:lnTo>
                    <a:lnTo>
                      <a:pt x="86" y="227"/>
                    </a:lnTo>
                    <a:lnTo>
                      <a:pt x="98" y="230"/>
                    </a:lnTo>
                    <a:lnTo>
                      <a:pt x="114" y="234"/>
                    </a:lnTo>
                    <a:lnTo>
                      <a:pt x="131" y="235"/>
                    </a:lnTo>
                    <a:lnTo>
                      <a:pt x="131" y="251"/>
                    </a:lnTo>
                    <a:lnTo>
                      <a:pt x="131" y="251"/>
                    </a:lnTo>
                    <a:lnTo>
                      <a:pt x="126" y="254"/>
                    </a:lnTo>
                    <a:lnTo>
                      <a:pt x="115" y="257"/>
                    </a:lnTo>
                    <a:lnTo>
                      <a:pt x="89" y="263"/>
                    </a:lnTo>
                    <a:lnTo>
                      <a:pt x="89" y="263"/>
                    </a:lnTo>
                    <a:lnTo>
                      <a:pt x="53" y="271"/>
                    </a:lnTo>
                    <a:lnTo>
                      <a:pt x="32" y="276"/>
                    </a:lnTo>
                    <a:lnTo>
                      <a:pt x="14" y="284"/>
                    </a:lnTo>
                    <a:lnTo>
                      <a:pt x="14" y="284"/>
                    </a:lnTo>
                    <a:lnTo>
                      <a:pt x="7" y="287"/>
                    </a:lnTo>
                    <a:lnTo>
                      <a:pt x="4" y="290"/>
                    </a:lnTo>
                    <a:lnTo>
                      <a:pt x="1" y="296"/>
                    </a:lnTo>
                    <a:lnTo>
                      <a:pt x="0" y="301"/>
                    </a:lnTo>
                    <a:lnTo>
                      <a:pt x="0" y="346"/>
                    </a:lnTo>
                    <a:lnTo>
                      <a:pt x="0" y="346"/>
                    </a:lnTo>
                    <a:lnTo>
                      <a:pt x="1" y="354"/>
                    </a:lnTo>
                    <a:lnTo>
                      <a:pt x="6" y="360"/>
                    </a:lnTo>
                    <a:lnTo>
                      <a:pt x="12" y="364"/>
                    </a:lnTo>
                    <a:lnTo>
                      <a:pt x="20" y="365"/>
                    </a:lnTo>
                    <a:lnTo>
                      <a:pt x="344" y="365"/>
                    </a:lnTo>
                    <a:lnTo>
                      <a:pt x="344" y="365"/>
                    </a:lnTo>
                    <a:lnTo>
                      <a:pt x="352" y="364"/>
                    </a:lnTo>
                    <a:lnTo>
                      <a:pt x="358" y="360"/>
                    </a:lnTo>
                    <a:lnTo>
                      <a:pt x="361" y="354"/>
                    </a:lnTo>
                    <a:lnTo>
                      <a:pt x="363" y="346"/>
                    </a:lnTo>
                    <a:lnTo>
                      <a:pt x="363" y="301"/>
                    </a:lnTo>
                    <a:lnTo>
                      <a:pt x="363" y="301"/>
                    </a:lnTo>
                    <a:lnTo>
                      <a:pt x="363" y="296"/>
                    </a:lnTo>
                    <a:lnTo>
                      <a:pt x="360" y="290"/>
                    </a:lnTo>
                    <a:lnTo>
                      <a:pt x="357" y="287"/>
                    </a:lnTo>
                    <a:lnTo>
                      <a:pt x="350" y="284"/>
                    </a:lnTo>
                    <a:lnTo>
                      <a:pt x="350" y="284"/>
                    </a:lnTo>
                    <a:close/>
                    <a:moveTo>
                      <a:pt x="349" y="346"/>
                    </a:moveTo>
                    <a:lnTo>
                      <a:pt x="349" y="346"/>
                    </a:lnTo>
                    <a:lnTo>
                      <a:pt x="347" y="349"/>
                    </a:lnTo>
                    <a:lnTo>
                      <a:pt x="344" y="351"/>
                    </a:lnTo>
                    <a:lnTo>
                      <a:pt x="20" y="351"/>
                    </a:lnTo>
                    <a:lnTo>
                      <a:pt x="20" y="351"/>
                    </a:lnTo>
                    <a:lnTo>
                      <a:pt x="17" y="349"/>
                    </a:lnTo>
                    <a:lnTo>
                      <a:pt x="15" y="346"/>
                    </a:lnTo>
                    <a:lnTo>
                      <a:pt x="15" y="301"/>
                    </a:lnTo>
                    <a:lnTo>
                      <a:pt x="15" y="301"/>
                    </a:lnTo>
                    <a:lnTo>
                      <a:pt x="15" y="299"/>
                    </a:lnTo>
                    <a:lnTo>
                      <a:pt x="18" y="296"/>
                    </a:lnTo>
                    <a:lnTo>
                      <a:pt x="18" y="296"/>
                    </a:lnTo>
                    <a:lnTo>
                      <a:pt x="37" y="290"/>
                    </a:lnTo>
                    <a:lnTo>
                      <a:pt x="56" y="285"/>
                    </a:lnTo>
                    <a:lnTo>
                      <a:pt x="92" y="277"/>
                    </a:lnTo>
                    <a:lnTo>
                      <a:pt x="92" y="277"/>
                    </a:lnTo>
                    <a:lnTo>
                      <a:pt x="112" y="274"/>
                    </a:lnTo>
                    <a:lnTo>
                      <a:pt x="128" y="270"/>
                    </a:lnTo>
                    <a:lnTo>
                      <a:pt x="136" y="266"/>
                    </a:lnTo>
                    <a:lnTo>
                      <a:pt x="141" y="263"/>
                    </a:lnTo>
                    <a:lnTo>
                      <a:pt x="144" y="260"/>
                    </a:lnTo>
                    <a:lnTo>
                      <a:pt x="147" y="255"/>
                    </a:lnTo>
                    <a:lnTo>
                      <a:pt x="147" y="255"/>
                    </a:lnTo>
                    <a:lnTo>
                      <a:pt x="147" y="252"/>
                    </a:lnTo>
                    <a:lnTo>
                      <a:pt x="147" y="227"/>
                    </a:lnTo>
                    <a:lnTo>
                      <a:pt x="147" y="227"/>
                    </a:lnTo>
                    <a:lnTo>
                      <a:pt x="147" y="224"/>
                    </a:lnTo>
                    <a:lnTo>
                      <a:pt x="145" y="223"/>
                    </a:lnTo>
                    <a:lnTo>
                      <a:pt x="142" y="221"/>
                    </a:lnTo>
                    <a:lnTo>
                      <a:pt x="139" y="219"/>
                    </a:lnTo>
                    <a:lnTo>
                      <a:pt x="139" y="219"/>
                    </a:lnTo>
                    <a:lnTo>
                      <a:pt x="115" y="219"/>
                    </a:lnTo>
                    <a:lnTo>
                      <a:pt x="97" y="216"/>
                    </a:lnTo>
                    <a:lnTo>
                      <a:pt x="83" y="212"/>
                    </a:lnTo>
                    <a:lnTo>
                      <a:pt x="73" y="207"/>
                    </a:lnTo>
                    <a:lnTo>
                      <a:pt x="73" y="207"/>
                    </a:lnTo>
                    <a:lnTo>
                      <a:pt x="79" y="196"/>
                    </a:lnTo>
                    <a:lnTo>
                      <a:pt x="86" y="183"/>
                    </a:lnTo>
                    <a:lnTo>
                      <a:pt x="89" y="168"/>
                    </a:lnTo>
                    <a:lnTo>
                      <a:pt x="92" y="152"/>
                    </a:lnTo>
                    <a:lnTo>
                      <a:pt x="97" y="122"/>
                    </a:lnTo>
                    <a:lnTo>
                      <a:pt x="100" y="104"/>
                    </a:lnTo>
                    <a:lnTo>
                      <a:pt x="100" y="104"/>
                    </a:lnTo>
                    <a:lnTo>
                      <a:pt x="100" y="93"/>
                    </a:lnTo>
                    <a:lnTo>
                      <a:pt x="101" y="83"/>
                    </a:lnTo>
                    <a:lnTo>
                      <a:pt x="104" y="74"/>
                    </a:lnTo>
                    <a:lnTo>
                      <a:pt x="108" y="66"/>
                    </a:lnTo>
                    <a:lnTo>
                      <a:pt x="112" y="57"/>
                    </a:lnTo>
                    <a:lnTo>
                      <a:pt x="117" y="49"/>
                    </a:lnTo>
                    <a:lnTo>
                      <a:pt x="123" y="41"/>
                    </a:lnTo>
                    <a:lnTo>
                      <a:pt x="131" y="35"/>
                    </a:lnTo>
                    <a:lnTo>
                      <a:pt x="131" y="35"/>
                    </a:lnTo>
                    <a:lnTo>
                      <a:pt x="141" y="27"/>
                    </a:lnTo>
                    <a:lnTo>
                      <a:pt x="153" y="20"/>
                    </a:lnTo>
                    <a:lnTo>
                      <a:pt x="153" y="20"/>
                    </a:lnTo>
                    <a:lnTo>
                      <a:pt x="167" y="17"/>
                    </a:lnTo>
                    <a:lnTo>
                      <a:pt x="181" y="16"/>
                    </a:lnTo>
                    <a:lnTo>
                      <a:pt x="195" y="17"/>
                    </a:lnTo>
                    <a:lnTo>
                      <a:pt x="209" y="20"/>
                    </a:lnTo>
                    <a:lnTo>
                      <a:pt x="209" y="20"/>
                    </a:lnTo>
                    <a:lnTo>
                      <a:pt x="217" y="24"/>
                    </a:lnTo>
                    <a:lnTo>
                      <a:pt x="225" y="27"/>
                    </a:lnTo>
                    <a:lnTo>
                      <a:pt x="231" y="31"/>
                    </a:lnTo>
                    <a:lnTo>
                      <a:pt x="236" y="36"/>
                    </a:lnTo>
                    <a:lnTo>
                      <a:pt x="236" y="36"/>
                    </a:lnTo>
                    <a:lnTo>
                      <a:pt x="236" y="38"/>
                    </a:lnTo>
                    <a:lnTo>
                      <a:pt x="236" y="38"/>
                    </a:lnTo>
                    <a:lnTo>
                      <a:pt x="242" y="44"/>
                    </a:lnTo>
                    <a:lnTo>
                      <a:pt x="249" y="50"/>
                    </a:lnTo>
                    <a:lnTo>
                      <a:pt x="253" y="58"/>
                    </a:lnTo>
                    <a:lnTo>
                      <a:pt x="258" y="67"/>
                    </a:lnTo>
                    <a:lnTo>
                      <a:pt x="261" y="75"/>
                    </a:lnTo>
                    <a:lnTo>
                      <a:pt x="263" y="85"/>
                    </a:lnTo>
                    <a:lnTo>
                      <a:pt x="264" y="94"/>
                    </a:lnTo>
                    <a:lnTo>
                      <a:pt x="264" y="104"/>
                    </a:lnTo>
                    <a:lnTo>
                      <a:pt x="264" y="104"/>
                    </a:lnTo>
                    <a:lnTo>
                      <a:pt x="267" y="122"/>
                    </a:lnTo>
                    <a:lnTo>
                      <a:pt x="271" y="152"/>
                    </a:lnTo>
                    <a:lnTo>
                      <a:pt x="275" y="168"/>
                    </a:lnTo>
                    <a:lnTo>
                      <a:pt x="278" y="183"/>
                    </a:lnTo>
                    <a:lnTo>
                      <a:pt x="285" y="196"/>
                    </a:lnTo>
                    <a:lnTo>
                      <a:pt x="291" y="207"/>
                    </a:lnTo>
                    <a:lnTo>
                      <a:pt x="291" y="207"/>
                    </a:lnTo>
                    <a:lnTo>
                      <a:pt x="281" y="212"/>
                    </a:lnTo>
                    <a:lnTo>
                      <a:pt x="267" y="216"/>
                    </a:lnTo>
                    <a:lnTo>
                      <a:pt x="249" y="219"/>
                    </a:lnTo>
                    <a:lnTo>
                      <a:pt x="225" y="219"/>
                    </a:lnTo>
                    <a:lnTo>
                      <a:pt x="225" y="219"/>
                    </a:lnTo>
                    <a:lnTo>
                      <a:pt x="222" y="221"/>
                    </a:lnTo>
                    <a:lnTo>
                      <a:pt x="219" y="223"/>
                    </a:lnTo>
                    <a:lnTo>
                      <a:pt x="217" y="224"/>
                    </a:lnTo>
                    <a:lnTo>
                      <a:pt x="217" y="227"/>
                    </a:lnTo>
                    <a:lnTo>
                      <a:pt x="217" y="252"/>
                    </a:lnTo>
                    <a:lnTo>
                      <a:pt x="217" y="252"/>
                    </a:lnTo>
                    <a:lnTo>
                      <a:pt x="217" y="255"/>
                    </a:lnTo>
                    <a:lnTo>
                      <a:pt x="217" y="255"/>
                    </a:lnTo>
                    <a:lnTo>
                      <a:pt x="220" y="260"/>
                    </a:lnTo>
                    <a:lnTo>
                      <a:pt x="224" y="263"/>
                    </a:lnTo>
                    <a:lnTo>
                      <a:pt x="228" y="266"/>
                    </a:lnTo>
                    <a:lnTo>
                      <a:pt x="235" y="270"/>
                    </a:lnTo>
                    <a:lnTo>
                      <a:pt x="252" y="274"/>
                    </a:lnTo>
                    <a:lnTo>
                      <a:pt x="272" y="277"/>
                    </a:lnTo>
                    <a:lnTo>
                      <a:pt x="272" y="277"/>
                    </a:lnTo>
                    <a:lnTo>
                      <a:pt x="308" y="285"/>
                    </a:lnTo>
                    <a:lnTo>
                      <a:pt x="327" y="290"/>
                    </a:lnTo>
                    <a:lnTo>
                      <a:pt x="346" y="296"/>
                    </a:lnTo>
                    <a:lnTo>
                      <a:pt x="346" y="296"/>
                    </a:lnTo>
                    <a:lnTo>
                      <a:pt x="347" y="299"/>
                    </a:lnTo>
                    <a:lnTo>
                      <a:pt x="349" y="301"/>
                    </a:lnTo>
                    <a:lnTo>
                      <a:pt x="349" y="34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Frutiger Next Pro Medium" pitchFamily="34" charset="0"/>
                  <a:ea typeface="+mn-ea"/>
                  <a:cs typeface="+mn-cs"/>
                </a:endParaRPr>
              </a:p>
            </p:txBody>
          </p:sp>
          <p:sp>
            <p:nvSpPr>
              <p:cNvPr id="37" name="Freeform 184">
                <a:extLst>
                  <a:ext uri="{FF2B5EF4-FFF2-40B4-BE49-F238E27FC236}">
                    <a16:creationId xmlns:a16="http://schemas.microsoft.com/office/drawing/2014/main" id="{76146339-39F1-490B-A914-F9CFD73AC008}"/>
                  </a:ext>
                </a:extLst>
              </p:cNvPr>
              <p:cNvSpPr>
                <a:spLocks noEditPoints="1"/>
              </p:cNvSpPr>
              <p:nvPr/>
            </p:nvSpPr>
            <p:spPr bwMode="auto">
              <a:xfrm>
                <a:off x="3794125" y="5289550"/>
                <a:ext cx="601663" cy="603250"/>
              </a:xfrm>
              <a:custGeom>
                <a:avLst/>
                <a:gdLst>
                  <a:gd name="T0" fmla="*/ 359 w 758"/>
                  <a:gd name="T1" fmla="*/ 758 h 760"/>
                  <a:gd name="T2" fmla="*/ 302 w 758"/>
                  <a:gd name="T3" fmla="*/ 752 h 760"/>
                  <a:gd name="T4" fmla="*/ 232 w 758"/>
                  <a:gd name="T5" fmla="*/ 730 h 760"/>
                  <a:gd name="T6" fmla="*/ 138 w 758"/>
                  <a:gd name="T7" fmla="*/ 672 h 760"/>
                  <a:gd name="T8" fmla="*/ 64 w 758"/>
                  <a:gd name="T9" fmla="*/ 592 h 760"/>
                  <a:gd name="T10" fmla="*/ 17 w 758"/>
                  <a:gd name="T11" fmla="*/ 492 h 760"/>
                  <a:gd name="T12" fmla="*/ 3 w 758"/>
                  <a:gd name="T13" fmla="*/ 437 h 760"/>
                  <a:gd name="T14" fmla="*/ 0 w 758"/>
                  <a:gd name="T15" fmla="*/ 379 h 760"/>
                  <a:gd name="T16" fmla="*/ 2 w 758"/>
                  <a:gd name="T17" fmla="*/ 342 h 760"/>
                  <a:gd name="T18" fmla="*/ 11 w 758"/>
                  <a:gd name="T19" fmla="*/ 285 h 760"/>
                  <a:gd name="T20" fmla="*/ 45 w 758"/>
                  <a:gd name="T21" fmla="*/ 199 h 760"/>
                  <a:gd name="T22" fmla="*/ 111 w 758"/>
                  <a:gd name="T23" fmla="*/ 111 h 760"/>
                  <a:gd name="T24" fmla="*/ 197 w 758"/>
                  <a:gd name="T25" fmla="*/ 47 h 760"/>
                  <a:gd name="T26" fmla="*/ 284 w 758"/>
                  <a:gd name="T27" fmla="*/ 13 h 760"/>
                  <a:gd name="T28" fmla="*/ 340 w 758"/>
                  <a:gd name="T29" fmla="*/ 3 h 760"/>
                  <a:gd name="T30" fmla="*/ 379 w 758"/>
                  <a:gd name="T31" fmla="*/ 0 h 760"/>
                  <a:gd name="T32" fmla="*/ 437 w 758"/>
                  <a:gd name="T33" fmla="*/ 5 h 760"/>
                  <a:gd name="T34" fmla="*/ 492 w 758"/>
                  <a:gd name="T35" fmla="*/ 17 h 760"/>
                  <a:gd name="T36" fmla="*/ 591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1 w 758"/>
                  <a:gd name="T55" fmla="*/ 694 h 760"/>
                  <a:gd name="T56" fmla="*/ 492 w 758"/>
                  <a:gd name="T57" fmla="*/ 743 h 760"/>
                  <a:gd name="T58" fmla="*/ 437 w 758"/>
                  <a:gd name="T59" fmla="*/ 755 h 760"/>
                  <a:gd name="T60" fmla="*/ 379 w 758"/>
                  <a:gd name="T61" fmla="*/ 760 h 760"/>
                  <a:gd name="T62" fmla="*/ 379 w 758"/>
                  <a:gd name="T63" fmla="*/ 22 h 760"/>
                  <a:gd name="T64" fmla="*/ 273 w 758"/>
                  <a:gd name="T65" fmla="*/ 38 h 760"/>
                  <a:gd name="T66" fmla="*/ 179 w 758"/>
                  <a:gd name="T67" fmla="*/ 83 h 760"/>
                  <a:gd name="T68" fmla="*/ 103 w 758"/>
                  <a:gd name="T69" fmla="*/ 152 h 760"/>
                  <a:gd name="T70" fmla="*/ 49 w 758"/>
                  <a:gd name="T71" fmla="*/ 241 h 760"/>
                  <a:gd name="T72" fmla="*/ 22 w 758"/>
                  <a:gd name="T73" fmla="*/ 343 h 760"/>
                  <a:gd name="T74" fmla="*/ 22 w 758"/>
                  <a:gd name="T75" fmla="*/ 417 h 760"/>
                  <a:gd name="T76" fmla="*/ 49 w 758"/>
                  <a:gd name="T77" fmla="*/ 519 h 760"/>
                  <a:gd name="T78" fmla="*/ 103 w 758"/>
                  <a:gd name="T79" fmla="*/ 608 h 760"/>
                  <a:gd name="T80" fmla="*/ 179 w 758"/>
                  <a:gd name="T81" fmla="*/ 677 h 760"/>
                  <a:gd name="T82" fmla="*/ 273 w 758"/>
                  <a:gd name="T83" fmla="*/ 722 h 760"/>
                  <a:gd name="T84" fmla="*/ 379 w 758"/>
                  <a:gd name="T85" fmla="*/ 738 h 760"/>
                  <a:gd name="T86" fmla="*/ 451 w 758"/>
                  <a:gd name="T87" fmla="*/ 730 h 760"/>
                  <a:gd name="T88" fmla="*/ 550 w 758"/>
                  <a:gd name="T89" fmla="*/ 694 h 760"/>
                  <a:gd name="T90" fmla="*/ 631 w 758"/>
                  <a:gd name="T91" fmla="*/ 633 h 760"/>
                  <a:gd name="T92" fmla="*/ 694 w 758"/>
                  <a:gd name="T93" fmla="*/ 550 h 760"/>
                  <a:gd name="T94" fmla="*/ 730 w 758"/>
                  <a:gd name="T95" fmla="*/ 451 h 760"/>
                  <a:gd name="T96" fmla="*/ 736 w 758"/>
                  <a:gd name="T97" fmla="*/ 379 h 760"/>
                  <a:gd name="T98" fmla="*/ 721 w 758"/>
                  <a:gd name="T99" fmla="*/ 274 h 760"/>
                  <a:gd name="T100" fmla="*/ 675 w 758"/>
                  <a:gd name="T101" fmla="*/ 180 h 760"/>
                  <a:gd name="T102" fmla="*/ 606 w 758"/>
                  <a:gd name="T103" fmla="*/ 104 h 760"/>
                  <a:gd name="T104" fmla="*/ 519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9" y="758"/>
                    </a:lnTo>
                    <a:lnTo>
                      <a:pt x="340" y="757"/>
                    </a:lnTo>
                    <a:lnTo>
                      <a:pt x="321" y="755"/>
                    </a:lnTo>
                    <a:lnTo>
                      <a:pt x="302" y="752"/>
                    </a:lnTo>
                    <a:lnTo>
                      <a:pt x="284" y="747"/>
                    </a:lnTo>
                    <a:lnTo>
                      <a:pt x="266" y="743"/>
                    </a:lnTo>
                    <a:lnTo>
                      <a:pt x="232" y="730"/>
                    </a:lnTo>
                    <a:lnTo>
                      <a:pt x="197" y="713"/>
                    </a:lnTo>
                    <a:lnTo>
                      <a:pt x="166" y="694"/>
                    </a:lnTo>
                    <a:lnTo>
                      <a:pt x="138" y="672"/>
                    </a:lnTo>
                    <a:lnTo>
                      <a:pt x="111" y="649"/>
                    </a:lnTo>
                    <a:lnTo>
                      <a:pt x="86" y="620"/>
                    </a:lnTo>
                    <a:lnTo>
                      <a:pt x="64" y="592"/>
                    </a:lnTo>
                    <a:lnTo>
                      <a:pt x="45" y="561"/>
                    </a:lnTo>
                    <a:lnTo>
                      <a:pt x="30" y="528"/>
                    </a:lnTo>
                    <a:lnTo>
                      <a:pt x="17" y="492"/>
                    </a:lnTo>
                    <a:lnTo>
                      <a:pt x="11" y="475"/>
                    </a:lnTo>
                    <a:lnTo>
                      <a:pt x="8" y="456"/>
                    </a:lnTo>
                    <a:lnTo>
                      <a:pt x="3" y="437"/>
                    </a:lnTo>
                    <a:lnTo>
                      <a:pt x="2" y="418"/>
                    </a:lnTo>
                    <a:lnTo>
                      <a:pt x="0" y="400"/>
                    </a:lnTo>
                    <a:lnTo>
                      <a:pt x="0" y="379"/>
                    </a:lnTo>
                    <a:lnTo>
                      <a:pt x="0" y="379"/>
                    </a:lnTo>
                    <a:lnTo>
                      <a:pt x="0" y="360"/>
                    </a:lnTo>
                    <a:lnTo>
                      <a:pt x="2" y="342"/>
                    </a:lnTo>
                    <a:lnTo>
                      <a:pt x="3" y="323"/>
                    </a:lnTo>
                    <a:lnTo>
                      <a:pt x="8" y="304"/>
                    </a:lnTo>
                    <a:lnTo>
                      <a:pt x="11" y="285"/>
                    </a:lnTo>
                    <a:lnTo>
                      <a:pt x="17" y="266"/>
                    </a:lnTo>
                    <a:lnTo>
                      <a:pt x="30" y="232"/>
                    </a:lnTo>
                    <a:lnTo>
                      <a:pt x="45" y="199"/>
                    </a:lnTo>
                    <a:lnTo>
                      <a:pt x="64" y="168"/>
                    </a:lnTo>
                    <a:lnTo>
                      <a:pt x="86" y="138"/>
                    </a:lnTo>
                    <a:lnTo>
                      <a:pt x="111" y="111"/>
                    </a:lnTo>
                    <a:lnTo>
                      <a:pt x="138" y="88"/>
                    </a:lnTo>
                    <a:lnTo>
                      <a:pt x="166" y="66"/>
                    </a:lnTo>
                    <a:lnTo>
                      <a:pt x="197" y="47"/>
                    </a:lnTo>
                    <a:lnTo>
                      <a:pt x="232" y="30"/>
                    </a:lnTo>
                    <a:lnTo>
                      <a:pt x="266" y="17"/>
                    </a:lnTo>
                    <a:lnTo>
                      <a:pt x="284" y="13"/>
                    </a:lnTo>
                    <a:lnTo>
                      <a:pt x="302" y="8"/>
                    </a:lnTo>
                    <a:lnTo>
                      <a:pt x="321" y="5"/>
                    </a:lnTo>
                    <a:lnTo>
                      <a:pt x="340" y="3"/>
                    </a:lnTo>
                    <a:lnTo>
                      <a:pt x="359" y="2"/>
                    </a:lnTo>
                    <a:lnTo>
                      <a:pt x="379" y="0"/>
                    </a:lnTo>
                    <a:lnTo>
                      <a:pt x="379" y="0"/>
                    </a:lnTo>
                    <a:lnTo>
                      <a:pt x="398" y="2"/>
                    </a:lnTo>
                    <a:lnTo>
                      <a:pt x="418" y="3"/>
                    </a:lnTo>
                    <a:lnTo>
                      <a:pt x="437" y="5"/>
                    </a:lnTo>
                    <a:lnTo>
                      <a:pt x="456" y="8"/>
                    </a:lnTo>
                    <a:lnTo>
                      <a:pt x="473" y="13"/>
                    </a:lnTo>
                    <a:lnTo>
                      <a:pt x="492" y="17"/>
                    </a:lnTo>
                    <a:lnTo>
                      <a:pt x="526" y="30"/>
                    </a:lnTo>
                    <a:lnTo>
                      <a:pt x="559" y="47"/>
                    </a:lnTo>
                    <a:lnTo>
                      <a:pt x="591" y="66"/>
                    </a:lnTo>
                    <a:lnTo>
                      <a:pt x="620" y="88"/>
                    </a:lnTo>
                    <a:lnTo>
                      <a:pt x="647" y="111"/>
                    </a:lnTo>
                    <a:lnTo>
                      <a:pt x="672" y="138"/>
                    </a:lnTo>
                    <a:lnTo>
                      <a:pt x="694" y="168"/>
                    </a:lnTo>
                    <a:lnTo>
                      <a:pt x="713" y="199"/>
                    </a:lnTo>
                    <a:lnTo>
                      <a:pt x="728" y="232"/>
                    </a:lnTo>
                    <a:lnTo>
                      <a:pt x="741" y="266"/>
                    </a:lnTo>
                    <a:lnTo>
                      <a:pt x="746" y="285"/>
                    </a:lnTo>
                    <a:lnTo>
                      <a:pt x="750" y="304"/>
                    </a:lnTo>
                    <a:lnTo>
                      <a:pt x="753" y="323"/>
                    </a:lnTo>
                    <a:lnTo>
                      <a:pt x="757" y="342"/>
                    </a:lnTo>
                    <a:lnTo>
                      <a:pt x="758" y="360"/>
                    </a:lnTo>
                    <a:lnTo>
                      <a:pt x="758" y="379"/>
                    </a:lnTo>
                    <a:lnTo>
                      <a:pt x="758" y="379"/>
                    </a:lnTo>
                    <a:lnTo>
                      <a:pt x="758" y="400"/>
                    </a:lnTo>
                    <a:lnTo>
                      <a:pt x="757" y="418"/>
                    </a:lnTo>
                    <a:lnTo>
                      <a:pt x="753" y="437"/>
                    </a:lnTo>
                    <a:lnTo>
                      <a:pt x="750" y="456"/>
                    </a:lnTo>
                    <a:lnTo>
                      <a:pt x="746" y="475"/>
                    </a:lnTo>
                    <a:lnTo>
                      <a:pt x="741" y="492"/>
                    </a:lnTo>
                    <a:lnTo>
                      <a:pt x="728" y="528"/>
                    </a:lnTo>
                    <a:lnTo>
                      <a:pt x="713" y="561"/>
                    </a:lnTo>
                    <a:lnTo>
                      <a:pt x="694" y="592"/>
                    </a:lnTo>
                    <a:lnTo>
                      <a:pt x="672" y="620"/>
                    </a:lnTo>
                    <a:lnTo>
                      <a:pt x="647" y="649"/>
                    </a:lnTo>
                    <a:lnTo>
                      <a:pt x="620" y="672"/>
                    </a:lnTo>
                    <a:lnTo>
                      <a:pt x="591" y="694"/>
                    </a:lnTo>
                    <a:lnTo>
                      <a:pt x="559" y="713"/>
                    </a:lnTo>
                    <a:lnTo>
                      <a:pt x="526" y="730"/>
                    </a:lnTo>
                    <a:lnTo>
                      <a:pt x="492" y="743"/>
                    </a:lnTo>
                    <a:lnTo>
                      <a:pt x="473" y="747"/>
                    </a:lnTo>
                    <a:lnTo>
                      <a:pt x="456" y="752"/>
                    </a:lnTo>
                    <a:lnTo>
                      <a:pt x="437" y="755"/>
                    </a:lnTo>
                    <a:lnTo>
                      <a:pt x="418" y="757"/>
                    </a:lnTo>
                    <a:lnTo>
                      <a:pt x="398" y="758"/>
                    </a:lnTo>
                    <a:lnTo>
                      <a:pt x="379" y="760"/>
                    </a:lnTo>
                    <a:lnTo>
                      <a:pt x="379" y="760"/>
                    </a:lnTo>
                    <a:close/>
                    <a:moveTo>
                      <a:pt x="379" y="22"/>
                    </a:moveTo>
                    <a:lnTo>
                      <a:pt x="379" y="22"/>
                    </a:lnTo>
                    <a:lnTo>
                      <a:pt x="342" y="24"/>
                    </a:lnTo>
                    <a:lnTo>
                      <a:pt x="307" y="30"/>
                    </a:lnTo>
                    <a:lnTo>
                      <a:pt x="273" y="38"/>
                    </a:lnTo>
                    <a:lnTo>
                      <a:pt x="240" y="50"/>
                    </a:lnTo>
                    <a:lnTo>
                      <a:pt x="208" y="66"/>
                    </a:lnTo>
                    <a:lnTo>
                      <a:pt x="179" y="83"/>
                    </a:lnTo>
                    <a:lnTo>
                      <a:pt x="152" y="104"/>
                    </a:lnTo>
                    <a:lnTo>
                      <a:pt x="125" y="127"/>
                    </a:lnTo>
                    <a:lnTo>
                      <a:pt x="103" y="152"/>
                    </a:lnTo>
                    <a:lnTo>
                      <a:pt x="82" y="180"/>
                    </a:lnTo>
                    <a:lnTo>
                      <a:pt x="64" y="210"/>
                    </a:lnTo>
                    <a:lnTo>
                      <a:pt x="49" y="241"/>
                    </a:lnTo>
                    <a:lnTo>
                      <a:pt x="38" y="274"/>
                    </a:lnTo>
                    <a:lnTo>
                      <a:pt x="28" y="307"/>
                    </a:lnTo>
                    <a:lnTo>
                      <a:pt x="22" y="343"/>
                    </a:lnTo>
                    <a:lnTo>
                      <a:pt x="20" y="379"/>
                    </a:lnTo>
                    <a:lnTo>
                      <a:pt x="20" y="379"/>
                    </a:lnTo>
                    <a:lnTo>
                      <a:pt x="22" y="417"/>
                    </a:lnTo>
                    <a:lnTo>
                      <a:pt x="28" y="451"/>
                    </a:lnTo>
                    <a:lnTo>
                      <a:pt x="38" y="486"/>
                    </a:lnTo>
                    <a:lnTo>
                      <a:pt x="49" y="519"/>
                    </a:lnTo>
                    <a:lnTo>
                      <a:pt x="64" y="550"/>
                    </a:lnTo>
                    <a:lnTo>
                      <a:pt x="82" y="580"/>
                    </a:lnTo>
                    <a:lnTo>
                      <a:pt x="103" y="608"/>
                    </a:lnTo>
                    <a:lnTo>
                      <a:pt x="125" y="633"/>
                    </a:lnTo>
                    <a:lnTo>
                      <a:pt x="152" y="656"/>
                    </a:lnTo>
                    <a:lnTo>
                      <a:pt x="179" y="677"/>
                    </a:lnTo>
                    <a:lnTo>
                      <a:pt x="208" y="694"/>
                    </a:lnTo>
                    <a:lnTo>
                      <a:pt x="240" y="710"/>
                    </a:lnTo>
                    <a:lnTo>
                      <a:pt x="273" y="722"/>
                    </a:lnTo>
                    <a:lnTo>
                      <a:pt x="307" y="730"/>
                    </a:lnTo>
                    <a:lnTo>
                      <a:pt x="342" y="736"/>
                    </a:lnTo>
                    <a:lnTo>
                      <a:pt x="379" y="738"/>
                    </a:lnTo>
                    <a:lnTo>
                      <a:pt x="379" y="738"/>
                    </a:lnTo>
                    <a:lnTo>
                      <a:pt x="415" y="736"/>
                    </a:lnTo>
                    <a:lnTo>
                      <a:pt x="451" y="730"/>
                    </a:lnTo>
                    <a:lnTo>
                      <a:pt x="486" y="722"/>
                    </a:lnTo>
                    <a:lnTo>
                      <a:pt x="519" y="710"/>
                    </a:lnTo>
                    <a:lnTo>
                      <a:pt x="550" y="694"/>
                    </a:lnTo>
                    <a:lnTo>
                      <a:pt x="578" y="677"/>
                    </a:lnTo>
                    <a:lnTo>
                      <a:pt x="606" y="656"/>
                    </a:lnTo>
                    <a:lnTo>
                      <a:pt x="631" y="633"/>
                    </a:lnTo>
                    <a:lnTo>
                      <a:pt x="655" y="608"/>
                    </a:lnTo>
                    <a:lnTo>
                      <a:pt x="675" y="580"/>
                    </a:lnTo>
                    <a:lnTo>
                      <a:pt x="694" y="550"/>
                    </a:lnTo>
                    <a:lnTo>
                      <a:pt x="708" y="519"/>
                    </a:lnTo>
                    <a:lnTo>
                      <a:pt x="721" y="486"/>
                    </a:lnTo>
                    <a:lnTo>
                      <a:pt x="730" y="451"/>
                    </a:lnTo>
                    <a:lnTo>
                      <a:pt x="735" y="417"/>
                    </a:lnTo>
                    <a:lnTo>
                      <a:pt x="736" y="379"/>
                    </a:lnTo>
                    <a:lnTo>
                      <a:pt x="736" y="379"/>
                    </a:lnTo>
                    <a:lnTo>
                      <a:pt x="735" y="343"/>
                    </a:lnTo>
                    <a:lnTo>
                      <a:pt x="730" y="307"/>
                    </a:lnTo>
                    <a:lnTo>
                      <a:pt x="721" y="274"/>
                    </a:lnTo>
                    <a:lnTo>
                      <a:pt x="708" y="241"/>
                    </a:lnTo>
                    <a:lnTo>
                      <a:pt x="694" y="210"/>
                    </a:lnTo>
                    <a:lnTo>
                      <a:pt x="675" y="180"/>
                    </a:lnTo>
                    <a:lnTo>
                      <a:pt x="655" y="152"/>
                    </a:lnTo>
                    <a:lnTo>
                      <a:pt x="631" y="127"/>
                    </a:lnTo>
                    <a:lnTo>
                      <a:pt x="606" y="104"/>
                    </a:lnTo>
                    <a:lnTo>
                      <a:pt x="578" y="83"/>
                    </a:lnTo>
                    <a:lnTo>
                      <a:pt x="550" y="66"/>
                    </a:lnTo>
                    <a:lnTo>
                      <a:pt x="519" y="50"/>
                    </a:lnTo>
                    <a:lnTo>
                      <a:pt x="486" y="38"/>
                    </a:lnTo>
                    <a:lnTo>
                      <a:pt x="451" y="30"/>
                    </a:lnTo>
                    <a:lnTo>
                      <a:pt x="415" y="24"/>
                    </a:lnTo>
                    <a:lnTo>
                      <a:pt x="379" y="22"/>
                    </a:lnTo>
                    <a:lnTo>
                      <a:pt x="379"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Frutiger Next Pro Medium" pitchFamily="34" charset="0"/>
                  <a:ea typeface="+mn-ea"/>
                  <a:cs typeface="+mn-cs"/>
                </a:endParaRPr>
              </a:p>
            </p:txBody>
          </p:sp>
        </p:grpSp>
      </p:grpSp>
      <p:sp>
        <p:nvSpPr>
          <p:cNvPr id="38" name="Rectangle 18">
            <a:extLst>
              <a:ext uri="{FF2B5EF4-FFF2-40B4-BE49-F238E27FC236}">
                <a16:creationId xmlns:a16="http://schemas.microsoft.com/office/drawing/2014/main" id="{3C62E2AA-5174-4920-9B7B-620B1896324B}"/>
              </a:ext>
            </a:extLst>
          </p:cNvPr>
          <p:cNvSpPr>
            <a:spLocks noChangeArrowheads="1"/>
          </p:cNvSpPr>
          <p:nvPr/>
        </p:nvSpPr>
        <p:spPr bwMode="auto">
          <a:xfrm>
            <a:off x="5238973" y="4552940"/>
            <a:ext cx="636040" cy="288122"/>
          </a:xfrm>
          <a:prstGeom prst="rect">
            <a:avLst/>
          </a:prstGeom>
          <a:noFill/>
          <a:ln>
            <a:noFill/>
            <a:prstDash val="solid"/>
          </a:ln>
        </p:spPr>
        <p:style>
          <a:lnRef idx="2">
            <a:schemeClr val="dk1"/>
          </a:lnRef>
          <a:fillRef idx="1">
            <a:schemeClr val="lt1"/>
          </a:fillRef>
          <a:effectRef idx="0">
            <a:schemeClr val="dk1"/>
          </a:effectRef>
          <a:fontRef idx="minor">
            <a:schemeClr val="dk1"/>
          </a:fontRef>
        </p:style>
        <p:txBody>
          <a:bodyPr wrap="square" lIns="0" tIns="45720" rIns="0" bIns="0" anchor="t">
            <a:noAutofit/>
          </a:bodyPr>
          <a:lstStyle/>
          <a:p>
            <a:pPr marL="0" marR="0" lvl="0" indent="0" algn="ctr" defTabSz="914400" rtl="0" eaLnBrk="1" fontAlgn="auto" latinLnBrk="0" hangingPunct="1">
              <a:lnSpc>
                <a:spcPct val="100000"/>
              </a:lnSpc>
              <a:spcBef>
                <a:spcPts val="0"/>
              </a:spcBef>
              <a:spcAft>
                <a:spcPts val="0"/>
              </a:spcAft>
              <a:buClr>
                <a:srgbClr val="787878"/>
              </a:buClr>
              <a:buSzPct val="75000"/>
              <a:buFontTx/>
              <a:buNone/>
              <a:tabLst/>
              <a:defRPr/>
            </a:pPr>
            <a:r>
              <a:rPr kumimoji="0" lang="en-US" sz="900" b="0" i="0" u="none" strike="noStrike" kern="1200" cap="none" spc="0" normalizeH="0" baseline="0" noProof="0" dirty="0">
                <a:ln>
                  <a:noFill/>
                </a:ln>
                <a:solidFill>
                  <a:srgbClr val="000000"/>
                </a:solidFill>
                <a:effectLst/>
                <a:uLnTx/>
                <a:uFillTx/>
                <a:latin typeface="Frutiger Next Pro Medium" pitchFamily="34" charset="0"/>
                <a:ea typeface="+mn-ea"/>
                <a:cs typeface="Arial"/>
                <a:sym typeface="Frutiger Next Pro Medium" charset="0"/>
              </a:rPr>
              <a:t>Solution Architect</a:t>
            </a:r>
          </a:p>
        </p:txBody>
      </p:sp>
      <p:sp>
        <p:nvSpPr>
          <p:cNvPr id="39" name="Rectangle 18">
            <a:extLst>
              <a:ext uri="{FF2B5EF4-FFF2-40B4-BE49-F238E27FC236}">
                <a16:creationId xmlns:a16="http://schemas.microsoft.com/office/drawing/2014/main" id="{45D40168-FBFC-4BAE-88C8-E8AB2C5ABD9E}"/>
              </a:ext>
            </a:extLst>
          </p:cNvPr>
          <p:cNvSpPr>
            <a:spLocks noChangeArrowheads="1"/>
          </p:cNvSpPr>
          <p:nvPr/>
        </p:nvSpPr>
        <p:spPr bwMode="auto">
          <a:xfrm>
            <a:off x="6635389" y="4552940"/>
            <a:ext cx="679590" cy="308517"/>
          </a:xfrm>
          <a:prstGeom prst="rect">
            <a:avLst/>
          </a:prstGeom>
          <a:noFill/>
          <a:ln>
            <a:noFill/>
            <a:prstDash val="solid"/>
          </a:ln>
        </p:spPr>
        <p:style>
          <a:lnRef idx="2">
            <a:schemeClr val="dk1"/>
          </a:lnRef>
          <a:fillRef idx="1">
            <a:schemeClr val="lt1"/>
          </a:fillRef>
          <a:effectRef idx="0">
            <a:schemeClr val="dk1"/>
          </a:effectRef>
          <a:fontRef idx="minor">
            <a:schemeClr val="dk1"/>
          </a:fontRef>
        </p:style>
        <p:txBody>
          <a:bodyPr wrap="square" lIns="0" tIns="45720" rIns="0" bIns="0" anchor="t">
            <a:noAutofit/>
          </a:bodyPr>
          <a:lstStyle/>
          <a:p>
            <a:pPr marL="0" marR="0" lvl="0" indent="0" algn="ctr" defTabSz="914400" rtl="0" eaLnBrk="1" fontAlgn="auto" latinLnBrk="0" hangingPunct="1">
              <a:lnSpc>
                <a:spcPct val="100000"/>
              </a:lnSpc>
              <a:spcBef>
                <a:spcPts val="0"/>
              </a:spcBef>
              <a:spcAft>
                <a:spcPts val="0"/>
              </a:spcAft>
              <a:buClr>
                <a:srgbClr val="787878"/>
              </a:buClr>
              <a:buSzPct val="75000"/>
              <a:buFontTx/>
              <a:buNone/>
              <a:tabLst/>
              <a:defRPr/>
            </a:pPr>
            <a:r>
              <a:rPr kumimoji="0" lang="en-US" sz="900" b="0" i="0" u="none" strike="noStrike" kern="1200" cap="none" spc="0" normalizeH="0" baseline="0" noProof="0" dirty="0">
                <a:ln>
                  <a:noFill/>
                </a:ln>
                <a:solidFill>
                  <a:srgbClr val="000000"/>
                </a:solidFill>
                <a:effectLst/>
                <a:uLnTx/>
                <a:uFillTx/>
                <a:latin typeface="Frutiger Next Pro Medium" pitchFamily="34" charset="0"/>
                <a:ea typeface="+mn-ea"/>
                <a:cs typeface="Arial"/>
                <a:sym typeface="Frutiger Next Pro Medium" charset="0"/>
              </a:rPr>
              <a:t>Tech</a:t>
            </a:r>
          </a:p>
          <a:p>
            <a:pPr marL="0" marR="0" lvl="0" indent="0" algn="ctr" defTabSz="914400" rtl="0" eaLnBrk="1" fontAlgn="auto" latinLnBrk="0" hangingPunct="1">
              <a:lnSpc>
                <a:spcPct val="100000"/>
              </a:lnSpc>
              <a:spcBef>
                <a:spcPts val="0"/>
              </a:spcBef>
              <a:spcAft>
                <a:spcPts val="0"/>
              </a:spcAft>
              <a:buClr>
                <a:srgbClr val="787878"/>
              </a:buClr>
              <a:buSzPct val="75000"/>
              <a:buFontTx/>
              <a:buNone/>
              <a:tabLst/>
              <a:defRPr/>
            </a:pPr>
            <a:r>
              <a:rPr kumimoji="0" lang="en-US" sz="900" b="0" i="0" u="none" strike="noStrike" kern="1200" cap="none" spc="0" normalizeH="0" baseline="0" noProof="0" dirty="0">
                <a:ln>
                  <a:noFill/>
                </a:ln>
                <a:solidFill>
                  <a:srgbClr val="000000"/>
                </a:solidFill>
                <a:effectLst/>
                <a:uLnTx/>
                <a:uFillTx/>
                <a:latin typeface="Frutiger Next Pro Medium" pitchFamily="34" charset="0"/>
                <a:ea typeface="+mn-ea"/>
                <a:cs typeface="Arial"/>
                <a:sym typeface="Frutiger Next Pro Medium" charset="0"/>
              </a:rPr>
              <a:t>Lead</a:t>
            </a:r>
          </a:p>
        </p:txBody>
      </p:sp>
      <p:grpSp>
        <p:nvGrpSpPr>
          <p:cNvPr id="40" name="Group 39">
            <a:extLst>
              <a:ext uri="{FF2B5EF4-FFF2-40B4-BE49-F238E27FC236}">
                <a16:creationId xmlns:a16="http://schemas.microsoft.com/office/drawing/2014/main" id="{0B399DE9-7C2D-47D5-BE1A-EF85BA2B4ED0}"/>
              </a:ext>
            </a:extLst>
          </p:cNvPr>
          <p:cNvGrpSpPr>
            <a:grpSpLocks noChangeAspect="1"/>
          </p:cNvGrpSpPr>
          <p:nvPr/>
        </p:nvGrpSpPr>
        <p:grpSpPr>
          <a:xfrm>
            <a:off x="6747185" y="4075002"/>
            <a:ext cx="455998" cy="457200"/>
            <a:chOff x="2870200" y="5289550"/>
            <a:chExt cx="601663" cy="603250"/>
          </a:xfrm>
          <a:solidFill>
            <a:schemeClr val="tx2"/>
          </a:solidFill>
        </p:grpSpPr>
        <p:sp>
          <p:nvSpPr>
            <p:cNvPr id="41" name="Freeform 140">
              <a:extLst>
                <a:ext uri="{FF2B5EF4-FFF2-40B4-BE49-F238E27FC236}">
                  <a16:creationId xmlns:a16="http://schemas.microsoft.com/office/drawing/2014/main" id="{1EDDCBAA-85A7-4493-A7DC-C93CF6898951}"/>
                </a:ext>
              </a:extLst>
            </p:cNvPr>
            <p:cNvSpPr>
              <a:spLocks noEditPoints="1"/>
            </p:cNvSpPr>
            <p:nvPr/>
          </p:nvSpPr>
          <p:spPr bwMode="auto">
            <a:xfrm>
              <a:off x="3028950" y="5430838"/>
              <a:ext cx="288925" cy="288925"/>
            </a:xfrm>
            <a:custGeom>
              <a:avLst/>
              <a:gdLst>
                <a:gd name="T0" fmla="*/ 290 w 363"/>
                <a:gd name="T1" fmla="*/ 257 h 363"/>
                <a:gd name="T2" fmla="*/ 236 w 363"/>
                <a:gd name="T3" fmla="*/ 227 h 363"/>
                <a:gd name="T4" fmla="*/ 232 w 363"/>
                <a:gd name="T5" fmla="*/ 206 h 363"/>
                <a:gd name="T6" fmla="*/ 246 w 363"/>
                <a:gd name="T7" fmla="*/ 186 h 363"/>
                <a:gd name="T8" fmla="*/ 257 w 363"/>
                <a:gd name="T9" fmla="*/ 161 h 363"/>
                <a:gd name="T10" fmla="*/ 268 w 363"/>
                <a:gd name="T11" fmla="*/ 141 h 363"/>
                <a:gd name="T12" fmla="*/ 268 w 363"/>
                <a:gd name="T13" fmla="*/ 122 h 363"/>
                <a:gd name="T14" fmla="*/ 263 w 363"/>
                <a:gd name="T15" fmla="*/ 75 h 363"/>
                <a:gd name="T16" fmla="*/ 250 w 363"/>
                <a:gd name="T17" fmla="*/ 31 h 363"/>
                <a:gd name="T18" fmla="*/ 216 w 363"/>
                <a:gd name="T19" fmla="*/ 4 h 363"/>
                <a:gd name="T20" fmla="*/ 181 w 363"/>
                <a:gd name="T21" fmla="*/ 0 h 363"/>
                <a:gd name="T22" fmla="*/ 133 w 363"/>
                <a:gd name="T23" fmla="*/ 11 h 363"/>
                <a:gd name="T24" fmla="*/ 105 w 363"/>
                <a:gd name="T25" fmla="*/ 44 h 363"/>
                <a:gd name="T26" fmla="*/ 98 w 363"/>
                <a:gd name="T27" fmla="*/ 112 h 363"/>
                <a:gd name="T28" fmla="*/ 92 w 363"/>
                <a:gd name="T29" fmla="*/ 133 h 363"/>
                <a:gd name="T30" fmla="*/ 95 w 363"/>
                <a:gd name="T31" fmla="*/ 148 h 363"/>
                <a:gd name="T32" fmla="*/ 105 w 363"/>
                <a:gd name="T33" fmla="*/ 161 h 363"/>
                <a:gd name="T34" fmla="*/ 124 w 363"/>
                <a:gd name="T35" fmla="*/ 197 h 363"/>
                <a:gd name="T36" fmla="*/ 131 w 363"/>
                <a:gd name="T37" fmla="*/ 221 h 363"/>
                <a:gd name="T38" fmla="*/ 117 w 363"/>
                <a:gd name="T39" fmla="*/ 232 h 363"/>
                <a:gd name="T40" fmla="*/ 12 w 363"/>
                <a:gd name="T41" fmla="*/ 280 h 363"/>
                <a:gd name="T42" fmla="*/ 3 w 363"/>
                <a:gd name="T43" fmla="*/ 288 h 363"/>
                <a:gd name="T44" fmla="*/ 0 w 363"/>
                <a:gd name="T45" fmla="*/ 343 h 363"/>
                <a:gd name="T46" fmla="*/ 4 w 363"/>
                <a:gd name="T47" fmla="*/ 357 h 363"/>
                <a:gd name="T48" fmla="*/ 343 w 363"/>
                <a:gd name="T49" fmla="*/ 363 h 363"/>
                <a:gd name="T50" fmla="*/ 357 w 363"/>
                <a:gd name="T51" fmla="*/ 357 h 363"/>
                <a:gd name="T52" fmla="*/ 363 w 363"/>
                <a:gd name="T53" fmla="*/ 299 h 363"/>
                <a:gd name="T54" fmla="*/ 358 w 363"/>
                <a:gd name="T55" fmla="*/ 288 h 363"/>
                <a:gd name="T56" fmla="*/ 349 w 363"/>
                <a:gd name="T57" fmla="*/ 280 h 363"/>
                <a:gd name="T58" fmla="*/ 346 w 363"/>
                <a:gd name="T59" fmla="*/ 346 h 363"/>
                <a:gd name="T60" fmla="*/ 19 w 363"/>
                <a:gd name="T61" fmla="*/ 347 h 363"/>
                <a:gd name="T62" fmla="*/ 14 w 363"/>
                <a:gd name="T63" fmla="*/ 299 h 363"/>
                <a:gd name="T64" fmla="*/ 17 w 363"/>
                <a:gd name="T65" fmla="*/ 294 h 363"/>
                <a:gd name="T66" fmla="*/ 81 w 363"/>
                <a:gd name="T67" fmla="*/ 268 h 363"/>
                <a:gd name="T68" fmla="*/ 131 w 363"/>
                <a:gd name="T69" fmla="*/ 241 h 363"/>
                <a:gd name="T70" fmla="*/ 145 w 363"/>
                <a:gd name="T71" fmla="*/ 224 h 363"/>
                <a:gd name="T72" fmla="*/ 145 w 363"/>
                <a:gd name="T73" fmla="*/ 205 h 363"/>
                <a:gd name="T74" fmla="*/ 144 w 363"/>
                <a:gd name="T75" fmla="*/ 199 h 363"/>
                <a:gd name="T76" fmla="*/ 130 w 363"/>
                <a:gd name="T77" fmla="*/ 180 h 363"/>
                <a:gd name="T78" fmla="*/ 119 w 363"/>
                <a:gd name="T79" fmla="*/ 155 h 363"/>
                <a:gd name="T80" fmla="*/ 113 w 363"/>
                <a:gd name="T81" fmla="*/ 147 h 363"/>
                <a:gd name="T82" fmla="*/ 108 w 363"/>
                <a:gd name="T83" fmla="*/ 133 h 363"/>
                <a:gd name="T84" fmla="*/ 113 w 363"/>
                <a:gd name="T85" fmla="*/ 120 h 363"/>
                <a:gd name="T86" fmla="*/ 114 w 363"/>
                <a:gd name="T87" fmla="*/ 75 h 363"/>
                <a:gd name="T88" fmla="*/ 119 w 363"/>
                <a:gd name="T89" fmla="*/ 50 h 363"/>
                <a:gd name="T90" fmla="*/ 141 w 363"/>
                <a:gd name="T91" fmla="*/ 23 h 363"/>
                <a:gd name="T92" fmla="*/ 181 w 363"/>
                <a:gd name="T93" fmla="*/ 14 h 363"/>
                <a:gd name="T94" fmla="*/ 210 w 363"/>
                <a:gd name="T95" fmla="*/ 18 h 363"/>
                <a:gd name="T96" fmla="*/ 238 w 363"/>
                <a:gd name="T97" fmla="*/ 39 h 363"/>
                <a:gd name="T98" fmla="*/ 247 w 363"/>
                <a:gd name="T99" fmla="*/ 75 h 363"/>
                <a:gd name="T100" fmla="*/ 249 w 363"/>
                <a:gd name="T101" fmla="*/ 120 h 363"/>
                <a:gd name="T102" fmla="*/ 255 w 363"/>
                <a:gd name="T103" fmla="*/ 133 h 363"/>
                <a:gd name="T104" fmla="*/ 252 w 363"/>
                <a:gd name="T105" fmla="*/ 142 h 363"/>
                <a:gd name="T106" fmla="*/ 246 w 363"/>
                <a:gd name="T107" fmla="*/ 150 h 363"/>
                <a:gd name="T108" fmla="*/ 238 w 363"/>
                <a:gd name="T109" fmla="*/ 167 h 363"/>
                <a:gd name="T110" fmla="*/ 218 w 363"/>
                <a:gd name="T111" fmla="*/ 199 h 363"/>
                <a:gd name="T112" fmla="*/ 216 w 363"/>
                <a:gd name="T113" fmla="*/ 205 h 363"/>
                <a:gd name="T114" fmla="*/ 216 w 363"/>
                <a:gd name="T115" fmla="*/ 224 h 363"/>
                <a:gd name="T116" fmla="*/ 224 w 363"/>
                <a:gd name="T117" fmla="*/ 235 h 363"/>
                <a:gd name="T118" fmla="*/ 258 w 363"/>
                <a:gd name="T119" fmla="*/ 257 h 363"/>
                <a:gd name="T120" fmla="*/ 344 w 363"/>
                <a:gd name="T121" fmla="*/ 294 h 363"/>
                <a:gd name="T122" fmla="*/ 348 w 363"/>
                <a:gd name="T123" fmla="*/ 299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3" h="363">
                  <a:moveTo>
                    <a:pt x="349" y="280"/>
                  </a:moveTo>
                  <a:lnTo>
                    <a:pt x="349" y="280"/>
                  </a:lnTo>
                  <a:lnTo>
                    <a:pt x="290" y="257"/>
                  </a:lnTo>
                  <a:lnTo>
                    <a:pt x="255" y="238"/>
                  </a:lnTo>
                  <a:lnTo>
                    <a:pt x="244" y="232"/>
                  </a:lnTo>
                  <a:lnTo>
                    <a:pt x="236" y="227"/>
                  </a:lnTo>
                  <a:lnTo>
                    <a:pt x="233" y="224"/>
                  </a:lnTo>
                  <a:lnTo>
                    <a:pt x="232" y="221"/>
                  </a:lnTo>
                  <a:lnTo>
                    <a:pt x="232" y="206"/>
                  </a:lnTo>
                  <a:lnTo>
                    <a:pt x="232" y="206"/>
                  </a:lnTo>
                  <a:lnTo>
                    <a:pt x="239" y="197"/>
                  </a:lnTo>
                  <a:lnTo>
                    <a:pt x="246" y="186"/>
                  </a:lnTo>
                  <a:lnTo>
                    <a:pt x="252" y="174"/>
                  </a:lnTo>
                  <a:lnTo>
                    <a:pt x="257" y="161"/>
                  </a:lnTo>
                  <a:lnTo>
                    <a:pt x="257" y="161"/>
                  </a:lnTo>
                  <a:lnTo>
                    <a:pt x="261" y="155"/>
                  </a:lnTo>
                  <a:lnTo>
                    <a:pt x="266" y="148"/>
                  </a:lnTo>
                  <a:lnTo>
                    <a:pt x="268" y="141"/>
                  </a:lnTo>
                  <a:lnTo>
                    <a:pt x="269" y="133"/>
                  </a:lnTo>
                  <a:lnTo>
                    <a:pt x="269" y="133"/>
                  </a:lnTo>
                  <a:lnTo>
                    <a:pt x="268" y="122"/>
                  </a:lnTo>
                  <a:lnTo>
                    <a:pt x="263" y="112"/>
                  </a:lnTo>
                  <a:lnTo>
                    <a:pt x="263" y="75"/>
                  </a:lnTo>
                  <a:lnTo>
                    <a:pt x="263" y="75"/>
                  </a:lnTo>
                  <a:lnTo>
                    <a:pt x="261" y="58"/>
                  </a:lnTo>
                  <a:lnTo>
                    <a:pt x="257" y="44"/>
                  </a:lnTo>
                  <a:lnTo>
                    <a:pt x="250" y="31"/>
                  </a:lnTo>
                  <a:lnTo>
                    <a:pt x="241" y="20"/>
                  </a:lnTo>
                  <a:lnTo>
                    <a:pt x="230" y="11"/>
                  </a:lnTo>
                  <a:lnTo>
                    <a:pt x="216" y="4"/>
                  </a:lnTo>
                  <a:lnTo>
                    <a:pt x="199" y="1"/>
                  </a:lnTo>
                  <a:lnTo>
                    <a:pt x="181" y="0"/>
                  </a:lnTo>
                  <a:lnTo>
                    <a:pt x="181" y="0"/>
                  </a:lnTo>
                  <a:lnTo>
                    <a:pt x="163" y="1"/>
                  </a:lnTo>
                  <a:lnTo>
                    <a:pt x="147" y="4"/>
                  </a:lnTo>
                  <a:lnTo>
                    <a:pt x="133" y="11"/>
                  </a:lnTo>
                  <a:lnTo>
                    <a:pt x="120" y="20"/>
                  </a:lnTo>
                  <a:lnTo>
                    <a:pt x="111" y="31"/>
                  </a:lnTo>
                  <a:lnTo>
                    <a:pt x="105" y="44"/>
                  </a:lnTo>
                  <a:lnTo>
                    <a:pt x="100" y="59"/>
                  </a:lnTo>
                  <a:lnTo>
                    <a:pt x="98" y="75"/>
                  </a:lnTo>
                  <a:lnTo>
                    <a:pt x="98" y="112"/>
                  </a:lnTo>
                  <a:lnTo>
                    <a:pt x="98" y="112"/>
                  </a:lnTo>
                  <a:lnTo>
                    <a:pt x="94" y="122"/>
                  </a:lnTo>
                  <a:lnTo>
                    <a:pt x="92" y="133"/>
                  </a:lnTo>
                  <a:lnTo>
                    <a:pt x="92" y="133"/>
                  </a:lnTo>
                  <a:lnTo>
                    <a:pt x="94" y="141"/>
                  </a:lnTo>
                  <a:lnTo>
                    <a:pt x="95" y="148"/>
                  </a:lnTo>
                  <a:lnTo>
                    <a:pt x="100" y="155"/>
                  </a:lnTo>
                  <a:lnTo>
                    <a:pt x="105" y="161"/>
                  </a:lnTo>
                  <a:lnTo>
                    <a:pt x="105" y="161"/>
                  </a:lnTo>
                  <a:lnTo>
                    <a:pt x="109" y="174"/>
                  </a:lnTo>
                  <a:lnTo>
                    <a:pt x="116" y="186"/>
                  </a:lnTo>
                  <a:lnTo>
                    <a:pt x="124" y="197"/>
                  </a:lnTo>
                  <a:lnTo>
                    <a:pt x="131" y="206"/>
                  </a:lnTo>
                  <a:lnTo>
                    <a:pt x="131" y="221"/>
                  </a:lnTo>
                  <a:lnTo>
                    <a:pt x="131" y="221"/>
                  </a:lnTo>
                  <a:lnTo>
                    <a:pt x="128" y="224"/>
                  </a:lnTo>
                  <a:lnTo>
                    <a:pt x="125" y="227"/>
                  </a:lnTo>
                  <a:lnTo>
                    <a:pt x="117" y="232"/>
                  </a:lnTo>
                  <a:lnTo>
                    <a:pt x="106" y="238"/>
                  </a:lnTo>
                  <a:lnTo>
                    <a:pt x="72" y="257"/>
                  </a:lnTo>
                  <a:lnTo>
                    <a:pt x="12" y="280"/>
                  </a:lnTo>
                  <a:lnTo>
                    <a:pt x="12" y="280"/>
                  </a:lnTo>
                  <a:lnTo>
                    <a:pt x="6" y="283"/>
                  </a:lnTo>
                  <a:lnTo>
                    <a:pt x="3" y="288"/>
                  </a:lnTo>
                  <a:lnTo>
                    <a:pt x="0" y="293"/>
                  </a:lnTo>
                  <a:lnTo>
                    <a:pt x="0" y="299"/>
                  </a:lnTo>
                  <a:lnTo>
                    <a:pt x="0" y="343"/>
                  </a:lnTo>
                  <a:lnTo>
                    <a:pt x="0" y="343"/>
                  </a:lnTo>
                  <a:lnTo>
                    <a:pt x="1" y="351"/>
                  </a:lnTo>
                  <a:lnTo>
                    <a:pt x="4" y="357"/>
                  </a:lnTo>
                  <a:lnTo>
                    <a:pt x="11" y="362"/>
                  </a:lnTo>
                  <a:lnTo>
                    <a:pt x="19" y="363"/>
                  </a:lnTo>
                  <a:lnTo>
                    <a:pt x="343" y="363"/>
                  </a:lnTo>
                  <a:lnTo>
                    <a:pt x="343" y="363"/>
                  </a:lnTo>
                  <a:lnTo>
                    <a:pt x="351" y="362"/>
                  </a:lnTo>
                  <a:lnTo>
                    <a:pt x="357" y="357"/>
                  </a:lnTo>
                  <a:lnTo>
                    <a:pt x="362" y="351"/>
                  </a:lnTo>
                  <a:lnTo>
                    <a:pt x="363" y="343"/>
                  </a:lnTo>
                  <a:lnTo>
                    <a:pt x="363" y="299"/>
                  </a:lnTo>
                  <a:lnTo>
                    <a:pt x="363" y="299"/>
                  </a:lnTo>
                  <a:lnTo>
                    <a:pt x="362" y="293"/>
                  </a:lnTo>
                  <a:lnTo>
                    <a:pt x="358" y="288"/>
                  </a:lnTo>
                  <a:lnTo>
                    <a:pt x="355" y="283"/>
                  </a:lnTo>
                  <a:lnTo>
                    <a:pt x="349" y="280"/>
                  </a:lnTo>
                  <a:lnTo>
                    <a:pt x="349" y="280"/>
                  </a:lnTo>
                  <a:close/>
                  <a:moveTo>
                    <a:pt x="348" y="343"/>
                  </a:moveTo>
                  <a:lnTo>
                    <a:pt x="348" y="343"/>
                  </a:lnTo>
                  <a:lnTo>
                    <a:pt x="346" y="346"/>
                  </a:lnTo>
                  <a:lnTo>
                    <a:pt x="343" y="347"/>
                  </a:lnTo>
                  <a:lnTo>
                    <a:pt x="19" y="347"/>
                  </a:lnTo>
                  <a:lnTo>
                    <a:pt x="19" y="347"/>
                  </a:lnTo>
                  <a:lnTo>
                    <a:pt x="15" y="346"/>
                  </a:lnTo>
                  <a:lnTo>
                    <a:pt x="14" y="343"/>
                  </a:lnTo>
                  <a:lnTo>
                    <a:pt x="14" y="299"/>
                  </a:lnTo>
                  <a:lnTo>
                    <a:pt x="14" y="299"/>
                  </a:lnTo>
                  <a:lnTo>
                    <a:pt x="15" y="296"/>
                  </a:lnTo>
                  <a:lnTo>
                    <a:pt x="17" y="294"/>
                  </a:lnTo>
                  <a:lnTo>
                    <a:pt x="17" y="294"/>
                  </a:lnTo>
                  <a:lnTo>
                    <a:pt x="53" y="280"/>
                  </a:lnTo>
                  <a:lnTo>
                    <a:pt x="81" y="268"/>
                  </a:lnTo>
                  <a:lnTo>
                    <a:pt x="103" y="257"/>
                  </a:lnTo>
                  <a:lnTo>
                    <a:pt x="120" y="247"/>
                  </a:lnTo>
                  <a:lnTo>
                    <a:pt x="131" y="241"/>
                  </a:lnTo>
                  <a:lnTo>
                    <a:pt x="139" y="235"/>
                  </a:lnTo>
                  <a:lnTo>
                    <a:pt x="142" y="228"/>
                  </a:lnTo>
                  <a:lnTo>
                    <a:pt x="145" y="224"/>
                  </a:lnTo>
                  <a:lnTo>
                    <a:pt x="145" y="224"/>
                  </a:lnTo>
                  <a:lnTo>
                    <a:pt x="145" y="222"/>
                  </a:lnTo>
                  <a:lnTo>
                    <a:pt x="145" y="205"/>
                  </a:lnTo>
                  <a:lnTo>
                    <a:pt x="145" y="205"/>
                  </a:lnTo>
                  <a:lnTo>
                    <a:pt x="145" y="202"/>
                  </a:lnTo>
                  <a:lnTo>
                    <a:pt x="144" y="199"/>
                  </a:lnTo>
                  <a:lnTo>
                    <a:pt x="144" y="199"/>
                  </a:lnTo>
                  <a:lnTo>
                    <a:pt x="136" y="189"/>
                  </a:lnTo>
                  <a:lnTo>
                    <a:pt x="130" y="180"/>
                  </a:lnTo>
                  <a:lnTo>
                    <a:pt x="124" y="167"/>
                  </a:lnTo>
                  <a:lnTo>
                    <a:pt x="119" y="155"/>
                  </a:lnTo>
                  <a:lnTo>
                    <a:pt x="119" y="155"/>
                  </a:lnTo>
                  <a:lnTo>
                    <a:pt x="116" y="150"/>
                  </a:lnTo>
                  <a:lnTo>
                    <a:pt x="116" y="150"/>
                  </a:lnTo>
                  <a:lnTo>
                    <a:pt x="113" y="147"/>
                  </a:lnTo>
                  <a:lnTo>
                    <a:pt x="109" y="142"/>
                  </a:lnTo>
                  <a:lnTo>
                    <a:pt x="108" y="138"/>
                  </a:lnTo>
                  <a:lnTo>
                    <a:pt x="108" y="133"/>
                  </a:lnTo>
                  <a:lnTo>
                    <a:pt x="108" y="133"/>
                  </a:lnTo>
                  <a:lnTo>
                    <a:pt x="109" y="125"/>
                  </a:lnTo>
                  <a:lnTo>
                    <a:pt x="113" y="120"/>
                  </a:lnTo>
                  <a:lnTo>
                    <a:pt x="113" y="120"/>
                  </a:lnTo>
                  <a:lnTo>
                    <a:pt x="114" y="116"/>
                  </a:lnTo>
                  <a:lnTo>
                    <a:pt x="114" y="75"/>
                  </a:lnTo>
                  <a:lnTo>
                    <a:pt x="114" y="75"/>
                  </a:lnTo>
                  <a:lnTo>
                    <a:pt x="114" y="62"/>
                  </a:lnTo>
                  <a:lnTo>
                    <a:pt x="119" y="50"/>
                  </a:lnTo>
                  <a:lnTo>
                    <a:pt x="124" y="39"/>
                  </a:lnTo>
                  <a:lnTo>
                    <a:pt x="131" y="29"/>
                  </a:lnTo>
                  <a:lnTo>
                    <a:pt x="141" y="23"/>
                  </a:lnTo>
                  <a:lnTo>
                    <a:pt x="152" y="18"/>
                  </a:lnTo>
                  <a:lnTo>
                    <a:pt x="166" y="15"/>
                  </a:lnTo>
                  <a:lnTo>
                    <a:pt x="181" y="14"/>
                  </a:lnTo>
                  <a:lnTo>
                    <a:pt x="181" y="14"/>
                  </a:lnTo>
                  <a:lnTo>
                    <a:pt x="196" y="15"/>
                  </a:lnTo>
                  <a:lnTo>
                    <a:pt x="210" y="18"/>
                  </a:lnTo>
                  <a:lnTo>
                    <a:pt x="221" y="23"/>
                  </a:lnTo>
                  <a:lnTo>
                    <a:pt x="232" y="29"/>
                  </a:lnTo>
                  <a:lnTo>
                    <a:pt x="238" y="39"/>
                  </a:lnTo>
                  <a:lnTo>
                    <a:pt x="244" y="50"/>
                  </a:lnTo>
                  <a:lnTo>
                    <a:pt x="247" y="61"/>
                  </a:lnTo>
                  <a:lnTo>
                    <a:pt x="247" y="75"/>
                  </a:lnTo>
                  <a:lnTo>
                    <a:pt x="247" y="116"/>
                  </a:lnTo>
                  <a:lnTo>
                    <a:pt x="247" y="116"/>
                  </a:lnTo>
                  <a:lnTo>
                    <a:pt x="249" y="120"/>
                  </a:lnTo>
                  <a:lnTo>
                    <a:pt x="249" y="120"/>
                  </a:lnTo>
                  <a:lnTo>
                    <a:pt x="254" y="125"/>
                  </a:lnTo>
                  <a:lnTo>
                    <a:pt x="255" y="133"/>
                  </a:lnTo>
                  <a:lnTo>
                    <a:pt x="255" y="133"/>
                  </a:lnTo>
                  <a:lnTo>
                    <a:pt x="254" y="138"/>
                  </a:lnTo>
                  <a:lnTo>
                    <a:pt x="252" y="142"/>
                  </a:lnTo>
                  <a:lnTo>
                    <a:pt x="249" y="147"/>
                  </a:lnTo>
                  <a:lnTo>
                    <a:pt x="246" y="150"/>
                  </a:lnTo>
                  <a:lnTo>
                    <a:pt x="246" y="150"/>
                  </a:lnTo>
                  <a:lnTo>
                    <a:pt x="243" y="155"/>
                  </a:lnTo>
                  <a:lnTo>
                    <a:pt x="243" y="155"/>
                  </a:lnTo>
                  <a:lnTo>
                    <a:pt x="238" y="167"/>
                  </a:lnTo>
                  <a:lnTo>
                    <a:pt x="233" y="180"/>
                  </a:lnTo>
                  <a:lnTo>
                    <a:pt x="225" y="189"/>
                  </a:lnTo>
                  <a:lnTo>
                    <a:pt x="218" y="199"/>
                  </a:lnTo>
                  <a:lnTo>
                    <a:pt x="218" y="199"/>
                  </a:lnTo>
                  <a:lnTo>
                    <a:pt x="216" y="202"/>
                  </a:lnTo>
                  <a:lnTo>
                    <a:pt x="216" y="205"/>
                  </a:lnTo>
                  <a:lnTo>
                    <a:pt x="216" y="222"/>
                  </a:lnTo>
                  <a:lnTo>
                    <a:pt x="216" y="222"/>
                  </a:lnTo>
                  <a:lnTo>
                    <a:pt x="216" y="224"/>
                  </a:lnTo>
                  <a:lnTo>
                    <a:pt x="216" y="224"/>
                  </a:lnTo>
                  <a:lnTo>
                    <a:pt x="219" y="228"/>
                  </a:lnTo>
                  <a:lnTo>
                    <a:pt x="224" y="235"/>
                  </a:lnTo>
                  <a:lnTo>
                    <a:pt x="230" y="241"/>
                  </a:lnTo>
                  <a:lnTo>
                    <a:pt x="243" y="249"/>
                  </a:lnTo>
                  <a:lnTo>
                    <a:pt x="258" y="257"/>
                  </a:lnTo>
                  <a:lnTo>
                    <a:pt x="280" y="268"/>
                  </a:lnTo>
                  <a:lnTo>
                    <a:pt x="308" y="280"/>
                  </a:lnTo>
                  <a:lnTo>
                    <a:pt x="344" y="294"/>
                  </a:lnTo>
                  <a:lnTo>
                    <a:pt x="344" y="294"/>
                  </a:lnTo>
                  <a:lnTo>
                    <a:pt x="348" y="296"/>
                  </a:lnTo>
                  <a:lnTo>
                    <a:pt x="348" y="299"/>
                  </a:lnTo>
                  <a:lnTo>
                    <a:pt x="348" y="34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148">
              <a:extLst>
                <a:ext uri="{FF2B5EF4-FFF2-40B4-BE49-F238E27FC236}">
                  <a16:creationId xmlns:a16="http://schemas.microsoft.com/office/drawing/2014/main" id="{DC9A2C60-A932-48C8-AEBB-E3EC0B449CB9}"/>
                </a:ext>
              </a:extLst>
            </p:cNvPr>
            <p:cNvSpPr>
              <a:spLocks noEditPoints="1"/>
            </p:cNvSpPr>
            <p:nvPr/>
          </p:nvSpPr>
          <p:spPr bwMode="auto">
            <a:xfrm>
              <a:off x="2870200" y="5289550"/>
              <a:ext cx="601663" cy="603250"/>
            </a:xfrm>
            <a:custGeom>
              <a:avLst/>
              <a:gdLst>
                <a:gd name="T0" fmla="*/ 359 w 758"/>
                <a:gd name="T1" fmla="*/ 758 h 760"/>
                <a:gd name="T2" fmla="*/ 303 w 758"/>
                <a:gd name="T3" fmla="*/ 752 h 760"/>
                <a:gd name="T4" fmla="*/ 232 w 758"/>
                <a:gd name="T5" fmla="*/ 730 h 760"/>
                <a:gd name="T6" fmla="*/ 138 w 758"/>
                <a:gd name="T7" fmla="*/ 672 h 760"/>
                <a:gd name="T8" fmla="*/ 65 w 758"/>
                <a:gd name="T9" fmla="*/ 592 h 760"/>
                <a:gd name="T10" fmla="*/ 18 w 758"/>
                <a:gd name="T11" fmla="*/ 492 h 760"/>
                <a:gd name="T12" fmla="*/ 3 w 758"/>
                <a:gd name="T13" fmla="*/ 437 h 760"/>
                <a:gd name="T14" fmla="*/ 0 w 758"/>
                <a:gd name="T15" fmla="*/ 379 h 760"/>
                <a:gd name="T16" fmla="*/ 2 w 758"/>
                <a:gd name="T17" fmla="*/ 342 h 760"/>
                <a:gd name="T18" fmla="*/ 11 w 758"/>
                <a:gd name="T19" fmla="*/ 285 h 760"/>
                <a:gd name="T20" fmla="*/ 46 w 758"/>
                <a:gd name="T21" fmla="*/ 199 h 760"/>
                <a:gd name="T22" fmla="*/ 112 w 758"/>
                <a:gd name="T23" fmla="*/ 111 h 760"/>
                <a:gd name="T24" fmla="*/ 198 w 758"/>
                <a:gd name="T25" fmla="*/ 47 h 760"/>
                <a:gd name="T26" fmla="*/ 284 w 758"/>
                <a:gd name="T27" fmla="*/ 13 h 760"/>
                <a:gd name="T28" fmla="*/ 340 w 758"/>
                <a:gd name="T29" fmla="*/ 3 h 760"/>
                <a:gd name="T30" fmla="*/ 379 w 758"/>
                <a:gd name="T31" fmla="*/ 0 h 760"/>
                <a:gd name="T32" fmla="*/ 437 w 758"/>
                <a:gd name="T33" fmla="*/ 5 h 760"/>
                <a:gd name="T34" fmla="*/ 492 w 758"/>
                <a:gd name="T35" fmla="*/ 17 h 760"/>
                <a:gd name="T36" fmla="*/ 591 w 758"/>
                <a:gd name="T37" fmla="*/ 66 h 760"/>
                <a:gd name="T38" fmla="*/ 672 w 758"/>
                <a:gd name="T39" fmla="*/ 138 h 760"/>
                <a:gd name="T40" fmla="*/ 729 w 758"/>
                <a:gd name="T41" fmla="*/ 232 h 760"/>
                <a:gd name="T42" fmla="*/ 751 w 758"/>
                <a:gd name="T43" fmla="*/ 304 h 760"/>
                <a:gd name="T44" fmla="*/ 758 w 758"/>
                <a:gd name="T45" fmla="*/ 360 h 760"/>
                <a:gd name="T46" fmla="*/ 758 w 758"/>
                <a:gd name="T47" fmla="*/ 400 h 760"/>
                <a:gd name="T48" fmla="*/ 751 w 758"/>
                <a:gd name="T49" fmla="*/ 456 h 760"/>
                <a:gd name="T50" fmla="*/ 729 w 758"/>
                <a:gd name="T51" fmla="*/ 528 h 760"/>
                <a:gd name="T52" fmla="*/ 672 w 758"/>
                <a:gd name="T53" fmla="*/ 620 h 760"/>
                <a:gd name="T54" fmla="*/ 591 w 758"/>
                <a:gd name="T55" fmla="*/ 694 h 760"/>
                <a:gd name="T56" fmla="*/ 492 w 758"/>
                <a:gd name="T57" fmla="*/ 743 h 760"/>
                <a:gd name="T58" fmla="*/ 437 w 758"/>
                <a:gd name="T59" fmla="*/ 755 h 760"/>
                <a:gd name="T60" fmla="*/ 379 w 758"/>
                <a:gd name="T61" fmla="*/ 760 h 760"/>
                <a:gd name="T62" fmla="*/ 379 w 758"/>
                <a:gd name="T63" fmla="*/ 22 h 760"/>
                <a:gd name="T64" fmla="*/ 273 w 758"/>
                <a:gd name="T65" fmla="*/ 38 h 760"/>
                <a:gd name="T66" fmla="*/ 179 w 758"/>
                <a:gd name="T67" fmla="*/ 83 h 760"/>
                <a:gd name="T68" fmla="*/ 104 w 758"/>
                <a:gd name="T69" fmla="*/ 152 h 760"/>
                <a:gd name="T70" fmla="*/ 49 w 758"/>
                <a:gd name="T71" fmla="*/ 241 h 760"/>
                <a:gd name="T72" fmla="*/ 22 w 758"/>
                <a:gd name="T73" fmla="*/ 343 h 760"/>
                <a:gd name="T74" fmla="*/ 22 w 758"/>
                <a:gd name="T75" fmla="*/ 417 h 760"/>
                <a:gd name="T76" fmla="*/ 49 w 758"/>
                <a:gd name="T77" fmla="*/ 519 h 760"/>
                <a:gd name="T78" fmla="*/ 104 w 758"/>
                <a:gd name="T79" fmla="*/ 608 h 760"/>
                <a:gd name="T80" fmla="*/ 179 w 758"/>
                <a:gd name="T81" fmla="*/ 677 h 760"/>
                <a:gd name="T82" fmla="*/ 273 w 758"/>
                <a:gd name="T83" fmla="*/ 722 h 760"/>
                <a:gd name="T84" fmla="*/ 379 w 758"/>
                <a:gd name="T85" fmla="*/ 738 h 760"/>
                <a:gd name="T86" fmla="*/ 451 w 758"/>
                <a:gd name="T87" fmla="*/ 730 h 760"/>
                <a:gd name="T88" fmla="*/ 550 w 758"/>
                <a:gd name="T89" fmla="*/ 694 h 760"/>
                <a:gd name="T90" fmla="*/ 632 w 758"/>
                <a:gd name="T91" fmla="*/ 633 h 760"/>
                <a:gd name="T92" fmla="*/ 694 w 758"/>
                <a:gd name="T93" fmla="*/ 550 h 760"/>
                <a:gd name="T94" fmla="*/ 730 w 758"/>
                <a:gd name="T95" fmla="*/ 451 h 760"/>
                <a:gd name="T96" fmla="*/ 736 w 758"/>
                <a:gd name="T97" fmla="*/ 379 h 760"/>
                <a:gd name="T98" fmla="*/ 721 w 758"/>
                <a:gd name="T99" fmla="*/ 274 h 760"/>
                <a:gd name="T100" fmla="*/ 675 w 758"/>
                <a:gd name="T101" fmla="*/ 180 h 760"/>
                <a:gd name="T102" fmla="*/ 606 w 758"/>
                <a:gd name="T103" fmla="*/ 104 h 760"/>
                <a:gd name="T104" fmla="*/ 519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9" y="758"/>
                  </a:lnTo>
                  <a:lnTo>
                    <a:pt x="340" y="757"/>
                  </a:lnTo>
                  <a:lnTo>
                    <a:pt x="321" y="755"/>
                  </a:lnTo>
                  <a:lnTo>
                    <a:pt x="303" y="752"/>
                  </a:lnTo>
                  <a:lnTo>
                    <a:pt x="284" y="747"/>
                  </a:lnTo>
                  <a:lnTo>
                    <a:pt x="267" y="743"/>
                  </a:lnTo>
                  <a:lnTo>
                    <a:pt x="232" y="730"/>
                  </a:lnTo>
                  <a:lnTo>
                    <a:pt x="198" y="713"/>
                  </a:lnTo>
                  <a:lnTo>
                    <a:pt x="168" y="694"/>
                  </a:lnTo>
                  <a:lnTo>
                    <a:pt x="138" y="672"/>
                  </a:lnTo>
                  <a:lnTo>
                    <a:pt x="112" y="649"/>
                  </a:lnTo>
                  <a:lnTo>
                    <a:pt x="86" y="620"/>
                  </a:lnTo>
                  <a:lnTo>
                    <a:pt x="65" y="592"/>
                  </a:lnTo>
                  <a:lnTo>
                    <a:pt x="46" y="561"/>
                  </a:lnTo>
                  <a:lnTo>
                    <a:pt x="30" y="528"/>
                  </a:lnTo>
                  <a:lnTo>
                    <a:pt x="18" y="492"/>
                  </a:lnTo>
                  <a:lnTo>
                    <a:pt x="11" y="475"/>
                  </a:lnTo>
                  <a:lnTo>
                    <a:pt x="8" y="456"/>
                  </a:lnTo>
                  <a:lnTo>
                    <a:pt x="3" y="437"/>
                  </a:lnTo>
                  <a:lnTo>
                    <a:pt x="2" y="418"/>
                  </a:lnTo>
                  <a:lnTo>
                    <a:pt x="0" y="400"/>
                  </a:lnTo>
                  <a:lnTo>
                    <a:pt x="0" y="379"/>
                  </a:lnTo>
                  <a:lnTo>
                    <a:pt x="0" y="379"/>
                  </a:lnTo>
                  <a:lnTo>
                    <a:pt x="0" y="360"/>
                  </a:lnTo>
                  <a:lnTo>
                    <a:pt x="2" y="342"/>
                  </a:lnTo>
                  <a:lnTo>
                    <a:pt x="3" y="323"/>
                  </a:lnTo>
                  <a:lnTo>
                    <a:pt x="8" y="304"/>
                  </a:lnTo>
                  <a:lnTo>
                    <a:pt x="11" y="285"/>
                  </a:lnTo>
                  <a:lnTo>
                    <a:pt x="18" y="266"/>
                  </a:lnTo>
                  <a:lnTo>
                    <a:pt x="30" y="232"/>
                  </a:lnTo>
                  <a:lnTo>
                    <a:pt x="46" y="199"/>
                  </a:lnTo>
                  <a:lnTo>
                    <a:pt x="65" y="168"/>
                  </a:lnTo>
                  <a:lnTo>
                    <a:pt x="86" y="138"/>
                  </a:lnTo>
                  <a:lnTo>
                    <a:pt x="112" y="111"/>
                  </a:lnTo>
                  <a:lnTo>
                    <a:pt x="138" y="88"/>
                  </a:lnTo>
                  <a:lnTo>
                    <a:pt x="168" y="66"/>
                  </a:lnTo>
                  <a:lnTo>
                    <a:pt x="198" y="47"/>
                  </a:lnTo>
                  <a:lnTo>
                    <a:pt x="232" y="30"/>
                  </a:lnTo>
                  <a:lnTo>
                    <a:pt x="267" y="17"/>
                  </a:lnTo>
                  <a:lnTo>
                    <a:pt x="284" y="13"/>
                  </a:lnTo>
                  <a:lnTo>
                    <a:pt x="303" y="8"/>
                  </a:lnTo>
                  <a:lnTo>
                    <a:pt x="321" y="5"/>
                  </a:lnTo>
                  <a:lnTo>
                    <a:pt x="340" y="3"/>
                  </a:lnTo>
                  <a:lnTo>
                    <a:pt x="359" y="2"/>
                  </a:lnTo>
                  <a:lnTo>
                    <a:pt x="379" y="0"/>
                  </a:lnTo>
                  <a:lnTo>
                    <a:pt x="379" y="0"/>
                  </a:lnTo>
                  <a:lnTo>
                    <a:pt x="398" y="2"/>
                  </a:lnTo>
                  <a:lnTo>
                    <a:pt x="419" y="3"/>
                  </a:lnTo>
                  <a:lnTo>
                    <a:pt x="437" y="5"/>
                  </a:lnTo>
                  <a:lnTo>
                    <a:pt x="456" y="8"/>
                  </a:lnTo>
                  <a:lnTo>
                    <a:pt x="473" y="13"/>
                  </a:lnTo>
                  <a:lnTo>
                    <a:pt x="492" y="17"/>
                  </a:lnTo>
                  <a:lnTo>
                    <a:pt x="527" y="30"/>
                  </a:lnTo>
                  <a:lnTo>
                    <a:pt x="559" y="47"/>
                  </a:lnTo>
                  <a:lnTo>
                    <a:pt x="591" y="66"/>
                  </a:lnTo>
                  <a:lnTo>
                    <a:pt x="621" y="88"/>
                  </a:lnTo>
                  <a:lnTo>
                    <a:pt x="647" y="111"/>
                  </a:lnTo>
                  <a:lnTo>
                    <a:pt x="672" y="138"/>
                  </a:lnTo>
                  <a:lnTo>
                    <a:pt x="694" y="168"/>
                  </a:lnTo>
                  <a:lnTo>
                    <a:pt x="713" y="199"/>
                  </a:lnTo>
                  <a:lnTo>
                    <a:pt x="729" y="232"/>
                  </a:lnTo>
                  <a:lnTo>
                    <a:pt x="741" y="266"/>
                  </a:lnTo>
                  <a:lnTo>
                    <a:pt x="746" y="285"/>
                  </a:lnTo>
                  <a:lnTo>
                    <a:pt x="751" y="304"/>
                  </a:lnTo>
                  <a:lnTo>
                    <a:pt x="754" y="323"/>
                  </a:lnTo>
                  <a:lnTo>
                    <a:pt x="757" y="342"/>
                  </a:lnTo>
                  <a:lnTo>
                    <a:pt x="758" y="360"/>
                  </a:lnTo>
                  <a:lnTo>
                    <a:pt x="758" y="379"/>
                  </a:lnTo>
                  <a:lnTo>
                    <a:pt x="758" y="379"/>
                  </a:lnTo>
                  <a:lnTo>
                    <a:pt x="758" y="400"/>
                  </a:lnTo>
                  <a:lnTo>
                    <a:pt x="757" y="418"/>
                  </a:lnTo>
                  <a:lnTo>
                    <a:pt x="754" y="437"/>
                  </a:lnTo>
                  <a:lnTo>
                    <a:pt x="751" y="456"/>
                  </a:lnTo>
                  <a:lnTo>
                    <a:pt x="746" y="475"/>
                  </a:lnTo>
                  <a:lnTo>
                    <a:pt x="741" y="492"/>
                  </a:lnTo>
                  <a:lnTo>
                    <a:pt x="729" y="528"/>
                  </a:lnTo>
                  <a:lnTo>
                    <a:pt x="713" y="561"/>
                  </a:lnTo>
                  <a:lnTo>
                    <a:pt x="694" y="592"/>
                  </a:lnTo>
                  <a:lnTo>
                    <a:pt x="672" y="620"/>
                  </a:lnTo>
                  <a:lnTo>
                    <a:pt x="647" y="649"/>
                  </a:lnTo>
                  <a:lnTo>
                    <a:pt x="621" y="672"/>
                  </a:lnTo>
                  <a:lnTo>
                    <a:pt x="591" y="694"/>
                  </a:lnTo>
                  <a:lnTo>
                    <a:pt x="559" y="713"/>
                  </a:lnTo>
                  <a:lnTo>
                    <a:pt x="527" y="730"/>
                  </a:lnTo>
                  <a:lnTo>
                    <a:pt x="492" y="743"/>
                  </a:lnTo>
                  <a:lnTo>
                    <a:pt x="473" y="747"/>
                  </a:lnTo>
                  <a:lnTo>
                    <a:pt x="456" y="752"/>
                  </a:lnTo>
                  <a:lnTo>
                    <a:pt x="437" y="755"/>
                  </a:lnTo>
                  <a:lnTo>
                    <a:pt x="419" y="757"/>
                  </a:lnTo>
                  <a:lnTo>
                    <a:pt x="398" y="758"/>
                  </a:lnTo>
                  <a:lnTo>
                    <a:pt x="379" y="760"/>
                  </a:lnTo>
                  <a:lnTo>
                    <a:pt x="379" y="760"/>
                  </a:lnTo>
                  <a:close/>
                  <a:moveTo>
                    <a:pt x="379" y="22"/>
                  </a:moveTo>
                  <a:lnTo>
                    <a:pt x="379" y="22"/>
                  </a:lnTo>
                  <a:lnTo>
                    <a:pt x="342" y="24"/>
                  </a:lnTo>
                  <a:lnTo>
                    <a:pt x="307" y="30"/>
                  </a:lnTo>
                  <a:lnTo>
                    <a:pt x="273" y="38"/>
                  </a:lnTo>
                  <a:lnTo>
                    <a:pt x="240" y="50"/>
                  </a:lnTo>
                  <a:lnTo>
                    <a:pt x="209" y="66"/>
                  </a:lnTo>
                  <a:lnTo>
                    <a:pt x="179" y="83"/>
                  </a:lnTo>
                  <a:lnTo>
                    <a:pt x="152" y="104"/>
                  </a:lnTo>
                  <a:lnTo>
                    <a:pt x="126" y="127"/>
                  </a:lnTo>
                  <a:lnTo>
                    <a:pt x="104" y="152"/>
                  </a:lnTo>
                  <a:lnTo>
                    <a:pt x="82" y="180"/>
                  </a:lnTo>
                  <a:lnTo>
                    <a:pt x="65" y="210"/>
                  </a:lnTo>
                  <a:lnTo>
                    <a:pt x="49" y="241"/>
                  </a:lnTo>
                  <a:lnTo>
                    <a:pt x="38" y="274"/>
                  </a:lnTo>
                  <a:lnTo>
                    <a:pt x="28" y="307"/>
                  </a:lnTo>
                  <a:lnTo>
                    <a:pt x="22" y="343"/>
                  </a:lnTo>
                  <a:lnTo>
                    <a:pt x="21" y="379"/>
                  </a:lnTo>
                  <a:lnTo>
                    <a:pt x="21" y="379"/>
                  </a:lnTo>
                  <a:lnTo>
                    <a:pt x="22" y="417"/>
                  </a:lnTo>
                  <a:lnTo>
                    <a:pt x="28" y="451"/>
                  </a:lnTo>
                  <a:lnTo>
                    <a:pt x="38" y="486"/>
                  </a:lnTo>
                  <a:lnTo>
                    <a:pt x="49" y="519"/>
                  </a:lnTo>
                  <a:lnTo>
                    <a:pt x="65" y="550"/>
                  </a:lnTo>
                  <a:lnTo>
                    <a:pt x="82" y="580"/>
                  </a:lnTo>
                  <a:lnTo>
                    <a:pt x="104" y="608"/>
                  </a:lnTo>
                  <a:lnTo>
                    <a:pt x="126" y="633"/>
                  </a:lnTo>
                  <a:lnTo>
                    <a:pt x="152" y="656"/>
                  </a:lnTo>
                  <a:lnTo>
                    <a:pt x="179" y="677"/>
                  </a:lnTo>
                  <a:lnTo>
                    <a:pt x="209" y="694"/>
                  </a:lnTo>
                  <a:lnTo>
                    <a:pt x="240" y="710"/>
                  </a:lnTo>
                  <a:lnTo>
                    <a:pt x="273" y="722"/>
                  </a:lnTo>
                  <a:lnTo>
                    <a:pt x="307" y="730"/>
                  </a:lnTo>
                  <a:lnTo>
                    <a:pt x="342" y="736"/>
                  </a:lnTo>
                  <a:lnTo>
                    <a:pt x="379" y="738"/>
                  </a:lnTo>
                  <a:lnTo>
                    <a:pt x="379" y="738"/>
                  </a:lnTo>
                  <a:lnTo>
                    <a:pt x="415" y="736"/>
                  </a:lnTo>
                  <a:lnTo>
                    <a:pt x="451" y="730"/>
                  </a:lnTo>
                  <a:lnTo>
                    <a:pt x="486" y="722"/>
                  </a:lnTo>
                  <a:lnTo>
                    <a:pt x="519" y="710"/>
                  </a:lnTo>
                  <a:lnTo>
                    <a:pt x="550" y="694"/>
                  </a:lnTo>
                  <a:lnTo>
                    <a:pt x="580" y="677"/>
                  </a:lnTo>
                  <a:lnTo>
                    <a:pt x="606" y="656"/>
                  </a:lnTo>
                  <a:lnTo>
                    <a:pt x="632" y="633"/>
                  </a:lnTo>
                  <a:lnTo>
                    <a:pt x="655" y="608"/>
                  </a:lnTo>
                  <a:lnTo>
                    <a:pt x="675" y="580"/>
                  </a:lnTo>
                  <a:lnTo>
                    <a:pt x="694" y="550"/>
                  </a:lnTo>
                  <a:lnTo>
                    <a:pt x="708" y="519"/>
                  </a:lnTo>
                  <a:lnTo>
                    <a:pt x="721" y="486"/>
                  </a:lnTo>
                  <a:lnTo>
                    <a:pt x="730" y="451"/>
                  </a:lnTo>
                  <a:lnTo>
                    <a:pt x="735" y="417"/>
                  </a:lnTo>
                  <a:lnTo>
                    <a:pt x="736" y="379"/>
                  </a:lnTo>
                  <a:lnTo>
                    <a:pt x="736" y="379"/>
                  </a:lnTo>
                  <a:lnTo>
                    <a:pt x="735" y="343"/>
                  </a:lnTo>
                  <a:lnTo>
                    <a:pt x="730" y="307"/>
                  </a:lnTo>
                  <a:lnTo>
                    <a:pt x="721" y="274"/>
                  </a:lnTo>
                  <a:lnTo>
                    <a:pt x="708" y="241"/>
                  </a:lnTo>
                  <a:lnTo>
                    <a:pt x="694" y="210"/>
                  </a:lnTo>
                  <a:lnTo>
                    <a:pt x="675" y="180"/>
                  </a:lnTo>
                  <a:lnTo>
                    <a:pt x="655" y="152"/>
                  </a:lnTo>
                  <a:lnTo>
                    <a:pt x="632" y="127"/>
                  </a:lnTo>
                  <a:lnTo>
                    <a:pt x="606" y="104"/>
                  </a:lnTo>
                  <a:lnTo>
                    <a:pt x="580" y="83"/>
                  </a:lnTo>
                  <a:lnTo>
                    <a:pt x="550" y="66"/>
                  </a:lnTo>
                  <a:lnTo>
                    <a:pt x="519" y="50"/>
                  </a:lnTo>
                  <a:lnTo>
                    <a:pt x="486" y="38"/>
                  </a:lnTo>
                  <a:lnTo>
                    <a:pt x="451" y="30"/>
                  </a:lnTo>
                  <a:lnTo>
                    <a:pt x="415" y="24"/>
                  </a:lnTo>
                  <a:lnTo>
                    <a:pt x="379" y="22"/>
                  </a:lnTo>
                  <a:lnTo>
                    <a:pt x="379"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43" name="Group 42">
            <a:extLst>
              <a:ext uri="{FF2B5EF4-FFF2-40B4-BE49-F238E27FC236}">
                <a16:creationId xmlns:a16="http://schemas.microsoft.com/office/drawing/2014/main" id="{31EEA08E-F47B-4D6B-8240-6AC4AC9B9382}"/>
              </a:ext>
            </a:extLst>
          </p:cNvPr>
          <p:cNvGrpSpPr>
            <a:grpSpLocks noChangeAspect="1"/>
          </p:cNvGrpSpPr>
          <p:nvPr/>
        </p:nvGrpSpPr>
        <p:grpSpPr>
          <a:xfrm>
            <a:off x="4965630" y="5440353"/>
            <a:ext cx="455998" cy="457200"/>
            <a:chOff x="5640388" y="5289550"/>
            <a:chExt cx="601663" cy="603250"/>
          </a:xfrm>
          <a:solidFill>
            <a:srgbClr val="404040"/>
          </a:solidFill>
        </p:grpSpPr>
        <p:sp>
          <p:nvSpPr>
            <p:cNvPr id="44" name="Freeform 235">
              <a:extLst>
                <a:ext uri="{FF2B5EF4-FFF2-40B4-BE49-F238E27FC236}">
                  <a16:creationId xmlns:a16="http://schemas.microsoft.com/office/drawing/2014/main" id="{230C001E-7E6F-4322-8678-788837297A5A}"/>
                </a:ext>
              </a:extLst>
            </p:cNvPr>
            <p:cNvSpPr>
              <a:spLocks noEditPoints="1"/>
            </p:cNvSpPr>
            <p:nvPr/>
          </p:nvSpPr>
          <p:spPr bwMode="auto">
            <a:xfrm>
              <a:off x="5794375" y="5470525"/>
              <a:ext cx="209550" cy="209550"/>
            </a:xfrm>
            <a:custGeom>
              <a:avLst/>
              <a:gdLst>
                <a:gd name="T0" fmla="*/ 213 w 265"/>
                <a:gd name="T1" fmla="*/ 185 h 265"/>
                <a:gd name="T2" fmla="*/ 171 w 265"/>
                <a:gd name="T3" fmla="*/ 160 h 265"/>
                <a:gd name="T4" fmla="*/ 176 w 265"/>
                <a:gd name="T5" fmla="*/ 146 h 265"/>
                <a:gd name="T6" fmla="*/ 188 w 265"/>
                <a:gd name="T7" fmla="*/ 119 h 265"/>
                <a:gd name="T8" fmla="*/ 196 w 265"/>
                <a:gd name="T9" fmla="*/ 110 h 265"/>
                <a:gd name="T10" fmla="*/ 198 w 265"/>
                <a:gd name="T11" fmla="*/ 99 h 265"/>
                <a:gd name="T12" fmla="*/ 193 w 265"/>
                <a:gd name="T13" fmla="*/ 58 h 265"/>
                <a:gd name="T14" fmla="*/ 190 w 265"/>
                <a:gd name="T15" fmla="*/ 33 h 265"/>
                <a:gd name="T16" fmla="*/ 169 w 265"/>
                <a:gd name="T17" fmla="*/ 10 h 265"/>
                <a:gd name="T18" fmla="*/ 133 w 265"/>
                <a:gd name="T19" fmla="*/ 0 h 265"/>
                <a:gd name="T20" fmla="*/ 107 w 265"/>
                <a:gd name="T21" fmla="*/ 5 h 265"/>
                <a:gd name="T22" fmla="*/ 82 w 265"/>
                <a:gd name="T23" fmla="*/ 24 h 265"/>
                <a:gd name="T24" fmla="*/ 72 w 265"/>
                <a:gd name="T25" fmla="*/ 58 h 265"/>
                <a:gd name="T26" fmla="*/ 69 w 265"/>
                <a:gd name="T27" fmla="*/ 91 h 265"/>
                <a:gd name="T28" fmla="*/ 68 w 265"/>
                <a:gd name="T29" fmla="*/ 105 h 265"/>
                <a:gd name="T30" fmla="*/ 77 w 265"/>
                <a:gd name="T31" fmla="*/ 119 h 265"/>
                <a:gd name="T32" fmla="*/ 85 w 265"/>
                <a:gd name="T33" fmla="*/ 138 h 265"/>
                <a:gd name="T34" fmla="*/ 94 w 265"/>
                <a:gd name="T35" fmla="*/ 160 h 265"/>
                <a:gd name="T36" fmla="*/ 79 w 265"/>
                <a:gd name="T37" fmla="*/ 173 h 265"/>
                <a:gd name="T38" fmla="*/ 11 w 265"/>
                <a:gd name="T39" fmla="*/ 202 h 265"/>
                <a:gd name="T40" fmla="*/ 2 w 265"/>
                <a:gd name="T41" fmla="*/ 213 h 265"/>
                <a:gd name="T42" fmla="*/ 0 w 265"/>
                <a:gd name="T43" fmla="*/ 249 h 265"/>
                <a:gd name="T44" fmla="*/ 11 w 265"/>
                <a:gd name="T45" fmla="*/ 263 h 265"/>
                <a:gd name="T46" fmla="*/ 249 w 265"/>
                <a:gd name="T47" fmla="*/ 265 h 265"/>
                <a:gd name="T48" fmla="*/ 263 w 265"/>
                <a:gd name="T49" fmla="*/ 256 h 265"/>
                <a:gd name="T50" fmla="*/ 265 w 265"/>
                <a:gd name="T51" fmla="*/ 218 h 265"/>
                <a:gd name="T52" fmla="*/ 259 w 265"/>
                <a:gd name="T53" fmla="*/ 205 h 265"/>
                <a:gd name="T54" fmla="*/ 251 w 265"/>
                <a:gd name="T55" fmla="*/ 249 h 265"/>
                <a:gd name="T56" fmla="*/ 17 w 265"/>
                <a:gd name="T57" fmla="*/ 251 h 265"/>
                <a:gd name="T58" fmla="*/ 16 w 265"/>
                <a:gd name="T59" fmla="*/ 218 h 265"/>
                <a:gd name="T60" fmla="*/ 16 w 265"/>
                <a:gd name="T61" fmla="*/ 216 h 265"/>
                <a:gd name="T62" fmla="*/ 99 w 265"/>
                <a:gd name="T63" fmla="*/ 177 h 265"/>
                <a:gd name="T64" fmla="*/ 110 w 265"/>
                <a:gd name="T65" fmla="*/ 165 h 265"/>
                <a:gd name="T66" fmla="*/ 110 w 265"/>
                <a:gd name="T67" fmla="*/ 149 h 265"/>
                <a:gd name="T68" fmla="*/ 107 w 265"/>
                <a:gd name="T69" fmla="*/ 144 h 265"/>
                <a:gd name="T70" fmla="*/ 97 w 265"/>
                <a:gd name="T71" fmla="*/ 130 h 265"/>
                <a:gd name="T72" fmla="*/ 91 w 265"/>
                <a:gd name="T73" fmla="*/ 113 h 265"/>
                <a:gd name="T74" fmla="*/ 83 w 265"/>
                <a:gd name="T75" fmla="*/ 105 h 265"/>
                <a:gd name="T76" fmla="*/ 83 w 265"/>
                <a:gd name="T77" fmla="*/ 94 h 265"/>
                <a:gd name="T78" fmla="*/ 86 w 265"/>
                <a:gd name="T79" fmla="*/ 86 h 265"/>
                <a:gd name="T80" fmla="*/ 88 w 265"/>
                <a:gd name="T81" fmla="*/ 47 h 265"/>
                <a:gd name="T82" fmla="*/ 99 w 265"/>
                <a:gd name="T83" fmla="*/ 27 h 265"/>
                <a:gd name="T84" fmla="*/ 122 w 265"/>
                <a:gd name="T85" fmla="*/ 16 h 265"/>
                <a:gd name="T86" fmla="*/ 143 w 265"/>
                <a:gd name="T87" fmla="*/ 16 h 265"/>
                <a:gd name="T88" fmla="*/ 168 w 265"/>
                <a:gd name="T89" fmla="*/ 27 h 265"/>
                <a:gd name="T90" fmla="*/ 179 w 265"/>
                <a:gd name="T91" fmla="*/ 47 h 265"/>
                <a:gd name="T92" fmla="*/ 179 w 265"/>
                <a:gd name="T93" fmla="*/ 86 h 265"/>
                <a:gd name="T94" fmla="*/ 182 w 265"/>
                <a:gd name="T95" fmla="*/ 94 h 265"/>
                <a:gd name="T96" fmla="*/ 182 w 265"/>
                <a:gd name="T97" fmla="*/ 105 h 265"/>
                <a:gd name="T98" fmla="*/ 176 w 265"/>
                <a:gd name="T99" fmla="*/ 113 h 265"/>
                <a:gd name="T100" fmla="*/ 168 w 265"/>
                <a:gd name="T101" fmla="*/ 130 h 265"/>
                <a:gd name="T102" fmla="*/ 158 w 265"/>
                <a:gd name="T103" fmla="*/ 144 h 265"/>
                <a:gd name="T104" fmla="*/ 155 w 265"/>
                <a:gd name="T105" fmla="*/ 162 h 265"/>
                <a:gd name="T106" fmla="*/ 157 w 265"/>
                <a:gd name="T107" fmla="*/ 165 h 265"/>
                <a:gd name="T108" fmla="*/ 166 w 265"/>
                <a:gd name="T109" fmla="*/ 177 h 265"/>
                <a:gd name="T110" fmla="*/ 249 w 265"/>
                <a:gd name="T111" fmla="*/ 216 h 265"/>
                <a:gd name="T112" fmla="*/ 251 w 265"/>
                <a:gd name="T113" fmla="*/ 249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5" h="265">
                  <a:moveTo>
                    <a:pt x="254" y="202"/>
                  </a:moveTo>
                  <a:lnTo>
                    <a:pt x="254" y="202"/>
                  </a:lnTo>
                  <a:lnTo>
                    <a:pt x="213" y="185"/>
                  </a:lnTo>
                  <a:lnTo>
                    <a:pt x="188" y="173"/>
                  </a:lnTo>
                  <a:lnTo>
                    <a:pt x="176" y="165"/>
                  </a:lnTo>
                  <a:lnTo>
                    <a:pt x="171" y="160"/>
                  </a:lnTo>
                  <a:lnTo>
                    <a:pt x="171" y="152"/>
                  </a:lnTo>
                  <a:lnTo>
                    <a:pt x="171" y="152"/>
                  </a:lnTo>
                  <a:lnTo>
                    <a:pt x="176" y="146"/>
                  </a:lnTo>
                  <a:lnTo>
                    <a:pt x="180" y="138"/>
                  </a:lnTo>
                  <a:lnTo>
                    <a:pt x="185" y="129"/>
                  </a:lnTo>
                  <a:lnTo>
                    <a:pt x="188" y="119"/>
                  </a:lnTo>
                  <a:lnTo>
                    <a:pt x="188" y="119"/>
                  </a:lnTo>
                  <a:lnTo>
                    <a:pt x="193" y="115"/>
                  </a:lnTo>
                  <a:lnTo>
                    <a:pt x="196" y="110"/>
                  </a:lnTo>
                  <a:lnTo>
                    <a:pt x="198" y="105"/>
                  </a:lnTo>
                  <a:lnTo>
                    <a:pt x="198" y="99"/>
                  </a:lnTo>
                  <a:lnTo>
                    <a:pt x="198" y="99"/>
                  </a:lnTo>
                  <a:lnTo>
                    <a:pt x="198" y="91"/>
                  </a:lnTo>
                  <a:lnTo>
                    <a:pt x="193" y="83"/>
                  </a:lnTo>
                  <a:lnTo>
                    <a:pt x="193" y="58"/>
                  </a:lnTo>
                  <a:lnTo>
                    <a:pt x="193" y="58"/>
                  </a:lnTo>
                  <a:lnTo>
                    <a:pt x="193" y="44"/>
                  </a:lnTo>
                  <a:lnTo>
                    <a:pt x="190" y="33"/>
                  </a:lnTo>
                  <a:lnTo>
                    <a:pt x="185" y="24"/>
                  </a:lnTo>
                  <a:lnTo>
                    <a:pt x="177" y="16"/>
                  </a:lnTo>
                  <a:lnTo>
                    <a:pt x="169" y="10"/>
                  </a:lnTo>
                  <a:lnTo>
                    <a:pt x="158" y="5"/>
                  </a:lnTo>
                  <a:lnTo>
                    <a:pt x="146" y="2"/>
                  </a:lnTo>
                  <a:lnTo>
                    <a:pt x="133" y="0"/>
                  </a:lnTo>
                  <a:lnTo>
                    <a:pt x="133" y="0"/>
                  </a:lnTo>
                  <a:lnTo>
                    <a:pt x="119" y="2"/>
                  </a:lnTo>
                  <a:lnTo>
                    <a:pt x="107" y="5"/>
                  </a:lnTo>
                  <a:lnTo>
                    <a:pt x="97" y="10"/>
                  </a:lnTo>
                  <a:lnTo>
                    <a:pt x="88" y="16"/>
                  </a:lnTo>
                  <a:lnTo>
                    <a:pt x="82" y="24"/>
                  </a:lnTo>
                  <a:lnTo>
                    <a:pt x="77" y="33"/>
                  </a:lnTo>
                  <a:lnTo>
                    <a:pt x="74" y="46"/>
                  </a:lnTo>
                  <a:lnTo>
                    <a:pt x="72" y="58"/>
                  </a:lnTo>
                  <a:lnTo>
                    <a:pt x="72" y="83"/>
                  </a:lnTo>
                  <a:lnTo>
                    <a:pt x="72" y="83"/>
                  </a:lnTo>
                  <a:lnTo>
                    <a:pt x="69" y="91"/>
                  </a:lnTo>
                  <a:lnTo>
                    <a:pt x="68" y="99"/>
                  </a:lnTo>
                  <a:lnTo>
                    <a:pt x="68" y="99"/>
                  </a:lnTo>
                  <a:lnTo>
                    <a:pt x="68" y="105"/>
                  </a:lnTo>
                  <a:lnTo>
                    <a:pt x="71" y="110"/>
                  </a:lnTo>
                  <a:lnTo>
                    <a:pt x="72" y="115"/>
                  </a:lnTo>
                  <a:lnTo>
                    <a:pt x="77" y="119"/>
                  </a:lnTo>
                  <a:lnTo>
                    <a:pt x="77" y="119"/>
                  </a:lnTo>
                  <a:lnTo>
                    <a:pt x="80" y="129"/>
                  </a:lnTo>
                  <a:lnTo>
                    <a:pt x="85" y="138"/>
                  </a:lnTo>
                  <a:lnTo>
                    <a:pt x="90" y="146"/>
                  </a:lnTo>
                  <a:lnTo>
                    <a:pt x="94" y="152"/>
                  </a:lnTo>
                  <a:lnTo>
                    <a:pt x="94" y="160"/>
                  </a:lnTo>
                  <a:lnTo>
                    <a:pt x="94" y="160"/>
                  </a:lnTo>
                  <a:lnTo>
                    <a:pt x="91" y="165"/>
                  </a:lnTo>
                  <a:lnTo>
                    <a:pt x="79" y="173"/>
                  </a:lnTo>
                  <a:lnTo>
                    <a:pt x="54" y="185"/>
                  </a:lnTo>
                  <a:lnTo>
                    <a:pt x="11" y="202"/>
                  </a:lnTo>
                  <a:lnTo>
                    <a:pt x="11" y="202"/>
                  </a:lnTo>
                  <a:lnTo>
                    <a:pt x="7" y="205"/>
                  </a:lnTo>
                  <a:lnTo>
                    <a:pt x="3" y="209"/>
                  </a:lnTo>
                  <a:lnTo>
                    <a:pt x="2" y="213"/>
                  </a:lnTo>
                  <a:lnTo>
                    <a:pt x="0" y="218"/>
                  </a:lnTo>
                  <a:lnTo>
                    <a:pt x="0" y="249"/>
                  </a:lnTo>
                  <a:lnTo>
                    <a:pt x="0" y="249"/>
                  </a:lnTo>
                  <a:lnTo>
                    <a:pt x="2" y="256"/>
                  </a:lnTo>
                  <a:lnTo>
                    <a:pt x="5" y="260"/>
                  </a:lnTo>
                  <a:lnTo>
                    <a:pt x="11" y="263"/>
                  </a:lnTo>
                  <a:lnTo>
                    <a:pt x="17" y="265"/>
                  </a:lnTo>
                  <a:lnTo>
                    <a:pt x="249" y="265"/>
                  </a:lnTo>
                  <a:lnTo>
                    <a:pt x="249" y="265"/>
                  </a:lnTo>
                  <a:lnTo>
                    <a:pt x="256" y="263"/>
                  </a:lnTo>
                  <a:lnTo>
                    <a:pt x="260" y="260"/>
                  </a:lnTo>
                  <a:lnTo>
                    <a:pt x="263" y="256"/>
                  </a:lnTo>
                  <a:lnTo>
                    <a:pt x="265" y="249"/>
                  </a:lnTo>
                  <a:lnTo>
                    <a:pt x="265" y="218"/>
                  </a:lnTo>
                  <a:lnTo>
                    <a:pt x="265" y="218"/>
                  </a:lnTo>
                  <a:lnTo>
                    <a:pt x="265" y="213"/>
                  </a:lnTo>
                  <a:lnTo>
                    <a:pt x="262" y="209"/>
                  </a:lnTo>
                  <a:lnTo>
                    <a:pt x="259" y="205"/>
                  </a:lnTo>
                  <a:lnTo>
                    <a:pt x="254" y="202"/>
                  </a:lnTo>
                  <a:lnTo>
                    <a:pt x="254" y="202"/>
                  </a:lnTo>
                  <a:close/>
                  <a:moveTo>
                    <a:pt x="251" y="249"/>
                  </a:moveTo>
                  <a:lnTo>
                    <a:pt x="251" y="249"/>
                  </a:lnTo>
                  <a:lnTo>
                    <a:pt x="249" y="251"/>
                  </a:lnTo>
                  <a:lnTo>
                    <a:pt x="17" y="251"/>
                  </a:lnTo>
                  <a:lnTo>
                    <a:pt x="17" y="251"/>
                  </a:lnTo>
                  <a:lnTo>
                    <a:pt x="16" y="249"/>
                  </a:lnTo>
                  <a:lnTo>
                    <a:pt x="16" y="218"/>
                  </a:lnTo>
                  <a:lnTo>
                    <a:pt x="16" y="218"/>
                  </a:lnTo>
                  <a:lnTo>
                    <a:pt x="16" y="216"/>
                  </a:lnTo>
                  <a:lnTo>
                    <a:pt x="16" y="216"/>
                  </a:lnTo>
                  <a:lnTo>
                    <a:pt x="63" y="196"/>
                  </a:lnTo>
                  <a:lnTo>
                    <a:pt x="91" y="182"/>
                  </a:lnTo>
                  <a:lnTo>
                    <a:pt x="99" y="177"/>
                  </a:lnTo>
                  <a:lnTo>
                    <a:pt x="104" y="173"/>
                  </a:lnTo>
                  <a:lnTo>
                    <a:pt x="108" y="168"/>
                  </a:lnTo>
                  <a:lnTo>
                    <a:pt x="110" y="165"/>
                  </a:lnTo>
                  <a:lnTo>
                    <a:pt x="110" y="165"/>
                  </a:lnTo>
                  <a:lnTo>
                    <a:pt x="110" y="162"/>
                  </a:lnTo>
                  <a:lnTo>
                    <a:pt x="110" y="149"/>
                  </a:lnTo>
                  <a:lnTo>
                    <a:pt x="110" y="149"/>
                  </a:lnTo>
                  <a:lnTo>
                    <a:pt x="108" y="147"/>
                  </a:lnTo>
                  <a:lnTo>
                    <a:pt x="107" y="144"/>
                  </a:lnTo>
                  <a:lnTo>
                    <a:pt x="107" y="144"/>
                  </a:lnTo>
                  <a:lnTo>
                    <a:pt x="102" y="138"/>
                  </a:lnTo>
                  <a:lnTo>
                    <a:pt x="97" y="130"/>
                  </a:lnTo>
                  <a:lnTo>
                    <a:pt x="94" y="122"/>
                  </a:lnTo>
                  <a:lnTo>
                    <a:pt x="91" y="113"/>
                  </a:lnTo>
                  <a:lnTo>
                    <a:pt x="91" y="113"/>
                  </a:lnTo>
                  <a:lnTo>
                    <a:pt x="88" y="110"/>
                  </a:lnTo>
                  <a:lnTo>
                    <a:pt x="88" y="110"/>
                  </a:lnTo>
                  <a:lnTo>
                    <a:pt x="83" y="105"/>
                  </a:lnTo>
                  <a:lnTo>
                    <a:pt x="82" y="99"/>
                  </a:lnTo>
                  <a:lnTo>
                    <a:pt x="82" y="99"/>
                  </a:lnTo>
                  <a:lnTo>
                    <a:pt x="83" y="94"/>
                  </a:lnTo>
                  <a:lnTo>
                    <a:pt x="85" y="91"/>
                  </a:lnTo>
                  <a:lnTo>
                    <a:pt x="85" y="91"/>
                  </a:lnTo>
                  <a:lnTo>
                    <a:pt x="86" y="86"/>
                  </a:lnTo>
                  <a:lnTo>
                    <a:pt x="86" y="58"/>
                  </a:lnTo>
                  <a:lnTo>
                    <a:pt x="86" y="58"/>
                  </a:lnTo>
                  <a:lnTo>
                    <a:pt x="88" y="47"/>
                  </a:lnTo>
                  <a:lnTo>
                    <a:pt x="90" y="39"/>
                  </a:lnTo>
                  <a:lnTo>
                    <a:pt x="94" y="32"/>
                  </a:lnTo>
                  <a:lnTo>
                    <a:pt x="99" y="27"/>
                  </a:lnTo>
                  <a:lnTo>
                    <a:pt x="105" y="22"/>
                  </a:lnTo>
                  <a:lnTo>
                    <a:pt x="113" y="19"/>
                  </a:lnTo>
                  <a:lnTo>
                    <a:pt x="122" y="16"/>
                  </a:lnTo>
                  <a:lnTo>
                    <a:pt x="133" y="16"/>
                  </a:lnTo>
                  <a:lnTo>
                    <a:pt x="133" y="16"/>
                  </a:lnTo>
                  <a:lnTo>
                    <a:pt x="143" y="16"/>
                  </a:lnTo>
                  <a:lnTo>
                    <a:pt x="152" y="19"/>
                  </a:lnTo>
                  <a:lnTo>
                    <a:pt x="160" y="22"/>
                  </a:lnTo>
                  <a:lnTo>
                    <a:pt x="168" y="27"/>
                  </a:lnTo>
                  <a:lnTo>
                    <a:pt x="173" y="32"/>
                  </a:lnTo>
                  <a:lnTo>
                    <a:pt x="176" y="39"/>
                  </a:lnTo>
                  <a:lnTo>
                    <a:pt x="179" y="47"/>
                  </a:lnTo>
                  <a:lnTo>
                    <a:pt x="179" y="58"/>
                  </a:lnTo>
                  <a:lnTo>
                    <a:pt x="179" y="86"/>
                  </a:lnTo>
                  <a:lnTo>
                    <a:pt x="179" y="86"/>
                  </a:lnTo>
                  <a:lnTo>
                    <a:pt x="180" y="91"/>
                  </a:lnTo>
                  <a:lnTo>
                    <a:pt x="180" y="91"/>
                  </a:lnTo>
                  <a:lnTo>
                    <a:pt x="182" y="94"/>
                  </a:lnTo>
                  <a:lnTo>
                    <a:pt x="184" y="99"/>
                  </a:lnTo>
                  <a:lnTo>
                    <a:pt x="184" y="99"/>
                  </a:lnTo>
                  <a:lnTo>
                    <a:pt x="182" y="105"/>
                  </a:lnTo>
                  <a:lnTo>
                    <a:pt x="177" y="110"/>
                  </a:lnTo>
                  <a:lnTo>
                    <a:pt x="177" y="110"/>
                  </a:lnTo>
                  <a:lnTo>
                    <a:pt x="176" y="113"/>
                  </a:lnTo>
                  <a:lnTo>
                    <a:pt x="176" y="113"/>
                  </a:lnTo>
                  <a:lnTo>
                    <a:pt x="173" y="122"/>
                  </a:lnTo>
                  <a:lnTo>
                    <a:pt x="168" y="130"/>
                  </a:lnTo>
                  <a:lnTo>
                    <a:pt x="163" y="138"/>
                  </a:lnTo>
                  <a:lnTo>
                    <a:pt x="158" y="144"/>
                  </a:lnTo>
                  <a:lnTo>
                    <a:pt x="158" y="144"/>
                  </a:lnTo>
                  <a:lnTo>
                    <a:pt x="157" y="147"/>
                  </a:lnTo>
                  <a:lnTo>
                    <a:pt x="155" y="149"/>
                  </a:lnTo>
                  <a:lnTo>
                    <a:pt x="155" y="162"/>
                  </a:lnTo>
                  <a:lnTo>
                    <a:pt x="155" y="162"/>
                  </a:lnTo>
                  <a:lnTo>
                    <a:pt x="157" y="165"/>
                  </a:lnTo>
                  <a:lnTo>
                    <a:pt x="157" y="165"/>
                  </a:lnTo>
                  <a:lnTo>
                    <a:pt x="158" y="168"/>
                  </a:lnTo>
                  <a:lnTo>
                    <a:pt x="162" y="173"/>
                  </a:lnTo>
                  <a:lnTo>
                    <a:pt x="166" y="177"/>
                  </a:lnTo>
                  <a:lnTo>
                    <a:pt x="176" y="182"/>
                  </a:lnTo>
                  <a:lnTo>
                    <a:pt x="202" y="196"/>
                  </a:lnTo>
                  <a:lnTo>
                    <a:pt x="249" y="216"/>
                  </a:lnTo>
                  <a:lnTo>
                    <a:pt x="249" y="216"/>
                  </a:lnTo>
                  <a:lnTo>
                    <a:pt x="251" y="218"/>
                  </a:lnTo>
                  <a:lnTo>
                    <a:pt x="251" y="2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36">
              <a:extLst>
                <a:ext uri="{FF2B5EF4-FFF2-40B4-BE49-F238E27FC236}">
                  <a16:creationId xmlns:a16="http://schemas.microsoft.com/office/drawing/2014/main" id="{90D0E44F-E701-4723-801C-8B789849F9BA}"/>
                </a:ext>
              </a:extLst>
            </p:cNvPr>
            <p:cNvSpPr>
              <a:spLocks/>
            </p:cNvSpPr>
            <p:nvPr/>
          </p:nvSpPr>
          <p:spPr bwMode="auto">
            <a:xfrm>
              <a:off x="5951538" y="5483225"/>
              <a:ext cx="130175" cy="196850"/>
            </a:xfrm>
            <a:custGeom>
              <a:avLst/>
              <a:gdLst>
                <a:gd name="T0" fmla="*/ 143 w 165"/>
                <a:gd name="T1" fmla="*/ 184 h 248"/>
                <a:gd name="T2" fmla="*/ 105 w 165"/>
                <a:gd name="T3" fmla="*/ 176 h 248"/>
                <a:gd name="T4" fmla="*/ 78 w 165"/>
                <a:gd name="T5" fmla="*/ 162 h 248"/>
                <a:gd name="T6" fmla="*/ 100 w 165"/>
                <a:gd name="T7" fmla="*/ 159 h 248"/>
                <a:gd name="T8" fmla="*/ 127 w 165"/>
                <a:gd name="T9" fmla="*/ 148 h 248"/>
                <a:gd name="T10" fmla="*/ 130 w 165"/>
                <a:gd name="T11" fmla="*/ 141 h 248"/>
                <a:gd name="T12" fmla="*/ 125 w 165"/>
                <a:gd name="T13" fmla="*/ 135 h 248"/>
                <a:gd name="T14" fmla="*/ 121 w 165"/>
                <a:gd name="T15" fmla="*/ 127 h 248"/>
                <a:gd name="T16" fmla="*/ 110 w 165"/>
                <a:gd name="T17" fmla="*/ 71 h 248"/>
                <a:gd name="T18" fmla="*/ 104 w 165"/>
                <a:gd name="T19" fmla="*/ 43 h 248"/>
                <a:gd name="T20" fmla="*/ 86 w 165"/>
                <a:gd name="T21" fmla="*/ 19 h 248"/>
                <a:gd name="T22" fmla="*/ 64 w 165"/>
                <a:gd name="T23" fmla="*/ 5 h 248"/>
                <a:gd name="T24" fmla="*/ 41 w 165"/>
                <a:gd name="T25" fmla="*/ 0 h 248"/>
                <a:gd name="T26" fmla="*/ 19 w 165"/>
                <a:gd name="T27" fmla="*/ 5 h 248"/>
                <a:gd name="T28" fmla="*/ 2 w 165"/>
                <a:gd name="T29" fmla="*/ 15 h 248"/>
                <a:gd name="T30" fmla="*/ 0 w 165"/>
                <a:gd name="T31" fmla="*/ 21 h 248"/>
                <a:gd name="T32" fmla="*/ 3 w 165"/>
                <a:gd name="T33" fmla="*/ 26 h 248"/>
                <a:gd name="T34" fmla="*/ 11 w 165"/>
                <a:gd name="T35" fmla="*/ 26 h 248"/>
                <a:gd name="T36" fmla="*/ 24 w 165"/>
                <a:gd name="T37" fmla="*/ 19 h 248"/>
                <a:gd name="T38" fmla="*/ 41 w 165"/>
                <a:gd name="T39" fmla="*/ 16 h 248"/>
                <a:gd name="T40" fmla="*/ 60 w 165"/>
                <a:gd name="T41" fmla="*/ 19 h 248"/>
                <a:gd name="T42" fmla="*/ 75 w 165"/>
                <a:gd name="T43" fmla="*/ 29 h 248"/>
                <a:gd name="T44" fmla="*/ 85 w 165"/>
                <a:gd name="T45" fmla="*/ 38 h 248"/>
                <a:gd name="T46" fmla="*/ 94 w 165"/>
                <a:gd name="T47" fmla="*/ 73 h 248"/>
                <a:gd name="T48" fmla="*/ 99 w 165"/>
                <a:gd name="T49" fmla="*/ 104 h 248"/>
                <a:gd name="T50" fmla="*/ 111 w 165"/>
                <a:gd name="T51" fmla="*/ 140 h 248"/>
                <a:gd name="T52" fmla="*/ 85 w 165"/>
                <a:gd name="T53" fmla="*/ 146 h 248"/>
                <a:gd name="T54" fmla="*/ 68 w 165"/>
                <a:gd name="T55" fmla="*/ 148 h 248"/>
                <a:gd name="T56" fmla="*/ 63 w 165"/>
                <a:gd name="T57" fmla="*/ 154 h 248"/>
                <a:gd name="T58" fmla="*/ 63 w 165"/>
                <a:gd name="T59" fmla="*/ 173 h 248"/>
                <a:gd name="T60" fmla="*/ 68 w 165"/>
                <a:gd name="T61" fmla="*/ 179 h 248"/>
                <a:gd name="T62" fmla="*/ 102 w 165"/>
                <a:gd name="T63" fmla="*/ 190 h 248"/>
                <a:gd name="T64" fmla="*/ 138 w 165"/>
                <a:gd name="T65" fmla="*/ 198 h 248"/>
                <a:gd name="T66" fmla="*/ 151 w 165"/>
                <a:gd name="T67" fmla="*/ 204 h 248"/>
                <a:gd name="T68" fmla="*/ 151 w 165"/>
                <a:gd name="T69" fmla="*/ 234 h 248"/>
                <a:gd name="T70" fmla="*/ 85 w 165"/>
                <a:gd name="T71" fmla="*/ 234 h 248"/>
                <a:gd name="T72" fmla="*/ 80 w 165"/>
                <a:gd name="T73" fmla="*/ 242 h 248"/>
                <a:gd name="T74" fmla="*/ 82 w 165"/>
                <a:gd name="T75" fmla="*/ 246 h 248"/>
                <a:gd name="T76" fmla="*/ 151 w 165"/>
                <a:gd name="T77" fmla="*/ 248 h 248"/>
                <a:gd name="T78" fmla="*/ 162 w 165"/>
                <a:gd name="T79" fmla="*/ 243 h 248"/>
                <a:gd name="T80" fmla="*/ 165 w 165"/>
                <a:gd name="T81" fmla="*/ 204 h 248"/>
                <a:gd name="T82" fmla="*/ 163 w 165"/>
                <a:gd name="T83" fmla="*/ 195 h 248"/>
                <a:gd name="T84" fmla="*/ 155 w 165"/>
                <a:gd name="T85" fmla="*/ 18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5" h="248">
                  <a:moveTo>
                    <a:pt x="155" y="188"/>
                  </a:moveTo>
                  <a:lnTo>
                    <a:pt x="155" y="188"/>
                  </a:lnTo>
                  <a:lnTo>
                    <a:pt x="143" y="184"/>
                  </a:lnTo>
                  <a:lnTo>
                    <a:pt x="129" y="181"/>
                  </a:lnTo>
                  <a:lnTo>
                    <a:pt x="105" y="176"/>
                  </a:lnTo>
                  <a:lnTo>
                    <a:pt x="105" y="176"/>
                  </a:lnTo>
                  <a:lnTo>
                    <a:pt x="88" y="173"/>
                  </a:lnTo>
                  <a:lnTo>
                    <a:pt x="78" y="170"/>
                  </a:lnTo>
                  <a:lnTo>
                    <a:pt x="78" y="162"/>
                  </a:lnTo>
                  <a:lnTo>
                    <a:pt x="78" y="162"/>
                  </a:lnTo>
                  <a:lnTo>
                    <a:pt x="89" y="160"/>
                  </a:lnTo>
                  <a:lnTo>
                    <a:pt x="100" y="159"/>
                  </a:lnTo>
                  <a:lnTo>
                    <a:pt x="115" y="154"/>
                  </a:lnTo>
                  <a:lnTo>
                    <a:pt x="124" y="149"/>
                  </a:lnTo>
                  <a:lnTo>
                    <a:pt x="127" y="148"/>
                  </a:lnTo>
                  <a:lnTo>
                    <a:pt x="127" y="148"/>
                  </a:lnTo>
                  <a:lnTo>
                    <a:pt x="129" y="145"/>
                  </a:lnTo>
                  <a:lnTo>
                    <a:pt x="130" y="141"/>
                  </a:lnTo>
                  <a:lnTo>
                    <a:pt x="130" y="141"/>
                  </a:lnTo>
                  <a:lnTo>
                    <a:pt x="129" y="138"/>
                  </a:lnTo>
                  <a:lnTo>
                    <a:pt x="125" y="135"/>
                  </a:lnTo>
                  <a:lnTo>
                    <a:pt x="125" y="135"/>
                  </a:lnTo>
                  <a:lnTo>
                    <a:pt x="124" y="132"/>
                  </a:lnTo>
                  <a:lnTo>
                    <a:pt x="121" y="127"/>
                  </a:lnTo>
                  <a:lnTo>
                    <a:pt x="116" y="112"/>
                  </a:lnTo>
                  <a:lnTo>
                    <a:pt x="111" y="93"/>
                  </a:lnTo>
                  <a:lnTo>
                    <a:pt x="110" y="71"/>
                  </a:lnTo>
                  <a:lnTo>
                    <a:pt x="110" y="71"/>
                  </a:lnTo>
                  <a:lnTo>
                    <a:pt x="108" y="57"/>
                  </a:lnTo>
                  <a:lnTo>
                    <a:pt x="104" y="43"/>
                  </a:lnTo>
                  <a:lnTo>
                    <a:pt x="96" y="30"/>
                  </a:lnTo>
                  <a:lnTo>
                    <a:pt x="86" y="19"/>
                  </a:lnTo>
                  <a:lnTo>
                    <a:pt x="86" y="19"/>
                  </a:lnTo>
                  <a:lnTo>
                    <a:pt x="82" y="15"/>
                  </a:lnTo>
                  <a:lnTo>
                    <a:pt x="77" y="10"/>
                  </a:lnTo>
                  <a:lnTo>
                    <a:pt x="64" y="5"/>
                  </a:lnTo>
                  <a:lnTo>
                    <a:pt x="64" y="5"/>
                  </a:lnTo>
                  <a:lnTo>
                    <a:pt x="53" y="2"/>
                  </a:lnTo>
                  <a:lnTo>
                    <a:pt x="41" y="0"/>
                  </a:lnTo>
                  <a:lnTo>
                    <a:pt x="30" y="2"/>
                  </a:lnTo>
                  <a:lnTo>
                    <a:pt x="19" y="5"/>
                  </a:lnTo>
                  <a:lnTo>
                    <a:pt x="19" y="5"/>
                  </a:lnTo>
                  <a:lnTo>
                    <a:pt x="10" y="8"/>
                  </a:lnTo>
                  <a:lnTo>
                    <a:pt x="2" y="15"/>
                  </a:lnTo>
                  <a:lnTo>
                    <a:pt x="2" y="15"/>
                  </a:lnTo>
                  <a:lnTo>
                    <a:pt x="0" y="16"/>
                  </a:lnTo>
                  <a:lnTo>
                    <a:pt x="0" y="19"/>
                  </a:lnTo>
                  <a:lnTo>
                    <a:pt x="0" y="21"/>
                  </a:lnTo>
                  <a:lnTo>
                    <a:pt x="2" y="24"/>
                  </a:lnTo>
                  <a:lnTo>
                    <a:pt x="2" y="24"/>
                  </a:lnTo>
                  <a:lnTo>
                    <a:pt x="3" y="26"/>
                  </a:lnTo>
                  <a:lnTo>
                    <a:pt x="6" y="27"/>
                  </a:lnTo>
                  <a:lnTo>
                    <a:pt x="10" y="27"/>
                  </a:lnTo>
                  <a:lnTo>
                    <a:pt x="11" y="26"/>
                  </a:lnTo>
                  <a:lnTo>
                    <a:pt x="11" y="26"/>
                  </a:lnTo>
                  <a:lnTo>
                    <a:pt x="17" y="22"/>
                  </a:lnTo>
                  <a:lnTo>
                    <a:pt x="24" y="19"/>
                  </a:lnTo>
                  <a:lnTo>
                    <a:pt x="24" y="19"/>
                  </a:lnTo>
                  <a:lnTo>
                    <a:pt x="33" y="16"/>
                  </a:lnTo>
                  <a:lnTo>
                    <a:pt x="41" y="16"/>
                  </a:lnTo>
                  <a:lnTo>
                    <a:pt x="50" y="16"/>
                  </a:lnTo>
                  <a:lnTo>
                    <a:pt x="60" y="19"/>
                  </a:lnTo>
                  <a:lnTo>
                    <a:pt x="60" y="19"/>
                  </a:lnTo>
                  <a:lnTo>
                    <a:pt x="69" y="22"/>
                  </a:lnTo>
                  <a:lnTo>
                    <a:pt x="75" y="29"/>
                  </a:lnTo>
                  <a:lnTo>
                    <a:pt x="75" y="29"/>
                  </a:lnTo>
                  <a:lnTo>
                    <a:pt x="77" y="29"/>
                  </a:lnTo>
                  <a:lnTo>
                    <a:pt x="77" y="29"/>
                  </a:lnTo>
                  <a:lnTo>
                    <a:pt x="85" y="38"/>
                  </a:lnTo>
                  <a:lnTo>
                    <a:pt x="89" y="47"/>
                  </a:lnTo>
                  <a:lnTo>
                    <a:pt x="94" y="60"/>
                  </a:lnTo>
                  <a:lnTo>
                    <a:pt x="94" y="73"/>
                  </a:lnTo>
                  <a:lnTo>
                    <a:pt x="94" y="73"/>
                  </a:lnTo>
                  <a:lnTo>
                    <a:pt x="96" y="85"/>
                  </a:lnTo>
                  <a:lnTo>
                    <a:pt x="99" y="104"/>
                  </a:lnTo>
                  <a:lnTo>
                    <a:pt x="104" y="123"/>
                  </a:lnTo>
                  <a:lnTo>
                    <a:pt x="107" y="132"/>
                  </a:lnTo>
                  <a:lnTo>
                    <a:pt x="111" y="140"/>
                  </a:lnTo>
                  <a:lnTo>
                    <a:pt x="111" y="140"/>
                  </a:lnTo>
                  <a:lnTo>
                    <a:pt x="96" y="145"/>
                  </a:lnTo>
                  <a:lnTo>
                    <a:pt x="85" y="146"/>
                  </a:lnTo>
                  <a:lnTo>
                    <a:pt x="71" y="146"/>
                  </a:lnTo>
                  <a:lnTo>
                    <a:pt x="71" y="146"/>
                  </a:lnTo>
                  <a:lnTo>
                    <a:pt x="68" y="148"/>
                  </a:lnTo>
                  <a:lnTo>
                    <a:pt x="66" y="149"/>
                  </a:lnTo>
                  <a:lnTo>
                    <a:pt x="63" y="151"/>
                  </a:lnTo>
                  <a:lnTo>
                    <a:pt x="63" y="154"/>
                  </a:lnTo>
                  <a:lnTo>
                    <a:pt x="63" y="171"/>
                  </a:lnTo>
                  <a:lnTo>
                    <a:pt x="63" y="171"/>
                  </a:lnTo>
                  <a:lnTo>
                    <a:pt x="63" y="173"/>
                  </a:lnTo>
                  <a:lnTo>
                    <a:pt x="63" y="173"/>
                  </a:lnTo>
                  <a:lnTo>
                    <a:pt x="64" y="176"/>
                  </a:lnTo>
                  <a:lnTo>
                    <a:pt x="68" y="179"/>
                  </a:lnTo>
                  <a:lnTo>
                    <a:pt x="75" y="184"/>
                  </a:lnTo>
                  <a:lnTo>
                    <a:pt x="88" y="187"/>
                  </a:lnTo>
                  <a:lnTo>
                    <a:pt x="102" y="190"/>
                  </a:lnTo>
                  <a:lnTo>
                    <a:pt x="102" y="190"/>
                  </a:lnTo>
                  <a:lnTo>
                    <a:pt x="125" y="195"/>
                  </a:lnTo>
                  <a:lnTo>
                    <a:pt x="138" y="198"/>
                  </a:lnTo>
                  <a:lnTo>
                    <a:pt x="151" y="203"/>
                  </a:lnTo>
                  <a:lnTo>
                    <a:pt x="151" y="203"/>
                  </a:lnTo>
                  <a:lnTo>
                    <a:pt x="151" y="204"/>
                  </a:lnTo>
                  <a:lnTo>
                    <a:pt x="151" y="232"/>
                  </a:lnTo>
                  <a:lnTo>
                    <a:pt x="151" y="232"/>
                  </a:lnTo>
                  <a:lnTo>
                    <a:pt x="151" y="234"/>
                  </a:lnTo>
                  <a:lnTo>
                    <a:pt x="86" y="234"/>
                  </a:lnTo>
                  <a:lnTo>
                    <a:pt x="86" y="234"/>
                  </a:lnTo>
                  <a:lnTo>
                    <a:pt x="85" y="234"/>
                  </a:lnTo>
                  <a:lnTo>
                    <a:pt x="82" y="235"/>
                  </a:lnTo>
                  <a:lnTo>
                    <a:pt x="80" y="239"/>
                  </a:lnTo>
                  <a:lnTo>
                    <a:pt x="80" y="242"/>
                  </a:lnTo>
                  <a:lnTo>
                    <a:pt x="80" y="242"/>
                  </a:lnTo>
                  <a:lnTo>
                    <a:pt x="80" y="243"/>
                  </a:lnTo>
                  <a:lnTo>
                    <a:pt x="82" y="246"/>
                  </a:lnTo>
                  <a:lnTo>
                    <a:pt x="85" y="248"/>
                  </a:lnTo>
                  <a:lnTo>
                    <a:pt x="86" y="248"/>
                  </a:lnTo>
                  <a:lnTo>
                    <a:pt x="151" y="248"/>
                  </a:lnTo>
                  <a:lnTo>
                    <a:pt x="151" y="248"/>
                  </a:lnTo>
                  <a:lnTo>
                    <a:pt x="155" y="248"/>
                  </a:lnTo>
                  <a:lnTo>
                    <a:pt x="162" y="243"/>
                  </a:lnTo>
                  <a:lnTo>
                    <a:pt x="165" y="239"/>
                  </a:lnTo>
                  <a:lnTo>
                    <a:pt x="165" y="232"/>
                  </a:lnTo>
                  <a:lnTo>
                    <a:pt x="165" y="204"/>
                  </a:lnTo>
                  <a:lnTo>
                    <a:pt x="165" y="204"/>
                  </a:lnTo>
                  <a:lnTo>
                    <a:pt x="165" y="199"/>
                  </a:lnTo>
                  <a:lnTo>
                    <a:pt x="163" y="195"/>
                  </a:lnTo>
                  <a:lnTo>
                    <a:pt x="160" y="192"/>
                  </a:lnTo>
                  <a:lnTo>
                    <a:pt x="155" y="188"/>
                  </a:lnTo>
                  <a:lnTo>
                    <a:pt x="155" y="18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44">
              <a:extLst>
                <a:ext uri="{FF2B5EF4-FFF2-40B4-BE49-F238E27FC236}">
                  <a16:creationId xmlns:a16="http://schemas.microsoft.com/office/drawing/2014/main" id="{99B314E5-C309-494C-8606-0CA880AF2855}"/>
                </a:ext>
              </a:extLst>
            </p:cNvPr>
            <p:cNvSpPr>
              <a:spLocks noEditPoints="1"/>
            </p:cNvSpPr>
            <p:nvPr/>
          </p:nvSpPr>
          <p:spPr bwMode="auto">
            <a:xfrm>
              <a:off x="5640388" y="5289550"/>
              <a:ext cx="601663" cy="603250"/>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47" name="Rectangle 18">
            <a:extLst>
              <a:ext uri="{FF2B5EF4-FFF2-40B4-BE49-F238E27FC236}">
                <a16:creationId xmlns:a16="http://schemas.microsoft.com/office/drawing/2014/main" id="{3278E038-6442-475F-92AB-6E1CE72E8952}"/>
              </a:ext>
            </a:extLst>
          </p:cNvPr>
          <p:cNvSpPr>
            <a:spLocks noChangeArrowheads="1"/>
          </p:cNvSpPr>
          <p:nvPr/>
        </p:nvSpPr>
        <p:spPr bwMode="auto">
          <a:xfrm>
            <a:off x="4829598" y="5897553"/>
            <a:ext cx="716619" cy="146785"/>
          </a:xfrm>
          <a:prstGeom prst="rect">
            <a:avLst/>
          </a:prstGeom>
          <a:noFill/>
          <a:ln>
            <a:noFill/>
            <a:prstDash val="solid"/>
          </a:ln>
        </p:spPr>
        <p:style>
          <a:lnRef idx="2">
            <a:schemeClr val="dk1"/>
          </a:lnRef>
          <a:fillRef idx="1">
            <a:schemeClr val="lt1"/>
          </a:fillRef>
          <a:effectRef idx="0">
            <a:schemeClr val="dk1"/>
          </a:effectRef>
          <a:fontRef idx="minor">
            <a:schemeClr val="dk1"/>
          </a:fontRef>
        </p:style>
        <p:txBody>
          <a:bodyPr wrap="square" lIns="0" tIns="45720" rIns="0" bIns="0" anchor="t">
            <a:noAutofit/>
          </a:bodyPr>
          <a:lstStyle/>
          <a:p>
            <a:pPr marL="0" marR="0" lvl="0" indent="0" algn="ctr" defTabSz="914400" rtl="0" eaLnBrk="1" fontAlgn="auto" latinLnBrk="0" hangingPunct="1">
              <a:lnSpc>
                <a:spcPct val="100000"/>
              </a:lnSpc>
              <a:spcBef>
                <a:spcPts val="0"/>
              </a:spcBef>
              <a:spcAft>
                <a:spcPts val="0"/>
              </a:spcAft>
              <a:buClr>
                <a:srgbClr val="787878"/>
              </a:buClr>
              <a:buSzPct val="75000"/>
              <a:buFontTx/>
              <a:buNone/>
              <a:tabLst/>
              <a:defRPr/>
            </a:pPr>
            <a:r>
              <a:rPr kumimoji="0" lang="en-US" sz="900" b="0" i="0" u="none" strike="noStrike" kern="1200" cap="none" spc="0" normalizeH="0" baseline="0" noProof="0" dirty="0">
                <a:ln>
                  <a:noFill/>
                </a:ln>
                <a:solidFill>
                  <a:srgbClr val="000000"/>
                </a:solidFill>
                <a:effectLst/>
                <a:uLnTx/>
                <a:uFillTx/>
                <a:latin typeface="Frutiger Next Pro Medium" pitchFamily="34" charset="0"/>
                <a:ea typeface="+mn-ea"/>
                <a:cs typeface="Arial"/>
                <a:sym typeface="Frutiger Next Pro Medium" charset="0"/>
              </a:rPr>
              <a:t>Consultant I</a:t>
            </a:r>
          </a:p>
        </p:txBody>
      </p:sp>
      <p:grpSp>
        <p:nvGrpSpPr>
          <p:cNvPr id="48" name="Group 47">
            <a:extLst>
              <a:ext uri="{FF2B5EF4-FFF2-40B4-BE49-F238E27FC236}">
                <a16:creationId xmlns:a16="http://schemas.microsoft.com/office/drawing/2014/main" id="{A185082E-3F50-4419-B424-A65946055CDD}"/>
              </a:ext>
            </a:extLst>
          </p:cNvPr>
          <p:cNvGrpSpPr>
            <a:grpSpLocks noChangeAspect="1"/>
          </p:cNvGrpSpPr>
          <p:nvPr/>
        </p:nvGrpSpPr>
        <p:grpSpPr>
          <a:xfrm>
            <a:off x="6088531" y="5440353"/>
            <a:ext cx="455998" cy="457200"/>
            <a:chOff x="5640388" y="5289550"/>
            <a:chExt cx="601663" cy="603250"/>
          </a:xfrm>
          <a:solidFill>
            <a:srgbClr val="404040"/>
          </a:solidFill>
        </p:grpSpPr>
        <p:sp>
          <p:nvSpPr>
            <p:cNvPr id="49" name="Freeform 235">
              <a:extLst>
                <a:ext uri="{FF2B5EF4-FFF2-40B4-BE49-F238E27FC236}">
                  <a16:creationId xmlns:a16="http://schemas.microsoft.com/office/drawing/2014/main" id="{F5F0B9C6-0C73-4BE7-B0D5-47F92ED87BAE}"/>
                </a:ext>
              </a:extLst>
            </p:cNvPr>
            <p:cNvSpPr>
              <a:spLocks noEditPoints="1"/>
            </p:cNvSpPr>
            <p:nvPr/>
          </p:nvSpPr>
          <p:spPr bwMode="auto">
            <a:xfrm>
              <a:off x="5794375" y="5470525"/>
              <a:ext cx="209550" cy="209550"/>
            </a:xfrm>
            <a:custGeom>
              <a:avLst/>
              <a:gdLst>
                <a:gd name="T0" fmla="*/ 213 w 265"/>
                <a:gd name="T1" fmla="*/ 185 h 265"/>
                <a:gd name="T2" fmla="*/ 171 w 265"/>
                <a:gd name="T3" fmla="*/ 160 h 265"/>
                <a:gd name="T4" fmla="*/ 176 w 265"/>
                <a:gd name="T5" fmla="*/ 146 h 265"/>
                <a:gd name="T6" fmla="*/ 188 w 265"/>
                <a:gd name="T7" fmla="*/ 119 h 265"/>
                <a:gd name="T8" fmla="*/ 196 w 265"/>
                <a:gd name="T9" fmla="*/ 110 h 265"/>
                <a:gd name="T10" fmla="*/ 198 w 265"/>
                <a:gd name="T11" fmla="*/ 99 h 265"/>
                <a:gd name="T12" fmla="*/ 193 w 265"/>
                <a:gd name="T13" fmla="*/ 58 h 265"/>
                <a:gd name="T14" fmla="*/ 190 w 265"/>
                <a:gd name="T15" fmla="*/ 33 h 265"/>
                <a:gd name="T16" fmla="*/ 169 w 265"/>
                <a:gd name="T17" fmla="*/ 10 h 265"/>
                <a:gd name="T18" fmla="*/ 133 w 265"/>
                <a:gd name="T19" fmla="*/ 0 h 265"/>
                <a:gd name="T20" fmla="*/ 107 w 265"/>
                <a:gd name="T21" fmla="*/ 5 h 265"/>
                <a:gd name="T22" fmla="*/ 82 w 265"/>
                <a:gd name="T23" fmla="*/ 24 h 265"/>
                <a:gd name="T24" fmla="*/ 72 w 265"/>
                <a:gd name="T25" fmla="*/ 58 h 265"/>
                <a:gd name="T26" fmla="*/ 69 w 265"/>
                <a:gd name="T27" fmla="*/ 91 h 265"/>
                <a:gd name="T28" fmla="*/ 68 w 265"/>
                <a:gd name="T29" fmla="*/ 105 h 265"/>
                <a:gd name="T30" fmla="*/ 77 w 265"/>
                <a:gd name="T31" fmla="*/ 119 h 265"/>
                <a:gd name="T32" fmla="*/ 85 w 265"/>
                <a:gd name="T33" fmla="*/ 138 h 265"/>
                <a:gd name="T34" fmla="*/ 94 w 265"/>
                <a:gd name="T35" fmla="*/ 160 h 265"/>
                <a:gd name="T36" fmla="*/ 79 w 265"/>
                <a:gd name="T37" fmla="*/ 173 h 265"/>
                <a:gd name="T38" fmla="*/ 11 w 265"/>
                <a:gd name="T39" fmla="*/ 202 h 265"/>
                <a:gd name="T40" fmla="*/ 2 w 265"/>
                <a:gd name="T41" fmla="*/ 213 h 265"/>
                <a:gd name="T42" fmla="*/ 0 w 265"/>
                <a:gd name="T43" fmla="*/ 249 h 265"/>
                <a:gd name="T44" fmla="*/ 11 w 265"/>
                <a:gd name="T45" fmla="*/ 263 h 265"/>
                <a:gd name="T46" fmla="*/ 249 w 265"/>
                <a:gd name="T47" fmla="*/ 265 h 265"/>
                <a:gd name="T48" fmla="*/ 263 w 265"/>
                <a:gd name="T49" fmla="*/ 256 h 265"/>
                <a:gd name="T50" fmla="*/ 265 w 265"/>
                <a:gd name="T51" fmla="*/ 218 h 265"/>
                <a:gd name="T52" fmla="*/ 259 w 265"/>
                <a:gd name="T53" fmla="*/ 205 h 265"/>
                <a:gd name="T54" fmla="*/ 251 w 265"/>
                <a:gd name="T55" fmla="*/ 249 h 265"/>
                <a:gd name="T56" fmla="*/ 17 w 265"/>
                <a:gd name="T57" fmla="*/ 251 h 265"/>
                <a:gd name="T58" fmla="*/ 16 w 265"/>
                <a:gd name="T59" fmla="*/ 218 h 265"/>
                <a:gd name="T60" fmla="*/ 16 w 265"/>
                <a:gd name="T61" fmla="*/ 216 h 265"/>
                <a:gd name="T62" fmla="*/ 99 w 265"/>
                <a:gd name="T63" fmla="*/ 177 h 265"/>
                <a:gd name="T64" fmla="*/ 110 w 265"/>
                <a:gd name="T65" fmla="*/ 165 h 265"/>
                <a:gd name="T66" fmla="*/ 110 w 265"/>
                <a:gd name="T67" fmla="*/ 149 h 265"/>
                <a:gd name="T68" fmla="*/ 107 w 265"/>
                <a:gd name="T69" fmla="*/ 144 h 265"/>
                <a:gd name="T70" fmla="*/ 97 w 265"/>
                <a:gd name="T71" fmla="*/ 130 h 265"/>
                <a:gd name="T72" fmla="*/ 91 w 265"/>
                <a:gd name="T73" fmla="*/ 113 h 265"/>
                <a:gd name="T74" fmla="*/ 83 w 265"/>
                <a:gd name="T75" fmla="*/ 105 h 265"/>
                <a:gd name="T76" fmla="*/ 83 w 265"/>
                <a:gd name="T77" fmla="*/ 94 h 265"/>
                <a:gd name="T78" fmla="*/ 86 w 265"/>
                <a:gd name="T79" fmla="*/ 86 h 265"/>
                <a:gd name="T80" fmla="*/ 88 w 265"/>
                <a:gd name="T81" fmla="*/ 47 h 265"/>
                <a:gd name="T82" fmla="*/ 99 w 265"/>
                <a:gd name="T83" fmla="*/ 27 h 265"/>
                <a:gd name="T84" fmla="*/ 122 w 265"/>
                <a:gd name="T85" fmla="*/ 16 h 265"/>
                <a:gd name="T86" fmla="*/ 143 w 265"/>
                <a:gd name="T87" fmla="*/ 16 h 265"/>
                <a:gd name="T88" fmla="*/ 168 w 265"/>
                <a:gd name="T89" fmla="*/ 27 h 265"/>
                <a:gd name="T90" fmla="*/ 179 w 265"/>
                <a:gd name="T91" fmla="*/ 47 h 265"/>
                <a:gd name="T92" fmla="*/ 179 w 265"/>
                <a:gd name="T93" fmla="*/ 86 h 265"/>
                <a:gd name="T94" fmla="*/ 182 w 265"/>
                <a:gd name="T95" fmla="*/ 94 h 265"/>
                <a:gd name="T96" fmla="*/ 182 w 265"/>
                <a:gd name="T97" fmla="*/ 105 h 265"/>
                <a:gd name="T98" fmla="*/ 176 w 265"/>
                <a:gd name="T99" fmla="*/ 113 h 265"/>
                <a:gd name="T100" fmla="*/ 168 w 265"/>
                <a:gd name="T101" fmla="*/ 130 h 265"/>
                <a:gd name="T102" fmla="*/ 158 w 265"/>
                <a:gd name="T103" fmla="*/ 144 h 265"/>
                <a:gd name="T104" fmla="*/ 155 w 265"/>
                <a:gd name="T105" fmla="*/ 162 h 265"/>
                <a:gd name="T106" fmla="*/ 157 w 265"/>
                <a:gd name="T107" fmla="*/ 165 h 265"/>
                <a:gd name="T108" fmla="*/ 166 w 265"/>
                <a:gd name="T109" fmla="*/ 177 h 265"/>
                <a:gd name="T110" fmla="*/ 249 w 265"/>
                <a:gd name="T111" fmla="*/ 216 h 265"/>
                <a:gd name="T112" fmla="*/ 251 w 265"/>
                <a:gd name="T113" fmla="*/ 249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5" h="265">
                  <a:moveTo>
                    <a:pt x="254" y="202"/>
                  </a:moveTo>
                  <a:lnTo>
                    <a:pt x="254" y="202"/>
                  </a:lnTo>
                  <a:lnTo>
                    <a:pt x="213" y="185"/>
                  </a:lnTo>
                  <a:lnTo>
                    <a:pt x="188" y="173"/>
                  </a:lnTo>
                  <a:lnTo>
                    <a:pt x="176" y="165"/>
                  </a:lnTo>
                  <a:lnTo>
                    <a:pt x="171" y="160"/>
                  </a:lnTo>
                  <a:lnTo>
                    <a:pt x="171" y="152"/>
                  </a:lnTo>
                  <a:lnTo>
                    <a:pt x="171" y="152"/>
                  </a:lnTo>
                  <a:lnTo>
                    <a:pt x="176" y="146"/>
                  </a:lnTo>
                  <a:lnTo>
                    <a:pt x="180" y="138"/>
                  </a:lnTo>
                  <a:lnTo>
                    <a:pt x="185" y="129"/>
                  </a:lnTo>
                  <a:lnTo>
                    <a:pt x="188" y="119"/>
                  </a:lnTo>
                  <a:lnTo>
                    <a:pt x="188" y="119"/>
                  </a:lnTo>
                  <a:lnTo>
                    <a:pt x="193" y="115"/>
                  </a:lnTo>
                  <a:lnTo>
                    <a:pt x="196" y="110"/>
                  </a:lnTo>
                  <a:lnTo>
                    <a:pt x="198" y="105"/>
                  </a:lnTo>
                  <a:lnTo>
                    <a:pt x="198" y="99"/>
                  </a:lnTo>
                  <a:lnTo>
                    <a:pt x="198" y="99"/>
                  </a:lnTo>
                  <a:lnTo>
                    <a:pt x="198" y="91"/>
                  </a:lnTo>
                  <a:lnTo>
                    <a:pt x="193" y="83"/>
                  </a:lnTo>
                  <a:lnTo>
                    <a:pt x="193" y="58"/>
                  </a:lnTo>
                  <a:lnTo>
                    <a:pt x="193" y="58"/>
                  </a:lnTo>
                  <a:lnTo>
                    <a:pt x="193" y="44"/>
                  </a:lnTo>
                  <a:lnTo>
                    <a:pt x="190" y="33"/>
                  </a:lnTo>
                  <a:lnTo>
                    <a:pt x="185" y="24"/>
                  </a:lnTo>
                  <a:lnTo>
                    <a:pt x="177" y="16"/>
                  </a:lnTo>
                  <a:lnTo>
                    <a:pt x="169" y="10"/>
                  </a:lnTo>
                  <a:lnTo>
                    <a:pt x="158" y="5"/>
                  </a:lnTo>
                  <a:lnTo>
                    <a:pt x="146" y="2"/>
                  </a:lnTo>
                  <a:lnTo>
                    <a:pt x="133" y="0"/>
                  </a:lnTo>
                  <a:lnTo>
                    <a:pt x="133" y="0"/>
                  </a:lnTo>
                  <a:lnTo>
                    <a:pt x="119" y="2"/>
                  </a:lnTo>
                  <a:lnTo>
                    <a:pt x="107" y="5"/>
                  </a:lnTo>
                  <a:lnTo>
                    <a:pt x="97" y="10"/>
                  </a:lnTo>
                  <a:lnTo>
                    <a:pt x="88" y="16"/>
                  </a:lnTo>
                  <a:lnTo>
                    <a:pt x="82" y="24"/>
                  </a:lnTo>
                  <a:lnTo>
                    <a:pt x="77" y="33"/>
                  </a:lnTo>
                  <a:lnTo>
                    <a:pt x="74" y="46"/>
                  </a:lnTo>
                  <a:lnTo>
                    <a:pt x="72" y="58"/>
                  </a:lnTo>
                  <a:lnTo>
                    <a:pt x="72" y="83"/>
                  </a:lnTo>
                  <a:lnTo>
                    <a:pt x="72" y="83"/>
                  </a:lnTo>
                  <a:lnTo>
                    <a:pt x="69" y="91"/>
                  </a:lnTo>
                  <a:lnTo>
                    <a:pt x="68" y="99"/>
                  </a:lnTo>
                  <a:lnTo>
                    <a:pt x="68" y="99"/>
                  </a:lnTo>
                  <a:lnTo>
                    <a:pt x="68" y="105"/>
                  </a:lnTo>
                  <a:lnTo>
                    <a:pt x="71" y="110"/>
                  </a:lnTo>
                  <a:lnTo>
                    <a:pt x="72" y="115"/>
                  </a:lnTo>
                  <a:lnTo>
                    <a:pt x="77" y="119"/>
                  </a:lnTo>
                  <a:lnTo>
                    <a:pt x="77" y="119"/>
                  </a:lnTo>
                  <a:lnTo>
                    <a:pt x="80" y="129"/>
                  </a:lnTo>
                  <a:lnTo>
                    <a:pt x="85" y="138"/>
                  </a:lnTo>
                  <a:lnTo>
                    <a:pt x="90" y="146"/>
                  </a:lnTo>
                  <a:lnTo>
                    <a:pt x="94" y="152"/>
                  </a:lnTo>
                  <a:lnTo>
                    <a:pt x="94" y="160"/>
                  </a:lnTo>
                  <a:lnTo>
                    <a:pt x="94" y="160"/>
                  </a:lnTo>
                  <a:lnTo>
                    <a:pt x="91" y="165"/>
                  </a:lnTo>
                  <a:lnTo>
                    <a:pt x="79" y="173"/>
                  </a:lnTo>
                  <a:lnTo>
                    <a:pt x="54" y="185"/>
                  </a:lnTo>
                  <a:lnTo>
                    <a:pt x="11" y="202"/>
                  </a:lnTo>
                  <a:lnTo>
                    <a:pt x="11" y="202"/>
                  </a:lnTo>
                  <a:lnTo>
                    <a:pt x="7" y="205"/>
                  </a:lnTo>
                  <a:lnTo>
                    <a:pt x="3" y="209"/>
                  </a:lnTo>
                  <a:lnTo>
                    <a:pt x="2" y="213"/>
                  </a:lnTo>
                  <a:lnTo>
                    <a:pt x="0" y="218"/>
                  </a:lnTo>
                  <a:lnTo>
                    <a:pt x="0" y="249"/>
                  </a:lnTo>
                  <a:lnTo>
                    <a:pt x="0" y="249"/>
                  </a:lnTo>
                  <a:lnTo>
                    <a:pt x="2" y="256"/>
                  </a:lnTo>
                  <a:lnTo>
                    <a:pt x="5" y="260"/>
                  </a:lnTo>
                  <a:lnTo>
                    <a:pt x="11" y="263"/>
                  </a:lnTo>
                  <a:lnTo>
                    <a:pt x="17" y="265"/>
                  </a:lnTo>
                  <a:lnTo>
                    <a:pt x="249" y="265"/>
                  </a:lnTo>
                  <a:lnTo>
                    <a:pt x="249" y="265"/>
                  </a:lnTo>
                  <a:lnTo>
                    <a:pt x="256" y="263"/>
                  </a:lnTo>
                  <a:lnTo>
                    <a:pt x="260" y="260"/>
                  </a:lnTo>
                  <a:lnTo>
                    <a:pt x="263" y="256"/>
                  </a:lnTo>
                  <a:lnTo>
                    <a:pt x="265" y="249"/>
                  </a:lnTo>
                  <a:lnTo>
                    <a:pt x="265" y="218"/>
                  </a:lnTo>
                  <a:lnTo>
                    <a:pt x="265" y="218"/>
                  </a:lnTo>
                  <a:lnTo>
                    <a:pt x="265" y="213"/>
                  </a:lnTo>
                  <a:lnTo>
                    <a:pt x="262" y="209"/>
                  </a:lnTo>
                  <a:lnTo>
                    <a:pt x="259" y="205"/>
                  </a:lnTo>
                  <a:lnTo>
                    <a:pt x="254" y="202"/>
                  </a:lnTo>
                  <a:lnTo>
                    <a:pt x="254" y="202"/>
                  </a:lnTo>
                  <a:close/>
                  <a:moveTo>
                    <a:pt x="251" y="249"/>
                  </a:moveTo>
                  <a:lnTo>
                    <a:pt x="251" y="249"/>
                  </a:lnTo>
                  <a:lnTo>
                    <a:pt x="249" y="251"/>
                  </a:lnTo>
                  <a:lnTo>
                    <a:pt x="17" y="251"/>
                  </a:lnTo>
                  <a:lnTo>
                    <a:pt x="17" y="251"/>
                  </a:lnTo>
                  <a:lnTo>
                    <a:pt x="16" y="249"/>
                  </a:lnTo>
                  <a:lnTo>
                    <a:pt x="16" y="218"/>
                  </a:lnTo>
                  <a:lnTo>
                    <a:pt x="16" y="218"/>
                  </a:lnTo>
                  <a:lnTo>
                    <a:pt x="16" y="216"/>
                  </a:lnTo>
                  <a:lnTo>
                    <a:pt x="16" y="216"/>
                  </a:lnTo>
                  <a:lnTo>
                    <a:pt x="63" y="196"/>
                  </a:lnTo>
                  <a:lnTo>
                    <a:pt x="91" y="182"/>
                  </a:lnTo>
                  <a:lnTo>
                    <a:pt x="99" y="177"/>
                  </a:lnTo>
                  <a:lnTo>
                    <a:pt x="104" y="173"/>
                  </a:lnTo>
                  <a:lnTo>
                    <a:pt x="108" y="168"/>
                  </a:lnTo>
                  <a:lnTo>
                    <a:pt x="110" y="165"/>
                  </a:lnTo>
                  <a:lnTo>
                    <a:pt x="110" y="165"/>
                  </a:lnTo>
                  <a:lnTo>
                    <a:pt x="110" y="162"/>
                  </a:lnTo>
                  <a:lnTo>
                    <a:pt x="110" y="149"/>
                  </a:lnTo>
                  <a:lnTo>
                    <a:pt x="110" y="149"/>
                  </a:lnTo>
                  <a:lnTo>
                    <a:pt x="108" y="147"/>
                  </a:lnTo>
                  <a:lnTo>
                    <a:pt x="107" y="144"/>
                  </a:lnTo>
                  <a:lnTo>
                    <a:pt x="107" y="144"/>
                  </a:lnTo>
                  <a:lnTo>
                    <a:pt x="102" y="138"/>
                  </a:lnTo>
                  <a:lnTo>
                    <a:pt x="97" y="130"/>
                  </a:lnTo>
                  <a:lnTo>
                    <a:pt x="94" y="122"/>
                  </a:lnTo>
                  <a:lnTo>
                    <a:pt x="91" y="113"/>
                  </a:lnTo>
                  <a:lnTo>
                    <a:pt x="91" y="113"/>
                  </a:lnTo>
                  <a:lnTo>
                    <a:pt x="88" y="110"/>
                  </a:lnTo>
                  <a:lnTo>
                    <a:pt x="88" y="110"/>
                  </a:lnTo>
                  <a:lnTo>
                    <a:pt x="83" y="105"/>
                  </a:lnTo>
                  <a:lnTo>
                    <a:pt x="82" y="99"/>
                  </a:lnTo>
                  <a:lnTo>
                    <a:pt x="82" y="99"/>
                  </a:lnTo>
                  <a:lnTo>
                    <a:pt x="83" y="94"/>
                  </a:lnTo>
                  <a:lnTo>
                    <a:pt x="85" y="91"/>
                  </a:lnTo>
                  <a:lnTo>
                    <a:pt x="85" y="91"/>
                  </a:lnTo>
                  <a:lnTo>
                    <a:pt x="86" y="86"/>
                  </a:lnTo>
                  <a:lnTo>
                    <a:pt x="86" y="58"/>
                  </a:lnTo>
                  <a:lnTo>
                    <a:pt x="86" y="58"/>
                  </a:lnTo>
                  <a:lnTo>
                    <a:pt x="88" y="47"/>
                  </a:lnTo>
                  <a:lnTo>
                    <a:pt x="90" y="39"/>
                  </a:lnTo>
                  <a:lnTo>
                    <a:pt x="94" y="32"/>
                  </a:lnTo>
                  <a:lnTo>
                    <a:pt x="99" y="27"/>
                  </a:lnTo>
                  <a:lnTo>
                    <a:pt x="105" y="22"/>
                  </a:lnTo>
                  <a:lnTo>
                    <a:pt x="113" y="19"/>
                  </a:lnTo>
                  <a:lnTo>
                    <a:pt x="122" y="16"/>
                  </a:lnTo>
                  <a:lnTo>
                    <a:pt x="133" y="16"/>
                  </a:lnTo>
                  <a:lnTo>
                    <a:pt x="133" y="16"/>
                  </a:lnTo>
                  <a:lnTo>
                    <a:pt x="143" y="16"/>
                  </a:lnTo>
                  <a:lnTo>
                    <a:pt x="152" y="19"/>
                  </a:lnTo>
                  <a:lnTo>
                    <a:pt x="160" y="22"/>
                  </a:lnTo>
                  <a:lnTo>
                    <a:pt x="168" y="27"/>
                  </a:lnTo>
                  <a:lnTo>
                    <a:pt x="173" y="32"/>
                  </a:lnTo>
                  <a:lnTo>
                    <a:pt x="176" y="39"/>
                  </a:lnTo>
                  <a:lnTo>
                    <a:pt x="179" y="47"/>
                  </a:lnTo>
                  <a:lnTo>
                    <a:pt x="179" y="58"/>
                  </a:lnTo>
                  <a:lnTo>
                    <a:pt x="179" y="86"/>
                  </a:lnTo>
                  <a:lnTo>
                    <a:pt x="179" y="86"/>
                  </a:lnTo>
                  <a:lnTo>
                    <a:pt x="180" y="91"/>
                  </a:lnTo>
                  <a:lnTo>
                    <a:pt x="180" y="91"/>
                  </a:lnTo>
                  <a:lnTo>
                    <a:pt x="182" y="94"/>
                  </a:lnTo>
                  <a:lnTo>
                    <a:pt x="184" y="99"/>
                  </a:lnTo>
                  <a:lnTo>
                    <a:pt x="184" y="99"/>
                  </a:lnTo>
                  <a:lnTo>
                    <a:pt x="182" y="105"/>
                  </a:lnTo>
                  <a:lnTo>
                    <a:pt x="177" y="110"/>
                  </a:lnTo>
                  <a:lnTo>
                    <a:pt x="177" y="110"/>
                  </a:lnTo>
                  <a:lnTo>
                    <a:pt x="176" y="113"/>
                  </a:lnTo>
                  <a:lnTo>
                    <a:pt x="176" y="113"/>
                  </a:lnTo>
                  <a:lnTo>
                    <a:pt x="173" y="122"/>
                  </a:lnTo>
                  <a:lnTo>
                    <a:pt x="168" y="130"/>
                  </a:lnTo>
                  <a:lnTo>
                    <a:pt x="163" y="138"/>
                  </a:lnTo>
                  <a:lnTo>
                    <a:pt x="158" y="144"/>
                  </a:lnTo>
                  <a:lnTo>
                    <a:pt x="158" y="144"/>
                  </a:lnTo>
                  <a:lnTo>
                    <a:pt x="157" y="147"/>
                  </a:lnTo>
                  <a:lnTo>
                    <a:pt x="155" y="149"/>
                  </a:lnTo>
                  <a:lnTo>
                    <a:pt x="155" y="162"/>
                  </a:lnTo>
                  <a:lnTo>
                    <a:pt x="155" y="162"/>
                  </a:lnTo>
                  <a:lnTo>
                    <a:pt x="157" y="165"/>
                  </a:lnTo>
                  <a:lnTo>
                    <a:pt x="157" y="165"/>
                  </a:lnTo>
                  <a:lnTo>
                    <a:pt x="158" y="168"/>
                  </a:lnTo>
                  <a:lnTo>
                    <a:pt x="162" y="173"/>
                  </a:lnTo>
                  <a:lnTo>
                    <a:pt x="166" y="177"/>
                  </a:lnTo>
                  <a:lnTo>
                    <a:pt x="176" y="182"/>
                  </a:lnTo>
                  <a:lnTo>
                    <a:pt x="202" y="196"/>
                  </a:lnTo>
                  <a:lnTo>
                    <a:pt x="249" y="216"/>
                  </a:lnTo>
                  <a:lnTo>
                    <a:pt x="249" y="216"/>
                  </a:lnTo>
                  <a:lnTo>
                    <a:pt x="251" y="218"/>
                  </a:lnTo>
                  <a:lnTo>
                    <a:pt x="251" y="2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36">
              <a:extLst>
                <a:ext uri="{FF2B5EF4-FFF2-40B4-BE49-F238E27FC236}">
                  <a16:creationId xmlns:a16="http://schemas.microsoft.com/office/drawing/2014/main" id="{8371D132-5885-4EEF-8404-279B88A258B5}"/>
                </a:ext>
              </a:extLst>
            </p:cNvPr>
            <p:cNvSpPr>
              <a:spLocks/>
            </p:cNvSpPr>
            <p:nvPr/>
          </p:nvSpPr>
          <p:spPr bwMode="auto">
            <a:xfrm>
              <a:off x="5951538" y="5483225"/>
              <a:ext cx="130175" cy="196850"/>
            </a:xfrm>
            <a:custGeom>
              <a:avLst/>
              <a:gdLst>
                <a:gd name="T0" fmla="*/ 143 w 165"/>
                <a:gd name="T1" fmla="*/ 184 h 248"/>
                <a:gd name="T2" fmla="*/ 105 w 165"/>
                <a:gd name="T3" fmla="*/ 176 h 248"/>
                <a:gd name="T4" fmla="*/ 78 w 165"/>
                <a:gd name="T5" fmla="*/ 162 h 248"/>
                <a:gd name="T6" fmla="*/ 100 w 165"/>
                <a:gd name="T7" fmla="*/ 159 h 248"/>
                <a:gd name="T8" fmla="*/ 127 w 165"/>
                <a:gd name="T9" fmla="*/ 148 h 248"/>
                <a:gd name="T10" fmla="*/ 130 w 165"/>
                <a:gd name="T11" fmla="*/ 141 h 248"/>
                <a:gd name="T12" fmla="*/ 125 w 165"/>
                <a:gd name="T13" fmla="*/ 135 h 248"/>
                <a:gd name="T14" fmla="*/ 121 w 165"/>
                <a:gd name="T15" fmla="*/ 127 h 248"/>
                <a:gd name="T16" fmla="*/ 110 w 165"/>
                <a:gd name="T17" fmla="*/ 71 h 248"/>
                <a:gd name="T18" fmla="*/ 104 w 165"/>
                <a:gd name="T19" fmla="*/ 43 h 248"/>
                <a:gd name="T20" fmla="*/ 86 w 165"/>
                <a:gd name="T21" fmla="*/ 19 h 248"/>
                <a:gd name="T22" fmla="*/ 64 w 165"/>
                <a:gd name="T23" fmla="*/ 5 h 248"/>
                <a:gd name="T24" fmla="*/ 41 w 165"/>
                <a:gd name="T25" fmla="*/ 0 h 248"/>
                <a:gd name="T26" fmla="*/ 19 w 165"/>
                <a:gd name="T27" fmla="*/ 5 h 248"/>
                <a:gd name="T28" fmla="*/ 2 w 165"/>
                <a:gd name="T29" fmla="*/ 15 h 248"/>
                <a:gd name="T30" fmla="*/ 0 w 165"/>
                <a:gd name="T31" fmla="*/ 21 h 248"/>
                <a:gd name="T32" fmla="*/ 3 w 165"/>
                <a:gd name="T33" fmla="*/ 26 h 248"/>
                <a:gd name="T34" fmla="*/ 11 w 165"/>
                <a:gd name="T35" fmla="*/ 26 h 248"/>
                <a:gd name="T36" fmla="*/ 24 w 165"/>
                <a:gd name="T37" fmla="*/ 19 h 248"/>
                <a:gd name="T38" fmla="*/ 41 w 165"/>
                <a:gd name="T39" fmla="*/ 16 h 248"/>
                <a:gd name="T40" fmla="*/ 60 w 165"/>
                <a:gd name="T41" fmla="*/ 19 h 248"/>
                <a:gd name="T42" fmla="*/ 75 w 165"/>
                <a:gd name="T43" fmla="*/ 29 h 248"/>
                <a:gd name="T44" fmla="*/ 85 w 165"/>
                <a:gd name="T45" fmla="*/ 38 h 248"/>
                <a:gd name="T46" fmla="*/ 94 w 165"/>
                <a:gd name="T47" fmla="*/ 73 h 248"/>
                <a:gd name="T48" fmla="*/ 99 w 165"/>
                <a:gd name="T49" fmla="*/ 104 h 248"/>
                <a:gd name="T50" fmla="*/ 111 w 165"/>
                <a:gd name="T51" fmla="*/ 140 h 248"/>
                <a:gd name="T52" fmla="*/ 85 w 165"/>
                <a:gd name="T53" fmla="*/ 146 h 248"/>
                <a:gd name="T54" fmla="*/ 68 w 165"/>
                <a:gd name="T55" fmla="*/ 148 h 248"/>
                <a:gd name="T56" fmla="*/ 63 w 165"/>
                <a:gd name="T57" fmla="*/ 154 h 248"/>
                <a:gd name="T58" fmla="*/ 63 w 165"/>
                <a:gd name="T59" fmla="*/ 173 h 248"/>
                <a:gd name="T60" fmla="*/ 68 w 165"/>
                <a:gd name="T61" fmla="*/ 179 h 248"/>
                <a:gd name="T62" fmla="*/ 102 w 165"/>
                <a:gd name="T63" fmla="*/ 190 h 248"/>
                <a:gd name="T64" fmla="*/ 138 w 165"/>
                <a:gd name="T65" fmla="*/ 198 h 248"/>
                <a:gd name="T66" fmla="*/ 151 w 165"/>
                <a:gd name="T67" fmla="*/ 204 h 248"/>
                <a:gd name="T68" fmla="*/ 151 w 165"/>
                <a:gd name="T69" fmla="*/ 234 h 248"/>
                <a:gd name="T70" fmla="*/ 85 w 165"/>
                <a:gd name="T71" fmla="*/ 234 h 248"/>
                <a:gd name="T72" fmla="*/ 80 w 165"/>
                <a:gd name="T73" fmla="*/ 242 h 248"/>
                <a:gd name="T74" fmla="*/ 82 w 165"/>
                <a:gd name="T75" fmla="*/ 246 h 248"/>
                <a:gd name="T76" fmla="*/ 151 w 165"/>
                <a:gd name="T77" fmla="*/ 248 h 248"/>
                <a:gd name="T78" fmla="*/ 162 w 165"/>
                <a:gd name="T79" fmla="*/ 243 h 248"/>
                <a:gd name="T80" fmla="*/ 165 w 165"/>
                <a:gd name="T81" fmla="*/ 204 h 248"/>
                <a:gd name="T82" fmla="*/ 163 w 165"/>
                <a:gd name="T83" fmla="*/ 195 h 248"/>
                <a:gd name="T84" fmla="*/ 155 w 165"/>
                <a:gd name="T85" fmla="*/ 18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5" h="248">
                  <a:moveTo>
                    <a:pt x="155" y="188"/>
                  </a:moveTo>
                  <a:lnTo>
                    <a:pt x="155" y="188"/>
                  </a:lnTo>
                  <a:lnTo>
                    <a:pt x="143" y="184"/>
                  </a:lnTo>
                  <a:lnTo>
                    <a:pt x="129" y="181"/>
                  </a:lnTo>
                  <a:lnTo>
                    <a:pt x="105" y="176"/>
                  </a:lnTo>
                  <a:lnTo>
                    <a:pt x="105" y="176"/>
                  </a:lnTo>
                  <a:lnTo>
                    <a:pt x="88" y="173"/>
                  </a:lnTo>
                  <a:lnTo>
                    <a:pt x="78" y="170"/>
                  </a:lnTo>
                  <a:lnTo>
                    <a:pt x="78" y="162"/>
                  </a:lnTo>
                  <a:lnTo>
                    <a:pt x="78" y="162"/>
                  </a:lnTo>
                  <a:lnTo>
                    <a:pt x="89" y="160"/>
                  </a:lnTo>
                  <a:lnTo>
                    <a:pt x="100" y="159"/>
                  </a:lnTo>
                  <a:lnTo>
                    <a:pt x="115" y="154"/>
                  </a:lnTo>
                  <a:lnTo>
                    <a:pt x="124" y="149"/>
                  </a:lnTo>
                  <a:lnTo>
                    <a:pt x="127" y="148"/>
                  </a:lnTo>
                  <a:lnTo>
                    <a:pt x="127" y="148"/>
                  </a:lnTo>
                  <a:lnTo>
                    <a:pt x="129" y="145"/>
                  </a:lnTo>
                  <a:lnTo>
                    <a:pt x="130" y="141"/>
                  </a:lnTo>
                  <a:lnTo>
                    <a:pt x="130" y="141"/>
                  </a:lnTo>
                  <a:lnTo>
                    <a:pt x="129" y="138"/>
                  </a:lnTo>
                  <a:lnTo>
                    <a:pt x="125" y="135"/>
                  </a:lnTo>
                  <a:lnTo>
                    <a:pt x="125" y="135"/>
                  </a:lnTo>
                  <a:lnTo>
                    <a:pt x="124" y="132"/>
                  </a:lnTo>
                  <a:lnTo>
                    <a:pt x="121" y="127"/>
                  </a:lnTo>
                  <a:lnTo>
                    <a:pt x="116" y="112"/>
                  </a:lnTo>
                  <a:lnTo>
                    <a:pt x="111" y="93"/>
                  </a:lnTo>
                  <a:lnTo>
                    <a:pt x="110" y="71"/>
                  </a:lnTo>
                  <a:lnTo>
                    <a:pt x="110" y="71"/>
                  </a:lnTo>
                  <a:lnTo>
                    <a:pt x="108" y="57"/>
                  </a:lnTo>
                  <a:lnTo>
                    <a:pt x="104" y="43"/>
                  </a:lnTo>
                  <a:lnTo>
                    <a:pt x="96" y="30"/>
                  </a:lnTo>
                  <a:lnTo>
                    <a:pt x="86" y="19"/>
                  </a:lnTo>
                  <a:lnTo>
                    <a:pt x="86" y="19"/>
                  </a:lnTo>
                  <a:lnTo>
                    <a:pt x="82" y="15"/>
                  </a:lnTo>
                  <a:lnTo>
                    <a:pt x="77" y="10"/>
                  </a:lnTo>
                  <a:lnTo>
                    <a:pt x="64" y="5"/>
                  </a:lnTo>
                  <a:lnTo>
                    <a:pt x="64" y="5"/>
                  </a:lnTo>
                  <a:lnTo>
                    <a:pt x="53" y="2"/>
                  </a:lnTo>
                  <a:lnTo>
                    <a:pt x="41" y="0"/>
                  </a:lnTo>
                  <a:lnTo>
                    <a:pt x="30" y="2"/>
                  </a:lnTo>
                  <a:lnTo>
                    <a:pt x="19" y="5"/>
                  </a:lnTo>
                  <a:lnTo>
                    <a:pt x="19" y="5"/>
                  </a:lnTo>
                  <a:lnTo>
                    <a:pt x="10" y="8"/>
                  </a:lnTo>
                  <a:lnTo>
                    <a:pt x="2" y="15"/>
                  </a:lnTo>
                  <a:lnTo>
                    <a:pt x="2" y="15"/>
                  </a:lnTo>
                  <a:lnTo>
                    <a:pt x="0" y="16"/>
                  </a:lnTo>
                  <a:lnTo>
                    <a:pt x="0" y="19"/>
                  </a:lnTo>
                  <a:lnTo>
                    <a:pt x="0" y="21"/>
                  </a:lnTo>
                  <a:lnTo>
                    <a:pt x="2" y="24"/>
                  </a:lnTo>
                  <a:lnTo>
                    <a:pt x="2" y="24"/>
                  </a:lnTo>
                  <a:lnTo>
                    <a:pt x="3" y="26"/>
                  </a:lnTo>
                  <a:lnTo>
                    <a:pt x="6" y="27"/>
                  </a:lnTo>
                  <a:lnTo>
                    <a:pt x="10" y="27"/>
                  </a:lnTo>
                  <a:lnTo>
                    <a:pt x="11" y="26"/>
                  </a:lnTo>
                  <a:lnTo>
                    <a:pt x="11" y="26"/>
                  </a:lnTo>
                  <a:lnTo>
                    <a:pt x="17" y="22"/>
                  </a:lnTo>
                  <a:lnTo>
                    <a:pt x="24" y="19"/>
                  </a:lnTo>
                  <a:lnTo>
                    <a:pt x="24" y="19"/>
                  </a:lnTo>
                  <a:lnTo>
                    <a:pt x="33" y="16"/>
                  </a:lnTo>
                  <a:lnTo>
                    <a:pt x="41" y="16"/>
                  </a:lnTo>
                  <a:lnTo>
                    <a:pt x="50" y="16"/>
                  </a:lnTo>
                  <a:lnTo>
                    <a:pt x="60" y="19"/>
                  </a:lnTo>
                  <a:lnTo>
                    <a:pt x="60" y="19"/>
                  </a:lnTo>
                  <a:lnTo>
                    <a:pt x="69" y="22"/>
                  </a:lnTo>
                  <a:lnTo>
                    <a:pt x="75" y="29"/>
                  </a:lnTo>
                  <a:lnTo>
                    <a:pt x="75" y="29"/>
                  </a:lnTo>
                  <a:lnTo>
                    <a:pt x="77" y="29"/>
                  </a:lnTo>
                  <a:lnTo>
                    <a:pt x="77" y="29"/>
                  </a:lnTo>
                  <a:lnTo>
                    <a:pt x="85" y="38"/>
                  </a:lnTo>
                  <a:lnTo>
                    <a:pt x="89" y="47"/>
                  </a:lnTo>
                  <a:lnTo>
                    <a:pt x="94" y="60"/>
                  </a:lnTo>
                  <a:lnTo>
                    <a:pt x="94" y="73"/>
                  </a:lnTo>
                  <a:lnTo>
                    <a:pt x="94" y="73"/>
                  </a:lnTo>
                  <a:lnTo>
                    <a:pt x="96" y="85"/>
                  </a:lnTo>
                  <a:lnTo>
                    <a:pt x="99" y="104"/>
                  </a:lnTo>
                  <a:lnTo>
                    <a:pt x="104" y="123"/>
                  </a:lnTo>
                  <a:lnTo>
                    <a:pt x="107" y="132"/>
                  </a:lnTo>
                  <a:lnTo>
                    <a:pt x="111" y="140"/>
                  </a:lnTo>
                  <a:lnTo>
                    <a:pt x="111" y="140"/>
                  </a:lnTo>
                  <a:lnTo>
                    <a:pt x="96" y="145"/>
                  </a:lnTo>
                  <a:lnTo>
                    <a:pt x="85" y="146"/>
                  </a:lnTo>
                  <a:lnTo>
                    <a:pt x="71" y="146"/>
                  </a:lnTo>
                  <a:lnTo>
                    <a:pt x="71" y="146"/>
                  </a:lnTo>
                  <a:lnTo>
                    <a:pt x="68" y="148"/>
                  </a:lnTo>
                  <a:lnTo>
                    <a:pt x="66" y="149"/>
                  </a:lnTo>
                  <a:lnTo>
                    <a:pt x="63" y="151"/>
                  </a:lnTo>
                  <a:lnTo>
                    <a:pt x="63" y="154"/>
                  </a:lnTo>
                  <a:lnTo>
                    <a:pt x="63" y="171"/>
                  </a:lnTo>
                  <a:lnTo>
                    <a:pt x="63" y="171"/>
                  </a:lnTo>
                  <a:lnTo>
                    <a:pt x="63" y="173"/>
                  </a:lnTo>
                  <a:lnTo>
                    <a:pt x="63" y="173"/>
                  </a:lnTo>
                  <a:lnTo>
                    <a:pt x="64" y="176"/>
                  </a:lnTo>
                  <a:lnTo>
                    <a:pt x="68" y="179"/>
                  </a:lnTo>
                  <a:lnTo>
                    <a:pt x="75" y="184"/>
                  </a:lnTo>
                  <a:lnTo>
                    <a:pt x="88" y="187"/>
                  </a:lnTo>
                  <a:lnTo>
                    <a:pt x="102" y="190"/>
                  </a:lnTo>
                  <a:lnTo>
                    <a:pt x="102" y="190"/>
                  </a:lnTo>
                  <a:lnTo>
                    <a:pt x="125" y="195"/>
                  </a:lnTo>
                  <a:lnTo>
                    <a:pt x="138" y="198"/>
                  </a:lnTo>
                  <a:lnTo>
                    <a:pt x="151" y="203"/>
                  </a:lnTo>
                  <a:lnTo>
                    <a:pt x="151" y="203"/>
                  </a:lnTo>
                  <a:lnTo>
                    <a:pt x="151" y="204"/>
                  </a:lnTo>
                  <a:lnTo>
                    <a:pt x="151" y="232"/>
                  </a:lnTo>
                  <a:lnTo>
                    <a:pt x="151" y="232"/>
                  </a:lnTo>
                  <a:lnTo>
                    <a:pt x="151" y="234"/>
                  </a:lnTo>
                  <a:lnTo>
                    <a:pt x="86" y="234"/>
                  </a:lnTo>
                  <a:lnTo>
                    <a:pt x="86" y="234"/>
                  </a:lnTo>
                  <a:lnTo>
                    <a:pt x="85" y="234"/>
                  </a:lnTo>
                  <a:lnTo>
                    <a:pt x="82" y="235"/>
                  </a:lnTo>
                  <a:lnTo>
                    <a:pt x="80" y="239"/>
                  </a:lnTo>
                  <a:lnTo>
                    <a:pt x="80" y="242"/>
                  </a:lnTo>
                  <a:lnTo>
                    <a:pt x="80" y="242"/>
                  </a:lnTo>
                  <a:lnTo>
                    <a:pt x="80" y="243"/>
                  </a:lnTo>
                  <a:lnTo>
                    <a:pt x="82" y="246"/>
                  </a:lnTo>
                  <a:lnTo>
                    <a:pt x="85" y="248"/>
                  </a:lnTo>
                  <a:lnTo>
                    <a:pt x="86" y="248"/>
                  </a:lnTo>
                  <a:lnTo>
                    <a:pt x="151" y="248"/>
                  </a:lnTo>
                  <a:lnTo>
                    <a:pt x="151" y="248"/>
                  </a:lnTo>
                  <a:lnTo>
                    <a:pt x="155" y="248"/>
                  </a:lnTo>
                  <a:lnTo>
                    <a:pt x="162" y="243"/>
                  </a:lnTo>
                  <a:lnTo>
                    <a:pt x="165" y="239"/>
                  </a:lnTo>
                  <a:lnTo>
                    <a:pt x="165" y="232"/>
                  </a:lnTo>
                  <a:lnTo>
                    <a:pt x="165" y="204"/>
                  </a:lnTo>
                  <a:lnTo>
                    <a:pt x="165" y="204"/>
                  </a:lnTo>
                  <a:lnTo>
                    <a:pt x="165" y="199"/>
                  </a:lnTo>
                  <a:lnTo>
                    <a:pt x="163" y="195"/>
                  </a:lnTo>
                  <a:lnTo>
                    <a:pt x="160" y="192"/>
                  </a:lnTo>
                  <a:lnTo>
                    <a:pt x="155" y="188"/>
                  </a:lnTo>
                  <a:lnTo>
                    <a:pt x="155" y="18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44">
              <a:extLst>
                <a:ext uri="{FF2B5EF4-FFF2-40B4-BE49-F238E27FC236}">
                  <a16:creationId xmlns:a16="http://schemas.microsoft.com/office/drawing/2014/main" id="{F204EA51-5549-4DE3-87DC-EABF3FA3DAA4}"/>
                </a:ext>
              </a:extLst>
            </p:cNvPr>
            <p:cNvSpPr>
              <a:spLocks noEditPoints="1"/>
            </p:cNvSpPr>
            <p:nvPr/>
          </p:nvSpPr>
          <p:spPr bwMode="auto">
            <a:xfrm>
              <a:off x="5640388" y="5289550"/>
              <a:ext cx="601663" cy="603250"/>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52" name="Rectangle 18">
            <a:extLst>
              <a:ext uri="{FF2B5EF4-FFF2-40B4-BE49-F238E27FC236}">
                <a16:creationId xmlns:a16="http://schemas.microsoft.com/office/drawing/2014/main" id="{E1C085AE-A7DE-4828-9C59-FFAF05A57AA2}"/>
              </a:ext>
            </a:extLst>
          </p:cNvPr>
          <p:cNvSpPr>
            <a:spLocks noChangeArrowheads="1"/>
          </p:cNvSpPr>
          <p:nvPr/>
        </p:nvSpPr>
        <p:spPr bwMode="auto">
          <a:xfrm>
            <a:off x="5999033" y="5897553"/>
            <a:ext cx="691212" cy="308515"/>
          </a:xfrm>
          <a:prstGeom prst="rect">
            <a:avLst/>
          </a:prstGeom>
          <a:noFill/>
          <a:ln>
            <a:noFill/>
            <a:prstDash val="solid"/>
          </a:ln>
        </p:spPr>
        <p:style>
          <a:lnRef idx="2">
            <a:schemeClr val="dk1"/>
          </a:lnRef>
          <a:fillRef idx="1">
            <a:schemeClr val="lt1"/>
          </a:fillRef>
          <a:effectRef idx="0">
            <a:schemeClr val="dk1"/>
          </a:effectRef>
          <a:fontRef idx="minor">
            <a:schemeClr val="dk1"/>
          </a:fontRef>
        </p:style>
        <p:txBody>
          <a:bodyPr wrap="square" lIns="0" tIns="45720" rIns="0" bIns="0" anchor="t">
            <a:noAutofit/>
          </a:bodyPr>
          <a:lstStyle/>
          <a:p>
            <a:pPr marL="0" marR="0" lvl="0" indent="0" algn="ctr" defTabSz="914400" rtl="0" eaLnBrk="1" fontAlgn="auto" latinLnBrk="0" hangingPunct="1">
              <a:lnSpc>
                <a:spcPct val="100000"/>
              </a:lnSpc>
              <a:spcBef>
                <a:spcPts val="0"/>
              </a:spcBef>
              <a:spcAft>
                <a:spcPts val="0"/>
              </a:spcAft>
              <a:buClr>
                <a:srgbClr val="787878"/>
              </a:buClr>
              <a:buSzPct val="75000"/>
              <a:buFontTx/>
              <a:buNone/>
              <a:tabLst/>
              <a:defRPr/>
            </a:pPr>
            <a:r>
              <a:rPr kumimoji="0" lang="en-US" sz="900" b="0" i="0" u="none" strike="noStrike" kern="1200" cap="none" spc="0" normalizeH="0" baseline="0" noProof="0" dirty="0">
                <a:ln>
                  <a:noFill/>
                </a:ln>
                <a:solidFill>
                  <a:srgbClr val="000000"/>
                </a:solidFill>
                <a:effectLst/>
                <a:uLnTx/>
                <a:uFillTx/>
                <a:latin typeface="Frutiger Next Pro Medium" pitchFamily="34" charset="0"/>
                <a:ea typeface="+mn-ea"/>
                <a:cs typeface="Arial"/>
                <a:sym typeface="Frutiger Next Pro Medium" charset="0"/>
              </a:rPr>
              <a:t>Consultant II</a:t>
            </a:r>
            <a:endParaRPr kumimoji="0" lang="en-US" sz="900" b="0" i="0" u="none" strike="noStrike" kern="1200" cap="none" spc="-40" normalizeH="0" baseline="0" noProof="0" dirty="0">
              <a:ln>
                <a:noFill/>
              </a:ln>
              <a:solidFill>
                <a:srgbClr val="000000"/>
              </a:solidFill>
              <a:effectLst/>
              <a:uLnTx/>
              <a:uFillTx/>
              <a:latin typeface="Frutiger Next Pro Medium" pitchFamily="34" charset="0"/>
              <a:ea typeface="+mn-ea"/>
              <a:cs typeface="Arial"/>
              <a:sym typeface="Frutiger Next Pro Medium" charset="0"/>
            </a:endParaRPr>
          </a:p>
        </p:txBody>
      </p:sp>
      <p:grpSp>
        <p:nvGrpSpPr>
          <p:cNvPr id="53" name="Group 52">
            <a:extLst>
              <a:ext uri="{FF2B5EF4-FFF2-40B4-BE49-F238E27FC236}">
                <a16:creationId xmlns:a16="http://schemas.microsoft.com/office/drawing/2014/main" id="{4BADF4FD-A9D8-4EFA-8F2D-3662DCF5CB9F}"/>
              </a:ext>
            </a:extLst>
          </p:cNvPr>
          <p:cNvGrpSpPr>
            <a:grpSpLocks noChangeAspect="1"/>
          </p:cNvGrpSpPr>
          <p:nvPr/>
        </p:nvGrpSpPr>
        <p:grpSpPr>
          <a:xfrm>
            <a:off x="7169178" y="5440353"/>
            <a:ext cx="455998" cy="457200"/>
            <a:chOff x="5640388" y="5289550"/>
            <a:chExt cx="601663" cy="603250"/>
          </a:xfrm>
          <a:solidFill>
            <a:srgbClr val="404040"/>
          </a:solidFill>
        </p:grpSpPr>
        <p:sp>
          <p:nvSpPr>
            <p:cNvPr id="54" name="Freeform 235">
              <a:extLst>
                <a:ext uri="{FF2B5EF4-FFF2-40B4-BE49-F238E27FC236}">
                  <a16:creationId xmlns:a16="http://schemas.microsoft.com/office/drawing/2014/main" id="{BBA7391A-E006-40F4-90E7-4E3A463E5BCC}"/>
                </a:ext>
              </a:extLst>
            </p:cNvPr>
            <p:cNvSpPr>
              <a:spLocks noEditPoints="1"/>
            </p:cNvSpPr>
            <p:nvPr/>
          </p:nvSpPr>
          <p:spPr bwMode="auto">
            <a:xfrm>
              <a:off x="5794375" y="5470525"/>
              <a:ext cx="209550" cy="209550"/>
            </a:xfrm>
            <a:custGeom>
              <a:avLst/>
              <a:gdLst>
                <a:gd name="T0" fmla="*/ 213 w 265"/>
                <a:gd name="T1" fmla="*/ 185 h 265"/>
                <a:gd name="T2" fmla="*/ 171 w 265"/>
                <a:gd name="T3" fmla="*/ 160 h 265"/>
                <a:gd name="T4" fmla="*/ 176 w 265"/>
                <a:gd name="T5" fmla="*/ 146 h 265"/>
                <a:gd name="T6" fmla="*/ 188 w 265"/>
                <a:gd name="T7" fmla="*/ 119 h 265"/>
                <a:gd name="T8" fmla="*/ 196 w 265"/>
                <a:gd name="T9" fmla="*/ 110 h 265"/>
                <a:gd name="T10" fmla="*/ 198 w 265"/>
                <a:gd name="T11" fmla="*/ 99 h 265"/>
                <a:gd name="T12" fmla="*/ 193 w 265"/>
                <a:gd name="T13" fmla="*/ 58 h 265"/>
                <a:gd name="T14" fmla="*/ 190 w 265"/>
                <a:gd name="T15" fmla="*/ 33 h 265"/>
                <a:gd name="T16" fmla="*/ 169 w 265"/>
                <a:gd name="T17" fmla="*/ 10 h 265"/>
                <a:gd name="T18" fmla="*/ 133 w 265"/>
                <a:gd name="T19" fmla="*/ 0 h 265"/>
                <a:gd name="T20" fmla="*/ 107 w 265"/>
                <a:gd name="T21" fmla="*/ 5 h 265"/>
                <a:gd name="T22" fmla="*/ 82 w 265"/>
                <a:gd name="T23" fmla="*/ 24 h 265"/>
                <a:gd name="T24" fmla="*/ 72 w 265"/>
                <a:gd name="T25" fmla="*/ 58 h 265"/>
                <a:gd name="T26" fmla="*/ 69 w 265"/>
                <a:gd name="T27" fmla="*/ 91 h 265"/>
                <a:gd name="T28" fmla="*/ 68 w 265"/>
                <a:gd name="T29" fmla="*/ 105 h 265"/>
                <a:gd name="T30" fmla="*/ 77 w 265"/>
                <a:gd name="T31" fmla="*/ 119 h 265"/>
                <a:gd name="T32" fmla="*/ 85 w 265"/>
                <a:gd name="T33" fmla="*/ 138 h 265"/>
                <a:gd name="T34" fmla="*/ 94 w 265"/>
                <a:gd name="T35" fmla="*/ 160 h 265"/>
                <a:gd name="T36" fmla="*/ 79 w 265"/>
                <a:gd name="T37" fmla="*/ 173 h 265"/>
                <a:gd name="T38" fmla="*/ 11 w 265"/>
                <a:gd name="T39" fmla="*/ 202 h 265"/>
                <a:gd name="T40" fmla="*/ 2 w 265"/>
                <a:gd name="T41" fmla="*/ 213 h 265"/>
                <a:gd name="T42" fmla="*/ 0 w 265"/>
                <a:gd name="T43" fmla="*/ 249 h 265"/>
                <a:gd name="T44" fmla="*/ 11 w 265"/>
                <a:gd name="T45" fmla="*/ 263 h 265"/>
                <a:gd name="T46" fmla="*/ 249 w 265"/>
                <a:gd name="T47" fmla="*/ 265 h 265"/>
                <a:gd name="T48" fmla="*/ 263 w 265"/>
                <a:gd name="T49" fmla="*/ 256 h 265"/>
                <a:gd name="T50" fmla="*/ 265 w 265"/>
                <a:gd name="T51" fmla="*/ 218 h 265"/>
                <a:gd name="T52" fmla="*/ 259 w 265"/>
                <a:gd name="T53" fmla="*/ 205 h 265"/>
                <a:gd name="T54" fmla="*/ 251 w 265"/>
                <a:gd name="T55" fmla="*/ 249 h 265"/>
                <a:gd name="T56" fmla="*/ 17 w 265"/>
                <a:gd name="T57" fmla="*/ 251 h 265"/>
                <a:gd name="T58" fmla="*/ 16 w 265"/>
                <a:gd name="T59" fmla="*/ 218 h 265"/>
                <a:gd name="T60" fmla="*/ 16 w 265"/>
                <a:gd name="T61" fmla="*/ 216 h 265"/>
                <a:gd name="T62" fmla="*/ 99 w 265"/>
                <a:gd name="T63" fmla="*/ 177 h 265"/>
                <a:gd name="T64" fmla="*/ 110 w 265"/>
                <a:gd name="T65" fmla="*/ 165 h 265"/>
                <a:gd name="T66" fmla="*/ 110 w 265"/>
                <a:gd name="T67" fmla="*/ 149 h 265"/>
                <a:gd name="T68" fmla="*/ 107 w 265"/>
                <a:gd name="T69" fmla="*/ 144 h 265"/>
                <a:gd name="T70" fmla="*/ 97 w 265"/>
                <a:gd name="T71" fmla="*/ 130 h 265"/>
                <a:gd name="T72" fmla="*/ 91 w 265"/>
                <a:gd name="T73" fmla="*/ 113 h 265"/>
                <a:gd name="T74" fmla="*/ 83 w 265"/>
                <a:gd name="T75" fmla="*/ 105 h 265"/>
                <a:gd name="T76" fmla="*/ 83 w 265"/>
                <a:gd name="T77" fmla="*/ 94 h 265"/>
                <a:gd name="T78" fmla="*/ 86 w 265"/>
                <a:gd name="T79" fmla="*/ 86 h 265"/>
                <a:gd name="T80" fmla="*/ 88 w 265"/>
                <a:gd name="T81" fmla="*/ 47 h 265"/>
                <a:gd name="T82" fmla="*/ 99 w 265"/>
                <a:gd name="T83" fmla="*/ 27 h 265"/>
                <a:gd name="T84" fmla="*/ 122 w 265"/>
                <a:gd name="T85" fmla="*/ 16 h 265"/>
                <a:gd name="T86" fmla="*/ 143 w 265"/>
                <a:gd name="T87" fmla="*/ 16 h 265"/>
                <a:gd name="T88" fmla="*/ 168 w 265"/>
                <a:gd name="T89" fmla="*/ 27 h 265"/>
                <a:gd name="T90" fmla="*/ 179 w 265"/>
                <a:gd name="T91" fmla="*/ 47 h 265"/>
                <a:gd name="T92" fmla="*/ 179 w 265"/>
                <a:gd name="T93" fmla="*/ 86 h 265"/>
                <a:gd name="T94" fmla="*/ 182 w 265"/>
                <a:gd name="T95" fmla="*/ 94 h 265"/>
                <a:gd name="T96" fmla="*/ 182 w 265"/>
                <a:gd name="T97" fmla="*/ 105 h 265"/>
                <a:gd name="T98" fmla="*/ 176 w 265"/>
                <a:gd name="T99" fmla="*/ 113 h 265"/>
                <a:gd name="T100" fmla="*/ 168 w 265"/>
                <a:gd name="T101" fmla="*/ 130 h 265"/>
                <a:gd name="T102" fmla="*/ 158 w 265"/>
                <a:gd name="T103" fmla="*/ 144 h 265"/>
                <a:gd name="T104" fmla="*/ 155 w 265"/>
                <a:gd name="T105" fmla="*/ 162 h 265"/>
                <a:gd name="T106" fmla="*/ 157 w 265"/>
                <a:gd name="T107" fmla="*/ 165 h 265"/>
                <a:gd name="T108" fmla="*/ 166 w 265"/>
                <a:gd name="T109" fmla="*/ 177 h 265"/>
                <a:gd name="T110" fmla="*/ 249 w 265"/>
                <a:gd name="T111" fmla="*/ 216 h 265"/>
                <a:gd name="T112" fmla="*/ 251 w 265"/>
                <a:gd name="T113" fmla="*/ 249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5" h="265">
                  <a:moveTo>
                    <a:pt x="254" y="202"/>
                  </a:moveTo>
                  <a:lnTo>
                    <a:pt x="254" y="202"/>
                  </a:lnTo>
                  <a:lnTo>
                    <a:pt x="213" y="185"/>
                  </a:lnTo>
                  <a:lnTo>
                    <a:pt x="188" y="173"/>
                  </a:lnTo>
                  <a:lnTo>
                    <a:pt x="176" y="165"/>
                  </a:lnTo>
                  <a:lnTo>
                    <a:pt x="171" y="160"/>
                  </a:lnTo>
                  <a:lnTo>
                    <a:pt x="171" y="152"/>
                  </a:lnTo>
                  <a:lnTo>
                    <a:pt x="171" y="152"/>
                  </a:lnTo>
                  <a:lnTo>
                    <a:pt x="176" y="146"/>
                  </a:lnTo>
                  <a:lnTo>
                    <a:pt x="180" y="138"/>
                  </a:lnTo>
                  <a:lnTo>
                    <a:pt x="185" y="129"/>
                  </a:lnTo>
                  <a:lnTo>
                    <a:pt x="188" y="119"/>
                  </a:lnTo>
                  <a:lnTo>
                    <a:pt x="188" y="119"/>
                  </a:lnTo>
                  <a:lnTo>
                    <a:pt x="193" y="115"/>
                  </a:lnTo>
                  <a:lnTo>
                    <a:pt x="196" y="110"/>
                  </a:lnTo>
                  <a:lnTo>
                    <a:pt x="198" y="105"/>
                  </a:lnTo>
                  <a:lnTo>
                    <a:pt x="198" y="99"/>
                  </a:lnTo>
                  <a:lnTo>
                    <a:pt x="198" y="99"/>
                  </a:lnTo>
                  <a:lnTo>
                    <a:pt x="198" y="91"/>
                  </a:lnTo>
                  <a:lnTo>
                    <a:pt x="193" y="83"/>
                  </a:lnTo>
                  <a:lnTo>
                    <a:pt x="193" y="58"/>
                  </a:lnTo>
                  <a:lnTo>
                    <a:pt x="193" y="58"/>
                  </a:lnTo>
                  <a:lnTo>
                    <a:pt x="193" y="44"/>
                  </a:lnTo>
                  <a:lnTo>
                    <a:pt x="190" y="33"/>
                  </a:lnTo>
                  <a:lnTo>
                    <a:pt x="185" y="24"/>
                  </a:lnTo>
                  <a:lnTo>
                    <a:pt x="177" y="16"/>
                  </a:lnTo>
                  <a:lnTo>
                    <a:pt x="169" y="10"/>
                  </a:lnTo>
                  <a:lnTo>
                    <a:pt x="158" y="5"/>
                  </a:lnTo>
                  <a:lnTo>
                    <a:pt x="146" y="2"/>
                  </a:lnTo>
                  <a:lnTo>
                    <a:pt x="133" y="0"/>
                  </a:lnTo>
                  <a:lnTo>
                    <a:pt x="133" y="0"/>
                  </a:lnTo>
                  <a:lnTo>
                    <a:pt x="119" y="2"/>
                  </a:lnTo>
                  <a:lnTo>
                    <a:pt x="107" y="5"/>
                  </a:lnTo>
                  <a:lnTo>
                    <a:pt x="97" y="10"/>
                  </a:lnTo>
                  <a:lnTo>
                    <a:pt x="88" y="16"/>
                  </a:lnTo>
                  <a:lnTo>
                    <a:pt x="82" y="24"/>
                  </a:lnTo>
                  <a:lnTo>
                    <a:pt x="77" y="33"/>
                  </a:lnTo>
                  <a:lnTo>
                    <a:pt x="74" y="46"/>
                  </a:lnTo>
                  <a:lnTo>
                    <a:pt x="72" y="58"/>
                  </a:lnTo>
                  <a:lnTo>
                    <a:pt x="72" y="83"/>
                  </a:lnTo>
                  <a:lnTo>
                    <a:pt x="72" y="83"/>
                  </a:lnTo>
                  <a:lnTo>
                    <a:pt x="69" y="91"/>
                  </a:lnTo>
                  <a:lnTo>
                    <a:pt x="68" y="99"/>
                  </a:lnTo>
                  <a:lnTo>
                    <a:pt x="68" y="99"/>
                  </a:lnTo>
                  <a:lnTo>
                    <a:pt x="68" y="105"/>
                  </a:lnTo>
                  <a:lnTo>
                    <a:pt x="71" y="110"/>
                  </a:lnTo>
                  <a:lnTo>
                    <a:pt x="72" y="115"/>
                  </a:lnTo>
                  <a:lnTo>
                    <a:pt x="77" y="119"/>
                  </a:lnTo>
                  <a:lnTo>
                    <a:pt x="77" y="119"/>
                  </a:lnTo>
                  <a:lnTo>
                    <a:pt x="80" y="129"/>
                  </a:lnTo>
                  <a:lnTo>
                    <a:pt x="85" y="138"/>
                  </a:lnTo>
                  <a:lnTo>
                    <a:pt x="90" y="146"/>
                  </a:lnTo>
                  <a:lnTo>
                    <a:pt x="94" y="152"/>
                  </a:lnTo>
                  <a:lnTo>
                    <a:pt x="94" y="160"/>
                  </a:lnTo>
                  <a:lnTo>
                    <a:pt x="94" y="160"/>
                  </a:lnTo>
                  <a:lnTo>
                    <a:pt x="91" y="165"/>
                  </a:lnTo>
                  <a:lnTo>
                    <a:pt x="79" y="173"/>
                  </a:lnTo>
                  <a:lnTo>
                    <a:pt x="54" y="185"/>
                  </a:lnTo>
                  <a:lnTo>
                    <a:pt x="11" y="202"/>
                  </a:lnTo>
                  <a:lnTo>
                    <a:pt x="11" y="202"/>
                  </a:lnTo>
                  <a:lnTo>
                    <a:pt x="7" y="205"/>
                  </a:lnTo>
                  <a:lnTo>
                    <a:pt x="3" y="209"/>
                  </a:lnTo>
                  <a:lnTo>
                    <a:pt x="2" y="213"/>
                  </a:lnTo>
                  <a:lnTo>
                    <a:pt x="0" y="218"/>
                  </a:lnTo>
                  <a:lnTo>
                    <a:pt x="0" y="249"/>
                  </a:lnTo>
                  <a:lnTo>
                    <a:pt x="0" y="249"/>
                  </a:lnTo>
                  <a:lnTo>
                    <a:pt x="2" y="256"/>
                  </a:lnTo>
                  <a:lnTo>
                    <a:pt x="5" y="260"/>
                  </a:lnTo>
                  <a:lnTo>
                    <a:pt x="11" y="263"/>
                  </a:lnTo>
                  <a:lnTo>
                    <a:pt x="17" y="265"/>
                  </a:lnTo>
                  <a:lnTo>
                    <a:pt x="249" y="265"/>
                  </a:lnTo>
                  <a:lnTo>
                    <a:pt x="249" y="265"/>
                  </a:lnTo>
                  <a:lnTo>
                    <a:pt x="256" y="263"/>
                  </a:lnTo>
                  <a:lnTo>
                    <a:pt x="260" y="260"/>
                  </a:lnTo>
                  <a:lnTo>
                    <a:pt x="263" y="256"/>
                  </a:lnTo>
                  <a:lnTo>
                    <a:pt x="265" y="249"/>
                  </a:lnTo>
                  <a:lnTo>
                    <a:pt x="265" y="218"/>
                  </a:lnTo>
                  <a:lnTo>
                    <a:pt x="265" y="218"/>
                  </a:lnTo>
                  <a:lnTo>
                    <a:pt x="265" y="213"/>
                  </a:lnTo>
                  <a:lnTo>
                    <a:pt x="262" y="209"/>
                  </a:lnTo>
                  <a:lnTo>
                    <a:pt x="259" y="205"/>
                  </a:lnTo>
                  <a:lnTo>
                    <a:pt x="254" y="202"/>
                  </a:lnTo>
                  <a:lnTo>
                    <a:pt x="254" y="202"/>
                  </a:lnTo>
                  <a:close/>
                  <a:moveTo>
                    <a:pt x="251" y="249"/>
                  </a:moveTo>
                  <a:lnTo>
                    <a:pt x="251" y="249"/>
                  </a:lnTo>
                  <a:lnTo>
                    <a:pt x="249" y="251"/>
                  </a:lnTo>
                  <a:lnTo>
                    <a:pt x="17" y="251"/>
                  </a:lnTo>
                  <a:lnTo>
                    <a:pt x="17" y="251"/>
                  </a:lnTo>
                  <a:lnTo>
                    <a:pt x="16" y="249"/>
                  </a:lnTo>
                  <a:lnTo>
                    <a:pt x="16" y="218"/>
                  </a:lnTo>
                  <a:lnTo>
                    <a:pt x="16" y="218"/>
                  </a:lnTo>
                  <a:lnTo>
                    <a:pt x="16" y="216"/>
                  </a:lnTo>
                  <a:lnTo>
                    <a:pt x="16" y="216"/>
                  </a:lnTo>
                  <a:lnTo>
                    <a:pt x="63" y="196"/>
                  </a:lnTo>
                  <a:lnTo>
                    <a:pt x="91" y="182"/>
                  </a:lnTo>
                  <a:lnTo>
                    <a:pt x="99" y="177"/>
                  </a:lnTo>
                  <a:lnTo>
                    <a:pt x="104" y="173"/>
                  </a:lnTo>
                  <a:lnTo>
                    <a:pt x="108" y="168"/>
                  </a:lnTo>
                  <a:lnTo>
                    <a:pt x="110" y="165"/>
                  </a:lnTo>
                  <a:lnTo>
                    <a:pt x="110" y="165"/>
                  </a:lnTo>
                  <a:lnTo>
                    <a:pt x="110" y="162"/>
                  </a:lnTo>
                  <a:lnTo>
                    <a:pt x="110" y="149"/>
                  </a:lnTo>
                  <a:lnTo>
                    <a:pt x="110" y="149"/>
                  </a:lnTo>
                  <a:lnTo>
                    <a:pt x="108" y="147"/>
                  </a:lnTo>
                  <a:lnTo>
                    <a:pt x="107" y="144"/>
                  </a:lnTo>
                  <a:lnTo>
                    <a:pt x="107" y="144"/>
                  </a:lnTo>
                  <a:lnTo>
                    <a:pt x="102" y="138"/>
                  </a:lnTo>
                  <a:lnTo>
                    <a:pt x="97" y="130"/>
                  </a:lnTo>
                  <a:lnTo>
                    <a:pt x="94" y="122"/>
                  </a:lnTo>
                  <a:lnTo>
                    <a:pt x="91" y="113"/>
                  </a:lnTo>
                  <a:lnTo>
                    <a:pt x="91" y="113"/>
                  </a:lnTo>
                  <a:lnTo>
                    <a:pt x="88" y="110"/>
                  </a:lnTo>
                  <a:lnTo>
                    <a:pt x="88" y="110"/>
                  </a:lnTo>
                  <a:lnTo>
                    <a:pt x="83" y="105"/>
                  </a:lnTo>
                  <a:lnTo>
                    <a:pt x="82" y="99"/>
                  </a:lnTo>
                  <a:lnTo>
                    <a:pt x="82" y="99"/>
                  </a:lnTo>
                  <a:lnTo>
                    <a:pt x="83" y="94"/>
                  </a:lnTo>
                  <a:lnTo>
                    <a:pt x="85" y="91"/>
                  </a:lnTo>
                  <a:lnTo>
                    <a:pt x="85" y="91"/>
                  </a:lnTo>
                  <a:lnTo>
                    <a:pt x="86" y="86"/>
                  </a:lnTo>
                  <a:lnTo>
                    <a:pt x="86" y="58"/>
                  </a:lnTo>
                  <a:lnTo>
                    <a:pt x="86" y="58"/>
                  </a:lnTo>
                  <a:lnTo>
                    <a:pt x="88" y="47"/>
                  </a:lnTo>
                  <a:lnTo>
                    <a:pt x="90" y="39"/>
                  </a:lnTo>
                  <a:lnTo>
                    <a:pt x="94" y="32"/>
                  </a:lnTo>
                  <a:lnTo>
                    <a:pt x="99" y="27"/>
                  </a:lnTo>
                  <a:lnTo>
                    <a:pt x="105" y="22"/>
                  </a:lnTo>
                  <a:lnTo>
                    <a:pt x="113" y="19"/>
                  </a:lnTo>
                  <a:lnTo>
                    <a:pt x="122" y="16"/>
                  </a:lnTo>
                  <a:lnTo>
                    <a:pt x="133" y="16"/>
                  </a:lnTo>
                  <a:lnTo>
                    <a:pt x="133" y="16"/>
                  </a:lnTo>
                  <a:lnTo>
                    <a:pt x="143" y="16"/>
                  </a:lnTo>
                  <a:lnTo>
                    <a:pt x="152" y="19"/>
                  </a:lnTo>
                  <a:lnTo>
                    <a:pt x="160" y="22"/>
                  </a:lnTo>
                  <a:lnTo>
                    <a:pt x="168" y="27"/>
                  </a:lnTo>
                  <a:lnTo>
                    <a:pt x="173" y="32"/>
                  </a:lnTo>
                  <a:lnTo>
                    <a:pt x="176" y="39"/>
                  </a:lnTo>
                  <a:lnTo>
                    <a:pt x="179" y="47"/>
                  </a:lnTo>
                  <a:lnTo>
                    <a:pt x="179" y="58"/>
                  </a:lnTo>
                  <a:lnTo>
                    <a:pt x="179" y="86"/>
                  </a:lnTo>
                  <a:lnTo>
                    <a:pt x="179" y="86"/>
                  </a:lnTo>
                  <a:lnTo>
                    <a:pt x="180" y="91"/>
                  </a:lnTo>
                  <a:lnTo>
                    <a:pt x="180" y="91"/>
                  </a:lnTo>
                  <a:lnTo>
                    <a:pt x="182" y="94"/>
                  </a:lnTo>
                  <a:lnTo>
                    <a:pt x="184" y="99"/>
                  </a:lnTo>
                  <a:lnTo>
                    <a:pt x="184" y="99"/>
                  </a:lnTo>
                  <a:lnTo>
                    <a:pt x="182" y="105"/>
                  </a:lnTo>
                  <a:lnTo>
                    <a:pt x="177" y="110"/>
                  </a:lnTo>
                  <a:lnTo>
                    <a:pt x="177" y="110"/>
                  </a:lnTo>
                  <a:lnTo>
                    <a:pt x="176" y="113"/>
                  </a:lnTo>
                  <a:lnTo>
                    <a:pt x="176" y="113"/>
                  </a:lnTo>
                  <a:lnTo>
                    <a:pt x="173" y="122"/>
                  </a:lnTo>
                  <a:lnTo>
                    <a:pt x="168" y="130"/>
                  </a:lnTo>
                  <a:lnTo>
                    <a:pt x="163" y="138"/>
                  </a:lnTo>
                  <a:lnTo>
                    <a:pt x="158" y="144"/>
                  </a:lnTo>
                  <a:lnTo>
                    <a:pt x="158" y="144"/>
                  </a:lnTo>
                  <a:lnTo>
                    <a:pt x="157" y="147"/>
                  </a:lnTo>
                  <a:lnTo>
                    <a:pt x="155" y="149"/>
                  </a:lnTo>
                  <a:lnTo>
                    <a:pt x="155" y="162"/>
                  </a:lnTo>
                  <a:lnTo>
                    <a:pt x="155" y="162"/>
                  </a:lnTo>
                  <a:lnTo>
                    <a:pt x="157" y="165"/>
                  </a:lnTo>
                  <a:lnTo>
                    <a:pt x="157" y="165"/>
                  </a:lnTo>
                  <a:lnTo>
                    <a:pt x="158" y="168"/>
                  </a:lnTo>
                  <a:lnTo>
                    <a:pt x="162" y="173"/>
                  </a:lnTo>
                  <a:lnTo>
                    <a:pt x="166" y="177"/>
                  </a:lnTo>
                  <a:lnTo>
                    <a:pt x="176" y="182"/>
                  </a:lnTo>
                  <a:lnTo>
                    <a:pt x="202" y="196"/>
                  </a:lnTo>
                  <a:lnTo>
                    <a:pt x="249" y="216"/>
                  </a:lnTo>
                  <a:lnTo>
                    <a:pt x="249" y="216"/>
                  </a:lnTo>
                  <a:lnTo>
                    <a:pt x="251" y="218"/>
                  </a:lnTo>
                  <a:lnTo>
                    <a:pt x="251" y="2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55" name="Freeform 236">
              <a:extLst>
                <a:ext uri="{FF2B5EF4-FFF2-40B4-BE49-F238E27FC236}">
                  <a16:creationId xmlns:a16="http://schemas.microsoft.com/office/drawing/2014/main" id="{FE5A2C8D-2BC4-4F44-A172-AB93A8D9D8A0}"/>
                </a:ext>
              </a:extLst>
            </p:cNvPr>
            <p:cNvSpPr>
              <a:spLocks/>
            </p:cNvSpPr>
            <p:nvPr/>
          </p:nvSpPr>
          <p:spPr bwMode="auto">
            <a:xfrm>
              <a:off x="5951538" y="5483225"/>
              <a:ext cx="130175" cy="196850"/>
            </a:xfrm>
            <a:custGeom>
              <a:avLst/>
              <a:gdLst>
                <a:gd name="T0" fmla="*/ 143 w 165"/>
                <a:gd name="T1" fmla="*/ 184 h 248"/>
                <a:gd name="T2" fmla="*/ 105 w 165"/>
                <a:gd name="T3" fmla="*/ 176 h 248"/>
                <a:gd name="T4" fmla="*/ 78 w 165"/>
                <a:gd name="T5" fmla="*/ 162 h 248"/>
                <a:gd name="T6" fmla="*/ 100 w 165"/>
                <a:gd name="T7" fmla="*/ 159 h 248"/>
                <a:gd name="T8" fmla="*/ 127 w 165"/>
                <a:gd name="T9" fmla="*/ 148 h 248"/>
                <a:gd name="T10" fmla="*/ 130 w 165"/>
                <a:gd name="T11" fmla="*/ 141 h 248"/>
                <a:gd name="T12" fmla="*/ 125 w 165"/>
                <a:gd name="T13" fmla="*/ 135 h 248"/>
                <a:gd name="T14" fmla="*/ 121 w 165"/>
                <a:gd name="T15" fmla="*/ 127 h 248"/>
                <a:gd name="T16" fmla="*/ 110 w 165"/>
                <a:gd name="T17" fmla="*/ 71 h 248"/>
                <a:gd name="T18" fmla="*/ 104 w 165"/>
                <a:gd name="T19" fmla="*/ 43 h 248"/>
                <a:gd name="T20" fmla="*/ 86 w 165"/>
                <a:gd name="T21" fmla="*/ 19 h 248"/>
                <a:gd name="T22" fmla="*/ 64 w 165"/>
                <a:gd name="T23" fmla="*/ 5 h 248"/>
                <a:gd name="T24" fmla="*/ 41 w 165"/>
                <a:gd name="T25" fmla="*/ 0 h 248"/>
                <a:gd name="T26" fmla="*/ 19 w 165"/>
                <a:gd name="T27" fmla="*/ 5 h 248"/>
                <a:gd name="T28" fmla="*/ 2 w 165"/>
                <a:gd name="T29" fmla="*/ 15 h 248"/>
                <a:gd name="T30" fmla="*/ 0 w 165"/>
                <a:gd name="T31" fmla="*/ 21 h 248"/>
                <a:gd name="T32" fmla="*/ 3 w 165"/>
                <a:gd name="T33" fmla="*/ 26 h 248"/>
                <a:gd name="T34" fmla="*/ 11 w 165"/>
                <a:gd name="T35" fmla="*/ 26 h 248"/>
                <a:gd name="T36" fmla="*/ 24 w 165"/>
                <a:gd name="T37" fmla="*/ 19 h 248"/>
                <a:gd name="T38" fmla="*/ 41 w 165"/>
                <a:gd name="T39" fmla="*/ 16 h 248"/>
                <a:gd name="T40" fmla="*/ 60 w 165"/>
                <a:gd name="T41" fmla="*/ 19 h 248"/>
                <a:gd name="T42" fmla="*/ 75 w 165"/>
                <a:gd name="T43" fmla="*/ 29 h 248"/>
                <a:gd name="T44" fmla="*/ 85 w 165"/>
                <a:gd name="T45" fmla="*/ 38 h 248"/>
                <a:gd name="T46" fmla="*/ 94 w 165"/>
                <a:gd name="T47" fmla="*/ 73 h 248"/>
                <a:gd name="T48" fmla="*/ 99 w 165"/>
                <a:gd name="T49" fmla="*/ 104 h 248"/>
                <a:gd name="T50" fmla="*/ 111 w 165"/>
                <a:gd name="T51" fmla="*/ 140 h 248"/>
                <a:gd name="T52" fmla="*/ 85 w 165"/>
                <a:gd name="T53" fmla="*/ 146 h 248"/>
                <a:gd name="T54" fmla="*/ 68 w 165"/>
                <a:gd name="T55" fmla="*/ 148 h 248"/>
                <a:gd name="T56" fmla="*/ 63 w 165"/>
                <a:gd name="T57" fmla="*/ 154 h 248"/>
                <a:gd name="T58" fmla="*/ 63 w 165"/>
                <a:gd name="T59" fmla="*/ 173 h 248"/>
                <a:gd name="T60" fmla="*/ 68 w 165"/>
                <a:gd name="T61" fmla="*/ 179 h 248"/>
                <a:gd name="T62" fmla="*/ 102 w 165"/>
                <a:gd name="T63" fmla="*/ 190 h 248"/>
                <a:gd name="T64" fmla="*/ 138 w 165"/>
                <a:gd name="T65" fmla="*/ 198 h 248"/>
                <a:gd name="T66" fmla="*/ 151 w 165"/>
                <a:gd name="T67" fmla="*/ 204 h 248"/>
                <a:gd name="T68" fmla="*/ 151 w 165"/>
                <a:gd name="T69" fmla="*/ 234 h 248"/>
                <a:gd name="T70" fmla="*/ 85 w 165"/>
                <a:gd name="T71" fmla="*/ 234 h 248"/>
                <a:gd name="T72" fmla="*/ 80 w 165"/>
                <a:gd name="T73" fmla="*/ 242 h 248"/>
                <a:gd name="T74" fmla="*/ 82 w 165"/>
                <a:gd name="T75" fmla="*/ 246 h 248"/>
                <a:gd name="T76" fmla="*/ 151 w 165"/>
                <a:gd name="T77" fmla="*/ 248 h 248"/>
                <a:gd name="T78" fmla="*/ 162 w 165"/>
                <a:gd name="T79" fmla="*/ 243 h 248"/>
                <a:gd name="T80" fmla="*/ 165 w 165"/>
                <a:gd name="T81" fmla="*/ 204 h 248"/>
                <a:gd name="T82" fmla="*/ 163 w 165"/>
                <a:gd name="T83" fmla="*/ 195 h 248"/>
                <a:gd name="T84" fmla="*/ 155 w 165"/>
                <a:gd name="T85" fmla="*/ 18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5" h="248">
                  <a:moveTo>
                    <a:pt x="155" y="188"/>
                  </a:moveTo>
                  <a:lnTo>
                    <a:pt x="155" y="188"/>
                  </a:lnTo>
                  <a:lnTo>
                    <a:pt x="143" y="184"/>
                  </a:lnTo>
                  <a:lnTo>
                    <a:pt x="129" y="181"/>
                  </a:lnTo>
                  <a:lnTo>
                    <a:pt x="105" y="176"/>
                  </a:lnTo>
                  <a:lnTo>
                    <a:pt x="105" y="176"/>
                  </a:lnTo>
                  <a:lnTo>
                    <a:pt x="88" y="173"/>
                  </a:lnTo>
                  <a:lnTo>
                    <a:pt x="78" y="170"/>
                  </a:lnTo>
                  <a:lnTo>
                    <a:pt x="78" y="162"/>
                  </a:lnTo>
                  <a:lnTo>
                    <a:pt x="78" y="162"/>
                  </a:lnTo>
                  <a:lnTo>
                    <a:pt x="89" y="160"/>
                  </a:lnTo>
                  <a:lnTo>
                    <a:pt x="100" y="159"/>
                  </a:lnTo>
                  <a:lnTo>
                    <a:pt x="115" y="154"/>
                  </a:lnTo>
                  <a:lnTo>
                    <a:pt x="124" y="149"/>
                  </a:lnTo>
                  <a:lnTo>
                    <a:pt x="127" y="148"/>
                  </a:lnTo>
                  <a:lnTo>
                    <a:pt x="127" y="148"/>
                  </a:lnTo>
                  <a:lnTo>
                    <a:pt x="129" y="145"/>
                  </a:lnTo>
                  <a:lnTo>
                    <a:pt x="130" y="141"/>
                  </a:lnTo>
                  <a:lnTo>
                    <a:pt x="130" y="141"/>
                  </a:lnTo>
                  <a:lnTo>
                    <a:pt x="129" y="138"/>
                  </a:lnTo>
                  <a:lnTo>
                    <a:pt x="125" y="135"/>
                  </a:lnTo>
                  <a:lnTo>
                    <a:pt x="125" y="135"/>
                  </a:lnTo>
                  <a:lnTo>
                    <a:pt x="124" y="132"/>
                  </a:lnTo>
                  <a:lnTo>
                    <a:pt x="121" y="127"/>
                  </a:lnTo>
                  <a:lnTo>
                    <a:pt x="116" y="112"/>
                  </a:lnTo>
                  <a:lnTo>
                    <a:pt x="111" y="93"/>
                  </a:lnTo>
                  <a:lnTo>
                    <a:pt x="110" y="71"/>
                  </a:lnTo>
                  <a:lnTo>
                    <a:pt x="110" y="71"/>
                  </a:lnTo>
                  <a:lnTo>
                    <a:pt x="108" y="57"/>
                  </a:lnTo>
                  <a:lnTo>
                    <a:pt x="104" y="43"/>
                  </a:lnTo>
                  <a:lnTo>
                    <a:pt x="96" y="30"/>
                  </a:lnTo>
                  <a:lnTo>
                    <a:pt x="86" y="19"/>
                  </a:lnTo>
                  <a:lnTo>
                    <a:pt x="86" y="19"/>
                  </a:lnTo>
                  <a:lnTo>
                    <a:pt x="82" y="15"/>
                  </a:lnTo>
                  <a:lnTo>
                    <a:pt x="77" y="10"/>
                  </a:lnTo>
                  <a:lnTo>
                    <a:pt x="64" y="5"/>
                  </a:lnTo>
                  <a:lnTo>
                    <a:pt x="64" y="5"/>
                  </a:lnTo>
                  <a:lnTo>
                    <a:pt x="53" y="2"/>
                  </a:lnTo>
                  <a:lnTo>
                    <a:pt x="41" y="0"/>
                  </a:lnTo>
                  <a:lnTo>
                    <a:pt x="30" y="2"/>
                  </a:lnTo>
                  <a:lnTo>
                    <a:pt x="19" y="5"/>
                  </a:lnTo>
                  <a:lnTo>
                    <a:pt x="19" y="5"/>
                  </a:lnTo>
                  <a:lnTo>
                    <a:pt x="10" y="8"/>
                  </a:lnTo>
                  <a:lnTo>
                    <a:pt x="2" y="15"/>
                  </a:lnTo>
                  <a:lnTo>
                    <a:pt x="2" y="15"/>
                  </a:lnTo>
                  <a:lnTo>
                    <a:pt x="0" y="16"/>
                  </a:lnTo>
                  <a:lnTo>
                    <a:pt x="0" y="19"/>
                  </a:lnTo>
                  <a:lnTo>
                    <a:pt x="0" y="21"/>
                  </a:lnTo>
                  <a:lnTo>
                    <a:pt x="2" y="24"/>
                  </a:lnTo>
                  <a:lnTo>
                    <a:pt x="2" y="24"/>
                  </a:lnTo>
                  <a:lnTo>
                    <a:pt x="3" y="26"/>
                  </a:lnTo>
                  <a:lnTo>
                    <a:pt x="6" y="27"/>
                  </a:lnTo>
                  <a:lnTo>
                    <a:pt x="10" y="27"/>
                  </a:lnTo>
                  <a:lnTo>
                    <a:pt x="11" y="26"/>
                  </a:lnTo>
                  <a:lnTo>
                    <a:pt x="11" y="26"/>
                  </a:lnTo>
                  <a:lnTo>
                    <a:pt x="17" y="22"/>
                  </a:lnTo>
                  <a:lnTo>
                    <a:pt x="24" y="19"/>
                  </a:lnTo>
                  <a:lnTo>
                    <a:pt x="24" y="19"/>
                  </a:lnTo>
                  <a:lnTo>
                    <a:pt x="33" y="16"/>
                  </a:lnTo>
                  <a:lnTo>
                    <a:pt x="41" y="16"/>
                  </a:lnTo>
                  <a:lnTo>
                    <a:pt x="50" y="16"/>
                  </a:lnTo>
                  <a:lnTo>
                    <a:pt x="60" y="19"/>
                  </a:lnTo>
                  <a:lnTo>
                    <a:pt x="60" y="19"/>
                  </a:lnTo>
                  <a:lnTo>
                    <a:pt x="69" y="22"/>
                  </a:lnTo>
                  <a:lnTo>
                    <a:pt x="75" y="29"/>
                  </a:lnTo>
                  <a:lnTo>
                    <a:pt x="75" y="29"/>
                  </a:lnTo>
                  <a:lnTo>
                    <a:pt x="77" y="29"/>
                  </a:lnTo>
                  <a:lnTo>
                    <a:pt x="77" y="29"/>
                  </a:lnTo>
                  <a:lnTo>
                    <a:pt x="85" y="38"/>
                  </a:lnTo>
                  <a:lnTo>
                    <a:pt x="89" y="47"/>
                  </a:lnTo>
                  <a:lnTo>
                    <a:pt x="94" y="60"/>
                  </a:lnTo>
                  <a:lnTo>
                    <a:pt x="94" y="73"/>
                  </a:lnTo>
                  <a:lnTo>
                    <a:pt x="94" y="73"/>
                  </a:lnTo>
                  <a:lnTo>
                    <a:pt x="96" y="85"/>
                  </a:lnTo>
                  <a:lnTo>
                    <a:pt x="99" y="104"/>
                  </a:lnTo>
                  <a:lnTo>
                    <a:pt x="104" y="123"/>
                  </a:lnTo>
                  <a:lnTo>
                    <a:pt x="107" y="132"/>
                  </a:lnTo>
                  <a:lnTo>
                    <a:pt x="111" y="140"/>
                  </a:lnTo>
                  <a:lnTo>
                    <a:pt x="111" y="140"/>
                  </a:lnTo>
                  <a:lnTo>
                    <a:pt x="96" y="145"/>
                  </a:lnTo>
                  <a:lnTo>
                    <a:pt x="85" y="146"/>
                  </a:lnTo>
                  <a:lnTo>
                    <a:pt x="71" y="146"/>
                  </a:lnTo>
                  <a:lnTo>
                    <a:pt x="71" y="146"/>
                  </a:lnTo>
                  <a:lnTo>
                    <a:pt x="68" y="148"/>
                  </a:lnTo>
                  <a:lnTo>
                    <a:pt x="66" y="149"/>
                  </a:lnTo>
                  <a:lnTo>
                    <a:pt x="63" y="151"/>
                  </a:lnTo>
                  <a:lnTo>
                    <a:pt x="63" y="154"/>
                  </a:lnTo>
                  <a:lnTo>
                    <a:pt x="63" y="171"/>
                  </a:lnTo>
                  <a:lnTo>
                    <a:pt x="63" y="171"/>
                  </a:lnTo>
                  <a:lnTo>
                    <a:pt x="63" y="173"/>
                  </a:lnTo>
                  <a:lnTo>
                    <a:pt x="63" y="173"/>
                  </a:lnTo>
                  <a:lnTo>
                    <a:pt x="64" y="176"/>
                  </a:lnTo>
                  <a:lnTo>
                    <a:pt x="68" y="179"/>
                  </a:lnTo>
                  <a:lnTo>
                    <a:pt x="75" y="184"/>
                  </a:lnTo>
                  <a:lnTo>
                    <a:pt x="88" y="187"/>
                  </a:lnTo>
                  <a:lnTo>
                    <a:pt x="102" y="190"/>
                  </a:lnTo>
                  <a:lnTo>
                    <a:pt x="102" y="190"/>
                  </a:lnTo>
                  <a:lnTo>
                    <a:pt x="125" y="195"/>
                  </a:lnTo>
                  <a:lnTo>
                    <a:pt x="138" y="198"/>
                  </a:lnTo>
                  <a:lnTo>
                    <a:pt x="151" y="203"/>
                  </a:lnTo>
                  <a:lnTo>
                    <a:pt x="151" y="203"/>
                  </a:lnTo>
                  <a:lnTo>
                    <a:pt x="151" y="204"/>
                  </a:lnTo>
                  <a:lnTo>
                    <a:pt x="151" y="232"/>
                  </a:lnTo>
                  <a:lnTo>
                    <a:pt x="151" y="232"/>
                  </a:lnTo>
                  <a:lnTo>
                    <a:pt x="151" y="234"/>
                  </a:lnTo>
                  <a:lnTo>
                    <a:pt x="86" y="234"/>
                  </a:lnTo>
                  <a:lnTo>
                    <a:pt x="86" y="234"/>
                  </a:lnTo>
                  <a:lnTo>
                    <a:pt x="85" y="234"/>
                  </a:lnTo>
                  <a:lnTo>
                    <a:pt x="82" y="235"/>
                  </a:lnTo>
                  <a:lnTo>
                    <a:pt x="80" y="239"/>
                  </a:lnTo>
                  <a:lnTo>
                    <a:pt x="80" y="242"/>
                  </a:lnTo>
                  <a:lnTo>
                    <a:pt x="80" y="242"/>
                  </a:lnTo>
                  <a:lnTo>
                    <a:pt x="80" y="243"/>
                  </a:lnTo>
                  <a:lnTo>
                    <a:pt x="82" y="246"/>
                  </a:lnTo>
                  <a:lnTo>
                    <a:pt x="85" y="248"/>
                  </a:lnTo>
                  <a:lnTo>
                    <a:pt x="86" y="248"/>
                  </a:lnTo>
                  <a:lnTo>
                    <a:pt x="151" y="248"/>
                  </a:lnTo>
                  <a:lnTo>
                    <a:pt x="151" y="248"/>
                  </a:lnTo>
                  <a:lnTo>
                    <a:pt x="155" y="248"/>
                  </a:lnTo>
                  <a:lnTo>
                    <a:pt x="162" y="243"/>
                  </a:lnTo>
                  <a:lnTo>
                    <a:pt x="165" y="239"/>
                  </a:lnTo>
                  <a:lnTo>
                    <a:pt x="165" y="232"/>
                  </a:lnTo>
                  <a:lnTo>
                    <a:pt x="165" y="204"/>
                  </a:lnTo>
                  <a:lnTo>
                    <a:pt x="165" y="204"/>
                  </a:lnTo>
                  <a:lnTo>
                    <a:pt x="165" y="199"/>
                  </a:lnTo>
                  <a:lnTo>
                    <a:pt x="163" y="195"/>
                  </a:lnTo>
                  <a:lnTo>
                    <a:pt x="160" y="192"/>
                  </a:lnTo>
                  <a:lnTo>
                    <a:pt x="155" y="188"/>
                  </a:lnTo>
                  <a:lnTo>
                    <a:pt x="155" y="18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56" name="Freeform 244">
              <a:extLst>
                <a:ext uri="{FF2B5EF4-FFF2-40B4-BE49-F238E27FC236}">
                  <a16:creationId xmlns:a16="http://schemas.microsoft.com/office/drawing/2014/main" id="{C9284D80-280F-4BE2-A305-4CDAF0BAF48E}"/>
                </a:ext>
              </a:extLst>
            </p:cNvPr>
            <p:cNvSpPr>
              <a:spLocks noEditPoints="1"/>
            </p:cNvSpPr>
            <p:nvPr/>
          </p:nvSpPr>
          <p:spPr bwMode="auto">
            <a:xfrm>
              <a:off x="5640388" y="5289550"/>
              <a:ext cx="601663" cy="603250"/>
            </a:xfrm>
            <a:custGeom>
              <a:avLst/>
              <a:gdLst>
                <a:gd name="T0" fmla="*/ 358 w 758"/>
                <a:gd name="T1" fmla="*/ 758 h 760"/>
                <a:gd name="T2" fmla="*/ 302 w 758"/>
                <a:gd name="T3" fmla="*/ 752 h 760"/>
                <a:gd name="T4" fmla="*/ 231 w 758"/>
                <a:gd name="T5" fmla="*/ 730 h 760"/>
                <a:gd name="T6" fmla="*/ 137 w 758"/>
                <a:gd name="T7" fmla="*/ 672 h 760"/>
                <a:gd name="T8" fmla="*/ 64 w 758"/>
                <a:gd name="T9" fmla="*/ 592 h 760"/>
                <a:gd name="T10" fmla="*/ 15 w 758"/>
                <a:gd name="T11" fmla="*/ 492 h 760"/>
                <a:gd name="T12" fmla="*/ 3 w 758"/>
                <a:gd name="T13" fmla="*/ 437 h 760"/>
                <a:gd name="T14" fmla="*/ 0 w 758"/>
                <a:gd name="T15" fmla="*/ 379 h 760"/>
                <a:gd name="T16" fmla="*/ 1 w 758"/>
                <a:gd name="T17" fmla="*/ 342 h 760"/>
                <a:gd name="T18" fmla="*/ 11 w 758"/>
                <a:gd name="T19" fmla="*/ 285 h 760"/>
                <a:gd name="T20" fmla="*/ 45 w 758"/>
                <a:gd name="T21" fmla="*/ 199 h 760"/>
                <a:gd name="T22" fmla="*/ 111 w 758"/>
                <a:gd name="T23" fmla="*/ 111 h 760"/>
                <a:gd name="T24" fmla="*/ 197 w 758"/>
                <a:gd name="T25" fmla="*/ 47 h 760"/>
                <a:gd name="T26" fmla="*/ 283 w 758"/>
                <a:gd name="T27" fmla="*/ 13 h 760"/>
                <a:gd name="T28" fmla="*/ 339 w 758"/>
                <a:gd name="T29" fmla="*/ 3 h 760"/>
                <a:gd name="T30" fmla="*/ 379 w 758"/>
                <a:gd name="T31" fmla="*/ 0 h 760"/>
                <a:gd name="T32" fmla="*/ 437 w 758"/>
                <a:gd name="T33" fmla="*/ 5 h 760"/>
                <a:gd name="T34" fmla="*/ 491 w 758"/>
                <a:gd name="T35" fmla="*/ 17 h 760"/>
                <a:gd name="T36" fmla="*/ 590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0 w 758"/>
                <a:gd name="T55" fmla="*/ 694 h 760"/>
                <a:gd name="T56" fmla="*/ 491 w 758"/>
                <a:gd name="T57" fmla="*/ 743 h 760"/>
                <a:gd name="T58" fmla="*/ 437 w 758"/>
                <a:gd name="T59" fmla="*/ 755 h 760"/>
                <a:gd name="T60" fmla="*/ 379 w 758"/>
                <a:gd name="T61" fmla="*/ 760 h 760"/>
                <a:gd name="T62" fmla="*/ 379 w 758"/>
                <a:gd name="T63" fmla="*/ 22 h 760"/>
                <a:gd name="T64" fmla="*/ 272 w 758"/>
                <a:gd name="T65" fmla="*/ 38 h 760"/>
                <a:gd name="T66" fmla="*/ 178 w 758"/>
                <a:gd name="T67" fmla="*/ 83 h 760"/>
                <a:gd name="T68" fmla="*/ 101 w 758"/>
                <a:gd name="T69" fmla="*/ 152 h 760"/>
                <a:gd name="T70" fmla="*/ 48 w 758"/>
                <a:gd name="T71" fmla="*/ 241 h 760"/>
                <a:gd name="T72" fmla="*/ 22 w 758"/>
                <a:gd name="T73" fmla="*/ 343 h 760"/>
                <a:gd name="T74" fmla="*/ 22 w 758"/>
                <a:gd name="T75" fmla="*/ 417 h 760"/>
                <a:gd name="T76" fmla="*/ 48 w 758"/>
                <a:gd name="T77" fmla="*/ 519 h 760"/>
                <a:gd name="T78" fmla="*/ 101 w 758"/>
                <a:gd name="T79" fmla="*/ 608 h 760"/>
                <a:gd name="T80" fmla="*/ 178 w 758"/>
                <a:gd name="T81" fmla="*/ 677 h 760"/>
                <a:gd name="T82" fmla="*/ 272 w 758"/>
                <a:gd name="T83" fmla="*/ 722 h 760"/>
                <a:gd name="T84" fmla="*/ 379 w 758"/>
                <a:gd name="T85" fmla="*/ 738 h 760"/>
                <a:gd name="T86" fmla="*/ 451 w 758"/>
                <a:gd name="T87" fmla="*/ 730 h 760"/>
                <a:gd name="T88" fmla="*/ 549 w 758"/>
                <a:gd name="T89" fmla="*/ 694 h 760"/>
                <a:gd name="T90" fmla="*/ 631 w 758"/>
                <a:gd name="T91" fmla="*/ 633 h 760"/>
                <a:gd name="T92" fmla="*/ 693 w 758"/>
                <a:gd name="T93" fmla="*/ 550 h 760"/>
                <a:gd name="T94" fmla="*/ 730 w 758"/>
                <a:gd name="T95" fmla="*/ 451 h 760"/>
                <a:gd name="T96" fmla="*/ 736 w 758"/>
                <a:gd name="T97" fmla="*/ 379 h 760"/>
                <a:gd name="T98" fmla="*/ 720 w 758"/>
                <a:gd name="T99" fmla="*/ 274 h 760"/>
                <a:gd name="T100" fmla="*/ 675 w 758"/>
                <a:gd name="T101" fmla="*/ 180 h 760"/>
                <a:gd name="T102" fmla="*/ 606 w 758"/>
                <a:gd name="T103" fmla="*/ 104 h 760"/>
                <a:gd name="T104" fmla="*/ 518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8" y="758"/>
                  </a:lnTo>
                  <a:lnTo>
                    <a:pt x="339" y="757"/>
                  </a:lnTo>
                  <a:lnTo>
                    <a:pt x="321" y="755"/>
                  </a:lnTo>
                  <a:lnTo>
                    <a:pt x="302" y="752"/>
                  </a:lnTo>
                  <a:lnTo>
                    <a:pt x="283" y="747"/>
                  </a:lnTo>
                  <a:lnTo>
                    <a:pt x="266" y="743"/>
                  </a:lnTo>
                  <a:lnTo>
                    <a:pt x="231" y="730"/>
                  </a:lnTo>
                  <a:lnTo>
                    <a:pt x="197" y="713"/>
                  </a:lnTo>
                  <a:lnTo>
                    <a:pt x="166" y="694"/>
                  </a:lnTo>
                  <a:lnTo>
                    <a:pt x="137" y="672"/>
                  </a:lnTo>
                  <a:lnTo>
                    <a:pt x="111" y="649"/>
                  </a:lnTo>
                  <a:lnTo>
                    <a:pt x="86" y="620"/>
                  </a:lnTo>
                  <a:lnTo>
                    <a:pt x="64" y="592"/>
                  </a:lnTo>
                  <a:lnTo>
                    <a:pt x="45" y="561"/>
                  </a:lnTo>
                  <a:lnTo>
                    <a:pt x="29" y="528"/>
                  </a:lnTo>
                  <a:lnTo>
                    <a:pt x="15" y="492"/>
                  </a:lnTo>
                  <a:lnTo>
                    <a:pt x="11" y="475"/>
                  </a:lnTo>
                  <a:lnTo>
                    <a:pt x="7" y="456"/>
                  </a:lnTo>
                  <a:lnTo>
                    <a:pt x="3" y="437"/>
                  </a:lnTo>
                  <a:lnTo>
                    <a:pt x="1" y="418"/>
                  </a:lnTo>
                  <a:lnTo>
                    <a:pt x="0" y="400"/>
                  </a:lnTo>
                  <a:lnTo>
                    <a:pt x="0" y="379"/>
                  </a:lnTo>
                  <a:lnTo>
                    <a:pt x="0" y="379"/>
                  </a:lnTo>
                  <a:lnTo>
                    <a:pt x="0" y="360"/>
                  </a:lnTo>
                  <a:lnTo>
                    <a:pt x="1" y="342"/>
                  </a:lnTo>
                  <a:lnTo>
                    <a:pt x="3" y="323"/>
                  </a:lnTo>
                  <a:lnTo>
                    <a:pt x="7" y="304"/>
                  </a:lnTo>
                  <a:lnTo>
                    <a:pt x="11" y="285"/>
                  </a:lnTo>
                  <a:lnTo>
                    <a:pt x="15" y="266"/>
                  </a:lnTo>
                  <a:lnTo>
                    <a:pt x="29" y="232"/>
                  </a:lnTo>
                  <a:lnTo>
                    <a:pt x="45" y="199"/>
                  </a:lnTo>
                  <a:lnTo>
                    <a:pt x="64" y="168"/>
                  </a:lnTo>
                  <a:lnTo>
                    <a:pt x="86" y="138"/>
                  </a:lnTo>
                  <a:lnTo>
                    <a:pt x="111" y="111"/>
                  </a:lnTo>
                  <a:lnTo>
                    <a:pt x="137" y="88"/>
                  </a:lnTo>
                  <a:lnTo>
                    <a:pt x="166" y="66"/>
                  </a:lnTo>
                  <a:lnTo>
                    <a:pt x="197" y="47"/>
                  </a:lnTo>
                  <a:lnTo>
                    <a:pt x="231" y="30"/>
                  </a:lnTo>
                  <a:lnTo>
                    <a:pt x="266" y="17"/>
                  </a:lnTo>
                  <a:lnTo>
                    <a:pt x="283" y="13"/>
                  </a:lnTo>
                  <a:lnTo>
                    <a:pt x="302" y="8"/>
                  </a:lnTo>
                  <a:lnTo>
                    <a:pt x="321" y="5"/>
                  </a:lnTo>
                  <a:lnTo>
                    <a:pt x="339" y="3"/>
                  </a:lnTo>
                  <a:lnTo>
                    <a:pt x="358" y="2"/>
                  </a:lnTo>
                  <a:lnTo>
                    <a:pt x="379" y="0"/>
                  </a:lnTo>
                  <a:lnTo>
                    <a:pt x="379" y="0"/>
                  </a:lnTo>
                  <a:lnTo>
                    <a:pt x="397" y="2"/>
                  </a:lnTo>
                  <a:lnTo>
                    <a:pt x="416" y="3"/>
                  </a:lnTo>
                  <a:lnTo>
                    <a:pt x="437" y="5"/>
                  </a:lnTo>
                  <a:lnTo>
                    <a:pt x="454" y="8"/>
                  </a:lnTo>
                  <a:lnTo>
                    <a:pt x="473" y="13"/>
                  </a:lnTo>
                  <a:lnTo>
                    <a:pt x="491" y="17"/>
                  </a:lnTo>
                  <a:lnTo>
                    <a:pt x="526" y="30"/>
                  </a:lnTo>
                  <a:lnTo>
                    <a:pt x="559" y="47"/>
                  </a:lnTo>
                  <a:lnTo>
                    <a:pt x="590" y="66"/>
                  </a:lnTo>
                  <a:lnTo>
                    <a:pt x="620" y="88"/>
                  </a:lnTo>
                  <a:lnTo>
                    <a:pt x="646" y="111"/>
                  </a:lnTo>
                  <a:lnTo>
                    <a:pt x="672" y="138"/>
                  </a:lnTo>
                  <a:lnTo>
                    <a:pt x="692" y="168"/>
                  </a:lnTo>
                  <a:lnTo>
                    <a:pt x="712" y="199"/>
                  </a:lnTo>
                  <a:lnTo>
                    <a:pt x="728" y="232"/>
                  </a:lnTo>
                  <a:lnTo>
                    <a:pt x="740" y="266"/>
                  </a:lnTo>
                  <a:lnTo>
                    <a:pt x="745" y="285"/>
                  </a:lnTo>
                  <a:lnTo>
                    <a:pt x="750" y="304"/>
                  </a:lnTo>
                  <a:lnTo>
                    <a:pt x="753" y="323"/>
                  </a:lnTo>
                  <a:lnTo>
                    <a:pt x="756" y="342"/>
                  </a:lnTo>
                  <a:lnTo>
                    <a:pt x="758" y="360"/>
                  </a:lnTo>
                  <a:lnTo>
                    <a:pt x="758" y="379"/>
                  </a:lnTo>
                  <a:lnTo>
                    <a:pt x="758" y="379"/>
                  </a:lnTo>
                  <a:lnTo>
                    <a:pt x="758" y="400"/>
                  </a:lnTo>
                  <a:lnTo>
                    <a:pt x="756" y="418"/>
                  </a:lnTo>
                  <a:lnTo>
                    <a:pt x="753" y="437"/>
                  </a:lnTo>
                  <a:lnTo>
                    <a:pt x="750" y="456"/>
                  </a:lnTo>
                  <a:lnTo>
                    <a:pt x="745" y="475"/>
                  </a:lnTo>
                  <a:lnTo>
                    <a:pt x="740" y="492"/>
                  </a:lnTo>
                  <a:lnTo>
                    <a:pt x="728" y="528"/>
                  </a:lnTo>
                  <a:lnTo>
                    <a:pt x="712" y="561"/>
                  </a:lnTo>
                  <a:lnTo>
                    <a:pt x="692" y="592"/>
                  </a:lnTo>
                  <a:lnTo>
                    <a:pt x="672" y="620"/>
                  </a:lnTo>
                  <a:lnTo>
                    <a:pt x="646" y="649"/>
                  </a:lnTo>
                  <a:lnTo>
                    <a:pt x="620" y="672"/>
                  </a:lnTo>
                  <a:lnTo>
                    <a:pt x="590" y="694"/>
                  </a:lnTo>
                  <a:lnTo>
                    <a:pt x="559" y="713"/>
                  </a:lnTo>
                  <a:lnTo>
                    <a:pt x="526" y="730"/>
                  </a:lnTo>
                  <a:lnTo>
                    <a:pt x="491" y="743"/>
                  </a:lnTo>
                  <a:lnTo>
                    <a:pt x="473" y="747"/>
                  </a:lnTo>
                  <a:lnTo>
                    <a:pt x="454" y="752"/>
                  </a:lnTo>
                  <a:lnTo>
                    <a:pt x="437" y="755"/>
                  </a:lnTo>
                  <a:lnTo>
                    <a:pt x="416" y="757"/>
                  </a:lnTo>
                  <a:lnTo>
                    <a:pt x="397" y="758"/>
                  </a:lnTo>
                  <a:lnTo>
                    <a:pt x="379" y="760"/>
                  </a:lnTo>
                  <a:lnTo>
                    <a:pt x="379" y="760"/>
                  </a:lnTo>
                  <a:close/>
                  <a:moveTo>
                    <a:pt x="379" y="22"/>
                  </a:moveTo>
                  <a:lnTo>
                    <a:pt x="379" y="22"/>
                  </a:lnTo>
                  <a:lnTo>
                    <a:pt x="341" y="24"/>
                  </a:lnTo>
                  <a:lnTo>
                    <a:pt x="307" y="30"/>
                  </a:lnTo>
                  <a:lnTo>
                    <a:pt x="272" y="38"/>
                  </a:lnTo>
                  <a:lnTo>
                    <a:pt x="239" y="50"/>
                  </a:lnTo>
                  <a:lnTo>
                    <a:pt x="208" y="66"/>
                  </a:lnTo>
                  <a:lnTo>
                    <a:pt x="178" y="83"/>
                  </a:lnTo>
                  <a:lnTo>
                    <a:pt x="150" y="104"/>
                  </a:lnTo>
                  <a:lnTo>
                    <a:pt x="125" y="127"/>
                  </a:lnTo>
                  <a:lnTo>
                    <a:pt x="101" y="152"/>
                  </a:lnTo>
                  <a:lnTo>
                    <a:pt x="81" y="180"/>
                  </a:lnTo>
                  <a:lnTo>
                    <a:pt x="64" y="210"/>
                  </a:lnTo>
                  <a:lnTo>
                    <a:pt x="48" y="241"/>
                  </a:lnTo>
                  <a:lnTo>
                    <a:pt x="37" y="274"/>
                  </a:lnTo>
                  <a:lnTo>
                    <a:pt x="28" y="307"/>
                  </a:lnTo>
                  <a:lnTo>
                    <a:pt x="22" y="343"/>
                  </a:lnTo>
                  <a:lnTo>
                    <a:pt x="20" y="379"/>
                  </a:lnTo>
                  <a:lnTo>
                    <a:pt x="20" y="379"/>
                  </a:lnTo>
                  <a:lnTo>
                    <a:pt x="22" y="417"/>
                  </a:lnTo>
                  <a:lnTo>
                    <a:pt x="28" y="451"/>
                  </a:lnTo>
                  <a:lnTo>
                    <a:pt x="37" y="486"/>
                  </a:lnTo>
                  <a:lnTo>
                    <a:pt x="48" y="519"/>
                  </a:lnTo>
                  <a:lnTo>
                    <a:pt x="64" y="550"/>
                  </a:lnTo>
                  <a:lnTo>
                    <a:pt x="81" y="580"/>
                  </a:lnTo>
                  <a:lnTo>
                    <a:pt x="101" y="608"/>
                  </a:lnTo>
                  <a:lnTo>
                    <a:pt x="125" y="633"/>
                  </a:lnTo>
                  <a:lnTo>
                    <a:pt x="150" y="656"/>
                  </a:lnTo>
                  <a:lnTo>
                    <a:pt x="178" y="677"/>
                  </a:lnTo>
                  <a:lnTo>
                    <a:pt x="208" y="694"/>
                  </a:lnTo>
                  <a:lnTo>
                    <a:pt x="239" y="710"/>
                  </a:lnTo>
                  <a:lnTo>
                    <a:pt x="272" y="722"/>
                  </a:lnTo>
                  <a:lnTo>
                    <a:pt x="307" y="730"/>
                  </a:lnTo>
                  <a:lnTo>
                    <a:pt x="341" y="736"/>
                  </a:lnTo>
                  <a:lnTo>
                    <a:pt x="379" y="738"/>
                  </a:lnTo>
                  <a:lnTo>
                    <a:pt x="379" y="738"/>
                  </a:lnTo>
                  <a:lnTo>
                    <a:pt x="415" y="736"/>
                  </a:lnTo>
                  <a:lnTo>
                    <a:pt x="451" y="730"/>
                  </a:lnTo>
                  <a:lnTo>
                    <a:pt x="485" y="722"/>
                  </a:lnTo>
                  <a:lnTo>
                    <a:pt x="518" y="710"/>
                  </a:lnTo>
                  <a:lnTo>
                    <a:pt x="549" y="694"/>
                  </a:lnTo>
                  <a:lnTo>
                    <a:pt x="578" y="677"/>
                  </a:lnTo>
                  <a:lnTo>
                    <a:pt x="606" y="656"/>
                  </a:lnTo>
                  <a:lnTo>
                    <a:pt x="631" y="633"/>
                  </a:lnTo>
                  <a:lnTo>
                    <a:pt x="654" y="608"/>
                  </a:lnTo>
                  <a:lnTo>
                    <a:pt x="675" y="580"/>
                  </a:lnTo>
                  <a:lnTo>
                    <a:pt x="693" y="550"/>
                  </a:lnTo>
                  <a:lnTo>
                    <a:pt x="708" y="519"/>
                  </a:lnTo>
                  <a:lnTo>
                    <a:pt x="720" y="486"/>
                  </a:lnTo>
                  <a:lnTo>
                    <a:pt x="730" y="451"/>
                  </a:lnTo>
                  <a:lnTo>
                    <a:pt x="734" y="417"/>
                  </a:lnTo>
                  <a:lnTo>
                    <a:pt x="736" y="379"/>
                  </a:lnTo>
                  <a:lnTo>
                    <a:pt x="736" y="379"/>
                  </a:lnTo>
                  <a:lnTo>
                    <a:pt x="734" y="343"/>
                  </a:lnTo>
                  <a:lnTo>
                    <a:pt x="730" y="307"/>
                  </a:lnTo>
                  <a:lnTo>
                    <a:pt x="720" y="274"/>
                  </a:lnTo>
                  <a:lnTo>
                    <a:pt x="708" y="241"/>
                  </a:lnTo>
                  <a:lnTo>
                    <a:pt x="693" y="210"/>
                  </a:lnTo>
                  <a:lnTo>
                    <a:pt x="675" y="180"/>
                  </a:lnTo>
                  <a:lnTo>
                    <a:pt x="654" y="152"/>
                  </a:lnTo>
                  <a:lnTo>
                    <a:pt x="631" y="127"/>
                  </a:lnTo>
                  <a:lnTo>
                    <a:pt x="606" y="104"/>
                  </a:lnTo>
                  <a:lnTo>
                    <a:pt x="578" y="83"/>
                  </a:lnTo>
                  <a:lnTo>
                    <a:pt x="549" y="66"/>
                  </a:lnTo>
                  <a:lnTo>
                    <a:pt x="518" y="50"/>
                  </a:lnTo>
                  <a:lnTo>
                    <a:pt x="485" y="38"/>
                  </a:lnTo>
                  <a:lnTo>
                    <a:pt x="451" y="30"/>
                  </a:lnTo>
                  <a:lnTo>
                    <a:pt x="415" y="24"/>
                  </a:lnTo>
                  <a:lnTo>
                    <a:pt x="379" y="22"/>
                  </a:lnTo>
                  <a:lnTo>
                    <a:pt x="379"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57" name="Rectangle 18">
            <a:extLst>
              <a:ext uri="{FF2B5EF4-FFF2-40B4-BE49-F238E27FC236}">
                <a16:creationId xmlns:a16="http://schemas.microsoft.com/office/drawing/2014/main" id="{01A14099-90D1-4434-BF76-5473A76BD9A0}"/>
              </a:ext>
            </a:extLst>
          </p:cNvPr>
          <p:cNvSpPr>
            <a:spLocks noChangeArrowheads="1"/>
          </p:cNvSpPr>
          <p:nvPr/>
        </p:nvSpPr>
        <p:spPr bwMode="auto">
          <a:xfrm>
            <a:off x="7003323" y="5897553"/>
            <a:ext cx="833102" cy="308514"/>
          </a:xfrm>
          <a:prstGeom prst="rect">
            <a:avLst/>
          </a:prstGeom>
          <a:noFill/>
          <a:ln>
            <a:noFill/>
            <a:prstDash val="solid"/>
          </a:ln>
        </p:spPr>
        <p:style>
          <a:lnRef idx="2">
            <a:schemeClr val="dk1"/>
          </a:lnRef>
          <a:fillRef idx="1">
            <a:schemeClr val="lt1"/>
          </a:fillRef>
          <a:effectRef idx="0">
            <a:schemeClr val="dk1"/>
          </a:effectRef>
          <a:fontRef idx="minor">
            <a:schemeClr val="dk1"/>
          </a:fontRef>
        </p:style>
        <p:txBody>
          <a:bodyPr wrap="square" lIns="0" tIns="45720" rIns="0" bIns="0" anchor="t">
            <a:noAutofit/>
          </a:bodyPr>
          <a:lstStyle/>
          <a:p>
            <a:pPr marL="0" marR="0" lvl="0" indent="0" algn="ctr" defTabSz="914400" rtl="0" eaLnBrk="1" fontAlgn="auto" latinLnBrk="0" hangingPunct="1">
              <a:lnSpc>
                <a:spcPct val="100000"/>
              </a:lnSpc>
              <a:spcBef>
                <a:spcPts val="0"/>
              </a:spcBef>
              <a:spcAft>
                <a:spcPts val="0"/>
              </a:spcAft>
              <a:buClr>
                <a:srgbClr val="787878"/>
              </a:buClr>
              <a:buSzPct val="75000"/>
              <a:buFontTx/>
              <a:buNone/>
              <a:tabLst/>
              <a:defRPr/>
            </a:pPr>
            <a:r>
              <a:rPr kumimoji="0" lang="en-US" sz="900" b="0" i="0" u="none" strike="noStrike" kern="1200" cap="none" spc="0" normalizeH="0" baseline="0" noProof="0" dirty="0">
                <a:ln>
                  <a:noFill/>
                </a:ln>
                <a:solidFill>
                  <a:srgbClr val="000000"/>
                </a:solidFill>
                <a:effectLst/>
                <a:uLnTx/>
                <a:uFillTx/>
                <a:latin typeface="Frutiger Next Pro Medium" pitchFamily="34" charset="0"/>
                <a:ea typeface="+mn-ea"/>
                <a:cs typeface="Arial"/>
                <a:sym typeface="Frutiger Next Pro Medium" charset="0"/>
              </a:rPr>
              <a:t>Consultant III</a:t>
            </a:r>
          </a:p>
        </p:txBody>
      </p:sp>
      <p:grpSp>
        <p:nvGrpSpPr>
          <p:cNvPr id="58" name="Group 57">
            <a:extLst>
              <a:ext uri="{FF2B5EF4-FFF2-40B4-BE49-F238E27FC236}">
                <a16:creationId xmlns:a16="http://schemas.microsoft.com/office/drawing/2014/main" id="{02076AE3-25E6-456D-B65B-212C7A21482E}"/>
              </a:ext>
            </a:extLst>
          </p:cNvPr>
          <p:cNvGrpSpPr/>
          <p:nvPr/>
        </p:nvGrpSpPr>
        <p:grpSpPr>
          <a:xfrm>
            <a:off x="5941297" y="4081261"/>
            <a:ext cx="679590" cy="780196"/>
            <a:chOff x="7098450" y="2697125"/>
            <a:chExt cx="679590" cy="780196"/>
          </a:xfrm>
        </p:grpSpPr>
        <p:sp>
          <p:nvSpPr>
            <p:cNvPr id="59" name="Rectangle 18">
              <a:extLst>
                <a:ext uri="{FF2B5EF4-FFF2-40B4-BE49-F238E27FC236}">
                  <a16:creationId xmlns:a16="http://schemas.microsoft.com/office/drawing/2014/main" id="{58F425CF-A4EE-42C5-9823-A2143A630197}"/>
                </a:ext>
              </a:extLst>
            </p:cNvPr>
            <p:cNvSpPr>
              <a:spLocks noChangeArrowheads="1"/>
            </p:cNvSpPr>
            <p:nvPr/>
          </p:nvSpPr>
          <p:spPr bwMode="auto">
            <a:xfrm>
              <a:off x="7098450" y="3168804"/>
              <a:ext cx="679590" cy="308517"/>
            </a:xfrm>
            <a:prstGeom prst="rect">
              <a:avLst/>
            </a:prstGeom>
            <a:noFill/>
            <a:ln>
              <a:noFill/>
              <a:prstDash val="solid"/>
            </a:ln>
          </p:spPr>
          <p:style>
            <a:lnRef idx="2">
              <a:schemeClr val="dk1"/>
            </a:lnRef>
            <a:fillRef idx="1">
              <a:schemeClr val="lt1"/>
            </a:fillRef>
            <a:effectRef idx="0">
              <a:schemeClr val="dk1"/>
            </a:effectRef>
            <a:fontRef idx="minor">
              <a:schemeClr val="dk1"/>
            </a:fontRef>
          </p:style>
          <p:txBody>
            <a:bodyPr wrap="square" lIns="0" tIns="45720" rIns="0" bIns="0" anchor="t">
              <a:noAutofit/>
            </a:bodyPr>
            <a:lstStyle/>
            <a:p>
              <a:pPr marL="0" marR="0" lvl="0" indent="0" algn="ctr" defTabSz="914400" rtl="0" eaLnBrk="1" fontAlgn="auto" latinLnBrk="0" hangingPunct="1">
                <a:lnSpc>
                  <a:spcPct val="100000"/>
                </a:lnSpc>
                <a:spcBef>
                  <a:spcPts val="0"/>
                </a:spcBef>
                <a:spcAft>
                  <a:spcPts val="0"/>
                </a:spcAft>
                <a:buClr>
                  <a:srgbClr val="787878"/>
                </a:buClr>
                <a:buSzPct val="75000"/>
                <a:buFontTx/>
                <a:buNone/>
                <a:tabLst/>
                <a:defRPr/>
              </a:pPr>
              <a:r>
                <a:rPr kumimoji="0" lang="en-US" sz="900" b="0" i="0" u="none" strike="noStrike" kern="1200" cap="none" spc="0" normalizeH="0" baseline="0" noProof="0" dirty="0">
                  <a:ln>
                    <a:noFill/>
                  </a:ln>
                  <a:solidFill>
                    <a:srgbClr val="000000"/>
                  </a:solidFill>
                  <a:effectLst/>
                  <a:uLnTx/>
                  <a:uFillTx/>
                  <a:latin typeface="Frutiger Next Pro Medium" pitchFamily="34" charset="0"/>
                  <a:ea typeface="+mn-ea"/>
                  <a:cs typeface="Arial"/>
                  <a:sym typeface="Frutiger Next Pro Medium" charset="0"/>
                </a:rPr>
                <a:t>Functional Lead</a:t>
              </a:r>
            </a:p>
          </p:txBody>
        </p:sp>
        <p:grpSp>
          <p:nvGrpSpPr>
            <p:cNvPr id="60" name="Group 59">
              <a:extLst>
                <a:ext uri="{FF2B5EF4-FFF2-40B4-BE49-F238E27FC236}">
                  <a16:creationId xmlns:a16="http://schemas.microsoft.com/office/drawing/2014/main" id="{5847C0BA-4EA6-4DFF-BB58-979A07D24DC6}"/>
                </a:ext>
              </a:extLst>
            </p:cNvPr>
            <p:cNvGrpSpPr>
              <a:grpSpLocks noChangeAspect="1"/>
            </p:cNvGrpSpPr>
            <p:nvPr/>
          </p:nvGrpSpPr>
          <p:grpSpPr>
            <a:xfrm>
              <a:off x="7210246" y="2697125"/>
              <a:ext cx="455998" cy="457200"/>
              <a:chOff x="2870200" y="5289550"/>
              <a:chExt cx="601663" cy="603250"/>
            </a:xfrm>
            <a:solidFill>
              <a:schemeClr val="tx2"/>
            </a:solidFill>
          </p:grpSpPr>
          <p:sp>
            <p:nvSpPr>
              <p:cNvPr id="61" name="Freeform 140">
                <a:extLst>
                  <a:ext uri="{FF2B5EF4-FFF2-40B4-BE49-F238E27FC236}">
                    <a16:creationId xmlns:a16="http://schemas.microsoft.com/office/drawing/2014/main" id="{E412384A-DE54-4938-80C2-E145E1A5142D}"/>
                  </a:ext>
                </a:extLst>
              </p:cNvPr>
              <p:cNvSpPr>
                <a:spLocks noEditPoints="1"/>
              </p:cNvSpPr>
              <p:nvPr/>
            </p:nvSpPr>
            <p:spPr bwMode="auto">
              <a:xfrm>
                <a:off x="3028950" y="5430838"/>
                <a:ext cx="288925" cy="288925"/>
              </a:xfrm>
              <a:custGeom>
                <a:avLst/>
                <a:gdLst>
                  <a:gd name="T0" fmla="*/ 290 w 363"/>
                  <a:gd name="T1" fmla="*/ 257 h 363"/>
                  <a:gd name="T2" fmla="*/ 236 w 363"/>
                  <a:gd name="T3" fmla="*/ 227 h 363"/>
                  <a:gd name="T4" fmla="*/ 232 w 363"/>
                  <a:gd name="T5" fmla="*/ 206 h 363"/>
                  <a:gd name="T6" fmla="*/ 246 w 363"/>
                  <a:gd name="T7" fmla="*/ 186 h 363"/>
                  <a:gd name="T8" fmla="*/ 257 w 363"/>
                  <a:gd name="T9" fmla="*/ 161 h 363"/>
                  <a:gd name="T10" fmla="*/ 268 w 363"/>
                  <a:gd name="T11" fmla="*/ 141 h 363"/>
                  <a:gd name="T12" fmla="*/ 268 w 363"/>
                  <a:gd name="T13" fmla="*/ 122 h 363"/>
                  <a:gd name="T14" fmla="*/ 263 w 363"/>
                  <a:gd name="T15" fmla="*/ 75 h 363"/>
                  <a:gd name="T16" fmla="*/ 250 w 363"/>
                  <a:gd name="T17" fmla="*/ 31 h 363"/>
                  <a:gd name="T18" fmla="*/ 216 w 363"/>
                  <a:gd name="T19" fmla="*/ 4 h 363"/>
                  <a:gd name="T20" fmla="*/ 181 w 363"/>
                  <a:gd name="T21" fmla="*/ 0 h 363"/>
                  <a:gd name="T22" fmla="*/ 133 w 363"/>
                  <a:gd name="T23" fmla="*/ 11 h 363"/>
                  <a:gd name="T24" fmla="*/ 105 w 363"/>
                  <a:gd name="T25" fmla="*/ 44 h 363"/>
                  <a:gd name="T26" fmla="*/ 98 w 363"/>
                  <a:gd name="T27" fmla="*/ 112 h 363"/>
                  <a:gd name="T28" fmla="*/ 92 w 363"/>
                  <a:gd name="T29" fmla="*/ 133 h 363"/>
                  <a:gd name="T30" fmla="*/ 95 w 363"/>
                  <a:gd name="T31" fmla="*/ 148 h 363"/>
                  <a:gd name="T32" fmla="*/ 105 w 363"/>
                  <a:gd name="T33" fmla="*/ 161 h 363"/>
                  <a:gd name="T34" fmla="*/ 124 w 363"/>
                  <a:gd name="T35" fmla="*/ 197 h 363"/>
                  <a:gd name="T36" fmla="*/ 131 w 363"/>
                  <a:gd name="T37" fmla="*/ 221 h 363"/>
                  <a:gd name="T38" fmla="*/ 117 w 363"/>
                  <a:gd name="T39" fmla="*/ 232 h 363"/>
                  <a:gd name="T40" fmla="*/ 12 w 363"/>
                  <a:gd name="T41" fmla="*/ 280 h 363"/>
                  <a:gd name="T42" fmla="*/ 3 w 363"/>
                  <a:gd name="T43" fmla="*/ 288 h 363"/>
                  <a:gd name="T44" fmla="*/ 0 w 363"/>
                  <a:gd name="T45" fmla="*/ 343 h 363"/>
                  <a:gd name="T46" fmla="*/ 4 w 363"/>
                  <a:gd name="T47" fmla="*/ 357 h 363"/>
                  <a:gd name="T48" fmla="*/ 343 w 363"/>
                  <a:gd name="T49" fmla="*/ 363 h 363"/>
                  <a:gd name="T50" fmla="*/ 357 w 363"/>
                  <a:gd name="T51" fmla="*/ 357 h 363"/>
                  <a:gd name="T52" fmla="*/ 363 w 363"/>
                  <a:gd name="T53" fmla="*/ 299 h 363"/>
                  <a:gd name="T54" fmla="*/ 358 w 363"/>
                  <a:gd name="T55" fmla="*/ 288 h 363"/>
                  <a:gd name="T56" fmla="*/ 349 w 363"/>
                  <a:gd name="T57" fmla="*/ 280 h 363"/>
                  <a:gd name="T58" fmla="*/ 346 w 363"/>
                  <a:gd name="T59" fmla="*/ 346 h 363"/>
                  <a:gd name="T60" fmla="*/ 19 w 363"/>
                  <a:gd name="T61" fmla="*/ 347 h 363"/>
                  <a:gd name="T62" fmla="*/ 14 w 363"/>
                  <a:gd name="T63" fmla="*/ 299 h 363"/>
                  <a:gd name="T64" fmla="*/ 17 w 363"/>
                  <a:gd name="T65" fmla="*/ 294 h 363"/>
                  <a:gd name="T66" fmla="*/ 81 w 363"/>
                  <a:gd name="T67" fmla="*/ 268 h 363"/>
                  <a:gd name="T68" fmla="*/ 131 w 363"/>
                  <a:gd name="T69" fmla="*/ 241 h 363"/>
                  <a:gd name="T70" fmla="*/ 145 w 363"/>
                  <a:gd name="T71" fmla="*/ 224 h 363"/>
                  <a:gd name="T72" fmla="*/ 145 w 363"/>
                  <a:gd name="T73" fmla="*/ 205 h 363"/>
                  <a:gd name="T74" fmla="*/ 144 w 363"/>
                  <a:gd name="T75" fmla="*/ 199 h 363"/>
                  <a:gd name="T76" fmla="*/ 130 w 363"/>
                  <a:gd name="T77" fmla="*/ 180 h 363"/>
                  <a:gd name="T78" fmla="*/ 119 w 363"/>
                  <a:gd name="T79" fmla="*/ 155 h 363"/>
                  <a:gd name="T80" fmla="*/ 113 w 363"/>
                  <a:gd name="T81" fmla="*/ 147 h 363"/>
                  <a:gd name="T82" fmla="*/ 108 w 363"/>
                  <a:gd name="T83" fmla="*/ 133 h 363"/>
                  <a:gd name="T84" fmla="*/ 113 w 363"/>
                  <a:gd name="T85" fmla="*/ 120 h 363"/>
                  <a:gd name="T86" fmla="*/ 114 w 363"/>
                  <a:gd name="T87" fmla="*/ 75 h 363"/>
                  <a:gd name="T88" fmla="*/ 119 w 363"/>
                  <a:gd name="T89" fmla="*/ 50 h 363"/>
                  <a:gd name="T90" fmla="*/ 141 w 363"/>
                  <a:gd name="T91" fmla="*/ 23 h 363"/>
                  <a:gd name="T92" fmla="*/ 181 w 363"/>
                  <a:gd name="T93" fmla="*/ 14 h 363"/>
                  <a:gd name="T94" fmla="*/ 210 w 363"/>
                  <a:gd name="T95" fmla="*/ 18 h 363"/>
                  <a:gd name="T96" fmla="*/ 238 w 363"/>
                  <a:gd name="T97" fmla="*/ 39 h 363"/>
                  <a:gd name="T98" fmla="*/ 247 w 363"/>
                  <a:gd name="T99" fmla="*/ 75 h 363"/>
                  <a:gd name="T100" fmla="*/ 249 w 363"/>
                  <a:gd name="T101" fmla="*/ 120 h 363"/>
                  <a:gd name="T102" fmla="*/ 255 w 363"/>
                  <a:gd name="T103" fmla="*/ 133 h 363"/>
                  <a:gd name="T104" fmla="*/ 252 w 363"/>
                  <a:gd name="T105" fmla="*/ 142 h 363"/>
                  <a:gd name="T106" fmla="*/ 246 w 363"/>
                  <a:gd name="T107" fmla="*/ 150 h 363"/>
                  <a:gd name="T108" fmla="*/ 238 w 363"/>
                  <a:gd name="T109" fmla="*/ 167 h 363"/>
                  <a:gd name="T110" fmla="*/ 218 w 363"/>
                  <a:gd name="T111" fmla="*/ 199 h 363"/>
                  <a:gd name="T112" fmla="*/ 216 w 363"/>
                  <a:gd name="T113" fmla="*/ 205 h 363"/>
                  <a:gd name="T114" fmla="*/ 216 w 363"/>
                  <a:gd name="T115" fmla="*/ 224 h 363"/>
                  <a:gd name="T116" fmla="*/ 224 w 363"/>
                  <a:gd name="T117" fmla="*/ 235 h 363"/>
                  <a:gd name="T118" fmla="*/ 258 w 363"/>
                  <a:gd name="T119" fmla="*/ 257 h 363"/>
                  <a:gd name="T120" fmla="*/ 344 w 363"/>
                  <a:gd name="T121" fmla="*/ 294 h 363"/>
                  <a:gd name="T122" fmla="*/ 348 w 363"/>
                  <a:gd name="T123" fmla="*/ 299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3" h="363">
                    <a:moveTo>
                      <a:pt x="349" y="280"/>
                    </a:moveTo>
                    <a:lnTo>
                      <a:pt x="349" y="280"/>
                    </a:lnTo>
                    <a:lnTo>
                      <a:pt x="290" y="257"/>
                    </a:lnTo>
                    <a:lnTo>
                      <a:pt x="255" y="238"/>
                    </a:lnTo>
                    <a:lnTo>
                      <a:pt x="244" y="232"/>
                    </a:lnTo>
                    <a:lnTo>
                      <a:pt x="236" y="227"/>
                    </a:lnTo>
                    <a:lnTo>
                      <a:pt x="233" y="224"/>
                    </a:lnTo>
                    <a:lnTo>
                      <a:pt x="232" y="221"/>
                    </a:lnTo>
                    <a:lnTo>
                      <a:pt x="232" y="206"/>
                    </a:lnTo>
                    <a:lnTo>
                      <a:pt x="232" y="206"/>
                    </a:lnTo>
                    <a:lnTo>
                      <a:pt x="239" y="197"/>
                    </a:lnTo>
                    <a:lnTo>
                      <a:pt x="246" y="186"/>
                    </a:lnTo>
                    <a:lnTo>
                      <a:pt x="252" y="174"/>
                    </a:lnTo>
                    <a:lnTo>
                      <a:pt x="257" y="161"/>
                    </a:lnTo>
                    <a:lnTo>
                      <a:pt x="257" y="161"/>
                    </a:lnTo>
                    <a:lnTo>
                      <a:pt x="261" y="155"/>
                    </a:lnTo>
                    <a:lnTo>
                      <a:pt x="266" y="148"/>
                    </a:lnTo>
                    <a:lnTo>
                      <a:pt x="268" y="141"/>
                    </a:lnTo>
                    <a:lnTo>
                      <a:pt x="269" y="133"/>
                    </a:lnTo>
                    <a:lnTo>
                      <a:pt x="269" y="133"/>
                    </a:lnTo>
                    <a:lnTo>
                      <a:pt x="268" y="122"/>
                    </a:lnTo>
                    <a:lnTo>
                      <a:pt x="263" y="112"/>
                    </a:lnTo>
                    <a:lnTo>
                      <a:pt x="263" y="75"/>
                    </a:lnTo>
                    <a:lnTo>
                      <a:pt x="263" y="75"/>
                    </a:lnTo>
                    <a:lnTo>
                      <a:pt x="261" y="58"/>
                    </a:lnTo>
                    <a:lnTo>
                      <a:pt x="257" y="44"/>
                    </a:lnTo>
                    <a:lnTo>
                      <a:pt x="250" y="31"/>
                    </a:lnTo>
                    <a:lnTo>
                      <a:pt x="241" y="20"/>
                    </a:lnTo>
                    <a:lnTo>
                      <a:pt x="230" y="11"/>
                    </a:lnTo>
                    <a:lnTo>
                      <a:pt x="216" y="4"/>
                    </a:lnTo>
                    <a:lnTo>
                      <a:pt x="199" y="1"/>
                    </a:lnTo>
                    <a:lnTo>
                      <a:pt x="181" y="0"/>
                    </a:lnTo>
                    <a:lnTo>
                      <a:pt x="181" y="0"/>
                    </a:lnTo>
                    <a:lnTo>
                      <a:pt x="163" y="1"/>
                    </a:lnTo>
                    <a:lnTo>
                      <a:pt x="147" y="4"/>
                    </a:lnTo>
                    <a:lnTo>
                      <a:pt x="133" y="11"/>
                    </a:lnTo>
                    <a:lnTo>
                      <a:pt x="120" y="20"/>
                    </a:lnTo>
                    <a:lnTo>
                      <a:pt x="111" y="31"/>
                    </a:lnTo>
                    <a:lnTo>
                      <a:pt x="105" y="44"/>
                    </a:lnTo>
                    <a:lnTo>
                      <a:pt x="100" y="59"/>
                    </a:lnTo>
                    <a:lnTo>
                      <a:pt x="98" y="75"/>
                    </a:lnTo>
                    <a:lnTo>
                      <a:pt x="98" y="112"/>
                    </a:lnTo>
                    <a:lnTo>
                      <a:pt x="98" y="112"/>
                    </a:lnTo>
                    <a:lnTo>
                      <a:pt x="94" y="122"/>
                    </a:lnTo>
                    <a:lnTo>
                      <a:pt x="92" y="133"/>
                    </a:lnTo>
                    <a:lnTo>
                      <a:pt x="92" y="133"/>
                    </a:lnTo>
                    <a:lnTo>
                      <a:pt x="94" y="141"/>
                    </a:lnTo>
                    <a:lnTo>
                      <a:pt x="95" y="148"/>
                    </a:lnTo>
                    <a:lnTo>
                      <a:pt x="100" y="155"/>
                    </a:lnTo>
                    <a:lnTo>
                      <a:pt x="105" y="161"/>
                    </a:lnTo>
                    <a:lnTo>
                      <a:pt x="105" y="161"/>
                    </a:lnTo>
                    <a:lnTo>
                      <a:pt x="109" y="174"/>
                    </a:lnTo>
                    <a:lnTo>
                      <a:pt x="116" y="186"/>
                    </a:lnTo>
                    <a:lnTo>
                      <a:pt x="124" y="197"/>
                    </a:lnTo>
                    <a:lnTo>
                      <a:pt x="131" y="206"/>
                    </a:lnTo>
                    <a:lnTo>
                      <a:pt x="131" y="221"/>
                    </a:lnTo>
                    <a:lnTo>
                      <a:pt x="131" y="221"/>
                    </a:lnTo>
                    <a:lnTo>
                      <a:pt x="128" y="224"/>
                    </a:lnTo>
                    <a:lnTo>
                      <a:pt x="125" y="227"/>
                    </a:lnTo>
                    <a:lnTo>
                      <a:pt x="117" y="232"/>
                    </a:lnTo>
                    <a:lnTo>
                      <a:pt x="106" y="238"/>
                    </a:lnTo>
                    <a:lnTo>
                      <a:pt x="72" y="257"/>
                    </a:lnTo>
                    <a:lnTo>
                      <a:pt x="12" y="280"/>
                    </a:lnTo>
                    <a:lnTo>
                      <a:pt x="12" y="280"/>
                    </a:lnTo>
                    <a:lnTo>
                      <a:pt x="6" y="283"/>
                    </a:lnTo>
                    <a:lnTo>
                      <a:pt x="3" y="288"/>
                    </a:lnTo>
                    <a:lnTo>
                      <a:pt x="0" y="293"/>
                    </a:lnTo>
                    <a:lnTo>
                      <a:pt x="0" y="299"/>
                    </a:lnTo>
                    <a:lnTo>
                      <a:pt x="0" y="343"/>
                    </a:lnTo>
                    <a:lnTo>
                      <a:pt x="0" y="343"/>
                    </a:lnTo>
                    <a:lnTo>
                      <a:pt x="1" y="351"/>
                    </a:lnTo>
                    <a:lnTo>
                      <a:pt x="4" y="357"/>
                    </a:lnTo>
                    <a:lnTo>
                      <a:pt x="11" y="362"/>
                    </a:lnTo>
                    <a:lnTo>
                      <a:pt x="19" y="363"/>
                    </a:lnTo>
                    <a:lnTo>
                      <a:pt x="343" y="363"/>
                    </a:lnTo>
                    <a:lnTo>
                      <a:pt x="343" y="363"/>
                    </a:lnTo>
                    <a:lnTo>
                      <a:pt x="351" y="362"/>
                    </a:lnTo>
                    <a:lnTo>
                      <a:pt x="357" y="357"/>
                    </a:lnTo>
                    <a:lnTo>
                      <a:pt x="362" y="351"/>
                    </a:lnTo>
                    <a:lnTo>
                      <a:pt x="363" y="343"/>
                    </a:lnTo>
                    <a:lnTo>
                      <a:pt x="363" y="299"/>
                    </a:lnTo>
                    <a:lnTo>
                      <a:pt x="363" y="299"/>
                    </a:lnTo>
                    <a:lnTo>
                      <a:pt x="362" y="293"/>
                    </a:lnTo>
                    <a:lnTo>
                      <a:pt x="358" y="288"/>
                    </a:lnTo>
                    <a:lnTo>
                      <a:pt x="355" y="283"/>
                    </a:lnTo>
                    <a:lnTo>
                      <a:pt x="349" y="280"/>
                    </a:lnTo>
                    <a:lnTo>
                      <a:pt x="349" y="280"/>
                    </a:lnTo>
                    <a:close/>
                    <a:moveTo>
                      <a:pt x="348" y="343"/>
                    </a:moveTo>
                    <a:lnTo>
                      <a:pt x="348" y="343"/>
                    </a:lnTo>
                    <a:lnTo>
                      <a:pt x="346" y="346"/>
                    </a:lnTo>
                    <a:lnTo>
                      <a:pt x="343" y="347"/>
                    </a:lnTo>
                    <a:lnTo>
                      <a:pt x="19" y="347"/>
                    </a:lnTo>
                    <a:lnTo>
                      <a:pt x="19" y="347"/>
                    </a:lnTo>
                    <a:lnTo>
                      <a:pt x="15" y="346"/>
                    </a:lnTo>
                    <a:lnTo>
                      <a:pt x="14" y="343"/>
                    </a:lnTo>
                    <a:lnTo>
                      <a:pt x="14" y="299"/>
                    </a:lnTo>
                    <a:lnTo>
                      <a:pt x="14" y="299"/>
                    </a:lnTo>
                    <a:lnTo>
                      <a:pt x="15" y="296"/>
                    </a:lnTo>
                    <a:lnTo>
                      <a:pt x="17" y="294"/>
                    </a:lnTo>
                    <a:lnTo>
                      <a:pt x="17" y="294"/>
                    </a:lnTo>
                    <a:lnTo>
                      <a:pt x="53" y="280"/>
                    </a:lnTo>
                    <a:lnTo>
                      <a:pt x="81" y="268"/>
                    </a:lnTo>
                    <a:lnTo>
                      <a:pt x="103" y="257"/>
                    </a:lnTo>
                    <a:lnTo>
                      <a:pt x="120" y="247"/>
                    </a:lnTo>
                    <a:lnTo>
                      <a:pt x="131" y="241"/>
                    </a:lnTo>
                    <a:lnTo>
                      <a:pt x="139" y="235"/>
                    </a:lnTo>
                    <a:lnTo>
                      <a:pt x="142" y="228"/>
                    </a:lnTo>
                    <a:lnTo>
                      <a:pt x="145" y="224"/>
                    </a:lnTo>
                    <a:lnTo>
                      <a:pt x="145" y="224"/>
                    </a:lnTo>
                    <a:lnTo>
                      <a:pt x="145" y="222"/>
                    </a:lnTo>
                    <a:lnTo>
                      <a:pt x="145" y="205"/>
                    </a:lnTo>
                    <a:lnTo>
                      <a:pt x="145" y="205"/>
                    </a:lnTo>
                    <a:lnTo>
                      <a:pt x="145" y="202"/>
                    </a:lnTo>
                    <a:lnTo>
                      <a:pt x="144" y="199"/>
                    </a:lnTo>
                    <a:lnTo>
                      <a:pt x="144" y="199"/>
                    </a:lnTo>
                    <a:lnTo>
                      <a:pt x="136" y="189"/>
                    </a:lnTo>
                    <a:lnTo>
                      <a:pt x="130" y="180"/>
                    </a:lnTo>
                    <a:lnTo>
                      <a:pt x="124" y="167"/>
                    </a:lnTo>
                    <a:lnTo>
                      <a:pt x="119" y="155"/>
                    </a:lnTo>
                    <a:lnTo>
                      <a:pt x="119" y="155"/>
                    </a:lnTo>
                    <a:lnTo>
                      <a:pt x="116" y="150"/>
                    </a:lnTo>
                    <a:lnTo>
                      <a:pt x="116" y="150"/>
                    </a:lnTo>
                    <a:lnTo>
                      <a:pt x="113" y="147"/>
                    </a:lnTo>
                    <a:lnTo>
                      <a:pt x="109" y="142"/>
                    </a:lnTo>
                    <a:lnTo>
                      <a:pt x="108" y="138"/>
                    </a:lnTo>
                    <a:lnTo>
                      <a:pt x="108" y="133"/>
                    </a:lnTo>
                    <a:lnTo>
                      <a:pt x="108" y="133"/>
                    </a:lnTo>
                    <a:lnTo>
                      <a:pt x="109" y="125"/>
                    </a:lnTo>
                    <a:lnTo>
                      <a:pt x="113" y="120"/>
                    </a:lnTo>
                    <a:lnTo>
                      <a:pt x="113" y="120"/>
                    </a:lnTo>
                    <a:lnTo>
                      <a:pt x="114" y="116"/>
                    </a:lnTo>
                    <a:lnTo>
                      <a:pt x="114" y="75"/>
                    </a:lnTo>
                    <a:lnTo>
                      <a:pt x="114" y="75"/>
                    </a:lnTo>
                    <a:lnTo>
                      <a:pt x="114" y="62"/>
                    </a:lnTo>
                    <a:lnTo>
                      <a:pt x="119" y="50"/>
                    </a:lnTo>
                    <a:lnTo>
                      <a:pt x="124" y="39"/>
                    </a:lnTo>
                    <a:lnTo>
                      <a:pt x="131" y="29"/>
                    </a:lnTo>
                    <a:lnTo>
                      <a:pt x="141" y="23"/>
                    </a:lnTo>
                    <a:lnTo>
                      <a:pt x="152" y="18"/>
                    </a:lnTo>
                    <a:lnTo>
                      <a:pt x="166" y="15"/>
                    </a:lnTo>
                    <a:lnTo>
                      <a:pt x="181" y="14"/>
                    </a:lnTo>
                    <a:lnTo>
                      <a:pt x="181" y="14"/>
                    </a:lnTo>
                    <a:lnTo>
                      <a:pt x="196" y="15"/>
                    </a:lnTo>
                    <a:lnTo>
                      <a:pt x="210" y="18"/>
                    </a:lnTo>
                    <a:lnTo>
                      <a:pt x="221" y="23"/>
                    </a:lnTo>
                    <a:lnTo>
                      <a:pt x="232" y="29"/>
                    </a:lnTo>
                    <a:lnTo>
                      <a:pt x="238" y="39"/>
                    </a:lnTo>
                    <a:lnTo>
                      <a:pt x="244" y="50"/>
                    </a:lnTo>
                    <a:lnTo>
                      <a:pt x="247" y="61"/>
                    </a:lnTo>
                    <a:lnTo>
                      <a:pt x="247" y="75"/>
                    </a:lnTo>
                    <a:lnTo>
                      <a:pt x="247" y="116"/>
                    </a:lnTo>
                    <a:lnTo>
                      <a:pt x="247" y="116"/>
                    </a:lnTo>
                    <a:lnTo>
                      <a:pt x="249" y="120"/>
                    </a:lnTo>
                    <a:lnTo>
                      <a:pt x="249" y="120"/>
                    </a:lnTo>
                    <a:lnTo>
                      <a:pt x="254" y="125"/>
                    </a:lnTo>
                    <a:lnTo>
                      <a:pt x="255" y="133"/>
                    </a:lnTo>
                    <a:lnTo>
                      <a:pt x="255" y="133"/>
                    </a:lnTo>
                    <a:lnTo>
                      <a:pt x="254" y="138"/>
                    </a:lnTo>
                    <a:lnTo>
                      <a:pt x="252" y="142"/>
                    </a:lnTo>
                    <a:lnTo>
                      <a:pt x="249" y="147"/>
                    </a:lnTo>
                    <a:lnTo>
                      <a:pt x="246" y="150"/>
                    </a:lnTo>
                    <a:lnTo>
                      <a:pt x="246" y="150"/>
                    </a:lnTo>
                    <a:lnTo>
                      <a:pt x="243" y="155"/>
                    </a:lnTo>
                    <a:lnTo>
                      <a:pt x="243" y="155"/>
                    </a:lnTo>
                    <a:lnTo>
                      <a:pt x="238" y="167"/>
                    </a:lnTo>
                    <a:lnTo>
                      <a:pt x="233" y="180"/>
                    </a:lnTo>
                    <a:lnTo>
                      <a:pt x="225" y="189"/>
                    </a:lnTo>
                    <a:lnTo>
                      <a:pt x="218" y="199"/>
                    </a:lnTo>
                    <a:lnTo>
                      <a:pt x="218" y="199"/>
                    </a:lnTo>
                    <a:lnTo>
                      <a:pt x="216" y="202"/>
                    </a:lnTo>
                    <a:lnTo>
                      <a:pt x="216" y="205"/>
                    </a:lnTo>
                    <a:lnTo>
                      <a:pt x="216" y="222"/>
                    </a:lnTo>
                    <a:lnTo>
                      <a:pt x="216" y="222"/>
                    </a:lnTo>
                    <a:lnTo>
                      <a:pt x="216" y="224"/>
                    </a:lnTo>
                    <a:lnTo>
                      <a:pt x="216" y="224"/>
                    </a:lnTo>
                    <a:lnTo>
                      <a:pt x="219" y="228"/>
                    </a:lnTo>
                    <a:lnTo>
                      <a:pt x="224" y="235"/>
                    </a:lnTo>
                    <a:lnTo>
                      <a:pt x="230" y="241"/>
                    </a:lnTo>
                    <a:lnTo>
                      <a:pt x="243" y="249"/>
                    </a:lnTo>
                    <a:lnTo>
                      <a:pt x="258" y="257"/>
                    </a:lnTo>
                    <a:lnTo>
                      <a:pt x="280" y="268"/>
                    </a:lnTo>
                    <a:lnTo>
                      <a:pt x="308" y="280"/>
                    </a:lnTo>
                    <a:lnTo>
                      <a:pt x="344" y="294"/>
                    </a:lnTo>
                    <a:lnTo>
                      <a:pt x="344" y="294"/>
                    </a:lnTo>
                    <a:lnTo>
                      <a:pt x="348" y="296"/>
                    </a:lnTo>
                    <a:lnTo>
                      <a:pt x="348" y="299"/>
                    </a:lnTo>
                    <a:lnTo>
                      <a:pt x="348" y="34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Frutiger Next Pro Medium" pitchFamily="34" charset="0"/>
                  <a:ea typeface="+mn-ea"/>
                  <a:cs typeface="+mn-cs"/>
                </a:endParaRPr>
              </a:p>
            </p:txBody>
          </p:sp>
          <p:sp>
            <p:nvSpPr>
              <p:cNvPr id="62" name="Freeform 148">
                <a:extLst>
                  <a:ext uri="{FF2B5EF4-FFF2-40B4-BE49-F238E27FC236}">
                    <a16:creationId xmlns:a16="http://schemas.microsoft.com/office/drawing/2014/main" id="{EAE65268-84C7-4492-B4CA-BA5BC62ECCF2}"/>
                  </a:ext>
                </a:extLst>
              </p:cNvPr>
              <p:cNvSpPr>
                <a:spLocks noEditPoints="1"/>
              </p:cNvSpPr>
              <p:nvPr/>
            </p:nvSpPr>
            <p:spPr bwMode="auto">
              <a:xfrm>
                <a:off x="2870200" y="5289550"/>
                <a:ext cx="601663" cy="603250"/>
              </a:xfrm>
              <a:custGeom>
                <a:avLst/>
                <a:gdLst>
                  <a:gd name="T0" fmla="*/ 359 w 758"/>
                  <a:gd name="T1" fmla="*/ 758 h 760"/>
                  <a:gd name="T2" fmla="*/ 303 w 758"/>
                  <a:gd name="T3" fmla="*/ 752 h 760"/>
                  <a:gd name="T4" fmla="*/ 232 w 758"/>
                  <a:gd name="T5" fmla="*/ 730 h 760"/>
                  <a:gd name="T6" fmla="*/ 138 w 758"/>
                  <a:gd name="T7" fmla="*/ 672 h 760"/>
                  <a:gd name="T8" fmla="*/ 65 w 758"/>
                  <a:gd name="T9" fmla="*/ 592 h 760"/>
                  <a:gd name="T10" fmla="*/ 18 w 758"/>
                  <a:gd name="T11" fmla="*/ 492 h 760"/>
                  <a:gd name="T12" fmla="*/ 3 w 758"/>
                  <a:gd name="T13" fmla="*/ 437 h 760"/>
                  <a:gd name="T14" fmla="*/ 0 w 758"/>
                  <a:gd name="T15" fmla="*/ 379 h 760"/>
                  <a:gd name="T16" fmla="*/ 2 w 758"/>
                  <a:gd name="T17" fmla="*/ 342 h 760"/>
                  <a:gd name="T18" fmla="*/ 11 w 758"/>
                  <a:gd name="T19" fmla="*/ 285 h 760"/>
                  <a:gd name="T20" fmla="*/ 46 w 758"/>
                  <a:gd name="T21" fmla="*/ 199 h 760"/>
                  <a:gd name="T22" fmla="*/ 112 w 758"/>
                  <a:gd name="T23" fmla="*/ 111 h 760"/>
                  <a:gd name="T24" fmla="*/ 198 w 758"/>
                  <a:gd name="T25" fmla="*/ 47 h 760"/>
                  <a:gd name="T26" fmla="*/ 284 w 758"/>
                  <a:gd name="T27" fmla="*/ 13 h 760"/>
                  <a:gd name="T28" fmla="*/ 340 w 758"/>
                  <a:gd name="T29" fmla="*/ 3 h 760"/>
                  <a:gd name="T30" fmla="*/ 379 w 758"/>
                  <a:gd name="T31" fmla="*/ 0 h 760"/>
                  <a:gd name="T32" fmla="*/ 437 w 758"/>
                  <a:gd name="T33" fmla="*/ 5 h 760"/>
                  <a:gd name="T34" fmla="*/ 492 w 758"/>
                  <a:gd name="T35" fmla="*/ 17 h 760"/>
                  <a:gd name="T36" fmla="*/ 591 w 758"/>
                  <a:gd name="T37" fmla="*/ 66 h 760"/>
                  <a:gd name="T38" fmla="*/ 672 w 758"/>
                  <a:gd name="T39" fmla="*/ 138 h 760"/>
                  <a:gd name="T40" fmla="*/ 729 w 758"/>
                  <a:gd name="T41" fmla="*/ 232 h 760"/>
                  <a:gd name="T42" fmla="*/ 751 w 758"/>
                  <a:gd name="T43" fmla="*/ 304 h 760"/>
                  <a:gd name="T44" fmla="*/ 758 w 758"/>
                  <a:gd name="T45" fmla="*/ 360 h 760"/>
                  <a:gd name="T46" fmla="*/ 758 w 758"/>
                  <a:gd name="T47" fmla="*/ 400 h 760"/>
                  <a:gd name="T48" fmla="*/ 751 w 758"/>
                  <a:gd name="T49" fmla="*/ 456 h 760"/>
                  <a:gd name="T50" fmla="*/ 729 w 758"/>
                  <a:gd name="T51" fmla="*/ 528 h 760"/>
                  <a:gd name="T52" fmla="*/ 672 w 758"/>
                  <a:gd name="T53" fmla="*/ 620 h 760"/>
                  <a:gd name="T54" fmla="*/ 591 w 758"/>
                  <a:gd name="T55" fmla="*/ 694 h 760"/>
                  <a:gd name="T56" fmla="*/ 492 w 758"/>
                  <a:gd name="T57" fmla="*/ 743 h 760"/>
                  <a:gd name="T58" fmla="*/ 437 w 758"/>
                  <a:gd name="T59" fmla="*/ 755 h 760"/>
                  <a:gd name="T60" fmla="*/ 379 w 758"/>
                  <a:gd name="T61" fmla="*/ 760 h 760"/>
                  <a:gd name="T62" fmla="*/ 379 w 758"/>
                  <a:gd name="T63" fmla="*/ 22 h 760"/>
                  <a:gd name="T64" fmla="*/ 273 w 758"/>
                  <a:gd name="T65" fmla="*/ 38 h 760"/>
                  <a:gd name="T66" fmla="*/ 179 w 758"/>
                  <a:gd name="T67" fmla="*/ 83 h 760"/>
                  <a:gd name="T68" fmla="*/ 104 w 758"/>
                  <a:gd name="T69" fmla="*/ 152 h 760"/>
                  <a:gd name="T70" fmla="*/ 49 w 758"/>
                  <a:gd name="T71" fmla="*/ 241 h 760"/>
                  <a:gd name="T72" fmla="*/ 22 w 758"/>
                  <a:gd name="T73" fmla="*/ 343 h 760"/>
                  <a:gd name="T74" fmla="*/ 22 w 758"/>
                  <a:gd name="T75" fmla="*/ 417 h 760"/>
                  <a:gd name="T76" fmla="*/ 49 w 758"/>
                  <a:gd name="T77" fmla="*/ 519 h 760"/>
                  <a:gd name="T78" fmla="*/ 104 w 758"/>
                  <a:gd name="T79" fmla="*/ 608 h 760"/>
                  <a:gd name="T80" fmla="*/ 179 w 758"/>
                  <a:gd name="T81" fmla="*/ 677 h 760"/>
                  <a:gd name="T82" fmla="*/ 273 w 758"/>
                  <a:gd name="T83" fmla="*/ 722 h 760"/>
                  <a:gd name="T84" fmla="*/ 379 w 758"/>
                  <a:gd name="T85" fmla="*/ 738 h 760"/>
                  <a:gd name="T86" fmla="*/ 451 w 758"/>
                  <a:gd name="T87" fmla="*/ 730 h 760"/>
                  <a:gd name="T88" fmla="*/ 550 w 758"/>
                  <a:gd name="T89" fmla="*/ 694 h 760"/>
                  <a:gd name="T90" fmla="*/ 632 w 758"/>
                  <a:gd name="T91" fmla="*/ 633 h 760"/>
                  <a:gd name="T92" fmla="*/ 694 w 758"/>
                  <a:gd name="T93" fmla="*/ 550 h 760"/>
                  <a:gd name="T94" fmla="*/ 730 w 758"/>
                  <a:gd name="T95" fmla="*/ 451 h 760"/>
                  <a:gd name="T96" fmla="*/ 736 w 758"/>
                  <a:gd name="T97" fmla="*/ 379 h 760"/>
                  <a:gd name="T98" fmla="*/ 721 w 758"/>
                  <a:gd name="T99" fmla="*/ 274 h 760"/>
                  <a:gd name="T100" fmla="*/ 675 w 758"/>
                  <a:gd name="T101" fmla="*/ 180 h 760"/>
                  <a:gd name="T102" fmla="*/ 606 w 758"/>
                  <a:gd name="T103" fmla="*/ 104 h 760"/>
                  <a:gd name="T104" fmla="*/ 519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9" y="758"/>
                    </a:lnTo>
                    <a:lnTo>
                      <a:pt x="340" y="757"/>
                    </a:lnTo>
                    <a:lnTo>
                      <a:pt x="321" y="755"/>
                    </a:lnTo>
                    <a:lnTo>
                      <a:pt x="303" y="752"/>
                    </a:lnTo>
                    <a:lnTo>
                      <a:pt x="284" y="747"/>
                    </a:lnTo>
                    <a:lnTo>
                      <a:pt x="267" y="743"/>
                    </a:lnTo>
                    <a:lnTo>
                      <a:pt x="232" y="730"/>
                    </a:lnTo>
                    <a:lnTo>
                      <a:pt x="198" y="713"/>
                    </a:lnTo>
                    <a:lnTo>
                      <a:pt x="168" y="694"/>
                    </a:lnTo>
                    <a:lnTo>
                      <a:pt x="138" y="672"/>
                    </a:lnTo>
                    <a:lnTo>
                      <a:pt x="112" y="649"/>
                    </a:lnTo>
                    <a:lnTo>
                      <a:pt x="86" y="620"/>
                    </a:lnTo>
                    <a:lnTo>
                      <a:pt x="65" y="592"/>
                    </a:lnTo>
                    <a:lnTo>
                      <a:pt x="46" y="561"/>
                    </a:lnTo>
                    <a:lnTo>
                      <a:pt x="30" y="528"/>
                    </a:lnTo>
                    <a:lnTo>
                      <a:pt x="18" y="492"/>
                    </a:lnTo>
                    <a:lnTo>
                      <a:pt x="11" y="475"/>
                    </a:lnTo>
                    <a:lnTo>
                      <a:pt x="8" y="456"/>
                    </a:lnTo>
                    <a:lnTo>
                      <a:pt x="3" y="437"/>
                    </a:lnTo>
                    <a:lnTo>
                      <a:pt x="2" y="418"/>
                    </a:lnTo>
                    <a:lnTo>
                      <a:pt x="0" y="400"/>
                    </a:lnTo>
                    <a:lnTo>
                      <a:pt x="0" y="379"/>
                    </a:lnTo>
                    <a:lnTo>
                      <a:pt x="0" y="379"/>
                    </a:lnTo>
                    <a:lnTo>
                      <a:pt x="0" y="360"/>
                    </a:lnTo>
                    <a:lnTo>
                      <a:pt x="2" y="342"/>
                    </a:lnTo>
                    <a:lnTo>
                      <a:pt x="3" y="323"/>
                    </a:lnTo>
                    <a:lnTo>
                      <a:pt x="8" y="304"/>
                    </a:lnTo>
                    <a:lnTo>
                      <a:pt x="11" y="285"/>
                    </a:lnTo>
                    <a:lnTo>
                      <a:pt x="18" y="266"/>
                    </a:lnTo>
                    <a:lnTo>
                      <a:pt x="30" y="232"/>
                    </a:lnTo>
                    <a:lnTo>
                      <a:pt x="46" y="199"/>
                    </a:lnTo>
                    <a:lnTo>
                      <a:pt x="65" y="168"/>
                    </a:lnTo>
                    <a:lnTo>
                      <a:pt x="86" y="138"/>
                    </a:lnTo>
                    <a:lnTo>
                      <a:pt x="112" y="111"/>
                    </a:lnTo>
                    <a:lnTo>
                      <a:pt x="138" y="88"/>
                    </a:lnTo>
                    <a:lnTo>
                      <a:pt x="168" y="66"/>
                    </a:lnTo>
                    <a:lnTo>
                      <a:pt x="198" y="47"/>
                    </a:lnTo>
                    <a:lnTo>
                      <a:pt x="232" y="30"/>
                    </a:lnTo>
                    <a:lnTo>
                      <a:pt x="267" y="17"/>
                    </a:lnTo>
                    <a:lnTo>
                      <a:pt x="284" y="13"/>
                    </a:lnTo>
                    <a:lnTo>
                      <a:pt x="303" y="8"/>
                    </a:lnTo>
                    <a:lnTo>
                      <a:pt x="321" y="5"/>
                    </a:lnTo>
                    <a:lnTo>
                      <a:pt x="340" y="3"/>
                    </a:lnTo>
                    <a:lnTo>
                      <a:pt x="359" y="2"/>
                    </a:lnTo>
                    <a:lnTo>
                      <a:pt x="379" y="0"/>
                    </a:lnTo>
                    <a:lnTo>
                      <a:pt x="379" y="0"/>
                    </a:lnTo>
                    <a:lnTo>
                      <a:pt x="398" y="2"/>
                    </a:lnTo>
                    <a:lnTo>
                      <a:pt x="419" y="3"/>
                    </a:lnTo>
                    <a:lnTo>
                      <a:pt x="437" y="5"/>
                    </a:lnTo>
                    <a:lnTo>
                      <a:pt x="456" y="8"/>
                    </a:lnTo>
                    <a:lnTo>
                      <a:pt x="473" y="13"/>
                    </a:lnTo>
                    <a:lnTo>
                      <a:pt x="492" y="17"/>
                    </a:lnTo>
                    <a:lnTo>
                      <a:pt x="527" y="30"/>
                    </a:lnTo>
                    <a:lnTo>
                      <a:pt x="559" y="47"/>
                    </a:lnTo>
                    <a:lnTo>
                      <a:pt x="591" y="66"/>
                    </a:lnTo>
                    <a:lnTo>
                      <a:pt x="621" y="88"/>
                    </a:lnTo>
                    <a:lnTo>
                      <a:pt x="647" y="111"/>
                    </a:lnTo>
                    <a:lnTo>
                      <a:pt x="672" y="138"/>
                    </a:lnTo>
                    <a:lnTo>
                      <a:pt x="694" y="168"/>
                    </a:lnTo>
                    <a:lnTo>
                      <a:pt x="713" y="199"/>
                    </a:lnTo>
                    <a:lnTo>
                      <a:pt x="729" y="232"/>
                    </a:lnTo>
                    <a:lnTo>
                      <a:pt x="741" y="266"/>
                    </a:lnTo>
                    <a:lnTo>
                      <a:pt x="746" y="285"/>
                    </a:lnTo>
                    <a:lnTo>
                      <a:pt x="751" y="304"/>
                    </a:lnTo>
                    <a:lnTo>
                      <a:pt x="754" y="323"/>
                    </a:lnTo>
                    <a:lnTo>
                      <a:pt x="757" y="342"/>
                    </a:lnTo>
                    <a:lnTo>
                      <a:pt x="758" y="360"/>
                    </a:lnTo>
                    <a:lnTo>
                      <a:pt x="758" y="379"/>
                    </a:lnTo>
                    <a:lnTo>
                      <a:pt x="758" y="379"/>
                    </a:lnTo>
                    <a:lnTo>
                      <a:pt x="758" y="400"/>
                    </a:lnTo>
                    <a:lnTo>
                      <a:pt x="757" y="418"/>
                    </a:lnTo>
                    <a:lnTo>
                      <a:pt x="754" y="437"/>
                    </a:lnTo>
                    <a:lnTo>
                      <a:pt x="751" y="456"/>
                    </a:lnTo>
                    <a:lnTo>
                      <a:pt x="746" y="475"/>
                    </a:lnTo>
                    <a:lnTo>
                      <a:pt x="741" y="492"/>
                    </a:lnTo>
                    <a:lnTo>
                      <a:pt x="729" y="528"/>
                    </a:lnTo>
                    <a:lnTo>
                      <a:pt x="713" y="561"/>
                    </a:lnTo>
                    <a:lnTo>
                      <a:pt x="694" y="592"/>
                    </a:lnTo>
                    <a:lnTo>
                      <a:pt x="672" y="620"/>
                    </a:lnTo>
                    <a:lnTo>
                      <a:pt x="647" y="649"/>
                    </a:lnTo>
                    <a:lnTo>
                      <a:pt x="621" y="672"/>
                    </a:lnTo>
                    <a:lnTo>
                      <a:pt x="591" y="694"/>
                    </a:lnTo>
                    <a:lnTo>
                      <a:pt x="559" y="713"/>
                    </a:lnTo>
                    <a:lnTo>
                      <a:pt x="527" y="730"/>
                    </a:lnTo>
                    <a:lnTo>
                      <a:pt x="492" y="743"/>
                    </a:lnTo>
                    <a:lnTo>
                      <a:pt x="473" y="747"/>
                    </a:lnTo>
                    <a:lnTo>
                      <a:pt x="456" y="752"/>
                    </a:lnTo>
                    <a:lnTo>
                      <a:pt x="437" y="755"/>
                    </a:lnTo>
                    <a:lnTo>
                      <a:pt x="419" y="757"/>
                    </a:lnTo>
                    <a:lnTo>
                      <a:pt x="398" y="758"/>
                    </a:lnTo>
                    <a:lnTo>
                      <a:pt x="379" y="760"/>
                    </a:lnTo>
                    <a:lnTo>
                      <a:pt x="379" y="760"/>
                    </a:lnTo>
                    <a:close/>
                    <a:moveTo>
                      <a:pt x="379" y="22"/>
                    </a:moveTo>
                    <a:lnTo>
                      <a:pt x="379" y="22"/>
                    </a:lnTo>
                    <a:lnTo>
                      <a:pt x="342" y="24"/>
                    </a:lnTo>
                    <a:lnTo>
                      <a:pt x="307" y="30"/>
                    </a:lnTo>
                    <a:lnTo>
                      <a:pt x="273" y="38"/>
                    </a:lnTo>
                    <a:lnTo>
                      <a:pt x="240" y="50"/>
                    </a:lnTo>
                    <a:lnTo>
                      <a:pt x="209" y="66"/>
                    </a:lnTo>
                    <a:lnTo>
                      <a:pt x="179" y="83"/>
                    </a:lnTo>
                    <a:lnTo>
                      <a:pt x="152" y="104"/>
                    </a:lnTo>
                    <a:lnTo>
                      <a:pt x="126" y="127"/>
                    </a:lnTo>
                    <a:lnTo>
                      <a:pt x="104" y="152"/>
                    </a:lnTo>
                    <a:lnTo>
                      <a:pt x="82" y="180"/>
                    </a:lnTo>
                    <a:lnTo>
                      <a:pt x="65" y="210"/>
                    </a:lnTo>
                    <a:lnTo>
                      <a:pt x="49" y="241"/>
                    </a:lnTo>
                    <a:lnTo>
                      <a:pt x="38" y="274"/>
                    </a:lnTo>
                    <a:lnTo>
                      <a:pt x="28" y="307"/>
                    </a:lnTo>
                    <a:lnTo>
                      <a:pt x="22" y="343"/>
                    </a:lnTo>
                    <a:lnTo>
                      <a:pt x="21" y="379"/>
                    </a:lnTo>
                    <a:lnTo>
                      <a:pt x="21" y="379"/>
                    </a:lnTo>
                    <a:lnTo>
                      <a:pt x="22" y="417"/>
                    </a:lnTo>
                    <a:lnTo>
                      <a:pt x="28" y="451"/>
                    </a:lnTo>
                    <a:lnTo>
                      <a:pt x="38" y="486"/>
                    </a:lnTo>
                    <a:lnTo>
                      <a:pt x="49" y="519"/>
                    </a:lnTo>
                    <a:lnTo>
                      <a:pt x="65" y="550"/>
                    </a:lnTo>
                    <a:lnTo>
                      <a:pt x="82" y="580"/>
                    </a:lnTo>
                    <a:lnTo>
                      <a:pt x="104" y="608"/>
                    </a:lnTo>
                    <a:lnTo>
                      <a:pt x="126" y="633"/>
                    </a:lnTo>
                    <a:lnTo>
                      <a:pt x="152" y="656"/>
                    </a:lnTo>
                    <a:lnTo>
                      <a:pt x="179" y="677"/>
                    </a:lnTo>
                    <a:lnTo>
                      <a:pt x="209" y="694"/>
                    </a:lnTo>
                    <a:lnTo>
                      <a:pt x="240" y="710"/>
                    </a:lnTo>
                    <a:lnTo>
                      <a:pt x="273" y="722"/>
                    </a:lnTo>
                    <a:lnTo>
                      <a:pt x="307" y="730"/>
                    </a:lnTo>
                    <a:lnTo>
                      <a:pt x="342" y="736"/>
                    </a:lnTo>
                    <a:lnTo>
                      <a:pt x="379" y="738"/>
                    </a:lnTo>
                    <a:lnTo>
                      <a:pt x="379" y="738"/>
                    </a:lnTo>
                    <a:lnTo>
                      <a:pt x="415" y="736"/>
                    </a:lnTo>
                    <a:lnTo>
                      <a:pt x="451" y="730"/>
                    </a:lnTo>
                    <a:lnTo>
                      <a:pt x="486" y="722"/>
                    </a:lnTo>
                    <a:lnTo>
                      <a:pt x="519" y="710"/>
                    </a:lnTo>
                    <a:lnTo>
                      <a:pt x="550" y="694"/>
                    </a:lnTo>
                    <a:lnTo>
                      <a:pt x="580" y="677"/>
                    </a:lnTo>
                    <a:lnTo>
                      <a:pt x="606" y="656"/>
                    </a:lnTo>
                    <a:lnTo>
                      <a:pt x="632" y="633"/>
                    </a:lnTo>
                    <a:lnTo>
                      <a:pt x="655" y="608"/>
                    </a:lnTo>
                    <a:lnTo>
                      <a:pt x="675" y="580"/>
                    </a:lnTo>
                    <a:lnTo>
                      <a:pt x="694" y="550"/>
                    </a:lnTo>
                    <a:lnTo>
                      <a:pt x="708" y="519"/>
                    </a:lnTo>
                    <a:lnTo>
                      <a:pt x="721" y="486"/>
                    </a:lnTo>
                    <a:lnTo>
                      <a:pt x="730" y="451"/>
                    </a:lnTo>
                    <a:lnTo>
                      <a:pt x="735" y="417"/>
                    </a:lnTo>
                    <a:lnTo>
                      <a:pt x="736" y="379"/>
                    </a:lnTo>
                    <a:lnTo>
                      <a:pt x="736" y="379"/>
                    </a:lnTo>
                    <a:lnTo>
                      <a:pt x="735" y="343"/>
                    </a:lnTo>
                    <a:lnTo>
                      <a:pt x="730" y="307"/>
                    </a:lnTo>
                    <a:lnTo>
                      <a:pt x="721" y="274"/>
                    </a:lnTo>
                    <a:lnTo>
                      <a:pt x="708" y="241"/>
                    </a:lnTo>
                    <a:lnTo>
                      <a:pt x="694" y="210"/>
                    </a:lnTo>
                    <a:lnTo>
                      <a:pt x="675" y="180"/>
                    </a:lnTo>
                    <a:lnTo>
                      <a:pt x="655" y="152"/>
                    </a:lnTo>
                    <a:lnTo>
                      <a:pt x="632" y="127"/>
                    </a:lnTo>
                    <a:lnTo>
                      <a:pt x="606" y="104"/>
                    </a:lnTo>
                    <a:lnTo>
                      <a:pt x="580" y="83"/>
                    </a:lnTo>
                    <a:lnTo>
                      <a:pt x="550" y="66"/>
                    </a:lnTo>
                    <a:lnTo>
                      <a:pt x="519" y="50"/>
                    </a:lnTo>
                    <a:lnTo>
                      <a:pt x="486" y="38"/>
                    </a:lnTo>
                    <a:lnTo>
                      <a:pt x="451" y="30"/>
                    </a:lnTo>
                    <a:lnTo>
                      <a:pt x="415" y="24"/>
                    </a:lnTo>
                    <a:lnTo>
                      <a:pt x="379" y="22"/>
                    </a:lnTo>
                    <a:lnTo>
                      <a:pt x="379"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Frutiger Next Pro Medium" pitchFamily="34" charset="0"/>
                  <a:ea typeface="+mn-ea"/>
                  <a:cs typeface="+mn-cs"/>
                </a:endParaRPr>
              </a:p>
            </p:txBody>
          </p:sp>
        </p:grpSp>
      </p:grpSp>
      <p:cxnSp>
        <p:nvCxnSpPr>
          <p:cNvPr id="63" name="Straight Connector 62">
            <a:extLst>
              <a:ext uri="{FF2B5EF4-FFF2-40B4-BE49-F238E27FC236}">
                <a16:creationId xmlns:a16="http://schemas.microsoft.com/office/drawing/2014/main" id="{6CE2F1EF-580F-4EFD-8527-13D36FC34418}"/>
              </a:ext>
            </a:extLst>
          </p:cNvPr>
          <p:cNvCxnSpPr/>
          <p:nvPr/>
        </p:nvCxnSpPr>
        <p:spPr>
          <a:xfrm>
            <a:off x="4371867" y="2993063"/>
            <a:ext cx="274320" cy="0"/>
          </a:xfrm>
          <a:prstGeom prst="line">
            <a:avLst/>
          </a:prstGeom>
          <a:ln w="12700">
            <a:solidFill>
              <a:schemeClr val="accent5"/>
            </a:solidFill>
            <a:prstDash val="dash"/>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B59808DE-9612-46D5-84F2-1D10892FF4DC}"/>
              </a:ext>
            </a:extLst>
          </p:cNvPr>
          <p:cNvCxnSpPr/>
          <p:nvPr/>
        </p:nvCxnSpPr>
        <p:spPr>
          <a:xfrm>
            <a:off x="4371867" y="4271346"/>
            <a:ext cx="274320" cy="0"/>
          </a:xfrm>
          <a:prstGeom prst="line">
            <a:avLst/>
          </a:prstGeom>
          <a:ln w="12700">
            <a:solidFill>
              <a:schemeClr val="accent5"/>
            </a:solidFill>
            <a:prstDash val="dash"/>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A481B43-969D-4AB0-AF07-B5B20FAB931A}"/>
              </a:ext>
            </a:extLst>
          </p:cNvPr>
          <p:cNvCxnSpPr/>
          <p:nvPr/>
        </p:nvCxnSpPr>
        <p:spPr>
          <a:xfrm rot="16200000">
            <a:off x="2647591" y="5041342"/>
            <a:ext cx="274320" cy="0"/>
          </a:xfrm>
          <a:prstGeom prst="line">
            <a:avLst/>
          </a:prstGeom>
          <a:ln w="12700">
            <a:solidFill>
              <a:schemeClr val="accent5"/>
            </a:solidFill>
            <a:prstDash val="dash"/>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FEBE04BB-BC82-4F71-9406-66027BBAC46D}"/>
              </a:ext>
            </a:extLst>
          </p:cNvPr>
          <p:cNvCxnSpPr/>
          <p:nvPr/>
        </p:nvCxnSpPr>
        <p:spPr>
          <a:xfrm rot="16200000">
            <a:off x="2647591" y="3723519"/>
            <a:ext cx="274320" cy="0"/>
          </a:xfrm>
          <a:prstGeom prst="line">
            <a:avLst/>
          </a:prstGeom>
          <a:ln w="12700">
            <a:solidFill>
              <a:schemeClr val="accent5"/>
            </a:solidFill>
            <a:prstDash val="dash"/>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C4627224-4496-4C28-B988-43A3AB8BA25B}"/>
              </a:ext>
            </a:extLst>
          </p:cNvPr>
          <p:cNvCxnSpPr/>
          <p:nvPr/>
        </p:nvCxnSpPr>
        <p:spPr>
          <a:xfrm rot="16200000">
            <a:off x="6178696" y="5052543"/>
            <a:ext cx="274320" cy="0"/>
          </a:xfrm>
          <a:prstGeom prst="line">
            <a:avLst/>
          </a:prstGeom>
          <a:ln w="12700">
            <a:solidFill>
              <a:schemeClr val="accent5"/>
            </a:solidFill>
            <a:prstDash val="dash"/>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DAD85AA-5704-46B0-A24C-5DC13A830F90}"/>
              </a:ext>
            </a:extLst>
          </p:cNvPr>
          <p:cNvCxnSpPr/>
          <p:nvPr/>
        </p:nvCxnSpPr>
        <p:spPr>
          <a:xfrm rot="16200000">
            <a:off x="6178696" y="3762429"/>
            <a:ext cx="274320" cy="0"/>
          </a:xfrm>
          <a:prstGeom prst="line">
            <a:avLst/>
          </a:prstGeom>
          <a:ln w="12700">
            <a:solidFill>
              <a:schemeClr val="accent5"/>
            </a:solidFill>
            <a:prstDash val="dash"/>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93FA1018-2B25-4D23-A59A-C46FB0FC7723}"/>
              </a:ext>
            </a:extLst>
          </p:cNvPr>
          <p:cNvCxnSpPr/>
          <p:nvPr/>
        </p:nvCxnSpPr>
        <p:spPr>
          <a:xfrm>
            <a:off x="4371867" y="5060852"/>
            <a:ext cx="1943989" cy="0"/>
          </a:xfrm>
          <a:prstGeom prst="line">
            <a:avLst/>
          </a:prstGeom>
          <a:ln w="12700">
            <a:solidFill>
              <a:schemeClr val="accent5"/>
            </a:solidFill>
            <a:prstDash val="dash"/>
            <a:headEnd type="triangle" w="med" len="sm"/>
            <a:tailEnd type="none" w="med" len="sm"/>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9FE8C30-D772-4F4D-AE1B-87F6FF7FCA77}"/>
              </a:ext>
            </a:extLst>
          </p:cNvPr>
          <p:cNvCxnSpPr/>
          <p:nvPr/>
        </p:nvCxnSpPr>
        <p:spPr>
          <a:xfrm>
            <a:off x="4371867" y="5665248"/>
            <a:ext cx="274320" cy="0"/>
          </a:xfrm>
          <a:prstGeom prst="line">
            <a:avLst/>
          </a:prstGeom>
          <a:ln w="12700">
            <a:solidFill>
              <a:schemeClr val="accent5"/>
            </a:solidFill>
            <a:prstDash val="dash"/>
            <a:headEnd type="triangle" w="med" len="sm"/>
            <a:tailEnd type="triangle" w="med" len="sm"/>
          </a:ln>
        </p:spPr>
        <p:style>
          <a:lnRef idx="1">
            <a:schemeClr val="accent1"/>
          </a:lnRef>
          <a:fillRef idx="0">
            <a:schemeClr val="accent1"/>
          </a:fillRef>
          <a:effectRef idx="0">
            <a:schemeClr val="accent1"/>
          </a:effectRef>
          <a:fontRef idx="minor">
            <a:schemeClr val="tx1"/>
          </a:fontRef>
        </p:style>
      </p:cxnSp>
      <p:pic>
        <p:nvPicPr>
          <p:cNvPr id="71" name="Picture 70">
            <a:extLst>
              <a:ext uri="{FF2B5EF4-FFF2-40B4-BE49-F238E27FC236}">
                <a16:creationId xmlns:a16="http://schemas.microsoft.com/office/drawing/2014/main" id="{9E39C836-4BBB-43EC-9B03-3251833FC413}"/>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5580961" y="1794612"/>
            <a:ext cx="1282317" cy="591589"/>
          </a:xfrm>
          <a:prstGeom prst="rect">
            <a:avLst/>
          </a:prstGeom>
        </p:spPr>
      </p:pic>
      <p:sp>
        <p:nvSpPr>
          <p:cNvPr id="73" name="Rectangle 18">
            <a:extLst>
              <a:ext uri="{FF2B5EF4-FFF2-40B4-BE49-F238E27FC236}">
                <a16:creationId xmlns:a16="http://schemas.microsoft.com/office/drawing/2014/main" id="{6A8614F6-A0B1-439D-9F35-4C71249ED2AB}"/>
              </a:ext>
            </a:extLst>
          </p:cNvPr>
          <p:cNvSpPr>
            <a:spLocks noChangeArrowheads="1"/>
          </p:cNvSpPr>
          <p:nvPr/>
        </p:nvSpPr>
        <p:spPr bwMode="auto">
          <a:xfrm>
            <a:off x="1176824" y="5942659"/>
            <a:ext cx="1341988" cy="288122"/>
          </a:xfrm>
          <a:prstGeom prst="rect">
            <a:avLst/>
          </a:prstGeom>
          <a:noFill/>
          <a:ln>
            <a:noFill/>
            <a:prstDash val="solid"/>
          </a:ln>
        </p:spPr>
        <p:style>
          <a:lnRef idx="2">
            <a:schemeClr val="dk1"/>
          </a:lnRef>
          <a:fillRef idx="1">
            <a:schemeClr val="lt1"/>
          </a:fillRef>
          <a:effectRef idx="0">
            <a:schemeClr val="dk1"/>
          </a:effectRef>
          <a:fontRef idx="minor">
            <a:schemeClr val="dk1"/>
          </a:fontRef>
        </p:style>
        <p:txBody>
          <a:bodyPr wrap="square" lIns="0" tIns="45720" rIns="0" bIns="0" anchor="t">
            <a:noAutofit/>
          </a:bodyPr>
          <a:lstStyle/>
          <a:p>
            <a:pPr marL="0" marR="0" lvl="0" indent="0" algn="ctr" defTabSz="914400" rtl="0" eaLnBrk="1" fontAlgn="auto" latinLnBrk="0" hangingPunct="1">
              <a:lnSpc>
                <a:spcPct val="100000"/>
              </a:lnSpc>
              <a:spcBef>
                <a:spcPts val="0"/>
              </a:spcBef>
              <a:spcAft>
                <a:spcPts val="0"/>
              </a:spcAft>
              <a:buClr>
                <a:srgbClr val="787878"/>
              </a:buClr>
              <a:buSzPct val="75000"/>
              <a:buFontTx/>
              <a:buNone/>
              <a:tabLst/>
              <a:defRPr/>
            </a:pPr>
            <a:r>
              <a:rPr kumimoji="0" lang="en-US" sz="900" b="0" i="0" u="none" strike="noStrike" kern="1200" cap="none" spc="0" normalizeH="0" baseline="0" noProof="0" dirty="0">
                <a:ln>
                  <a:noFill/>
                </a:ln>
                <a:solidFill>
                  <a:srgbClr val="000000"/>
                </a:solidFill>
                <a:effectLst/>
                <a:uLnTx/>
                <a:uFillTx/>
                <a:latin typeface="Frutiger Next Pro Medium" pitchFamily="34" charset="0"/>
                <a:ea typeface="+mn-ea"/>
                <a:cs typeface="Arial"/>
                <a:sym typeface="Frutiger Next Pro Medium" charset="0"/>
              </a:rPr>
              <a:t>Architect, Developers</a:t>
            </a:r>
          </a:p>
        </p:txBody>
      </p:sp>
      <p:grpSp>
        <p:nvGrpSpPr>
          <p:cNvPr id="74" name="Group 73">
            <a:extLst>
              <a:ext uri="{FF2B5EF4-FFF2-40B4-BE49-F238E27FC236}">
                <a16:creationId xmlns:a16="http://schemas.microsoft.com/office/drawing/2014/main" id="{F797337A-CC15-41A9-B7BE-E6135F0A53B4}"/>
              </a:ext>
            </a:extLst>
          </p:cNvPr>
          <p:cNvGrpSpPr>
            <a:grpSpLocks noChangeAspect="1"/>
          </p:cNvGrpSpPr>
          <p:nvPr/>
        </p:nvGrpSpPr>
        <p:grpSpPr>
          <a:xfrm>
            <a:off x="1619819" y="5464721"/>
            <a:ext cx="455998" cy="457200"/>
            <a:chOff x="2870200" y="5289550"/>
            <a:chExt cx="601663" cy="603250"/>
          </a:xfrm>
          <a:solidFill>
            <a:schemeClr val="tx2"/>
          </a:solidFill>
        </p:grpSpPr>
        <p:sp>
          <p:nvSpPr>
            <p:cNvPr id="75" name="Freeform 140">
              <a:extLst>
                <a:ext uri="{FF2B5EF4-FFF2-40B4-BE49-F238E27FC236}">
                  <a16:creationId xmlns:a16="http://schemas.microsoft.com/office/drawing/2014/main" id="{8EF24CFE-4688-4C90-B003-4431A72E3EBA}"/>
                </a:ext>
              </a:extLst>
            </p:cNvPr>
            <p:cNvSpPr>
              <a:spLocks noEditPoints="1"/>
            </p:cNvSpPr>
            <p:nvPr/>
          </p:nvSpPr>
          <p:spPr bwMode="auto">
            <a:xfrm>
              <a:off x="3028950" y="5430838"/>
              <a:ext cx="288925" cy="288925"/>
            </a:xfrm>
            <a:custGeom>
              <a:avLst/>
              <a:gdLst>
                <a:gd name="T0" fmla="*/ 290 w 363"/>
                <a:gd name="T1" fmla="*/ 257 h 363"/>
                <a:gd name="T2" fmla="*/ 236 w 363"/>
                <a:gd name="T3" fmla="*/ 227 h 363"/>
                <a:gd name="T4" fmla="*/ 232 w 363"/>
                <a:gd name="T5" fmla="*/ 206 h 363"/>
                <a:gd name="T6" fmla="*/ 246 w 363"/>
                <a:gd name="T7" fmla="*/ 186 h 363"/>
                <a:gd name="T8" fmla="*/ 257 w 363"/>
                <a:gd name="T9" fmla="*/ 161 h 363"/>
                <a:gd name="T10" fmla="*/ 268 w 363"/>
                <a:gd name="T11" fmla="*/ 141 h 363"/>
                <a:gd name="T12" fmla="*/ 268 w 363"/>
                <a:gd name="T13" fmla="*/ 122 h 363"/>
                <a:gd name="T14" fmla="*/ 263 w 363"/>
                <a:gd name="T15" fmla="*/ 75 h 363"/>
                <a:gd name="T16" fmla="*/ 250 w 363"/>
                <a:gd name="T17" fmla="*/ 31 h 363"/>
                <a:gd name="T18" fmla="*/ 216 w 363"/>
                <a:gd name="T19" fmla="*/ 4 h 363"/>
                <a:gd name="T20" fmla="*/ 181 w 363"/>
                <a:gd name="T21" fmla="*/ 0 h 363"/>
                <a:gd name="T22" fmla="*/ 133 w 363"/>
                <a:gd name="T23" fmla="*/ 11 h 363"/>
                <a:gd name="T24" fmla="*/ 105 w 363"/>
                <a:gd name="T25" fmla="*/ 44 h 363"/>
                <a:gd name="T26" fmla="*/ 98 w 363"/>
                <a:gd name="T27" fmla="*/ 112 h 363"/>
                <a:gd name="T28" fmla="*/ 92 w 363"/>
                <a:gd name="T29" fmla="*/ 133 h 363"/>
                <a:gd name="T30" fmla="*/ 95 w 363"/>
                <a:gd name="T31" fmla="*/ 148 h 363"/>
                <a:gd name="T32" fmla="*/ 105 w 363"/>
                <a:gd name="T33" fmla="*/ 161 h 363"/>
                <a:gd name="T34" fmla="*/ 124 w 363"/>
                <a:gd name="T35" fmla="*/ 197 h 363"/>
                <a:gd name="T36" fmla="*/ 131 w 363"/>
                <a:gd name="T37" fmla="*/ 221 h 363"/>
                <a:gd name="T38" fmla="*/ 117 w 363"/>
                <a:gd name="T39" fmla="*/ 232 h 363"/>
                <a:gd name="T40" fmla="*/ 12 w 363"/>
                <a:gd name="T41" fmla="*/ 280 h 363"/>
                <a:gd name="T42" fmla="*/ 3 w 363"/>
                <a:gd name="T43" fmla="*/ 288 h 363"/>
                <a:gd name="T44" fmla="*/ 0 w 363"/>
                <a:gd name="T45" fmla="*/ 343 h 363"/>
                <a:gd name="T46" fmla="*/ 4 w 363"/>
                <a:gd name="T47" fmla="*/ 357 h 363"/>
                <a:gd name="T48" fmla="*/ 343 w 363"/>
                <a:gd name="T49" fmla="*/ 363 h 363"/>
                <a:gd name="T50" fmla="*/ 357 w 363"/>
                <a:gd name="T51" fmla="*/ 357 h 363"/>
                <a:gd name="T52" fmla="*/ 363 w 363"/>
                <a:gd name="T53" fmla="*/ 299 h 363"/>
                <a:gd name="T54" fmla="*/ 358 w 363"/>
                <a:gd name="T55" fmla="*/ 288 h 363"/>
                <a:gd name="T56" fmla="*/ 349 w 363"/>
                <a:gd name="T57" fmla="*/ 280 h 363"/>
                <a:gd name="T58" fmla="*/ 346 w 363"/>
                <a:gd name="T59" fmla="*/ 346 h 363"/>
                <a:gd name="T60" fmla="*/ 19 w 363"/>
                <a:gd name="T61" fmla="*/ 347 h 363"/>
                <a:gd name="T62" fmla="*/ 14 w 363"/>
                <a:gd name="T63" fmla="*/ 299 h 363"/>
                <a:gd name="T64" fmla="*/ 17 w 363"/>
                <a:gd name="T65" fmla="*/ 294 h 363"/>
                <a:gd name="T66" fmla="*/ 81 w 363"/>
                <a:gd name="T67" fmla="*/ 268 h 363"/>
                <a:gd name="T68" fmla="*/ 131 w 363"/>
                <a:gd name="T69" fmla="*/ 241 h 363"/>
                <a:gd name="T70" fmla="*/ 145 w 363"/>
                <a:gd name="T71" fmla="*/ 224 h 363"/>
                <a:gd name="T72" fmla="*/ 145 w 363"/>
                <a:gd name="T73" fmla="*/ 205 h 363"/>
                <a:gd name="T74" fmla="*/ 144 w 363"/>
                <a:gd name="T75" fmla="*/ 199 h 363"/>
                <a:gd name="T76" fmla="*/ 130 w 363"/>
                <a:gd name="T77" fmla="*/ 180 h 363"/>
                <a:gd name="T78" fmla="*/ 119 w 363"/>
                <a:gd name="T79" fmla="*/ 155 h 363"/>
                <a:gd name="T80" fmla="*/ 113 w 363"/>
                <a:gd name="T81" fmla="*/ 147 h 363"/>
                <a:gd name="T82" fmla="*/ 108 w 363"/>
                <a:gd name="T83" fmla="*/ 133 h 363"/>
                <a:gd name="T84" fmla="*/ 113 w 363"/>
                <a:gd name="T85" fmla="*/ 120 h 363"/>
                <a:gd name="T86" fmla="*/ 114 w 363"/>
                <a:gd name="T87" fmla="*/ 75 h 363"/>
                <a:gd name="T88" fmla="*/ 119 w 363"/>
                <a:gd name="T89" fmla="*/ 50 h 363"/>
                <a:gd name="T90" fmla="*/ 141 w 363"/>
                <a:gd name="T91" fmla="*/ 23 h 363"/>
                <a:gd name="T92" fmla="*/ 181 w 363"/>
                <a:gd name="T93" fmla="*/ 14 h 363"/>
                <a:gd name="T94" fmla="*/ 210 w 363"/>
                <a:gd name="T95" fmla="*/ 18 h 363"/>
                <a:gd name="T96" fmla="*/ 238 w 363"/>
                <a:gd name="T97" fmla="*/ 39 h 363"/>
                <a:gd name="T98" fmla="*/ 247 w 363"/>
                <a:gd name="T99" fmla="*/ 75 h 363"/>
                <a:gd name="T100" fmla="*/ 249 w 363"/>
                <a:gd name="T101" fmla="*/ 120 h 363"/>
                <a:gd name="T102" fmla="*/ 255 w 363"/>
                <a:gd name="T103" fmla="*/ 133 h 363"/>
                <a:gd name="T104" fmla="*/ 252 w 363"/>
                <a:gd name="T105" fmla="*/ 142 h 363"/>
                <a:gd name="T106" fmla="*/ 246 w 363"/>
                <a:gd name="T107" fmla="*/ 150 h 363"/>
                <a:gd name="T108" fmla="*/ 238 w 363"/>
                <a:gd name="T109" fmla="*/ 167 h 363"/>
                <a:gd name="T110" fmla="*/ 218 w 363"/>
                <a:gd name="T111" fmla="*/ 199 h 363"/>
                <a:gd name="T112" fmla="*/ 216 w 363"/>
                <a:gd name="T113" fmla="*/ 205 h 363"/>
                <a:gd name="T114" fmla="*/ 216 w 363"/>
                <a:gd name="T115" fmla="*/ 224 h 363"/>
                <a:gd name="T116" fmla="*/ 224 w 363"/>
                <a:gd name="T117" fmla="*/ 235 h 363"/>
                <a:gd name="T118" fmla="*/ 258 w 363"/>
                <a:gd name="T119" fmla="*/ 257 h 363"/>
                <a:gd name="T120" fmla="*/ 344 w 363"/>
                <a:gd name="T121" fmla="*/ 294 h 363"/>
                <a:gd name="T122" fmla="*/ 348 w 363"/>
                <a:gd name="T123" fmla="*/ 299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3" h="363">
                  <a:moveTo>
                    <a:pt x="349" y="280"/>
                  </a:moveTo>
                  <a:lnTo>
                    <a:pt x="349" y="280"/>
                  </a:lnTo>
                  <a:lnTo>
                    <a:pt x="290" y="257"/>
                  </a:lnTo>
                  <a:lnTo>
                    <a:pt x="255" y="238"/>
                  </a:lnTo>
                  <a:lnTo>
                    <a:pt x="244" y="232"/>
                  </a:lnTo>
                  <a:lnTo>
                    <a:pt x="236" y="227"/>
                  </a:lnTo>
                  <a:lnTo>
                    <a:pt x="233" y="224"/>
                  </a:lnTo>
                  <a:lnTo>
                    <a:pt x="232" y="221"/>
                  </a:lnTo>
                  <a:lnTo>
                    <a:pt x="232" y="206"/>
                  </a:lnTo>
                  <a:lnTo>
                    <a:pt x="232" y="206"/>
                  </a:lnTo>
                  <a:lnTo>
                    <a:pt x="239" y="197"/>
                  </a:lnTo>
                  <a:lnTo>
                    <a:pt x="246" y="186"/>
                  </a:lnTo>
                  <a:lnTo>
                    <a:pt x="252" y="174"/>
                  </a:lnTo>
                  <a:lnTo>
                    <a:pt x="257" y="161"/>
                  </a:lnTo>
                  <a:lnTo>
                    <a:pt x="257" y="161"/>
                  </a:lnTo>
                  <a:lnTo>
                    <a:pt x="261" y="155"/>
                  </a:lnTo>
                  <a:lnTo>
                    <a:pt x="266" y="148"/>
                  </a:lnTo>
                  <a:lnTo>
                    <a:pt x="268" y="141"/>
                  </a:lnTo>
                  <a:lnTo>
                    <a:pt x="269" y="133"/>
                  </a:lnTo>
                  <a:lnTo>
                    <a:pt x="269" y="133"/>
                  </a:lnTo>
                  <a:lnTo>
                    <a:pt x="268" y="122"/>
                  </a:lnTo>
                  <a:lnTo>
                    <a:pt x="263" y="112"/>
                  </a:lnTo>
                  <a:lnTo>
                    <a:pt x="263" y="75"/>
                  </a:lnTo>
                  <a:lnTo>
                    <a:pt x="263" y="75"/>
                  </a:lnTo>
                  <a:lnTo>
                    <a:pt x="261" y="58"/>
                  </a:lnTo>
                  <a:lnTo>
                    <a:pt x="257" y="44"/>
                  </a:lnTo>
                  <a:lnTo>
                    <a:pt x="250" y="31"/>
                  </a:lnTo>
                  <a:lnTo>
                    <a:pt x="241" y="20"/>
                  </a:lnTo>
                  <a:lnTo>
                    <a:pt x="230" y="11"/>
                  </a:lnTo>
                  <a:lnTo>
                    <a:pt x="216" y="4"/>
                  </a:lnTo>
                  <a:lnTo>
                    <a:pt x="199" y="1"/>
                  </a:lnTo>
                  <a:lnTo>
                    <a:pt x="181" y="0"/>
                  </a:lnTo>
                  <a:lnTo>
                    <a:pt x="181" y="0"/>
                  </a:lnTo>
                  <a:lnTo>
                    <a:pt x="163" y="1"/>
                  </a:lnTo>
                  <a:lnTo>
                    <a:pt x="147" y="4"/>
                  </a:lnTo>
                  <a:lnTo>
                    <a:pt x="133" y="11"/>
                  </a:lnTo>
                  <a:lnTo>
                    <a:pt x="120" y="20"/>
                  </a:lnTo>
                  <a:lnTo>
                    <a:pt x="111" y="31"/>
                  </a:lnTo>
                  <a:lnTo>
                    <a:pt x="105" y="44"/>
                  </a:lnTo>
                  <a:lnTo>
                    <a:pt x="100" y="59"/>
                  </a:lnTo>
                  <a:lnTo>
                    <a:pt x="98" y="75"/>
                  </a:lnTo>
                  <a:lnTo>
                    <a:pt x="98" y="112"/>
                  </a:lnTo>
                  <a:lnTo>
                    <a:pt x="98" y="112"/>
                  </a:lnTo>
                  <a:lnTo>
                    <a:pt x="94" y="122"/>
                  </a:lnTo>
                  <a:lnTo>
                    <a:pt x="92" y="133"/>
                  </a:lnTo>
                  <a:lnTo>
                    <a:pt x="92" y="133"/>
                  </a:lnTo>
                  <a:lnTo>
                    <a:pt x="94" y="141"/>
                  </a:lnTo>
                  <a:lnTo>
                    <a:pt x="95" y="148"/>
                  </a:lnTo>
                  <a:lnTo>
                    <a:pt x="100" y="155"/>
                  </a:lnTo>
                  <a:lnTo>
                    <a:pt x="105" y="161"/>
                  </a:lnTo>
                  <a:lnTo>
                    <a:pt x="105" y="161"/>
                  </a:lnTo>
                  <a:lnTo>
                    <a:pt x="109" y="174"/>
                  </a:lnTo>
                  <a:lnTo>
                    <a:pt x="116" y="186"/>
                  </a:lnTo>
                  <a:lnTo>
                    <a:pt x="124" y="197"/>
                  </a:lnTo>
                  <a:lnTo>
                    <a:pt x="131" y="206"/>
                  </a:lnTo>
                  <a:lnTo>
                    <a:pt x="131" y="221"/>
                  </a:lnTo>
                  <a:lnTo>
                    <a:pt x="131" y="221"/>
                  </a:lnTo>
                  <a:lnTo>
                    <a:pt x="128" y="224"/>
                  </a:lnTo>
                  <a:lnTo>
                    <a:pt x="125" y="227"/>
                  </a:lnTo>
                  <a:lnTo>
                    <a:pt x="117" y="232"/>
                  </a:lnTo>
                  <a:lnTo>
                    <a:pt x="106" y="238"/>
                  </a:lnTo>
                  <a:lnTo>
                    <a:pt x="72" y="257"/>
                  </a:lnTo>
                  <a:lnTo>
                    <a:pt x="12" y="280"/>
                  </a:lnTo>
                  <a:lnTo>
                    <a:pt x="12" y="280"/>
                  </a:lnTo>
                  <a:lnTo>
                    <a:pt x="6" y="283"/>
                  </a:lnTo>
                  <a:lnTo>
                    <a:pt x="3" y="288"/>
                  </a:lnTo>
                  <a:lnTo>
                    <a:pt x="0" y="293"/>
                  </a:lnTo>
                  <a:lnTo>
                    <a:pt x="0" y="299"/>
                  </a:lnTo>
                  <a:lnTo>
                    <a:pt x="0" y="343"/>
                  </a:lnTo>
                  <a:lnTo>
                    <a:pt x="0" y="343"/>
                  </a:lnTo>
                  <a:lnTo>
                    <a:pt x="1" y="351"/>
                  </a:lnTo>
                  <a:lnTo>
                    <a:pt x="4" y="357"/>
                  </a:lnTo>
                  <a:lnTo>
                    <a:pt x="11" y="362"/>
                  </a:lnTo>
                  <a:lnTo>
                    <a:pt x="19" y="363"/>
                  </a:lnTo>
                  <a:lnTo>
                    <a:pt x="343" y="363"/>
                  </a:lnTo>
                  <a:lnTo>
                    <a:pt x="343" y="363"/>
                  </a:lnTo>
                  <a:lnTo>
                    <a:pt x="351" y="362"/>
                  </a:lnTo>
                  <a:lnTo>
                    <a:pt x="357" y="357"/>
                  </a:lnTo>
                  <a:lnTo>
                    <a:pt x="362" y="351"/>
                  </a:lnTo>
                  <a:lnTo>
                    <a:pt x="363" y="343"/>
                  </a:lnTo>
                  <a:lnTo>
                    <a:pt x="363" y="299"/>
                  </a:lnTo>
                  <a:lnTo>
                    <a:pt x="363" y="299"/>
                  </a:lnTo>
                  <a:lnTo>
                    <a:pt x="362" y="293"/>
                  </a:lnTo>
                  <a:lnTo>
                    <a:pt x="358" y="288"/>
                  </a:lnTo>
                  <a:lnTo>
                    <a:pt x="355" y="283"/>
                  </a:lnTo>
                  <a:lnTo>
                    <a:pt x="349" y="280"/>
                  </a:lnTo>
                  <a:lnTo>
                    <a:pt x="349" y="280"/>
                  </a:lnTo>
                  <a:close/>
                  <a:moveTo>
                    <a:pt x="348" y="343"/>
                  </a:moveTo>
                  <a:lnTo>
                    <a:pt x="348" y="343"/>
                  </a:lnTo>
                  <a:lnTo>
                    <a:pt x="346" y="346"/>
                  </a:lnTo>
                  <a:lnTo>
                    <a:pt x="343" y="347"/>
                  </a:lnTo>
                  <a:lnTo>
                    <a:pt x="19" y="347"/>
                  </a:lnTo>
                  <a:lnTo>
                    <a:pt x="19" y="347"/>
                  </a:lnTo>
                  <a:lnTo>
                    <a:pt x="15" y="346"/>
                  </a:lnTo>
                  <a:lnTo>
                    <a:pt x="14" y="343"/>
                  </a:lnTo>
                  <a:lnTo>
                    <a:pt x="14" y="299"/>
                  </a:lnTo>
                  <a:lnTo>
                    <a:pt x="14" y="299"/>
                  </a:lnTo>
                  <a:lnTo>
                    <a:pt x="15" y="296"/>
                  </a:lnTo>
                  <a:lnTo>
                    <a:pt x="17" y="294"/>
                  </a:lnTo>
                  <a:lnTo>
                    <a:pt x="17" y="294"/>
                  </a:lnTo>
                  <a:lnTo>
                    <a:pt x="53" y="280"/>
                  </a:lnTo>
                  <a:lnTo>
                    <a:pt x="81" y="268"/>
                  </a:lnTo>
                  <a:lnTo>
                    <a:pt x="103" y="257"/>
                  </a:lnTo>
                  <a:lnTo>
                    <a:pt x="120" y="247"/>
                  </a:lnTo>
                  <a:lnTo>
                    <a:pt x="131" y="241"/>
                  </a:lnTo>
                  <a:lnTo>
                    <a:pt x="139" y="235"/>
                  </a:lnTo>
                  <a:lnTo>
                    <a:pt x="142" y="228"/>
                  </a:lnTo>
                  <a:lnTo>
                    <a:pt x="145" y="224"/>
                  </a:lnTo>
                  <a:lnTo>
                    <a:pt x="145" y="224"/>
                  </a:lnTo>
                  <a:lnTo>
                    <a:pt x="145" y="222"/>
                  </a:lnTo>
                  <a:lnTo>
                    <a:pt x="145" y="205"/>
                  </a:lnTo>
                  <a:lnTo>
                    <a:pt x="145" y="205"/>
                  </a:lnTo>
                  <a:lnTo>
                    <a:pt x="145" y="202"/>
                  </a:lnTo>
                  <a:lnTo>
                    <a:pt x="144" y="199"/>
                  </a:lnTo>
                  <a:lnTo>
                    <a:pt x="144" y="199"/>
                  </a:lnTo>
                  <a:lnTo>
                    <a:pt x="136" y="189"/>
                  </a:lnTo>
                  <a:lnTo>
                    <a:pt x="130" y="180"/>
                  </a:lnTo>
                  <a:lnTo>
                    <a:pt x="124" y="167"/>
                  </a:lnTo>
                  <a:lnTo>
                    <a:pt x="119" y="155"/>
                  </a:lnTo>
                  <a:lnTo>
                    <a:pt x="119" y="155"/>
                  </a:lnTo>
                  <a:lnTo>
                    <a:pt x="116" y="150"/>
                  </a:lnTo>
                  <a:lnTo>
                    <a:pt x="116" y="150"/>
                  </a:lnTo>
                  <a:lnTo>
                    <a:pt x="113" y="147"/>
                  </a:lnTo>
                  <a:lnTo>
                    <a:pt x="109" y="142"/>
                  </a:lnTo>
                  <a:lnTo>
                    <a:pt x="108" y="138"/>
                  </a:lnTo>
                  <a:lnTo>
                    <a:pt x="108" y="133"/>
                  </a:lnTo>
                  <a:lnTo>
                    <a:pt x="108" y="133"/>
                  </a:lnTo>
                  <a:lnTo>
                    <a:pt x="109" y="125"/>
                  </a:lnTo>
                  <a:lnTo>
                    <a:pt x="113" y="120"/>
                  </a:lnTo>
                  <a:lnTo>
                    <a:pt x="113" y="120"/>
                  </a:lnTo>
                  <a:lnTo>
                    <a:pt x="114" y="116"/>
                  </a:lnTo>
                  <a:lnTo>
                    <a:pt x="114" y="75"/>
                  </a:lnTo>
                  <a:lnTo>
                    <a:pt x="114" y="75"/>
                  </a:lnTo>
                  <a:lnTo>
                    <a:pt x="114" y="62"/>
                  </a:lnTo>
                  <a:lnTo>
                    <a:pt x="119" y="50"/>
                  </a:lnTo>
                  <a:lnTo>
                    <a:pt x="124" y="39"/>
                  </a:lnTo>
                  <a:lnTo>
                    <a:pt x="131" y="29"/>
                  </a:lnTo>
                  <a:lnTo>
                    <a:pt x="141" y="23"/>
                  </a:lnTo>
                  <a:lnTo>
                    <a:pt x="152" y="18"/>
                  </a:lnTo>
                  <a:lnTo>
                    <a:pt x="166" y="15"/>
                  </a:lnTo>
                  <a:lnTo>
                    <a:pt x="181" y="14"/>
                  </a:lnTo>
                  <a:lnTo>
                    <a:pt x="181" y="14"/>
                  </a:lnTo>
                  <a:lnTo>
                    <a:pt x="196" y="15"/>
                  </a:lnTo>
                  <a:lnTo>
                    <a:pt x="210" y="18"/>
                  </a:lnTo>
                  <a:lnTo>
                    <a:pt x="221" y="23"/>
                  </a:lnTo>
                  <a:lnTo>
                    <a:pt x="232" y="29"/>
                  </a:lnTo>
                  <a:lnTo>
                    <a:pt x="238" y="39"/>
                  </a:lnTo>
                  <a:lnTo>
                    <a:pt x="244" y="50"/>
                  </a:lnTo>
                  <a:lnTo>
                    <a:pt x="247" y="61"/>
                  </a:lnTo>
                  <a:lnTo>
                    <a:pt x="247" y="75"/>
                  </a:lnTo>
                  <a:lnTo>
                    <a:pt x="247" y="116"/>
                  </a:lnTo>
                  <a:lnTo>
                    <a:pt x="247" y="116"/>
                  </a:lnTo>
                  <a:lnTo>
                    <a:pt x="249" y="120"/>
                  </a:lnTo>
                  <a:lnTo>
                    <a:pt x="249" y="120"/>
                  </a:lnTo>
                  <a:lnTo>
                    <a:pt x="254" y="125"/>
                  </a:lnTo>
                  <a:lnTo>
                    <a:pt x="255" y="133"/>
                  </a:lnTo>
                  <a:lnTo>
                    <a:pt x="255" y="133"/>
                  </a:lnTo>
                  <a:lnTo>
                    <a:pt x="254" y="138"/>
                  </a:lnTo>
                  <a:lnTo>
                    <a:pt x="252" y="142"/>
                  </a:lnTo>
                  <a:lnTo>
                    <a:pt x="249" y="147"/>
                  </a:lnTo>
                  <a:lnTo>
                    <a:pt x="246" y="150"/>
                  </a:lnTo>
                  <a:lnTo>
                    <a:pt x="246" y="150"/>
                  </a:lnTo>
                  <a:lnTo>
                    <a:pt x="243" y="155"/>
                  </a:lnTo>
                  <a:lnTo>
                    <a:pt x="243" y="155"/>
                  </a:lnTo>
                  <a:lnTo>
                    <a:pt x="238" y="167"/>
                  </a:lnTo>
                  <a:lnTo>
                    <a:pt x="233" y="180"/>
                  </a:lnTo>
                  <a:lnTo>
                    <a:pt x="225" y="189"/>
                  </a:lnTo>
                  <a:lnTo>
                    <a:pt x="218" y="199"/>
                  </a:lnTo>
                  <a:lnTo>
                    <a:pt x="218" y="199"/>
                  </a:lnTo>
                  <a:lnTo>
                    <a:pt x="216" y="202"/>
                  </a:lnTo>
                  <a:lnTo>
                    <a:pt x="216" y="205"/>
                  </a:lnTo>
                  <a:lnTo>
                    <a:pt x="216" y="222"/>
                  </a:lnTo>
                  <a:lnTo>
                    <a:pt x="216" y="222"/>
                  </a:lnTo>
                  <a:lnTo>
                    <a:pt x="216" y="224"/>
                  </a:lnTo>
                  <a:lnTo>
                    <a:pt x="216" y="224"/>
                  </a:lnTo>
                  <a:lnTo>
                    <a:pt x="219" y="228"/>
                  </a:lnTo>
                  <a:lnTo>
                    <a:pt x="224" y="235"/>
                  </a:lnTo>
                  <a:lnTo>
                    <a:pt x="230" y="241"/>
                  </a:lnTo>
                  <a:lnTo>
                    <a:pt x="243" y="249"/>
                  </a:lnTo>
                  <a:lnTo>
                    <a:pt x="258" y="257"/>
                  </a:lnTo>
                  <a:lnTo>
                    <a:pt x="280" y="268"/>
                  </a:lnTo>
                  <a:lnTo>
                    <a:pt x="308" y="280"/>
                  </a:lnTo>
                  <a:lnTo>
                    <a:pt x="344" y="294"/>
                  </a:lnTo>
                  <a:lnTo>
                    <a:pt x="344" y="294"/>
                  </a:lnTo>
                  <a:lnTo>
                    <a:pt x="348" y="296"/>
                  </a:lnTo>
                  <a:lnTo>
                    <a:pt x="348" y="299"/>
                  </a:lnTo>
                  <a:lnTo>
                    <a:pt x="348" y="34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76" name="Freeform 148">
              <a:extLst>
                <a:ext uri="{FF2B5EF4-FFF2-40B4-BE49-F238E27FC236}">
                  <a16:creationId xmlns:a16="http://schemas.microsoft.com/office/drawing/2014/main" id="{9C879FF9-7A4D-4DE8-A19B-940C3D3BCAC7}"/>
                </a:ext>
              </a:extLst>
            </p:cNvPr>
            <p:cNvSpPr>
              <a:spLocks noEditPoints="1"/>
            </p:cNvSpPr>
            <p:nvPr/>
          </p:nvSpPr>
          <p:spPr bwMode="auto">
            <a:xfrm>
              <a:off x="2870200" y="5289550"/>
              <a:ext cx="601663" cy="603250"/>
            </a:xfrm>
            <a:custGeom>
              <a:avLst/>
              <a:gdLst>
                <a:gd name="T0" fmla="*/ 359 w 758"/>
                <a:gd name="T1" fmla="*/ 758 h 760"/>
                <a:gd name="T2" fmla="*/ 303 w 758"/>
                <a:gd name="T3" fmla="*/ 752 h 760"/>
                <a:gd name="T4" fmla="*/ 232 w 758"/>
                <a:gd name="T5" fmla="*/ 730 h 760"/>
                <a:gd name="T6" fmla="*/ 138 w 758"/>
                <a:gd name="T7" fmla="*/ 672 h 760"/>
                <a:gd name="T8" fmla="*/ 65 w 758"/>
                <a:gd name="T9" fmla="*/ 592 h 760"/>
                <a:gd name="T10" fmla="*/ 18 w 758"/>
                <a:gd name="T11" fmla="*/ 492 h 760"/>
                <a:gd name="T12" fmla="*/ 3 w 758"/>
                <a:gd name="T13" fmla="*/ 437 h 760"/>
                <a:gd name="T14" fmla="*/ 0 w 758"/>
                <a:gd name="T15" fmla="*/ 379 h 760"/>
                <a:gd name="T16" fmla="*/ 2 w 758"/>
                <a:gd name="T17" fmla="*/ 342 h 760"/>
                <a:gd name="T18" fmla="*/ 11 w 758"/>
                <a:gd name="T19" fmla="*/ 285 h 760"/>
                <a:gd name="T20" fmla="*/ 46 w 758"/>
                <a:gd name="T21" fmla="*/ 199 h 760"/>
                <a:gd name="T22" fmla="*/ 112 w 758"/>
                <a:gd name="T23" fmla="*/ 111 h 760"/>
                <a:gd name="T24" fmla="*/ 198 w 758"/>
                <a:gd name="T25" fmla="*/ 47 h 760"/>
                <a:gd name="T26" fmla="*/ 284 w 758"/>
                <a:gd name="T27" fmla="*/ 13 h 760"/>
                <a:gd name="T28" fmla="*/ 340 w 758"/>
                <a:gd name="T29" fmla="*/ 3 h 760"/>
                <a:gd name="T30" fmla="*/ 379 w 758"/>
                <a:gd name="T31" fmla="*/ 0 h 760"/>
                <a:gd name="T32" fmla="*/ 437 w 758"/>
                <a:gd name="T33" fmla="*/ 5 h 760"/>
                <a:gd name="T34" fmla="*/ 492 w 758"/>
                <a:gd name="T35" fmla="*/ 17 h 760"/>
                <a:gd name="T36" fmla="*/ 591 w 758"/>
                <a:gd name="T37" fmla="*/ 66 h 760"/>
                <a:gd name="T38" fmla="*/ 672 w 758"/>
                <a:gd name="T39" fmla="*/ 138 h 760"/>
                <a:gd name="T40" fmla="*/ 729 w 758"/>
                <a:gd name="T41" fmla="*/ 232 h 760"/>
                <a:gd name="T42" fmla="*/ 751 w 758"/>
                <a:gd name="T43" fmla="*/ 304 h 760"/>
                <a:gd name="T44" fmla="*/ 758 w 758"/>
                <a:gd name="T45" fmla="*/ 360 h 760"/>
                <a:gd name="T46" fmla="*/ 758 w 758"/>
                <a:gd name="T47" fmla="*/ 400 h 760"/>
                <a:gd name="T48" fmla="*/ 751 w 758"/>
                <a:gd name="T49" fmla="*/ 456 h 760"/>
                <a:gd name="T50" fmla="*/ 729 w 758"/>
                <a:gd name="T51" fmla="*/ 528 h 760"/>
                <a:gd name="T52" fmla="*/ 672 w 758"/>
                <a:gd name="T53" fmla="*/ 620 h 760"/>
                <a:gd name="T54" fmla="*/ 591 w 758"/>
                <a:gd name="T55" fmla="*/ 694 h 760"/>
                <a:gd name="T56" fmla="*/ 492 w 758"/>
                <a:gd name="T57" fmla="*/ 743 h 760"/>
                <a:gd name="T58" fmla="*/ 437 w 758"/>
                <a:gd name="T59" fmla="*/ 755 h 760"/>
                <a:gd name="T60" fmla="*/ 379 w 758"/>
                <a:gd name="T61" fmla="*/ 760 h 760"/>
                <a:gd name="T62" fmla="*/ 379 w 758"/>
                <a:gd name="T63" fmla="*/ 22 h 760"/>
                <a:gd name="T64" fmla="*/ 273 w 758"/>
                <a:gd name="T65" fmla="*/ 38 h 760"/>
                <a:gd name="T66" fmla="*/ 179 w 758"/>
                <a:gd name="T67" fmla="*/ 83 h 760"/>
                <a:gd name="T68" fmla="*/ 104 w 758"/>
                <a:gd name="T69" fmla="*/ 152 h 760"/>
                <a:gd name="T70" fmla="*/ 49 w 758"/>
                <a:gd name="T71" fmla="*/ 241 h 760"/>
                <a:gd name="T72" fmla="*/ 22 w 758"/>
                <a:gd name="T73" fmla="*/ 343 h 760"/>
                <a:gd name="T74" fmla="*/ 22 w 758"/>
                <a:gd name="T75" fmla="*/ 417 h 760"/>
                <a:gd name="T76" fmla="*/ 49 w 758"/>
                <a:gd name="T77" fmla="*/ 519 h 760"/>
                <a:gd name="T78" fmla="*/ 104 w 758"/>
                <a:gd name="T79" fmla="*/ 608 h 760"/>
                <a:gd name="T80" fmla="*/ 179 w 758"/>
                <a:gd name="T81" fmla="*/ 677 h 760"/>
                <a:gd name="T82" fmla="*/ 273 w 758"/>
                <a:gd name="T83" fmla="*/ 722 h 760"/>
                <a:gd name="T84" fmla="*/ 379 w 758"/>
                <a:gd name="T85" fmla="*/ 738 h 760"/>
                <a:gd name="T86" fmla="*/ 451 w 758"/>
                <a:gd name="T87" fmla="*/ 730 h 760"/>
                <a:gd name="T88" fmla="*/ 550 w 758"/>
                <a:gd name="T89" fmla="*/ 694 h 760"/>
                <a:gd name="T90" fmla="*/ 632 w 758"/>
                <a:gd name="T91" fmla="*/ 633 h 760"/>
                <a:gd name="T92" fmla="*/ 694 w 758"/>
                <a:gd name="T93" fmla="*/ 550 h 760"/>
                <a:gd name="T94" fmla="*/ 730 w 758"/>
                <a:gd name="T95" fmla="*/ 451 h 760"/>
                <a:gd name="T96" fmla="*/ 736 w 758"/>
                <a:gd name="T97" fmla="*/ 379 h 760"/>
                <a:gd name="T98" fmla="*/ 721 w 758"/>
                <a:gd name="T99" fmla="*/ 274 h 760"/>
                <a:gd name="T100" fmla="*/ 675 w 758"/>
                <a:gd name="T101" fmla="*/ 180 h 760"/>
                <a:gd name="T102" fmla="*/ 606 w 758"/>
                <a:gd name="T103" fmla="*/ 104 h 760"/>
                <a:gd name="T104" fmla="*/ 519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9" y="758"/>
                  </a:lnTo>
                  <a:lnTo>
                    <a:pt x="340" y="757"/>
                  </a:lnTo>
                  <a:lnTo>
                    <a:pt x="321" y="755"/>
                  </a:lnTo>
                  <a:lnTo>
                    <a:pt x="303" y="752"/>
                  </a:lnTo>
                  <a:lnTo>
                    <a:pt x="284" y="747"/>
                  </a:lnTo>
                  <a:lnTo>
                    <a:pt x="267" y="743"/>
                  </a:lnTo>
                  <a:lnTo>
                    <a:pt x="232" y="730"/>
                  </a:lnTo>
                  <a:lnTo>
                    <a:pt x="198" y="713"/>
                  </a:lnTo>
                  <a:lnTo>
                    <a:pt x="168" y="694"/>
                  </a:lnTo>
                  <a:lnTo>
                    <a:pt x="138" y="672"/>
                  </a:lnTo>
                  <a:lnTo>
                    <a:pt x="112" y="649"/>
                  </a:lnTo>
                  <a:lnTo>
                    <a:pt x="86" y="620"/>
                  </a:lnTo>
                  <a:lnTo>
                    <a:pt x="65" y="592"/>
                  </a:lnTo>
                  <a:lnTo>
                    <a:pt x="46" y="561"/>
                  </a:lnTo>
                  <a:lnTo>
                    <a:pt x="30" y="528"/>
                  </a:lnTo>
                  <a:lnTo>
                    <a:pt x="18" y="492"/>
                  </a:lnTo>
                  <a:lnTo>
                    <a:pt x="11" y="475"/>
                  </a:lnTo>
                  <a:lnTo>
                    <a:pt x="8" y="456"/>
                  </a:lnTo>
                  <a:lnTo>
                    <a:pt x="3" y="437"/>
                  </a:lnTo>
                  <a:lnTo>
                    <a:pt x="2" y="418"/>
                  </a:lnTo>
                  <a:lnTo>
                    <a:pt x="0" y="400"/>
                  </a:lnTo>
                  <a:lnTo>
                    <a:pt x="0" y="379"/>
                  </a:lnTo>
                  <a:lnTo>
                    <a:pt x="0" y="379"/>
                  </a:lnTo>
                  <a:lnTo>
                    <a:pt x="0" y="360"/>
                  </a:lnTo>
                  <a:lnTo>
                    <a:pt x="2" y="342"/>
                  </a:lnTo>
                  <a:lnTo>
                    <a:pt x="3" y="323"/>
                  </a:lnTo>
                  <a:lnTo>
                    <a:pt x="8" y="304"/>
                  </a:lnTo>
                  <a:lnTo>
                    <a:pt x="11" y="285"/>
                  </a:lnTo>
                  <a:lnTo>
                    <a:pt x="18" y="266"/>
                  </a:lnTo>
                  <a:lnTo>
                    <a:pt x="30" y="232"/>
                  </a:lnTo>
                  <a:lnTo>
                    <a:pt x="46" y="199"/>
                  </a:lnTo>
                  <a:lnTo>
                    <a:pt x="65" y="168"/>
                  </a:lnTo>
                  <a:lnTo>
                    <a:pt x="86" y="138"/>
                  </a:lnTo>
                  <a:lnTo>
                    <a:pt x="112" y="111"/>
                  </a:lnTo>
                  <a:lnTo>
                    <a:pt x="138" y="88"/>
                  </a:lnTo>
                  <a:lnTo>
                    <a:pt x="168" y="66"/>
                  </a:lnTo>
                  <a:lnTo>
                    <a:pt x="198" y="47"/>
                  </a:lnTo>
                  <a:lnTo>
                    <a:pt x="232" y="30"/>
                  </a:lnTo>
                  <a:lnTo>
                    <a:pt x="267" y="17"/>
                  </a:lnTo>
                  <a:lnTo>
                    <a:pt x="284" y="13"/>
                  </a:lnTo>
                  <a:lnTo>
                    <a:pt x="303" y="8"/>
                  </a:lnTo>
                  <a:lnTo>
                    <a:pt x="321" y="5"/>
                  </a:lnTo>
                  <a:lnTo>
                    <a:pt x="340" y="3"/>
                  </a:lnTo>
                  <a:lnTo>
                    <a:pt x="359" y="2"/>
                  </a:lnTo>
                  <a:lnTo>
                    <a:pt x="379" y="0"/>
                  </a:lnTo>
                  <a:lnTo>
                    <a:pt x="379" y="0"/>
                  </a:lnTo>
                  <a:lnTo>
                    <a:pt x="398" y="2"/>
                  </a:lnTo>
                  <a:lnTo>
                    <a:pt x="419" y="3"/>
                  </a:lnTo>
                  <a:lnTo>
                    <a:pt x="437" y="5"/>
                  </a:lnTo>
                  <a:lnTo>
                    <a:pt x="456" y="8"/>
                  </a:lnTo>
                  <a:lnTo>
                    <a:pt x="473" y="13"/>
                  </a:lnTo>
                  <a:lnTo>
                    <a:pt x="492" y="17"/>
                  </a:lnTo>
                  <a:lnTo>
                    <a:pt x="527" y="30"/>
                  </a:lnTo>
                  <a:lnTo>
                    <a:pt x="559" y="47"/>
                  </a:lnTo>
                  <a:lnTo>
                    <a:pt x="591" y="66"/>
                  </a:lnTo>
                  <a:lnTo>
                    <a:pt x="621" y="88"/>
                  </a:lnTo>
                  <a:lnTo>
                    <a:pt x="647" y="111"/>
                  </a:lnTo>
                  <a:lnTo>
                    <a:pt x="672" y="138"/>
                  </a:lnTo>
                  <a:lnTo>
                    <a:pt x="694" y="168"/>
                  </a:lnTo>
                  <a:lnTo>
                    <a:pt x="713" y="199"/>
                  </a:lnTo>
                  <a:lnTo>
                    <a:pt x="729" y="232"/>
                  </a:lnTo>
                  <a:lnTo>
                    <a:pt x="741" y="266"/>
                  </a:lnTo>
                  <a:lnTo>
                    <a:pt x="746" y="285"/>
                  </a:lnTo>
                  <a:lnTo>
                    <a:pt x="751" y="304"/>
                  </a:lnTo>
                  <a:lnTo>
                    <a:pt x="754" y="323"/>
                  </a:lnTo>
                  <a:lnTo>
                    <a:pt x="757" y="342"/>
                  </a:lnTo>
                  <a:lnTo>
                    <a:pt x="758" y="360"/>
                  </a:lnTo>
                  <a:lnTo>
                    <a:pt x="758" y="379"/>
                  </a:lnTo>
                  <a:lnTo>
                    <a:pt x="758" y="379"/>
                  </a:lnTo>
                  <a:lnTo>
                    <a:pt x="758" y="400"/>
                  </a:lnTo>
                  <a:lnTo>
                    <a:pt x="757" y="418"/>
                  </a:lnTo>
                  <a:lnTo>
                    <a:pt x="754" y="437"/>
                  </a:lnTo>
                  <a:lnTo>
                    <a:pt x="751" y="456"/>
                  </a:lnTo>
                  <a:lnTo>
                    <a:pt x="746" y="475"/>
                  </a:lnTo>
                  <a:lnTo>
                    <a:pt x="741" y="492"/>
                  </a:lnTo>
                  <a:lnTo>
                    <a:pt x="729" y="528"/>
                  </a:lnTo>
                  <a:lnTo>
                    <a:pt x="713" y="561"/>
                  </a:lnTo>
                  <a:lnTo>
                    <a:pt x="694" y="592"/>
                  </a:lnTo>
                  <a:lnTo>
                    <a:pt x="672" y="620"/>
                  </a:lnTo>
                  <a:lnTo>
                    <a:pt x="647" y="649"/>
                  </a:lnTo>
                  <a:lnTo>
                    <a:pt x="621" y="672"/>
                  </a:lnTo>
                  <a:lnTo>
                    <a:pt x="591" y="694"/>
                  </a:lnTo>
                  <a:lnTo>
                    <a:pt x="559" y="713"/>
                  </a:lnTo>
                  <a:lnTo>
                    <a:pt x="527" y="730"/>
                  </a:lnTo>
                  <a:lnTo>
                    <a:pt x="492" y="743"/>
                  </a:lnTo>
                  <a:lnTo>
                    <a:pt x="473" y="747"/>
                  </a:lnTo>
                  <a:lnTo>
                    <a:pt x="456" y="752"/>
                  </a:lnTo>
                  <a:lnTo>
                    <a:pt x="437" y="755"/>
                  </a:lnTo>
                  <a:lnTo>
                    <a:pt x="419" y="757"/>
                  </a:lnTo>
                  <a:lnTo>
                    <a:pt x="398" y="758"/>
                  </a:lnTo>
                  <a:lnTo>
                    <a:pt x="379" y="760"/>
                  </a:lnTo>
                  <a:lnTo>
                    <a:pt x="379" y="760"/>
                  </a:lnTo>
                  <a:close/>
                  <a:moveTo>
                    <a:pt x="379" y="22"/>
                  </a:moveTo>
                  <a:lnTo>
                    <a:pt x="379" y="22"/>
                  </a:lnTo>
                  <a:lnTo>
                    <a:pt x="342" y="24"/>
                  </a:lnTo>
                  <a:lnTo>
                    <a:pt x="307" y="30"/>
                  </a:lnTo>
                  <a:lnTo>
                    <a:pt x="273" y="38"/>
                  </a:lnTo>
                  <a:lnTo>
                    <a:pt x="240" y="50"/>
                  </a:lnTo>
                  <a:lnTo>
                    <a:pt x="209" y="66"/>
                  </a:lnTo>
                  <a:lnTo>
                    <a:pt x="179" y="83"/>
                  </a:lnTo>
                  <a:lnTo>
                    <a:pt x="152" y="104"/>
                  </a:lnTo>
                  <a:lnTo>
                    <a:pt x="126" y="127"/>
                  </a:lnTo>
                  <a:lnTo>
                    <a:pt x="104" y="152"/>
                  </a:lnTo>
                  <a:lnTo>
                    <a:pt x="82" y="180"/>
                  </a:lnTo>
                  <a:lnTo>
                    <a:pt x="65" y="210"/>
                  </a:lnTo>
                  <a:lnTo>
                    <a:pt x="49" y="241"/>
                  </a:lnTo>
                  <a:lnTo>
                    <a:pt x="38" y="274"/>
                  </a:lnTo>
                  <a:lnTo>
                    <a:pt x="28" y="307"/>
                  </a:lnTo>
                  <a:lnTo>
                    <a:pt x="22" y="343"/>
                  </a:lnTo>
                  <a:lnTo>
                    <a:pt x="21" y="379"/>
                  </a:lnTo>
                  <a:lnTo>
                    <a:pt x="21" y="379"/>
                  </a:lnTo>
                  <a:lnTo>
                    <a:pt x="22" y="417"/>
                  </a:lnTo>
                  <a:lnTo>
                    <a:pt x="28" y="451"/>
                  </a:lnTo>
                  <a:lnTo>
                    <a:pt x="38" y="486"/>
                  </a:lnTo>
                  <a:lnTo>
                    <a:pt x="49" y="519"/>
                  </a:lnTo>
                  <a:lnTo>
                    <a:pt x="65" y="550"/>
                  </a:lnTo>
                  <a:lnTo>
                    <a:pt x="82" y="580"/>
                  </a:lnTo>
                  <a:lnTo>
                    <a:pt x="104" y="608"/>
                  </a:lnTo>
                  <a:lnTo>
                    <a:pt x="126" y="633"/>
                  </a:lnTo>
                  <a:lnTo>
                    <a:pt x="152" y="656"/>
                  </a:lnTo>
                  <a:lnTo>
                    <a:pt x="179" y="677"/>
                  </a:lnTo>
                  <a:lnTo>
                    <a:pt x="209" y="694"/>
                  </a:lnTo>
                  <a:lnTo>
                    <a:pt x="240" y="710"/>
                  </a:lnTo>
                  <a:lnTo>
                    <a:pt x="273" y="722"/>
                  </a:lnTo>
                  <a:lnTo>
                    <a:pt x="307" y="730"/>
                  </a:lnTo>
                  <a:lnTo>
                    <a:pt x="342" y="736"/>
                  </a:lnTo>
                  <a:lnTo>
                    <a:pt x="379" y="738"/>
                  </a:lnTo>
                  <a:lnTo>
                    <a:pt x="379" y="738"/>
                  </a:lnTo>
                  <a:lnTo>
                    <a:pt x="415" y="736"/>
                  </a:lnTo>
                  <a:lnTo>
                    <a:pt x="451" y="730"/>
                  </a:lnTo>
                  <a:lnTo>
                    <a:pt x="486" y="722"/>
                  </a:lnTo>
                  <a:lnTo>
                    <a:pt x="519" y="710"/>
                  </a:lnTo>
                  <a:lnTo>
                    <a:pt x="550" y="694"/>
                  </a:lnTo>
                  <a:lnTo>
                    <a:pt x="580" y="677"/>
                  </a:lnTo>
                  <a:lnTo>
                    <a:pt x="606" y="656"/>
                  </a:lnTo>
                  <a:lnTo>
                    <a:pt x="632" y="633"/>
                  </a:lnTo>
                  <a:lnTo>
                    <a:pt x="655" y="608"/>
                  </a:lnTo>
                  <a:lnTo>
                    <a:pt x="675" y="580"/>
                  </a:lnTo>
                  <a:lnTo>
                    <a:pt x="694" y="550"/>
                  </a:lnTo>
                  <a:lnTo>
                    <a:pt x="708" y="519"/>
                  </a:lnTo>
                  <a:lnTo>
                    <a:pt x="721" y="486"/>
                  </a:lnTo>
                  <a:lnTo>
                    <a:pt x="730" y="451"/>
                  </a:lnTo>
                  <a:lnTo>
                    <a:pt x="735" y="417"/>
                  </a:lnTo>
                  <a:lnTo>
                    <a:pt x="736" y="379"/>
                  </a:lnTo>
                  <a:lnTo>
                    <a:pt x="736" y="379"/>
                  </a:lnTo>
                  <a:lnTo>
                    <a:pt x="735" y="343"/>
                  </a:lnTo>
                  <a:lnTo>
                    <a:pt x="730" y="307"/>
                  </a:lnTo>
                  <a:lnTo>
                    <a:pt x="721" y="274"/>
                  </a:lnTo>
                  <a:lnTo>
                    <a:pt x="708" y="241"/>
                  </a:lnTo>
                  <a:lnTo>
                    <a:pt x="694" y="210"/>
                  </a:lnTo>
                  <a:lnTo>
                    <a:pt x="675" y="180"/>
                  </a:lnTo>
                  <a:lnTo>
                    <a:pt x="655" y="152"/>
                  </a:lnTo>
                  <a:lnTo>
                    <a:pt x="632" y="127"/>
                  </a:lnTo>
                  <a:lnTo>
                    <a:pt x="606" y="104"/>
                  </a:lnTo>
                  <a:lnTo>
                    <a:pt x="580" y="83"/>
                  </a:lnTo>
                  <a:lnTo>
                    <a:pt x="550" y="66"/>
                  </a:lnTo>
                  <a:lnTo>
                    <a:pt x="519" y="50"/>
                  </a:lnTo>
                  <a:lnTo>
                    <a:pt x="486" y="38"/>
                  </a:lnTo>
                  <a:lnTo>
                    <a:pt x="451" y="30"/>
                  </a:lnTo>
                  <a:lnTo>
                    <a:pt x="415" y="24"/>
                  </a:lnTo>
                  <a:lnTo>
                    <a:pt x="379" y="22"/>
                  </a:lnTo>
                  <a:lnTo>
                    <a:pt x="379"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77" name="Rectangle 18">
            <a:extLst>
              <a:ext uri="{FF2B5EF4-FFF2-40B4-BE49-F238E27FC236}">
                <a16:creationId xmlns:a16="http://schemas.microsoft.com/office/drawing/2014/main" id="{9F07CD93-F137-4121-8A9E-658733B93E67}"/>
              </a:ext>
            </a:extLst>
          </p:cNvPr>
          <p:cNvSpPr>
            <a:spLocks noChangeArrowheads="1"/>
          </p:cNvSpPr>
          <p:nvPr/>
        </p:nvSpPr>
        <p:spPr bwMode="auto">
          <a:xfrm>
            <a:off x="2957789" y="5942659"/>
            <a:ext cx="1229388" cy="288122"/>
          </a:xfrm>
          <a:prstGeom prst="rect">
            <a:avLst/>
          </a:prstGeom>
          <a:noFill/>
          <a:ln>
            <a:noFill/>
            <a:prstDash val="solid"/>
          </a:ln>
        </p:spPr>
        <p:style>
          <a:lnRef idx="2">
            <a:schemeClr val="dk1"/>
          </a:lnRef>
          <a:fillRef idx="1">
            <a:schemeClr val="lt1"/>
          </a:fillRef>
          <a:effectRef idx="0">
            <a:schemeClr val="dk1"/>
          </a:effectRef>
          <a:fontRef idx="minor">
            <a:schemeClr val="dk1"/>
          </a:fontRef>
        </p:style>
        <p:txBody>
          <a:bodyPr wrap="square" lIns="0" tIns="45720" rIns="0" bIns="0" anchor="t">
            <a:noAutofit/>
          </a:bodyPr>
          <a:lstStyle/>
          <a:p>
            <a:pPr marL="0" marR="0" lvl="0" indent="0" algn="ctr" defTabSz="914400" rtl="0" eaLnBrk="1" fontAlgn="auto" latinLnBrk="0" hangingPunct="1">
              <a:lnSpc>
                <a:spcPct val="100000"/>
              </a:lnSpc>
              <a:spcBef>
                <a:spcPts val="0"/>
              </a:spcBef>
              <a:spcAft>
                <a:spcPts val="0"/>
              </a:spcAft>
              <a:buClr>
                <a:srgbClr val="787878"/>
              </a:buClr>
              <a:buSzPct val="75000"/>
              <a:buFontTx/>
              <a:buNone/>
              <a:tabLst/>
              <a:defRPr/>
            </a:pPr>
            <a:r>
              <a:rPr kumimoji="0" lang="en-US" sz="900" b="0" i="0" u="none" strike="noStrike" kern="1200" cap="none" spc="0" normalizeH="0" baseline="0" noProof="0" dirty="0">
                <a:ln>
                  <a:noFill/>
                </a:ln>
                <a:solidFill>
                  <a:srgbClr val="000000"/>
                </a:solidFill>
                <a:effectLst/>
                <a:uLnTx/>
                <a:uFillTx/>
                <a:latin typeface="Frutiger Next Pro Medium" pitchFamily="34" charset="0"/>
                <a:ea typeface="+mn-ea"/>
                <a:cs typeface="Arial"/>
                <a:sym typeface="Frutiger Next Pro Medium" charset="0"/>
              </a:rPr>
              <a:t>QA, Testers</a:t>
            </a:r>
          </a:p>
        </p:txBody>
      </p:sp>
      <p:grpSp>
        <p:nvGrpSpPr>
          <p:cNvPr id="78" name="Group 77">
            <a:extLst>
              <a:ext uri="{FF2B5EF4-FFF2-40B4-BE49-F238E27FC236}">
                <a16:creationId xmlns:a16="http://schemas.microsoft.com/office/drawing/2014/main" id="{C84B14D2-272F-49C3-8C6D-02D14B01DBEB}"/>
              </a:ext>
            </a:extLst>
          </p:cNvPr>
          <p:cNvGrpSpPr>
            <a:grpSpLocks noChangeAspect="1"/>
          </p:cNvGrpSpPr>
          <p:nvPr/>
        </p:nvGrpSpPr>
        <p:grpSpPr>
          <a:xfrm>
            <a:off x="3344484" y="5464721"/>
            <a:ext cx="455998" cy="457200"/>
            <a:chOff x="2870200" y="5289550"/>
            <a:chExt cx="601663" cy="603250"/>
          </a:xfrm>
          <a:solidFill>
            <a:schemeClr val="tx2"/>
          </a:solidFill>
        </p:grpSpPr>
        <p:sp>
          <p:nvSpPr>
            <p:cNvPr id="79" name="Freeform 140">
              <a:extLst>
                <a:ext uri="{FF2B5EF4-FFF2-40B4-BE49-F238E27FC236}">
                  <a16:creationId xmlns:a16="http://schemas.microsoft.com/office/drawing/2014/main" id="{8956B1B8-3DB2-418A-B301-5951A13C1E40}"/>
                </a:ext>
              </a:extLst>
            </p:cNvPr>
            <p:cNvSpPr>
              <a:spLocks noEditPoints="1"/>
            </p:cNvSpPr>
            <p:nvPr/>
          </p:nvSpPr>
          <p:spPr bwMode="auto">
            <a:xfrm>
              <a:off x="3028950" y="5430838"/>
              <a:ext cx="288925" cy="288925"/>
            </a:xfrm>
            <a:custGeom>
              <a:avLst/>
              <a:gdLst>
                <a:gd name="T0" fmla="*/ 290 w 363"/>
                <a:gd name="T1" fmla="*/ 257 h 363"/>
                <a:gd name="T2" fmla="*/ 236 w 363"/>
                <a:gd name="T3" fmla="*/ 227 h 363"/>
                <a:gd name="T4" fmla="*/ 232 w 363"/>
                <a:gd name="T5" fmla="*/ 206 h 363"/>
                <a:gd name="T6" fmla="*/ 246 w 363"/>
                <a:gd name="T7" fmla="*/ 186 h 363"/>
                <a:gd name="T8" fmla="*/ 257 w 363"/>
                <a:gd name="T9" fmla="*/ 161 h 363"/>
                <a:gd name="T10" fmla="*/ 268 w 363"/>
                <a:gd name="T11" fmla="*/ 141 h 363"/>
                <a:gd name="T12" fmla="*/ 268 w 363"/>
                <a:gd name="T13" fmla="*/ 122 h 363"/>
                <a:gd name="T14" fmla="*/ 263 w 363"/>
                <a:gd name="T15" fmla="*/ 75 h 363"/>
                <a:gd name="T16" fmla="*/ 250 w 363"/>
                <a:gd name="T17" fmla="*/ 31 h 363"/>
                <a:gd name="T18" fmla="*/ 216 w 363"/>
                <a:gd name="T19" fmla="*/ 4 h 363"/>
                <a:gd name="T20" fmla="*/ 181 w 363"/>
                <a:gd name="T21" fmla="*/ 0 h 363"/>
                <a:gd name="T22" fmla="*/ 133 w 363"/>
                <a:gd name="T23" fmla="*/ 11 h 363"/>
                <a:gd name="T24" fmla="*/ 105 w 363"/>
                <a:gd name="T25" fmla="*/ 44 h 363"/>
                <a:gd name="T26" fmla="*/ 98 w 363"/>
                <a:gd name="T27" fmla="*/ 112 h 363"/>
                <a:gd name="T28" fmla="*/ 92 w 363"/>
                <a:gd name="T29" fmla="*/ 133 h 363"/>
                <a:gd name="T30" fmla="*/ 95 w 363"/>
                <a:gd name="T31" fmla="*/ 148 h 363"/>
                <a:gd name="T32" fmla="*/ 105 w 363"/>
                <a:gd name="T33" fmla="*/ 161 h 363"/>
                <a:gd name="T34" fmla="*/ 124 w 363"/>
                <a:gd name="T35" fmla="*/ 197 h 363"/>
                <a:gd name="T36" fmla="*/ 131 w 363"/>
                <a:gd name="T37" fmla="*/ 221 h 363"/>
                <a:gd name="T38" fmla="*/ 117 w 363"/>
                <a:gd name="T39" fmla="*/ 232 h 363"/>
                <a:gd name="T40" fmla="*/ 12 w 363"/>
                <a:gd name="T41" fmla="*/ 280 h 363"/>
                <a:gd name="T42" fmla="*/ 3 w 363"/>
                <a:gd name="T43" fmla="*/ 288 h 363"/>
                <a:gd name="T44" fmla="*/ 0 w 363"/>
                <a:gd name="T45" fmla="*/ 343 h 363"/>
                <a:gd name="T46" fmla="*/ 4 w 363"/>
                <a:gd name="T47" fmla="*/ 357 h 363"/>
                <a:gd name="T48" fmla="*/ 343 w 363"/>
                <a:gd name="T49" fmla="*/ 363 h 363"/>
                <a:gd name="T50" fmla="*/ 357 w 363"/>
                <a:gd name="T51" fmla="*/ 357 h 363"/>
                <a:gd name="T52" fmla="*/ 363 w 363"/>
                <a:gd name="T53" fmla="*/ 299 h 363"/>
                <a:gd name="T54" fmla="*/ 358 w 363"/>
                <a:gd name="T55" fmla="*/ 288 h 363"/>
                <a:gd name="T56" fmla="*/ 349 w 363"/>
                <a:gd name="T57" fmla="*/ 280 h 363"/>
                <a:gd name="T58" fmla="*/ 346 w 363"/>
                <a:gd name="T59" fmla="*/ 346 h 363"/>
                <a:gd name="T60" fmla="*/ 19 w 363"/>
                <a:gd name="T61" fmla="*/ 347 h 363"/>
                <a:gd name="T62" fmla="*/ 14 w 363"/>
                <a:gd name="T63" fmla="*/ 299 h 363"/>
                <a:gd name="T64" fmla="*/ 17 w 363"/>
                <a:gd name="T65" fmla="*/ 294 h 363"/>
                <a:gd name="T66" fmla="*/ 81 w 363"/>
                <a:gd name="T67" fmla="*/ 268 h 363"/>
                <a:gd name="T68" fmla="*/ 131 w 363"/>
                <a:gd name="T69" fmla="*/ 241 h 363"/>
                <a:gd name="T70" fmla="*/ 145 w 363"/>
                <a:gd name="T71" fmla="*/ 224 h 363"/>
                <a:gd name="T72" fmla="*/ 145 w 363"/>
                <a:gd name="T73" fmla="*/ 205 h 363"/>
                <a:gd name="T74" fmla="*/ 144 w 363"/>
                <a:gd name="T75" fmla="*/ 199 h 363"/>
                <a:gd name="T76" fmla="*/ 130 w 363"/>
                <a:gd name="T77" fmla="*/ 180 h 363"/>
                <a:gd name="T78" fmla="*/ 119 w 363"/>
                <a:gd name="T79" fmla="*/ 155 h 363"/>
                <a:gd name="T80" fmla="*/ 113 w 363"/>
                <a:gd name="T81" fmla="*/ 147 h 363"/>
                <a:gd name="T82" fmla="*/ 108 w 363"/>
                <a:gd name="T83" fmla="*/ 133 h 363"/>
                <a:gd name="T84" fmla="*/ 113 w 363"/>
                <a:gd name="T85" fmla="*/ 120 h 363"/>
                <a:gd name="T86" fmla="*/ 114 w 363"/>
                <a:gd name="T87" fmla="*/ 75 h 363"/>
                <a:gd name="T88" fmla="*/ 119 w 363"/>
                <a:gd name="T89" fmla="*/ 50 h 363"/>
                <a:gd name="T90" fmla="*/ 141 w 363"/>
                <a:gd name="T91" fmla="*/ 23 h 363"/>
                <a:gd name="T92" fmla="*/ 181 w 363"/>
                <a:gd name="T93" fmla="*/ 14 h 363"/>
                <a:gd name="T94" fmla="*/ 210 w 363"/>
                <a:gd name="T95" fmla="*/ 18 h 363"/>
                <a:gd name="T96" fmla="*/ 238 w 363"/>
                <a:gd name="T97" fmla="*/ 39 h 363"/>
                <a:gd name="T98" fmla="*/ 247 w 363"/>
                <a:gd name="T99" fmla="*/ 75 h 363"/>
                <a:gd name="T100" fmla="*/ 249 w 363"/>
                <a:gd name="T101" fmla="*/ 120 h 363"/>
                <a:gd name="T102" fmla="*/ 255 w 363"/>
                <a:gd name="T103" fmla="*/ 133 h 363"/>
                <a:gd name="T104" fmla="*/ 252 w 363"/>
                <a:gd name="T105" fmla="*/ 142 h 363"/>
                <a:gd name="T106" fmla="*/ 246 w 363"/>
                <a:gd name="T107" fmla="*/ 150 h 363"/>
                <a:gd name="T108" fmla="*/ 238 w 363"/>
                <a:gd name="T109" fmla="*/ 167 h 363"/>
                <a:gd name="T110" fmla="*/ 218 w 363"/>
                <a:gd name="T111" fmla="*/ 199 h 363"/>
                <a:gd name="T112" fmla="*/ 216 w 363"/>
                <a:gd name="T113" fmla="*/ 205 h 363"/>
                <a:gd name="T114" fmla="*/ 216 w 363"/>
                <a:gd name="T115" fmla="*/ 224 h 363"/>
                <a:gd name="T116" fmla="*/ 224 w 363"/>
                <a:gd name="T117" fmla="*/ 235 h 363"/>
                <a:gd name="T118" fmla="*/ 258 w 363"/>
                <a:gd name="T119" fmla="*/ 257 h 363"/>
                <a:gd name="T120" fmla="*/ 344 w 363"/>
                <a:gd name="T121" fmla="*/ 294 h 363"/>
                <a:gd name="T122" fmla="*/ 348 w 363"/>
                <a:gd name="T123" fmla="*/ 299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3" h="363">
                  <a:moveTo>
                    <a:pt x="349" y="280"/>
                  </a:moveTo>
                  <a:lnTo>
                    <a:pt x="349" y="280"/>
                  </a:lnTo>
                  <a:lnTo>
                    <a:pt x="290" y="257"/>
                  </a:lnTo>
                  <a:lnTo>
                    <a:pt x="255" y="238"/>
                  </a:lnTo>
                  <a:lnTo>
                    <a:pt x="244" y="232"/>
                  </a:lnTo>
                  <a:lnTo>
                    <a:pt x="236" y="227"/>
                  </a:lnTo>
                  <a:lnTo>
                    <a:pt x="233" y="224"/>
                  </a:lnTo>
                  <a:lnTo>
                    <a:pt x="232" y="221"/>
                  </a:lnTo>
                  <a:lnTo>
                    <a:pt x="232" y="206"/>
                  </a:lnTo>
                  <a:lnTo>
                    <a:pt x="232" y="206"/>
                  </a:lnTo>
                  <a:lnTo>
                    <a:pt x="239" y="197"/>
                  </a:lnTo>
                  <a:lnTo>
                    <a:pt x="246" y="186"/>
                  </a:lnTo>
                  <a:lnTo>
                    <a:pt x="252" y="174"/>
                  </a:lnTo>
                  <a:lnTo>
                    <a:pt x="257" y="161"/>
                  </a:lnTo>
                  <a:lnTo>
                    <a:pt x="257" y="161"/>
                  </a:lnTo>
                  <a:lnTo>
                    <a:pt x="261" y="155"/>
                  </a:lnTo>
                  <a:lnTo>
                    <a:pt x="266" y="148"/>
                  </a:lnTo>
                  <a:lnTo>
                    <a:pt x="268" y="141"/>
                  </a:lnTo>
                  <a:lnTo>
                    <a:pt x="269" y="133"/>
                  </a:lnTo>
                  <a:lnTo>
                    <a:pt x="269" y="133"/>
                  </a:lnTo>
                  <a:lnTo>
                    <a:pt x="268" y="122"/>
                  </a:lnTo>
                  <a:lnTo>
                    <a:pt x="263" y="112"/>
                  </a:lnTo>
                  <a:lnTo>
                    <a:pt x="263" y="75"/>
                  </a:lnTo>
                  <a:lnTo>
                    <a:pt x="263" y="75"/>
                  </a:lnTo>
                  <a:lnTo>
                    <a:pt x="261" y="58"/>
                  </a:lnTo>
                  <a:lnTo>
                    <a:pt x="257" y="44"/>
                  </a:lnTo>
                  <a:lnTo>
                    <a:pt x="250" y="31"/>
                  </a:lnTo>
                  <a:lnTo>
                    <a:pt x="241" y="20"/>
                  </a:lnTo>
                  <a:lnTo>
                    <a:pt x="230" y="11"/>
                  </a:lnTo>
                  <a:lnTo>
                    <a:pt x="216" y="4"/>
                  </a:lnTo>
                  <a:lnTo>
                    <a:pt x="199" y="1"/>
                  </a:lnTo>
                  <a:lnTo>
                    <a:pt x="181" y="0"/>
                  </a:lnTo>
                  <a:lnTo>
                    <a:pt x="181" y="0"/>
                  </a:lnTo>
                  <a:lnTo>
                    <a:pt x="163" y="1"/>
                  </a:lnTo>
                  <a:lnTo>
                    <a:pt x="147" y="4"/>
                  </a:lnTo>
                  <a:lnTo>
                    <a:pt x="133" y="11"/>
                  </a:lnTo>
                  <a:lnTo>
                    <a:pt x="120" y="20"/>
                  </a:lnTo>
                  <a:lnTo>
                    <a:pt x="111" y="31"/>
                  </a:lnTo>
                  <a:lnTo>
                    <a:pt x="105" y="44"/>
                  </a:lnTo>
                  <a:lnTo>
                    <a:pt x="100" y="59"/>
                  </a:lnTo>
                  <a:lnTo>
                    <a:pt x="98" y="75"/>
                  </a:lnTo>
                  <a:lnTo>
                    <a:pt x="98" y="112"/>
                  </a:lnTo>
                  <a:lnTo>
                    <a:pt x="98" y="112"/>
                  </a:lnTo>
                  <a:lnTo>
                    <a:pt x="94" y="122"/>
                  </a:lnTo>
                  <a:lnTo>
                    <a:pt x="92" y="133"/>
                  </a:lnTo>
                  <a:lnTo>
                    <a:pt x="92" y="133"/>
                  </a:lnTo>
                  <a:lnTo>
                    <a:pt x="94" y="141"/>
                  </a:lnTo>
                  <a:lnTo>
                    <a:pt x="95" y="148"/>
                  </a:lnTo>
                  <a:lnTo>
                    <a:pt x="100" y="155"/>
                  </a:lnTo>
                  <a:lnTo>
                    <a:pt x="105" y="161"/>
                  </a:lnTo>
                  <a:lnTo>
                    <a:pt x="105" y="161"/>
                  </a:lnTo>
                  <a:lnTo>
                    <a:pt x="109" y="174"/>
                  </a:lnTo>
                  <a:lnTo>
                    <a:pt x="116" y="186"/>
                  </a:lnTo>
                  <a:lnTo>
                    <a:pt x="124" y="197"/>
                  </a:lnTo>
                  <a:lnTo>
                    <a:pt x="131" y="206"/>
                  </a:lnTo>
                  <a:lnTo>
                    <a:pt x="131" y="221"/>
                  </a:lnTo>
                  <a:lnTo>
                    <a:pt x="131" y="221"/>
                  </a:lnTo>
                  <a:lnTo>
                    <a:pt x="128" y="224"/>
                  </a:lnTo>
                  <a:lnTo>
                    <a:pt x="125" y="227"/>
                  </a:lnTo>
                  <a:lnTo>
                    <a:pt x="117" y="232"/>
                  </a:lnTo>
                  <a:lnTo>
                    <a:pt x="106" y="238"/>
                  </a:lnTo>
                  <a:lnTo>
                    <a:pt x="72" y="257"/>
                  </a:lnTo>
                  <a:lnTo>
                    <a:pt x="12" y="280"/>
                  </a:lnTo>
                  <a:lnTo>
                    <a:pt x="12" y="280"/>
                  </a:lnTo>
                  <a:lnTo>
                    <a:pt x="6" y="283"/>
                  </a:lnTo>
                  <a:lnTo>
                    <a:pt x="3" y="288"/>
                  </a:lnTo>
                  <a:lnTo>
                    <a:pt x="0" y="293"/>
                  </a:lnTo>
                  <a:lnTo>
                    <a:pt x="0" y="299"/>
                  </a:lnTo>
                  <a:lnTo>
                    <a:pt x="0" y="343"/>
                  </a:lnTo>
                  <a:lnTo>
                    <a:pt x="0" y="343"/>
                  </a:lnTo>
                  <a:lnTo>
                    <a:pt x="1" y="351"/>
                  </a:lnTo>
                  <a:lnTo>
                    <a:pt x="4" y="357"/>
                  </a:lnTo>
                  <a:lnTo>
                    <a:pt x="11" y="362"/>
                  </a:lnTo>
                  <a:lnTo>
                    <a:pt x="19" y="363"/>
                  </a:lnTo>
                  <a:lnTo>
                    <a:pt x="343" y="363"/>
                  </a:lnTo>
                  <a:lnTo>
                    <a:pt x="343" y="363"/>
                  </a:lnTo>
                  <a:lnTo>
                    <a:pt x="351" y="362"/>
                  </a:lnTo>
                  <a:lnTo>
                    <a:pt x="357" y="357"/>
                  </a:lnTo>
                  <a:lnTo>
                    <a:pt x="362" y="351"/>
                  </a:lnTo>
                  <a:lnTo>
                    <a:pt x="363" y="343"/>
                  </a:lnTo>
                  <a:lnTo>
                    <a:pt x="363" y="299"/>
                  </a:lnTo>
                  <a:lnTo>
                    <a:pt x="363" y="299"/>
                  </a:lnTo>
                  <a:lnTo>
                    <a:pt x="362" y="293"/>
                  </a:lnTo>
                  <a:lnTo>
                    <a:pt x="358" y="288"/>
                  </a:lnTo>
                  <a:lnTo>
                    <a:pt x="355" y="283"/>
                  </a:lnTo>
                  <a:lnTo>
                    <a:pt x="349" y="280"/>
                  </a:lnTo>
                  <a:lnTo>
                    <a:pt x="349" y="280"/>
                  </a:lnTo>
                  <a:close/>
                  <a:moveTo>
                    <a:pt x="348" y="343"/>
                  </a:moveTo>
                  <a:lnTo>
                    <a:pt x="348" y="343"/>
                  </a:lnTo>
                  <a:lnTo>
                    <a:pt x="346" y="346"/>
                  </a:lnTo>
                  <a:lnTo>
                    <a:pt x="343" y="347"/>
                  </a:lnTo>
                  <a:lnTo>
                    <a:pt x="19" y="347"/>
                  </a:lnTo>
                  <a:lnTo>
                    <a:pt x="19" y="347"/>
                  </a:lnTo>
                  <a:lnTo>
                    <a:pt x="15" y="346"/>
                  </a:lnTo>
                  <a:lnTo>
                    <a:pt x="14" y="343"/>
                  </a:lnTo>
                  <a:lnTo>
                    <a:pt x="14" y="299"/>
                  </a:lnTo>
                  <a:lnTo>
                    <a:pt x="14" y="299"/>
                  </a:lnTo>
                  <a:lnTo>
                    <a:pt x="15" y="296"/>
                  </a:lnTo>
                  <a:lnTo>
                    <a:pt x="17" y="294"/>
                  </a:lnTo>
                  <a:lnTo>
                    <a:pt x="17" y="294"/>
                  </a:lnTo>
                  <a:lnTo>
                    <a:pt x="53" y="280"/>
                  </a:lnTo>
                  <a:lnTo>
                    <a:pt x="81" y="268"/>
                  </a:lnTo>
                  <a:lnTo>
                    <a:pt x="103" y="257"/>
                  </a:lnTo>
                  <a:lnTo>
                    <a:pt x="120" y="247"/>
                  </a:lnTo>
                  <a:lnTo>
                    <a:pt x="131" y="241"/>
                  </a:lnTo>
                  <a:lnTo>
                    <a:pt x="139" y="235"/>
                  </a:lnTo>
                  <a:lnTo>
                    <a:pt x="142" y="228"/>
                  </a:lnTo>
                  <a:lnTo>
                    <a:pt x="145" y="224"/>
                  </a:lnTo>
                  <a:lnTo>
                    <a:pt x="145" y="224"/>
                  </a:lnTo>
                  <a:lnTo>
                    <a:pt x="145" y="222"/>
                  </a:lnTo>
                  <a:lnTo>
                    <a:pt x="145" y="205"/>
                  </a:lnTo>
                  <a:lnTo>
                    <a:pt x="145" y="205"/>
                  </a:lnTo>
                  <a:lnTo>
                    <a:pt x="145" y="202"/>
                  </a:lnTo>
                  <a:lnTo>
                    <a:pt x="144" y="199"/>
                  </a:lnTo>
                  <a:lnTo>
                    <a:pt x="144" y="199"/>
                  </a:lnTo>
                  <a:lnTo>
                    <a:pt x="136" y="189"/>
                  </a:lnTo>
                  <a:lnTo>
                    <a:pt x="130" y="180"/>
                  </a:lnTo>
                  <a:lnTo>
                    <a:pt x="124" y="167"/>
                  </a:lnTo>
                  <a:lnTo>
                    <a:pt x="119" y="155"/>
                  </a:lnTo>
                  <a:lnTo>
                    <a:pt x="119" y="155"/>
                  </a:lnTo>
                  <a:lnTo>
                    <a:pt x="116" y="150"/>
                  </a:lnTo>
                  <a:lnTo>
                    <a:pt x="116" y="150"/>
                  </a:lnTo>
                  <a:lnTo>
                    <a:pt x="113" y="147"/>
                  </a:lnTo>
                  <a:lnTo>
                    <a:pt x="109" y="142"/>
                  </a:lnTo>
                  <a:lnTo>
                    <a:pt x="108" y="138"/>
                  </a:lnTo>
                  <a:lnTo>
                    <a:pt x="108" y="133"/>
                  </a:lnTo>
                  <a:lnTo>
                    <a:pt x="108" y="133"/>
                  </a:lnTo>
                  <a:lnTo>
                    <a:pt x="109" y="125"/>
                  </a:lnTo>
                  <a:lnTo>
                    <a:pt x="113" y="120"/>
                  </a:lnTo>
                  <a:lnTo>
                    <a:pt x="113" y="120"/>
                  </a:lnTo>
                  <a:lnTo>
                    <a:pt x="114" y="116"/>
                  </a:lnTo>
                  <a:lnTo>
                    <a:pt x="114" y="75"/>
                  </a:lnTo>
                  <a:lnTo>
                    <a:pt x="114" y="75"/>
                  </a:lnTo>
                  <a:lnTo>
                    <a:pt x="114" y="62"/>
                  </a:lnTo>
                  <a:lnTo>
                    <a:pt x="119" y="50"/>
                  </a:lnTo>
                  <a:lnTo>
                    <a:pt x="124" y="39"/>
                  </a:lnTo>
                  <a:lnTo>
                    <a:pt x="131" y="29"/>
                  </a:lnTo>
                  <a:lnTo>
                    <a:pt x="141" y="23"/>
                  </a:lnTo>
                  <a:lnTo>
                    <a:pt x="152" y="18"/>
                  </a:lnTo>
                  <a:lnTo>
                    <a:pt x="166" y="15"/>
                  </a:lnTo>
                  <a:lnTo>
                    <a:pt x="181" y="14"/>
                  </a:lnTo>
                  <a:lnTo>
                    <a:pt x="181" y="14"/>
                  </a:lnTo>
                  <a:lnTo>
                    <a:pt x="196" y="15"/>
                  </a:lnTo>
                  <a:lnTo>
                    <a:pt x="210" y="18"/>
                  </a:lnTo>
                  <a:lnTo>
                    <a:pt x="221" y="23"/>
                  </a:lnTo>
                  <a:lnTo>
                    <a:pt x="232" y="29"/>
                  </a:lnTo>
                  <a:lnTo>
                    <a:pt x="238" y="39"/>
                  </a:lnTo>
                  <a:lnTo>
                    <a:pt x="244" y="50"/>
                  </a:lnTo>
                  <a:lnTo>
                    <a:pt x="247" y="61"/>
                  </a:lnTo>
                  <a:lnTo>
                    <a:pt x="247" y="75"/>
                  </a:lnTo>
                  <a:lnTo>
                    <a:pt x="247" y="116"/>
                  </a:lnTo>
                  <a:lnTo>
                    <a:pt x="247" y="116"/>
                  </a:lnTo>
                  <a:lnTo>
                    <a:pt x="249" y="120"/>
                  </a:lnTo>
                  <a:lnTo>
                    <a:pt x="249" y="120"/>
                  </a:lnTo>
                  <a:lnTo>
                    <a:pt x="254" y="125"/>
                  </a:lnTo>
                  <a:lnTo>
                    <a:pt x="255" y="133"/>
                  </a:lnTo>
                  <a:lnTo>
                    <a:pt x="255" y="133"/>
                  </a:lnTo>
                  <a:lnTo>
                    <a:pt x="254" y="138"/>
                  </a:lnTo>
                  <a:lnTo>
                    <a:pt x="252" y="142"/>
                  </a:lnTo>
                  <a:lnTo>
                    <a:pt x="249" y="147"/>
                  </a:lnTo>
                  <a:lnTo>
                    <a:pt x="246" y="150"/>
                  </a:lnTo>
                  <a:lnTo>
                    <a:pt x="246" y="150"/>
                  </a:lnTo>
                  <a:lnTo>
                    <a:pt x="243" y="155"/>
                  </a:lnTo>
                  <a:lnTo>
                    <a:pt x="243" y="155"/>
                  </a:lnTo>
                  <a:lnTo>
                    <a:pt x="238" y="167"/>
                  </a:lnTo>
                  <a:lnTo>
                    <a:pt x="233" y="180"/>
                  </a:lnTo>
                  <a:lnTo>
                    <a:pt x="225" y="189"/>
                  </a:lnTo>
                  <a:lnTo>
                    <a:pt x="218" y="199"/>
                  </a:lnTo>
                  <a:lnTo>
                    <a:pt x="218" y="199"/>
                  </a:lnTo>
                  <a:lnTo>
                    <a:pt x="216" y="202"/>
                  </a:lnTo>
                  <a:lnTo>
                    <a:pt x="216" y="205"/>
                  </a:lnTo>
                  <a:lnTo>
                    <a:pt x="216" y="222"/>
                  </a:lnTo>
                  <a:lnTo>
                    <a:pt x="216" y="222"/>
                  </a:lnTo>
                  <a:lnTo>
                    <a:pt x="216" y="224"/>
                  </a:lnTo>
                  <a:lnTo>
                    <a:pt x="216" y="224"/>
                  </a:lnTo>
                  <a:lnTo>
                    <a:pt x="219" y="228"/>
                  </a:lnTo>
                  <a:lnTo>
                    <a:pt x="224" y="235"/>
                  </a:lnTo>
                  <a:lnTo>
                    <a:pt x="230" y="241"/>
                  </a:lnTo>
                  <a:lnTo>
                    <a:pt x="243" y="249"/>
                  </a:lnTo>
                  <a:lnTo>
                    <a:pt x="258" y="257"/>
                  </a:lnTo>
                  <a:lnTo>
                    <a:pt x="280" y="268"/>
                  </a:lnTo>
                  <a:lnTo>
                    <a:pt x="308" y="280"/>
                  </a:lnTo>
                  <a:lnTo>
                    <a:pt x="344" y="294"/>
                  </a:lnTo>
                  <a:lnTo>
                    <a:pt x="344" y="294"/>
                  </a:lnTo>
                  <a:lnTo>
                    <a:pt x="348" y="296"/>
                  </a:lnTo>
                  <a:lnTo>
                    <a:pt x="348" y="299"/>
                  </a:lnTo>
                  <a:lnTo>
                    <a:pt x="348" y="34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80" name="Freeform 148">
              <a:extLst>
                <a:ext uri="{FF2B5EF4-FFF2-40B4-BE49-F238E27FC236}">
                  <a16:creationId xmlns:a16="http://schemas.microsoft.com/office/drawing/2014/main" id="{C2E52AF4-87A0-4C96-8801-ED21052F91D0}"/>
                </a:ext>
              </a:extLst>
            </p:cNvPr>
            <p:cNvSpPr>
              <a:spLocks noEditPoints="1"/>
            </p:cNvSpPr>
            <p:nvPr/>
          </p:nvSpPr>
          <p:spPr bwMode="auto">
            <a:xfrm>
              <a:off x="2870200" y="5289550"/>
              <a:ext cx="601663" cy="603250"/>
            </a:xfrm>
            <a:custGeom>
              <a:avLst/>
              <a:gdLst>
                <a:gd name="T0" fmla="*/ 359 w 758"/>
                <a:gd name="T1" fmla="*/ 758 h 760"/>
                <a:gd name="T2" fmla="*/ 303 w 758"/>
                <a:gd name="T3" fmla="*/ 752 h 760"/>
                <a:gd name="T4" fmla="*/ 232 w 758"/>
                <a:gd name="T5" fmla="*/ 730 h 760"/>
                <a:gd name="T6" fmla="*/ 138 w 758"/>
                <a:gd name="T7" fmla="*/ 672 h 760"/>
                <a:gd name="T8" fmla="*/ 65 w 758"/>
                <a:gd name="T9" fmla="*/ 592 h 760"/>
                <a:gd name="T10" fmla="*/ 18 w 758"/>
                <a:gd name="T11" fmla="*/ 492 h 760"/>
                <a:gd name="T12" fmla="*/ 3 w 758"/>
                <a:gd name="T13" fmla="*/ 437 h 760"/>
                <a:gd name="T14" fmla="*/ 0 w 758"/>
                <a:gd name="T15" fmla="*/ 379 h 760"/>
                <a:gd name="T16" fmla="*/ 2 w 758"/>
                <a:gd name="T17" fmla="*/ 342 h 760"/>
                <a:gd name="T18" fmla="*/ 11 w 758"/>
                <a:gd name="T19" fmla="*/ 285 h 760"/>
                <a:gd name="T20" fmla="*/ 46 w 758"/>
                <a:gd name="T21" fmla="*/ 199 h 760"/>
                <a:gd name="T22" fmla="*/ 112 w 758"/>
                <a:gd name="T23" fmla="*/ 111 h 760"/>
                <a:gd name="T24" fmla="*/ 198 w 758"/>
                <a:gd name="T25" fmla="*/ 47 h 760"/>
                <a:gd name="T26" fmla="*/ 284 w 758"/>
                <a:gd name="T27" fmla="*/ 13 h 760"/>
                <a:gd name="T28" fmla="*/ 340 w 758"/>
                <a:gd name="T29" fmla="*/ 3 h 760"/>
                <a:gd name="T30" fmla="*/ 379 w 758"/>
                <a:gd name="T31" fmla="*/ 0 h 760"/>
                <a:gd name="T32" fmla="*/ 437 w 758"/>
                <a:gd name="T33" fmla="*/ 5 h 760"/>
                <a:gd name="T34" fmla="*/ 492 w 758"/>
                <a:gd name="T35" fmla="*/ 17 h 760"/>
                <a:gd name="T36" fmla="*/ 591 w 758"/>
                <a:gd name="T37" fmla="*/ 66 h 760"/>
                <a:gd name="T38" fmla="*/ 672 w 758"/>
                <a:gd name="T39" fmla="*/ 138 h 760"/>
                <a:gd name="T40" fmla="*/ 729 w 758"/>
                <a:gd name="T41" fmla="*/ 232 h 760"/>
                <a:gd name="T42" fmla="*/ 751 w 758"/>
                <a:gd name="T43" fmla="*/ 304 h 760"/>
                <a:gd name="T44" fmla="*/ 758 w 758"/>
                <a:gd name="T45" fmla="*/ 360 h 760"/>
                <a:gd name="T46" fmla="*/ 758 w 758"/>
                <a:gd name="T47" fmla="*/ 400 h 760"/>
                <a:gd name="T48" fmla="*/ 751 w 758"/>
                <a:gd name="T49" fmla="*/ 456 h 760"/>
                <a:gd name="T50" fmla="*/ 729 w 758"/>
                <a:gd name="T51" fmla="*/ 528 h 760"/>
                <a:gd name="T52" fmla="*/ 672 w 758"/>
                <a:gd name="T53" fmla="*/ 620 h 760"/>
                <a:gd name="T54" fmla="*/ 591 w 758"/>
                <a:gd name="T55" fmla="*/ 694 h 760"/>
                <a:gd name="T56" fmla="*/ 492 w 758"/>
                <a:gd name="T57" fmla="*/ 743 h 760"/>
                <a:gd name="T58" fmla="*/ 437 w 758"/>
                <a:gd name="T59" fmla="*/ 755 h 760"/>
                <a:gd name="T60" fmla="*/ 379 w 758"/>
                <a:gd name="T61" fmla="*/ 760 h 760"/>
                <a:gd name="T62" fmla="*/ 379 w 758"/>
                <a:gd name="T63" fmla="*/ 22 h 760"/>
                <a:gd name="T64" fmla="*/ 273 w 758"/>
                <a:gd name="T65" fmla="*/ 38 h 760"/>
                <a:gd name="T66" fmla="*/ 179 w 758"/>
                <a:gd name="T67" fmla="*/ 83 h 760"/>
                <a:gd name="T68" fmla="*/ 104 w 758"/>
                <a:gd name="T69" fmla="*/ 152 h 760"/>
                <a:gd name="T70" fmla="*/ 49 w 758"/>
                <a:gd name="T71" fmla="*/ 241 h 760"/>
                <a:gd name="T72" fmla="*/ 22 w 758"/>
                <a:gd name="T73" fmla="*/ 343 h 760"/>
                <a:gd name="T74" fmla="*/ 22 w 758"/>
                <a:gd name="T75" fmla="*/ 417 h 760"/>
                <a:gd name="T76" fmla="*/ 49 w 758"/>
                <a:gd name="T77" fmla="*/ 519 h 760"/>
                <a:gd name="T78" fmla="*/ 104 w 758"/>
                <a:gd name="T79" fmla="*/ 608 h 760"/>
                <a:gd name="T80" fmla="*/ 179 w 758"/>
                <a:gd name="T81" fmla="*/ 677 h 760"/>
                <a:gd name="T82" fmla="*/ 273 w 758"/>
                <a:gd name="T83" fmla="*/ 722 h 760"/>
                <a:gd name="T84" fmla="*/ 379 w 758"/>
                <a:gd name="T85" fmla="*/ 738 h 760"/>
                <a:gd name="T86" fmla="*/ 451 w 758"/>
                <a:gd name="T87" fmla="*/ 730 h 760"/>
                <a:gd name="T88" fmla="*/ 550 w 758"/>
                <a:gd name="T89" fmla="*/ 694 h 760"/>
                <a:gd name="T90" fmla="*/ 632 w 758"/>
                <a:gd name="T91" fmla="*/ 633 h 760"/>
                <a:gd name="T92" fmla="*/ 694 w 758"/>
                <a:gd name="T93" fmla="*/ 550 h 760"/>
                <a:gd name="T94" fmla="*/ 730 w 758"/>
                <a:gd name="T95" fmla="*/ 451 h 760"/>
                <a:gd name="T96" fmla="*/ 736 w 758"/>
                <a:gd name="T97" fmla="*/ 379 h 760"/>
                <a:gd name="T98" fmla="*/ 721 w 758"/>
                <a:gd name="T99" fmla="*/ 274 h 760"/>
                <a:gd name="T100" fmla="*/ 675 w 758"/>
                <a:gd name="T101" fmla="*/ 180 h 760"/>
                <a:gd name="T102" fmla="*/ 606 w 758"/>
                <a:gd name="T103" fmla="*/ 104 h 760"/>
                <a:gd name="T104" fmla="*/ 519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9" y="758"/>
                  </a:lnTo>
                  <a:lnTo>
                    <a:pt x="340" y="757"/>
                  </a:lnTo>
                  <a:lnTo>
                    <a:pt x="321" y="755"/>
                  </a:lnTo>
                  <a:lnTo>
                    <a:pt x="303" y="752"/>
                  </a:lnTo>
                  <a:lnTo>
                    <a:pt x="284" y="747"/>
                  </a:lnTo>
                  <a:lnTo>
                    <a:pt x="267" y="743"/>
                  </a:lnTo>
                  <a:lnTo>
                    <a:pt x="232" y="730"/>
                  </a:lnTo>
                  <a:lnTo>
                    <a:pt x="198" y="713"/>
                  </a:lnTo>
                  <a:lnTo>
                    <a:pt x="168" y="694"/>
                  </a:lnTo>
                  <a:lnTo>
                    <a:pt x="138" y="672"/>
                  </a:lnTo>
                  <a:lnTo>
                    <a:pt x="112" y="649"/>
                  </a:lnTo>
                  <a:lnTo>
                    <a:pt x="86" y="620"/>
                  </a:lnTo>
                  <a:lnTo>
                    <a:pt x="65" y="592"/>
                  </a:lnTo>
                  <a:lnTo>
                    <a:pt x="46" y="561"/>
                  </a:lnTo>
                  <a:lnTo>
                    <a:pt x="30" y="528"/>
                  </a:lnTo>
                  <a:lnTo>
                    <a:pt x="18" y="492"/>
                  </a:lnTo>
                  <a:lnTo>
                    <a:pt x="11" y="475"/>
                  </a:lnTo>
                  <a:lnTo>
                    <a:pt x="8" y="456"/>
                  </a:lnTo>
                  <a:lnTo>
                    <a:pt x="3" y="437"/>
                  </a:lnTo>
                  <a:lnTo>
                    <a:pt x="2" y="418"/>
                  </a:lnTo>
                  <a:lnTo>
                    <a:pt x="0" y="400"/>
                  </a:lnTo>
                  <a:lnTo>
                    <a:pt x="0" y="379"/>
                  </a:lnTo>
                  <a:lnTo>
                    <a:pt x="0" y="379"/>
                  </a:lnTo>
                  <a:lnTo>
                    <a:pt x="0" y="360"/>
                  </a:lnTo>
                  <a:lnTo>
                    <a:pt x="2" y="342"/>
                  </a:lnTo>
                  <a:lnTo>
                    <a:pt x="3" y="323"/>
                  </a:lnTo>
                  <a:lnTo>
                    <a:pt x="8" y="304"/>
                  </a:lnTo>
                  <a:lnTo>
                    <a:pt x="11" y="285"/>
                  </a:lnTo>
                  <a:lnTo>
                    <a:pt x="18" y="266"/>
                  </a:lnTo>
                  <a:lnTo>
                    <a:pt x="30" y="232"/>
                  </a:lnTo>
                  <a:lnTo>
                    <a:pt x="46" y="199"/>
                  </a:lnTo>
                  <a:lnTo>
                    <a:pt x="65" y="168"/>
                  </a:lnTo>
                  <a:lnTo>
                    <a:pt x="86" y="138"/>
                  </a:lnTo>
                  <a:lnTo>
                    <a:pt x="112" y="111"/>
                  </a:lnTo>
                  <a:lnTo>
                    <a:pt x="138" y="88"/>
                  </a:lnTo>
                  <a:lnTo>
                    <a:pt x="168" y="66"/>
                  </a:lnTo>
                  <a:lnTo>
                    <a:pt x="198" y="47"/>
                  </a:lnTo>
                  <a:lnTo>
                    <a:pt x="232" y="30"/>
                  </a:lnTo>
                  <a:lnTo>
                    <a:pt x="267" y="17"/>
                  </a:lnTo>
                  <a:lnTo>
                    <a:pt x="284" y="13"/>
                  </a:lnTo>
                  <a:lnTo>
                    <a:pt x="303" y="8"/>
                  </a:lnTo>
                  <a:lnTo>
                    <a:pt x="321" y="5"/>
                  </a:lnTo>
                  <a:lnTo>
                    <a:pt x="340" y="3"/>
                  </a:lnTo>
                  <a:lnTo>
                    <a:pt x="359" y="2"/>
                  </a:lnTo>
                  <a:lnTo>
                    <a:pt x="379" y="0"/>
                  </a:lnTo>
                  <a:lnTo>
                    <a:pt x="379" y="0"/>
                  </a:lnTo>
                  <a:lnTo>
                    <a:pt x="398" y="2"/>
                  </a:lnTo>
                  <a:lnTo>
                    <a:pt x="419" y="3"/>
                  </a:lnTo>
                  <a:lnTo>
                    <a:pt x="437" y="5"/>
                  </a:lnTo>
                  <a:lnTo>
                    <a:pt x="456" y="8"/>
                  </a:lnTo>
                  <a:lnTo>
                    <a:pt x="473" y="13"/>
                  </a:lnTo>
                  <a:lnTo>
                    <a:pt x="492" y="17"/>
                  </a:lnTo>
                  <a:lnTo>
                    <a:pt x="527" y="30"/>
                  </a:lnTo>
                  <a:lnTo>
                    <a:pt x="559" y="47"/>
                  </a:lnTo>
                  <a:lnTo>
                    <a:pt x="591" y="66"/>
                  </a:lnTo>
                  <a:lnTo>
                    <a:pt x="621" y="88"/>
                  </a:lnTo>
                  <a:lnTo>
                    <a:pt x="647" y="111"/>
                  </a:lnTo>
                  <a:lnTo>
                    <a:pt x="672" y="138"/>
                  </a:lnTo>
                  <a:lnTo>
                    <a:pt x="694" y="168"/>
                  </a:lnTo>
                  <a:lnTo>
                    <a:pt x="713" y="199"/>
                  </a:lnTo>
                  <a:lnTo>
                    <a:pt x="729" y="232"/>
                  </a:lnTo>
                  <a:lnTo>
                    <a:pt x="741" y="266"/>
                  </a:lnTo>
                  <a:lnTo>
                    <a:pt x="746" y="285"/>
                  </a:lnTo>
                  <a:lnTo>
                    <a:pt x="751" y="304"/>
                  </a:lnTo>
                  <a:lnTo>
                    <a:pt x="754" y="323"/>
                  </a:lnTo>
                  <a:lnTo>
                    <a:pt x="757" y="342"/>
                  </a:lnTo>
                  <a:lnTo>
                    <a:pt x="758" y="360"/>
                  </a:lnTo>
                  <a:lnTo>
                    <a:pt x="758" y="379"/>
                  </a:lnTo>
                  <a:lnTo>
                    <a:pt x="758" y="379"/>
                  </a:lnTo>
                  <a:lnTo>
                    <a:pt x="758" y="400"/>
                  </a:lnTo>
                  <a:lnTo>
                    <a:pt x="757" y="418"/>
                  </a:lnTo>
                  <a:lnTo>
                    <a:pt x="754" y="437"/>
                  </a:lnTo>
                  <a:lnTo>
                    <a:pt x="751" y="456"/>
                  </a:lnTo>
                  <a:lnTo>
                    <a:pt x="746" y="475"/>
                  </a:lnTo>
                  <a:lnTo>
                    <a:pt x="741" y="492"/>
                  </a:lnTo>
                  <a:lnTo>
                    <a:pt x="729" y="528"/>
                  </a:lnTo>
                  <a:lnTo>
                    <a:pt x="713" y="561"/>
                  </a:lnTo>
                  <a:lnTo>
                    <a:pt x="694" y="592"/>
                  </a:lnTo>
                  <a:lnTo>
                    <a:pt x="672" y="620"/>
                  </a:lnTo>
                  <a:lnTo>
                    <a:pt x="647" y="649"/>
                  </a:lnTo>
                  <a:lnTo>
                    <a:pt x="621" y="672"/>
                  </a:lnTo>
                  <a:lnTo>
                    <a:pt x="591" y="694"/>
                  </a:lnTo>
                  <a:lnTo>
                    <a:pt x="559" y="713"/>
                  </a:lnTo>
                  <a:lnTo>
                    <a:pt x="527" y="730"/>
                  </a:lnTo>
                  <a:lnTo>
                    <a:pt x="492" y="743"/>
                  </a:lnTo>
                  <a:lnTo>
                    <a:pt x="473" y="747"/>
                  </a:lnTo>
                  <a:lnTo>
                    <a:pt x="456" y="752"/>
                  </a:lnTo>
                  <a:lnTo>
                    <a:pt x="437" y="755"/>
                  </a:lnTo>
                  <a:lnTo>
                    <a:pt x="419" y="757"/>
                  </a:lnTo>
                  <a:lnTo>
                    <a:pt x="398" y="758"/>
                  </a:lnTo>
                  <a:lnTo>
                    <a:pt x="379" y="760"/>
                  </a:lnTo>
                  <a:lnTo>
                    <a:pt x="379" y="760"/>
                  </a:lnTo>
                  <a:close/>
                  <a:moveTo>
                    <a:pt x="379" y="22"/>
                  </a:moveTo>
                  <a:lnTo>
                    <a:pt x="379" y="22"/>
                  </a:lnTo>
                  <a:lnTo>
                    <a:pt x="342" y="24"/>
                  </a:lnTo>
                  <a:lnTo>
                    <a:pt x="307" y="30"/>
                  </a:lnTo>
                  <a:lnTo>
                    <a:pt x="273" y="38"/>
                  </a:lnTo>
                  <a:lnTo>
                    <a:pt x="240" y="50"/>
                  </a:lnTo>
                  <a:lnTo>
                    <a:pt x="209" y="66"/>
                  </a:lnTo>
                  <a:lnTo>
                    <a:pt x="179" y="83"/>
                  </a:lnTo>
                  <a:lnTo>
                    <a:pt x="152" y="104"/>
                  </a:lnTo>
                  <a:lnTo>
                    <a:pt x="126" y="127"/>
                  </a:lnTo>
                  <a:lnTo>
                    <a:pt x="104" y="152"/>
                  </a:lnTo>
                  <a:lnTo>
                    <a:pt x="82" y="180"/>
                  </a:lnTo>
                  <a:lnTo>
                    <a:pt x="65" y="210"/>
                  </a:lnTo>
                  <a:lnTo>
                    <a:pt x="49" y="241"/>
                  </a:lnTo>
                  <a:lnTo>
                    <a:pt x="38" y="274"/>
                  </a:lnTo>
                  <a:lnTo>
                    <a:pt x="28" y="307"/>
                  </a:lnTo>
                  <a:lnTo>
                    <a:pt x="22" y="343"/>
                  </a:lnTo>
                  <a:lnTo>
                    <a:pt x="21" y="379"/>
                  </a:lnTo>
                  <a:lnTo>
                    <a:pt x="21" y="379"/>
                  </a:lnTo>
                  <a:lnTo>
                    <a:pt x="22" y="417"/>
                  </a:lnTo>
                  <a:lnTo>
                    <a:pt x="28" y="451"/>
                  </a:lnTo>
                  <a:lnTo>
                    <a:pt x="38" y="486"/>
                  </a:lnTo>
                  <a:lnTo>
                    <a:pt x="49" y="519"/>
                  </a:lnTo>
                  <a:lnTo>
                    <a:pt x="65" y="550"/>
                  </a:lnTo>
                  <a:lnTo>
                    <a:pt x="82" y="580"/>
                  </a:lnTo>
                  <a:lnTo>
                    <a:pt x="104" y="608"/>
                  </a:lnTo>
                  <a:lnTo>
                    <a:pt x="126" y="633"/>
                  </a:lnTo>
                  <a:lnTo>
                    <a:pt x="152" y="656"/>
                  </a:lnTo>
                  <a:lnTo>
                    <a:pt x="179" y="677"/>
                  </a:lnTo>
                  <a:lnTo>
                    <a:pt x="209" y="694"/>
                  </a:lnTo>
                  <a:lnTo>
                    <a:pt x="240" y="710"/>
                  </a:lnTo>
                  <a:lnTo>
                    <a:pt x="273" y="722"/>
                  </a:lnTo>
                  <a:lnTo>
                    <a:pt x="307" y="730"/>
                  </a:lnTo>
                  <a:lnTo>
                    <a:pt x="342" y="736"/>
                  </a:lnTo>
                  <a:lnTo>
                    <a:pt x="379" y="738"/>
                  </a:lnTo>
                  <a:lnTo>
                    <a:pt x="379" y="738"/>
                  </a:lnTo>
                  <a:lnTo>
                    <a:pt x="415" y="736"/>
                  </a:lnTo>
                  <a:lnTo>
                    <a:pt x="451" y="730"/>
                  </a:lnTo>
                  <a:lnTo>
                    <a:pt x="486" y="722"/>
                  </a:lnTo>
                  <a:lnTo>
                    <a:pt x="519" y="710"/>
                  </a:lnTo>
                  <a:lnTo>
                    <a:pt x="550" y="694"/>
                  </a:lnTo>
                  <a:lnTo>
                    <a:pt x="580" y="677"/>
                  </a:lnTo>
                  <a:lnTo>
                    <a:pt x="606" y="656"/>
                  </a:lnTo>
                  <a:lnTo>
                    <a:pt x="632" y="633"/>
                  </a:lnTo>
                  <a:lnTo>
                    <a:pt x="655" y="608"/>
                  </a:lnTo>
                  <a:lnTo>
                    <a:pt x="675" y="580"/>
                  </a:lnTo>
                  <a:lnTo>
                    <a:pt x="694" y="550"/>
                  </a:lnTo>
                  <a:lnTo>
                    <a:pt x="708" y="519"/>
                  </a:lnTo>
                  <a:lnTo>
                    <a:pt x="721" y="486"/>
                  </a:lnTo>
                  <a:lnTo>
                    <a:pt x="730" y="451"/>
                  </a:lnTo>
                  <a:lnTo>
                    <a:pt x="735" y="417"/>
                  </a:lnTo>
                  <a:lnTo>
                    <a:pt x="736" y="379"/>
                  </a:lnTo>
                  <a:lnTo>
                    <a:pt x="736" y="379"/>
                  </a:lnTo>
                  <a:lnTo>
                    <a:pt x="735" y="343"/>
                  </a:lnTo>
                  <a:lnTo>
                    <a:pt x="730" y="307"/>
                  </a:lnTo>
                  <a:lnTo>
                    <a:pt x="721" y="274"/>
                  </a:lnTo>
                  <a:lnTo>
                    <a:pt x="708" y="241"/>
                  </a:lnTo>
                  <a:lnTo>
                    <a:pt x="694" y="210"/>
                  </a:lnTo>
                  <a:lnTo>
                    <a:pt x="675" y="180"/>
                  </a:lnTo>
                  <a:lnTo>
                    <a:pt x="655" y="152"/>
                  </a:lnTo>
                  <a:lnTo>
                    <a:pt x="632" y="127"/>
                  </a:lnTo>
                  <a:lnTo>
                    <a:pt x="606" y="104"/>
                  </a:lnTo>
                  <a:lnTo>
                    <a:pt x="580" y="83"/>
                  </a:lnTo>
                  <a:lnTo>
                    <a:pt x="550" y="66"/>
                  </a:lnTo>
                  <a:lnTo>
                    <a:pt x="519" y="50"/>
                  </a:lnTo>
                  <a:lnTo>
                    <a:pt x="486" y="38"/>
                  </a:lnTo>
                  <a:lnTo>
                    <a:pt x="451" y="30"/>
                  </a:lnTo>
                  <a:lnTo>
                    <a:pt x="415" y="24"/>
                  </a:lnTo>
                  <a:lnTo>
                    <a:pt x="379" y="22"/>
                  </a:lnTo>
                  <a:lnTo>
                    <a:pt x="379"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81" name="Rectangle 18">
            <a:extLst>
              <a:ext uri="{FF2B5EF4-FFF2-40B4-BE49-F238E27FC236}">
                <a16:creationId xmlns:a16="http://schemas.microsoft.com/office/drawing/2014/main" id="{D112C08F-E74C-42C1-B61D-6CCC7F4838CF}"/>
              </a:ext>
            </a:extLst>
          </p:cNvPr>
          <p:cNvSpPr>
            <a:spLocks noChangeArrowheads="1"/>
          </p:cNvSpPr>
          <p:nvPr/>
        </p:nvSpPr>
        <p:spPr bwMode="auto">
          <a:xfrm>
            <a:off x="2901489" y="4577435"/>
            <a:ext cx="1341988" cy="288122"/>
          </a:xfrm>
          <a:prstGeom prst="rect">
            <a:avLst/>
          </a:prstGeom>
          <a:noFill/>
          <a:ln>
            <a:noFill/>
            <a:prstDash val="solid"/>
          </a:ln>
        </p:spPr>
        <p:style>
          <a:lnRef idx="2">
            <a:schemeClr val="dk1"/>
          </a:lnRef>
          <a:fillRef idx="1">
            <a:schemeClr val="lt1"/>
          </a:fillRef>
          <a:effectRef idx="0">
            <a:schemeClr val="dk1"/>
          </a:effectRef>
          <a:fontRef idx="minor">
            <a:schemeClr val="dk1"/>
          </a:fontRef>
        </p:style>
        <p:txBody>
          <a:bodyPr wrap="square" lIns="0" tIns="45720" rIns="0" bIns="0" anchor="t">
            <a:noAutofit/>
          </a:bodyPr>
          <a:lstStyle/>
          <a:p>
            <a:pPr marL="0" marR="0" lvl="0" indent="0" algn="ctr" defTabSz="914400" rtl="0" eaLnBrk="1" fontAlgn="auto" latinLnBrk="0" hangingPunct="1">
              <a:lnSpc>
                <a:spcPct val="100000"/>
              </a:lnSpc>
              <a:spcBef>
                <a:spcPts val="0"/>
              </a:spcBef>
              <a:spcAft>
                <a:spcPts val="0"/>
              </a:spcAft>
              <a:buClr>
                <a:srgbClr val="787878"/>
              </a:buClr>
              <a:buSzPct val="75000"/>
              <a:buFontTx/>
              <a:buNone/>
              <a:tabLst/>
              <a:defRPr/>
            </a:pPr>
            <a:r>
              <a:rPr kumimoji="0" lang="en-US" sz="900" b="0" i="0" u="none" strike="noStrike" kern="1200" cap="none" spc="0" normalizeH="0" baseline="0" noProof="0" dirty="0">
                <a:ln>
                  <a:noFill/>
                </a:ln>
                <a:solidFill>
                  <a:srgbClr val="000000"/>
                </a:solidFill>
                <a:effectLst/>
                <a:uLnTx/>
                <a:uFillTx/>
                <a:latin typeface="Frutiger Next Pro Medium" pitchFamily="34" charset="0"/>
                <a:ea typeface="+mn-ea"/>
                <a:cs typeface="Arial"/>
                <a:sym typeface="Frutiger Next Pro Medium" charset="0"/>
              </a:rPr>
              <a:t>Content Owner, Producers, Creative team</a:t>
            </a:r>
          </a:p>
        </p:txBody>
      </p:sp>
      <p:grpSp>
        <p:nvGrpSpPr>
          <p:cNvPr id="82" name="Group 81">
            <a:extLst>
              <a:ext uri="{FF2B5EF4-FFF2-40B4-BE49-F238E27FC236}">
                <a16:creationId xmlns:a16="http://schemas.microsoft.com/office/drawing/2014/main" id="{DB4BD6F1-6083-4A63-B33A-D6C1883CEEFD}"/>
              </a:ext>
            </a:extLst>
          </p:cNvPr>
          <p:cNvGrpSpPr>
            <a:grpSpLocks noChangeAspect="1"/>
          </p:cNvGrpSpPr>
          <p:nvPr/>
        </p:nvGrpSpPr>
        <p:grpSpPr>
          <a:xfrm>
            <a:off x="3344484" y="4099497"/>
            <a:ext cx="455998" cy="457200"/>
            <a:chOff x="2870200" y="5289550"/>
            <a:chExt cx="601663" cy="603250"/>
          </a:xfrm>
          <a:solidFill>
            <a:schemeClr val="tx2"/>
          </a:solidFill>
        </p:grpSpPr>
        <p:sp>
          <p:nvSpPr>
            <p:cNvPr id="83" name="Freeform 140">
              <a:extLst>
                <a:ext uri="{FF2B5EF4-FFF2-40B4-BE49-F238E27FC236}">
                  <a16:creationId xmlns:a16="http://schemas.microsoft.com/office/drawing/2014/main" id="{99365905-2BA9-4D2B-B93B-2FE224422DA8}"/>
                </a:ext>
              </a:extLst>
            </p:cNvPr>
            <p:cNvSpPr>
              <a:spLocks noEditPoints="1"/>
            </p:cNvSpPr>
            <p:nvPr/>
          </p:nvSpPr>
          <p:spPr bwMode="auto">
            <a:xfrm>
              <a:off x="3028950" y="5430838"/>
              <a:ext cx="288925" cy="288925"/>
            </a:xfrm>
            <a:custGeom>
              <a:avLst/>
              <a:gdLst>
                <a:gd name="T0" fmla="*/ 290 w 363"/>
                <a:gd name="T1" fmla="*/ 257 h 363"/>
                <a:gd name="T2" fmla="*/ 236 w 363"/>
                <a:gd name="T3" fmla="*/ 227 h 363"/>
                <a:gd name="T4" fmla="*/ 232 w 363"/>
                <a:gd name="T5" fmla="*/ 206 h 363"/>
                <a:gd name="T6" fmla="*/ 246 w 363"/>
                <a:gd name="T7" fmla="*/ 186 h 363"/>
                <a:gd name="T8" fmla="*/ 257 w 363"/>
                <a:gd name="T9" fmla="*/ 161 h 363"/>
                <a:gd name="T10" fmla="*/ 268 w 363"/>
                <a:gd name="T11" fmla="*/ 141 h 363"/>
                <a:gd name="T12" fmla="*/ 268 w 363"/>
                <a:gd name="T13" fmla="*/ 122 h 363"/>
                <a:gd name="T14" fmla="*/ 263 w 363"/>
                <a:gd name="T15" fmla="*/ 75 h 363"/>
                <a:gd name="T16" fmla="*/ 250 w 363"/>
                <a:gd name="T17" fmla="*/ 31 h 363"/>
                <a:gd name="T18" fmla="*/ 216 w 363"/>
                <a:gd name="T19" fmla="*/ 4 h 363"/>
                <a:gd name="T20" fmla="*/ 181 w 363"/>
                <a:gd name="T21" fmla="*/ 0 h 363"/>
                <a:gd name="T22" fmla="*/ 133 w 363"/>
                <a:gd name="T23" fmla="*/ 11 h 363"/>
                <a:gd name="T24" fmla="*/ 105 w 363"/>
                <a:gd name="T25" fmla="*/ 44 h 363"/>
                <a:gd name="T26" fmla="*/ 98 w 363"/>
                <a:gd name="T27" fmla="*/ 112 h 363"/>
                <a:gd name="T28" fmla="*/ 92 w 363"/>
                <a:gd name="T29" fmla="*/ 133 h 363"/>
                <a:gd name="T30" fmla="*/ 95 w 363"/>
                <a:gd name="T31" fmla="*/ 148 h 363"/>
                <a:gd name="T32" fmla="*/ 105 w 363"/>
                <a:gd name="T33" fmla="*/ 161 h 363"/>
                <a:gd name="T34" fmla="*/ 124 w 363"/>
                <a:gd name="T35" fmla="*/ 197 h 363"/>
                <a:gd name="T36" fmla="*/ 131 w 363"/>
                <a:gd name="T37" fmla="*/ 221 h 363"/>
                <a:gd name="T38" fmla="*/ 117 w 363"/>
                <a:gd name="T39" fmla="*/ 232 h 363"/>
                <a:gd name="T40" fmla="*/ 12 w 363"/>
                <a:gd name="T41" fmla="*/ 280 h 363"/>
                <a:gd name="T42" fmla="*/ 3 w 363"/>
                <a:gd name="T43" fmla="*/ 288 h 363"/>
                <a:gd name="T44" fmla="*/ 0 w 363"/>
                <a:gd name="T45" fmla="*/ 343 h 363"/>
                <a:gd name="T46" fmla="*/ 4 w 363"/>
                <a:gd name="T47" fmla="*/ 357 h 363"/>
                <a:gd name="T48" fmla="*/ 343 w 363"/>
                <a:gd name="T49" fmla="*/ 363 h 363"/>
                <a:gd name="T50" fmla="*/ 357 w 363"/>
                <a:gd name="T51" fmla="*/ 357 h 363"/>
                <a:gd name="T52" fmla="*/ 363 w 363"/>
                <a:gd name="T53" fmla="*/ 299 h 363"/>
                <a:gd name="T54" fmla="*/ 358 w 363"/>
                <a:gd name="T55" fmla="*/ 288 h 363"/>
                <a:gd name="T56" fmla="*/ 349 w 363"/>
                <a:gd name="T57" fmla="*/ 280 h 363"/>
                <a:gd name="T58" fmla="*/ 346 w 363"/>
                <a:gd name="T59" fmla="*/ 346 h 363"/>
                <a:gd name="T60" fmla="*/ 19 w 363"/>
                <a:gd name="T61" fmla="*/ 347 h 363"/>
                <a:gd name="T62" fmla="*/ 14 w 363"/>
                <a:gd name="T63" fmla="*/ 299 h 363"/>
                <a:gd name="T64" fmla="*/ 17 w 363"/>
                <a:gd name="T65" fmla="*/ 294 h 363"/>
                <a:gd name="T66" fmla="*/ 81 w 363"/>
                <a:gd name="T67" fmla="*/ 268 h 363"/>
                <a:gd name="T68" fmla="*/ 131 w 363"/>
                <a:gd name="T69" fmla="*/ 241 h 363"/>
                <a:gd name="T70" fmla="*/ 145 w 363"/>
                <a:gd name="T71" fmla="*/ 224 h 363"/>
                <a:gd name="T72" fmla="*/ 145 w 363"/>
                <a:gd name="T73" fmla="*/ 205 h 363"/>
                <a:gd name="T74" fmla="*/ 144 w 363"/>
                <a:gd name="T75" fmla="*/ 199 h 363"/>
                <a:gd name="T76" fmla="*/ 130 w 363"/>
                <a:gd name="T77" fmla="*/ 180 h 363"/>
                <a:gd name="T78" fmla="*/ 119 w 363"/>
                <a:gd name="T79" fmla="*/ 155 h 363"/>
                <a:gd name="T80" fmla="*/ 113 w 363"/>
                <a:gd name="T81" fmla="*/ 147 h 363"/>
                <a:gd name="T82" fmla="*/ 108 w 363"/>
                <a:gd name="T83" fmla="*/ 133 h 363"/>
                <a:gd name="T84" fmla="*/ 113 w 363"/>
                <a:gd name="T85" fmla="*/ 120 h 363"/>
                <a:gd name="T86" fmla="*/ 114 w 363"/>
                <a:gd name="T87" fmla="*/ 75 h 363"/>
                <a:gd name="T88" fmla="*/ 119 w 363"/>
                <a:gd name="T89" fmla="*/ 50 h 363"/>
                <a:gd name="T90" fmla="*/ 141 w 363"/>
                <a:gd name="T91" fmla="*/ 23 h 363"/>
                <a:gd name="T92" fmla="*/ 181 w 363"/>
                <a:gd name="T93" fmla="*/ 14 h 363"/>
                <a:gd name="T94" fmla="*/ 210 w 363"/>
                <a:gd name="T95" fmla="*/ 18 h 363"/>
                <a:gd name="T96" fmla="*/ 238 w 363"/>
                <a:gd name="T97" fmla="*/ 39 h 363"/>
                <a:gd name="T98" fmla="*/ 247 w 363"/>
                <a:gd name="T99" fmla="*/ 75 h 363"/>
                <a:gd name="T100" fmla="*/ 249 w 363"/>
                <a:gd name="T101" fmla="*/ 120 h 363"/>
                <a:gd name="T102" fmla="*/ 255 w 363"/>
                <a:gd name="T103" fmla="*/ 133 h 363"/>
                <a:gd name="T104" fmla="*/ 252 w 363"/>
                <a:gd name="T105" fmla="*/ 142 h 363"/>
                <a:gd name="T106" fmla="*/ 246 w 363"/>
                <a:gd name="T107" fmla="*/ 150 h 363"/>
                <a:gd name="T108" fmla="*/ 238 w 363"/>
                <a:gd name="T109" fmla="*/ 167 h 363"/>
                <a:gd name="T110" fmla="*/ 218 w 363"/>
                <a:gd name="T111" fmla="*/ 199 h 363"/>
                <a:gd name="T112" fmla="*/ 216 w 363"/>
                <a:gd name="T113" fmla="*/ 205 h 363"/>
                <a:gd name="T114" fmla="*/ 216 w 363"/>
                <a:gd name="T115" fmla="*/ 224 h 363"/>
                <a:gd name="T116" fmla="*/ 224 w 363"/>
                <a:gd name="T117" fmla="*/ 235 h 363"/>
                <a:gd name="T118" fmla="*/ 258 w 363"/>
                <a:gd name="T119" fmla="*/ 257 h 363"/>
                <a:gd name="T120" fmla="*/ 344 w 363"/>
                <a:gd name="T121" fmla="*/ 294 h 363"/>
                <a:gd name="T122" fmla="*/ 348 w 363"/>
                <a:gd name="T123" fmla="*/ 299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3" h="363">
                  <a:moveTo>
                    <a:pt x="349" y="280"/>
                  </a:moveTo>
                  <a:lnTo>
                    <a:pt x="349" y="280"/>
                  </a:lnTo>
                  <a:lnTo>
                    <a:pt x="290" y="257"/>
                  </a:lnTo>
                  <a:lnTo>
                    <a:pt x="255" y="238"/>
                  </a:lnTo>
                  <a:lnTo>
                    <a:pt x="244" y="232"/>
                  </a:lnTo>
                  <a:lnTo>
                    <a:pt x="236" y="227"/>
                  </a:lnTo>
                  <a:lnTo>
                    <a:pt x="233" y="224"/>
                  </a:lnTo>
                  <a:lnTo>
                    <a:pt x="232" y="221"/>
                  </a:lnTo>
                  <a:lnTo>
                    <a:pt x="232" y="206"/>
                  </a:lnTo>
                  <a:lnTo>
                    <a:pt x="232" y="206"/>
                  </a:lnTo>
                  <a:lnTo>
                    <a:pt x="239" y="197"/>
                  </a:lnTo>
                  <a:lnTo>
                    <a:pt x="246" y="186"/>
                  </a:lnTo>
                  <a:lnTo>
                    <a:pt x="252" y="174"/>
                  </a:lnTo>
                  <a:lnTo>
                    <a:pt x="257" y="161"/>
                  </a:lnTo>
                  <a:lnTo>
                    <a:pt x="257" y="161"/>
                  </a:lnTo>
                  <a:lnTo>
                    <a:pt x="261" y="155"/>
                  </a:lnTo>
                  <a:lnTo>
                    <a:pt x="266" y="148"/>
                  </a:lnTo>
                  <a:lnTo>
                    <a:pt x="268" y="141"/>
                  </a:lnTo>
                  <a:lnTo>
                    <a:pt x="269" y="133"/>
                  </a:lnTo>
                  <a:lnTo>
                    <a:pt x="269" y="133"/>
                  </a:lnTo>
                  <a:lnTo>
                    <a:pt x="268" y="122"/>
                  </a:lnTo>
                  <a:lnTo>
                    <a:pt x="263" y="112"/>
                  </a:lnTo>
                  <a:lnTo>
                    <a:pt x="263" y="75"/>
                  </a:lnTo>
                  <a:lnTo>
                    <a:pt x="263" y="75"/>
                  </a:lnTo>
                  <a:lnTo>
                    <a:pt x="261" y="58"/>
                  </a:lnTo>
                  <a:lnTo>
                    <a:pt x="257" y="44"/>
                  </a:lnTo>
                  <a:lnTo>
                    <a:pt x="250" y="31"/>
                  </a:lnTo>
                  <a:lnTo>
                    <a:pt x="241" y="20"/>
                  </a:lnTo>
                  <a:lnTo>
                    <a:pt x="230" y="11"/>
                  </a:lnTo>
                  <a:lnTo>
                    <a:pt x="216" y="4"/>
                  </a:lnTo>
                  <a:lnTo>
                    <a:pt x="199" y="1"/>
                  </a:lnTo>
                  <a:lnTo>
                    <a:pt x="181" y="0"/>
                  </a:lnTo>
                  <a:lnTo>
                    <a:pt x="181" y="0"/>
                  </a:lnTo>
                  <a:lnTo>
                    <a:pt x="163" y="1"/>
                  </a:lnTo>
                  <a:lnTo>
                    <a:pt x="147" y="4"/>
                  </a:lnTo>
                  <a:lnTo>
                    <a:pt x="133" y="11"/>
                  </a:lnTo>
                  <a:lnTo>
                    <a:pt x="120" y="20"/>
                  </a:lnTo>
                  <a:lnTo>
                    <a:pt x="111" y="31"/>
                  </a:lnTo>
                  <a:lnTo>
                    <a:pt x="105" y="44"/>
                  </a:lnTo>
                  <a:lnTo>
                    <a:pt x="100" y="59"/>
                  </a:lnTo>
                  <a:lnTo>
                    <a:pt x="98" y="75"/>
                  </a:lnTo>
                  <a:lnTo>
                    <a:pt x="98" y="112"/>
                  </a:lnTo>
                  <a:lnTo>
                    <a:pt x="98" y="112"/>
                  </a:lnTo>
                  <a:lnTo>
                    <a:pt x="94" y="122"/>
                  </a:lnTo>
                  <a:lnTo>
                    <a:pt x="92" y="133"/>
                  </a:lnTo>
                  <a:lnTo>
                    <a:pt x="92" y="133"/>
                  </a:lnTo>
                  <a:lnTo>
                    <a:pt x="94" y="141"/>
                  </a:lnTo>
                  <a:lnTo>
                    <a:pt x="95" y="148"/>
                  </a:lnTo>
                  <a:lnTo>
                    <a:pt x="100" y="155"/>
                  </a:lnTo>
                  <a:lnTo>
                    <a:pt x="105" y="161"/>
                  </a:lnTo>
                  <a:lnTo>
                    <a:pt x="105" y="161"/>
                  </a:lnTo>
                  <a:lnTo>
                    <a:pt x="109" y="174"/>
                  </a:lnTo>
                  <a:lnTo>
                    <a:pt x="116" y="186"/>
                  </a:lnTo>
                  <a:lnTo>
                    <a:pt x="124" y="197"/>
                  </a:lnTo>
                  <a:lnTo>
                    <a:pt x="131" y="206"/>
                  </a:lnTo>
                  <a:lnTo>
                    <a:pt x="131" y="221"/>
                  </a:lnTo>
                  <a:lnTo>
                    <a:pt x="131" y="221"/>
                  </a:lnTo>
                  <a:lnTo>
                    <a:pt x="128" y="224"/>
                  </a:lnTo>
                  <a:lnTo>
                    <a:pt x="125" y="227"/>
                  </a:lnTo>
                  <a:lnTo>
                    <a:pt x="117" y="232"/>
                  </a:lnTo>
                  <a:lnTo>
                    <a:pt x="106" y="238"/>
                  </a:lnTo>
                  <a:lnTo>
                    <a:pt x="72" y="257"/>
                  </a:lnTo>
                  <a:lnTo>
                    <a:pt x="12" y="280"/>
                  </a:lnTo>
                  <a:lnTo>
                    <a:pt x="12" y="280"/>
                  </a:lnTo>
                  <a:lnTo>
                    <a:pt x="6" y="283"/>
                  </a:lnTo>
                  <a:lnTo>
                    <a:pt x="3" y="288"/>
                  </a:lnTo>
                  <a:lnTo>
                    <a:pt x="0" y="293"/>
                  </a:lnTo>
                  <a:lnTo>
                    <a:pt x="0" y="299"/>
                  </a:lnTo>
                  <a:lnTo>
                    <a:pt x="0" y="343"/>
                  </a:lnTo>
                  <a:lnTo>
                    <a:pt x="0" y="343"/>
                  </a:lnTo>
                  <a:lnTo>
                    <a:pt x="1" y="351"/>
                  </a:lnTo>
                  <a:lnTo>
                    <a:pt x="4" y="357"/>
                  </a:lnTo>
                  <a:lnTo>
                    <a:pt x="11" y="362"/>
                  </a:lnTo>
                  <a:lnTo>
                    <a:pt x="19" y="363"/>
                  </a:lnTo>
                  <a:lnTo>
                    <a:pt x="343" y="363"/>
                  </a:lnTo>
                  <a:lnTo>
                    <a:pt x="343" y="363"/>
                  </a:lnTo>
                  <a:lnTo>
                    <a:pt x="351" y="362"/>
                  </a:lnTo>
                  <a:lnTo>
                    <a:pt x="357" y="357"/>
                  </a:lnTo>
                  <a:lnTo>
                    <a:pt x="362" y="351"/>
                  </a:lnTo>
                  <a:lnTo>
                    <a:pt x="363" y="343"/>
                  </a:lnTo>
                  <a:lnTo>
                    <a:pt x="363" y="299"/>
                  </a:lnTo>
                  <a:lnTo>
                    <a:pt x="363" y="299"/>
                  </a:lnTo>
                  <a:lnTo>
                    <a:pt x="362" y="293"/>
                  </a:lnTo>
                  <a:lnTo>
                    <a:pt x="358" y="288"/>
                  </a:lnTo>
                  <a:lnTo>
                    <a:pt x="355" y="283"/>
                  </a:lnTo>
                  <a:lnTo>
                    <a:pt x="349" y="280"/>
                  </a:lnTo>
                  <a:lnTo>
                    <a:pt x="349" y="280"/>
                  </a:lnTo>
                  <a:close/>
                  <a:moveTo>
                    <a:pt x="348" y="343"/>
                  </a:moveTo>
                  <a:lnTo>
                    <a:pt x="348" y="343"/>
                  </a:lnTo>
                  <a:lnTo>
                    <a:pt x="346" y="346"/>
                  </a:lnTo>
                  <a:lnTo>
                    <a:pt x="343" y="347"/>
                  </a:lnTo>
                  <a:lnTo>
                    <a:pt x="19" y="347"/>
                  </a:lnTo>
                  <a:lnTo>
                    <a:pt x="19" y="347"/>
                  </a:lnTo>
                  <a:lnTo>
                    <a:pt x="15" y="346"/>
                  </a:lnTo>
                  <a:lnTo>
                    <a:pt x="14" y="343"/>
                  </a:lnTo>
                  <a:lnTo>
                    <a:pt x="14" y="299"/>
                  </a:lnTo>
                  <a:lnTo>
                    <a:pt x="14" y="299"/>
                  </a:lnTo>
                  <a:lnTo>
                    <a:pt x="15" y="296"/>
                  </a:lnTo>
                  <a:lnTo>
                    <a:pt x="17" y="294"/>
                  </a:lnTo>
                  <a:lnTo>
                    <a:pt x="17" y="294"/>
                  </a:lnTo>
                  <a:lnTo>
                    <a:pt x="53" y="280"/>
                  </a:lnTo>
                  <a:lnTo>
                    <a:pt x="81" y="268"/>
                  </a:lnTo>
                  <a:lnTo>
                    <a:pt x="103" y="257"/>
                  </a:lnTo>
                  <a:lnTo>
                    <a:pt x="120" y="247"/>
                  </a:lnTo>
                  <a:lnTo>
                    <a:pt x="131" y="241"/>
                  </a:lnTo>
                  <a:lnTo>
                    <a:pt x="139" y="235"/>
                  </a:lnTo>
                  <a:lnTo>
                    <a:pt x="142" y="228"/>
                  </a:lnTo>
                  <a:lnTo>
                    <a:pt x="145" y="224"/>
                  </a:lnTo>
                  <a:lnTo>
                    <a:pt x="145" y="224"/>
                  </a:lnTo>
                  <a:lnTo>
                    <a:pt x="145" y="222"/>
                  </a:lnTo>
                  <a:lnTo>
                    <a:pt x="145" y="205"/>
                  </a:lnTo>
                  <a:lnTo>
                    <a:pt x="145" y="205"/>
                  </a:lnTo>
                  <a:lnTo>
                    <a:pt x="145" y="202"/>
                  </a:lnTo>
                  <a:lnTo>
                    <a:pt x="144" y="199"/>
                  </a:lnTo>
                  <a:lnTo>
                    <a:pt x="144" y="199"/>
                  </a:lnTo>
                  <a:lnTo>
                    <a:pt x="136" y="189"/>
                  </a:lnTo>
                  <a:lnTo>
                    <a:pt x="130" y="180"/>
                  </a:lnTo>
                  <a:lnTo>
                    <a:pt x="124" y="167"/>
                  </a:lnTo>
                  <a:lnTo>
                    <a:pt x="119" y="155"/>
                  </a:lnTo>
                  <a:lnTo>
                    <a:pt x="119" y="155"/>
                  </a:lnTo>
                  <a:lnTo>
                    <a:pt x="116" y="150"/>
                  </a:lnTo>
                  <a:lnTo>
                    <a:pt x="116" y="150"/>
                  </a:lnTo>
                  <a:lnTo>
                    <a:pt x="113" y="147"/>
                  </a:lnTo>
                  <a:lnTo>
                    <a:pt x="109" y="142"/>
                  </a:lnTo>
                  <a:lnTo>
                    <a:pt x="108" y="138"/>
                  </a:lnTo>
                  <a:lnTo>
                    <a:pt x="108" y="133"/>
                  </a:lnTo>
                  <a:lnTo>
                    <a:pt x="108" y="133"/>
                  </a:lnTo>
                  <a:lnTo>
                    <a:pt x="109" y="125"/>
                  </a:lnTo>
                  <a:lnTo>
                    <a:pt x="113" y="120"/>
                  </a:lnTo>
                  <a:lnTo>
                    <a:pt x="113" y="120"/>
                  </a:lnTo>
                  <a:lnTo>
                    <a:pt x="114" y="116"/>
                  </a:lnTo>
                  <a:lnTo>
                    <a:pt x="114" y="75"/>
                  </a:lnTo>
                  <a:lnTo>
                    <a:pt x="114" y="75"/>
                  </a:lnTo>
                  <a:lnTo>
                    <a:pt x="114" y="62"/>
                  </a:lnTo>
                  <a:lnTo>
                    <a:pt x="119" y="50"/>
                  </a:lnTo>
                  <a:lnTo>
                    <a:pt x="124" y="39"/>
                  </a:lnTo>
                  <a:lnTo>
                    <a:pt x="131" y="29"/>
                  </a:lnTo>
                  <a:lnTo>
                    <a:pt x="141" y="23"/>
                  </a:lnTo>
                  <a:lnTo>
                    <a:pt x="152" y="18"/>
                  </a:lnTo>
                  <a:lnTo>
                    <a:pt x="166" y="15"/>
                  </a:lnTo>
                  <a:lnTo>
                    <a:pt x="181" y="14"/>
                  </a:lnTo>
                  <a:lnTo>
                    <a:pt x="181" y="14"/>
                  </a:lnTo>
                  <a:lnTo>
                    <a:pt x="196" y="15"/>
                  </a:lnTo>
                  <a:lnTo>
                    <a:pt x="210" y="18"/>
                  </a:lnTo>
                  <a:lnTo>
                    <a:pt x="221" y="23"/>
                  </a:lnTo>
                  <a:lnTo>
                    <a:pt x="232" y="29"/>
                  </a:lnTo>
                  <a:lnTo>
                    <a:pt x="238" y="39"/>
                  </a:lnTo>
                  <a:lnTo>
                    <a:pt x="244" y="50"/>
                  </a:lnTo>
                  <a:lnTo>
                    <a:pt x="247" y="61"/>
                  </a:lnTo>
                  <a:lnTo>
                    <a:pt x="247" y="75"/>
                  </a:lnTo>
                  <a:lnTo>
                    <a:pt x="247" y="116"/>
                  </a:lnTo>
                  <a:lnTo>
                    <a:pt x="247" y="116"/>
                  </a:lnTo>
                  <a:lnTo>
                    <a:pt x="249" y="120"/>
                  </a:lnTo>
                  <a:lnTo>
                    <a:pt x="249" y="120"/>
                  </a:lnTo>
                  <a:lnTo>
                    <a:pt x="254" y="125"/>
                  </a:lnTo>
                  <a:lnTo>
                    <a:pt x="255" y="133"/>
                  </a:lnTo>
                  <a:lnTo>
                    <a:pt x="255" y="133"/>
                  </a:lnTo>
                  <a:lnTo>
                    <a:pt x="254" y="138"/>
                  </a:lnTo>
                  <a:lnTo>
                    <a:pt x="252" y="142"/>
                  </a:lnTo>
                  <a:lnTo>
                    <a:pt x="249" y="147"/>
                  </a:lnTo>
                  <a:lnTo>
                    <a:pt x="246" y="150"/>
                  </a:lnTo>
                  <a:lnTo>
                    <a:pt x="246" y="150"/>
                  </a:lnTo>
                  <a:lnTo>
                    <a:pt x="243" y="155"/>
                  </a:lnTo>
                  <a:lnTo>
                    <a:pt x="243" y="155"/>
                  </a:lnTo>
                  <a:lnTo>
                    <a:pt x="238" y="167"/>
                  </a:lnTo>
                  <a:lnTo>
                    <a:pt x="233" y="180"/>
                  </a:lnTo>
                  <a:lnTo>
                    <a:pt x="225" y="189"/>
                  </a:lnTo>
                  <a:lnTo>
                    <a:pt x="218" y="199"/>
                  </a:lnTo>
                  <a:lnTo>
                    <a:pt x="218" y="199"/>
                  </a:lnTo>
                  <a:lnTo>
                    <a:pt x="216" y="202"/>
                  </a:lnTo>
                  <a:lnTo>
                    <a:pt x="216" y="205"/>
                  </a:lnTo>
                  <a:lnTo>
                    <a:pt x="216" y="222"/>
                  </a:lnTo>
                  <a:lnTo>
                    <a:pt x="216" y="222"/>
                  </a:lnTo>
                  <a:lnTo>
                    <a:pt x="216" y="224"/>
                  </a:lnTo>
                  <a:lnTo>
                    <a:pt x="216" y="224"/>
                  </a:lnTo>
                  <a:lnTo>
                    <a:pt x="219" y="228"/>
                  </a:lnTo>
                  <a:lnTo>
                    <a:pt x="224" y="235"/>
                  </a:lnTo>
                  <a:lnTo>
                    <a:pt x="230" y="241"/>
                  </a:lnTo>
                  <a:lnTo>
                    <a:pt x="243" y="249"/>
                  </a:lnTo>
                  <a:lnTo>
                    <a:pt x="258" y="257"/>
                  </a:lnTo>
                  <a:lnTo>
                    <a:pt x="280" y="268"/>
                  </a:lnTo>
                  <a:lnTo>
                    <a:pt x="308" y="280"/>
                  </a:lnTo>
                  <a:lnTo>
                    <a:pt x="344" y="294"/>
                  </a:lnTo>
                  <a:lnTo>
                    <a:pt x="344" y="294"/>
                  </a:lnTo>
                  <a:lnTo>
                    <a:pt x="348" y="296"/>
                  </a:lnTo>
                  <a:lnTo>
                    <a:pt x="348" y="299"/>
                  </a:lnTo>
                  <a:lnTo>
                    <a:pt x="348" y="34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84" name="Freeform 148">
              <a:extLst>
                <a:ext uri="{FF2B5EF4-FFF2-40B4-BE49-F238E27FC236}">
                  <a16:creationId xmlns:a16="http://schemas.microsoft.com/office/drawing/2014/main" id="{BC738495-EB54-4050-BA49-845D1897EB3B}"/>
                </a:ext>
              </a:extLst>
            </p:cNvPr>
            <p:cNvSpPr>
              <a:spLocks noEditPoints="1"/>
            </p:cNvSpPr>
            <p:nvPr/>
          </p:nvSpPr>
          <p:spPr bwMode="auto">
            <a:xfrm>
              <a:off x="2870200" y="5289550"/>
              <a:ext cx="601663" cy="603250"/>
            </a:xfrm>
            <a:custGeom>
              <a:avLst/>
              <a:gdLst>
                <a:gd name="T0" fmla="*/ 359 w 758"/>
                <a:gd name="T1" fmla="*/ 758 h 760"/>
                <a:gd name="T2" fmla="*/ 303 w 758"/>
                <a:gd name="T3" fmla="*/ 752 h 760"/>
                <a:gd name="T4" fmla="*/ 232 w 758"/>
                <a:gd name="T5" fmla="*/ 730 h 760"/>
                <a:gd name="T6" fmla="*/ 138 w 758"/>
                <a:gd name="T7" fmla="*/ 672 h 760"/>
                <a:gd name="T8" fmla="*/ 65 w 758"/>
                <a:gd name="T9" fmla="*/ 592 h 760"/>
                <a:gd name="T10" fmla="*/ 18 w 758"/>
                <a:gd name="T11" fmla="*/ 492 h 760"/>
                <a:gd name="T12" fmla="*/ 3 w 758"/>
                <a:gd name="T13" fmla="*/ 437 h 760"/>
                <a:gd name="T14" fmla="*/ 0 w 758"/>
                <a:gd name="T15" fmla="*/ 379 h 760"/>
                <a:gd name="T16" fmla="*/ 2 w 758"/>
                <a:gd name="T17" fmla="*/ 342 h 760"/>
                <a:gd name="T18" fmla="*/ 11 w 758"/>
                <a:gd name="T19" fmla="*/ 285 h 760"/>
                <a:gd name="T20" fmla="*/ 46 w 758"/>
                <a:gd name="T21" fmla="*/ 199 h 760"/>
                <a:gd name="T22" fmla="*/ 112 w 758"/>
                <a:gd name="T23" fmla="*/ 111 h 760"/>
                <a:gd name="T24" fmla="*/ 198 w 758"/>
                <a:gd name="T25" fmla="*/ 47 h 760"/>
                <a:gd name="T26" fmla="*/ 284 w 758"/>
                <a:gd name="T27" fmla="*/ 13 h 760"/>
                <a:gd name="T28" fmla="*/ 340 w 758"/>
                <a:gd name="T29" fmla="*/ 3 h 760"/>
                <a:gd name="T30" fmla="*/ 379 w 758"/>
                <a:gd name="T31" fmla="*/ 0 h 760"/>
                <a:gd name="T32" fmla="*/ 437 w 758"/>
                <a:gd name="T33" fmla="*/ 5 h 760"/>
                <a:gd name="T34" fmla="*/ 492 w 758"/>
                <a:gd name="T35" fmla="*/ 17 h 760"/>
                <a:gd name="T36" fmla="*/ 591 w 758"/>
                <a:gd name="T37" fmla="*/ 66 h 760"/>
                <a:gd name="T38" fmla="*/ 672 w 758"/>
                <a:gd name="T39" fmla="*/ 138 h 760"/>
                <a:gd name="T40" fmla="*/ 729 w 758"/>
                <a:gd name="T41" fmla="*/ 232 h 760"/>
                <a:gd name="T42" fmla="*/ 751 w 758"/>
                <a:gd name="T43" fmla="*/ 304 h 760"/>
                <a:gd name="T44" fmla="*/ 758 w 758"/>
                <a:gd name="T45" fmla="*/ 360 h 760"/>
                <a:gd name="T46" fmla="*/ 758 w 758"/>
                <a:gd name="T47" fmla="*/ 400 h 760"/>
                <a:gd name="T48" fmla="*/ 751 w 758"/>
                <a:gd name="T49" fmla="*/ 456 h 760"/>
                <a:gd name="T50" fmla="*/ 729 w 758"/>
                <a:gd name="T51" fmla="*/ 528 h 760"/>
                <a:gd name="T52" fmla="*/ 672 w 758"/>
                <a:gd name="T53" fmla="*/ 620 h 760"/>
                <a:gd name="T54" fmla="*/ 591 w 758"/>
                <a:gd name="T55" fmla="*/ 694 h 760"/>
                <a:gd name="T56" fmla="*/ 492 w 758"/>
                <a:gd name="T57" fmla="*/ 743 h 760"/>
                <a:gd name="T58" fmla="*/ 437 w 758"/>
                <a:gd name="T59" fmla="*/ 755 h 760"/>
                <a:gd name="T60" fmla="*/ 379 w 758"/>
                <a:gd name="T61" fmla="*/ 760 h 760"/>
                <a:gd name="T62" fmla="*/ 379 w 758"/>
                <a:gd name="T63" fmla="*/ 22 h 760"/>
                <a:gd name="T64" fmla="*/ 273 w 758"/>
                <a:gd name="T65" fmla="*/ 38 h 760"/>
                <a:gd name="T66" fmla="*/ 179 w 758"/>
                <a:gd name="T67" fmla="*/ 83 h 760"/>
                <a:gd name="T68" fmla="*/ 104 w 758"/>
                <a:gd name="T69" fmla="*/ 152 h 760"/>
                <a:gd name="T70" fmla="*/ 49 w 758"/>
                <a:gd name="T71" fmla="*/ 241 h 760"/>
                <a:gd name="T72" fmla="*/ 22 w 758"/>
                <a:gd name="T73" fmla="*/ 343 h 760"/>
                <a:gd name="T74" fmla="*/ 22 w 758"/>
                <a:gd name="T75" fmla="*/ 417 h 760"/>
                <a:gd name="T76" fmla="*/ 49 w 758"/>
                <a:gd name="T77" fmla="*/ 519 h 760"/>
                <a:gd name="T78" fmla="*/ 104 w 758"/>
                <a:gd name="T79" fmla="*/ 608 h 760"/>
                <a:gd name="T80" fmla="*/ 179 w 758"/>
                <a:gd name="T81" fmla="*/ 677 h 760"/>
                <a:gd name="T82" fmla="*/ 273 w 758"/>
                <a:gd name="T83" fmla="*/ 722 h 760"/>
                <a:gd name="T84" fmla="*/ 379 w 758"/>
                <a:gd name="T85" fmla="*/ 738 h 760"/>
                <a:gd name="T86" fmla="*/ 451 w 758"/>
                <a:gd name="T87" fmla="*/ 730 h 760"/>
                <a:gd name="T88" fmla="*/ 550 w 758"/>
                <a:gd name="T89" fmla="*/ 694 h 760"/>
                <a:gd name="T90" fmla="*/ 632 w 758"/>
                <a:gd name="T91" fmla="*/ 633 h 760"/>
                <a:gd name="T92" fmla="*/ 694 w 758"/>
                <a:gd name="T93" fmla="*/ 550 h 760"/>
                <a:gd name="T94" fmla="*/ 730 w 758"/>
                <a:gd name="T95" fmla="*/ 451 h 760"/>
                <a:gd name="T96" fmla="*/ 736 w 758"/>
                <a:gd name="T97" fmla="*/ 379 h 760"/>
                <a:gd name="T98" fmla="*/ 721 w 758"/>
                <a:gd name="T99" fmla="*/ 274 h 760"/>
                <a:gd name="T100" fmla="*/ 675 w 758"/>
                <a:gd name="T101" fmla="*/ 180 h 760"/>
                <a:gd name="T102" fmla="*/ 606 w 758"/>
                <a:gd name="T103" fmla="*/ 104 h 760"/>
                <a:gd name="T104" fmla="*/ 519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9" y="758"/>
                  </a:lnTo>
                  <a:lnTo>
                    <a:pt x="340" y="757"/>
                  </a:lnTo>
                  <a:lnTo>
                    <a:pt x="321" y="755"/>
                  </a:lnTo>
                  <a:lnTo>
                    <a:pt x="303" y="752"/>
                  </a:lnTo>
                  <a:lnTo>
                    <a:pt x="284" y="747"/>
                  </a:lnTo>
                  <a:lnTo>
                    <a:pt x="267" y="743"/>
                  </a:lnTo>
                  <a:lnTo>
                    <a:pt x="232" y="730"/>
                  </a:lnTo>
                  <a:lnTo>
                    <a:pt x="198" y="713"/>
                  </a:lnTo>
                  <a:lnTo>
                    <a:pt x="168" y="694"/>
                  </a:lnTo>
                  <a:lnTo>
                    <a:pt x="138" y="672"/>
                  </a:lnTo>
                  <a:lnTo>
                    <a:pt x="112" y="649"/>
                  </a:lnTo>
                  <a:lnTo>
                    <a:pt x="86" y="620"/>
                  </a:lnTo>
                  <a:lnTo>
                    <a:pt x="65" y="592"/>
                  </a:lnTo>
                  <a:lnTo>
                    <a:pt x="46" y="561"/>
                  </a:lnTo>
                  <a:lnTo>
                    <a:pt x="30" y="528"/>
                  </a:lnTo>
                  <a:lnTo>
                    <a:pt x="18" y="492"/>
                  </a:lnTo>
                  <a:lnTo>
                    <a:pt x="11" y="475"/>
                  </a:lnTo>
                  <a:lnTo>
                    <a:pt x="8" y="456"/>
                  </a:lnTo>
                  <a:lnTo>
                    <a:pt x="3" y="437"/>
                  </a:lnTo>
                  <a:lnTo>
                    <a:pt x="2" y="418"/>
                  </a:lnTo>
                  <a:lnTo>
                    <a:pt x="0" y="400"/>
                  </a:lnTo>
                  <a:lnTo>
                    <a:pt x="0" y="379"/>
                  </a:lnTo>
                  <a:lnTo>
                    <a:pt x="0" y="379"/>
                  </a:lnTo>
                  <a:lnTo>
                    <a:pt x="0" y="360"/>
                  </a:lnTo>
                  <a:lnTo>
                    <a:pt x="2" y="342"/>
                  </a:lnTo>
                  <a:lnTo>
                    <a:pt x="3" y="323"/>
                  </a:lnTo>
                  <a:lnTo>
                    <a:pt x="8" y="304"/>
                  </a:lnTo>
                  <a:lnTo>
                    <a:pt x="11" y="285"/>
                  </a:lnTo>
                  <a:lnTo>
                    <a:pt x="18" y="266"/>
                  </a:lnTo>
                  <a:lnTo>
                    <a:pt x="30" y="232"/>
                  </a:lnTo>
                  <a:lnTo>
                    <a:pt x="46" y="199"/>
                  </a:lnTo>
                  <a:lnTo>
                    <a:pt x="65" y="168"/>
                  </a:lnTo>
                  <a:lnTo>
                    <a:pt x="86" y="138"/>
                  </a:lnTo>
                  <a:lnTo>
                    <a:pt x="112" y="111"/>
                  </a:lnTo>
                  <a:lnTo>
                    <a:pt x="138" y="88"/>
                  </a:lnTo>
                  <a:lnTo>
                    <a:pt x="168" y="66"/>
                  </a:lnTo>
                  <a:lnTo>
                    <a:pt x="198" y="47"/>
                  </a:lnTo>
                  <a:lnTo>
                    <a:pt x="232" y="30"/>
                  </a:lnTo>
                  <a:lnTo>
                    <a:pt x="267" y="17"/>
                  </a:lnTo>
                  <a:lnTo>
                    <a:pt x="284" y="13"/>
                  </a:lnTo>
                  <a:lnTo>
                    <a:pt x="303" y="8"/>
                  </a:lnTo>
                  <a:lnTo>
                    <a:pt x="321" y="5"/>
                  </a:lnTo>
                  <a:lnTo>
                    <a:pt x="340" y="3"/>
                  </a:lnTo>
                  <a:lnTo>
                    <a:pt x="359" y="2"/>
                  </a:lnTo>
                  <a:lnTo>
                    <a:pt x="379" y="0"/>
                  </a:lnTo>
                  <a:lnTo>
                    <a:pt x="379" y="0"/>
                  </a:lnTo>
                  <a:lnTo>
                    <a:pt x="398" y="2"/>
                  </a:lnTo>
                  <a:lnTo>
                    <a:pt x="419" y="3"/>
                  </a:lnTo>
                  <a:lnTo>
                    <a:pt x="437" y="5"/>
                  </a:lnTo>
                  <a:lnTo>
                    <a:pt x="456" y="8"/>
                  </a:lnTo>
                  <a:lnTo>
                    <a:pt x="473" y="13"/>
                  </a:lnTo>
                  <a:lnTo>
                    <a:pt x="492" y="17"/>
                  </a:lnTo>
                  <a:lnTo>
                    <a:pt x="527" y="30"/>
                  </a:lnTo>
                  <a:lnTo>
                    <a:pt x="559" y="47"/>
                  </a:lnTo>
                  <a:lnTo>
                    <a:pt x="591" y="66"/>
                  </a:lnTo>
                  <a:lnTo>
                    <a:pt x="621" y="88"/>
                  </a:lnTo>
                  <a:lnTo>
                    <a:pt x="647" y="111"/>
                  </a:lnTo>
                  <a:lnTo>
                    <a:pt x="672" y="138"/>
                  </a:lnTo>
                  <a:lnTo>
                    <a:pt x="694" y="168"/>
                  </a:lnTo>
                  <a:lnTo>
                    <a:pt x="713" y="199"/>
                  </a:lnTo>
                  <a:lnTo>
                    <a:pt x="729" y="232"/>
                  </a:lnTo>
                  <a:lnTo>
                    <a:pt x="741" y="266"/>
                  </a:lnTo>
                  <a:lnTo>
                    <a:pt x="746" y="285"/>
                  </a:lnTo>
                  <a:lnTo>
                    <a:pt x="751" y="304"/>
                  </a:lnTo>
                  <a:lnTo>
                    <a:pt x="754" y="323"/>
                  </a:lnTo>
                  <a:lnTo>
                    <a:pt x="757" y="342"/>
                  </a:lnTo>
                  <a:lnTo>
                    <a:pt x="758" y="360"/>
                  </a:lnTo>
                  <a:lnTo>
                    <a:pt x="758" y="379"/>
                  </a:lnTo>
                  <a:lnTo>
                    <a:pt x="758" y="379"/>
                  </a:lnTo>
                  <a:lnTo>
                    <a:pt x="758" y="400"/>
                  </a:lnTo>
                  <a:lnTo>
                    <a:pt x="757" y="418"/>
                  </a:lnTo>
                  <a:lnTo>
                    <a:pt x="754" y="437"/>
                  </a:lnTo>
                  <a:lnTo>
                    <a:pt x="751" y="456"/>
                  </a:lnTo>
                  <a:lnTo>
                    <a:pt x="746" y="475"/>
                  </a:lnTo>
                  <a:lnTo>
                    <a:pt x="741" y="492"/>
                  </a:lnTo>
                  <a:lnTo>
                    <a:pt x="729" y="528"/>
                  </a:lnTo>
                  <a:lnTo>
                    <a:pt x="713" y="561"/>
                  </a:lnTo>
                  <a:lnTo>
                    <a:pt x="694" y="592"/>
                  </a:lnTo>
                  <a:lnTo>
                    <a:pt x="672" y="620"/>
                  </a:lnTo>
                  <a:lnTo>
                    <a:pt x="647" y="649"/>
                  </a:lnTo>
                  <a:lnTo>
                    <a:pt x="621" y="672"/>
                  </a:lnTo>
                  <a:lnTo>
                    <a:pt x="591" y="694"/>
                  </a:lnTo>
                  <a:lnTo>
                    <a:pt x="559" y="713"/>
                  </a:lnTo>
                  <a:lnTo>
                    <a:pt x="527" y="730"/>
                  </a:lnTo>
                  <a:lnTo>
                    <a:pt x="492" y="743"/>
                  </a:lnTo>
                  <a:lnTo>
                    <a:pt x="473" y="747"/>
                  </a:lnTo>
                  <a:lnTo>
                    <a:pt x="456" y="752"/>
                  </a:lnTo>
                  <a:lnTo>
                    <a:pt x="437" y="755"/>
                  </a:lnTo>
                  <a:lnTo>
                    <a:pt x="419" y="757"/>
                  </a:lnTo>
                  <a:lnTo>
                    <a:pt x="398" y="758"/>
                  </a:lnTo>
                  <a:lnTo>
                    <a:pt x="379" y="760"/>
                  </a:lnTo>
                  <a:lnTo>
                    <a:pt x="379" y="760"/>
                  </a:lnTo>
                  <a:close/>
                  <a:moveTo>
                    <a:pt x="379" y="22"/>
                  </a:moveTo>
                  <a:lnTo>
                    <a:pt x="379" y="22"/>
                  </a:lnTo>
                  <a:lnTo>
                    <a:pt x="342" y="24"/>
                  </a:lnTo>
                  <a:lnTo>
                    <a:pt x="307" y="30"/>
                  </a:lnTo>
                  <a:lnTo>
                    <a:pt x="273" y="38"/>
                  </a:lnTo>
                  <a:lnTo>
                    <a:pt x="240" y="50"/>
                  </a:lnTo>
                  <a:lnTo>
                    <a:pt x="209" y="66"/>
                  </a:lnTo>
                  <a:lnTo>
                    <a:pt x="179" y="83"/>
                  </a:lnTo>
                  <a:lnTo>
                    <a:pt x="152" y="104"/>
                  </a:lnTo>
                  <a:lnTo>
                    <a:pt x="126" y="127"/>
                  </a:lnTo>
                  <a:lnTo>
                    <a:pt x="104" y="152"/>
                  </a:lnTo>
                  <a:lnTo>
                    <a:pt x="82" y="180"/>
                  </a:lnTo>
                  <a:lnTo>
                    <a:pt x="65" y="210"/>
                  </a:lnTo>
                  <a:lnTo>
                    <a:pt x="49" y="241"/>
                  </a:lnTo>
                  <a:lnTo>
                    <a:pt x="38" y="274"/>
                  </a:lnTo>
                  <a:lnTo>
                    <a:pt x="28" y="307"/>
                  </a:lnTo>
                  <a:lnTo>
                    <a:pt x="22" y="343"/>
                  </a:lnTo>
                  <a:lnTo>
                    <a:pt x="21" y="379"/>
                  </a:lnTo>
                  <a:lnTo>
                    <a:pt x="21" y="379"/>
                  </a:lnTo>
                  <a:lnTo>
                    <a:pt x="22" y="417"/>
                  </a:lnTo>
                  <a:lnTo>
                    <a:pt x="28" y="451"/>
                  </a:lnTo>
                  <a:lnTo>
                    <a:pt x="38" y="486"/>
                  </a:lnTo>
                  <a:lnTo>
                    <a:pt x="49" y="519"/>
                  </a:lnTo>
                  <a:lnTo>
                    <a:pt x="65" y="550"/>
                  </a:lnTo>
                  <a:lnTo>
                    <a:pt x="82" y="580"/>
                  </a:lnTo>
                  <a:lnTo>
                    <a:pt x="104" y="608"/>
                  </a:lnTo>
                  <a:lnTo>
                    <a:pt x="126" y="633"/>
                  </a:lnTo>
                  <a:lnTo>
                    <a:pt x="152" y="656"/>
                  </a:lnTo>
                  <a:lnTo>
                    <a:pt x="179" y="677"/>
                  </a:lnTo>
                  <a:lnTo>
                    <a:pt x="209" y="694"/>
                  </a:lnTo>
                  <a:lnTo>
                    <a:pt x="240" y="710"/>
                  </a:lnTo>
                  <a:lnTo>
                    <a:pt x="273" y="722"/>
                  </a:lnTo>
                  <a:lnTo>
                    <a:pt x="307" y="730"/>
                  </a:lnTo>
                  <a:lnTo>
                    <a:pt x="342" y="736"/>
                  </a:lnTo>
                  <a:lnTo>
                    <a:pt x="379" y="738"/>
                  </a:lnTo>
                  <a:lnTo>
                    <a:pt x="379" y="738"/>
                  </a:lnTo>
                  <a:lnTo>
                    <a:pt x="415" y="736"/>
                  </a:lnTo>
                  <a:lnTo>
                    <a:pt x="451" y="730"/>
                  </a:lnTo>
                  <a:lnTo>
                    <a:pt x="486" y="722"/>
                  </a:lnTo>
                  <a:lnTo>
                    <a:pt x="519" y="710"/>
                  </a:lnTo>
                  <a:lnTo>
                    <a:pt x="550" y="694"/>
                  </a:lnTo>
                  <a:lnTo>
                    <a:pt x="580" y="677"/>
                  </a:lnTo>
                  <a:lnTo>
                    <a:pt x="606" y="656"/>
                  </a:lnTo>
                  <a:lnTo>
                    <a:pt x="632" y="633"/>
                  </a:lnTo>
                  <a:lnTo>
                    <a:pt x="655" y="608"/>
                  </a:lnTo>
                  <a:lnTo>
                    <a:pt x="675" y="580"/>
                  </a:lnTo>
                  <a:lnTo>
                    <a:pt x="694" y="550"/>
                  </a:lnTo>
                  <a:lnTo>
                    <a:pt x="708" y="519"/>
                  </a:lnTo>
                  <a:lnTo>
                    <a:pt x="721" y="486"/>
                  </a:lnTo>
                  <a:lnTo>
                    <a:pt x="730" y="451"/>
                  </a:lnTo>
                  <a:lnTo>
                    <a:pt x="735" y="417"/>
                  </a:lnTo>
                  <a:lnTo>
                    <a:pt x="736" y="379"/>
                  </a:lnTo>
                  <a:lnTo>
                    <a:pt x="736" y="379"/>
                  </a:lnTo>
                  <a:lnTo>
                    <a:pt x="735" y="343"/>
                  </a:lnTo>
                  <a:lnTo>
                    <a:pt x="730" y="307"/>
                  </a:lnTo>
                  <a:lnTo>
                    <a:pt x="721" y="274"/>
                  </a:lnTo>
                  <a:lnTo>
                    <a:pt x="708" y="241"/>
                  </a:lnTo>
                  <a:lnTo>
                    <a:pt x="694" y="210"/>
                  </a:lnTo>
                  <a:lnTo>
                    <a:pt x="675" y="180"/>
                  </a:lnTo>
                  <a:lnTo>
                    <a:pt x="655" y="152"/>
                  </a:lnTo>
                  <a:lnTo>
                    <a:pt x="632" y="127"/>
                  </a:lnTo>
                  <a:lnTo>
                    <a:pt x="606" y="104"/>
                  </a:lnTo>
                  <a:lnTo>
                    <a:pt x="580" y="83"/>
                  </a:lnTo>
                  <a:lnTo>
                    <a:pt x="550" y="66"/>
                  </a:lnTo>
                  <a:lnTo>
                    <a:pt x="519" y="50"/>
                  </a:lnTo>
                  <a:lnTo>
                    <a:pt x="486" y="38"/>
                  </a:lnTo>
                  <a:lnTo>
                    <a:pt x="451" y="30"/>
                  </a:lnTo>
                  <a:lnTo>
                    <a:pt x="415" y="24"/>
                  </a:lnTo>
                  <a:lnTo>
                    <a:pt x="379" y="22"/>
                  </a:lnTo>
                  <a:lnTo>
                    <a:pt x="379"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85" name="Group 84">
            <a:extLst>
              <a:ext uri="{FF2B5EF4-FFF2-40B4-BE49-F238E27FC236}">
                <a16:creationId xmlns:a16="http://schemas.microsoft.com/office/drawing/2014/main" id="{699BEC88-8402-406B-A973-6C48E10E92C0}"/>
              </a:ext>
            </a:extLst>
          </p:cNvPr>
          <p:cNvGrpSpPr>
            <a:grpSpLocks noChangeAspect="1"/>
          </p:cNvGrpSpPr>
          <p:nvPr/>
        </p:nvGrpSpPr>
        <p:grpSpPr>
          <a:xfrm>
            <a:off x="1325791" y="2776495"/>
            <a:ext cx="455998" cy="457200"/>
            <a:chOff x="3794125" y="5289550"/>
            <a:chExt cx="601663" cy="603250"/>
          </a:xfrm>
          <a:solidFill>
            <a:srgbClr val="404040"/>
          </a:solidFill>
        </p:grpSpPr>
        <p:sp>
          <p:nvSpPr>
            <p:cNvPr id="86" name="Freeform 176">
              <a:extLst>
                <a:ext uri="{FF2B5EF4-FFF2-40B4-BE49-F238E27FC236}">
                  <a16:creationId xmlns:a16="http://schemas.microsoft.com/office/drawing/2014/main" id="{BDC8CCAC-EBA9-40CF-9C33-BB52B47D475D}"/>
                </a:ext>
              </a:extLst>
            </p:cNvPr>
            <p:cNvSpPr>
              <a:spLocks noEditPoints="1"/>
            </p:cNvSpPr>
            <p:nvPr/>
          </p:nvSpPr>
          <p:spPr bwMode="auto">
            <a:xfrm>
              <a:off x="3952875" y="5430838"/>
              <a:ext cx="287338" cy="288925"/>
            </a:xfrm>
            <a:custGeom>
              <a:avLst/>
              <a:gdLst>
                <a:gd name="T0" fmla="*/ 311 w 363"/>
                <a:gd name="T1" fmla="*/ 271 h 365"/>
                <a:gd name="T2" fmla="*/ 238 w 363"/>
                <a:gd name="T3" fmla="*/ 254 h 365"/>
                <a:gd name="T4" fmla="*/ 250 w 363"/>
                <a:gd name="T5" fmla="*/ 234 h 365"/>
                <a:gd name="T6" fmla="*/ 303 w 363"/>
                <a:gd name="T7" fmla="*/ 218 h 365"/>
                <a:gd name="T8" fmla="*/ 310 w 363"/>
                <a:gd name="T9" fmla="*/ 208 h 365"/>
                <a:gd name="T10" fmla="*/ 307 w 363"/>
                <a:gd name="T11" fmla="*/ 202 h 365"/>
                <a:gd name="T12" fmla="*/ 289 w 363"/>
                <a:gd name="T13" fmla="*/ 163 h 365"/>
                <a:gd name="T14" fmla="*/ 278 w 363"/>
                <a:gd name="T15" fmla="*/ 93 h 365"/>
                <a:gd name="T16" fmla="*/ 266 w 363"/>
                <a:gd name="T17" fmla="*/ 52 h 365"/>
                <a:gd name="T18" fmla="*/ 247 w 363"/>
                <a:gd name="T19" fmla="*/ 27 h 365"/>
                <a:gd name="T20" fmla="*/ 214 w 363"/>
                <a:gd name="T21" fmla="*/ 6 h 365"/>
                <a:gd name="T22" fmla="*/ 164 w 363"/>
                <a:gd name="T23" fmla="*/ 3 h 365"/>
                <a:gd name="T24" fmla="*/ 126 w 363"/>
                <a:gd name="T25" fmla="*/ 19 h 365"/>
                <a:gd name="T26" fmla="*/ 104 w 363"/>
                <a:gd name="T27" fmla="*/ 39 h 365"/>
                <a:gd name="T28" fmla="*/ 87 w 363"/>
                <a:gd name="T29" fmla="*/ 80 h 365"/>
                <a:gd name="T30" fmla="*/ 81 w 363"/>
                <a:gd name="T31" fmla="*/ 133 h 365"/>
                <a:gd name="T32" fmla="*/ 62 w 363"/>
                <a:gd name="T33" fmla="*/ 197 h 365"/>
                <a:gd name="T34" fmla="*/ 54 w 363"/>
                <a:gd name="T35" fmla="*/ 208 h 365"/>
                <a:gd name="T36" fmla="*/ 56 w 363"/>
                <a:gd name="T37" fmla="*/ 215 h 365"/>
                <a:gd name="T38" fmla="*/ 98 w 363"/>
                <a:gd name="T39" fmla="*/ 230 h 365"/>
                <a:gd name="T40" fmla="*/ 131 w 363"/>
                <a:gd name="T41" fmla="*/ 251 h 365"/>
                <a:gd name="T42" fmla="*/ 89 w 363"/>
                <a:gd name="T43" fmla="*/ 263 h 365"/>
                <a:gd name="T44" fmla="*/ 14 w 363"/>
                <a:gd name="T45" fmla="*/ 284 h 365"/>
                <a:gd name="T46" fmla="*/ 0 w 363"/>
                <a:gd name="T47" fmla="*/ 301 h 365"/>
                <a:gd name="T48" fmla="*/ 6 w 363"/>
                <a:gd name="T49" fmla="*/ 360 h 365"/>
                <a:gd name="T50" fmla="*/ 344 w 363"/>
                <a:gd name="T51" fmla="*/ 365 h 365"/>
                <a:gd name="T52" fmla="*/ 363 w 363"/>
                <a:gd name="T53" fmla="*/ 346 h 365"/>
                <a:gd name="T54" fmla="*/ 360 w 363"/>
                <a:gd name="T55" fmla="*/ 290 h 365"/>
                <a:gd name="T56" fmla="*/ 349 w 363"/>
                <a:gd name="T57" fmla="*/ 346 h 365"/>
                <a:gd name="T58" fmla="*/ 20 w 363"/>
                <a:gd name="T59" fmla="*/ 351 h 365"/>
                <a:gd name="T60" fmla="*/ 15 w 363"/>
                <a:gd name="T61" fmla="*/ 301 h 365"/>
                <a:gd name="T62" fmla="*/ 18 w 363"/>
                <a:gd name="T63" fmla="*/ 296 h 365"/>
                <a:gd name="T64" fmla="*/ 92 w 363"/>
                <a:gd name="T65" fmla="*/ 277 h 365"/>
                <a:gd name="T66" fmla="*/ 141 w 363"/>
                <a:gd name="T67" fmla="*/ 263 h 365"/>
                <a:gd name="T68" fmla="*/ 147 w 363"/>
                <a:gd name="T69" fmla="*/ 252 h 365"/>
                <a:gd name="T70" fmla="*/ 145 w 363"/>
                <a:gd name="T71" fmla="*/ 223 h 365"/>
                <a:gd name="T72" fmla="*/ 115 w 363"/>
                <a:gd name="T73" fmla="*/ 219 h 365"/>
                <a:gd name="T74" fmla="*/ 73 w 363"/>
                <a:gd name="T75" fmla="*/ 207 h 365"/>
                <a:gd name="T76" fmla="*/ 92 w 363"/>
                <a:gd name="T77" fmla="*/ 152 h 365"/>
                <a:gd name="T78" fmla="*/ 100 w 363"/>
                <a:gd name="T79" fmla="*/ 93 h 365"/>
                <a:gd name="T80" fmla="*/ 112 w 363"/>
                <a:gd name="T81" fmla="*/ 57 h 365"/>
                <a:gd name="T82" fmla="*/ 131 w 363"/>
                <a:gd name="T83" fmla="*/ 35 h 365"/>
                <a:gd name="T84" fmla="*/ 167 w 363"/>
                <a:gd name="T85" fmla="*/ 17 h 365"/>
                <a:gd name="T86" fmla="*/ 209 w 363"/>
                <a:gd name="T87" fmla="*/ 20 h 365"/>
                <a:gd name="T88" fmla="*/ 236 w 363"/>
                <a:gd name="T89" fmla="*/ 36 h 365"/>
                <a:gd name="T90" fmla="*/ 242 w 363"/>
                <a:gd name="T91" fmla="*/ 44 h 365"/>
                <a:gd name="T92" fmla="*/ 261 w 363"/>
                <a:gd name="T93" fmla="*/ 75 h 365"/>
                <a:gd name="T94" fmla="*/ 264 w 363"/>
                <a:gd name="T95" fmla="*/ 104 h 365"/>
                <a:gd name="T96" fmla="*/ 278 w 363"/>
                <a:gd name="T97" fmla="*/ 183 h 365"/>
                <a:gd name="T98" fmla="*/ 281 w 363"/>
                <a:gd name="T99" fmla="*/ 212 h 365"/>
                <a:gd name="T100" fmla="*/ 225 w 363"/>
                <a:gd name="T101" fmla="*/ 219 h 365"/>
                <a:gd name="T102" fmla="*/ 217 w 363"/>
                <a:gd name="T103" fmla="*/ 227 h 365"/>
                <a:gd name="T104" fmla="*/ 217 w 363"/>
                <a:gd name="T105" fmla="*/ 255 h 365"/>
                <a:gd name="T106" fmla="*/ 235 w 363"/>
                <a:gd name="T107" fmla="*/ 270 h 365"/>
                <a:gd name="T108" fmla="*/ 308 w 363"/>
                <a:gd name="T109" fmla="*/ 285 h 365"/>
                <a:gd name="T110" fmla="*/ 347 w 363"/>
                <a:gd name="T111" fmla="*/ 299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63" h="365">
                  <a:moveTo>
                    <a:pt x="350" y="284"/>
                  </a:moveTo>
                  <a:lnTo>
                    <a:pt x="350" y="284"/>
                  </a:lnTo>
                  <a:lnTo>
                    <a:pt x="332" y="276"/>
                  </a:lnTo>
                  <a:lnTo>
                    <a:pt x="311" y="271"/>
                  </a:lnTo>
                  <a:lnTo>
                    <a:pt x="275" y="263"/>
                  </a:lnTo>
                  <a:lnTo>
                    <a:pt x="275" y="263"/>
                  </a:lnTo>
                  <a:lnTo>
                    <a:pt x="249" y="259"/>
                  </a:lnTo>
                  <a:lnTo>
                    <a:pt x="238" y="254"/>
                  </a:lnTo>
                  <a:lnTo>
                    <a:pt x="231" y="251"/>
                  </a:lnTo>
                  <a:lnTo>
                    <a:pt x="231" y="235"/>
                  </a:lnTo>
                  <a:lnTo>
                    <a:pt x="231" y="235"/>
                  </a:lnTo>
                  <a:lnTo>
                    <a:pt x="250" y="234"/>
                  </a:lnTo>
                  <a:lnTo>
                    <a:pt x="266" y="230"/>
                  </a:lnTo>
                  <a:lnTo>
                    <a:pt x="278" y="227"/>
                  </a:lnTo>
                  <a:lnTo>
                    <a:pt x="289" y="224"/>
                  </a:lnTo>
                  <a:lnTo>
                    <a:pt x="303" y="218"/>
                  </a:lnTo>
                  <a:lnTo>
                    <a:pt x="308" y="215"/>
                  </a:lnTo>
                  <a:lnTo>
                    <a:pt x="308" y="215"/>
                  </a:lnTo>
                  <a:lnTo>
                    <a:pt x="310" y="212"/>
                  </a:lnTo>
                  <a:lnTo>
                    <a:pt x="310" y="208"/>
                  </a:lnTo>
                  <a:lnTo>
                    <a:pt x="310" y="208"/>
                  </a:lnTo>
                  <a:lnTo>
                    <a:pt x="310" y="205"/>
                  </a:lnTo>
                  <a:lnTo>
                    <a:pt x="307" y="202"/>
                  </a:lnTo>
                  <a:lnTo>
                    <a:pt x="307" y="202"/>
                  </a:lnTo>
                  <a:lnTo>
                    <a:pt x="302" y="197"/>
                  </a:lnTo>
                  <a:lnTo>
                    <a:pt x="297" y="190"/>
                  </a:lnTo>
                  <a:lnTo>
                    <a:pt x="292" y="177"/>
                  </a:lnTo>
                  <a:lnTo>
                    <a:pt x="289" y="163"/>
                  </a:lnTo>
                  <a:lnTo>
                    <a:pt x="283" y="133"/>
                  </a:lnTo>
                  <a:lnTo>
                    <a:pt x="280" y="104"/>
                  </a:lnTo>
                  <a:lnTo>
                    <a:pt x="280" y="104"/>
                  </a:lnTo>
                  <a:lnTo>
                    <a:pt x="278" y="93"/>
                  </a:lnTo>
                  <a:lnTo>
                    <a:pt x="277" y="82"/>
                  </a:lnTo>
                  <a:lnTo>
                    <a:pt x="275" y="71"/>
                  </a:lnTo>
                  <a:lnTo>
                    <a:pt x="271" y="61"/>
                  </a:lnTo>
                  <a:lnTo>
                    <a:pt x="266" y="52"/>
                  </a:lnTo>
                  <a:lnTo>
                    <a:pt x="261" y="42"/>
                  </a:lnTo>
                  <a:lnTo>
                    <a:pt x="253" y="35"/>
                  </a:lnTo>
                  <a:lnTo>
                    <a:pt x="247" y="27"/>
                  </a:lnTo>
                  <a:lnTo>
                    <a:pt x="247" y="27"/>
                  </a:lnTo>
                  <a:lnTo>
                    <a:pt x="241" y="20"/>
                  </a:lnTo>
                  <a:lnTo>
                    <a:pt x="233" y="14"/>
                  </a:lnTo>
                  <a:lnTo>
                    <a:pt x="224" y="10"/>
                  </a:lnTo>
                  <a:lnTo>
                    <a:pt x="214" y="6"/>
                  </a:lnTo>
                  <a:lnTo>
                    <a:pt x="214" y="6"/>
                  </a:lnTo>
                  <a:lnTo>
                    <a:pt x="198" y="2"/>
                  </a:lnTo>
                  <a:lnTo>
                    <a:pt x="181" y="0"/>
                  </a:lnTo>
                  <a:lnTo>
                    <a:pt x="164" y="3"/>
                  </a:lnTo>
                  <a:lnTo>
                    <a:pt x="148" y="8"/>
                  </a:lnTo>
                  <a:lnTo>
                    <a:pt x="148" y="8"/>
                  </a:lnTo>
                  <a:lnTo>
                    <a:pt x="133" y="14"/>
                  </a:lnTo>
                  <a:lnTo>
                    <a:pt x="126" y="19"/>
                  </a:lnTo>
                  <a:lnTo>
                    <a:pt x="120" y="24"/>
                  </a:lnTo>
                  <a:lnTo>
                    <a:pt x="120" y="24"/>
                  </a:lnTo>
                  <a:lnTo>
                    <a:pt x="112" y="31"/>
                  </a:lnTo>
                  <a:lnTo>
                    <a:pt x="104" y="39"/>
                  </a:lnTo>
                  <a:lnTo>
                    <a:pt x="98" y="49"/>
                  </a:lnTo>
                  <a:lnTo>
                    <a:pt x="94" y="60"/>
                  </a:lnTo>
                  <a:lnTo>
                    <a:pt x="90" y="69"/>
                  </a:lnTo>
                  <a:lnTo>
                    <a:pt x="87" y="80"/>
                  </a:lnTo>
                  <a:lnTo>
                    <a:pt x="86" y="91"/>
                  </a:lnTo>
                  <a:lnTo>
                    <a:pt x="84" y="102"/>
                  </a:lnTo>
                  <a:lnTo>
                    <a:pt x="84" y="102"/>
                  </a:lnTo>
                  <a:lnTo>
                    <a:pt x="81" y="133"/>
                  </a:lnTo>
                  <a:lnTo>
                    <a:pt x="75" y="163"/>
                  </a:lnTo>
                  <a:lnTo>
                    <a:pt x="72" y="177"/>
                  </a:lnTo>
                  <a:lnTo>
                    <a:pt x="67" y="190"/>
                  </a:lnTo>
                  <a:lnTo>
                    <a:pt x="62" y="197"/>
                  </a:lnTo>
                  <a:lnTo>
                    <a:pt x="58" y="202"/>
                  </a:lnTo>
                  <a:lnTo>
                    <a:pt x="58" y="202"/>
                  </a:lnTo>
                  <a:lnTo>
                    <a:pt x="54" y="205"/>
                  </a:lnTo>
                  <a:lnTo>
                    <a:pt x="54" y="208"/>
                  </a:lnTo>
                  <a:lnTo>
                    <a:pt x="54" y="208"/>
                  </a:lnTo>
                  <a:lnTo>
                    <a:pt x="54" y="212"/>
                  </a:lnTo>
                  <a:lnTo>
                    <a:pt x="56" y="215"/>
                  </a:lnTo>
                  <a:lnTo>
                    <a:pt x="56" y="215"/>
                  </a:lnTo>
                  <a:lnTo>
                    <a:pt x="61" y="218"/>
                  </a:lnTo>
                  <a:lnTo>
                    <a:pt x="75" y="224"/>
                  </a:lnTo>
                  <a:lnTo>
                    <a:pt x="86" y="227"/>
                  </a:lnTo>
                  <a:lnTo>
                    <a:pt x="98" y="230"/>
                  </a:lnTo>
                  <a:lnTo>
                    <a:pt x="114" y="234"/>
                  </a:lnTo>
                  <a:lnTo>
                    <a:pt x="131" y="235"/>
                  </a:lnTo>
                  <a:lnTo>
                    <a:pt x="131" y="251"/>
                  </a:lnTo>
                  <a:lnTo>
                    <a:pt x="131" y="251"/>
                  </a:lnTo>
                  <a:lnTo>
                    <a:pt x="126" y="254"/>
                  </a:lnTo>
                  <a:lnTo>
                    <a:pt x="115" y="257"/>
                  </a:lnTo>
                  <a:lnTo>
                    <a:pt x="89" y="263"/>
                  </a:lnTo>
                  <a:lnTo>
                    <a:pt x="89" y="263"/>
                  </a:lnTo>
                  <a:lnTo>
                    <a:pt x="53" y="271"/>
                  </a:lnTo>
                  <a:lnTo>
                    <a:pt x="32" y="276"/>
                  </a:lnTo>
                  <a:lnTo>
                    <a:pt x="14" y="284"/>
                  </a:lnTo>
                  <a:lnTo>
                    <a:pt x="14" y="284"/>
                  </a:lnTo>
                  <a:lnTo>
                    <a:pt x="7" y="287"/>
                  </a:lnTo>
                  <a:lnTo>
                    <a:pt x="4" y="290"/>
                  </a:lnTo>
                  <a:lnTo>
                    <a:pt x="1" y="296"/>
                  </a:lnTo>
                  <a:lnTo>
                    <a:pt x="0" y="301"/>
                  </a:lnTo>
                  <a:lnTo>
                    <a:pt x="0" y="346"/>
                  </a:lnTo>
                  <a:lnTo>
                    <a:pt x="0" y="346"/>
                  </a:lnTo>
                  <a:lnTo>
                    <a:pt x="1" y="354"/>
                  </a:lnTo>
                  <a:lnTo>
                    <a:pt x="6" y="360"/>
                  </a:lnTo>
                  <a:lnTo>
                    <a:pt x="12" y="364"/>
                  </a:lnTo>
                  <a:lnTo>
                    <a:pt x="20" y="365"/>
                  </a:lnTo>
                  <a:lnTo>
                    <a:pt x="344" y="365"/>
                  </a:lnTo>
                  <a:lnTo>
                    <a:pt x="344" y="365"/>
                  </a:lnTo>
                  <a:lnTo>
                    <a:pt x="352" y="364"/>
                  </a:lnTo>
                  <a:lnTo>
                    <a:pt x="358" y="360"/>
                  </a:lnTo>
                  <a:lnTo>
                    <a:pt x="361" y="354"/>
                  </a:lnTo>
                  <a:lnTo>
                    <a:pt x="363" y="346"/>
                  </a:lnTo>
                  <a:lnTo>
                    <a:pt x="363" y="301"/>
                  </a:lnTo>
                  <a:lnTo>
                    <a:pt x="363" y="301"/>
                  </a:lnTo>
                  <a:lnTo>
                    <a:pt x="363" y="296"/>
                  </a:lnTo>
                  <a:lnTo>
                    <a:pt x="360" y="290"/>
                  </a:lnTo>
                  <a:lnTo>
                    <a:pt x="357" y="287"/>
                  </a:lnTo>
                  <a:lnTo>
                    <a:pt x="350" y="284"/>
                  </a:lnTo>
                  <a:lnTo>
                    <a:pt x="350" y="284"/>
                  </a:lnTo>
                  <a:close/>
                  <a:moveTo>
                    <a:pt x="349" y="346"/>
                  </a:moveTo>
                  <a:lnTo>
                    <a:pt x="349" y="346"/>
                  </a:lnTo>
                  <a:lnTo>
                    <a:pt x="347" y="349"/>
                  </a:lnTo>
                  <a:lnTo>
                    <a:pt x="344" y="351"/>
                  </a:lnTo>
                  <a:lnTo>
                    <a:pt x="20" y="351"/>
                  </a:lnTo>
                  <a:lnTo>
                    <a:pt x="20" y="351"/>
                  </a:lnTo>
                  <a:lnTo>
                    <a:pt x="17" y="349"/>
                  </a:lnTo>
                  <a:lnTo>
                    <a:pt x="15" y="346"/>
                  </a:lnTo>
                  <a:lnTo>
                    <a:pt x="15" y="301"/>
                  </a:lnTo>
                  <a:lnTo>
                    <a:pt x="15" y="301"/>
                  </a:lnTo>
                  <a:lnTo>
                    <a:pt x="15" y="299"/>
                  </a:lnTo>
                  <a:lnTo>
                    <a:pt x="18" y="296"/>
                  </a:lnTo>
                  <a:lnTo>
                    <a:pt x="18" y="296"/>
                  </a:lnTo>
                  <a:lnTo>
                    <a:pt x="37" y="290"/>
                  </a:lnTo>
                  <a:lnTo>
                    <a:pt x="56" y="285"/>
                  </a:lnTo>
                  <a:lnTo>
                    <a:pt x="92" y="277"/>
                  </a:lnTo>
                  <a:lnTo>
                    <a:pt x="92" y="277"/>
                  </a:lnTo>
                  <a:lnTo>
                    <a:pt x="112" y="274"/>
                  </a:lnTo>
                  <a:lnTo>
                    <a:pt x="128" y="270"/>
                  </a:lnTo>
                  <a:lnTo>
                    <a:pt x="136" y="266"/>
                  </a:lnTo>
                  <a:lnTo>
                    <a:pt x="141" y="263"/>
                  </a:lnTo>
                  <a:lnTo>
                    <a:pt x="144" y="260"/>
                  </a:lnTo>
                  <a:lnTo>
                    <a:pt x="147" y="255"/>
                  </a:lnTo>
                  <a:lnTo>
                    <a:pt x="147" y="255"/>
                  </a:lnTo>
                  <a:lnTo>
                    <a:pt x="147" y="252"/>
                  </a:lnTo>
                  <a:lnTo>
                    <a:pt x="147" y="227"/>
                  </a:lnTo>
                  <a:lnTo>
                    <a:pt x="147" y="227"/>
                  </a:lnTo>
                  <a:lnTo>
                    <a:pt x="147" y="224"/>
                  </a:lnTo>
                  <a:lnTo>
                    <a:pt x="145" y="223"/>
                  </a:lnTo>
                  <a:lnTo>
                    <a:pt x="142" y="221"/>
                  </a:lnTo>
                  <a:lnTo>
                    <a:pt x="139" y="219"/>
                  </a:lnTo>
                  <a:lnTo>
                    <a:pt x="139" y="219"/>
                  </a:lnTo>
                  <a:lnTo>
                    <a:pt x="115" y="219"/>
                  </a:lnTo>
                  <a:lnTo>
                    <a:pt x="97" y="216"/>
                  </a:lnTo>
                  <a:lnTo>
                    <a:pt x="83" y="212"/>
                  </a:lnTo>
                  <a:lnTo>
                    <a:pt x="73" y="207"/>
                  </a:lnTo>
                  <a:lnTo>
                    <a:pt x="73" y="207"/>
                  </a:lnTo>
                  <a:lnTo>
                    <a:pt x="79" y="196"/>
                  </a:lnTo>
                  <a:lnTo>
                    <a:pt x="86" y="183"/>
                  </a:lnTo>
                  <a:lnTo>
                    <a:pt x="89" y="168"/>
                  </a:lnTo>
                  <a:lnTo>
                    <a:pt x="92" y="152"/>
                  </a:lnTo>
                  <a:lnTo>
                    <a:pt x="97" y="122"/>
                  </a:lnTo>
                  <a:lnTo>
                    <a:pt x="100" y="104"/>
                  </a:lnTo>
                  <a:lnTo>
                    <a:pt x="100" y="104"/>
                  </a:lnTo>
                  <a:lnTo>
                    <a:pt x="100" y="93"/>
                  </a:lnTo>
                  <a:lnTo>
                    <a:pt x="101" y="83"/>
                  </a:lnTo>
                  <a:lnTo>
                    <a:pt x="104" y="74"/>
                  </a:lnTo>
                  <a:lnTo>
                    <a:pt x="108" y="66"/>
                  </a:lnTo>
                  <a:lnTo>
                    <a:pt x="112" y="57"/>
                  </a:lnTo>
                  <a:lnTo>
                    <a:pt x="117" y="49"/>
                  </a:lnTo>
                  <a:lnTo>
                    <a:pt x="123" y="41"/>
                  </a:lnTo>
                  <a:lnTo>
                    <a:pt x="131" y="35"/>
                  </a:lnTo>
                  <a:lnTo>
                    <a:pt x="131" y="35"/>
                  </a:lnTo>
                  <a:lnTo>
                    <a:pt x="141" y="27"/>
                  </a:lnTo>
                  <a:lnTo>
                    <a:pt x="153" y="20"/>
                  </a:lnTo>
                  <a:lnTo>
                    <a:pt x="153" y="20"/>
                  </a:lnTo>
                  <a:lnTo>
                    <a:pt x="167" y="17"/>
                  </a:lnTo>
                  <a:lnTo>
                    <a:pt x="181" y="16"/>
                  </a:lnTo>
                  <a:lnTo>
                    <a:pt x="195" y="17"/>
                  </a:lnTo>
                  <a:lnTo>
                    <a:pt x="209" y="20"/>
                  </a:lnTo>
                  <a:lnTo>
                    <a:pt x="209" y="20"/>
                  </a:lnTo>
                  <a:lnTo>
                    <a:pt x="217" y="24"/>
                  </a:lnTo>
                  <a:lnTo>
                    <a:pt x="225" y="27"/>
                  </a:lnTo>
                  <a:lnTo>
                    <a:pt x="231" y="31"/>
                  </a:lnTo>
                  <a:lnTo>
                    <a:pt x="236" y="36"/>
                  </a:lnTo>
                  <a:lnTo>
                    <a:pt x="236" y="36"/>
                  </a:lnTo>
                  <a:lnTo>
                    <a:pt x="236" y="38"/>
                  </a:lnTo>
                  <a:lnTo>
                    <a:pt x="236" y="38"/>
                  </a:lnTo>
                  <a:lnTo>
                    <a:pt x="242" y="44"/>
                  </a:lnTo>
                  <a:lnTo>
                    <a:pt x="249" y="50"/>
                  </a:lnTo>
                  <a:lnTo>
                    <a:pt x="253" y="58"/>
                  </a:lnTo>
                  <a:lnTo>
                    <a:pt x="258" y="67"/>
                  </a:lnTo>
                  <a:lnTo>
                    <a:pt x="261" y="75"/>
                  </a:lnTo>
                  <a:lnTo>
                    <a:pt x="263" y="85"/>
                  </a:lnTo>
                  <a:lnTo>
                    <a:pt x="264" y="94"/>
                  </a:lnTo>
                  <a:lnTo>
                    <a:pt x="264" y="104"/>
                  </a:lnTo>
                  <a:lnTo>
                    <a:pt x="264" y="104"/>
                  </a:lnTo>
                  <a:lnTo>
                    <a:pt x="267" y="122"/>
                  </a:lnTo>
                  <a:lnTo>
                    <a:pt x="271" y="152"/>
                  </a:lnTo>
                  <a:lnTo>
                    <a:pt x="275" y="168"/>
                  </a:lnTo>
                  <a:lnTo>
                    <a:pt x="278" y="183"/>
                  </a:lnTo>
                  <a:lnTo>
                    <a:pt x="285" y="196"/>
                  </a:lnTo>
                  <a:lnTo>
                    <a:pt x="291" y="207"/>
                  </a:lnTo>
                  <a:lnTo>
                    <a:pt x="291" y="207"/>
                  </a:lnTo>
                  <a:lnTo>
                    <a:pt x="281" y="212"/>
                  </a:lnTo>
                  <a:lnTo>
                    <a:pt x="267" y="216"/>
                  </a:lnTo>
                  <a:lnTo>
                    <a:pt x="249" y="219"/>
                  </a:lnTo>
                  <a:lnTo>
                    <a:pt x="225" y="219"/>
                  </a:lnTo>
                  <a:lnTo>
                    <a:pt x="225" y="219"/>
                  </a:lnTo>
                  <a:lnTo>
                    <a:pt x="222" y="221"/>
                  </a:lnTo>
                  <a:lnTo>
                    <a:pt x="219" y="223"/>
                  </a:lnTo>
                  <a:lnTo>
                    <a:pt x="217" y="224"/>
                  </a:lnTo>
                  <a:lnTo>
                    <a:pt x="217" y="227"/>
                  </a:lnTo>
                  <a:lnTo>
                    <a:pt x="217" y="252"/>
                  </a:lnTo>
                  <a:lnTo>
                    <a:pt x="217" y="252"/>
                  </a:lnTo>
                  <a:lnTo>
                    <a:pt x="217" y="255"/>
                  </a:lnTo>
                  <a:lnTo>
                    <a:pt x="217" y="255"/>
                  </a:lnTo>
                  <a:lnTo>
                    <a:pt x="220" y="260"/>
                  </a:lnTo>
                  <a:lnTo>
                    <a:pt x="224" y="263"/>
                  </a:lnTo>
                  <a:lnTo>
                    <a:pt x="228" y="266"/>
                  </a:lnTo>
                  <a:lnTo>
                    <a:pt x="235" y="270"/>
                  </a:lnTo>
                  <a:lnTo>
                    <a:pt x="252" y="274"/>
                  </a:lnTo>
                  <a:lnTo>
                    <a:pt x="272" y="277"/>
                  </a:lnTo>
                  <a:lnTo>
                    <a:pt x="272" y="277"/>
                  </a:lnTo>
                  <a:lnTo>
                    <a:pt x="308" y="285"/>
                  </a:lnTo>
                  <a:lnTo>
                    <a:pt x="327" y="290"/>
                  </a:lnTo>
                  <a:lnTo>
                    <a:pt x="346" y="296"/>
                  </a:lnTo>
                  <a:lnTo>
                    <a:pt x="346" y="296"/>
                  </a:lnTo>
                  <a:lnTo>
                    <a:pt x="347" y="299"/>
                  </a:lnTo>
                  <a:lnTo>
                    <a:pt x="349" y="301"/>
                  </a:lnTo>
                  <a:lnTo>
                    <a:pt x="349" y="34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87" name="Freeform 184">
              <a:extLst>
                <a:ext uri="{FF2B5EF4-FFF2-40B4-BE49-F238E27FC236}">
                  <a16:creationId xmlns:a16="http://schemas.microsoft.com/office/drawing/2014/main" id="{474DBF9D-15E6-4D5D-B200-9CF87B222F93}"/>
                </a:ext>
              </a:extLst>
            </p:cNvPr>
            <p:cNvSpPr>
              <a:spLocks noEditPoints="1"/>
            </p:cNvSpPr>
            <p:nvPr/>
          </p:nvSpPr>
          <p:spPr bwMode="auto">
            <a:xfrm>
              <a:off x="3794125" y="5289550"/>
              <a:ext cx="601663" cy="603250"/>
            </a:xfrm>
            <a:custGeom>
              <a:avLst/>
              <a:gdLst>
                <a:gd name="T0" fmla="*/ 359 w 758"/>
                <a:gd name="T1" fmla="*/ 758 h 760"/>
                <a:gd name="T2" fmla="*/ 302 w 758"/>
                <a:gd name="T3" fmla="*/ 752 h 760"/>
                <a:gd name="T4" fmla="*/ 232 w 758"/>
                <a:gd name="T5" fmla="*/ 730 h 760"/>
                <a:gd name="T6" fmla="*/ 138 w 758"/>
                <a:gd name="T7" fmla="*/ 672 h 760"/>
                <a:gd name="T8" fmla="*/ 64 w 758"/>
                <a:gd name="T9" fmla="*/ 592 h 760"/>
                <a:gd name="T10" fmla="*/ 17 w 758"/>
                <a:gd name="T11" fmla="*/ 492 h 760"/>
                <a:gd name="T12" fmla="*/ 3 w 758"/>
                <a:gd name="T13" fmla="*/ 437 h 760"/>
                <a:gd name="T14" fmla="*/ 0 w 758"/>
                <a:gd name="T15" fmla="*/ 379 h 760"/>
                <a:gd name="T16" fmla="*/ 2 w 758"/>
                <a:gd name="T17" fmla="*/ 342 h 760"/>
                <a:gd name="T18" fmla="*/ 11 w 758"/>
                <a:gd name="T19" fmla="*/ 285 h 760"/>
                <a:gd name="T20" fmla="*/ 45 w 758"/>
                <a:gd name="T21" fmla="*/ 199 h 760"/>
                <a:gd name="T22" fmla="*/ 111 w 758"/>
                <a:gd name="T23" fmla="*/ 111 h 760"/>
                <a:gd name="T24" fmla="*/ 197 w 758"/>
                <a:gd name="T25" fmla="*/ 47 h 760"/>
                <a:gd name="T26" fmla="*/ 284 w 758"/>
                <a:gd name="T27" fmla="*/ 13 h 760"/>
                <a:gd name="T28" fmla="*/ 340 w 758"/>
                <a:gd name="T29" fmla="*/ 3 h 760"/>
                <a:gd name="T30" fmla="*/ 379 w 758"/>
                <a:gd name="T31" fmla="*/ 0 h 760"/>
                <a:gd name="T32" fmla="*/ 437 w 758"/>
                <a:gd name="T33" fmla="*/ 5 h 760"/>
                <a:gd name="T34" fmla="*/ 492 w 758"/>
                <a:gd name="T35" fmla="*/ 17 h 760"/>
                <a:gd name="T36" fmla="*/ 591 w 758"/>
                <a:gd name="T37" fmla="*/ 66 h 760"/>
                <a:gd name="T38" fmla="*/ 672 w 758"/>
                <a:gd name="T39" fmla="*/ 138 h 760"/>
                <a:gd name="T40" fmla="*/ 728 w 758"/>
                <a:gd name="T41" fmla="*/ 232 h 760"/>
                <a:gd name="T42" fmla="*/ 750 w 758"/>
                <a:gd name="T43" fmla="*/ 304 h 760"/>
                <a:gd name="T44" fmla="*/ 758 w 758"/>
                <a:gd name="T45" fmla="*/ 360 h 760"/>
                <a:gd name="T46" fmla="*/ 758 w 758"/>
                <a:gd name="T47" fmla="*/ 400 h 760"/>
                <a:gd name="T48" fmla="*/ 750 w 758"/>
                <a:gd name="T49" fmla="*/ 456 h 760"/>
                <a:gd name="T50" fmla="*/ 728 w 758"/>
                <a:gd name="T51" fmla="*/ 528 h 760"/>
                <a:gd name="T52" fmla="*/ 672 w 758"/>
                <a:gd name="T53" fmla="*/ 620 h 760"/>
                <a:gd name="T54" fmla="*/ 591 w 758"/>
                <a:gd name="T55" fmla="*/ 694 h 760"/>
                <a:gd name="T56" fmla="*/ 492 w 758"/>
                <a:gd name="T57" fmla="*/ 743 h 760"/>
                <a:gd name="T58" fmla="*/ 437 w 758"/>
                <a:gd name="T59" fmla="*/ 755 h 760"/>
                <a:gd name="T60" fmla="*/ 379 w 758"/>
                <a:gd name="T61" fmla="*/ 760 h 760"/>
                <a:gd name="T62" fmla="*/ 379 w 758"/>
                <a:gd name="T63" fmla="*/ 22 h 760"/>
                <a:gd name="T64" fmla="*/ 273 w 758"/>
                <a:gd name="T65" fmla="*/ 38 h 760"/>
                <a:gd name="T66" fmla="*/ 179 w 758"/>
                <a:gd name="T67" fmla="*/ 83 h 760"/>
                <a:gd name="T68" fmla="*/ 103 w 758"/>
                <a:gd name="T69" fmla="*/ 152 h 760"/>
                <a:gd name="T70" fmla="*/ 49 w 758"/>
                <a:gd name="T71" fmla="*/ 241 h 760"/>
                <a:gd name="T72" fmla="*/ 22 w 758"/>
                <a:gd name="T73" fmla="*/ 343 h 760"/>
                <a:gd name="T74" fmla="*/ 22 w 758"/>
                <a:gd name="T75" fmla="*/ 417 h 760"/>
                <a:gd name="T76" fmla="*/ 49 w 758"/>
                <a:gd name="T77" fmla="*/ 519 h 760"/>
                <a:gd name="T78" fmla="*/ 103 w 758"/>
                <a:gd name="T79" fmla="*/ 608 h 760"/>
                <a:gd name="T80" fmla="*/ 179 w 758"/>
                <a:gd name="T81" fmla="*/ 677 h 760"/>
                <a:gd name="T82" fmla="*/ 273 w 758"/>
                <a:gd name="T83" fmla="*/ 722 h 760"/>
                <a:gd name="T84" fmla="*/ 379 w 758"/>
                <a:gd name="T85" fmla="*/ 738 h 760"/>
                <a:gd name="T86" fmla="*/ 451 w 758"/>
                <a:gd name="T87" fmla="*/ 730 h 760"/>
                <a:gd name="T88" fmla="*/ 550 w 758"/>
                <a:gd name="T89" fmla="*/ 694 h 760"/>
                <a:gd name="T90" fmla="*/ 631 w 758"/>
                <a:gd name="T91" fmla="*/ 633 h 760"/>
                <a:gd name="T92" fmla="*/ 694 w 758"/>
                <a:gd name="T93" fmla="*/ 550 h 760"/>
                <a:gd name="T94" fmla="*/ 730 w 758"/>
                <a:gd name="T95" fmla="*/ 451 h 760"/>
                <a:gd name="T96" fmla="*/ 736 w 758"/>
                <a:gd name="T97" fmla="*/ 379 h 760"/>
                <a:gd name="T98" fmla="*/ 721 w 758"/>
                <a:gd name="T99" fmla="*/ 274 h 760"/>
                <a:gd name="T100" fmla="*/ 675 w 758"/>
                <a:gd name="T101" fmla="*/ 180 h 760"/>
                <a:gd name="T102" fmla="*/ 606 w 758"/>
                <a:gd name="T103" fmla="*/ 104 h 760"/>
                <a:gd name="T104" fmla="*/ 519 w 758"/>
                <a:gd name="T105" fmla="*/ 50 h 760"/>
                <a:gd name="T106" fmla="*/ 415 w 758"/>
                <a:gd name="T107" fmla="*/ 2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60">
                  <a:moveTo>
                    <a:pt x="379" y="760"/>
                  </a:moveTo>
                  <a:lnTo>
                    <a:pt x="379" y="760"/>
                  </a:lnTo>
                  <a:lnTo>
                    <a:pt x="359" y="758"/>
                  </a:lnTo>
                  <a:lnTo>
                    <a:pt x="340" y="757"/>
                  </a:lnTo>
                  <a:lnTo>
                    <a:pt x="321" y="755"/>
                  </a:lnTo>
                  <a:lnTo>
                    <a:pt x="302" y="752"/>
                  </a:lnTo>
                  <a:lnTo>
                    <a:pt x="284" y="747"/>
                  </a:lnTo>
                  <a:lnTo>
                    <a:pt x="266" y="743"/>
                  </a:lnTo>
                  <a:lnTo>
                    <a:pt x="232" y="730"/>
                  </a:lnTo>
                  <a:lnTo>
                    <a:pt x="197" y="713"/>
                  </a:lnTo>
                  <a:lnTo>
                    <a:pt x="166" y="694"/>
                  </a:lnTo>
                  <a:lnTo>
                    <a:pt x="138" y="672"/>
                  </a:lnTo>
                  <a:lnTo>
                    <a:pt x="111" y="649"/>
                  </a:lnTo>
                  <a:lnTo>
                    <a:pt x="86" y="620"/>
                  </a:lnTo>
                  <a:lnTo>
                    <a:pt x="64" y="592"/>
                  </a:lnTo>
                  <a:lnTo>
                    <a:pt x="45" y="561"/>
                  </a:lnTo>
                  <a:lnTo>
                    <a:pt x="30" y="528"/>
                  </a:lnTo>
                  <a:lnTo>
                    <a:pt x="17" y="492"/>
                  </a:lnTo>
                  <a:lnTo>
                    <a:pt x="11" y="475"/>
                  </a:lnTo>
                  <a:lnTo>
                    <a:pt x="8" y="456"/>
                  </a:lnTo>
                  <a:lnTo>
                    <a:pt x="3" y="437"/>
                  </a:lnTo>
                  <a:lnTo>
                    <a:pt x="2" y="418"/>
                  </a:lnTo>
                  <a:lnTo>
                    <a:pt x="0" y="400"/>
                  </a:lnTo>
                  <a:lnTo>
                    <a:pt x="0" y="379"/>
                  </a:lnTo>
                  <a:lnTo>
                    <a:pt x="0" y="379"/>
                  </a:lnTo>
                  <a:lnTo>
                    <a:pt x="0" y="360"/>
                  </a:lnTo>
                  <a:lnTo>
                    <a:pt x="2" y="342"/>
                  </a:lnTo>
                  <a:lnTo>
                    <a:pt x="3" y="323"/>
                  </a:lnTo>
                  <a:lnTo>
                    <a:pt x="8" y="304"/>
                  </a:lnTo>
                  <a:lnTo>
                    <a:pt x="11" y="285"/>
                  </a:lnTo>
                  <a:lnTo>
                    <a:pt x="17" y="266"/>
                  </a:lnTo>
                  <a:lnTo>
                    <a:pt x="30" y="232"/>
                  </a:lnTo>
                  <a:lnTo>
                    <a:pt x="45" y="199"/>
                  </a:lnTo>
                  <a:lnTo>
                    <a:pt x="64" y="168"/>
                  </a:lnTo>
                  <a:lnTo>
                    <a:pt x="86" y="138"/>
                  </a:lnTo>
                  <a:lnTo>
                    <a:pt x="111" y="111"/>
                  </a:lnTo>
                  <a:lnTo>
                    <a:pt x="138" y="88"/>
                  </a:lnTo>
                  <a:lnTo>
                    <a:pt x="166" y="66"/>
                  </a:lnTo>
                  <a:lnTo>
                    <a:pt x="197" y="47"/>
                  </a:lnTo>
                  <a:lnTo>
                    <a:pt x="232" y="30"/>
                  </a:lnTo>
                  <a:lnTo>
                    <a:pt x="266" y="17"/>
                  </a:lnTo>
                  <a:lnTo>
                    <a:pt x="284" y="13"/>
                  </a:lnTo>
                  <a:lnTo>
                    <a:pt x="302" y="8"/>
                  </a:lnTo>
                  <a:lnTo>
                    <a:pt x="321" y="5"/>
                  </a:lnTo>
                  <a:lnTo>
                    <a:pt x="340" y="3"/>
                  </a:lnTo>
                  <a:lnTo>
                    <a:pt x="359" y="2"/>
                  </a:lnTo>
                  <a:lnTo>
                    <a:pt x="379" y="0"/>
                  </a:lnTo>
                  <a:lnTo>
                    <a:pt x="379" y="0"/>
                  </a:lnTo>
                  <a:lnTo>
                    <a:pt x="398" y="2"/>
                  </a:lnTo>
                  <a:lnTo>
                    <a:pt x="418" y="3"/>
                  </a:lnTo>
                  <a:lnTo>
                    <a:pt x="437" y="5"/>
                  </a:lnTo>
                  <a:lnTo>
                    <a:pt x="456" y="8"/>
                  </a:lnTo>
                  <a:lnTo>
                    <a:pt x="473" y="13"/>
                  </a:lnTo>
                  <a:lnTo>
                    <a:pt x="492" y="17"/>
                  </a:lnTo>
                  <a:lnTo>
                    <a:pt x="526" y="30"/>
                  </a:lnTo>
                  <a:lnTo>
                    <a:pt x="559" y="47"/>
                  </a:lnTo>
                  <a:lnTo>
                    <a:pt x="591" y="66"/>
                  </a:lnTo>
                  <a:lnTo>
                    <a:pt x="620" y="88"/>
                  </a:lnTo>
                  <a:lnTo>
                    <a:pt x="647" y="111"/>
                  </a:lnTo>
                  <a:lnTo>
                    <a:pt x="672" y="138"/>
                  </a:lnTo>
                  <a:lnTo>
                    <a:pt x="694" y="168"/>
                  </a:lnTo>
                  <a:lnTo>
                    <a:pt x="713" y="199"/>
                  </a:lnTo>
                  <a:lnTo>
                    <a:pt x="728" y="232"/>
                  </a:lnTo>
                  <a:lnTo>
                    <a:pt x="741" y="266"/>
                  </a:lnTo>
                  <a:lnTo>
                    <a:pt x="746" y="285"/>
                  </a:lnTo>
                  <a:lnTo>
                    <a:pt x="750" y="304"/>
                  </a:lnTo>
                  <a:lnTo>
                    <a:pt x="753" y="323"/>
                  </a:lnTo>
                  <a:lnTo>
                    <a:pt x="757" y="342"/>
                  </a:lnTo>
                  <a:lnTo>
                    <a:pt x="758" y="360"/>
                  </a:lnTo>
                  <a:lnTo>
                    <a:pt x="758" y="379"/>
                  </a:lnTo>
                  <a:lnTo>
                    <a:pt x="758" y="379"/>
                  </a:lnTo>
                  <a:lnTo>
                    <a:pt x="758" y="400"/>
                  </a:lnTo>
                  <a:lnTo>
                    <a:pt x="757" y="418"/>
                  </a:lnTo>
                  <a:lnTo>
                    <a:pt x="753" y="437"/>
                  </a:lnTo>
                  <a:lnTo>
                    <a:pt x="750" y="456"/>
                  </a:lnTo>
                  <a:lnTo>
                    <a:pt x="746" y="475"/>
                  </a:lnTo>
                  <a:lnTo>
                    <a:pt x="741" y="492"/>
                  </a:lnTo>
                  <a:lnTo>
                    <a:pt x="728" y="528"/>
                  </a:lnTo>
                  <a:lnTo>
                    <a:pt x="713" y="561"/>
                  </a:lnTo>
                  <a:lnTo>
                    <a:pt x="694" y="592"/>
                  </a:lnTo>
                  <a:lnTo>
                    <a:pt x="672" y="620"/>
                  </a:lnTo>
                  <a:lnTo>
                    <a:pt x="647" y="649"/>
                  </a:lnTo>
                  <a:lnTo>
                    <a:pt x="620" y="672"/>
                  </a:lnTo>
                  <a:lnTo>
                    <a:pt x="591" y="694"/>
                  </a:lnTo>
                  <a:lnTo>
                    <a:pt x="559" y="713"/>
                  </a:lnTo>
                  <a:lnTo>
                    <a:pt x="526" y="730"/>
                  </a:lnTo>
                  <a:lnTo>
                    <a:pt x="492" y="743"/>
                  </a:lnTo>
                  <a:lnTo>
                    <a:pt x="473" y="747"/>
                  </a:lnTo>
                  <a:lnTo>
                    <a:pt x="456" y="752"/>
                  </a:lnTo>
                  <a:lnTo>
                    <a:pt x="437" y="755"/>
                  </a:lnTo>
                  <a:lnTo>
                    <a:pt x="418" y="757"/>
                  </a:lnTo>
                  <a:lnTo>
                    <a:pt x="398" y="758"/>
                  </a:lnTo>
                  <a:lnTo>
                    <a:pt x="379" y="760"/>
                  </a:lnTo>
                  <a:lnTo>
                    <a:pt x="379" y="760"/>
                  </a:lnTo>
                  <a:close/>
                  <a:moveTo>
                    <a:pt x="379" y="22"/>
                  </a:moveTo>
                  <a:lnTo>
                    <a:pt x="379" y="22"/>
                  </a:lnTo>
                  <a:lnTo>
                    <a:pt x="342" y="24"/>
                  </a:lnTo>
                  <a:lnTo>
                    <a:pt x="307" y="30"/>
                  </a:lnTo>
                  <a:lnTo>
                    <a:pt x="273" y="38"/>
                  </a:lnTo>
                  <a:lnTo>
                    <a:pt x="240" y="50"/>
                  </a:lnTo>
                  <a:lnTo>
                    <a:pt x="208" y="66"/>
                  </a:lnTo>
                  <a:lnTo>
                    <a:pt x="179" y="83"/>
                  </a:lnTo>
                  <a:lnTo>
                    <a:pt x="152" y="104"/>
                  </a:lnTo>
                  <a:lnTo>
                    <a:pt x="125" y="127"/>
                  </a:lnTo>
                  <a:lnTo>
                    <a:pt x="103" y="152"/>
                  </a:lnTo>
                  <a:lnTo>
                    <a:pt x="82" y="180"/>
                  </a:lnTo>
                  <a:lnTo>
                    <a:pt x="64" y="210"/>
                  </a:lnTo>
                  <a:lnTo>
                    <a:pt x="49" y="241"/>
                  </a:lnTo>
                  <a:lnTo>
                    <a:pt x="38" y="274"/>
                  </a:lnTo>
                  <a:lnTo>
                    <a:pt x="28" y="307"/>
                  </a:lnTo>
                  <a:lnTo>
                    <a:pt x="22" y="343"/>
                  </a:lnTo>
                  <a:lnTo>
                    <a:pt x="20" y="379"/>
                  </a:lnTo>
                  <a:lnTo>
                    <a:pt x="20" y="379"/>
                  </a:lnTo>
                  <a:lnTo>
                    <a:pt x="22" y="417"/>
                  </a:lnTo>
                  <a:lnTo>
                    <a:pt x="28" y="451"/>
                  </a:lnTo>
                  <a:lnTo>
                    <a:pt x="38" y="486"/>
                  </a:lnTo>
                  <a:lnTo>
                    <a:pt x="49" y="519"/>
                  </a:lnTo>
                  <a:lnTo>
                    <a:pt x="64" y="550"/>
                  </a:lnTo>
                  <a:lnTo>
                    <a:pt x="82" y="580"/>
                  </a:lnTo>
                  <a:lnTo>
                    <a:pt x="103" y="608"/>
                  </a:lnTo>
                  <a:lnTo>
                    <a:pt x="125" y="633"/>
                  </a:lnTo>
                  <a:lnTo>
                    <a:pt x="152" y="656"/>
                  </a:lnTo>
                  <a:lnTo>
                    <a:pt x="179" y="677"/>
                  </a:lnTo>
                  <a:lnTo>
                    <a:pt x="208" y="694"/>
                  </a:lnTo>
                  <a:lnTo>
                    <a:pt x="240" y="710"/>
                  </a:lnTo>
                  <a:lnTo>
                    <a:pt x="273" y="722"/>
                  </a:lnTo>
                  <a:lnTo>
                    <a:pt x="307" y="730"/>
                  </a:lnTo>
                  <a:lnTo>
                    <a:pt x="342" y="736"/>
                  </a:lnTo>
                  <a:lnTo>
                    <a:pt x="379" y="738"/>
                  </a:lnTo>
                  <a:lnTo>
                    <a:pt x="379" y="738"/>
                  </a:lnTo>
                  <a:lnTo>
                    <a:pt x="415" y="736"/>
                  </a:lnTo>
                  <a:lnTo>
                    <a:pt x="451" y="730"/>
                  </a:lnTo>
                  <a:lnTo>
                    <a:pt x="486" y="722"/>
                  </a:lnTo>
                  <a:lnTo>
                    <a:pt x="519" y="710"/>
                  </a:lnTo>
                  <a:lnTo>
                    <a:pt x="550" y="694"/>
                  </a:lnTo>
                  <a:lnTo>
                    <a:pt x="578" y="677"/>
                  </a:lnTo>
                  <a:lnTo>
                    <a:pt x="606" y="656"/>
                  </a:lnTo>
                  <a:lnTo>
                    <a:pt x="631" y="633"/>
                  </a:lnTo>
                  <a:lnTo>
                    <a:pt x="655" y="608"/>
                  </a:lnTo>
                  <a:lnTo>
                    <a:pt x="675" y="580"/>
                  </a:lnTo>
                  <a:lnTo>
                    <a:pt x="694" y="550"/>
                  </a:lnTo>
                  <a:lnTo>
                    <a:pt x="708" y="519"/>
                  </a:lnTo>
                  <a:lnTo>
                    <a:pt x="721" y="486"/>
                  </a:lnTo>
                  <a:lnTo>
                    <a:pt x="730" y="451"/>
                  </a:lnTo>
                  <a:lnTo>
                    <a:pt x="735" y="417"/>
                  </a:lnTo>
                  <a:lnTo>
                    <a:pt x="736" y="379"/>
                  </a:lnTo>
                  <a:lnTo>
                    <a:pt x="736" y="379"/>
                  </a:lnTo>
                  <a:lnTo>
                    <a:pt x="735" y="343"/>
                  </a:lnTo>
                  <a:lnTo>
                    <a:pt x="730" y="307"/>
                  </a:lnTo>
                  <a:lnTo>
                    <a:pt x="721" y="274"/>
                  </a:lnTo>
                  <a:lnTo>
                    <a:pt x="708" y="241"/>
                  </a:lnTo>
                  <a:lnTo>
                    <a:pt x="694" y="210"/>
                  </a:lnTo>
                  <a:lnTo>
                    <a:pt x="675" y="180"/>
                  </a:lnTo>
                  <a:lnTo>
                    <a:pt x="655" y="152"/>
                  </a:lnTo>
                  <a:lnTo>
                    <a:pt x="631" y="127"/>
                  </a:lnTo>
                  <a:lnTo>
                    <a:pt x="606" y="104"/>
                  </a:lnTo>
                  <a:lnTo>
                    <a:pt x="578" y="83"/>
                  </a:lnTo>
                  <a:lnTo>
                    <a:pt x="550" y="66"/>
                  </a:lnTo>
                  <a:lnTo>
                    <a:pt x="519" y="50"/>
                  </a:lnTo>
                  <a:lnTo>
                    <a:pt x="486" y="38"/>
                  </a:lnTo>
                  <a:lnTo>
                    <a:pt x="451" y="30"/>
                  </a:lnTo>
                  <a:lnTo>
                    <a:pt x="415" y="24"/>
                  </a:lnTo>
                  <a:lnTo>
                    <a:pt x="379" y="22"/>
                  </a:lnTo>
                  <a:lnTo>
                    <a:pt x="379"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88" name="Rectangle 18">
            <a:extLst>
              <a:ext uri="{FF2B5EF4-FFF2-40B4-BE49-F238E27FC236}">
                <a16:creationId xmlns:a16="http://schemas.microsoft.com/office/drawing/2014/main" id="{BC422ECF-4053-49A3-B872-873E3FCAFBDC}"/>
              </a:ext>
            </a:extLst>
          </p:cNvPr>
          <p:cNvSpPr>
            <a:spLocks noChangeArrowheads="1"/>
          </p:cNvSpPr>
          <p:nvPr/>
        </p:nvSpPr>
        <p:spPr bwMode="auto">
          <a:xfrm>
            <a:off x="1308054" y="3236142"/>
            <a:ext cx="491473" cy="308517"/>
          </a:xfrm>
          <a:prstGeom prst="rect">
            <a:avLst/>
          </a:prstGeom>
          <a:noFill/>
          <a:ln>
            <a:noFill/>
            <a:prstDash val="solid"/>
          </a:ln>
        </p:spPr>
        <p:style>
          <a:lnRef idx="2">
            <a:schemeClr val="dk1"/>
          </a:lnRef>
          <a:fillRef idx="1">
            <a:schemeClr val="lt1"/>
          </a:fillRef>
          <a:effectRef idx="0">
            <a:schemeClr val="dk1"/>
          </a:effectRef>
          <a:fontRef idx="minor">
            <a:schemeClr val="dk1"/>
          </a:fontRef>
        </p:style>
        <p:txBody>
          <a:bodyPr wrap="square" lIns="0" tIns="45720" rIns="0" bIns="0" anchor="t">
            <a:noAutofit/>
          </a:bodyPr>
          <a:lstStyle/>
          <a:p>
            <a:pPr marL="0" marR="0" lvl="0" indent="0" algn="ctr" defTabSz="914400" rtl="0" eaLnBrk="1" fontAlgn="auto" latinLnBrk="0" hangingPunct="1">
              <a:lnSpc>
                <a:spcPct val="100000"/>
              </a:lnSpc>
              <a:spcBef>
                <a:spcPts val="0"/>
              </a:spcBef>
              <a:spcAft>
                <a:spcPts val="0"/>
              </a:spcAft>
              <a:buClr>
                <a:srgbClr val="787878"/>
              </a:buClr>
              <a:buSzPct val="75000"/>
              <a:buFontTx/>
              <a:buNone/>
              <a:tabLst/>
              <a:defRPr/>
            </a:pPr>
            <a:r>
              <a:rPr kumimoji="0" lang="en-US" sz="900" b="0" i="0" u="none" strike="noStrike" kern="1200" cap="none" spc="0" normalizeH="0" baseline="0" noProof="0" dirty="0">
                <a:ln>
                  <a:noFill/>
                </a:ln>
                <a:solidFill>
                  <a:srgbClr val="000000"/>
                </a:solidFill>
                <a:effectLst/>
                <a:uLnTx/>
                <a:uFillTx/>
                <a:latin typeface="Frutiger Next Pro Medium" pitchFamily="34" charset="0"/>
                <a:ea typeface="+mn-ea"/>
                <a:cs typeface="Arial"/>
                <a:sym typeface="Frutiger Next Pro Medium" charset="0"/>
              </a:rPr>
              <a:t>Sponsors</a:t>
            </a:r>
          </a:p>
        </p:txBody>
      </p:sp>
      <p:sp>
        <p:nvSpPr>
          <p:cNvPr id="91" name="TextBox 90">
            <a:extLst>
              <a:ext uri="{FF2B5EF4-FFF2-40B4-BE49-F238E27FC236}">
                <a16:creationId xmlns:a16="http://schemas.microsoft.com/office/drawing/2014/main" id="{3EDFB465-F484-4898-ACD9-6267C64A4836}"/>
              </a:ext>
            </a:extLst>
          </p:cNvPr>
          <p:cNvSpPr txBox="1"/>
          <p:nvPr/>
        </p:nvSpPr>
        <p:spPr>
          <a:xfrm>
            <a:off x="1701800" y="1892300"/>
            <a:ext cx="1905000" cy="369332"/>
          </a:xfrm>
          <a:prstGeom prst="rect">
            <a:avLst/>
          </a:prstGeom>
          <a:noFill/>
        </p:spPr>
        <p:txBody>
          <a:bodyPr wrap="square" rtlCol="0">
            <a:spAutoFit/>
          </a:bodyPr>
          <a:lstStyle/>
          <a:p>
            <a:pPr algn="ctr"/>
            <a:r>
              <a:rPr lang="en-US" b="1" dirty="0"/>
              <a:t>[CLIENT LOGO]</a:t>
            </a:r>
          </a:p>
        </p:txBody>
      </p:sp>
    </p:spTree>
    <p:extLst>
      <p:ext uri="{BB962C8B-B14F-4D97-AF65-F5344CB8AC3E}">
        <p14:creationId xmlns:p14="http://schemas.microsoft.com/office/powerpoint/2010/main" val="2516253930"/>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84F4441-71F5-4FA1-A65F-7EB88ECBA07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2148"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C84F4441-71F5-4FA1-A65F-7EB88ECBA07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47C8501-96D6-473C-9294-6794DDDCFF1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800" dirty="0">
              <a:latin typeface="Open Sans Light" panose="020B0306030504020204" pitchFamily="34" charset="0"/>
              <a:ea typeface="Open Sans Light" panose="020B0306030504020204" pitchFamily="34" charset="0"/>
              <a:cs typeface="Open Sans Light" panose="020B0306030504020204" pitchFamily="34" charset="0"/>
              <a:sym typeface="Open Sans Light" panose="020B0306030504020204" pitchFamily="34" charset="0"/>
            </a:endParaRPr>
          </a:p>
        </p:txBody>
      </p:sp>
      <p:sp>
        <p:nvSpPr>
          <p:cNvPr id="2" name="Title 1">
            <a:extLst>
              <a:ext uri="{FF2B5EF4-FFF2-40B4-BE49-F238E27FC236}">
                <a16:creationId xmlns:a16="http://schemas.microsoft.com/office/drawing/2014/main" id="{B2BDFD93-D4FF-4CEB-8AD7-A0B0B4B1970E}"/>
              </a:ext>
            </a:extLst>
          </p:cNvPr>
          <p:cNvSpPr>
            <a:spLocks noGrp="1"/>
          </p:cNvSpPr>
          <p:nvPr>
            <p:ph type="title"/>
          </p:nvPr>
        </p:nvSpPr>
        <p:spPr/>
        <p:txBody>
          <a:bodyPr/>
          <a:lstStyle/>
          <a:p>
            <a:r>
              <a:rPr lang="en-US" dirty="0"/>
              <a:t>Team member profiles | </a:t>
            </a:r>
            <a:r>
              <a:rPr lang="en-US" sz="2800" dirty="0">
                <a:latin typeface="Open Sans Light" panose="020B0306030504020204" pitchFamily="34" charset="0"/>
                <a:ea typeface="Open Sans Light" panose="020B0306030504020204" pitchFamily="34" charset="0"/>
                <a:cs typeface="Open Sans Light" panose="020B0306030504020204" pitchFamily="34" charset="0"/>
              </a:rPr>
              <a:t>1 of 7 </a:t>
            </a:r>
            <a:endParaRPr lang="en-US" dirty="0"/>
          </a:p>
        </p:txBody>
      </p:sp>
      <p:sp>
        <p:nvSpPr>
          <p:cNvPr id="14" name="Text Placeholder 13">
            <a:extLst>
              <a:ext uri="{FF2B5EF4-FFF2-40B4-BE49-F238E27FC236}">
                <a16:creationId xmlns:a16="http://schemas.microsoft.com/office/drawing/2014/main" id="{B527C757-1E65-4483-BAC0-85E34343269D}"/>
              </a:ext>
            </a:extLst>
          </p:cNvPr>
          <p:cNvSpPr>
            <a:spLocks noGrp="1"/>
          </p:cNvSpPr>
          <p:nvPr>
            <p:ph type="body" sz="quarter" idx="14"/>
          </p:nvPr>
        </p:nvSpPr>
        <p:spPr/>
        <p:txBody>
          <a:bodyPr/>
          <a:lstStyle/>
          <a:p>
            <a:r>
              <a:rPr lang="en-US" dirty="0"/>
              <a:t>Subtitle</a:t>
            </a:r>
          </a:p>
        </p:txBody>
      </p:sp>
      <p:sp>
        <p:nvSpPr>
          <p:cNvPr id="12" name="Text Placeholder 11">
            <a:extLst>
              <a:ext uri="{FF2B5EF4-FFF2-40B4-BE49-F238E27FC236}">
                <a16:creationId xmlns:a16="http://schemas.microsoft.com/office/drawing/2014/main" id="{BFD30B98-E12D-44D5-85E2-E26CD7B3784E}"/>
              </a:ext>
            </a:extLst>
          </p:cNvPr>
          <p:cNvSpPr>
            <a:spLocks noGrp="1"/>
          </p:cNvSpPr>
          <p:nvPr>
            <p:ph type="body" sz="quarter" idx="15"/>
          </p:nvPr>
        </p:nvSpPr>
        <p:spPr/>
        <p:txBody>
          <a:bodyPr/>
          <a:lstStyle/>
          <a:p>
            <a:r>
              <a:rPr lang="en-US" dirty="0"/>
              <a:t>ORGANIZATION STRUCTURE &amp; BIOS</a:t>
            </a:r>
          </a:p>
        </p:txBody>
      </p:sp>
      <p:cxnSp>
        <p:nvCxnSpPr>
          <p:cNvPr id="10" name="Straight Connector 9">
            <a:extLst>
              <a:ext uri="{FF2B5EF4-FFF2-40B4-BE49-F238E27FC236}">
                <a16:creationId xmlns:a16="http://schemas.microsoft.com/office/drawing/2014/main" id="{3F413726-8626-4F50-89E8-D56BEACF4E2C}"/>
              </a:ext>
            </a:extLst>
          </p:cNvPr>
          <p:cNvCxnSpPr>
            <a:cxnSpLocks/>
          </p:cNvCxnSpPr>
          <p:nvPr/>
        </p:nvCxnSpPr>
        <p:spPr>
          <a:xfrm>
            <a:off x="914400" y="1656547"/>
            <a:ext cx="5267577"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A359F57-7876-431A-BFFF-ED3B01D36F6E}"/>
              </a:ext>
            </a:extLst>
          </p:cNvPr>
          <p:cNvCxnSpPr>
            <a:cxnSpLocks/>
          </p:cNvCxnSpPr>
          <p:nvPr/>
        </p:nvCxnSpPr>
        <p:spPr>
          <a:xfrm>
            <a:off x="6386312" y="1656548"/>
            <a:ext cx="5213022"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A8C3F934-7358-4703-B159-D93ED0CE93C5}"/>
              </a:ext>
            </a:extLst>
          </p:cNvPr>
          <p:cNvSpPr/>
          <p:nvPr/>
        </p:nvSpPr>
        <p:spPr>
          <a:xfrm>
            <a:off x="2670003" y="2223789"/>
            <a:ext cx="3666913" cy="881267"/>
          </a:xfrm>
          <a:prstGeom prst="rect">
            <a:avLst/>
          </a:prstGeom>
        </p:spPr>
        <p:txBody>
          <a:bodyPr wrap="square">
            <a:spAutoFit/>
          </a:bodyPr>
          <a:lstStyle/>
          <a:p>
            <a:pPr marL="0" marR="0" lvl="1" indent="0" algn="l" defTabSz="914400" rtl="0" eaLnBrk="0" fontAlgn="auto" latinLnBrk="0" hangingPunct="0">
              <a:lnSpc>
                <a:spcPct val="90000"/>
              </a:lnSpc>
              <a:spcBef>
                <a:spcPts val="0"/>
              </a:spcBef>
              <a:spcAft>
                <a:spcPts val="200"/>
              </a:spcAft>
              <a:buClrTx/>
              <a:buSzPct val="100000"/>
              <a:buFontTx/>
              <a:buNone/>
              <a:tabLst>
                <a:tab pos="1544187" algn="l"/>
              </a:tabLst>
              <a:defRPr/>
            </a:pPr>
            <a:r>
              <a:rPr lang="en-US" sz="20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Dave Matthews</a:t>
            </a:r>
            <a:endParaRPr kumimoji="0" lang="en-US" sz="2000" b="0" i="0" u="none" strike="noStrike" kern="120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kumimoji="0" lang="en-US" sz="1200" b="0" i="0" u="none" strike="noStrike" kern="1200" cap="none" spc="0" normalizeH="0" baseline="0" noProof="0" dirty="0">
                <a:ln>
                  <a:noFill/>
                </a:ln>
                <a:solidFill>
                  <a:srgbClr val="FFFFFF">
                    <a:lumMod val="65000"/>
                  </a:srgbClr>
                </a:solidFill>
                <a:effectLst/>
                <a:uLnTx/>
                <a:uFillTx/>
                <a:latin typeface="Open Sans"/>
                <a:ea typeface="+mn-ea"/>
                <a:cs typeface="Arial" charset="0"/>
              </a:rPr>
              <a:t>Principal</a:t>
            </a:r>
            <a:endParaRPr kumimoji="0" lang="en-US" sz="1200" b="0" i="0" u="none" strike="noStrike" kern="1200" cap="none" spc="0" normalizeH="0" baseline="0" noProof="0" dirty="0">
              <a:ln>
                <a:noFill/>
              </a:ln>
              <a:solidFill>
                <a:srgbClr val="FF0000"/>
              </a:solidFill>
              <a:effectLst/>
              <a:uLnTx/>
              <a:uFillTx/>
              <a:latin typeface="Open Sans"/>
              <a:ea typeface="+mn-ea"/>
              <a:cs typeface="Arial" charset="0"/>
            </a:endParaRP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kumimoji="0" lang="en-US" sz="1200" b="1" i="0" u="none" strike="noStrike" kern="1200" cap="none" spc="0" normalizeH="0" baseline="0" noProof="0" dirty="0">
                <a:ln>
                  <a:noFill/>
                </a:ln>
                <a:solidFill>
                  <a:srgbClr val="FFFFFF">
                    <a:lumMod val="65000"/>
                  </a:srgbClr>
                </a:solidFill>
                <a:effectLst/>
                <a:uLnTx/>
                <a:uFillTx/>
                <a:latin typeface="Open Sans"/>
                <a:ea typeface="+mn-ea"/>
                <a:cs typeface="Arial" charset="0"/>
              </a:rPr>
              <a:t>Role: </a:t>
            </a:r>
            <a:r>
              <a:rPr kumimoji="0" lang="en-US" sz="1200" b="0" i="0" u="none" strike="noStrike" kern="1200" cap="none" spc="0" normalizeH="0" baseline="0" noProof="0" dirty="0">
                <a:ln>
                  <a:noFill/>
                </a:ln>
                <a:solidFill>
                  <a:srgbClr val="FFFFFF">
                    <a:lumMod val="65000"/>
                  </a:srgbClr>
                </a:solidFill>
                <a:effectLst/>
                <a:uLnTx/>
                <a:uFillTx/>
                <a:latin typeface="Open Sans"/>
                <a:ea typeface="+mn-ea"/>
                <a:cs typeface="Arial" charset="0"/>
              </a:rPr>
              <a:t>Executive</a:t>
            </a:r>
            <a:r>
              <a:rPr kumimoji="0" lang="en-US" sz="1200" b="1" i="0" u="none" strike="noStrike" kern="1200" cap="none" spc="0" normalizeH="0" baseline="0" noProof="0" dirty="0">
                <a:ln>
                  <a:noFill/>
                </a:ln>
                <a:solidFill>
                  <a:srgbClr val="FFFFFF">
                    <a:lumMod val="65000"/>
                  </a:srgbClr>
                </a:solidFill>
                <a:effectLst/>
                <a:uLnTx/>
                <a:uFillTx/>
                <a:latin typeface="Open Sans"/>
                <a:ea typeface="+mn-ea"/>
                <a:cs typeface="Arial" charset="0"/>
              </a:rPr>
              <a:t> </a:t>
            </a:r>
            <a:r>
              <a:rPr kumimoji="0" lang="en-US" sz="1200" b="0" i="0" u="none" strike="noStrike" kern="1200" cap="none" spc="0" normalizeH="0" baseline="0" noProof="0" dirty="0">
                <a:ln>
                  <a:noFill/>
                </a:ln>
                <a:solidFill>
                  <a:srgbClr val="FFFFFF">
                    <a:lumMod val="65000"/>
                  </a:srgbClr>
                </a:solidFill>
                <a:effectLst/>
                <a:uLnTx/>
                <a:uFillTx/>
                <a:latin typeface="Open Sans"/>
                <a:ea typeface="+mn-ea"/>
                <a:cs typeface="Arial" charset="0"/>
              </a:rPr>
              <a:t>Steering Committee</a:t>
            </a:r>
          </a:p>
        </p:txBody>
      </p:sp>
      <p:sp>
        <p:nvSpPr>
          <p:cNvPr id="15" name="Rectangle 14">
            <a:extLst>
              <a:ext uri="{FF2B5EF4-FFF2-40B4-BE49-F238E27FC236}">
                <a16:creationId xmlns:a16="http://schemas.microsoft.com/office/drawing/2014/main" id="{F80DC35A-C523-49FE-B8B4-A901C5E14B82}"/>
              </a:ext>
            </a:extLst>
          </p:cNvPr>
          <p:cNvSpPr/>
          <p:nvPr/>
        </p:nvSpPr>
        <p:spPr>
          <a:xfrm>
            <a:off x="8148789" y="2223790"/>
            <a:ext cx="3666913" cy="881267"/>
          </a:xfrm>
          <a:prstGeom prst="rect">
            <a:avLst/>
          </a:prstGeom>
        </p:spPr>
        <p:txBody>
          <a:bodyPr wrap="square">
            <a:spAutoFit/>
          </a:bodyPr>
          <a:lstStyle/>
          <a:p>
            <a:pPr marL="0" marR="0" lvl="1" indent="0" algn="l" defTabSz="914400" rtl="0" eaLnBrk="0" fontAlgn="auto" latinLnBrk="0" hangingPunct="0">
              <a:lnSpc>
                <a:spcPct val="90000"/>
              </a:lnSpc>
              <a:spcBef>
                <a:spcPts val="0"/>
              </a:spcBef>
              <a:spcAft>
                <a:spcPts val="200"/>
              </a:spcAft>
              <a:buClrTx/>
              <a:buSzPct val="100000"/>
              <a:buFontTx/>
              <a:buNone/>
              <a:tabLst>
                <a:tab pos="1544187" algn="l"/>
              </a:tabLst>
              <a:defRPr/>
            </a:pPr>
            <a:r>
              <a:rPr kumimoji="0" lang="en-US" sz="2000" b="0" i="0" u="none" strike="noStrike" kern="120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ara James</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kumimoji="0" lang="en-US" sz="1200" b="0" i="0" u="none" strike="noStrike" kern="1200" cap="none" spc="0" normalizeH="0" baseline="0" noProof="0" dirty="0">
                <a:ln>
                  <a:noFill/>
                </a:ln>
                <a:solidFill>
                  <a:srgbClr val="FFFFFF">
                    <a:lumMod val="65000"/>
                  </a:srgbClr>
                </a:solidFill>
                <a:effectLst/>
                <a:uLnTx/>
                <a:uFillTx/>
                <a:latin typeface="Open Sans"/>
                <a:ea typeface="+mn-ea"/>
                <a:cs typeface="Arial" charset="0"/>
              </a:rPr>
              <a:t>Principal</a:t>
            </a:r>
            <a:endParaRPr kumimoji="0" lang="en-US" sz="1200" b="0" i="0" u="none" strike="noStrike" kern="1200" cap="none" spc="0" normalizeH="0" baseline="0" noProof="0" dirty="0">
              <a:ln>
                <a:noFill/>
              </a:ln>
              <a:solidFill>
                <a:srgbClr val="FF0000"/>
              </a:solidFill>
              <a:effectLst/>
              <a:uLnTx/>
              <a:uFillTx/>
              <a:latin typeface="Open Sans"/>
              <a:ea typeface="+mn-ea"/>
              <a:cs typeface="Arial" charset="0"/>
            </a:endParaRP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kumimoji="0" lang="en-US" sz="1200" b="1" i="0" u="none" strike="noStrike" kern="1200" cap="none" spc="0" normalizeH="0" baseline="0" noProof="0" dirty="0">
                <a:ln>
                  <a:noFill/>
                </a:ln>
                <a:solidFill>
                  <a:srgbClr val="FFFFFF">
                    <a:lumMod val="65000"/>
                  </a:srgbClr>
                </a:solidFill>
                <a:effectLst/>
                <a:uLnTx/>
                <a:uFillTx/>
                <a:latin typeface="Open Sans"/>
                <a:ea typeface="+mn-ea"/>
                <a:cs typeface="Arial" charset="0"/>
              </a:rPr>
              <a:t>Role: </a:t>
            </a:r>
            <a:r>
              <a:rPr kumimoji="0" lang="en-US" sz="1200" b="0" i="0" u="none" strike="noStrike" kern="1200" cap="none" spc="0" normalizeH="0" baseline="0" noProof="0" dirty="0">
                <a:ln>
                  <a:noFill/>
                </a:ln>
                <a:solidFill>
                  <a:srgbClr val="FFFFFF">
                    <a:lumMod val="65000"/>
                  </a:srgbClr>
                </a:solidFill>
                <a:effectLst/>
                <a:uLnTx/>
                <a:uFillTx/>
                <a:latin typeface="Open Sans"/>
                <a:ea typeface="+mn-ea"/>
                <a:cs typeface="Arial" charset="0"/>
              </a:rPr>
              <a:t>Executive</a:t>
            </a:r>
            <a:r>
              <a:rPr kumimoji="0" lang="en-US" sz="1200" b="1" i="0" u="none" strike="noStrike" kern="1200" cap="none" spc="0" normalizeH="0" baseline="0" noProof="0" dirty="0">
                <a:ln>
                  <a:noFill/>
                </a:ln>
                <a:solidFill>
                  <a:srgbClr val="FFFFFF">
                    <a:lumMod val="65000"/>
                  </a:srgbClr>
                </a:solidFill>
                <a:effectLst/>
                <a:uLnTx/>
                <a:uFillTx/>
                <a:latin typeface="Open Sans"/>
                <a:ea typeface="+mn-ea"/>
                <a:cs typeface="Arial" charset="0"/>
              </a:rPr>
              <a:t> </a:t>
            </a:r>
            <a:r>
              <a:rPr kumimoji="0" lang="en-US" sz="1200" b="0" i="0" u="none" strike="noStrike" kern="1200" cap="none" spc="0" normalizeH="0" baseline="0" noProof="0" dirty="0">
                <a:ln>
                  <a:noFill/>
                </a:ln>
                <a:solidFill>
                  <a:srgbClr val="FFFFFF">
                    <a:lumMod val="65000"/>
                  </a:srgbClr>
                </a:solidFill>
                <a:effectLst/>
                <a:uLnTx/>
                <a:uFillTx/>
                <a:latin typeface="Open Sans"/>
                <a:ea typeface="+mn-ea"/>
                <a:cs typeface="Arial" charset="0"/>
              </a:rPr>
              <a:t>Steering Committee</a:t>
            </a:r>
          </a:p>
        </p:txBody>
      </p:sp>
      <p:grpSp>
        <p:nvGrpSpPr>
          <p:cNvPr id="26" name="Group 25">
            <a:extLst>
              <a:ext uri="{FF2B5EF4-FFF2-40B4-BE49-F238E27FC236}">
                <a16:creationId xmlns:a16="http://schemas.microsoft.com/office/drawing/2014/main" id="{79FEABD6-0302-4C20-8387-3541AF68A679}"/>
              </a:ext>
            </a:extLst>
          </p:cNvPr>
          <p:cNvGrpSpPr/>
          <p:nvPr/>
        </p:nvGrpSpPr>
        <p:grpSpPr>
          <a:xfrm>
            <a:off x="914400" y="3381133"/>
            <a:ext cx="5213022" cy="3010487"/>
            <a:chOff x="685800" y="3178398"/>
            <a:chExt cx="5213022" cy="3010487"/>
          </a:xfrm>
        </p:grpSpPr>
        <p:sp>
          <p:nvSpPr>
            <p:cNvPr id="5" name="Rectangle 4">
              <a:extLst>
                <a:ext uri="{FF2B5EF4-FFF2-40B4-BE49-F238E27FC236}">
                  <a16:creationId xmlns:a16="http://schemas.microsoft.com/office/drawing/2014/main" id="{D02478FF-FEA6-47D2-A1F2-46B1A0BE0E68}"/>
                </a:ext>
              </a:extLst>
            </p:cNvPr>
            <p:cNvSpPr/>
            <p:nvPr/>
          </p:nvSpPr>
          <p:spPr>
            <a:xfrm>
              <a:off x="685800" y="3178398"/>
              <a:ext cx="5213022" cy="3010487"/>
            </a:xfrm>
            <a:prstGeom prst="rect">
              <a:avLst/>
            </a:prstGeom>
            <a:gradFill flip="none" rotWithShape="1">
              <a:gsLst>
                <a:gs pos="0">
                  <a:srgbClr val="FAFAFA"/>
                </a:gs>
                <a:gs pos="100000">
                  <a:schemeClr val="bg1">
                    <a:lumMod val="95000"/>
                  </a:schemeClr>
                </a:gs>
              </a:gsLst>
              <a:lin ang="5400000" scaled="1"/>
              <a:tileRect/>
            </a:gra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19" name="Group 18">
              <a:extLst>
                <a:ext uri="{FF2B5EF4-FFF2-40B4-BE49-F238E27FC236}">
                  <a16:creationId xmlns:a16="http://schemas.microsoft.com/office/drawing/2014/main" id="{CFE291F6-6C40-480F-A37A-6AAFE3465DF1}"/>
                </a:ext>
              </a:extLst>
            </p:cNvPr>
            <p:cNvGrpSpPr/>
            <p:nvPr/>
          </p:nvGrpSpPr>
          <p:grpSpPr>
            <a:xfrm>
              <a:off x="1074617" y="3460626"/>
              <a:ext cx="4640383" cy="2363496"/>
              <a:chOff x="777632" y="3460626"/>
              <a:chExt cx="4640383" cy="2363496"/>
            </a:xfrm>
          </p:grpSpPr>
          <p:sp>
            <p:nvSpPr>
              <p:cNvPr id="8" name="Rectangle 7">
                <a:extLst>
                  <a:ext uri="{FF2B5EF4-FFF2-40B4-BE49-F238E27FC236}">
                    <a16:creationId xmlns:a16="http://schemas.microsoft.com/office/drawing/2014/main" id="{715DEBC8-EBD9-4A6C-987A-A7A84AE49A9D}"/>
                  </a:ext>
                </a:extLst>
              </p:cNvPr>
              <p:cNvSpPr/>
              <p:nvPr/>
            </p:nvSpPr>
            <p:spPr>
              <a:xfrm>
                <a:off x="777632" y="3460626"/>
                <a:ext cx="3049922" cy="216982"/>
              </a:xfrm>
              <a:prstGeom prst="rect">
                <a:avLst/>
              </a:prstGeom>
            </p:spPr>
            <p:txBody>
              <a:bodyPr wrap="square">
                <a:spAutoFit/>
              </a:bodyPr>
              <a:lstStyle/>
              <a:p>
                <a:pPr marL="0" marR="0" lvl="1" indent="0" algn="l" defTabSz="914400" rtl="0" eaLnBrk="0" fontAlgn="auto" latinLnBrk="0" hangingPunct="0">
                  <a:lnSpc>
                    <a:spcPct val="90000"/>
                  </a:lnSpc>
                  <a:spcBef>
                    <a:spcPts val="300"/>
                  </a:spcBef>
                  <a:spcAft>
                    <a:spcPts val="0"/>
                  </a:spcAft>
                  <a:buClrTx/>
                  <a:buSzPct val="100000"/>
                  <a:buFontTx/>
                  <a:buNone/>
                  <a:tabLst>
                    <a:tab pos="1544187" algn="l"/>
                  </a:tabLst>
                  <a:defRPr/>
                </a:pPr>
                <a:r>
                  <a:rPr kumimoji="0" lang="en-US" sz="900" b="1" i="0" u="none" strike="noStrike" kern="1200" cap="none" spc="100" normalizeH="0" baseline="0" noProof="0" dirty="0">
                    <a:ln>
                      <a:noFill/>
                    </a:ln>
                    <a:solidFill>
                      <a:srgbClr val="FFFFFF">
                        <a:lumMod val="65000"/>
                      </a:srgbClr>
                    </a:solidFill>
                    <a:effectLst/>
                    <a:uLnTx/>
                    <a:uFillTx/>
                    <a:latin typeface="Open Sans"/>
                    <a:ea typeface="Open Sans Light" panose="020B0306030504020204" pitchFamily="34" charset="0"/>
                    <a:cs typeface="Open Sans Light" panose="020B0306030504020204" pitchFamily="34" charset="0"/>
                  </a:rPr>
                  <a:t>RELEVANT EXPERIENCE</a:t>
                </a:r>
              </a:p>
            </p:txBody>
          </p:sp>
          <p:sp>
            <p:nvSpPr>
              <p:cNvPr id="9" name="Rectangle 8">
                <a:extLst>
                  <a:ext uri="{FF2B5EF4-FFF2-40B4-BE49-F238E27FC236}">
                    <a16:creationId xmlns:a16="http://schemas.microsoft.com/office/drawing/2014/main" id="{021C5A70-2E6E-41B7-B751-7C6CEC02B3C0}"/>
                  </a:ext>
                </a:extLst>
              </p:cNvPr>
              <p:cNvSpPr/>
              <p:nvPr/>
            </p:nvSpPr>
            <p:spPr>
              <a:xfrm>
                <a:off x="777632" y="3711492"/>
                <a:ext cx="4640383" cy="2112630"/>
              </a:xfrm>
              <a:prstGeom prst="rect">
                <a:avLst/>
              </a:prstGeom>
            </p:spPr>
            <p:txBody>
              <a:bodyPr wrap="square">
                <a:spAutoFit/>
              </a:bodyPr>
              <a:lstStyle/>
              <a:p>
                <a:pPr marL="0" marR="0" lvl="1" indent="0" algn="l" defTabSz="914400" rtl="0" eaLnBrk="0" fontAlgn="auto" latinLnBrk="0" hangingPunct="0">
                  <a:lnSpc>
                    <a:spcPct val="110000"/>
                  </a:lnSpc>
                  <a:spcBef>
                    <a:spcPts val="300"/>
                  </a:spcBef>
                  <a:spcAft>
                    <a:spcPts val="600"/>
                  </a:spcAft>
                  <a:buClrTx/>
                  <a:buSzPct val="100000"/>
                  <a:buFontTx/>
                  <a:buNone/>
                  <a:tabLst>
                    <a:tab pos="1544187" algn="l"/>
                  </a:tabLst>
                  <a:defRPr/>
                </a:pPr>
                <a:r>
                  <a:rPr kumimoji="0" lang="en-US" sz="1200" b="0" i="0" u="none" strike="noStrike" kern="120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ave is a technology strategist in the Media &amp; Entertainment and Telecommunications sectors with 15 years of global technology strategy and implementation experience. Dave has led large scale, global technology architecture, operating model and process development, tooling and technology sourcing and delivery programs. Dave has been serving Client A </a:t>
                </a:r>
                <a:r>
                  <a:rPr kumimoji="0" lang="en-US" sz="1200" b="0" i="0" u="none" strike="noStrike" kern="1200" cap="none" spc="0" normalizeH="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nd </a:t>
                </a:r>
                <a:r>
                  <a:rPr kumimoji="0" lang="en-US" sz="1200" b="0" i="0" u="none" strike="noStrike" kern="120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lient B for 10+ years in support of various strategic business and technology initiatives including data warehouse transformation, revenue recognition, agile transformation and value-based cost reduction. </a:t>
                </a:r>
              </a:p>
            </p:txBody>
          </p:sp>
        </p:grpSp>
      </p:grpSp>
      <p:cxnSp>
        <p:nvCxnSpPr>
          <p:cNvPr id="7" name="Straight Connector 6">
            <a:extLst>
              <a:ext uri="{FF2B5EF4-FFF2-40B4-BE49-F238E27FC236}">
                <a16:creationId xmlns:a16="http://schemas.microsoft.com/office/drawing/2014/main" id="{4E68A07D-A421-4249-90C1-F619AE825DD8}"/>
              </a:ext>
            </a:extLst>
          </p:cNvPr>
          <p:cNvCxnSpPr>
            <a:cxnSpLocks/>
          </p:cNvCxnSpPr>
          <p:nvPr/>
        </p:nvCxnSpPr>
        <p:spPr>
          <a:xfrm>
            <a:off x="914400" y="3381134"/>
            <a:ext cx="521302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AE6B6A34-5335-4FF8-A070-FFBAA9AC6617}"/>
              </a:ext>
            </a:extLst>
          </p:cNvPr>
          <p:cNvSpPr/>
          <p:nvPr/>
        </p:nvSpPr>
        <p:spPr>
          <a:xfrm>
            <a:off x="6386312" y="3381133"/>
            <a:ext cx="5213022" cy="3010523"/>
          </a:xfrm>
          <a:prstGeom prst="rect">
            <a:avLst/>
          </a:prstGeom>
          <a:gradFill flip="none" rotWithShape="1">
            <a:gsLst>
              <a:gs pos="0">
                <a:srgbClr val="FAFAFA"/>
              </a:gs>
              <a:gs pos="100000">
                <a:schemeClr val="bg1">
                  <a:lumMod val="95000"/>
                </a:schemeClr>
              </a:gs>
            </a:gsLst>
            <a:lin ang="5400000" scaled="1"/>
            <a:tileRect/>
          </a:gra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22" name="Group 21">
            <a:extLst>
              <a:ext uri="{FF2B5EF4-FFF2-40B4-BE49-F238E27FC236}">
                <a16:creationId xmlns:a16="http://schemas.microsoft.com/office/drawing/2014/main" id="{BD218FFD-8F6F-4647-B8EA-2F292AA5926F}"/>
              </a:ext>
            </a:extLst>
          </p:cNvPr>
          <p:cNvGrpSpPr/>
          <p:nvPr/>
        </p:nvGrpSpPr>
        <p:grpSpPr>
          <a:xfrm>
            <a:off x="6548125" y="3663361"/>
            <a:ext cx="4889397" cy="2577657"/>
            <a:chOff x="6433359" y="3460626"/>
            <a:chExt cx="4889397" cy="2577657"/>
          </a:xfrm>
        </p:grpSpPr>
        <p:sp>
          <p:nvSpPr>
            <p:cNvPr id="17" name="Rectangle 16">
              <a:extLst>
                <a:ext uri="{FF2B5EF4-FFF2-40B4-BE49-F238E27FC236}">
                  <a16:creationId xmlns:a16="http://schemas.microsoft.com/office/drawing/2014/main" id="{1AEF8D60-317D-4B7C-91C4-546635EEAA5F}"/>
                </a:ext>
              </a:extLst>
            </p:cNvPr>
            <p:cNvSpPr/>
            <p:nvPr/>
          </p:nvSpPr>
          <p:spPr>
            <a:xfrm>
              <a:off x="6433359" y="3460626"/>
              <a:ext cx="3049922" cy="216982"/>
            </a:xfrm>
            <a:prstGeom prst="rect">
              <a:avLst/>
            </a:prstGeom>
          </p:spPr>
          <p:txBody>
            <a:bodyPr wrap="square">
              <a:spAutoFit/>
            </a:bodyPr>
            <a:lstStyle/>
            <a:p>
              <a:pPr marL="0" marR="0" lvl="1" indent="0" algn="l" defTabSz="914400" rtl="0" eaLnBrk="0" fontAlgn="auto" latinLnBrk="0" hangingPunct="0">
                <a:lnSpc>
                  <a:spcPct val="90000"/>
                </a:lnSpc>
                <a:spcBef>
                  <a:spcPts val="300"/>
                </a:spcBef>
                <a:spcAft>
                  <a:spcPts val="0"/>
                </a:spcAft>
                <a:buClrTx/>
                <a:buSzPct val="100000"/>
                <a:buFontTx/>
                <a:buNone/>
                <a:tabLst>
                  <a:tab pos="1544187" algn="l"/>
                </a:tabLst>
                <a:defRPr/>
              </a:pPr>
              <a:r>
                <a:rPr kumimoji="0" lang="en-US" sz="900" b="1" i="0" u="none" strike="noStrike" kern="1200" cap="none" spc="100" normalizeH="0" baseline="0" noProof="0" dirty="0">
                  <a:ln>
                    <a:noFill/>
                  </a:ln>
                  <a:solidFill>
                    <a:srgbClr val="FFFFFF">
                      <a:lumMod val="65000"/>
                    </a:srgbClr>
                  </a:solidFill>
                  <a:effectLst/>
                  <a:uLnTx/>
                  <a:uFillTx/>
                  <a:latin typeface="Open Sans"/>
                  <a:ea typeface="Open Sans Light" panose="020B0306030504020204" pitchFamily="34" charset="0"/>
                  <a:cs typeface="Open Sans Light" panose="020B0306030504020204" pitchFamily="34" charset="0"/>
                </a:rPr>
                <a:t>RELEVANT EXPERIENCE</a:t>
              </a:r>
            </a:p>
          </p:txBody>
        </p:sp>
        <p:sp>
          <p:nvSpPr>
            <p:cNvPr id="18" name="Rectangle 17">
              <a:extLst>
                <a:ext uri="{FF2B5EF4-FFF2-40B4-BE49-F238E27FC236}">
                  <a16:creationId xmlns:a16="http://schemas.microsoft.com/office/drawing/2014/main" id="{6F7045A4-58C1-41F7-A6D8-68C8080A7053}"/>
                </a:ext>
              </a:extLst>
            </p:cNvPr>
            <p:cNvSpPr/>
            <p:nvPr/>
          </p:nvSpPr>
          <p:spPr>
            <a:xfrm>
              <a:off x="6433359" y="3711492"/>
              <a:ext cx="4889397" cy="2326791"/>
            </a:xfrm>
            <a:prstGeom prst="rect">
              <a:avLst/>
            </a:prstGeom>
          </p:spPr>
          <p:txBody>
            <a:bodyPr wrap="square">
              <a:spAutoFit/>
            </a:bodyPr>
            <a:lstStyle/>
            <a:p>
              <a:pPr marL="0" marR="0" lvl="1" indent="0" algn="l" defTabSz="914400" rtl="0" eaLnBrk="0" fontAlgn="auto" latinLnBrk="0" hangingPunct="0">
                <a:lnSpc>
                  <a:spcPct val="110000"/>
                </a:lnSpc>
                <a:spcBef>
                  <a:spcPts val="300"/>
                </a:spcBef>
                <a:spcAft>
                  <a:spcPts val="600"/>
                </a:spcAft>
                <a:buClrTx/>
                <a:buSzPct val="100000"/>
                <a:buFontTx/>
                <a:buNone/>
                <a:tabLst>
                  <a:tab pos="1544187" algn="l"/>
                </a:tabLst>
                <a:defRPr/>
              </a:pPr>
              <a:r>
                <a:rPr kumimoji="0" lang="en-US" sz="1200" b="0" i="0" u="none" strike="noStrike" kern="120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ara is a Principal in Deloitte’s Technology, Media and Telecommunications group.  In addition to his role as Lead Consulting Partner for Client A, Sara serves as the leader of the Hybrid Solutions &amp; Assets team in our Customer &amp; Marketing practice.  In this role, </a:t>
              </a:r>
              <a:r>
                <a:rPr lang="en-US" sz="12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Sara</a:t>
              </a:r>
              <a:r>
                <a:rPr kumimoji="0" lang="en-US" sz="1200" b="0" i="0" u="none" strike="noStrike" kern="120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leads our efforts to bring high value solutions to our clients that utilize market leading technology and highly capable ecosystem partners together to drive value faster for our clients.  Sara is on the Executive Steering Committee for Deloitte’s XSP offering, which is a collection of assets focused on delivering personalization-focused solutions for clients across industries. </a:t>
              </a:r>
            </a:p>
          </p:txBody>
        </p:sp>
      </p:grpSp>
      <p:cxnSp>
        <p:nvCxnSpPr>
          <p:cNvPr id="16" name="Straight Connector 15">
            <a:extLst>
              <a:ext uri="{FF2B5EF4-FFF2-40B4-BE49-F238E27FC236}">
                <a16:creationId xmlns:a16="http://schemas.microsoft.com/office/drawing/2014/main" id="{47F09061-9192-443F-9BA6-35440B035804}"/>
              </a:ext>
            </a:extLst>
          </p:cNvPr>
          <p:cNvCxnSpPr>
            <a:cxnSpLocks/>
          </p:cNvCxnSpPr>
          <p:nvPr/>
        </p:nvCxnSpPr>
        <p:spPr>
          <a:xfrm>
            <a:off x="6386312" y="3381134"/>
            <a:ext cx="521302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24" name="Picture Placeholder 38">
            <a:extLst>
              <a:ext uri="{FF2B5EF4-FFF2-40B4-BE49-F238E27FC236}">
                <a16:creationId xmlns:a16="http://schemas.microsoft.com/office/drawing/2014/main" id="{71E4CDEE-B1B9-40ED-9126-2D292FE9DF1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66800" y="1879600"/>
            <a:ext cx="1280160" cy="1280160"/>
          </a:xfrm>
          <a:prstGeom prst="ellipse">
            <a:avLst/>
          </a:prstGeom>
          <a:noFill/>
          <a:ln w="38100">
            <a:solidFill>
              <a:schemeClr val="accent1"/>
            </a:solidFill>
          </a:ln>
        </p:spPr>
      </p:pic>
      <p:pic>
        <p:nvPicPr>
          <p:cNvPr id="27" name="Picture Placeholder 38">
            <a:extLst>
              <a:ext uri="{FF2B5EF4-FFF2-40B4-BE49-F238E27FC236}">
                <a16:creationId xmlns:a16="http://schemas.microsoft.com/office/drawing/2014/main" id="{05CBF91D-FBA6-4517-A599-81CB4130EE3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654800" y="1879600"/>
            <a:ext cx="1280160" cy="1280160"/>
          </a:xfrm>
          <a:prstGeom prst="ellipse">
            <a:avLst/>
          </a:prstGeom>
          <a:noFill/>
          <a:ln w="38100">
            <a:solidFill>
              <a:schemeClr val="accent2"/>
            </a:solidFill>
          </a:ln>
        </p:spPr>
      </p:pic>
    </p:spTree>
    <p:extLst>
      <p:ext uri="{BB962C8B-B14F-4D97-AF65-F5344CB8AC3E}">
        <p14:creationId xmlns:p14="http://schemas.microsoft.com/office/powerpoint/2010/main" val="19558193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C25B64-6839-4867-90CE-104A31C1B933}"/>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3" name="Rectangle 2">
            <a:extLst>
              <a:ext uri="{FF2B5EF4-FFF2-40B4-BE49-F238E27FC236}">
                <a16:creationId xmlns:a16="http://schemas.microsoft.com/office/drawing/2014/main" id="{D71E3414-7A21-409A-B505-79EC3C84E48E}"/>
              </a:ext>
            </a:extLst>
          </p:cNvPr>
          <p:cNvSpPr/>
          <p:nvPr/>
        </p:nvSpPr>
        <p:spPr>
          <a:xfrm>
            <a:off x="0" y="0"/>
            <a:ext cx="12192001" cy="6858000"/>
          </a:xfrm>
          <a:prstGeom prst="rect">
            <a:avLst/>
          </a:pr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 name="Title 1">
            <a:extLst>
              <a:ext uri="{FF2B5EF4-FFF2-40B4-BE49-F238E27FC236}">
                <a16:creationId xmlns:a16="http://schemas.microsoft.com/office/drawing/2014/main" id="{84290455-7368-406E-B748-665A8BB404A3}"/>
              </a:ext>
            </a:extLst>
          </p:cNvPr>
          <p:cNvSpPr txBox="1">
            <a:spLocks/>
          </p:cNvSpPr>
          <p:nvPr/>
        </p:nvSpPr>
        <p:spPr>
          <a:xfrm>
            <a:off x="2666489" y="2023860"/>
            <a:ext cx="7132698" cy="2130269"/>
          </a:xfrm>
          <a:prstGeom prst="rect">
            <a:avLst/>
          </a:prstGeom>
          <a:ln>
            <a:noFill/>
          </a:ln>
        </p:spPr>
        <p:txBody>
          <a:bodyPr vert="horz" lIns="0" tIns="45720" rIns="91440" bIns="0" rtlCol="0" anchor="t" anchorCtr="0">
            <a:noAutofit/>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marL="284163" indent="-284163"/>
            <a:r>
              <a:rPr lang="en-US" sz="5400" spc="0">
                <a:solidFill>
                  <a:srgbClr val="FFFFFD"/>
                </a:solidFill>
                <a:latin typeface="Chronicle Display Light" pitchFamily="50" charset="0"/>
                <a:ea typeface="Open Sans" panose="020B0606030504020204" pitchFamily="34" charset="0"/>
                <a:cs typeface="Open Sans" panose="020B0606030504020204" pitchFamily="34" charset="0"/>
              </a:rPr>
              <a:t>“We are like butterflies who </a:t>
            </a:r>
            <a:r>
              <a:rPr lang="en-US" sz="5400" spc="0">
                <a:solidFill>
                  <a:srgbClr val="FFFFFD"/>
                </a:solidFill>
                <a:ea typeface="Open Sans" panose="020B0606030504020204" pitchFamily="34" charset="0"/>
                <a:cs typeface="Open Sans" panose="020B0606030504020204" pitchFamily="34" charset="0"/>
              </a:rPr>
              <a:t>flutter for a day </a:t>
            </a:r>
            <a:r>
              <a:rPr lang="en-US" sz="5400" spc="0">
                <a:solidFill>
                  <a:srgbClr val="FFFFFD"/>
                </a:solidFill>
                <a:latin typeface="Chronicle Display Light" pitchFamily="50" charset="0"/>
                <a:ea typeface="Open Sans" panose="020B0606030504020204" pitchFamily="34" charset="0"/>
                <a:cs typeface="Open Sans" panose="020B0606030504020204" pitchFamily="34" charset="0"/>
              </a:rPr>
              <a:t>and think it is forever.”</a:t>
            </a:r>
            <a:br>
              <a:rPr lang="en-US" sz="5400" spc="0">
                <a:solidFill>
                  <a:srgbClr val="FFFFFD"/>
                </a:solidFill>
                <a:latin typeface="Chronicle Display Light" pitchFamily="50" charset="0"/>
                <a:ea typeface="Open Sans" panose="020B0606030504020204" pitchFamily="34" charset="0"/>
                <a:cs typeface="Open Sans" panose="020B0606030504020204" pitchFamily="34" charset="0"/>
              </a:rPr>
            </a:br>
            <a:endParaRPr lang="en-US" sz="5400" spc="0" dirty="0">
              <a:solidFill>
                <a:srgbClr val="FFFFFD"/>
              </a:solidFill>
              <a:latin typeface="Chronicle Display Light" pitchFamily="50" charset="0"/>
              <a:ea typeface="Open Sans" panose="020B0606030504020204" pitchFamily="34" charset="0"/>
              <a:cs typeface="Open Sans" panose="020B0606030504020204" pitchFamily="34" charset="0"/>
            </a:endParaRPr>
          </a:p>
        </p:txBody>
      </p:sp>
      <p:cxnSp>
        <p:nvCxnSpPr>
          <p:cNvPr id="5" name="Straight Connector 4">
            <a:extLst>
              <a:ext uri="{FF2B5EF4-FFF2-40B4-BE49-F238E27FC236}">
                <a16:creationId xmlns:a16="http://schemas.microsoft.com/office/drawing/2014/main" id="{B4738B16-15B8-469C-BE56-C5946B1D0C6D}"/>
              </a:ext>
            </a:extLst>
          </p:cNvPr>
          <p:cNvCxnSpPr/>
          <p:nvPr/>
        </p:nvCxnSpPr>
        <p:spPr>
          <a:xfrm flipH="1">
            <a:off x="2945311" y="1414504"/>
            <a:ext cx="1631549" cy="0"/>
          </a:xfrm>
          <a:prstGeom prst="line">
            <a:avLst/>
          </a:prstGeom>
          <a:ln w="76200">
            <a:solidFill>
              <a:schemeClr val="accent4"/>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30B66A5-011A-4287-906C-EB9A339441AF}"/>
              </a:ext>
            </a:extLst>
          </p:cNvPr>
          <p:cNvSpPr txBox="1"/>
          <p:nvPr/>
        </p:nvSpPr>
        <p:spPr>
          <a:xfrm>
            <a:off x="2933881" y="4552879"/>
            <a:ext cx="3934539" cy="338554"/>
          </a:xfrm>
          <a:prstGeom prst="rect">
            <a:avLst/>
          </a:prstGeom>
          <a:noFill/>
        </p:spPr>
        <p:txBody>
          <a:bodyPr wrap="non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600" normalizeH="0" baseline="0" noProof="0" dirty="0">
                <a:ln>
                  <a:noFill/>
                </a:ln>
                <a:solidFill>
                  <a:srgbClr val="FFFFFD"/>
                </a:solidFill>
                <a:effectLst/>
                <a:uLnTx/>
                <a:uFillTx/>
                <a:latin typeface="Open Sans"/>
                <a:ea typeface="+mn-ea"/>
                <a:cs typeface="+mn-cs"/>
              </a:rPr>
              <a:t>CARL SAGAN | COSMOS</a:t>
            </a:r>
          </a:p>
        </p:txBody>
      </p:sp>
    </p:spTree>
    <p:extLst>
      <p:ext uri="{BB962C8B-B14F-4D97-AF65-F5344CB8AC3E}">
        <p14:creationId xmlns:p14="http://schemas.microsoft.com/office/powerpoint/2010/main" val="2139639228"/>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422FBE4-7820-4385-8875-CB2C45BEC43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3172" name="think-cell Slide" r:id="rId6" imgW="415" imgH="416" progId="TCLayout.ActiveDocument.1">
                  <p:embed/>
                </p:oleObj>
              </mc:Choice>
              <mc:Fallback>
                <p:oleObj name="think-cell Slide" r:id="rId6" imgW="415" imgH="416" progId="TCLayout.ActiveDocument.1">
                  <p:embed/>
                  <p:pic>
                    <p:nvPicPr>
                      <p:cNvPr id="5" name="Object 4" hidden="1">
                        <a:extLst>
                          <a:ext uri="{FF2B5EF4-FFF2-40B4-BE49-F238E27FC236}">
                            <a16:creationId xmlns:a16="http://schemas.microsoft.com/office/drawing/2014/main" id="{0422FBE4-7820-4385-8875-CB2C45BEC43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A1427B4-93D2-4BA7-A39B-6CA0FD28A78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765378E0-2759-4243-BCD7-3CCD5BB5F40D}"/>
              </a:ext>
            </a:extLst>
          </p:cNvPr>
          <p:cNvSpPr>
            <a:spLocks noGrp="1"/>
          </p:cNvSpPr>
          <p:nvPr>
            <p:ph type="title"/>
          </p:nvPr>
        </p:nvSpPr>
        <p:spPr/>
        <p:txBody>
          <a:bodyPr/>
          <a:lstStyle/>
          <a:p>
            <a:r>
              <a:rPr lang="en-US" dirty="0"/>
              <a:t>Team structure</a:t>
            </a:r>
          </a:p>
        </p:txBody>
      </p:sp>
      <p:sp>
        <p:nvSpPr>
          <p:cNvPr id="3" name="Text Placeholder 2">
            <a:extLst>
              <a:ext uri="{FF2B5EF4-FFF2-40B4-BE49-F238E27FC236}">
                <a16:creationId xmlns:a16="http://schemas.microsoft.com/office/drawing/2014/main" id="{50744A51-BC2D-4167-9381-60A7266EB8E6}"/>
              </a:ext>
            </a:extLst>
          </p:cNvPr>
          <p:cNvSpPr>
            <a:spLocks noGrp="1"/>
          </p:cNvSpPr>
          <p:nvPr>
            <p:ph type="body" sz="quarter" idx="14"/>
          </p:nvPr>
        </p:nvSpPr>
        <p:spPr/>
        <p:txBody>
          <a:bodyPr/>
          <a:lstStyle/>
          <a:p>
            <a:r>
              <a:rPr lang="en-US" dirty="0"/>
              <a:t>Our leadership and delivery team has worked extensively across the telecommunications industry.</a:t>
            </a:r>
          </a:p>
        </p:txBody>
      </p:sp>
      <p:sp>
        <p:nvSpPr>
          <p:cNvPr id="28" name="Text Placeholder 27">
            <a:extLst>
              <a:ext uri="{FF2B5EF4-FFF2-40B4-BE49-F238E27FC236}">
                <a16:creationId xmlns:a16="http://schemas.microsoft.com/office/drawing/2014/main" id="{01FB8000-22EE-46E5-AC96-2BE5942F05E8}"/>
              </a:ext>
            </a:extLst>
          </p:cNvPr>
          <p:cNvSpPr>
            <a:spLocks noGrp="1"/>
          </p:cNvSpPr>
          <p:nvPr>
            <p:ph type="body" sz="quarter" idx="15"/>
          </p:nvPr>
        </p:nvSpPr>
        <p:spPr/>
        <p:txBody>
          <a:bodyPr/>
          <a:lstStyle/>
          <a:p>
            <a:r>
              <a:rPr lang="en-US" dirty="0"/>
              <a:t>ORGANIZATION STRUCTURE &amp; BIOS</a:t>
            </a:r>
          </a:p>
        </p:txBody>
      </p:sp>
      <p:sp>
        <p:nvSpPr>
          <p:cNvPr id="6" name="Rectangle 5">
            <a:extLst>
              <a:ext uri="{FF2B5EF4-FFF2-40B4-BE49-F238E27FC236}">
                <a16:creationId xmlns:a16="http://schemas.microsoft.com/office/drawing/2014/main" id="{0330C14C-FBB7-4863-A444-0F8B240DCBD7}"/>
              </a:ext>
            </a:extLst>
          </p:cNvPr>
          <p:cNvSpPr/>
          <p:nvPr/>
        </p:nvSpPr>
        <p:spPr>
          <a:xfrm>
            <a:off x="914399" y="1793888"/>
            <a:ext cx="5783482" cy="944221"/>
          </a:xfrm>
          <a:prstGeom prst="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r>
              <a:rPr kumimoji="0" lang="en-US" sz="1000" b="1" i="0" u="none" strike="noStrike" kern="1200" cap="none" spc="100" normalizeH="0" baseline="0" noProof="0" dirty="0">
                <a:ln>
                  <a:noFill/>
                </a:ln>
                <a:solidFill>
                  <a:srgbClr val="000000"/>
                </a:solidFill>
                <a:effectLst/>
                <a:uLnTx/>
                <a:uFillTx/>
                <a:latin typeface="Open Sans"/>
                <a:ea typeface="+mn-ea"/>
                <a:cs typeface="+mn-cs"/>
              </a:rPr>
              <a:t>EXECUTIVE STEERING COMMITTEE</a:t>
            </a:r>
          </a:p>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endParaRPr kumimoji="0" lang="en-US" sz="100" b="0" i="0" u="none" strike="noStrike" kern="1200" cap="none" spc="100" normalizeH="0" baseline="0" noProof="0" dirty="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 name="AutoShape 13">
            <a:extLst>
              <a:ext uri="{FF2B5EF4-FFF2-40B4-BE49-F238E27FC236}">
                <a16:creationId xmlns:a16="http://schemas.microsoft.com/office/drawing/2014/main" id="{9F4DE8C0-6D3B-4FFA-9933-884B81753A31}"/>
              </a:ext>
            </a:extLst>
          </p:cNvPr>
          <p:cNvSpPr>
            <a:spLocks noChangeArrowheads="1"/>
          </p:cNvSpPr>
          <p:nvPr/>
        </p:nvSpPr>
        <p:spPr bwMode="auto">
          <a:xfrm>
            <a:off x="914399" y="4707267"/>
            <a:ext cx="5783482" cy="1400384"/>
          </a:xfrm>
          <a:prstGeom prst="roundRect">
            <a:avLst>
              <a:gd name="adj" fmla="val 0"/>
            </a:avLst>
          </a:prstGeom>
          <a:solidFill>
            <a:schemeClr val="accent2">
              <a:lumMod val="20000"/>
              <a:lumOff val="80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endParaRPr kumimoji="0" lang="en-US" sz="10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8" name="TextBox 7">
            <a:extLst>
              <a:ext uri="{FF2B5EF4-FFF2-40B4-BE49-F238E27FC236}">
                <a16:creationId xmlns:a16="http://schemas.microsoft.com/office/drawing/2014/main" id="{286D45DD-7C6C-4DBC-BF09-28CCEBD45098}"/>
              </a:ext>
            </a:extLst>
          </p:cNvPr>
          <p:cNvSpPr txBox="1"/>
          <p:nvPr/>
        </p:nvSpPr>
        <p:spPr>
          <a:xfrm>
            <a:off x="469900" y="4735834"/>
            <a:ext cx="2018824" cy="646331"/>
          </a:xfrm>
          <a:prstGeom prst="rect">
            <a:avLst/>
          </a:prstGeom>
          <a:noFill/>
          <a:ln w="12700">
            <a:noFill/>
          </a:ln>
        </p:spPr>
        <p:txBody>
          <a:bodyPr wrap="square" rtlCol="0">
            <a:spAutoFit/>
          </a:bodyPr>
          <a:lstStyle/>
          <a:p>
            <a:pPr marL="0" marR="0" lvl="0" indent="0" algn="ctr" defTabSz="914400" rtl="0" eaLnBrk="1" fontAlgn="auto" latinLnBrk="0" hangingPunct="1">
              <a:lnSpc>
                <a:spcPct val="100000"/>
              </a:lnSpc>
              <a:spcBef>
                <a:spcPts val="300"/>
              </a:spcBef>
              <a:spcAft>
                <a:spcPts val="0"/>
              </a:spcAft>
              <a:buClr>
                <a:srgbClr val="81BC00"/>
              </a:buClr>
              <a:buSzTx/>
              <a:buFontTx/>
              <a:buNone/>
              <a:tabLst/>
              <a:defRPr/>
            </a:pPr>
            <a:r>
              <a:rPr kumimoji="0" lang="en-US" sz="1000" b="1" i="0" u="none" strike="noStrike" kern="1200" cap="none" spc="100" normalizeH="0" baseline="0" noProof="0" dirty="0">
                <a:ln>
                  <a:noFill/>
                </a:ln>
                <a:solidFill>
                  <a:srgbClr val="000000"/>
                </a:solidFill>
                <a:effectLst/>
                <a:uLnTx/>
                <a:uFillTx/>
                <a:latin typeface="Open Sans"/>
                <a:ea typeface="+mn-ea"/>
                <a:cs typeface="+mn-cs"/>
              </a:rPr>
              <a:t>Client</a:t>
            </a:r>
            <a:br>
              <a:rPr kumimoji="0" lang="en-US" sz="1000" b="1" i="0" u="none" strike="noStrike" kern="1200" cap="none" spc="100" normalizeH="0" baseline="0" noProof="0" dirty="0">
                <a:ln>
                  <a:noFill/>
                </a:ln>
                <a:solidFill>
                  <a:srgbClr val="000000"/>
                </a:solidFill>
                <a:effectLst/>
                <a:uLnTx/>
                <a:uFillTx/>
                <a:latin typeface="Open Sans"/>
                <a:ea typeface="+mn-ea"/>
                <a:cs typeface="+mn-cs"/>
              </a:rPr>
            </a:br>
            <a:r>
              <a:rPr kumimoji="0" lang="en-US" sz="1000" b="1" i="0" u="none" strike="noStrike" kern="1200" cap="none" spc="100" normalizeH="0" baseline="0" noProof="0" dirty="0">
                <a:ln>
                  <a:noFill/>
                </a:ln>
                <a:solidFill>
                  <a:srgbClr val="000000"/>
                </a:solidFill>
                <a:effectLst/>
                <a:uLnTx/>
                <a:uFillTx/>
                <a:latin typeface="Open Sans"/>
                <a:ea typeface="+mn-ea"/>
                <a:cs typeface="+mn-cs"/>
              </a:rPr>
              <a:t>SMES</a:t>
            </a:r>
          </a:p>
          <a:p>
            <a:pPr marL="0" marR="0" lvl="0" indent="0" algn="ctr" defTabSz="914400" rtl="0" eaLnBrk="1" fontAlgn="auto" latinLnBrk="0" hangingPunct="1">
              <a:lnSpc>
                <a:spcPct val="100000"/>
              </a:lnSpc>
              <a:spcBef>
                <a:spcPts val="300"/>
              </a:spcBef>
              <a:spcAft>
                <a:spcPts val="0"/>
              </a:spcAft>
              <a:buClr>
                <a:srgbClr val="81BC00"/>
              </a:buClr>
              <a:buSzTx/>
              <a:buFontTx/>
              <a:buNone/>
              <a:tabLst/>
              <a:defRPr/>
            </a:pPr>
            <a:endParaRPr kumimoji="0" lang="en-US" sz="1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ctr" defTabSz="914400" rtl="0" eaLnBrk="0" fontAlgn="base" latinLnBrk="0" hangingPunct="0">
              <a:lnSpc>
                <a:spcPct val="100000"/>
              </a:lnSpc>
              <a:spcBef>
                <a:spcPts val="300"/>
              </a:spcBef>
              <a:spcAft>
                <a:spcPts val="0"/>
              </a:spcAft>
              <a:buClr>
                <a:srgbClr val="81BC00"/>
              </a:buClr>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TBD</a:t>
            </a:r>
          </a:p>
        </p:txBody>
      </p:sp>
      <p:sp>
        <p:nvSpPr>
          <p:cNvPr id="9" name="Rectangle 8">
            <a:extLst>
              <a:ext uri="{FF2B5EF4-FFF2-40B4-BE49-F238E27FC236}">
                <a16:creationId xmlns:a16="http://schemas.microsoft.com/office/drawing/2014/main" id="{B72D6E72-673D-4A6A-A4A1-B11F0182A8CE}"/>
              </a:ext>
            </a:extLst>
          </p:cNvPr>
          <p:cNvSpPr/>
          <p:nvPr/>
        </p:nvSpPr>
        <p:spPr>
          <a:xfrm>
            <a:off x="7004756" y="2333909"/>
            <a:ext cx="4730044" cy="630942"/>
          </a:xfrm>
          <a:prstGeom prst="rect">
            <a:avLst/>
          </a:prstGeom>
        </p:spPr>
        <p:txBody>
          <a:bodyPr wrap="square">
            <a:spAutoFit/>
          </a:bodyPr>
          <a:lstStyle/>
          <a:p>
            <a:pPr marL="137160" marR="0" lvl="0" indent="-13716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Champion the project and provide overall strategic direction</a:t>
            </a:r>
          </a:p>
          <a:p>
            <a:pPr marL="137160" marR="0" lvl="0" indent="-13716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Sign off on major deliverables</a:t>
            </a:r>
          </a:p>
          <a:p>
            <a:pPr marL="137160" marR="0" lvl="0" indent="-13716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Take decisions, resolve issues and remove roadblocks</a:t>
            </a:r>
          </a:p>
        </p:txBody>
      </p:sp>
      <p:sp>
        <p:nvSpPr>
          <p:cNvPr id="10" name="Rectangle 9">
            <a:extLst>
              <a:ext uri="{FF2B5EF4-FFF2-40B4-BE49-F238E27FC236}">
                <a16:creationId xmlns:a16="http://schemas.microsoft.com/office/drawing/2014/main" id="{B6A079E6-C6D4-4139-8EAA-1A73C286FE2D}"/>
              </a:ext>
            </a:extLst>
          </p:cNvPr>
          <p:cNvSpPr/>
          <p:nvPr/>
        </p:nvSpPr>
        <p:spPr>
          <a:xfrm>
            <a:off x="7009271" y="3360600"/>
            <a:ext cx="4730044" cy="1400383"/>
          </a:xfrm>
          <a:prstGeom prst="rect">
            <a:avLst/>
          </a:prstGeom>
        </p:spPr>
        <p:txBody>
          <a:bodyPr wrap="square">
            <a:spAutoFit/>
          </a:bodyPr>
          <a:lstStyle/>
          <a:p>
            <a:pPr marL="137160" marR="0" lvl="0" indent="-13716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Provide overall responsibility and oversight for the engagement</a:t>
            </a:r>
          </a:p>
          <a:p>
            <a:pPr marL="137160" marR="0" lvl="0" indent="-13716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Report engagement status to leadership</a:t>
            </a:r>
          </a:p>
          <a:p>
            <a:pPr marL="137160" marR="0" lvl="0" indent="-13716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Escalate and facilitate resolution of key risks and issues</a:t>
            </a:r>
          </a:p>
          <a:p>
            <a:pPr marL="137160" marR="0" lvl="0" indent="-13716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Ensure objectives are met within timing and scope</a:t>
            </a:r>
          </a:p>
          <a:p>
            <a:pPr marL="137160" marR="0" lvl="0" indent="-13716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Create and finalize deliverables</a:t>
            </a:r>
          </a:p>
          <a:p>
            <a:pPr marL="137160" marR="0" lvl="0" indent="-13716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srgbClr val="000000"/>
              </a:solidFill>
              <a:effectLst/>
              <a:uLnTx/>
              <a:uFillTx/>
              <a:latin typeface="Open Sans"/>
              <a:ea typeface="+mn-ea"/>
              <a:cs typeface="+mn-cs"/>
            </a:endParaRPr>
          </a:p>
          <a:p>
            <a:pPr marL="137160" marR="0" lvl="0" indent="-13716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ABC7E050-6316-4714-9D2F-BB16589114A9}"/>
              </a:ext>
            </a:extLst>
          </p:cNvPr>
          <p:cNvSpPr/>
          <p:nvPr/>
        </p:nvSpPr>
        <p:spPr>
          <a:xfrm>
            <a:off x="6993468" y="1790602"/>
            <a:ext cx="4730044"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100" normalizeH="0" baseline="0" noProof="0" dirty="0">
                <a:ln>
                  <a:noFill/>
                </a:ln>
                <a:solidFill>
                  <a:srgbClr val="000000"/>
                </a:solidFill>
                <a:effectLst/>
                <a:uLnTx/>
                <a:uFillTx/>
                <a:latin typeface="Open Sans"/>
                <a:ea typeface="+mn-ea"/>
                <a:cs typeface="+mn-cs"/>
              </a:rPr>
              <a:t>ROLES AND RESPONSIBILITIES</a:t>
            </a:r>
          </a:p>
        </p:txBody>
      </p:sp>
      <p:sp>
        <p:nvSpPr>
          <p:cNvPr id="12" name="Rectangle 11">
            <a:extLst>
              <a:ext uri="{FF2B5EF4-FFF2-40B4-BE49-F238E27FC236}">
                <a16:creationId xmlns:a16="http://schemas.microsoft.com/office/drawing/2014/main" id="{6516E9B8-07C2-4465-963C-DC8C9BE8EA67}"/>
              </a:ext>
            </a:extLst>
          </p:cNvPr>
          <p:cNvSpPr/>
          <p:nvPr/>
        </p:nvSpPr>
        <p:spPr>
          <a:xfrm>
            <a:off x="7000241" y="2076401"/>
            <a:ext cx="4730044" cy="24588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a:ea typeface="+mn-ea"/>
                <a:cs typeface="+mn-cs"/>
              </a:rPr>
              <a:t>Executive Steering Committee</a:t>
            </a:r>
          </a:p>
        </p:txBody>
      </p:sp>
      <p:sp>
        <p:nvSpPr>
          <p:cNvPr id="13" name="Rectangle 12">
            <a:extLst>
              <a:ext uri="{FF2B5EF4-FFF2-40B4-BE49-F238E27FC236}">
                <a16:creationId xmlns:a16="http://schemas.microsoft.com/office/drawing/2014/main" id="{BD8E314B-7511-4852-9888-3E16B54F9A63}"/>
              </a:ext>
            </a:extLst>
          </p:cNvPr>
          <p:cNvSpPr/>
          <p:nvPr/>
        </p:nvSpPr>
        <p:spPr>
          <a:xfrm>
            <a:off x="7004756" y="3088741"/>
            <a:ext cx="4730044" cy="24588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a:ea typeface="+mn-ea"/>
                <a:cs typeface="+mn-cs"/>
              </a:rPr>
              <a:t>Core Implementation Team </a:t>
            </a:r>
          </a:p>
        </p:txBody>
      </p:sp>
      <p:cxnSp>
        <p:nvCxnSpPr>
          <p:cNvPr id="14" name="Straight Connector 13">
            <a:extLst>
              <a:ext uri="{FF2B5EF4-FFF2-40B4-BE49-F238E27FC236}">
                <a16:creationId xmlns:a16="http://schemas.microsoft.com/office/drawing/2014/main" id="{74D5EEF6-D8FB-4D4D-A7C0-E1342081CE92}"/>
              </a:ext>
            </a:extLst>
          </p:cNvPr>
          <p:cNvCxnSpPr>
            <a:cxnSpLocks/>
          </p:cNvCxnSpPr>
          <p:nvPr/>
        </p:nvCxnSpPr>
        <p:spPr>
          <a:xfrm>
            <a:off x="7000241" y="2063837"/>
            <a:ext cx="4734559"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B7FF785-18CD-4408-A914-96EDE12EA6EC}"/>
              </a:ext>
            </a:extLst>
          </p:cNvPr>
          <p:cNvSpPr txBox="1"/>
          <p:nvPr/>
        </p:nvSpPr>
        <p:spPr>
          <a:xfrm>
            <a:off x="2574479" y="4735834"/>
            <a:ext cx="2018823" cy="646331"/>
          </a:xfrm>
          <a:prstGeom prst="rect">
            <a:avLst/>
          </a:prstGeom>
          <a:noFill/>
          <a:ln w="12700">
            <a:noFill/>
          </a:ln>
        </p:spPr>
        <p:txBody>
          <a:bodyPr wrap="square" rtlCol="0">
            <a:spAutoFit/>
          </a:bodyPr>
          <a:lstStyle/>
          <a:p>
            <a:pPr marL="0" marR="0" lvl="0" indent="0" algn="ctr" defTabSz="914400" rtl="0" eaLnBrk="1" fontAlgn="auto" latinLnBrk="0" hangingPunct="1">
              <a:lnSpc>
                <a:spcPct val="100000"/>
              </a:lnSpc>
              <a:spcBef>
                <a:spcPts val="300"/>
              </a:spcBef>
              <a:spcAft>
                <a:spcPts val="0"/>
              </a:spcAft>
              <a:buClr>
                <a:srgbClr val="81BC00"/>
              </a:buClr>
              <a:buSzTx/>
              <a:buFontTx/>
              <a:buNone/>
              <a:tabLst/>
              <a:defRPr/>
            </a:pPr>
            <a:r>
              <a:rPr kumimoji="0" lang="en-US" sz="1000" b="1" i="0" u="none" strike="noStrike" kern="1200" cap="none" spc="100" normalizeH="0" baseline="0" noProof="0" dirty="0">
                <a:ln>
                  <a:noFill/>
                </a:ln>
                <a:solidFill>
                  <a:srgbClr val="000000"/>
                </a:solidFill>
                <a:effectLst/>
                <a:uLnTx/>
                <a:uFillTx/>
                <a:latin typeface="Open Sans"/>
                <a:ea typeface="+mn-ea"/>
                <a:cs typeface="+mn-cs"/>
              </a:rPr>
              <a:t>3RD PARTY VENDOR SMES</a:t>
            </a:r>
          </a:p>
          <a:p>
            <a:pPr marL="0" marR="0" lvl="0" indent="0" algn="ctr" defTabSz="914400" rtl="0" eaLnBrk="1" fontAlgn="auto" latinLnBrk="0" hangingPunct="1">
              <a:lnSpc>
                <a:spcPct val="100000"/>
              </a:lnSpc>
              <a:spcBef>
                <a:spcPts val="300"/>
              </a:spcBef>
              <a:spcAft>
                <a:spcPts val="0"/>
              </a:spcAft>
              <a:buClr>
                <a:srgbClr val="81BC00"/>
              </a:buClr>
              <a:buSzTx/>
              <a:buFontTx/>
              <a:buNone/>
              <a:tabLst/>
              <a:defRPr/>
            </a:pPr>
            <a:endParaRPr kumimoji="0" lang="en-US" sz="1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ctr" defTabSz="914400" rtl="0" eaLnBrk="0" fontAlgn="base" latinLnBrk="0" hangingPunct="0">
              <a:lnSpc>
                <a:spcPct val="100000"/>
              </a:lnSpc>
              <a:spcBef>
                <a:spcPts val="30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TBD</a:t>
            </a:r>
          </a:p>
        </p:txBody>
      </p:sp>
      <p:sp>
        <p:nvSpPr>
          <p:cNvPr id="17" name="Rectangle 16">
            <a:extLst>
              <a:ext uri="{FF2B5EF4-FFF2-40B4-BE49-F238E27FC236}">
                <a16:creationId xmlns:a16="http://schemas.microsoft.com/office/drawing/2014/main" id="{70C2AB60-A73D-4AC0-8317-6F58CB73DEEC}"/>
              </a:ext>
            </a:extLst>
          </p:cNvPr>
          <p:cNvSpPr/>
          <p:nvPr/>
        </p:nvSpPr>
        <p:spPr>
          <a:xfrm>
            <a:off x="914399" y="2816324"/>
            <a:ext cx="5783482" cy="640080"/>
          </a:xfrm>
          <a:prstGeom prst="rect">
            <a:avLst/>
          </a:prstGeom>
          <a:solidFill>
            <a:schemeClr val="accent3">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rtlCol="0" anchor="ctr"/>
          <a:lstStyle/>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r>
              <a:rPr kumimoji="0" lang="en-US" sz="1000" b="1" i="0" u="none" strike="noStrike" kern="1200" cap="none" spc="100" normalizeH="0" baseline="0" noProof="0" dirty="0">
                <a:ln>
                  <a:noFill/>
                </a:ln>
                <a:solidFill>
                  <a:srgbClr val="000000"/>
                </a:solidFill>
                <a:effectLst/>
                <a:uLnTx/>
                <a:uFillTx/>
                <a:latin typeface="Open Sans"/>
                <a:ea typeface="+mn-ea"/>
                <a:cs typeface="+mn-cs"/>
              </a:rPr>
              <a:t>PROGRAM LEAD</a:t>
            </a:r>
          </a:p>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endParaRPr kumimoji="0" lang="en-US" sz="100" b="0" i="0" u="none" strike="noStrike" kern="1200" cap="none" spc="100" normalizeH="0" baseline="0" noProof="0" dirty="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r>
              <a:rPr kumimoji="0" lang="en-US" sz="900" b="1" i="0" u="none" strike="noStrike" kern="1200" cap="none" spc="0" normalizeH="0" baseline="0" noProof="0" dirty="0">
                <a:ln>
                  <a:noFill/>
                </a:ln>
                <a:solidFill>
                  <a:srgbClr val="000000"/>
                </a:solidFill>
                <a:effectLst/>
                <a:uLnTx/>
                <a:uFillTx/>
                <a:latin typeface="Open Sans"/>
                <a:ea typeface="+mn-ea"/>
                <a:cs typeface="+mn-cs"/>
              </a:rPr>
              <a:t>TBD (Client)</a:t>
            </a:r>
          </a:p>
        </p:txBody>
      </p:sp>
      <p:sp>
        <p:nvSpPr>
          <p:cNvPr id="18" name="Rectangle 17">
            <a:extLst>
              <a:ext uri="{FF2B5EF4-FFF2-40B4-BE49-F238E27FC236}">
                <a16:creationId xmlns:a16="http://schemas.microsoft.com/office/drawing/2014/main" id="{7C1FA09C-4106-4B06-BE61-151172FB1799}"/>
              </a:ext>
            </a:extLst>
          </p:cNvPr>
          <p:cNvSpPr/>
          <p:nvPr/>
        </p:nvSpPr>
        <p:spPr>
          <a:xfrm>
            <a:off x="541456" y="2111994"/>
            <a:ext cx="6096000" cy="425758"/>
          </a:xfrm>
          <a:prstGeom prst="rect">
            <a:avLst/>
          </a:prstGeom>
        </p:spPr>
        <p:txBody>
          <a:bodyPr>
            <a:spAutoFit/>
          </a:bodyPr>
          <a:lstStyle/>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r>
              <a:rPr kumimoji="0" lang="en-US" sz="1000" b="1" i="0" u="none" strike="noStrike" kern="1200" cap="none" spc="0" normalizeH="0" baseline="0" noProof="0" dirty="0">
                <a:ln>
                  <a:noFill/>
                </a:ln>
                <a:solidFill>
                  <a:srgbClr val="000000"/>
                </a:solidFill>
                <a:effectLst/>
                <a:uLnTx/>
                <a:uFillTx/>
                <a:latin typeface="Open Sans"/>
                <a:ea typeface="+mn-ea"/>
                <a:cs typeface="+mn-cs"/>
              </a:rPr>
              <a:t>Client Executive Leadership</a:t>
            </a:r>
          </a:p>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endParaRPr kumimoji="0" lang="en-US" sz="10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D5C94262-CE48-43EB-8569-92DE50E8D855}"/>
              </a:ext>
            </a:extLst>
          </p:cNvPr>
          <p:cNvSpPr/>
          <p:nvPr/>
        </p:nvSpPr>
        <p:spPr>
          <a:xfrm>
            <a:off x="7004756" y="5281738"/>
            <a:ext cx="4730044" cy="400110"/>
          </a:xfrm>
          <a:prstGeom prst="rect">
            <a:avLst/>
          </a:prstGeom>
        </p:spPr>
        <p:txBody>
          <a:bodyPr wrap="square">
            <a:spAutoFit/>
          </a:bodyPr>
          <a:lstStyle/>
          <a:p>
            <a:pPr marL="137160" marR="0" lvl="0" indent="-13716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Bring deep experience with Client, as well as expertise within Deloitte’s Telecommunications, data, and analytics practices</a:t>
            </a:r>
          </a:p>
        </p:txBody>
      </p:sp>
      <p:sp>
        <p:nvSpPr>
          <p:cNvPr id="22" name="Rectangle 21">
            <a:extLst>
              <a:ext uri="{FF2B5EF4-FFF2-40B4-BE49-F238E27FC236}">
                <a16:creationId xmlns:a16="http://schemas.microsoft.com/office/drawing/2014/main" id="{1C2C4FB0-1E01-45BF-ACD9-4F51E875A99F}"/>
              </a:ext>
            </a:extLst>
          </p:cNvPr>
          <p:cNvSpPr/>
          <p:nvPr/>
        </p:nvSpPr>
        <p:spPr>
          <a:xfrm>
            <a:off x="7000241" y="5005775"/>
            <a:ext cx="4730044" cy="24588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a:ea typeface="+mn-ea"/>
                <a:cs typeface="+mn-cs"/>
              </a:rPr>
              <a:t>Extended Advisor Team</a:t>
            </a:r>
          </a:p>
        </p:txBody>
      </p:sp>
      <p:cxnSp>
        <p:nvCxnSpPr>
          <p:cNvPr id="23" name="Straight Connector 22">
            <a:extLst>
              <a:ext uri="{FF2B5EF4-FFF2-40B4-BE49-F238E27FC236}">
                <a16:creationId xmlns:a16="http://schemas.microsoft.com/office/drawing/2014/main" id="{C143EC29-FF03-4259-9B6C-10EFCA0F065A}"/>
              </a:ext>
            </a:extLst>
          </p:cNvPr>
          <p:cNvCxnSpPr>
            <a:cxnSpLocks/>
          </p:cNvCxnSpPr>
          <p:nvPr/>
        </p:nvCxnSpPr>
        <p:spPr>
          <a:xfrm>
            <a:off x="7000241" y="5005775"/>
            <a:ext cx="4734559"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85B602DE-68A2-4D8E-96E4-412DE7EBD2CC}"/>
              </a:ext>
            </a:extLst>
          </p:cNvPr>
          <p:cNvGrpSpPr/>
          <p:nvPr/>
        </p:nvGrpSpPr>
        <p:grpSpPr>
          <a:xfrm>
            <a:off x="800350" y="3534617"/>
            <a:ext cx="2067802" cy="1094437"/>
            <a:chOff x="800350" y="3534617"/>
            <a:chExt cx="2067802" cy="1094437"/>
          </a:xfrm>
        </p:grpSpPr>
        <p:sp>
          <p:nvSpPr>
            <p:cNvPr id="20" name="Rectangle 19">
              <a:extLst>
                <a:ext uri="{FF2B5EF4-FFF2-40B4-BE49-F238E27FC236}">
                  <a16:creationId xmlns:a16="http://schemas.microsoft.com/office/drawing/2014/main" id="{98D0A905-BAD3-44EA-B0B0-10AB99F350A8}"/>
                </a:ext>
              </a:extLst>
            </p:cNvPr>
            <p:cNvSpPr/>
            <p:nvPr/>
          </p:nvSpPr>
          <p:spPr>
            <a:xfrm>
              <a:off x="914399" y="3534617"/>
              <a:ext cx="1839704" cy="1094437"/>
            </a:xfrm>
            <a:prstGeom prst="rect">
              <a:avLst/>
            </a:prstGeom>
            <a:solidFill>
              <a:schemeClr val="accent3">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r>
                <a:rPr kumimoji="0" lang="en-US" sz="900" b="1" i="0" u="none" strike="noStrike" kern="1200" cap="none" spc="100" normalizeH="0" baseline="0" noProof="0" dirty="0">
                  <a:ln>
                    <a:noFill/>
                  </a:ln>
                  <a:solidFill>
                    <a:srgbClr val="000000"/>
                  </a:solidFill>
                  <a:effectLst/>
                  <a:uLnTx/>
                  <a:uFillTx/>
                  <a:latin typeface="Open Sans"/>
                  <a:ea typeface="+mn-ea"/>
                  <a:cs typeface="+mn-cs"/>
                </a:rPr>
                <a:t>TECHNICAL SYSTEMS INTEGRATION</a:t>
              </a:r>
            </a:p>
          </p:txBody>
        </p:sp>
        <p:sp>
          <p:nvSpPr>
            <p:cNvPr id="24" name="Rectangle 23">
              <a:extLst>
                <a:ext uri="{FF2B5EF4-FFF2-40B4-BE49-F238E27FC236}">
                  <a16:creationId xmlns:a16="http://schemas.microsoft.com/office/drawing/2014/main" id="{8B43E764-9FEF-4234-9047-616894F80DEB}"/>
                </a:ext>
              </a:extLst>
            </p:cNvPr>
            <p:cNvSpPr/>
            <p:nvPr/>
          </p:nvSpPr>
          <p:spPr>
            <a:xfrm>
              <a:off x="800350" y="4075057"/>
              <a:ext cx="2067802" cy="246221"/>
            </a:xfrm>
            <a:prstGeom prst="rect">
              <a:avLst/>
            </a:prstGeom>
          </p:spPr>
          <p:txBody>
            <a:bodyPr wrap="square">
              <a:spAutoFit/>
            </a:bodyPr>
            <a:lstStyle/>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r>
                <a:rPr kumimoji="0" lang="en-US" sz="1000" b="0" i="0" u="none" strike="noStrike" kern="1200" cap="none" spc="10" normalizeH="0" baseline="0" noProof="0" dirty="0">
                  <a:ln>
                    <a:noFill/>
                  </a:ln>
                  <a:solidFill>
                    <a:srgbClr val="000000"/>
                  </a:solidFill>
                  <a:effectLst/>
                  <a:uLnTx/>
                  <a:uFillTx/>
                  <a:latin typeface="Open Sans"/>
                  <a:ea typeface="+mn-ea"/>
                  <a:cs typeface="+mn-cs"/>
                </a:rPr>
                <a:t>Lead: </a:t>
              </a:r>
              <a:r>
                <a:rPr kumimoji="0" lang="en-US" sz="1000" b="1" i="0" u="none" strike="noStrike" kern="1200" cap="none" spc="10" normalizeH="0" baseline="0" noProof="0" dirty="0">
                  <a:ln>
                    <a:noFill/>
                  </a:ln>
                  <a:solidFill>
                    <a:srgbClr val="000000"/>
                  </a:solidFill>
                  <a:effectLst/>
                  <a:uLnTx/>
                  <a:uFillTx/>
                  <a:latin typeface="Open Sans"/>
                  <a:ea typeface="+mn-ea"/>
                  <a:cs typeface="+mn-cs"/>
                </a:rPr>
                <a:t>TBD (Client)</a:t>
              </a:r>
              <a:endParaRPr kumimoji="0" lang="en-US" sz="1000" b="1"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9" name="Group 28">
            <a:extLst>
              <a:ext uri="{FF2B5EF4-FFF2-40B4-BE49-F238E27FC236}">
                <a16:creationId xmlns:a16="http://schemas.microsoft.com/office/drawing/2014/main" id="{242C3699-EED1-4E9F-BA96-899B165677E8}"/>
              </a:ext>
            </a:extLst>
          </p:cNvPr>
          <p:cNvGrpSpPr/>
          <p:nvPr/>
        </p:nvGrpSpPr>
        <p:grpSpPr>
          <a:xfrm>
            <a:off x="2769390" y="3534617"/>
            <a:ext cx="2067802" cy="1094438"/>
            <a:chOff x="2784678" y="3534617"/>
            <a:chExt cx="2067802" cy="1094438"/>
          </a:xfrm>
        </p:grpSpPr>
        <p:sp>
          <p:nvSpPr>
            <p:cNvPr id="19" name="Rectangle 18">
              <a:extLst>
                <a:ext uri="{FF2B5EF4-FFF2-40B4-BE49-F238E27FC236}">
                  <a16:creationId xmlns:a16="http://schemas.microsoft.com/office/drawing/2014/main" id="{B9984E19-05B3-4808-92A2-52598F73288C}"/>
                </a:ext>
              </a:extLst>
            </p:cNvPr>
            <p:cNvSpPr/>
            <p:nvPr/>
          </p:nvSpPr>
          <p:spPr>
            <a:xfrm>
              <a:off x="2898727" y="3534617"/>
              <a:ext cx="1839704" cy="1094438"/>
            </a:xfrm>
            <a:prstGeom prst="rect">
              <a:avLst/>
            </a:prstGeom>
            <a:solidFill>
              <a:schemeClr val="accent3">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r>
                <a:rPr kumimoji="0" lang="en-US" sz="900" b="1" i="0" u="none" strike="noStrike" kern="1200" cap="none" spc="100" normalizeH="0" baseline="0" noProof="0" dirty="0">
                  <a:ln>
                    <a:noFill/>
                  </a:ln>
                  <a:solidFill>
                    <a:srgbClr val="000000"/>
                  </a:solidFill>
                  <a:effectLst/>
                  <a:uLnTx/>
                  <a:uFillTx/>
                  <a:latin typeface="Open Sans"/>
                  <a:ea typeface="+mn-ea"/>
                  <a:cs typeface="+mn-cs"/>
                </a:rPr>
                <a:t>ANALYTICAL </a:t>
              </a:r>
              <a:br>
                <a:rPr kumimoji="0" lang="en-US" sz="900" b="1" i="0" u="none" strike="noStrike" kern="1200" cap="none" spc="100" normalizeH="0" baseline="0" noProof="0" dirty="0">
                  <a:ln>
                    <a:noFill/>
                  </a:ln>
                  <a:solidFill>
                    <a:srgbClr val="000000"/>
                  </a:solidFill>
                  <a:effectLst/>
                  <a:uLnTx/>
                  <a:uFillTx/>
                  <a:latin typeface="Open Sans"/>
                  <a:ea typeface="+mn-ea"/>
                  <a:cs typeface="+mn-cs"/>
                </a:rPr>
              </a:br>
              <a:r>
                <a:rPr kumimoji="0" lang="en-US" sz="900" b="1" i="0" u="none" strike="noStrike" kern="1200" cap="none" spc="100" normalizeH="0" baseline="0" noProof="0" dirty="0">
                  <a:ln>
                    <a:noFill/>
                  </a:ln>
                  <a:solidFill>
                    <a:srgbClr val="000000"/>
                  </a:solidFill>
                  <a:effectLst/>
                  <a:uLnTx/>
                  <a:uFillTx/>
                  <a:latin typeface="Open Sans"/>
                  <a:ea typeface="+mn-ea"/>
                  <a:cs typeface="+mn-cs"/>
                </a:rPr>
                <a:t>CONSULTING</a:t>
              </a:r>
            </a:p>
          </p:txBody>
        </p:sp>
        <p:sp>
          <p:nvSpPr>
            <p:cNvPr id="25" name="Rectangle 24">
              <a:extLst>
                <a:ext uri="{FF2B5EF4-FFF2-40B4-BE49-F238E27FC236}">
                  <a16:creationId xmlns:a16="http://schemas.microsoft.com/office/drawing/2014/main" id="{309EB5E3-6AD0-47BE-832D-CA797763E9D4}"/>
                </a:ext>
              </a:extLst>
            </p:cNvPr>
            <p:cNvSpPr/>
            <p:nvPr/>
          </p:nvSpPr>
          <p:spPr>
            <a:xfrm>
              <a:off x="2784678" y="4075057"/>
              <a:ext cx="2067802" cy="246221"/>
            </a:xfrm>
            <a:prstGeom prst="rect">
              <a:avLst/>
            </a:prstGeom>
          </p:spPr>
          <p:txBody>
            <a:bodyPr wrap="square">
              <a:spAutoFit/>
            </a:bodyPr>
            <a:lstStyle/>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r>
                <a:rPr kumimoji="0" lang="en-US" sz="1000" b="0" i="0" u="none" strike="noStrike" kern="1200" cap="none" spc="10" normalizeH="0" baseline="0" noProof="0" dirty="0">
                  <a:ln>
                    <a:noFill/>
                  </a:ln>
                  <a:solidFill>
                    <a:srgbClr val="000000"/>
                  </a:solidFill>
                  <a:effectLst/>
                  <a:uLnTx/>
                  <a:uFillTx/>
                  <a:latin typeface="Open Sans"/>
                  <a:ea typeface="+mn-ea"/>
                  <a:cs typeface="+mn-cs"/>
                </a:rPr>
                <a:t>Lead: </a:t>
              </a:r>
              <a:r>
                <a:rPr kumimoji="0" lang="en-US" sz="1000" b="1" i="0" u="none" strike="noStrike" kern="1200" cap="none" spc="10" normalizeH="0" baseline="0" noProof="0" dirty="0">
                  <a:ln>
                    <a:noFill/>
                  </a:ln>
                  <a:solidFill>
                    <a:srgbClr val="000000"/>
                  </a:solidFill>
                  <a:effectLst/>
                  <a:uLnTx/>
                  <a:uFillTx/>
                  <a:latin typeface="Open Sans"/>
                  <a:ea typeface="+mn-ea"/>
                  <a:cs typeface="+mn-cs"/>
                </a:rPr>
                <a:t>TBD (Client)</a:t>
              </a:r>
              <a:endParaRPr kumimoji="0" lang="en-US" sz="1000" b="1"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31" name="Group 30">
            <a:extLst>
              <a:ext uri="{FF2B5EF4-FFF2-40B4-BE49-F238E27FC236}">
                <a16:creationId xmlns:a16="http://schemas.microsoft.com/office/drawing/2014/main" id="{C5293AFD-7732-48E8-9C24-5F531DA6D5FF}"/>
              </a:ext>
            </a:extLst>
          </p:cNvPr>
          <p:cNvGrpSpPr/>
          <p:nvPr/>
        </p:nvGrpSpPr>
        <p:grpSpPr>
          <a:xfrm>
            <a:off x="4738431" y="3534617"/>
            <a:ext cx="2067802" cy="1094438"/>
            <a:chOff x="4738431" y="3534617"/>
            <a:chExt cx="2067802" cy="1094438"/>
          </a:xfrm>
        </p:grpSpPr>
        <p:sp>
          <p:nvSpPr>
            <p:cNvPr id="16" name="Rectangle 15">
              <a:extLst>
                <a:ext uri="{FF2B5EF4-FFF2-40B4-BE49-F238E27FC236}">
                  <a16:creationId xmlns:a16="http://schemas.microsoft.com/office/drawing/2014/main" id="{F190F0F6-3EF8-40FA-AFDE-F40D4631D22D}"/>
                </a:ext>
              </a:extLst>
            </p:cNvPr>
            <p:cNvSpPr/>
            <p:nvPr/>
          </p:nvSpPr>
          <p:spPr>
            <a:xfrm>
              <a:off x="4852480" y="3534617"/>
              <a:ext cx="1839704" cy="1094438"/>
            </a:xfrm>
            <a:prstGeom prst="rect">
              <a:avLst/>
            </a:prstGeom>
            <a:solidFill>
              <a:schemeClr val="accent3">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r>
                <a:rPr kumimoji="0" lang="en-US" sz="900" b="1" i="0" u="none" strike="noStrike" kern="1200" cap="none" spc="100" normalizeH="0" baseline="0" noProof="0" dirty="0">
                  <a:ln>
                    <a:noFill/>
                  </a:ln>
                  <a:solidFill>
                    <a:srgbClr val="000000"/>
                  </a:solidFill>
                  <a:effectLst/>
                  <a:uLnTx/>
                  <a:uFillTx/>
                  <a:latin typeface="Open Sans"/>
                  <a:ea typeface="+mn-ea"/>
                  <a:cs typeface="+mn-cs"/>
                </a:rPr>
                <a:t>BUSINESS TRANSFORMATION </a:t>
              </a:r>
              <a:br>
                <a:rPr kumimoji="0" lang="en-US" sz="900" b="1" i="0" u="none" strike="noStrike" kern="1200" cap="none" spc="100" normalizeH="0" baseline="0" noProof="0" dirty="0">
                  <a:ln>
                    <a:noFill/>
                  </a:ln>
                  <a:solidFill>
                    <a:srgbClr val="000000"/>
                  </a:solidFill>
                  <a:effectLst/>
                  <a:uLnTx/>
                  <a:uFillTx/>
                  <a:latin typeface="Open Sans"/>
                  <a:ea typeface="+mn-ea"/>
                  <a:cs typeface="+mn-cs"/>
                </a:rPr>
              </a:br>
              <a:r>
                <a:rPr kumimoji="0" lang="en-US" sz="900" b="1" i="0" u="none" strike="noStrike" kern="1200" cap="none" spc="100" normalizeH="0" baseline="0" noProof="0" dirty="0">
                  <a:ln>
                    <a:noFill/>
                  </a:ln>
                  <a:solidFill>
                    <a:srgbClr val="000000"/>
                  </a:solidFill>
                  <a:effectLst/>
                  <a:uLnTx/>
                  <a:uFillTx/>
                  <a:latin typeface="Open Sans"/>
                  <a:ea typeface="+mn-ea"/>
                  <a:cs typeface="+mn-cs"/>
                </a:rPr>
                <a:t>&amp; PMO</a:t>
              </a:r>
              <a:endParaRPr kumimoji="0" lang="en-US" sz="100" b="0" i="0" u="none" strike="noStrike" kern="1200" cap="none" spc="100" normalizeH="0" baseline="0" noProof="0" dirty="0">
                <a:ln>
                  <a:noFill/>
                </a:ln>
                <a:solidFill>
                  <a:srgbClr val="000000"/>
                </a:solidFill>
                <a:effectLst/>
                <a:uLnTx/>
                <a:uFillTx/>
                <a:latin typeface="Open Sans"/>
                <a:ea typeface="+mn-ea"/>
                <a:cs typeface="+mn-cs"/>
              </a:endParaRPr>
            </a:p>
          </p:txBody>
        </p:sp>
        <p:sp>
          <p:nvSpPr>
            <p:cNvPr id="26" name="Rectangle 25">
              <a:extLst>
                <a:ext uri="{FF2B5EF4-FFF2-40B4-BE49-F238E27FC236}">
                  <a16:creationId xmlns:a16="http://schemas.microsoft.com/office/drawing/2014/main" id="{914F4587-5523-4CCD-A660-B3BEDEAD7F33}"/>
                </a:ext>
              </a:extLst>
            </p:cNvPr>
            <p:cNvSpPr/>
            <p:nvPr/>
          </p:nvSpPr>
          <p:spPr>
            <a:xfrm>
              <a:off x="4738431" y="4075057"/>
              <a:ext cx="2067802" cy="246221"/>
            </a:xfrm>
            <a:prstGeom prst="rect">
              <a:avLst/>
            </a:prstGeom>
          </p:spPr>
          <p:txBody>
            <a:bodyPr wrap="square">
              <a:spAutoFit/>
            </a:bodyPr>
            <a:lstStyle/>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r>
                <a:rPr kumimoji="0" lang="en-US" sz="1000" b="0" i="0" u="none" strike="noStrike" kern="1200" cap="none" spc="10" normalizeH="0" baseline="0" noProof="0" dirty="0">
                  <a:ln>
                    <a:noFill/>
                  </a:ln>
                  <a:solidFill>
                    <a:srgbClr val="000000"/>
                  </a:solidFill>
                  <a:effectLst/>
                  <a:uLnTx/>
                  <a:uFillTx/>
                  <a:latin typeface="Open Sans"/>
                  <a:ea typeface="+mn-ea"/>
                  <a:cs typeface="+mn-cs"/>
                </a:rPr>
                <a:t>Lead: </a:t>
              </a:r>
              <a:r>
                <a:rPr kumimoji="0" lang="en-US" sz="1000" b="1" i="0" u="none" strike="noStrike" kern="1200" cap="none" spc="10" normalizeH="0" baseline="0" noProof="0" dirty="0">
                  <a:ln>
                    <a:noFill/>
                  </a:ln>
                  <a:solidFill>
                    <a:srgbClr val="000000"/>
                  </a:solidFill>
                  <a:effectLst/>
                  <a:uLnTx/>
                  <a:uFillTx/>
                  <a:latin typeface="Open Sans"/>
                  <a:ea typeface="+mn-ea"/>
                  <a:cs typeface="+mn-cs"/>
                </a:rPr>
                <a:t>TBD (Client)</a:t>
              </a:r>
              <a:endParaRPr kumimoji="0" lang="en-US" sz="1000" b="0" i="0" u="none" strike="noStrike" kern="1200" cap="none" spc="10" normalizeH="0" baseline="0" noProof="0" dirty="0">
                <a:ln>
                  <a:noFill/>
                </a:ln>
                <a:solidFill>
                  <a:srgbClr val="000000"/>
                </a:solidFill>
                <a:effectLst/>
                <a:uLnTx/>
                <a:uFillTx/>
                <a:latin typeface="Open Sans"/>
                <a:ea typeface="+mn-ea"/>
                <a:cs typeface="+mn-cs"/>
              </a:endParaRPr>
            </a:p>
          </p:txBody>
        </p:sp>
      </p:grpSp>
      <p:cxnSp>
        <p:nvCxnSpPr>
          <p:cNvPr id="27" name="Straight Connector 26">
            <a:extLst>
              <a:ext uri="{FF2B5EF4-FFF2-40B4-BE49-F238E27FC236}">
                <a16:creationId xmlns:a16="http://schemas.microsoft.com/office/drawing/2014/main" id="{42BD5358-CEB8-4658-B95B-E904FA065E64}"/>
              </a:ext>
            </a:extLst>
          </p:cNvPr>
          <p:cNvCxnSpPr>
            <a:cxnSpLocks/>
          </p:cNvCxnSpPr>
          <p:nvPr/>
        </p:nvCxnSpPr>
        <p:spPr>
          <a:xfrm>
            <a:off x="7004756" y="3092808"/>
            <a:ext cx="4734559"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9529493"/>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472242C-EB70-4E56-8C81-7329171AF85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4196"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A472242C-EB70-4E56-8C81-7329171AF85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F499B62-AE83-4E54-BF18-9F60EC24E48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F9A419DC-6F27-4721-8339-00FB40A758DF}"/>
              </a:ext>
            </a:extLst>
          </p:cNvPr>
          <p:cNvSpPr>
            <a:spLocks noGrp="1"/>
          </p:cNvSpPr>
          <p:nvPr>
            <p:ph type="title"/>
          </p:nvPr>
        </p:nvSpPr>
        <p:spPr/>
        <p:txBody>
          <a:bodyPr/>
          <a:lstStyle/>
          <a:p>
            <a:r>
              <a:rPr lang="en-US" dirty="0">
                <a:solidFill>
                  <a:srgbClr val="000000"/>
                </a:solidFill>
              </a:rPr>
              <a:t>Deloitte &amp; Client Responsibilities</a:t>
            </a:r>
            <a:endParaRPr lang="en-US" dirty="0"/>
          </a:p>
        </p:txBody>
      </p:sp>
      <p:sp>
        <p:nvSpPr>
          <p:cNvPr id="12" name="Text Placeholder 11">
            <a:extLst>
              <a:ext uri="{FF2B5EF4-FFF2-40B4-BE49-F238E27FC236}">
                <a16:creationId xmlns:a16="http://schemas.microsoft.com/office/drawing/2014/main" id="{829EC0EC-E35C-45ED-AE2C-C95E7BBC86D6}"/>
              </a:ext>
            </a:extLst>
          </p:cNvPr>
          <p:cNvSpPr>
            <a:spLocks noGrp="1"/>
          </p:cNvSpPr>
          <p:nvPr>
            <p:ph type="body" sz="quarter" idx="14"/>
          </p:nvPr>
        </p:nvSpPr>
        <p:spPr/>
        <p:txBody>
          <a:bodyPr/>
          <a:lstStyle/>
          <a:p>
            <a:r>
              <a:rPr lang="en-US" dirty="0"/>
              <a:t>Subtitle</a:t>
            </a:r>
          </a:p>
        </p:txBody>
      </p:sp>
      <p:sp>
        <p:nvSpPr>
          <p:cNvPr id="13" name="Text Placeholder 12">
            <a:extLst>
              <a:ext uri="{FF2B5EF4-FFF2-40B4-BE49-F238E27FC236}">
                <a16:creationId xmlns:a16="http://schemas.microsoft.com/office/drawing/2014/main" id="{1428EAA5-D7D8-4762-A9CE-E9720E97C711}"/>
              </a:ext>
            </a:extLst>
          </p:cNvPr>
          <p:cNvSpPr>
            <a:spLocks noGrp="1"/>
          </p:cNvSpPr>
          <p:nvPr>
            <p:ph type="body" sz="quarter" idx="15"/>
          </p:nvPr>
        </p:nvSpPr>
        <p:spPr/>
        <p:txBody>
          <a:bodyPr/>
          <a:lstStyle/>
          <a:p>
            <a:r>
              <a:rPr lang="en-US" dirty="0"/>
              <a:t>ORGANIZATION STRUCTURE &amp; BIOS</a:t>
            </a:r>
          </a:p>
        </p:txBody>
      </p:sp>
      <p:graphicFrame>
        <p:nvGraphicFramePr>
          <p:cNvPr id="5" name="Table 4">
            <a:extLst>
              <a:ext uri="{FF2B5EF4-FFF2-40B4-BE49-F238E27FC236}">
                <a16:creationId xmlns:a16="http://schemas.microsoft.com/office/drawing/2014/main" id="{DD9B2B88-1B4F-489E-B82D-E5E2E41FCF1A}"/>
              </a:ext>
            </a:extLst>
          </p:cNvPr>
          <p:cNvGraphicFramePr>
            <a:graphicFrameLocks noGrp="1"/>
          </p:cNvGraphicFramePr>
          <p:nvPr>
            <p:extLst>
              <p:ext uri="{D42A27DB-BD31-4B8C-83A1-F6EECF244321}">
                <p14:modId xmlns:p14="http://schemas.microsoft.com/office/powerpoint/2010/main" val="2251558709"/>
              </p:ext>
            </p:extLst>
          </p:nvPr>
        </p:nvGraphicFramePr>
        <p:xfrm>
          <a:off x="914400" y="1663929"/>
          <a:ext cx="5115436" cy="4464332"/>
        </p:xfrm>
        <a:graphic>
          <a:graphicData uri="http://schemas.openxmlformats.org/drawingml/2006/table">
            <a:tbl>
              <a:tblPr firstRow="1" bandRow="1">
                <a:tableStyleId>{2D5ABB26-0587-4C30-8999-92F81FD0307C}</a:tableStyleId>
              </a:tblPr>
              <a:tblGrid>
                <a:gridCol w="982133">
                  <a:extLst>
                    <a:ext uri="{9D8B030D-6E8A-4147-A177-3AD203B41FA5}">
                      <a16:colId xmlns:a16="http://schemas.microsoft.com/office/drawing/2014/main" val="20000"/>
                    </a:ext>
                  </a:extLst>
                </a:gridCol>
                <a:gridCol w="1388534">
                  <a:extLst>
                    <a:ext uri="{9D8B030D-6E8A-4147-A177-3AD203B41FA5}">
                      <a16:colId xmlns:a16="http://schemas.microsoft.com/office/drawing/2014/main" val="1443701771"/>
                    </a:ext>
                  </a:extLst>
                </a:gridCol>
                <a:gridCol w="2744769">
                  <a:extLst>
                    <a:ext uri="{9D8B030D-6E8A-4147-A177-3AD203B41FA5}">
                      <a16:colId xmlns:a16="http://schemas.microsoft.com/office/drawing/2014/main" val="20001"/>
                    </a:ext>
                  </a:extLst>
                </a:gridCol>
              </a:tblGrid>
              <a:tr h="282857">
                <a:tc>
                  <a:txBody>
                    <a:bodyPr/>
                    <a:lstStyle/>
                    <a:p>
                      <a:pPr algn="ctr"/>
                      <a:r>
                        <a:rPr lang="en-US" sz="1050" b="1" cap="all" spc="300" dirty="0">
                          <a:solidFill>
                            <a:schemeClr val="tx1"/>
                          </a:solidFill>
                          <a:latin typeface="Open Sans" charset="0"/>
                          <a:ea typeface="Open Sans" charset="0"/>
                          <a:cs typeface="Open Sans" charset="0"/>
                        </a:rPr>
                        <a:t>ROLE</a:t>
                      </a:r>
                      <a:endParaRPr lang="en-US" sz="1050" b="0" dirty="0">
                        <a:solidFill>
                          <a:schemeClr val="tx1"/>
                        </a:solidFill>
                        <a:latin typeface="Open Sans" charset="0"/>
                        <a:ea typeface="Open Sans" charset="0"/>
                        <a:cs typeface="Open Sans" charset="0"/>
                      </a:endParaRPr>
                    </a:p>
                  </a:txBody>
                  <a:tcPr anchor="ctr">
                    <a:lnL w="12700" cap="flat" cmpd="sng" algn="ctr">
                      <a:no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86F200"/>
                    </a:solidFill>
                  </a:tcPr>
                </a:tc>
                <a:tc>
                  <a:txBody>
                    <a:bodyPr/>
                    <a:lstStyle/>
                    <a:p>
                      <a:pPr algn="ctr"/>
                      <a:endParaRPr lang="en-US" sz="1050" b="1" kern="1200" cap="all" spc="300" dirty="0">
                        <a:solidFill>
                          <a:schemeClr val="tx1"/>
                        </a:solidFill>
                        <a:latin typeface="Open Sans" charset="0"/>
                        <a:ea typeface="Open Sans" charset="0"/>
                        <a:cs typeface="Open Sans" charset="0"/>
                      </a:endParaRPr>
                    </a:p>
                  </a:txBody>
                  <a:tcPr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86F200"/>
                    </a:solidFill>
                  </a:tcPr>
                </a:tc>
                <a:tc>
                  <a:txBody>
                    <a:bodyPr/>
                    <a:lstStyle/>
                    <a:p>
                      <a:pPr algn="ctr"/>
                      <a:r>
                        <a:rPr lang="en-US" sz="1050" b="1" kern="1200" cap="all" spc="300" dirty="0">
                          <a:solidFill>
                            <a:schemeClr val="tx1"/>
                          </a:solidFill>
                          <a:latin typeface="Open Sans" charset="0"/>
                          <a:ea typeface="Open Sans" charset="0"/>
                          <a:cs typeface="Open Sans" charset="0"/>
                        </a:rPr>
                        <a:t>RESPONSIBILITIES</a:t>
                      </a:r>
                    </a:p>
                  </a:txBody>
                  <a:tcPr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86F200"/>
                    </a:solidFill>
                  </a:tcPr>
                </a:tc>
                <a:extLst>
                  <a:ext uri="{0D108BD9-81ED-4DB2-BD59-A6C34878D82A}">
                    <a16:rowId xmlns:a16="http://schemas.microsoft.com/office/drawing/2014/main" val="10000"/>
                  </a:ext>
                </a:extLst>
              </a:tr>
              <a:tr h="914400">
                <a:tc>
                  <a:txBody>
                    <a:bodyPr/>
                    <a:lstStyle/>
                    <a:p>
                      <a:r>
                        <a:rPr lang="en-US" sz="900" b="1" dirty="0"/>
                        <a:t>Engagement</a:t>
                      </a:r>
                      <a:r>
                        <a:rPr lang="en-US" sz="900" b="1" baseline="0" dirty="0"/>
                        <a:t> Leadership</a:t>
                      </a:r>
                      <a:endParaRPr lang="en-US" sz="900" b="1" dirty="0"/>
                    </a:p>
                  </a:txBody>
                  <a:tcPr marT="91440" marB="0">
                    <a:lnL>
                      <a:noFill/>
                    </a:lnL>
                    <a:lnR>
                      <a:noFill/>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101600" marR="0" lvl="1" indent="-101600" algn="l" defTabSz="911840" rtl="0" eaLnBrk="1" fontAlgn="auto" latinLnBrk="0" hangingPunct="1">
                        <a:lnSpc>
                          <a:spcPct val="110000"/>
                        </a:lnSpc>
                        <a:spcBef>
                          <a:spcPts val="0"/>
                        </a:spcBef>
                        <a:spcAft>
                          <a:spcPts val="0"/>
                        </a:spcAft>
                        <a:buClrTx/>
                        <a:buSzPct val="100000"/>
                        <a:buFont typeface="Arial" panose="020B0604020202020204" pitchFamily="34" charset="0"/>
                        <a:buChar char="•"/>
                        <a:tabLst/>
                        <a:defRPr/>
                      </a:pPr>
                      <a:r>
                        <a:rPr lang="en-US" sz="900" kern="0" dirty="0">
                          <a:solidFill>
                            <a:schemeClr val="tx1"/>
                          </a:solidFill>
                          <a:latin typeface="+mn-lt"/>
                          <a:ea typeface="+mn-ea"/>
                          <a:cs typeface="+mn-cs"/>
                        </a:rPr>
                        <a:t>Names</a:t>
                      </a:r>
                    </a:p>
                  </a:txBody>
                  <a:tcPr marT="91440" marB="0">
                    <a:lnL>
                      <a:noFill/>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101600" lvl="1" indent="-101600" algn="l" defTabSz="911840">
                        <a:lnSpc>
                          <a:spcPct val="110000"/>
                        </a:lnSpc>
                        <a:buClrTx/>
                        <a:buSzPct val="100000"/>
                        <a:buFont typeface="Arial" panose="020B0604020202020204" pitchFamily="34" charset="0"/>
                        <a:buChar char="•"/>
                        <a:defRPr/>
                      </a:pPr>
                      <a:r>
                        <a:rPr lang="en-US" sz="900" kern="0" dirty="0">
                          <a:solidFill>
                            <a:schemeClr val="tx1"/>
                          </a:solidFill>
                          <a:latin typeface="+mn-lt"/>
                        </a:rPr>
                        <a:t>Set overall project strategy and direction</a:t>
                      </a:r>
                    </a:p>
                    <a:p>
                      <a:pPr marL="101600" lvl="1" indent="-101600" algn="l" defTabSz="911840">
                        <a:lnSpc>
                          <a:spcPct val="110000"/>
                        </a:lnSpc>
                        <a:buClrTx/>
                        <a:buSzPct val="100000"/>
                        <a:buFont typeface="Arial" panose="020B0604020202020204" pitchFamily="34" charset="0"/>
                        <a:buChar char="•"/>
                        <a:defRPr/>
                      </a:pPr>
                      <a:r>
                        <a:rPr lang="en-US" sz="900" kern="0" dirty="0">
                          <a:solidFill>
                            <a:schemeClr val="tx1"/>
                          </a:solidFill>
                          <a:latin typeface="+mn-lt"/>
                        </a:rPr>
                        <a:t>Secure resources </a:t>
                      </a:r>
                    </a:p>
                    <a:p>
                      <a:pPr marL="101600" lvl="1" indent="-101600" algn="l" defTabSz="911840">
                        <a:lnSpc>
                          <a:spcPct val="110000"/>
                        </a:lnSpc>
                        <a:buClrTx/>
                        <a:buSzPct val="100000"/>
                        <a:buFont typeface="Arial" panose="020B0604020202020204" pitchFamily="34" charset="0"/>
                        <a:buChar char="•"/>
                        <a:defRPr/>
                      </a:pPr>
                      <a:r>
                        <a:rPr lang="en-US" sz="900" kern="0" dirty="0">
                          <a:solidFill>
                            <a:schemeClr val="tx1"/>
                          </a:solidFill>
                          <a:latin typeface="+mn-lt"/>
                        </a:rPr>
                        <a:t>Participate in key workshops and status updates</a:t>
                      </a:r>
                    </a:p>
                    <a:p>
                      <a:pPr marL="101600" lvl="1" indent="-101600" algn="l" defTabSz="911840">
                        <a:lnSpc>
                          <a:spcPct val="110000"/>
                        </a:lnSpc>
                        <a:buClrTx/>
                        <a:buSzPct val="100000"/>
                        <a:buFont typeface="Arial" panose="020B0604020202020204" pitchFamily="34" charset="0"/>
                        <a:buChar char="•"/>
                        <a:defRPr/>
                      </a:pPr>
                      <a:r>
                        <a:rPr lang="en-US" sz="900" kern="0" dirty="0">
                          <a:solidFill>
                            <a:schemeClr val="tx1"/>
                          </a:solidFill>
                          <a:latin typeface="+mn-lt"/>
                        </a:rPr>
                        <a:t>Resolve any project issues timely</a:t>
                      </a:r>
                    </a:p>
                    <a:p>
                      <a:pPr marL="101600" lvl="1" indent="-101600" algn="l" defTabSz="911840">
                        <a:lnSpc>
                          <a:spcPct val="110000"/>
                        </a:lnSpc>
                        <a:buClrTx/>
                        <a:buSzPct val="100000"/>
                        <a:buFont typeface="Arial" panose="020B0604020202020204" pitchFamily="34" charset="0"/>
                        <a:buChar char="•"/>
                        <a:defRPr/>
                      </a:pPr>
                      <a:r>
                        <a:rPr lang="en-US" sz="900" kern="0" dirty="0">
                          <a:solidFill>
                            <a:schemeClr val="tx1"/>
                          </a:solidFill>
                          <a:latin typeface="+mn-lt"/>
                        </a:rPr>
                        <a:t>Review and approve assumptions</a:t>
                      </a:r>
                      <a:r>
                        <a:rPr lang="en-US" sz="900" kern="0" baseline="0" dirty="0">
                          <a:solidFill>
                            <a:schemeClr val="tx1"/>
                          </a:solidFill>
                          <a:latin typeface="+mn-lt"/>
                        </a:rPr>
                        <a:t> </a:t>
                      </a:r>
                      <a:r>
                        <a:rPr lang="en-US" sz="900" kern="0" dirty="0">
                          <a:solidFill>
                            <a:schemeClr val="tx1"/>
                          </a:solidFill>
                          <a:latin typeface="+mn-lt"/>
                        </a:rPr>
                        <a:t>and deliverables </a:t>
                      </a:r>
                    </a:p>
                  </a:txBody>
                  <a:tcPr marT="91440" marB="0">
                    <a:lnL w="12700" cap="flat" cmpd="sng" algn="ctr">
                      <a:solidFill>
                        <a:schemeClr val="accent6">
                          <a:lumMod val="20000"/>
                          <a:lumOff val="80000"/>
                        </a:schemeClr>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914400">
                <a:tc>
                  <a:txBody>
                    <a:bodyPr/>
                    <a:lstStyle/>
                    <a:p>
                      <a:r>
                        <a:rPr lang="en-US" sz="900" b="1" dirty="0"/>
                        <a:t>Subject Matter Advisors</a:t>
                      </a:r>
                    </a:p>
                  </a:txBody>
                  <a:tcPr marT="91440" marB="0">
                    <a:lnL>
                      <a:noFill/>
                    </a:lnL>
                    <a:lnR>
                      <a:noFill/>
                    </a:lnR>
                    <a:lnT>
                      <a:noFill/>
                    </a:lnT>
                    <a:lnB>
                      <a:noFill/>
                    </a:lnB>
                    <a:lnTlToBr w="12700" cmpd="sng">
                      <a:noFill/>
                      <a:prstDash val="solid"/>
                    </a:lnTlToBr>
                    <a:lnBlToTr w="12700" cmpd="sng">
                      <a:noFill/>
                      <a:prstDash val="solid"/>
                    </a:lnBlToTr>
                  </a:tcPr>
                </a:tc>
                <a:tc>
                  <a:txBody>
                    <a:bodyPr/>
                    <a:lstStyle/>
                    <a:p>
                      <a:pPr marL="101600" marR="0" lvl="1" indent="-101600" algn="l" defTabSz="911840" rtl="0" eaLnBrk="1" fontAlgn="auto" latinLnBrk="0" hangingPunct="1">
                        <a:lnSpc>
                          <a:spcPct val="110000"/>
                        </a:lnSpc>
                        <a:spcBef>
                          <a:spcPts val="0"/>
                        </a:spcBef>
                        <a:spcAft>
                          <a:spcPts val="0"/>
                        </a:spcAft>
                        <a:buClrTx/>
                        <a:buSzPct val="100000"/>
                        <a:buFont typeface="Arial" panose="020B0604020202020204" pitchFamily="34" charset="0"/>
                        <a:buChar char="•"/>
                        <a:tabLst/>
                        <a:defRPr/>
                      </a:pPr>
                      <a:r>
                        <a:rPr lang="en-US" sz="900" kern="0" noProof="0" dirty="0">
                          <a:solidFill>
                            <a:schemeClr val="tx1"/>
                          </a:solidFill>
                          <a:latin typeface="+mn-lt"/>
                          <a:ea typeface="+mn-ea"/>
                          <a:cs typeface="+mn-cs"/>
                        </a:rPr>
                        <a:t>Names</a:t>
                      </a:r>
                      <a:endParaRPr lang="en-US" sz="900" kern="0" dirty="0">
                        <a:solidFill>
                          <a:schemeClr val="tx1"/>
                        </a:solidFill>
                        <a:latin typeface="+mn-lt"/>
                        <a:ea typeface="+mn-ea"/>
                        <a:cs typeface="+mn-cs"/>
                      </a:endParaRPr>
                    </a:p>
                  </a:txBody>
                  <a:tcPr marT="91440" marB="0">
                    <a:lnL>
                      <a:noFill/>
                    </a:lnL>
                    <a:lnR w="12700" cap="flat" cmpd="sng" algn="ctr">
                      <a:solidFill>
                        <a:schemeClr val="accent6">
                          <a:lumMod val="20000"/>
                          <a:lumOff val="8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marL="101600" lvl="1" indent="-101600" algn="l" defTabSz="911840">
                        <a:lnSpc>
                          <a:spcPct val="110000"/>
                        </a:lnSpc>
                        <a:buClrTx/>
                        <a:buSzPct val="100000"/>
                        <a:buFont typeface="Arial" panose="020B0604020202020204" pitchFamily="34" charset="0"/>
                        <a:buChar char="•"/>
                        <a:defRPr/>
                      </a:pPr>
                      <a:r>
                        <a:rPr lang="en-US" sz="900" kern="0" dirty="0">
                          <a:solidFill>
                            <a:schemeClr val="tx1"/>
                          </a:solidFill>
                          <a:latin typeface="+mn-lt"/>
                        </a:rPr>
                        <a:t>Provide knowledge and recommendations on specific industry topics or methodology / approach</a:t>
                      </a:r>
                    </a:p>
                    <a:p>
                      <a:pPr marL="101600" lvl="1" indent="-101600" algn="l" defTabSz="911840">
                        <a:lnSpc>
                          <a:spcPct val="110000"/>
                        </a:lnSpc>
                        <a:buClrTx/>
                        <a:buSzPct val="100000"/>
                        <a:buFont typeface="Arial" panose="020B0604020202020204" pitchFamily="34" charset="0"/>
                        <a:buChar char="•"/>
                        <a:defRPr/>
                      </a:pPr>
                      <a:r>
                        <a:rPr lang="en-US" sz="900" kern="0" dirty="0">
                          <a:solidFill>
                            <a:schemeClr val="tx1"/>
                          </a:solidFill>
                          <a:latin typeface="+mn-lt"/>
                        </a:rPr>
                        <a:t>Provide input into quality of deliverables and recommendations</a:t>
                      </a:r>
                    </a:p>
                  </a:txBody>
                  <a:tcPr marT="91440" marB="0">
                    <a:lnL w="12700" cap="flat" cmpd="sng" algn="ctr">
                      <a:solidFill>
                        <a:schemeClr val="accent6">
                          <a:lumMod val="20000"/>
                          <a:lumOff val="80000"/>
                        </a:schemeClr>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914400">
                <a:tc>
                  <a:txBody>
                    <a:bodyPr/>
                    <a:lstStyle/>
                    <a:p>
                      <a:r>
                        <a:rPr lang="en-US" sz="900" b="1" dirty="0"/>
                        <a:t>Project Management</a:t>
                      </a:r>
                    </a:p>
                  </a:txBody>
                  <a:tcPr marT="91440" marB="0">
                    <a:lnL>
                      <a:noFill/>
                    </a:lnL>
                    <a:lnR>
                      <a:noFill/>
                    </a:lnR>
                    <a:lnT>
                      <a:noFill/>
                    </a:lnT>
                    <a:lnB>
                      <a:noFill/>
                    </a:lnB>
                    <a:lnTlToBr w="12700" cmpd="sng">
                      <a:noFill/>
                      <a:prstDash val="solid"/>
                    </a:lnTlToBr>
                    <a:lnBlToTr w="12700" cmpd="sng">
                      <a:noFill/>
                      <a:prstDash val="solid"/>
                    </a:lnBlToTr>
                  </a:tcPr>
                </a:tc>
                <a:tc>
                  <a:txBody>
                    <a:bodyPr/>
                    <a:lstStyle/>
                    <a:p>
                      <a:pPr marL="101600" marR="0" lvl="1" indent="-101600" algn="l" defTabSz="911840" rtl="0" eaLnBrk="1" fontAlgn="auto" latinLnBrk="0" hangingPunct="1">
                        <a:lnSpc>
                          <a:spcPct val="110000"/>
                        </a:lnSpc>
                        <a:spcBef>
                          <a:spcPts val="0"/>
                        </a:spcBef>
                        <a:spcAft>
                          <a:spcPts val="0"/>
                        </a:spcAft>
                        <a:buClrTx/>
                        <a:buSzPct val="100000"/>
                        <a:buFont typeface="Arial" panose="020B0604020202020204" pitchFamily="34" charset="0"/>
                        <a:buChar char="•"/>
                        <a:tabLst/>
                        <a:defRPr/>
                      </a:pPr>
                      <a:r>
                        <a:rPr lang="en-US" sz="900" kern="0" dirty="0">
                          <a:solidFill>
                            <a:schemeClr val="tx1"/>
                          </a:solidFill>
                          <a:latin typeface="+mn-lt"/>
                          <a:ea typeface="+mn-ea"/>
                          <a:cs typeface="+mn-cs"/>
                        </a:rPr>
                        <a:t>Marketing and Strategy Lead</a:t>
                      </a:r>
                    </a:p>
                    <a:p>
                      <a:pPr marL="101600" marR="0" lvl="1" indent="-101600" algn="l" defTabSz="911840" rtl="0" eaLnBrk="1" fontAlgn="auto" latinLnBrk="0" hangingPunct="1">
                        <a:lnSpc>
                          <a:spcPct val="110000"/>
                        </a:lnSpc>
                        <a:spcBef>
                          <a:spcPts val="0"/>
                        </a:spcBef>
                        <a:spcAft>
                          <a:spcPts val="0"/>
                        </a:spcAft>
                        <a:buClrTx/>
                        <a:buSzPct val="100000"/>
                        <a:buFont typeface="Arial" panose="020B0604020202020204" pitchFamily="34" charset="0"/>
                        <a:buChar char="•"/>
                        <a:tabLst/>
                        <a:defRPr/>
                      </a:pPr>
                      <a:r>
                        <a:rPr lang="en-US" sz="900" kern="0" dirty="0">
                          <a:solidFill>
                            <a:schemeClr val="tx1"/>
                          </a:solidFill>
                          <a:latin typeface="+mn-lt"/>
                          <a:ea typeface="+mn-ea"/>
                          <a:cs typeface="+mn-cs"/>
                        </a:rPr>
                        <a:t>Digital Lead</a:t>
                      </a:r>
                    </a:p>
                  </a:txBody>
                  <a:tcPr marT="91440" marB="0">
                    <a:lnL>
                      <a:noFill/>
                    </a:lnL>
                    <a:lnR w="12700" cap="flat" cmpd="sng" algn="ctr">
                      <a:solidFill>
                        <a:schemeClr val="accent6">
                          <a:lumMod val="20000"/>
                          <a:lumOff val="8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marL="101600" lvl="1" indent="-101600" algn="l" defTabSz="911840">
                        <a:lnSpc>
                          <a:spcPct val="110000"/>
                        </a:lnSpc>
                        <a:buClrTx/>
                        <a:buSzPct val="100000"/>
                        <a:buFont typeface="Arial" panose="020B0604020202020204" pitchFamily="34" charset="0"/>
                        <a:buChar char="•"/>
                        <a:defRPr/>
                      </a:pPr>
                      <a:r>
                        <a:rPr lang="en-US" sz="900" kern="0" dirty="0">
                          <a:solidFill>
                            <a:schemeClr val="tx1"/>
                          </a:solidFill>
                          <a:latin typeface="+mn-lt"/>
                        </a:rPr>
                        <a:t>Manage day-to-day project activities</a:t>
                      </a:r>
                    </a:p>
                    <a:p>
                      <a:pPr marL="101600" lvl="1" indent="-101600" algn="l" defTabSz="911840">
                        <a:lnSpc>
                          <a:spcPct val="110000"/>
                        </a:lnSpc>
                        <a:buClrTx/>
                        <a:buSzPct val="100000"/>
                        <a:buFont typeface="Arial" panose="020B0604020202020204" pitchFamily="34" charset="0"/>
                        <a:buChar char="•"/>
                        <a:defRPr/>
                      </a:pPr>
                      <a:r>
                        <a:rPr lang="en-US" sz="900" kern="0" dirty="0">
                          <a:solidFill>
                            <a:schemeClr val="tx1"/>
                          </a:solidFill>
                          <a:latin typeface="+mn-lt"/>
                        </a:rPr>
                        <a:t>Involve and engage key stakeholders</a:t>
                      </a:r>
                    </a:p>
                    <a:p>
                      <a:pPr marL="101600" lvl="1" indent="-101600" algn="l" defTabSz="911840">
                        <a:lnSpc>
                          <a:spcPct val="110000"/>
                        </a:lnSpc>
                        <a:buClrTx/>
                        <a:buSzPct val="100000"/>
                        <a:buFont typeface="Arial" panose="020B0604020202020204" pitchFamily="34" charset="0"/>
                        <a:buChar char="•"/>
                        <a:defRPr/>
                      </a:pPr>
                      <a:r>
                        <a:rPr lang="en-US" sz="900" kern="0" dirty="0">
                          <a:solidFill>
                            <a:schemeClr val="tx1"/>
                          </a:solidFill>
                          <a:latin typeface="+mn-lt"/>
                        </a:rPr>
                        <a:t>Lead cross-team meetings </a:t>
                      </a:r>
                    </a:p>
                    <a:p>
                      <a:pPr marL="101600" lvl="1" indent="-101600" algn="l" defTabSz="911840">
                        <a:lnSpc>
                          <a:spcPct val="110000"/>
                        </a:lnSpc>
                        <a:buClrTx/>
                        <a:buSzPct val="100000"/>
                        <a:buFont typeface="Arial" panose="020B0604020202020204" pitchFamily="34" charset="0"/>
                        <a:buChar char="•"/>
                        <a:defRPr/>
                      </a:pPr>
                      <a:r>
                        <a:rPr lang="en-US" sz="900" kern="0" dirty="0">
                          <a:solidFill>
                            <a:schemeClr val="tx1"/>
                          </a:solidFill>
                          <a:latin typeface="+mn-lt"/>
                        </a:rPr>
                        <a:t>Drive program execution</a:t>
                      </a:r>
                    </a:p>
                    <a:p>
                      <a:pPr marL="101600" lvl="1" indent="-101600" algn="l" defTabSz="911840">
                        <a:lnSpc>
                          <a:spcPct val="110000"/>
                        </a:lnSpc>
                        <a:buClrTx/>
                        <a:buSzPct val="100000"/>
                        <a:buFont typeface="Arial" panose="020B0604020202020204" pitchFamily="34" charset="0"/>
                        <a:buChar char="•"/>
                        <a:defRPr/>
                      </a:pPr>
                      <a:r>
                        <a:rPr lang="en-US" sz="900" kern="0" dirty="0">
                          <a:solidFill>
                            <a:schemeClr val="tx1"/>
                          </a:solidFill>
                          <a:latin typeface="+mn-lt"/>
                        </a:rPr>
                        <a:t>Manage project issues, risks, &amp; work plan</a:t>
                      </a:r>
                    </a:p>
                    <a:p>
                      <a:pPr marL="101600" lvl="1" indent="-101600" algn="l" defTabSz="911840">
                        <a:lnSpc>
                          <a:spcPct val="110000"/>
                        </a:lnSpc>
                        <a:buClrTx/>
                        <a:buSzPct val="100000"/>
                        <a:buFont typeface="Arial" panose="020B0604020202020204" pitchFamily="34" charset="0"/>
                        <a:buChar char="•"/>
                        <a:defRPr/>
                      </a:pPr>
                      <a:r>
                        <a:rPr lang="en-US" sz="900" kern="0" dirty="0">
                          <a:solidFill>
                            <a:schemeClr val="tx1"/>
                          </a:solidFill>
                          <a:latin typeface="+mn-lt"/>
                        </a:rPr>
                        <a:t>Review advise and help finalize deliverables</a:t>
                      </a:r>
                    </a:p>
                  </a:txBody>
                  <a:tcPr marT="91440" marB="0">
                    <a:lnL w="12700" cap="flat" cmpd="sng" algn="ctr">
                      <a:solidFill>
                        <a:schemeClr val="accent6">
                          <a:lumMod val="20000"/>
                          <a:lumOff val="80000"/>
                        </a:schemeClr>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618515">
                <a:tc>
                  <a:txBody>
                    <a:bodyPr/>
                    <a:lstStyle/>
                    <a:p>
                      <a:r>
                        <a:rPr lang="en-US" sz="900" b="1" dirty="0"/>
                        <a:t>Core Project Team</a:t>
                      </a:r>
                    </a:p>
                  </a:txBody>
                  <a:tcPr marT="91440" marB="0">
                    <a:lnL>
                      <a:noFill/>
                    </a:lnL>
                    <a:lnR>
                      <a:noFill/>
                    </a:lnR>
                    <a:lnT>
                      <a:noFill/>
                    </a:lnT>
                    <a:lnB>
                      <a:noFill/>
                    </a:lnB>
                    <a:lnTlToBr w="12700" cmpd="sng">
                      <a:noFill/>
                      <a:prstDash val="solid"/>
                    </a:lnTlToBr>
                    <a:lnBlToTr w="12700" cmpd="sng">
                      <a:noFill/>
                      <a:prstDash val="solid"/>
                    </a:lnBlToTr>
                  </a:tcPr>
                </a:tc>
                <a:tc>
                  <a:txBody>
                    <a:bodyPr/>
                    <a:lstStyle/>
                    <a:p>
                      <a:pPr marL="101600" marR="0" lvl="1" indent="-101600" algn="l" defTabSz="911840" rtl="0" eaLnBrk="1" fontAlgn="auto" latinLnBrk="0" hangingPunct="1">
                        <a:lnSpc>
                          <a:spcPct val="110000"/>
                        </a:lnSpc>
                        <a:spcBef>
                          <a:spcPts val="0"/>
                        </a:spcBef>
                        <a:spcAft>
                          <a:spcPts val="0"/>
                        </a:spcAft>
                        <a:buClrTx/>
                        <a:buSzPct val="100000"/>
                        <a:buFont typeface="Arial" panose="020B0604020202020204" pitchFamily="34" charset="0"/>
                        <a:buChar char="•"/>
                        <a:tabLst/>
                        <a:defRPr/>
                      </a:pPr>
                      <a:r>
                        <a:rPr lang="en-US" sz="900" kern="0" dirty="0">
                          <a:solidFill>
                            <a:schemeClr val="tx1"/>
                          </a:solidFill>
                          <a:latin typeface="+mn-lt"/>
                          <a:ea typeface="+mn-ea"/>
                          <a:cs typeface="+mn-cs"/>
                        </a:rPr>
                        <a:t>2 Consultants (Use</a:t>
                      </a:r>
                      <a:r>
                        <a:rPr lang="en-US" sz="900" kern="0" baseline="0" dirty="0">
                          <a:solidFill>
                            <a:schemeClr val="tx1"/>
                          </a:solidFill>
                          <a:latin typeface="+mn-lt"/>
                          <a:ea typeface="+mn-ea"/>
                          <a:cs typeface="+mn-cs"/>
                        </a:rPr>
                        <a:t> Cases / Operating Model, Business Requirements, Technical Requirements)</a:t>
                      </a:r>
                    </a:p>
                    <a:p>
                      <a:pPr marL="101600" marR="0" lvl="1" indent="-101600" algn="l" defTabSz="911840" rtl="0" eaLnBrk="1" fontAlgn="auto" latinLnBrk="0" hangingPunct="1">
                        <a:lnSpc>
                          <a:spcPct val="110000"/>
                        </a:lnSpc>
                        <a:spcBef>
                          <a:spcPts val="0"/>
                        </a:spcBef>
                        <a:spcAft>
                          <a:spcPts val="0"/>
                        </a:spcAft>
                        <a:buClrTx/>
                        <a:buSzPct val="100000"/>
                        <a:buFont typeface="Arial" panose="020B0604020202020204" pitchFamily="34" charset="0"/>
                        <a:buChar char="•"/>
                        <a:tabLst/>
                        <a:defRPr/>
                      </a:pPr>
                      <a:r>
                        <a:rPr lang="en-US" sz="900" kern="0" dirty="0">
                          <a:solidFill>
                            <a:schemeClr val="tx1"/>
                          </a:solidFill>
                          <a:latin typeface="+mn-lt"/>
                          <a:ea typeface="+mn-ea"/>
                          <a:cs typeface="+mn-cs"/>
                        </a:rPr>
                        <a:t>Technology Architect</a:t>
                      </a:r>
                    </a:p>
                  </a:txBody>
                  <a:tcPr marT="91440" marB="0">
                    <a:lnL>
                      <a:noFill/>
                    </a:lnL>
                    <a:lnR w="12700" cap="flat" cmpd="sng" algn="ctr">
                      <a:solidFill>
                        <a:schemeClr val="accent6">
                          <a:lumMod val="20000"/>
                          <a:lumOff val="8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marL="101600" lvl="1" indent="-101600" algn="l" defTabSz="911840">
                        <a:lnSpc>
                          <a:spcPct val="110000"/>
                        </a:lnSpc>
                        <a:buClrTx/>
                        <a:buSzPct val="100000"/>
                        <a:buFont typeface="Arial" panose="020B0604020202020204" pitchFamily="34" charset="0"/>
                        <a:buChar char="•"/>
                        <a:defRPr/>
                      </a:pPr>
                      <a:r>
                        <a:rPr lang="en-US" altLang="en-US" sz="900" kern="0" dirty="0">
                          <a:solidFill>
                            <a:schemeClr val="tx1"/>
                          </a:solidFill>
                          <a:latin typeface="+mn-lt"/>
                        </a:rPr>
                        <a:t>Execute day-to-day project activities</a:t>
                      </a:r>
                    </a:p>
                    <a:p>
                      <a:pPr marL="101600" lvl="1" indent="-101600" algn="l" defTabSz="911840">
                        <a:lnSpc>
                          <a:spcPct val="110000"/>
                        </a:lnSpc>
                        <a:buClrTx/>
                        <a:buSzPct val="100000"/>
                        <a:buFont typeface="Arial" panose="020B0604020202020204" pitchFamily="34" charset="0"/>
                        <a:buChar char="•"/>
                        <a:defRPr/>
                      </a:pPr>
                      <a:r>
                        <a:rPr lang="en-US" altLang="en-US" sz="900" kern="0" dirty="0">
                          <a:solidFill>
                            <a:schemeClr val="tx1"/>
                          </a:solidFill>
                          <a:latin typeface="+mn-lt"/>
                        </a:rPr>
                        <a:t>Ensure cross-team communication and synergies</a:t>
                      </a:r>
                    </a:p>
                    <a:p>
                      <a:pPr marL="101600" lvl="1" indent="-101600" algn="l" defTabSz="911840">
                        <a:lnSpc>
                          <a:spcPct val="110000"/>
                        </a:lnSpc>
                        <a:buClrTx/>
                        <a:buSzPct val="100000"/>
                        <a:buFont typeface="Arial" panose="020B0604020202020204" pitchFamily="34" charset="0"/>
                        <a:buChar char="•"/>
                        <a:defRPr/>
                      </a:pPr>
                      <a:r>
                        <a:rPr lang="en-US" altLang="en-US" sz="900" kern="0" dirty="0">
                          <a:solidFill>
                            <a:schemeClr val="tx1"/>
                          </a:solidFill>
                          <a:latin typeface="+mn-lt"/>
                        </a:rPr>
                        <a:t>Drive analysis and develop recommendations</a:t>
                      </a:r>
                    </a:p>
                    <a:p>
                      <a:pPr marL="101600" lvl="1" indent="-101600" algn="l" defTabSz="911840">
                        <a:lnSpc>
                          <a:spcPct val="110000"/>
                        </a:lnSpc>
                        <a:buClrTx/>
                        <a:buSzPct val="100000"/>
                        <a:buFont typeface="Arial" panose="020B0604020202020204" pitchFamily="34" charset="0"/>
                        <a:buChar char="•"/>
                        <a:defRPr/>
                      </a:pPr>
                      <a:r>
                        <a:rPr lang="en-US" altLang="en-US" sz="900" kern="0" dirty="0">
                          <a:solidFill>
                            <a:schemeClr val="tx1"/>
                          </a:solidFill>
                          <a:latin typeface="+mn-lt"/>
                        </a:rPr>
                        <a:t>Build project deliverables</a:t>
                      </a:r>
                    </a:p>
                    <a:p>
                      <a:pPr marL="101600" lvl="1" indent="-101600" algn="l" defTabSz="911840">
                        <a:lnSpc>
                          <a:spcPct val="110000"/>
                        </a:lnSpc>
                        <a:buClrTx/>
                        <a:buSzPct val="100000"/>
                        <a:buFont typeface="Arial" panose="020B0604020202020204" pitchFamily="34" charset="0"/>
                        <a:buChar char="•"/>
                        <a:defRPr/>
                      </a:pPr>
                      <a:r>
                        <a:rPr lang="en-US" altLang="en-US" sz="900" kern="0" dirty="0">
                          <a:solidFill>
                            <a:schemeClr val="tx1"/>
                          </a:solidFill>
                          <a:latin typeface="+mn-lt"/>
                        </a:rPr>
                        <a:t>Engage stakeholders and advisors</a:t>
                      </a:r>
                    </a:p>
                  </a:txBody>
                  <a:tcPr marT="91440" marB="0">
                    <a:lnL w="12700" cap="flat" cmpd="sng" algn="ctr">
                      <a:solidFill>
                        <a:schemeClr val="accent6">
                          <a:lumMod val="20000"/>
                          <a:lumOff val="80000"/>
                        </a:schemeClr>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4"/>
                  </a:ext>
                </a:extLst>
              </a:tr>
            </a:tbl>
          </a:graphicData>
        </a:graphic>
      </p:graphicFrame>
      <p:graphicFrame>
        <p:nvGraphicFramePr>
          <p:cNvPr id="6" name="Table 5">
            <a:extLst>
              <a:ext uri="{FF2B5EF4-FFF2-40B4-BE49-F238E27FC236}">
                <a16:creationId xmlns:a16="http://schemas.microsoft.com/office/drawing/2014/main" id="{51438EF1-CC94-4C3D-8087-E657D6FE69FD}"/>
              </a:ext>
            </a:extLst>
          </p:cNvPr>
          <p:cNvGraphicFramePr>
            <a:graphicFrameLocks noGrp="1"/>
          </p:cNvGraphicFramePr>
          <p:nvPr>
            <p:extLst>
              <p:ext uri="{D42A27DB-BD31-4B8C-83A1-F6EECF244321}">
                <p14:modId xmlns:p14="http://schemas.microsoft.com/office/powerpoint/2010/main" val="2495283041"/>
              </p:ext>
            </p:extLst>
          </p:nvPr>
        </p:nvGraphicFramePr>
        <p:xfrm>
          <a:off x="6148708" y="1663929"/>
          <a:ext cx="5143321" cy="4486325"/>
        </p:xfrm>
        <a:graphic>
          <a:graphicData uri="http://schemas.openxmlformats.org/drawingml/2006/table">
            <a:tbl>
              <a:tblPr firstRow="1" bandRow="1">
                <a:tableStyleId>{2D5ABB26-0587-4C30-8999-92F81FD0307C}</a:tableStyleId>
              </a:tblPr>
              <a:tblGrid>
                <a:gridCol w="904768">
                  <a:extLst>
                    <a:ext uri="{9D8B030D-6E8A-4147-A177-3AD203B41FA5}">
                      <a16:colId xmlns:a16="http://schemas.microsoft.com/office/drawing/2014/main" val="20000"/>
                    </a:ext>
                  </a:extLst>
                </a:gridCol>
                <a:gridCol w="1193057">
                  <a:extLst>
                    <a:ext uri="{9D8B030D-6E8A-4147-A177-3AD203B41FA5}">
                      <a16:colId xmlns:a16="http://schemas.microsoft.com/office/drawing/2014/main" val="2271455578"/>
                    </a:ext>
                  </a:extLst>
                </a:gridCol>
                <a:gridCol w="3045496">
                  <a:extLst>
                    <a:ext uri="{9D8B030D-6E8A-4147-A177-3AD203B41FA5}">
                      <a16:colId xmlns:a16="http://schemas.microsoft.com/office/drawing/2014/main" val="20001"/>
                    </a:ext>
                  </a:extLst>
                </a:gridCol>
              </a:tblGrid>
              <a:tr h="283464">
                <a:tc>
                  <a:txBody>
                    <a:bodyPr/>
                    <a:lstStyle/>
                    <a:p>
                      <a:pPr algn="ctr"/>
                      <a:r>
                        <a:rPr lang="en-US" sz="1050" b="1" cap="all" spc="300" dirty="0">
                          <a:solidFill>
                            <a:schemeClr val="tx1"/>
                          </a:solidFill>
                          <a:latin typeface="Open Sans" charset="0"/>
                          <a:ea typeface="Open Sans" charset="0"/>
                          <a:cs typeface="Open Sans" charset="0"/>
                        </a:rPr>
                        <a:t>ROLE</a:t>
                      </a:r>
                      <a:endParaRPr lang="en-US" sz="1050" b="0" dirty="0">
                        <a:solidFill>
                          <a:schemeClr val="tx1"/>
                        </a:solidFill>
                        <a:latin typeface="Open Sans" charset="0"/>
                        <a:ea typeface="Open Sans" charset="0"/>
                        <a:cs typeface="Open Sans" charset="0"/>
                      </a:endParaRPr>
                    </a:p>
                  </a:txBody>
                  <a:tcPr anchor="ctr">
                    <a:lnL w="12700" cap="flat" cmpd="sng" algn="ctr">
                      <a:noFill/>
                      <a:prstDash val="solid"/>
                      <a:round/>
                      <a:headEnd type="none" w="med" len="med"/>
                      <a:tailEnd type="none" w="med" len="med"/>
                    </a:lnL>
                    <a:lnR>
                      <a:noFill/>
                    </a:lnR>
                    <a:lnT w="12700" cap="flat" cmpd="sng" algn="ctr">
                      <a:solidFill>
                        <a:srgbClr val="FDD300"/>
                      </a:solidFill>
                      <a:prstDash val="solid"/>
                      <a:round/>
                      <a:headEnd type="none" w="med" len="med"/>
                      <a:tailEnd type="none" w="med" len="med"/>
                    </a:lnT>
                    <a:lnB w="12700" cap="flat" cmpd="sng" algn="ctr">
                      <a:solidFill>
                        <a:srgbClr val="FDD300"/>
                      </a:solidFill>
                      <a:prstDash val="solid"/>
                      <a:round/>
                      <a:headEnd type="none" w="med" len="med"/>
                      <a:tailEnd type="none" w="med" len="med"/>
                    </a:lnB>
                    <a:lnTlToBr w="12700" cmpd="sng">
                      <a:noFill/>
                      <a:prstDash val="solid"/>
                    </a:lnTlToBr>
                    <a:lnBlToTr w="12700" cmpd="sng">
                      <a:noFill/>
                      <a:prstDash val="solid"/>
                    </a:lnBlToTr>
                    <a:solidFill>
                      <a:srgbClr val="FDD300"/>
                    </a:solidFill>
                  </a:tcPr>
                </a:tc>
                <a:tc>
                  <a:txBody>
                    <a:bodyPr/>
                    <a:lstStyle/>
                    <a:p>
                      <a:pPr algn="ctr"/>
                      <a:endParaRPr lang="en-US" sz="1050" b="1" kern="1200" cap="all" spc="300" dirty="0">
                        <a:solidFill>
                          <a:schemeClr val="tx1"/>
                        </a:solidFill>
                        <a:latin typeface="Open Sans" charset="0"/>
                        <a:ea typeface="Open Sans" charset="0"/>
                        <a:cs typeface="Open Sans" charset="0"/>
                      </a:endParaRPr>
                    </a:p>
                  </a:txBody>
                  <a:tcPr anchor="ctr">
                    <a:lnL>
                      <a:noFill/>
                    </a:lnL>
                    <a:lnR w="12700" cap="flat" cmpd="sng" algn="ctr">
                      <a:noFill/>
                      <a:prstDash val="solid"/>
                      <a:round/>
                      <a:headEnd type="none" w="med" len="med"/>
                      <a:tailEnd type="none" w="med" len="med"/>
                    </a:lnR>
                    <a:lnT w="12700" cap="flat" cmpd="sng" algn="ctr">
                      <a:solidFill>
                        <a:srgbClr val="FDD300"/>
                      </a:solidFill>
                      <a:prstDash val="solid"/>
                      <a:round/>
                      <a:headEnd type="none" w="med" len="med"/>
                      <a:tailEnd type="none" w="med" len="med"/>
                    </a:lnT>
                    <a:lnB w="12700" cap="flat" cmpd="sng" algn="ctr">
                      <a:solidFill>
                        <a:srgbClr val="FDD300"/>
                      </a:solidFill>
                      <a:prstDash val="solid"/>
                      <a:round/>
                      <a:headEnd type="none" w="med" len="med"/>
                      <a:tailEnd type="none" w="med" len="med"/>
                    </a:lnB>
                    <a:lnTlToBr w="12700" cmpd="sng">
                      <a:noFill/>
                      <a:prstDash val="solid"/>
                    </a:lnTlToBr>
                    <a:lnBlToTr w="12700" cmpd="sng">
                      <a:noFill/>
                      <a:prstDash val="solid"/>
                    </a:lnBlToTr>
                    <a:solidFill>
                      <a:srgbClr val="FDD300"/>
                    </a:solidFill>
                  </a:tcPr>
                </a:tc>
                <a:tc>
                  <a:txBody>
                    <a:bodyPr/>
                    <a:lstStyle/>
                    <a:p>
                      <a:pPr algn="ctr"/>
                      <a:r>
                        <a:rPr lang="en-US" sz="1050" b="1" kern="1200" cap="all" spc="300" dirty="0">
                          <a:solidFill>
                            <a:schemeClr val="tx1"/>
                          </a:solidFill>
                          <a:latin typeface="Open Sans" charset="0"/>
                          <a:ea typeface="Open Sans" charset="0"/>
                          <a:cs typeface="Open Sans" charset="0"/>
                        </a:rPr>
                        <a:t>RESPONSIBILITIES</a:t>
                      </a:r>
                    </a:p>
                  </a:txBody>
                  <a:tcPr anchor="ctr">
                    <a:lnL w="12700" cap="flat" cmpd="sng" algn="ctr">
                      <a:noFill/>
                      <a:prstDash val="solid"/>
                      <a:round/>
                      <a:headEnd type="none" w="med" len="med"/>
                      <a:tailEnd type="none" w="med" len="med"/>
                    </a:lnL>
                    <a:lnR>
                      <a:noFill/>
                    </a:lnR>
                    <a:lnT w="12700" cap="flat" cmpd="sng" algn="ctr">
                      <a:solidFill>
                        <a:srgbClr val="FDD300"/>
                      </a:solidFill>
                      <a:prstDash val="solid"/>
                      <a:round/>
                      <a:headEnd type="none" w="med" len="med"/>
                      <a:tailEnd type="none" w="med" len="med"/>
                    </a:lnT>
                    <a:lnB w="12700" cap="flat" cmpd="sng" algn="ctr">
                      <a:solidFill>
                        <a:srgbClr val="FDD300"/>
                      </a:solidFill>
                      <a:prstDash val="solid"/>
                      <a:round/>
                      <a:headEnd type="none" w="med" len="med"/>
                      <a:tailEnd type="none" w="med" len="med"/>
                    </a:lnB>
                    <a:lnTlToBr w="12700" cmpd="sng">
                      <a:noFill/>
                      <a:prstDash val="solid"/>
                    </a:lnTlToBr>
                    <a:lnBlToTr w="12700" cmpd="sng">
                      <a:noFill/>
                      <a:prstDash val="solid"/>
                    </a:lnBlToTr>
                    <a:solidFill>
                      <a:srgbClr val="FDD300"/>
                    </a:solidFill>
                  </a:tcPr>
                </a:tc>
                <a:extLst>
                  <a:ext uri="{0D108BD9-81ED-4DB2-BD59-A6C34878D82A}">
                    <a16:rowId xmlns:a16="http://schemas.microsoft.com/office/drawing/2014/main" val="10000"/>
                  </a:ext>
                </a:extLst>
              </a:tr>
              <a:tr h="608010">
                <a:tc>
                  <a:txBody>
                    <a:bodyPr/>
                    <a:lstStyle/>
                    <a:p>
                      <a:r>
                        <a:rPr lang="en-US" sz="900" b="1" dirty="0">
                          <a:solidFill>
                            <a:schemeClr val="tx1"/>
                          </a:solidFill>
                        </a:rPr>
                        <a:t>Executive Sponsor</a:t>
                      </a:r>
                    </a:p>
                  </a:txBody>
                  <a:tcPr marT="91440" marB="91440">
                    <a:lnL>
                      <a:noFill/>
                    </a:lnL>
                    <a:lnR>
                      <a:noFill/>
                    </a:lnR>
                    <a:lnT w="12700" cap="flat" cmpd="sng" algn="ctr">
                      <a:solidFill>
                        <a:srgbClr val="FDD300"/>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101600" lvl="1" indent="-101600" algn="l" defTabSz="911840">
                        <a:lnSpc>
                          <a:spcPct val="110000"/>
                        </a:lnSpc>
                        <a:buClrTx/>
                        <a:buSzPct val="100000"/>
                        <a:buFont typeface="Arial" panose="020B0604020202020204" pitchFamily="34" charset="0"/>
                        <a:buChar char="•"/>
                        <a:defRPr/>
                      </a:pPr>
                      <a:r>
                        <a:rPr lang="en-US" sz="900" kern="0" dirty="0">
                          <a:solidFill>
                            <a:schemeClr val="tx1"/>
                          </a:solidFill>
                          <a:latin typeface="+mn-lt"/>
                        </a:rPr>
                        <a:t>Names</a:t>
                      </a:r>
                    </a:p>
                  </a:txBody>
                  <a:tcPr marT="91440" marB="91440">
                    <a:lnL>
                      <a:noFill/>
                    </a:lnL>
                    <a:lnR w="12700" cap="flat" cmpd="sng" algn="ctr">
                      <a:solidFill>
                        <a:schemeClr val="accent6">
                          <a:lumMod val="20000"/>
                          <a:lumOff val="80000"/>
                        </a:schemeClr>
                      </a:solidFill>
                      <a:prstDash val="solid"/>
                      <a:round/>
                      <a:headEnd type="none" w="med" len="med"/>
                      <a:tailEnd type="none" w="med" len="med"/>
                    </a:lnR>
                    <a:lnT w="12700" cap="flat" cmpd="sng" algn="ctr">
                      <a:solidFill>
                        <a:srgbClr val="FDD300"/>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101600" lvl="1" indent="-101600" algn="l" defTabSz="911840">
                        <a:lnSpc>
                          <a:spcPct val="110000"/>
                        </a:lnSpc>
                        <a:buClrTx/>
                        <a:buSzPct val="100000"/>
                        <a:buFont typeface="Arial" panose="020B0604020202020204" pitchFamily="34" charset="0"/>
                        <a:buChar char="•"/>
                        <a:defRPr/>
                      </a:pPr>
                      <a:r>
                        <a:rPr lang="en-US" sz="900" kern="0" dirty="0">
                          <a:solidFill>
                            <a:schemeClr val="tx1"/>
                          </a:solidFill>
                          <a:latin typeface="+mn-lt"/>
                        </a:rPr>
                        <a:t>Sign-off on overall goal and vision</a:t>
                      </a:r>
                    </a:p>
                    <a:p>
                      <a:pPr marL="101600" lvl="1" indent="-101600" algn="l" defTabSz="911840">
                        <a:lnSpc>
                          <a:spcPct val="110000"/>
                        </a:lnSpc>
                        <a:buClrTx/>
                        <a:buSzPct val="100000"/>
                        <a:buFont typeface="Arial" panose="020B0604020202020204" pitchFamily="34" charset="0"/>
                        <a:buChar char="•"/>
                        <a:defRPr/>
                      </a:pPr>
                      <a:r>
                        <a:rPr lang="en-US" sz="900" kern="0" dirty="0">
                          <a:solidFill>
                            <a:schemeClr val="tx1"/>
                          </a:solidFill>
                          <a:latin typeface="+mn-lt"/>
                        </a:rPr>
                        <a:t>Participate in key workshops and status updates</a:t>
                      </a:r>
                    </a:p>
                  </a:txBody>
                  <a:tcPr marT="91440" marB="91440">
                    <a:lnL w="12700" cap="flat" cmpd="sng" algn="ctr">
                      <a:solidFill>
                        <a:schemeClr val="accent6">
                          <a:lumMod val="20000"/>
                          <a:lumOff val="80000"/>
                        </a:schemeClr>
                      </a:solidFill>
                      <a:prstDash val="solid"/>
                      <a:round/>
                      <a:headEnd type="none" w="med" len="med"/>
                      <a:tailEnd type="none" w="med" len="med"/>
                    </a:lnL>
                    <a:lnR>
                      <a:noFill/>
                    </a:lnR>
                    <a:lnT w="12700" cap="flat" cmpd="sng" algn="ctr">
                      <a:solidFill>
                        <a:srgbClr val="FDD300"/>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887175">
                <a:tc>
                  <a:txBody>
                    <a:bodyPr/>
                    <a:lstStyle/>
                    <a:p>
                      <a:r>
                        <a:rPr lang="en-US" sz="900" b="1" dirty="0"/>
                        <a:t>Project Advisors</a:t>
                      </a:r>
                    </a:p>
                  </a:txBody>
                  <a:tcPr marT="91440" marB="0">
                    <a:lnL>
                      <a:noFill/>
                    </a:lnL>
                    <a:lnR>
                      <a:noFill/>
                    </a:lnR>
                    <a:lnT w="381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101600" lvl="1" indent="-101600" algn="l" defTabSz="911840">
                        <a:lnSpc>
                          <a:spcPct val="110000"/>
                        </a:lnSpc>
                        <a:buClrTx/>
                        <a:buSzPct val="100000"/>
                        <a:buFont typeface="Arial" panose="020B0604020202020204" pitchFamily="34" charset="0"/>
                        <a:buChar char="•"/>
                        <a:defRPr/>
                      </a:pPr>
                      <a:r>
                        <a:rPr lang="en-US" sz="900" kern="0" dirty="0">
                          <a:solidFill>
                            <a:schemeClr val="tx1"/>
                          </a:solidFill>
                          <a:latin typeface="+mn-lt"/>
                        </a:rPr>
                        <a:t>TBD</a:t>
                      </a:r>
                      <a:r>
                        <a:rPr lang="en-US" sz="900" kern="0" baseline="0" dirty="0">
                          <a:solidFill>
                            <a:schemeClr val="tx1"/>
                          </a:solidFill>
                          <a:latin typeface="+mn-lt"/>
                        </a:rPr>
                        <a:t> </a:t>
                      </a:r>
                    </a:p>
                    <a:p>
                      <a:pPr marL="0" lvl="1" indent="0" algn="l" defTabSz="911840">
                        <a:lnSpc>
                          <a:spcPct val="110000"/>
                        </a:lnSpc>
                        <a:buClrTx/>
                        <a:buSzPct val="100000"/>
                        <a:buFont typeface="Arial" panose="020B0604020202020204" pitchFamily="34" charset="0"/>
                        <a:buNone/>
                        <a:defRPr/>
                      </a:pPr>
                      <a:r>
                        <a:rPr lang="en-US" sz="900" kern="0" baseline="0" dirty="0">
                          <a:solidFill>
                            <a:schemeClr val="tx1"/>
                          </a:solidFill>
                          <a:latin typeface="+mn-lt"/>
                        </a:rPr>
                        <a:t>(Brand Managers, Technology Leadership)</a:t>
                      </a:r>
                      <a:endParaRPr lang="en-US" sz="900" kern="0" dirty="0">
                        <a:solidFill>
                          <a:schemeClr val="tx1"/>
                        </a:solidFill>
                        <a:latin typeface="+mn-lt"/>
                      </a:endParaRPr>
                    </a:p>
                  </a:txBody>
                  <a:tcPr marT="91440" marB="0">
                    <a:lnL>
                      <a:noFill/>
                    </a:lnL>
                    <a:lnR w="12700" cap="flat" cmpd="sng" algn="ctr">
                      <a:solidFill>
                        <a:schemeClr val="accent6">
                          <a:lumMod val="20000"/>
                          <a:lumOff val="80000"/>
                        </a:schemeClr>
                      </a:solidFill>
                      <a:prstDash val="solid"/>
                      <a:round/>
                      <a:headEnd type="none" w="med" len="med"/>
                      <a:tailEnd type="none" w="med" len="med"/>
                    </a:lnR>
                    <a:lnT w="381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101600" lvl="1" indent="-101600" algn="l" defTabSz="911840">
                        <a:lnSpc>
                          <a:spcPct val="110000"/>
                        </a:lnSpc>
                        <a:buClrTx/>
                        <a:buSzPct val="100000"/>
                        <a:buFont typeface="Arial" panose="020B0604020202020204" pitchFamily="34" charset="0"/>
                        <a:buChar char="•"/>
                        <a:defRPr/>
                      </a:pPr>
                      <a:r>
                        <a:rPr lang="en-US" sz="900" kern="0" dirty="0">
                          <a:solidFill>
                            <a:schemeClr val="tx1"/>
                          </a:solidFill>
                          <a:latin typeface="+mn-lt"/>
                        </a:rPr>
                        <a:t>Provide knowledge of current processes and technology</a:t>
                      </a:r>
                    </a:p>
                    <a:p>
                      <a:pPr marL="101600" lvl="1" indent="-101600" algn="l" defTabSz="911840">
                        <a:lnSpc>
                          <a:spcPct val="110000"/>
                        </a:lnSpc>
                        <a:buClrTx/>
                        <a:buSzPct val="100000"/>
                        <a:buFont typeface="Arial" panose="020B0604020202020204" pitchFamily="34" charset="0"/>
                        <a:buChar char="•"/>
                        <a:defRPr/>
                      </a:pPr>
                      <a:r>
                        <a:rPr lang="en-US" sz="900" kern="0" dirty="0">
                          <a:solidFill>
                            <a:schemeClr val="tx1"/>
                          </a:solidFill>
                          <a:latin typeface="+mn-lt"/>
                        </a:rPr>
                        <a:t>Provide feedback and recommendations on technology and business requirements</a:t>
                      </a:r>
                    </a:p>
                    <a:p>
                      <a:pPr marL="101600" marR="0" lvl="1" indent="-101600" algn="l" defTabSz="911840" rtl="0" eaLnBrk="1" fontAlgn="auto" latinLnBrk="0" hangingPunct="1">
                        <a:lnSpc>
                          <a:spcPct val="110000"/>
                        </a:lnSpc>
                        <a:spcBef>
                          <a:spcPts val="0"/>
                        </a:spcBef>
                        <a:spcAft>
                          <a:spcPts val="0"/>
                        </a:spcAft>
                        <a:buClrTx/>
                        <a:buSzPct val="100000"/>
                        <a:buFont typeface="Arial" panose="020B0604020202020204" pitchFamily="34" charset="0"/>
                        <a:buChar char="•"/>
                        <a:tabLst/>
                        <a:defRPr/>
                      </a:pPr>
                      <a:r>
                        <a:rPr kumimoji="0" lang="en-US" sz="900" b="0" i="0" u="none" strike="noStrike" kern="1200" cap="none" spc="0" normalizeH="0" baseline="0" noProof="0" dirty="0">
                          <a:ln>
                            <a:noFill/>
                          </a:ln>
                          <a:solidFill>
                            <a:schemeClr val="tx1"/>
                          </a:solidFill>
                          <a:effectLst/>
                          <a:uLnTx/>
                          <a:uFillTx/>
                          <a:latin typeface="+mn-lt"/>
                          <a:ea typeface="ヒラギノ角ゴ ProN W3" pitchFamily="-84" charset="-128"/>
                          <a:cs typeface="ヒラギノ角ゴ ProN W6"/>
                          <a:sym typeface="Frutiger Next Pro Medium" charset="0"/>
                        </a:rPr>
                        <a:t>Attend functional design meetings, workshops, and interviews</a:t>
                      </a:r>
                    </a:p>
                  </a:txBody>
                  <a:tcPr marT="91440" marB="0">
                    <a:lnL w="12700" cap="flat" cmpd="sng" algn="ctr">
                      <a:solidFill>
                        <a:schemeClr val="accent6">
                          <a:lumMod val="20000"/>
                          <a:lumOff val="80000"/>
                        </a:schemeClr>
                      </a:solidFill>
                      <a:prstDash val="solid"/>
                      <a:round/>
                      <a:headEnd type="none" w="med" len="med"/>
                      <a:tailEnd type="none" w="med" len="med"/>
                    </a:lnL>
                    <a:lnR>
                      <a:noFill/>
                    </a:lnR>
                    <a:lnT w="381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146865">
                <a:tc>
                  <a:txBody>
                    <a:bodyPr/>
                    <a:lstStyle/>
                    <a:p>
                      <a:r>
                        <a:rPr lang="en-US" sz="900" b="1" dirty="0">
                          <a:solidFill>
                            <a:schemeClr val="tx1"/>
                          </a:solidFill>
                        </a:rPr>
                        <a:t>Project Leadership</a:t>
                      </a:r>
                    </a:p>
                  </a:txBody>
                  <a:tcPr marT="91440" marB="91440">
                    <a:lnL>
                      <a:noFill/>
                    </a:lnL>
                    <a:lnR>
                      <a:noFill/>
                    </a:lnR>
                    <a:lnT>
                      <a:noFill/>
                    </a:lnT>
                    <a:lnB>
                      <a:noFill/>
                    </a:lnB>
                    <a:lnTlToBr w="12700" cmpd="sng">
                      <a:noFill/>
                      <a:prstDash val="solid"/>
                    </a:lnTlToBr>
                    <a:lnBlToTr w="12700" cmpd="sng">
                      <a:noFill/>
                      <a:prstDash val="solid"/>
                    </a:lnBlToTr>
                  </a:tcPr>
                </a:tc>
                <a:tc>
                  <a:txBody>
                    <a:bodyPr/>
                    <a:lstStyle/>
                    <a:p>
                      <a:pPr marL="101600" marR="0" lvl="1" indent="-101600" algn="l" defTabSz="911840" rtl="0" eaLnBrk="1" fontAlgn="auto" latinLnBrk="0" hangingPunct="1">
                        <a:lnSpc>
                          <a:spcPct val="110000"/>
                        </a:lnSpc>
                        <a:spcBef>
                          <a:spcPts val="0"/>
                        </a:spcBef>
                        <a:spcAft>
                          <a:spcPts val="0"/>
                        </a:spcAft>
                        <a:buClrTx/>
                        <a:buSzPct val="100000"/>
                        <a:buFont typeface="Arial" panose="020B0604020202020204" pitchFamily="34" charset="0"/>
                        <a:buChar char="•"/>
                        <a:tabLst/>
                        <a:defRPr/>
                      </a:pPr>
                      <a:r>
                        <a:rPr lang="en-GB" sz="900" dirty="0">
                          <a:solidFill>
                            <a:schemeClr val="tx2"/>
                          </a:solidFill>
                        </a:rPr>
                        <a:t>Names</a:t>
                      </a:r>
                    </a:p>
                  </a:txBody>
                  <a:tcPr marT="91440" marB="91440">
                    <a:lnL>
                      <a:noFill/>
                    </a:lnL>
                    <a:lnR w="12700" cap="flat" cmpd="sng" algn="ctr">
                      <a:solidFill>
                        <a:schemeClr val="accent6">
                          <a:lumMod val="20000"/>
                          <a:lumOff val="8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marL="101600" lvl="1" indent="-101600" algn="l" defTabSz="911840">
                        <a:lnSpc>
                          <a:spcPct val="110000"/>
                        </a:lnSpc>
                        <a:buClrTx/>
                        <a:buSzPct val="100000"/>
                        <a:buFont typeface="Arial" panose="020B0604020202020204" pitchFamily="34" charset="0"/>
                        <a:buChar char="•"/>
                        <a:defRPr/>
                      </a:pPr>
                      <a:r>
                        <a:rPr lang="en-US" sz="900" kern="0" dirty="0">
                          <a:solidFill>
                            <a:schemeClr val="tx1"/>
                          </a:solidFill>
                          <a:latin typeface="+mn-lt"/>
                        </a:rPr>
                        <a:t>Enable Deloitte team with Client resources /</a:t>
                      </a:r>
                      <a:r>
                        <a:rPr lang="en-US" sz="900" kern="0" baseline="0" dirty="0">
                          <a:solidFill>
                            <a:schemeClr val="tx1"/>
                          </a:solidFill>
                          <a:latin typeface="+mn-lt"/>
                        </a:rPr>
                        <a:t> </a:t>
                      </a:r>
                      <a:r>
                        <a:rPr lang="en-US" sz="900" kern="0" dirty="0">
                          <a:solidFill>
                            <a:schemeClr val="tx1"/>
                          </a:solidFill>
                          <a:latin typeface="+mn-lt"/>
                        </a:rPr>
                        <a:t>SME’s</a:t>
                      </a:r>
                    </a:p>
                    <a:p>
                      <a:pPr marL="101600" lvl="1" indent="-101600" algn="l" defTabSz="911840">
                        <a:lnSpc>
                          <a:spcPct val="110000"/>
                        </a:lnSpc>
                        <a:buClrTx/>
                        <a:buSzPct val="100000"/>
                        <a:buFont typeface="Arial" panose="020B0604020202020204" pitchFamily="34" charset="0"/>
                        <a:buChar char="•"/>
                        <a:defRPr/>
                      </a:pPr>
                      <a:r>
                        <a:rPr lang="en-US" sz="900" kern="0" dirty="0">
                          <a:solidFill>
                            <a:schemeClr val="tx1"/>
                          </a:solidFill>
                          <a:latin typeface="+mn-lt"/>
                        </a:rPr>
                        <a:t>Involve and engage key stakeholders from Client</a:t>
                      </a:r>
                    </a:p>
                    <a:p>
                      <a:pPr marL="101600" lvl="1" indent="-101600" algn="l" defTabSz="911840">
                        <a:lnSpc>
                          <a:spcPct val="110000"/>
                        </a:lnSpc>
                        <a:buClrTx/>
                        <a:buSzPct val="100000"/>
                        <a:buFont typeface="Arial" panose="020B0604020202020204" pitchFamily="34" charset="0"/>
                        <a:buChar char="•"/>
                        <a:defRPr/>
                      </a:pPr>
                      <a:r>
                        <a:rPr lang="en-US" sz="900" kern="0" dirty="0">
                          <a:solidFill>
                            <a:schemeClr val="tx1"/>
                          </a:solidFill>
                          <a:latin typeface="+mn-lt"/>
                        </a:rPr>
                        <a:t>Engage in cross-team meetings </a:t>
                      </a:r>
                    </a:p>
                    <a:p>
                      <a:pPr marL="101600" lvl="1" indent="-101600" algn="l" defTabSz="911840">
                        <a:lnSpc>
                          <a:spcPct val="110000"/>
                        </a:lnSpc>
                        <a:buClrTx/>
                        <a:buSzPct val="100000"/>
                        <a:buFont typeface="Arial" panose="020B0604020202020204" pitchFamily="34" charset="0"/>
                        <a:buChar char="•"/>
                        <a:defRPr/>
                      </a:pPr>
                      <a:r>
                        <a:rPr lang="en-US" sz="900" kern="0" dirty="0">
                          <a:solidFill>
                            <a:schemeClr val="tx1"/>
                          </a:solidFill>
                          <a:latin typeface="+mn-lt"/>
                        </a:rPr>
                        <a:t>Review finalized deliverables</a:t>
                      </a:r>
                    </a:p>
                  </a:txBody>
                  <a:tcPr marT="91440" marB="91440">
                    <a:lnL w="12700" cap="flat" cmpd="sng" algn="ctr">
                      <a:solidFill>
                        <a:schemeClr val="accent6">
                          <a:lumMod val="20000"/>
                          <a:lumOff val="80000"/>
                        </a:schemeClr>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459545">
                <a:tc>
                  <a:txBody>
                    <a:bodyPr/>
                    <a:lstStyle/>
                    <a:p>
                      <a:r>
                        <a:rPr lang="en-US" sz="900" b="1" dirty="0">
                          <a:solidFill>
                            <a:schemeClr val="tx1"/>
                          </a:solidFill>
                        </a:rPr>
                        <a:t>Core Project Team</a:t>
                      </a:r>
                      <a:endParaRPr lang="en-US" sz="800" b="0" i="1" dirty="0">
                        <a:solidFill>
                          <a:schemeClr val="tx1"/>
                        </a:solidFill>
                      </a:endParaRPr>
                    </a:p>
                  </a:txBody>
                  <a:tcPr marT="91440" marB="91440">
                    <a:lnL>
                      <a:noFill/>
                    </a:lnL>
                    <a:lnR>
                      <a:noFill/>
                    </a:lnR>
                    <a:lnT>
                      <a:noFill/>
                    </a:lnT>
                    <a:lnB>
                      <a:noFill/>
                    </a:lnB>
                    <a:lnTlToBr w="12700" cmpd="sng">
                      <a:noFill/>
                      <a:prstDash val="solid"/>
                    </a:lnTlToBr>
                    <a:lnBlToTr w="12700" cmpd="sng">
                      <a:noFill/>
                      <a:prstDash val="solid"/>
                    </a:lnBlToTr>
                  </a:tcPr>
                </a:tc>
                <a:tc>
                  <a:txBody>
                    <a:bodyPr/>
                    <a:lstStyle/>
                    <a:p>
                      <a:pPr marL="101600" marR="0" lvl="1" indent="-101600" algn="l" defTabSz="911840" rtl="0" eaLnBrk="1" fontAlgn="base" latinLnBrk="0" hangingPunct="1">
                        <a:lnSpc>
                          <a:spcPct val="110000"/>
                        </a:lnSpc>
                        <a:spcBef>
                          <a:spcPct val="0"/>
                        </a:spcBef>
                        <a:spcAft>
                          <a:spcPct val="0"/>
                        </a:spcAft>
                        <a:buClrTx/>
                        <a:buSzPct val="100000"/>
                        <a:buFont typeface="Arial" panose="020B0604020202020204" pitchFamily="34" charset="0"/>
                        <a:buChar char="•"/>
                        <a:tabLst>
                          <a:tab pos="914400" algn="l"/>
                        </a:tabLst>
                        <a:defRPr/>
                      </a:pPr>
                      <a:r>
                        <a:rPr lang="en-US" sz="900" kern="0" noProof="0" dirty="0">
                          <a:solidFill>
                            <a:schemeClr val="tx1"/>
                          </a:solidFill>
                          <a:latin typeface="+mn-lt"/>
                          <a:ea typeface="+mn-ea"/>
                          <a:cs typeface="+mn-cs"/>
                          <a:sym typeface="Frutiger Next Pro Medium" charset="0"/>
                        </a:rPr>
                        <a:t>TBD</a:t>
                      </a:r>
                    </a:p>
                  </a:txBody>
                  <a:tcPr marT="91440" marB="91440">
                    <a:lnL>
                      <a:noFill/>
                    </a:lnL>
                    <a:lnR w="12700" cap="flat" cmpd="sng" algn="ctr">
                      <a:solidFill>
                        <a:schemeClr val="accent6">
                          <a:lumMod val="20000"/>
                          <a:lumOff val="8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marL="101600" marR="0" lvl="1" indent="-101600" algn="l" defTabSz="911840" rtl="0" eaLnBrk="1" fontAlgn="base" latinLnBrk="0" hangingPunct="1">
                        <a:lnSpc>
                          <a:spcPct val="110000"/>
                        </a:lnSpc>
                        <a:spcBef>
                          <a:spcPct val="0"/>
                        </a:spcBef>
                        <a:spcAft>
                          <a:spcPct val="0"/>
                        </a:spcAft>
                        <a:buClrTx/>
                        <a:buSzPct val="100000"/>
                        <a:buFont typeface="Arial" panose="020B0604020202020204" pitchFamily="34" charset="0"/>
                        <a:buChar char="•"/>
                        <a:tabLst>
                          <a:tab pos="914400" algn="l"/>
                        </a:tabLst>
                        <a:defRPr/>
                      </a:pPr>
                      <a:r>
                        <a:rPr lang="en-US" sz="900" kern="0" noProof="0" dirty="0">
                          <a:solidFill>
                            <a:schemeClr val="tx1"/>
                          </a:solidFill>
                          <a:latin typeface="+mn-lt"/>
                          <a:ea typeface="+mn-ea"/>
                          <a:cs typeface="+mn-cs"/>
                          <a:sym typeface="Frutiger Next Pro Medium" charset="0"/>
                        </a:rPr>
                        <a:t>Work closely with Deloitte team to develop project deliverables and provide Client-specific technical expertise</a:t>
                      </a:r>
                    </a:p>
                    <a:p>
                      <a:pPr marL="101600" marR="0" lvl="1" indent="-101600" algn="l" defTabSz="911840" rtl="0" eaLnBrk="1" fontAlgn="base" latinLnBrk="0" hangingPunct="1">
                        <a:lnSpc>
                          <a:spcPct val="110000"/>
                        </a:lnSpc>
                        <a:spcBef>
                          <a:spcPct val="0"/>
                        </a:spcBef>
                        <a:spcAft>
                          <a:spcPct val="0"/>
                        </a:spcAft>
                        <a:buClrTx/>
                        <a:buSzPct val="100000"/>
                        <a:buFont typeface="Arial" panose="020B0604020202020204" pitchFamily="34" charset="0"/>
                        <a:buChar char="•"/>
                        <a:tabLst>
                          <a:tab pos="914400" algn="l"/>
                        </a:tabLst>
                        <a:defRPr/>
                      </a:pPr>
                      <a:r>
                        <a:rPr lang="en-US" sz="900" kern="0" noProof="0" dirty="0">
                          <a:solidFill>
                            <a:schemeClr val="tx1"/>
                          </a:solidFill>
                          <a:latin typeface="+mn-lt"/>
                          <a:ea typeface="+mn-ea"/>
                          <a:cs typeface="+mn-cs"/>
                          <a:sym typeface="Frutiger Next Pro Medium" charset="0"/>
                        </a:rPr>
                        <a:t>Identify any issues and / or priorities relevant to their area</a:t>
                      </a:r>
                    </a:p>
                    <a:p>
                      <a:pPr marL="101600" marR="0" lvl="1" indent="-101600" algn="l" defTabSz="911840" rtl="0" eaLnBrk="1" fontAlgn="base" latinLnBrk="0" hangingPunct="1">
                        <a:lnSpc>
                          <a:spcPct val="110000"/>
                        </a:lnSpc>
                        <a:spcBef>
                          <a:spcPct val="0"/>
                        </a:spcBef>
                        <a:spcAft>
                          <a:spcPct val="0"/>
                        </a:spcAft>
                        <a:buClrTx/>
                        <a:buSzPct val="100000"/>
                        <a:buFont typeface="Arial" panose="020B0604020202020204" pitchFamily="34" charset="0"/>
                        <a:buChar char="•"/>
                        <a:tabLst>
                          <a:tab pos="914400" algn="l"/>
                        </a:tabLst>
                        <a:defRPr/>
                      </a:pPr>
                      <a:r>
                        <a:rPr lang="en-US" sz="900" kern="0" noProof="0" dirty="0">
                          <a:solidFill>
                            <a:schemeClr val="tx1"/>
                          </a:solidFill>
                          <a:latin typeface="+mn-lt"/>
                          <a:ea typeface="+mn-ea"/>
                          <a:cs typeface="+mn-cs"/>
                          <a:sym typeface="Frutiger Next Pro Medium" charset="0"/>
                        </a:rPr>
                        <a:t>Participate in the project as required to complete project tasks including document review</a:t>
                      </a:r>
                    </a:p>
                    <a:p>
                      <a:pPr marL="101600" marR="0" lvl="1" indent="-101600" algn="l" defTabSz="911840" rtl="0" eaLnBrk="1" fontAlgn="base" latinLnBrk="0" hangingPunct="1">
                        <a:lnSpc>
                          <a:spcPct val="110000"/>
                        </a:lnSpc>
                        <a:spcBef>
                          <a:spcPct val="0"/>
                        </a:spcBef>
                        <a:spcAft>
                          <a:spcPct val="0"/>
                        </a:spcAft>
                        <a:buClrTx/>
                        <a:buSzPct val="100000"/>
                        <a:buFont typeface="Arial" panose="020B0604020202020204" pitchFamily="34" charset="0"/>
                        <a:buChar char="•"/>
                        <a:tabLst>
                          <a:tab pos="914400" algn="l"/>
                        </a:tabLst>
                        <a:defRPr/>
                      </a:pPr>
                      <a:r>
                        <a:rPr lang="en-US" sz="900" kern="0" noProof="0" dirty="0">
                          <a:solidFill>
                            <a:schemeClr val="tx1"/>
                          </a:solidFill>
                          <a:latin typeface="+mn-lt"/>
                          <a:ea typeface="+mn-ea"/>
                          <a:cs typeface="+mn-cs"/>
                          <a:sym typeface="Frutiger Next Pro Medium" charset="0"/>
                        </a:rPr>
                        <a:t>Validate functionality and appearance</a:t>
                      </a:r>
                    </a:p>
                  </a:txBody>
                  <a:tcPr marT="91440" marB="91440">
                    <a:lnL w="12700" cap="flat" cmpd="sng" algn="ctr">
                      <a:solidFill>
                        <a:schemeClr val="accent6">
                          <a:lumMod val="20000"/>
                          <a:lumOff val="80000"/>
                        </a:schemeClr>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4"/>
                  </a:ext>
                </a:extLst>
              </a:tr>
            </a:tbl>
          </a:graphicData>
        </a:graphic>
      </p:graphicFrame>
      <p:graphicFrame>
        <p:nvGraphicFramePr>
          <p:cNvPr id="7" name="Table 6">
            <a:extLst>
              <a:ext uri="{FF2B5EF4-FFF2-40B4-BE49-F238E27FC236}">
                <a16:creationId xmlns:a16="http://schemas.microsoft.com/office/drawing/2014/main" id="{6A69764C-8A73-4618-8FC7-EFE882D6F633}"/>
              </a:ext>
            </a:extLst>
          </p:cNvPr>
          <p:cNvGraphicFramePr>
            <a:graphicFrameLocks noGrp="1"/>
          </p:cNvGraphicFramePr>
          <p:nvPr/>
        </p:nvGraphicFramePr>
        <p:xfrm>
          <a:off x="8778935" y="6356754"/>
          <a:ext cx="455851" cy="116840"/>
        </p:xfrm>
        <a:graphic>
          <a:graphicData uri="http://schemas.openxmlformats.org/drawingml/2006/table">
            <a:tbl>
              <a:tblPr firstRow="1" bandRow="1">
                <a:tableStyleId>{5C22544A-7EE6-4342-B048-85BDC9FD1C3A}</a:tableStyleId>
              </a:tblPr>
              <a:tblGrid>
                <a:gridCol w="455851">
                  <a:extLst>
                    <a:ext uri="{9D8B030D-6E8A-4147-A177-3AD203B41FA5}">
                      <a16:colId xmlns:a16="http://schemas.microsoft.com/office/drawing/2014/main" val="20000"/>
                    </a:ext>
                  </a:extLst>
                </a:gridCol>
              </a:tblGrid>
              <a:tr h="0">
                <a:tc>
                  <a:txBody>
                    <a:bodyPr/>
                    <a:lstStyle/>
                    <a:p>
                      <a:pPr algn="ctr"/>
                      <a:endParaRPr lang="en-GB" sz="100" dirty="0"/>
                    </a:p>
                  </a:txBody>
                  <a:tcPr>
                    <a:solidFill>
                      <a:schemeClr val="accent1"/>
                    </a:solidFill>
                  </a:tcPr>
                </a:tc>
                <a:extLst>
                  <a:ext uri="{0D108BD9-81ED-4DB2-BD59-A6C34878D82A}">
                    <a16:rowId xmlns:a16="http://schemas.microsoft.com/office/drawing/2014/main" val="10000"/>
                  </a:ext>
                </a:extLst>
              </a:tr>
            </a:tbl>
          </a:graphicData>
        </a:graphic>
      </p:graphicFrame>
      <p:sp>
        <p:nvSpPr>
          <p:cNvPr id="8" name="Rectangle 7">
            <a:extLst>
              <a:ext uri="{FF2B5EF4-FFF2-40B4-BE49-F238E27FC236}">
                <a16:creationId xmlns:a16="http://schemas.microsoft.com/office/drawing/2014/main" id="{7CD7B1FF-EF23-476A-8578-9A80324CC836}"/>
              </a:ext>
            </a:extLst>
          </p:cNvPr>
          <p:cNvSpPr/>
          <p:nvPr/>
        </p:nvSpPr>
        <p:spPr>
          <a:xfrm>
            <a:off x="9247134" y="6323725"/>
            <a:ext cx="865943" cy="21544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Open Sans"/>
                <a:ea typeface="+mn-ea"/>
                <a:cs typeface="+mn-cs"/>
              </a:rPr>
              <a:t>Deloitte team </a:t>
            </a:r>
          </a:p>
        </p:txBody>
      </p:sp>
      <p:graphicFrame>
        <p:nvGraphicFramePr>
          <p:cNvPr id="9" name="Table 8">
            <a:extLst>
              <a:ext uri="{FF2B5EF4-FFF2-40B4-BE49-F238E27FC236}">
                <a16:creationId xmlns:a16="http://schemas.microsoft.com/office/drawing/2014/main" id="{1FF92467-50F5-4819-9F5A-02974E5D5A82}"/>
              </a:ext>
            </a:extLst>
          </p:cNvPr>
          <p:cNvGraphicFramePr>
            <a:graphicFrameLocks noGrp="1"/>
          </p:cNvGraphicFramePr>
          <p:nvPr/>
        </p:nvGraphicFramePr>
        <p:xfrm>
          <a:off x="10094211" y="6356754"/>
          <a:ext cx="455851" cy="116840"/>
        </p:xfrm>
        <a:graphic>
          <a:graphicData uri="http://schemas.openxmlformats.org/drawingml/2006/table">
            <a:tbl>
              <a:tblPr firstRow="1" bandRow="1">
                <a:tableStyleId>{5C22544A-7EE6-4342-B048-85BDC9FD1C3A}</a:tableStyleId>
              </a:tblPr>
              <a:tblGrid>
                <a:gridCol w="455851">
                  <a:extLst>
                    <a:ext uri="{9D8B030D-6E8A-4147-A177-3AD203B41FA5}">
                      <a16:colId xmlns:a16="http://schemas.microsoft.com/office/drawing/2014/main" val="20000"/>
                    </a:ext>
                  </a:extLst>
                </a:gridCol>
              </a:tblGrid>
              <a:tr h="0">
                <a:tc>
                  <a:txBody>
                    <a:bodyPr/>
                    <a:lstStyle/>
                    <a:p>
                      <a:pPr algn="ctr"/>
                      <a:endParaRPr lang="en-GB" sz="100" dirty="0"/>
                    </a:p>
                  </a:txBody>
                  <a:tcPr>
                    <a:solidFill>
                      <a:schemeClr val="accent3"/>
                    </a:solidFill>
                  </a:tcPr>
                </a:tc>
                <a:extLst>
                  <a:ext uri="{0D108BD9-81ED-4DB2-BD59-A6C34878D82A}">
                    <a16:rowId xmlns:a16="http://schemas.microsoft.com/office/drawing/2014/main" val="10000"/>
                  </a:ext>
                </a:extLst>
              </a:tr>
            </a:tbl>
          </a:graphicData>
        </a:graphic>
      </p:graphicFrame>
      <p:sp>
        <p:nvSpPr>
          <p:cNvPr id="10" name="Rectangle 9">
            <a:extLst>
              <a:ext uri="{FF2B5EF4-FFF2-40B4-BE49-F238E27FC236}">
                <a16:creationId xmlns:a16="http://schemas.microsoft.com/office/drawing/2014/main" id="{F14EDB17-EDD8-497E-842F-6CD16775FDCA}"/>
              </a:ext>
            </a:extLst>
          </p:cNvPr>
          <p:cNvSpPr/>
          <p:nvPr/>
        </p:nvSpPr>
        <p:spPr>
          <a:xfrm>
            <a:off x="10562341" y="6303286"/>
            <a:ext cx="760144" cy="21544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Open Sans"/>
                <a:ea typeface="+mn-ea"/>
                <a:cs typeface="+mn-cs"/>
              </a:rPr>
              <a:t>Client team </a:t>
            </a:r>
          </a:p>
        </p:txBody>
      </p:sp>
    </p:spTree>
    <p:extLst>
      <p:ext uri="{BB962C8B-B14F-4D97-AF65-F5344CB8AC3E}">
        <p14:creationId xmlns:p14="http://schemas.microsoft.com/office/powerpoint/2010/main" val="392537104"/>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898D0A-402E-4408-B43C-542C0D06F00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5220" name="think-cell Slide" r:id="rId6" imgW="415" imgH="416" progId="TCLayout.ActiveDocument.1">
                  <p:embed/>
                </p:oleObj>
              </mc:Choice>
              <mc:Fallback>
                <p:oleObj name="think-cell Slide" r:id="rId6" imgW="415" imgH="416" progId="TCLayout.ActiveDocument.1">
                  <p:embed/>
                  <p:pic>
                    <p:nvPicPr>
                      <p:cNvPr id="6" name="Object 5" hidden="1">
                        <a:extLst>
                          <a:ext uri="{FF2B5EF4-FFF2-40B4-BE49-F238E27FC236}">
                            <a16:creationId xmlns:a16="http://schemas.microsoft.com/office/drawing/2014/main" id="{E9898D0A-402E-4408-B43C-542C0D06F00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82B0C05C-1078-4075-9D88-6A1A30E2BEA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7" name="Title 6">
            <a:extLst>
              <a:ext uri="{FF2B5EF4-FFF2-40B4-BE49-F238E27FC236}">
                <a16:creationId xmlns:a16="http://schemas.microsoft.com/office/drawing/2014/main" id="{FC00C1FE-32E6-4A9A-91FD-B1DDFB1C051A}"/>
              </a:ext>
            </a:extLst>
          </p:cNvPr>
          <p:cNvSpPr>
            <a:spLocks noGrp="1"/>
          </p:cNvSpPr>
          <p:nvPr>
            <p:ph type="title"/>
          </p:nvPr>
        </p:nvSpPr>
        <p:spPr/>
        <p:txBody>
          <a:bodyPr/>
          <a:lstStyle/>
          <a:p>
            <a:r>
              <a:rPr lang="en-US" dirty="0"/>
              <a:t>Proposed team and how we play together</a:t>
            </a:r>
          </a:p>
        </p:txBody>
      </p:sp>
      <p:sp>
        <p:nvSpPr>
          <p:cNvPr id="9" name="Text Placeholder 8">
            <a:extLst>
              <a:ext uri="{FF2B5EF4-FFF2-40B4-BE49-F238E27FC236}">
                <a16:creationId xmlns:a16="http://schemas.microsoft.com/office/drawing/2014/main" id="{FB4E68FC-53BD-4B3E-A4E1-70653AF3965A}"/>
              </a:ext>
            </a:extLst>
          </p:cNvPr>
          <p:cNvSpPr>
            <a:spLocks noGrp="1"/>
          </p:cNvSpPr>
          <p:nvPr>
            <p:ph type="body" sz="quarter" idx="15"/>
          </p:nvPr>
        </p:nvSpPr>
        <p:spPr/>
        <p:txBody>
          <a:bodyPr/>
          <a:lstStyle/>
          <a:p>
            <a:r>
              <a:rPr lang="en-US" dirty="0"/>
              <a:t>ORGANIZATION STRUCTURE &amp; BIOS</a:t>
            </a:r>
          </a:p>
        </p:txBody>
      </p:sp>
      <p:sp>
        <p:nvSpPr>
          <p:cNvPr id="14" name="Rectangle 13">
            <a:extLst>
              <a:ext uri="{FF2B5EF4-FFF2-40B4-BE49-F238E27FC236}">
                <a16:creationId xmlns:a16="http://schemas.microsoft.com/office/drawing/2014/main" id="{0A127602-7ECA-4FB2-87BC-CD35560632D6}"/>
              </a:ext>
            </a:extLst>
          </p:cNvPr>
          <p:cNvSpPr/>
          <p:nvPr/>
        </p:nvSpPr>
        <p:spPr>
          <a:xfrm>
            <a:off x="2744631" y="3044416"/>
            <a:ext cx="3469418" cy="785753"/>
          </a:xfrm>
          <a:prstGeom prst="rect">
            <a:avLst/>
          </a:prstGeom>
          <a:solidFill>
            <a:srgbClr val="FFFFFF">
              <a:lumMod val="95000"/>
            </a:srgbClr>
          </a:solidFill>
          <a:ln w="28575" cap="flat" cmpd="sng" algn="ctr">
            <a:noFill/>
            <a:prstDash val="solid"/>
            <a:miter lim="800000"/>
          </a:ln>
          <a:effectLst/>
        </p:spPr>
        <p:txBody>
          <a:bodyPr lIns="182880" tIns="91440" rIns="182880" bIns="91440" rtlCol="0" anchor="ctr" anchorCtr="0"/>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Open Sans"/>
                <a:ea typeface="+mn-ea"/>
                <a:cs typeface="Open Sans"/>
              </a:rPr>
              <a:t>Provide, assess, and prioritize investment requests based on offering priorities across networks. Ensure alignment with overall direction and scope of each business</a:t>
            </a:r>
            <a:endParaRPr kumimoji="0" lang="en-US" sz="11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 name="Rectangle 14">
            <a:extLst>
              <a:ext uri="{FF2B5EF4-FFF2-40B4-BE49-F238E27FC236}">
                <a16:creationId xmlns:a16="http://schemas.microsoft.com/office/drawing/2014/main" id="{8EC9641C-197B-48A5-9A67-59210721EAED}"/>
              </a:ext>
            </a:extLst>
          </p:cNvPr>
          <p:cNvSpPr/>
          <p:nvPr/>
        </p:nvSpPr>
        <p:spPr>
          <a:xfrm>
            <a:off x="2744631" y="3903545"/>
            <a:ext cx="3469418" cy="621792"/>
          </a:xfrm>
          <a:prstGeom prst="rect">
            <a:avLst/>
          </a:prstGeom>
          <a:solidFill>
            <a:srgbClr val="FFFFFF">
              <a:lumMod val="95000"/>
            </a:srgbClr>
          </a:solidFill>
          <a:ln w="28575" cap="flat" cmpd="sng" algn="ctr">
            <a:noFill/>
            <a:prstDash val="solid"/>
            <a:miter lim="800000"/>
          </a:ln>
          <a:effectLst/>
        </p:spPr>
        <p:txBody>
          <a:bodyPr lIns="182880" tIns="91440" rIns="182880" bIns="91440" rtlCol="0" anchor="ctr" anchorCtr="0"/>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Open Sans"/>
                <a:ea typeface="+mn-ea"/>
                <a:cs typeface="Open Sans"/>
              </a:rPr>
              <a:t>Prioritize Asset portfolio requirements from the network, present new/existing investment opportunities, and report on market traction</a:t>
            </a:r>
          </a:p>
        </p:txBody>
      </p:sp>
      <p:sp>
        <p:nvSpPr>
          <p:cNvPr id="16" name="Rectangle 15">
            <a:extLst>
              <a:ext uri="{FF2B5EF4-FFF2-40B4-BE49-F238E27FC236}">
                <a16:creationId xmlns:a16="http://schemas.microsoft.com/office/drawing/2014/main" id="{2D8194A4-36A5-440D-89C2-560546026C94}"/>
              </a:ext>
            </a:extLst>
          </p:cNvPr>
          <p:cNvSpPr/>
          <p:nvPr/>
        </p:nvSpPr>
        <p:spPr>
          <a:xfrm>
            <a:off x="2744631" y="5285696"/>
            <a:ext cx="3469418" cy="621792"/>
          </a:xfrm>
          <a:prstGeom prst="rect">
            <a:avLst/>
          </a:prstGeom>
          <a:solidFill>
            <a:srgbClr val="FFFFFF">
              <a:lumMod val="95000"/>
            </a:srgbClr>
          </a:solidFill>
          <a:ln w="28575" cap="flat" cmpd="sng" algn="ctr">
            <a:noFill/>
            <a:prstDash val="solid"/>
            <a:miter lim="800000"/>
          </a:ln>
          <a:effectLst/>
        </p:spPr>
        <p:txBody>
          <a:bodyPr lIns="182880" tIns="91440" rIns="182880" bIns="91440" rtlCol="0" anchor="ctr" anchorCtr="0"/>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Open Sans"/>
                <a:ea typeface="+mn-ea"/>
                <a:cs typeface="Open Sans"/>
              </a:rPr>
              <a:t>Provide insight and an objective review of new &amp; existing high value investment opportunities that are currently on the marketplace frontier </a:t>
            </a:r>
          </a:p>
        </p:txBody>
      </p:sp>
      <p:sp>
        <p:nvSpPr>
          <p:cNvPr id="17" name="Rectangle 16">
            <a:extLst>
              <a:ext uri="{FF2B5EF4-FFF2-40B4-BE49-F238E27FC236}">
                <a16:creationId xmlns:a16="http://schemas.microsoft.com/office/drawing/2014/main" id="{ED321DA3-AA81-4F6D-8E6B-07E2F82D950A}"/>
              </a:ext>
            </a:extLst>
          </p:cNvPr>
          <p:cNvSpPr/>
          <p:nvPr/>
        </p:nvSpPr>
        <p:spPr>
          <a:xfrm>
            <a:off x="2744631" y="5975695"/>
            <a:ext cx="3532438" cy="621792"/>
          </a:xfrm>
          <a:prstGeom prst="rect">
            <a:avLst/>
          </a:prstGeom>
          <a:solidFill>
            <a:srgbClr val="FFFFFF">
              <a:lumMod val="95000"/>
            </a:srgbClr>
          </a:solidFill>
          <a:ln w="28575" cap="flat" cmpd="sng" algn="ctr">
            <a:noFill/>
            <a:prstDash val="solid"/>
            <a:miter lim="800000"/>
          </a:ln>
          <a:effectLst/>
        </p:spPr>
        <p:txBody>
          <a:bodyPr lIns="182880" tIns="91440" rIns="182880" bIns="91440" rtlCol="0" anchor="ctr" anchorCtr="0"/>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Open Sans"/>
                <a:ea typeface="+mn-ea"/>
                <a:cs typeface="Open Sans"/>
              </a:rPr>
              <a:t>Provide insight and priorities from our sales &amp; delivery partners on where to best over-invest in opportunities to amplify our success in market</a:t>
            </a:r>
            <a:endParaRPr kumimoji="0" lang="en-US" sz="11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 name="Rectangle 17">
            <a:extLst>
              <a:ext uri="{FF2B5EF4-FFF2-40B4-BE49-F238E27FC236}">
                <a16:creationId xmlns:a16="http://schemas.microsoft.com/office/drawing/2014/main" id="{C2FBF37E-79BA-4F29-A12B-3308613DA4F2}"/>
              </a:ext>
            </a:extLst>
          </p:cNvPr>
          <p:cNvSpPr/>
          <p:nvPr/>
        </p:nvSpPr>
        <p:spPr>
          <a:xfrm>
            <a:off x="2744631" y="2350893"/>
            <a:ext cx="3474364" cy="621792"/>
          </a:xfrm>
          <a:prstGeom prst="rect">
            <a:avLst/>
          </a:prstGeom>
          <a:solidFill>
            <a:srgbClr val="FFFFFF">
              <a:lumMod val="95000"/>
            </a:srgbClr>
          </a:solidFill>
          <a:ln w="28575" cap="flat" cmpd="sng" algn="ctr">
            <a:noFill/>
            <a:prstDash val="solid"/>
            <a:miter lim="800000"/>
          </a:ln>
          <a:effectLst/>
        </p:spPr>
        <p:txBody>
          <a:bodyPr lIns="182880" tIns="91440" rIns="182880" bIns="91440" rtlCol="0" anchor="ctr" anchorCtr="0"/>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Open Sans"/>
                <a:ea typeface="+mn-ea"/>
                <a:cs typeface="Open Sans"/>
              </a:rPr>
              <a:t>Set the Offering Portfolio Strategy, establish investment thresholds, and drive executive alignment within the Committee</a:t>
            </a:r>
          </a:p>
        </p:txBody>
      </p:sp>
      <p:grpSp>
        <p:nvGrpSpPr>
          <p:cNvPr id="19" name="Group 18">
            <a:extLst>
              <a:ext uri="{FF2B5EF4-FFF2-40B4-BE49-F238E27FC236}">
                <a16:creationId xmlns:a16="http://schemas.microsoft.com/office/drawing/2014/main" id="{61C3DD70-0951-4441-A8DE-820F437FC6F8}"/>
              </a:ext>
            </a:extLst>
          </p:cNvPr>
          <p:cNvGrpSpPr/>
          <p:nvPr/>
        </p:nvGrpSpPr>
        <p:grpSpPr>
          <a:xfrm>
            <a:off x="7010128" y="1637491"/>
            <a:ext cx="4584464" cy="4950852"/>
            <a:chOff x="7220440" y="1637491"/>
            <a:chExt cx="4233127" cy="4812067"/>
          </a:xfrm>
        </p:grpSpPr>
        <p:sp>
          <p:nvSpPr>
            <p:cNvPr id="20" name="Rectangle 19">
              <a:extLst>
                <a:ext uri="{FF2B5EF4-FFF2-40B4-BE49-F238E27FC236}">
                  <a16:creationId xmlns:a16="http://schemas.microsoft.com/office/drawing/2014/main" id="{1F811886-B950-4AD2-BC86-B50CFAB09271}"/>
                </a:ext>
              </a:extLst>
            </p:cNvPr>
            <p:cNvSpPr/>
            <p:nvPr/>
          </p:nvSpPr>
          <p:spPr>
            <a:xfrm>
              <a:off x="7266179" y="1732851"/>
              <a:ext cx="1214195" cy="299149"/>
            </a:xfrm>
            <a:prstGeom prst="rect">
              <a:avLst/>
            </a:prstGeom>
            <a:solidFill>
              <a:srgbClr val="FFFFFF"/>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Open Sans"/>
                  <a:ea typeface="+mn-ea"/>
                  <a:cs typeface="+mn-cs"/>
                </a:rPr>
                <a:t>Overview</a:t>
              </a:r>
              <a:endParaRPr kumimoji="0" lang="en-US" sz="1400" b="0" i="0" u="none" strike="noStrike" kern="0" cap="none" spc="0" normalizeH="0" baseline="0" noProof="0" dirty="0">
                <a:ln>
                  <a:noFill/>
                </a:ln>
                <a:solidFill>
                  <a:srgbClr val="000000"/>
                </a:solidFill>
                <a:effectLst/>
                <a:uLnTx/>
                <a:uFillTx/>
                <a:latin typeface="Open Sans"/>
                <a:ea typeface="+mn-ea"/>
                <a:cs typeface="+mn-cs"/>
              </a:endParaRPr>
            </a:p>
          </p:txBody>
        </p:sp>
        <p:sp>
          <p:nvSpPr>
            <p:cNvPr id="21" name="TextBox 20">
              <a:extLst>
                <a:ext uri="{FF2B5EF4-FFF2-40B4-BE49-F238E27FC236}">
                  <a16:creationId xmlns:a16="http://schemas.microsoft.com/office/drawing/2014/main" id="{EE9E6344-C8C5-49E2-873E-385379E2AE53}"/>
                </a:ext>
              </a:extLst>
            </p:cNvPr>
            <p:cNvSpPr txBox="1"/>
            <p:nvPr/>
          </p:nvSpPr>
          <p:spPr>
            <a:xfrm>
              <a:off x="7234944" y="2043948"/>
              <a:ext cx="3983661" cy="1338691"/>
            </a:xfrm>
            <a:prstGeom prst="rect">
              <a:avLst/>
            </a:prstGeom>
            <a:noFill/>
          </p:spPr>
          <p:txBody>
            <a:bodyPr wrap="square" rtlCol="0">
              <a:spAutoFit/>
            </a:bodyPr>
            <a:lstStyle/>
            <a:p>
              <a:pPr marL="180975" marR="5080" lvl="0" indent="-171450" algn="l" defTabSz="9144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Open Sans"/>
                </a:rPr>
                <a:t>Quarterly meeting led by chair, with no more than 10 members</a:t>
              </a:r>
              <a:endParaRPr kumimoji="0" lang="en-US" sz="1100" b="0" i="0" u="none" strike="noStrike" kern="1200" cap="none" spc="0" normalizeH="0" baseline="0" noProof="0" dirty="0">
                <a:ln>
                  <a:noFill/>
                </a:ln>
                <a:solidFill>
                  <a:srgbClr val="000000"/>
                </a:solidFill>
                <a:effectLst/>
                <a:uLnTx/>
                <a:uFillTx/>
                <a:latin typeface="Open Sans"/>
                <a:ea typeface="+mn-ea"/>
                <a:cs typeface="Open Sans"/>
              </a:endParaRPr>
            </a:p>
            <a:p>
              <a:pPr marL="180975" marR="5080" lvl="0" indent="-171450" algn="l" defTabSz="9144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Open Sans"/>
                </a:rPr>
                <a:t>The committee will be focused on strategic decision making vs. static reporting</a:t>
              </a:r>
            </a:p>
            <a:p>
              <a:pPr marL="180975" marR="5080" lvl="0" indent="-171450" algn="l" defTabSz="9144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Open Sans"/>
                </a:rPr>
                <a:t>Prior to each committee meeting, a thorough evaluation will be completed on each focus areas to analyze the performance of existing investments and the business opportunity created by new investments</a:t>
              </a:r>
            </a:p>
          </p:txBody>
        </p:sp>
        <p:sp>
          <p:nvSpPr>
            <p:cNvPr id="22" name="Rectangle 21">
              <a:extLst>
                <a:ext uri="{FF2B5EF4-FFF2-40B4-BE49-F238E27FC236}">
                  <a16:creationId xmlns:a16="http://schemas.microsoft.com/office/drawing/2014/main" id="{8E062FB4-181A-4656-B053-3E42F07C08C5}"/>
                </a:ext>
              </a:extLst>
            </p:cNvPr>
            <p:cNvSpPr/>
            <p:nvPr/>
          </p:nvSpPr>
          <p:spPr>
            <a:xfrm>
              <a:off x="7301656" y="3477385"/>
              <a:ext cx="1214195" cy="299149"/>
            </a:xfrm>
            <a:prstGeom prst="rect">
              <a:avLst/>
            </a:prstGeom>
            <a:solidFill>
              <a:srgbClr val="FFFFFF"/>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Open Sans"/>
                  <a:ea typeface="+mn-ea"/>
                  <a:cs typeface="+mn-cs"/>
                </a:rPr>
                <a:t>Objectives</a:t>
              </a:r>
              <a:endParaRPr kumimoji="0" lang="en-US" sz="1400" b="0" i="0" u="none" strike="noStrike" kern="0" cap="none" spc="0" normalizeH="0" baseline="0" noProof="0" dirty="0">
                <a:ln>
                  <a:noFill/>
                </a:ln>
                <a:solidFill>
                  <a:srgbClr val="000000"/>
                </a:solidFill>
                <a:effectLst/>
                <a:uLnTx/>
                <a:uFillTx/>
                <a:latin typeface="Open Sans"/>
                <a:ea typeface="+mn-ea"/>
                <a:cs typeface="+mn-cs"/>
              </a:endParaRPr>
            </a:p>
          </p:txBody>
        </p:sp>
        <p:sp>
          <p:nvSpPr>
            <p:cNvPr id="23" name="TextBox 22">
              <a:extLst>
                <a:ext uri="{FF2B5EF4-FFF2-40B4-BE49-F238E27FC236}">
                  <a16:creationId xmlns:a16="http://schemas.microsoft.com/office/drawing/2014/main" id="{A889F2A9-22D1-4D52-BFC4-B475BD5E1790}"/>
                </a:ext>
              </a:extLst>
            </p:cNvPr>
            <p:cNvSpPr txBox="1"/>
            <p:nvPr/>
          </p:nvSpPr>
          <p:spPr>
            <a:xfrm>
              <a:off x="7226691" y="3784360"/>
              <a:ext cx="4226876" cy="1413478"/>
            </a:xfrm>
            <a:prstGeom prst="rect">
              <a:avLst/>
            </a:prstGeom>
            <a:noFill/>
          </p:spPr>
          <p:txBody>
            <a:bodyPr wrap="square" rtlCol="0">
              <a:spAutoFit/>
            </a:bodyPr>
            <a:lstStyle/>
            <a:p>
              <a:pPr marL="180975" marR="5080" lvl="0" indent="-171450" algn="l" defTabSz="9144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Open Sans"/>
                </a:rPr>
                <a:t>Create a forum for senior leaders to quickly discuss, decide, and disseminate strategic investment priorities across Offerings and Assets</a:t>
              </a:r>
            </a:p>
            <a:p>
              <a:pPr marL="180975" marR="5080" lvl="0" indent="-171450" algn="l" defTabSz="9144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Open Sans"/>
                </a:rPr>
                <a:t>Create a standardized, equitable, and transparent review process </a:t>
              </a:r>
            </a:p>
            <a:p>
              <a:pPr marL="180975" marR="5080" lvl="0" indent="-171450" algn="l" defTabSz="9144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Open Sans"/>
                </a:rPr>
                <a:t>Align and distribute investment dollars with a portfolio-level lens </a:t>
              </a:r>
            </a:p>
            <a:p>
              <a:pPr marL="180975" marR="5080" lvl="0" indent="-171450" algn="l" defTabSz="9144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Open Sans"/>
                </a:rPr>
                <a:t>Monitor progress across the myriad budget group lifecycles to improve the allocation, effectiveness, and ROI of our investments</a:t>
              </a:r>
            </a:p>
          </p:txBody>
        </p:sp>
        <p:sp>
          <p:nvSpPr>
            <p:cNvPr id="24" name="Rectangle 23">
              <a:extLst>
                <a:ext uri="{FF2B5EF4-FFF2-40B4-BE49-F238E27FC236}">
                  <a16:creationId xmlns:a16="http://schemas.microsoft.com/office/drawing/2014/main" id="{F578EA9E-93D0-4739-92EF-625F84276BB3}"/>
                </a:ext>
              </a:extLst>
            </p:cNvPr>
            <p:cNvSpPr/>
            <p:nvPr/>
          </p:nvSpPr>
          <p:spPr>
            <a:xfrm>
              <a:off x="7308891" y="5277794"/>
              <a:ext cx="1214195" cy="299149"/>
            </a:xfrm>
            <a:prstGeom prst="rect">
              <a:avLst/>
            </a:prstGeom>
            <a:solidFill>
              <a:srgbClr val="FFFFFF"/>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Open Sans"/>
                  <a:ea typeface="+mn-ea"/>
                  <a:cs typeface="+mn-cs"/>
                </a:rPr>
                <a:t>Outcomes</a:t>
              </a:r>
              <a:endParaRPr kumimoji="0" lang="en-US" sz="1400" b="0" i="0" u="none" strike="noStrike" kern="0" cap="none" spc="0" normalizeH="0" baseline="0" noProof="0" dirty="0">
                <a:ln>
                  <a:noFill/>
                </a:ln>
                <a:solidFill>
                  <a:srgbClr val="000000"/>
                </a:solidFill>
                <a:effectLst/>
                <a:uLnTx/>
                <a:uFillTx/>
                <a:latin typeface="Open Sans"/>
                <a:ea typeface="+mn-ea"/>
                <a:cs typeface="+mn-cs"/>
              </a:endParaRPr>
            </a:p>
          </p:txBody>
        </p:sp>
        <p:sp>
          <p:nvSpPr>
            <p:cNvPr id="25" name="TextBox 24">
              <a:extLst>
                <a:ext uri="{FF2B5EF4-FFF2-40B4-BE49-F238E27FC236}">
                  <a16:creationId xmlns:a16="http://schemas.microsoft.com/office/drawing/2014/main" id="{138B984F-2BDA-48D8-B063-0209BE4E4CEE}"/>
                </a:ext>
              </a:extLst>
            </p:cNvPr>
            <p:cNvSpPr txBox="1"/>
            <p:nvPr/>
          </p:nvSpPr>
          <p:spPr>
            <a:xfrm>
              <a:off x="7220440" y="5587469"/>
              <a:ext cx="4233127" cy="710478"/>
            </a:xfrm>
            <a:prstGeom prst="rect">
              <a:avLst/>
            </a:prstGeom>
            <a:noFill/>
          </p:spPr>
          <p:txBody>
            <a:bodyPr wrap="square" rtlCol="0">
              <a:spAutoFit/>
            </a:bodyPr>
            <a:lstStyle/>
            <a:p>
              <a:pPr marL="180975" marR="5080" lvl="0" indent="-171450" algn="l" defTabSz="9144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Open Sans"/>
                </a:rPr>
                <a:t>Annual investment priorities and performance targets </a:t>
              </a:r>
            </a:p>
            <a:p>
              <a:pPr marL="180975" marR="5080" lvl="0" indent="-171450" algn="l" defTabSz="9144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Open Sans"/>
                </a:rPr>
                <a:t>Quarterly investment reporting, alignment, and decision making</a:t>
              </a:r>
            </a:p>
            <a:p>
              <a:pPr marL="180975" marR="5080" lvl="0" indent="-171450" algn="l" defTabSz="9144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Open Sans"/>
                </a:rPr>
                <a:t>Monthly leadership investment summaries (Digital) </a:t>
              </a:r>
            </a:p>
          </p:txBody>
        </p:sp>
        <p:sp>
          <p:nvSpPr>
            <p:cNvPr id="26" name="Rectangle 25">
              <a:extLst>
                <a:ext uri="{FF2B5EF4-FFF2-40B4-BE49-F238E27FC236}">
                  <a16:creationId xmlns:a16="http://schemas.microsoft.com/office/drawing/2014/main" id="{B87F6881-C13E-4FB9-9840-2AC55354D13F}"/>
                </a:ext>
              </a:extLst>
            </p:cNvPr>
            <p:cNvSpPr/>
            <p:nvPr/>
          </p:nvSpPr>
          <p:spPr>
            <a:xfrm>
              <a:off x="7234945" y="1637491"/>
              <a:ext cx="4195781" cy="4812067"/>
            </a:xfrm>
            <a:prstGeom prst="rect">
              <a:avLst/>
            </a:prstGeom>
            <a:noFill/>
            <a:ln w="28575" cap="rnd">
              <a:solidFill>
                <a:schemeClr val="tx1"/>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27" name="Rectangle 26">
            <a:extLst>
              <a:ext uri="{FF2B5EF4-FFF2-40B4-BE49-F238E27FC236}">
                <a16:creationId xmlns:a16="http://schemas.microsoft.com/office/drawing/2014/main" id="{9F976142-29F3-4B72-AFF8-6F92C1B763E3}"/>
              </a:ext>
            </a:extLst>
          </p:cNvPr>
          <p:cNvSpPr/>
          <p:nvPr/>
        </p:nvSpPr>
        <p:spPr>
          <a:xfrm>
            <a:off x="856908" y="1250152"/>
            <a:ext cx="2894363"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Open Sans"/>
                <a:ea typeface="+mn-ea"/>
                <a:cs typeface="+mn-cs"/>
              </a:rPr>
              <a:t>Investment Committee Structure</a:t>
            </a:r>
            <a:endParaRPr kumimoji="0" lang="en-US" sz="1200" b="0" i="0" u="none" strike="noStrike" kern="0" cap="none" spc="0" normalizeH="0" baseline="0" noProof="0" dirty="0">
              <a:ln>
                <a:noFill/>
              </a:ln>
              <a:solidFill>
                <a:srgbClr val="000000"/>
              </a:solidFill>
              <a:effectLst/>
              <a:uLnTx/>
              <a:uFillTx/>
              <a:latin typeface="Open Sans"/>
              <a:ea typeface="+mn-ea"/>
              <a:cs typeface="+mn-cs"/>
            </a:endParaRPr>
          </a:p>
        </p:txBody>
      </p:sp>
      <p:sp>
        <p:nvSpPr>
          <p:cNvPr id="28" name="Rectangle 27">
            <a:extLst>
              <a:ext uri="{FF2B5EF4-FFF2-40B4-BE49-F238E27FC236}">
                <a16:creationId xmlns:a16="http://schemas.microsoft.com/office/drawing/2014/main" id="{DF702E80-982C-486C-B9A9-EA613B9A1EB7}"/>
              </a:ext>
            </a:extLst>
          </p:cNvPr>
          <p:cNvSpPr/>
          <p:nvPr/>
        </p:nvSpPr>
        <p:spPr>
          <a:xfrm>
            <a:off x="851877" y="5920542"/>
            <a:ext cx="1884565" cy="72813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aphicFrame>
        <p:nvGraphicFramePr>
          <p:cNvPr id="29" name="Table 28">
            <a:extLst>
              <a:ext uri="{FF2B5EF4-FFF2-40B4-BE49-F238E27FC236}">
                <a16:creationId xmlns:a16="http://schemas.microsoft.com/office/drawing/2014/main" id="{21DDF41F-B7B1-49C1-BB7B-1CB1F36CCB04}"/>
              </a:ext>
            </a:extLst>
          </p:cNvPr>
          <p:cNvGraphicFramePr>
            <a:graphicFrameLocks noGrp="1"/>
          </p:cNvGraphicFramePr>
          <p:nvPr>
            <p:extLst>
              <p:ext uri="{D42A27DB-BD31-4B8C-83A1-F6EECF244321}">
                <p14:modId xmlns:p14="http://schemas.microsoft.com/office/powerpoint/2010/main" val="3182551928"/>
              </p:ext>
            </p:extLst>
          </p:nvPr>
        </p:nvGraphicFramePr>
        <p:xfrm>
          <a:off x="932439" y="5979665"/>
          <a:ext cx="1796772" cy="614402"/>
        </p:xfrm>
        <a:graphic>
          <a:graphicData uri="http://schemas.openxmlformats.org/drawingml/2006/table">
            <a:tbl>
              <a:tblPr firstRow="1" bandRow="1">
                <a:tableStyleId>{5C22544A-7EE6-4342-B048-85BDC9FD1C3A}</a:tableStyleId>
              </a:tblPr>
              <a:tblGrid>
                <a:gridCol w="898386">
                  <a:extLst>
                    <a:ext uri="{9D8B030D-6E8A-4147-A177-3AD203B41FA5}">
                      <a16:colId xmlns:a16="http://schemas.microsoft.com/office/drawing/2014/main" val="2233951185"/>
                    </a:ext>
                  </a:extLst>
                </a:gridCol>
                <a:gridCol w="898386">
                  <a:extLst>
                    <a:ext uri="{9D8B030D-6E8A-4147-A177-3AD203B41FA5}">
                      <a16:colId xmlns:a16="http://schemas.microsoft.com/office/drawing/2014/main" val="2373802953"/>
                    </a:ext>
                  </a:extLst>
                </a:gridCol>
              </a:tblGrid>
              <a:tr h="281218">
                <a:tc gridSpan="2">
                  <a:txBody>
                    <a:bodyPr/>
                    <a:lstStyle/>
                    <a:p>
                      <a:pPr algn="ctr"/>
                      <a:r>
                        <a:rPr lang="en-US"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Sales/Client Excellence</a:t>
                      </a:r>
                    </a:p>
                  </a:txBody>
                  <a:tcPr anchor="b">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1"/>
                    </a:solidFill>
                  </a:tcPr>
                </a:tc>
                <a:tc hMerge="1">
                  <a:txBody>
                    <a:bodyPr/>
                    <a:lstStyle/>
                    <a:p>
                      <a:endParaRPr lang="en-US"/>
                    </a:p>
                  </a:txBody>
                  <a:tcPr/>
                </a:tc>
                <a:extLst>
                  <a:ext uri="{0D108BD9-81ED-4DB2-BD59-A6C34878D82A}">
                    <a16:rowId xmlns:a16="http://schemas.microsoft.com/office/drawing/2014/main" val="625830124"/>
                  </a:ext>
                </a:extLst>
              </a:tr>
              <a:tr h="333184">
                <a:tc>
                  <a:txBody>
                    <a:bodyPr/>
                    <a:lstStyle/>
                    <a:p>
                      <a:pPr marL="0" marR="0" lvl="0" indent="0" algn="ctr" defTabSz="914400" rtl="0" eaLnBrk="1" fontAlgn="auto" latinLnBrk="0" hangingPunct="1">
                        <a:lnSpc>
                          <a:spcPct val="100000"/>
                        </a:lnSpc>
                        <a:spcBef>
                          <a:spcPts val="200"/>
                        </a:spcBef>
                        <a:spcAft>
                          <a:spcPts val="0"/>
                        </a:spcAft>
                        <a:buClr>
                          <a:srgbClr val="000000"/>
                        </a:buClr>
                        <a:buSzPct val="75000"/>
                        <a:buFont typeface="Arial" panose="020B0604020202020204" pitchFamily="34" charset="0"/>
                        <a:buNone/>
                        <a:tabLst/>
                        <a:defRPr/>
                      </a:pPr>
                      <a:r>
                        <a:rPr kumimoji="0" lang="en-US" sz="900" b="0" i="0" u="none" strike="noStrike" kern="1200" cap="none" spc="-40" normalizeH="0" baseline="0" noProof="0" dirty="0">
                          <a:ln>
                            <a:noFill/>
                          </a:ln>
                          <a:solidFill>
                            <a:srgbClr val="000000"/>
                          </a:solidFill>
                          <a:effectLst/>
                          <a:uLnTx/>
                          <a:uFillTx/>
                          <a:latin typeface="Open Sans"/>
                          <a:ea typeface="+mn-ea"/>
                          <a:cs typeface="Open Sans"/>
                        </a:rPr>
                        <a:t>xxx</a:t>
                      </a:r>
                    </a:p>
                  </a:txBody>
                  <a:tcPr>
                    <a:lnL w="28575" cap="flat" cmpd="sng" algn="ctr">
                      <a:solidFill>
                        <a:schemeClr val="bg1">
                          <a:lumMod val="75000"/>
                        </a:schemeClr>
                      </a:solidFill>
                      <a:prstDash val="solid"/>
                      <a:round/>
                      <a:headEnd type="none" w="med" len="med"/>
                      <a:tailEnd type="none" w="med" len="med"/>
                    </a:lnL>
                    <a:lnR w="28575" cap="flat" cmpd="sng" algn="ctr">
                      <a:noFill/>
                      <a:prstDash val="solid"/>
                      <a:round/>
                      <a:headEnd type="none" w="med" len="med"/>
                      <a:tailEnd type="none" w="med" len="med"/>
                    </a:lnR>
                    <a:lnT w="38100" cmpd="sng">
                      <a:noFill/>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900" dirty="0">
                          <a:latin typeface="Open Sans" panose="020B0606030504020204" pitchFamily="34" charset="0"/>
                          <a:ea typeface="Open Sans" panose="020B0606030504020204" pitchFamily="34" charset="0"/>
                          <a:cs typeface="Open Sans" panose="020B0606030504020204" pitchFamily="34" charset="0"/>
                        </a:rPr>
                        <a:t>xxx</a:t>
                      </a:r>
                    </a:p>
                  </a:txBody>
                  <a:tcPr>
                    <a:lnL w="28575" cap="flat" cmpd="sng" algn="ctr">
                      <a:no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38100" cmpd="sng">
                      <a:noFill/>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66162279"/>
                  </a:ext>
                </a:extLst>
              </a:tr>
            </a:tbl>
          </a:graphicData>
        </a:graphic>
      </p:graphicFrame>
      <p:graphicFrame>
        <p:nvGraphicFramePr>
          <p:cNvPr id="30" name="Table 29">
            <a:extLst>
              <a:ext uri="{FF2B5EF4-FFF2-40B4-BE49-F238E27FC236}">
                <a16:creationId xmlns:a16="http://schemas.microsoft.com/office/drawing/2014/main" id="{3D60AB1C-0C31-40C7-A685-E36BB58731A8}"/>
              </a:ext>
            </a:extLst>
          </p:cNvPr>
          <p:cNvGraphicFramePr>
            <a:graphicFrameLocks noGrp="1"/>
          </p:cNvGraphicFramePr>
          <p:nvPr>
            <p:extLst>
              <p:ext uri="{D42A27DB-BD31-4B8C-83A1-F6EECF244321}">
                <p14:modId xmlns:p14="http://schemas.microsoft.com/office/powerpoint/2010/main" val="2635230234"/>
              </p:ext>
            </p:extLst>
          </p:nvPr>
        </p:nvGraphicFramePr>
        <p:xfrm>
          <a:off x="932439" y="4599646"/>
          <a:ext cx="1796772" cy="614402"/>
        </p:xfrm>
        <a:graphic>
          <a:graphicData uri="http://schemas.openxmlformats.org/drawingml/2006/table">
            <a:tbl>
              <a:tblPr firstRow="1" bandRow="1">
                <a:tableStyleId>{5C22544A-7EE6-4342-B048-85BDC9FD1C3A}</a:tableStyleId>
              </a:tblPr>
              <a:tblGrid>
                <a:gridCol w="1796772">
                  <a:extLst>
                    <a:ext uri="{9D8B030D-6E8A-4147-A177-3AD203B41FA5}">
                      <a16:colId xmlns:a16="http://schemas.microsoft.com/office/drawing/2014/main" val="2233951185"/>
                    </a:ext>
                  </a:extLst>
                </a:gridCol>
              </a:tblGrid>
              <a:tr h="281218">
                <a:tc>
                  <a:txBody>
                    <a:bodyPr/>
                    <a:lstStyle/>
                    <a:p>
                      <a:pPr algn="ctr"/>
                      <a:r>
                        <a:rPr lang="en-US"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Finance Business Partner</a:t>
                      </a:r>
                    </a:p>
                  </a:txBody>
                  <a:tcPr anchor="b">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25830124"/>
                  </a:ext>
                </a:extLst>
              </a:tr>
              <a:tr h="333184">
                <a:tc>
                  <a:txBody>
                    <a:bodyPr/>
                    <a:lstStyle/>
                    <a:p>
                      <a:pPr marL="0" marR="0" lvl="0" indent="0" algn="ctr" defTabSz="914400" rtl="0" eaLnBrk="1" fontAlgn="auto" latinLnBrk="0" hangingPunct="1">
                        <a:lnSpc>
                          <a:spcPct val="100000"/>
                        </a:lnSpc>
                        <a:spcBef>
                          <a:spcPts val="200"/>
                        </a:spcBef>
                        <a:spcAft>
                          <a:spcPts val="0"/>
                        </a:spcAft>
                        <a:buClr>
                          <a:srgbClr val="000000"/>
                        </a:buClr>
                        <a:buSzPct val="75000"/>
                        <a:buFont typeface="Arial" panose="020B0604020202020204" pitchFamily="34" charset="0"/>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xxx</a:t>
                      </a:r>
                      <a:endParaRPr kumimoji="0" lang="en-US" sz="900" b="0" i="0" u="none" strike="noStrike" kern="1200" cap="none" spc="-40" normalizeH="0" baseline="0" noProof="0" dirty="0">
                        <a:ln>
                          <a:noFill/>
                        </a:ln>
                        <a:solidFill>
                          <a:srgbClr val="000000"/>
                        </a:solidFill>
                        <a:effectLst/>
                        <a:uLnTx/>
                        <a:uFillTx/>
                        <a:latin typeface="Open Sans"/>
                        <a:ea typeface="+mn-ea"/>
                        <a:cs typeface="Open Sans"/>
                      </a:endParaRPr>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38100" cmpd="sng">
                      <a:noFill/>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66162279"/>
                  </a:ext>
                </a:extLst>
              </a:tr>
            </a:tbl>
          </a:graphicData>
        </a:graphic>
      </p:graphicFrame>
      <p:graphicFrame>
        <p:nvGraphicFramePr>
          <p:cNvPr id="31" name="Table 30">
            <a:extLst>
              <a:ext uri="{FF2B5EF4-FFF2-40B4-BE49-F238E27FC236}">
                <a16:creationId xmlns:a16="http://schemas.microsoft.com/office/drawing/2014/main" id="{2D90DF8B-BD89-49ED-ACE2-85ECDC152694}"/>
              </a:ext>
            </a:extLst>
          </p:cNvPr>
          <p:cNvGraphicFramePr>
            <a:graphicFrameLocks noGrp="1"/>
          </p:cNvGraphicFramePr>
          <p:nvPr>
            <p:extLst>
              <p:ext uri="{D42A27DB-BD31-4B8C-83A1-F6EECF244321}">
                <p14:modId xmlns:p14="http://schemas.microsoft.com/office/powerpoint/2010/main" val="1819148667"/>
              </p:ext>
            </p:extLst>
          </p:nvPr>
        </p:nvGraphicFramePr>
        <p:xfrm>
          <a:off x="932439" y="5289771"/>
          <a:ext cx="1796772" cy="614402"/>
        </p:xfrm>
        <a:graphic>
          <a:graphicData uri="http://schemas.openxmlformats.org/drawingml/2006/table">
            <a:tbl>
              <a:tblPr firstRow="1" bandRow="1">
                <a:tableStyleId>{5C22544A-7EE6-4342-B048-85BDC9FD1C3A}</a:tableStyleId>
              </a:tblPr>
              <a:tblGrid>
                <a:gridCol w="1796772">
                  <a:extLst>
                    <a:ext uri="{9D8B030D-6E8A-4147-A177-3AD203B41FA5}">
                      <a16:colId xmlns:a16="http://schemas.microsoft.com/office/drawing/2014/main" val="2233951185"/>
                    </a:ext>
                  </a:extLst>
                </a:gridCol>
              </a:tblGrid>
              <a:tr h="281218">
                <a:tc>
                  <a:txBody>
                    <a:bodyPr/>
                    <a:lstStyle/>
                    <a:p>
                      <a:pPr algn="ctr"/>
                      <a:r>
                        <a:rPr lang="en-US"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ST&amp;I Leader</a:t>
                      </a:r>
                    </a:p>
                  </a:txBody>
                  <a:tcPr anchor="b">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25830124"/>
                  </a:ext>
                </a:extLst>
              </a:tr>
              <a:tr h="333184">
                <a:tc>
                  <a:txBody>
                    <a:bodyPr/>
                    <a:lstStyle/>
                    <a:p>
                      <a:pPr marL="0" marR="0" lvl="0" indent="0" algn="ctr" defTabSz="914400" rtl="0" eaLnBrk="1" fontAlgn="auto" latinLnBrk="0" hangingPunct="1">
                        <a:lnSpc>
                          <a:spcPct val="100000"/>
                        </a:lnSpc>
                        <a:spcBef>
                          <a:spcPts val="200"/>
                        </a:spcBef>
                        <a:spcAft>
                          <a:spcPts val="0"/>
                        </a:spcAft>
                        <a:buClr>
                          <a:srgbClr val="000000"/>
                        </a:buClr>
                        <a:buSzPct val="75000"/>
                        <a:buFont typeface="Arial" panose="020B0604020202020204" pitchFamily="34" charset="0"/>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xxx</a:t>
                      </a:r>
                      <a:endParaRPr kumimoji="0" lang="en-US" sz="900" b="0" i="0" u="none" strike="noStrike" kern="1200" cap="none" spc="-40" normalizeH="0" baseline="0" noProof="0" dirty="0">
                        <a:ln>
                          <a:noFill/>
                        </a:ln>
                        <a:solidFill>
                          <a:srgbClr val="000000"/>
                        </a:solidFill>
                        <a:effectLst/>
                        <a:uLnTx/>
                        <a:uFillTx/>
                        <a:latin typeface="Open Sans"/>
                        <a:ea typeface="+mn-ea"/>
                        <a:cs typeface="Open Sans"/>
                      </a:endParaRPr>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38100" cmpd="sng">
                      <a:noFill/>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66162279"/>
                  </a:ext>
                </a:extLst>
              </a:tr>
            </a:tbl>
          </a:graphicData>
        </a:graphic>
      </p:graphicFrame>
      <p:graphicFrame>
        <p:nvGraphicFramePr>
          <p:cNvPr id="32" name="Table 31">
            <a:extLst>
              <a:ext uri="{FF2B5EF4-FFF2-40B4-BE49-F238E27FC236}">
                <a16:creationId xmlns:a16="http://schemas.microsoft.com/office/drawing/2014/main" id="{AC7C7314-3634-419F-956D-07FEF62966D9}"/>
              </a:ext>
            </a:extLst>
          </p:cNvPr>
          <p:cNvGraphicFramePr>
            <a:graphicFrameLocks noGrp="1"/>
          </p:cNvGraphicFramePr>
          <p:nvPr>
            <p:extLst>
              <p:ext uri="{D42A27DB-BD31-4B8C-83A1-F6EECF244321}">
                <p14:modId xmlns:p14="http://schemas.microsoft.com/office/powerpoint/2010/main" val="582105882"/>
              </p:ext>
            </p:extLst>
          </p:nvPr>
        </p:nvGraphicFramePr>
        <p:xfrm>
          <a:off x="932439" y="3907252"/>
          <a:ext cx="1796772" cy="614402"/>
        </p:xfrm>
        <a:graphic>
          <a:graphicData uri="http://schemas.openxmlformats.org/drawingml/2006/table">
            <a:tbl>
              <a:tblPr firstRow="1" bandRow="1">
                <a:tableStyleId>{5C22544A-7EE6-4342-B048-85BDC9FD1C3A}</a:tableStyleId>
              </a:tblPr>
              <a:tblGrid>
                <a:gridCol w="1796772">
                  <a:extLst>
                    <a:ext uri="{9D8B030D-6E8A-4147-A177-3AD203B41FA5}">
                      <a16:colId xmlns:a16="http://schemas.microsoft.com/office/drawing/2014/main" val="2233951185"/>
                    </a:ext>
                  </a:extLst>
                </a:gridCol>
              </a:tblGrid>
              <a:tr h="281218">
                <a:tc>
                  <a:txBody>
                    <a:bodyPr/>
                    <a:lstStyle/>
                    <a:p>
                      <a:pPr algn="ctr"/>
                      <a:r>
                        <a:rPr lang="en-US"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C&amp;M Asset Leader</a:t>
                      </a:r>
                    </a:p>
                  </a:txBody>
                  <a:tcPr anchor="b">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25830124"/>
                  </a:ext>
                </a:extLst>
              </a:tr>
              <a:tr h="333184">
                <a:tc>
                  <a:txBody>
                    <a:bodyPr/>
                    <a:lstStyle/>
                    <a:p>
                      <a:pPr marL="0" marR="0" lvl="0" indent="0" algn="ctr" defTabSz="914400" rtl="0" eaLnBrk="1" fontAlgn="auto" latinLnBrk="0" hangingPunct="1">
                        <a:lnSpc>
                          <a:spcPct val="100000"/>
                        </a:lnSpc>
                        <a:spcBef>
                          <a:spcPts val="200"/>
                        </a:spcBef>
                        <a:spcAft>
                          <a:spcPts val="0"/>
                        </a:spcAft>
                        <a:buClr>
                          <a:srgbClr val="000000"/>
                        </a:buClr>
                        <a:buSzPct val="75000"/>
                        <a:buFont typeface="Arial" panose="020B0604020202020204" pitchFamily="34" charset="0"/>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xxx</a:t>
                      </a:r>
                      <a:endParaRPr kumimoji="0" lang="en-US" sz="900" b="0" i="0" u="none" strike="noStrike" kern="1200" cap="none" spc="-40" normalizeH="0" baseline="0" noProof="0" dirty="0">
                        <a:ln>
                          <a:noFill/>
                        </a:ln>
                        <a:solidFill>
                          <a:srgbClr val="000000"/>
                        </a:solidFill>
                        <a:effectLst/>
                        <a:uLnTx/>
                        <a:uFillTx/>
                        <a:latin typeface="Open Sans"/>
                        <a:ea typeface="+mn-ea"/>
                        <a:cs typeface="Open Sans"/>
                      </a:endParaRPr>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38100" cmpd="sng">
                      <a:noFill/>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66162279"/>
                  </a:ext>
                </a:extLst>
              </a:tr>
            </a:tbl>
          </a:graphicData>
        </a:graphic>
      </p:graphicFrame>
      <p:graphicFrame>
        <p:nvGraphicFramePr>
          <p:cNvPr id="33" name="Table 32">
            <a:extLst>
              <a:ext uri="{FF2B5EF4-FFF2-40B4-BE49-F238E27FC236}">
                <a16:creationId xmlns:a16="http://schemas.microsoft.com/office/drawing/2014/main" id="{7CD5E520-F0A0-4B5F-A791-A4612711EE47}"/>
              </a:ext>
            </a:extLst>
          </p:cNvPr>
          <p:cNvGraphicFramePr>
            <a:graphicFrameLocks noGrp="1"/>
          </p:cNvGraphicFramePr>
          <p:nvPr>
            <p:extLst>
              <p:ext uri="{D42A27DB-BD31-4B8C-83A1-F6EECF244321}">
                <p14:modId xmlns:p14="http://schemas.microsoft.com/office/powerpoint/2010/main" val="1291983991"/>
              </p:ext>
            </p:extLst>
          </p:nvPr>
        </p:nvGraphicFramePr>
        <p:xfrm>
          <a:off x="932439" y="2352556"/>
          <a:ext cx="1796772" cy="614402"/>
        </p:xfrm>
        <a:graphic>
          <a:graphicData uri="http://schemas.openxmlformats.org/drawingml/2006/table">
            <a:tbl>
              <a:tblPr firstRow="1" bandRow="1">
                <a:tableStyleId>{5C22544A-7EE6-4342-B048-85BDC9FD1C3A}</a:tableStyleId>
              </a:tblPr>
              <a:tblGrid>
                <a:gridCol w="1796772">
                  <a:extLst>
                    <a:ext uri="{9D8B030D-6E8A-4147-A177-3AD203B41FA5}">
                      <a16:colId xmlns:a16="http://schemas.microsoft.com/office/drawing/2014/main" val="2233951185"/>
                    </a:ext>
                  </a:extLst>
                </a:gridCol>
              </a:tblGrid>
              <a:tr h="281218">
                <a:tc>
                  <a:txBody>
                    <a:bodyPr/>
                    <a:lstStyle/>
                    <a:p>
                      <a:pPr algn="ctr"/>
                      <a:r>
                        <a:rPr lang="en-US"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C&amp;M Leader</a:t>
                      </a:r>
                    </a:p>
                  </a:txBody>
                  <a:tcPr anchor="b">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25830124"/>
                  </a:ext>
                </a:extLst>
              </a:tr>
              <a:tr h="333184">
                <a:tc>
                  <a:txBody>
                    <a:bodyPr/>
                    <a:lstStyle/>
                    <a:p>
                      <a:pPr marL="0" marR="0" lvl="0" indent="0" algn="ctr" defTabSz="914400" rtl="0" eaLnBrk="1" fontAlgn="auto" latinLnBrk="0" hangingPunct="1">
                        <a:lnSpc>
                          <a:spcPct val="100000"/>
                        </a:lnSpc>
                        <a:spcBef>
                          <a:spcPts val="200"/>
                        </a:spcBef>
                        <a:spcAft>
                          <a:spcPts val="0"/>
                        </a:spcAft>
                        <a:buClr>
                          <a:srgbClr val="000000"/>
                        </a:buClr>
                        <a:buSzPct val="75000"/>
                        <a:buFont typeface="Arial" panose="020B0604020202020204" pitchFamily="34" charset="0"/>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xxx</a:t>
                      </a:r>
                      <a:endParaRPr kumimoji="0" lang="en-US" sz="900" b="0" i="0" u="none" strike="noStrike" kern="1200" cap="none" spc="-40" normalizeH="0" baseline="0" noProof="0" dirty="0">
                        <a:ln>
                          <a:noFill/>
                        </a:ln>
                        <a:solidFill>
                          <a:srgbClr val="000000"/>
                        </a:solidFill>
                        <a:effectLst/>
                        <a:uLnTx/>
                        <a:uFillTx/>
                        <a:latin typeface="Open Sans"/>
                        <a:ea typeface="+mn-ea"/>
                        <a:cs typeface="Open Sans"/>
                      </a:endParaRPr>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38100" cmpd="sng">
                      <a:noFill/>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66162279"/>
                  </a:ext>
                </a:extLst>
              </a:tr>
            </a:tbl>
          </a:graphicData>
        </a:graphic>
      </p:graphicFrame>
      <p:graphicFrame>
        <p:nvGraphicFramePr>
          <p:cNvPr id="34" name="Table 33">
            <a:extLst>
              <a:ext uri="{FF2B5EF4-FFF2-40B4-BE49-F238E27FC236}">
                <a16:creationId xmlns:a16="http://schemas.microsoft.com/office/drawing/2014/main" id="{0065282B-713B-4991-8522-65C1B67D2FBD}"/>
              </a:ext>
            </a:extLst>
          </p:cNvPr>
          <p:cNvGraphicFramePr>
            <a:graphicFrameLocks noGrp="1"/>
          </p:cNvGraphicFramePr>
          <p:nvPr>
            <p:extLst>
              <p:ext uri="{D42A27DB-BD31-4B8C-83A1-F6EECF244321}">
                <p14:modId xmlns:p14="http://schemas.microsoft.com/office/powerpoint/2010/main" val="4006858902"/>
              </p:ext>
            </p:extLst>
          </p:nvPr>
        </p:nvGraphicFramePr>
        <p:xfrm>
          <a:off x="925014" y="3047849"/>
          <a:ext cx="1811622" cy="724796"/>
        </p:xfrm>
        <a:graphic>
          <a:graphicData uri="http://schemas.openxmlformats.org/drawingml/2006/table">
            <a:tbl>
              <a:tblPr firstRow="1" bandRow="1">
                <a:tableStyleId>{5C22544A-7EE6-4342-B048-85BDC9FD1C3A}</a:tableStyleId>
              </a:tblPr>
              <a:tblGrid>
                <a:gridCol w="1811622">
                  <a:extLst>
                    <a:ext uri="{9D8B030D-6E8A-4147-A177-3AD203B41FA5}">
                      <a16:colId xmlns:a16="http://schemas.microsoft.com/office/drawing/2014/main" val="2233951185"/>
                    </a:ext>
                  </a:extLst>
                </a:gridCol>
              </a:tblGrid>
              <a:tr h="204851">
                <a:tc>
                  <a:txBody>
                    <a:bodyPr/>
                    <a:lstStyle/>
                    <a:p>
                      <a:pPr algn="ctr"/>
                      <a:r>
                        <a:rPr lang="en-US"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Offering / MO Champions</a:t>
                      </a:r>
                    </a:p>
                  </a:txBody>
                  <a:tcPr anchor="b">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25830124"/>
                  </a:ext>
                </a:extLst>
              </a:tr>
              <a:tr h="496196">
                <a:tc>
                  <a:txBody>
                    <a:bodyPr/>
                    <a:lstStyle/>
                    <a:p>
                      <a:pPr marL="0" marR="0" lvl="0" indent="0" algn="ctr" defTabSz="914400" rtl="0" eaLnBrk="1" fontAlgn="auto" latinLnBrk="0" hangingPunct="1">
                        <a:lnSpc>
                          <a:spcPct val="100000"/>
                        </a:lnSpc>
                        <a:spcBef>
                          <a:spcPts val="200"/>
                        </a:spcBef>
                        <a:spcAft>
                          <a:spcPts val="0"/>
                        </a:spcAft>
                        <a:buClr>
                          <a:srgbClr val="000000"/>
                        </a:buClr>
                        <a:buSzPct val="75000"/>
                        <a:buFont typeface="Arial" panose="020B0604020202020204" pitchFamily="34" charset="0"/>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xxx</a:t>
                      </a:r>
                      <a:endParaRPr kumimoji="0" lang="en-US" sz="900" b="0" i="0" u="none" strike="noStrike" kern="1200" cap="none" spc="-40" normalizeH="0" baseline="0" noProof="0" dirty="0">
                        <a:ln>
                          <a:noFill/>
                        </a:ln>
                        <a:solidFill>
                          <a:srgbClr val="000000"/>
                        </a:solidFill>
                        <a:effectLst/>
                        <a:uLnTx/>
                        <a:uFillTx/>
                        <a:latin typeface="Open Sans"/>
                        <a:ea typeface="+mn-ea"/>
                        <a:cs typeface="Open Sans"/>
                      </a:endParaRPr>
                    </a:p>
                  </a:txBody>
                  <a:tcPr>
                    <a:lnL w="28575" cap="flat" cmpd="sng" algn="ctr">
                      <a:solidFill>
                        <a:schemeClr val="bg1">
                          <a:lumMod val="75000"/>
                        </a:schemeClr>
                      </a:solidFill>
                      <a:prstDash val="solid"/>
                      <a:round/>
                      <a:headEnd type="none" w="med" len="med"/>
                      <a:tailEnd type="none" w="med" len="med"/>
                    </a:lnL>
                    <a:lnR w="28575" cap="flat" cmpd="sng" algn="ctr">
                      <a:solidFill>
                        <a:schemeClr val="bg1">
                          <a:lumMod val="75000"/>
                        </a:schemeClr>
                      </a:solidFill>
                      <a:prstDash val="solid"/>
                      <a:round/>
                      <a:headEnd type="none" w="med" len="med"/>
                      <a:tailEnd type="none" w="med" len="med"/>
                    </a:lnR>
                    <a:lnT w="38100" cmpd="sng">
                      <a:noFill/>
                    </a:lnT>
                    <a:lnB w="285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66162279"/>
                  </a:ext>
                </a:extLst>
              </a:tr>
            </a:tbl>
          </a:graphicData>
        </a:graphic>
      </p:graphicFrame>
      <p:sp>
        <p:nvSpPr>
          <p:cNvPr id="35" name="Rectangle 34">
            <a:extLst>
              <a:ext uri="{FF2B5EF4-FFF2-40B4-BE49-F238E27FC236}">
                <a16:creationId xmlns:a16="http://schemas.microsoft.com/office/drawing/2014/main" id="{D07498C3-9B36-49C6-A382-4EF75BB232C4}"/>
              </a:ext>
            </a:extLst>
          </p:cNvPr>
          <p:cNvSpPr/>
          <p:nvPr/>
        </p:nvSpPr>
        <p:spPr>
          <a:xfrm>
            <a:off x="2754229" y="1645764"/>
            <a:ext cx="3469418" cy="621792"/>
          </a:xfrm>
          <a:prstGeom prst="rect">
            <a:avLst/>
          </a:prstGeom>
          <a:solidFill>
            <a:srgbClr val="FFFFFF">
              <a:lumMod val="95000"/>
            </a:srgbClr>
          </a:solidFill>
          <a:ln w="28575" cap="flat" cmpd="sng" algn="ctr">
            <a:noFill/>
            <a:prstDash val="solid"/>
            <a:miter lim="800000"/>
          </a:ln>
          <a:effectLst/>
        </p:spPr>
        <p:txBody>
          <a:bodyPr lIns="182880" tIns="91440" rIns="182880" bIns="91440" rtlCol="0" anchor="ctr" anchorCtr="0"/>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Open Sans"/>
                <a:ea typeface="+mn-ea"/>
                <a:cs typeface="Open Sans"/>
              </a:rPr>
              <a:t>Oversee the Committee, coordinate the agenda, facilitate decision-making, serve as the central arbitrator, and document decisions</a:t>
            </a:r>
            <a:endParaRPr kumimoji="0" lang="en-US" sz="11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6" name="Table 35">
            <a:extLst>
              <a:ext uri="{FF2B5EF4-FFF2-40B4-BE49-F238E27FC236}">
                <a16:creationId xmlns:a16="http://schemas.microsoft.com/office/drawing/2014/main" id="{11E82482-2737-42AF-A3B9-624DE03AC812}"/>
              </a:ext>
            </a:extLst>
          </p:cNvPr>
          <p:cNvGraphicFramePr>
            <a:graphicFrameLocks noGrp="1"/>
          </p:cNvGraphicFramePr>
          <p:nvPr>
            <p:extLst>
              <p:ext uri="{D42A27DB-BD31-4B8C-83A1-F6EECF244321}">
                <p14:modId xmlns:p14="http://schemas.microsoft.com/office/powerpoint/2010/main" val="4280883774"/>
              </p:ext>
            </p:extLst>
          </p:nvPr>
        </p:nvGraphicFramePr>
        <p:xfrm>
          <a:off x="942037" y="1648816"/>
          <a:ext cx="1796772" cy="614402"/>
        </p:xfrm>
        <a:graphic>
          <a:graphicData uri="http://schemas.openxmlformats.org/drawingml/2006/table">
            <a:tbl>
              <a:tblPr firstRow="1" bandRow="1">
                <a:tableStyleId>{5C22544A-7EE6-4342-B048-85BDC9FD1C3A}</a:tableStyleId>
              </a:tblPr>
              <a:tblGrid>
                <a:gridCol w="1796772">
                  <a:extLst>
                    <a:ext uri="{9D8B030D-6E8A-4147-A177-3AD203B41FA5}">
                      <a16:colId xmlns:a16="http://schemas.microsoft.com/office/drawing/2014/main" val="2233951185"/>
                    </a:ext>
                  </a:extLst>
                </a:gridCol>
              </a:tblGrid>
              <a:tr h="281218">
                <a:tc>
                  <a:txBody>
                    <a:bodyPr/>
                    <a:lstStyle/>
                    <a:p>
                      <a:pPr algn="ctr"/>
                      <a:r>
                        <a:rPr lang="en-US"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COO / Investment Chair</a:t>
                      </a:r>
                    </a:p>
                  </a:txBody>
                  <a:tcPr anchor="b">
                    <a:lnL w="28575" cap="flat" cmpd="sng" algn="ctr">
                      <a:solidFill>
                        <a:schemeClr val="accent3"/>
                      </a:solidFill>
                      <a:prstDash val="solid"/>
                      <a:round/>
                      <a:headEnd type="none" w="med" len="med"/>
                      <a:tailEnd type="none" w="med" len="med"/>
                    </a:lnL>
                    <a:lnR w="28575" cap="flat" cmpd="sng" algn="ctr">
                      <a:solidFill>
                        <a:schemeClr val="accent3"/>
                      </a:solidFill>
                      <a:prstDash val="solid"/>
                      <a:round/>
                      <a:headEnd type="none" w="med" len="med"/>
                      <a:tailEnd type="none" w="med" len="med"/>
                    </a:lnR>
                    <a:lnT w="28575" cap="flat" cmpd="sng" algn="ctr">
                      <a:solidFill>
                        <a:schemeClr val="accent3"/>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25830124"/>
                  </a:ext>
                </a:extLst>
              </a:tr>
              <a:tr h="333184">
                <a:tc>
                  <a:txBody>
                    <a:bodyPr/>
                    <a:lstStyle/>
                    <a:p>
                      <a:pPr marL="0" marR="0" lvl="0" indent="0" algn="ctr" defTabSz="914400" rtl="0" eaLnBrk="1" fontAlgn="auto" latinLnBrk="0" hangingPunct="1">
                        <a:lnSpc>
                          <a:spcPct val="100000"/>
                        </a:lnSpc>
                        <a:spcBef>
                          <a:spcPts val="200"/>
                        </a:spcBef>
                        <a:spcAft>
                          <a:spcPts val="0"/>
                        </a:spcAft>
                        <a:buClr>
                          <a:srgbClr val="000000"/>
                        </a:buClr>
                        <a:buSzPct val="75000"/>
                        <a:buFont typeface="Arial" panose="020B0604020202020204" pitchFamily="34" charset="0"/>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xxx</a:t>
                      </a:r>
                      <a:endParaRPr kumimoji="0" lang="en-US" sz="900" b="0" i="0" u="none" strike="noStrike" kern="1200" cap="none" spc="-40" normalizeH="0" baseline="0" noProof="0" dirty="0">
                        <a:ln>
                          <a:noFill/>
                        </a:ln>
                        <a:solidFill>
                          <a:srgbClr val="000000"/>
                        </a:solidFill>
                        <a:effectLst/>
                        <a:uLnTx/>
                        <a:uFillTx/>
                        <a:latin typeface="Open Sans"/>
                        <a:ea typeface="+mn-ea"/>
                        <a:cs typeface="Open Sans"/>
                      </a:endParaRPr>
                    </a:p>
                  </a:txBody>
                  <a:tcPr>
                    <a:lnL w="28575" cap="flat" cmpd="sng" algn="ctr">
                      <a:solidFill>
                        <a:schemeClr val="accent3"/>
                      </a:solidFill>
                      <a:prstDash val="solid"/>
                      <a:round/>
                      <a:headEnd type="none" w="med" len="med"/>
                      <a:tailEnd type="none" w="med" len="med"/>
                    </a:lnL>
                    <a:lnR w="28575" cap="flat" cmpd="sng" algn="ctr">
                      <a:solidFill>
                        <a:schemeClr val="accent3"/>
                      </a:solidFill>
                      <a:prstDash val="solid"/>
                      <a:round/>
                      <a:headEnd type="none" w="med" len="med"/>
                      <a:tailEnd type="none" w="med" len="med"/>
                    </a:lnR>
                    <a:lnT w="57150" cap="flat" cmpd="sng" algn="ctr">
                      <a:noFill/>
                      <a:prstDash val="solid"/>
                      <a:round/>
                      <a:headEnd type="none" w="med" len="med"/>
                      <a:tailEnd type="none" w="med" len="med"/>
                    </a:lnT>
                    <a:lnB w="285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66162279"/>
                  </a:ext>
                </a:extLst>
              </a:tr>
            </a:tbl>
          </a:graphicData>
        </a:graphic>
      </p:graphicFrame>
      <p:sp>
        <p:nvSpPr>
          <p:cNvPr id="37" name="Rectangle 36">
            <a:extLst>
              <a:ext uri="{FF2B5EF4-FFF2-40B4-BE49-F238E27FC236}">
                <a16:creationId xmlns:a16="http://schemas.microsoft.com/office/drawing/2014/main" id="{346B9B5F-DC49-46A6-B57A-EBBE0BC32419}"/>
              </a:ext>
            </a:extLst>
          </p:cNvPr>
          <p:cNvSpPr/>
          <p:nvPr/>
        </p:nvSpPr>
        <p:spPr>
          <a:xfrm flipH="1">
            <a:off x="6212352" y="1645764"/>
            <a:ext cx="64717" cy="612648"/>
          </a:xfrm>
          <a:prstGeom prst="rect">
            <a:avLst/>
          </a:prstGeom>
          <a:solidFill>
            <a:schemeClr val="accent3"/>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Open Sans"/>
              <a:ea typeface="+mn-ea"/>
              <a:cs typeface="Open Sans"/>
            </a:endParaRPr>
          </a:p>
        </p:txBody>
      </p:sp>
      <p:sp>
        <p:nvSpPr>
          <p:cNvPr id="38" name="Rectangle 37">
            <a:extLst>
              <a:ext uri="{FF2B5EF4-FFF2-40B4-BE49-F238E27FC236}">
                <a16:creationId xmlns:a16="http://schemas.microsoft.com/office/drawing/2014/main" id="{F57E2C21-14BE-417F-BE02-346F64B13BA1}"/>
              </a:ext>
            </a:extLst>
          </p:cNvPr>
          <p:cNvSpPr/>
          <p:nvPr/>
        </p:nvSpPr>
        <p:spPr>
          <a:xfrm flipH="1">
            <a:off x="6212352" y="2350893"/>
            <a:ext cx="64717" cy="612648"/>
          </a:xfrm>
          <a:prstGeom prst="rect">
            <a:avLst/>
          </a:prstGeom>
          <a:solidFill>
            <a:schemeClr val="bg1">
              <a:lumMod val="65000"/>
            </a:schemeClr>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Open Sans"/>
              <a:ea typeface="+mn-ea"/>
              <a:cs typeface="Open Sans"/>
            </a:endParaRPr>
          </a:p>
        </p:txBody>
      </p:sp>
      <p:sp>
        <p:nvSpPr>
          <p:cNvPr id="39" name="Rectangle 38">
            <a:extLst>
              <a:ext uri="{FF2B5EF4-FFF2-40B4-BE49-F238E27FC236}">
                <a16:creationId xmlns:a16="http://schemas.microsoft.com/office/drawing/2014/main" id="{3E733423-1F76-48EF-9792-9A21E5618F5D}"/>
              </a:ext>
            </a:extLst>
          </p:cNvPr>
          <p:cNvSpPr/>
          <p:nvPr/>
        </p:nvSpPr>
        <p:spPr>
          <a:xfrm flipH="1">
            <a:off x="6212352" y="3047940"/>
            <a:ext cx="64717" cy="770195"/>
          </a:xfrm>
          <a:prstGeom prst="rect">
            <a:avLst/>
          </a:prstGeom>
          <a:solidFill>
            <a:schemeClr val="bg1">
              <a:lumMod val="65000"/>
            </a:schemeClr>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Open Sans"/>
              <a:ea typeface="+mn-ea"/>
              <a:cs typeface="Open Sans"/>
            </a:endParaRPr>
          </a:p>
        </p:txBody>
      </p:sp>
      <p:sp>
        <p:nvSpPr>
          <p:cNvPr id="40" name="Rectangle 39">
            <a:extLst>
              <a:ext uri="{FF2B5EF4-FFF2-40B4-BE49-F238E27FC236}">
                <a16:creationId xmlns:a16="http://schemas.microsoft.com/office/drawing/2014/main" id="{1A2BBD78-41D2-4A02-AC97-1A105F42DD0F}"/>
              </a:ext>
            </a:extLst>
          </p:cNvPr>
          <p:cNvSpPr/>
          <p:nvPr/>
        </p:nvSpPr>
        <p:spPr>
          <a:xfrm flipH="1">
            <a:off x="6212352" y="3912689"/>
            <a:ext cx="64717" cy="612648"/>
          </a:xfrm>
          <a:prstGeom prst="rect">
            <a:avLst/>
          </a:prstGeom>
          <a:solidFill>
            <a:schemeClr val="bg1">
              <a:lumMod val="65000"/>
            </a:schemeClr>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Open Sans"/>
              <a:ea typeface="+mn-ea"/>
              <a:cs typeface="Open Sans"/>
            </a:endParaRPr>
          </a:p>
        </p:txBody>
      </p:sp>
      <p:sp>
        <p:nvSpPr>
          <p:cNvPr id="41" name="Rectangle 40">
            <a:extLst>
              <a:ext uri="{FF2B5EF4-FFF2-40B4-BE49-F238E27FC236}">
                <a16:creationId xmlns:a16="http://schemas.microsoft.com/office/drawing/2014/main" id="{A97D3580-1AB4-4655-8C2C-73DC67B07690}"/>
              </a:ext>
            </a:extLst>
          </p:cNvPr>
          <p:cNvSpPr/>
          <p:nvPr/>
        </p:nvSpPr>
        <p:spPr>
          <a:xfrm>
            <a:off x="2735204" y="4599124"/>
            <a:ext cx="3469418" cy="621792"/>
          </a:xfrm>
          <a:prstGeom prst="rect">
            <a:avLst/>
          </a:prstGeom>
          <a:solidFill>
            <a:srgbClr val="FFFFFF">
              <a:lumMod val="95000"/>
            </a:srgbClr>
          </a:solidFill>
          <a:ln w="28575" cap="flat" cmpd="sng" algn="ctr">
            <a:noFill/>
            <a:prstDash val="solid"/>
            <a:miter lim="800000"/>
          </a:ln>
          <a:effectLst/>
        </p:spPr>
        <p:txBody>
          <a:bodyPr lIns="182880" tIns="91440" rIns="182880" bIns="91440" rtlCol="0" anchor="ctr" anchorCtr="0"/>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Open Sans"/>
                <a:ea typeface="+mn-ea"/>
                <a:cs typeface="Open Sans"/>
              </a:rPr>
              <a:t>Prepare investment committee reports (allocation, burn rate, plan to close), Biz. Case / Asset ROIs, summary pipeline of new requests </a:t>
            </a:r>
          </a:p>
        </p:txBody>
      </p:sp>
      <p:sp>
        <p:nvSpPr>
          <p:cNvPr id="42" name="Rectangle 41">
            <a:extLst>
              <a:ext uri="{FF2B5EF4-FFF2-40B4-BE49-F238E27FC236}">
                <a16:creationId xmlns:a16="http://schemas.microsoft.com/office/drawing/2014/main" id="{DF885887-005E-4315-9EF2-76BFBDFEE3E7}"/>
              </a:ext>
            </a:extLst>
          </p:cNvPr>
          <p:cNvSpPr/>
          <p:nvPr/>
        </p:nvSpPr>
        <p:spPr>
          <a:xfrm flipH="1">
            <a:off x="6212352" y="4599124"/>
            <a:ext cx="64717" cy="612648"/>
          </a:xfrm>
          <a:prstGeom prst="rect">
            <a:avLst/>
          </a:prstGeom>
          <a:solidFill>
            <a:schemeClr val="bg1">
              <a:lumMod val="65000"/>
            </a:schemeClr>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Open Sans"/>
              <a:ea typeface="+mn-ea"/>
              <a:cs typeface="Open Sans"/>
            </a:endParaRPr>
          </a:p>
        </p:txBody>
      </p:sp>
      <p:sp>
        <p:nvSpPr>
          <p:cNvPr id="43" name="Rectangle 42">
            <a:extLst>
              <a:ext uri="{FF2B5EF4-FFF2-40B4-BE49-F238E27FC236}">
                <a16:creationId xmlns:a16="http://schemas.microsoft.com/office/drawing/2014/main" id="{AA927B37-8AE6-428A-A523-AC0B1C2E6C5B}"/>
              </a:ext>
            </a:extLst>
          </p:cNvPr>
          <p:cNvSpPr/>
          <p:nvPr/>
        </p:nvSpPr>
        <p:spPr>
          <a:xfrm flipH="1">
            <a:off x="6212352" y="5291043"/>
            <a:ext cx="64717" cy="612648"/>
          </a:xfrm>
          <a:prstGeom prst="rect">
            <a:avLst/>
          </a:prstGeom>
          <a:solidFill>
            <a:schemeClr val="bg1">
              <a:lumMod val="65000"/>
            </a:schemeClr>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Open Sans"/>
              <a:ea typeface="+mn-ea"/>
              <a:cs typeface="Open Sans"/>
            </a:endParaRPr>
          </a:p>
        </p:txBody>
      </p:sp>
      <p:sp>
        <p:nvSpPr>
          <p:cNvPr id="44" name="Rectangle 43">
            <a:extLst>
              <a:ext uri="{FF2B5EF4-FFF2-40B4-BE49-F238E27FC236}">
                <a16:creationId xmlns:a16="http://schemas.microsoft.com/office/drawing/2014/main" id="{19562C7A-CE76-40B8-8062-C59FF70462C8}"/>
              </a:ext>
            </a:extLst>
          </p:cNvPr>
          <p:cNvSpPr/>
          <p:nvPr/>
        </p:nvSpPr>
        <p:spPr>
          <a:xfrm flipH="1">
            <a:off x="6212352" y="5975695"/>
            <a:ext cx="64717" cy="612648"/>
          </a:xfrm>
          <a:prstGeom prst="rect">
            <a:avLst/>
          </a:prstGeom>
          <a:solidFill>
            <a:schemeClr val="bg1">
              <a:lumMod val="65000"/>
            </a:schemeClr>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Open Sans"/>
              <a:ea typeface="+mn-ea"/>
              <a:cs typeface="Open Sans"/>
            </a:endParaRPr>
          </a:p>
        </p:txBody>
      </p:sp>
    </p:spTree>
    <p:extLst>
      <p:ext uri="{BB962C8B-B14F-4D97-AF65-F5344CB8AC3E}">
        <p14:creationId xmlns:p14="http://schemas.microsoft.com/office/powerpoint/2010/main" val="1241414416"/>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47F769-C7D3-4904-9D2D-104F3C72AF1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44"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7847F769-C7D3-4904-9D2D-104F3C72AF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450C813-661D-440E-85ED-DE7A908DC88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DD8CD512-0FDA-4903-B4D4-1875EB853BC5}"/>
              </a:ext>
            </a:extLst>
          </p:cNvPr>
          <p:cNvSpPr>
            <a:spLocks noGrp="1"/>
          </p:cNvSpPr>
          <p:nvPr>
            <p:ph type="title"/>
          </p:nvPr>
        </p:nvSpPr>
        <p:spPr/>
        <p:txBody>
          <a:bodyPr/>
          <a:lstStyle/>
          <a:p>
            <a:r>
              <a:rPr lang="en-US" dirty="0"/>
              <a:t>Project team</a:t>
            </a:r>
          </a:p>
        </p:txBody>
      </p:sp>
      <p:sp>
        <p:nvSpPr>
          <p:cNvPr id="6" name="Text Placeholder 5">
            <a:extLst>
              <a:ext uri="{FF2B5EF4-FFF2-40B4-BE49-F238E27FC236}">
                <a16:creationId xmlns:a16="http://schemas.microsoft.com/office/drawing/2014/main" id="{06222E6F-FF4D-48D9-B786-BC26923ADBFF}"/>
              </a:ext>
            </a:extLst>
          </p:cNvPr>
          <p:cNvSpPr>
            <a:spLocks noGrp="1"/>
          </p:cNvSpPr>
          <p:nvPr>
            <p:ph type="body" sz="quarter" idx="15"/>
          </p:nvPr>
        </p:nvSpPr>
        <p:spPr/>
        <p:txBody>
          <a:bodyPr/>
          <a:lstStyle/>
          <a:p>
            <a:r>
              <a:rPr lang="en-US" dirty="0"/>
              <a:t>ORGANIZATION STRUCTURE &amp; BIOS</a:t>
            </a:r>
          </a:p>
        </p:txBody>
      </p:sp>
      <p:sp>
        <p:nvSpPr>
          <p:cNvPr id="9" name="Rectangle 8">
            <a:extLst>
              <a:ext uri="{FF2B5EF4-FFF2-40B4-BE49-F238E27FC236}">
                <a16:creationId xmlns:a16="http://schemas.microsoft.com/office/drawing/2014/main" id="{E3355076-FFD7-4464-BE01-9A55889688EA}"/>
              </a:ext>
            </a:extLst>
          </p:cNvPr>
          <p:cNvSpPr/>
          <p:nvPr/>
        </p:nvSpPr>
        <p:spPr bwMode="gray">
          <a:xfrm>
            <a:off x="1783324" y="2296455"/>
            <a:ext cx="8867947" cy="1132736"/>
          </a:xfrm>
          <a:prstGeom prst="rect">
            <a:avLst/>
          </a:prstGeom>
          <a:noFill/>
          <a:ln w="19050" algn="ctr">
            <a:solidFill>
              <a:schemeClr val="tx1"/>
            </a:solidFill>
            <a:prstDash val="sysDash"/>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err="1">
              <a:ln w="9525">
                <a:solidFill>
                  <a:srgbClr val="000000"/>
                </a:solidFill>
              </a:ln>
              <a:solidFill>
                <a:srgbClr val="FFFFFF"/>
              </a:solidFill>
              <a:effectLst/>
              <a:uLnTx/>
              <a:uFillTx/>
              <a:latin typeface="Verdana"/>
              <a:ea typeface="+mn-ea"/>
              <a:cs typeface="+mn-cs"/>
            </a:endParaRPr>
          </a:p>
        </p:txBody>
      </p:sp>
      <p:sp>
        <p:nvSpPr>
          <p:cNvPr id="10" name="Rectangle 9">
            <a:extLst>
              <a:ext uri="{FF2B5EF4-FFF2-40B4-BE49-F238E27FC236}">
                <a16:creationId xmlns:a16="http://schemas.microsoft.com/office/drawing/2014/main" id="{B4323399-376E-4DD6-86EE-5B1855A50DE5}"/>
              </a:ext>
            </a:extLst>
          </p:cNvPr>
          <p:cNvSpPr/>
          <p:nvPr/>
        </p:nvSpPr>
        <p:spPr bwMode="gray">
          <a:xfrm>
            <a:off x="1783325" y="1438382"/>
            <a:ext cx="8867946" cy="745421"/>
          </a:xfrm>
          <a:prstGeom prst="rect">
            <a:avLst/>
          </a:prstGeom>
          <a:noFill/>
          <a:ln w="19050" algn="ctr">
            <a:solidFill>
              <a:schemeClr val="tx1"/>
            </a:solidFill>
            <a:prstDash val="sysDash"/>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err="1">
              <a:ln w="9525">
                <a:solidFill>
                  <a:srgbClr val="000000"/>
                </a:solidFill>
              </a:ln>
              <a:solidFill>
                <a:srgbClr val="FFFFFF"/>
              </a:solidFill>
              <a:effectLst/>
              <a:uLnTx/>
              <a:uFillTx/>
              <a:latin typeface="Verdana"/>
              <a:ea typeface="+mn-ea"/>
              <a:cs typeface="+mn-cs"/>
            </a:endParaRPr>
          </a:p>
        </p:txBody>
      </p:sp>
      <p:sp>
        <p:nvSpPr>
          <p:cNvPr id="11" name="Rectangle 10">
            <a:extLst>
              <a:ext uri="{FF2B5EF4-FFF2-40B4-BE49-F238E27FC236}">
                <a16:creationId xmlns:a16="http://schemas.microsoft.com/office/drawing/2014/main" id="{AD5FE8A5-B99A-4B51-891E-68C515E6B42B}"/>
              </a:ext>
            </a:extLst>
          </p:cNvPr>
          <p:cNvSpPr/>
          <p:nvPr/>
        </p:nvSpPr>
        <p:spPr>
          <a:xfrm>
            <a:off x="2227005" y="1635627"/>
            <a:ext cx="2864923" cy="350762"/>
          </a:xfrm>
          <a:prstGeom prst="rect">
            <a:avLst/>
          </a:prstGeom>
          <a:noFill/>
          <a:ln>
            <a:noFill/>
          </a:ln>
          <a:effectLst/>
        </p:spPr>
        <p:txBody>
          <a:bodyPr spcFirstLastPara="0" vert="horz" wrap="square" lIns="91440" tIns="182880" rIns="91440" bIns="182880" numCol="1" spcCol="1270" anchor="ctr" anchorCtr="0">
            <a:noAutofit/>
          </a:bodyPr>
          <a:lstStyle/>
          <a:p>
            <a:pPr marL="0" marR="0" lvl="0" indent="0" algn="ctr" defTabSz="622300" rtl="0" eaLnBrk="1" fontAlgn="auto" latinLnBrk="0" hangingPunct="1">
              <a:lnSpc>
                <a:spcPct val="130000"/>
              </a:lnSpc>
              <a:spcBef>
                <a:spcPct val="0"/>
              </a:spcBef>
              <a:spcAft>
                <a:spcPct val="35000"/>
              </a:spcAft>
              <a:buClrTx/>
              <a:buSzTx/>
              <a:buFontTx/>
              <a:buNone/>
              <a:tabLst/>
              <a:defRPr/>
            </a:pPr>
            <a:r>
              <a:rPr kumimoji="0" lang="en-US" sz="1200" b="1" i="0" u="sng" strike="noStrike" kern="0" cap="none" spc="0" normalizeH="0" baseline="0" noProof="0" dirty="0">
                <a:ln>
                  <a:noFill/>
                </a:ln>
                <a:solidFill>
                  <a:srgbClr val="000000"/>
                </a:solidFill>
                <a:effectLst/>
                <a:uLnTx/>
                <a:uFillTx/>
                <a:latin typeface="Open Sans"/>
                <a:ea typeface="+mn-ea"/>
                <a:cs typeface="Open Sans"/>
              </a:rPr>
              <a:t>Consulting Integration Leader</a:t>
            </a:r>
            <a:br>
              <a:rPr kumimoji="0" lang="en-US" sz="1200" b="0" i="0" u="none" strike="noStrike" kern="0" cap="none" spc="0" normalizeH="0" baseline="0" noProof="0" dirty="0">
                <a:ln>
                  <a:noFill/>
                </a:ln>
                <a:solidFill>
                  <a:srgbClr val="000000"/>
                </a:solidFill>
                <a:effectLst/>
                <a:uLnTx/>
                <a:uFillTx/>
                <a:latin typeface="Open Sans"/>
                <a:ea typeface="+mn-ea"/>
                <a:cs typeface="Open Sans"/>
              </a:rPr>
            </a:br>
            <a:endParaRPr kumimoji="0" lang="en-US" sz="1200" b="0" i="0" u="none" strike="noStrike" kern="0" cap="none" spc="0" normalizeH="0" baseline="0" noProof="0" dirty="0">
              <a:ln>
                <a:noFill/>
              </a:ln>
              <a:solidFill>
                <a:srgbClr val="000000"/>
              </a:solidFill>
              <a:effectLst/>
              <a:uLnTx/>
              <a:uFillTx/>
              <a:latin typeface="Open Sans"/>
              <a:ea typeface="+mn-ea"/>
              <a:cs typeface="Open Sans"/>
            </a:endParaRPr>
          </a:p>
        </p:txBody>
      </p:sp>
      <p:sp>
        <p:nvSpPr>
          <p:cNvPr id="12" name="Rectangle 11">
            <a:extLst>
              <a:ext uri="{FF2B5EF4-FFF2-40B4-BE49-F238E27FC236}">
                <a16:creationId xmlns:a16="http://schemas.microsoft.com/office/drawing/2014/main" id="{BAC8923C-D778-440F-930B-6742F7609C94}"/>
              </a:ext>
            </a:extLst>
          </p:cNvPr>
          <p:cNvSpPr/>
          <p:nvPr/>
        </p:nvSpPr>
        <p:spPr>
          <a:xfrm>
            <a:off x="8536716" y="1663351"/>
            <a:ext cx="2059994" cy="295315"/>
          </a:xfrm>
          <a:prstGeom prst="rect">
            <a:avLst/>
          </a:prstGeom>
          <a:noFill/>
          <a:ln>
            <a:noFill/>
          </a:ln>
          <a:effectLst/>
        </p:spPr>
        <p:txBody>
          <a:bodyPr spcFirstLastPara="0" vert="horz" wrap="square" lIns="91440" tIns="182880" rIns="91440" bIns="182880" numCol="1" spcCol="1270" anchor="ctr" anchorCtr="0">
            <a:noAutofit/>
          </a:bodyPr>
          <a:lstStyle/>
          <a:p>
            <a:pPr marL="0" marR="0" lvl="0" indent="0" algn="ctr" defTabSz="622300" rtl="0" eaLnBrk="1" fontAlgn="auto" latinLnBrk="0" hangingPunct="1">
              <a:lnSpc>
                <a:spcPct val="130000"/>
              </a:lnSpc>
              <a:spcBef>
                <a:spcPct val="0"/>
              </a:spcBef>
              <a:spcAft>
                <a:spcPct val="35000"/>
              </a:spcAft>
              <a:buClrTx/>
              <a:buSzTx/>
              <a:buFontTx/>
              <a:buNone/>
              <a:tabLst/>
              <a:defRPr/>
            </a:pPr>
            <a:r>
              <a:rPr kumimoji="0" lang="en-US" sz="1200" b="1" i="0" u="sng" strike="noStrike" kern="0" cap="none" spc="0" normalizeH="0" baseline="0" noProof="0" dirty="0">
                <a:ln>
                  <a:noFill/>
                </a:ln>
                <a:solidFill>
                  <a:srgbClr val="000000"/>
                </a:solidFill>
                <a:effectLst/>
                <a:uLnTx/>
                <a:uFillTx/>
                <a:latin typeface="Open Sans"/>
                <a:ea typeface="+mn-ea"/>
                <a:cs typeface="Open Sans"/>
              </a:rPr>
              <a:t>Campus Recruiter</a:t>
            </a:r>
            <a:br>
              <a:rPr kumimoji="0" lang="en-US" sz="1200" b="0" i="0" u="none" strike="noStrike" kern="0" cap="none" spc="0" normalizeH="0" baseline="0" noProof="0" dirty="0">
                <a:ln>
                  <a:noFill/>
                </a:ln>
                <a:solidFill>
                  <a:srgbClr val="000000"/>
                </a:solidFill>
                <a:effectLst/>
                <a:uLnTx/>
                <a:uFillTx/>
                <a:latin typeface="Open Sans"/>
                <a:ea typeface="+mn-ea"/>
                <a:cs typeface="Open Sans"/>
              </a:rPr>
            </a:br>
            <a:endParaRPr kumimoji="0" lang="en-US" sz="1200" b="0" i="0" u="none" strike="noStrike" kern="0" cap="none" spc="0" normalizeH="0" baseline="0" noProof="0" dirty="0">
              <a:ln>
                <a:noFill/>
              </a:ln>
              <a:solidFill>
                <a:srgbClr val="000000"/>
              </a:solidFill>
              <a:effectLst/>
              <a:uLnTx/>
              <a:uFillTx/>
              <a:latin typeface="Open Sans"/>
              <a:ea typeface="+mn-ea"/>
              <a:cs typeface="Open Sans"/>
            </a:endParaRPr>
          </a:p>
        </p:txBody>
      </p:sp>
      <p:sp>
        <p:nvSpPr>
          <p:cNvPr id="13" name="Rectangle 12">
            <a:extLst>
              <a:ext uri="{FF2B5EF4-FFF2-40B4-BE49-F238E27FC236}">
                <a16:creationId xmlns:a16="http://schemas.microsoft.com/office/drawing/2014/main" id="{98F80DBB-5665-497F-8794-A3050421FA31}"/>
              </a:ext>
            </a:extLst>
          </p:cNvPr>
          <p:cNvSpPr/>
          <p:nvPr/>
        </p:nvSpPr>
        <p:spPr bwMode="gray">
          <a:xfrm>
            <a:off x="6952726" y="3564314"/>
            <a:ext cx="2743200" cy="1049252"/>
          </a:xfrm>
          <a:prstGeom prst="rect">
            <a:avLst/>
          </a:prstGeom>
          <a:noFill/>
          <a:ln w="19050" algn="ctr">
            <a:solidFill>
              <a:schemeClr val="tx1"/>
            </a:solidFill>
            <a:prstDash val="sysDash"/>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err="1">
              <a:ln w="9525">
                <a:solidFill>
                  <a:srgbClr val="000000"/>
                </a:solidFill>
              </a:ln>
              <a:solidFill>
                <a:srgbClr val="FFFFFF"/>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926C0BA6-AE85-4C50-BDDC-D760F2485D18}"/>
              </a:ext>
            </a:extLst>
          </p:cNvPr>
          <p:cNvSpPr/>
          <p:nvPr/>
        </p:nvSpPr>
        <p:spPr bwMode="gray">
          <a:xfrm>
            <a:off x="2614759" y="3564313"/>
            <a:ext cx="2743200" cy="1049252"/>
          </a:xfrm>
          <a:prstGeom prst="rect">
            <a:avLst/>
          </a:prstGeom>
          <a:noFill/>
          <a:ln w="19050" algn="ctr">
            <a:solidFill>
              <a:schemeClr val="tx1"/>
            </a:solidFill>
            <a:prstDash val="sysDash"/>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err="1">
              <a:ln w="9525">
                <a:solidFill>
                  <a:srgbClr val="000000"/>
                </a:solidFill>
              </a:ln>
              <a:solidFill>
                <a:srgbClr val="FFFFFF"/>
              </a:solidFill>
              <a:effectLst/>
              <a:uLnTx/>
              <a:uFillTx/>
              <a:latin typeface="Verdana"/>
              <a:ea typeface="+mn-ea"/>
              <a:cs typeface="+mn-cs"/>
            </a:endParaRPr>
          </a:p>
        </p:txBody>
      </p:sp>
      <p:sp>
        <p:nvSpPr>
          <p:cNvPr id="15" name="Rectangle 14">
            <a:extLst>
              <a:ext uri="{FF2B5EF4-FFF2-40B4-BE49-F238E27FC236}">
                <a16:creationId xmlns:a16="http://schemas.microsoft.com/office/drawing/2014/main" id="{A8AFCB15-C3C4-43E5-BABC-74816597D68F}"/>
              </a:ext>
            </a:extLst>
          </p:cNvPr>
          <p:cNvSpPr/>
          <p:nvPr/>
        </p:nvSpPr>
        <p:spPr>
          <a:xfrm>
            <a:off x="5556131" y="1635627"/>
            <a:ext cx="2416628" cy="350762"/>
          </a:xfrm>
          <a:prstGeom prst="rect">
            <a:avLst/>
          </a:prstGeom>
          <a:noFill/>
          <a:ln>
            <a:noFill/>
          </a:ln>
          <a:effectLst/>
        </p:spPr>
        <p:txBody>
          <a:bodyPr spcFirstLastPara="0" vert="horz" wrap="square" lIns="91440" tIns="182880" rIns="91440" bIns="182880" numCol="1" spcCol="1270" anchor="ctr" anchorCtr="0">
            <a:noAutofit/>
          </a:bodyPr>
          <a:lstStyle/>
          <a:p>
            <a:pPr marL="0" marR="0" lvl="0" indent="0" algn="ctr" defTabSz="622300" rtl="0" eaLnBrk="1" fontAlgn="auto" latinLnBrk="0" hangingPunct="1">
              <a:lnSpc>
                <a:spcPct val="130000"/>
              </a:lnSpc>
              <a:spcBef>
                <a:spcPct val="0"/>
              </a:spcBef>
              <a:spcAft>
                <a:spcPct val="35000"/>
              </a:spcAft>
              <a:buClrTx/>
              <a:buSzTx/>
              <a:buFontTx/>
              <a:buNone/>
              <a:tabLst/>
              <a:defRPr/>
            </a:pPr>
            <a:r>
              <a:rPr kumimoji="0" lang="en-US" sz="1200" b="1" i="0" u="sng" strike="noStrike" kern="0" cap="none" spc="0" normalizeH="0" baseline="0" noProof="0" dirty="0">
                <a:ln>
                  <a:noFill/>
                </a:ln>
                <a:solidFill>
                  <a:srgbClr val="000000"/>
                </a:solidFill>
                <a:effectLst/>
                <a:uLnTx/>
                <a:uFillTx/>
                <a:latin typeface="Open Sans"/>
                <a:ea typeface="+mn-ea"/>
                <a:cs typeface="Open Sans"/>
              </a:rPr>
              <a:t>UR Talent Pillar Leader</a:t>
            </a:r>
            <a:br>
              <a:rPr kumimoji="0" lang="en-US" sz="1200" b="0" i="0" u="none" strike="noStrike" kern="0" cap="none" spc="0" normalizeH="0" baseline="0" noProof="0" dirty="0">
                <a:ln>
                  <a:noFill/>
                </a:ln>
                <a:solidFill>
                  <a:srgbClr val="000000"/>
                </a:solidFill>
                <a:effectLst/>
                <a:uLnTx/>
                <a:uFillTx/>
                <a:latin typeface="Open Sans"/>
                <a:ea typeface="+mn-ea"/>
                <a:cs typeface="Open Sans"/>
              </a:rPr>
            </a:br>
            <a:endParaRPr kumimoji="0" lang="en-US" sz="1200" b="0" i="0" u="none" strike="noStrike" kern="0" cap="none" spc="0" normalizeH="0" baseline="0" noProof="0" dirty="0">
              <a:ln>
                <a:noFill/>
              </a:ln>
              <a:solidFill>
                <a:srgbClr val="000000"/>
              </a:solidFill>
              <a:effectLst/>
              <a:uLnTx/>
              <a:uFillTx/>
              <a:latin typeface="Open Sans"/>
              <a:ea typeface="+mn-ea"/>
              <a:cs typeface="Open Sans"/>
            </a:endParaRPr>
          </a:p>
        </p:txBody>
      </p:sp>
      <p:sp>
        <p:nvSpPr>
          <p:cNvPr id="16" name="Text Box 10">
            <a:extLst>
              <a:ext uri="{FF2B5EF4-FFF2-40B4-BE49-F238E27FC236}">
                <a16:creationId xmlns:a16="http://schemas.microsoft.com/office/drawing/2014/main" id="{0CA7E781-8FA6-4F85-A72B-863C99A642B7}"/>
              </a:ext>
            </a:extLst>
          </p:cNvPr>
          <p:cNvSpPr txBox="1">
            <a:spLocks noChangeArrowheads="1"/>
          </p:cNvSpPr>
          <p:nvPr/>
        </p:nvSpPr>
        <p:spPr bwMode="auto">
          <a:xfrm>
            <a:off x="1783325" y="5089764"/>
            <a:ext cx="8867946" cy="258407"/>
          </a:xfrm>
          <a:prstGeom prst="rect">
            <a:avLst/>
          </a:prstGeom>
          <a:solidFill>
            <a:schemeClr val="accent1">
              <a:lumMod val="40000"/>
              <a:lumOff val="60000"/>
            </a:schemeClr>
          </a:solidFill>
          <a:ln w="12700" algn="ctr">
            <a:noFill/>
            <a:miter lim="800000"/>
            <a:headEnd/>
            <a:tailEnd type="none" w="sm" len="med"/>
          </a:ln>
        </p:spPr>
        <p:txBody>
          <a:bodyPr lIns="88900" tIns="88900" rIns="88900" bIns="889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5726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Verdana"/>
                <a:ea typeface="+mn-ea"/>
                <a:cs typeface="+mn-cs"/>
              </a:rPr>
              <a:t>Candidate Tracking (early ID, practitioner feedback, buddy program)</a:t>
            </a:r>
          </a:p>
        </p:txBody>
      </p:sp>
      <p:sp>
        <p:nvSpPr>
          <p:cNvPr id="17" name="Text Box 10">
            <a:extLst>
              <a:ext uri="{FF2B5EF4-FFF2-40B4-BE49-F238E27FC236}">
                <a16:creationId xmlns:a16="http://schemas.microsoft.com/office/drawing/2014/main" id="{9896C7A1-8437-4F19-96E8-790D0A07A931}"/>
              </a:ext>
            </a:extLst>
          </p:cNvPr>
          <p:cNvSpPr txBox="1">
            <a:spLocks noChangeArrowheads="1"/>
          </p:cNvSpPr>
          <p:nvPr/>
        </p:nvSpPr>
        <p:spPr bwMode="auto">
          <a:xfrm>
            <a:off x="1783325" y="5432287"/>
            <a:ext cx="8867946" cy="266413"/>
          </a:xfrm>
          <a:prstGeom prst="rect">
            <a:avLst/>
          </a:prstGeom>
          <a:solidFill>
            <a:schemeClr val="accent1">
              <a:lumMod val="40000"/>
              <a:lumOff val="60000"/>
            </a:schemeClr>
          </a:solidFill>
          <a:ln w="12700" algn="ctr">
            <a:noFill/>
            <a:miter lim="800000"/>
            <a:headEnd/>
            <a:tailEnd type="none" w="sm" len="med"/>
          </a:ln>
        </p:spPr>
        <p:txBody>
          <a:bodyPr lIns="88900" tIns="88900" rIns="88900" bIns="889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5726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Verdana"/>
                <a:ea typeface="+mn-ea"/>
                <a:cs typeface="+mn-cs"/>
              </a:rPr>
              <a:t>University Relations Talent Pillar Coordination</a:t>
            </a:r>
          </a:p>
        </p:txBody>
      </p:sp>
      <p:sp>
        <p:nvSpPr>
          <p:cNvPr id="18" name="Text Box 10">
            <a:extLst>
              <a:ext uri="{FF2B5EF4-FFF2-40B4-BE49-F238E27FC236}">
                <a16:creationId xmlns:a16="http://schemas.microsoft.com/office/drawing/2014/main" id="{CDC71F33-F3F8-4E3B-8A41-0E5C8C3792E6}"/>
              </a:ext>
            </a:extLst>
          </p:cNvPr>
          <p:cNvSpPr txBox="1">
            <a:spLocks noChangeArrowheads="1"/>
          </p:cNvSpPr>
          <p:nvPr/>
        </p:nvSpPr>
        <p:spPr bwMode="auto">
          <a:xfrm>
            <a:off x="1783325" y="5782816"/>
            <a:ext cx="8867946" cy="266413"/>
          </a:xfrm>
          <a:prstGeom prst="rect">
            <a:avLst/>
          </a:prstGeom>
          <a:solidFill>
            <a:schemeClr val="accent1">
              <a:lumMod val="40000"/>
              <a:lumOff val="60000"/>
            </a:schemeClr>
          </a:solidFill>
          <a:ln w="12700" algn="ctr">
            <a:noFill/>
            <a:miter lim="800000"/>
            <a:headEnd/>
            <a:tailEnd type="none" w="sm" len="med"/>
          </a:ln>
        </p:spPr>
        <p:txBody>
          <a:bodyPr lIns="88900" tIns="88900" rIns="88900" bIns="889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5726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Verdana"/>
                <a:ea typeface="+mn-ea"/>
                <a:cs typeface="+mn-cs"/>
              </a:rPr>
              <a:t>Volunteer Coordination (A</a:t>
            </a:r>
            <a:r>
              <a:rPr kumimoji="0" lang="en-US" sz="1100" b="0" i="0" u="none" strike="noStrike" kern="1200" cap="none" spc="0" normalizeH="0" baseline="0" noProof="0" dirty="0" err="1">
                <a:ln>
                  <a:noFill/>
                </a:ln>
                <a:solidFill>
                  <a:srgbClr val="000000"/>
                </a:solidFill>
                <a:effectLst/>
                <a:uLnTx/>
                <a:uFillTx/>
                <a:latin typeface="Verdana"/>
                <a:ea typeface="+mn-ea"/>
                <a:cs typeface="+mn-cs"/>
              </a:rPr>
              <a:t>mbassador</a:t>
            </a:r>
            <a:r>
              <a:rPr kumimoji="0" lang="en-US" sz="1100" b="0" i="0" u="none" strike="noStrike" kern="1200" cap="none" spc="0" normalizeH="0" baseline="0" noProof="0" dirty="0">
                <a:ln>
                  <a:noFill/>
                </a:ln>
                <a:solidFill>
                  <a:srgbClr val="000000"/>
                </a:solidFill>
                <a:effectLst/>
                <a:uLnTx/>
                <a:uFillTx/>
                <a:latin typeface="Verdana"/>
                <a:ea typeface="+mn-ea"/>
                <a:cs typeface="+mn-cs"/>
              </a:rPr>
              <a:t> P</a:t>
            </a:r>
            <a:r>
              <a:rPr kumimoji="0" lang="en-US" sz="1100" b="0" i="0" u="none" strike="noStrike" kern="1200" cap="none" spc="0" normalizeH="0" baseline="0" noProof="0" dirty="0" err="1">
                <a:ln>
                  <a:noFill/>
                </a:ln>
                <a:solidFill>
                  <a:srgbClr val="000000"/>
                </a:solidFill>
                <a:effectLst/>
                <a:uLnTx/>
                <a:uFillTx/>
                <a:latin typeface="Verdana"/>
                <a:ea typeface="+mn-ea"/>
                <a:cs typeface="+mn-cs"/>
              </a:rPr>
              <a:t>rogram</a:t>
            </a:r>
            <a:r>
              <a:rPr kumimoji="0" lang="en-US" sz="1100" b="0" i="0" u="none" strike="noStrike" kern="1200" cap="none" spc="0" normalizeH="0" baseline="0" noProof="0" dirty="0">
                <a:ln>
                  <a:noFill/>
                </a:ln>
                <a:solidFill>
                  <a:srgbClr val="000000"/>
                </a:solidFill>
                <a:effectLst/>
                <a:uLnTx/>
                <a:uFillTx/>
                <a:latin typeface="Verdana"/>
                <a:ea typeface="+mn-ea"/>
                <a:cs typeface="+mn-cs"/>
              </a:rPr>
              <a:t>, practitioner training)</a:t>
            </a:r>
          </a:p>
        </p:txBody>
      </p:sp>
      <p:sp>
        <p:nvSpPr>
          <p:cNvPr id="19" name="Text Box 10">
            <a:extLst>
              <a:ext uri="{FF2B5EF4-FFF2-40B4-BE49-F238E27FC236}">
                <a16:creationId xmlns:a16="http://schemas.microsoft.com/office/drawing/2014/main" id="{0099592D-5CAF-456E-BC66-53FFFB3E4CF0}"/>
              </a:ext>
            </a:extLst>
          </p:cNvPr>
          <p:cNvSpPr txBox="1">
            <a:spLocks noChangeArrowheads="1"/>
          </p:cNvSpPr>
          <p:nvPr/>
        </p:nvSpPr>
        <p:spPr bwMode="auto">
          <a:xfrm>
            <a:off x="1783325" y="6133344"/>
            <a:ext cx="8867946" cy="255896"/>
          </a:xfrm>
          <a:prstGeom prst="rect">
            <a:avLst/>
          </a:prstGeom>
          <a:solidFill>
            <a:schemeClr val="accent1">
              <a:lumMod val="40000"/>
              <a:lumOff val="60000"/>
            </a:schemeClr>
          </a:solidFill>
          <a:ln w="12700" algn="ctr">
            <a:noFill/>
            <a:miter lim="800000"/>
            <a:headEnd/>
            <a:tailEnd type="none" w="sm" len="med"/>
          </a:ln>
        </p:spPr>
        <p:txBody>
          <a:bodyPr lIns="88900" tIns="88900" rIns="88900" bIns="889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5726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Verdana"/>
                <a:ea typeface="+mn-ea"/>
                <a:cs typeface="+mn-cs"/>
              </a:rPr>
              <a:t>Special Projects / Diversity &amp; Inclusion / Metrics</a:t>
            </a:r>
          </a:p>
        </p:txBody>
      </p:sp>
      <p:sp>
        <p:nvSpPr>
          <p:cNvPr id="20" name="Text Box 10">
            <a:extLst>
              <a:ext uri="{FF2B5EF4-FFF2-40B4-BE49-F238E27FC236}">
                <a16:creationId xmlns:a16="http://schemas.microsoft.com/office/drawing/2014/main" id="{D31E2204-B3CD-496A-8373-CA728F332B0E}"/>
              </a:ext>
            </a:extLst>
          </p:cNvPr>
          <p:cNvSpPr txBox="1">
            <a:spLocks noChangeArrowheads="1"/>
          </p:cNvSpPr>
          <p:nvPr/>
        </p:nvSpPr>
        <p:spPr bwMode="auto">
          <a:xfrm>
            <a:off x="1783325" y="4747241"/>
            <a:ext cx="8867946" cy="258407"/>
          </a:xfrm>
          <a:prstGeom prst="rect">
            <a:avLst/>
          </a:prstGeom>
          <a:solidFill>
            <a:schemeClr val="accent1">
              <a:lumMod val="40000"/>
              <a:lumOff val="60000"/>
            </a:schemeClr>
          </a:solidFill>
          <a:ln w="12700" algn="ctr">
            <a:noFill/>
            <a:miter lim="800000"/>
            <a:headEnd/>
            <a:tailEnd type="none" w="sm" len="med"/>
          </a:ln>
        </p:spPr>
        <p:txBody>
          <a:bodyPr lIns="88900" tIns="88900" rIns="88900" bIns="889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57263"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Verdana"/>
                <a:ea typeface="+mn-ea"/>
                <a:cs typeface="+mn-cs"/>
              </a:rPr>
              <a:t>Campus Event (case workshop, information session, wellbeing activity)</a:t>
            </a:r>
          </a:p>
        </p:txBody>
      </p:sp>
      <p:sp>
        <p:nvSpPr>
          <p:cNvPr id="24" name="TextBox 23">
            <a:extLst>
              <a:ext uri="{FF2B5EF4-FFF2-40B4-BE49-F238E27FC236}">
                <a16:creationId xmlns:a16="http://schemas.microsoft.com/office/drawing/2014/main" id="{7520A7D7-0767-4345-82AA-ACF6D0DF6189}"/>
              </a:ext>
            </a:extLst>
          </p:cNvPr>
          <p:cNvSpPr txBox="1"/>
          <p:nvPr/>
        </p:nvSpPr>
        <p:spPr>
          <a:xfrm>
            <a:off x="2088327" y="2294199"/>
            <a:ext cx="176229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Strategy &amp; Operations</a:t>
            </a:r>
          </a:p>
        </p:txBody>
      </p:sp>
      <p:sp>
        <p:nvSpPr>
          <p:cNvPr id="25" name="TextBox 24">
            <a:extLst>
              <a:ext uri="{FF2B5EF4-FFF2-40B4-BE49-F238E27FC236}">
                <a16:creationId xmlns:a16="http://schemas.microsoft.com/office/drawing/2014/main" id="{3F0DBAB4-7501-4257-8B43-5C1F0437A1D4}"/>
              </a:ext>
            </a:extLst>
          </p:cNvPr>
          <p:cNvSpPr txBox="1"/>
          <p:nvPr/>
        </p:nvSpPr>
        <p:spPr>
          <a:xfrm>
            <a:off x="4767472" y="2294199"/>
            <a:ext cx="176229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Technology</a:t>
            </a:r>
          </a:p>
        </p:txBody>
      </p:sp>
      <p:sp>
        <p:nvSpPr>
          <p:cNvPr id="26" name="TextBox 25">
            <a:extLst>
              <a:ext uri="{FF2B5EF4-FFF2-40B4-BE49-F238E27FC236}">
                <a16:creationId xmlns:a16="http://schemas.microsoft.com/office/drawing/2014/main" id="{8A7AF1E7-F195-46DE-B4FF-D55908BCDD29}"/>
              </a:ext>
            </a:extLst>
          </p:cNvPr>
          <p:cNvSpPr txBox="1"/>
          <p:nvPr/>
        </p:nvSpPr>
        <p:spPr>
          <a:xfrm>
            <a:off x="8015651" y="2294199"/>
            <a:ext cx="176229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Human Capital</a:t>
            </a:r>
          </a:p>
        </p:txBody>
      </p:sp>
      <p:sp>
        <p:nvSpPr>
          <p:cNvPr id="53" name="TextBox 52">
            <a:extLst>
              <a:ext uri="{FF2B5EF4-FFF2-40B4-BE49-F238E27FC236}">
                <a16:creationId xmlns:a16="http://schemas.microsoft.com/office/drawing/2014/main" id="{6BF0182E-B162-4ED0-BAA9-79B5C6E1DACC}"/>
              </a:ext>
            </a:extLst>
          </p:cNvPr>
          <p:cNvSpPr txBox="1"/>
          <p:nvPr/>
        </p:nvSpPr>
        <p:spPr>
          <a:xfrm>
            <a:off x="3058019" y="3564313"/>
            <a:ext cx="176229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sng" strike="noStrike" kern="1200" cap="none" spc="0" normalizeH="0" baseline="0" noProof="0" dirty="0">
                <a:ln>
                  <a:noFill/>
                </a:ln>
                <a:solidFill>
                  <a:srgbClr val="000000"/>
                </a:solidFill>
                <a:effectLst/>
                <a:uLnTx/>
                <a:uFillTx/>
                <a:latin typeface="Open Sans"/>
                <a:ea typeface="+mn-ea"/>
                <a:cs typeface="+mn-cs"/>
              </a:rPr>
              <a:t>Team Leads</a:t>
            </a:r>
          </a:p>
        </p:txBody>
      </p:sp>
      <p:sp>
        <p:nvSpPr>
          <p:cNvPr id="55" name="TextBox 54">
            <a:extLst>
              <a:ext uri="{FF2B5EF4-FFF2-40B4-BE49-F238E27FC236}">
                <a16:creationId xmlns:a16="http://schemas.microsoft.com/office/drawing/2014/main" id="{CFF334F3-0C9B-4A99-9EA4-C1A4F635950C}"/>
              </a:ext>
            </a:extLst>
          </p:cNvPr>
          <p:cNvSpPr txBox="1"/>
          <p:nvPr/>
        </p:nvSpPr>
        <p:spPr>
          <a:xfrm>
            <a:off x="7443177" y="3552525"/>
            <a:ext cx="176229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sng" strike="noStrike" kern="1200" cap="none" spc="0" normalizeH="0" baseline="0" noProof="0" dirty="0">
                <a:ln>
                  <a:noFill/>
                </a:ln>
                <a:solidFill>
                  <a:srgbClr val="000000"/>
                </a:solidFill>
                <a:effectLst/>
                <a:uLnTx/>
                <a:uFillTx/>
                <a:latin typeface="Open Sans"/>
                <a:ea typeface="+mn-ea"/>
                <a:cs typeface="+mn-cs"/>
              </a:rPr>
              <a:t>Advisor</a:t>
            </a:r>
          </a:p>
        </p:txBody>
      </p:sp>
      <p:sp>
        <p:nvSpPr>
          <p:cNvPr id="59" name="Text Placeholder 4">
            <a:extLst>
              <a:ext uri="{FF2B5EF4-FFF2-40B4-BE49-F238E27FC236}">
                <a16:creationId xmlns:a16="http://schemas.microsoft.com/office/drawing/2014/main" id="{43E39CAB-6102-4971-B349-997994AD3BA1}"/>
              </a:ext>
            </a:extLst>
          </p:cNvPr>
          <p:cNvSpPr txBox="1">
            <a:spLocks/>
          </p:cNvSpPr>
          <p:nvPr/>
        </p:nvSpPr>
        <p:spPr>
          <a:xfrm>
            <a:off x="383867" y="1709492"/>
            <a:ext cx="1293824" cy="203200"/>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900" b="1" spc="250" dirty="0">
                <a:solidFill>
                  <a:schemeClr val="tx2"/>
                </a:solidFill>
              </a:rPr>
              <a:t>LEADERSHIP</a:t>
            </a:r>
          </a:p>
        </p:txBody>
      </p:sp>
      <p:sp>
        <p:nvSpPr>
          <p:cNvPr id="60" name="Text Placeholder 4">
            <a:extLst>
              <a:ext uri="{FF2B5EF4-FFF2-40B4-BE49-F238E27FC236}">
                <a16:creationId xmlns:a16="http://schemas.microsoft.com/office/drawing/2014/main" id="{ADD15065-E261-44EF-9223-555C0C7C592D}"/>
              </a:ext>
            </a:extLst>
          </p:cNvPr>
          <p:cNvSpPr txBox="1">
            <a:spLocks/>
          </p:cNvSpPr>
          <p:nvPr/>
        </p:nvSpPr>
        <p:spPr>
          <a:xfrm>
            <a:off x="383867" y="4029825"/>
            <a:ext cx="1293824" cy="203200"/>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900" b="1" spc="250" dirty="0">
                <a:solidFill>
                  <a:schemeClr val="tx2"/>
                </a:solidFill>
              </a:rPr>
              <a:t>LEADS</a:t>
            </a:r>
          </a:p>
        </p:txBody>
      </p:sp>
      <p:sp>
        <p:nvSpPr>
          <p:cNvPr id="61" name="Text Placeholder 4">
            <a:extLst>
              <a:ext uri="{FF2B5EF4-FFF2-40B4-BE49-F238E27FC236}">
                <a16:creationId xmlns:a16="http://schemas.microsoft.com/office/drawing/2014/main" id="{FD86632A-A762-491F-987E-966F3E8FD203}"/>
              </a:ext>
            </a:extLst>
          </p:cNvPr>
          <p:cNvSpPr txBox="1">
            <a:spLocks/>
          </p:cNvSpPr>
          <p:nvPr/>
        </p:nvSpPr>
        <p:spPr>
          <a:xfrm>
            <a:off x="383867" y="2736284"/>
            <a:ext cx="1293824" cy="203200"/>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900" b="1" spc="250" dirty="0">
                <a:solidFill>
                  <a:schemeClr val="tx2"/>
                </a:solidFill>
              </a:rPr>
              <a:t>LEGACY CHAMPS</a:t>
            </a:r>
          </a:p>
        </p:txBody>
      </p:sp>
      <p:sp>
        <p:nvSpPr>
          <p:cNvPr id="62" name="Text Placeholder 4">
            <a:extLst>
              <a:ext uri="{FF2B5EF4-FFF2-40B4-BE49-F238E27FC236}">
                <a16:creationId xmlns:a16="http://schemas.microsoft.com/office/drawing/2014/main" id="{86CC6B13-8A82-4642-8822-18B7D6DD5AA8}"/>
              </a:ext>
            </a:extLst>
          </p:cNvPr>
          <p:cNvSpPr txBox="1">
            <a:spLocks/>
          </p:cNvSpPr>
          <p:nvPr/>
        </p:nvSpPr>
        <p:spPr>
          <a:xfrm>
            <a:off x="383867" y="5457899"/>
            <a:ext cx="1456444" cy="203200"/>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900" b="1" spc="250" dirty="0">
                <a:solidFill>
                  <a:schemeClr val="tx2"/>
                </a:solidFill>
              </a:rPr>
              <a:t>WORKSTREAMS</a:t>
            </a:r>
          </a:p>
        </p:txBody>
      </p:sp>
    </p:spTree>
    <p:extLst>
      <p:ext uri="{BB962C8B-B14F-4D97-AF65-F5344CB8AC3E}">
        <p14:creationId xmlns:p14="http://schemas.microsoft.com/office/powerpoint/2010/main" val="3855130609"/>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35E9F3E-8E2C-4556-8DA6-9B925C662F1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7268"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735E9F3E-8E2C-4556-8DA6-9B925C662F1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785F83E-D367-49B1-B23F-27D7F72A53E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3B09F0AB-DAD1-4DBE-8715-25875C511A3C}"/>
              </a:ext>
            </a:extLst>
          </p:cNvPr>
          <p:cNvSpPr>
            <a:spLocks noGrp="1"/>
          </p:cNvSpPr>
          <p:nvPr>
            <p:ph type="title"/>
          </p:nvPr>
        </p:nvSpPr>
        <p:spPr/>
        <p:txBody>
          <a:bodyPr/>
          <a:lstStyle/>
          <a:p>
            <a:r>
              <a:rPr lang="en-US" dirty="0"/>
              <a:t>Project team</a:t>
            </a:r>
          </a:p>
        </p:txBody>
      </p:sp>
      <p:sp>
        <p:nvSpPr>
          <p:cNvPr id="23" name="Text Placeholder 22">
            <a:extLst>
              <a:ext uri="{FF2B5EF4-FFF2-40B4-BE49-F238E27FC236}">
                <a16:creationId xmlns:a16="http://schemas.microsoft.com/office/drawing/2014/main" id="{8FF8FBF0-C008-4A00-8236-7B051C9B0508}"/>
              </a:ext>
            </a:extLst>
          </p:cNvPr>
          <p:cNvSpPr>
            <a:spLocks noGrp="1"/>
          </p:cNvSpPr>
          <p:nvPr>
            <p:ph type="body" sz="quarter" idx="15"/>
          </p:nvPr>
        </p:nvSpPr>
        <p:spPr/>
        <p:txBody>
          <a:bodyPr/>
          <a:lstStyle/>
          <a:p>
            <a:r>
              <a:rPr lang="en-US" dirty="0"/>
              <a:t>ORGANIZATION STRUCTURE &amp; BIOS</a:t>
            </a:r>
          </a:p>
        </p:txBody>
      </p:sp>
      <p:cxnSp>
        <p:nvCxnSpPr>
          <p:cNvPr id="5" name="Straight Connector 4">
            <a:extLst>
              <a:ext uri="{FF2B5EF4-FFF2-40B4-BE49-F238E27FC236}">
                <a16:creationId xmlns:a16="http://schemas.microsoft.com/office/drawing/2014/main" id="{592AE0FA-1361-4D23-BA5A-196371593B45}"/>
              </a:ext>
            </a:extLst>
          </p:cNvPr>
          <p:cNvCxnSpPr/>
          <p:nvPr/>
        </p:nvCxnSpPr>
        <p:spPr bwMode="auto">
          <a:xfrm>
            <a:off x="5094670" y="2060388"/>
            <a:ext cx="0" cy="485402"/>
          </a:xfrm>
          <a:prstGeom prst="line">
            <a:avLst/>
          </a:prstGeom>
          <a:solidFill>
            <a:schemeClr val="bg1"/>
          </a:solidFill>
          <a:ln w="9525" algn="ctr">
            <a:solidFill>
              <a:schemeClr val="accent1"/>
            </a:solidFill>
            <a:miter lim="800000"/>
            <a:headEnd/>
            <a:tailEnd/>
          </a:ln>
          <a:effectLst/>
        </p:spPr>
      </p:cxnSp>
      <p:sp>
        <p:nvSpPr>
          <p:cNvPr id="6" name="Rectangle 23">
            <a:extLst>
              <a:ext uri="{FF2B5EF4-FFF2-40B4-BE49-F238E27FC236}">
                <a16:creationId xmlns:a16="http://schemas.microsoft.com/office/drawing/2014/main" id="{3462DD3A-2A91-4983-8501-F2EF7DB1BB8D}"/>
              </a:ext>
            </a:extLst>
          </p:cNvPr>
          <p:cNvSpPr>
            <a:spLocks noChangeArrowheads="1"/>
          </p:cNvSpPr>
          <p:nvPr/>
        </p:nvSpPr>
        <p:spPr bwMode="auto">
          <a:xfrm>
            <a:off x="9890862" y="1093310"/>
            <a:ext cx="660892" cy="230364"/>
          </a:xfrm>
          <a:prstGeom prst="rect">
            <a:avLst/>
          </a:prstGeom>
          <a:solidFill>
            <a:schemeClr val="bg1"/>
          </a:solidFill>
          <a:ln w="9525" algn="ctr">
            <a:solidFill>
              <a:schemeClr val="accent1"/>
            </a:solidFill>
            <a:miter lim="800000"/>
            <a:headEnd/>
            <a:tailEnd/>
          </a:ln>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Pct val="80000"/>
              <a:buFont typeface="Marlett" pitchFamily="2" charset="2"/>
              <a:buNone/>
              <a:tabLst/>
              <a:defRPr/>
            </a:pPr>
            <a:r>
              <a:rPr kumimoji="0" lang="en-US" sz="1100" b="0" i="0" u="none" strike="noStrike" kern="1200" cap="none" spc="0" normalizeH="0" baseline="0" noProof="0" dirty="0">
                <a:ln>
                  <a:noFill/>
                </a:ln>
                <a:solidFill>
                  <a:srgbClr val="000000"/>
                </a:solidFill>
                <a:effectLst/>
                <a:uLnTx/>
                <a:uFillTx/>
                <a:ea typeface="+mn-ea"/>
                <a:cs typeface="+mn-cs"/>
              </a:rPr>
              <a:t>Deloitte</a:t>
            </a:r>
          </a:p>
        </p:txBody>
      </p:sp>
      <p:sp>
        <p:nvSpPr>
          <p:cNvPr id="7" name="Rectangle 24">
            <a:extLst>
              <a:ext uri="{FF2B5EF4-FFF2-40B4-BE49-F238E27FC236}">
                <a16:creationId xmlns:a16="http://schemas.microsoft.com/office/drawing/2014/main" id="{49999B66-BCBB-49E0-A08B-ACC2BFD015C6}"/>
              </a:ext>
            </a:extLst>
          </p:cNvPr>
          <p:cNvSpPr>
            <a:spLocks noChangeArrowheads="1"/>
          </p:cNvSpPr>
          <p:nvPr/>
        </p:nvSpPr>
        <p:spPr bwMode="gray">
          <a:xfrm>
            <a:off x="9160893" y="1101881"/>
            <a:ext cx="662246" cy="234994"/>
          </a:xfrm>
          <a:prstGeom prst="rect">
            <a:avLst/>
          </a:prstGeom>
          <a:solidFill>
            <a:schemeClr val="accent1"/>
          </a:solidFill>
          <a:ln w="25400" cap="flat" cmpd="sng" algn="ctr">
            <a:noFill/>
            <a:prstDash val="solid"/>
          </a:ln>
          <a:effectLst>
            <a:outerShdw blurRad="50800" dist="38100" dir="8100000" algn="tr" rotWithShape="0">
              <a:schemeClr val="bg1">
                <a:lumMod val="65000"/>
                <a:alpha val="40000"/>
              </a:schemeClr>
            </a:outerShdw>
          </a:effectLst>
        </p:spPr>
        <p:txBody>
          <a:bodyPr lIns="0" tIns="0" rIns="0" bIns="0" rtlCol="0" anchor="ctr"/>
          <a:lstStyle/>
          <a:p>
            <a:pPr marL="0" marR="0" lvl="0" indent="0" algn="ctr" defTabSz="887553"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ea typeface="+mn-ea"/>
                <a:cs typeface="Arial" panose="020B0604020202020204" pitchFamily="34" charset="0"/>
              </a:rPr>
              <a:t>Client</a:t>
            </a:r>
          </a:p>
        </p:txBody>
      </p:sp>
      <p:sp>
        <p:nvSpPr>
          <p:cNvPr id="8" name="Rectangle 7">
            <a:extLst>
              <a:ext uri="{FF2B5EF4-FFF2-40B4-BE49-F238E27FC236}">
                <a16:creationId xmlns:a16="http://schemas.microsoft.com/office/drawing/2014/main" id="{920F0356-A824-4EF5-B251-5B951998D6C4}"/>
              </a:ext>
            </a:extLst>
          </p:cNvPr>
          <p:cNvSpPr>
            <a:spLocks noChangeArrowheads="1"/>
          </p:cNvSpPr>
          <p:nvPr/>
        </p:nvSpPr>
        <p:spPr bwMode="gray">
          <a:xfrm>
            <a:off x="1991843" y="1467680"/>
            <a:ext cx="1323177" cy="754005"/>
          </a:xfrm>
          <a:prstGeom prst="rect">
            <a:avLst/>
          </a:prstGeom>
          <a:solidFill>
            <a:schemeClr val="accent1"/>
          </a:solidFill>
          <a:ln w="25400" cap="flat" cmpd="sng" algn="ctr">
            <a:noFill/>
            <a:prstDash val="solid"/>
          </a:ln>
          <a:effectLst>
            <a:outerShdw blurRad="50800" dist="38100" dir="8100000" algn="tr" rotWithShape="0">
              <a:schemeClr val="bg1">
                <a:lumMod val="65000"/>
                <a:alpha val="40000"/>
              </a:schemeClr>
            </a:outerShdw>
          </a:effectLst>
        </p:spPr>
        <p:txBody>
          <a:bodyPr lIns="0" tIns="0" rIns="0" bIns="0" rtlCol="0" anchor="ctr"/>
          <a:lstStyle/>
          <a:p>
            <a:pPr marL="0" marR="0" lvl="0" indent="0" algn="ctr" defTabSz="887553"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ea typeface="+mn-ea"/>
                <a:cs typeface="Arial" panose="020B0604020202020204" pitchFamily="34" charset="0"/>
              </a:rPr>
              <a:t>Client 1</a:t>
            </a:r>
          </a:p>
          <a:p>
            <a:pPr marL="0" marR="0" lvl="0" indent="0" algn="ctr" defTabSz="887553"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ea typeface="+mn-ea"/>
                <a:cs typeface="Arial" panose="020B0604020202020204" pitchFamily="34" charset="0"/>
              </a:rPr>
              <a:t>Client 2</a:t>
            </a:r>
          </a:p>
        </p:txBody>
      </p:sp>
      <p:cxnSp>
        <p:nvCxnSpPr>
          <p:cNvPr id="9" name="Straight Connector 30">
            <a:extLst>
              <a:ext uri="{FF2B5EF4-FFF2-40B4-BE49-F238E27FC236}">
                <a16:creationId xmlns:a16="http://schemas.microsoft.com/office/drawing/2014/main" id="{29445D75-95FB-4B70-A776-4B1EDF6DD014}"/>
              </a:ext>
            </a:extLst>
          </p:cNvPr>
          <p:cNvCxnSpPr>
            <a:cxnSpLocks noChangeShapeType="1"/>
            <a:stCxn id="10" idx="3"/>
            <a:endCxn id="31" idx="1"/>
          </p:cNvCxnSpPr>
          <p:nvPr/>
        </p:nvCxnSpPr>
        <p:spPr bwMode="auto">
          <a:xfrm flipV="1">
            <a:off x="3315020" y="2914736"/>
            <a:ext cx="927755" cy="1562"/>
          </a:xfrm>
          <a:prstGeom prst="line">
            <a:avLst/>
          </a:prstGeom>
          <a:noFill/>
          <a:ln w="9525" algn="ctr">
            <a:solidFill>
              <a:srgbClr val="000066"/>
            </a:solidFill>
            <a:prstDash val="dash"/>
            <a:round/>
            <a:headEnd/>
            <a:tailEnd/>
          </a:ln>
        </p:spPr>
      </p:cxnSp>
      <p:sp>
        <p:nvSpPr>
          <p:cNvPr id="10" name="Rectangle 19">
            <a:extLst>
              <a:ext uri="{FF2B5EF4-FFF2-40B4-BE49-F238E27FC236}">
                <a16:creationId xmlns:a16="http://schemas.microsoft.com/office/drawing/2014/main" id="{082913B3-EF80-4AA5-88CA-8A9B96F39561}"/>
              </a:ext>
            </a:extLst>
          </p:cNvPr>
          <p:cNvSpPr>
            <a:spLocks noChangeArrowheads="1"/>
          </p:cNvSpPr>
          <p:nvPr/>
        </p:nvSpPr>
        <p:spPr bwMode="gray">
          <a:xfrm>
            <a:off x="1991843" y="2539295"/>
            <a:ext cx="1323177" cy="754005"/>
          </a:xfrm>
          <a:prstGeom prst="rect">
            <a:avLst/>
          </a:prstGeom>
          <a:solidFill>
            <a:schemeClr val="accent1"/>
          </a:solidFill>
          <a:ln w="25400" cap="flat" cmpd="sng" algn="ctr">
            <a:noFill/>
            <a:prstDash val="solid"/>
          </a:ln>
          <a:effectLst>
            <a:outerShdw blurRad="50800" dist="38100" dir="8100000" algn="tr" rotWithShape="0">
              <a:schemeClr val="bg1">
                <a:lumMod val="65000"/>
                <a:alpha val="40000"/>
              </a:schemeClr>
            </a:outerShdw>
          </a:effectLst>
        </p:spPr>
        <p:txBody>
          <a:bodyPr lIns="0" tIns="0" rIns="0" bIns="0" rtlCol="0" anchor="ctr"/>
          <a:lstStyle/>
          <a:p>
            <a:pPr marL="0" marR="0" lvl="0" indent="0" algn="ctr" defTabSz="887553"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ea typeface="+mn-ea"/>
                <a:cs typeface="Arial" panose="020B0604020202020204" pitchFamily="34" charset="0"/>
              </a:rPr>
              <a:t>Client 3</a:t>
            </a:r>
          </a:p>
        </p:txBody>
      </p:sp>
      <p:sp>
        <p:nvSpPr>
          <p:cNvPr id="11" name="Rectangle 10">
            <a:extLst>
              <a:ext uri="{FF2B5EF4-FFF2-40B4-BE49-F238E27FC236}">
                <a16:creationId xmlns:a16="http://schemas.microsoft.com/office/drawing/2014/main" id="{DB4FD0DE-6EF3-4079-B6A1-F9278C875F1C}"/>
              </a:ext>
            </a:extLst>
          </p:cNvPr>
          <p:cNvSpPr>
            <a:spLocks noChangeArrowheads="1"/>
          </p:cNvSpPr>
          <p:nvPr/>
        </p:nvSpPr>
        <p:spPr bwMode="gray">
          <a:xfrm>
            <a:off x="1991843" y="4311744"/>
            <a:ext cx="1323177" cy="754005"/>
          </a:xfrm>
          <a:prstGeom prst="rect">
            <a:avLst/>
          </a:prstGeom>
          <a:solidFill>
            <a:schemeClr val="accent1"/>
          </a:solidFill>
          <a:ln w="25400" cap="flat" cmpd="sng" algn="ctr">
            <a:noFill/>
            <a:prstDash val="solid"/>
          </a:ln>
          <a:effectLst>
            <a:outerShdw blurRad="50800" dist="38100" dir="8100000" algn="tr" rotWithShape="0">
              <a:schemeClr val="bg1">
                <a:lumMod val="65000"/>
                <a:alpha val="40000"/>
              </a:schemeClr>
            </a:outerShdw>
          </a:effectLst>
        </p:spPr>
        <p:txBody>
          <a:bodyPr lIns="0" tIns="0" rIns="0" bIns="0" rtlCol="0" anchor="ctr"/>
          <a:lstStyle/>
          <a:p>
            <a:pPr marL="0" marR="0" lvl="0" indent="0" algn="ctr" defTabSz="887553"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ea typeface="+mn-ea"/>
                <a:cs typeface="Arial" panose="020B0604020202020204" pitchFamily="34" charset="0"/>
              </a:rPr>
              <a:t>Client Squad</a:t>
            </a:r>
          </a:p>
        </p:txBody>
      </p:sp>
      <p:cxnSp>
        <p:nvCxnSpPr>
          <p:cNvPr id="12" name="Straight Connector 30">
            <a:extLst>
              <a:ext uri="{FF2B5EF4-FFF2-40B4-BE49-F238E27FC236}">
                <a16:creationId xmlns:a16="http://schemas.microsoft.com/office/drawing/2014/main" id="{C7A31BCB-9674-427F-B5F7-130B949F0606}"/>
              </a:ext>
            </a:extLst>
          </p:cNvPr>
          <p:cNvCxnSpPr>
            <a:cxnSpLocks noChangeShapeType="1"/>
            <a:stCxn id="11" idx="0"/>
            <a:endCxn id="10" idx="2"/>
          </p:cNvCxnSpPr>
          <p:nvPr/>
        </p:nvCxnSpPr>
        <p:spPr bwMode="auto">
          <a:xfrm flipV="1">
            <a:off x="2653432" y="3293300"/>
            <a:ext cx="0" cy="1018444"/>
          </a:xfrm>
          <a:prstGeom prst="line">
            <a:avLst/>
          </a:prstGeom>
          <a:noFill/>
          <a:ln w="9525" algn="ctr">
            <a:solidFill>
              <a:srgbClr val="000066"/>
            </a:solidFill>
            <a:prstDash val="dash"/>
            <a:round/>
            <a:headEnd/>
            <a:tailEnd/>
          </a:ln>
        </p:spPr>
      </p:cxnSp>
      <p:sp>
        <p:nvSpPr>
          <p:cNvPr id="13" name="Rectangle 9">
            <a:extLst>
              <a:ext uri="{FF2B5EF4-FFF2-40B4-BE49-F238E27FC236}">
                <a16:creationId xmlns:a16="http://schemas.microsoft.com/office/drawing/2014/main" id="{C8FC4EF5-5BAD-4DA4-8A7E-E443B7D575B1}"/>
              </a:ext>
            </a:extLst>
          </p:cNvPr>
          <p:cNvSpPr>
            <a:spLocks noChangeArrowheads="1"/>
          </p:cNvSpPr>
          <p:nvPr/>
        </p:nvSpPr>
        <p:spPr bwMode="gray">
          <a:xfrm>
            <a:off x="4242775" y="1583125"/>
            <a:ext cx="1703790" cy="516071"/>
          </a:xfrm>
          <a:prstGeom prst="rect">
            <a:avLst/>
          </a:prstGeom>
          <a:noFill/>
          <a:ln w="9525" algn="ctr">
            <a:solidFill>
              <a:schemeClr val="tx1"/>
            </a:solidFill>
            <a:miter lim="800000"/>
            <a:headEnd/>
            <a:tailEnd/>
          </a:ln>
          <a:effectLst/>
        </p:spPr>
        <p:txBody>
          <a:bodyPr lIns="0" tIns="0" rIns="0" bIns="0" anchor="ctr" anchorCtr="0"/>
          <a:lstStyle/>
          <a:p>
            <a:pPr marL="6350" marR="0" lvl="0" indent="-6350" algn="ctr" defTabSz="914400" rtl="0" eaLnBrk="1" fontAlgn="auto" latinLnBrk="0" hangingPunct="1">
              <a:lnSpc>
                <a:spcPct val="100000"/>
              </a:lnSpc>
              <a:spcBef>
                <a:spcPts val="0"/>
              </a:spcBef>
              <a:spcAft>
                <a:spcPts val="300"/>
              </a:spcAft>
              <a:buClrTx/>
              <a:buSzPct val="80000"/>
              <a:buFontTx/>
              <a:buNone/>
              <a:tabLst/>
              <a:defRPr/>
            </a:pPr>
            <a:r>
              <a:rPr lang="en-US" sz="1050" noProof="0" dirty="0">
                <a:solidFill>
                  <a:srgbClr val="000000"/>
                </a:solidFill>
              </a:rPr>
              <a:t>PMD </a:t>
            </a:r>
            <a:endParaRPr kumimoji="0" lang="en-US" sz="1050" b="0" i="0" u="none" strike="noStrike" kern="1200" cap="none" spc="0" normalizeH="0" baseline="0" noProof="0" dirty="0">
              <a:ln>
                <a:noFill/>
              </a:ln>
              <a:solidFill>
                <a:srgbClr val="000000"/>
              </a:solidFill>
              <a:effectLst/>
              <a:uLnTx/>
              <a:uFillTx/>
              <a:ea typeface="+mn-ea"/>
              <a:cs typeface="+mn-cs"/>
            </a:endParaRPr>
          </a:p>
          <a:p>
            <a:pPr marL="6350" marR="0" lvl="0" indent="-6350" algn="ctr" defTabSz="914400" rtl="0" eaLnBrk="1" fontAlgn="auto" latinLnBrk="0" hangingPunct="1">
              <a:lnSpc>
                <a:spcPct val="100000"/>
              </a:lnSpc>
              <a:spcBef>
                <a:spcPts val="0"/>
              </a:spcBef>
              <a:spcAft>
                <a:spcPts val="300"/>
              </a:spcAft>
              <a:buClrTx/>
              <a:buSzPct val="80000"/>
              <a:buFontTx/>
              <a:buNone/>
              <a:tabLst/>
              <a:defRPr/>
            </a:pPr>
            <a:r>
              <a:rPr kumimoji="0" lang="en-US" sz="1050" b="0" i="1" u="none" strike="noStrike" kern="1200" cap="none" spc="0" normalizeH="0" baseline="0" noProof="0" dirty="0">
                <a:ln>
                  <a:noFill/>
                </a:ln>
                <a:solidFill>
                  <a:srgbClr val="000000"/>
                </a:solidFill>
                <a:effectLst/>
                <a:uLnTx/>
                <a:uFillTx/>
                <a:ea typeface="+mn-ea"/>
                <a:cs typeface="+mn-cs"/>
              </a:rPr>
              <a:t>(part-time)</a:t>
            </a:r>
          </a:p>
        </p:txBody>
      </p:sp>
      <p:cxnSp>
        <p:nvCxnSpPr>
          <p:cNvPr id="14" name="Straight Connector 30">
            <a:extLst>
              <a:ext uri="{FF2B5EF4-FFF2-40B4-BE49-F238E27FC236}">
                <a16:creationId xmlns:a16="http://schemas.microsoft.com/office/drawing/2014/main" id="{E3DE918E-EC83-47CA-9B5A-4DBBA0BCD94C}"/>
              </a:ext>
            </a:extLst>
          </p:cNvPr>
          <p:cNvCxnSpPr>
            <a:cxnSpLocks noChangeShapeType="1"/>
            <a:stCxn id="8" idx="3"/>
            <a:endCxn id="13" idx="1"/>
          </p:cNvCxnSpPr>
          <p:nvPr/>
        </p:nvCxnSpPr>
        <p:spPr bwMode="auto">
          <a:xfrm flipV="1">
            <a:off x="3315020" y="1841161"/>
            <a:ext cx="927755" cy="3522"/>
          </a:xfrm>
          <a:prstGeom prst="line">
            <a:avLst/>
          </a:prstGeom>
          <a:noFill/>
          <a:ln w="9525" algn="ctr">
            <a:solidFill>
              <a:srgbClr val="000066"/>
            </a:solidFill>
            <a:prstDash val="dash"/>
            <a:round/>
            <a:headEnd/>
            <a:tailEnd/>
          </a:ln>
        </p:spPr>
      </p:cxnSp>
      <p:sp>
        <p:nvSpPr>
          <p:cNvPr id="15" name="Rectangle 14">
            <a:extLst>
              <a:ext uri="{FF2B5EF4-FFF2-40B4-BE49-F238E27FC236}">
                <a16:creationId xmlns:a16="http://schemas.microsoft.com/office/drawing/2014/main" id="{2F566D2D-BE7C-4B4A-8447-B0F26388596C}"/>
              </a:ext>
            </a:extLst>
          </p:cNvPr>
          <p:cNvSpPr/>
          <p:nvPr/>
        </p:nvSpPr>
        <p:spPr>
          <a:xfrm>
            <a:off x="4395454" y="1429449"/>
            <a:ext cx="1398432" cy="253916"/>
          </a:xfrm>
          <a:prstGeom prst="rect">
            <a:avLst/>
          </a:prstGeom>
          <a:solidFill>
            <a:schemeClr val="bg1"/>
          </a:solidFill>
          <a:ln>
            <a:noFill/>
          </a:ln>
        </p:spPr>
        <p:txBody>
          <a:bodyPr wrap="square" anchor="ctr">
            <a:spAutoFit/>
          </a:bodyPr>
          <a:lstStyle/>
          <a:p>
            <a:pPr marL="0" marR="0" lvl="0" indent="0" algn="ctr" defTabSz="914400" rtl="0" eaLnBrk="1" fontAlgn="auto" latinLnBrk="0" hangingPunct="1">
              <a:lnSpc>
                <a:spcPct val="100000"/>
              </a:lnSpc>
              <a:spcBef>
                <a:spcPts val="0"/>
              </a:spcBef>
              <a:spcAft>
                <a:spcPts val="300"/>
              </a:spcAft>
              <a:buClrTx/>
              <a:buSzPct val="80000"/>
              <a:buFontTx/>
              <a:buNone/>
              <a:tabLst/>
              <a:defRPr/>
            </a:pPr>
            <a:r>
              <a:rPr kumimoji="0" lang="en-US" sz="1050" b="1" i="0" u="none" strike="noStrike" kern="1200" cap="none" spc="0" normalizeH="0" baseline="0" noProof="0" dirty="0">
                <a:ln>
                  <a:noFill/>
                </a:ln>
                <a:solidFill>
                  <a:srgbClr val="000000"/>
                </a:solidFill>
                <a:effectLst/>
                <a:uLnTx/>
                <a:uFillTx/>
                <a:ea typeface="+mn-ea"/>
                <a:cs typeface="+mn-cs"/>
              </a:rPr>
              <a:t>Engagement Lead</a:t>
            </a:r>
          </a:p>
        </p:txBody>
      </p:sp>
      <p:sp>
        <p:nvSpPr>
          <p:cNvPr id="16" name="Rectangle 56">
            <a:extLst>
              <a:ext uri="{FF2B5EF4-FFF2-40B4-BE49-F238E27FC236}">
                <a16:creationId xmlns:a16="http://schemas.microsoft.com/office/drawing/2014/main" id="{B509EA8D-A930-4F6A-AD04-EB806EC47EB0}"/>
              </a:ext>
            </a:extLst>
          </p:cNvPr>
          <p:cNvSpPr>
            <a:spLocks noChangeArrowheads="1"/>
          </p:cNvSpPr>
          <p:nvPr/>
        </p:nvSpPr>
        <p:spPr bwMode="gray">
          <a:xfrm>
            <a:off x="7033610" y="1362447"/>
            <a:ext cx="3851726" cy="1000274"/>
          </a:xfrm>
          <a:prstGeom prst="rect">
            <a:avLst/>
          </a:prstGeom>
          <a:noFill/>
          <a:ln w="12700">
            <a:noFill/>
            <a:miter lim="800000"/>
            <a:headEnd/>
            <a:tailEnd/>
          </a:ln>
        </p:spPr>
        <p:txBody>
          <a:bodyPr wrap="square" lIns="90488" tIns="44450" rIns="90488" bIns="44450" anchor="t">
            <a:spAutoFit/>
          </a:bodyPr>
          <a:lstStyle/>
          <a:p>
            <a:pPr marL="182880" marR="0" lvl="0" indent="-182880" algn="l" defTabSz="914400"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ea typeface="+mn-ea"/>
                <a:cs typeface="Arial" pitchFamily="34" charset="0"/>
              </a:rPr>
              <a:t>Provide strategic direction</a:t>
            </a:r>
          </a:p>
          <a:p>
            <a:pPr marL="182880" marR="0" lvl="0" indent="-182880" algn="l" defTabSz="914400"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ea typeface="+mn-ea"/>
                <a:cs typeface="Arial" pitchFamily="34" charset="0"/>
              </a:rPr>
              <a:t>Ensure project success</a:t>
            </a:r>
          </a:p>
          <a:p>
            <a:pPr marL="182880" marR="0" lvl="0" indent="-182880" algn="l" defTabSz="914400"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ea typeface="+mn-ea"/>
                <a:cs typeface="Arial" pitchFamily="34" charset="0"/>
              </a:rPr>
              <a:t>Review / approve recommendations</a:t>
            </a:r>
          </a:p>
          <a:p>
            <a:pPr marL="182880" marR="0" lvl="0" indent="-182880" algn="l" defTabSz="914400"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defRPr/>
            </a:pPr>
            <a:r>
              <a:rPr kumimoji="0" lang="en-US" sz="1050" b="1" i="1" u="none" strike="noStrike" kern="1200" cap="none" spc="0" normalizeH="0" baseline="0" noProof="0" dirty="0">
                <a:ln>
                  <a:noFill/>
                </a:ln>
                <a:solidFill>
                  <a:srgbClr val="000000"/>
                </a:solidFill>
                <a:effectLst/>
                <a:uLnTx/>
                <a:uFillTx/>
                <a:ea typeface="+mn-ea"/>
                <a:cs typeface="Arial" pitchFamily="34" charset="0"/>
              </a:rPr>
              <a:t>Client Executive Sponsor(s):</a:t>
            </a:r>
          </a:p>
          <a:p>
            <a:pPr marL="342900" marR="0" lvl="1" indent="-171450" algn="l" defTabSz="914400"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defRPr/>
            </a:pPr>
            <a:r>
              <a:rPr kumimoji="0" lang="en-US" sz="1050" b="0" i="1" u="none" strike="noStrike" kern="1200" cap="none" spc="0" normalizeH="0" baseline="0" noProof="0" dirty="0">
                <a:ln>
                  <a:noFill/>
                </a:ln>
                <a:solidFill>
                  <a:srgbClr val="000000"/>
                </a:solidFill>
                <a:effectLst/>
                <a:uLnTx/>
                <a:uFillTx/>
                <a:ea typeface="+mn-ea"/>
                <a:cs typeface="Arial" pitchFamily="34" charset="0"/>
              </a:rPr>
              <a:t>Provide guidance and feedback on project progress</a:t>
            </a:r>
          </a:p>
        </p:txBody>
      </p:sp>
      <p:sp>
        <p:nvSpPr>
          <p:cNvPr id="17" name="Right Arrow 51">
            <a:extLst>
              <a:ext uri="{FF2B5EF4-FFF2-40B4-BE49-F238E27FC236}">
                <a16:creationId xmlns:a16="http://schemas.microsoft.com/office/drawing/2014/main" id="{09D55F64-06B1-4649-9666-ED778F7D5337}"/>
              </a:ext>
            </a:extLst>
          </p:cNvPr>
          <p:cNvSpPr>
            <a:spLocks noChangeArrowheads="1"/>
          </p:cNvSpPr>
          <p:nvPr/>
        </p:nvSpPr>
        <p:spPr bwMode="auto">
          <a:xfrm>
            <a:off x="6845724" y="1546168"/>
            <a:ext cx="139717" cy="594360"/>
          </a:xfrm>
          <a:prstGeom prst="rightArrow">
            <a:avLst>
              <a:gd name="adj1" fmla="val 50000"/>
              <a:gd name="adj2" fmla="val 100000"/>
            </a:avLst>
          </a:prstGeom>
          <a:solidFill>
            <a:schemeClr val="bg1">
              <a:lumMod val="85000"/>
            </a:schemeClr>
          </a:solidFill>
          <a:ln w="9525" algn="ctr">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ea typeface="+mn-ea"/>
              <a:cs typeface="Arial" pitchFamily="34" charset="0"/>
            </a:endParaRPr>
          </a:p>
        </p:txBody>
      </p:sp>
      <p:sp>
        <p:nvSpPr>
          <p:cNvPr id="19" name="Right Arrow 57">
            <a:extLst>
              <a:ext uri="{FF2B5EF4-FFF2-40B4-BE49-F238E27FC236}">
                <a16:creationId xmlns:a16="http://schemas.microsoft.com/office/drawing/2014/main" id="{A6ADA821-8CCB-453B-84C3-64B45D4C8EE7}"/>
              </a:ext>
            </a:extLst>
          </p:cNvPr>
          <p:cNvSpPr>
            <a:spLocks noChangeArrowheads="1"/>
          </p:cNvSpPr>
          <p:nvPr/>
        </p:nvSpPr>
        <p:spPr bwMode="auto">
          <a:xfrm>
            <a:off x="6858114" y="4364480"/>
            <a:ext cx="177510" cy="594360"/>
          </a:xfrm>
          <a:prstGeom prst="rightArrow">
            <a:avLst>
              <a:gd name="adj1" fmla="val 50000"/>
              <a:gd name="adj2" fmla="val 100000"/>
            </a:avLst>
          </a:prstGeom>
          <a:solidFill>
            <a:schemeClr val="bg1">
              <a:lumMod val="85000"/>
            </a:schemeClr>
          </a:solidFill>
          <a:ln w="9525" algn="ctr">
            <a:noFill/>
            <a:round/>
            <a:headEnd/>
            <a:tailEnd/>
          </a:ln>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50" b="0" i="0" u="none" strike="noStrike" kern="1200" cap="none" spc="0" normalizeH="0" baseline="0" noProof="0" dirty="0">
              <a:ln>
                <a:noFill/>
              </a:ln>
              <a:solidFill>
                <a:srgbClr val="000000"/>
              </a:solidFill>
              <a:effectLst/>
              <a:uLnTx/>
              <a:uFillTx/>
              <a:ea typeface="+mn-ea"/>
              <a:cs typeface="Arial" pitchFamily="34" charset="0"/>
            </a:endParaRPr>
          </a:p>
        </p:txBody>
      </p:sp>
      <p:sp>
        <p:nvSpPr>
          <p:cNvPr id="20" name="Rectangle 56">
            <a:extLst>
              <a:ext uri="{FF2B5EF4-FFF2-40B4-BE49-F238E27FC236}">
                <a16:creationId xmlns:a16="http://schemas.microsoft.com/office/drawing/2014/main" id="{07805743-1A66-4BAA-9DE6-18AB51D4B0BE}"/>
              </a:ext>
            </a:extLst>
          </p:cNvPr>
          <p:cNvSpPr>
            <a:spLocks noChangeArrowheads="1"/>
          </p:cNvSpPr>
          <p:nvPr/>
        </p:nvSpPr>
        <p:spPr bwMode="gray">
          <a:xfrm>
            <a:off x="7075626" y="4116639"/>
            <a:ext cx="4055634" cy="1297791"/>
          </a:xfrm>
          <a:prstGeom prst="rect">
            <a:avLst/>
          </a:prstGeom>
          <a:noFill/>
          <a:ln w="12700">
            <a:noFill/>
            <a:miter lim="800000"/>
            <a:headEnd/>
            <a:tailEnd/>
          </a:ln>
        </p:spPr>
        <p:txBody>
          <a:bodyPr wrap="square" lIns="90488" tIns="44450" rIns="90488" bIns="44450" anchor="t">
            <a:spAutoFit/>
          </a:bodyPr>
          <a:lstStyle/>
          <a:p>
            <a:pPr marL="182880" marR="0" lvl="0" indent="-182880" algn="l" defTabSz="914400"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ea typeface="+mn-ea"/>
                <a:cs typeface="Arial" pitchFamily="34" charset="0"/>
              </a:rPr>
              <a:t>Gather and evaluate internal and external industry data, best practices, process modelling etc.</a:t>
            </a:r>
          </a:p>
          <a:p>
            <a:pPr marL="182880" marR="0" lvl="0" indent="-182880" algn="l" defTabSz="914400"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ea typeface="+mn-ea"/>
                <a:cs typeface="Arial" pitchFamily="34" charset="0"/>
              </a:rPr>
              <a:t>Analyze business processes, use scenarios for end state operating structure</a:t>
            </a:r>
          </a:p>
          <a:p>
            <a:pPr marL="182880" marR="0" lvl="0" indent="-182880" algn="l" defTabSz="914400" rtl="0" eaLnBrk="1" fontAlgn="auto" latinLnBrk="0" hangingPunct="1">
              <a:lnSpc>
                <a:spcPct val="100000"/>
              </a:lnSpc>
              <a:spcBef>
                <a:spcPts val="200"/>
              </a:spcBef>
              <a:spcAft>
                <a:spcPts val="0"/>
              </a:spcAft>
              <a:buClr>
                <a:srgbClr val="000000"/>
              </a:buClr>
              <a:buSzPts val="1000"/>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ea typeface="+mn-ea"/>
                <a:cs typeface="Arial" pitchFamily="34" charset="0"/>
              </a:rPr>
              <a:t>Manage team interviews / client working sessions</a:t>
            </a:r>
          </a:p>
          <a:p>
            <a:pPr marL="182880" marR="0" lvl="0" indent="-182880" algn="l" defTabSz="914400"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ea typeface="+mn-ea"/>
                <a:cs typeface="Arial" pitchFamily="34" charset="0"/>
              </a:rPr>
              <a:t>Develop workshop content, help facilitate, summarize outcomes</a:t>
            </a:r>
          </a:p>
        </p:txBody>
      </p:sp>
      <p:sp>
        <p:nvSpPr>
          <p:cNvPr id="21" name="Rectangle 11">
            <a:extLst>
              <a:ext uri="{FF2B5EF4-FFF2-40B4-BE49-F238E27FC236}">
                <a16:creationId xmlns:a16="http://schemas.microsoft.com/office/drawing/2014/main" id="{7BEBF4FE-A6BE-408B-A7F9-6695CEA42171}"/>
              </a:ext>
            </a:extLst>
          </p:cNvPr>
          <p:cNvSpPr>
            <a:spLocks noChangeArrowheads="1"/>
          </p:cNvSpPr>
          <p:nvPr/>
        </p:nvSpPr>
        <p:spPr bwMode="auto">
          <a:xfrm>
            <a:off x="3472624" y="5857932"/>
            <a:ext cx="3267984" cy="593600"/>
          </a:xfrm>
          <a:prstGeom prst="rect">
            <a:avLst/>
          </a:prstGeom>
          <a:noFill/>
          <a:ln w="9525" algn="ctr">
            <a:solidFill>
              <a:schemeClr val="tx1"/>
            </a:solidFill>
            <a:miter lim="800000"/>
            <a:headEnd/>
            <a:tailEnd/>
          </a:ln>
          <a:effectLst/>
        </p:spPr>
        <p:txBody>
          <a:bodyPr lIns="0" tIns="0" rIns="0" bIns="0" anchor="ctr" anchorCtr="0"/>
          <a:lstStyle/>
          <a:p>
            <a:pPr marL="6350" marR="0" lvl="0" indent="-6350" algn="ctr" defTabSz="914400" rtl="0" eaLnBrk="1" fontAlgn="auto" latinLnBrk="0" hangingPunct="1">
              <a:lnSpc>
                <a:spcPct val="100000"/>
              </a:lnSpc>
              <a:spcBef>
                <a:spcPts val="0"/>
              </a:spcBef>
              <a:spcAft>
                <a:spcPts val="300"/>
              </a:spcAft>
              <a:buClrTx/>
              <a:buSzPct val="80000"/>
              <a:buFontTx/>
              <a:buNone/>
              <a:tabLst/>
              <a:defRPr/>
            </a:pPr>
            <a:r>
              <a:rPr kumimoji="0" lang="en-US" sz="1050" b="0" i="0" u="none" strike="noStrike" kern="1200" cap="none" spc="0" normalizeH="0" baseline="0" noProof="0" dirty="0">
                <a:ln>
                  <a:noFill/>
                </a:ln>
                <a:solidFill>
                  <a:srgbClr val="000000"/>
                </a:solidFill>
                <a:effectLst/>
                <a:uLnTx/>
                <a:uFillTx/>
                <a:ea typeface="+mn-ea"/>
                <a:cs typeface="+mn-cs"/>
              </a:rPr>
              <a:t>Deloitte Additive Manufacturing Advisory Cabinet </a:t>
            </a:r>
          </a:p>
        </p:txBody>
      </p:sp>
      <p:sp>
        <p:nvSpPr>
          <p:cNvPr id="22" name="Rectangle 10">
            <a:extLst>
              <a:ext uri="{FF2B5EF4-FFF2-40B4-BE49-F238E27FC236}">
                <a16:creationId xmlns:a16="http://schemas.microsoft.com/office/drawing/2014/main" id="{7480CAA7-AECA-49B4-BEDB-5D2571A91682}"/>
              </a:ext>
            </a:extLst>
          </p:cNvPr>
          <p:cNvSpPr>
            <a:spLocks noChangeArrowheads="1"/>
          </p:cNvSpPr>
          <p:nvPr/>
        </p:nvSpPr>
        <p:spPr bwMode="gray">
          <a:xfrm>
            <a:off x="4284858" y="5742871"/>
            <a:ext cx="1645920" cy="228600"/>
          </a:xfrm>
          <a:prstGeom prst="rect">
            <a:avLst/>
          </a:prstGeom>
          <a:solidFill>
            <a:schemeClr val="bg1"/>
          </a:solidFill>
          <a:ln w="12700" algn="ctr">
            <a:noFill/>
            <a:miter lim="800000"/>
            <a:headEnd/>
            <a:tailEnd/>
          </a:ln>
        </p:spPr>
        <p:txBody>
          <a:bodyPr wrap="none" tIns="91440" bIns="91440" anchor="ctr"/>
          <a:lstStyle/>
          <a:p>
            <a:pPr marL="0" marR="0" lvl="0" indent="0" algn="ctr" defTabSz="914400" rtl="0" eaLnBrk="1" fontAlgn="auto" latinLnBrk="0" hangingPunct="1">
              <a:lnSpc>
                <a:spcPct val="100000"/>
              </a:lnSpc>
              <a:spcBef>
                <a:spcPts val="600"/>
              </a:spcBef>
              <a:spcAft>
                <a:spcPts val="0"/>
              </a:spcAft>
              <a:buClrTx/>
              <a:buSzPct val="85000"/>
              <a:buFont typeface="Marlett" pitchFamily="2" charset="2"/>
              <a:buNone/>
              <a:tabLst/>
              <a:defRPr/>
            </a:pPr>
            <a:r>
              <a:rPr kumimoji="0" lang="en-US" sz="1050" b="1" i="0" u="none" strike="noStrike" kern="1200" cap="none" spc="0" normalizeH="0" baseline="0" noProof="0" dirty="0">
                <a:ln>
                  <a:noFill/>
                </a:ln>
                <a:solidFill>
                  <a:srgbClr val="000000"/>
                </a:solidFill>
                <a:effectLst/>
                <a:uLnTx/>
                <a:uFillTx/>
                <a:ea typeface="+mn-ea"/>
                <a:cs typeface="+mn-cs"/>
              </a:rPr>
              <a:t>Subject Matter Experts</a:t>
            </a:r>
          </a:p>
        </p:txBody>
      </p:sp>
      <p:sp>
        <p:nvSpPr>
          <p:cNvPr id="24" name="Right Arrow 57">
            <a:extLst>
              <a:ext uri="{FF2B5EF4-FFF2-40B4-BE49-F238E27FC236}">
                <a16:creationId xmlns:a16="http://schemas.microsoft.com/office/drawing/2014/main" id="{D9A0CB87-2423-44E6-956B-C86E28046A6E}"/>
              </a:ext>
            </a:extLst>
          </p:cNvPr>
          <p:cNvSpPr>
            <a:spLocks noChangeArrowheads="1"/>
          </p:cNvSpPr>
          <p:nvPr/>
        </p:nvSpPr>
        <p:spPr bwMode="auto">
          <a:xfrm>
            <a:off x="6837369" y="5831604"/>
            <a:ext cx="157544" cy="594360"/>
          </a:xfrm>
          <a:prstGeom prst="rightArrow">
            <a:avLst>
              <a:gd name="adj1" fmla="val 50000"/>
              <a:gd name="adj2" fmla="val 100000"/>
            </a:avLst>
          </a:prstGeom>
          <a:solidFill>
            <a:schemeClr val="bg1">
              <a:lumMod val="85000"/>
            </a:schemeClr>
          </a:solidFill>
          <a:ln w="9525" algn="ctr">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ea typeface="+mn-ea"/>
              <a:cs typeface="Arial" pitchFamily="34" charset="0"/>
            </a:endParaRPr>
          </a:p>
        </p:txBody>
      </p:sp>
      <p:sp>
        <p:nvSpPr>
          <p:cNvPr id="25" name="Rectangle 56">
            <a:extLst>
              <a:ext uri="{FF2B5EF4-FFF2-40B4-BE49-F238E27FC236}">
                <a16:creationId xmlns:a16="http://schemas.microsoft.com/office/drawing/2014/main" id="{13367873-61AA-4E89-91B7-C491AA6AFA4A}"/>
              </a:ext>
            </a:extLst>
          </p:cNvPr>
          <p:cNvSpPr>
            <a:spLocks noChangeArrowheads="1"/>
          </p:cNvSpPr>
          <p:nvPr/>
        </p:nvSpPr>
        <p:spPr bwMode="gray">
          <a:xfrm>
            <a:off x="7033609" y="5922317"/>
            <a:ext cx="4273146" cy="574516"/>
          </a:xfrm>
          <a:prstGeom prst="rect">
            <a:avLst/>
          </a:prstGeom>
          <a:noFill/>
          <a:ln w="12700">
            <a:noFill/>
            <a:miter lim="800000"/>
            <a:headEnd/>
            <a:tailEnd/>
          </a:ln>
        </p:spPr>
        <p:txBody>
          <a:bodyPr wrap="square" lIns="90488" tIns="44450" rIns="90488" bIns="44450" anchor="t">
            <a:spAutoFit/>
          </a:bodyPr>
          <a:lstStyle/>
          <a:p>
            <a:pPr marL="182880" marR="0" lvl="0" indent="-182880" algn="l" defTabSz="914400"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ea typeface="+mn-ea"/>
                <a:cs typeface="Arial" pitchFamily="34" charset="0"/>
              </a:rPr>
              <a:t>Subject matter experts will be called upon, if needed, to support the project team (workshop facilitation, technology enablers, etc.)</a:t>
            </a:r>
          </a:p>
        </p:txBody>
      </p:sp>
      <p:cxnSp>
        <p:nvCxnSpPr>
          <p:cNvPr id="26" name="Straight Connector 30">
            <a:extLst>
              <a:ext uri="{FF2B5EF4-FFF2-40B4-BE49-F238E27FC236}">
                <a16:creationId xmlns:a16="http://schemas.microsoft.com/office/drawing/2014/main" id="{EE9837C3-62DA-4196-B1A9-6B14C646DCD1}"/>
              </a:ext>
            </a:extLst>
          </p:cNvPr>
          <p:cNvCxnSpPr>
            <a:cxnSpLocks noChangeShapeType="1"/>
            <a:stCxn id="11" idx="3"/>
          </p:cNvCxnSpPr>
          <p:nvPr/>
        </p:nvCxnSpPr>
        <p:spPr bwMode="auto">
          <a:xfrm flipV="1">
            <a:off x="3315020" y="4688746"/>
            <a:ext cx="157604" cy="1"/>
          </a:xfrm>
          <a:prstGeom prst="line">
            <a:avLst/>
          </a:prstGeom>
          <a:noFill/>
          <a:ln w="9525" algn="ctr">
            <a:solidFill>
              <a:srgbClr val="000066"/>
            </a:solidFill>
            <a:prstDash val="dash"/>
            <a:round/>
            <a:headEnd/>
            <a:tailEnd/>
          </a:ln>
        </p:spPr>
      </p:cxnSp>
      <p:sp>
        <p:nvSpPr>
          <p:cNvPr id="28" name="Right Arrow 57">
            <a:extLst>
              <a:ext uri="{FF2B5EF4-FFF2-40B4-BE49-F238E27FC236}">
                <a16:creationId xmlns:a16="http://schemas.microsoft.com/office/drawing/2014/main" id="{FC2B87CA-19CE-463C-8F68-A00CA6E0D944}"/>
              </a:ext>
            </a:extLst>
          </p:cNvPr>
          <p:cNvSpPr>
            <a:spLocks noChangeArrowheads="1"/>
          </p:cNvSpPr>
          <p:nvPr/>
        </p:nvSpPr>
        <p:spPr bwMode="auto">
          <a:xfrm>
            <a:off x="6858113" y="2617556"/>
            <a:ext cx="170192" cy="594360"/>
          </a:xfrm>
          <a:prstGeom prst="rightArrow">
            <a:avLst>
              <a:gd name="adj1" fmla="val 50000"/>
              <a:gd name="adj2" fmla="val 100000"/>
            </a:avLst>
          </a:prstGeom>
          <a:solidFill>
            <a:schemeClr val="bg1">
              <a:lumMod val="85000"/>
            </a:schemeClr>
          </a:solidFill>
          <a:ln w="9525" algn="ctr">
            <a:noFill/>
            <a:round/>
            <a:headEnd/>
            <a:tailEnd/>
          </a:ln>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50" b="0" i="0" u="none" strike="noStrike" kern="1200" cap="none" spc="0" normalizeH="0" baseline="0" noProof="0" dirty="0">
              <a:ln>
                <a:noFill/>
              </a:ln>
              <a:solidFill>
                <a:srgbClr val="000000"/>
              </a:solidFill>
              <a:effectLst/>
              <a:uLnTx/>
              <a:uFillTx/>
              <a:ea typeface="+mn-ea"/>
              <a:cs typeface="Arial" pitchFamily="34" charset="0"/>
            </a:endParaRPr>
          </a:p>
        </p:txBody>
      </p:sp>
      <p:sp>
        <p:nvSpPr>
          <p:cNvPr id="29" name="Rectangle 56">
            <a:extLst>
              <a:ext uri="{FF2B5EF4-FFF2-40B4-BE49-F238E27FC236}">
                <a16:creationId xmlns:a16="http://schemas.microsoft.com/office/drawing/2014/main" id="{D56751D1-CEB0-47F8-9A2F-1E8B86C18AC3}"/>
              </a:ext>
            </a:extLst>
          </p:cNvPr>
          <p:cNvSpPr>
            <a:spLocks noChangeArrowheads="1"/>
          </p:cNvSpPr>
          <p:nvPr/>
        </p:nvSpPr>
        <p:spPr bwMode="gray">
          <a:xfrm>
            <a:off x="7076830" y="2427423"/>
            <a:ext cx="4054429" cy="974626"/>
          </a:xfrm>
          <a:prstGeom prst="rect">
            <a:avLst/>
          </a:prstGeom>
          <a:noFill/>
          <a:ln w="12700">
            <a:noFill/>
            <a:miter lim="800000"/>
            <a:headEnd/>
            <a:tailEnd/>
          </a:ln>
        </p:spPr>
        <p:txBody>
          <a:bodyPr wrap="square" lIns="90488" tIns="44450" rIns="90488" bIns="44450" anchor="t">
            <a:spAutoFit/>
          </a:bodyPr>
          <a:lstStyle/>
          <a:p>
            <a:pPr marL="182880" marR="0" lvl="0" indent="-182880" algn="l" defTabSz="914400"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ea typeface="+mn-ea"/>
                <a:cs typeface="Arial" pitchFamily="34" charset="0"/>
              </a:rPr>
              <a:t>Overall leadership and functional expertise</a:t>
            </a:r>
          </a:p>
          <a:p>
            <a:pPr marL="182880" marR="0" lvl="0" indent="-182880" algn="l" defTabSz="914400"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ea typeface="+mn-ea"/>
                <a:cs typeface="Arial" pitchFamily="34" charset="0"/>
              </a:rPr>
              <a:t>Ensure quality of deliverables</a:t>
            </a:r>
          </a:p>
          <a:p>
            <a:pPr marL="182880" marR="0" lvl="0" indent="-182880" algn="l" defTabSz="914400"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ea typeface="+mn-ea"/>
                <a:cs typeface="Arial" pitchFamily="34" charset="0"/>
              </a:rPr>
              <a:t>Manage risks and issues</a:t>
            </a:r>
          </a:p>
          <a:p>
            <a:pPr marL="182880" marR="0" lvl="0" indent="-182880" algn="l" defTabSz="914400" rtl="0" eaLnBrk="1" fontAlgn="auto" latinLnBrk="0" hangingPunct="1">
              <a:lnSpc>
                <a:spcPct val="100000"/>
              </a:lnSpc>
              <a:spcBef>
                <a:spcPts val="200"/>
              </a:spcBef>
              <a:spcAft>
                <a:spcPts val="0"/>
              </a:spcAft>
              <a:buClr>
                <a:srgbClr val="000000"/>
              </a:buClr>
              <a:buSzTx/>
              <a:buFont typeface="Arial" panose="020B0604020202020204" pitchFamily="34" charset="0"/>
              <a:buChar char="•"/>
              <a:tabLst/>
              <a:defRPr/>
            </a:pPr>
            <a:r>
              <a:rPr kumimoji="0" lang="en-US" sz="1050" b="1" i="1" u="none" strike="noStrike" kern="1200" cap="none" spc="0" normalizeH="0" baseline="0" noProof="0" dirty="0">
                <a:ln>
                  <a:noFill/>
                </a:ln>
                <a:solidFill>
                  <a:srgbClr val="000000"/>
                </a:solidFill>
                <a:effectLst/>
                <a:uLnTx/>
                <a:uFillTx/>
                <a:ea typeface="+mn-ea"/>
                <a:cs typeface="Arial" pitchFamily="34" charset="0"/>
              </a:rPr>
              <a:t>Client Project Lead: </a:t>
            </a:r>
            <a:r>
              <a:rPr kumimoji="0" lang="en-US" sz="1050" b="0" i="1" u="none" strike="noStrike" kern="1200" cap="none" spc="0" normalizeH="0" baseline="0" noProof="0" dirty="0">
                <a:ln>
                  <a:noFill/>
                </a:ln>
                <a:solidFill>
                  <a:srgbClr val="000000"/>
                </a:solidFill>
                <a:effectLst/>
                <a:uLnTx/>
                <a:uFillTx/>
                <a:ea typeface="+mn-ea"/>
                <a:cs typeface="Arial" pitchFamily="34" charset="0"/>
              </a:rPr>
              <a:t>Provide relevant Client data, assist engaging Client stakeholders, help interlock with Client realities</a:t>
            </a:r>
          </a:p>
        </p:txBody>
      </p:sp>
      <p:grpSp>
        <p:nvGrpSpPr>
          <p:cNvPr id="30" name="Group 29">
            <a:extLst>
              <a:ext uri="{FF2B5EF4-FFF2-40B4-BE49-F238E27FC236}">
                <a16:creationId xmlns:a16="http://schemas.microsoft.com/office/drawing/2014/main" id="{4D3793CC-C11C-48D7-AB18-CF46944465DA}"/>
              </a:ext>
            </a:extLst>
          </p:cNvPr>
          <p:cNvGrpSpPr/>
          <p:nvPr/>
        </p:nvGrpSpPr>
        <p:grpSpPr>
          <a:xfrm>
            <a:off x="4242775" y="2551650"/>
            <a:ext cx="1703790" cy="625580"/>
            <a:chOff x="4242775" y="2899603"/>
            <a:chExt cx="1703790" cy="625580"/>
          </a:xfrm>
        </p:grpSpPr>
        <p:sp>
          <p:nvSpPr>
            <p:cNvPr id="31" name="Rectangle 30">
              <a:extLst>
                <a:ext uri="{FF2B5EF4-FFF2-40B4-BE49-F238E27FC236}">
                  <a16:creationId xmlns:a16="http://schemas.microsoft.com/office/drawing/2014/main" id="{5087395F-BBB7-4E81-B01C-71578C6EBE12}"/>
                </a:ext>
              </a:extLst>
            </p:cNvPr>
            <p:cNvSpPr>
              <a:spLocks noChangeArrowheads="1"/>
            </p:cNvSpPr>
            <p:nvPr/>
          </p:nvSpPr>
          <p:spPr bwMode="gray">
            <a:xfrm>
              <a:off x="4242775" y="3000194"/>
              <a:ext cx="1703790" cy="524989"/>
            </a:xfrm>
            <a:prstGeom prst="rect">
              <a:avLst/>
            </a:prstGeom>
            <a:noFill/>
            <a:ln w="9525" algn="ctr">
              <a:solidFill>
                <a:schemeClr val="tx1"/>
              </a:solidFill>
              <a:miter lim="800000"/>
              <a:headEnd/>
              <a:tailEnd/>
            </a:ln>
            <a:effectLst/>
          </p:spPr>
          <p:txBody>
            <a:bodyPr lIns="0" tIns="0" rIns="0" bIns="0" anchor="ctr" anchorCtr="0"/>
            <a:lstStyle/>
            <a:p>
              <a:pPr marL="6350" marR="0" lvl="0" indent="-6350" algn="ctr" defTabSz="914400" rtl="0" eaLnBrk="1" fontAlgn="auto" latinLnBrk="0" hangingPunct="1">
                <a:lnSpc>
                  <a:spcPct val="100000"/>
                </a:lnSpc>
                <a:spcBef>
                  <a:spcPts val="0"/>
                </a:spcBef>
                <a:spcAft>
                  <a:spcPts val="300"/>
                </a:spcAft>
                <a:buClrTx/>
                <a:buSzPct val="80000"/>
                <a:buFontTx/>
                <a:buNone/>
                <a:tabLst/>
                <a:defRPr/>
              </a:pPr>
              <a:r>
                <a:rPr kumimoji="0" lang="en-US" sz="1050" b="0" i="0" u="none" strike="noStrike" kern="1200" cap="none" spc="0" normalizeH="0" baseline="0" noProof="0" dirty="0">
                  <a:ln>
                    <a:noFill/>
                  </a:ln>
                  <a:solidFill>
                    <a:srgbClr val="000000"/>
                  </a:solidFill>
                  <a:effectLst/>
                  <a:uLnTx/>
                  <a:uFillTx/>
                  <a:ea typeface="+mn-ea"/>
                  <a:cs typeface="+mn-cs"/>
                </a:rPr>
                <a:t>Senior</a:t>
              </a:r>
              <a:r>
                <a:rPr kumimoji="0" lang="en-US" sz="1050" b="0" i="0" u="none" strike="noStrike" kern="1200" cap="none" spc="0" normalizeH="0" noProof="0" dirty="0">
                  <a:ln>
                    <a:noFill/>
                  </a:ln>
                  <a:solidFill>
                    <a:srgbClr val="000000"/>
                  </a:solidFill>
                  <a:effectLst/>
                  <a:uLnTx/>
                  <a:uFillTx/>
                  <a:ea typeface="+mn-ea"/>
                  <a:cs typeface="+mn-cs"/>
                </a:rPr>
                <a:t> Manager</a:t>
              </a:r>
              <a:endParaRPr kumimoji="0" lang="en-US" sz="1050" b="0" i="0" u="none" strike="noStrike" kern="1200" cap="none" spc="0" normalizeH="0" baseline="0" noProof="0" dirty="0">
                <a:ln>
                  <a:noFill/>
                </a:ln>
                <a:solidFill>
                  <a:srgbClr val="000000"/>
                </a:solidFill>
                <a:effectLst/>
                <a:uLnTx/>
                <a:uFillTx/>
                <a:ea typeface="+mn-ea"/>
                <a:cs typeface="+mn-cs"/>
              </a:endParaRPr>
            </a:p>
          </p:txBody>
        </p:sp>
        <p:sp>
          <p:nvSpPr>
            <p:cNvPr id="32" name="Text Box 6">
              <a:extLst>
                <a:ext uri="{FF2B5EF4-FFF2-40B4-BE49-F238E27FC236}">
                  <a16:creationId xmlns:a16="http://schemas.microsoft.com/office/drawing/2014/main" id="{809428B3-FE22-4FA8-8723-ABC537603655}"/>
                </a:ext>
              </a:extLst>
            </p:cNvPr>
            <p:cNvSpPr txBox="1">
              <a:spLocks noChangeArrowheads="1"/>
            </p:cNvSpPr>
            <p:nvPr/>
          </p:nvSpPr>
          <p:spPr bwMode="gray">
            <a:xfrm>
              <a:off x="4387799" y="2899603"/>
              <a:ext cx="1413742" cy="171750"/>
            </a:xfrm>
            <a:prstGeom prst="rect">
              <a:avLst/>
            </a:prstGeom>
            <a:solidFill>
              <a:schemeClr val="bg1"/>
            </a:solidFill>
            <a:ln w="12700" algn="ctr">
              <a:noFill/>
              <a:miter lim="800000"/>
              <a:headEnd/>
              <a:tailEnd/>
            </a:ln>
          </p:spPr>
          <p:txBody>
            <a:bodyPr lIns="73152" tIns="73152" rIns="73152" bIns="73152" anchor="ctr" anchorCtr="1"/>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ea typeface="+mn-ea"/>
                  <a:cs typeface="+mn-cs"/>
                </a:rPr>
                <a:t>Project Leadership</a:t>
              </a:r>
            </a:p>
          </p:txBody>
        </p:sp>
      </p:grpSp>
      <p:cxnSp>
        <p:nvCxnSpPr>
          <p:cNvPr id="33" name="Straight Connector 32">
            <a:extLst>
              <a:ext uri="{FF2B5EF4-FFF2-40B4-BE49-F238E27FC236}">
                <a16:creationId xmlns:a16="http://schemas.microsoft.com/office/drawing/2014/main" id="{0F80C13D-4973-4B83-BB6C-4412FA554F6C}"/>
              </a:ext>
            </a:extLst>
          </p:cNvPr>
          <p:cNvCxnSpPr>
            <a:stCxn id="35" idx="2"/>
            <a:endCxn id="22" idx="0"/>
          </p:cNvCxnSpPr>
          <p:nvPr/>
        </p:nvCxnSpPr>
        <p:spPr bwMode="auto">
          <a:xfrm>
            <a:off x="5106616" y="5547674"/>
            <a:ext cx="1202" cy="195197"/>
          </a:xfrm>
          <a:prstGeom prst="line">
            <a:avLst/>
          </a:prstGeom>
          <a:solidFill>
            <a:schemeClr val="bg1"/>
          </a:solidFill>
          <a:ln w="9525" algn="ctr">
            <a:solidFill>
              <a:schemeClr val="accent1"/>
            </a:solidFill>
            <a:miter lim="800000"/>
            <a:headEnd/>
            <a:tailEnd/>
          </a:ln>
          <a:effectLst/>
        </p:spPr>
      </p:cxnSp>
      <p:sp>
        <p:nvSpPr>
          <p:cNvPr id="34" name="Rectangle 33">
            <a:extLst>
              <a:ext uri="{FF2B5EF4-FFF2-40B4-BE49-F238E27FC236}">
                <a16:creationId xmlns:a16="http://schemas.microsoft.com/office/drawing/2014/main" id="{50AF67F7-F99F-43B0-96F2-F3BF9EE5E3E6}"/>
              </a:ext>
            </a:extLst>
          </p:cNvPr>
          <p:cNvSpPr>
            <a:spLocks noChangeArrowheads="1"/>
          </p:cNvSpPr>
          <p:nvPr/>
        </p:nvSpPr>
        <p:spPr bwMode="gray">
          <a:xfrm>
            <a:off x="3747581" y="3471285"/>
            <a:ext cx="1101702" cy="524989"/>
          </a:xfrm>
          <a:prstGeom prst="rect">
            <a:avLst/>
          </a:prstGeom>
          <a:noFill/>
          <a:ln w="9525" algn="ctr">
            <a:solidFill>
              <a:schemeClr val="tx1"/>
            </a:solidFill>
            <a:miter lim="800000"/>
            <a:headEnd/>
            <a:tailEnd/>
          </a:ln>
          <a:effectLst/>
        </p:spPr>
        <p:txBody>
          <a:bodyPr lIns="0" tIns="0" rIns="0" bIns="0" anchor="ctr" anchorCtr="0"/>
          <a:lstStyle/>
          <a:p>
            <a:pPr marL="6350" marR="0" lvl="0" indent="-6350" algn="ctr" defTabSz="914400" rtl="0" eaLnBrk="1" fontAlgn="auto" latinLnBrk="0" hangingPunct="1">
              <a:lnSpc>
                <a:spcPct val="100000"/>
              </a:lnSpc>
              <a:spcBef>
                <a:spcPts val="0"/>
              </a:spcBef>
              <a:spcAft>
                <a:spcPts val="300"/>
              </a:spcAft>
              <a:buClrTx/>
              <a:buSzPct val="80000"/>
              <a:buFontTx/>
              <a:buNone/>
              <a:tabLst/>
              <a:defRPr/>
            </a:pPr>
            <a:r>
              <a:rPr kumimoji="0" lang="en-US" sz="1050" b="1" i="0" u="none" strike="noStrike" kern="1200" cap="none" spc="0" normalizeH="0" baseline="0" noProof="0" dirty="0" err="1">
                <a:ln>
                  <a:noFill/>
                </a:ln>
                <a:solidFill>
                  <a:srgbClr val="000000"/>
                </a:solidFill>
                <a:effectLst/>
                <a:uLnTx/>
                <a:uFillTx/>
                <a:ea typeface="+mn-ea"/>
                <a:cs typeface="+mn-cs"/>
              </a:rPr>
              <a:t>Workstream</a:t>
            </a:r>
            <a:r>
              <a:rPr kumimoji="0" lang="en-US" sz="1050" b="1" i="0" u="none" strike="noStrike" kern="1200" cap="none" spc="0" normalizeH="0" baseline="0" noProof="0" dirty="0">
                <a:ln>
                  <a:noFill/>
                </a:ln>
                <a:solidFill>
                  <a:srgbClr val="000000"/>
                </a:solidFill>
                <a:effectLst/>
                <a:uLnTx/>
                <a:uFillTx/>
                <a:ea typeface="+mn-ea"/>
                <a:cs typeface="+mn-cs"/>
              </a:rPr>
              <a:t> 1:</a:t>
            </a:r>
          </a:p>
          <a:p>
            <a:pPr marL="6350" marR="0" lvl="0" indent="-6350" algn="ctr" defTabSz="914400" rtl="0" eaLnBrk="1" fontAlgn="auto" latinLnBrk="0" hangingPunct="1">
              <a:lnSpc>
                <a:spcPct val="100000"/>
              </a:lnSpc>
              <a:spcBef>
                <a:spcPts val="0"/>
              </a:spcBef>
              <a:spcAft>
                <a:spcPts val="300"/>
              </a:spcAft>
              <a:buClrTx/>
              <a:buSzPct val="80000"/>
              <a:buFontTx/>
              <a:buNone/>
              <a:tabLst/>
              <a:defRPr/>
            </a:pPr>
            <a:r>
              <a:rPr kumimoji="0" lang="en-US" sz="1050" b="0" i="0" u="none" strike="noStrike" kern="1200" cap="none" spc="0" normalizeH="0" baseline="0" noProof="0" dirty="0">
                <a:ln>
                  <a:noFill/>
                </a:ln>
                <a:solidFill>
                  <a:srgbClr val="000000"/>
                </a:solidFill>
                <a:effectLst/>
                <a:uLnTx/>
                <a:uFillTx/>
                <a:ea typeface="+mn-ea"/>
                <a:cs typeface="+mn-cs"/>
              </a:rPr>
              <a:t>Desirability</a:t>
            </a:r>
          </a:p>
        </p:txBody>
      </p:sp>
      <p:sp>
        <p:nvSpPr>
          <p:cNvPr id="35" name="Rectangle 34">
            <a:extLst>
              <a:ext uri="{FF2B5EF4-FFF2-40B4-BE49-F238E27FC236}">
                <a16:creationId xmlns:a16="http://schemas.microsoft.com/office/drawing/2014/main" id="{915C7A44-20FA-4095-A340-D66CCD1C4C8E}"/>
              </a:ext>
            </a:extLst>
          </p:cNvPr>
          <p:cNvSpPr/>
          <p:nvPr/>
        </p:nvSpPr>
        <p:spPr bwMode="auto">
          <a:xfrm>
            <a:off x="3472624" y="2320901"/>
            <a:ext cx="3267984" cy="3226773"/>
          </a:xfrm>
          <a:prstGeom prst="rect">
            <a:avLst/>
          </a:prstGeom>
          <a:noFill/>
          <a:ln w="31750" cap="flat" cmpd="sng" algn="ctr">
            <a:solidFill>
              <a:schemeClr val="accent5"/>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lvl="0" indent="0" algn="ctr" defTabSz="914400" rtl="0" eaLnBrk="0" fontAlgn="base" latinLnBrk="0" hangingPunct="0">
              <a:lnSpc>
                <a:spcPct val="106000"/>
              </a:lnSpc>
              <a:spcBef>
                <a:spcPct val="0"/>
              </a:spcBef>
              <a:spcAft>
                <a:spcPct val="0"/>
              </a:spcAft>
              <a:buClrTx/>
              <a:buSzTx/>
              <a:buFontTx/>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36" name="Rectangle 35">
            <a:extLst>
              <a:ext uri="{FF2B5EF4-FFF2-40B4-BE49-F238E27FC236}">
                <a16:creationId xmlns:a16="http://schemas.microsoft.com/office/drawing/2014/main" id="{17462F05-0D24-4B6B-AB7A-50F4250A44F8}"/>
              </a:ext>
            </a:extLst>
          </p:cNvPr>
          <p:cNvSpPr>
            <a:spLocks noChangeArrowheads="1"/>
          </p:cNvSpPr>
          <p:nvPr/>
        </p:nvSpPr>
        <p:spPr bwMode="gray">
          <a:xfrm>
            <a:off x="5298692" y="3471285"/>
            <a:ext cx="1101702" cy="524989"/>
          </a:xfrm>
          <a:prstGeom prst="rect">
            <a:avLst/>
          </a:prstGeom>
          <a:noFill/>
          <a:ln w="9525" algn="ctr">
            <a:solidFill>
              <a:schemeClr val="tx1"/>
            </a:solidFill>
            <a:miter lim="800000"/>
            <a:headEnd/>
            <a:tailEnd/>
          </a:ln>
          <a:effectLst/>
        </p:spPr>
        <p:txBody>
          <a:bodyPr lIns="0" tIns="0" rIns="0" bIns="0" anchor="ctr" anchorCtr="0"/>
          <a:lstStyle/>
          <a:p>
            <a:pPr marL="6350" marR="0" lvl="0" indent="-6350" algn="ctr" defTabSz="914400" rtl="0" eaLnBrk="1" fontAlgn="auto" latinLnBrk="0" hangingPunct="1">
              <a:lnSpc>
                <a:spcPct val="100000"/>
              </a:lnSpc>
              <a:spcBef>
                <a:spcPts val="0"/>
              </a:spcBef>
              <a:spcAft>
                <a:spcPts val="300"/>
              </a:spcAft>
              <a:buClrTx/>
              <a:buSzPct val="80000"/>
              <a:buFontTx/>
              <a:buNone/>
              <a:tabLst/>
              <a:defRPr/>
            </a:pPr>
            <a:r>
              <a:rPr kumimoji="0" lang="en-US" sz="1050" b="1" i="0" u="none" strike="noStrike" kern="1200" cap="none" spc="0" normalizeH="0" baseline="0" noProof="0" dirty="0" err="1">
                <a:ln>
                  <a:noFill/>
                </a:ln>
                <a:solidFill>
                  <a:srgbClr val="000000"/>
                </a:solidFill>
                <a:effectLst/>
                <a:uLnTx/>
                <a:uFillTx/>
                <a:ea typeface="+mn-ea"/>
                <a:cs typeface="+mn-cs"/>
              </a:rPr>
              <a:t>Workstream</a:t>
            </a:r>
            <a:r>
              <a:rPr kumimoji="0" lang="en-US" sz="1050" b="1" i="0" u="none" strike="noStrike" kern="1200" cap="none" spc="0" normalizeH="0" baseline="0" noProof="0" dirty="0">
                <a:ln>
                  <a:noFill/>
                </a:ln>
                <a:solidFill>
                  <a:srgbClr val="000000"/>
                </a:solidFill>
                <a:effectLst/>
                <a:uLnTx/>
                <a:uFillTx/>
                <a:ea typeface="+mn-ea"/>
                <a:cs typeface="+mn-cs"/>
              </a:rPr>
              <a:t> 2:</a:t>
            </a:r>
          </a:p>
          <a:p>
            <a:pPr marL="6350" marR="0" lvl="0" indent="-6350" algn="ctr" defTabSz="914400" rtl="0" eaLnBrk="1" fontAlgn="auto" latinLnBrk="0" hangingPunct="1">
              <a:lnSpc>
                <a:spcPct val="100000"/>
              </a:lnSpc>
              <a:spcBef>
                <a:spcPts val="0"/>
              </a:spcBef>
              <a:spcAft>
                <a:spcPts val="300"/>
              </a:spcAft>
              <a:buClrTx/>
              <a:buSzPct val="80000"/>
              <a:buFontTx/>
              <a:buNone/>
              <a:tabLst/>
              <a:defRPr/>
            </a:pPr>
            <a:r>
              <a:rPr kumimoji="0" lang="en-US" sz="1050" b="0" i="0" u="none" strike="noStrike" kern="1200" cap="none" spc="0" normalizeH="0" baseline="0" noProof="0" dirty="0">
                <a:ln>
                  <a:noFill/>
                </a:ln>
                <a:solidFill>
                  <a:srgbClr val="000000"/>
                </a:solidFill>
                <a:effectLst/>
                <a:uLnTx/>
                <a:uFillTx/>
                <a:ea typeface="+mn-ea"/>
                <a:cs typeface="+mn-cs"/>
              </a:rPr>
              <a:t>Viability</a:t>
            </a:r>
          </a:p>
        </p:txBody>
      </p:sp>
      <p:cxnSp>
        <p:nvCxnSpPr>
          <p:cNvPr id="37" name="Elbow Connector 118">
            <a:extLst>
              <a:ext uri="{FF2B5EF4-FFF2-40B4-BE49-F238E27FC236}">
                <a16:creationId xmlns:a16="http://schemas.microsoft.com/office/drawing/2014/main" id="{EE092188-888C-4D93-AA1A-DAAD578B15E1}"/>
              </a:ext>
            </a:extLst>
          </p:cNvPr>
          <p:cNvCxnSpPr>
            <a:stCxn id="31" idx="2"/>
            <a:endCxn id="34" idx="0"/>
          </p:cNvCxnSpPr>
          <p:nvPr/>
        </p:nvCxnSpPr>
        <p:spPr>
          <a:xfrm rot="5400000">
            <a:off x="4549524" y="2926138"/>
            <a:ext cx="294055" cy="796238"/>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38" name="Elbow Connector 119">
            <a:extLst>
              <a:ext uri="{FF2B5EF4-FFF2-40B4-BE49-F238E27FC236}">
                <a16:creationId xmlns:a16="http://schemas.microsoft.com/office/drawing/2014/main" id="{502BD36F-1265-49BD-A232-68C337AFE71C}"/>
              </a:ext>
            </a:extLst>
          </p:cNvPr>
          <p:cNvCxnSpPr>
            <a:stCxn id="31" idx="2"/>
            <a:endCxn id="36" idx="0"/>
          </p:cNvCxnSpPr>
          <p:nvPr/>
        </p:nvCxnSpPr>
        <p:spPr>
          <a:xfrm rot="16200000" flipH="1">
            <a:off x="5325079" y="2946820"/>
            <a:ext cx="294055" cy="754873"/>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499326D3-DA58-4CE7-B779-1DDEFDF0921B}"/>
              </a:ext>
            </a:extLst>
          </p:cNvPr>
          <p:cNvSpPr>
            <a:spLocks noChangeArrowheads="1"/>
          </p:cNvSpPr>
          <p:nvPr/>
        </p:nvSpPr>
        <p:spPr bwMode="gray">
          <a:xfrm>
            <a:off x="3747580" y="4400109"/>
            <a:ext cx="2652813" cy="296343"/>
          </a:xfrm>
          <a:prstGeom prst="rect">
            <a:avLst/>
          </a:prstGeom>
          <a:noFill/>
          <a:ln w="9525" algn="ctr">
            <a:solidFill>
              <a:schemeClr val="tx1"/>
            </a:solidFill>
            <a:miter lim="800000"/>
            <a:headEnd/>
            <a:tailEnd/>
          </a:ln>
          <a:effectLst/>
        </p:spPr>
        <p:txBody>
          <a:bodyPr lIns="0" tIns="0" rIns="0" bIns="0" anchor="ctr" anchorCtr="0"/>
          <a:lstStyle/>
          <a:p>
            <a:pPr marL="6350" marR="0" lvl="0" indent="-6350" algn="ctr" defTabSz="914400" rtl="0" eaLnBrk="1" fontAlgn="auto" latinLnBrk="0" hangingPunct="1">
              <a:lnSpc>
                <a:spcPct val="100000"/>
              </a:lnSpc>
              <a:spcBef>
                <a:spcPts val="0"/>
              </a:spcBef>
              <a:spcAft>
                <a:spcPts val="300"/>
              </a:spcAft>
              <a:buClrTx/>
              <a:buSzPct val="80000"/>
              <a:buFontTx/>
              <a:buNone/>
              <a:tabLst/>
              <a:defRPr/>
            </a:pPr>
            <a:r>
              <a:rPr kumimoji="0" lang="en-US" sz="1050" b="0" i="0" u="none" strike="noStrike" kern="1200" cap="none" spc="0" normalizeH="0" baseline="0" noProof="0" dirty="0">
                <a:ln>
                  <a:noFill/>
                </a:ln>
                <a:solidFill>
                  <a:srgbClr val="000000"/>
                </a:solidFill>
                <a:effectLst/>
                <a:uLnTx/>
                <a:uFillTx/>
                <a:ea typeface="+mn-ea"/>
                <a:cs typeface="+mn-cs"/>
              </a:rPr>
              <a:t>Support for Feasibility &amp; Quick Wins</a:t>
            </a:r>
          </a:p>
        </p:txBody>
      </p:sp>
      <p:sp>
        <p:nvSpPr>
          <p:cNvPr id="40" name="Rectangle 39">
            <a:extLst>
              <a:ext uri="{FF2B5EF4-FFF2-40B4-BE49-F238E27FC236}">
                <a16:creationId xmlns:a16="http://schemas.microsoft.com/office/drawing/2014/main" id="{3333C80D-4B33-420A-AAF9-F23756A8AA7D}"/>
              </a:ext>
            </a:extLst>
          </p:cNvPr>
          <p:cNvSpPr>
            <a:spLocks noChangeArrowheads="1"/>
          </p:cNvSpPr>
          <p:nvPr/>
        </p:nvSpPr>
        <p:spPr bwMode="gray">
          <a:xfrm>
            <a:off x="3747580" y="4793371"/>
            <a:ext cx="2652813" cy="296343"/>
          </a:xfrm>
          <a:prstGeom prst="rect">
            <a:avLst/>
          </a:prstGeom>
          <a:noFill/>
          <a:ln w="9525" algn="ctr">
            <a:solidFill>
              <a:schemeClr val="tx1"/>
            </a:solidFill>
            <a:miter lim="800000"/>
            <a:headEnd/>
            <a:tailEnd/>
          </a:ln>
          <a:effectLst/>
        </p:spPr>
        <p:txBody>
          <a:bodyPr lIns="0" tIns="0" rIns="0" bIns="0" anchor="ctr" anchorCtr="0"/>
          <a:lstStyle/>
          <a:p>
            <a:pPr marL="6350" marR="0" lvl="0" indent="-6350" algn="ctr" defTabSz="914400" rtl="0" eaLnBrk="1" fontAlgn="auto" latinLnBrk="0" hangingPunct="1">
              <a:lnSpc>
                <a:spcPct val="100000"/>
              </a:lnSpc>
              <a:spcBef>
                <a:spcPts val="0"/>
              </a:spcBef>
              <a:spcAft>
                <a:spcPts val="300"/>
              </a:spcAft>
              <a:buClrTx/>
              <a:buSzPct val="80000"/>
              <a:buFontTx/>
              <a:buNone/>
              <a:tabLst/>
              <a:defRPr/>
            </a:pPr>
            <a:r>
              <a:rPr kumimoji="0" lang="en-US" sz="1050" b="0" i="0" u="none" strike="noStrike" kern="1200" cap="none" spc="0" normalizeH="0" baseline="0" noProof="0" dirty="0">
                <a:ln>
                  <a:noFill/>
                </a:ln>
                <a:solidFill>
                  <a:srgbClr val="000000"/>
                </a:solidFill>
                <a:effectLst/>
                <a:uLnTx/>
                <a:uFillTx/>
                <a:ea typeface="+mn-ea"/>
                <a:cs typeface="+mn-cs"/>
              </a:rPr>
              <a:t>Market Research / Crowdsourcing</a:t>
            </a:r>
          </a:p>
        </p:txBody>
      </p:sp>
      <p:sp>
        <p:nvSpPr>
          <p:cNvPr id="41" name="TextBox 40">
            <a:extLst>
              <a:ext uri="{FF2B5EF4-FFF2-40B4-BE49-F238E27FC236}">
                <a16:creationId xmlns:a16="http://schemas.microsoft.com/office/drawing/2014/main" id="{B47BF8B5-0252-4406-8ED3-8346FBE237F2}"/>
              </a:ext>
            </a:extLst>
          </p:cNvPr>
          <p:cNvSpPr txBox="1"/>
          <p:nvPr/>
        </p:nvSpPr>
        <p:spPr>
          <a:xfrm>
            <a:off x="4298432" y="4156394"/>
            <a:ext cx="1632346"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err="1">
                <a:ln>
                  <a:noFill/>
                </a:ln>
                <a:solidFill>
                  <a:srgbClr val="000000"/>
                </a:solidFill>
                <a:effectLst/>
                <a:uLnTx/>
                <a:uFillTx/>
                <a:ea typeface="+mn-ea"/>
                <a:cs typeface="+mn-cs"/>
              </a:rPr>
              <a:t>Workstream</a:t>
            </a:r>
            <a:r>
              <a:rPr kumimoji="0" lang="en-US" sz="1050" b="1" i="0" u="none" strike="noStrike" kern="1200" cap="none" spc="0" normalizeH="0" baseline="0" noProof="0" dirty="0">
                <a:ln>
                  <a:noFill/>
                </a:ln>
                <a:solidFill>
                  <a:srgbClr val="000000"/>
                </a:solidFill>
                <a:effectLst/>
                <a:uLnTx/>
                <a:uFillTx/>
                <a:ea typeface="+mn-ea"/>
                <a:cs typeface="+mn-cs"/>
              </a:rPr>
              <a:t> 3:</a:t>
            </a:r>
          </a:p>
        </p:txBody>
      </p:sp>
    </p:spTree>
    <p:extLst>
      <p:ext uri="{BB962C8B-B14F-4D97-AF65-F5344CB8AC3E}">
        <p14:creationId xmlns:p14="http://schemas.microsoft.com/office/powerpoint/2010/main" val="596599008"/>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918883" y="201706"/>
            <a:ext cx="4486421" cy="1069973"/>
          </a:xfrm>
          <a:prstGeom prst="rect">
            <a:avLst/>
          </a:prstGeom>
        </p:spPr>
        <p:txBody>
          <a:bodyPr wrap="none">
            <a:spAutoFit/>
          </a:bodyPr>
          <a:lstStyle/>
          <a:p>
            <a:r>
              <a:rPr lang="en-US" sz="6353" dirty="0">
                <a:latin typeface="Knockout HTF27-JuniorBantamwt"/>
                <a:cs typeface="Knockout HTF27-JuniorBantamwt"/>
              </a:rPr>
              <a:t>CAPABILITIES</a:t>
            </a:r>
          </a:p>
        </p:txBody>
      </p:sp>
      <p:grpSp>
        <p:nvGrpSpPr>
          <p:cNvPr id="56" name="Group 55"/>
          <p:cNvGrpSpPr/>
          <p:nvPr/>
        </p:nvGrpSpPr>
        <p:grpSpPr>
          <a:xfrm>
            <a:off x="1336578" y="1891452"/>
            <a:ext cx="1075765" cy="1075765"/>
            <a:chOff x="1066800" y="2219846"/>
            <a:chExt cx="1219200" cy="1219200"/>
          </a:xfrm>
        </p:grpSpPr>
        <p:grpSp>
          <p:nvGrpSpPr>
            <p:cNvPr id="10" name="Group 9"/>
            <p:cNvGrpSpPr/>
            <p:nvPr/>
          </p:nvGrpSpPr>
          <p:grpSpPr>
            <a:xfrm>
              <a:off x="1514209" y="2515663"/>
              <a:ext cx="322263" cy="627566"/>
              <a:chOff x="5100638" y="1152525"/>
              <a:chExt cx="241300" cy="469901"/>
            </a:xfrm>
            <a:solidFill>
              <a:srgbClr val="81BC00"/>
            </a:solidFill>
          </p:grpSpPr>
          <p:sp>
            <p:nvSpPr>
              <p:cNvPr id="11" name="Freeform 155"/>
              <p:cNvSpPr>
                <a:spLocks noEditPoints="1"/>
              </p:cNvSpPr>
              <p:nvPr/>
            </p:nvSpPr>
            <p:spPr bwMode="auto">
              <a:xfrm>
                <a:off x="5102225" y="1325563"/>
                <a:ext cx="239713" cy="296863"/>
              </a:xfrm>
              <a:custGeom>
                <a:avLst/>
                <a:gdLst>
                  <a:gd name="T0" fmla="*/ 116 w 123"/>
                  <a:gd name="T1" fmla="*/ 0 h 152"/>
                  <a:gd name="T2" fmla="*/ 3 w 123"/>
                  <a:gd name="T3" fmla="*/ 31 h 152"/>
                  <a:gd name="T4" fmla="*/ 0 w 123"/>
                  <a:gd name="T5" fmla="*/ 37 h 152"/>
                  <a:gd name="T6" fmla="*/ 5 w 123"/>
                  <a:gd name="T7" fmla="*/ 41 h 152"/>
                  <a:gd name="T8" fmla="*/ 5 w 123"/>
                  <a:gd name="T9" fmla="*/ 41 h 152"/>
                  <a:gd name="T10" fmla="*/ 5 w 123"/>
                  <a:gd name="T11" fmla="*/ 41 h 152"/>
                  <a:gd name="T12" fmla="*/ 43 w 123"/>
                  <a:gd name="T13" fmla="*/ 78 h 152"/>
                  <a:gd name="T14" fmla="*/ 33 w 123"/>
                  <a:gd name="T15" fmla="*/ 78 h 152"/>
                  <a:gd name="T16" fmla="*/ 28 w 123"/>
                  <a:gd name="T17" fmla="*/ 82 h 152"/>
                  <a:gd name="T18" fmla="*/ 45 w 123"/>
                  <a:gd name="T19" fmla="*/ 132 h 152"/>
                  <a:gd name="T20" fmla="*/ 48 w 123"/>
                  <a:gd name="T21" fmla="*/ 148 h 152"/>
                  <a:gd name="T22" fmla="*/ 52 w 123"/>
                  <a:gd name="T23" fmla="*/ 152 h 152"/>
                  <a:gd name="T24" fmla="*/ 70 w 123"/>
                  <a:gd name="T25" fmla="*/ 152 h 152"/>
                  <a:gd name="T26" fmla="*/ 75 w 123"/>
                  <a:gd name="T27" fmla="*/ 148 h 152"/>
                  <a:gd name="T28" fmla="*/ 77 w 123"/>
                  <a:gd name="T29" fmla="*/ 132 h 152"/>
                  <a:gd name="T30" fmla="*/ 94 w 123"/>
                  <a:gd name="T31" fmla="*/ 82 h 152"/>
                  <a:gd name="T32" fmla="*/ 89 w 123"/>
                  <a:gd name="T33" fmla="*/ 78 h 152"/>
                  <a:gd name="T34" fmla="*/ 79 w 123"/>
                  <a:gd name="T35" fmla="*/ 78 h 152"/>
                  <a:gd name="T36" fmla="*/ 112 w 123"/>
                  <a:gd name="T37" fmla="*/ 47 h 152"/>
                  <a:gd name="T38" fmla="*/ 112 w 123"/>
                  <a:gd name="T39" fmla="*/ 47 h 152"/>
                  <a:gd name="T40" fmla="*/ 117 w 123"/>
                  <a:gd name="T41" fmla="*/ 42 h 152"/>
                  <a:gd name="T42" fmla="*/ 112 w 123"/>
                  <a:gd name="T43" fmla="*/ 37 h 152"/>
                  <a:gd name="T44" fmla="*/ 112 w 123"/>
                  <a:gd name="T45" fmla="*/ 37 h 152"/>
                  <a:gd name="T46" fmla="*/ 70 w 123"/>
                  <a:gd name="T47" fmla="*/ 78 h 152"/>
                  <a:gd name="T48" fmla="*/ 53 w 123"/>
                  <a:gd name="T49" fmla="*/ 78 h 152"/>
                  <a:gd name="T50" fmla="*/ 24 w 123"/>
                  <a:gd name="T51" fmla="*/ 36 h 152"/>
                  <a:gd name="T52" fmla="*/ 119 w 123"/>
                  <a:gd name="T53" fmla="*/ 10 h 152"/>
                  <a:gd name="T54" fmla="*/ 122 w 123"/>
                  <a:gd name="T55" fmla="*/ 4 h 152"/>
                  <a:gd name="T56" fmla="*/ 116 w 123"/>
                  <a:gd name="T57" fmla="*/ 0 h 152"/>
                  <a:gd name="T58" fmla="*/ 72 w 123"/>
                  <a:gd name="T59" fmla="*/ 124 h 152"/>
                  <a:gd name="T60" fmla="*/ 68 w 123"/>
                  <a:gd name="T61" fmla="*/ 128 h 152"/>
                  <a:gd name="T62" fmla="*/ 66 w 123"/>
                  <a:gd name="T63" fmla="*/ 142 h 152"/>
                  <a:gd name="T64" fmla="*/ 56 w 123"/>
                  <a:gd name="T65" fmla="*/ 142 h 152"/>
                  <a:gd name="T66" fmla="*/ 54 w 123"/>
                  <a:gd name="T67" fmla="*/ 128 h 152"/>
                  <a:gd name="T68" fmla="*/ 50 w 123"/>
                  <a:gd name="T69" fmla="*/ 124 h 152"/>
                  <a:gd name="T70" fmla="*/ 37 w 123"/>
                  <a:gd name="T71" fmla="*/ 88 h 152"/>
                  <a:gd name="T72" fmla="*/ 85 w 123"/>
                  <a:gd name="T73" fmla="*/ 88 h 152"/>
                  <a:gd name="T74" fmla="*/ 72 w 123"/>
                  <a:gd name="T75" fmla="*/ 12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52">
                    <a:moveTo>
                      <a:pt x="116" y="0"/>
                    </a:moveTo>
                    <a:cubicBezTo>
                      <a:pt x="3" y="31"/>
                      <a:pt x="3" y="31"/>
                      <a:pt x="3" y="31"/>
                    </a:cubicBezTo>
                    <a:cubicBezTo>
                      <a:pt x="1" y="32"/>
                      <a:pt x="0" y="34"/>
                      <a:pt x="0" y="37"/>
                    </a:cubicBezTo>
                    <a:cubicBezTo>
                      <a:pt x="0" y="39"/>
                      <a:pt x="2" y="41"/>
                      <a:pt x="5" y="41"/>
                    </a:cubicBezTo>
                    <a:cubicBezTo>
                      <a:pt x="5" y="41"/>
                      <a:pt x="5" y="41"/>
                      <a:pt x="5" y="41"/>
                    </a:cubicBezTo>
                    <a:cubicBezTo>
                      <a:pt x="5" y="41"/>
                      <a:pt x="5" y="41"/>
                      <a:pt x="5" y="41"/>
                    </a:cubicBezTo>
                    <a:cubicBezTo>
                      <a:pt x="6" y="41"/>
                      <a:pt x="38" y="41"/>
                      <a:pt x="43" y="78"/>
                    </a:cubicBezTo>
                    <a:cubicBezTo>
                      <a:pt x="33" y="78"/>
                      <a:pt x="33" y="78"/>
                      <a:pt x="33" y="78"/>
                    </a:cubicBezTo>
                    <a:cubicBezTo>
                      <a:pt x="30" y="78"/>
                      <a:pt x="28" y="79"/>
                      <a:pt x="28" y="82"/>
                    </a:cubicBezTo>
                    <a:cubicBezTo>
                      <a:pt x="22" y="110"/>
                      <a:pt x="32" y="127"/>
                      <a:pt x="45" y="132"/>
                    </a:cubicBezTo>
                    <a:cubicBezTo>
                      <a:pt x="48" y="148"/>
                      <a:pt x="48" y="148"/>
                      <a:pt x="48" y="148"/>
                    </a:cubicBezTo>
                    <a:cubicBezTo>
                      <a:pt x="48" y="150"/>
                      <a:pt x="50" y="152"/>
                      <a:pt x="52" y="152"/>
                    </a:cubicBezTo>
                    <a:cubicBezTo>
                      <a:pt x="70" y="152"/>
                      <a:pt x="70" y="152"/>
                      <a:pt x="70" y="152"/>
                    </a:cubicBezTo>
                    <a:cubicBezTo>
                      <a:pt x="72" y="152"/>
                      <a:pt x="74" y="150"/>
                      <a:pt x="75" y="148"/>
                    </a:cubicBezTo>
                    <a:cubicBezTo>
                      <a:pt x="77" y="132"/>
                      <a:pt x="77" y="132"/>
                      <a:pt x="77" y="132"/>
                    </a:cubicBezTo>
                    <a:cubicBezTo>
                      <a:pt x="90" y="127"/>
                      <a:pt x="100" y="110"/>
                      <a:pt x="94" y="82"/>
                    </a:cubicBezTo>
                    <a:cubicBezTo>
                      <a:pt x="94" y="79"/>
                      <a:pt x="92" y="78"/>
                      <a:pt x="89" y="78"/>
                    </a:cubicBezTo>
                    <a:cubicBezTo>
                      <a:pt x="79" y="78"/>
                      <a:pt x="79" y="78"/>
                      <a:pt x="79" y="78"/>
                    </a:cubicBezTo>
                    <a:cubicBezTo>
                      <a:pt x="84" y="48"/>
                      <a:pt x="111" y="47"/>
                      <a:pt x="112" y="47"/>
                    </a:cubicBezTo>
                    <a:cubicBezTo>
                      <a:pt x="112" y="47"/>
                      <a:pt x="112" y="47"/>
                      <a:pt x="112" y="47"/>
                    </a:cubicBezTo>
                    <a:cubicBezTo>
                      <a:pt x="115" y="47"/>
                      <a:pt x="117" y="45"/>
                      <a:pt x="117" y="42"/>
                    </a:cubicBezTo>
                    <a:cubicBezTo>
                      <a:pt x="117" y="39"/>
                      <a:pt x="115" y="37"/>
                      <a:pt x="112" y="37"/>
                    </a:cubicBezTo>
                    <a:cubicBezTo>
                      <a:pt x="112" y="37"/>
                      <a:pt x="112" y="37"/>
                      <a:pt x="112" y="37"/>
                    </a:cubicBezTo>
                    <a:cubicBezTo>
                      <a:pt x="111" y="37"/>
                      <a:pt x="74" y="38"/>
                      <a:pt x="70" y="78"/>
                    </a:cubicBezTo>
                    <a:cubicBezTo>
                      <a:pt x="53" y="78"/>
                      <a:pt x="53" y="78"/>
                      <a:pt x="53" y="78"/>
                    </a:cubicBezTo>
                    <a:cubicBezTo>
                      <a:pt x="50" y="53"/>
                      <a:pt x="37" y="41"/>
                      <a:pt x="24" y="36"/>
                    </a:cubicBezTo>
                    <a:cubicBezTo>
                      <a:pt x="119" y="10"/>
                      <a:pt x="119" y="10"/>
                      <a:pt x="119" y="10"/>
                    </a:cubicBezTo>
                    <a:cubicBezTo>
                      <a:pt x="121" y="9"/>
                      <a:pt x="123" y="6"/>
                      <a:pt x="122" y="4"/>
                    </a:cubicBezTo>
                    <a:cubicBezTo>
                      <a:pt x="121" y="1"/>
                      <a:pt x="119" y="0"/>
                      <a:pt x="116" y="0"/>
                    </a:cubicBezTo>
                    <a:close/>
                    <a:moveTo>
                      <a:pt x="72" y="124"/>
                    </a:moveTo>
                    <a:cubicBezTo>
                      <a:pt x="70" y="124"/>
                      <a:pt x="68" y="126"/>
                      <a:pt x="68" y="128"/>
                    </a:cubicBezTo>
                    <a:cubicBezTo>
                      <a:pt x="66" y="142"/>
                      <a:pt x="66" y="142"/>
                      <a:pt x="66" y="142"/>
                    </a:cubicBezTo>
                    <a:cubicBezTo>
                      <a:pt x="56" y="142"/>
                      <a:pt x="56" y="142"/>
                      <a:pt x="56" y="142"/>
                    </a:cubicBezTo>
                    <a:cubicBezTo>
                      <a:pt x="54" y="128"/>
                      <a:pt x="54" y="128"/>
                      <a:pt x="54" y="128"/>
                    </a:cubicBezTo>
                    <a:cubicBezTo>
                      <a:pt x="54" y="126"/>
                      <a:pt x="52" y="124"/>
                      <a:pt x="50" y="124"/>
                    </a:cubicBezTo>
                    <a:cubicBezTo>
                      <a:pt x="44" y="122"/>
                      <a:pt x="33" y="113"/>
                      <a:pt x="37" y="88"/>
                    </a:cubicBezTo>
                    <a:cubicBezTo>
                      <a:pt x="85" y="88"/>
                      <a:pt x="85" y="88"/>
                      <a:pt x="85" y="88"/>
                    </a:cubicBezTo>
                    <a:cubicBezTo>
                      <a:pt x="89" y="113"/>
                      <a:pt x="78" y="122"/>
                      <a:pt x="72" y="1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2" name="Freeform 156"/>
              <p:cNvSpPr>
                <a:spLocks/>
              </p:cNvSpPr>
              <p:nvPr/>
            </p:nvSpPr>
            <p:spPr bwMode="auto">
              <a:xfrm>
                <a:off x="5100638" y="1249363"/>
                <a:ext cx="241300" cy="80963"/>
              </a:xfrm>
              <a:custGeom>
                <a:avLst/>
                <a:gdLst>
                  <a:gd name="T0" fmla="*/ 6 w 124"/>
                  <a:gd name="T1" fmla="*/ 41 h 41"/>
                  <a:gd name="T2" fmla="*/ 7 w 124"/>
                  <a:gd name="T3" fmla="*/ 41 h 41"/>
                  <a:gd name="T4" fmla="*/ 120 w 124"/>
                  <a:gd name="T5" fmla="*/ 10 h 41"/>
                  <a:gd name="T6" fmla="*/ 123 w 124"/>
                  <a:gd name="T7" fmla="*/ 4 h 41"/>
                  <a:gd name="T8" fmla="*/ 117 w 124"/>
                  <a:gd name="T9" fmla="*/ 1 h 41"/>
                  <a:gd name="T10" fmla="*/ 4 w 124"/>
                  <a:gd name="T11" fmla="*/ 31 h 41"/>
                  <a:gd name="T12" fmla="*/ 1 w 124"/>
                  <a:gd name="T13" fmla="*/ 37 h 41"/>
                  <a:gd name="T14" fmla="*/ 6 w 124"/>
                  <a:gd name="T15" fmla="*/ 41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 h="41">
                    <a:moveTo>
                      <a:pt x="6" y="41"/>
                    </a:moveTo>
                    <a:cubicBezTo>
                      <a:pt x="6" y="41"/>
                      <a:pt x="7" y="41"/>
                      <a:pt x="7" y="41"/>
                    </a:cubicBezTo>
                    <a:cubicBezTo>
                      <a:pt x="120" y="10"/>
                      <a:pt x="120" y="10"/>
                      <a:pt x="120" y="10"/>
                    </a:cubicBezTo>
                    <a:cubicBezTo>
                      <a:pt x="122" y="9"/>
                      <a:pt x="124" y="7"/>
                      <a:pt x="123" y="4"/>
                    </a:cubicBezTo>
                    <a:cubicBezTo>
                      <a:pt x="122" y="2"/>
                      <a:pt x="120" y="0"/>
                      <a:pt x="117" y="1"/>
                    </a:cubicBezTo>
                    <a:cubicBezTo>
                      <a:pt x="4" y="31"/>
                      <a:pt x="4" y="31"/>
                      <a:pt x="4" y="31"/>
                    </a:cubicBezTo>
                    <a:cubicBezTo>
                      <a:pt x="2" y="32"/>
                      <a:pt x="0" y="35"/>
                      <a:pt x="1" y="37"/>
                    </a:cubicBezTo>
                    <a:cubicBezTo>
                      <a:pt x="2" y="40"/>
                      <a:pt x="4" y="41"/>
                      <a:pt x="6" y="4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3" name="Freeform 157"/>
              <p:cNvSpPr>
                <a:spLocks/>
              </p:cNvSpPr>
              <p:nvPr/>
            </p:nvSpPr>
            <p:spPr bwMode="auto">
              <a:xfrm>
                <a:off x="5100638" y="1152525"/>
                <a:ext cx="184150" cy="101600"/>
              </a:xfrm>
              <a:custGeom>
                <a:avLst/>
                <a:gdLst>
                  <a:gd name="T0" fmla="*/ 6 w 95"/>
                  <a:gd name="T1" fmla="*/ 52 h 52"/>
                  <a:gd name="T2" fmla="*/ 7 w 95"/>
                  <a:gd name="T3" fmla="*/ 52 h 52"/>
                  <a:gd name="T4" fmla="*/ 80 w 95"/>
                  <a:gd name="T5" fmla="*/ 31 h 52"/>
                  <a:gd name="T6" fmla="*/ 93 w 95"/>
                  <a:gd name="T7" fmla="*/ 20 h 52"/>
                  <a:gd name="T8" fmla="*/ 93 w 95"/>
                  <a:gd name="T9" fmla="*/ 3 h 52"/>
                  <a:gd name="T10" fmla="*/ 87 w 95"/>
                  <a:gd name="T11" fmla="*/ 0 h 52"/>
                  <a:gd name="T12" fmla="*/ 84 w 95"/>
                  <a:gd name="T13" fmla="*/ 7 h 52"/>
                  <a:gd name="T14" fmla="*/ 77 w 95"/>
                  <a:gd name="T15" fmla="*/ 21 h 52"/>
                  <a:gd name="T16" fmla="*/ 4 w 95"/>
                  <a:gd name="T17" fmla="*/ 43 h 52"/>
                  <a:gd name="T18" fmla="*/ 1 w 95"/>
                  <a:gd name="T19" fmla="*/ 49 h 52"/>
                  <a:gd name="T20" fmla="*/ 6 w 95"/>
                  <a:gd name="T21"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 h="52">
                    <a:moveTo>
                      <a:pt x="6" y="52"/>
                    </a:moveTo>
                    <a:cubicBezTo>
                      <a:pt x="6" y="52"/>
                      <a:pt x="7" y="52"/>
                      <a:pt x="7" y="52"/>
                    </a:cubicBezTo>
                    <a:cubicBezTo>
                      <a:pt x="80" y="31"/>
                      <a:pt x="80" y="31"/>
                      <a:pt x="80" y="31"/>
                    </a:cubicBezTo>
                    <a:cubicBezTo>
                      <a:pt x="81" y="30"/>
                      <a:pt x="89" y="28"/>
                      <a:pt x="93" y="20"/>
                    </a:cubicBezTo>
                    <a:cubicBezTo>
                      <a:pt x="95" y="15"/>
                      <a:pt x="95" y="10"/>
                      <a:pt x="93" y="3"/>
                    </a:cubicBezTo>
                    <a:cubicBezTo>
                      <a:pt x="92" y="1"/>
                      <a:pt x="89" y="0"/>
                      <a:pt x="87" y="0"/>
                    </a:cubicBezTo>
                    <a:cubicBezTo>
                      <a:pt x="84" y="1"/>
                      <a:pt x="83" y="4"/>
                      <a:pt x="84" y="7"/>
                    </a:cubicBezTo>
                    <a:cubicBezTo>
                      <a:pt x="87" y="17"/>
                      <a:pt x="79" y="21"/>
                      <a:pt x="77" y="21"/>
                    </a:cubicBezTo>
                    <a:cubicBezTo>
                      <a:pt x="4" y="43"/>
                      <a:pt x="4" y="43"/>
                      <a:pt x="4" y="43"/>
                    </a:cubicBezTo>
                    <a:cubicBezTo>
                      <a:pt x="2" y="43"/>
                      <a:pt x="0" y="46"/>
                      <a:pt x="1" y="49"/>
                    </a:cubicBezTo>
                    <a:cubicBezTo>
                      <a:pt x="2" y="51"/>
                      <a:pt x="4" y="52"/>
                      <a:pt x="6"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24" name="Oval 23"/>
            <p:cNvSpPr/>
            <p:nvPr/>
          </p:nvSpPr>
          <p:spPr>
            <a:xfrm>
              <a:off x="1066800" y="2219846"/>
              <a:ext cx="1219200" cy="1219200"/>
            </a:xfrm>
            <a:prstGeom prst="ellipse">
              <a:avLst/>
            </a:prstGeom>
            <a:noFill/>
            <a:ln>
              <a:solidFill>
                <a:srgbClr val="81B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dirty="0"/>
            </a:p>
          </p:txBody>
        </p:sp>
      </p:grpSp>
      <p:grpSp>
        <p:nvGrpSpPr>
          <p:cNvPr id="57" name="Group 56"/>
          <p:cNvGrpSpPr/>
          <p:nvPr/>
        </p:nvGrpSpPr>
        <p:grpSpPr>
          <a:xfrm>
            <a:off x="3070412" y="1891452"/>
            <a:ext cx="1075765" cy="1075765"/>
            <a:chOff x="2971800" y="2219846"/>
            <a:chExt cx="1219200" cy="1219200"/>
          </a:xfrm>
        </p:grpSpPr>
        <p:grpSp>
          <p:nvGrpSpPr>
            <p:cNvPr id="3" name="Group 2"/>
            <p:cNvGrpSpPr/>
            <p:nvPr/>
          </p:nvGrpSpPr>
          <p:grpSpPr>
            <a:xfrm>
              <a:off x="3305128" y="2610988"/>
              <a:ext cx="605364" cy="436916"/>
              <a:chOff x="7635876" y="1039813"/>
              <a:chExt cx="547687" cy="395288"/>
            </a:xfrm>
            <a:solidFill>
              <a:srgbClr val="81BC00"/>
            </a:solidFill>
          </p:grpSpPr>
          <p:sp>
            <p:nvSpPr>
              <p:cNvPr id="4" name="Freeform 371"/>
              <p:cNvSpPr>
                <a:spLocks noEditPoints="1"/>
              </p:cNvSpPr>
              <p:nvPr/>
            </p:nvSpPr>
            <p:spPr bwMode="auto">
              <a:xfrm>
                <a:off x="7635876" y="1039813"/>
                <a:ext cx="398463" cy="395288"/>
              </a:xfrm>
              <a:custGeom>
                <a:avLst/>
                <a:gdLst>
                  <a:gd name="T0" fmla="*/ 166 w 173"/>
                  <a:gd name="T1" fmla="*/ 131 h 172"/>
                  <a:gd name="T2" fmla="*/ 111 w 173"/>
                  <a:gd name="T3" fmla="*/ 104 h 172"/>
                  <a:gd name="T4" fmla="*/ 111 w 173"/>
                  <a:gd name="T5" fmla="*/ 99 h 172"/>
                  <a:gd name="T6" fmla="*/ 123 w 173"/>
                  <a:gd name="T7" fmla="*/ 77 h 172"/>
                  <a:gd name="T8" fmla="*/ 129 w 173"/>
                  <a:gd name="T9" fmla="*/ 63 h 172"/>
                  <a:gd name="T10" fmla="*/ 126 w 173"/>
                  <a:gd name="T11" fmla="*/ 53 h 172"/>
                  <a:gd name="T12" fmla="*/ 126 w 173"/>
                  <a:gd name="T13" fmla="*/ 37 h 172"/>
                  <a:gd name="T14" fmla="*/ 86 w 173"/>
                  <a:gd name="T15" fmla="*/ 0 h 172"/>
                  <a:gd name="T16" fmla="*/ 47 w 173"/>
                  <a:gd name="T17" fmla="*/ 37 h 172"/>
                  <a:gd name="T18" fmla="*/ 47 w 173"/>
                  <a:gd name="T19" fmla="*/ 53 h 172"/>
                  <a:gd name="T20" fmla="*/ 44 w 173"/>
                  <a:gd name="T21" fmla="*/ 63 h 172"/>
                  <a:gd name="T22" fmla="*/ 50 w 173"/>
                  <a:gd name="T23" fmla="*/ 77 h 172"/>
                  <a:gd name="T24" fmla="*/ 62 w 173"/>
                  <a:gd name="T25" fmla="*/ 99 h 172"/>
                  <a:gd name="T26" fmla="*/ 62 w 173"/>
                  <a:gd name="T27" fmla="*/ 104 h 172"/>
                  <a:gd name="T28" fmla="*/ 7 w 173"/>
                  <a:gd name="T29" fmla="*/ 131 h 172"/>
                  <a:gd name="T30" fmla="*/ 0 w 173"/>
                  <a:gd name="T31" fmla="*/ 141 h 172"/>
                  <a:gd name="T32" fmla="*/ 0 w 173"/>
                  <a:gd name="T33" fmla="*/ 162 h 172"/>
                  <a:gd name="T34" fmla="*/ 11 w 173"/>
                  <a:gd name="T35" fmla="*/ 172 h 172"/>
                  <a:gd name="T36" fmla="*/ 162 w 173"/>
                  <a:gd name="T37" fmla="*/ 172 h 172"/>
                  <a:gd name="T38" fmla="*/ 173 w 173"/>
                  <a:gd name="T39" fmla="*/ 162 h 172"/>
                  <a:gd name="T40" fmla="*/ 173 w 173"/>
                  <a:gd name="T41" fmla="*/ 141 h 172"/>
                  <a:gd name="T42" fmla="*/ 166 w 173"/>
                  <a:gd name="T43" fmla="*/ 131 h 172"/>
                  <a:gd name="T44" fmla="*/ 163 w 173"/>
                  <a:gd name="T45" fmla="*/ 162 h 172"/>
                  <a:gd name="T46" fmla="*/ 162 w 173"/>
                  <a:gd name="T47" fmla="*/ 163 h 172"/>
                  <a:gd name="T48" fmla="*/ 11 w 173"/>
                  <a:gd name="T49" fmla="*/ 163 h 172"/>
                  <a:gd name="T50" fmla="*/ 10 w 173"/>
                  <a:gd name="T51" fmla="*/ 162 h 172"/>
                  <a:gd name="T52" fmla="*/ 10 w 173"/>
                  <a:gd name="T53" fmla="*/ 141 h 172"/>
                  <a:gd name="T54" fmla="*/ 10 w 173"/>
                  <a:gd name="T55" fmla="*/ 140 h 172"/>
                  <a:gd name="T56" fmla="*/ 71 w 173"/>
                  <a:gd name="T57" fmla="*/ 106 h 172"/>
                  <a:gd name="T58" fmla="*/ 71 w 173"/>
                  <a:gd name="T59" fmla="*/ 105 h 172"/>
                  <a:gd name="T60" fmla="*/ 71 w 173"/>
                  <a:gd name="T61" fmla="*/ 97 h 172"/>
                  <a:gd name="T62" fmla="*/ 70 w 173"/>
                  <a:gd name="T63" fmla="*/ 93 h 172"/>
                  <a:gd name="T64" fmla="*/ 59 w 173"/>
                  <a:gd name="T65" fmla="*/ 73 h 172"/>
                  <a:gd name="T66" fmla="*/ 57 w 173"/>
                  <a:gd name="T67" fmla="*/ 70 h 172"/>
                  <a:gd name="T68" fmla="*/ 53 w 173"/>
                  <a:gd name="T69" fmla="*/ 63 h 172"/>
                  <a:gd name="T70" fmla="*/ 55 w 173"/>
                  <a:gd name="T71" fmla="*/ 58 h 172"/>
                  <a:gd name="T72" fmla="*/ 56 w 173"/>
                  <a:gd name="T73" fmla="*/ 55 h 172"/>
                  <a:gd name="T74" fmla="*/ 56 w 173"/>
                  <a:gd name="T75" fmla="*/ 37 h 172"/>
                  <a:gd name="T76" fmla="*/ 86 w 173"/>
                  <a:gd name="T77" fmla="*/ 9 h 172"/>
                  <a:gd name="T78" fmla="*/ 116 w 173"/>
                  <a:gd name="T79" fmla="*/ 37 h 172"/>
                  <a:gd name="T80" fmla="*/ 116 w 173"/>
                  <a:gd name="T81" fmla="*/ 55 h 172"/>
                  <a:gd name="T82" fmla="*/ 118 w 173"/>
                  <a:gd name="T83" fmla="*/ 58 h 172"/>
                  <a:gd name="T84" fmla="*/ 119 w 173"/>
                  <a:gd name="T85" fmla="*/ 63 h 172"/>
                  <a:gd name="T86" fmla="*/ 116 w 173"/>
                  <a:gd name="T87" fmla="*/ 70 h 172"/>
                  <a:gd name="T88" fmla="*/ 114 w 173"/>
                  <a:gd name="T89" fmla="*/ 73 h 172"/>
                  <a:gd name="T90" fmla="*/ 103 w 173"/>
                  <a:gd name="T91" fmla="*/ 93 h 172"/>
                  <a:gd name="T92" fmla="*/ 102 w 173"/>
                  <a:gd name="T93" fmla="*/ 97 h 172"/>
                  <a:gd name="T94" fmla="*/ 102 w 173"/>
                  <a:gd name="T95" fmla="*/ 105 h 172"/>
                  <a:gd name="T96" fmla="*/ 102 w 173"/>
                  <a:gd name="T97" fmla="*/ 106 h 172"/>
                  <a:gd name="T98" fmla="*/ 162 w 173"/>
                  <a:gd name="T99" fmla="*/ 140 h 172"/>
                  <a:gd name="T100" fmla="*/ 163 w 173"/>
                  <a:gd name="T101" fmla="*/ 141 h 172"/>
                  <a:gd name="T102" fmla="*/ 163 w 173"/>
                  <a:gd name="T103" fmla="*/ 16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3" h="172">
                    <a:moveTo>
                      <a:pt x="166" y="131"/>
                    </a:moveTo>
                    <a:cubicBezTo>
                      <a:pt x="121" y="114"/>
                      <a:pt x="113" y="106"/>
                      <a:pt x="111" y="104"/>
                    </a:cubicBezTo>
                    <a:cubicBezTo>
                      <a:pt x="111" y="99"/>
                      <a:pt x="111" y="99"/>
                      <a:pt x="111" y="99"/>
                    </a:cubicBezTo>
                    <a:cubicBezTo>
                      <a:pt x="116" y="93"/>
                      <a:pt x="120" y="86"/>
                      <a:pt x="123" y="77"/>
                    </a:cubicBezTo>
                    <a:cubicBezTo>
                      <a:pt x="127" y="74"/>
                      <a:pt x="129" y="69"/>
                      <a:pt x="129" y="63"/>
                    </a:cubicBezTo>
                    <a:cubicBezTo>
                      <a:pt x="129" y="60"/>
                      <a:pt x="128" y="56"/>
                      <a:pt x="126" y="53"/>
                    </a:cubicBezTo>
                    <a:cubicBezTo>
                      <a:pt x="126" y="37"/>
                      <a:pt x="126" y="37"/>
                      <a:pt x="126" y="37"/>
                    </a:cubicBezTo>
                    <a:cubicBezTo>
                      <a:pt x="126" y="13"/>
                      <a:pt x="112" y="0"/>
                      <a:pt x="86" y="0"/>
                    </a:cubicBezTo>
                    <a:cubicBezTo>
                      <a:pt x="62" y="0"/>
                      <a:pt x="47" y="14"/>
                      <a:pt x="47" y="37"/>
                    </a:cubicBezTo>
                    <a:cubicBezTo>
                      <a:pt x="47" y="53"/>
                      <a:pt x="47" y="53"/>
                      <a:pt x="47" y="53"/>
                    </a:cubicBezTo>
                    <a:cubicBezTo>
                      <a:pt x="45" y="56"/>
                      <a:pt x="44" y="60"/>
                      <a:pt x="44" y="63"/>
                    </a:cubicBezTo>
                    <a:cubicBezTo>
                      <a:pt x="44" y="69"/>
                      <a:pt x="46" y="74"/>
                      <a:pt x="50" y="77"/>
                    </a:cubicBezTo>
                    <a:cubicBezTo>
                      <a:pt x="53" y="86"/>
                      <a:pt x="57" y="93"/>
                      <a:pt x="62" y="99"/>
                    </a:cubicBezTo>
                    <a:cubicBezTo>
                      <a:pt x="62" y="104"/>
                      <a:pt x="62" y="104"/>
                      <a:pt x="62" y="104"/>
                    </a:cubicBezTo>
                    <a:cubicBezTo>
                      <a:pt x="60" y="106"/>
                      <a:pt x="52" y="114"/>
                      <a:pt x="7" y="131"/>
                    </a:cubicBezTo>
                    <a:cubicBezTo>
                      <a:pt x="3" y="133"/>
                      <a:pt x="0" y="137"/>
                      <a:pt x="0" y="141"/>
                    </a:cubicBezTo>
                    <a:cubicBezTo>
                      <a:pt x="0" y="162"/>
                      <a:pt x="0" y="162"/>
                      <a:pt x="0" y="162"/>
                    </a:cubicBezTo>
                    <a:cubicBezTo>
                      <a:pt x="0" y="168"/>
                      <a:pt x="5" y="172"/>
                      <a:pt x="11" y="172"/>
                    </a:cubicBezTo>
                    <a:cubicBezTo>
                      <a:pt x="162" y="172"/>
                      <a:pt x="162" y="172"/>
                      <a:pt x="162" y="172"/>
                    </a:cubicBezTo>
                    <a:cubicBezTo>
                      <a:pt x="168" y="172"/>
                      <a:pt x="173" y="168"/>
                      <a:pt x="173" y="162"/>
                    </a:cubicBezTo>
                    <a:cubicBezTo>
                      <a:pt x="173" y="141"/>
                      <a:pt x="173" y="141"/>
                      <a:pt x="173" y="141"/>
                    </a:cubicBezTo>
                    <a:cubicBezTo>
                      <a:pt x="173" y="137"/>
                      <a:pt x="170" y="133"/>
                      <a:pt x="166" y="131"/>
                    </a:cubicBezTo>
                    <a:close/>
                    <a:moveTo>
                      <a:pt x="163" y="162"/>
                    </a:moveTo>
                    <a:cubicBezTo>
                      <a:pt x="163" y="162"/>
                      <a:pt x="163" y="163"/>
                      <a:pt x="162" y="163"/>
                    </a:cubicBezTo>
                    <a:cubicBezTo>
                      <a:pt x="11" y="163"/>
                      <a:pt x="11" y="163"/>
                      <a:pt x="11" y="163"/>
                    </a:cubicBezTo>
                    <a:cubicBezTo>
                      <a:pt x="10" y="163"/>
                      <a:pt x="10" y="162"/>
                      <a:pt x="10" y="162"/>
                    </a:cubicBezTo>
                    <a:cubicBezTo>
                      <a:pt x="10" y="141"/>
                      <a:pt x="10" y="141"/>
                      <a:pt x="10" y="141"/>
                    </a:cubicBezTo>
                    <a:cubicBezTo>
                      <a:pt x="10" y="141"/>
                      <a:pt x="10" y="140"/>
                      <a:pt x="10" y="140"/>
                    </a:cubicBezTo>
                    <a:cubicBezTo>
                      <a:pt x="61" y="121"/>
                      <a:pt x="69" y="112"/>
                      <a:pt x="71" y="106"/>
                    </a:cubicBezTo>
                    <a:cubicBezTo>
                      <a:pt x="71" y="106"/>
                      <a:pt x="71" y="106"/>
                      <a:pt x="71" y="105"/>
                    </a:cubicBezTo>
                    <a:cubicBezTo>
                      <a:pt x="71" y="97"/>
                      <a:pt x="71" y="97"/>
                      <a:pt x="71" y="97"/>
                    </a:cubicBezTo>
                    <a:cubicBezTo>
                      <a:pt x="71" y="96"/>
                      <a:pt x="71" y="94"/>
                      <a:pt x="70" y="93"/>
                    </a:cubicBezTo>
                    <a:cubicBezTo>
                      <a:pt x="65" y="88"/>
                      <a:pt x="61" y="81"/>
                      <a:pt x="59" y="73"/>
                    </a:cubicBezTo>
                    <a:cubicBezTo>
                      <a:pt x="59" y="72"/>
                      <a:pt x="58" y="71"/>
                      <a:pt x="57" y="70"/>
                    </a:cubicBezTo>
                    <a:cubicBezTo>
                      <a:pt x="55" y="69"/>
                      <a:pt x="53" y="66"/>
                      <a:pt x="53" y="63"/>
                    </a:cubicBezTo>
                    <a:cubicBezTo>
                      <a:pt x="53" y="61"/>
                      <a:pt x="54" y="59"/>
                      <a:pt x="55" y="58"/>
                    </a:cubicBezTo>
                    <a:cubicBezTo>
                      <a:pt x="56" y="57"/>
                      <a:pt x="56" y="56"/>
                      <a:pt x="56" y="55"/>
                    </a:cubicBezTo>
                    <a:cubicBezTo>
                      <a:pt x="56" y="37"/>
                      <a:pt x="56" y="37"/>
                      <a:pt x="56" y="37"/>
                    </a:cubicBezTo>
                    <a:cubicBezTo>
                      <a:pt x="56" y="19"/>
                      <a:pt x="67" y="9"/>
                      <a:pt x="86" y="9"/>
                    </a:cubicBezTo>
                    <a:cubicBezTo>
                      <a:pt x="106" y="9"/>
                      <a:pt x="116" y="19"/>
                      <a:pt x="116" y="37"/>
                    </a:cubicBezTo>
                    <a:cubicBezTo>
                      <a:pt x="116" y="55"/>
                      <a:pt x="116" y="55"/>
                      <a:pt x="116" y="55"/>
                    </a:cubicBezTo>
                    <a:cubicBezTo>
                      <a:pt x="116" y="56"/>
                      <a:pt x="117" y="57"/>
                      <a:pt x="118" y="58"/>
                    </a:cubicBezTo>
                    <a:cubicBezTo>
                      <a:pt x="118" y="59"/>
                      <a:pt x="119" y="61"/>
                      <a:pt x="119" y="63"/>
                    </a:cubicBezTo>
                    <a:cubicBezTo>
                      <a:pt x="119" y="66"/>
                      <a:pt x="118" y="69"/>
                      <a:pt x="116" y="70"/>
                    </a:cubicBezTo>
                    <a:cubicBezTo>
                      <a:pt x="115" y="71"/>
                      <a:pt x="114" y="72"/>
                      <a:pt x="114" y="73"/>
                    </a:cubicBezTo>
                    <a:cubicBezTo>
                      <a:pt x="112" y="81"/>
                      <a:pt x="108" y="88"/>
                      <a:pt x="103" y="93"/>
                    </a:cubicBezTo>
                    <a:cubicBezTo>
                      <a:pt x="102" y="94"/>
                      <a:pt x="102" y="96"/>
                      <a:pt x="102" y="97"/>
                    </a:cubicBezTo>
                    <a:cubicBezTo>
                      <a:pt x="102" y="105"/>
                      <a:pt x="102" y="105"/>
                      <a:pt x="102" y="105"/>
                    </a:cubicBezTo>
                    <a:cubicBezTo>
                      <a:pt x="102" y="106"/>
                      <a:pt x="102" y="106"/>
                      <a:pt x="102" y="106"/>
                    </a:cubicBezTo>
                    <a:cubicBezTo>
                      <a:pt x="104" y="112"/>
                      <a:pt x="112" y="121"/>
                      <a:pt x="162" y="140"/>
                    </a:cubicBezTo>
                    <a:cubicBezTo>
                      <a:pt x="163" y="140"/>
                      <a:pt x="163" y="141"/>
                      <a:pt x="163" y="141"/>
                    </a:cubicBezTo>
                    <a:lnTo>
                      <a:pt x="163" y="1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5" name="Freeform 372"/>
              <p:cNvSpPr>
                <a:spLocks/>
              </p:cNvSpPr>
              <p:nvPr/>
            </p:nvSpPr>
            <p:spPr bwMode="auto">
              <a:xfrm>
                <a:off x="7932738" y="1062038"/>
                <a:ext cx="250825" cy="373063"/>
              </a:xfrm>
              <a:custGeom>
                <a:avLst/>
                <a:gdLst>
                  <a:gd name="T0" fmla="*/ 102 w 109"/>
                  <a:gd name="T1" fmla="*/ 123 h 162"/>
                  <a:gd name="T2" fmla="*/ 69 w 109"/>
                  <a:gd name="T3" fmla="*/ 115 h 162"/>
                  <a:gd name="T4" fmla="*/ 51 w 109"/>
                  <a:gd name="T5" fmla="*/ 110 h 162"/>
                  <a:gd name="T6" fmla="*/ 51 w 109"/>
                  <a:gd name="T7" fmla="*/ 105 h 162"/>
                  <a:gd name="T8" fmla="*/ 84 w 109"/>
                  <a:gd name="T9" fmla="*/ 96 h 162"/>
                  <a:gd name="T10" fmla="*/ 85 w 109"/>
                  <a:gd name="T11" fmla="*/ 92 h 162"/>
                  <a:gd name="T12" fmla="*/ 83 w 109"/>
                  <a:gd name="T13" fmla="*/ 89 h 162"/>
                  <a:gd name="T14" fmla="*/ 72 w 109"/>
                  <a:gd name="T15" fmla="*/ 47 h 162"/>
                  <a:gd name="T16" fmla="*/ 57 w 109"/>
                  <a:gd name="T17" fmla="*/ 12 h 162"/>
                  <a:gd name="T18" fmla="*/ 43 w 109"/>
                  <a:gd name="T19" fmla="*/ 3 h 162"/>
                  <a:gd name="T20" fmla="*/ 13 w 109"/>
                  <a:gd name="T21" fmla="*/ 4 h 162"/>
                  <a:gd name="T22" fmla="*/ 2 w 109"/>
                  <a:gd name="T23" fmla="*/ 9 h 162"/>
                  <a:gd name="T24" fmla="*/ 2 w 109"/>
                  <a:gd name="T25" fmla="*/ 16 h 162"/>
                  <a:gd name="T26" fmla="*/ 8 w 109"/>
                  <a:gd name="T27" fmla="*/ 17 h 162"/>
                  <a:gd name="T28" fmla="*/ 16 w 109"/>
                  <a:gd name="T29" fmla="*/ 13 h 162"/>
                  <a:gd name="T30" fmla="*/ 40 w 109"/>
                  <a:gd name="T31" fmla="*/ 12 h 162"/>
                  <a:gd name="T32" fmla="*/ 50 w 109"/>
                  <a:gd name="T33" fmla="*/ 19 h 162"/>
                  <a:gd name="T34" fmla="*/ 51 w 109"/>
                  <a:gd name="T35" fmla="*/ 19 h 162"/>
                  <a:gd name="T36" fmla="*/ 62 w 109"/>
                  <a:gd name="T37" fmla="*/ 47 h 162"/>
                  <a:gd name="T38" fmla="*/ 73 w 109"/>
                  <a:gd name="T39" fmla="*/ 91 h 162"/>
                  <a:gd name="T40" fmla="*/ 47 w 109"/>
                  <a:gd name="T41" fmla="*/ 96 h 162"/>
                  <a:gd name="T42" fmla="*/ 42 w 109"/>
                  <a:gd name="T43" fmla="*/ 101 h 162"/>
                  <a:gd name="T44" fmla="*/ 42 w 109"/>
                  <a:gd name="T45" fmla="*/ 112 h 162"/>
                  <a:gd name="T46" fmla="*/ 42 w 109"/>
                  <a:gd name="T47" fmla="*/ 113 h 162"/>
                  <a:gd name="T48" fmla="*/ 67 w 109"/>
                  <a:gd name="T49" fmla="*/ 124 h 162"/>
                  <a:gd name="T50" fmla="*/ 99 w 109"/>
                  <a:gd name="T51" fmla="*/ 132 h 162"/>
                  <a:gd name="T52" fmla="*/ 99 w 109"/>
                  <a:gd name="T53" fmla="*/ 133 h 162"/>
                  <a:gd name="T54" fmla="*/ 99 w 109"/>
                  <a:gd name="T55" fmla="*/ 152 h 162"/>
                  <a:gd name="T56" fmla="*/ 98 w 109"/>
                  <a:gd name="T57" fmla="*/ 153 h 162"/>
                  <a:gd name="T58" fmla="*/ 57 w 109"/>
                  <a:gd name="T59" fmla="*/ 153 h 162"/>
                  <a:gd name="T60" fmla="*/ 53 w 109"/>
                  <a:gd name="T61" fmla="*/ 158 h 162"/>
                  <a:gd name="T62" fmla="*/ 57 w 109"/>
                  <a:gd name="T63" fmla="*/ 162 h 162"/>
                  <a:gd name="T64" fmla="*/ 98 w 109"/>
                  <a:gd name="T65" fmla="*/ 162 h 162"/>
                  <a:gd name="T66" fmla="*/ 109 w 109"/>
                  <a:gd name="T67" fmla="*/ 152 h 162"/>
                  <a:gd name="T68" fmla="*/ 109 w 109"/>
                  <a:gd name="T69" fmla="*/ 133 h 162"/>
                  <a:gd name="T70" fmla="*/ 102 w 109"/>
                  <a:gd name="T71" fmla="*/ 12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9" h="162">
                    <a:moveTo>
                      <a:pt x="102" y="123"/>
                    </a:moveTo>
                    <a:cubicBezTo>
                      <a:pt x="91" y="119"/>
                      <a:pt x="79" y="117"/>
                      <a:pt x="69" y="115"/>
                    </a:cubicBezTo>
                    <a:cubicBezTo>
                      <a:pt x="62" y="114"/>
                      <a:pt x="53" y="112"/>
                      <a:pt x="51" y="110"/>
                    </a:cubicBezTo>
                    <a:cubicBezTo>
                      <a:pt x="51" y="105"/>
                      <a:pt x="51" y="105"/>
                      <a:pt x="51" y="105"/>
                    </a:cubicBezTo>
                    <a:cubicBezTo>
                      <a:pt x="74" y="104"/>
                      <a:pt x="83" y="97"/>
                      <a:pt x="84" y="96"/>
                    </a:cubicBezTo>
                    <a:cubicBezTo>
                      <a:pt x="85" y="95"/>
                      <a:pt x="86" y="94"/>
                      <a:pt x="85" y="92"/>
                    </a:cubicBezTo>
                    <a:cubicBezTo>
                      <a:pt x="85" y="91"/>
                      <a:pt x="84" y="89"/>
                      <a:pt x="83" y="89"/>
                    </a:cubicBezTo>
                    <a:cubicBezTo>
                      <a:pt x="78" y="86"/>
                      <a:pt x="73" y="65"/>
                      <a:pt x="72" y="47"/>
                    </a:cubicBezTo>
                    <a:cubicBezTo>
                      <a:pt x="72" y="34"/>
                      <a:pt x="67" y="21"/>
                      <a:pt x="57" y="12"/>
                    </a:cubicBezTo>
                    <a:cubicBezTo>
                      <a:pt x="54" y="8"/>
                      <a:pt x="49" y="5"/>
                      <a:pt x="43" y="3"/>
                    </a:cubicBezTo>
                    <a:cubicBezTo>
                      <a:pt x="33" y="0"/>
                      <a:pt x="22" y="0"/>
                      <a:pt x="13" y="4"/>
                    </a:cubicBezTo>
                    <a:cubicBezTo>
                      <a:pt x="9" y="5"/>
                      <a:pt x="5" y="7"/>
                      <a:pt x="2" y="9"/>
                    </a:cubicBezTo>
                    <a:cubicBezTo>
                      <a:pt x="0" y="11"/>
                      <a:pt x="0" y="14"/>
                      <a:pt x="2" y="16"/>
                    </a:cubicBezTo>
                    <a:cubicBezTo>
                      <a:pt x="3" y="18"/>
                      <a:pt x="6" y="18"/>
                      <a:pt x="8" y="17"/>
                    </a:cubicBezTo>
                    <a:cubicBezTo>
                      <a:pt x="10" y="15"/>
                      <a:pt x="13" y="14"/>
                      <a:pt x="16" y="13"/>
                    </a:cubicBezTo>
                    <a:cubicBezTo>
                      <a:pt x="24" y="10"/>
                      <a:pt x="31" y="9"/>
                      <a:pt x="40" y="12"/>
                    </a:cubicBezTo>
                    <a:cubicBezTo>
                      <a:pt x="44" y="14"/>
                      <a:pt x="48" y="16"/>
                      <a:pt x="50" y="19"/>
                    </a:cubicBezTo>
                    <a:cubicBezTo>
                      <a:pt x="50" y="19"/>
                      <a:pt x="50" y="19"/>
                      <a:pt x="51" y="19"/>
                    </a:cubicBezTo>
                    <a:cubicBezTo>
                      <a:pt x="58" y="26"/>
                      <a:pt x="62" y="36"/>
                      <a:pt x="62" y="47"/>
                    </a:cubicBezTo>
                    <a:cubicBezTo>
                      <a:pt x="63" y="55"/>
                      <a:pt x="66" y="80"/>
                      <a:pt x="73" y="91"/>
                    </a:cubicBezTo>
                    <a:cubicBezTo>
                      <a:pt x="68" y="93"/>
                      <a:pt x="60" y="96"/>
                      <a:pt x="47" y="96"/>
                    </a:cubicBezTo>
                    <a:cubicBezTo>
                      <a:pt x="44" y="96"/>
                      <a:pt x="42" y="98"/>
                      <a:pt x="42" y="101"/>
                    </a:cubicBezTo>
                    <a:cubicBezTo>
                      <a:pt x="42" y="112"/>
                      <a:pt x="42" y="112"/>
                      <a:pt x="42" y="112"/>
                    </a:cubicBezTo>
                    <a:cubicBezTo>
                      <a:pt x="42" y="112"/>
                      <a:pt x="42" y="113"/>
                      <a:pt x="42" y="113"/>
                    </a:cubicBezTo>
                    <a:cubicBezTo>
                      <a:pt x="44" y="120"/>
                      <a:pt x="53" y="122"/>
                      <a:pt x="67" y="124"/>
                    </a:cubicBezTo>
                    <a:cubicBezTo>
                      <a:pt x="76" y="126"/>
                      <a:pt x="88" y="128"/>
                      <a:pt x="99" y="132"/>
                    </a:cubicBezTo>
                    <a:cubicBezTo>
                      <a:pt x="99" y="132"/>
                      <a:pt x="99" y="133"/>
                      <a:pt x="99" y="133"/>
                    </a:cubicBezTo>
                    <a:cubicBezTo>
                      <a:pt x="99" y="152"/>
                      <a:pt x="99" y="152"/>
                      <a:pt x="99" y="152"/>
                    </a:cubicBezTo>
                    <a:cubicBezTo>
                      <a:pt x="99" y="152"/>
                      <a:pt x="99" y="153"/>
                      <a:pt x="98" y="153"/>
                    </a:cubicBezTo>
                    <a:cubicBezTo>
                      <a:pt x="57" y="153"/>
                      <a:pt x="57" y="153"/>
                      <a:pt x="57" y="153"/>
                    </a:cubicBezTo>
                    <a:cubicBezTo>
                      <a:pt x="55" y="153"/>
                      <a:pt x="53" y="155"/>
                      <a:pt x="53" y="158"/>
                    </a:cubicBezTo>
                    <a:cubicBezTo>
                      <a:pt x="53" y="160"/>
                      <a:pt x="55" y="162"/>
                      <a:pt x="57" y="162"/>
                    </a:cubicBezTo>
                    <a:cubicBezTo>
                      <a:pt x="98" y="162"/>
                      <a:pt x="98" y="162"/>
                      <a:pt x="98" y="162"/>
                    </a:cubicBezTo>
                    <a:cubicBezTo>
                      <a:pt x="104" y="162"/>
                      <a:pt x="109" y="158"/>
                      <a:pt x="109" y="152"/>
                    </a:cubicBezTo>
                    <a:cubicBezTo>
                      <a:pt x="109" y="133"/>
                      <a:pt x="109" y="133"/>
                      <a:pt x="109" y="133"/>
                    </a:cubicBezTo>
                    <a:cubicBezTo>
                      <a:pt x="109" y="129"/>
                      <a:pt x="106" y="125"/>
                      <a:pt x="102" y="12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25" name="Oval 24"/>
            <p:cNvSpPr/>
            <p:nvPr/>
          </p:nvSpPr>
          <p:spPr>
            <a:xfrm>
              <a:off x="2971800" y="2219846"/>
              <a:ext cx="1219200" cy="1219200"/>
            </a:xfrm>
            <a:prstGeom prst="ellipse">
              <a:avLst/>
            </a:prstGeom>
            <a:noFill/>
            <a:ln>
              <a:solidFill>
                <a:srgbClr val="81B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dirty="0"/>
            </a:p>
          </p:txBody>
        </p:sp>
      </p:grpSp>
      <p:grpSp>
        <p:nvGrpSpPr>
          <p:cNvPr id="58" name="Group 57"/>
          <p:cNvGrpSpPr/>
          <p:nvPr/>
        </p:nvGrpSpPr>
        <p:grpSpPr>
          <a:xfrm>
            <a:off x="4751293" y="1891452"/>
            <a:ext cx="1075765" cy="1075765"/>
            <a:chOff x="4876800" y="2219846"/>
            <a:chExt cx="1219200" cy="1219200"/>
          </a:xfrm>
        </p:grpSpPr>
        <p:grpSp>
          <p:nvGrpSpPr>
            <p:cNvPr id="20" name="Group 19"/>
            <p:cNvGrpSpPr/>
            <p:nvPr/>
          </p:nvGrpSpPr>
          <p:grpSpPr>
            <a:xfrm>
              <a:off x="5326062" y="2553221"/>
              <a:ext cx="320675" cy="552450"/>
              <a:chOff x="12606338" y="3622675"/>
              <a:chExt cx="320675" cy="552450"/>
            </a:xfrm>
            <a:solidFill>
              <a:srgbClr val="81BC00"/>
            </a:solidFill>
          </p:grpSpPr>
          <p:sp>
            <p:nvSpPr>
              <p:cNvPr id="21" name="Freeform 580"/>
              <p:cNvSpPr>
                <a:spLocks noEditPoints="1"/>
              </p:cNvSpPr>
              <p:nvPr/>
            </p:nvSpPr>
            <p:spPr bwMode="auto">
              <a:xfrm>
                <a:off x="12606338" y="3622675"/>
                <a:ext cx="320675" cy="552450"/>
              </a:xfrm>
              <a:custGeom>
                <a:avLst/>
                <a:gdLst>
                  <a:gd name="T0" fmla="*/ 118 w 144"/>
                  <a:gd name="T1" fmla="*/ 0 h 247"/>
                  <a:gd name="T2" fmla="*/ 26 w 144"/>
                  <a:gd name="T3" fmla="*/ 0 h 247"/>
                  <a:gd name="T4" fmla="*/ 0 w 144"/>
                  <a:gd name="T5" fmla="*/ 26 h 247"/>
                  <a:gd name="T6" fmla="*/ 0 w 144"/>
                  <a:gd name="T7" fmla="*/ 34 h 247"/>
                  <a:gd name="T8" fmla="*/ 0 w 144"/>
                  <a:gd name="T9" fmla="*/ 200 h 247"/>
                  <a:gd name="T10" fmla="*/ 0 w 144"/>
                  <a:gd name="T11" fmla="*/ 221 h 247"/>
                  <a:gd name="T12" fmla="*/ 26 w 144"/>
                  <a:gd name="T13" fmla="*/ 247 h 247"/>
                  <a:gd name="T14" fmla="*/ 118 w 144"/>
                  <a:gd name="T15" fmla="*/ 247 h 247"/>
                  <a:gd name="T16" fmla="*/ 144 w 144"/>
                  <a:gd name="T17" fmla="*/ 221 h 247"/>
                  <a:gd name="T18" fmla="*/ 144 w 144"/>
                  <a:gd name="T19" fmla="*/ 200 h 247"/>
                  <a:gd name="T20" fmla="*/ 144 w 144"/>
                  <a:gd name="T21" fmla="*/ 34 h 247"/>
                  <a:gd name="T22" fmla="*/ 144 w 144"/>
                  <a:gd name="T23" fmla="*/ 26 h 247"/>
                  <a:gd name="T24" fmla="*/ 118 w 144"/>
                  <a:gd name="T25" fmla="*/ 0 h 247"/>
                  <a:gd name="T26" fmla="*/ 10 w 144"/>
                  <a:gd name="T27" fmla="*/ 44 h 247"/>
                  <a:gd name="T28" fmla="*/ 134 w 144"/>
                  <a:gd name="T29" fmla="*/ 44 h 247"/>
                  <a:gd name="T30" fmla="*/ 134 w 144"/>
                  <a:gd name="T31" fmla="*/ 190 h 247"/>
                  <a:gd name="T32" fmla="*/ 10 w 144"/>
                  <a:gd name="T33" fmla="*/ 190 h 247"/>
                  <a:gd name="T34" fmla="*/ 10 w 144"/>
                  <a:gd name="T35" fmla="*/ 44 h 247"/>
                  <a:gd name="T36" fmla="*/ 134 w 144"/>
                  <a:gd name="T37" fmla="*/ 221 h 247"/>
                  <a:gd name="T38" fmla="*/ 118 w 144"/>
                  <a:gd name="T39" fmla="*/ 237 h 247"/>
                  <a:gd name="T40" fmla="*/ 26 w 144"/>
                  <a:gd name="T41" fmla="*/ 237 h 247"/>
                  <a:gd name="T42" fmla="*/ 10 w 144"/>
                  <a:gd name="T43" fmla="*/ 221 h 247"/>
                  <a:gd name="T44" fmla="*/ 10 w 144"/>
                  <a:gd name="T45" fmla="*/ 200 h 247"/>
                  <a:gd name="T46" fmla="*/ 134 w 144"/>
                  <a:gd name="T47" fmla="*/ 200 h 247"/>
                  <a:gd name="T48" fmla="*/ 134 w 144"/>
                  <a:gd name="T49" fmla="*/ 221 h 247"/>
                  <a:gd name="T50" fmla="*/ 10 w 144"/>
                  <a:gd name="T51" fmla="*/ 34 h 247"/>
                  <a:gd name="T52" fmla="*/ 10 w 144"/>
                  <a:gd name="T53" fmla="*/ 26 h 247"/>
                  <a:gd name="T54" fmla="*/ 26 w 144"/>
                  <a:gd name="T55" fmla="*/ 10 h 247"/>
                  <a:gd name="T56" fmla="*/ 118 w 144"/>
                  <a:gd name="T57" fmla="*/ 10 h 247"/>
                  <a:gd name="T58" fmla="*/ 134 w 144"/>
                  <a:gd name="T59" fmla="*/ 26 h 247"/>
                  <a:gd name="T60" fmla="*/ 134 w 144"/>
                  <a:gd name="T61" fmla="*/ 34 h 247"/>
                  <a:gd name="T62" fmla="*/ 10 w 144"/>
                  <a:gd name="T63" fmla="*/ 34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4" h="247">
                    <a:moveTo>
                      <a:pt x="118" y="0"/>
                    </a:moveTo>
                    <a:cubicBezTo>
                      <a:pt x="26" y="0"/>
                      <a:pt x="26" y="0"/>
                      <a:pt x="26" y="0"/>
                    </a:cubicBezTo>
                    <a:cubicBezTo>
                      <a:pt x="12" y="0"/>
                      <a:pt x="0" y="12"/>
                      <a:pt x="0" y="26"/>
                    </a:cubicBezTo>
                    <a:cubicBezTo>
                      <a:pt x="0" y="34"/>
                      <a:pt x="0" y="34"/>
                      <a:pt x="0" y="34"/>
                    </a:cubicBezTo>
                    <a:cubicBezTo>
                      <a:pt x="0" y="200"/>
                      <a:pt x="0" y="200"/>
                      <a:pt x="0" y="200"/>
                    </a:cubicBezTo>
                    <a:cubicBezTo>
                      <a:pt x="0" y="221"/>
                      <a:pt x="0" y="221"/>
                      <a:pt x="0" y="221"/>
                    </a:cubicBezTo>
                    <a:cubicBezTo>
                      <a:pt x="0" y="236"/>
                      <a:pt x="12" y="247"/>
                      <a:pt x="26" y="247"/>
                    </a:cubicBezTo>
                    <a:cubicBezTo>
                      <a:pt x="118" y="247"/>
                      <a:pt x="118" y="247"/>
                      <a:pt x="118" y="247"/>
                    </a:cubicBezTo>
                    <a:cubicBezTo>
                      <a:pt x="132" y="247"/>
                      <a:pt x="144" y="236"/>
                      <a:pt x="144" y="221"/>
                    </a:cubicBezTo>
                    <a:cubicBezTo>
                      <a:pt x="144" y="200"/>
                      <a:pt x="144" y="200"/>
                      <a:pt x="144" y="200"/>
                    </a:cubicBezTo>
                    <a:cubicBezTo>
                      <a:pt x="144" y="34"/>
                      <a:pt x="144" y="34"/>
                      <a:pt x="144" y="34"/>
                    </a:cubicBezTo>
                    <a:cubicBezTo>
                      <a:pt x="144" y="26"/>
                      <a:pt x="144" y="26"/>
                      <a:pt x="144" y="26"/>
                    </a:cubicBezTo>
                    <a:cubicBezTo>
                      <a:pt x="144" y="12"/>
                      <a:pt x="132" y="0"/>
                      <a:pt x="118" y="0"/>
                    </a:cubicBezTo>
                    <a:close/>
                    <a:moveTo>
                      <a:pt x="10" y="44"/>
                    </a:moveTo>
                    <a:cubicBezTo>
                      <a:pt x="134" y="44"/>
                      <a:pt x="134" y="44"/>
                      <a:pt x="134" y="44"/>
                    </a:cubicBezTo>
                    <a:cubicBezTo>
                      <a:pt x="134" y="190"/>
                      <a:pt x="134" y="190"/>
                      <a:pt x="134" y="190"/>
                    </a:cubicBezTo>
                    <a:cubicBezTo>
                      <a:pt x="10" y="190"/>
                      <a:pt x="10" y="190"/>
                      <a:pt x="10" y="190"/>
                    </a:cubicBezTo>
                    <a:lnTo>
                      <a:pt x="10" y="44"/>
                    </a:lnTo>
                    <a:close/>
                    <a:moveTo>
                      <a:pt x="134" y="221"/>
                    </a:moveTo>
                    <a:cubicBezTo>
                      <a:pt x="134" y="230"/>
                      <a:pt x="127" y="237"/>
                      <a:pt x="118" y="237"/>
                    </a:cubicBezTo>
                    <a:cubicBezTo>
                      <a:pt x="26" y="237"/>
                      <a:pt x="26" y="237"/>
                      <a:pt x="26" y="237"/>
                    </a:cubicBezTo>
                    <a:cubicBezTo>
                      <a:pt x="17" y="237"/>
                      <a:pt x="10" y="230"/>
                      <a:pt x="10" y="221"/>
                    </a:cubicBezTo>
                    <a:cubicBezTo>
                      <a:pt x="10" y="200"/>
                      <a:pt x="10" y="200"/>
                      <a:pt x="10" y="200"/>
                    </a:cubicBezTo>
                    <a:cubicBezTo>
                      <a:pt x="134" y="200"/>
                      <a:pt x="134" y="200"/>
                      <a:pt x="134" y="200"/>
                    </a:cubicBezTo>
                    <a:lnTo>
                      <a:pt x="134" y="221"/>
                    </a:lnTo>
                    <a:close/>
                    <a:moveTo>
                      <a:pt x="10" y="34"/>
                    </a:moveTo>
                    <a:cubicBezTo>
                      <a:pt x="10" y="26"/>
                      <a:pt x="10" y="26"/>
                      <a:pt x="10" y="26"/>
                    </a:cubicBezTo>
                    <a:cubicBezTo>
                      <a:pt x="10" y="17"/>
                      <a:pt x="17" y="10"/>
                      <a:pt x="26" y="10"/>
                    </a:cubicBezTo>
                    <a:cubicBezTo>
                      <a:pt x="118" y="10"/>
                      <a:pt x="118" y="10"/>
                      <a:pt x="118" y="10"/>
                    </a:cubicBezTo>
                    <a:cubicBezTo>
                      <a:pt x="127" y="10"/>
                      <a:pt x="134" y="17"/>
                      <a:pt x="134" y="26"/>
                    </a:cubicBezTo>
                    <a:cubicBezTo>
                      <a:pt x="134" y="34"/>
                      <a:pt x="134" y="34"/>
                      <a:pt x="134" y="34"/>
                    </a:cubicBezTo>
                    <a:lnTo>
                      <a:pt x="10" y="3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 name="Freeform 581"/>
              <p:cNvSpPr>
                <a:spLocks noEditPoints="1"/>
              </p:cNvSpPr>
              <p:nvPr/>
            </p:nvSpPr>
            <p:spPr bwMode="auto">
              <a:xfrm>
                <a:off x="12738100" y="4081463"/>
                <a:ext cx="57150" cy="55562"/>
              </a:xfrm>
              <a:custGeom>
                <a:avLst/>
                <a:gdLst>
                  <a:gd name="T0" fmla="*/ 13 w 26"/>
                  <a:gd name="T1" fmla="*/ 25 h 25"/>
                  <a:gd name="T2" fmla="*/ 26 w 26"/>
                  <a:gd name="T3" fmla="*/ 13 h 25"/>
                  <a:gd name="T4" fmla="*/ 13 w 26"/>
                  <a:gd name="T5" fmla="*/ 0 h 25"/>
                  <a:gd name="T6" fmla="*/ 0 w 26"/>
                  <a:gd name="T7" fmla="*/ 13 h 25"/>
                  <a:gd name="T8" fmla="*/ 13 w 26"/>
                  <a:gd name="T9" fmla="*/ 25 h 25"/>
                  <a:gd name="T10" fmla="*/ 13 w 26"/>
                  <a:gd name="T11" fmla="*/ 10 h 25"/>
                  <a:gd name="T12" fmla="*/ 16 w 26"/>
                  <a:gd name="T13" fmla="*/ 13 h 25"/>
                  <a:gd name="T14" fmla="*/ 13 w 26"/>
                  <a:gd name="T15" fmla="*/ 16 h 25"/>
                  <a:gd name="T16" fmla="*/ 10 w 26"/>
                  <a:gd name="T17" fmla="*/ 13 h 25"/>
                  <a:gd name="T18" fmla="*/ 13 w 26"/>
                  <a:gd name="T19"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5">
                    <a:moveTo>
                      <a:pt x="13" y="25"/>
                    </a:moveTo>
                    <a:cubicBezTo>
                      <a:pt x="20" y="25"/>
                      <a:pt x="26" y="20"/>
                      <a:pt x="26" y="13"/>
                    </a:cubicBezTo>
                    <a:cubicBezTo>
                      <a:pt x="26" y="6"/>
                      <a:pt x="20" y="0"/>
                      <a:pt x="13" y="0"/>
                    </a:cubicBezTo>
                    <a:cubicBezTo>
                      <a:pt x="6" y="0"/>
                      <a:pt x="0" y="6"/>
                      <a:pt x="0" y="13"/>
                    </a:cubicBezTo>
                    <a:cubicBezTo>
                      <a:pt x="0" y="20"/>
                      <a:pt x="6" y="25"/>
                      <a:pt x="13" y="25"/>
                    </a:cubicBezTo>
                    <a:close/>
                    <a:moveTo>
                      <a:pt x="13" y="10"/>
                    </a:moveTo>
                    <a:cubicBezTo>
                      <a:pt x="14" y="10"/>
                      <a:pt x="16" y="11"/>
                      <a:pt x="16" y="13"/>
                    </a:cubicBezTo>
                    <a:cubicBezTo>
                      <a:pt x="16" y="14"/>
                      <a:pt x="14" y="16"/>
                      <a:pt x="13" y="16"/>
                    </a:cubicBezTo>
                    <a:cubicBezTo>
                      <a:pt x="12" y="16"/>
                      <a:pt x="10" y="14"/>
                      <a:pt x="10" y="13"/>
                    </a:cubicBezTo>
                    <a:cubicBezTo>
                      <a:pt x="10" y="11"/>
                      <a:pt x="12" y="10"/>
                      <a:pt x="13" y="1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26" name="Oval 25"/>
            <p:cNvSpPr/>
            <p:nvPr/>
          </p:nvSpPr>
          <p:spPr>
            <a:xfrm>
              <a:off x="4876800" y="2219846"/>
              <a:ext cx="1219200" cy="1219200"/>
            </a:xfrm>
            <a:prstGeom prst="ellipse">
              <a:avLst/>
            </a:prstGeom>
            <a:noFill/>
            <a:ln>
              <a:solidFill>
                <a:srgbClr val="81B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dirty="0"/>
            </a:p>
          </p:txBody>
        </p:sp>
      </p:grpSp>
      <p:grpSp>
        <p:nvGrpSpPr>
          <p:cNvPr id="59" name="Group 58"/>
          <p:cNvGrpSpPr/>
          <p:nvPr/>
        </p:nvGrpSpPr>
        <p:grpSpPr>
          <a:xfrm>
            <a:off x="6364940" y="1891452"/>
            <a:ext cx="1075765" cy="1075765"/>
            <a:chOff x="6705600" y="2219846"/>
            <a:chExt cx="1219200" cy="1219200"/>
          </a:xfrm>
        </p:grpSpPr>
        <p:grpSp>
          <p:nvGrpSpPr>
            <p:cNvPr id="6" name="Group 5"/>
            <p:cNvGrpSpPr/>
            <p:nvPr/>
          </p:nvGrpSpPr>
          <p:grpSpPr>
            <a:xfrm>
              <a:off x="7086600" y="2557984"/>
              <a:ext cx="506413" cy="542925"/>
              <a:chOff x="234950" y="2876550"/>
              <a:chExt cx="506413" cy="542925"/>
            </a:xfrm>
            <a:solidFill>
              <a:srgbClr val="81BC00"/>
            </a:solidFill>
          </p:grpSpPr>
          <p:sp>
            <p:nvSpPr>
              <p:cNvPr id="7" name="Freeform 50"/>
              <p:cNvSpPr>
                <a:spLocks noEditPoints="1"/>
              </p:cNvSpPr>
              <p:nvPr/>
            </p:nvSpPr>
            <p:spPr bwMode="auto">
              <a:xfrm>
                <a:off x="234950" y="2930525"/>
                <a:ext cx="450850" cy="488950"/>
              </a:xfrm>
              <a:custGeom>
                <a:avLst/>
                <a:gdLst>
                  <a:gd name="T0" fmla="*/ 107 w 191"/>
                  <a:gd name="T1" fmla="*/ 2 h 207"/>
                  <a:gd name="T2" fmla="*/ 103 w 191"/>
                  <a:gd name="T3" fmla="*/ 0 h 207"/>
                  <a:gd name="T4" fmla="*/ 99 w 191"/>
                  <a:gd name="T5" fmla="*/ 3 h 207"/>
                  <a:gd name="T6" fmla="*/ 35 w 191"/>
                  <a:gd name="T7" fmla="*/ 125 h 207"/>
                  <a:gd name="T8" fmla="*/ 21 w 191"/>
                  <a:gd name="T9" fmla="*/ 139 h 207"/>
                  <a:gd name="T10" fmla="*/ 2 w 191"/>
                  <a:gd name="T11" fmla="*/ 152 h 207"/>
                  <a:gd name="T12" fmla="*/ 0 w 191"/>
                  <a:gd name="T13" fmla="*/ 155 h 207"/>
                  <a:gd name="T14" fmla="*/ 1 w 191"/>
                  <a:gd name="T15" fmla="*/ 159 h 207"/>
                  <a:gd name="T16" fmla="*/ 32 w 191"/>
                  <a:gd name="T17" fmla="*/ 189 h 207"/>
                  <a:gd name="T18" fmla="*/ 35 w 191"/>
                  <a:gd name="T19" fmla="*/ 190 h 207"/>
                  <a:gd name="T20" fmla="*/ 35 w 191"/>
                  <a:gd name="T21" fmla="*/ 190 h 207"/>
                  <a:gd name="T22" fmla="*/ 39 w 191"/>
                  <a:gd name="T23" fmla="*/ 188 h 207"/>
                  <a:gd name="T24" fmla="*/ 50 w 191"/>
                  <a:gd name="T25" fmla="*/ 172 h 207"/>
                  <a:gd name="T26" fmla="*/ 50 w 191"/>
                  <a:gd name="T27" fmla="*/ 172 h 207"/>
                  <a:gd name="T28" fmla="*/ 99 w 191"/>
                  <a:gd name="T29" fmla="*/ 205 h 207"/>
                  <a:gd name="T30" fmla="*/ 105 w 191"/>
                  <a:gd name="T31" fmla="*/ 207 h 207"/>
                  <a:gd name="T32" fmla="*/ 112 w 191"/>
                  <a:gd name="T33" fmla="*/ 204 h 207"/>
                  <a:gd name="T34" fmla="*/ 118 w 191"/>
                  <a:gd name="T35" fmla="*/ 199 h 207"/>
                  <a:gd name="T36" fmla="*/ 121 w 191"/>
                  <a:gd name="T37" fmla="*/ 192 h 207"/>
                  <a:gd name="T38" fmla="*/ 118 w 191"/>
                  <a:gd name="T39" fmla="*/ 185 h 207"/>
                  <a:gd name="T40" fmla="*/ 117 w 191"/>
                  <a:gd name="T41" fmla="*/ 184 h 207"/>
                  <a:gd name="T42" fmla="*/ 70 w 191"/>
                  <a:gd name="T43" fmla="*/ 153 h 207"/>
                  <a:gd name="T44" fmla="*/ 188 w 191"/>
                  <a:gd name="T45" fmla="*/ 91 h 207"/>
                  <a:gd name="T46" fmla="*/ 190 w 191"/>
                  <a:gd name="T47" fmla="*/ 88 h 207"/>
                  <a:gd name="T48" fmla="*/ 189 w 191"/>
                  <a:gd name="T49" fmla="*/ 84 h 207"/>
                  <a:gd name="T50" fmla="*/ 107 w 191"/>
                  <a:gd name="T51" fmla="*/ 2 h 207"/>
                  <a:gd name="T52" fmla="*/ 39 w 191"/>
                  <a:gd name="T53" fmla="*/ 135 h 207"/>
                  <a:gd name="T54" fmla="*/ 56 w 191"/>
                  <a:gd name="T55" fmla="*/ 151 h 207"/>
                  <a:gd name="T56" fmla="*/ 55 w 191"/>
                  <a:gd name="T57" fmla="*/ 152 h 207"/>
                  <a:gd name="T58" fmla="*/ 55 w 191"/>
                  <a:gd name="T59" fmla="*/ 152 h 207"/>
                  <a:gd name="T60" fmla="*/ 49 w 191"/>
                  <a:gd name="T61" fmla="*/ 158 h 207"/>
                  <a:gd name="T62" fmla="*/ 49 w 191"/>
                  <a:gd name="T63" fmla="*/ 158 h 207"/>
                  <a:gd name="T64" fmla="*/ 49 w 191"/>
                  <a:gd name="T65" fmla="*/ 158 h 207"/>
                  <a:gd name="T66" fmla="*/ 32 w 191"/>
                  <a:gd name="T67" fmla="*/ 141 h 207"/>
                  <a:gd name="T68" fmla="*/ 39 w 191"/>
                  <a:gd name="T69" fmla="*/ 135 h 207"/>
                  <a:gd name="T70" fmla="*/ 34 w 191"/>
                  <a:gd name="T71" fmla="*/ 178 h 207"/>
                  <a:gd name="T72" fmla="*/ 12 w 191"/>
                  <a:gd name="T73" fmla="*/ 156 h 207"/>
                  <a:gd name="T74" fmla="*/ 25 w 191"/>
                  <a:gd name="T75" fmla="*/ 148 h 207"/>
                  <a:gd name="T76" fmla="*/ 43 w 191"/>
                  <a:gd name="T77" fmla="*/ 165 h 207"/>
                  <a:gd name="T78" fmla="*/ 34 w 191"/>
                  <a:gd name="T79" fmla="*/ 178 h 207"/>
                  <a:gd name="T80" fmla="*/ 106 w 191"/>
                  <a:gd name="T81" fmla="*/ 198 h 207"/>
                  <a:gd name="T82" fmla="*/ 105 w 191"/>
                  <a:gd name="T83" fmla="*/ 198 h 207"/>
                  <a:gd name="T84" fmla="*/ 105 w 191"/>
                  <a:gd name="T85" fmla="*/ 198 h 207"/>
                  <a:gd name="T86" fmla="*/ 104 w 191"/>
                  <a:gd name="T87" fmla="*/ 197 h 207"/>
                  <a:gd name="T88" fmla="*/ 56 w 191"/>
                  <a:gd name="T89" fmla="*/ 165 h 207"/>
                  <a:gd name="T90" fmla="*/ 56 w 191"/>
                  <a:gd name="T91" fmla="*/ 165 h 207"/>
                  <a:gd name="T92" fmla="*/ 62 w 191"/>
                  <a:gd name="T93" fmla="*/ 159 h 207"/>
                  <a:gd name="T94" fmla="*/ 63 w 191"/>
                  <a:gd name="T95" fmla="*/ 159 h 207"/>
                  <a:gd name="T96" fmla="*/ 111 w 191"/>
                  <a:gd name="T97" fmla="*/ 192 h 207"/>
                  <a:gd name="T98" fmla="*/ 106 w 191"/>
                  <a:gd name="T99" fmla="*/ 198 h 207"/>
                  <a:gd name="T100" fmla="*/ 64 w 191"/>
                  <a:gd name="T101" fmla="*/ 146 h 207"/>
                  <a:gd name="T102" fmla="*/ 45 w 191"/>
                  <a:gd name="T103" fmla="*/ 127 h 207"/>
                  <a:gd name="T104" fmla="*/ 104 w 191"/>
                  <a:gd name="T105" fmla="*/ 13 h 207"/>
                  <a:gd name="T106" fmla="*/ 178 w 191"/>
                  <a:gd name="T107" fmla="*/ 86 h 207"/>
                  <a:gd name="T108" fmla="*/ 64 w 191"/>
                  <a:gd name="T109" fmla="*/ 146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1" h="207">
                    <a:moveTo>
                      <a:pt x="107" y="2"/>
                    </a:moveTo>
                    <a:cubicBezTo>
                      <a:pt x="106" y="1"/>
                      <a:pt x="104" y="0"/>
                      <a:pt x="103" y="0"/>
                    </a:cubicBezTo>
                    <a:cubicBezTo>
                      <a:pt x="101" y="0"/>
                      <a:pt x="100" y="1"/>
                      <a:pt x="99" y="3"/>
                    </a:cubicBezTo>
                    <a:cubicBezTo>
                      <a:pt x="35" y="125"/>
                      <a:pt x="35" y="125"/>
                      <a:pt x="35" y="125"/>
                    </a:cubicBezTo>
                    <a:cubicBezTo>
                      <a:pt x="21" y="139"/>
                      <a:pt x="21" y="139"/>
                      <a:pt x="21" y="139"/>
                    </a:cubicBezTo>
                    <a:cubicBezTo>
                      <a:pt x="2" y="152"/>
                      <a:pt x="2" y="152"/>
                      <a:pt x="2" y="152"/>
                    </a:cubicBezTo>
                    <a:cubicBezTo>
                      <a:pt x="1" y="152"/>
                      <a:pt x="0" y="154"/>
                      <a:pt x="0" y="155"/>
                    </a:cubicBezTo>
                    <a:cubicBezTo>
                      <a:pt x="0" y="157"/>
                      <a:pt x="0" y="158"/>
                      <a:pt x="1" y="159"/>
                    </a:cubicBezTo>
                    <a:cubicBezTo>
                      <a:pt x="32" y="189"/>
                      <a:pt x="32" y="189"/>
                      <a:pt x="32" y="189"/>
                    </a:cubicBezTo>
                    <a:cubicBezTo>
                      <a:pt x="32" y="190"/>
                      <a:pt x="34" y="190"/>
                      <a:pt x="35" y="190"/>
                    </a:cubicBezTo>
                    <a:cubicBezTo>
                      <a:pt x="35" y="190"/>
                      <a:pt x="35" y="190"/>
                      <a:pt x="35" y="190"/>
                    </a:cubicBezTo>
                    <a:cubicBezTo>
                      <a:pt x="37" y="190"/>
                      <a:pt x="38" y="190"/>
                      <a:pt x="39" y="188"/>
                    </a:cubicBezTo>
                    <a:cubicBezTo>
                      <a:pt x="50" y="172"/>
                      <a:pt x="50" y="172"/>
                      <a:pt x="50" y="172"/>
                    </a:cubicBezTo>
                    <a:cubicBezTo>
                      <a:pt x="50" y="172"/>
                      <a:pt x="50" y="172"/>
                      <a:pt x="50" y="172"/>
                    </a:cubicBezTo>
                    <a:cubicBezTo>
                      <a:pt x="99" y="205"/>
                      <a:pt x="99" y="205"/>
                      <a:pt x="99" y="205"/>
                    </a:cubicBezTo>
                    <a:cubicBezTo>
                      <a:pt x="101" y="206"/>
                      <a:pt x="103" y="207"/>
                      <a:pt x="105" y="207"/>
                    </a:cubicBezTo>
                    <a:cubicBezTo>
                      <a:pt x="108" y="207"/>
                      <a:pt x="110" y="206"/>
                      <a:pt x="112" y="204"/>
                    </a:cubicBezTo>
                    <a:cubicBezTo>
                      <a:pt x="118" y="199"/>
                      <a:pt x="118" y="199"/>
                      <a:pt x="118" y="199"/>
                    </a:cubicBezTo>
                    <a:cubicBezTo>
                      <a:pt x="120" y="197"/>
                      <a:pt x="121" y="194"/>
                      <a:pt x="121" y="192"/>
                    </a:cubicBezTo>
                    <a:cubicBezTo>
                      <a:pt x="121" y="189"/>
                      <a:pt x="120" y="187"/>
                      <a:pt x="118" y="185"/>
                    </a:cubicBezTo>
                    <a:cubicBezTo>
                      <a:pt x="118" y="185"/>
                      <a:pt x="118" y="184"/>
                      <a:pt x="117" y="184"/>
                    </a:cubicBezTo>
                    <a:cubicBezTo>
                      <a:pt x="70" y="153"/>
                      <a:pt x="70" y="153"/>
                      <a:pt x="70" y="153"/>
                    </a:cubicBezTo>
                    <a:cubicBezTo>
                      <a:pt x="188" y="91"/>
                      <a:pt x="188" y="91"/>
                      <a:pt x="188" y="91"/>
                    </a:cubicBezTo>
                    <a:cubicBezTo>
                      <a:pt x="189" y="91"/>
                      <a:pt x="190" y="89"/>
                      <a:pt x="190" y="88"/>
                    </a:cubicBezTo>
                    <a:cubicBezTo>
                      <a:pt x="191" y="86"/>
                      <a:pt x="190" y="85"/>
                      <a:pt x="189" y="84"/>
                    </a:cubicBezTo>
                    <a:lnTo>
                      <a:pt x="107" y="2"/>
                    </a:lnTo>
                    <a:close/>
                    <a:moveTo>
                      <a:pt x="39" y="135"/>
                    </a:moveTo>
                    <a:cubicBezTo>
                      <a:pt x="56" y="151"/>
                      <a:pt x="56" y="151"/>
                      <a:pt x="56" y="151"/>
                    </a:cubicBezTo>
                    <a:cubicBezTo>
                      <a:pt x="55" y="152"/>
                      <a:pt x="55" y="152"/>
                      <a:pt x="55" y="152"/>
                    </a:cubicBezTo>
                    <a:cubicBezTo>
                      <a:pt x="55" y="152"/>
                      <a:pt x="55" y="152"/>
                      <a:pt x="55" y="152"/>
                    </a:cubicBezTo>
                    <a:cubicBezTo>
                      <a:pt x="49" y="158"/>
                      <a:pt x="49" y="158"/>
                      <a:pt x="49" y="158"/>
                    </a:cubicBezTo>
                    <a:cubicBezTo>
                      <a:pt x="49" y="158"/>
                      <a:pt x="49" y="158"/>
                      <a:pt x="49" y="158"/>
                    </a:cubicBezTo>
                    <a:cubicBezTo>
                      <a:pt x="49" y="158"/>
                      <a:pt x="49" y="158"/>
                      <a:pt x="49" y="158"/>
                    </a:cubicBezTo>
                    <a:cubicBezTo>
                      <a:pt x="32" y="141"/>
                      <a:pt x="32" y="141"/>
                      <a:pt x="32" y="141"/>
                    </a:cubicBezTo>
                    <a:lnTo>
                      <a:pt x="39" y="135"/>
                    </a:lnTo>
                    <a:close/>
                    <a:moveTo>
                      <a:pt x="34" y="178"/>
                    </a:moveTo>
                    <a:cubicBezTo>
                      <a:pt x="12" y="156"/>
                      <a:pt x="12" y="156"/>
                      <a:pt x="12" y="156"/>
                    </a:cubicBezTo>
                    <a:cubicBezTo>
                      <a:pt x="25" y="148"/>
                      <a:pt x="25" y="148"/>
                      <a:pt x="25" y="148"/>
                    </a:cubicBezTo>
                    <a:cubicBezTo>
                      <a:pt x="43" y="165"/>
                      <a:pt x="43" y="165"/>
                      <a:pt x="43" y="165"/>
                    </a:cubicBezTo>
                    <a:lnTo>
                      <a:pt x="34" y="178"/>
                    </a:lnTo>
                    <a:close/>
                    <a:moveTo>
                      <a:pt x="106" y="198"/>
                    </a:moveTo>
                    <a:cubicBezTo>
                      <a:pt x="105" y="198"/>
                      <a:pt x="105" y="198"/>
                      <a:pt x="105" y="198"/>
                    </a:cubicBezTo>
                    <a:cubicBezTo>
                      <a:pt x="105" y="198"/>
                      <a:pt x="105" y="198"/>
                      <a:pt x="105" y="198"/>
                    </a:cubicBezTo>
                    <a:cubicBezTo>
                      <a:pt x="105" y="197"/>
                      <a:pt x="105" y="197"/>
                      <a:pt x="104" y="197"/>
                    </a:cubicBezTo>
                    <a:cubicBezTo>
                      <a:pt x="56" y="165"/>
                      <a:pt x="56" y="165"/>
                      <a:pt x="56" y="165"/>
                    </a:cubicBezTo>
                    <a:cubicBezTo>
                      <a:pt x="56" y="165"/>
                      <a:pt x="56" y="165"/>
                      <a:pt x="56" y="165"/>
                    </a:cubicBezTo>
                    <a:cubicBezTo>
                      <a:pt x="62" y="159"/>
                      <a:pt x="62" y="159"/>
                      <a:pt x="62" y="159"/>
                    </a:cubicBezTo>
                    <a:cubicBezTo>
                      <a:pt x="62" y="159"/>
                      <a:pt x="63" y="159"/>
                      <a:pt x="63" y="159"/>
                    </a:cubicBezTo>
                    <a:cubicBezTo>
                      <a:pt x="111" y="192"/>
                      <a:pt x="111" y="192"/>
                      <a:pt x="111" y="192"/>
                    </a:cubicBezTo>
                    <a:lnTo>
                      <a:pt x="106" y="198"/>
                    </a:lnTo>
                    <a:close/>
                    <a:moveTo>
                      <a:pt x="64" y="146"/>
                    </a:moveTo>
                    <a:cubicBezTo>
                      <a:pt x="45" y="127"/>
                      <a:pt x="45" y="127"/>
                      <a:pt x="45" y="127"/>
                    </a:cubicBezTo>
                    <a:cubicBezTo>
                      <a:pt x="104" y="13"/>
                      <a:pt x="104" y="13"/>
                      <a:pt x="104" y="13"/>
                    </a:cubicBezTo>
                    <a:cubicBezTo>
                      <a:pt x="178" y="86"/>
                      <a:pt x="178" y="86"/>
                      <a:pt x="178" y="86"/>
                    </a:cubicBezTo>
                    <a:lnTo>
                      <a:pt x="64" y="14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8" name="Freeform 51"/>
              <p:cNvSpPr>
                <a:spLocks/>
              </p:cNvSpPr>
              <p:nvPr/>
            </p:nvSpPr>
            <p:spPr bwMode="auto">
              <a:xfrm>
                <a:off x="554038" y="2876550"/>
                <a:ext cx="187325" cy="190500"/>
              </a:xfrm>
              <a:custGeom>
                <a:avLst/>
                <a:gdLst>
                  <a:gd name="T0" fmla="*/ 58 w 80"/>
                  <a:gd name="T1" fmla="*/ 22 h 81"/>
                  <a:gd name="T2" fmla="*/ 4 w 80"/>
                  <a:gd name="T3" fmla="*/ 1 h 81"/>
                  <a:gd name="T4" fmla="*/ 0 w 80"/>
                  <a:gd name="T5" fmla="*/ 6 h 81"/>
                  <a:gd name="T6" fmla="*/ 5 w 80"/>
                  <a:gd name="T7" fmla="*/ 11 h 81"/>
                  <a:gd name="T8" fmla="*/ 51 w 80"/>
                  <a:gd name="T9" fmla="*/ 29 h 81"/>
                  <a:gd name="T10" fmla="*/ 70 w 80"/>
                  <a:gd name="T11" fmla="*/ 76 h 81"/>
                  <a:gd name="T12" fmla="*/ 74 w 80"/>
                  <a:gd name="T13" fmla="*/ 81 h 81"/>
                  <a:gd name="T14" fmla="*/ 74 w 80"/>
                  <a:gd name="T15" fmla="*/ 81 h 81"/>
                  <a:gd name="T16" fmla="*/ 79 w 80"/>
                  <a:gd name="T17" fmla="*/ 76 h 81"/>
                  <a:gd name="T18" fmla="*/ 58 w 80"/>
                  <a:gd name="T19" fmla="*/ 2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1">
                    <a:moveTo>
                      <a:pt x="58" y="22"/>
                    </a:moveTo>
                    <a:cubicBezTo>
                      <a:pt x="44" y="8"/>
                      <a:pt x="25" y="0"/>
                      <a:pt x="4" y="1"/>
                    </a:cubicBezTo>
                    <a:cubicBezTo>
                      <a:pt x="2" y="1"/>
                      <a:pt x="0" y="3"/>
                      <a:pt x="0" y="6"/>
                    </a:cubicBezTo>
                    <a:cubicBezTo>
                      <a:pt x="0" y="9"/>
                      <a:pt x="2" y="11"/>
                      <a:pt x="5" y="11"/>
                    </a:cubicBezTo>
                    <a:cubicBezTo>
                      <a:pt x="22" y="10"/>
                      <a:pt x="39" y="17"/>
                      <a:pt x="51" y="29"/>
                    </a:cubicBezTo>
                    <a:cubicBezTo>
                      <a:pt x="64" y="41"/>
                      <a:pt x="70" y="58"/>
                      <a:pt x="70" y="76"/>
                    </a:cubicBezTo>
                    <a:cubicBezTo>
                      <a:pt x="70" y="78"/>
                      <a:pt x="72" y="80"/>
                      <a:pt x="74" y="81"/>
                    </a:cubicBezTo>
                    <a:cubicBezTo>
                      <a:pt x="74" y="81"/>
                      <a:pt x="74" y="81"/>
                      <a:pt x="74" y="81"/>
                    </a:cubicBezTo>
                    <a:cubicBezTo>
                      <a:pt x="77" y="81"/>
                      <a:pt x="79" y="78"/>
                      <a:pt x="79" y="76"/>
                    </a:cubicBezTo>
                    <a:cubicBezTo>
                      <a:pt x="80" y="56"/>
                      <a:pt x="72" y="37"/>
                      <a:pt x="58"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9" name="Freeform 52"/>
              <p:cNvSpPr>
                <a:spLocks/>
              </p:cNvSpPr>
              <p:nvPr/>
            </p:nvSpPr>
            <p:spPr bwMode="auto">
              <a:xfrm>
                <a:off x="565150" y="2944813"/>
                <a:ext cx="107950" cy="107950"/>
              </a:xfrm>
              <a:custGeom>
                <a:avLst/>
                <a:gdLst>
                  <a:gd name="T0" fmla="*/ 41 w 46"/>
                  <a:gd name="T1" fmla="*/ 46 h 46"/>
                  <a:gd name="T2" fmla="*/ 41 w 46"/>
                  <a:gd name="T3" fmla="*/ 46 h 46"/>
                  <a:gd name="T4" fmla="*/ 46 w 46"/>
                  <a:gd name="T5" fmla="*/ 42 h 46"/>
                  <a:gd name="T6" fmla="*/ 34 w 46"/>
                  <a:gd name="T7" fmla="*/ 12 h 46"/>
                  <a:gd name="T8" fmla="*/ 5 w 46"/>
                  <a:gd name="T9" fmla="*/ 1 h 46"/>
                  <a:gd name="T10" fmla="*/ 0 w 46"/>
                  <a:gd name="T11" fmla="*/ 6 h 46"/>
                  <a:gd name="T12" fmla="*/ 5 w 46"/>
                  <a:gd name="T13" fmla="*/ 10 h 46"/>
                  <a:gd name="T14" fmla="*/ 28 w 46"/>
                  <a:gd name="T15" fmla="*/ 19 h 46"/>
                  <a:gd name="T16" fmla="*/ 36 w 46"/>
                  <a:gd name="T17" fmla="*/ 41 h 46"/>
                  <a:gd name="T18" fmla="*/ 41 w 46"/>
                  <a:gd name="T19"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41" y="46"/>
                    </a:moveTo>
                    <a:cubicBezTo>
                      <a:pt x="41" y="46"/>
                      <a:pt x="41" y="46"/>
                      <a:pt x="41" y="46"/>
                    </a:cubicBezTo>
                    <a:cubicBezTo>
                      <a:pt x="43" y="46"/>
                      <a:pt x="46" y="44"/>
                      <a:pt x="46" y="42"/>
                    </a:cubicBezTo>
                    <a:cubicBezTo>
                      <a:pt x="46" y="31"/>
                      <a:pt x="42" y="20"/>
                      <a:pt x="34" y="12"/>
                    </a:cubicBezTo>
                    <a:cubicBezTo>
                      <a:pt x="27" y="4"/>
                      <a:pt x="16" y="0"/>
                      <a:pt x="5" y="1"/>
                    </a:cubicBezTo>
                    <a:cubicBezTo>
                      <a:pt x="2" y="1"/>
                      <a:pt x="0" y="3"/>
                      <a:pt x="0" y="6"/>
                    </a:cubicBezTo>
                    <a:cubicBezTo>
                      <a:pt x="0" y="8"/>
                      <a:pt x="3" y="10"/>
                      <a:pt x="5" y="10"/>
                    </a:cubicBezTo>
                    <a:cubicBezTo>
                      <a:pt x="14" y="10"/>
                      <a:pt x="22" y="13"/>
                      <a:pt x="28" y="19"/>
                    </a:cubicBezTo>
                    <a:cubicBezTo>
                      <a:pt x="34" y="24"/>
                      <a:pt x="37" y="33"/>
                      <a:pt x="36" y="41"/>
                    </a:cubicBezTo>
                    <a:cubicBezTo>
                      <a:pt x="36" y="44"/>
                      <a:pt x="38" y="46"/>
                      <a:pt x="41" y="4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27" name="Oval 26"/>
            <p:cNvSpPr/>
            <p:nvPr/>
          </p:nvSpPr>
          <p:spPr>
            <a:xfrm>
              <a:off x="6705600" y="2219846"/>
              <a:ext cx="1219200" cy="1219200"/>
            </a:xfrm>
            <a:prstGeom prst="ellipse">
              <a:avLst/>
            </a:prstGeom>
            <a:noFill/>
            <a:ln>
              <a:solidFill>
                <a:srgbClr val="81B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dirty="0"/>
            </a:p>
          </p:txBody>
        </p:sp>
      </p:grpSp>
      <p:grpSp>
        <p:nvGrpSpPr>
          <p:cNvPr id="60" name="Group 59"/>
          <p:cNvGrpSpPr/>
          <p:nvPr/>
        </p:nvGrpSpPr>
        <p:grpSpPr>
          <a:xfrm>
            <a:off x="8045822" y="1891452"/>
            <a:ext cx="1075765" cy="1075765"/>
            <a:chOff x="8610600" y="2219846"/>
            <a:chExt cx="1219200" cy="1219200"/>
          </a:xfrm>
        </p:grpSpPr>
        <p:grpSp>
          <p:nvGrpSpPr>
            <p:cNvPr id="15" name="Group 14"/>
            <p:cNvGrpSpPr/>
            <p:nvPr/>
          </p:nvGrpSpPr>
          <p:grpSpPr>
            <a:xfrm>
              <a:off x="8970169" y="2581796"/>
              <a:ext cx="500063" cy="495301"/>
              <a:chOff x="10845801" y="7108825"/>
              <a:chExt cx="500063" cy="495301"/>
            </a:xfrm>
            <a:solidFill>
              <a:srgbClr val="81BC00"/>
            </a:solidFill>
          </p:grpSpPr>
          <p:sp>
            <p:nvSpPr>
              <p:cNvPr id="16" name="Freeform 498"/>
              <p:cNvSpPr>
                <a:spLocks noEditPoints="1"/>
              </p:cNvSpPr>
              <p:nvPr/>
            </p:nvSpPr>
            <p:spPr bwMode="auto">
              <a:xfrm>
                <a:off x="10966451" y="7169150"/>
                <a:ext cx="192088" cy="192088"/>
              </a:xfrm>
              <a:custGeom>
                <a:avLst/>
                <a:gdLst>
                  <a:gd name="T0" fmla="*/ 7 w 92"/>
                  <a:gd name="T1" fmla="*/ 92 h 92"/>
                  <a:gd name="T2" fmla="*/ 84 w 92"/>
                  <a:gd name="T3" fmla="*/ 92 h 92"/>
                  <a:gd name="T4" fmla="*/ 92 w 92"/>
                  <a:gd name="T5" fmla="*/ 84 h 92"/>
                  <a:gd name="T6" fmla="*/ 92 w 92"/>
                  <a:gd name="T7" fmla="*/ 74 h 92"/>
                  <a:gd name="T8" fmla="*/ 87 w 92"/>
                  <a:gd name="T9" fmla="*/ 67 h 92"/>
                  <a:gd name="T10" fmla="*/ 61 w 92"/>
                  <a:gd name="T11" fmla="*/ 54 h 92"/>
                  <a:gd name="T12" fmla="*/ 61 w 92"/>
                  <a:gd name="T13" fmla="*/ 53 h 92"/>
                  <a:gd name="T14" fmla="*/ 67 w 92"/>
                  <a:gd name="T15" fmla="*/ 43 h 92"/>
                  <a:gd name="T16" fmla="*/ 70 w 92"/>
                  <a:gd name="T17" fmla="*/ 34 h 92"/>
                  <a:gd name="T18" fmla="*/ 68 w 92"/>
                  <a:gd name="T19" fmla="*/ 29 h 92"/>
                  <a:gd name="T20" fmla="*/ 68 w 92"/>
                  <a:gd name="T21" fmla="*/ 21 h 92"/>
                  <a:gd name="T22" fmla="*/ 46 w 92"/>
                  <a:gd name="T23" fmla="*/ 0 h 92"/>
                  <a:gd name="T24" fmla="*/ 23 w 92"/>
                  <a:gd name="T25" fmla="*/ 21 h 92"/>
                  <a:gd name="T26" fmla="*/ 23 w 92"/>
                  <a:gd name="T27" fmla="*/ 29 h 92"/>
                  <a:gd name="T28" fmla="*/ 22 w 92"/>
                  <a:gd name="T29" fmla="*/ 34 h 92"/>
                  <a:gd name="T30" fmla="*/ 25 w 92"/>
                  <a:gd name="T31" fmla="*/ 43 h 92"/>
                  <a:gd name="T32" fmla="*/ 31 w 92"/>
                  <a:gd name="T33" fmla="*/ 53 h 92"/>
                  <a:gd name="T34" fmla="*/ 31 w 92"/>
                  <a:gd name="T35" fmla="*/ 54 h 92"/>
                  <a:gd name="T36" fmla="*/ 5 w 92"/>
                  <a:gd name="T37" fmla="*/ 67 h 92"/>
                  <a:gd name="T38" fmla="*/ 0 w 92"/>
                  <a:gd name="T39" fmla="*/ 74 h 92"/>
                  <a:gd name="T40" fmla="*/ 0 w 92"/>
                  <a:gd name="T41" fmla="*/ 84 h 92"/>
                  <a:gd name="T42" fmla="*/ 7 w 92"/>
                  <a:gd name="T43" fmla="*/ 92 h 92"/>
                  <a:gd name="T44" fmla="*/ 9 w 92"/>
                  <a:gd name="T45" fmla="*/ 75 h 92"/>
                  <a:gd name="T46" fmla="*/ 40 w 92"/>
                  <a:gd name="T47" fmla="*/ 57 h 92"/>
                  <a:gd name="T48" fmla="*/ 41 w 92"/>
                  <a:gd name="T49" fmla="*/ 56 h 92"/>
                  <a:gd name="T50" fmla="*/ 41 w 92"/>
                  <a:gd name="T51" fmla="*/ 51 h 92"/>
                  <a:gd name="T52" fmla="*/ 39 w 92"/>
                  <a:gd name="T53" fmla="*/ 48 h 92"/>
                  <a:gd name="T54" fmla="*/ 34 w 92"/>
                  <a:gd name="T55" fmla="*/ 39 h 92"/>
                  <a:gd name="T56" fmla="*/ 32 w 92"/>
                  <a:gd name="T57" fmla="*/ 36 h 92"/>
                  <a:gd name="T58" fmla="*/ 31 w 92"/>
                  <a:gd name="T59" fmla="*/ 34 h 92"/>
                  <a:gd name="T60" fmla="*/ 32 w 92"/>
                  <a:gd name="T61" fmla="*/ 33 h 92"/>
                  <a:gd name="T62" fmla="*/ 33 w 92"/>
                  <a:gd name="T63" fmla="*/ 30 h 92"/>
                  <a:gd name="T64" fmla="*/ 33 w 92"/>
                  <a:gd name="T65" fmla="*/ 21 h 92"/>
                  <a:gd name="T66" fmla="*/ 46 w 92"/>
                  <a:gd name="T67" fmla="*/ 9 h 92"/>
                  <a:gd name="T68" fmla="*/ 59 w 92"/>
                  <a:gd name="T69" fmla="*/ 21 h 92"/>
                  <a:gd name="T70" fmla="*/ 59 w 92"/>
                  <a:gd name="T71" fmla="*/ 30 h 92"/>
                  <a:gd name="T72" fmla="*/ 60 w 92"/>
                  <a:gd name="T73" fmla="*/ 33 h 92"/>
                  <a:gd name="T74" fmla="*/ 60 w 92"/>
                  <a:gd name="T75" fmla="*/ 34 h 92"/>
                  <a:gd name="T76" fmla="*/ 60 w 92"/>
                  <a:gd name="T77" fmla="*/ 36 h 92"/>
                  <a:gd name="T78" fmla="*/ 58 w 92"/>
                  <a:gd name="T79" fmla="*/ 39 h 92"/>
                  <a:gd name="T80" fmla="*/ 53 w 92"/>
                  <a:gd name="T81" fmla="*/ 48 h 92"/>
                  <a:gd name="T82" fmla="*/ 51 w 92"/>
                  <a:gd name="T83" fmla="*/ 51 h 92"/>
                  <a:gd name="T84" fmla="*/ 51 w 92"/>
                  <a:gd name="T85" fmla="*/ 56 h 92"/>
                  <a:gd name="T86" fmla="*/ 51 w 92"/>
                  <a:gd name="T87" fmla="*/ 57 h 92"/>
                  <a:gd name="T88" fmla="*/ 83 w 92"/>
                  <a:gd name="T89" fmla="*/ 75 h 92"/>
                  <a:gd name="T90" fmla="*/ 83 w 92"/>
                  <a:gd name="T91" fmla="*/ 82 h 92"/>
                  <a:gd name="T92" fmla="*/ 9 w 92"/>
                  <a:gd name="T93" fmla="*/ 82 h 92"/>
                  <a:gd name="T94" fmla="*/ 9 w 92"/>
                  <a:gd name="T95" fmla="*/ 7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2" h="92">
                    <a:moveTo>
                      <a:pt x="7" y="92"/>
                    </a:moveTo>
                    <a:cubicBezTo>
                      <a:pt x="84" y="92"/>
                      <a:pt x="84" y="92"/>
                      <a:pt x="84" y="92"/>
                    </a:cubicBezTo>
                    <a:cubicBezTo>
                      <a:pt x="89" y="92"/>
                      <a:pt x="92" y="89"/>
                      <a:pt x="92" y="84"/>
                    </a:cubicBezTo>
                    <a:cubicBezTo>
                      <a:pt x="92" y="74"/>
                      <a:pt x="92" y="74"/>
                      <a:pt x="92" y="74"/>
                    </a:cubicBezTo>
                    <a:cubicBezTo>
                      <a:pt x="92" y="71"/>
                      <a:pt x="90" y="68"/>
                      <a:pt x="87" y="67"/>
                    </a:cubicBezTo>
                    <a:cubicBezTo>
                      <a:pt x="68" y="59"/>
                      <a:pt x="62" y="55"/>
                      <a:pt x="61" y="54"/>
                    </a:cubicBezTo>
                    <a:cubicBezTo>
                      <a:pt x="61" y="53"/>
                      <a:pt x="61" y="53"/>
                      <a:pt x="61" y="53"/>
                    </a:cubicBezTo>
                    <a:cubicBezTo>
                      <a:pt x="63" y="50"/>
                      <a:pt x="65" y="47"/>
                      <a:pt x="67" y="43"/>
                    </a:cubicBezTo>
                    <a:cubicBezTo>
                      <a:pt x="69" y="41"/>
                      <a:pt x="70" y="38"/>
                      <a:pt x="70" y="34"/>
                    </a:cubicBezTo>
                    <a:cubicBezTo>
                      <a:pt x="70" y="32"/>
                      <a:pt x="69" y="30"/>
                      <a:pt x="68" y="29"/>
                    </a:cubicBezTo>
                    <a:cubicBezTo>
                      <a:pt x="68" y="21"/>
                      <a:pt x="68" y="21"/>
                      <a:pt x="68" y="21"/>
                    </a:cubicBezTo>
                    <a:cubicBezTo>
                      <a:pt x="68" y="8"/>
                      <a:pt x="60" y="0"/>
                      <a:pt x="46" y="0"/>
                    </a:cubicBezTo>
                    <a:cubicBezTo>
                      <a:pt x="32" y="0"/>
                      <a:pt x="23" y="8"/>
                      <a:pt x="23" y="21"/>
                    </a:cubicBezTo>
                    <a:cubicBezTo>
                      <a:pt x="23" y="29"/>
                      <a:pt x="23" y="29"/>
                      <a:pt x="23" y="29"/>
                    </a:cubicBezTo>
                    <a:cubicBezTo>
                      <a:pt x="22" y="30"/>
                      <a:pt x="22" y="32"/>
                      <a:pt x="22" y="34"/>
                    </a:cubicBezTo>
                    <a:cubicBezTo>
                      <a:pt x="22" y="38"/>
                      <a:pt x="23" y="41"/>
                      <a:pt x="25" y="43"/>
                    </a:cubicBezTo>
                    <a:cubicBezTo>
                      <a:pt x="27" y="47"/>
                      <a:pt x="29" y="50"/>
                      <a:pt x="31" y="53"/>
                    </a:cubicBezTo>
                    <a:cubicBezTo>
                      <a:pt x="31" y="54"/>
                      <a:pt x="31" y="54"/>
                      <a:pt x="31" y="54"/>
                    </a:cubicBezTo>
                    <a:cubicBezTo>
                      <a:pt x="29" y="55"/>
                      <a:pt x="24" y="59"/>
                      <a:pt x="5" y="67"/>
                    </a:cubicBezTo>
                    <a:cubicBezTo>
                      <a:pt x="2" y="68"/>
                      <a:pt x="0" y="71"/>
                      <a:pt x="0" y="74"/>
                    </a:cubicBezTo>
                    <a:cubicBezTo>
                      <a:pt x="0" y="84"/>
                      <a:pt x="0" y="84"/>
                      <a:pt x="0" y="84"/>
                    </a:cubicBezTo>
                    <a:cubicBezTo>
                      <a:pt x="0" y="89"/>
                      <a:pt x="3" y="92"/>
                      <a:pt x="7" y="92"/>
                    </a:cubicBezTo>
                    <a:close/>
                    <a:moveTo>
                      <a:pt x="9" y="75"/>
                    </a:moveTo>
                    <a:cubicBezTo>
                      <a:pt x="36" y="65"/>
                      <a:pt x="39" y="60"/>
                      <a:pt x="40" y="57"/>
                    </a:cubicBezTo>
                    <a:cubicBezTo>
                      <a:pt x="41" y="57"/>
                      <a:pt x="41" y="56"/>
                      <a:pt x="41" y="56"/>
                    </a:cubicBezTo>
                    <a:cubicBezTo>
                      <a:pt x="41" y="51"/>
                      <a:pt x="41" y="51"/>
                      <a:pt x="41" y="51"/>
                    </a:cubicBezTo>
                    <a:cubicBezTo>
                      <a:pt x="41" y="50"/>
                      <a:pt x="40" y="49"/>
                      <a:pt x="39" y="48"/>
                    </a:cubicBezTo>
                    <a:cubicBezTo>
                      <a:pt x="37" y="46"/>
                      <a:pt x="35" y="42"/>
                      <a:pt x="34" y="39"/>
                    </a:cubicBezTo>
                    <a:cubicBezTo>
                      <a:pt x="34" y="38"/>
                      <a:pt x="33" y="37"/>
                      <a:pt x="32" y="36"/>
                    </a:cubicBezTo>
                    <a:cubicBezTo>
                      <a:pt x="32" y="36"/>
                      <a:pt x="31" y="35"/>
                      <a:pt x="31" y="34"/>
                    </a:cubicBezTo>
                    <a:cubicBezTo>
                      <a:pt x="31" y="34"/>
                      <a:pt x="32" y="33"/>
                      <a:pt x="32" y="33"/>
                    </a:cubicBezTo>
                    <a:cubicBezTo>
                      <a:pt x="33" y="32"/>
                      <a:pt x="33" y="31"/>
                      <a:pt x="33" y="30"/>
                    </a:cubicBezTo>
                    <a:cubicBezTo>
                      <a:pt x="33" y="21"/>
                      <a:pt x="33" y="21"/>
                      <a:pt x="33" y="21"/>
                    </a:cubicBezTo>
                    <a:cubicBezTo>
                      <a:pt x="33" y="13"/>
                      <a:pt x="37" y="9"/>
                      <a:pt x="46" y="9"/>
                    </a:cubicBezTo>
                    <a:cubicBezTo>
                      <a:pt x="55" y="9"/>
                      <a:pt x="59" y="13"/>
                      <a:pt x="59" y="21"/>
                    </a:cubicBezTo>
                    <a:cubicBezTo>
                      <a:pt x="59" y="30"/>
                      <a:pt x="59" y="30"/>
                      <a:pt x="59" y="30"/>
                    </a:cubicBezTo>
                    <a:cubicBezTo>
                      <a:pt x="59" y="31"/>
                      <a:pt x="59" y="32"/>
                      <a:pt x="60" y="33"/>
                    </a:cubicBezTo>
                    <a:cubicBezTo>
                      <a:pt x="60" y="33"/>
                      <a:pt x="60" y="34"/>
                      <a:pt x="60" y="34"/>
                    </a:cubicBezTo>
                    <a:cubicBezTo>
                      <a:pt x="60" y="35"/>
                      <a:pt x="60" y="36"/>
                      <a:pt x="60" y="36"/>
                    </a:cubicBezTo>
                    <a:cubicBezTo>
                      <a:pt x="59" y="37"/>
                      <a:pt x="58" y="38"/>
                      <a:pt x="58" y="39"/>
                    </a:cubicBezTo>
                    <a:cubicBezTo>
                      <a:pt x="57" y="42"/>
                      <a:pt x="55" y="46"/>
                      <a:pt x="53" y="48"/>
                    </a:cubicBezTo>
                    <a:cubicBezTo>
                      <a:pt x="52" y="49"/>
                      <a:pt x="51" y="50"/>
                      <a:pt x="51" y="51"/>
                    </a:cubicBezTo>
                    <a:cubicBezTo>
                      <a:pt x="51" y="56"/>
                      <a:pt x="51" y="56"/>
                      <a:pt x="51" y="56"/>
                    </a:cubicBezTo>
                    <a:cubicBezTo>
                      <a:pt x="51" y="56"/>
                      <a:pt x="51" y="57"/>
                      <a:pt x="51" y="57"/>
                    </a:cubicBezTo>
                    <a:cubicBezTo>
                      <a:pt x="53" y="60"/>
                      <a:pt x="56" y="65"/>
                      <a:pt x="83" y="75"/>
                    </a:cubicBezTo>
                    <a:cubicBezTo>
                      <a:pt x="83" y="82"/>
                      <a:pt x="83" y="82"/>
                      <a:pt x="83" y="82"/>
                    </a:cubicBezTo>
                    <a:cubicBezTo>
                      <a:pt x="9" y="82"/>
                      <a:pt x="9" y="82"/>
                      <a:pt x="9" y="82"/>
                    </a:cubicBezTo>
                    <a:lnTo>
                      <a:pt x="9"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 name="Freeform 499"/>
              <p:cNvSpPr>
                <a:spLocks/>
              </p:cNvSpPr>
              <p:nvPr/>
            </p:nvSpPr>
            <p:spPr bwMode="auto">
              <a:xfrm>
                <a:off x="11118851" y="7208838"/>
                <a:ext cx="115888" cy="152400"/>
              </a:xfrm>
              <a:custGeom>
                <a:avLst/>
                <a:gdLst>
                  <a:gd name="T0" fmla="*/ 5 w 56"/>
                  <a:gd name="T1" fmla="*/ 40 h 73"/>
                  <a:gd name="T2" fmla="*/ 11 w 56"/>
                  <a:gd name="T3" fmla="*/ 41 h 73"/>
                  <a:gd name="T4" fmla="*/ 13 w 56"/>
                  <a:gd name="T5" fmla="*/ 35 h 73"/>
                  <a:gd name="T6" fmla="*/ 11 w 56"/>
                  <a:gd name="T7" fmla="*/ 31 h 73"/>
                  <a:gd name="T8" fmla="*/ 10 w 56"/>
                  <a:gd name="T9" fmla="*/ 28 h 73"/>
                  <a:gd name="T10" fmla="*/ 11 w 56"/>
                  <a:gd name="T11" fmla="*/ 24 h 73"/>
                  <a:gd name="T12" fmla="*/ 11 w 56"/>
                  <a:gd name="T13" fmla="*/ 17 h 73"/>
                  <a:gd name="T14" fmla="*/ 19 w 56"/>
                  <a:gd name="T15" fmla="*/ 10 h 73"/>
                  <a:gd name="T16" fmla="*/ 28 w 56"/>
                  <a:gd name="T17" fmla="*/ 17 h 73"/>
                  <a:gd name="T18" fmla="*/ 28 w 56"/>
                  <a:gd name="T19" fmla="*/ 24 h 73"/>
                  <a:gd name="T20" fmla="*/ 29 w 56"/>
                  <a:gd name="T21" fmla="*/ 28 h 73"/>
                  <a:gd name="T22" fmla="*/ 27 w 56"/>
                  <a:gd name="T23" fmla="*/ 31 h 73"/>
                  <a:gd name="T24" fmla="*/ 24 w 56"/>
                  <a:gd name="T25" fmla="*/ 37 h 73"/>
                  <a:gd name="T26" fmla="*/ 22 w 56"/>
                  <a:gd name="T27" fmla="*/ 41 h 73"/>
                  <a:gd name="T28" fmla="*/ 22 w 56"/>
                  <a:gd name="T29" fmla="*/ 44 h 73"/>
                  <a:gd name="T30" fmla="*/ 23 w 56"/>
                  <a:gd name="T31" fmla="*/ 45 h 73"/>
                  <a:gd name="T32" fmla="*/ 46 w 56"/>
                  <a:gd name="T33" fmla="*/ 60 h 73"/>
                  <a:gd name="T34" fmla="*/ 46 w 56"/>
                  <a:gd name="T35" fmla="*/ 63 h 73"/>
                  <a:gd name="T36" fmla="*/ 29 w 56"/>
                  <a:gd name="T37" fmla="*/ 63 h 73"/>
                  <a:gd name="T38" fmla="*/ 24 w 56"/>
                  <a:gd name="T39" fmla="*/ 68 h 73"/>
                  <a:gd name="T40" fmla="*/ 29 w 56"/>
                  <a:gd name="T41" fmla="*/ 73 h 73"/>
                  <a:gd name="T42" fmla="*/ 49 w 56"/>
                  <a:gd name="T43" fmla="*/ 73 h 73"/>
                  <a:gd name="T44" fmla="*/ 56 w 56"/>
                  <a:gd name="T45" fmla="*/ 66 h 73"/>
                  <a:gd name="T46" fmla="*/ 56 w 56"/>
                  <a:gd name="T47" fmla="*/ 58 h 73"/>
                  <a:gd name="T48" fmla="*/ 51 w 56"/>
                  <a:gd name="T49" fmla="*/ 51 h 73"/>
                  <a:gd name="T50" fmla="*/ 32 w 56"/>
                  <a:gd name="T51" fmla="*/ 42 h 73"/>
                  <a:gd name="T52" fmla="*/ 36 w 56"/>
                  <a:gd name="T53" fmla="*/ 35 h 73"/>
                  <a:gd name="T54" fmla="*/ 39 w 56"/>
                  <a:gd name="T55" fmla="*/ 28 h 73"/>
                  <a:gd name="T56" fmla="*/ 38 w 56"/>
                  <a:gd name="T57" fmla="*/ 23 h 73"/>
                  <a:gd name="T58" fmla="*/ 38 w 56"/>
                  <a:gd name="T59" fmla="*/ 17 h 73"/>
                  <a:gd name="T60" fmla="*/ 19 w 56"/>
                  <a:gd name="T61" fmla="*/ 0 h 73"/>
                  <a:gd name="T62" fmla="*/ 1 w 56"/>
                  <a:gd name="T63" fmla="*/ 17 h 73"/>
                  <a:gd name="T64" fmla="*/ 1 w 56"/>
                  <a:gd name="T65" fmla="*/ 23 h 73"/>
                  <a:gd name="T66" fmla="*/ 0 w 56"/>
                  <a:gd name="T67" fmla="*/ 28 h 73"/>
                  <a:gd name="T68" fmla="*/ 3 w 56"/>
                  <a:gd name="T69" fmla="*/ 35 h 73"/>
                  <a:gd name="T70" fmla="*/ 5 w 56"/>
                  <a:gd name="T71" fmla="*/ 4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6" h="73">
                    <a:moveTo>
                      <a:pt x="5" y="40"/>
                    </a:moveTo>
                    <a:cubicBezTo>
                      <a:pt x="6" y="42"/>
                      <a:pt x="9" y="43"/>
                      <a:pt x="11" y="41"/>
                    </a:cubicBezTo>
                    <a:cubicBezTo>
                      <a:pt x="14" y="40"/>
                      <a:pt x="14" y="37"/>
                      <a:pt x="13" y="35"/>
                    </a:cubicBezTo>
                    <a:cubicBezTo>
                      <a:pt x="12" y="34"/>
                      <a:pt x="12" y="32"/>
                      <a:pt x="11" y="31"/>
                    </a:cubicBezTo>
                    <a:cubicBezTo>
                      <a:pt x="11" y="30"/>
                      <a:pt x="10" y="28"/>
                      <a:pt x="10" y="28"/>
                    </a:cubicBezTo>
                    <a:cubicBezTo>
                      <a:pt x="10" y="27"/>
                      <a:pt x="11" y="26"/>
                      <a:pt x="11" y="24"/>
                    </a:cubicBezTo>
                    <a:cubicBezTo>
                      <a:pt x="11" y="17"/>
                      <a:pt x="11" y="17"/>
                      <a:pt x="11" y="17"/>
                    </a:cubicBezTo>
                    <a:cubicBezTo>
                      <a:pt x="11" y="14"/>
                      <a:pt x="12" y="10"/>
                      <a:pt x="19" y="10"/>
                    </a:cubicBezTo>
                    <a:cubicBezTo>
                      <a:pt x="27" y="10"/>
                      <a:pt x="28" y="14"/>
                      <a:pt x="28" y="17"/>
                    </a:cubicBezTo>
                    <a:cubicBezTo>
                      <a:pt x="28" y="24"/>
                      <a:pt x="28" y="24"/>
                      <a:pt x="28" y="24"/>
                    </a:cubicBezTo>
                    <a:cubicBezTo>
                      <a:pt x="28" y="26"/>
                      <a:pt x="28" y="27"/>
                      <a:pt x="29" y="28"/>
                    </a:cubicBezTo>
                    <a:cubicBezTo>
                      <a:pt x="28" y="29"/>
                      <a:pt x="28" y="30"/>
                      <a:pt x="27" y="31"/>
                    </a:cubicBezTo>
                    <a:cubicBezTo>
                      <a:pt x="27" y="33"/>
                      <a:pt x="25" y="36"/>
                      <a:pt x="24" y="37"/>
                    </a:cubicBezTo>
                    <a:cubicBezTo>
                      <a:pt x="23" y="38"/>
                      <a:pt x="22" y="40"/>
                      <a:pt x="22" y="41"/>
                    </a:cubicBezTo>
                    <a:cubicBezTo>
                      <a:pt x="22" y="44"/>
                      <a:pt x="22" y="44"/>
                      <a:pt x="22" y="44"/>
                    </a:cubicBezTo>
                    <a:cubicBezTo>
                      <a:pt x="22" y="44"/>
                      <a:pt x="22" y="45"/>
                      <a:pt x="23" y="45"/>
                    </a:cubicBezTo>
                    <a:cubicBezTo>
                      <a:pt x="23" y="48"/>
                      <a:pt x="26" y="52"/>
                      <a:pt x="46" y="60"/>
                    </a:cubicBezTo>
                    <a:cubicBezTo>
                      <a:pt x="46" y="63"/>
                      <a:pt x="46" y="63"/>
                      <a:pt x="46" y="63"/>
                    </a:cubicBezTo>
                    <a:cubicBezTo>
                      <a:pt x="29" y="63"/>
                      <a:pt x="29" y="63"/>
                      <a:pt x="29" y="63"/>
                    </a:cubicBezTo>
                    <a:cubicBezTo>
                      <a:pt x="26" y="63"/>
                      <a:pt x="24" y="66"/>
                      <a:pt x="24" y="68"/>
                    </a:cubicBezTo>
                    <a:cubicBezTo>
                      <a:pt x="24" y="71"/>
                      <a:pt x="26" y="73"/>
                      <a:pt x="29" y="73"/>
                    </a:cubicBezTo>
                    <a:cubicBezTo>
                      <a:pt x="49" y="73"/>
                      <a:pt x="49" y="73"/>
                      <a:pt x="49" y="73"/>
                    </a:cubicBezTo>
                    <a:cubicBezTo>
                      <a:pt x="53" y="73"/>
                      <a:pt x="56" y="70"/>
                      <a:pt x="56" y="66"/>
                    </a:cubicBezTo>
                    <a:cubicBezTo>
                      <a:pt x="56" y="58"/>
                      <a:pt x="56" y="58"/>
                      <a:pt x="56" y="58"/>
                    </a:cubicBezTo>
                    <a:cubicBezTo>
                      <a:pt x="56" y="55"/>
                      <a:pt x="54" y="52"/>
                      <a:pt x="51" y="51"/>
                    </a:cubicBezTo>
                    <a:cubicBezTo>
                      <a:pt x="38" y="46"/>
                      <a:pt x="34" y="44"/>
                      <a:pt x="32" y="42"/>
                    </a:cubicBezTo>
                    <a:cubicBezTo>
                      <a:pt x="34" y="40"/>
                      <a:pt x="35" y="38"/>
                      <a:pt x="36" y="35"/>
                    </a:cubicBezTo>
                    <a:cubicBezTo>
                      <a:pt x="38" y="33"/>
                      <a:pt x="39" y="30"/>
                      <a:pt x="39" y="28"/>
                    </a:cubicBezTo>
                    <a:cubicBezTo>
                      <a:pt x="39" y="26"/>
                      <a:pt x="39" y="25"/>
                      <a:pt x="38" y="23"/>
                    </a:cubicBezTo>
                    <a:cubicBezTo>
                      <a:pt x="38" y="17"/>
                      <a:pt x="38" y="17"/>
                      <a:pt x="38" y="17"/>
                    </a:cubicBezTo>
                    <a:cubicBezTo>
                      <a:pt x="38" y="7"/>
                      <a:pt x="31" y="0"/>
                      <a:pt x="19" y="0"/>
                    </a:cubicBezTo>
                    <a:cubicBezTo>
                      <a:pt x="8" y="0"/>
                      <a:pt x="1" y="7"/>
                      <a:pt x="1" y="17"/>
                    </a:cubicBezTo>
                    <a:cubicBezTo>
                      <a:pt x="1" y="23"/>
                      <a:pt x="1" y="23"/>
                      <a:pt x="1" y="23"/>
                    </a:cubicBezTo>
                    <a:cubicBezTo>
                      <a:pt x="0" y="25"/>
                      <a:pt x="0" y="26"/>
                      <a:pt x="0" y="28"/>
                    </a:cubicBezTo>
                    <a:cubicBezTo>
                      <a:pt x="0" y="30"/>
                      <a:pt x="1" y="33"/>
                      <a:pt x="3" y="35"/>
                    </a:cubicBezTo>
                    <a:cubicBezTo>
                      <a:pt x="3" y="36"/>
                      <a:pt x="4" y="38"/>
                      <a:pt x="5" y="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8" name="Freeform 500"/>
              <p:cNvSpPr>
                <a:spLocks/>
              </p:cNvSpPr>
              <p:nvPr/>
            </p:nvSpPr>
            <p:spPr bwMode="auto">
              <a:xfrm>
                <a:off x="10999788" y="7513638"/>
                <a:ext cx="192088" cy="90488"/>
              </a:xfrm>
              <a:custGeom>
                <a:avLst/>
                <a:gdLst>
                  <a:gd name="T0" fmla="*/ 87 w 92"/>
                  <a:gd name="T1" fmla="*/ 4 h 43"/>
                  <a:gd name="T2" fmla="*/ 81 w 92"/>
                  <a:gd name="T3" fmla="*/ 0 h 43"/>
                  <a:gd name="T4" fmla="*/ 77 w 92"/>
                  <a:gd name="T5" fmla="*/ 6 h 43"/>
                  <a:gd name="T6" fmla="*/ 82 w 92"/>
                  <a:gd name="T7" fmla="*/ 33 h 43"/>
                  <a:gd name="T8" fmla="*/ 10 w 92"/>
                  <a:gd name="T9" fmla="*/ 33 h 43"/>
                  <a:gd name="T10" fmla="*/ 14 w 92"/>
                  <a:gd name="T11" fmla="*/ 6 h 43"/>
                  <a:gd name="T12" fmla="*/ 10 w 92"/>
                  <a:gd name="T13" fmla="*/ 0 h 43"/>
                  <a:gd name="T14" fmla="*/ 5 w 92"/>
                  <a:gd name="T15" fmla="*/ 4 h 43"/>
                  <a:gd name="T16" fmla="*/ 0 w 92"/>
                  <a:gd name="T17" fmla="*/ 33 h 43"/>
                  <a:gd name="T18" fmla="*/ 0 w 92"/>
                  <a:gd name="T19" fmla="*/ 34 h 43"/>
                  <a:gd name="T20" fmla="*/ 10 w 92"/>
                  <a:gd name="T21" fmla="*/ 43 h 43"/>
                  <a:gd name="T22" fmla="*/ 82 w 92"/>
                  <a:gd name="T23" fmla="*/ 43 h 43"/>
                  <a:gd name="T24" fmla="*/ 92 w 92"/>
                  <a:gd name="T25" fmla="*/ 34 h 43"/>
                  <a:gd name="T26" fmla="*/ 92 w 92"/>
                  <a:gd name="T27" fmla="*/ 33 h 43"/>
                  <a:gd name="T28" fmla="*/ 87 w 92"/>
                  <a:gd name="T29" fmla="*/ 4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2" h="43">
                    <a:moveTo>
                      <a:pt x="87" y="4"/>
                    </a:moveTo>
                    <a:cubicBezTo>
                      <a:pt x="86" y="1"/>
                      <a:pt x="84" y="0"/>
                      <a:pt x="81" y="0"/>
                    </a:cubicBezTo>
                    <a:cubicBezTo>
                      <a:pt x="79" y="0"/>
                      <a:pt x="77" y="3"/>
                      <a:pt x="77" y="6"/>
                    </a:cubicBezTo>
                    <a:cubicBezTo>
                      <a:pt x="82" y="33"/>
                      <a:pt x="82" y="33"/>
                      <a:pt x="82" y="33"/>
                    </a:cubicBezTo>
                    <a:cubicBezTo>
                      <a:pt x="10" y="33"/>
                      <a:pt x="10" y="33"/>
                      <a:pt x="10" y="33"/>
                    </a:cubicBezTo>
                    <a:cubicBezTo>
                      <a:pt x="14" y="6"/>
                      <a:pt x="14" y="6"/>
                      <a:pt x="14" y="6"/>
                    </a:cubicBezTo>
                    <a:cubicBezTo>
                      <a:pt x="15" y="3"/>
                      <a:pt x="13" y="0"/>
                      <a:pt x="10" y="0"/>
                    </a:cubicBezTo>
                    <a:cubicBezTo>
                      <a:pt x="8" y="0"/>
                      <a:pt x="5" y="1"/>
                      <a:pt x="5" y="4"/>
                    </a:cubicBezTo>
                    <a:cubicBezTo>
                      <a:pt x="0" y="33"/>
                      <a:pt x="0" y="33"/>
                      <a:pt x="0" y="33"/>
                    </a:cubicBezTo>
                    <a:cubicBezTo>
                      <a:pt x="0" y="33"/>
                      <a:pt x="0" y="34"/>
                      <a:pt x="0" y="34"/>
                    </a:cubicBezTo>
                    <a:cubicBezTo>
                      <a:pt x="0" y="39"/>
                      <a:pt x="4" y="43"/>
                      <a:pt x="10" y="43"/>
                    </a:cubicBezTo>
                    <a:cubicBezTo>
                      <a:pt x="82" y="43"/>
                      <a:pt x="82" y="43"/>
                      <a:pt x="82" y="43"/>
                    </a:cubicBezTo>
                    <a:cubicBezTo>
                      <a:pt x="87" y="43"/>
                      <a:pt x="92" y="39"/>
                      <a:pt x="92" y="34"/>
                    </a:cubicBezTo>
                    <a:cubicBezTo>
                      <a:pt x="92" y="34"/>
                      <a:pt x="92" y="33"/>
                      <a:pt x="92" y="33"/>
                    </a:cubicBezTo>
                    <a:lnTo>
                      <a:pt x="87" y="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9" name="Freeform 501"/>
              <p:cNvSpPr>
                <a:spLocks noEditPoints="1"/>
              </p:cNvSpPr>
              <p:nvPr/>
            </p:nvSpPr>
            <p:spPr bwMode="auto">
              <a:xfrm>
                <a:off x="10845801" y="7108825"/>
                <a:ext cx="500063" cy="376238"/>
              </a:xfrm>
              <a:custGeom>
                <a:avLst/>
                <a:gdLst>
                  <a:gd name="T0" fmla="*/ 219 w 240"/>
                  <a:gd name="T1" fmla="*/ 0 h 180"/>
                  <a:gd name="T2" fmla="*/ 21 w 240"/>
                  <a:gd name="T3" fmla="*/ 0 h 180"/>
                  <a:gd name="T4" fmla="*/ 0 w 240"/>
                  <a:gd name="T5" fmla="*/ 21 h 180"/>
                  <a:gd name="T6" fmla="*/ 0 w 240"/>
                  <a:gd name="T7" fmla="*/ 158 h 180"/>
                  <a:gd name="T8" fmla="*/ 21 w 240"/>
                  <a:gd name="T9" fmla="*/ 180 h 180"/>
                  <a:gd name="T10" fmla="*/ 219 w 240"/>
                  <a:gd name="T11" fmla="*/ 180 h 180"/>
                  <a:gd name="T12" fmla="*/ 240 w 240"/>
                  <a:gd name="T13" fmla="*/ 158 h 180"/>
                  <a:gd name="T14" fmla="*/ 240 w 240"/>
                  <a:gd name="T15" fmla="*/ 21 h 180"/>
                  <a:gd name="T16" fmla="*/ 219 w 240"/>
                  <a:gd name="T17" fmla="*/ 0 h 180"/>
                  <a:gd name="T18" fmla="*/ 21 w 240"/>
                  <a:gd name="T19" fmla="*/ 9 h 180"/>
                  <a:gd name="T20" fmla="*/ 219 w 240"/>
                  <a:gd name="T21" fmla="*/ 9 h 180"/>
                  <a:gd name="T22" fmla="*/ 230 w 240"/>
                  <a:gd name="T23" fmla="*/ 21 h 180"/>
                  <a:gd name="T24" fmla="*/ 230 w 240"/>
                  <a:gd name="T25" fmla="*/ 140 h 180"/>
                  <a:gd name="T26" fmla="*/ 10 w 240"/>
                  <a:gd name="T27" fmla="*/ 140 h 180"/>
                  <a:gd name="T28" fmla="*/ 10 w 240"/>
                  <a:gd name="T29" fmla="*/ 21 h 180"/>
                  <a:gd name="T30" fmla="*/ 21 w 240"/>
                  <a:gd name="T31" fmla="*/ 9 h 180"/>
                  <a:gd name="T32" fmla="*/ 219 w 240"/>
                  <a:gd name="T33" fmla="*/ 170 h 180"/>
                  <a:gd name="T34" fmla="*/ 21 w 240"/>
                  <a:gd name="T35" fmla="*/ 170 h 180"/>
                  <a:gd name="T36" fmla="*/ 10 w 240"/>
                  <a:gd name="T37" fmla="*/ 158 h 180"/>
                  <a:gd name="T38" fmla="*/ 10 w 240"/>
                  <a:gd name="T39" fmla="*/ 150 h 180"/>
                  <a:gd name="T40" fmla="*/ 230 w 240"/>
                  <a:gd name="T41" fmla="*/ 150 h 180"/>
                  <a:gd name="T42" fmla="*/ 230 w 240"/>
                  <a:gd name="T43" fmla="*/ 158 h 180"/>
                  <a:gd name="T44" fmla="*/ 219 w 240"/>
                  <a:gd name="T45" fmla="*/ 17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0" h="180">
                    <a:moveTo>
                      <a:pt x="219" y="0"/>
                    </a:moveTo>
                    <a:cubicBezTo>
                      <a:pt x="21" y="0"/>
                      <a:pt x="21" y="0"/>
                      <a:pt x="21" y="0"/>
                    </a:cubicBezTo>
                    <a:cubicBezTo>
                      <a:pt x="9" y="0"/>
                      <a:pt x="0" y="9"/>
                      <a:pt x="0" y="21"/>
                    </a:cubicBezTo>
                    <a:cubicBezTo>
                      <a:pt x="0" y="158"/>
                      <a:pt x="0" y="158"/>
                      <a:pt x="0" y="158"/>
                    </a:cubicBezTo>
                    <a:cubicBezTo>
                      <a:pt x="0" y="170"/>
                      <a:pt x="9" y="180"/>
                      <a:pt x="21" y="180"/>
                    </a:cubicBezTo>
                    <a:cubicBezTo>
                      <a:pt x="219" y="180"/>
                      <a:pt x="219" y="180"/>
                      <a:pt x="219" y="180"/>
                    </a:cubicBezTo>
                    <a:cubicBezTo>
                      <a:pt x="230" y="180"/>
                      <a:pt x="240" y="170"/>
                      <a:pt x="240" y="158"/>
                    </a:cubicBezTo>
                    <a:cubicBezTo>
                      <a:pt x="240" y="21"/>
                      <a:pt x="240" y="21"/>
                      <a:pt x="240" y="21"/>
                    </a:cubicBezTo>
                    <a:cubicBezTo>
                      <a:pt x="240" y="9"/>
                      <a:pt x="230" y="0"/>
                      <a:pt x="219" y="0"/>
                    </a:cubicBezTo>
                    <a:close/>
                    <a:moveTo>
                      <a:pt x="21" y="9"/>
                    </a:moveTo>
                    <a:cubicBezTo>
                      <a:pt x="219" y="9"/>
                      <a:pt x="219" y="9"/>
                      <a:pt x="219" y="9"/>
                    </a:cubicBezTo>
                    <a:cubicBezTo>
                      <a:pt x="225" y="9"/>
                      <a:pt x="230" y="15"/>
                      <a:pt x="230" y="21"/>
                    </a:cubicBezTo>
                    <a:cubicBezTo>
                      <a:pt x="230" y="140"/>
                      <a:pt x="230" y="140"/>
                      <a:pt x="230" y="140"/>
                    </a:cubicBezTo>
                    <a:cubicBezTo>
                      <a:pt x="10" y="140"/>
                      <a:pt x="10" y="140"/>
                      <a:pt x="10" y="140"/>
                    </a:cubicBezTo>
                    <a:cubicBezTo>
                      <a:pt x="10" y="21"/>
                      <a:pt x="10" y="21"/>
                      <a:pt x="10" y="21"/>
                    </a:cubicBezTo>
                    <a:cubicBezTo>
                      <a:pt x="10" y="15"/>
                      <a:pt x="15" y="9"/>
                      <a:pt x="21" y="9"/>
                    </a:cubicBezTo>
                    <a:close/>
                    <a:moveTo>
                      <a:pt x="219" y="170"/>
                    </a:moveTo>
                    <a:cubicBezTo>
                      <a:pt x="21" y="170"/>
                      <a:pt x="21" y="170"/>
                      <a:pt x="21" y="170"/>
                    </a:cubicBezTo>
                    <a:cubicBezTo>
                      <a:pt x="15" y="170"/>
                      <a:pt x="10" y="165"/>
                      <a:pt x="10" y="158"/>
                    </a:cubicBezTo>
                    <a:cubicBezTo>
                      <a:pt x="10" y="150"/>
                      <a:pt x="10" y="150"/>
                      <a:pt x="10" y="150"/>
                    </a:cubicBezTo>
                    <a:cubicBezTo>
                      <a:pt x="230" y="150"/>
                      <a:pt x="230" y="150"/>
                      <a:pt x="230" y="150"/>
                    </a:cubicBezTo>
                    <a:cubicBezTo>
                      <a:pt x="230" y="158"/>
                      <a:pt x="230" y="158"/>
                      <a:pt x="230" y="158"/>
                    </a:cubicBezTo>
                    <a:cubicBezTo>
                      <a:pt x="230" y="165"/>
                      <a:pt x="225" y="170"/>
                      <a:pt x="219"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28" name="Oval 27"/>
            <p:cNvSpPr/>
            <p:nvPr/>
          </p:nvSpPr>
          <p:spPr>
            <a:xfrm>
              <a:off x="8610600" y="2219846"/>
              <a:ext cx="1219200" cy="1219200"/>
            </a:xfrm>
            <a:prstGeom prst="ellipse">
              <a:avLst/>
            </a:prstGeom>
            <a:noFill/>
            <a:ln>
              <a:solidFill>
                <a:srgbClr val="81B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dirty="0"/>
            </a:p>
          </p:txBody>
        </p:sp>
      </p:grpSp>
      <p:grpSp>
        <p:nvGrpSpPr>
          <p:cNvPr id="61" name="Group 60"/>
          <p:cNvGrpSpPr/>
          <p:nvPr/>
        </p:nvGrpSpPr>
        <p:grpSpPr>
          <a:xfrm>
            <a:off x="9793940" y="1891452"/>
            <a:ext cx="1075765" cy="1075765"/>
            <a:chOff x="10591800" y="2219846"/>
            <a:chExt cx="1219200" cy="1219200"/>
          </a:xfrm>
        </p:grpSpPr>
        <p:sp>
          <p:nvSpPr>
            <p:cNvPr id="14" name="Freeform 266"/>
            <p:cNvSpPr>
              <a:spLocks noEditPoints="1"/>
            </p:cNvSpPr>
            <p:nvPr/>
          </p:nvSpPr>
          <p:spPr bwMode="auto">
            <a:xfrm>
              <a:off x="10879999" y="2635374"/>
              <a:ext cx="642803" cy="388145"/>
            </a:xfrm>
            <a:custGeom>
              <a:avLst/>
              <a:gdLst>
                <a:gd name="T0" fmla="*/ 189 w 241"/>
                <a:gd name="T1" fmla="*/ 48 h 145"/>
                <a:gd name="T2" fmla="*/ 187 w 241"/>
                <a:gd name="T3" fmla="*/ 48 h 145"/>
                <a:gd name="T4" fmla="*/ 138 w 241"/>
                <a:gd name="T5" fmla="*/ 15 h 145"/>
                <a:gd name="T6" fmla="*/ 131 w 241"/>
                <a:gd name="T7" fmla="*/ 15 h 145"/>
                <a:gd name="T8" fmla="*/ 90 w 241"/>
                <a:gd name="T9" fmla="*/ 0 h 145"/>
                <a:gd name="T10" fmla="*/ 23 w 241"/>
                <a:gd name="T11" fmla="*/ 56 h 145"/>
                <a:gd name="T12" fmla="*/ 0 w 241"/>
                <a:gd name="T13" fmla="*/ 96 h 145"/>
                <a:gd name="T14" fmla="*/ 50 w 241"/>
                <a:gd name="T15" fmla="*/ 145 h 145"/>
                <a:gd name="T16" fmla="*/ 189 w 241"/>
                <a:gd name="T17" fmla="*/ 145 h 145"/>
                <a:gd name="T18" fmla="*/ 241 w 241"/>
                <a:gd name="T19" fmla="*/ 96 h 145"/>
                <a:gd name="T20" fmla="*/ 189 w 241"/>
                <a:gd name="T21" fmla="*/ 48 h 145"/>
                <a:gd name="T22" fmla="*/ 189 w 241"/>
                <a:gd name="T23" fmla="*/ 135 h 145"/>
                <a:gd name="T24" fmla="*/ 50 w 241"/>
                <a:gd name="T25" fmla="*/ 135 h 145"/>
                <a:gd name="T26" fmla="*/ 9 w 241"/>
                <a:gd name="T27" fmla="*/ 96 h 145"/>
                <a:gd name="T28" fmla="*/ 30 w 241"/>
                <a:gd name="T29" fmla="*/ 64 h 145"/>
                <a:gd name="T30" fmla="*/ 32 w 241"/>
                <a:gd name="T31" fmla="*/ 62 h 145"/>
                <a:gd name="T32" fmla="*/ 32 w 241"/>
                <a:gd name="T33" fmla="*/ 60 h 145"/>
                <a:gd name="T34" fmla="*/ 90 w 241"/>
                <a:gd name="T35" fmla="*/ 10 h 145"/>
                <a:gd name="T36" fmla="*/ 126 w 241"/>
                <a:gd name="T37" fmla="*/ 24 h 145"/>
                <a:gd name="T38" fmla="*/ 128 w 241"/>
                <a:gd name="T39" fmla="*/ 25 h 145"/>
                <a:gd name="T40" fmla="*/ 130 w 241"/>
                <a:gd name="T41" fmla="*/ 25 h 145"/>
                <a:gd name="T42" fmla="*/ 138 w 241"/>
                <a:gd name="T43" fmla="*/ 24 h 145"/>
                <a:gd name="T44" fmla="*/ 179 w 241"/>
                <a:gd name="T45" fmla="*/ 54 h 145"/>
                <a:gd name="T46" fmla="*/ 180 w 241"/>
                <a:gd name="T47" fmla="*/ 58 h 145"/>
                <a:gd name="T48" fmla="*/ 184 w 241"/>
                <a:gd name="T49" fmla="*/ 58 h 145"/>
                <a:gd name="T50" fmla="*/ 189 w 241"/>
                <a:gd name="T51" fmla="*/ 57 h 145"/>
                <a:gd name="T52" fmla="*/ 231 w 241"/>
                <a:gd name="T53" fmla="*/ 96 h 145"/>
                <a:gd name="T54" fmla="*/ 189 w 241"/>
                <a:gd name="T55" fmla="*/ 13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1" h="145">
                  <a:moveTo>
                    <a:pt x="189" y="48"/>
                  </a:moveTo>
                  <a:cubicBezTo>
                    <a:pt x="188" y="48"/>
                    <a:pt x="187" y="48"/>
                    <a:pt x="187" y="48"/>
                  </a:cubicBezTo>
                  <a:cubicBezTo>
                    <a:pt x="179" y="28"/>
                    <a:pt x="160" y="15"/>
                    <a:pt x="138" y="15"/>
                  </a:cubicBezTo>
                  <a:cubicBezTo>
                    <a:pt x="136" y="15"/>
                    <a:pt x="133" y="15"/>
                    <a:pt x="131" y="15"/>
                  </a:cubicBezTo>
                  <a:cubicBezTo>
                    <a:pt x="118" y="5"/>
                    <a:pt x="105" y="0"/>
                    <a:pt x="90" y="0"/>
                  </a:cubicBezTo>
                  <a:cubicBezTo>
                    <a:pt x="56" y="0"/>
                    <a:pt x="29" y="23"/>
                    <a:pt x="23" y="56"/>
                  </a:cubicBezTo>
                  <a:cubicBezTo>
                    <a:pt x="9" y="66"/>
                    <a:pt x="0" y="81"/>
                    <a:pt x="0" y="96"/>
                  </a:cubicBezTo>
                  <a:cubicBezTo>
                    <a:pt x="0" y="123"/>
                    <a:pt x="22" y="145"/>
                    <a:pt x="50" y="145"/>
                  </a:cubicBezTo>
                  <a:cubicBezTo>
                    <a:pt x="189" y="145"/>
                    <a:pt x="189" y="145"/>
                    <a:pt x="189" y="145"/>
                  </a:cubicBezTo>
                  <a:cubicBezTo>
                    <a:pt x="217" y="145"/>
                    <a:pt x="241" y="123"/>
                    <a:pt x="241" y="96"/>
                  </a:cubicBezTo>
                  <a:cubicBezTo>
                    <a:pt x="241" y="70"/>
                    <a:pt x="217" y="48"/>
                    <a:pt x="189" y="48"/>
                  </a:cubicBezTo>
                  <a:close/>
                  <a:moveTo>
                    <a:pt x="189" y="135"/>
                  </a:moveTo>
                  <a:cubicBezTo>
                    <a:pt x="50" y="135"/>
                    <a:pt x="50" y="135"/>
                    <a:pt x="50" y="135"/>
                  </a:cubicBezTo>
                  <a:cubicBezTo>
                    <a:pt x="27" y="135"/>
                    <a:pt x="9" y="118"/>
                    <a:pt x="9" y="96"/>
                  </a:cubicBezTo>
                  <a:cubicBezTo>
                    <a:pt x="9" y="84"/>
                    <a:pt x="17" y="71"/>
                    <a:pt x="30" y="64"/>
                  </a:cubicBezTo>
                  <a:cubicBezTo>
                    <a:pt x="32" y="62"/>
                    <a:pt x="32" y="62"/>
                    <a:pt x="32" y="62"/>
                  </a:cubicBezTo>
                  <a:cubicBezTo>
                    <a:pt x="32" y="60"/>
                    <a:pt x="32" y="60"/>
                    <a:pt x="32" y="60"/>
                  </a:cubicBezTo>
                  <a:cubicBezTo>
                    <a:pt x="37" y="31"/>
                    <a:pt x="61" y="10"/>
                    <a:pt x="90" y="10"/>
                  </a:cubicBezTo>
                  <a:cubicBezTo>
                    <a:pt x="103" y="10"/>
                    <a:pt x="115" y="15"/>
                    <a:pt x="126" y="24"/>
                  </a:cubicBezTo>
                  <a:cubicBezTo>
                    <a:pt x="128" y="25"/>
                    <a:pt x="128" y="25"/>
                    <a:pt x="128" y="25"/>
                  </a:cubicBezTo>
                  <a:cubicBezTo>
                    <a:pt x="130" y="25"/>
                    <a:pt x="130" y="25"/>
                    <a:pt x="130" y="25"/>
                  </a:cubicBezTo>
                  <a:cubicBezTo>
                    <a:pt x="132" y="25"/>
                    <a:pt x="136" y="24"/>
                    <a:pt x="138" y="24"/>
                  </a:cubicBezTo>
                  <a:cubicBezTo>
                    <a:pt x="156" y="24"/>
                    <a:pt x="173" y="37"/>
                    <a:pt x="179" y="54"/>
                  </a:cubicBezTo>
                  <a:cubicBezTo>
                    <a:pt x="180" y="58"/>
                    <a:pt x="180" y="58"/>
                    <a:pt x="180" y="58"/>
                  </a:cubicBezTo>
                  <a:cubicBezTo>
                    <a:pt x="184" y="58"/>
                    <a:pt x="184" y="58"/>
                    <a:pt x="184" y="58"/>
                  </a:cubicBezTo>
                  <a:cubicBezTo>
                    <a:pt x="185" y="57"/>
                    <a:pt x="187" y="57"/>
                    <a:pt x="189" y="57"/>
                  </a:cubicBezTo>
                  <a:cubicBezTo>
                    <a:pt x="212" y="57"/>
                    <a:pt x="231" y="75"/>
                    <a:pt x="231" y="96"/>
                  </a:cubicBezTo>
                  <a:cubicBezTo>
                    <a:pt x="231" y="117"/>
                    <a:pt x="212" y="135"/>
                    <a:pt x="189" y="135"/>
                  </a:cubicBezTo>
                  <a:close/>
                </a:path>
              </a:pathLst>
            </a:custGeom>
            <a:solidFill>
              <a:srgbClr val="81BC00"/>
            </a:solidFill>
            <a:ln>
              <a:noFill/>
            </a:ln>
          </p:spPr>
          <p:txBody>
            <a:bodyPr vert="horz" wrap="square" lIns="80682" tIns="40341" rIns="80682" bIns="40341" numCol="1" anchor="t" anchorCtr="0" compatLnSpc="1">
              <a:prstTxWarp prst="textNoShape">
                <a:avLst/>
              </a:prstTxWarp>
            </a:bodyPr>
            <a:lstStyle/>
            <a:p>
              <a:endParaRPr lang="en-US" sz="1588" dirty="0"/>
            </a:p>
          </p:txBody>
        </p:sp>
        <p:sp>
          <p:nvSpPr>
            <p:cNvPr id="29" name="Oval 28"/>
            <p:cNvSpPr/>
            <p:nvPr/>
          </p:nvSpPr>
          <p:spPr>
            <a:xfrm>
              <a:off x="10591800" y="2219846"/>
              <a:ext cx="1219200" cy="1219200"/>
            </a:xfrm>
            <a:prstGeom prst="ellipse">
              <a:avLst/>
            </a:prstGeom>
            <a:noFill/>
            <a:ln>
              <a:solidFill>
                <a:srgbClr val="81B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dirty="0"/>
            </a:p>
          </p:txBody>
        </p:sp>
      </p:grpSp>
      <p:grpSp>
        <p:nvGrpSpPr>
          <p:cNvPr id="30" name="Group 29"/>
          <p:cNvGrpSpPr/>
          <p:nvPr/>
        </p:nvGrpSpPr>
        <p:grpSpPr>
          <a:xfrm>
            <a:off x="3279957" y="4437529"/>
            <a:ext cx="656677" cy="473951"/>
            <a:chOff x="7635876" y="1039813"/>
            <a:chExt cx="547687" cy="395288"/>
          </a:xfrm>
          <a:solidFill>
            <a:srgbClr val="81BC00"/>
          </a:solidFill>
        </p:grpSpPr>
        <p:sp>
          <p:nvSpPr>
            <p:cNvPr id="31" name="Freeform 371"/>
            <p:cNvSpPr>
              <a:spLocks noEditPoints="1"/>
            </p:cNvSpPr>
            <p:nvPr/>
          </p:nvSpPr>
          <p:spPr bwMode="auto">
            <a:xfrm>
              <a:off x="7635876" y="1039813"/>
              <a:ext cx="398463" cy="395288"/>
            </a:xfrm>
            <a:custGeom>
              <a:avLst/>
              <a:gdLst>
                <a:gd name="T0" fmla="*/ 166 w 173"/>
                <a:gd name="T1" fmla="*/ 131 h 172"/>
                <a:gd name="T2" fmla="*/ 111 w 173"/>
                <a:gd name="T3" fmla="*/ 104 h 172"/>
                <a:gd name="T4" fmla="*/ 111 w 173"/>
                <a:gd name="T5" fmla="*/ 99 h 172"/>
                <a:gd name="T6" fmla="*/ 123 w 173"/>
                <a:gd name="T7" fmla="*/ 77 h 172"/>
                <a:gd name="T8" fmla="*/ 129 w 173"/>
                <a:gd name="T9" fmla="*/ 63 h 172"/>
                <a:gd name="T10" fmla="*/ 126 w 173"/>
                <a:gd name="T11" fmla="*/ 53 h 172"/>
                <a:gd name="T12" fmla="*/ 126 w 173"/>
                <a:gd name="T13" fmla="*/ 37 h 172"/>
                <a:gd name="T14" fmla="*/ 86 w 173"/>
                <a:gd name="T15" fmla="*/ 0 h 172"/>
                <a:gd name="T16" fmla="*/ 47 w 173"/>
                <a:gd name="T17" fmla="*/ 37 h 172"/>
                <a:gd name="T18" fmla="*/ 47 w 173"/>
                <a:gd name="T19" fmla="*/ 53 h 172"/>
                <a:gd name="T20" fmla="*/ 44 w 173"/>
                <a:gd name="T21" fmla="*/ 63 h 172"/>
                <a:gd name="T22" fmla="*/ 50 w 173"/>
                <a:gd name="T23" fmla="*/ 77 h 172"/>
                <a:gd name="T24" fmla="*/ 62 w 173"/>
                <a:gd name="T25" fmla="*/ 99 h 172"/>
                <a:gd name="T26" fmla="*/ 62 w 173"/>
                <a:gd name="T27" fmla="*/ 104 h 172"/>
                <a:gd name="T28" fmla="*/ 7 w 173"/>
                <a:gd name="T29" fmla="*/ 131 h 172"/>
                <a:gd name="T30" fmla="*/ 0 w 173"/>
                <a:gd name="T31" fmla="*/ 141 h 172"/>
                <a:gd name="T32" fmla="*/ 0 w 173"/>
                <a:gd name="T33" fmla="*/ 162 h 172"/>
                <a:gd name="T34" fmla="*/ 11 w 173"/>
                <a:gd name="T35" fmla="*/ 172 h 172"/>
                <a:gd name="T36" fmla="*/ 162 w 173"/>
                <a:gd name="T37" fmla="*/ 172 h 172"/>
                <a:gd name="T38" fmla="*/ 173 w 173"/>
                <a:gd name="T39" fmla="*/ 162 h 172"/>
                <a:gd name="T40" fmla="*/ 173 w 173"/>
                <a:gd name="T41" fmla="*/ 141 h 172"/>
                <a:gd name="T42" fmla="*/ 166 w 173"/>
                <a:gd name="T43" fmla="*/ 131 h 172"/>
                <a:gd name="T44" fmla="*/ 163 w 173"/>
                <a:gd name="T45" fmla="*/ 162 h 172"/>
                <a:gd name="T46" fmla="*/ 162 w 173"/>
                <a:gd name="T47" fmla="*/ 163 h 172"/>
                <a:gd name="T48" fmla="*/ 11 w 173"/>
                <a:gd name="T49" fmla="*/ 163 h 172"/>
                <a:gd name="T50" fmla="*/ 10 w 173"/>
                <a:gd name="T51" fmla="*/ 162 h 172"/>
                <a:gd name="T52" fmla="*/ 10 w 173"/>
                <a:gd name="T53" fmla="*/ 141 h 172"/>
                <a:gd name="T54" fmla="*/ 10 w 173"/>
                <a:gd name="T55" fmla="*/ 140 h 172"/>
                <a:gd name="T56" fmla="*/ 71 w 173"/>
                <a:gd name="T57" fmla="*/ 106 h 172"/>
                <a:gd name="T58" fmla="*/ 71 w 173"/>
                <a:gd name="T59" fmla="*/ 105 h 172"/>
                <a:gd name="T60" fmla="*/ 71 w 173"/>
                <a:gd name="T61" fmla="*/ 97 h 172"/>
                <a:gd name="T62" fmla="*/ 70 w 173"/>
                <a:gd name="T63" fmla="*/ 93 h 172"/>
                <a:gd name="T64" fmla="*/ 59 w 173"/>
                <a:gd name="T65" fmla="*/ 73 h 172"/>
                <a:gd name="T66" fmla="*/ 57 w 173"/>
                <a:gd name="T67" fmla="*/ 70 h 172"/>
                <a:gd name="T68" fmla="*/ 53 w 173"/>
                <a:gd name="T69" fmla="*/ 63 h 172"/>
                <a:gd name="T70" fmla="*/ 55 w 173"/>
                <a:gd name="T71" fmla="*/ 58 h 172"/>
                <a:gd name="T72" fmla="*/ 56 w 173"/>
                <a:gd name="T73" fmla="*/ 55 h 172"/>
                <a:gd name="T74" fmla="*/ 56 w 173"/>
                <a:gd name="T75" fmla="*/ 37 h 172"/>
                <a:gd name="T76" fmla="*/ 86 w 173"/>
                <a:gd name="T77" fmla="*/ 9 h 172"/>
                <a:gd name="T78" fmla="*/ 116 w 173"/>
                <a:gd name="T79" fmla="*/ 37 h 172"/>
                <a:gd name="T80" fmla="*/ 116 w 173"/>
                <a:gd name="T81" fmla="*/ 55 h 172"/>
                <a:gd name="T82" fmla="*/ 118 w 173"/>
                <a:gd name="T83" fmla="*/ 58 h 172"/>
                <a:gd name="T84" fmla="*/ 119 w 173"/>
                <a:gd name="T85" fmla="*/ 63 h 172"/>
                <a:gd name="T86" fmla="*/ 116 w 173"/>
                <a:gd name="T87" fmla="*/ 70 h 172"/>
                <a:gd name="T88" fmla="*/ 114 w 173"/>
                <a:gd name="T89" fmla="*/ 73 h 172"/>
                <a:gd name="T90" fmla="*/ 103 w 173"/>
                <a:gd name="T91" fmla="*/ 93 h 172"/>
                <a:gd name="T92" fmla="*/ 102 w 173"/>
                <a:gd name="T93" fmla="*/ 97 h 172"/>
                <a:gd name="T94" fmla="*/ 102 w 173"/>
                <a:gd name="T95" fmla="*/ 105 h 172"/>
                <a:gd name="T96" fmla="*/ 102 w 173"/>
                <a:gd name="T97" fmla="*/ 106 h 172"/>
                <a:gd name="T98" fmla="*/ 162 w 173"/>
                <a:gd name="T99" fmla="*/ 140 h 172"/>
                <a:gd name="T100" fmla="*/ 163 w 173"/>
                <a:gd name="T101" fmla="*/ 141 h 172"/>
                <a:gd name="T102" fmla="*/ 163 w 173"/>
                <a:gd name="T103" fmla="*/ 16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3" h="172">
                  <a:moveTo>
                    <a:pt x="166" y="131"/>
                  </a:moveTo>
                  <a:cubicBezTo>
                    <a:pt x="121" y="114"/>
                    <a:pt x="113" y="106"/>
                    <a:pt x="111" y="104"/>
                  </a:cubicBezTo>
                  <a:cubicBezTo>
                    <a:pt x="111" y="99"/>
                    <a:pt x="111" y="99"/>
                    <a:pt x="111" y="99"/>
                  </a:cubicBezTo>
                  <a:cubicBezTo>
                    <a:pt x="116" y="93"/>
                    <a:pt x="120" y="86"/>
                    <a:pt x="123" y="77"/>
                  </a:cubicBezTo>
                  <a:cubicBezTo>
                    <a:pt x="127" y="74"/>
                    <a:pt x="129" y="69"/>
                    <a:pt x="129" y="63"/>
                  </a:cubicBezTo>
                  <a:cubicBezTo>
                    <a:pt x="129" y="60"/>
                    <a:pt x="128" y="56"/>
                    <a:pt x="126" y="53"/>
                  </a:cubicBezTo>
                  <a:cubicBezTo>
                    <a:pt x="126" y="37"/>
                    <a:pt x="126" y="37"/>
                    <a:pt x="126" y="37"/>
                  </a:cubicBezTo>
                  <a:cubicBezTo>
                    <a:pt x="126" y="13"/>
                    <a:pt x="112" y="0"/>
                    <a:pt x="86" y="0"/>
                  </a:cubicBezTo>
                  <a:cubicBezTo>
                    <a:pt x="62" y="0"/>
                    <a:pt x="47" y="14"/>
                    <a:pt x="47" y="37"/>
                  </a:cubicBezTo>
                  <a:cubicBezTo>
                    <a:pt x="47" y="53"/>
                    <a:pt x="47" y="53"/>
                    <a:pt x="47" y="53"/>
                  </a:cubicBezTo>
                  <a:cubicBezTo>
                    <a:pt x="45" y="56"/>
                    <a:pt x="44" y="60"/>
                    <a:pt x="44" y="63"/>
                  </a:cubicBezTo>
                  <a:cubicBezTo>
                    <a:pt x="44" y="69"/>
                    <a:pt x="46" y="74"/>
                    <a:pt x="50" y="77"/>
                  </a:cubicBezTo>
                  <a:cubicBezTo>
                    <a:pt x="53" y="86"/>
                    <a:pt x="57" y="93"/>
                    <a:pt x="62" y="99"/>
                  </a:cubicBezTo>
                  <a:cubicBezTo>
                    <a:pt x="62" y="104"/>
                    <a:pt x="62" y="104"/>
                    <a:pt x="62" y="104"/>
                  </a:cubicBezTo>
                  <a:cubicBezTo>
                    <a:pt x="60" y="106"/>
                    <a:pt x="52" y="114"/>
                    <a:pt x="7" y="131"/>
                  </a:cubicBezTo>
                  <a:cubicBezTo>
                    <a:pt x="3" y="133"/>
                    <a:pt x="0" y="137"/>
                    <a:pt x="0" y="141"/>
                  </a:cubicBezTo>
                  <a:cubicBezTo>
                    <a:pt x="0" y="162"/>
                    <a:pt x="0" y="162"/>
                    <a:pt x="0" y="162"/>
                  </a:cubicBezTo>
                  <a:cubicBezTo>
                    <a:pt x="0" y="168"/>
                    <a:pt x="5" y="172"/>
                    <a:pt x="11" y="172"/>
                  </a:cubicBezTo>
                  <a:cubicBezTo>
                    <a:pt x="162" y="172"/>
                    <a:pt x="162" y="172"/>
                    <a:pt x="162" y="172"/>
                  </a:cubicBezTo>
                  <a:cubicBezTo>
                    <a:pt x="168" y="172"/>
                    <a:pt x="173" y="168"/>
                    <a:pt x="173" y="162"/>
                  </a:cubicBezTo>
                  <a:cubicBezTo>
                    <a:pt x="173" y="141"/>
                    <a:pt x="173" y="141"/>
                    <a:pt x="173" y="141"/>
                  </a:cubicBezTo>
                  <a:cubicBezTo>
                    <a:pt x="173" y="137"/>
                    <a:pt x="170" y="133"/>
                    <a:pt x="166" y="131"/>
                  </a:cubicBezTo>
                  <a:close/>
                  <a:moveTo>
                    <a:pt x="163" y="162"/>
                  </a:moveTo>
                  <a:cubicBezTo>
                    <a:pt x="163" y="162"/>
                    <a:pt x="163" y="163"/>
                    <a:pt x="162" y="163"/>
                  </a:cubicBezTo>
                  <a:cubicBezTo>
                    <a:pt x="11" y="163"/>
                    <a:pt x="11" y="163"/>
                    <a:pt x="11" y="163"/>
                  </a:cubicBezTo>
                  <a:cubicBezTo>
                    <a:pt x="10" y="163"/>
                    <a:pt x="10" y="162"/>
                    <a:pt x="10" y="162"/>
                  </a:cubicBezTo>
                  <a:cubicBezTo>
                    <a:pt x="10" y="141"/>
                    <a:pt x="10" y="141"/>
                    <a:pt x="10" y="141"/>
                  </a:cubicBezTo>
                  <a:cubicBezTo>
                    <a:pt x="10" y="141"/>
                    <a:pt x="10" y="140"/>
                    <a:pt x="10" y="140"/>
                  </a:cubicBezTo>
                  <a:cubicBezTo>
                    <a:pt x="61" y="121"/>
                    <a:pt x="69" y="112"/>
                    <a:pt x="71" y="106"/>
                  </a:cubicBezTo>
                  <a:cubicBezTo>
                    <a:pt x="71" y="106"/>
                    <a:pt x="71" y="106"/>
                    <a:pt x="71" y="105"/>
                  </a:cubicBezTo>
                  <a:cubicBezTo>
                    <a:pt x="71" y="97"/>
                    <a:pt x="71" y="97"/>
                    <a:pt x="71" y="97"/>
                  </a:cubicBezTo>
                  <a:cubicBezTo>
                    <a:pt x="71" y="96"/>
                    <a:pt x="71" y="94"/>
                    <a:pt x="70" y="93"/>
                  </a:cubicBezTo>
                  <a:cubicBezTo>
                    <a:pt x="65" y="88"/>
                    <a:pt x="61" y="81"/>
                    <a:pt x="59" y="73"/>
                  </a:cubicBezTo>
                  <a:cubicBezTo>
                    <a:pt x="59" y="72"/>
                    <a:pt x="58" y="71"/>
                    <a:pt x="57" y="70"/>
                  </a:cubicBezTo>
                  <a:cubicBezTo>
                    <a:pt x="55" y="69"/>
                    <a:pt x="53" y="66"/>
                    <a:pt x="53" y="63"/>
                  </a:cubicBezTo>
                  <a:cubicBezTo>
                    <a:pt x="53" y="61"/>
                    <a:pt x="54" y="59"/>
                    <a:pt x="55" y="58"/>
                  </a:cubicBezTo>
                  <a:cubicBezTo>
                    <a:pt x="56" y="57"/>
                    <a:pt x="56" y="56"/>
                    <a:pt x="56" y="55"/>
                  </a:cubicBezTo>
                  <a:cubicBezTo>
                    <a:pt x="56" y="37"/>
                    <a:pt x="56" y="37"/>
                    <a:pt x="56" y="37"/>
                  </a:cubicBezTo>
                  <a:cubicBezTo>
                    <a:pt x="56" y="19"/>
                    <a:pt x="67" y="9"/>
                    <a:pt x="86" y="9"/>
                  </a:cubicBezTo>
                  <a:cubicBezTo>
                    <a:pt x="106" y="9"/>
                    <a:pt x="116" y="19"/>
                    <a:pt x="116" y="37"/>
                  </a:cubicBezTo>
                  <a:cubicBezTo>
                    <a:pt x="116" y="55"/>
                    <a:pt x="116" y="55"/>
                    <a:pt x="116" y="55"/>
                  </a:cubicBezTo>
                  <a:cubicBezTo>
                    <a:pt x="116" y="56"/>
                    <a:pt x="117" y="57"/>
                    <a:pt x="118" y="58"/>
                  </a:cubicBezTo>
                  <a:cubicBezTo>
                    <a:pt x="118" y="59"/>
                    <a:pt x="119" y="61"/>
                    <a:pt x="119" y="63"/>
                  </a:cubicBezTo>
                  <a:cubicBezTo>
                    <a:pt x="119" y="66"/>
                    <a:pt x="118" y="69"/>
                    <a:pt x="116" y="70"/>
                  </a:cubicBezTo>
                  <a:cubicBezTo>
                    <a:pt x="115" y="71"/>
                    <a:pt x="114" y="72"/>
                    <a:pt x="114" y="73"/>
                  </a:cubicBezTo>
                  <a:cubicBezTo>
                    <a:pt x="112" y="81"/>
                    <a:pt x="108" y="88"/>
                    <a:pt x="103" y="93"/>
                  </a:cubicBezTo>
                  <a:cubicBezTo>
                    <a:pt x="102" y="94"/>
                    <a:pt x="102" y="96"/>
                    <a:pt x="102" y="97"/>
                  </a:cubicBezTo>
                  <a:cubicBezTo>
                    <a:pt x="102" y="105"/>
                    <a:pt x="102" y="105"/>
                    <a:pt x="102" y="105"/>
                  </a:cubicBezTo>
                  <a:cubicBezTo>
                    <a:pt x="102" y="106"/>
                    <a:pt x="102" y="106"/>
                    <a:pt x="102" y="106"/>
                  </a:cubicBezTo>
                  <a:cubicBezTo>
                    <a:pt x="104" y="112"/>
                    <a:pt x="112" y="121"/>
                    <a:pt x="162" y="140"/>
                  </a:cubicBezTo>
                  <a:cubicBezTo>
                    <a:pt x="163" y="140"/>
                    <a:pt x="163" y="141"/>
                    <a:pt x="163" y="141"/>
                  </a:cubicBezTo>
                  <a:lnTo>
                    <a:pt x="163" y="1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2" name="Freeform 372"/>
            <p:cNvSpPr>
              <a:spLocks/>
            </p:cNvSpPr>
            <p:nvPr/>
          </p:nvSpPr>
          <p:spPr bwMode="auto">
            <a:xfrm>
              <a:off x="7932738" y="1062038"/>
              <a:ext cx="250825" cy="373063"/>
            </a:xfrm>
            <a:custGeom>
              <a:avLst/>
              <a:gdLst>
                <a:gd name="T0" fmla="*/ 102 w 109"/>
                <a:gd name="T1" fmla="*/ 123 h 162"/>
                <a:gd name="T2" fmla="*/ 69 w 109"/>
                <a:gd name="T3" fmla="*/ 115 h 162"/>
                <a:gd name="T4" fmla="*/ 51 w 109"/>
                <a:gd name="T5" fmla="*/ 110 h 162"/>
                <a:gd name="T6" fmla="*/ 51 w 109"/>
                <a:gd name="T7" fmla="*/ 105 h 162"/>
                <a:gd name="T8" fmla="*/ 84 w 109"/>
                <a:gd name="T9" fmla="*/ 96 h 162"/>
                <a:gd name="T10" fmla="*/ 85 w 109"/>
                <a:gd name="T11" fmla="*/ 92 h 162"/>
                <a:gd name="T12" fmla="*/ 83 w 109"/>
                <a:gd name="T13" fmla="*/ 89 h 162"/>
                <a:gd name="T14" fmla="*/ 72 w 109"/>
                <a:gd name="T15" fmla="*/ 47 h 162"/>
                <a:gd name="T16" fmla="*/ 57 w 109"/>
                <a:gd name="T17" fmla="*/ 12 h 162"/>
                <a:gd name="T18" fmla="*/ 43 w 109"/>
                <a:gd name="T19" fmla="*/ 3 h 162"/>
                <a:gd name="T20" fmla="*/ 13 w 109"/>
                <a:gd name="T21" fmla="*/ 4 h 162"/>
                <a:gd name="T22" fmla="*/ 2 w 109"/>
                <a:gd name="T23" fmla="*/ 9 h 162"/>
                <a:gd name="T24" fmla="*/ 2 w 109"/>
                <a:gd name="T25" fmla="*/ 16 h 162"/>
                <a:gd name="T26" fmla="*/ 8 w 109"/>
                <a:gd name="T27" fmla="*/ 17 h 162"/>
                <a:gd name="T28" fmla="*/ 16 w 109"/>
                <a:gd name="T29" fmla="*/ 13 h 162"/>
                <a:gd name="T30" fmla="*/ 40 w 109"/>
                <a:gd name="T31" fmla="*/ 12 h 162"/>
                <a:gd name="T32" fmla="*/ 50 w 109"/>
                <a:gd name="T33" fmla="*/ 19 h 162"/>
                <a:gd name="T34" fmla="*/ 51 w 109"/>
                <a:gd name="T35" fmla="*/ 19 h 162"/>
                <a:gd name="T36" fmla="*/ 62 w 109"/>
                <a:gd name="T37" fmla="*/ 47 h 162"/>
                <a:gd name="T38" fmla="*/ 73 w 109"/>
                <a:gd name="T39" fmla="*/ 91 h 162"/>
                <a:gd name="T40" fmla="*/ 47 w 109"/>
                <a:gd name="T41" fmla="*/ 96 h 162"/>
                <a:gd name="T42" fmla="*/ 42 w 109"/>
                <a:gd name="T43" fmla="*/ 101 h 162"/>
                <a:gd name="T44" fmla="*/ 42 w 109"/>
                <a:gd name="T45" fmla="*/ 112 h 162"/>
                <a:gd name="T46" fmla="*/ 42 w 109"/>
                <a:gd name="T47" fmla="*/ 113 h 162"/>
                <a:gd name="T48" fmla="*/ 67 w 109"/>
                <a:gd name="T49" fmla="*/ 124 h 162"/>
                <a:gd name="T50" fmla="*/ 99 w 109"/>
                <a:gd name="T51" fmla="*/ 132 h 162"/>
                <a:gd name="T52" fmla="*/ 99 w 109"/>
                <a:gd name="T53" fmla="*/ 133 h 162"/>
                <a:gd name="T54" fmla="*/ 99 w 109"/>
                <a:gd name="T55" fmla="*/ 152 h 162"/>
                <a:gd name="T56" fmla="*/ 98 w 109"/>
                <a:gd name="T57" fmla="*/ 153 h 162"/>
                <a:gd name="T58" fmla="*/ 57 w 109"/>
                <a:gd name="T59" fmla="*/ 153 h 162"/>
                <a:gd name="T60" fmla="*/ 53 w 109"/>
                <a:gd name="T61" fmla="*/ 158 h 162"/>
                <a:gd name="T62" fmla="*/ 57 w 109"/>
                <a:gd name="T63" fmla="*/ 162 h 162"/>
                <a:gd name="T64" fmla="*/ 98 w 109"/>
                <a:gd name="T65" fmla="*/ 162 h 162"/>
                <a:gd name="T66" fmla="*/ 109 w 109"/>
                <a:gd name="T67" fmla="*/ 152 h 162"/>
                <a:gd name="T68" fmla="*/ 109 w 109"/>
                <a:gd name="T69" fmla="*/ 133 h 162"/>
                <a:gd name="T70" fmla="*/ 102 w 109"/>
                <a:gd name="T71" fmla="*/ 12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9" h="162">
                  <a:moveTo>
                    <a:pt x="102" y="123"/>
                  </a:moveTo>
                  <a:cubicBezTo>
                    <a:pt x="91" y="119"/>
                    <a:pt x="79" y="117"/>
                    <a:pt x="69" y="115"/>
                  </a:cubicBezTo>
                  <a:cubicBezTo>
                    <a:pt x="62" y="114"/>
                    <a:pt x="53" y="112"/>
                    <a:pt x="51" y="110"/>
                  </a:cubicBezTo>
                  <a:cubicBezTo>
                    <a:pt x="51" y="105"/>
                    <a:pt x="51" y="105"/>
                    <a:pt x="51" y="105"/>
                  </a:cubicBezTo>
                  <a:cubicBezTo>
                    <a:pt x="74" y="104"/>
                    <a:pt x="83" y="97"/>
                    <a:pt x="84" y="96"/>
                  </a:cubicBezTo>
                  <a:cubicBezTo>
                    <a:pt x="85" y="95"/>
                    <a:pt x="86" y="94"/>
                    <a:pt x="85" y="92"/>
                  </a:cubicBezTo>
                  <a:cubicBezTo>
                    <a:pt x="85" y="91"/>
                    <a:pt x="84" y="89"/>
                    <a:pt x="83" y="89"/>
                  </a:cubicBezTo>
                  <a:cubicBezTo>
                    <a:pt x="78" y="86"/>
                    <a:pt x="73" y="65"/>
                    <a:pt x="72" y="47"/>
                  </a:cubicBezTo>
                  <a:cubicBezTo>
                    <a:pt x="72" y="34"/>
                    <a:pt x="67" y="21"/>
                    <a:pt x="57" y="12"/>
                  </a:cubicBezTo>
                  <a:cubicBezTo>
                    <a:pt x="54" y="8"/>
                    <a:pt x="49" y="5"/>
                    <a:pt x="43" y="3"/>
                  </a:cubicBezTo>
                  <a:cubicBezTo>
                    <a:pt x="33" y="0"/>
                    <a:pt x="22" y="0"/>
                    <a:pt x="13" y="4"/>
                  </a:cubicBezTo>
                  <a:cubicBezTo>
                    <a:pt x="9" y="5"/>
                    <a:pt x="5" y="7"/>
                    <a:pt x="2" y="9"/>
                  </a:cubicBezTo>
                  <a:cubicBezTo>
                    <a:pt x="0" y="11"/>
                    <a:pt x="0" y="14"/>
                    <a:pt x="2" y="16"/>
                  </a:cubicBezTo>
                  <a:cubicBezTo>
                    <a:pt x="3" y="18"/>
                    <a:pt x="6" y="18"/>
                    <a:pt x="8" y="17"/>
                  </a:cubicBezTo>
                  <a:cubicBezTo>
                    <a:pt x="10" y="15"/>
                    <a:pt x="13" y="14"/>
                    <a:pt x="16" y="13"/>
                  </a:cubicBezTo>
                  <a:cubicBezTo>
                    <a:pt x="24" y="10"/>
                    <a:pt x="31" y="9"/>
                    <a:pt x="40" y="12"/>
                  </a:cubicBezTo>
                  <a:cubicBezTo>
                    <a:pt x="44" y="14"/>
                    <a:pt x="48" y="16"/>
                    <a:pt x="50" y="19"/>
                  </a:cubicBezTo>
                  <a:cubicBezTo>
                    <a:pt x="50" y="19"/>
                    <a:pt x="50" y="19"/>
                    <a:pt x="51" y="19"/>
                  </a:cubicBezTo>
                  <a:cubicBezTo>
                    <a:pt x="58" y="26"/>
                    <a:pt x="62" y="36"/>
                    <a:pt x="62" y="47"/>
                  </a:cubicBezTo>
                  <a:cubicBezTo>
                    <a:pt x="63" y="55"/>
                    <a:pt x="66" y="80"/>
                    <a:pt x="73" y="91"/>
                  </a:cubicBezTo>
                  <a:cubicBezTo>
                    <a:pt x="68" y="93"/>
                    <a:pt x="60" y="96"/>
                    <a:pt x="47" y="96"/>
                  </a:cubicBezTo>
                  <a:cubicBezTo>
                    <a:pt x="44" y="96"/>
                    <a:pt x="42" y="98"/>
                    <a:pt x="42" y="101"/>
                  </a:cubicBezTo>
                  <a:cubicBezTo>
                    <a:pt x="42" y="112"/>
                    <a:pt x="42" y="112"/>
                    <a:pt x="42" y="112"/>
                  </a:cubicBezTo>
                  <a:cubicBezTo>
                    <a:pt x="42" y="112"/>
                    <a:pt x="42" y="113"/>
                    <a:pt x="42" y="113"/>
                  </a:cubicBezTo>
                  <a:cubicBezTo>
                    <a:pt x="44" y="120"/>
                    <a:pt x="53" y="122"/>
                    <a:pt x="67" y="124"/>
                  </a:cubicBezTo>
                  <a:cubicBezTo>
                    <a:pt x="76" y="126"/>
                    <a:pt x="88" y="128"/>
                    <a:pt x="99" y="132"/>
                  </a:cubicBezTo>
                  <a:cubicBezTo>
                    <a:pt x="99" y="132"/>
                    <a:pt x="99" y="133"/>
                    <a:pt x="99" y="133"/>
                  </a:cubicBezTo>
                  <a:cubicBezTo>
                    <a:pt x="99" y="152"/>
                    <a:pt x="99" y="152"/>
                    <a:pt x="99" y="152"/>
                  </a:cubicBezTo>
                  <a:cubicBezTo>
                    <a:pt x="99" y="152"/>
                    <a:pt x="99" y="153"/>
                    <a:pt x="98" y="153"/>
                  </a:cubicBezTo>
                  <a:cubicBezTo>
                    <a:pt x="57" y="153"/>
                    <a:pt x="57" y="153"/>
                    <a:pt x="57" y="153"/>
                  </a:cubicBezTo>
                  <a:cubicBezTo>
                    <a:pt x="55" y="153"/>
                    <a:pt x="53" y="155"/>
                    <a:pt x="53" y="158"/>
                  </a:cubicBezTo>
                  <a:cubicBezTo>
                    <a:pt x="53" y="160"/>
                    <a:pt x="55" y="162"/>
                    <a:pt x="57" y="162"/>
                  </a:cubicBezTo>
                  <a:cubicBezTo>
                    <a:pt x="98" y="162"/>
                    <a:pt x="98" y="162"/>
                    <a:pt x="98" y="162"/>
                  </a:cubicBezTo>
                  <a:cubicBezTo>
                    <a:pt x="104" y="162"/>
                    <a:pt x="109" y="158"/>
                    <a:pt x="109" y="152"/>
                  </a:cubicBezTo>
                  <a:cubicBezTo>
                    <a:pt x="109" y="133"/>
                    <a:pt x="109" y="133"/>
                    <a:pt x="109" y="133"/>
                  </a:cubicBezTo>
                  <a:cubicBezTo>
                    <a:pt x="109" y="129"/>
                    <a:pt x="106" y="125"/>
                    <a:pt x="102" y="12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33" name="Group 32"/>
          <p:cNvGrpSpPr/>
          <p:nvPr/>
        </p:nvGrpSpPr>
        <p:grpSpPr>
          <a:xfrm>
            <a:off x="6619070" y="4370294"/>
            <a:ext cx="567505" cy="608421"/>
            <a:chOff x="234950" y="2876550"/>
            <a:chExt cx="506413" cy="542925"/>
          </a:xfrm>
          <a:solidFill>
            <a:srgbClr val="81BC00"/>
          </a:solidFill>
        </p:grpSpPr>
        <p:sp>
          <p:nvSpPr>
            <p:cNvPr id="34" name="Freeform 50"/>
            <p:cNvSpPr>
              <a:spLocks noEditPoints="1"/>
            </p:cNvSpPr>
            <p:nvPr/>
          </p:nvSpPr>
          <p:spPr bwMode="auto">
            <a:xfrm>
              <a:off x="234950" y="2930525"/>
              <a:ext cx="450850" cy="488950"/>
            </a:xfrm>
            <a:custGeom>
              <a:avLst/>
              <a:gdLst>
                <a:gd name="T0" fmla="*/ 107 w 191"/>
                <a:gd name="T1" fmla="*/ 2 h 207"/>
                <a:gd name="T2" fmla="*/ 103 w 191"/>
                <a:gd name="T3" fmla="*/ 0 h 207"/>
                <a:gd name="T4" fmla="*/ 99 w 191"/>
                <a:gd name="T5" fmla="*/ 3 h 207"/>
                <a:gd name="T6" fmla="*/ 35 w 191"/>
                <a:gd name="T7" fmla="*/ 125 h 207"/>
                <a:gd name="T8" fmla="*/ 21 w 191"/>
                <a:gd name="T9" fmla="*/ 139 h 207"/>
                <a:gd name="T10" fmla="*/ 2 w 191"/>
                <a:gd name="T11" fmla="*/ 152 h 207"/>
                <a:gd name="T12" fmla="*/ 0 w 191"/>
                <a:gd name="T13" fmla="*/ 155 h 207"/>
                <a:gd name="T14" fmla="*/ 1 w 191"/>
                <a:gd name="T15" fmla="*/ 159 h 207"/>
                <a:gd name="T16" fmla="*/ 32 w 191"/>
                <a:gd name="T17" fmla="*/ 189 h 207"/>
                <a:gd name="T18" fmla="*/ 35 w 191"/>
                <a:gd name="T19" fmla="*/ 190 h 207"/>
                <a:gd name="T20" fmla="*/ 35 w 191"/>
                <a:gd name="T21" fmla="*/ 190 h 207"/>
                <a:gd name="T22" fmla="*/ 39 w 191"/>
                <a:gd name="T23" fmla="*/ 188 h 207"/>
                <a:gd name="T24" fmla="*/ 50 w 191"/>
                <a:gd name="T25" fmla="*/ 172 h 207"/>
                <a:gd name="T26" fmla="*/ 50 w 191"/>
                <a:gd name="T27" fmla="*/ 172 h 207"/>
                <a:gd name="T28" fmla="*/ 99 w 191"/>
                <a:gd name="T29" fmla="*/ 205 h 207"/>
                <a:gd name="T30" fmla="*/ 105 w 191"/>
                <a:gd name="T31" fmla="*/ 207 h 207"/>
                <a:gd name="T32" fmla="*/ 112 w 191"/>
                <a:gd name="T33" fmla="*/ 204 h 207"/>
                <a:gd name="T34" fmla="*/ 118 w 191"/>
                <a:gd name="T35" fmla="*/ 199 h 207"/>
                <a:gd name="T36" fmla="*/ 121 w 191"/>
                <a:gd name="T37" fmla="*/ 192 h 207"/>
                <a:gd name="T38" fmla="*/ 118 w 191"/>
                <a:gd name="T39" fmla="*/ 185 h 207"/>
                <a:gd name="T40" fmla="*/ 117 w 191"/>
                <a:gd name="T41" fmla="*/ 184 h 207"/>
                <a:gd name="T42" fmla="*/ 70 w 191"/>
                <a:gd name="T43" fmla="*/ 153 h 207"/>
                <a:gd name="T44" fmla="*/ 188 w 191"/>
                <a:gd name="T45" fmla="*/ 91 h 207"/>
                <a:gd name="T46" fmla="*/ 190 w 191"/>
                <a:gd name="T47" fmla="*/ 88 h 207"/>
                <a:gd name="T48" fmla="*/ 189 w 191"/>
                <a:gd name="T49" fmla="*/ 84 h 207"/>
                <a:gd name="T50" fmla="*/ 107 w 191"/>
                <a:gd name="T51" fmla="*/ 2 h 207"/>
                <a:gd name="T52" fmla="*/ 39 w 191"/>
                <a:gd name="T53" fmla="*/ 135 h 207"/>
                <a:gd name="T54" fmla="*/ 56 w 191"/>
                <a:gd name="T55" fmla="*/ 151 h 207"/>
                <a:gd name="T56" fmla="*/ 55 w 191"/>
                <a:gd name="T57" fmla="*/ 152 h 207"/>
                <a:gd name="T58" fmla="*/ 55 w 191"/>
                <a:gd name="T59" fmla="*/ 152 h 207"/>
                <a:gd name="T60" fmla="*/ 49 w 191"/>
                <a:gd name="T61" fmla="*/ 158 h 207"/>
                <a:gd name="T62" fmla="*/ 49 w 191"/>
                <a:gd name="T63" fmla="*/ 158 h 207"/>
                <a:gd name="T64" fmla="*/ 49 w 191"/>
                <a:gd name="T65" fmla="*/ 158 h 207"/>
                <a:gd name="T66" fmla="*/ 32 w 191"/>
                <a:gd name="T67" fmla="*/ 141 h 207"/>
                <a:gd name="T68" fmla="*/ 39 w 191"/>
                <a:gd name="T69" fmla="*/ 135 h 207"/>
                <a:gd name="T70" fmla="*/ 34 w 191"/>
                <a:gd name="T71" fmla="*/ 178 h 207"/>
                <a:gd name="T72" fmla="*/ 12 w 191"/>
                <a:gd name="T73" fmla="*/ 156 h 207"/>
                <a:gd name="T74" fmla="*/ 25 w 191"/>
                <a:gd name="T75" fmla="*/ 148 h 207"/>
                <a:gd name="T76" fmla="*/ 43 w 191"/>
                <a:gd name="T77" fmla="*/ 165 h 207"/>
                <a:gd name="T78" fmla="*/ 34 w 191"/>
                <a:gd name="T79" fmla="*/ 178 h 207"/>
                <a:gd name="T80" fmla="*/ 106 w 191"/>
                <a:gd name="T81" fmla="*/ 198 h 207"/>
                <a:gd name="T82" fmla="*/ 105 w 191"/>
                <a:gd name="T83" fmla="*/ 198 h 207"/>
                <a:gd name="T84" fmla="*/ 105 w 191"/>
                <a:gd name="T85" fmla="*/ 198 h 207"/>
                <a:gd name="T86" fmla="*/ 104 w 191"/>
                <a:gd name="T87" fmla="*/ 197 h 207"/>
                <a:gd name="T88" fmla="*/ 56 w 191"/>
                <a:gd name="T89" fmla="*/ 165 h 207"/>
                <a:gd name="T90" fmla="*/ 56 w 191"/>
                <a:gd name="T91" fmla="*/ 165 h 207"/>
                <a:gd name="T92" fmla="*/ 62 w 191"/>
                <a:gd name="T93" fmla="*/ 159 h 207"/>
                <a:gd name="T94" fmla="*/ 63 w 191"/>
                <a:gd name="T95" fmla="*/ 159 h 207"/>
                <a:gd name="T96" fmla="*/ 111 w 191"/>
                <a:gd name="T97" fmla="*/ 192 h 207"/>
                <a:gd name="T98" fmla="*/ 106 w 191"/>
                <a:gd name="T99" fmla="*/ 198 h 207"/>
                <a:gd name="T100" fmla="*/ 64 w 191"/>
                <a:gd name="T101" fmla="*/ 146 h 207"/>
                <a:gd name="T102" fmla="*/ 45 w 191"/>
                <a:gd name="T103" fmla="*/ 127 h 207"/>
                <a:gd name="T104" fmla="*/ 104 w 191"/>
                <a:gd name="T105" fmla="*/ 13 h 207"/>
                <a:gd name="T106" fmla="*/ 178 w 191"/>
                <a:gd name="T107" fmla="*/ 86 h 207"/>
                <a:gd name="T108" fmla="*/ 64 w 191"/>
                <a:gd name="T109" fmla="*/ 146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1" h="207">
                  <a:moveTo>
                    <a:pt x="107" y="2"/>
                  </a:moveTo>
                  <a:cubicBezTo>
                    <a:pt x="106" y="1"/>
                    <a:pt x="104" y="0"/>
                    <a:pt x="103" y="0"/>
                  </a:cubicBezTo>
                  <a:cubicBezTo>
                    <a:pt x="101" y="0"/>
                    <a:pt x="100" y="1"/>
                    <a:pt x="99" y="3"/>
                  </a:cubicBezTo>
                  <a:cubicBezTo>
                    <a:pt x="35" y="125"/>
                    <a:pt x="35" y="125"/>
                    <a:pt x="35" y="125"/>
                  </a:cubicBezTo>
                  <a:cubicBezTo>
                    <a:pt x="21" y="139"/>
                    <a:pt x="21" y="139"/>
                    <a:pt x="21" y="139"/>
                  </a:cubicBezTo>
                  <a:cubicBezTo>
                    <a:pt x="2" y="152"/>
                    <a:pt x="2" y="152"/>
                    <a:pt x="2" y="152"/>
                  </a:cubicBezTo>
                  <a:cubicBezTo>
                    <a:pt x="1" y="152"/>
                    <a:pt x="0" y="154"/>
                    <a:pt x="0" y="155"/>
                  </a:cubicBezTo>
                  <a:cubicBezTo>
                    <a:pt x="0" y="157"/>
                    <a:pt x="0" y="158"/>
                    <a:pt x="1" y="159"/>
                  </a:cubicBezTo>
                  <a:cubicBezTo>
                    <a:pt x="32" y="189"/>
                    <a:pt x="32" y="189"/>
                    <a:pt x="32" y="189"/>
                  </a:cubicBezTo>
                  <a:cubicBezTo>
                    <a:pt x="32" y="190"/>
                    <a:pt x="34" y="190"/>
                    <a:pt x="35" y="190"/>
                  </a:cubicBezTo>
                  <a:cubicBezTo>
                    <a:pt x="35" y="190"/>
                    <a:pt x="35" y="190"/>
                    <a:pt x="35" y="190"/>
                  </a:cubicBezTo>
                  <a:cubicBezTo>
                    <a:pt x="37" y="190"/>
                    <a:pt x="38" y="190"/>
                    <a:pt x="39" y="188"/>
                  </a:cubicBezTo>
                  <a:cubicBezTo>
                    <a:pt x="50" y="172"/>
                    <a:pt x="50" y="172"/>
                    <a:pt x="50" y="172"/>
                  </a:cubicBezTo>
                  <a:cubicBezTo>
                    <a:pt x="50" y="172"/>
                    <a:pt x="50" y="172"/>
                    <a:pt x="50" y="172"/>
                  </a:cubicBezTo>
                  <a:cubicBezTo>
                    <a:pt x="99" y="205"/>
                    <a:pt x="99" y="205"/>
                    <a:pt x="99" y="205"/>
                  </a:cubicBezTo>
                  <a:cubicBezTo>
                    <a:pt x="101" y="206"/>
                    <a:pt x="103" y="207"/>
                    <a:pt x="105" y="207"/>
                  </a:cubicBezTo>
                  <a:cubicBezTo>
                    <a:pt x="108" y="207"/>
                    <a:pt x="110" y="206"/>
                    <a:pt x="112" y="204"/>
                  </a:cubicBezTo>
                  <a:cubicBezTo>
                    <a:pt x="118" y="199"/>
                    <a:pt x="118" y="199"/>
                    <a:pt x="118" y="199"/>
                  </a:cubicBezTo>
                  <a:cubicBezTo>
                    <a:pt x="120" y="197"/>
                    <a:pt x="121" y="194"/>
                    <a:pt x="121" y="192"/>
                  </a:cubicBezTo>
                  <a:cubicBezTo>
                    <a:pt x="121" y="189"/>
                    <a:pt x="120" y="187"/>
                    <a:pt x="118" y="185"/>
                  </a:cubicBezTo>
                  <a:cubicBezTo>
                    <a:pt x="118" y="185"/>
                    <a:pt x="118" y="184"/>
                    <a:pt x="117" y="184"/>
                  </a:cubicBezTo>
                  <a:cubicBezTo>
                    <a:pt x="70" y="153"/>
                    <a:pt x="70" y="153"/>
                    <a:pt x="70" y="153"/>
                  </a:cubicBezTo>
                  <a:cubicBezTo>
                    <a:pt x="188" y="91"/>
                    <a:pt x="188" y="91"/>
                    <a:pt x="188" y="91"/>
                  </a:cubicBezTo>
                  <a:cubicBezTo>
                    <a:pt x="189" y="91"/>
                    <a:pt x="190" y="89"/>
                    <a:pt x="190" y="88"/>
                  </a:cubicBezTo>
                  <a:cubicBezTo>
                    <a:pt x="191" y="86"/>
                    <a:pt x="190" y="85"/>
                    <a:pt x="189" y="84"/>
                  </a:cubicBezTo>
                  <a:lnTo>
                    <a:pt x="107" y="2"/>
                  </a:lnTo>
                  <a:close/>
                  <a:moveTo>
                    <a:pt x="39" y="135"/>
                  </a:moveTo>
                  <a:cubicBezTo>
                    <a:pt x="56" y="151"/>
                    <a:pt x="56" y="151"/>
                    <a:pt x="56" y="151"/>
                  </a:cubicBezTo>
                  <a:cubicBezTo>
                    <a:pt x="55" y="152"/>
                    <a:pt x="55" y="152"/>
                    <a:pt x="55" y="152"/>
                  </a:cubicBezTo>
                  <a:cubicBezTo>
                    <a:pt x="55" y="152"/>
                    <a:pt x="55" y="152"/>
                    <a:pt x="55" y="152"/>
                  </a:cubicBezTo>
                  <a:cubicBezTo>
                    <a:pt x="49" y="158"/>
                    <a:pt x="49" y="158"/>
                    <a:pt x="49" y="158"/>
                  </a:cubicBezTo>
                  <a:cubicBezTo>
                    <a:pt x="49" y="158"/>
                    <a:pt x="49" y="158"/>
                    <a:pt x="49" y="158"/>
                  </a:cubicBezTo>
                  <a:cubicBezTo>
                    <a:pt x="49" y="158"/>
                    <a:pt x="49" y="158"/>
                    <a:pt x="49" y="158"/>
                  </a:cubicBezTo>
                  <a:cubicBezTo>
                    <a:pt x="32" y="141"/>
                    <a:pt x="32" y="141"/>
                    <a:pt x="32" y="141"/>
                  </a:cubicBezTo>
                  <a:lnTo>
                    <a:pt x="39" y="135"/>
                  </a:lnTo>
                  <a:close/>
                  <a:moveTo>
                    <a:pt x="34" y="178"/>
                  </a:moveTo>
                  <a:cubicBezTo>
                    <a:pt x="12" y="156"/>
                    <a:pt x="12" y="156"/>
                    <a:pt x="12" y="156"/>
                  </a:cubicBezTo>
                  <a:cubicBezTo>
                    <a:pt x="25" y="148"/>
                    <a:pt x="25" y="148"/>
                    <a:pt x="25" y="148"/>
                  </a:cubicBezTo>
                  <a:cubicBezTo>
                    <a:pt x="43" y="165"/>
                    <a:pt x="43" y="165"/>
                    <a:pt x="43" y="165"/>
                  </a:cubicBezTo>
                  <a:lnTo>
                    <a:pt x="34" y="178"/>
                  </a:lnTo>
                  <a:close/>
                  <a:moveTo>
                    <a:pt x="106" y="198"/>
                  </a:moveTo>
                  <a:cubicBezTo>
                    <a:pt x="105" y="198"/>
                    <a:pt x="105" y="198"/>
                    <a:pt x="105" y="198"/>
                  </a:cubicBezTo>
                  <a:cubicBezTo>
                    <a:pt x="105" y="198"/>
                    <a:pt x="105" y="198"/>
                    <a:pt x="105" y="198"/>
                  </a:cubicBezTo>
                  <a:cubicBezTo>
                    <a:pt x="105" y="197"/>
                    <a:pt x="105" y="197"/>
                    <a:pt x="104" y="197"/>
                  </a:cubicBezTo>
                  <a:cubicBezTo>
                    <a:pt x="56" y="165"/>
                    <a:pt x="56" y="165"/>
                    <a:pt x="56" y="165"/>
                  </a:cubicBezTo>
                  <a:cubicBezTo>
                    <a:pt x="56" y="165"/>
                    <a:pt x="56" y="165"/>
                    <a:pt x="56" y="165"/>
                  </a:cubicBezTo>
                  <a:cubicBezTo>
                    <a:pt x="62" y="159"/>
                    <a:pt x="62" y="159"/>
                    <a:pt x="62" y="159"/>
                  </a:cubicBezTo>
                  <a:cubicBezTo>
                    <a:pt x="62" y="159"/>
                    <a:pt x="63" y="159"/>
                    <a:pt x="63" y="159"/>
                  </a:cubicBezTo>
                  <a:cubicBezTo>
                    <a:pt x="111" y="192"/>
                    <a:pt x="111" y="192"/>
                    <a:pt x="111" y="192"/>
                  </a:cubicBezTo>
                  <a:lnTo>
                    <a:pt x="106" y="198"/>
                  </a:lnTo>
                  <a:close/>
                  <a:moveTo>
                    <a:pt x="64" y="146"/>
                  </a:moveTo>
                  <a:cubicBezTo>
                    <a:pt x="45" y="127"/>
                    <a:pt x="45" y="127"/>
                    <a:pt x="45" y="127"/>
                  </a:cubicBezTo>
                  <a:cubicBezTo>
                    <a:pt x="104" y="13"/>
                    <a:pt x="104" y="13"/>
                    <a:pt x="104" y="13"/>
                  </a:cubicBezTo>
                  <a:cubicBezTo>
                    <a:pt x="178" y="86"/>
                    <a:pt x="178" y="86"/>
                    <a:pt x="178" y="86"/>
                  </a:cubicBezTo>
                  <a:lnTo>
                    <a:pt x="64" y="14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5" name="Freeform 51"/>
            <p:cNvSpPr>
              <a:spLocks/>
            </p:cNvSpPr>
            <p:nvPr/>
          </p:nvSpPr>
          <p:spPr bwMode="auto">
            <a:xfrm>
              <a:off x="554038" y="2876550"/>
              <a:ext cx="187325" cy="190500"/>
            </a:xfrm>
            <a:custGeom>
              <a:avLst/>
              <a:gdLst>
                <a:gd name="T0" fmla="*/ 58 w 80"/>
                <a:gd name="T1" fmla="*/ 22 h 81"/>
                <a:gd name="T2" fmla="*/ 4 w 80"/>
                <a:gd name="T3" fmla="*/ 1 h 81"/>
                <a:gd name="T4" fmla="*/ 0 w 80"/>
                <a:gd name="T5" fmla="*/ 6 h 81"/>
                <a:gd name="T6" fmla="*/ 5 w 80"/>
                <a:gd name="T7" fmla="*/ 11 h 81"/>
                <a:gd name="T8" fmla="*/ 51 w 80"/>
                <a:gd name="T9" fmla="*/ 29 h 81"/>
                <a:gd name="T10" fmla="*/ 70 w 80"/>
                <a:gd name="T11" fmla="*/ 76 h 81"/>
                <a:gd name="T12" fmla="*/ 74 w 80"/>
                <a:gd name="T13" fmla="*/ 81 h 81"/>
                <a:gd name="T14" fmla="*/ 74 w 80"/>
                <a:gd name="T15" fmla="*/ 81 h 81"/>
                <a:gd name="T16" fmla="*/ 79 w 80"/>
                <a:gd name="T17" fmla="*/ 76 h 81"/>
                <a:gd name="T18" fmla="*/ 58 w 80"/>
                <a:gd name="T19" fmla="*/ 2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1">
                  <a:moveTo>
                    <a:pt x="58" y="22"/>
                  </a:moveTo>
                  <a:cubicBezTo>
                    <a:pt x="44" y="8"/>
                    <a:pt x="25" y="0"/>
                    <a:pt x="4" y="1"/>
                  </a:cubicBezTo>
                  <a:cubicBezTo>
                    <a:pt x="2" y="1"/>
                    <a:pt x="0" y="3"/>
                    <a:pt x="0" y="6"/>
                  </a:cubicBezTo>
                  <a:cubicBezTo>
                    <a:pt x="0" y="9"/>
                    <a:pt x="2" y="11"/>
                    <a:pt x="5" y="11"/>
                  </a:cubicBezTo>
                  <a:cubicBezTo>
                    <a:pt x="22" y="10"/>
                    <a:pt x="39" y="17"/>
                    <a:pt x="51" y="29"/>
                  </a:cubicBezTo>
                  <a:cubicBezTo>
                    <a:pt x="64" y="41"/>
                    <a:pt x="70" y="58"/>
                    <a:pt x="70" y="76"/>
                  </a:cubicBezTo>
                  <a:cubicBezTo>
                    <a:pt x="70" y="78"/>
                    <a:pt x="72" y="80"/>
                    <a:pt x="74" y="81"/>
                  </a:cubicBezTo>
                  <a:cubicBezTo>
                    <a:pt x="74" y="81"/>
                    <a:pt x="74" y="81"/>
                    <a:pt x="74" y="81"/>
                  </a:cubicBezTo>
                  <a:cubicBezTo>
                    <a:pt x="77" y="81"/>
                    <a:pt x="79" y="78"/>
                    <a:pt x="79" y="76"/>
                  </a:cubicBezTo>
                  <a:cubicBezTo>
                    <a:pt x="80" y="56"/>
                    <a:pt x="72" y="37"/>
                    <a:pt x="58"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6" name="Freeform 52"/>
            <p:cNvSpPr>
              <a:spLocks/>
            </p:cNvSpPr>
            <p:nvPr/>
          </p:nvSpPr>
          <p:spPr bwMode="auto">
            <a:xfrm>
              <a:off x="565150" y="2944813"/>
              <a:ext cx="107950" cy="107950"/>
            </a:xfrm>
            <a:custGeom>
              <a:avLst/>
              <a:gdLst>
                <a:gd name="T0" fmla="*/ 41 w 46"/>
                <a:gd name="T1" fmla="*/ 46 h 46"/>
                <a:gd name="T2" fmla="*/ 41 w 46"/>
                <a:gd name="T3" fmla="*/ 46 h 46"/>
                <a:gd name="T4" fmla="*/ 46 w 46"/>
                <a:gd name="T5" fmla="*/ 42 h 46"/>
                <a:gd name="T6" fmla="*/ 34 w 46"/>
                <a:gd name="T7" fmla="*/ 12 h 46"/>
                <a:gd name="T8" fmla="*/ 5 w 46"/>
                <a:gd name="T9" fmla="*/ 1 h 46"/>
                <a:gd name="T10" fmla="*/ 0 w 46"/>
                <a:gd name="T11" fmla="*/ 6 h 46"/>
                <a:gd name="T12" fmla="*/ 5 w 46"/>
                <a:gd name="T13" fmla="*/ 10 h 46"/>
                <a:gd name="T14" fmla="*/ 28 w 46"/>
                <a:gd name="T15" fmla="*/ 19 h 46"/>
                <a:gd name="T16" fmla="*/ 36 w 46"/>
                <a:gd name="T17" fmla="*/ 41 h 46"/>
                <a:gd name="T18" fmla="*/ 41 w 46"/>
                <a:gd name="T19"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41" y="46"/>
                  </a:moveTo>
                  <a:cubicBezTo>
                    <a:pt x="41" y="46"/>
                    <a:pt x="41" y="46"/>
                    <a:pt x="41" y="46"/>
                  </a:cubicBezTo>
                  <a:cubicBezTo>
                    <a:pt x="43" y="46"/>
                    <a:pt x="46" y="44"/>
                    <a:pt x="46" y="42"/>
                  </a:cubicBezTo>
                  <a:cubicBezTo>
                    <a:pt x="46" y="31"/>
                    <a:pt x="42" y="20"/>
                    <a:pt x="34" y="12"/>
                  </a:cubicBezTo>
                  <a:cubicBezTo>
                    <a:pt x="27" y="4"/>
                    <a:pt x="16" y="0"/>
                    <a:pt x="5" y="1"/>
                  </a:cubicBezTo>
                  <a:cubicBezTo>
                    <a:pt x="2" y="1"/>
                    <a:pt x="0" y="3"/>
                    <a:pt x="0" y="6"/>
                  </a:cubicBezTo>
                  <a:cubicBezTo>
                    <a:pt x="0" y="8"/>
                    <a:pt x="3" y="10"/>
                    <a:pt x="5" y="10"/>
                  </a:cubicBezTo>
                  <a:cubicBezTo>
                    <a:pt x="14" y="10"/>
                    <a:pt x="22" y="13"/>
                    <a:pt x="28" y="19"/>
                  </a:cubicBezTo>
                  <a:cubicBezTo>
                    <a:pt x="34" y="24"/>
                    <a:pt x="37" y="33"/>
                    <a:pt x="36" y="41"/>
                  </a:cubicBezTo>
                  <a:cubicBezTo>
                    <a:pt x="36" y="44"/>
                    <a:pt x="38" y="46"/>
                    <a:pt x="41" y="4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37" name="Group 36"/>
          <p:cNvGrpSpPr/>
          <p:nvPr/>
        </p:nvGrpSpPr>
        <p:grpSpPr>
          <a:xfrm>
            <a:off x="1718244" y="4370295"/>
            <a:ext cx="312432" cy="608421"/>
            <a:chOff x="5100638" y="1152525"/>
            <a:chExt cx="241300" cy="469901"/>
          </a:xfrm>
          <a:solidFill>
            <a:srgbClr val="81BC00"/>
          </a:solidFill>
        </p:grpSpPr>
        <p:sp>
          <p:nvSpPr>
            <p:cNvPr id="38" name="Freeform 155"/>
            <p:cNvSpPr>
              <a:spLocks noEditPoints="1"/>
            </p:cNvSpPr>
            <p:nvPr/>
          </p:nvSpPr>
          <p:spPr bwMode="auto">
            <a:xfrm>
              <a:off x="5102225" y="1325563"/>
              <a:ext cx="239713" cy="296863"/>
            </a:xfrm>
            <a:custGeom>
              <a:avLst/>
              <a:gdLst>
                <a:gd name="T0" fmla="*/ 116 w 123"/>
                <a:gd name="T1" fmla="*/ 0 h 152"/>
                <a:gd name="T2" fmla="*/ 3 w 123"/>
                <a:gd name="T3" fmla="*/ 31 h 152"/>
                <a:gd name="T4" fmla="*/ 0 w 123"/>
                <a:gd name="T5" fmla="*/ 37 h 152"/>
                <a:gd name="T6" fmla="*/ 5 w 123"/>
                <a:gd name="T7" fmla="*/ 41 h 152"/>
                <a:gd name="T8" fmla="*/ 5 w 123"/>
                <a:gd name="T9" fmla="*/ 41 h 152"/>
                <a:gd name="T10" fmla="*/ 5 w 123"/>
                <a:gd name="T11" fmla="*/ 41 h 152"/>
                <a:gd name="T12" fmla="*/ 43 w 123"/>
                <a:gd name="T13" fmla="*/ 78 h 152"/>
                <a:gd name="T14" fmla="*/ 33 w 123"/>
                <a:gd name="T15" fmla="*/ 78 h 152"/>
                <a:gd name="T16" fmla="*/ 28 w 123"/>
                <a:gd name="T17" fmla="*/ 82 h 152"/>
                <a:gd name="T18" fmla="*/ 45 w 123"/>
                <a:gd name="T19" fmla="*/ 132 h 152"/>
                <a:gd name="T20" fmla="*/ 48 w 123"/>
                <a:gd name="T21" fmla="*/ 148 h 152"/>
                <a:gd name="T22" fmla="*/ 52 w 123"/>
                <a:gd name="T23" fmla="*/ 152 h 152"/>
                <a:gd name="T24" fmla="*/ 70 w 123"/>
                <a:gd name="T25" fmla="*/ 152 h 152"/>
                <a:gd name="T26" fmla="*/ 75 w 123"/>
                <a:gd name="T27" fmla="*/ 148 h 152"/>
                <a:gd name="T28" fmla="*/ 77 w 123"/>
                <a:gd name="T29" fmla="*/ 132 h 152"/>
                <a:gd name="T30" fmla="*/ 94 w 123"/>
                <a:gd name="T31" fmla="*/ 82 h 152"/>
                <a:gd name="T32" fmla="*/ 89 w 123"/>
                <a:gd name="T33" fmla="*/ 78 h 152"/>
                <a:gd name="T34" fmla="*/ 79 w 123"/>
                <a:gd name="T35" fmla="*/ 78 h 152"/>
                <a:gd name="T36" fmla="*/ 112 w 123"/>
                <a:gd name="T37" fmla="*/ 47 h 152"/>
                <a:gd name="T38" fmla="*/ 112 w 123"/>
                <a:gd name="T39" fmla="*/ 47 h 152"/>
                <a:gd name="T40" fmla="*/ 117 w 123"/>
                <a:gd name="T41" fmla="*/ 42 h 152"/>
                <a:gd name="T42" fmla="*/ 112 w 123"/>
                <a:gd name="T43" fmla="*/ 37 h 152"/>
                <a:gd name="T44" fmla="*/ 112 w 123"/>
                <a:gd name="T45" fmla="*/ 37 h 152"/>
                <a:gd name="T46" fmla="*/ 70 w 123"/>
                <a:gd name="T47" fmla="*/ 78 h 152"/>
                <a:gd name="T48" fmla="*/ 53 w 123"/>
                <a:gd name="T49" fmla="*/ 78 h 152"/>
                <a:gd name="T50" fmla="*/ 24 w 123"/>
                <a:gd name="T51" fmla="*/ 36 h 152"/>
                <a:gd name="T52" fmla="*/ 119 w 123"/>
                <a:gd name="T53" fmla="*/ 10 h 152"/>
                <a:gd name="T54" fmla="*/ 122 w 123"/>
                <a:gd name="T55" fmla="*/ 4 h 152"/>
                <a:gd name="T56" fmla="*/ 116 w 123"/>
                <a:gd name="T57" fmla="*/ 0 h 152"/>
                <a:gd name="T58" fmla="*/ 72 w 123"/>
                <a:gd name="T59" fmla="*/ 124 h 152"/>
                <a:gd name="T60" fmla="*/ 68 w 123"/>
                <a:gd name="T61" fmla="*/ 128 h 152"/>
                <a:gd name="T62" fmla="*/ 66 w 123"/>
                <a:gd name="T63" fmla="*/ 142 h 152"/>
                <a:gd name="T64" fmla="*/ 56 w 123"/>
                <a:gd name="T65" fmla="*/ 142 h 152"/>
                <a:gd name="T66" fmla="*/ 54 w 123"/>
                <a:gd name="T67" fmla="*/ 128 h 152"/>
                <a:gd name="T68" fmla="*/ 50 w 123"/>
                <a:gd name="T69" fmla="*/ 124 h 152"/>
                <a:gd name="T70" fmla="*/ 37 w 123"/>
                <a:gd name="T71" fmla="*/ 88 h 152"/>
                <a:gd name="T72" fmla="*/ 85 w 123"/>
                <a:gd name="T73" fmla="*/ 88 h 152"/>
                <a:gd name="T74" fmla="*/ 72 w 123"/>
                <a:gd name="T75" fmla="*/ 12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52">
                  <a:moveTo>
                    <a:pt x="116" y="0"/>
                  </a:moveTo>
                  <a:cubicBezTo>
                    <a:pt x="3" y="31"/>
                    <a:pt x="3" y="31"/>
                    <a:pt x="3" y="31"/>
                  </a:cubicBezTo>
                  <a:cubicBezTo>
                    <a:pt x="1" y="32"/>
                    <a:pt x="0" y="34"/>
                    <a:pt x="0" y="37"/>
                  </a:cubicBezTo>
                  <a:cubicBezTo>
                    <a:pt x="0" y="39"/>
                    <a:pt x="2" y="41"/>
                    <a:pt x="5" y="41"/>
                  </a:cubicBezTo>
                  <a:cubicBezTo>
                    <a:pt x="5" y="41"/>
                    <a:pt x="5" y="41"/>
                    <a:pt x="5" y="41"/>
                  </a:cubicBezTo>
                  <a:cubicBezTo>
                    <a:pt x="5" y="41"/>
                    <a:pt x="5" y="41"/>
                    <a:pt x="5" y="41"/>
                  </a:cubicBezTo>
                  <a:cubicBezTo>
                    <a:pt x="6" y="41"/>
                    <a:pt x="38" y="41"/>
                    <a:pt x="43" y="78"/>
                  </a:cubicBezTo>
                  <a:cubicBezTo>
                    <a:pt x="33" y="78"/>
                    <a:pt x="33" y="78"/>
                    <a:pt x="33" y="78"/>
                  </a:cubicBezTo>
                  <a:cubicBezTo>
                    <a:pt x="30" y="78"/>
                    <a:pt x="28" y="79"/>
                    <a:pt x="28" y="82"/>
                  </a:cubicBezTo>
                  <a:cubicBezTo>
                    <a:pt x="22" y="110"/>
                    <a:pt x="32" y="127"/>
                    <a:pt x="45" y="132"/>
                  </a:cubicBezTo>
                  <a:cubicBezTo>
                    <a:pt x="48" y="148"/>
                    <a:pt x="48" y="148"/>
                    <a:pt x="48" y="148"/>
                  </a:cubicBezTo>
                  <a:cubicBezTo>
                    <a:pt x="48" y="150"/>
                    <a:pt x="50" y="152"/>
                    <a:pt x="52" y="152"/>
                  </a:cubicBezTo>
                  <a:cubicBezTo>
                    <a:pt x="70" y="152"/>
                    <a:pt x="70" y="152"/>
                    <a:pt x="70" y="152"/>
                  </a:cubicBezTo>
                  <a:cubicBezTo>
                    <a:pt x="72" y="152"/>
                    <a:pt x="74" y="150"/>
                    <a:pt x="75" y="148"/>
                  </a:cubicBezTo>
                  <a:cubicBezTo>
                    <a:pt x="77" y="132"/>
                    <a:pt x="77" y="132"/>
                    <a:pt x="77" y="132"/>
                  </a:cubicBezTo>
                  <a:cubicBezTo>
                    <a:pt x="90" y="127"/>
                    <a:pt x="100" y="110"/>
                    <a:pt x="94" y="82"/>
                  </a:cubicBezTo>
                  <a:cubicBezTo>
                    <a:pt x="94" y="79"/>
                    <a:pt x="92" y="78"/>
                    <a:pt x="89" y="78"/>
                  </a:cubicBezTo>
                  <a:cubicBezTo>
                    <a:pt x="79" y="78"/>
                    <a:pt x="79" y="78"/>
                    <a:pt x="79" y="78"/>
                  </a:cubicBezTo>
                  <a:cubicBezTo>
                    <a:pt x="84" y="48"/>
                    <a:pt x="111" y="47"/>
                    <a:pt x="112" y="47"/>
                  </a:cubicBezTo>
                  <a:cubicBezTo>
                    <a:pt x="112" y="47"/>
                    <a:pt x="112" y="47"/>
                    <a:pt x="112" y="47"/>
                  </a:cubicBezTo>
                  <a:cubicBezTo>
                    <a:pt x="115" y="47"/>
                    <a:pt x="117" y="45"/>
                    <a:pt x="117" y="42"/>
                  </a:cubicBezTo>
                  <a:cubicBezTo>
                    <a:pt x="117" y="39"/>
                    <a:pt x="115" y="37"/>
                    <a:pt x="112" y="37"/>
                  </a:cubicBezTo>
                  <a:cubicBezTo>
                    <a:pt x="112" y="37"/>
                    <a:pt x="112" y="37"/>
                    <a:pt x="112" y="37"/>
                  </a:cubicBezTo>
                  <a:cubicBezTo>
                    <a:pt x="111" y="37"/>
                    <a:pt x="74" y="38"/>
                    <a:pt x="70" y="78"/>
                  </a:cubicBezTo>
                  <a:cubicBezTo>
                    <a:pt x="53" y="78"/>
                    <a:pt x="53" y="78"/>
                    <a:pt x="53" y="78"/>
                  </a:cubicBezTo>
                  <a:cubicBezTo>
                    <a:pt x="50" y="53"/>
                    <a:pt x="37" y="41"/>
                    <a:pt x="24" y="36"/>
                  </a:cubicBezTo>
                  <a:cubicBezTo>
                    <a:pt x="119" y="10"/>
                    <a:pt x="119" y="10"/>
                    <a:pt x="119" y="10"/>
                  </a:cubicBezTo>
                  <a:cubicBezTo>
                    <a:pt x="121" y="9"/>
                    <a:pt x="123" y="6"/>
                    <a:pt x="122" y="4"/>
                  </a:cubicBezTo>
                  <a:cubicBezTo>
                    <a:pt x="121" y="1"/>
                    <a:pt x="119" y="0"/>
                    <a:pt x="116" y="0"/>
                  </a:cubicBezTo>
                  <a:close/>
                  <a:moveTo>
                    <a:pt x="72" y="124"/>
                  </a:moveTo>
                  <a:cubicBezTo>
                    <a:pt x="70" y="124"/>
                    <a:pt x="68" y="126"/>
                    <a:pt x="68" y="128"/>
                  </a:cubicBezTo>
                  <a:cubicBezTo>
                    <a:pt x="66" y="142"/>
                    <a:pt x="66" y="142"/>
                    <a:pt x="66" y="142"/>
                  </a:cubicBezTo>
                  <a:cubicBezTo>
                    <a:pt x="56" y="142"/>
                    <a:pt x="56" y="142"/>
                    <a:pt x="56" y="142"/>
                  </a:cubicBezTo>
                  <a:cubicBezTo>
                    <a:pt x="54" y="128"/>
                    <a:pt x="54" y="128"/>
                    <a:pt x="54" y="128"/>
                  </a:cubicBezTo>
                  <a:cubicBezTo>
                    <a:pt x="54" y="126"/>
                    <a:pt x="52" y="124"/>
                    <a:pt x="50" y="124"/>
                  </a:cubicBezTo>
                  <a:cubicBezTo>
                    <a:pt x="44" y="122"/>
                    <a:pt x="33" y="113"/>
                    <a:pt x="37" y="88"/>
                  </a:cubicBezTo>
                  <a:cubicBezTo>
                    <a:pt x="85" y="88"/>
                    <a:pt x="85" y="88"/>
                    <a:pt x="85" y="88"/>
                  </a:cubicBezTo>
                  <a:cubicBezTo>
                    <a:pt x="89" y="113"/>
                    <a:pt x="78" y="122"/>
                    <a:pt x="72" y="1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9" name="Freeform 156"/>
            <p:cNvSpPr>
              <a:spLocks/>
            </p:cNvSpPr>
            <p:nvPr/>
          </p:nvSpPr>
          <p:spPr bwMode="auto">
            <a:xfrm>
              <a:off x="5100638" y="1249363"/>
              <a:ext cx="241300" cy="80963"/>
            </a:xfrm>
            <a:custGeom>
              <a:avLst/>
              <a:gdLst>
                <a:gd name="T0" fmla="*/ 6 w 124"/>
                <a:gd name="T1" fmla="*/ 41 h 41"/>
                <a:gd name="T2" fmla="*/ 7 w 124"/>
                <a:gd name="T3" fmla="*/ 41 h 41"/>
                <a:gd name="T4" fmla="*/ 120 w 124"/>
                <a:gd name="T5" fmla="*/ 10 h 41"/>
                <a:gd name="T6" fmla="*/ 123 w 124"/>
                <a:gd name="T7" fmla="*/ 4 h 41"/>
                <a:gd name="T8" fmla="*/ 117 w 124"/>
                <a:gd name="T9" fmla="*/ 1 h 41"/>
                <a:gd name="T10" fmla="*/ 4 w 124"/>
                <a:gd name="T11" fmla="*/ 31 h 41"/>
                <a:gd name="T12" fmla="*/ 1 w 124"/>
                <a:gd name="T13" fmla="*/ 37 h 41"/>
                <a:gd name="T14" fmla="*/ 6 w 124"/>
                <a:gd name="T15" fmla="*/ 41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 h="41">
                  <a:moveTo>
                    <a:pt x="6" y="41"/>
                  </a:moveTo>
                  <a:cubicBezTo>
                    <a:pt x="6" y="41"/>
                    <a:pt x="7" y="41"/>
                    <a:pt x="7" y="41"/>
                  </a:cubicBezTo>
                  <a:cubicBezTo>
                    <a:pt x="120" y="10"/>
                    <a:pt x="120" y="10"/>
                    <a:pt x="120" y="10"/>
                  </a:cubicBezTo>
                  <a:cubicBezTo>
                    <a:pt x="122" y="9"/>
                    <a:pt x="124" y="7"/>
                    <a:pt x="123" y="4"/>
                  </a:cubicBezTo>
                  <a:cubicBezTo>
                    <a:pt x="122" y="2"/>
                    <a:pt x="120" y="0"/>
                    <a:pt x="117" y="1"/>
                  </a:cubicBezTo>
                  <a:cubicBezTo>
                    <a:pt x="4" y="31"/>
                    <a:pt x="4" y="31"/>
                    <a:pt x="4" y="31"/>
                  </a:cubicBezTo>
                  <a:cubicBezTo>
                    <a:pt x="2" y="32"/>
                    <a:pt x="0" y="35"/>
                    <a:pt x="1" y="37"/>
                  </a:cubicBezTo>
                  <a:cubicBezTo>
                    <a:pt x="2" y="40"/>
                    <a:pt x="4" y="41"/>
                    <a:pt x="6" y="4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40" name="Freeform 157"/>
            <p:cNvSpPr>
              <a:spLocks/>
            </p:cNvSpPr>
            <p:nvPr/>
          </p:nvSpPr>
          <p:spPr bwMode="auto">
            <a:xfrm>
              <a:off x="5100638" y="1152525"/>
              <a:ext cx="184150" cy="101600"/>
            </a:xfrm>
            <a:custGeom>
              <a:avLst/>
              <a:gdLst>
                <a:gd name="T0" fmla="*/ 6 w 95"/>
                <a:gd name="T1" fmla="*/ 52 h 52"/>
                <a:gd name="T2" fmla="*/ 7 w 95"/>
                <a:gd name="T3" fmla="*/ 52 h 52"/>
                <a:gd name="T4" fmla="*/ 80 w 95"/>
                <a:gd name="T5" fmla="*/ 31 h 52"/>
                <a:gd name="T6" fmla="*/ 93 w 95"/>
                <a:gd name="T7" fmla="*/ 20 h 52"/>
                <a:gd name="T8" fmla="*/ 93 w 95"/>
                <a:gd name="T9" fmla="*/ 3 h 52"/>
                <a:gd name="T10" fmla="*/ 87 w 95"/>
                <a:gd name="T11" fmla="*/ 0 h 52"/>
                <a:gd name="T12" fmla="*/ 84 w 95"/>
                <a:gd name="T13" fmla="*/ 7 h 52"/>
                <a:gd name="T14" fmla="*/ 77 w 95"/>
                <a:gd name="T15" fmla="*/ 21 h 52"/>
                <a:gd name="T16" fmla="*/ 4 w 95"/>
                <a:gd name="T17" fmla="*/ 43 h 52"/>
                <a:gd name="T18" fmla="*/ 1 w 95"/>
                <a:gd name="T19" fmla="*/ 49 h 52"/>
                <a:gd name="T20" fmla="*/ 6 w 95"/>
                <a:gd name="T21"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 h="52">
                  <a:moveTo>
                    <a:pt x="6" y="52"/>
                  </a:moveTo>
                  <a:cubicBezTo>
                    <a:pt x="6" y="52"/>
                    <a:pt x="7" y="52"/>
                    <a:pt x="7" y="52"/>
                  </a:cubicBezTo>
                  <a:cubicBezTo>
                    <a:pt x="80" y="31"/>
                    <a:pt x="80" y="31"/>
                    <a:pt x="80" y="31"/>
                  </a:cubicBezTo>
                  <a:cubicBezTo>
                    <a:pt x="81" y="30"/>
                    <a:pt x="89" y="28"/>
                    <a:pt x="93" y="20"/>
                  </a:cubicBezTo>
                  <a:cubicBezTo>
                    <a:pt x="95" y="15"/>
                    <a:pt x="95" y="10"/>
                    <a:pt x="93" y="3"/>
                  </a:cubicBezTo>
                  <a:cubicBezTo>
                    <a:pt x="92" y="1"/>
                    <a:pt x="89" y="0"/>
                    <a:pt x="87" y="0"/>
                  </a:cubicBezTo>
                  <a:cubicBezTo>
                    <a:pt x="84" y="1"/>
                    <a:pt x="83" y="4"/>
                    <a:pt x="84" y="7"/>
                  </a:cubicBezTo>
                  <a:cubicBezTo>
                    <a:pt x="87" y="17"/>
                    <a:pt x="79" y="21"/>
                    <a:pt x="77" y="21"/>
                  </a:cubicBezTo>
                  <a:cubicBezTo>
                    <a:pt x="4" y="43"/>
                    <a:pt x="4" y="43"/>
                    <a:pt x="4" y="43"/>
                  </a:cubicBezTo>
                  <a:cubicBezTo>
                    <a:pt x="2" y="43"/>
                    <a:pt x="0" y="46"/>
                    <a:pt x="1" y="49"/>
                  </a:cubicBezTo>
                  <a:cubicBezTo>
                    <a:pt x="2" y="51"/>
                    <a:pt x="4" y="52"/>
                    <a:pt x="6"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41" name="Freeform 266"/>
          <p:cNvSpPr>
            <a:spLocks noEditPoints="1"/>
          </p:cNvSpPr>
          <p:nvPr/>
        </p:nvSpPr>
        <p:spPr bwMode="auto">
          <a:xfrm>
            <a:off x="9939370" y="4437530"/>
            <a:ext cx="784906" cy="473951"/>
          </a:xfrm>
          <a:custGeom>
            <a:avLst/>
            <a:gdLst>
              <a:gd name="T0" fmla="*/ 189 w 241"/>
              <a:gd name="T1" fmla="*/ 48 h 145"/>
              <a:gd name="T2" fmla="*/ 187 w 241"/>
              <a:gd name="T3" fmla="*/ 48 h 145"/>
              <a:gd name="T4" fmla="*/ 138 w 241"/>
              <a:gd name="T5" fmla="*/ 15 h 145"/>
              <a:gd name="T6" fmla="*/ 131 w 241"/>
              <a:gd name="T7" fmla="*/ 15 h 145"/>
              <a:gd name="T8" fmla="*/ 90 w 241"/>
              <a:gd name="T9" fmla="*/ 0 h 145"/>
              <a:gd name="T10" fmla="*/ 23 w 241"/>
              <a:gd name="T11" fmla="*/ 56 h 145"/>
              <a:gd name="T12" fmla="*/ 0 w 241"/>
              <a:gd name="T13" fmla="*/ 96 h 145"/>
              <a:gd name="T14" fmla="*/ 50 w 241"/>
              <a:gd name="T15" fmla="*/ 145 h 145"/>
              <a:gd name="T16" fmla="*/ 189 w 241"/>
              <a:gd name="T17" fmla="*/ 145 h 145"/>
              <a:gd name="T18" fmla="*/ 241 w 241"/>
              <a:gd name="T19" fmla="*/ 96 h 145"/>
              <a:gd name="T20" fmla="*/ 189 w 241"/>
              <a:gd name="T21" fmla="*/ 48 h 145"/>
              <a:gd name="T22" fmla="*/ 189 w 241"/>
              <a:gd name="T23" fmla="*/ 135 h 145"/>
              <a:gd name="T24" fmla="*/ 50 w 241"/>
              <a:gd name="T25" fmla="*/ 135 h 145"/>
              <a:gd name="T26" fmla="*/ 9 w 241"/>
              <a:gd name="T27" fmla="*/ 96 h 145"/>
              <a:gd name="T28" fmla="*/ 30 w 241"/>
              <a:gd name="T29" fmla="*/ 64 h 145"/>
              <a:gd name="T30" fmla="*/ 32 w 241"/>
              <a:gd name="T31" fmla="*/ 62 h 145"/>
              <a:gd name="T32" fmla="*/ 32 w 241"/>
              <a:gd name="T33" fmla="*/ 60 h 145"/>
              <a:gd name="T34" fmla="*/ 90 w 241"/>
              <a:gd name="T35" fmla="*/ 10 h 145"/>
              <a:gd name="T36" fmla="*/ 126 w 241"/>
              <a:gd name="T37" fmla="*/ 24 h 145"/>
              <a:gd name="T38" fmla="*/ 128 w 241"/>
              <a:gd name="T39" fmla="*/ 25 h 145"/>
              <a:gd name="T40" fmla="*/ 130 w 241"/>
              <a:gd name="T41" fmla="*/ 25 h 145"/>
              <a:gd name="T42" fmla="*/ 138 w 241"/>
              <a:gd name="T43" fmla="*/ 24 h 145"/>
              <a:gd name="T44" fmla="*/ 179 w 241"/>
              <a:gd name="T45" fmla="*/ 54 h 145"/>
              <a:gd name="T46" fmla="*/ 180 w 241"/>
              <a:gd name="T47" fmla="*/ 58 h 145"/>
              <a:gd name="T48" fmla="*/ 184 w 241"/>
              <a:gd name="T49" fmla="*/ 58 h 145"/>
              <a:gd name="T50" fmla="*/ 189 w 241"/>
              <a:gd name="T51" fmla="*/ 57 h 145"/>
              <a:gd name="T52" fmla="*/ 231 w 241"/>
              <a:gd name="T53" fmla="*/ 96 h 145"/>
              <a:gd name="T54" fmla="*/ 189 w 241"/>
              <a:gd name="T55" fmla="*/ 13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1" h="145">
                <a:moveTo>
                  <a:pt x="189" y="48"/>
                </a:moveTo>
                <a:cubicBezTo>
                  <a:pt x="188" y="48"/>
                  <a:pt x="187" y="48"/>
                  <a:pt x="187" y="48"/>
                </a:cubicBezTo>
                <a:cubicBezTo>
                  <a:pt x="179" y="28"/>
                  <a:pt x="160" y="15"/>
                  <a:pt x="138" y="15"/>
                </a:cubicBezTo>
                <a:cubicBezTo>
                  <a:pt x="136" y="15"/>
                  <a:pt x="133" y="15"/>
                  <a:pt x="131" y="15"/>
                </a:cubicBezTo>
                <a:cubicBezTo>
                  <a:pt x="118" y="5"/>
                  <a:pt x="105" y="0"/>
                  <a:pt x="90" y="0"/>
                </a:cubicBezTo>
                <a:cubicBezTo>
                  <a:pt x="56" y="0"/>
                  <a:pt x="29" y="23"/>
                  <a:pt x="23" y="56"/>
                </a:cubicBezTo>
                <a:cubicBezTo>
                  <a:pt x="9" y="66"/>
                  <a:pt x="0" y="81"/>
                  <a:pt x="0" y="96"/>
                </a:cubicBezTo>
                <a:cubicBezTo>
                  <a:pt x="0" y="123"/>
                  <a:pt x="22" y="145"/>
                  <a:pt x="50" y="145"/>
                </a:cubicBezTo>
                <a:cubicBezTo>
                  <a:pt x="189" y="145"/>
                  <a:pt x="189" y="145"/>
                  <a:pt x="189" y="145"/>
                </a:cubicBezTo>
                <a:cubicBezTo>
                  <a:pt x="217" y="145"/>
                  <a:pt x="241" y="123"/>
                  <a:pt x="241" y="96"/>
                </a:cubicBezTo>
                <a:cubicBezTo>
                  <a:pt x="241" y="70"/>
                  <a:pt x="217" y="48"/>
                  <a:pt x="189" y="48"/>
                </a:cubicBezTo>
                <a:close/>
                <a:moveTo>
                  <a:pt x="189" y="135"/>
                </a:moveTo>
                <a:cubicBezTo>
                  <a:pt x="50" y="135"/>
                  <a:pt x="50" y="135"/>
                  <a:pt x="50" y="135"/>
                </a:cubicBezTo>
                <a:cubicBezTo>
                  <a:pt x="27" y="135"/>
                  <a:pt x="9" y="118"/>
                  <a:pt x="9" y="96"/>
                </a:cubicBezTo>
                <a:cubicBezTo>
                  <a:pt x="9" y="84"/>
                  <a:pt x="17" y="71"/>
                  <a:pt x="30" y="64"/>
                </a:cubicBezTo>
                <a:cubicBezTo>
                  <a:pt x="32" y="62"/>
                  <a:pt x="32" y="62"/>
                  <a:pt x="32" y="62"/>
                </a:cubicBezTo>
                <a:cubicBezTo>
                  <a:pt x="32" y="60"/>
                  <a:pt x="32" y="60"/>
                  <a:pt x="32" y="60"/>
                </a:cubicBezTo>
                <a:cubicBezTo>
                  <a:pt x="37" y="31"/>
                  <a:pt x="61" y="10"/>
                  <a:pt x="90" y="10"/>
                </a:cubicBezTo>
                <a:cubicBezTo>
                  <a:pt x="103" y="10"/>
                  <a:pt x="115" y="15"/>
                  <a:pt x="126" y="24"/>
                </a:cubicBezTo>
                <a:cubicBezTo>
                  <a:pt x="128" y="25"/>
                  <a:pt x="128" y="25"/>
                  <a:pt x="128" y="25"/>
                </a:cubicBezTo>
                <a:cubicBezTo>
                  <a:pt x="130" y="25"/>
                  <a:pt x="130" y="25"/>
                  <a:pt x="130" y="25"/>
                </a:cubicBezTo>
                <a:cubicBezTo>
                  <a:pt x="132" y="25"/>
                  <a:pt x="136" y="24"/>
                  <a:pt x="138" y="24"/>
                </a:cubicBezTo>
                <a:cubicBezTo>
                  <a:pt x="156" y="24"/>
                  <a:pt x="173" y="37"/>
                  <a:pt x="179" y="54"/>
                </a:cubicBezTo>
                <a:cubicBezTo>
                  <a:pt x="180" y="58"/>
                  <a:pt x="180" y="58"/>
                  <a:pt x="180" y="58"/>
                </a:cubicBezTo>
                <a:cubicBezTo>
                  <a:pt x="184" y="58"/>
                  <a:pt x="184" y="58"/>
                  <a:pt x="184" y="58"/>
                </a:cubicBezTo>
                <a:cubicBezTo>
                  <a:pt x="185" y="57"/>
                  <a:pt x="187" y="57"/>
                  <a:pt x="189" y="57"/>
                </a:cubicBezTo>
                <a:cubicBezTo>
                  <a:pt x="212" y="57"/>
                  <a:pt x="231" y="75"/>
                  <a:pt x="231" y="96"/>
                </a:cubicBezTo>
                <a:cubicBezTo>
                  <a:pt x="231" y="117"/>
                  <a:pt x="212" y="135"/>
                  <a:pt x="189" y="135"/>
                </a:cubicBezTo>
                <a:close/>
              </a:path>
            </a:pathLst>
          </a:custGeom>
          <a:solidFill>
            <a:srgbClr val="81BC00"/>
          </a:solidFill>
          <a:ln>
            <a:noFill/>
          </a:ln>
        </p:spPr>
        <p:txBody>
          <a:bodyPr vert="horz" wrap="square" lIns="80682" tIns="40341" rIns="80682" bIns="40341" numCol="1" anchor="t" anchorCtr="0" compatLnSpc="1">
            <a:prstTxWarp prst="textNoShape">
              <a:avLst/>
            </a:prstTxWarp>
          </a:bodyPr>
          <a:lstStyle/>
          <a:p>
            <a:endParaRPr lang="en-US" sz="1588" dirty="0"/>
          </a:p>
        </p:txBody>
      </p:sp>
      <p:grpSp>
        <p:nvGrpSpPr>
          <p:cNvPr id="42" name="Group 41"/>
          <p:cNvGrpSpPr/>
          <p:nvPr/>
        </p:nvGrpSpPr>
        <p:grpSpPr>
          <a:xfrm>
            <a:off x="8314763" y="4408126"/>
            <a:ext cx="537884" cy="532759"/>
            <a:chOff x="10845801" y="7108825"/>
            <a:chExt cx="500063" cy="495301"/>
          </a:xfrm>
          <a:solidFill>
            <a:srgbClr val="81BC00"/>
          </a:solidFill>
        </p:grpSpPr>
        <p:sp>
          <p:nvSpPr>
            <p:cNvPr id="43" name="Freeform 498"/>
            <p:cNvSpPr>
              <a:spLocks noEditPoints="1"/>
            </p:cNvSpPr>
            <p:nvPr/>
          </p:nvSpPr>
          <p:spPr bwMode="auto">
            <a:xfrm>
              <a:off x="10966451" y="7169150"/>
              <a:ext cx="192088" cy="192088"/>
            </a:xfrm>
            <a:custGeom>
              <a:avLst/>
              <a:gdLst>
                <a:gd name="T0" fmla="*/ 7 w 92"/>
                <a:gd name="T1" fmla="*/ 92 h 92"/>
                <a:gd name="T2" fmla="*/ 84 w 92"/>
                <a:gd name="T3" fmla="*/ 92 h 92"/>
                <a:gd name="T4" fmla="*/ 92 w 92"/>
                <a:gd name="T5" fmla="*/ 84 h 92"/>
                <a:gd name="T6" fmla="*/ 92 w 92"/>
                <a:gd name="T7" fmla="*/ 74 h 92"/>
                <a:gd name="T8" fmla="*/ 87 w 92"/>
                <a:gd name="T9" fmla="*/ 67 h 92"/>
                <a:gd name="T10" fmla="*/ 61 w 92"/>
                <a:gd name="T11" fmla="*/ 54 h 92"/>
                <a:gd name="T12" fmla="*/ 61 w 92"/>
                <a:gd name="T13" fmla="*/ 53 h 92"/>
                <a:gd name="T14" fmla="*/ 67 w 92"/>
                <a:gd name="T15" fmla="*/ 43 h 92"/>
                <a:gd name="T16" fmla="*/ 70 w 92"/>
                <a:gd name="T17" fmla="*/ 34 h 92"/>
                <a:gd name="T18" fmla="*/ 68 w 92"/>
                <a:gd name="T19" fmla="*/ 29 h 92"/>
                <a:gd name="T20" fmla="*/ 68 w 92"/>
                <a:gd name="T21" fmla="*/ 21 h 92"/>
                <a:gd name="T22" fmla="*/ 46 w 92"/>
                <a:gd name="T23" fmla="*/ 0 h 92"/>
                <a:gd name="T24" fmla="*/ 23 w 92"/>
                <a:gd name="T25" fmla="*/ 21 h 92"/>
                <a:gd name="T26" fmla="*/ 23 w 92"/>
                <a:gd name="T27" fmla="*/ 29 h 92"/>
                <a:gd name="T28" fmla="*/ 22 w 92"/>
                <a:gd name="T29" fmla="*/ 34 h 92"/>
                <a:gd name="T30" fmla="*/ 25 w 92"/>
                <a:gd name="T31" fmla="*/ 43 h 92"/>
                <a:gd name="T32" fmla="*/ 31 w 92"/>
                <a:gd name="T33" fmla="*/ 53 h 92"/>
                <a:gd name="T34" fmla="*/ 31 w 92"/>
                <a:gd name="T35" fmla="*/ 54 h 92"/>
                <a:gd name="T36" fmla="*/ 5 w 92"/>
                <a:gd name="T37" fmla="*/ 67 h 92"/>
                <a:gd name="T38" fmla="*/ 0 w 92"/>
                <a:gd name="T39" fmla="*/ 74 h 92"/>
                <a:gd name="T40" fmla="*/ 0 w 92"/>
                <a:gd name="T41" fmla="*/ 84 h 92"/>
                <a:gd name="T42" fmla="*/ 7 w 92"/>
                <a:gd name="T43" fmla="*/ 92 h 92"/>
                <a:gd name="T44" fmla="*/ 9 w 92"/>
                <a:gd name="T45" fmla="*/ 75 h 92"/>
                <a:gd name="T46" fmla="*/ 40 w 92"/>
                <a:gd name="T47" fmla="*/ 57 h 92"/>
                <a:gd name="T48" fmla="*/ 41 w 92"/>
                <a:gd name="T49" fmla="*/ 56 h 92"/>
                <a:gd name="T50" fmla="*/ 41 w 92"/>
                <a:gd name="T51" fmla="*/ 51 h 92"/>
                <a:gd name="T52" fmla="*/ 39 w 92"/>
                <a:gd name="T53" fmla="*/ 48 h 92"/>
                <a:gd name="T54" fmla="*/ 34 w 92"/>
                <a:gd name="T55" fmla="*/ 39 h 92"/>
                <a:gd name="T56" fmla="*/ 32 w 92"/>
                <a:gd name="T57" fmla="*/ 36 h 92"/>
                <a:gd name="T58" fmla="*/ 31 w 92"/>
                <a:gd name="T59" fmla="*/ 34 h 92"/>
                <a:gd name="T60" fmla="*/ 32 w 92"/>
                <a:gd name="T61" fmla="*/ 33 h 92"/>
                <a:gd name="T62" fmla="*/ 33 w 92"/>
                <a:gd name="T63" fmla="*/ 30 h 92"/>
                <a:gd name="T64" fmla="*/ 33 w 92"/>
                <a:gd name="T65" fmla="*/ 21 h 92"/>
                <a:gd name="T66" fmla="*/ 46 w 92"/>
                <a:gd name="T67" fmla="*/ 9 h 92"/>
                <a:gd name="T68" fmla="*/ 59 w 92"/>
                <a:gd name="T69" fmla="*/ 21 h 92"/>
                <a:gd name="T70" fmla="*/ 59 w 92"/>
                <a:gd name="T71" fmla="*/ 30 h 92"/>
                <a:gd name="T72" fmla="*/ 60 w 92"/>
                <a:gd name="T73" fmla="*/ 33 h 92"/>
                <a:gd name="T74" fmla="*/ 60 w 92"/>
                <a:gd name="T75" fmla="*/ 34 h 92"/>
                <a:gd name="T76" fmla="*/ 60 w 92"/>
                <a:gd name="T77" fmla="*/ 36 h 92"/>
                <a:gd name="T78" fmla="*/ 58 w 92"/>
                <a:gd name="T79" fmla="*/ 39 h 92"/>
                <a:gd name="T80" fmla="*/ 53 w 92"/>
                <a:gd name="T81" fmla="*/ 48 h 92"/>
                <a:gd name="T82" fmla="*/ 51 w 92"/>
                <a:gd name="T83" fmla="*/ 51 h 92"/>
                <a:gd name="T84" fmla="*/ 51 w 92"/>
                <a:gd name="T85" fmla="*/ 56 h 92"/>
                <a:gd name="T86" fmla="*/ 51 w 92"/>
                <a:gd name="T87" fmla="*/ 57 h 92"/>
                <a:gd name="T88" fmla="*/ 83 w 92"/>
                <a:gd name="T89" fmla="*/ 75 h 92"/>
                <a:gd name="T90" fmla="*/ 83 w 92"/>
                <a:gd name="T91" fmla="*/ 82 h 92"/>
                <a:gd name="T92" fmla="*/ 9 w 92"/>
                <a:gd name="T93" fmla="*/ 82 h 92"/>
                <a:gd name="T94" fmla="*/ 9 w 92"/>
                <a:gd name="T95" fmla="*/ 7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2" h="92">
                  <a:moveTo>
                    <a:pt x="7" y="92"/>
                  </a:moveTo>
                  <a:cubicBezTo>
                    <a:pt x="84" y="92"/>
                    <a:pt x="84" y="92"/>
                    <a:pt x="84" y="92"/>
                  </a:cubicBezTo>
                  <a:cubicBezTo>
                    <a:pt x="89" y="92"/>
                    <a:pt x="92" y="89"/>
                    <a:pt x="92" y="84"/>
                  </a:cubicBezTo>
                  <a:cubicBezTo>
                    <a:pt x="92" y="74"/>
                    <a:pt x="92" y="74"/>
                    <a:pt x="92" y="74"/>
                  </a:cubicBezTo>
                  <a:cubicBezTo>
                    <a:pt x="92" y="71"/>
                    <a:pt x="90" y="68"/>
                    <a:pt x="87" y="67"/>
                  </a:cubicBezTo>
                  <a:cubicBezTo>
                    <a:pt x="68" y="59"/>
                    <a:pt x="62" y="55"/>
                    <a:pt x="61" y="54"/>
                  </a:cubicBezTo>
                  <a:cubicBezTo>
                    <a:pt x="61" y="53"/>
                    <a:pt x="61" y="53"/>
                    <a:pt x="61" y="53"/>
                  </a:cubicBezTo>
                  <a:cubicBezTo>
                    <a:pt x="63" y="50"/>
                    <a:pt x="65" y="47"/>
                    <a:pt x="67" y="43"/>
                  </a:cubicBezTo>
                  <a:cubicBezTo>
                    <a:pt x="69" y="41"/>
                    <a:pt x="70" y="38"/>
                    <a:pt x="70" y="34"/>
                  </a:cubicBezTo>
                  <a:cubicBezTo>
                    <a:pt x="70" y="32"/>
                    <a:pt x="69" y="30"/>
                    <a:pt x="68" y="29"/>
                  </a:cubicBezTo>
                  <a:cubicBezTo>
                    <a:pt x="68" y="21"/>
                    <a:pt x="68" y="21"/>
                    <a:pt x="68" y="21"/>
                  </a:cubicBezTo>
                  <a:cubicBezTo>
                    <a:pt x="68" y="8"/>
                    <a:pt x="60" y="0"/>
                    <a:pt x="46" y="0"/>
                  </a:cubicBezTo>
                  <a:cubicBezTo>
                    <a:pt x="32" y="0"/>
                    <a:pt x="23" y="8"/>
                    <a:pt x="23" y="21"/>
                  </a:cubicBezTo>
                  <a:cubicBezTo>
                    <a:pt x="23" y="29"/>
                    <a:pt x="23" y="29"/>
                    <a:pt x="23" y="29"/>
                  </a:cubicBezTo>
                  <a:cubicBezTo>
                    <a:pt x="22" y="30"/>
                    <a:pt x="22" y="32"/>
                    <a:pt x="22" y="34"/>
                  </a:cubicBezTo>
                  <a:cubicBezTo>
                    <a:pt x="22" y="38"/>
                    <a:pt x="23" y="41"/>
                    <a:pt x="25" y="43"/>
                  </a:cubicBezTo>
                  <a:cubicBezTo>
                    <a:pt x="27" y="47"/>
                    <a:pt x="29" y="50"/>
                    <a:pt x="31" y="53"/>
                  </a:cubicBezTo>
                  <a:cubicBezTo>
                    <a:pt x="31" y="54"/>
                    <a:pt x="31" y="54"/>
                    <a:pt x="31" y="54"/>
                  </a:cubicBezTo>
                  <a:cubicBezTo>
                    <a:pt x="29" y="55"/>
                    <a:pt x="24" y="59"/>
                    <a:pt x="5" y="67"/>
                  </a:cubicBezTo>
                  <a:cubicBezTo>
                    <a:pt x="2" y="68"/>
                    <a:pt x="0" y="71"/>
                    <a:pt x="0" y="74"/>
                  </a:cubicBezTo>
                  <a:cubicBezTo>
                    <a:pt x="0" y="84"/>
                    <a:pt x="0" y="84"/>
                    <a:pt x="0" y="84"/>
                  </a:cubicBezTo>
                  <a:cubicBezTo>
                    <a:pt x="0" y="89"/>
                    <a:pt x="3" y="92"/>
                    <a:pt x="7" y="92"/>
                  </a:cubicBezTo>
                  <a:close/>
                  <a:moveTo>
                    <a:pt x="9" y="75"/>
                  </a:moveTo>
                  <a:cubicBezTo>
                    <a:pt x="36" y="65"/>
                    <a:pt x="39" y="60"/>
                    <a:pt x="40" y="57"/>
                  </a:cubicBezTo>
                  <a:cubicBezTo>
                    <a:pt x="41" y="57"/>
                    <a:pt x="41" y="56"/>
                    <a:pt x="41" y="56"/>
                  </a:cubicBezTo>
                  <a:cubicBezTo>
                    <a:pt x="41" y="51"/>
                    <a:pt x="41" y="51"/>
                    <a:pt x="41" y="51"/>
                  </a:cubicBezTo>
                  <a:cubicBezTo>
                    <a:pt x="41" y="50"/>
                    <a:pt x="40" y="49"/>
                    <a:pt x="39" y="48"/>
                  </a:cubicBezTo>
                  <a:cubicBezTo>
                    <a:pt x="37" y="46"/>
                    <a:pt x="35" y="42"/>
                    <a:pt x="34" y="39"/>
                  </a:cubicBezTo>
                  <a:cubicBezTo>
                    <a:pt x="34" y="38"/>
                    <a:pt x="33" y="37"/>
                    <a:pt x="32" y="36"/>
                  </a:cubicBezTo>
                  <a:cubicBezTo>
                    <a:pt x="32" y="36"/>
                    <a:pt x="31" y="35"/>
                    <a:pt x="31" y="34"/>
                  </a:cubicBezTo>
                  <a:cubicBezTo>
                    <a:pt x="31" y="34"/>
                    <a:pt x="32" y="33"/>
                    <a:pt x="32" y="33"/>
                  </a:cubicBezTo>
                  <a:cubicBezTo>
                    <a:pt x="33" y="32"/>
                    <a:pt x="33" y="31"/>
                    <a:pt x="33" y="30"/>
                  </a:cubicBezTo>
                  <a:cubicBezTo>
                    <a:pt x="33" y="21"/>
                    <a:pt x="33" y="21"/>
                    <a:pt x="33" y="21"/>
                  </a:cubicBezTo>
                  <a:cubicBezTo>
                    <a:pt x="33" y="13"/>
                    <a:pt x="37" y="9"/>
                    <a:pt x="46" y="9"/>
                  </a:cubicBezTo>
                  <a:cubicBezTo>
                    <a:pt x="55" y="9"/>
                    <a:pt x="59" y="13"/>
                    <a:pt x="59" y="21"/>
                  </a:cubicBezTo>
                  <a:cubicBezTo>
                    <a:pt x="59" y="30"/>
                    <a:pt x="59" y="30"/>
                    <a:pt x="59" y="30"/>
                  </a:cubicBezTo>
                  <a:cubicBezTo>
                    <a:pt x="59" y="31"/>
                    <a:pt x="59" y="32"/>
                    <a:pt x="60" y="33"/>
                  </a:cubicBezTo>
                  <a:cubicBezTo>
                    <a:pt x="60" y="33"/>
                    <a:pt x="60" y="34"/>
                    <a:pt x="60" y="34"/>
                  </a:cubicBezTo>
                  <a:cubicBezTo>
                    <a:pt x="60" y="35"/>
                    <a:pt x="60" y="36"/>
                    <a:pt x="60" y="36"/>
                  </a:cubicBezTo>
                  <a:cubicBezTo>
                    <a:pt x="59" y="37"/>
                    <a:pt x="58" y="38"/>
                    <a:pt x="58" y="39"/>
                  </a:cubicBezTo>
                  <a:cubicBezTo>
                    <a:pt x="57" y="42"/>
                    <a:pt x="55" y="46"/>
                    <a:pt x="53" y="48"/>
                  </a:cubicBezTo>
                  <a:cubicBezTo>
                    <a:pt x="52" y="49"/>
                    <a:pt x="51" y="50"/>
                    <a:pt x="51" y="51"/>
                  </a:cubicBezTo>
                  <a:cubicBezTo>
                    <a:pt x="51" y="56"/>
                    <a:pt x="51" y="56"/>
                    <a:pt x="51" y="56"/>
                  </a:cubicBezTo>
                  <a:cubicBezTo>
                    <a:pt x="51" y="56"/>
                    <a:pt x="51" y="57"/>
                    <a:pt x="51" y="57"/>
                  </a:cubicBezTo>
                  <a:cubicBezTo>
                    <a:pt x="53" y="60"/>
                    <a:pt x="56" y="65"/>
                    <a:pt x="83" y="75"/>
                  </a:cubicBezTo>
                  <a:cubicBezTo>
                    <a:pt x="83" y="82"/>
                    <a:pt x="83" y="82"/>
                    <a:pt x="83" y="82"/>
                  </a:cubicBezTo>
                  <a:cubicBezTo>
                    <a:pt x="9" y="82"/>
                    <a:pt x="9" y="82"/>
                    <a:pt x="9" y="82"/>
                  </a:cubicBezTo>
                  <a:lnTo>
                    <a:pt x="9"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44" name="Freeform 499"/>
            <p:cNvSpPr>
              <a:spLocks/>
            </p:cNvSpPr>
            <p:nvPr/>
          </p:nvSpPr>
          <p:spPr bwMode="auto">
            <a:xfrm>
              <a:off x="11118851" y="7208838"/>
              <a:ext cx="115888" cy="152400"/>
            </a:xfrm>
            <a:custGeom>
              <a:avLst/>
              <a:gdLst>
                <a:gd name="T0" fmla="*/ 5 w 56"/>
                <a:gd name="T1" fmla="*/ 40 h 73"/>
                <a:gd name="T2" fmla="*/ 11 w 56"/>
                <a:gd name="T3" fmla="*/ 41 h 73"/>
                <a:gd name="T4" fmla="*/ 13 w 56"/>
                <a:gd name="T5" fmla="*/ 35 h 73"/>
                <a:gd name="T6" fmla="*/ 11 w 56"/>
                <a:gd name="T7" fmla="*/ 31 h 73"/>
                <a:gd name="T8" fmla="*/ 10 w 56"/>
                <a:gd name="T9" fmla="*/ 28 h 73"/>
                <a:gd name="T10" fmla="*/ 11 w 56"/>
                <a:gd name="T11" fmla="*/ 24 h 73"/>
                <a:gd name="T12" fmla="*/ 11 w 56"/>
                <a:gd name="T13" fmla="*/ 17 h 73"/>
                <a:gd name="T14" fmla="*/ 19 w 56"/>
                <a:gd name="T15" fmla="*/ 10 h 73"/>
                <a:gd name="T16" fmla="*/ 28 w 56"/>
                <a:gd name="T17" fmla="*/ 17 h 73"/>
                <a:gd name="T18" fmla="*/ 28 w 56"/>
                <a:gd name="T19" fmla="*/ 24 h 73"/>
                <a:gd name="T20" fmla="*/ 29 w 56"/>
                <a:gd name="T21" fmla="*/ 28 h 73"/>
                <a:gd name="T22" fmla="*/ 27 w 56"/>
                <a:gd name="T23" fmla="*/ 31 h 73"/>
                <a:gd name="T24" fmla="*/ 24 w 56"/>
                <a:gd name="T25" fmla="*/ 37 h 73"/>
                <a:gd name="T26" fmla="*/ 22 w 56"/>
                <a:gd name="T27" fmla="*/ 41 h 73"/>
                <a:gd name="T28" fmla="*/ 22 w 56"/>
                <a:gd name="T29" fmla="*/ 44 h 73"/>
                <a:gd name="T30" fmla="*/ 23 w 56"/>
                <a:gd name="T31" fmla="*/ 45 h 73"/>
                <a:gd name="T32" fmla="*/ 46 w 56"/>
                <a:gd name="T33" fmla="*/ 60 h 73"/>
                <a:gd name="T34" fmla="*/ 46 w 56"/>
                <a:gd name="T35" fmla="*/ 63 h 73"/>
                <a:gd name="T36" fmla="*/ 29 w 56"/>
                <a:gd name="T37" fmla="*/ 63 h 73"/>
                <a:gd name="T38" fmla="*/ 24 w 56"/>
                <a:gd name="T39" fmla="*/ 68 h 73"/>
                <a:gd name="T40" fmla="*/ 29 w 56"/>
                <a:gd name="T41" fmla="*/ 73 h 73"/>
                <a:gd name="T42" fmla="*/ 49 w 56"/>
                <a:gd name="T43" fmla="*/ 73 h 73"/>
                <a:gd name="T44" fmla="*/ 56 w 56"/>
                <a:gd name="T45" fmla="*/ 66 h 73"/>
                <a:gd name="T46" fmla="*/ 56 w 56"/>
                <a:gd name="T47" fmla="*/ 58 h 73"/>
                <a:gd name="T48" fmla="*/ 51 w 56"/>
                <a:gd name="T49" fmla="*/ 51 h 73"/>
                <a:gd name="T50" fmla="*/ 32 w 56"/>
                <a:gd name="T51" fmla="*/ 42 h 73"/>
                <a:gd name="T52" fmla="*/ 36 w 56"/>
                <a:gd name="T53" fmla="*/ 35 h 73"/>
                <a:gd name="T54" fmla="*/ 39 w 56"/>
                <a:gd name="T55" fmla="*/ 28 h 73"/>
                <a:gd name="T56" fmla="*/ 38 w 56"/>
                <a:gd name="T57" fmla="*/ 23 h 73"/>
                <a:gd name="T58" fmla="*/ 38 w 56"/>
                <a:gd name="T59" fmla="*/ 17 h 73"/>
                <a:gd name="T60" fmla="*/ 19 w 56"/>
                <a:gd name="T61" fmla="*/ 0 h 73"/>
                <a:gd name="T62" fmla="*/ 1 w 56"/>
                <a:gd name="T63" fmla="*/ 17 h 73"/>
                <a:gd name="T64" fmla="*/ 1 w 56"/>
                <a:gd name="T65" fmla="*/ 23 h 73"/>
                <a:gd name="T66" fmla="*/ 0 w 56"/>
                <a:gd name="T67" fmla="*/ 28 h 73"/>
                <a:gd name="T68" fmla="*/ 3 w 56"/>
                <a:gd name="T69" fmla="*/ 35 h 73"/>
                <a:gd name="T70" fmla="*/ 5 w 56"/>
                <a:gd name="T71" fmla="*/ 4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6" h="73">
                  <a:moveTo>
                    <a:pt x="5" y="40"/>
                  </a:moveTo>
                  <a:cubicBezTo>
                    <a:pt x="6" y="42"/>
                    <a:pt x="9" y="43"/>
                    <a:pt x="11" y="41"/>
                  </a:cubicBezTo>
                  <a:cubicBezTo>
                    <a:pt x="14" y="40"/>
                    <a:pt x="14" y="37"/>
                    <a:pt x="13" y="35"/>
                  </a:cubicBezTo>
                  <a:cubicBezTo>
                    <a:pt x="12" y="34"/>
                    <a:pt x="12" y="32"/>
                    <a:pt x="11" y="31"/>
                  </a:cubicBezTo>
                  <a:cubicBezTo>
                    <a:pt x="11" y="30"/>
                    <a:pt x="10" y="28"/>
                    <a:pt x="10" y="28"/>
                  </a:cubicBezTo>
                  <a:cubicBezTo>
                    <a:pt x="10" y="27"/>
                    <a:pt x="11" y="26"/>
                    <a:pt x="11" y="24"/>
                  </a:cubicBezTo>
                  <a:cubicBezTo>
                    <a:pt x="11" y="17"/>
                    <a:pt x="11" y="17"/>
                    <a:pt x="11" y="17"/>
                  </a:cubicBezTo>
                  <a:cubicBezTo>
                    <a:pt x="11" y="14"/>
                    <a:pt x="12" y="10"/>
                    <a:pt x="19" y="10"/>
                  </a:cubicBezTo>
                  <a:cubicBezTo>
                    <a:pt x="27" y="10"/>
                    <a:pt x="28" y="14"/>
                    <a:pt x="28" y="17"/>
                  </a:cubicBezTo>
                  <a:cubicBezTo>
                    <a:pt x="28" y="24"/>
                    <a:pt x="28" y="24"/>
                    <a:pt x="28" y="24"/>
                  </a:cubicBezTo>
                  <a:cubicBezTo>
                    <a:pt x="28" y="26"/>
                    <a:pt x="28" y="27"/>
                    <a:pt x="29" y="28"/>
                  </a:cubicBezTo>
                  <a:cubicBezTo>
                    <a:pt x="28" y="29"/>
                    <a:pt x="28" y="30"/>
                    <a:pt x="27" y="31"/>
                  </a:cubicBezTo>
                  <a:cubicBezTo>
                    <a:pt x="27" y="33"/>
                    <a:pt x="25" y="36"/>
                    <a:pt x="24" y="37"/>
                  </a:cubicBezTo>
                  <a:cubicBezTo>
                    <a:pt x="23" y="38"/>
                    <a:pt x="22" y="40"/>
                    <a:pt x="22" y="41"/>
                  </a:cubicBezTo>
                  <a:cubicBezTo>
                    <a:pt x="22" y="44"/>
                    <a:pt x="22" y="44"/>
                    <a:pt x="22" y="44"/>
                  </a:cubicBezTo>
                  <a:cubicBezTo>
                    <a:pt x="22" y="44"/>
                    <a:pt x="22" y="45"/>
                    <a:pt x="23" y="45"/>
                  </a:cubicBezTo>
                  <a:cubicBezTo>
                    <a:pt x="23" y="48"/>
                    <a:pt x="26" y="52"/>
                    <a:pt x="46" y="60"/>
                  </a:cubicBezTo>
                  <a:cubicBezTo>
                    <a:pt x="46" y="63"/>
                    <a:pt x="46" y="63"/>
                    <a:pt x="46" y="63"/>
                  </a:cubicBezTo>
                  <a:cubicBezTo>
                    <a:pt x="29" y="63"/>
                    <a:pt x="29" y="63"/>
                    <a:pt x="29" y="63"/>
                  </a:cubicBezTo>
                  <a:cubicBezTo>
                    <a:pt x="26" y="63"/>
                    <a:pt x="24" y="66"/>
                    <a:pt x="24" y="68"/>
                  </a:cubicBezTo>
                  <a:cubicBezTo>
                    <a:pt x="24" y="71"/>
                    <a:pt x="26" y="73"/>
                    <a:pt x="29" y="73"/>
                  </a:cubicBezTo>
                  <a:cubicBezTo>
                    <a:pt x="49" y="73"/>
                    <a:pt x="49" y="73"/>
                    <a:pt x="49" y="73"/>
                  </a:cubicBezTo>
                  <a:cubicBezTo>
                    <a:pt x="53" y="73"/>
                    <a:pt x="56" y="70"/>
                    <a:pt x="56" y="66"/>
                  </a:cubicBezTo>
                  <a:cubicBezTo>
                    <a:pt x="56" y="58"/>
                    <a:pt x="56" y="58"/>
                    <a:pt x="56" y="58"/>
                  </a:cubicBezTo>
                  <a:cubicBezTo>
                    <a:pt x="56" y="55"/>
                    <a:pt x="54" y="52"/>
                    <a:pt x="51" y="51"/>
                  </a:cubicBezTo>
                  <a:cubicBezTo>
                    <a:pt x="38" y="46"/>
                    <a:pt x="34" y="44"/>
                    <a:pt x="32" y="42"/>
                  </a:cubicBezTo>
                  <a:cubicBezTo>
                    <a:pt x="34" y="40"/>
                    <a:pt x="35" y="38"/>
                    <a:pt x="36" y="35"/>
                  </a:cubicBezTo>
                  <a:cubicBezTo>
                    <a:pt x="38" y="33"/>
                    <a:pt x="39" y="30"/>
                    <a:pt x="39" y="28"/>
                  </a:cubicBezTo>
                  <a:cubicBezTo>
                    <a:pt x="39" y="26"/>
                    <a:pt x="39" y="25"/>
                    <a:pt x="38" y="23"/>
                  </a:cubicBezTo>
                  <a:cubicBezTo>
                    <a:pt x="38" y="17"/>
                    <a:pt x="38" y="17"/>
                    <a:pt x="38" y="17"/>
                  </a:cubicBezTo>
                  <a:cubicBezTo>
                    <a:pt x="38" y="7"/>
                    <a:pt x="31" y="0"/>
                    <a:pt x="19" y="0"/>
                  </a:cubicBezTo>
                  <a:cubicBezTo>
                    <a:pt x="8" y="0"/>
                    <a:pt x="1" y="7"/>
                    <a:pt x="1" y="17"/>
                  </a:cubicBezTo>
                  <a:cubicBezTo>
                    <a:pt x="1" y="23"/>
                    <a:pt x="1" y="23"/>
                    <a:pt x="1" y="23"/>
                  </a:cubicBezTo>
                  <a:cubicBezTo>
                    <a:pt x="0" y="25"/>
                    <a:pt x="0" y="26"/>
                    <a:pt x="0" y="28"/>
                  </a:cubicBezTo>
                  <a:cubicBezTo>
                    <a:pt x="0" y="30"/>
                    <a:pt x="1" y="33"/>
                    <a:pt x="3" y="35"/>
                  </a:cubicBezTo>
                  <a:cubicBezTo>
                    <a:pt x="3" y="36"/>
                    <a:pt x="4" y="38"/>
                    <a:pt x="5" y="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45" name="Freeform 500"/>
            <p:cNvSpPr>
              <a:spLocks/>
            </p:cNvSpPr>
            <p:nvPr/>
          </p:nvSpPr>
          <p:spPr bwMode="auto">
            <a:xfrm>
              <a:off x="10999788" y="7513638"/>
              <a:ext cx="192088" cy="90488"/>
            </a:xfrm>
            <a:custGeom>
              <a:avLst/>
              <a:gdLst>
                <a:gd name="T0" fmla="*/ 87 w 92"/>
                <a:gd name="T1" fmla="*/ 4 h 43"/>
                <a:gd name="T2" fmla="*/ 81 w 92"/>
                <a:gd name="T3" fmla="*/ 0 h 43"/>
                <a:gd name="T4" fmla="*/ 77 w 92"/>
                <a:gd name="T5" fmla="*/ 6 h 43"/>
                <a:gd name="T6" fmla="*/ 82 w 92"/>
                <a:gd name="T7" fmla="*/ 33 h 43"/>
                <a:gd name="T8" fmla="*/ 10 w 92"/>
                <a:gd name="T9" fmla="*/ 33 h 43"/>
                <a:gd name="T10" fmla="*/ 14 w 92"/>
                <a:gd name="T11" fmla="*/ 6 h 43"/>
                <a:gd name="T12" fmla="*/ 10 w 92"/>
                <a:gd name="T13" fmla="*/ 0 h 43"/>
                <a:gd name="T14" fmla="*/ 5 w 92"/>
                <a:gd name="T15" fmla="*/ 4 h 43"/>
                <a:gd name="T16" fmla="*/ 0 w 92"/>
                <a:gd name="T17" fmla="*/ 33 h 43"/>
                <a:gd name="T18" fmla="*/ 0 w 92"/>
                <a:gd name="T19" fmla="*/ 34 h 43"/>
                <a:gd name="T20" fmla="*/ 10 w 92"/>
                <a:gd name="T21" fmla="*/ 43 h 43"/>
                <a:gd name="T22" fmla="*/ 82 w 92"/>
                <a:gd name="T23" fmla="*/ 43 h 43"/>
                <a:gd name="T24" fmla="*/ 92 w 92"/>
                <a:gd name="T25" fmla="*/ 34 h 43"/>
                <a:gd name="T26" fmla="*/ 92 w 92"/>
                <a:gd name="T27" fmla="*/ 33 h 43"/>
                <a:gd name="T28" fmla="*/ 87 w 92"/>
                <a:gd name="T29" fmla="*/ 4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2" h="43">
                  <a:moveTo>
                    <a:pt x="87" y="4"/>
                  </a:moveTo>
                  <a:cubicBezTo>
                    <a:pt x="86" y="1"/>
                    <a:pt x="84" y="0"/>
                    <a:pt x="81" y="0"/>
                  </a:cubicBezTo>
                  <a:cubicBezTo>
                    <a:pt x="79" y="0"/>
                    <a:pt x="77" y="3"/>
                    <a:pt x="77" y="6"/>
                  </a:cubicBezTo>
                  <a:cubicBezTo>
                    <a:pt x="82" y="33"/>
                    <a:pt x="82" y="33"/>
                    <a:pt x="82" y="33"/>
                  </a:cubicBezTo>
                  <a:cubicBezTo>
                    <a:pt x="10" y="33"/>
                    <a:pt x="10" y="33"/>
                    <a:pt x="10" y="33"/>
                  </a:cubicBezTo>
                  <a:cubicBezTo>
                    <a:pt x="14" y="6"/>
                    <a:pt x="14" y="6"/>
                    <a:pt x="14" y="6"/>
                  </a:cubicBezTo>
                  <a:cubicBezTo>
                    <a:pt x="15" y="3"/>
                    <a:pt x="13" y="0"/>
                    <a:pt x="10" y="0"/>
                  </a:cubicBezTo>
                  <a:cubicBezTo>
                    <a:pt x="8" y="0"/>
                    <a:pt x="5" y="1"/>
                    <a:pt x="5" y="4"/>
                  </a:cubicBezTo>
                  <a:cubicBezTo>
                    <a:pt x="0" y="33"/>
                    <a:pt x="0" y="33"/>
                    <a:pt x="0" y="33"/>
                  </a:cubicBezTo>
                  <a:cubicBezTo>
                    <a:pt x="0" y="33"/>
                    <a:pt x="0" y="34"/>
                    <a:pt x="0" y="34"/>
                  </a:cubicBezTo>
                  <a:cubicBezTo>
                    <a:pt x="0" y="39"/>
                    <a:pt x="4" y="43"/>
                    <a:pt x="10" y="43"/>
                  </a:cubicBezTo>
                  <a:cubicBezTo>
                    <a:pt x="82" y="43"/>
                    <a:pt x="82" y="43"/>
                    <a:pt x="82" y="43"/>
                  </a:cubicBezTo>
                  <a:cubicBezTo>
                    <a:pt x="87" y="43"/>
                    <a:pt x="92" y="39"/>
                    <a:pt x="92" y="34"/>
                  </a:cubicBezTo>
                  <a:cubicBezTo>
                    <a:pt x="92" y="34"/>
                    <a:pt x="92" y="33"/>
                    <a:pt x="92" y="33"/>
                  </a:cubicBezTo>
                  <a:lnTo>
                    <a:pt x="87" y="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46" name="Freeform 501"/>
            <p:cNvSpPr>
              <a:spLocks noEditPoints="1"/>
            </p:cNvSpPr>
            <p:nvPr/>
          </p:nvSpPr>
          <p:spPr bwMode="auto">
            <a:xfrm>
              <a:off x="10845801" y="7108825"/>
              <a:ext cx="500063" cy="376238"/>
            </a:xfrm>
            <a:custGeom>
              <a:avLst/>
              <a:gdLst>
                <a:gd name="T0" fmla="*/ 219 w 240"/>
                <a:gd name="T1" fmla="*/ 0 h 180"/>
                <a:gd name="T2" fmla="*/ 21 w 240"/>
                <a:gd name="T3" fmla="*/ 0 h 180"/>
                <a:gd name="T4" fmla="*/ 0 w 240"/>
                <a:gd name="T5" fmla="*/ 21 h 180"/>
                <a:gd name="T6" fmla="*/ 0 w 240"/>
                <a:gd name="T7" fmla="*/ 158 h 180"/>
                <a:gd name="T8" fmla="*/ 21 w 240"/>
                <a:gd name="T9" fmla="*/ 180 h 180"/>
                <a:gd name="T10" fmla="*/ 219 w 240"/>
                <a:gd name="T11" fmla="*/ 180 h 180"/>
                <a:gd name="T12" fmla="*/ 240 w 240"/>
                <a:gd name="T13" fmla="*/ 158 h 180"/>
                <a:gd name="T14" fmla="*/ 240 w 240"/>
                <a:gd name="T15" fmla="*/ 21 h 180"/>
                <a:gd name="T16" fmla="*/ 219 w 240"/>
                <a:gd name="T17" fmla="*/ 0 h 180"/>
                <a:gd name="T18" fmla="*/ 21 w 240"/>
                <a:gd name="T19" fmla="*/ 9 h 180"/>
                <a:gd name="T20" fmla="*/ 219 w 240"/>
                <a:gd name="T21" fmla="*/ 9 h 180"/>
                <a:gd name="T22" fmla="*/ 230 w 240"/>
                <a:gd name="T23" fmla="*/ 21 h 180"/>
                <a:gd name="T24" fmla="*/ 230 w 240"/>
                <a:gd name="T25" fmla="*/ 140 h 180"/>
                <a:gd name="T26" fmla="*/ 10 w 240"/>
                <a:gd name="T27" fmla="*/ 140 h 180"/>
                <a:gd name="T28" fmla="*/ 10 w 240"/>
                <a:gd name="T29" fmla="*/ 21 h 180"/>
                <a:gd name="T30" fmla="*/ 21 w 240"/>
                <a:gd name="T31" fmla="*/ 9 h 180"/>
                <a:gd name="T32" fmla="*/ 219 w 240"/>
                <a:gd name="T33" fmla="*/ 170 h 180"/>
                <a:gd name="T34" fmla="*/ 21 w 240"/>
                <a:gd name="T35" fmla="*/ 170 h 180"/>
                <a:gd name="T36" fmla="*/ 10 w 240"/>
                <a:gd name="T37" fmla="*/ 158 h 180"/>
                <a:gd name="T38" fmla="*/ 10 w 240"/>
                <a:gd name="T39" fmla="*/ 150 h 180"/>
                <a:gd name="T40" fmla="*/ 230 w 240"/>
                <a:gd name="T41" fmla="*/ 150 h 180"/>
                <a:gd name="T42" fmla="*/ 230 w 240"/>
                <a:gd name="T43" fmla="*/ 158 h 180"/>
                <a:gd name="T44" fmla="*/ 219 w 240"/>
                <a:gd name="T45" fmla="*/ 17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0" h="180">
                  <a:moveTo>
                    <a:pt x="219" y="0"/>
                  </a:moveTo>
                  <a:cubicBezTo>
                    <a:pt x="21" y="0"/>
                    <a:pt x="21" y="0"/>
                    <a:pt x="21" y="0"/>
                  </a:cubicBezTo>
                  <a:cubicBezTo>
                    <a:pt x="9" y="0"/>
                    <a:pt x="0" y="9"/>
                    <a:pt x="0" y="21"/>
                  </a:cubicBezTo>
                  <a:cubicBezTo>
                    <a:pt x="0" y="158"/>
                    <a:pt x="0" y="158"/>
                    <a:pt x="0" y="158"/>
                  </a:cubicBezTo>
                  <a:cubicBezTo>
                    <a:pt x="0" y="170"/>
                    <a:pt x="9" y="180"/>
                    <a:pt x="21" y="180"/>
                  </a:cubicBezTo>
                  <a:cubicBezTo>
                    <a:pt x="219" y="180"/>
                    <a:pt x="219" y="180"/>
                    <a:pt x="219" y="180"/>
                  </a:cubicBezTo>
                  <a:cubicBezTo>
                    <a:pt x="230" y="180"/>
                    <a:pt x="240" y="170"/>
                    <a:pt x="240" y="158"/>
                  </a:cubicBezTo>
                  <a:cubicBezTo>
                    <a:pt x="240" y="21"/>
                    <a:pt x="240" y="21"/>
                    <a:pt x="240" y="21"/>
                  </a:cubicBezTo>
                  <a:cubicBezTo>
                    <a:pt x="240" y="9"/>
                    <a:pt x="230" y="0"/>
                    <a:pt x="219" y="0"/>
                  </a:cubicBezTo>
                  <a:close/>
                  <a:moveTo>
                    <a:pt x="21" y="9"/>
                  </a:moveTo>
                  <a:cubicBezTo>
                    <a:pt x="219" y="9"/>
                    <a:pt x="219" y="9"/>
                    <a:pt x="219" y="9"/>
                  </a:cubicBezTo>
                  <a:cubicBezTo>
                    <a:pt x="225" y="9"/>
                    <a:pt x="230" y="15"/>
                    <a:pt x="230" y="21"/>
                  </a:cubicBezTo>
                  <a:cubicBezTo>
                    <a:pt x="230" y="140"/>
                    <a:pt x="230" y="140"/>
                    <a:pt x="230" y="140"/>
                  </a:cubicBezTo>
                  <a:cubicBezTo>
                    <a:pt x="10" y="140"/>
                    <a:pt x="10" y="140"/>
                    <a:pt x="10" y="140"/>
                  </a:cubicBezTo>
                  <a:cubicBezTo>
                    <a:pt x="10" y="21"/>
                    <a:pt x="10" y="21"/>
                    <a:pt x="10" y="21"/>
                  </a:cubicBezTo>
                  <a:cubicBezTo>
                    <a:pt x="10" y="15"/>
                    <a:pt x="15" y="9"/>
                    <a:pt x="21" y="9"/>
                  </a:cubicBezTo>
                  <a:close/>
                  <a:moveTo>
                    <a:pt x="219" y="170"/>
                  </a:moveTo>
                  <a:cubicBezTo>
                    <a:pt x="21" y="170"/>
                    <a:pt x="21" y="170"/>
                    <a:pt x="21" y="170"/>
                  </a:cubicBezTo>
                  <a:cubicBezTo>
                    <a:pt x="15" y="170"/>
                    <a:pt x="10" y="165"/>
                    <a:pt x="10" y="158"/>
                  </a:cubicBezTo>
                  <a:cubicBezTo>
                    <a:pt x="10" y="150"/>
                    <a:pt x="10" y="150"/>
                    <a:pt x="10" y="150"/>
                  </a:cubicBezTo>
                  <a:cubicBezTo>
                    <a:pt x="230" y="150"/>
                    <a:pt x="230" y="150"/>
                    <a:pt x="230" y="150"/>
                  </a:cubicBezTo>
                  <a:cubicBezTo>
                    <a:pt x="230" y="158"/>
                    <a:pt x="230" y="158"/>
                    <a:pt x="230" y="158"/>
                  </a:cubicBezTo>
                  <a:cubicBezTo>
                    <a:pt x="230" y="165"/>
                    <a:pt x="225" y="170"/>
                    <a:pt x="219"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47" name="Group 46"/>
          <p:cNvGrpSpPr/>
          <p:nvPr/>
        </p:nvGrpSpPr>
        <p:grpSpPr>
          <a:xfrm>
            <a:off x="5112593" y="4370295"/>
            <a:ext cx="353165" cy="608421"/>
            <a:chOff x="12606338" y="3622675"/>
            <a:chExt cx="320675" cy="552450"/>
          </a:xfrm>
          <a:solidFill>
            <a:srgbClr val="81BC00"/>
          </a:solidFill>
        </p:grpSpPr>
        <p:sp>
          <p:nvSpPr>
            <p:cNvPr id="48" name="Freeform 580"/>
            <p:cNvSpPr>
              <a:spLocks noEditPoints="1"/>
            </p:cNvSpPr>
            <p:nvPr/>
          </p:nvSpPr>
          <p:spPr bwMode="auto">
            <a:xfrm>
              <a:off x="12606338" y="3622675"/>
              <a:ext cx="320675" cy="552450"/>
            </a:xfrm>
            <a:custGeom>
              <a:avLst/>
              <a:gdLst>
                <a:gd name="T0" fmla="*/ 118 w 144"/>
                <a:gd name="T1" fmla="*/ 0 h 247"/>
                <a:gd name="T2" fmla="*/ 26 w 144"/>
                <a:gd name="T3" fmla="*/ 0 h 247"/>
                <a:gd name="T4" fmla="*/ 0 w 144"/>
                <a:gd name="T5" fmla="*/ 26 h 247"/>
                <a:gd name="T6" fmla="*/ 0 w 144"/>
                <a:gd name="T7" fmla="*/ 34 h 247"/>
                <a:gd name="T8" fmla="*/ 0 w 144"/>
                <a:gd name="T9" fmla="*/ 200 h 247"/>
                <a:gd name="T10" fmla="*/ 0 w 144"/>
                <a:gd name="T11" fmla="*/ 221 h 247"/>
                <a:gd name="T12" fmla="*/ 26 w 144"/>
                <a:gd name="T13" fmla="*/ 247 h 247"/>
                <a:gd name="T14" fmla="*/ 118 w 144"/>
                <a:gd name="T15" fmla="*/ 247 h 247"/>
                <a:gd name="T16" fmla="*/ 144 w 144"/>
                <a:gd name="T17" fmla="*/ 221 h 247"/>
                <a:gd name="T18" fmla="*/ 144 w 144"/>
                <a:gd name="T19" fmla="*/ 200 h 247"/>
                <a:gd name="T20" fmla="*/ 144 w 144"/>
                <a:gd name="T21" fmla="*/ 34 h 247"/>
                <a:gd name="T22" fmla="*/ 144 w 144"/>
                <a:gd name="T23" fmla="*/ 26 h 247"/>
                <a:gd name="T24" fmla="*/ 118 w 144"/>
                <a:gd name="T25" fmla="*/ 0 h 247"/>
                <a:gd name="T26" fmla="*/ 10 w 144"/>
                <a:gd name="T27" fmla="*/ 44 h 247"/>
                <a:gd name="T28" fmla="*/ 134 w 144"/>
                <a:gd name="T29" fmla="*/ 44 h 247"/>
                <a:gd name="T30" fmla="*/ 134 w 144"/>
                <a:gd name="T31" fmla="*/ 190 h 247"/>
                <a:gd name="T32" fmla="*/ 10 w 144"/>
                <a:gd name="T33" fmla="*/ 190 h 247"/>
                <a:gd name="T34" fmla="*/ 10 w 144"/>
                <a:gd name="T35" fmla="*/ 44 h 247"/>
                <a:gd name="T36" fmla="*/ 134 w 144"/>
                <a:gd name="T37" fmla="*/ 221 h 247"/>
                <a:gd name="T38" fmla="*/ 118 w 144"/>
                <a:gd name="T39" fmla="*/ 237 h 247"/>
                <a:gd name="T40" fmla="*/ 26 w 144"/>
                <a:gd name="T41" fmla="*/ 237 h 247"/>
                <a:gd name="T42" fmla="*/ 10 w 144"/>
                <a:gd name="T43" fmla="*/ 221 h 247"/>
                <a:gd name="T44" fmla="*/ 10 w 144"/>
                <a:gd name="T45" fmla="*/ 200 h 247"/>
                <a:gd name="T46" fmla="*/ 134 w 144"/>
                <a:gd name="T47" fmla="*/ 200 h 247"/>
                <a:gd name="T48" fmla="*/ 134 w 144"/>
                <a:gd name="T49" fmla="*/ 221 h 247"/>
                <a:gd name="T50" fmla="*/ 10 w 144"/>
                <a:gd name="T51" fmla="*/ 34 h 247"/>
                <a:gd name="T52" fmla="*/ 10 w 144"/>
                <a:gd name="T53" fmla="*/ 26 h 247"/>
                <a:gd name="T54" fmla="*/ 26 w 144"/>
                <a:gd name="T55" fmla="*/ 10 h 247"/>
                <a:gd name="T56" fmla="*/ 118 w 144"/>
                <a:gd name="T57" fmla="*/ 10 h 247"/>
                <a:gd name="T58" fmla="*/ 134 w 144"/>
                <a:gd name="T59" fmla="*/ 26 h 247"/>
                <a:gd name="T60" fmla="*/ 134 w 144"/>
                <a:gd name="T61" fmla="*/ 34 h 247"/>
                <a:gd name="T62" fmla="*/ 10 w 144"/>
                <a:gd name="T63" fmla="*/ 34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4" h="247">
                  <a:moveTo>
                    <a:pt x="118" y="0"/>
                  </a:moveTo>
                  <a:cubicBezTo>
                    <a:pt x="26" y="0"/>
                    <a:pt x="26" y="0"/>
                    <a:pt x="26" y="0"/>
                  </a:cubicBezTo>
                  <a:cubicBezTo>
                    <a:pt x="12" y="0"/>
                    <a:pt x="0" y="12"/>
                    <a:pt x="0" y="26"/>
                  </a:cubicBezTo>
                  <a:cubicBezTo>
                    <a:pt x="0" y="34"/>
                    <a:pt x="0" y="34"/>
                    <a:pt x="0" y="34"/>
                  </a:cubicBezTo>
                  <a:cubicBezTo>
                    <a:pt x="0" y="200"/>
                    <a:pt x="0" y="200"/>
                    <a:pt x="0" y="200"/>
                  </a:cubicBezTo>
                  <a:cubicBezTo>
                    <a:pt x="0" y="221"/>
                    <a:pt x="0" y="221"/>
                    <a:pt x="0" y="221"/>
                  </a:cubicBezTo>
                  <a:cubicBezTo>
                    <a:pt x="0" y="236"/>
                    <a:pt x="12" y="247"/>
                    <a:pt x="26" y="247"/>
                  </a:cubicBezTo>
                  <a:cubicBezTo>
                    <a:pt x="118" y="247"/>
                    <a:pt x="118" y="247"/>
                    <a:pt x="118" y="247"/>
                  </a:cubicBezTo>
                  <a:cubicBezTo>
                    <a:pt x="132" y="247"/>
                    <a:pt x="144" y="236"/>
                    <a:pt x="144" y="221"/>
                  </a:cubicBezTo>
                  <a:cubicBezTo>
                    <a:pt x="144" y="200"/>
                    <a:pt x="144" y="200"/>
                    <a:pt x="144" y="200"/>
                  </a:cubicBezTo>
                  <a:cubicBezTo>
                    <a:pt x="144" y="34"/>
                    <a:pt x="144" y="34"/>
                    <a:pt x="144" y="34"/>
                  </a:cubicBezTo>
                  <a:cubicBezTo>
                    <a:pt x="144" y="26"/>
                    <a:pt x="144" y="26"/>
                    <a:pt x="144" y="26"/>
                  </a:cubicBezTo>
                  <a:cubicBezTo>
                    <a:pt x="144" y="12"/>
                    <a:pt x="132" y="0"/>
                    <a:pt x="118" y="0"/>
                  </a:cubicBezTo>
                  <a:close/>
                  <a:moveTo>
                    <a:pt x="10" y="44"/>
                  </a:moveTo>
                  <a:cubicBezTo>
                    <a:pt x="134" y="44"/>
                    <a:pt x="134" y="44"/>
                    <a:pt x="134" y="44"/>
                  </a:cubicBezTo>
                  <a:cubicBezTo>
                    <a:pt x="134" y="190"/>
                    <a:pt x="134" y="190"/>
                    <a:pt x="134" y="190"/>
                  </a:cubicBezTo>
                  <a:cubicBezTo>
                    <a:pt x="10" y="190"/>
                    <a:pt x="10" y="190"/>
                    <a:pt x="10" y="190"/>
                  </a:cubicBezTo>
                  <a:lnTo>
                    <a:pt x="10" y="44"/>
                  </a:lnTo>
                  <a:close/>
                  <a:moveTo>
                    <a:pt x="134" y="221"/>
                  </a:moveTo>
                  <a:cubicBezTo>
                    <a:pt x="134" y="230"/>
                    <a:pt x="127" y="237"/>
                    <a:pt x="118" y="237"/>
                  </a:cubicBezTo>
                  <a:cubicBezTo>
                    <a:pt x="26" y="237"/>
                    <a:pt x="26" y="237"/>
                    <a:pt x="26" y="237"/>
                  </a:cubicBezTo>
                  <a:cubicBezTo>
                    <a:pt x="17" y="237"/>
                    <a:pt x="10" y="230"/>
                    <a:pt x="10" y="221"/>
                  </a:cubicBezTo>
                  <a:cubicBezTo>
                    <a:pt x="10" y="200"/>
                    <a:pt x="10" y="200"/>
                    <a:pt x="10" y="200"/>
                  </a:cubicBezTo>
                  <a:cubicBezTo>
                    <a:pt x="134" y="200"/>
                    <a:pt x="134" y="200"/>
                    <a:pt x="134" y="200"/>
                  </a:cubicBezTo>
                  <a:lnTo>
                    <a:pt x="134" y="221"/>
                  </a:lnTo>
                  <a:close/>
                  <a:moveTo>
                    <a:pt x="10" y="34"/>
                  </a:moveTo>
                  <a:cubicBezTo>
                    <a:pt x="10" y="26"/>
                    <a:pt x="10" y="26"/>
                    <a:pt x="10" y="26"/>
                  </a:cubicBezTo>
                  <a:cubicBezTo>
                    <a:pt x="10" y="17"/>
                    <a:pt x="17" y="10"/>
                    <a:pt x="26" y="10"/>
                  </a:cubicBezTo>
                  <a:cubicBezTo>
                    <a:pt x="118" y="10"/>
                    <a:pt x="118" y="10"/>
                    <a:pt x="118" y="10"/>
                  </a:cubicBezTo>
                  <a:cubicBezTo>
                    <a:pt x="127" y="10"/>
                    <a:pt x="134" y="17"/>
                    <a:pt x="134" y="26"/>
                  </a:cubicBezTo>
                  <a:cubicBezTo>
                    <a:pt x="134" y="34"/>
                    <a:pt x="134" y="34"/>
                    <a:pt x="134" y="34"/>
                  </a:cubicBezTo>
                  <a:lnTo>
                    <a:pt x="10" y="3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49" name="Freeform 581"/>
            <p:cNvSpPr>
              <a:spLocks noEditPoints="1"/>
            </p:cNvSpPr>
            <p:nvPr/>
          </p:nvSpPr>
          <p:spPr bwMode="auto">
            <a:xfrm>
              <a:off x="12738100" y="4081463"/>
              <a:ext cx="57150" cy="55562"/>
            </a:xfrm>
            <a:custGeom>
              <a:avLst/>
              <a:gdLst>
                <a:gd name="T0" fmla="*/ 13 w 26"/>
                <a:gd name="T1" fmla="*/ 25 h 25"/>
                <a:gd name="T2" fmla="*/ 26 w 26"/>
                <a:gd name="T3" fmla="*/ 13 h 25"/>
                <a:gd name="T4" fmla="*/ 13 w 26"/>
                <a:gd name="T5" fmla="*/ 0 h 25"/>
                <a:gd name="T6" fmla="*/ 0 w 26"/>
                <a:gd name="T7" fmla="*/ 13 h 25"/>
                <a:gd name="T8" fmla="*/ 13 w 26"/>
                <a:gd name="T9" fmla="*/ 25 h 25"/>
                <a:gd name="T10" fmla="*/ 13 w 26"/>
                <a:gd name="T11" fmla="*/ 10 h 25"/>
                <a:gd name="T12" fmla="*/ 16 w 26"/>
                <a:gd name="T13" fmla="*/ 13 h 25"/>
                <a:gd name="T14" fmla="*/ 13 w 26"/>
                <a:gd name="T15" fmla="*/ 16 h 25"/>
                <a:gd name="T16" fmla="*/ 10 w 26"/>
                <a:gd name="T17" fmla="*/ 13 h 25"/>
                <a:gd name="T18" fmla="*/ 13 w 26"/>
                <a:gd name="T19"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5">
                  <a:moveTo>
                    <a:pt x="13" y="25"/>
                  </a:moveTo>
                  <a:cubicBezTo>
                    <a:pt x="20" y="25"/>
                    <a:pt x="26" y="20"/>
                    <a:pt x="26" y="13"/>
                  </a:cubicBezTo>
                  <a:cubicBezTo>
                    <a:pt x="26" y="6"/>
                    <a:pt x="20" y="0"/>
                    <a:pt x="13" y="0"/>
                  </a:cubicBezTo>
                  <a:cubicBezTo>
                    <a:pt x="6" y="0"/>
                    <a:pt x="0" y="6"/>
                    <a:pt x="0" y="13"/>
                  </a:cubicBezTo>
                  <a:cubicBezTo>
                    <a:pt x="0" y="20"/>
                    <a:pt x="6" y="25"/>
                    <a:pt x="13" y="25"/>
                  </a:cubicBezTo>
                  <a:close/>
                  <a:moveTo>
                    <a:pt x="13" y="10"/>
                  </a:moveTo>
                  <a:cubicBezTo>
                    <a:pt x="14" y="10"/>
                    <a:pt x="16" y="11"/>
                    <a:pt x="16" y="13"/>
                  </a:cubicBezTo>
                  <a:cubicBezTo>
                    <a:pt x="16" y="14"/>
                    <a:pt x="14" y="16"/>
                    <a:pt x="13" y="16"/>
                  </a:cubicBezTo>
                  <a:cubicBezTo>
                    <a:pt x="12" y="16"/>
                    <a:pt x="10" y="14"/>
                    <a:pt x="10" y="13"/>
                  </a:cubicBezTo>
                  <a:cubicBezTo>
                    <a:pt x="10" y="11"/>
                    <a:pt x="12" y="10"/>
                    <a:pt x="13" y="1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62" name="Rectangle 61"/>
          <p:cNvSpPr/>
          <p:nvPr/>
        </p:nvSpPr>
        <p:spPr>
          <a:xfrm>
            <a:off x="1212487" y="3114728"/>
            <a:ext cx="1323946" cy="526939"/>
          </a:xfrm>
          <a:prstGeom prst="rect">
            <a:avLst/>
          </a:prstGeom>
        </p:spPr>
        <p:txBody>
          <a:bodyPr wrap="square">
            <a:spAutoFit/>
          </a:bodyPr>
          <a:lstStyle/>
          <a:p>
            <a:pPr algn="ctr"/>
            <a:r>
              <a:rPr lang="en-US" sz="1412" dirty="0">
                <a:solidFill>
                  <a:srgbClr val="292929"/>
                </a:solidFill>
                <a:latin typeface="Frutiger Next Pro Light"/>
                <a:cs typeface="Frutiger Next Pro Light"/>
              </a:rPr>
              <a:t>Digital Business </a:t>
            </a:r>
          </a:p>
          <a:p>
            <a:pPr algn="ctr"/>
            <a:r>
              <a:rPr lang="en-US" sz="1412" dirty="0">
                <a:solidFill>
                  <a:srgbClr val="292929"/>
                </a:solidFill>
                <a:latin typeface="Frutiger Next Pro Light"/>
                <a:cs typeface="Frutiger Next Pro Light"/>
              </a:rPr>
              <a:t>and Strategy</a:t>
            </a:r>
          </a:p>
        </p:txBody>
      </p:sp>
      <p:sp>
        <p:nvSpPr>
          <p:cNvPr id="63" name="Rectangle 62"/>
          <p:cNvSpPr/>
          <p:nvPr/>
        </p:nvSpPr>
        <p:spPr>
          <a:xfrm>
            <a:off x="2677717" y="3114728"/>
            <a:ext cx="1861154" cy="526939"/>
          </a:xfrm>
          <a:prstGeom prst="rect">
            <a:avLst/>
          </a:prstGeom>
        </p:spPr>
        <p:txBody>
          <a:bodyPr wrap="square">
            <a:spAutoFit/>
          </a:bodyPr>
          <a:lstStyle/>
          <a:p>
            <a:pPr algn="ctr"/>
            <a:r>
              <a:rPr lang="en-US" sz="1412" dirty="0">
                <a:solidFill>
                  <a:srgbClr val="292929"/>
                </a:solidFill>
                <a:latin typeface="Frutiger Next Pro Light"/>
                <a:cs typeface="Frutiger Next Pro Light"/>
              </a:rPr>
              <a:t>Customer Engagement</a:t>
            </a:r>
          </a:p>
          <a:p>
            <a:pPr algn="ctr"/>
            <a:r>
              <a:rPr lang="en-US" sz="1412" dirty="0">
                <a:solidFill>
                  <a:srgbClr val="292929"/>
                </a:solidFill>
                <a:latin typeface="Frutiger Next Pro Light"/>
                <a:cs typeface="Frutiger Next Pro Light"/>
              </a:rPr>
              <a:t>and Commerce</a:t>
            </a:r>
          </a:p>
        </p:txBody>
      </p:sp>
      <p:sp>
        <p:nvSpPr>
          <p:cNvPr id="64" name="Rectangle 63"/>
          <p:cNvSpPr/>
          <p:nvPr/>
        </p:nvSpPr>
        <p:spPr>
          <a:xfrm>
            <a:off x="4539901" y="3114728"/>
            <a:ext cx="1498552" cy="309637"/>
          </a:xfrm>
          <a:prstGeom prst="rect">
            <a:avLst/>
          </a:prstGeom>
        </p:spPr>
        <p:txBody>
          <a:bodyPr wrap="none">
            <a:spAutoFit/>
          </a:bodyPr>
          <a:lstStyle/>
          <a:p>
            <a:pPr algn="ctr"/>
            <a:r>
              <a:rPr lang="en-US" sz="1412" dirty="0">
                <a:solidFill>
                  <a:srgbClr val="292929"/>
                </a:solidFill>
                <a:latin typeface="Frutiger Next Pro Light"/>
                <a:cs typeface="Frutiger Next Pro Light"/>
              </a:rPr>
              <a:t>Digital Experience</a:t>
            </a:r>
          </a:p>
        </p:txBody>
      </p:sp>
      <p:sp>
        <p:nvSpPr>
          <p:cNvPr id="65" name="Rectangle 64"/>
          <p:cNvSpPr/>
          <p:nvPr/>
        </p:nvSpPr>
        <p:spPr>
          <a:xfrm>
            <a:off x="6139773" y="3114728"/>
            <a:ext cx="1526101" cy="526939"/>
          </a:xfrm>
          <a:prstGeom prst="rect">
            <a:avLst/>
          </a:prstGeom>
        </p:spPr>
        <p:txBody>
          <a:bodyPr wrap="square">
            <a:spAutoFit/>
          </a:bodyPr>
          <a:lstStyle/>
          <a:p>
            <a:pPr algn="ctr"/>
            <a:r>
              <a:rPr lang="en-US" sz="1412" dirty="0">
                <a:solidFill>
                  <a:srgbClr val="292929"/>
                </a:solidFill>
                <a:latin typeface="Frutiger Next Pro Light"/>
                <a:cs typeface="Frutiger Next Pro Light"/>
              </a:rPr>
              <a:t>Digital Marketing</a:t>
            </a:r>
          </a:p>
          <a:p>
            <a:pPr algn="ctr"/>
            <a:r>
              <a:rPr lang="en-US" sz="1412" dirty="0">
                <a:solidFill>
                  <a:srgbClr val="292929"/>
                </a:solidFill>
                <a:latin typeface="Frutiger Next Pro Light"/>
                <a:cs typeface="Frutiger Next Pro Light"/>
              </a:rPr>
              <a:t>and Content</a:t>
            </a:r>
          </a:p>
        </p:txBody>
      </p:sp>
      <p:sp>
        <p:nvSpPr>
          <p:cNvPr id="66" name="Rectangle 65"/>
          <p:cNvSpPr/>
          <p:nvPr/>
        </p:nvSpPr>
        <p:spPr>
          <a:xfrm>
            <a:off x="7882038" y="3114728"/>
            <a:ext cx="1403334" cy="309637"/>
          </a:xfrm>
          <a:prstGeom prst="rect">
            <a:avLst/>
          </a:prstGeom>
        </p:spPr>
        <p:txBody>
          <a:bodyPr wrap="none">
            <a:spAutoFit/>
          </a:bodyPr>
          <a:lstStyle/>
          <a:p>
            <a:pPr algn="ctr"/>
            <a:r>
              <a:rPr lang="en-US" sz="1412" dirty="0">
                <a:solidFill>
                  <a:srgbClr val="292929"/>
                </a:solidFill>
                <a:latin typeface="Frutiger Next Pro Light"/>
                <a:cs typeface="Frutiger Next Pro Light"/>
              </a:rPr>
              <a:t>Digital Customer</a:t>
            </a:r>
          </a:p>
        </p:txBody>
      </p:sp>
      <p:sp>
        <p:nvSpPr>
          <p:cNvPr id="67" name="Rectangle 66"/>
          <p:cNvSpPr/>
          <p:nvPr/>
        </p:nvSpPr>
        <p:spPr>
          <a:xfrm>
            <a:off x="9685764" y="3114728"/>
            <a:ext cx="1292119" cy="744243"/>
          </a:xfrm>
          <a:prstGeom prst="rect">
            <a:avLst/>
          </a:prstGeom>
        </p:spPr>
        <p:txBody>
          <a:bodyPr wrap="square">
            <a:spAutoFit/>
          </a:bodyPr>
          <a:lstStyle/>
          <a:p>
            <a:pPr algn="ctr"/>
            <a:r>
              <a:rPr lang="en-US" sz="1412" dirty="0">
                <a:solidFill>
                  <a:srgbClr val="292929"/>
                </a:solidFill>
                <a:latin typeface="Frutiger Next Pro Light"/>
                <a:cs typeface="Frutiger Next Pro Light"/>
              </a:rPr>
              <a:t>Cloud ERP</a:t>
            </a:r>
          </a:p>
          <a:p>
            <a:pPr algn="ctr"/>
            <a:r>
              <a:rPr lang="en-US" sz="1412" dirty="0">
                <a:solidFill>
                  <a:srgbClr val="292929"/>
                </a:solidFill>
                <a:latin typeface="Frutiger Next Pro Light"/>
                <a:cs typeface="Frutiger Next Pro Light"/>
              </a:rPr>
              <a:t>and Integration</a:t>
            </a:r>
          </a:p>
        </p:txBody>
      </p:sp>
      <p:sp>
        <p:nvSpPr>
          <p:cNvPr id="68" name="Rectangle 67"/>
          <p:cNvSpPr/>
          <p:nvPr/>
        </p:nvSpPr>
        <p:spPr>
          <a:xfrm>
            <a:off x="1212487" y="5199022"/>
            <a:ext cx="1323946" cy="526939"/>
          </a:xfrm>
          <a:prstGeom prst="rect">
            <a:avLst/>
          </a:prstGeom>
        </p:spPr>
        <p:txBody>
          <a:bodyPr wrap="square">
            <a:spAutoFit/>
          </a:bodyPr>
          <a:lstStyle/>
          <a:p>
            <a:pPr algn="ctr"/>
            <a:r>
              <a:rPr lang="en-US" sz="1412" dirty="0">
                <a:solidFill>
                  <a:srgbClr val="292929"/>
                </a:solidFill>
                <a:latin typeface="Frutiger Next Pro Light"/>
                <a:cs typeface="Frutiger Next Pro Light"/>
              </a:rPr>
              <a:t>Digital Business </a:t>
            </a:r>
          </a:p>
          <a:p>
            <a:pPr algn="ctr"/>
            <a:r>
              <a:rPr lang="en-US" sz="1412" dirty="0">
                <a:solidFill>
                  <a:srgbClr val="292929"/>
                </a:solidFill>
                <a:latin typeface="Frutiger Next Pro Light"/>
                <a:cs typeface="Frutiger Next Pro Light"/>
              </a:rPr>
              <a:t>and Strategy</a:t>
            </a:r>
          </a:p>
        </p:txBody>
      </p:sp>
      <p:sp>
        <p:nvSpPr>
          <p:cNvPr id="69" name="Rectangle 68"/>
          <p:cNvSpPr/>
          <p:nvPr/>
        </p:nvSpPr>
        <p:spPr>
          <a:xfrm>
            <a:off x="2677717" y="5199022"/>
            <a:ext cx="1861154" cy="526939"/>
          </a:xfrm>
          <a:prstGeom prst="rect">
            <a:avLst/>
          </a:prstGeom>
        </p:spPr>
        <p:txBody>
          <a:bodyPr wrap="square">
            <a:spAutoFit/>
          </a:bodyPr>
          <a:lstStyle/>
          <a:p>
            <a:pPr algn="ctr"/>
            <a:r>
              <a:rPr lang="en-US" sz="1412" dirty="0">
                <a:solidFill>
                  <a:srgbClr val="292929"/>
                </a:solidFill>
                <a:latin typeface="Frutiger Next Pro Light"/>
                <a:cs typeface="Frutiger Next Pro Light"/>
              </a:rPr>
              <a:t>Customer Engagement</a:t>
            </a:r>
          </a:p>
          <a:p>
            <a:pPr algn="ctr"/>
            <a:r>
              <a:rPr lang="en-US" sz="1412" dirty="0">
                <a:solidFill>
                  <a:srgbClr val="292929"/>
                </a:solidFill>
                <a:latin typeface="Frutiger Next Pro Light"/>
                <a:cs typeface="Frutiger Next Pro Light"/>
              </a:rPr>
              <a:t>and Commerce</a:t>
            </a:r>
          </a:p>
        </p:txBody>
      </p:sp>
      <p:sp>
        <p:nvSpPr>
          <p:cNvPr id="70" name="Rectangle 69"/>
          <p:cNvSpPr/>
          <p:nvPr/>
        </p:nvSpPr>
        <p:spPr>
          <a:xfrm>
            <a:off x="4539901" y="5199022"/>
            <a:ext cx="1498552" cy="309637"/>
          </a:xfrm>
          <a:prstGeom prst="rect">
            <a:avLst/>
          </a:prstGeom>
        </p:spPr>
        <p:txBody>
          <a:bodyPr wrap="none">
            <a:spAutoFit/>
          </a:bodyPr>
          <a:lstStyle/>
          <a:p>
            <a:pPr algn="ctr"/>
            <a:r>
              <a:rPr lang="en-US" sz="1412" dirty="0">
                <a:solidFill>
                  <a:srgbClr val="292929"/>
                </a:solidFill>
                <a:latin typeface="Frutiger Next Pro Light"/>
                <a:cs typeface="Frutiger Next Pro Light"/>
              </a:rPr>
              <a:t>Digital Experience</a:t>
            </a:r>
          </a:p>
        </p:txBody>
      </p:sp>
      <p:sp>
        <p:nvSpPr>
          <p:cNvPr id="71" name="Rectangle 70"/>
          <p:cNvSpPr/>
          <p:nvPr/>
        </p:nvSpPr>
        <p:spPr>
          <a:xfrm>
            <a:off x="6139773" y="5199022"/>
            <a:ext cx="1526101" cy="526939"/>
          </a:xfrm>
          <a:prstGeom prst="rect">
            <a:avLst/>
          </a:prstGeom>
        </p:spPr>
        <p:txBody>
          <a:bodyPr wrap="square">
            <a:spAutoFit/>
          </a:bodyPr>
          <a:lstStyle/>
          <a:p>
            <a:pPr algn="ctr"/>
            <a:r>
              <a:rPr lang="en-US" sz="1412" dirty="0">
                <a:solidFill>
                  <a:srgbClr val="292929"/>
                </a:solidFill>
                <a:latin typeface="Frutiger Next Pro Light"/>
                <a:cs typeface="Frutiger Next Pro Light"/>
              </a:rPr>
              <a:t>Digital Marketing</a:t>
            </a:r>
          </a:p>
          <a:p>
            <a:pPr algn="ctr"/>
            <a:r>
              <a:rPr lang="en-US" sz="1412" dirty="0">
                <a:solidFill>
                  <a:srgbClr val="292929"/>
                </a:solidFill>
                <a:latin typeface="Frutiger Next Pro Light"/>
                <a:cs typeface="Frutiger Next Pro Light"/>
              </a:rPr>
              <a:t>and Content</a:t>
            </a:r>
          </a:p>
        </p:txBody>
      </p:sp>
      <p:sp>
        <p:nvSpPr>
          <p:cNvPr id="72" name="Rectangle 71"/>
          <p:cNvSpPr/>
          <p:nvPr/>
        </p:nvSpPr>
        <p:spPr>
          <a:xfrm>
            <a:off x="7882038" y="5199022"/>
            <a:ext cx="1403334" cy="309637"/>
          </a:xfrm>
          <a:prstGeom prst="rect">
            <a:avLst/>
          </a:prstGeom>
        </p:spPr>
        <p:txBody>
          <a:bodyPr wrap="none">
            <a:spAutoFit/>
          </a:bodyPr>
          <a:lstStyle/>
          <a:p>
            <a:pPr algn="ctr"/>
            <a:r>
              <a:rPr lang="en-US" sz="1412" dirty="0">
                <a:solidFill>
                  <a:srgbClr val="292929"/>
                </a:solidFill>
                <a:latin typeface="Frutiger Next Pro Light"/>
                <a:cs typeface="Frutiger Next Pro Light"/>
              </a:rPr>
              <a:t>Digital Customer</a:t>
            </a:r>
          </a:p>
        </p:txBody>
      </p:sp>
      <p:sp>
        <p:nvSpPr>
          <p:cNvPr id="73" name="Rectangle 72"/>
          <p:cNvSpPr/>
          <p:nvPr/>
        </p:nvSpPr>
        <p:spPr>
          <a:xfrm>
            <a:off x="9685764" y="5199022"/>
            <a:ext cx="1292119" cy="744243"/>
          </a:xfrm>
          <a:prstGeom prst="rect">
            <a:avLst/>
          </a:prstGeom>
        </p:spPr>
        <p:txBody>
          <a:bodyPr wrap="square">
            <a:spAutoFit/>
          </a:bodyPr>
          <a:lstStyle/>
          <a:p>
            <a:pPr algn="ctr"/>
            <a:r>
              <a:rPr lang="en-US" sz="1412" dirty="0">
                <a:solidFill>
                  <a:srgbClr val="292929"/>
                </a:solidFill>
                <a:latin typeface="Frutiger Next Pro Light"/>
                <a:cs typeface="Frutiger Next Pro Light"/>
              </a:rPr>
              <a:t>Cloud ERP</a:t>
            </a:r>
          </a:p>
          <a:p>
            <a:pPr algn="ctr"/>
            <a:r>
              <a:rPr lang="en-US" sz="1412" dirty="0">
                <a:solidFill>
                  <a:srgbClr val="292929"/>
                </a:solidFill>
                <a:latin typeface="Frutiger Next Pro Light"/>
                <a:cs typeface="Frutiger Next Pro Light"/>
              </a:rPr>
              <a:t>and Integration</a:t>
            </a:r>
          </a:p>
        </p:txBody>
      </p:sp>
    </p:spTree>
    <p:extLst>
      <p:ext uri="{BB962C8B-B14F-4D97-AF65-F5344CB8AC3E}">
        <p14:creationId xmlns:p14="http://schemas.microsoft.com/office/powerpoint/2010/main" val="257324590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E1D1C782-230D-4C6C-BE33-D9D960AA722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0" name="think-cell Slide" r:id="rId6" imgW="395" imgH="396" progId="TCLayout.ActiveDocument.1">
                  <p:embed/>
                </p:oleObj>
              </mc:Choice>
              <mc:Fallback>
                <p:oleObj name="think-cell Slide" r:id="rId6" imgW="395" imgH="396" progId="TCLayout.ActiveDocument.1">
                  <p:embed/>
                  <p:pic>
                    <p:nvPicPr>
                      <p:cNvPr id="12" name="Object 11" hidden="1">
                        <a:extLst>
                          <a:ext uri="{FF2B5EF4-FFF2-40B4-BE49-F238E27FC236}">
                            <a16:creationId xmlns:a16="http://schemas.microsoft.com/office/drawing/2014/main" id="{E1D1C782-230D-4C6C-BE33-D9D960AA722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EF1CA1EA-A34B-4B5E-A3B1-BAEB9E519E8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a:sym typeface="Chronicle Display Black"/>
            </a:endParaRPr>
          </a:p>
        </p:txBody>
      </p:sp>
      <p:pic>
        <p:nvPicPr>
          <p:cNvPr id="2" name="Picture 1">
            <a:extLst>
              <a:ext uri="{FF2B5EF4-FFF2-40B4-BE49-F238E27FC236}">
                <a16:creationId xmlns:a16="http://schemas.microsoft.com/office/drawing/2014/main" id="{613A2181-4250-479A-8CED-FE46E833B01C}"/>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5250730" y="-438"/>
            <a:ext cx="6941270" cy="6858000"/>
          </a:xfrm>
          <a:prstGeom prst="rect">
            <a:avLst/>
          </a:prstGeom>
        </p:spPr>
      </p:pic>
      <p:sp>
        <p:nvSpPr>
          <p:cNvPr id="3" name="Rectangle 2">
            <a:extLst>
              <a:ext uri="{FF2B5EF4-FFF2-40B4-BE49-F238E27FC236}">
                <a16:creationId xmlns:a16="http://schemas.microsoft.com/office/drawing/2014/main" id="{D68D7171-3B7F-4B94-98DA-A0BE303ABB51}"/>
              </a:ext>
            </a:extLst>
          </p:cNvPr>
          <p:cNvSpPr/>
          <p:nvPr/>
        </p:nvSpPr>
        <p:spPr>
          <a:xfrm>
            <a:off x="1" y="487740"/>
            <a:ext cx="6549656" cy="56304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5" name="Title 3">
            <a:extLst>
              <a:ext uri="{FF2B5EF4-FFF2-40B4-BE49-F238E27FC236}">
                <a16:creationId xmlns:a16="http://schemas.microsoft.com/office/drawing/2014/main" id="{975D6AC2-1D08-4420-8B6E-11FB3B928A21}"/>
              </a:ext>
            </a:extLst>
          </p:cNvPr>
          <p:cNvSpPr txBox="1">
            <a:spLocks/>
          </p:cNvSpPr>
          <p:nvPr/>
        </p:nvSpPr>
        <p:spPr>
          <a:xfrm>
            <a:off x="893457" y="1406859"/>
            <a:ext cx="5143502" cy="3387499"/>
          </a:xfrm>
          <a:prstGeom prst="rect">
            <a:avLst/>
          </a:prstGeom>
        </p:spPr>
        <p:txBody>
          <a:bodyPr anchor="t"/>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90000"/>
              </a:lnSpc>
              <a:spcBef>
                <a:spcPct val="0"/>
              </a:spcBef>
              <a:spcAft>
                <a:spcPts val="1200"/>
              </a:spcAft>
              <a:buClrTx/>
              <a:buSzTx/>
              <a:buFontTx/>
              <a:buNone/>
              <a:tabLst/>
              <a:defRPr/>
            </a:pPr>
            <a:r>
              <a:rPr kumimoji="0" lang="en-US" sz="2400" b="0" i="0" u="none" strike="noStrike" kern="1200" cap="none" spc="-10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We will disproportionately invest in differentiated technology assets to elevate the client experience</a:t>
            </a:r>
            <a:endParaRPr kumimoji="0" lang="en-US" sz="2400" b="1" i="0" u="none" strike="noStrike" kern="1200" cap="none" spc="-10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ct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o win, our clients want access to new thinking, new technology, and new markets. Technology assets are a critical component of their long-term growth and will power the next generation of insights and value for our offerings by:  </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creasing our win rate</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ccelerating time-to-value</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riving incremental revenue &amp; margin</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xpanding our existing services</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reating new hybrid markets</a:t>
            </a:r>
          </a:p>
        </p:txBody>
      </p:sp>
      <p:cxnSp>
        <p:nvCxnSpPr>
          <p:cNvPr id="6" name="Straight Connector 5">
            <a:extLst>
              <a:ext uri="{FF2B5EF4-FFF2-40B4-BE49-F238E27FC236}">
                <a16:creationId xmlns:a16="http://schemas.microsoft.com/office/drawing/2014/main" id="{DAD066B3-D227-4B23-8E54-93F052AF9ED1}"/>
              </a:ext>
            </a:extLst>
          </p:cNvPr>
          <p:cNvCxnSpPr>
            <a:cxnSpLocks/>
          </p:cNvCxnSpPr>
          <p:nvPr/>
        </p:nvCxnSpPr>
        <p:spPr>
          <a:xfrm>
            <a:off x="6485859" y="487740"/>
            <a:ext cx="0" cy="5630475"/>
          </a:xfrm>
          <a:prstGeom prst="line">
            <a:avLst/>
          </a:prstGeom>
          <a:ln w="1270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Title 9">
            <a:extLst>
              <a:ext uri="{FF2B5EF4-FFF2-40B4-BE49-F238E27FC236}">
                <a16:creationId xmlns:a16="http://schemas.microsoft.com/office/drawing/2014/main" id="{5F0C1DAC-5E2F-4110-BFDB-7B60C1D533BD}"/>
              </a:ext>
            </a:extLst>
          </p:cNvPr>
          <p:cNvSpPr>
            <a:spLocks noGrp="1"/>
          </p:cNvSpPr>
          <p:nvPr>
            <p:ph type="title"/>
          </p:nvPr>
        </p:nvSpPr>
        <p:spPr/>
        <p:txBody>
          <a:bodyPr/>
          <a:lstStyle/>
          <a:p>
            <a:r>
              <a:rPr lang="en-US" dirty="0"/>
              <a:t>Our Vision</a:t>
            </a:r>
          </a:p>
        </p:txBody>
      </p:sp>
      <p:sp>
        <p:nvSpPr>
          <p:cNvPr id="11" name="Text Placeholder 10">
            <a:extLst>
              <a:ext uri="{FF2B5EF4-FFF2-40B4-BE49-F238E27FC236}">
                <a16:creationId xmlns:a16="http://schemas.microsoft.com/office/drawing/2014/main" id="{D1612FCF-0073-4CE2-BBD3-6122C0DF5292}"/>
              </a:ext>
            </a:extLst>
          </p:cNvPr>
          <p:cNvSpPr>
            <a:spLocks noGrp="1"/>
          </p:cNvSpPr>
          <p:nvPr>
            <p:ph type="body" sz="quarter" idx="15"/>
          </p:nvPr>
        </p:nvSpPr>
        <p:spPr>
          <a:xfrm>
            <a:off x="914400" y="432967"/>
            <a:ext cx="3355848" cy="203200"/>
          </a:xfrm>
        </p:spPr>
        <p:txBody>
          <a:bodyPr/>
          <a:lstStyle/>
          <a:p>
            <a:r>
              <a:rPr lang="en-US" dirty="0"/>
              <a:t>Statement</a:t>
            </a:r>
          </a:p>
          <a:p>
            <a:endParaRPr lang="en-US" dirty="0"/>
          </a:p>
        </p:txBody>
      </p:sp>
    </p:spTree>
    <p:extLst>
      <p:ext uri="{BB962C8B-B14F-4D97-AF65-F5344CB8AC3E}">
        <p14:creationId xmlns:p14="http://schemas.microsoft.com/office/powerpoint/2010/main" val="132553173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D9A2C4E6-7887-4149-8F01-36A195D17F0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8" name="think-cell Slide" r:id="rId6" imgW="395" imgH="396" progId="TCLayout.ActiveDocument.1">
                  <p:embed/>
                </p:oleObj>
              </mc:Choice>
              <mc:Fallback>
                <p:oleObj name="think-cell Slide" r:id="rId6" imgW="395" imgH="396" progId="TCLayout.ActiveDocument.1">
                  <p:embed/>
                  <p:pic>
                    <p:nvPicPr>
                      <p:cNvPr id="22" name="Object 21" hidden="1">
                        <a:extLst>
                          <a:ext uri="{FF2B5EF4-FFF2-40B4-BE49-F238E27FC236}">
                            <a16:creationId xmlns:a16="http://schemas.microsoft.com/office/drawing/2014/main" id="{D9A2C4E6-7887-4149-8F01-36A195D17F0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B073FB92-F961-4775-A2DF-08DB2219616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Chronicle Display Black"/>
              <a:ea typeface="+mn-ea"/>
              <a:cs typeface="+mn-cs"/>
              <a:sym typeface="Chronicle Display Black"/>
            </a:endParaRPr>
          </a:p>
        </p:txBody>
      </p:sp>
      <p:sp>
        <p:nvSpPr>
          <p:cNvPr id="20" name="Title 19">
            <a:extLst>
              <a:ext uri="{FF2B5EF4-FFF2-40B4-BE49-F238E27FC236}">
                <a16:creationId xmlns:a16="http://schemas.microsoft.com/office/drawing/2014/main" id="{FD5F8340-FE75-4B84-9CBD-A9A4B266CA4F}"/>
              </a:ext>
            </a:extLst>
          </p:cNvPr>
          <p:cNvSpPr>
            <a:spLocks noGrp="1"/>
          </p:cNvSpPr>
          <p:nvPr>
            <p:ph type="title"/>
          </p:nvPr>
        </p:nvSpPr>
        <p:spPr/>
        <p:txBody>
          <a:bodyPr/>
          <a:lstStyle/>
          <a:p>
            <a:r>
              <a:rPr lang="en-US" dirty="0"/>
              <a:t>Why Deloitte?</a:t>
            </a:r>
          </a:p>
        </p:txBody>
      </p:sp>
      <p:sp>
        <p:nvSpPr>
          <p:cNvPr id="21" name="Text Placeholder 20">
            <a:extLst>
              <a:ext uri="{FF2B5EF4-FFF2-40B4-BE49-F238E27FC236}">
                <a16:creationId xmlns:a16="http://schemas.microsoft.com/office/drawing/2014/main" id="{795AD16B-F39B-418A-9AF8-22C1E02F6549}"/>
              </a:ext>
            </a:extLst>
          </p:cNvPr>
          <p:cNvSpPr>
            <a:spLocks noGrp="1"/>
          </p:cNvSpPr>
          <p:nvPr>
            <p:ph type="body" sz="quarter" idx="15"/>
          </p:nvPr>
        </p:nvSpPr>
        <p:spPr/>
        <p:txBody>
          <a:bodyPr/>
          <a:lstStyle/>
          <a:p>
            <a:r>
              <a:rPr lang="en-US" dirty="0"/>
              <a:t>Statement</a:t>
            </a:r>
          </a:p>
        </p:txBody>
      </p:sp>
      <p:cxnSp>
        <p:nvCxnSpPr>
          <p:cNvPr id="19" name="Straight Connector 18">
            <a:extLst>
              <a:ext uri="{FF2B5EF4-FFF2-40B4-BE49-F238E27FC236}">
                <a16:creationId xmlns:a16="http://schemas.microsoft.com/office/drawing/2014/main" id="{EC6A7D5F-B174-1E47-8ECE-71FEC78498CC}"/>
              </a:ext>
            </a:extLst>
          </p:cNvPr>
          <p:cNvCxnSpPr/>
          <p:nvPr/>
        </p:nvCxnSpPr>
        <p:spPr>
          <a:xfrm>
            <a:off x="1388229" y="1905000"/>
            <a:ext cx="0" cy="348234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1C7C98E-B44B-9D4D-B9C1-C5D6E5A15CC5}"/>
              </a:ext>
            </a:extLst>
          </p:cNvPr>
          <p:cNvCxnSpPr>
            <a:cxnSpLocks/>
          </p:cNvCxnSpPr>
          <p:nvPr/>
        </p:nvCxnSpPr>
        <p:spPr>
          <a:xfrm flipH="1">
            <a:off x="1366893" y="5387340"/>
            <a:ext cx="48006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E43319A-EA7C-3C4F-A95E-46ED8E76A38A}"/>
              </a:ext>
            </a:extLst>
          </p:cNvPr>
          <p:cNvCxnSpPr>
            <a:cxnSpLocks/>
          </p:cNvCxnSpPr>
          <p:nvPr/>
        </p:nvCxnSpPr>
        <p:spPr>
          <a:xfrm flipH="1">
            <a:off x="1366893" y="1912620"/>
            <a:ext cx="48006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78D5FDD-AF10-4648-857F-73394A7A569E}"/>
              </a:ext>
            </a:extLst>
          </p:cNvPr>
          <p:cNvCxnSpPr/>
          <p:nvPr/>
        </p:nvCxnSpPr>
        <p:spPr>
          <a:xfrm>
            <a:off x="10619461" y="1905000"/>
            <a:ext cx="0" cy="348234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9C6E72D-2BBE-BA47-AD83-8351561CA908}"/>
              </a:ext>
            </a:extLst>
          </p:cNvPr>
          <p:cNvCxnSpPr>
            <a:cxnSpLocks/>
          </p:cNvCxnSpPr>
          <p:nvPr/>
        </p:nvCxnSpPr>
        <p:spPr>
          <a:xfrm flipH="1">
            <a:off x="10160737" y="5387340"/>
            <a:ext cx="48006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09CF4C9-4F85-4849-83A2-9C99256E6E40}"/>
              </a:ext>
            </a:extLst>
          </p:cNvPr>
          <p:cNvCxnSpPr>
            <a:cxnSpLocks/>
          </p:cNvCxnSpPr>
          <p:nvPr/>
        </p:nvCxnSpPr>
        <p:spPr>
          <a:xfrm flipH="1">
            <a:off x="10160737" y="1912620"/>
            <a:ext cx="48006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Title 1">
            <a:extLst>
              <a:ext uri="{FF2B5EF4-FFF2-40B4-BE49-F238E27FC236}">
                <a16:creationId xmlns:a16="http://schemas.microsoft.com/office/drawing/2014/main" id="{62198249-F273-4690-B93E-8C0896FDD012}"/>
              </a:ext>
            </a:extLst>
          </p:cNvPr>
          <p:cNvSpPr txBox="1">
            <a:spLocks/>
          </p:cNvSpPr>
          <p:nvPr/>
        </p:nvSpPr>
        <p:spPr>
          <a:xfrm>
            <a:off x="1409566" y="1911001"/>
            <a:ext cx="9188560" cy="3473800"/>
          </a:xfrm>
          <a:prstGeom prst="rect">
            <a:avLst/>
          </a:prstGeom>
          <a:ln w="12700">
            <a:miter lim="400000"/>
          </a:ln>
        </p:spPr>
        <p:txBody>
          <a:bodyPr vert="horz" lIns="274320" tIns="91440" rIns="274320" bIns="91440" rtlCol="0" anchor="ctr" anchorCtr="0">
            <a:noAutofit/>
          </a:bodyPr>
          <a:lstStyle>
            <a:lvl1pPr marL="0" marR="0" indent="0" algn="l" defTabSz="914400" rtl="0" latinLnBrk="0">
              <a:lnSpc>
                <a:spcPct val="80000"/>
              </a:lnSpc>
              <a:spcBef>
                <a:spcPts val="0"/>
              </a:spcBef>
              <a:spcAft>
                <a:spcPts val="0"/>
              </a:spcAft>
              <a:buClrTx/>
              <a:buSzTx/>
              <a:buFontTx/>
              <a:buNone/>
              <a:tabLst/>
              <a:defRPr lang="en-US" sz="3600" b="0" i="0" u="none" strike="noStrike" cap="none" spc="-75" baseline="0" dirty="0">
                <a:ln>
                  <a:noFill/>
                </a:ln>
                <a:solidFill>
                  <a:srgbClr val="000000"/>
                </a:solidFill>
                <a:uFillTx/>
                <a:latin typeface="Chronicle Display Black"/>
                <a:ea typeface="Chronicle Display Black"/>
                <a:cs typeface="Chronicle Display Black"/>
                <a:sym typeface="Chronicle Display Black"/>
              </a:defRPr>
            </a:lvl1pPr>
            <a:lvl2pPr marL="0" marR="0" indent="0" algn="l" defTabSz="914400" rtl="0" latinLnBrk="0">
              <a:lnSpc>
                <a:spcPct val="80000"/>
              </a:lnSpc>
              <a:spcBef>
                <a:spcPts val="0"/>
              </a:spcBef>
              <a:spcAft>
                <a:spcPts val="0"/>
              </a:spcAft>
              <a:buClrTx/>
              <a:buSzTx/>
              <a:buFontTx/>
              <a:buNone/>
              <a:tabLst/>
              <a:defRPr sz="4800" b="0" i="0" u="none" strike="noStrike" cap="none" spc="-100" baseline="0">
                <a:ln>
                  <a:noFill/>
                </a:ln>
                <a:solidFill>
                  <a:srgbClr val="000000"/>
                </a:solidFill>
                <a:uFillTx/>
                <a:latin typeface="Chronicle Display Black"/>
                <a:ea typeface="Chronicle Display Black"/>
                <a:cs typeface="Chronicle Display Black"/>
                <a:sym typeface="Chronicle Display Black"/>
              </a:defRPr>
            </a:lvl2pPr>
            <a:lvl3pPr marL="0" marR="0" indent="0" algn="l" defTabSz="914400" rtl="0" latinLnBrk="0">
              <a:lnSpc>
                <a:spcPct val="80000"/>
              </a:lnSpc>
              <a:spcBef>
                <a:spcPts val="0"/>
              </a:spcBef>
              <a:spcAft>
                <a:spcPts val="0"/>
              </a:spcAft>
              <a:buClrTx/>
              <a:buSzTx/>
              <a:buFontTx/>
              <a:buNone/>
              <a:tabLst/>
              <a:defRPr sz="4800" b="0" i="0" u="none" strike="noStrike" cap="none" spc="-100" baseline="0">
                <a:ln>
                  <a:noFill/>
                </a:ln>
                <a:solidFill>
                  <a:srgbClr val="000000"/>
                </a:solidFill>
                <a:uFillTx/>
                <a:latin typeface="Chronicle Display Black"/>
                <a:ea typeface="Chronicle Display Black"/>
                <a:cs typeface="Chronicle Display Black"/>
                <a:sym typeface="Chronicle Display Black"/>
              </a:defRPr>
            </a:lvl3pPr>
            <a:lvl4pPr marL="0" marR="0" indent="0" algn="l" defTabSz="914400" rtl="0" latinLnBrk="0">
              <a:lnSpc>
                <a:spcPct val="80000"/>
              </a:lnSpc>
              <a:spcBef>
                <a:spcPts val="0"/>
              </a:spcBef>
              <a:spcAft>
                <a:spcPts val="0"/>
              </a:spcAft>
              <a:buClrTx/>
              <a:buSzTx/>
              <a:buFontTx/>
              <a:buNone/>
              <a:tabLst/>
              <a:defRPr sz="4800" b="0" i="0" u="none" strike="noStrike" cap="none" spc="-100" baseline="0">
                <a:ln>
                  <a:noFill/>
                </a:ln>
                <a:solidFill>
                  <a:srgbClr val="000000"/>
                </a:solidFill>
                <a:uFillTx/>
                <a:latin typeface="Chronicle Display Black"/>
                <a:ea typeface="Chronicle Display Black"/>
                <a:cs typeface="Chronicle Display Black"/>
                <a:sym typeface="Chronicle Display Black"/>
              </a:defRPr>
            </a:lvl4pPr>
            <a:lvl5pPr marL="0" marR="0" indent="0" algn="l" defTabSz="914400" rtl="0" latinLnBrk="0">
              <a:lnSpc>
                <a:spcPct val="80000"/>
              </a:lnSpc>
              <a:spcBef>
                <a:spcPts val="0"/>
              </a:spcBef>
              <a:spcAft>
                <a:spcPts val="0"/>
              </a:spcAft>
              <a:buClrTx/>
              <a:buSzTx/>
              <a:buFontTx/>
              <a:buNone/>
              <a:tabLst/>
              <a:defRPr sz="4800" b="0" i="0" u="none" strike="noStrike" cap="none" spc="-100" baseline="0">
                <a:ln>
                  <a:noFill/>
                </a:ln>
                <a:solidFill>
                  <a:srgbClr val="000000"/>
                </a:solidFill>
                <a:uFillTx/>
                <a:latin typeface="Chronicle Display Black"/>
                <a:ea typeface="Chronicle Display Black"/>
                <a:cs typeface="Chronicle Display Black"/>
                <a:sym typeface="Chronicle Display Black"/>
              </a:defRPr>
            </a:lvl5pPr>
            <a:lvl6pPr marL="0" marR="0" indent="0" algn="l" defTabSz="914400" rtl="0" latinLnBrk="0">
              <a:lnSpc>
                <a:spcPct val="80000"/>
              </a:lnSpc>
              <a:spcBef>
                <a:spcPts val="0"/>
              </a:spcBef>
              <a:spcAft>
                <a:spcPts val="0"/>
              </a:spcAft>
              <a:buClrTx/>
              <a:buSzTx/>
              <a:buFontTx/>
              <a:buNone/>
              <a:tabLst/>
              <a:defRPr sz="4800" b="0" i="0" u="none" strike="noStrike" cap="none" spc="-100" baseline="0">
                <a:ln>
                  <a:noFill/>
                </a:ln>
                <a:solidFill>
                  <a:srgbClr val="000000"/>
                </a:solidFill>
                <a:uFillTx/>
                <a:latin typeface="Chronicle Display Black"/>
                <a:ea typeface="Chronicle Display Black"/>
                <a:cs typeface="Chronicle Display Black"/>
                <a:sym typeface="Chronicle Display Black"/>
              </a:defRPr>
            </a:lvl6pPr>
            <a:lvl7pPr marL="0" marR="0" indent="0" algn="l" defTabSz="914400" rtl="0" latinLnBrk="0">
              <a:lnSpc>
                <a:spcPct val="80000"/>
              </a:lnSpc>
              <a:spcBef>
                <a:spcPts val="0"/>
              </a:spcBef>
              <a:spcAft>
                <a:spcPts val="0"/>
              </a:spcAft>
              <a:buClrTx/>
              <a:buSzTx/>
              <a:buFontTx/>
              <a:buNone/>
              <a:tabLst/>
              <a:defRPr sz="4800" b="0" i="0" u="none" strike="noStrike" cap="none" spc="-100" baseline="0">
                <a:ln>
                  <a:noFill/>
                </a:ln>
                <a:solidFill>
                  <a:srgbClr val="000000"/>
                </a:solidFill>
                <a:uFillTx/>
                <a:latin typeface="Chronicle Display Black"/>
                <a:ea typeface="Chronicle Display Black"/>
                <a:cs typeface="Chronicle Display Black"/>
                <a:sym typeface="Chronicle Display Black"/>
              </a:defRPr>
            </a:lvl7pPr>
            <a:lvl8pPr marL="0" marR="0" indent="0" algn="l" defTabSz="914400" rtl="0" latinLnBrk="0">
              <a:lnSpc>
                <a:spcPct val="80000"/>
              </a:lnSpc>
              <a:spcBef>
                <a:spcPts val="0"/>
              </a:spcBef>
              <a:spcAft>
                <a:spcPts val="0"/>
              </a:spcAft>
              <a:buClrTx/>
              <a:buSzTx/>
              <a:buFontTx/>
              <a:buNone/>
              <a:tabLst/>
              <a:defRPr sz="4800" b="0" i="0" u="none" strike="noStrike" cap="none" spc="-100" baseline="0">
                <a:ln>
                  <a:noFill/>
                </a:ln>
                <a:solidFill>
                  <a:srgbClr val="000000"/>
                </a:solidFill>
                <a:uFillTx/>
                <a:latin typeface="Chronicle Display Black"/>
                <a:ea typeface="Chronicle Display Black"/>
                <a:cs typeface="Chronicle Display Black"/>
                <a:sym typeface="Chronicle Display Black"/>
              </a:defRPr>
            </a:lvl8pPr>
            <a:lvl9pPr marL="0" marR="0" indent="0" algn="l" defTabSz="914400" rtl="0" latinLnBrk="0">
              <a:lnSpc>
                <a:spcPct val="80000"/>
              </a:lnSpc>
              <a:spcBef>
                <a:spcPts val="0"/>
              </a:spcBef>
              <a:spcAft>
                <a:spcPts val="0"/>
              </a:spcAft>
              <a:buClrTx/>
              <a:buSzTx/>
              <a:buFontTx/>
              <a:buNone/>
              <a:tabLst/>
              <a:defRPr sz="4800" b="0" i="0" u="none" strike="noStrike" cap="none" spc="-100" baseline="0">
                <a:ln>
                  <a:noFill/>
                </a:ln>
                <a:solidFill>
                  <a:srgbClr val="000000"/>
                </a:solidFill>
                <a:uFillTx/>
                <a:latin typeface="Chronicle Display Black"/>
                <a:ea typeface="Chronicle Display Black"/>
                <a:cs typeface="Chronicle Display Black"/>
                <a:sym typeface="Chronicle Display Black"/>
              </a:defRPr>
            </a:lvl9pPr>
          </a:lstStyle>
          <a:p>
            <a:pPr hangingPunct="1">
              <a:lnSpc>
                <a:spcPct val="100000"/>
              </a:lnSpc>
              <a:spcBef>
                <a:spcPts val="1200"/>
              </a:spcBef>
              <a:spcAft>
                <a:spcPts val="1200"/>
              </a:spcAft>
            </a:pPr>
            <a:r>
              <a:rPr lang="en-US" sz="1600" dirty="0">
                <a:latin typeface="+mn-lt"/>
                <a:ea typeface="Open Sans" panose="020B0606030504020204" pitchFamily="34" charset="0"/>
                <a:cs typeface="Open Sans" panose="020B0606030504020204" pitchFamily="34" charset="0"/>
              </a:rPr>
              <a:t>We have built a unique digital consultancy that offers you access to leading-edge thinking and capabilities</a:t>
            </a:r>
          </a:p>
          <a:p>
            <a:pPr hangingPunct="1">
              <a:lnSpc>
                <a:spcPct val="100000"/>
              </a:lnSpc>
              <a:spcBef>
                <a:spcPts val="1200"/>
              </a:spcBef>
              <a:spcAft>
                <a:spcPts val="1200"/>
              </a:spcAft>
            </a:pPr>
            <a:r>
              <a:rPr lang="en-US" sz="1600" dirty="0">
                <a:latin typeface="+mn-lt"/>
                <a:ea typeface="Open Sans" panose="020B0606030504020204" pitchFamily="34" charset="0"/>
                <a:cs typeface="Open Sans" panose="020B0606030504020204" pitchFamily="34" charset="0"/>
              </a:rPr>
              <a:t>We have unmatched depth in the categories and geographies that matter most to you</a:t>
            </a:r>
          </a:p>
          <a:p>
            <a:pPr>
              <a:lnSpc>
                <a:spcPct val="100000"/>
              </a:lnSpc>
              <a:spcBef>
                <a:spcPts val="1200"/>
              </a:spcBef>
              <a:spcAft>
                <a:spcPts val="1200"/>
              </a:spcAft>
            </a:pPr>
            <a:r>
              <a:rPr lang="en-US" sz="1600" dirty="0">
                <a:latin typeface="+mn-lt"/>
                <a:ea typeface="Open Sans" panose="020B0606030504020204" pitchFamily="34" charset="0"/>
                <a:cs typeface="Open Sans" panose="020B0606030504020204" pitchFamily="34" charset="0"/>
              </a:rPr>
              <a:t>We combine strategy with deep technology, analytics and operations experience, to create pragmatic outcomes</a:t>
            </a:r>
          </a:p>
          <a:p>
            <a:pPr>
              <a:lnSpc>
                <a:spcPct val="100000"/>
              </a:lnSpc>
              <a:spcBef>
                <a:spcPts val="1200"/>
              </a:spcBef>
              <a:spcAft>
                <a:spcPts val="1200"/>
              </a:spcAft>
            </a:pPr>
            <a:r>
              <a:rPr lang="en-US" sz="1600" dirty="0">
                <a:latin typeface="+mn-lt"/>
                <a:ea typeface="Open Sans" panose="020B0606030504020204" pitchFamily="34" charset="0"/>
                <a:cs typeface="Open Sans" panose="020B0606030504020204" pitchFamily="34" charset="0"/>
              </a:rPr>
              <a:t>We know your organization and will position you to start the journey immediately through an approach that drives alignment  </a:t>
            </a:r>
          </a:p>
          <a:p>
            <a:pPr>
              <a:lnSpc>
                <a:spcPct val="100000"/>
              </a:lnSpc>
              <a:spcBef>
                <a:spcPts val="1200"/>
              </a:spcBef>
              <a:spcAft>
                <a:spcPts val="1200"/>
              </a:spcAft>
            </a:pPr>
            <a:r>
              <a:rPr lang="en-US" sz="1600" dirty="0">
                <a:latin typeface="+mn-lt"/>
                <a:ea typeface="Open Sans" panose="020B0606030504020204" pitchFamily="34" charset="0"/>
                <a:cs typeface="Open Sans" panose="020B0606030504020204" pitchFamily="34" charset="0"/>
              </a:rPr>
              <a:t>We have successfully done this many times before and know what it takes to succeed</a:t>
            </a:r>
          </a:p>
        </p:txBody>
      </p:sp>
    </p:spTree>
    <p:extLst>
      <p:ext uri="{BB962C8B-B14F-4D97-AF65-F5344CB8AC3E}">
        <p14:creationId xmlns:p14="http://schemas.microsoft.com/office/powerpoint/2010/main" val="7838991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ypical Outcomes</a:t>
            </a:r>
          </a:p>
        </p:txBody>
      </p:sp>
      <p:sp>
        <p:nvSpPr>
          <p:cNvPr id="3" name="Text Placeholder 2"/>
          <p:cNvSpPr>
            <a:spLocks noGrp="1"/>
          </p:cNvSpPr>
          <p:nvPr>
            <p:ph type="body" sz="quarter" idx="14"/>
          </p:nvPr>
        </p:nvSpPr>
        <p:spPr/>
        <p:txBody>
          <a:bodyPr/>
          <a:lstStyle/>
          <a:p>
            <a:r>
              <a:rPr lang="en-US" dirty="0"/>
              <a:t>The outcome of the Ambition Design is an MVO, validated in-market</a:t>
            </a:r>
          </a:p>
          <a:p>
            <a:endParaRPr lang="en-US" dirty="0"/>
          </a:p>
        </p:txBody>
      </p:sp>
      <p:sp>
        <p:nvSpPr>
          <p:cNvPr id="4" name="Text Placeholder 3"/>
          <p:cNvSpPr>
            <a:spLocks noGrp="1"/>
          </p:cNvSpPr>
          <p:nvPr>
            <p:ph type="body" sz="quarter" idx="15"/>
          </p:nvPr>
        </p:nvSpPr>
        <p:spPr/>
        <p:txBody>
          <a:bodyPr/>
          <a:lstStyle/>
          <a:p>
            <a:r>
              <a:rPr lang="en-US" dirty="0"/>
              <a:t>statement</a:t>
            </a:r>
          </a:p>
        </p:txBody>
      </p:sp>
      <p:sp>
        <p:nvSpPr>
          <p:cNvPr id="5" name="Title 7">
            <a:extLst>
              <a:ext uri="{FF2B5EF4-FFF2-40B4-BE49-F238E27FC236}">
                <a16:creationId xmlns:a16="http://schemas.microsoft.com/office/drawing/2014/main" id="{3C27E764-0433-1C49-A791-7392E259F08D}"/>
              </a:ext>
            </a:extLst>
          </p:cNvPr>
          <p:cNvSpPr txBox="1">
            <a:spLocks/>
          </p:cNvSpPr>
          <p:nvPr/>
        </p:nvSpPr>
        <p:spPr>
          <a:xfrm>
            <a:off x="2769943" y="1892808"/>
            <a:ext cx="6662292" cy="2943821"/>
          </a:xfrm>
          <a:prstGeom prst="rect">
            <a:avLst/>
          </a:prstGeom>
          <a:ln w="57150" cap="rnd">
            <a:noFill/>
            <a:prstDash val="sysDot"/>
          </a:ln>
        </p:spPr>
        <p:style>
          <a:lnRef idx="1">
            <a:schemeClr val="accent1"/>
          </a:lnRef>
          <a:fillRef idx="0">
            <a:schemeClr val="accent1"/>
          </a:fillRef>
          <a:effectRef idx="0">
            <a:schemeClr val="accent1"/>
          </a:effectRef>
          <a:fontRef idx="minor">
            <a:schemeClr val="tx1"/>
          </a:fontRef>
        </p:style>
        <p:txBody>
          <a:bodyPr vert="horz" lIns="0" tIns="45720" rIns="0" bIns="0" rtlCol="0" anchor="ctr"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Chronicle Display Black"/>
                <a:ea typeface="Bebas Neue" charset="0"/>
                <a:cs typeface="Chronicle Display Black"/>
              </a:defRPr>
            </a:lvl1pPr>
          </a:lstStyle>
          <a:p>
            <a:pPr algn="ctr">
              <a:lnSpc>
                <a:spcPct val="95000"/>
              </a:lnSpc>
            </a:pPr>
            <a:r>
              <a:rPr lang="en-US" sz="2800" b="1" spc="50" dirty="0">
                <a:latin typeface="+mj-lt"/>
                <a:ea typeface="Chronicle Display Black" charset="0"/>
                <a:cs typeface="Chronicle Display Black" charset="0"/>
              </a:rPr>
              <a:t>A Minimum Viable Offering (MVO) </a:t>
            </a:r>
            <a:br>
              <a:rPr lang="en-US" sz="2800" b="1" spc="50" dirty="0">
                <a:latin typeface="+mj-lt"/>
                <a:ea typeface="Chronicle Display Black" charset="0"/>
                <a:cs typeface="Chronicle Display Black" charset="0"/>
              </a:rPr>
            </a:br>
            <a:r>
              <a:rPr lang="en-US" sz="2800" b="1" spc="50" dirty="0">
                <a:latin typeface="+mj-lt"/>
                <a:ea typeface="Chronicle Display Black" charset="0"/>
                <a:cs typeface="Chronicle Display Black" charset="0"/>
              </a:rPr>
              <a:t>is collection of just enough features that can be introduced to the market with real customers to measure business viability and determine the future direction of the offering.</a:t>
            </a:r>
          </a:p>
        </p:txBody>
      </p:sp>
      <p:cxnSp>
        <p:nvCxnSpPr>
          <p:cNvPr id="6" name="Straight Connector 5">
            <a:extLst>
              <a:ext uri="{FF2B5EF4-FFF2-40B4-BE49-F238E27FC236}">
                <a16:creationId xmlns:a16="http://schemas.microsoft.com/office/drawing/2014/main" id="{3A938669-F3B0-344E-914A-499EA7051BCC}"/>
              </a:ext>
            </a:extLst>
          </p:cNvPr>
          <p:cNvCxnSpPr>
            <a:cxnSpLocks/>
          </p:cNvCxnSpPr>
          <p:nvPr/>
        </p:nvCxnSpPr>
        <p:spPr>
          <a:xfrm>
            <a:off x="2791209" y="2950050"/>
            <a:ext cx="1242740" cy="0"/>
          </a:xfrm>
          <a:prstGeom prst="line">
            <a:avLst/>
          </a:prstGeom>
          <a:ln w="22225" cmpd="sng">
            <a:solidFill>
              <a:schemeClr val="accent2"/>
            </a:solidFill>
            <a:prstDash val="soli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742F8A7-47E2-AB4B-BBAB-41C8E2B5CF8B}"/>
              </a:ext>
            </a:extLst>
          </p:cNvPr>
          <p:cNvCxnSpPr>
            <a:cxnSpLocks/>
          </p:cNvCxnSpPr>
          <p:nvPr/>
        </p:nvCxnSpPr>
        <p:spPr>
          <a:xfrm>
            <a:off x="4251220" y="3342555"/>
            <a:ext cx="2686291" cy="0"/>
          </a:xfrm>
          <a:prstGeom prst="line">
            <a:avLst/>
          </a:prstGeom>
          <a:ln w="5715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F3B75C99-CB74-E249-AC1F-352BF1509573}"/>
              </a:ext>
            </a:extLst>
          </p:cNvPr>
          <p:cNvCxnSpPr>
            <a:cxnSpLocks/>
          </p:cNvCxnSpPr>
          <p:nvPr/>
        </p:nvCxnSpPr>
        <p:spPr>
          <a:xfrm>
            <a:off x="4163156" y="2957940"/>
            <a:ext cx="3382030" cy="0"/>
          </a:xfrm>
          <a:prstGeom prst="line">
            <a:avLst/>
          </a:prstGeom>
          <a:ln w="5715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6E62CA6-2305-1F46-A6A5-156BA65179EA}"/>
              </a:ext>
            </a:extLst>
          </p:cNvPr>
          <p:cNvCxnSpPr>
            <a:cxnSpLocks/>
          </p:cNvCxnSpPr>
          <p:nvPr/>
        </p:nvCxnSpPr>
        <p:spPr>
          <a:xfrm>
            <a:off x="3922882" y="4615102"/>
            <a:ext cx="4873248" cy="0"/>
          </a:xfrm>
          <a:prstGeom prst="line">
            <a:avLst/>
          </a:prstGeom>
          <a:ln w="5715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41A2B20B-9E9C-034D-A4BD-51A74A7F76AE}"/>
              </a:ext>
            </a:extLst>
          </p:cNvPr>
          <p:cNvSpPr/>
          <p:nvPr/>
        </p:nvSpPr>
        <p:spPr>
          <a:xfrm>
            <a:off x="9576777" y="3142500"/>
            <a:ext cx="1336735" cy="400110"/>
          </a:xfrm>
          <a:prstGeom prst="rect">
            <a:avLst/>
          </a:prstGeom>
        </p:spPr>
        <p:txBody>
          <a:bodyPr wrap="square" lIns="0">
            <a:spAutoFit/>
          </a:bodyPr>
          <a:lstStyle/>
          <a:p>
            <a:r>
              <a:rPr lang="en-US" sz="1000" b="1" kern="1000" spc="130" dirty="0">
                <a:ea typeface="Open Sans" charset="0"/>
                <a:cs typeface="Open Sans" charset="0"/>
              </a:rPr>
              <a:t>DEFINED TARGET MARKET</a:t>
            </a:r>
          </a:p>
        </p:txBody>
      </p:sp>
      <p:cxnSp>
        <p:nvCxnSpPr>
          <p:cNvPr id="11" name="Straight Connector 10">
            <a:extLst>
              <a:ext uri="{FF2B5EF4-FFF2-40B4-BE49-F238E27FC236}">
                <a16:creationId xmlns:a16="http://schemas.microsoft.com/office/drawing/2014/main" id="{3D1A92E0-A382-9845-BFC9-38D4EAFB7068}"/>
              </a:ext>
            </a:extLst>
          </p:cNvPr>
          <p:cNvCxnSpPr>
            <a:cxnSpLocks/>
          </p:cNvCxnSpPr>
          <p:nvPr/>
        </p:nvCxnSpPr>
        <p:spPr>
          <a:xfrm>
            <a:off x="6957389" y="3342555"/>
            <a:ext cx="2494724" cy="0"/>
          </a:xfrm>
          <a:prstGeom prst="line">
            <a:avLst/>
          </a:prstGeom>
          <a:ln w="22225" cmpd="sng">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6D90FC87-5CAE-884F-AD90-B6424C2BA3B4}"/>
              </a:ext>
            </a:extLst>
          </p:cNvPr>
          <p:cNvSpPr/>
          <p:nvPr/>
        </p:nvSpPr>
        <p:spPr>
          <a:xfrm>
            <a:off x="988542" y="2749994"/>
            <a:ext cx="1885254" cy="400110"/>
          </a:xfrm>
          <a:prstGeom prst="rect">
            <a:avLst/>
          </a:prstGeom>
        </p:spPr>
        <p:txBody>
          <a:bodyPr wrap="square" lIns="0">
            <a:spAutoFit/>
          </a:bodyPr>
          <a:lstStyle/>
          <a:p>
            <a:r>
              <a:rPr lang="en-US" sz="1000" b="1" kern="1000" spc="130" dirty="0">
                <a:ea typeface="Open Sans" charset="0"/>
                <a:cs typeface="Open Sans" charset="0"/>
              </a:rPr>
              <a:t>PRIORTIZIED THROUGH CUSTOMER INSIGHTS</a:t>
            </a:r>
          </a:p>
        </p:txBody>
      </p:sp>
      <p:sp>
        <p:nvSpPr>
          <p:cNvPr id="13" name="Rectangle 12">
            <a:extLst>
              <a:ext uri="{FF2B5EF4-FFF2-40B4-BE49-F238E27FC236}">
                <a16:creationId xmlns:a16="http://schemas.microsoft.com/office/drawing/2014/main" id="{F2A2D5D7-40A1-6040-A285-8B279E0412C1}"/>
              </a:ext>
            </a:extLst>
          </p:cNvPr>
          <p:cNvSpPr/>
          <p:nvPr/>
        </p:nvSpPr>
        <p:spPr>
          <a:xfrm>
            <a:off x="5055943" y="5042454"/>
            <a:ext cx="1513821" cy="400110"/>
          </a:xfrm>
          <a:prstGeom prst="rect">
            <a:avLst/>
          </a:prstGeom>
        </p:spPr>
        <p:txBody>
          <a:bodyPr wrap="square" lIns="0">
            <a:spAutoFit/>
          </a:bodyPr>
          <a:lstStyle/>
          <a:p>
            <a:r>
              <a:rPr lang="en-US" sz="1000" b="1" kern="1000" spc="130" dirty="0">
                <a:ea typeface="Open Sans" charset="0"/>
                <a:cs typeface="Open Sans" charset="0"/>
              </a:rPr>
              <a:t>GO / NO-GO / REFINE DECISION</a:t>
            </a:r>
          </a:p>
        </p:txBody>
      </p:sp>
      <p:grpSp>
        <p:nvGrpSpPr>
          <p:cNvPr id="14" name="Group 13">
            <a:extLst>
              <a:ext uri="{FF2B5EF4-FFF2-40B4-BE49-F238E27FC236}">
                <a16:creationId xmlns:a16="http://schemas.microsoft.com/office/drawing/2014/main" id="{DE11F76B-C830-8341-A90F-5485F63133DB}"/>
              </a:ext>
            </a:extLst>
          </p:cNvPr>
          <p:cNvGrpSpPr/>
          <p:nvPr/>
        </p:nvGrpSpPr>
        <p:grpSpPr>
          <a:xfrm>
            <a:off x="4756198" y="4742690"/>
            <a:ext cx="203427" cy="475357"/>
            <a:chOff x="4159851" y="4711148"/>
            <a:chExt cx="203427" cy="475357"/>
          </a:xfrm>
        </p:grpSpPr>
        <p:cxnSp>
          <p:nvCxnSpPr>
            <p:cNvPr id="15" name="Straight Connector 14">
              <a:extLst>
                <a:ext uri="{FF2B5EF4-FFF2-40B4-BE49-F238E27FC236}">
                  <a16:creationId xmlns:a16="http://schemas.microsoft.com/office/drawing/2014/main" id="{8D601E0A-CB46-FE4F-9689-204DE73766FC}"/>
                </a:ext>
              </a:extLst>
            </p:cNvPr>
            <p:cNvCxnSpPr>
              <a:cxnSpLocks/>
            </p:cNvCxnSpPr>
            <p:nvPr/>
          </p:nvCxnSpPr>
          <p:spPr>
            <a:xfrm>
              <a:off x="4159851" y="4711148"/>
              <a:ext cx="0" cy="475357"/>
            </a:xfrm>
            <a:prstGeom prst="line">
              <a:avLst/>
            </a:prstGeom>
            <a:ln w="22225" cmpd="sng">
              <a:solidFill>
                <a:schemeClr val="accent2"/>
              </a:solidFill>
              <a:prstDash val="soli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A7029C9-3892-A946-A179-8A201CA68269}"/>
                </a:ext>
              </a:extLst>
            </p:cNvPr>
            <p:cNvCxnSpPr>
              <a:cxnSpLocks/>
            </p:cNvCxnSpPr>
            <p:nvPr/>
          </p:nvCxnSpPr>
          <p:spPr>
            <a:xfrm>
              <a:off x="4159851" y="5186505"/>
              <a:ext cx="203427" cy="0"/>
            </a:xfrm>
            <a:prstGeom prst="line">
              <a:avLst/>
            </a:prstGeom>
            <a:ln w="22225" cmpd="sng">
              <a:solidFill>
                <a:schemeClr val="accent2"/>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7619300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FEF450-C040-4C8D-8820-088F457B5105}"/>
              </a:ext>
            </a:extLst>
          </p:cNvPr>
          <p:cNvSpPr>
            <a:spLocks noGrp="1"/>
          </p:cNvSpPr>
          <p:nvPr>
            <p:ph type="body" sz="quarter" idx="10"/>
          </p:nvPr>
        </p:nvSpPr>
        <p:spPr>
          <a:xfrm>
            <a:off x="624508" y="1206500"/>
            <a:ext cx="7333661" cy="2257425"/>
          </a:xfrm>
        </p:spPr>
        <p:txBody>
          <a:bodyPr/>
          <a:lstStyle/>
          <a:p>
            <a:pPr lvl="0">
              <a:spcBef>
                <a:spcPct val="0"/>
              </a:spcBef>
              <a:buClrTx/>
              <a:buSzTx/>
              <a:defRPr/>
            </a:pPr>
            <a:r>
              <a:rPr lang="en-US" dirty="0">
                <a:solidFill>
                  <a:srgbClr val="000000"/>
                </a:solidFill>
              </a:rPr>
              <a:t>Approach, Scope, </a:t>
            </a:r>
            <a:br>
              <a:rPr lang="en-US" dirty="0">
                <a:solidFill>
                  <a:srgbClr val="000000"/>
                </a:solidFill>
              </a:rPr>
            </a:br>
            <a:r>
              <a:rPr lang="en-US" dirty="0">
                <a:solidFill>
                  <a:srgbClr val="000000"/>
                </a:solidFill>
              </a:rPr>
              <a:t>&amp; </a:t>
            </a:r>
            <a:r>
              <a:rPr lang="en-US" spc="-100" dirty="0">
                <a:solidFill>
                  <a:srgbClr val="000000"/>
                </a:solidFill>
              </a:rPr>
              <a:t>Objectives</a:t>
            </a:r>
            <a:endParaRPr lang="en-US" sz="1200" spc="300" dirty="0">
              <a:solidFill>
                <a:srgbClr val="000000"/>
              </a:solidFill>
              <a:latin typeface="Open Sans"/>
            </a:endParaRPr>
          </a:p>
          <a:p>
            <a:endParaRPr lang="en-US" dirty="0"/>
          </a:p>
        </p:txBody>
      </p:sp>
      <p:grpSp>
        <p:nvGrpSpPr>
          <p:cNvPr id="3" name="Group 2">
            <a:extLst>
              <a:ext uri="{FF2B5EF4-FFF2-40B4-BE49-F238E27FC236}">
                <a16:creationId xmlns:a16="http://schemas.microsoft.com/office/drawing/2014/main" id="{EE2CAA27-425D-40DD-BF9B-7A24583D5B70}"/>
              </a:ext>
            </a:extLst>
          </p:cNvPr>
          <p:cNvGrpSpPr/>
          <p:nvPr/>
        </p:nvGrpSpPr>
        <p:grpSpPr>
          <a:xfrm>
            <a:off x="2277508" y="6274108"/>
            <a:ext cx="7636984" cy="501266"/>
            <a:chOff x="2277508" y="6274107"/>
            <a:chExt cx="7636984" cy="583893"/>
          </a:xfrm>
        </p:grpSpPr>
        <p:sp>
          <p:nvSpPr>
            <p:cNvPr id="4" name="Text Placeholder 1">
              <a:extLst>
                <a:ext uri="{FF2B5EF4-FFF2-40B4-BE49-F238E27FC236}">
                  <a16:creationId xmlns:a16="http://schemas.microsoft.com/office/drawing/2014/main" id="{7ED23556-7080-43F8-B7CC-717554190D21}"/>
                </a:ext>
              </a:extLst>
            </p:cNvPr>
            <p:cNvSpPr txBox="1">
              <a:spLocks/>
            </p:cNvSpPr>
            <p:nvPr/>
          </p:nvSpPr>
          <p:spPr>
            <a:xfrm>
              <a:off x="2277508" y="6274107"/>
              <a:ext cx="7636984" cy="583893"/>
            </a:xfrm>
            <a:prstGeom prst="rect">
              <a:avLst/>
            </a:prstGeom>
          </p:spPr>
          <p:txBody>
            <a:bodyPr vert="horz"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800" dirty="0">
                  <a:solidFill>
                    <a:srgbClr val="000000"/>
                  </a:solidFill>
                  <a:latin typeface="+mn-lt"/>
                </a:rPr>
                <a:t>Click Here to Return to the Table of Contents</a:t>
              </a:r>
              <a:endParaRPr lang="en-US" sz="2800" dirty="0">
                <a:latin typeface="+mn-lt"/>
              </a:endParaRPr>
            </a:p>
          </p:txBody>
        </p:sp>
        <p:sp>
          <p:nvSpPr>
            <p:cNvPr id="5" name="Rectangle 4">
              <a:hlinkClick r:id="rId2" action="ppaction://hlinksldjump"/>
              <a:extLst>
                <a:ext uri="{FF2B5EF4-FFF2-40B4-BE49-F238E27FC236}">
                  <a16:creationId xmlns:a16="http://schemas.microsoft.com/office/drawing/2014/main" id="{75991FAA-E3A0-46E7-9C75-6F25863EC06D}"/>
                </a:ext>
              </a:extLst>
            </p:cNvPr>
            <p:cNvSpPr/>
            <p:nvPr/>
          </p:nvSpPr>
          <p:spPr>
            <a:xfrm>
              <a:off x="2401677" y="6274107"/>
              <a:ext cx="7425369" cy="4792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spTree>
    <p:extLst>
      <p:ext uri="{BB962C8B-B14F-4D97-AF65-F5344CB8AC3E}">
        <p14:creationId xmlns:p14="http://schemas.microsoft.com/office/powerpoint/2010/main" val="35759490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FEF450-C040-4C8D-8820-088F457B5105}"/>
              </a:ext>
            </a:extLst>
          </p:cNvPr>
          <p:cNvSpPr>
            <a:spLocks noGrp="1"/>
          </p:cNvSpPr>
          <p:nvPr>
            <p:ph type="body" sz="quarter" idx="10"/>
          </p:nvPr>
        </p:nvSpPr>
        <p:spPr>
          <a:xfrm>
            <a:off x="952500" y="1206500"/>
            <a:ext cx="6287286" cy="2257425"/>
          </a:xfrm>
        </p:spPr>
        <p:txBody>
          <a:bodyPr/>
          <a:lstStyle/>
          <a:p>
            <a:r>
              <a:rPr lang="en-US" dirty="0">
                <a:solidFill>
                  <a:srgbClr val="000000"/>
                </a:solidFill>
              </a:rPr>
              <a:t>Titles and Dividers</a:t>
            </a:r>
            <a:endParaRPr lang="en-US" sz="1200" spc="300" dirty="0">
              <a:solidFill>
                <a:srgbClr val="000000"/>
              </a:solidFill>
              <a:latin typeface="Open Sans"/>
            </a:endParaRPr>
          </a:p>
          <a:p>
            <a:endParaRPr lang="en-US" dirty="0"/>
          </a:p>
        </p:txBody>
      </p:sp>
      <p:grpSp>
        <p:nvGrpSpPr>
          <p:cNvPr id="5" name="Group 4">
            <a:extLst>
              <a:ext uri="{FF2B5EF4-FFF2-40B4-BE49-F238E27FC236}">
                <a16:creationId xmlns:a16="http://schemas.microsoft.com/office/drawing/2014/main" id="{1C7A6A98-5F9E-49AA-947F-E88D6291DEAB}"/>
              </a:ext>
            </a:extLst>
          </p:cNvPr>
          <p:cNvGrpSpPr/>
          <p:nvPr/>
        </p:nvGrpSpPr>
        <p:grpSpPr>
          <a:xfrm>
            <a:off x="2277508" y="6274107"/>
            <a:ext cx="7636984" cy="583893"/>
            <a:chOff x="2277508" y="6274107"/>
            <a:chExt cx="7636984" cy="583893"/>
          </a:xfrm>
        </p:grpSpPr>
        <p:sp>
          <p:nvSpPr>
            <p:cNvPr id="3" name="Text Placeholder 1">
              <a:extLst>
                <a:ext uri="{FF2B5EF4-FFF2-40B4-BE49-F238E27FC236}">
                  <a16:creationId xmlns:a16="http://schemas.microsoft.com/office/drawing/2014/main" id="{8460578E-8DA2-4A68-8DD1-D73C7E4ED151}"/>
                </a:ext>
              </a:extLst>
            </p:cNvPr>
            <p:cNvSpPr txBox="1">
              <a:spLocks/>
            </p:cNvSpPr>
            <p:nvPr/>
          </p:nvSpPr>
          <p:spPr>
            <a:xfrm>
              <a:off x="2277508" y="6274107"/>
              <a:ext cx="7636984" cy="583893"/>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6600" kern="1200" spc="-30">
                  <a:solidFill>
                    <a:schemeClr val="tx1"/>
                  </a:solidFill>
                  <a:latin typeface="+mj-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800" dirty="0">
                  <a:solidFill>
                    <a:srgbClr val="000000"/>
                  </a:solidFill>
                  <a:latin typeface="+mn-lt"/>
                </a:rPr>
                <a:t>Click Here to Return to the Table of Contents</a:t>
              </a:r>
              <a:endParaRPr lang="en-US" sz="2800" dirty="0">
                <a:latin typeface="+mn-lt"/>
              </a:endParaRPr>
            </a:p>
          </p:txBody>
        </p:sp>
        <p:sp>
          <p:nvSpPr>
            <p:cNvPr id="4" name="Rectangle 3">
              <a:hlinkClick r:id="rId2" action="ppaction://hlinksldjump"/>
              <a:extLst>
                <a:ext uri="{FF2B5EF4-FFF2-40B4-BE49-F238E27FC236}">
                  <a16:creationId xmlns:a16="http://schemas.microsoft.com/office/drawing/2014/main" id="{5C91D19B-515F-413D-AE76-3BFE263BF680}"/>
                </a:ext>
              </a:extLst>
            </p:cNvPr>
            <p:cNvSpPr/>
            <p:nvPr/>
          </p:nvSpPr>
          <p:spPr>
            <a:xfrm>
              <a:off x="2401677" y="6274107"/>
              <a:ext cx="7425369" cy="4792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21555715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98F65153-9861-4E54-ADC3-F8E3A91C282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6" name="think-cell Slide" r:id="rId6" imgW="395" imgH="396" progId="TCLayout.ActiveDocument.1">
                  <p:embed/>
                </p:oleObj>
              </mc:Choice>
              <mc:Fallback>
                <p:oleObj name="think-cell Slide" r:id="rId6" imgW="395" imgH="396" progId="TCLayout.ActiveDocument.1">
                  <p:embed/>
                  <p:pic>
                    <p:nvPicPr>
                      <p:cNvPr id="44" name="Object 43" hidden="1">
                        <a:extLst>
                          <a:ext uri="{FF2B5EF4-FFF2-40B4-BE49-F238E27FC236}">
                            <a16:creationId xmlns:a16="http://schemas.microsoft.com/office/drawing/2014/main" id="{98F65153-9861-4E54-ADC3-F8E3A91C282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4" name="Rectangle 83" hidden="1">
            <a:extLst>
              <a:ext uri="{FF2B5EF4-FFF2-40B4-BE49-F238E27FC236}">
                <a16:creationId xmlns:a16="http://schemas.microsoft.com/office/drawing/2014/main" id="{A52017C6-582B-40D0-8C01-66C8AF60FCB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a:sym typeface="Chronicle Display Black"/>
            </a:endParaRPr>
          </a:p>
        </p:txBody>
      </p:sp>
      <p:sp>
        <p:nvSpPr>
          <p:cNvPr id="41" name="Title 40">
            <a:extLst>
              <a:ext uri="{FF2B5EF4-FFF2-40B4-BE49-F238E27FC236}">
                <a16:creationId xmlns:a16="http://schemas.microsoft.com/office/drawing/2014/main" id="{59DF3CF6-F105-45FE-AE5F-B7481348B171}"/>
              </a:ext>
            </a:extLst>
          </p:cNvPr>
          <p:cNvSpPr>
            <a:spLocks noGrp="1"/>
          </p:cNvSpPr>
          <p:nvPr>
            <p:ph type="title"/>
          </p:nvPr>
        </p:nvSpPr>
        <p:spPr/>
        <p:txBody>
          <a:bodyPr/>
          <a:lstStyle/>
          <a:p>
            <a:r>
              <a:rPr lang="en-US" dirty="0"/>
              <a:t>Your personalization systems integration</a:t>
            </a:r>
          </a:p>
        </p:txBody>
      </p:sp>
      <p:sp>
        <p:nvSpPr>
          <p:cNvPr id="42" name="Text Placeholder 41">
            <a:extLst>
              <a:ext uri="{FF2B5EF4-FFF2-40B4-BE49-F238E27FC236}">
                <a16:creationId xmlns:a16="http://schemas.microsoft.com/office/drawing/2014/main" id="{D9F95A03-B0B2-439A-9878-4426E0764815}"/>
              </a:ext>
            </a:extLst>
          </p:cNvPr>
          <p:cNvSpPr>
            <a:spLocks noGrp="1"/>
          </p:cNvSpPr>
          <p:nvPr>
            <p:ph type="body" sz="quarter" idx="14"/>
          </p:nvPr>
        </p:nvSpPr>
        <p:spPr/>
        <p:txBody>
          <a:bodyPr/>
          <a:lstStyle/>
          <a:p>
            <a:r>
              <a:rPr lang="en-US" spc="0" dirty="0"/>
              <a:t>Client’s customer engagement success is dependent on selecting, standing up and managing the right personalization platform to execute your aggressive growth strategy</a:t>
            </a:r>
          </a:p>
          <a:p>
            <a:endParaRPr lang="en-US" dirty="0"/>
          </a:p>
        </p:txBody>
      </p:sp>
      <p:sp>
        <p:nvSpPr>
          <p:cNvPr id="47" name="Rectangle 46">
            <a:extLst>
              <a:ext uri="{FF2B5EF4-FFF2-40B4-BE49-F238E27FC236}">
                <a16:creationId xmlns:a16="http://schemas.microsoft.com/office/drawing/2014/main" id="{74281C67-8E9B-498C-8D51-EE4871F8DF8E}"/>
              </a:ext>
            </a:extLst>
          </p:cNvPr>
          <p:cNvSpPr/>
          <p:nvPr/>
        </p:nvSpPr>
        <p:spPr>
          <a:xfrm>
            <a:off x="2685616" y="3416343"/>
            <a:ext cx="1811334" cy="2435167"/>
          </a:xfrm>
          <a:prstGeom prst="rect">
            <a:avLst/>
          </a:prstGeom>
        </p:spPr>
        <p:txBody>
          <a:bodyPr wrap="square" numCol="1" spcCol="137160" anchor="t">
            <a:noAutofit/>
          </a:bodyPr>
          <a:lstStyle/>
          <a:p>
            <a:pPr marL="0" marR="0" lvl="0" indent="0" algn="l" defTabSz="914400" rtl="0" eaLnBrk="1" fontAlgn="auto" latinLnBrk="0" hangingPunct="1">
              <a:lnSpc>
                <a:spcPct val="114000"/>
              </a:lnSpc>
              <a:spcBef>
                <a:spcPts val="0"/>
              </a:spcBef>
              <a:spcAft>
                <a:spcPts val="800"/>
              </a:spcAft>
              <a:buClrTx/>
              <a:buSzTx/>
              <a:buFontTx/>
              <a:buNone/>
              <a:tabLst/>
              <a:defRPr/>
            </a:pPr>
            <a:r>
              <a:rPr kumimoji="0" lang="en-US" sz="1000" b="1" i="0" u="none" strike="noStrike" kern="1200" cap="none" spc="0" normalizeH="0" baseline="0" noProof="0" dirty="0">
                <a:ln>
                  <a:noFill/>
                </a:ln>
                <a:solidFill>
                  <a:srgbClr val="000000">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rPr>
              <a:t>Build and test initial decision logic and offers</a:t>
            </a:r>
            <a:br>
              <a:rPr kumimoji="0" lang="en-US" sz="8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et up initial offers in personalization platform, including machine-driven offers.</a:t>
            </a:r>
            <a:endParaRPr kumimoji="0" lang="en-US" sz="8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14000"/>
              </a:lnSpc>
              <a:spcBef>
                <a:spcPts val="0"/>
              </a:spcBef>
              <a:spcAft>
                <a:spcPts val="800"/>
              </a:spcAft>
              <a:buClrTx/>
              <a:buSzTx/>
              <a:buFontTx/>
              <a:buNone/>
              <a:tabLst/>
              <a:defRPr/>
            </a:pPr>
            <a:r>
              <a:rPr kumimoji="0" lang="en-US" sz="1000" b="1" i="0" u="none" strike="noStrike" kern="1200" cap="none" spc="0" normalizeH="0" baseline="0" noProof="0" dirty="0">
                <a:ln>
                  <a:noFill/>
                </a:ln>
                <a:solidFill>
                  <a:srgbClr val="000000">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rPr>
              <a:t>Build reports/dashboards</a:t>
            </a:r>
            <a:br>
              <a:rPr kumimoji="0" lang="en-US" sz="8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Build using out-of-the-box capabilities included in the personalization platform (including journey mapping).</a:t>
            </a:r>
            <a:endParaRPr kumimoji="0" lang="en-US" sz="8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14000"/>
              </a:lnSpc>
              <a:spcBef>
                <a:spcPts val="0"/>
              </a:spcBef>
              <a:spcAft>
                <a:spcPts val="800"/>
              </a:spcAft>
              <a:buClrTx/>
              <a:buSzTx/>
              <a:buFontTx/>
              <a:buNone/>
              <a:tabLst/>
              <a:defRPr/>
            </a:pPr>
            <a:r>
              <a:rPr kumimoji="0" lang="en-US" sz="1000" b="1" i="0" u="none" strike="noStrike" kern="1200" cap="none" spc="0" normalizeH="0" baseline="0" noProof="0" dirty="0">
                <a:ln>
                  <a:noFill/>
                </a:ln>
                <a:solidFill>
                  <a:srgbClr val="000000">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rPr>
              <a:t>Provide training and knowledge transfer</a:t>
            </a:r>
            <a:br>
              <a:rPr kumimoji="0" lang="en-US" sz="8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raining and KT of logic code, machine learning routines and data quality.</a:t>
            </a:r>
          </a:p>
          <a:p>
            <a:pPr marL="0" marR="0" lvl="0" indent="0" algn="l" defTabSz="914400" rtl="0" eaLnBrk="1" fontAlgn="auto" latinLnBrk="0" hangingPunct="1">
              <a:lnSpc>
                <a:spcPct val="114000"/>
              </a:lnSpc>
              <a:spcBef>
                <a:spcPts val="0"/>
              </a:spcBef>
              <a:spcAft>
                <a:spcPts val="80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8" name="Shape 12569">
            <a:extLst>
              <a:ext uri="{FF2B5EF4-FFF2-40B4-BE49-F238E27FC236}">
                <a16:creationId xmlns:a16="http://schemas.microsoft.com/office/drawing/2014/main" id="{F4E7AE97-79D0-472A-B3A0-73563C9DEF41}"/>
              </a:ext>
            </a:extLst>
          </p:cNvPr>
          <p:cNvSpPr/>
          <p:nvPr/>
        </p:nvSpPr>
        <p:spPr>
          <a:xfrm>
            <a:off x="4687291" y="2870868"/>
            <a:ext cx="2195332" cy="632206"/>
          </a:xfrm>
          <a:prstGeom prst="rect">
            <a:avLst/>
          </a:prstGeom>
          <a:noFill/>
          <a:ln>
            <a:noFill/>
          </a:ln>
        </p:spPr>
        <p:txBody>
          <a:bodyPr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r>
              <a:rPr kumimoji="0" lang="en-US" sz="1400" b="0" i="0" u="none" strike="noStrike" kern="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Verdana"/>
              </a:rPr>
              <a:t>Business Transformation</a:t>
            </a:r>
            <a:br>
              <a:rPr kumimoji="0" lang="en-US" sz="1400" b="0" i="0" u="none" strike="noStrike" kern="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Verdana"/>
              </a:rPr>
            </a:br>
            <a:r>
              <a:rPr kumimoji="0" lang="en-US" sz="1400" b="0" i="0" u="none" strike="noStrike" kern="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Verdana"/>
              </a:rPr>
              <a:t>&amp; PMO</a:t>
            </a:r>
          </a:p>
        </p:txBody>
      </p:sp>
      <p:sp>
        <p:nvSpPr>
          <p:cNvPr id="49" name="Rectangle 48">
            <a:extLst>
              <a:ext uri="{FF2B5EF4-FFF2-40B4-BE49-F238E27FC236}">
                <a16:creationId xmlns:a16="http://schemas.microsoft.com/office/drawing/2014/main" id="{65D97608-86F2-401D-8B4F-AC39A1E42719}"/>
              </a:ext>
            </a:extLst>
          </p:cNvPr>
          <p:cNvSpPr/>
          <p:nvPr/>
        </p:nvSpPr>
        <p:spPr>
          <a:xfrm>
            <a:off x="4687291" y="3416343"/>
            <a:ext cx="2019784" cy="2732355"/>
          </a:xfrm>
          <a:prstGeom prst="rect">
            <a:avLst/>
          </a:prstGeom>
        </p:spPr>
        <p:txBody>
          <a:bodyPr wrap="square" numCol="1" spcCol="137160" anchor="t">
            <a:noAutofit/>
          </a:bodyPr>
          <a:lstStyle/>
          <a:p>
            <a:pPr marL="0" marR="0" lvl="0" indent="0" algn="l" defTabSz="914400" rtl="0" eaLnBrk="1" fontAlgn="auto" latinLnBrk="0" hangingPunct="1">
              <a:lnSpc>
                <a:spcPct val="114000"/>
              </a:lnSpc>
              <a:spcBef>
                <a:spcPts val="0"/>
              </a:spcBef>
              <a:spcAft>
                <a:spcPts val="800"/>
              </a:spcAft>
              <a:buClrTx/>
              <a:buSzTx/>
              <a:buFontTx/>
              <a:buNone/>
              <a:tabLst/>
              <a:defRPr/>
            </a:pPr>
            <a:r>
              <a:rPr kumimoji="0" lang="en-US" sz="1000" b="1" i="0" u="none" strike="noStrike" kern="1200" cap="none" spc="0" normalizeH="0" baseline="0" noProof="0" dirty="0">
                <a:ln>
                  <a:noFill/>
                </a:ln>
                <a:solidFill>
                  <a:srgbClr val="000000">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rPr>
              <a:t>Overall Program Management</a:t>
            </a:r>
            <a:br>
              <a:rPr kumimoji="0" lang="en-US" sz="8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MO including building platform strategy and use cases to be shared with core team.</a:t>
            </a:r>
            <a:endParaRPr kumimoji="0" lang="en-US" sz="8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14000"/>
              </a:lnSpc>
              <a:spcBef>
                <a:spcPts val="0"/>
              </a:spcBef>
              <a:spcAft>
                <a:spcPts val="800"/>
              </a:spcAft>
              <a:buClrTx/>
              <a:buSzTx/>
              <a:buFontTx/>
              <a:buNone/>
              <a:tabLst/>
              <a:defRPr/>
            </a:pPr>
            <a:r>
              <a:rPr kumimoji="0" lang="en-US" sz="1000" b="1" i="0" u="none" strike="noStrike" kern="1200" cap="none" spc="0" normalizeH="0" baseline="0" noProof="0" dirty="0">
                <a:ln>
                  <a:noFill/>
                </a:ln>
                <a:solidFill>
                  <a:srgbClr val="000000">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rPr>
              <a:t>Transition and </a:t>
            </a:r>
            <a:br>
              <a:rPr kumimoji="0" lang="en-US" sz="1000" b="1" i="0" u="none" strike="noStrike" kern="1200" cap="none" spc="0" normalizeH="0" baseline="0" noProof="0" dirty="0">
                <a:ln>
                  <a:noFill/>
                </a:ln>
                <a:solidFill>
                  <a:srgbClr val="000000">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000" b="1" i="0" u="none" strike="noStrike" kern="1200" cap="none" spc="0" normalizeH="0" baseline="0" noProof="0" dirty="0">
                <a:ln>
                  <a:noFill/>
                </a:ln>
                <a:solidFill>
                  <a:srgbClr val="000000">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rPr>
              <a:t>Communication Plan</a:t>
            </a:r>
            <a:br>
              <a:rPr kumimoji="0" lang="en-US" sz="8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mprehensive transition and communication plan including operational processes and SOPs, checklists, process flows and artifacts.</a:t>
            </a:r>
          </a:p>
          <a:p>
            <a:pPr marL="0" marR="0" lvl="0" indent="0" algn="l" defTabSz="914400" rtl="0" eaLnBrk="1" fontAlgn="auto" latinLnBrk="0" hangingPunct="1">
              <a:lnSpc>
                <a:spcPct val="114000"/>
              </a:lnSpc>
              <a:spcBef>
                <a:spcPts val="0"/>
              </a:spcBef>
              <a:spcAft>
                <a:spcPts val="800"/>
              </a:spcAft>
              <a:buClrTx/>
              <a:buSzTx/>
              <a:buFontTx/>
              <a:buNone/>
              <a:tabLst/>
              <a:defRPr/>
            </a:pPr>
            <a:r>
              <a:rPr kumimoji="0" lang="en-US" sz="1000" b="1" i="0" u="none" strike="noStrike" kern="1200" cap="none" spc="0" normalizeH="0" baseline="0" noProof="0" dirty="0">
                <a:ln>
                  <a:noFill/>
                </a:ln>
                <a:solidFill>
                  <a:srgbClr val="000000">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rPr>
              <a:t>Ongoing support</a:t>
            </a:r>
            <a:br>
              <a:rPr kumimoji="0" lang="en-US" sz="8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upport and maintenance of the personalization platform and CDI with </a:t>
            </a:r>
            <a:r>
              <a:rPr kumimoji="0" lang="en-US" sz="800" b="0" i="0" u="none" strike="noStrike" kern="1200" cap="none" spc="-2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dditional work building ad hoc reports.</a:t>
            </a:r>
          </a:p>
          <a:p>
            <a:pPr marL="0" marR="0" lvl="0" indent="0" algn="l" defTabSz="914400" rtl="0" eaLnBrk="1" fontAlgn="auto" latinLnBrk="0" hangingPunct="1">
              <a:lnSpc>
                <a:spcPct val="114000"/>
              </a:lnSpc>
              <a:spcBef>
                <a:spcPts val="0"/>
              </a:spcBef>
              <a:spcAft>
                <a:spcPts val="80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0" name="Shape 12569">
            <a:extLst>
              <a:ext uri="{FF2B5EF4-FFF2-40B4-BE49-F238E27FC236}">
                <a16:creationId xmlns:a16="http://schemas.microsoft.com/office/drawing/2014/main" id="{2E58CCE1-B1C0-40EA-A9A9-7883A10D46A2}"/>
              </a:ext>
            </a:extLst>
          </p:cNvPr>
          <p:cNvSpPr/>
          <p:nvPr/>
        </p:nvSpPr>
        <p:spPr>
          <a:xfrm>
            <a:off x="2685616" y="2870868"/>
            <a:ext cx="1467564" cy="500179"/>
          </a:xfrm>
          <a:prstGeom prst="rect">
            <a:avLst/>
          </a:prstGeom>
          <a:noFill/>
          <a:ln>
            <a:noFill/>
          </a:ln>
        </p:spPr>
        <p:txBody>
          <a:bodyPr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r>
              <a:rPr kumimoji="0" lang="en-US" sz="1400" b="0" i="0" u="none" strike="noStrike" kern="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Verdana"/>
              </a:rPr>
              <a:t>Analytical</a:t>
            </a:r>
          </a:p>
          <a:p>
            <a:pPr marL="0" marR="0" lvl="0" indent="0" algn="l" defTabSz="914400" rtl="0" eaLnBrk="1" fontAlgn="auto" latinLnBrk="0" hangingPunct="1">
              <a:lnSpc>
                <a:spcPct val="100000"/>
              </a:lnSpc>
              <a:spcBef>
                <a:spcPts val="0"/>
              </a:spcBef>
              <a:spcAft>
                <a:spcPts val="0"/>
              </a:spcAft>
              <a:buClrTx/>
              <a:buSzPct val="25000"/>
              <a:buFontTx/>
              <a:buNone/>
              <a:tabLst/>
              <a:defRPr/>
            </a:pPr>
            <a:r>
              <a:rPr kumimoji="0" lang="en-US" sz="1400" b="0" i="0" u="none" strike="noStrike" kern="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Verdana"/>
              </a:rPr>
              <a:t>Consulting</a:t>
            </a:r>
          </a:p>
        </p:txBody>
      </p:sp>
      <p:grpSp>
        <p:nvGrpSpPr>
          <p:cNvPr id="51" name="Group 50">
            <a:extLst>
              <a:ext uri="{FF2B5EF4-FFF2-40B4-BE49-F238E27FC236}">
                <a16:creationId xmlns:a16="http://schemas.microsoft.com/office/drawing/2014/main" id="{2B0462E7-49A6-4C29-AB0D-1F1958D72D60}"/>
              </a:ext>
            </a:extLst>
          </p:cNvPr>
          <p:cNvGrpSpPr>
            <a:grpSpLocks noChangeAspect="1"/>
          </p:cNvGrpSpPr>
          <p:nvPr/>
        </p:nvGrpSpPr>
        <p:grpSpPr>
          <a:xfrm>
            <a:off x="600682" y="2417540"/>
            <a:ext cx="416776" cy="415508"/>
            <a:chOff x="554038" y="5020310"/>
            <a:chExt cx="522288" cy="520700"/>
          </a:xfrm>
        </p:grpSpPr>
        <p:sp>
          <p:nvSpPr>
            <p:cNvPr id="52" name="Freeform 69">
              <a:extLst>
                <a:ext uri="{FF2B5EF4-FFF2-40B4-BE49-F238E27FC236}">
                  <a16:creationId xmlns:a16="http://schemas.microsoft.com/office/drawing/2014/main" id="{0D4251C8-6AE5-457C-951E-8C24522C72D0}"/>
                </a:ext>
              </a:extLst>
            </p:cNvPr>
            <p:cNvSpPr>
              <a:spLocks noEditPoints="1"/>
            </p:cNvSpPr>
            <p:nvPr/>
          </p:nvSpPr>
          <p:spPr bwMode="auto">
            <a:xfrm>
              <a:off x="554038" y="5020310"/>
              <a:ext cx="522288" cy="520700"/>
            </a:xfrm>
            <a:custGeom>
              <a:avLst/>
              <a:gdLst>
                <a:gd name="T0" fmla="*/ 312 w 659"/>
                <a:gd name="T1" fmla="*/ 657 h 657"/>
                <a:gd name="T2" fmla="*/ 262 w 659"/>
                <a:gd name="T3" fmla="*/ 650 h 657"/>
                <a:gd name="T4" fmla="*/ 202 w 659"/>
                <a:gd name="T5" fmla="*/ 631 h 657"/>
                <a:gd name="T6" fmla="*/ 120 w 659"/>
                <a:gd name="T7" fmla="*/ 582 h 657"/>
                <a:gd name="T8" fmla="*/ 56 w 659"/>
                <a:gd name="T9" fmla="*/ 512 h 657"/>
                <a:gd name="T10" fmla="*/ 15 w 659"/>
                <a:gd name="T11" fmla="*/ 426 h 657"/>
                <a:gd name="T12" fmla="*/ 4 w 659"/>
                <a:gd name="T13" fmla="*/ 379 h 657"/>
                <a:gd name="T14" fmla="*/ 0 w 659"/>
                <a:gd name="T15" fmla="*/ 328 h 657"/>
                <a:gd name="T16" fmla="*/ 1 w 659"/>
                <a:gd name="T17" fmla="*/ 294 h 657"/>
                <a:gd name="T18" fmla="*/ 11 w 659"/>
                <a:gd name="T19" fmla="*/ 246 h 657"/>
                <a:gd name="T20" fmla="*/ 40 w 659"/>
                <a:gd name="T21" fmla="*/ 172 h 657"/>
                <a:gd name="T22" fmla="*/ 97 w 659"/>
                <a:gd name="T23" fmla="*/ 95 h 657"/>
                <a:gd name="T24" fmla="*/ 172 w 659"/>
                <a:gd name="T25" fmla="*/ 39 h 657"/>
                <a:gd name="T26" fmla="*/ 247 w 659"/>
                <a:gd name="T27" fmla="*/ 9 h 657"/>
                <a:gd name="T28" fmla="*/ 296 w 659"/>
                <a:gd name="T29" fmla="*/ 1 h 657"/>
                <a:gd name="T30" fmla="*/ 329 w 659"/>
                <a:gd name="T31" fmla="*/ 0 h 657"/>
                <a:gd name="T32" fmla="*/ 379 w 659"/>
                <a:gd name="T33" fmla="*/ 4 h 657"/>
                <a:gd name="T34" fmla="*/ 426 w 659"/>
                <a:gd name="T35" fmla="*/ 14 h 657"/>
                <a:gd name="T36" fmla="*/ 513 w 659"/>
                <a:gd name="T37" fmla="*/ 56 h 657"/>
                <a:gd name="T38" fmla="*/ 583 w 659"/>
                <a:gd name="T39" fmla="*/ 119 h 657"/>
                <a:gd name="T40" fmla="*/ 632 w 659"/>
                <a:gd name="T41" fmla="*/ 200 h 657"/>
                <a:gd name="T42" fmla="*/ 652 w 659"/>
                <a:gd name="T43" fmla="*/ 262 h 657"/>
                <a:gd name="T44" fmla="*/ 657 w 659"/>
                <a:gd name="T45" fmla="*/ 311 h 657"/>
                <a:gd name="T46" fmla="*/ 657 w 659"/>
                <a:gd name="T47" fmla="*/ 345 h 657"/>
                <a:gd name="T48" fmla="*/ 652 w 659"/>
                <a:gd name="T49" fmla="*/ 395 h 657"/>
                <a:gd name="T50" fmla="*/ 632 w 659"/>
                <a:gd name="T51" fmla="*/ 457 h 657"/>
                <a:gd name="T52" fmla="*/ 583 w 659"/>
                <a:gd name="T53" fmla="*/ 537 h 657"/>
                <a:gd name="T54" fmla="*/ 513 w 659"/>
                <a:gd name="T55" fmla="*/ 600 h 657"/>
                <a:gd name="T56" fmla="*/ 426 w 659"/>
                <a:gd name="T57" fmla="*/ 642 h 657"/>
                <a:gd name="T58" fmla="*/ 379 w 659"/>
                <a:gd name="T59" fmla="*/ 653 h 657"/>
                <a:gd name="T60" fmla="*/ 329 w 659"/>
                <a:gd name="T61" fmla="*/ 657 h 657"/>
                <a:gd name="T62" fmla="*/ 329 w 659"/>
                <a:gd name="T63" fmla="*/ 37 h 657"/>
                <a:gd name="T64" fmla="*/ 242 w 659"/>
                <a:gd name="T65" fmla="*/ 49 h 657"/>
                <a:gd name="T66" fmla="*/ 167 w 659"/>
                <a:gd name="T67" fmla="*/ 87 h 657"/>
                <a:gd name="T68" fmla="*/ 105 w 659"/>
                <a:gd name="T69" fmla="*/ 143 h 657"/>
                <a:gd name="T70" fmla="*/ 60 w 659"/>
                <a:gd name="T71" fmla="*/ 215 h 657"/>
                <a:gd name="T72" fmla="*/ 39 w 659"/>
                <a:gd name="T73" fmla="*/ 298 h 657"/>
                <a:gd name="T74" fmla="*/ 39 w 659"/>
                <a:gd name="T75" fmla="*/ 358 h 657"/>
                <a:gd name="T76" fmla="*/ 60 w 659"/>
                <a:gd name="T77" fmla="*/ 442 h 657"/>
                <a:gd name="T78" fmla="*/ 105 w 659"/>
                <a:gd name="T79" fmla="*/ 513 h 657"/>
                <a:gd name="T80" fmla="*/ 167 w 659"/>
                <a:gd name="T81" fmla="*/ 569 h 657"/>
                <a:gd name="T82" fmla="*/ 242 w 659"/>
                <a:gd name="T83" fmla="*/ 606 h 657"/>
                <a:gd name="T84" fmla="*/ 329 w 659"/>
                <a:gd name="T85" fmla="*/ 619 h 657"/>
                <a:gd name="T86" fmla="*/ 387 w 659"/>
                <a:gd name="T87" fmla="*/ 614 h 657"/>
                <a:gd name="T88" fmla="*/ 468 w 659"/>
                <a:gd name="T89" fmla="*/ 584 h 657"/>
                <a:gd name="T90" fmla="*/ 535 w 659"/>
                <a:gd name="T91" fmla="*/ 535 h 657"/>
                <a:gd name="T92" fmla="*/ 585 w 659"/>
                <a:gd name="T93" fmla="*/ 467 h 657"/>
                <a:gd name="T94" fmla="*/ 614 w 659"/>
                <a:gd name="T95" fmla="*/ 387 h 657"/>
                <a:gd name="T96" fmla="*/ 621 w 659"/>
                <a:gd name="T97" fmla="*/ 328 h 657"/>
                <a:gd name="T98" fmla="*/ 607 w 659"/>
                <a:gd name="T99" fmla="*/ 242 h 657"/>
                <a:gd name="T100" fmla="*/ 570 w 659"/>
                <a:gd name="T101" fmla="*/ 165 h 657"/>
                <a:gd name="T102" fmla="*/ 515 w 659"/>
                <a:gd name="T103" fmla="*/ 103 h 657"/>
                <a:gd name="T104" fmla="*/ 442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29" y="657"/>
                  </a:moveTo>
                  <a:lnTo>
                    <a:pt x="329" y="657"/>
                  </a:lnTo>
                  <a:lnTo>
                    <a:pt x="312" y="657"/>
                  </a:lnTo>
                  <a:lnTo>
                    <a:pt x="296" y="656"/>
                  </a:lnTo>
                  <a:lnTo>
                    <a:pt x="280" y="653"/>
                  </a:lnTo>
                  <a:lnTo>
                    <a:pt x="262" y="650"/>
                  </a:lnTo>
                  <a:lnTo>
                    <a:pt x="247" y="647"/>
                  </a:lnTo>
                  <a:lnTo>
                    <a:pt x="231" y="642"/>
                  </a:lnTo>
                  <a:lnTo>
                    <a:pt x="202" y="631"/>
                  </a:lnTo>
                  <a:lnTo>
                    <a:pt x="172" y="618"/>
                  </a:lnTo>
                  <a:lnTo>
                    <a:pt x="145" y="600"/>
                  </a:lnTo>
                  <a:lnTo>
                    <a:pt x="120" y="582"/>
                  </a:lnTo>
                  <a:lnTo>
                    <a:pt x="97" y="560"/>
                  </a:lnTo>
                  <a:lnTo>
                    <a:pt x="75" y="537"/>
                  </a:lnTo>
                  <a:lnTo>
                    <a:pt x="56" y="512"/>
                  </a:lnTo>
                  <a:lnTo>
                    <a:pt x="40" y="485"/>
                  </a:lnTo>
                  <a:lnTo>
                    <a:pt x="26" y="457"/>
                  </a:lnTo>
                  <a:lnTo>
                    <a:pt x="15" y="426"/>
                  </a:lnTo>
                  <a:lnTo>
                    <a:pt x="11" y="411"/>
                  </a:lnTo>
                  <a:lnTo>
                    <a:pt x="7" y="395"/>
                  </a:lnTo>
                  <a:lnTo>
                    <a:pt x="4" y="379"/>
                  </a:lnTo>
                  <a:lnTo>
                    <a:pt x="1" y="361"/>
                  </a:lnTo>
                  <a:lnTo>
                    <a:pt x="0" y="345"/>
                  </a:lnTo>
                  <a:lnTo>
                    <a:pt x="0" y="328"/>
                  </a:lnTo>
                  <a:lnTo>
                    <a:pt x="0" y="328"/>
                  </a:lnTo>
                  <a:lnTo>
                    <a:pt x="0" y="311"/>
                  </a:lnTo>
                  <a:lnTo>
                    <a:pt x="1" y="294"/>
                  </a:lnTo>
                  <a:lnTo>
                    <a:pt x="4" y="278"/>
                  </a:lnTo>
                  <a:lnTo>
                    <a:pt x="7" y="262"/>
                  </a:lnTo>
                  <a:lnTo>
                    <a:pt x="11" y="246"/>
                  </a:lnTo>
                  <a:lnTo>
                    <a:pt x="15" y="231"/>
                  </a:lnTo>
                  <a:lnTo>
                    <a:pt x="26" y="200"/>
                  </a:lnTo>
                  <a:lnTo>
                    <a:pt x="40" y="172"/>
                  </a:lnTo>
                  <a:lnTo>
                    <a:pt x="56" y="145"/>
                  </a:lnTo>
                  <a:lnTo>
                    <a:pt x="75" y="119"/>
                  </a:lnTo>
                  <a:lnTo>
                    <a:pt x="97" y="95"/>
                  </a:lnTo>
                  <a:lnTo>
                    <a:pt x="120" y="75"/>
                  </a:lnTo>
                  <a:lnTo>
                    <a:pt x="145" y="56"/>
                  </a:lnTo>
                  <a:lnTo>
                    <a:pt x="172" y="39"/>
                  </a:lnTo>
                  <a:lnTo>
                    <a:pt x="202" y="25"/>
                  </a:lnTo>
                  <a:lnTo>
                    <a:pt x="231" y="14"/>
                  </a:lnTo>
                  <a:lnTo>
                    <a:pt x="247" y="9"/>
                  </a:lnTo>
                  <a:lnTo>
                    <a:pt x="262" y="6"/>
                  </a:lnTo>
                  <a:lnTo>
                    <a:pt x="280" y="4"/>
                  </a:lnTo>
                  <a:lnTo>
                    <a:pt x="296" y="1"/>
                  </a:lnTo>
                  <a:lnTo>
                    <a:pt x="312" y="0"/>
                  </a:lnTo>
                  <a:lnTo>
                    <a:pt x="329" y="0"/>
                  </a:lnTo>
                  <a:lnTo>
                    <a:pt x="329" y="0"/>
                  </a:lnTo>
                  <a:lnTo>
                    <a:pt x="345" y="0"/>
                  </a:lnTo>
                  <a:lnTo>
                    <a:pt x="363" y="1"/>
                  </a:lnTo>
                  <a:lnTo>
                    <a:pt x="379" y="4"/>
                  </a:lnTo>
                  <a:lnTo>
                    <a:pt x="395" y="6"/>
                  </a:lnTo>
                  <a:lnTo>
                    <a:pt x="411" y="9"/>
                  </a:lnTo>
                  <a:lnTo>
                    <a:pt x="426" y="14"/>
                  </a:lnTo>
                  <a:lnTo>
                    <a:pt x="457" y="25"/>
                  </a:lnTo>
                  <a:lnTo>
                    <a:pt x="485" y="39"/>
                  </a:lnTo>
                  <a:lnTo>
                    <a:pt x="513" y="56"/>
                  </a:lnTo>
                  <a:lnTo>
                    <a:pt x="538" y="75"/>
                  </a:lnTo>
                  <a:lnTo>
                    <a:pt x="562" y="95"/>
                  </a:lnTo>
                  <a:lnTo>
                    <a:pt x="583" y="119"/>
                  </a:lnTo>
                  <a:lnTo>
                    <a:pt x="602" y="145"/>
                  </a:lnTo>
                  <a:lnTo>
                    <a:pt x="618" y="172"/>
                  </a:lnTo>
                  <a:lnTo>
                    <a:pt x="632" y="200"/>
                  </a:lnTo>
                  <a:lnTo>
                    <a:pt x="644" y="231"/>
                  </a:lnTo>
                  <a:lnTo>
                    <a:pt x="648" y="246"/>
                  </a:lnTo>
                  <a:lnTo>
                    <a:pt x="652" y="262"/>
                  </a:lnTo>
                  <a:lnTo>
                    <a:pt x="655" y="278"/>
                  </a:lnTo>
                  <a:lnTo>
                    <a:pt x="656" y="294"/>
                  </a:lnTo>
                  <a:lnTo>
                    <a:pt x="657" y="311"/>
                  </a:lnTo>
                  <a:lnTo>
                    <a:pt x="659" y="328"/>
                  </a:lnTo>
                  <a:lnTo>
                    <a:pt x="659" y="328"/>
                  </a:lnTo>
                  <a:lnTo>
                    <a:pt x="657" y="345"/>
                  </a:lnTo>
                  <a:lnTo>
                    <a:pt x="656" y="361"/>
                  </a:lnTo>
                  <a:lnTo>
                    <a:pt x="655" y="379"/>
                  </a:lnTo>
                  <a:lnTo>
                    <a:pt x="652" y="395"/>
                  </a:lnTo>
                  <a:lnTo>
                    <a:pt x="648" y="411"/>
                  </a:lnTo>
                  <a:lnTo>
                    <a:pt x="644" y="426"/>
                  </a:lnTo>
                  <a:lnTo>
                    <a:pt x="632" y="457"/>
                  </a:lnTo>
                  <a:lnTo>
                    <a:pt x="618" y="485"/>
                  </a:lnTo>
                  <a:lnTo>
                    <a:pt x="602" y="512"/>
                  </a:lnTo>
                  <a:lnTo>
                    <a:pt x="583" y="537"/>
                  </a:lnTo>
                  <a:lnTo>
                    <a:pt x="562" y="560"/>
                  </a:lnTo>
                  <a:lnTo>
                    <a:pt x="538" y="582"/>
                  </a:lnTo>
                  <a:lnTo>
                    <a:pt x="513" y="600"/>
                  </a:lnTo>
                  <a:lnTo>
                    <a:pt x="485" y="618"/>
                  </a:lnTo>
                  <a:lnTo>
                    <a:pt x="457" y="631"/>
                  </a:lnTo>
                  <a:lnTo>
                    <a:pt x="426" y="642"/>
                  </a:lnTo>
                  <a:lnTo>
                    <a:pt x="411" y="647"/>
                  </a:lnTo>
                  <a:lnTo>
                    <a:pt x="395" y="650"/>
                  </a:lnTo>
                  <a:lnTo>
                    <a:pt x="379" y="653"/>
                  </a:lnTo>
                  <a:lnTo>
                    <a:pt x="363" y="656"/>
                  </a:lnTo>
                  <a:lnTo>
                    <a:pt x="345" y="657"/>
                  </a:lnTo>
                  <a:lnTo>
                    <a:pt x="329" y="657"/>
                  </a:lnTo>
                  <a:lnTo>
                    <a:pt x="329" y="657"/>
                  </a:lnTo>
                  <a:close/>
                  <a:moveTo>
                    <a:pt x="329" y="37"/>
                  </a:moveTo>
                  <a:lnTo>
                    <a:pt x="329" y="37"/>
                  </a:lnTo>
                  <a:lnTo>
                    <a:pt x="300" y="39"/>
                  </a:lnTo>
                  <a:lnTo>
                    <a:pt x="270" y="43"/>
                  </a:lnTo>
                  <a:lnTo>
                    <a:pt x="242" y="49"/>
                  </a:lnTo>
                  <a:lnTo>
                    <a:pt x="215" y="60"/>
                  </a:lnTo>
                  <a:lnTo>
                    <a:pt x="191" y="72"/>
                  </a:lnTo>
                  <a:lnTo>
                    <a:pt x="167" y="87"/>
                  </a:lnTo>
                  <a:lnTo>
                    <a:pt x="144" y="103"/>
                  </a:lnTo>
                  <a:lnTo>
                    <a:pt x="124" y="122"/>
                  </a:lnTo>
                  <a:lnTo>
                    <a:pt x="105" y="143"/>
                  </a:lnTo>
                  <a:lnTo>
                    <a:pt x="87" y="165"/>
                  </a:lnTo>
                  <a:lnTo>
                    <a:pt x="73" y="189"/>
                  </a:lnTo>
                  <a:lnTo>
                    <a:pt x="60" y="215"/>
                  </a:lnTo>
                  <a:lnTo>
                    <a:pt x="51" y="242"/>
                  </a:lnTo>
                  <a:lnTo>
                    <a:pt x="43" y="270"/>
                  </a:lnTo>
                  <a:lnTo>
                    <a:pt x="39" y="298"/>
                  </a:lnTo>
                  <a:lnTo>
                    <a:pt x="38" y="328"/>
                  </a:lnTo>
                  <a:lnTo>
                    <a:pt x="38" y="328"/>
                  </a:lnTo>
                  <a:lnTo>
                    <a:pt x="39" y="358"/>
                  </a:lnTo>
                  <a:lnTo>
                    <a:pt x="43" y="387"/>
                  </a:lnTo>
                  <a:lnTo>
                    <a:pt x="51" y="415"/>
                  </a:lnTo>
                  <a:lnTo>
                    <a:pt x="60" y="442"/>
                  </a:lnTo>
                  <a:lnTo>
                    <a:pt x="73" y="467"/>
                  </a:lnTo>
                  <a:lnTo>
                    <a:pt x="87" y="492"/>
                  </a:lnTo>
                  <a:lnTo>
                    <a:pt x="105" y="513"/>
                  </a:lnTo>
                  <a:lnTo>
                    <a:pt x="124" y="535"/>
                  </a:lnTo>
                  <a:lnTo>
                    <a:pt x="144" y="553"/>
                  </a:lnTo>
                  <a:lnTo>
                    <a:pt x="167" y="569"/>
                  </a:lnTo>
                  <a:lnTo>
                    <a:pt x="191" y="584"/>
                  </a:lnTo>
                  <a:lnTo>
                    <a:pt x="215" y="596"/>
                  </a:lnTo>
                  <a:lnTo>
                    <a:pt x="242" y="606"/>
                  </a:lnTo>
                  <a:lnTo>
                    <a:pt x="270" y="614"/>
                  </a:lnTo>
                  <a:lnTo>
                    <a:pt x="300" y="618"/>
                  </a:lnTo>
                  <a:lnTo>
                    <a:pt x="329" y="619"/>
                  </a:lnTo>
                  <a:lnTo>
                    <a:pt x="329" y="619"/>
                  </a:lnTo>
                  <a:lnTo>
                    <a:pt x="359" y="618"/>
                  </a:lnTo>
                  <a:lnTo>
                    <a:pt x="387" y="614"/>
                  </a:lnTo>
                  <a:lnTo>
                    <a:pt x="415" y="606"/>
                  </a:lnTo>
                  <a:lnTo>
                    <a:pt x="442" y="596"/>
                  </a:lnTo>
                  <a:lnTo>
                    <a:pt x="468" y="584"/>
                  </a:lnTo>
                  <a:lnTo>
                    <a:pt x="492" y="569"/>
                  </a:lnTo>
                  <a:lnTo>
                    <a:pt x="515" y="553"/>
                  </a:lnTo>
                  <a:lnTo>
                    <a:pt x="535" y="535"/>
                  </a:lnTo>
                  <a:lnTo>
                    <a:pt x="554" y="513"/>
                  </a:lnTo>
                  <a:lnTo>
                    <a:pt x="570" y="492"/>
                  </a:lnTo>
                  <a:lnTo>
                    <a:pt x="585" y="467"/>
                  </a:lnTo>
                  <a:lnTo>
                    <a:pt x="597" y="442"/>
                  </a:lnTo>
                  <a:lnTo>
                    <a:pt x="607" y="415"/>
                  </a:lnTo>
                  <a:lnTo>
                    <a:pt x="614" y="387"/>
                  </a:lnTo>
                  <a:lnTo>
                    <a:pt x="618" y="358"/>
                  </a:lnTo>
                  <a:lnTo>
                    <a:pt x="621" y="328"/>
                  </a:lnTo>
                  <a:lnTo>
                    <a:pt x="621" y="328"/>
                  </a:lnTo>
                  <a:lnTo>
                    <a:pt x="618" y="298"/>
                  </a:lnTo>
                  <a:lnTo>
                    <a:pt x="614" y="270"/>
                  </a:lnTo>
                  <a:lnTo>
                    <a:pt x="607" y="242"/>
                  </a:lnTo>
                  <a:lnTo>
                    <a:pt x="597" y="215"/>
                  </a:lnTo>
                  <a:lnTo>
                    <a:pt x="585" y="189"/>
                  </a:lnTo>
                  <a:lnTo>
                    <a:pt x="570" y="165"/>
                  </a:lnTo>
                  <a:lnTo>
                    <a:pt x="554" y="143"/>
                  </a:lnTo>
                  <a:lnTo>
                    <a:pt x="535" y="122"/>
                  </a:lnTo>
                  <a:lnTo>
                    <a:pt x="515" y="103"/>
                  </a:lnTo>
                  <a:lnTo>
                    <a:pt x="492" y="87"/>
                  </a:lnTo>
                  <a:lnTo>
                    <a:pt x="468" y="72"/>
                  </a:lnTo>
                  <a:lnTo>
                    <a:pt x="442" y="60"/>
                  </a:lnTo>
                  <a:lnTo>
                    <a:pt x="415" y="49"/>
                  </a:lnTo>
                  <a:lnTo>
                    <a:pt x="387" y="43"/>
                  </a:lnTo>
                  <a:lnTo>
                    <a:pt x="359"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3" name="Freeform 199">
              <a:extLst>
                <a:ext uri="{FF2B5EF4-FFF2-40B4-BE49-F238E27FC236}">
                  <a16:creationId xmlns:a16="http://schemas.microsoft.com/office/drawing/2014/main" id="{8FFD6496-31E0-4D55-BF06-BFD67A416540}"/>
                </a:ext>
              </a:extLst>
            </p:cNvPr>
            <p:cNvSpPr>
              <a:spLocks/>
            </p:cNvSpPr>
            <p:nvPr/>
          </p:nvSpPr>
          <p:spPr bwMode="auto">
            <a:xfrm>
              <a:off x="722313" y="5145723"/>
              <a:ext cx="15875" cy="138113"/>
            </a:xfrm>
            <a:custGeom>
              <a:avLst/>
              <a:gdLst>
                <a:gd name="T0" fmla="*/ 19 w 19"/>
                <a:gd name="T1" fmla="*/ 8 h 174"/>
                <a:gd name="T2" fmla="*/ 19 w 19"/>
                <a:gd name="T3" fmla="*/ 8 h 174"/>
                <a:gd name="T4" fmla="*/ 18 w 19"/>
                <a:gd name="T5" fmla="*/ 6 h 174"/>
                <a:gd name="T6" fmla="*/ 16 w 19"/>
                <a:gd name="T7" fmla="*/ 3 h 174"/>
                <a:gd name="T8" fmla="*/ 12 w 19"/>
                <a:gd name="T9" fmla="*/ 0 h 174"/>
                <a:gd name="T10" fmla="*/ 10 w 19"/>
                <a:gd name="T11" fmla="*/ 0 h 174"/>
                <a:gd name="T12" fmla="*/ 10 w 19"/>
                <a:gd name="T13" fmla="*/ 0 h 174"/>
                <a:gd name="T14" fmla="*/ 6 w 19"/>
                <a:gd name="T15" fmla="*/ 0 h 174"/>
                <a:gd name="T16" fmla="*/ 3 w 19"/>
                <a:gd name="T17" fmla="*/ 3 h 174"/>
                <a:gd name="T18" fmla="*/ 0 w 19"/>
                <a:gd name="T19" fmla="*/ 6 h 174"/>
                <a:gd name="T20" fmla="*/ 0 w 19"/>
                <a:gd name="T21" fmla="*/ 8 h 174"/>
                <a:gd name="T22" fmla="*/ 0 w 19"/>
                <a:gd name="T23" fmla="*/ 174 h 174"/>
                <a:gd name="T24" fmla="*/ 19 w 19"/>
                <a:gd name="T25" fmla="*/ 174 h 174"/>
                <a:gd name="T26" fmla="*/ 19 w 19"/>
                <a:gd name="T27" fmla="*/ 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74">
                  <a:moveTo>
                    <a:pt x="19" y="8"/>
                  </a:moveTo>
                  <a:lnTo>
                    <a:pt x="19" y="8"/>
                  </a:lnTo>
                  <a:lnTo>
                    <a:pt x="18" y="6"/>
                  </a:lnTo>
                  <a:lnTo>
                    <a:pt x="16" y="3"/>
                  </a:lnTo>
                  <a:lnTo>
                    <a:pt x="12" y="0"/>
                  </a:lnTo>
                  <a:lnTo>
                    <a:pt x="10" y="0"/>
                  </a:lnTo>
                  <a:lnTo>
                    <a:pt x="10" y="0"/>
                  </a:lnTo>
                  <a:lnTo>
                    <a:pt x="6" y="0"/>
                  </a:lnTo>
                  <a:lnTo>
                    <a:pt x="3" y="3"/>
                  </a:lnTo>
                  <a:lnTo>
                    <a:pt x="0" y="6"/>
                  </a:lnTo>
                  <a:lnTo>
                    <a:pt x="0" y="8"/>
                  </a:lnTo>
                  <a:lnTo>
                    <a:pt x="0" y="174"/>
                  </a:lnTo>
                  <a:lnTo>
                    <a:pt x="19" y="174"/>
                  </a:lnTo>
                  <a:lnTo>
                    <a:pt x="1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4" name="Freeform 200">
              <a:extLst>
                <a:ext uri="{FF2B5EF4-FFF2-40B4-BE49-F238E27FC236}">
                  <a16:creationId xmlns:a16="http://schemas.microsoft.com/office/drawing/2014/main" id="{07FD3C7F-66A6-47A5-B32C-3829FA83D89F}"/>
                </a:ext>
              </a:extLst>
            </p:cNvPr>
            <p:cNvSpPr>
              <a:spLocks/>
            </p:cNvSpPr>
            <p:nvPr/>
          </p:nvSpPr>
          <p:spPr bwMode="auto">
            <a:xfrm>
              <a:off x="692151" y="5296535"/>
              <a:ext cx="74613" cy="109538"/>
            </a:xfrm>
            <a:custGeom>
              <a:avLst/>
              <a:gdLst>
                <a:gd name="T0" fmla="*/ 88 w 92"/>
                <a:gd name="T1" fmla="*/ 0 h 138"/>
                <a:gd name="T2" fmla="*/ 5 w 92"/>
                <a:gd name="T3" fmla="*/ 0 h 138"/>
                <a:gd name="T4" fmla="*/ 5 w 92"/>
                <a:gd name="T5" fmla="*/ 0 h 138"/>
                <a:gd name="T6" fmla="*/ 2 w 92"/>
                <a:gd name="T7" fmla="*/ 0 h 138"/>
                <a:gd name="T8" fmla="*/ 1 w 92"/>
                <a:gd name="T9" fmla="*/ 1 h 138"/>
                <a:gd name="T10" fmla="*/ 0 w 92"/>
                <a:gd name="T11" fmla="*/ 4 h 138"/>
                <a:gd name="T12" fmla="*/ 0 w 92"/>
                <a:gd name="T13" fmla="*/ 5 h 138"/>
                <a:gd name="T14" fmla="*/ 0 w 92"/>
                <a:gd name="T15" fmla="*/ 58 h 138"/>
                <a:gd name="T16" fmla="*/ 0 w 92"/>
                <a:gd name="T17" fmla="*/ 58 h 138"/>
                <a:gd name="T18" fmla="*/ 0 w 92"/>
                <a:gd name="T19" fmla="*/ 59 h 138"/>
                <a:gd name="T20" fmla="*/ 1 w 92"/>
                <a:gd name="T21" fmla="*/ 60 h 138"/>
                <a:gd name="T22" fmla="*/ 2 w 92"/>
                <a:gd name="T23" fmla="*/ 62 h 138"/>
                <a:gd name="T24" fmla="*/ 5 w 92"/>
                <a:gd name="T25" fmla="*/ 62 h 138"/>
                <a:gd name="T26" fmla="*/ 37 w 92"/>
                <a:gd name="T27" fmla="*/ 62 h 138"/>
                <a:gd name="T28" fmla="*/ 37 w 92"/>
                <a:gd name="T29" fmla="*/ 129 h 138"/>
                <a:gd name="T30" fmla="*/ 37 w 92"/>
                <a:gd name="T31" fmla="*/ 129 h 138"/>
                <a:gd name="T32" fmla="*/ 37 w 92"/>
                <a:gd name="T33" fmla="*/ 133 h 138"/>
                <a:gd name="T34" fmla="*/ 40 w 92"/>
                <a:gd name="T35" fmla="*/ 135 h 138"/>
                <a:gd name="T36" fmla="*/ 43 w 92"/>
                <a:gd name="T37" fmla="*/ 138 h 138"/>
                <a:gd name="T38" fmla="*/ 47 w 92"/>
                <a:gd name="T39" fmla="*/ 138 h 138"/>
                <a:gd name="T40" fmla="*/ 47 w 92"/>
                <a:gd name="T41" fmla="*/ 138 h 138"/>
                <a:gd name="T42" fmla="*/ 49 w 92"/>
                <a:gd name="T43" fmla="*/ 138 h 138"/>
                <a:gd name="T44" fmla="*/ 53 w 92"/>
                <a:gd name="T45" fmla="*/ 135 h 138"/>
                <a:gd name="T46" fmla="*/ 55 w 92"/>
                <a:gd name="T47" fmla="*/ 133 h 138"/>
                <a:gd name="T48" fmla="*/ 56 w 92"/>
                <a:gd name="T49" fmla="*/ 129 h 138"/>
                <a:gd name="T50" fmla="*/ 56 w 92"/>
                <a:gd name="T51" fmla="*/ 62 h 138"/>
                <a:gd name="T52" fmla="*/ 88 w 92"/>
                <a:gd name="T53" fmla="*/ 62 h 138"/>
                <a:gd name="T54" fmla="*/ 88 w 92"/>
                <a:gd name="T55" fmla="*/ 62 h 138"/>
                <a:gd name="T56" fmla="*/ 90 w 92"/>
                <a:gd name="T57" fmla="*/ 62 h 138"/>
                <a:gd name="T58" fmla="*/ 91 w 92"/>
                <a:gd name="T59" fmla="*/ 60 h 138"/>
                <a:gd name="T60" fmla="*/ 92 w 92"/>
                <a:gd name="T61" fmla="*/ 59 h 138"/>
                <a:gd name="T62" fmla="*/ 92 w 92"/>
                <a:gd name="T63" fmla="*/ 58 h 138"/>
                <a:gd name="T64" fmla="*/ 92 w 92"/>
                <a:gd name="T65" fmla="*/ 5 h 138"/>
                <a:gd name="T66" fmla="*/ 92 w 92"/>
                <a:gd name="T67" fmla="*/ 5 h 138"/>
                <a:gd name="T68" fmla="*/ 92 w 92"/>
                <a:gd name="T69" fmla="*/ 4 h 138"/>
                <a:gd name="T70" fmla="*/ 91 w 92"/>
                <a:gd name="T71" fmla="*/ 1 h 138"/>
                <a:gd name="T72" fmla="*/ 90 w 92"/>
                <a:gd name="T73" fmla="*/ 0 h 138"/>
                <a:gd name="T74" fmla="*/ 88 w 92"/>
                <a:gd name="T75" fmla="*/ 0 h 138"/>
                <a:gd name="T76" fmla="*/ 88 w 92"/>
                <a:gd name="T7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2" h="138">
                  <a:moveTo>
                    <a:pt x="88" y="0"/>
                  </a:moveTo>
                  <a:lnTo>
                    <a:pt x="5" y="0"/>
                  </a:lnTo>
                  <a:lnTo>
                    <a:pt x="5" y="0"/>
                  </a:lnTo>
                  <a:lnTo>
                    <a:pt x="2" y="0"/>
                  </a:lnTo>
                  <a:lnTo>
                    <a:pt x="1" y="1"/>
                  </a:lnTo>
                  <a:lnTo>
                    <a:pt x="0" y="4"/>
                  </a:lnTo>
                  <a:lnTo>
                    <a:pt x="0" y="5"/>
                  </a:lnTo>
                  <a:lnTo>
                    <a:pt x="0" y="58"/>
                  </a:lnTo>
                  <a:lnTo>
                    <a:pt x="0" y="58"/>
                  </a:lnTo>
                  <a:lnTo>
                    <a:pt x="0" y="59"/>
                  </a:lnTo>
                  <a:lnTo>
                    <a:pt x="1" y="60"/>
                  </a:lnTo>
                  <a:lnTo>
                    <a:pt x="2" y="62"/>
                  </a:lnTo>
                  <a:lnTo>
                    <a:pt x="5" y="62"/>
                  </a:lnTo>
                  <a:lnTo>
                    <a:pt x="37" y="62"/>
                  </a:lnTo>
                  <a:lnTo>
                    <a:pt x="37" y="129"/>
                  </a:lnTo>
                  <a:lnTo>
                    <a:pt x="37" y="129"/>
                  </a:lnTo>
                  <a:lnTo>
                    <a:pt x="37" y="133"/>
                  </a:lnTo>
                  <a:lnTo>
                    <a:pt x="40" y="135"/>
                  </a:lnTo>
                  <a:lnTo>
                    <a:pt x="43" y="138"/>
                  </a:lnTo>
                  <a:lnTo>
                    <a:pt x="47" y="138"/>
                  </a:lnTo>
                  <a:lnTo>
                    <a:pt x="47" y="138"/>
                  </a:lnTo>
                  <a:lnTo>
                    <a:pt x="49" y="138"/>
                  </a:lnTo>
                  <a:lnTo>
                    <a:pt x="53" y="135"/>
                  </a:lnTo>
                  <a:lnTo>
                    <a:pt x="55" y="133"/>
                  </a:lnTo>
                  <a:lnTo>
                    <a:pt x="56" y="129"/>
                  </a:lnTo>
                  <a:lnTo>
                    <a:pt x="56" y="62"/>
                  </a:lnTo>
                  <a:lnTo>
                    <a:pt x="88" y="62"/>
                  </a:lnTo>
                  <a:lnTo>
                    <a:pt x="88" y="62"/>
                  </a:lnTo>
                  <a:lnTo>
                    <a:pt x="90" y="62"/>
                  </a:lnTo>
                  <a:lnTo>
                    <a:pt x="91" y="60"/>
                  </a:lnTo>
                  <a:lnTo>
                    <a:pt x="92" y="59"/>
                  </a:lnTo>
                  <a:lnTo>
                    <a:pt x="92" y="58"/>
                  </a:lnTo>
                  <a:lnTo>
                    <a:pt x="92" y="5"/>
                  </a:lnTo>
                  <a:lnTo>
                    <a:pt x="92" y="5"/>
                  </a:lnTo>
                  <a:lnTo>
                    <a:pt x="92" y="4"/>
                  </a:lnTo>
                  <a:lnTo>
                    <a:pt x="91" y="1"/>
                  </a:lnTo>
                  <a:lnTo>
                    <a:pt x="90" y="0"/>
                  </a:lnTo>
                  <a:lnTo>
                    <a:pt x="88" y="0"/>
                  </a:lnTo>
                  <a:lnTo>
                    <a:pt x="8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5" name="Freeform 201">
              <a:extLst>
                <a:ext uri="{FF2B5EF4-FFF2-40B4-BE49-F238E27FC236}">
                  <a16:creationId xmlns:a16="http://schemas.microsoft.com/office/drawing/2014/main" id="{1BD6D603-1D3F-4D7C-B43C-1ACC70F9173C}"/>
                </a:ext>
              </a:extLst>
            </p:cNvPr>
            <p:cNvSpPr>
              <a:spLocks/>
            </p:cNvSpPr>
            <p:nvPr/>
          </p:nvSpPr>
          <p:spPr bwMode="auto">
            <a:xfrm>
              <a:off x="903288" y="5145723"/>
              <a:ext cx="14288" cy="138113"/>
            </a:xfrm>
            <a:custGeom>
              <a:avLst/>
              <a:gdLst>
                <a:gd name="T0" fmla="*/ 19 w 19"/>
                <a:gd name="T1" fmla="*/ 8 h 174"/>
                <a:gd name="T2" fmla="*/ 19 w 19"/>
                <a:gd name="T3" fmla="*/ 8 h 174"/>
                <a:gd name="T4" fmla="*/ 18 w 19"/>
                <a:gd name="T5" fmla="*/ 6 h 174"/>
                <a:gd name="T6" fmla="*/ 17 w 19"/>
                <a:gd name="T7" fmla="*/ 3 h 174"/>
                <a:gd name="T8" fmla="*/ 14 w 19"/>
                <a:gd name="T9" fmla="*/ 0 h 174"/>
                <a:gd name="T10" fmla="*/ 10 w 19"/>
                <a:gd name="T11" fmla="*/ 0 h 174"/>
                <a:gd name="T12" fmla="*/ 10 w 19"/>
                <a:gd name="T13" fmla="*/ 0 h 174"/>
                <a:gd name="T14" fmla="*/ 6 w 19"/>
                <a:gd name="T15" fmla="*/ 0 h 174"/>
                <a:gd name="T16" fmla="*/ 3 w 19"/>
                <a:gd name="T17" fmla="*/ 3 h 174"/>
                <a:gd name="T18" fmla="*/ 2 w 19"/>
                <a:gd name="T19" fmla="*/ 6 h 174"/>
                <a:gd name="T20" fmla="*/ 0 w 19"/>
                <a:gd name="T21" fmla="*/ 8 h 174"/>
                <a:gd name="T22" fmla="*/ 0 w 19"/>
                <a:gd name="T23" fmla="*/ 174 h 174"/>
                <a:gd name="T24" fmla="*/ 19 w 19"/>
                <a:gd name="T25" fmla="*/ 174 h 174"/>
                <a:gd name="T26" fmla="*/ 19 w 19"/>
                <a:gd name="T27" fmla="*/ 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74">
                  <a:moveTo>
                    <a:pt x="19" y="8"/>
                  </a:moveTo>
                  <a:lnTo>
                    <a:pt x="19" y="8"/>
                  </a:lnTo>
                  <a:lnTo>
                    <a:pt x="18" y="6"/>
                  </a:lnTo>
                  <a:lnTo>
                    <a:pt x="17" y="3"/>
                  </a:lnTo>
                  <a:lnTo>
                    <a:pt x="14" y="0"/>
                  </a:lnTo>
                  <a:lnTo>
                    <a:pt x="10" y="0"/>
                  </a:lnTo>
                  <a:lnTo>
                    <a:pt x="10" y="0"/>
                  </a:lnTo>
                  <a:lnTo>
                    <a:pt x="6" y="0"/>
                  </a:lnTo>
                  <a:lnTo>
                    <a:pt x="3" y="3"/>
                  </a:lnTo>
                  <a:lnTo>
                    <a:pt x="2" y="6"/>
                  </a:lnTo>
                  <a:lnTo>
                    <a:pt x="0" y="8"/>
                  </a:lnTo>
                  <a:lnTo>
                    <a:pt x="0" y="174"/>
                  </a:lnTo>
                  <a:lnTo>
                    <a:pt x="19" y="174"/>
                  </a:lnTo>
                  <a:lnTo>
                    <a:pt x="1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6" name="Freeform 202">
              <a:extLst>
                <a:ext uri="{FF2B5EF4-FFF2-40B4-BE49-F238E27FC236}">
                  <a16:creationId xmlns:a16="http://schemas.microsoft.com/office/drawing/2014/main" id="{89FB2E4F-91B0-4EEE-AE89-B7C35F8FCDB7}"/>
                </a:ext>
              </a:extLst>
            </p:cNvPr>
            <p:cNvSpPr>
              <a:spLocks/>
            </p:cNvSpPr>
            <p:nvPr/>
          </p:nvSpPr>
          <p:spPr bwMode="auto">
            <a:xfrm>
              <a:off x="874713" y="5296535"/>
              <a:ext cx="73025" cy="109538"/>
            </a:xfrm>
            <a:custGeom>
              <a:avLst/>
              <a:gdLst>
                <a:gd name="T0" fmla="*/ 88 w 93"/>
                <a:gd name="T1" fmla="*/ 0 h 138"/>
                <a:gd name="T2" fmla="*/ 4 w 93"/>
                <a:gd name="T3" fmla="*/ 0 h 138"/>
                <a:gd name="T4" fmla="*/ 4 w 93"/>
                <a:gd name="T5" fmla="*/ 0 h 138"/>
                <a:gd name="T6" fmla="*/ 3 w 93"/>
                <a:gd name="T7" fmla="*/ 0 h 138"/>
                <a:gd name="T8" fmla="*/ 2 w 93"/>
                <a:gd name="T9" fmla="*/ 1 h 138"/>
                <a:gd name="T10" fmla="*/ 0 w 93"/>
                <a:gd name="T11" fmla="*/ 4 h 138"/>
                <a:gd name="T12" fmla="*/ 0 w 93"/>
                <a:gd name="T13" fmla="*/ 5 h 138"/>
                <a:gd name="T14" fmla="*/ 0 w 93"/>
                <a:gd name="T15" fmla="*/ 58 h 138"/>
                <a:gd name="T16" fmla="*/ 0 w 93"/>
                <a:gd name="T17" fmla="*/ 58 h 138"/>
                <a:gd name="T18" fmla="*/ 0 w 93"/>
                <a:gd name="T19" fmla="*/ 59 h 138"/>
                <a:gd name="T20" fmla="*/ 2 w 93"/>
                <a:gd name="T21" fmla="*/ 60 h 138"/>
                <a:gd name="T22" fmla="*/ 3 w 93"/>
                <a:gd name="T23" fmla="*/ 62 h 138"/>
                <a:gd name="T24" fmla="*/ 4 w 93"/>
                <a:gd name="T25" fmla="*/ 62 h 138"/>
                <a:gd name="T26" fmla="*/ 36 w 93"/>
                <a:gd name="T27" fmla="*/ 62 h 138"/>
                <a:gd name="T28" fmla="*/ 36 w 93"/>
                <a:gd name="T29" fmla="*/ 129 h 138"/>
                <a:gd name="T30" fmla="*/ 36 w 93"/>
                <a:gd name="T31" fmla="*/ 129 h 138"/>
                <a:gd name="T32" fmla="*/ 38 w 93"/>
                <a:gd name="T33" fmla="*/ 133 h 138"/>
                <a:gd name="T34" fmla="*/ 39 w 93"/>
                <a:gd name="T35" fmla="*/ 135 h 138"/>
                <a:gd name="T36" fmla="*/ 42 w 93"/>
                <a:gd name="T37" fmla="*/ 138 h 138"/>
                <a:gd name="T38" fmla="*/ 46 w 93"/>
                <a:gd name="T39" fmla="*/ 138 h 138"/>
                <a:gd name="T40" fmla="*/ 46 w 93"/>
                <a:gd name="T41" fmla="*/ 138 h 138"/>
                <a:gd name="T42" fmla="*/ 50 w 93"/>
                <a:gd name="T43" fmla="*/ 138 h 138"/>
                <a:gd name="T44" fmla="*/ 53 w 93"/>
                <a:gd name="T45" fmla="*/ 135 h 138"/>
                <a:gd name="T46" fmla="*/ 54 w 93"/>
                <a:gd name="T47" fmla="*/ 133 h 138"/>
                <a:gd name="T48" fmla="*/ 55 w 93"/>
                <a:gd name="T49" fmla="*/ 129 h 138"/>
                <a:gd name="T50" fmla="*/ 55 w 93"/>
                <a:gd name="T51" fmla="*/ 62 h 138"/>
                <a:gd name="T52" fmla="*/ 88 w 93"/>
                <a:gd name="T53" fmla="*/ 62 h 138"/>
                <a:gd name="T54" fmla="*/ 88 w 93"/>
                <a:gd name="T55" fmla="*/ 62 h 138"/>
                <a:gd name="T56" fmla="*/ 89 w 93"/>
                <a:gd name="T57" fmla="*/ 62 h 138"/>
                <a:gd name="T58" fmla="*/ 92 w 93"/>
                <a:gd name="T59" fmla="*/ 60 h 138"/>
                <a:gd name="T60" fmla="*/ 93 w 93"/>
                <a:gd name="T61" fmla="*/ 59 h 138"/>
                <a:gd name="T62" fmla="*/ 93 w 93"/>
                <a:gd name="T63" fmla="*/ 58 h 138"/>
                <a:gd name="T64" fmla="*/ 93 w 93"/>
                <a:gd name="T65" fmla="*/ 5 h 138"/>
                <a:gd name="T66" fmla="*/ 93 w 93"/>
                <a:gd name="T67" fmla="*/ 5 h 138"/>
                <a:gd name="T68" fmla="*/ 93 w 93"/>
                <a:gd name="T69" fmla="*/ 4 h 138"/>
                <a:gd name="T70" fmla="*/ 92 w 93"/>
                <a:gd name="T71" fmla="*/ 1 h 138"/>
                <a:gd name="T72" fmla="*/ 89 w 93"/>
                <a:gd name="T73" fmla="*/ 0 h 138"/>
                <a:gd name="T74" fmla="*/ 88 w 93"/>
                <a:gd name="T75" fmla="*/ 0 h 138"/>
                <a:gd name="T76" fmla="*/ 88 w 93"/>
                <a:gd name="T7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 h="138">
                  <a:moveTo>
                    <a:pt x="88" y="0"/>
                  </a:moveTo>
                  <a:lnTo>
                    <a:pt x="4" y="0"/>
                  </a:lnTo>
                  <a:lnTo>
                    <a:pt x="4" y="0"/>
                  </a:lnTo>
                  <a:lnTo>
                    <a:pt x="3" y="0"/>
                  </a:lnTo>
                  <a:lnTo>
                    <a:pt x="2" y="1"/>
                  </a:lnTo>
                  <a:lnTo>
                    <a:pt x="0" y="4"/>
                  </a:lnTo>
                  <a:lnTo>
                    <a:pt x="0" y="5"/>
                  </a:lnTo>
                  <a:lnTo>
                    <a:pt x="0" y="58"/>
                  </a:lnTo>
                  <a:lnTo>
                    <a:pt x="0" y="58"/>
                  </a:lnTo>
                  <a:lnTo>
                    <a:pt x="0" y="59"/>
                  </a:lnTo>
                  <a:lnTo>
                    <a:pt x="2" y="60"/>
                  </a:lnTo>
                  <a:lnTo>
                    <a:pt x="3" y="62"/>
                  </a:lnTo>
                  <a:lnTo>
                    <a:pt x="4" y="62"/>
                  </a:lnTo>
                  <a:lnTo>
                    <a:pt x="36" y="62"/>
                  </a:lnTo>
                  <a:lnTo>
                    <a:pt x="36" y="129"/>
                  </a:lnTo>
                  <a:lnTo>
                    <a:pt x="36" y="129"/>
                  </a:lnTo>
                  <a:lnTo>
                    <a:pt x="38" y="133"/>
                  </a:lnTo>
                  <a:lnTo>
                    <a:pt x="39" y="135"/>
                  </a:lnTo>
                  <a:lnTo>
                    <a:pt x="42" y="138"/>
                  </a:lnTo>
                  <a:lnTo>
                    <a:pt x="46" y="138"/>
                  </a:lnTo>
                  <a:lnTo>
                    <a:pt x="46" y="138"/>
                  </a:lnTo>
                  <a:lnTo>
                    <a:pt x="50" y="138"/>
                  </a:lnTo>
                  <a:lnTo>
                    <a:pt x="53" y="135"/>
                  </a:lnTo>
                  <a:lnTo>
                    <a:pt x="54" y="133"/>
                  </a:lnTo>
                  <a:lnTo>
                    <a:pt x="55" y="129"/>
                  </a:lnTo>
                  <a:lnTo>
                    <a:pt x="55" y="62"/>
                  </a:lnTo>
                  <a:lnTo>
                    <a:pt x="88" y="62"/>
                  </a:lnTo>
                  <a:lnTo>
                    <a:pt x="88" y="62"/>
                  </a:lnTo>
                  <a:lnTo>
                    <a:pt x="89" y="62"/>
                  </a:lnTo>
                  <a:lnTo>
                    <a:pt x="92" y="60"/>
                  </a:lnTo>
                  <a:lnTo>
                    <a:pt x="93" y="59"/>
                  </a:lnTo>
                  <a:lnTo>
                    <a:pt x="93" y="58"/>
                  </a:lnTo>
                  <a:lnTo>
                    <a:pt x="93" y="5"/>
                  </a:lnTo>
                  <a:lnTo>
                    <a:pt x="93" y="5"/>
                  </a:lnTo>
                  <a:lnTo>
                    <a:pt x="93" y="4"/>
                  </a:lnTo>
                  <a:lnTo>
                    <a:pt x="92" y="1"/>
                  </a:lnTo>
                  <a:lnTo>
                    <a:pt x="89" y="0"/>
                  </a:lnTo>
                  <a:lnTo>
                    <a:pt x="88" y="0"/>
                  </a:lnTo>
                  <a:lnTo>
                    <a:pt x="8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7" name="Freeform 203">
              <a:extLst>
                <a:ext uri="{FF2B5EF4-FFF2-40B4-BE49-F238E27FC236}">
                  <a16:creationId xmlns:a16="http://schemas.microsoft.com/office/drawing/2014/main" id="{C08A8E0D-52EA-47D5-AA3E-B23F5A60C731}"/>
                </a:ext>
              </a:extLst>
            </p:cNvPr>
            <p:cNvSpPr>
              <a:spLocks/>
            </p:cNvSpPr>
            <p:nvPr/>
          </p:nvSpPr>
          <p:spPr bwMode="auto">
            <a:xfrm>
              <a:off x="812801" y="5267960"/>
              <a:ext cx="14288" cy="138113"/>
            </a:xfrm>
            <a:custGeom>
              <a:avLst/>
              <a:gdLst>
                <a:gd name="T0" fmla="*/ 0 w 17"/>
                <a:gd name="T1" fmla="*/ 164 h 173"/>
                <a:gd name="T2" fmla="*/ 0 w 17"/>
                <a:gd name="T3" fmla="*/ 164 h 173"/>
                <a:gd name="T4" fmla="*/ 0 w 17"/>
                <a:gd name="T5" fmla="*/ 168 h 173"/>
                <a:gd name="T6" fmla="*/ 2 w 17"/>
                <a:gd name="T7" fmla="*/ 170 h 173"/>
                <a:gd name="T8" fmla="*/ 5 w 17"/>
                <a:gd name="T9" fmla="*/ 173 h 173"/>
                <a:gd name="T10" fmla="*/ 8 w 17"/>
                <a:gd name="T11" fmla="*/ 173 h 173"/>
                <a:gd name="T12" fmla="*/ 8 w 17"/>
                <a:gd name="T13" fmla="*/ 173 h 173"/>
                <a:gd name="T14" fmla="*/ 12 w 17"/>
                <a:gd name="T15" fmla="*/ 173 h 173"/>
                <a:gd name="T16" fmla="*/ 14 w 17"/>
                <a:gd name="T17" fmla="*/ 170 h 173"/>
                <a:gd name="T18" fmla="*/ 17 w 17"/>
                <a:gd name="T19" fmla="*/ 168 h 173"/>
                <a:gd name="T20" fmla="*/ 17 w 17"/>
                <a:gd name="T21" fmla="*/ 164 h 173"/>
                <a:gd name="T22" fmla="*/ 17 w 17"/>
                <a:gd name="T23" fmla="*/ 0 h 173"/>
                <a:gd name="T24" fmla="*/ 0 w 17"/>
                <a:gd name="T25" fmla="*/ 0 h 173"/>
                <a:gd name="T26" fmla="*/ 0 w 17"/>
                <a:gd name="T27" fmla="*/ 164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73">
                  <a:moveTo>
                    <a:pt x="0" y="164"/>
                  </a:moveTo>
                  <a:lnTo>
                    <a:pt x="0" y="164"/>
                  </a:lnTo>
                  <a:lnTo>
                    <a:pt x="0" y="168"/>
                  </a:lnTo>
                  <a:lnTo>
                    <a:pt x="2" y="170"/>
                  </a:lnTo>
                  <a:lnTo>
                    <a:pt x="5" y="173"/>
                  </a:lnTo>
                  <a:lnTo>
                    <a:pt x="8" y="173"/>
                  </a:lnTo>
                  <a:lnTo>
                    <a:pt x="8" y="173"/>
                  </a:lnTo>
                  <a:lnTo>
                    <a:pt x="12" y="173"/>
                  </a:lnTo>
                  <a:lnTo>
                    <a:pt x="14" y="170"/>
                  </a:lnTo>
                  <a:lnTo>
                    <a:pt x="17" y="168"/>
                  </a:lnTo>
                  <a:lnTo>
                    <a:pt x="17" y="164"/>
                  </a:lnTo>
                  <a:lnTo>
                    <a:pt x="17" y="0"/>
                  </a:lnTo>
                  <a:lnTo>
                    <a:pt x="0" y="0"/>
                  </a:lnTo>
                  <a:lnTo>
                    <a:pt x="0" y="16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8" name="Freeform 204">
              <a:extLst>
                <a:ext uri="{FF2B5EF4-FFF2-40B4-BE49-F238E27FC236}">
                  <a16:creationId xmlns:a16="http://schemas.microsoft.com/office/drawing/2014/main" id="{14B37A95-6E7F-4F97-A6A7-620B36C1C121}"/>
                </a:ext>
              </a:extLst>
            </p:cNvPr>
            <p:cNvSpPr>
              <a:spLocks/>
            </p:cNvSpPr>
            <p:nvPr/>
          </p:nvSpPr>
          <p:spPr bwMode="auto">
            <a:xfrm>
              <a:off x="782638" y="5145723"/>
              <a:ext cx="74613" cy="109538"/>
            </a:xfrm>
            <a:custGeom>
              <a:avLst/>
              <a:gdLst>
                <a:gd name="T0" fmla="*/ 87 w 93"/>
                <a:gd name="T1" fmla="*/ 75 h 139"/>
                <a:gd name="T2" fmla="*/ 55 w 93"/>
                <a:gd name="T3" fmla="*/ 75 h 139"/>
                <a:gd name="T4" fmla="*/ 55 w 93"/>
                <a:gd name="T5" fmla="*/ 8 h 139"/>
                <a:gd name="T6" fmla="*/ 55 w 93"/>
                <a:gd name="T7" fmla="*/ 8 h 139"/>
                <a:gd name="T8" fmla="*/ 55 w 93"/>
                <a:gd name="T9" fmla="*/ 6 h 139"/>
                <a:gd name="T10" fmla="*/ 52 w 93"/>
                <a:gd name="T11" fmla="*/ 3 h 139"/>
                <a:gd name="T12" fmla="*/ 50 w 93"/>
                <a:gd name="T13" fmla="*/ 0 h 139"/>
                <a:gd name="T14" fmla="*/ 46 w 93"/>
                <a:gd name="T15" fmla="*/ 0 h 139"/>
                <a:gd name="T16" fmla="*/ 46 w 93"/>
                <a:gd name="T17" fmla="*/ 0 h 139"/>
                <a:gd name="T18" fmla="*/ 43 w 93"/>
                <a:gd name="T19" fmla="*/ 0 h 139"/>
                <a:gd name="T20" fmla="*/ 40 w 93"/>
                <a:gd name="T21" fmla="*/ 3 h 139"/>
                <a:gd name="T22" fmla="*/ 38 w 93"/>
                <a:gd name="T23" fmla="*/ 6 h 139"/>
                <a:gd name="T24" fmla="*/ 38 w 93"/>
                <a:gd name="T25" fmla="*/ 8 h 139"/>
                <a:gd name="T26" fmla="*/ 38 w 93"/>
                <a:gd name="T27" fmla="*/ 75 h 139"/>
                <a:gd name="T28" fmla="*/ 5 w 93"/>
                <a:gd name="T29" fmla="*/ 75 h 139"/>
                <a:gd name="T30" fmla="*/ 5 w 93"/>
                <a:gd name="T31" fmla="*/ 75 h 139"/>
                <a:gd name="T32" fmla="*/ 3 w 93"/>
                <a:gd name="T33" fmla="*/ 77 h 139"/>
                <a:gd name="T34" fmla="*/ 1 w 93"/>
                <a:gd name="T35" fmla="*/ 78 h 139"/>
                <a:gd name="T36" fmla="*/ 0 w 93"/>
                <a:gd name="T37" fmla="*/ 80 h 139"/>
                <a:gd name="T38" fmla="*/ 0 w 93"/>
                <a:gd name="T39" fmla="*/ 81 h 139"/>
                <a:gd name="T40" fmla="*/ 0 w 93"/>
                <a:gd name="T41" fmla="*/ 133 h 139"/>
                <a:gd name="T42" fmla="*/ 0 w 93"/>
                <a:gd name="T43" fmla="*/ 133 h 139"/>
                <a:gd name="T44" fmla="*/ 0 w 93"/>
                <a:gd name="T45" fmla="*/ 135 h 139"/>
                <a:gd name="T46" fmla="*/ 1 w 93"/>
                <a:gd name="T47" fmla="*/ 137 h 139"/>
                <a:gd name="T48" fmla="*/ 3 w 93"/>
                <a:gd name="T49" fmla="*/ 137 h 139"/>
                <a:gd name="T50" fmla="*/ 5 w 93"/>
                <a:gd name="T51" fmla="*/ 139 h 139"/>
                <a:gd name="T52" fmla="*/ 87 w 93"/>
                <a:gd name="T53" fmla="*/ 139 h 139"/>
                <a:gd name="T54" fmla="*/ 87 w 93"/>
                <a:gd name="T55" fmla="*/ 139 h 139"/>
                <a:gd name="T56" fmla="*/ 90 w 93"/>
                <a:gd name="T57" fmla="*/ 137 h 139"/>
                <a:gd name="T58" fmla="*/ 91 w 93"/>
                <a:gd name="T59" fmla="*/ 137 h 139"/>
                <a:gd name="T60" fmla="*/ 93 w 93"/>
                <a:gd name="T61" fmla="*/ 135 h 139"/>
                <a:gd name="T62" fmla="*/ 93 w 93"/>
                <a:gd name="T63" fmla="*/ 133 h 139"/>
                <a:gd name="T64" fmla="*/ 93 w 93"/>
                <a:gd name="T65" fmla="*/ 81 h 139"/>
                <a:gd name="T66" fmla="*/ 93 w 93"/>
                <a:gd name="T67" fmla="*/ 81 h 139"/>
                <a:gd name="T68" fmla="*/ 93 w 93"/>
                <a:gd name="T69" fmla="*/ 80 h 139"/>
                <a:gd name="T70" fmla="*/ 91 w 93"/>
                <a:gd name="T71" fmla="*/ 78 h 139"/>
                <a:gd name="T72" fmla="*/ 90 w 93"/>
                <a:gd name="T73" fmla="*/ 77 h 139"/>
                <a:gd name="T74" fmla="*/ 87 w 93"/>
                <a:gd name="T75" fmla="*/ 75 h 139"/>
                <a:gd name="T76" fmla="*/ 87 w 93"/>
                <a:gd name="T77" fmla="*/ 7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 h="139">
                  <a:moveTo>
                    <a:pt x="87" y="75"/>
                  </a:moveTo>
                  <a:lnTo>
                    <a:pt x="55" y="75"/>
                  </a:lnTo>
                  <a:lnTo>
                    <a:pt x="55" y="8"/>
                  </a:lnTo>
                  <a:lnTo>
                    <a:pt x="55" y="8"/>
                  </a:lnTo>
                  <a:lnTo>
                    <a:pt x="55" y="6"/>
                  </a:lnTo>
                  <a:lnTo>
                    <a:pt x="52" y="3"/>
                  </a:lnTo>
                  <a:lnTo>
                    <a:pt x="50" y="0"/>
                  </a:lnTo>
                  <a:lnTo>
                    <a:pt x="46" y="0"/>
                  </a:lnTo>
                  <a:lnTo>
                    <a:pt x="46" y="0"/>
                  </a:lnTo>
                  <a:lnTo>
                    <a:pt x="43" y="0"/>
                  </a:lnTo>
                  <a:lnTo>
                    <a:pt x="40" y="3"/>
                  </a:lnTo>
                  <a:lnTo>
                    <a:pt x="38" y="6"/>
                  </a:lnTo>
                  <a:lnTo>
                    <a:pt x="38" y="8"/>
                  </a:lnTo>
                  <a:lnTo>
                    <a:pt x="38" y="75"/>
                  </a:lnTo>
                  <a:lnTo>
                    <a:pt x="5" y="75"/>
                  </a:lnTo>
                  <a:lnTo>
                    <a:pt x="5" y="75"/>
                  </a:lnTo>
                  <a:lnTo>
                    <a:pt x="3" y="77"/>
                  </a:lnTo>
                  <a:lnTo>
                    <a:pt x="1" y="78"/>
                  </a:lnTo>
                  <a:lnTo>
                    <a:pt x="0" y="80"/>
                  </a:lnTo>
                  <a:lnTo>
                    <a:pt x="0" y="81"/>
                  </a:lnTo>
                  <a:lnTo>
                    <a:pt x="0" y="133"/>
                  </a:lnTo>
                  <a:lnTo>
                    <a:pt x="0" y="133"/>
                  </a:lnTo>
                  <a:lnTo>
                    <a:pt x="0" y="135"/>
                  </a:lnTo>
                  <a:lnTo>
                    <a:pt x="1" y="137"/>
                  </a:lnTo>
                  <a:lnTo>
                    <a:pt x="3" y="137"/>
                  </a:lnTo>
                  <a:lnTo>
                    <a:pt x="5" y="139"/>
                  </a:lnTo>
                  <a:lnTo>
                    <a:pt x="87" y="139"/>
                  </a:lnTo>
                  <a:lnTo>
                    <a:pt x="87" y="139"/>
                  </a:lnTo>
                  <a:lnTo>
                    <a:pt x="90" y="137"/>
                  </a:lnTo>
                  <a:lnTo>
                    <a:pt x="91" y="137"/>
                  </a:lnTo>
                  <a:lnTo>
                    <a:pt x="93" y="135"/>
                  </a:lnTo>
                  <a:lnTo>
                    <a:pt x="93" y="133"/>
                  </a:lnTo>
                  <a:lnTo>
                    <a:pt x="93" y="81"/>
                  </a:lnTo>
                  <a:lnTo>
                    <a:pt x="93" y="81"/>
                  </a:lnTo>
                  <a:lnTo>
                    <a:pt x="93" y="80"/>
                  </a:lnTo>
                  <a:lnTo>
                    <a:pt x="91" y="78"/>
                  </a:lnTo>
                  <a:lnTo>
                    <a:pt x="90" y="77"/>
                  </a:lnTo>
                  <a:lnTo>
                    <a:pt x="87" y="75"/>
                  </a:lnTo>
                  <a:lnTo>
                    <a:pt x="87" y="7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59" name="Group 58">
            <a:extLst>
              <a:ext uri="{FF2B5EF4-FFF2-40B4-BE49-F238E27FC236}">
                <a16:creationId xmlns:a16="http://schemas.microsoft.com/office/drawing/2014/main" id="{2191FBE1-1FBE-4D5F-AB78-303F25972839}"/>
              </a:ext>
            </a:extLst>
          </p:cNvPr>
          <p:cNvGrpSpPr>
            <a:grpSpLocks noChangeAspect="1"/>
          </p:cNvGrpSpPr>
          <p:nvPr/>
        </p:nvGrpSpPr>
        <p:grpSpPr>
          <a:xfrm>
            <a:off x="2794603" y="2416906"/>
            <a:ext cx="416776" cy="416776"/>
            <a:chOff x="3200401" y="5856288"/>
            <a:chExt cx="522288" cy="522288"/>
          </a:xfrm>
        </p:grpSpPr>
        <p:sp>
          <p:nvSpPr>
            <p:cNvPr id="60" name="Freeform 52">
              <a:extLst>
                <a:ext uri="{FF2B5EF4-FFF2-40B4-BE49-F238E27FC236}">
                  <a16:creationId xmlns:a16="http://schemas.microsoft.com/office/drawing/2014/main" id="{D4064EEA-D6A7-4050-8AFA-7FCAE772053F}"/>
                </a:ext>
              </a:extLst>
            </p:cNvPr>
            <p:cNvSpPr>
              <a:spLocks noEditPoints="1"/>
            </p:cNvSpPr>
            <p:nvPr/>
          </p:nvSpPr>
          <p:spPr bwMode="auto">
            <a:xfrm>
              <a:off x="3200401" y="5856288"/>
              <a:ext cx="522288" cy="522288"/>
            </a:xfrm>
            <a:custGeom>
              <a:avLst/>
              <a:gdLst>
                <a:gd name="T0" fmla="*/ 312 w 657"/>
                <a:gd name="T1" fmla="*/ 657 h 657"/>
                <a:gd name="T2" fmla="*/ 262 w 657"/>
                <a:gd name="T3" fmla="*/ 651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8 h 657"/>
                <a:gd name="T16" fmla="*/ 2 w 657"/>
                <a:gd name="T17" fmla="*/ 295 h 657"/>
                <a:gd name="T18" fmla="*/ 11 w 657"/>
                <a:gd name="T19" fmla="*/ 246 h 657"/>
                <a:gd name="T20" fmla="*/ 39 w 657"/>
                <a:gd name="T21" fmla="*/ 172 h 657"/>
                <a:gd name="T22" fmla="*/ 97 w 657"/>
                <a:gd name="T23" fmla="*/ 96 h 657"/>
                <a:gd name="T24" fmla="*/ 172 w 657"/>
                <a:gd name="T25" fmla="*/ 39 h 657"/>
                <a:gd name="T26" fmla="*/ 246 w 657"/>
                <a:gd name="T27" fmla="*/ 10 h 657"/>
                <a:gd name="T28" fmla="*/ 296 w 657"/>
                <a:gd name="T29" fmla="*/ 2 h 657"/>
                <a:gd name="T30" fmla="*/ 329 w 657"/>
                <a:gd name="T31" fmla="*/ 0 h 657"/>
                <a:gd name="T32" fmla="*/ 379 w 657"/>
                <a:gd name="T33" fmla="*/ 3 h 657"/>
                <a:gd name="T34" fmla="*/ 426 w 657"/>
                <a:gd name="T35" fmla="*/ 15 h 657"/>
                <a:gd name="T36" fmla="*/ 512 w 657"/>
                <a:gd name="T37" fmla="*/ 55 h 657"/>
                <a:gd name="T38" fmla="*/ 582 w 657"/>
                <a:gd name="T39" fmla="*/ 120 h 657"/>
                <a:gd name="T40" fmla="*/ 632 w 657"/>
                <a:gd name="T41" fmla="*/ 201 h 657"/>
                <a:gd name="T42" fmla="*/ 650 w 657"/>
                <a:gd name="T43" fmla="*/ 262 h 657"/>
                <a:gd name="T44" fmla="*/ 657 w 657"/>
                <a:gd name="T45" fmla="*/ 312 h 657"/>
                <a:gd name="T46" fmla="*/ 657 w 657"/>
                <a:gd name="T47" fmla="*/ 346 h 657"/>
                <a:gd name="T48" fmla="*/ 650 w 657"/>
                <a:gd name="T49" fmla="*/ 395 h 657"/>
                <a:gd name="T50" fmla="*/ 632 w 657"/>
                <a:gd name="T51" fmla="*/ 457 h 657"/>
                <a:gd name="T52" fmla="*/ 582 w 657"/>
                <a:gd name="T53" fmla="*/ 538 h 657"/>
                <a:gd name="T54" fmla="*/ 512 w 657"/>
                <a:gd name="T55" fmla="*/ 601 h 657"/>
                <a:gd name="T56" fmla="*/ 426 w 657"/>
                <a:gd name="T57" fmla="*/ 643 h 657"/>
                <a:gd name="T58" fmla="*/ 379 w 657"/>
                <a:gd name="T59" fmla="*/ 653 h 657"/>
                <a:gd name="T60" fmla="*/ 329 w 657"/>
                <a:gd name="T61" fmla="*/ 657 h 657"/>
                <a:gd name="T62" fmla="*/ 329 w 657"/>
                <a:gd name="T63" fmla="*/ 38 h 657"/>
                <a:gd name="T64" fmla="*/ 242 w 657"/>
                <a:gd name="T65" fmla="*/ 50 h 657"/>
                <a:gd name="T66" fmla="*/ 165 w 657"/>
                <a:gd name="T67" fmla="*/ 88 h 657"/>
                <a:gd name="T68" fmla="*/ 104 w 657"/>
                <a:gd name="T69" fmla="*/ 144 h 657"/>
                <a:gd name="T70" fmla="*/ 61 w 657"/>
                <a:gd name="T71" fmla="*/ 215 h 657"/>
                <a:gd name="T72" fmla="*/ 39 w 657"/>
                <a:gd name="T73" fmla="*/ 299 h 657"/>
                <a:gd name="T74" fmla="*/ 39 w 657"/>
                <a:gd name="T75" fmla="*/ 359 h 657"/>
                <a:gd name="T76" fmla="*/ 61 w 657"/>
                <a:gd name="T77" fmla="*/ 442 h 657"/>
                <a:gd name="T78" fmla="*/ 104 w 657"/>
                <a:gd name="T79" fmla="*/ 514 h 657"/>
                <a:gd name="T80" fmla="*/ 165 w 657"/>
                <a:gd name="T81" fmla="*/ 570 h 657"/>
                <a:gd name="T82" fmla="*/ 242 w 657"/>
                <a:gd name="T83" fmla="*/ 606 h 657"/>
                <a:gd name="T84" fmla="*/ 329 w 657"/>
                <a:gd name="T85" fmla="*/ 620 h 657"/>
                <a:gd name="T86" fmla="*/ 387 w 657"/>
                <a:gd name="T87" fmla="*/ 614 h 657"/>
                <a:gd name="T88" fmla="*/ 468 w 657"/>
                <a:gd name="T89" fmla="*/ 585 h 657"/>
                <a:gd name="T90" fmla="*/ 535 w 657"/>
                <a:gd name="T91" fmla="*/ 535 h 657"/>
                <a:gd name="T92" fmla="*/ 585 w 657"/>
                <a:gd name="T93" fmla="*/ 468 h 657"/>
                <a:gd name="T94" fmla="*/ 614 w 657"/>
                <a:gd name="T95" fmla="*/ 387 h 657"/>
                <a:gd name="T96" fmla="*/ 619 w 657"/>
                <a:gd name="T97" fmla="*/ 328 h 657"/>
                <a:gd name="T98" fmla="*/ 607 w 657"/>
                <a:gd name="T99" fmla="*/ 242 h 657"/>
                <a:gd name="T100" fmla="*/ 570 w 657"/>
                <a:gd name="T101" fmla="*/ 166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6"/>
                  </a:lnTo>
                  <a:lnTo>
                    <a:pt x="278" y="653"/>
                  </a:lnTo>
                  <a:lnTo>
                    <a:pt x="262" y="651"/>
                  </a:lnTo>
                  <a:lnTo>
                    <a:pt x="246" y="647"/>
                  </a:lnTo>
                  <a:lnTo>
                    <a:pt x="231" y="643"/>
                  </a:lnTo>
                  <a:lnTo>
                    <a:pt x="200" y="632"/>
                  </a:lnTo>
                  <a:lnTo>
                    <a:pt x="172" y="618"/>
                  </a:lnTo>
                  <a:lnTo>
                    <a:pt x="145" y="601"/>
                  </a:lnTo>
                  <a:lnTo>
                    <a:pt x="120" y="582"/>
                  </a:lnTo>
                  <a:lnTo>
                    <a:pt x="97" y="561"/>
                  </a:lnTo>
                  <a:lnTo>
                    <a:pt x="75" y="538"/>
                  </a:lnTo>
                  <a:lnTo>
                    <a:pt x="57" y="512"/>
                  </a:lnTo>
                  <a:lnTo>
                    <a:pt x="39" y="485"/>
                  </a:lnTo>
                  <a:lnTo>
                    <a:pt x="26" y="457"/>
                  </a:lnTo>
                  <a:lnTo>
                    <a:pt x="15" y="426"/>
                  </a:lnTo>
                  <a:lnTo>
                    <a:pt x="11" y="410"/>
                  </a:lnTo>
                  <a:lnTo>
                    <a:pt x="7" y="395"/>
                  </a:lnTo>
                  <a:lnTo>
                    <a:pt x="4" y="379"/>
                  </a:lnTo>
                  <a:lnTo>
                    <a:pt x="2" y="362"/>
                  </a:lnTo>
                  <a:lnTo>
                    <a:pt x="0" y="346"/>
                  </a:lnTo>
                  <a:lnTo>
                    <a:pt x="0" y="328"/>
                  </a:lnTo>
                  <a:lnTo>
                    <a:pt x="0" y="328"/>
                  </a:lnTo>
                  <a:lnTo>
                    <a:pt x="0" y="312"/>
                  </a:lnTo>
                  <a:lnTo>
                    <a:pt x="2" y="295"/>
                  </a:lnTo>
                  <a:lnTo>
                    <a:pt x="4" y="278"/>
                  </a:lnTo>
                  <a:lnTo>
                    <a:pt x="7" y="262"/>
                  </a:lnTo>
                  <a:lnTo>
                    <a:pt x="11" y="246"/>
                  </a:lnTo>
                  <a:lnTo>
                    <a:pt x="15" y="231"/>
                  </a:lnTo>
                  <a:lnTo>
                    <a:pt x="26" y="201"/>
                  </a:lnTo>
                  <a:lnTo>
                    <a:pt x="39" y="172"/>
                  </a:lnTo>
                  <a:lnTo>
                    <a:pt x="57" y="145"/>
                  </a:lnTo>
                  <a:lnTo>
                    <a:pt x="75" y="120"/>
                  </a:lnTo>
                  <a:lnTo>
                    <a:pt x="97" y="96"/>
                  </a:lnTo>
                  <a:lnTo>
                    <a:pt x="120" y="76"/>
                  </a:lnTo>
                  <a:lnTo>
                    <a:pt x="145" y="55"/>
                  </a:lnTo>
                  <a:lnTo>
                    <a:pt x="172" y="39"/>
                  </a:lnTo>
                  <a:lnTo>
                    <a:pt x="200" y="26"/>
                  </a:lnTo>
                  <a:lnTo>
                    <a:pt x="231" y="15"/>
                  </a:lnTo>
                  <a:lnTo>
                    <a:pt x="246" y="10"/>
                  </a:lnTo>
                  <a:lnTo>
                    <a:pt x="262" y="7"/>
                  </a:lnTo>
                  <a:lnTo>
                    <a:pt x="278" y="3"/>
                  </a:lnTo>
                  <a:lnTo>
                    <a:pt x="296" y="2"/>
                  </a:lnTo>
                  <a:lnTo>
                    <a:pt x="312" y="0"/>
                  </a:lnTo>
                  <a:lnTo>
                    <a:pt x="329" y="0"/>
                  </a:lnTo>
                  <a:lnTo>
                    <a:pt x="329" y="0"/>
                  </a:lnTo>
                  <a:lnTo>
                    <a:pt x="345" y="0"/>
                  </a:lnTo>
                  <a:lnTo>
                    <a:pt x="363" y="2"/>
                  </a:lnTo>
                  <a:lnTo>
                    <a:pt x="379" y="3"/>
                  </a:lnTo>
                  <a:lnTo>
                    <a:pt x="395" y="7"/>
                  </a:lnTo>
                  <a:lnTo>
                    <a:pt x="411" y="10"/>
                  </a:lnTo>
                  <a:lnTo>
                    <a:pt x="426" y="15"/>
                  </a:lnTo>
                  <a:lnTo>
                    <a:pt x="457" y="26"/>
                  </a:lnTo>
                  <a:lnTo>
                    <a:pt x="485" y="39"/>
                  </a:lnTo>
                  <a:lnTo>
                    <a:pt x="512" y="55"/>
                  </a:lnTo>
                  <a:lnTo>
                    <a:pt x="538" y="76"/>
                  </a:lnTo>
                  <a:lnTo>
                    <a:pt x="562" y="96"/>
                  </a:lnTo>
                  <a:lnTo>
                    <a:pt x="582" y="120"/>
                  </a:lnTo>
                  <a:lnTo>
                    <a:pt x="601" y="145"/>
                  </a:lnTo>
                  <a:lnTo>
                    <a:pt x="618" y="172"/>
                  </a:lnTo>
                  <a:lnTo>
                    <a:pt x="632" y="201"/>
                  </a:lnTo>
                  <a:lnTo>
                    <a:pt x="642" y="231"/>
                  </a:lnTo>
                  <a:lnTo>
                    <a:pt x="648" y="246"/>
                  </a:lnTo>
                  <a:lnTo>
                    <a:pt x="650" y="262"/>
                  </a:lnTo>
                  <a:lnTo>
                    <a:pt x="654" y="278"/>
                  </a:lnTo>
                  <a:lnTo>
                    <a:pt x="656" y="295"/>
                  </a:lnTo>
                  <a:lnTo>
                    <a:pt x="657" y="312"/>
                  </a:lnTo>
                  <a:lnTo>
                    <a:pt x="657" y="328"/>
                  </a:lnTo>
                  <a:lnTo>
                    <a:pt x="657" y="328"/>
                  </a:lnTo>
                  <a:lnTo>
                    <a:pt x="657" y="346"/>
                  </a:lnTo>
                  <a:lnTo>
                    <a:pt x="656" y="362"/>
                  </a:lnTo>
                  <a:lnTo>
                    <a:pt x="654" y="379"/>
                  </a:lnTo>
                  <a:lnTo>
                    <a:pt x="650" y="395"/>
                  </a:lnTo>
                  <a:lnTo>
                    <a:pt x="648" y="410"/>
                  </a:lnTo>
                  <a:lnTo>
                    <a:pt x="642" y="426"/>
                  </a:lnTo>
                  <a:lnTo>
                    <a:pt x="632" y="457"/>
                  </a:lnTo>
                  <a:lnTo>
                    <a:pt x="618" y="485"/>
                  </a:lnTo>
                  <a:lnTo>
                    <a:pt x="601" y="512"/>
                  </a:lnTo>
                  <a:lnTo>
                    <a:pt x="582" y="538"/>
                  </a:lnTo>
                  <a:lnTo>
                    <a:pt x="562" y="561"/>
                  </a:lnTo>
                  <a:lnTo>
                    <a:pt x="538" y="582"/>
                  </a:lnTo>
                  <a:lnTo>
                    <a:pt x="512" y="601"/>
                  </a:lnTo>
                  <a:lnTo>
                    <a:pt x="485" y="618"/>
                  </a:lnTo>
                  <a:lnTo>
                    <a:pt x="457" y="632"/>
                  </a:lnTo>
                  <a:lnTo>
                    <a:pt x="426" y="643"/>
                  </a:lnTo>
                  <a:lnTo>
                    <a:pt x="411" y="647"/>
                  </a:lnTo>
                  <a:lnTo>
                    <a:pt x="395" y="651"/>
                  </a:lnTo>
                  <a:lnTo>
                    <a:pt x="379" y="653"/>
                  </a:lnTo>
                  <a:lnTo>
                    <a:pt x="363" y="656"/>
                  </a:lnTo>
                  <a:lnTo>
                    <a:pt x="345" y="657"/>
                  </a:lnTo>
                  <a:lnTo>
                    <a:pt x="329" y="657"/>
                  </a:lnTo>
                  <a:lnTo>
                    <a:pt x="329" y="657"/>
                  </a:lnTo>
                  <a:close/>
                  <a:moveTo>
                    <a:pt x="329" y="38"/>
                  </a:moveTo>
                  <a:lnTo>
                    <a:pt x="329" y="38"/>
                  </a:lnTo>
                  <a:lnTo>
                    <a:pt x="298" y="39"/>
                  </a:lnTo>
                  <a:lnTo>
                    <a:pt x="270" y="43"/>
                  </a:lnTo>
                  <a:lnTo>
                    <a:pt x="242" y="50"/>
                  </a:lnTo>
                  <a:lnTo>
                    <a:pt x="215" y="61"/>
                  </a:lnTo>
                  <a:lnTo>
                    <a:pt x="190" y="73"/>
                  </a:lnTo>
                  <a:lnTo>
                    <a:pt x="165" y="88"/>
                  </a:lnTo>
                  <a:lnTo>
                    <a:pt x="144" y="104"/>
                  </a:lnTo>
                  <a:lnTo>
                    <a:pt x="122" y="123"/>
                  </a:lnTo>
                  <a:lnTo>
                    <a:pt x="104" y="144"/>
                  </a:lnTo>
                  <a:lnTo>
                    <a:pt x="87" y="166"/>
                  </a:lnTo>
                  <a:lnTo>
                    <a:pt x="73" y="190"/>
                  </a:lnTo>
                  <a:lnTo>
                    <a:pt x="61" y="215"/>
                  </a:lnTo>
                  <a:lnTo>
                    <a:pt x="51" y="242"/>
                  </a:lnTo>
                  <a:lnTo>
                    <a:pt x="43" y="270"/>
                  </a:lnTo>
                  <a:lnTo>
                    <a:pt x="39" y="299"/>
                  </a:lnTo>
                  <a:lnTo>
                    <a:pt x="38" y="328"/>
                  </a:lnTo>
                  <a:lnTo>
                    <a:pt x="38" y="328"/>
                  </a:lnTo>
                  <a:lnTo>
                    <a:pt x="39" y="359"/>
                  </a:lnTo>
                  <a:lnTo>
                    <a:pt x="43" y="387"/>
                  </a:lnTo>
                  <a:lnTo>
                    <a:pt x="51" y="415"/>
                  </a:lnTo>
                  <a:lnTo>
                    <a:pt x="61" y="442"/>
                  </a:lnTo>
                  <a:lnTo>
                    <a:pt x="73" y="468"/>
                  </a:lnTo>
                  <a:lnTo>
                    <a:pt x="87" y="491"/>
                  </a:lnTo>
                  <a:lnTo>
                    <a:pt x="104" y="514"/>
                  </a:lnTo>
                  <a:lnTo>
                    <a:pt x="122" y="535"/>
                  </a:lnTo>
                  <a:lnTo>
                    <a:pt x="144" y="554"/>
                  </a:lnTo>
                  <a:lnTo>
                    <a:pt x="165" y="570"/>
                  </a:lnTo>
                  <a:lnTo>
                    <a:pt x="190" y="585"/>
                  </a:lnTo>
                  <a:lnTo>
                    <a:pt x="215" y="597"/>
                  </a:lnTo>
                  <a:lnTo>
                    <a:pt x="242" y="606"/>
                  </a:lnTo>
                  <a:lnTo>
                    <a:pt x="270" y="614"/>
                  </a:lnTo>
                  <a:lnTo>
                    <a:pt x="298" y="618"/>
                  </a:lnTo>
                  <a:lnTo>
                    <a:pt x="329" y="620"/>
                  </a:lnTo>
                  <a:lnTo>
                    <a:pt x="329" y="620"/>
                  </a:lnTo>
                  <a:lnTo>
                    <a:pt x="359" y="618"/>
                  </a:lnTo>
                  <a:lnTo>
                    <a:pt x="387" y="614"/>
                  </a:lnTo>
                  <a:lnTo>
                    <a:pt x="415" y="606"/>
                  </a:lnTo>
                  <a:lnTo>
                    <a:pt x="442" y="597"/>
                  </a:lnTo>
                  <a:lnTo>
                    <a:pt x="468" y="585"/>
                  </a:lnTo>
                  <a:lnTo>
                    <a:pt x="492" y="570"/>
                  </a:lnTo>
                  <a:lnTo>
                    <a:pt x="513" y="554"/>
                  </a:lnTo>
                  <a:lnTo>
                    <a:pt x="535" y="535"/>
                  </a:lnTo>
                  <a:lnTo>
                    <a:pt x="554" y="514"/>
                  </a:lnTo>
                  <a:lnTo>
                    <a:pt x="570" y="491"/>
                  </a:lnTo>
                  <a:lnTo>
                    <a:pt x="585" y="468"/>
                  </a:lnTo>
                  <a:lnTo>
                    <a:pt x="597" y="442"/>
                  </a:lnTo>
                  <a:lnTo>
                    <a:pt x="607" y="415"/>
                  </a:lnTo>
                  <a:lnTo>
                    <a:pt x="614" y="387"/>
                  </a:lnTo>
                  <a:lnTo>
                    <a:pt x="618" y="359"/>
                  </a:lnTo>
                  <a:lnTo>
                    <a:pt x="619" y="328"/>
                  </a:lnTo>
                  <a:lnTo>
                    <a:pt x="619" y="328"/>
                  </a:lnTo>
                  <a:lnTo>
                    <a:pt x="618" y="299"/>
                  </a:lnTo>
                  <a:lnTo>
                    <a:pt x="614" y="270"/>
                  </a:lnTo>
                  <a:lnTo>
                    <a:pt x="607" y="242"/>
                  </a:lnTo>
                  <a:lnTo>
                    <a:pt x="597" y="215"/>
                  </a:lnTo>
                  <a:lnTo>
                    <a:pt x="585" y="190"/>
                  </a:lnTo>
                  <a:lnTo>
                    <a:pt x="570" y="166"/>
                  </a:lnTo>
                  <a:lnTo>
                    <a:pt x="554" y="144"/>
                  </a:lnTo>
                  <a:lnTo>
                    <a:pt x="535" y="123"/>
                  </a:lnTo>
                  <a:lnTo>
                    <a:pt x="513" y="104"/>
                  </a:lnTo>
                  <a:lnTo>
                    <a:pt x="492" y="88"/>
                  </a:lnTo>
                  <a:lnTo>
                    <a:pt x="468" y="73"/>
                  </a:lnTo>
                  <a:lnTo>
                    <a:pt x="442" y="61"/>
                  </a:lnTo>
                  <a:lnTo>
                    <a:pt x="415" y="50"/>
                  </a:lnTo>
                  <a:lnTo>
                    <a:pt x="387" y="43"/>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1" name="Freeform 207">
              <a:extLst>
                <a:ext uri="{FF2B5EF4-FFF2-40B4-BE49-F238E27FC236}">
                  <a16:creationId xmlns:a16="http://schemas.microsoft.com/office/drawing/2014/main" id="{1C61C3AE-25EE-45E7-8D35-C8309C0B1D39}"/>
                </a:ext>
              </a:extLst>
            </p:cNvPr>
            <p:cNvSpPr>
              <a:spLocks/>
            </p:cNvSpPr>
            <p:nvPr/>
          </p:nvSpPr>
          <p:spPr bwMode="auto">
            <a:xfrm>
              <a:off x="3327401" y="6226175"/>
              <a:ext cx="280988" cy="12700"/>
            </a:xfrm>
            <a:custGeom>
              <a:avLst/>
              <a:gdLst>
                <a:gd name="T0" fmla="*/ 345 w 353"/>
                <a:gd name="T1" fmla="*/ 0 h 16"/>
                <a:gd name="T2" fmla="*/ 8 w 353"/>
                <a:gd name="T3" fmla="*/ 0 h 16"/>
                <a:gd name="T4" fmla="*/ 8 w 353"/>
                <a:gd name="T5" fmla="*/ 0 h 16"/>
                <a:gd name="T6" fmla="*/ 4 w 353"/>
                <a:gd name="T7" fmla="*/ 0 h 16"/>
                <a:gd name="T8" fmla="*/ 1 w 353"/>
                <a:gd name="T9" fmla="*/ 3 h 16"/>
                <a:gd name="T10" fmla="*/ 0 w 353"/>
                <a:gd name="T11" fmla="*/ 6 h 16"/>
                <a:gd name="T12" fmla="*/ 0 w 353"/>
                <a:gd name="T13" fmla="*/ 8 h 16"/>
                <a:gd name="T14" fmla="*/ 0 w 353"/>
                <a:gd name="T15" fmla="*/ 8 h 16"/>
                <a:gd name="T16" fmla="*/ 0 w 353"/>
                <a:gd name="T17" fmla="*/ 11 h 16"/>
                <a:gd name="T18" fmla="*/ 1 w 353"/>
                <a:gd name="T19" fmla="*/ 14 h 16"/>
                <a:gd name="T20" fmla="*/ 4 w 353"/>
                <a:gd name="T21" fmla="*/ 16 h 16"/>
                <a:gd name="T22" fmla="*/ 8 w 353"/>
                <a:gd name="T23" fmla="*/ 16 h 16"/>
                <a:gd name="T24" fmla="*/ 345 w 353"/>
                <a:gd name="T25" fmla="*/ 16 h 16"/>
                <a:gd name="T26" fmla="*/ 345 w 353"/>
                <a:gd name="T27" fmla="*/ 16 h 16"/>
                <a:gd name="T28" fmla="*/ 348 w 353"/>
                <a:gd name="T29" fmla="*/ 16 h 16"/>
                <a:gd name="T30" fmla="*/ 351 w 353"/>
                <a:gd name="T31" fmla="*/ 14 h 16"/>
                <a:gd name="T32" fmla="*/ 352 w 353"/>
                <a:gd name="T33" fmla="*/ 11 h 16"/>
                <a:gd name="T34" fmla="*/ 353 w 353"/>
                <a:gd name="T35" fmla="*/ 8 h 16"/>
                <a:gd name="T36" fmla="*/ 353 w 353"/>
                <a:gd name="T37" fmla="*/ 8 h 16"/>
                <a:gd name="T38" fmla="*/ 352 w 353"/>
                <a:gd name="T39" fmla="*/ 6 h 16"/>
                <a:gd name="T40" fmla="*/ 351 w 353"/>
                <a:gd name="T41" fmla="*/ 3 h 16"/>
                <a:gd name="T42" fmla="*/ 348 w 353"/>
                <a:gd name="T43" fmla="*/ 0 h 16"/>
                <a:gd name="T44" fmla="*/ 345 w 353"/>
                <a:gd name="T45" fmla="*/ 0 h 16"/>
                <a:gd name="T46" fmla="*/ 345 w 353"/>
                <a:gd name="T4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3" h="16">
                  <a:moveTo>
                    <a:pt x="345" y="0"/>
                  </a:moveTo>
                  <a:lnTo>
                    <a:pt x="8" y="0"/>
                  </a:lnTo>
                  <a:lnTo>
                    <a:pt x="8" y="0"/>
                  </a:lnTo>
                  <a:lnTo>
                    <a:pt x="4" y="0"/>
                  </a:lnTo>
                  <a:lnTo>
                    <a:pt x="1" y="3"/>
                  </a:lnTo>
                  <a:lnTo>
                    <a:pt x="0" y="6"/>
                  </a:lnTo>
                  <a:lnTo>
                    <a:pt x="0" y="8"/>
                  </a:lnTo>
                  <a:lnTo>
                    <a:pt x="0" y="8"/>
                  </a:lnTo>
                  <a:lnTo>
                    <a:pt x="0" y="11"/>
                  </a:lnTo>
                  <a:lnTo>
                    <a:pt x="1" y="14"/>
                  </a:lnTo>
                  <a:lnTo>
                    <a:pt x="4" y="16"/>
                  </a:lnTo>
                  <a:lnTo>
                    <a:pt x="8" y="16"/>
                  </a:lnTo>
                  <a:lnTo>
                    <a:pt x="345" y="16"/>
                  </a:lnTo>
                  <a:lnTo>
                    <a:pt x="345" y="16"/>
                  </a:lnTo>
                  <a:lnTo>
                    <a:pt x="348" y="16"/>
                  </a:lnTo>
                  <a:lnTo>
                    <a:pt x="351" y="14"/>
                  </a:lnTo>
                  <a:lnTo>
                    <a:pt x="352" y="11"/>
                  </a:lnTo>
                  <a:lnTo>
                    <a:pt x="353" y="8"/>
                  </a:lnTo>
                  <a:lnTo>
                    <a:pt x="353" y="8"/>
                  </a:lnTo>
                  <a:lnTo>
                    <a:pt x="352" y="6"/>
                  </a:lnTo>
                  <a:lnTo>
                    <a:pt x="351" y="3"/>
                  </a:lnTo>
                  <a:lnTo>
                    <a:pt x="348" y="0"/>
                  </a:lnTo>
                  <a:lnTo>
                    <a:pt x="345" y="0"/>
                  </a:lnTo>
                  <a:lnTo>
                    <a:pt x="34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2" name="Freeform 208">
              <a:extLst>
                <a:ext uri="{FF2B5EF4-FFF2-40B4-BE49-F238E27FC236}">
                  <a16:creationId xmlns:a16="http://schemas.microsoft.com/office/drawing/2014/main" id="{5245963A-073D-42B0-97F9-4BB7A1E33891}"/>
                </a:ext>
              </a:extLst>
            </p:cNvPr>
            <p:cNvSpPr>
              <a:spLocks/>
            </p:cNvSpPr>
            <p:nvPr/>
          </p:nvSpPr>
          <p:spPr bwMode="auto">
            <a:xfrm>
              <a:off x="3338513" y="6067425"/>
              <a:ext cx="61913" cy="125413"/>
            </a:xfrm>
            <a:custGeom>
              <a:avLst/>
              <a:gdLst>
                <a:gd name="T0" fmla="*/ 6 w 80"/>
                <a:gd name="T1" fmla="*/ 158 h 158"/>
                <a:gd name="T2" fmla="*/ 73 w 80"/>
                <a:gd name="T3" fmla="*/ 158 h 158"/>
                <a:gd name="T4" fmla="*/ 73 w 80"/>
                <a:gd name="T5" fmla="*/ 158 h 158"/>
                <a:gd name="T6" fmla="*/ 76 w 80"/>
                <a:gd name="T7" fmla="*/ 156 h 158"/>
                <a:gd name="T8" fmla="*/ 77 w 80"/>
                <a:gd name="T9" fmla="*/ 155 h 158"/>
                <a:gd name="T10" fmla="*/ 78 w 80"/>
                <a:gd name="T11" fmla="*/ 154 h 158"/>
                <a:gd name="T12" fmla="*/ 80 w 80"/>
                <a:gd name="T13" fmla="*/ 152 h 158"/>
                <a:gd name="T14" fmla="*/ 80 w 80"/>
                <a:gd name="T15" fmla="*/ 6 h 158"/>
                <a:gd name="T16" fmla="*/ 80 w 80"/>
                <a:gd name="T17" fmla="*/ 6 h 158"/>
                <a:gd name="T18" fmla="*/ 78 w 80"/>
                <a:gd name="T19" fmla="*/ 3 h 158"/>
                <a:gd name="T20" fmla="*/ 77 w 80"/>
                <a:gd name="T21" fmla="*/ 2 h 158"/>
                <a:gd name="T22" fmla="*/ 76 w 80"/>
                <a:gd name="T23" fmla="*/ 0 h 158"/>
                <a:gd name="T24" fmla="*/ 73 w 80"/>
                <a:gd name="T25" fmla="*/ 0 h 158"/>
                <a:gd name="T26" fmla="*/ 6 w 80"/>
                <a:gd name="T27" fmla="*/ 0 h 158"/>
                <a:gd name="T28" fmla="*/ 6 w 80"/>
                <a:gd name="T29" fmla="*/ 0 h 158"/>
                <a:gd name="T30" fmla="*/ 4 w 80"/>
                <a:gd name="T31" fmla="*/ 0 h 158"/>
                <a:gd name="T32" fmla="*/ 2 w 80"/>
                <a:gd name="T33" fmla="*/ 2 h 158"/>
                <a:gd name="T34" fmla="*/ 0 w 80"/>
                <a:gd name="T35" fmla="*/ 3 h 158"/>
                <a:gd name="T36" fmla="*/ 0 w 80"/>
                <a:gd name="T37" fmla="*/ 6 h 158"/>
                <a:gd name="T38" fmla="*/ 0 w 80"/>
                <a:gd name="T39" fmla="*/ 152 h 158"/>
                <a:gd name="T40" fmla="*/ 0 w 80"/>
                <a:gd name="T41" fmla="*/ 152 h 158"/>
                <a:gd name="T42" fmla="*/ 0 w 80"/>
                <a:gd name="T43" fmla="*/ 154 h 158"/>
                <a:gd name="T44" fmla="*/ 2 w 80"/>
                <a:gd name="T45" fmla="*/ 155 h 158"/>
                <a:gd name="T46" fmla="*/ 4 w 80"/>
                <a:gd name="T47" fmla="*/ 156 h 158"/>
                <a:gd name="T48" fmla="*/ 6 w 80"/>
                <a:gd name="T49" fmla="*/ 158 h 158"/>
                <a:gd name="T50" fmla="*/ 6 w 80"/>
                <a:gd name="T51"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0" h="158">
                  <a:moveTo>
                    <a:pt x="6" y="158"/>
                  </a:moveTo>
                  <a:lnTo>
                    <a:pt x="73" y="158"/>
                  </a:lnTo>
                  <a:lnTo>
                    <a:pt x="73" y="158"/>
                  </a:lnTo>
                  <a:lnTo>
                    <a:pt x="76" y="156"/>
                  </a:lnTo>
                  <a:lnTo>
                    <a:pt x="77" y="155"/>
                  </a:lnTo>
                  <a:lnTo>
                    <a:pt x="78" y="154"/>
                  </a:lnTo>
                  <a:lnTo>
                    <a:pt x="80" y="152"/>
                  </a:lnTo>
                  <a:lnTo>
                    <a:pt x="80" y="6"/>
                  </a:lnTo>
                  <a:lnTo>
                    <a:pt x="80" y="6"/>
                  </a:lnTo>
                  <a:lnTo>
                    <a:pt x="78" y="3"/>
                  </a:lnTo>
                  <a:lnTo>
                    <a:pt x="77" y="2"/>
                  </a:lnTo>
                  <a:lnTo>
                    <a:pt x="76" y="0"/>
                  </a:lnTo>
                  <a:lnTo>
                    <a:pt x="73" y="0"/>
                  </a:lnTo>
                  <a:lnTo>
                    <a:pt x="6" y="0"/>
                  </a:lnTo>
                  <a:lnTo>
                    <a:pt x="6" y="0"/>
                  </a:lnTo>
                  <a:lnTo>
                    <a:pt x="4" y="0"/>
                  </a:lnTo>
                  <a:lnTo>
                    <a:pt x="2" y="2"/>
                  </a:lnTo>
                  <a:lnTo>
                    <a:pt x="0" y="3"/>
                  </a:lnTo>
                  <a:lnTo>
                    <a:pt x="0" y="6"/>
                  </a:lnTo>
                  <a:lnTo>
                    <a:pt x="0" y="152"/>
                  </a:lnTo>
                  <a:lnTo>
                    <a:pt x="0" y="152"/>
                  </a:lnTo>
                  <a:lnTo>
                    <a:pt x="0" y="154"/>
                  </a:lnTo>
                  <a:lnTo>
                    <a:pt x="2" y="155"/>
                  </a:lnTo>
                  <a:lnTo>
                    <a:pt x="4" y="156"/>
                  </a:lnTo>
                  <a:lnTo>
                    <a:pt x="6" y="158"/>
                  </a:lnTo>
                  <a:lnTo>
                    <a:pt x="6" y="1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3" name="Freeform 209">
              <a:extLst>
                <a:ext uri="{FF2B5EF4-FFF2-40B4-BE49-F238E27FC236}">
                  <a16:creationId xmlns:a16="http://schemas.microsoft.com/office/drawing/2014/main" id="{3BC07F27-F051-4E84-A403-AF7F67B2B87F}"/>
                </a:ext>
              </a:extLst>
            </p:cNvPr>
            <p:cNvSpPr>
              <a:spLocks/>
            </p:cNvSpPr>
            <p:nvPr/>
          </p:nvSpPr>
          <p:spPr bwMode="auto">
            <a:xfrm>
              <a:off x="3436938" y="5986463"/>
              <a:ext cx="61913" cy="206375"/>
            </a:xfrm>
            <a:custGeom>
              <a:avLst/>
              <a:gdLst>
                <a:gd name="T0" fmla="*/ 5 w 79"/>
                <a:gd name="T1" fmla="*/ 260 h 260"/>
                <a:gd name="T2" fmla="*/ 73 w 79"/>
                <a:gd name="T3" fmla="*/ 260 h 260"/>
                <a:gd name="T4" fmla="*/ 73 w 79"/>
                <a:gd name="T5" fmla="*/ 260 h 260"/>
                <a:gd name="T6" fmla="*/ 75 w 79"/>
                <a:gd name="T7" fmla="*/ 258 h 260"/>
                <a:gd name="T8" fmla="*/ 77 w 79"/>
                <a:gd name="T9" fmla="*/ 257 h 260"/>
                <a:gd name="T10" fmla="*/ 78 w 79"/>
                <a:gd name="T11" fmla="*/ 256 h 260"/>
                <a:gd name="T12" fmla="*/ 79 w 79"/>
                <a:gd name="T13" fmla="*/ 254 h 260"/>
                <a:gd name="T14" fmla="*/ 79 w 79"/>
                <a:gd name="T15" fmla="*/ 6 h 260"/>
                <a:gd name="T16" fmla="*/ 79 w 79"/>
                <a:gd name="T17" fmla="*/ 6 h 260"/>
                <a:gd name="T18" fmla="*/ 78 w 79"/>
                <a:gd name="T19" fmla="*/ 4 h 260"/>
                <a:gd name="T20" fmla="*/ 77 w 79"/>
                <a:gd name="T21" fmla="*/ 3 h 260"/>
                <a:gd name="T22" fmla="*/ 75 w 79"/>
                <a:gd name="T23" fmla="*/ 2 h 260"/>
                <a:gd name="T24" fmla="*/ 73 w 79"/>
                <a:gd name="T25" fmla="*/ 0 h 260"/>
                <a:gd name="T26" fmla="*/ 5 w 79"/>
                <a:gd name="T27" fmla="*/ 0 h 260"/>
                <a:gd name="T28" fmla="*/ 5 w 79"/>
                <a:gd name="T29" fmla="*/ 0 h 260"/>
                <a:gd name="T30" fmla="*/ 4 w 79"/>
                <a:gd name="T31" fmla="*/ 2 h 260"/>
                <a:gd name="T32" fmla="*/ 1 w 79"/>
                <a:gd name="T33" fmla="*/ 3 h 260"/>
                <a:gd name="T34" fmla="*/ 0 w 79"/>
                <a:gd name="T35" fmla="*/ 4 h 260"/>
                <a:gd name="T36" fmla="*/ 0 w 79"/>
                <a:gd name="T37" fmla="*/ 6 h 260"/>
                <a:gd name="T38" fmla="*/ 0 w 79"/>
                <a:gd name="T39" fmla="*/ 254 h 260"/>
                <a:gd name="T40" fmla="*/ 0 w 79"/>
                <a:gd name="T41" fmla="*/ 254 h 260"/>
                <a:gd name="T42" fmla="*/ 0 w 79"/>
                <a:gd name="T43" fmla="*/ 256 h 260"/>
                <a:gd name="T44" fmla="*/ 1 w 79"/>
                <a:gd name="T45" fmla="*/ 257 h 260"/>
                <a:gd name="T46" fmla="*/ 4 w 79"/>
                <a:gd name="T47" fmla="*/ 258 h 260"/>
                <a:gd name="T48" fmla="*/ 5 w 79"/>
                <a:gd name="T49" fmla="*/ 260 h 260"/>
                <a:gd name="T50" fmla="*/ 5 w 79"/>
                <a:gd name="T51" fmla="*/ 26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260">
                  <a:moveTo>
                    <a:pt x="5" y="260"/>
                  </a:moveTo>
                  <a:lnTo>
                    <a:pt x="73" y="260"/>
                  </a:lnTo>
                  <a:lnTo>
                    <a:pt x="73" y="260"/>
                  </a:lnTo>
                  <a:lnTo>
                    <a:pt x="75" y="258"/>
                  </a:lnTo>
                  <a:lnTo>
                    <a:pt x="77" y="257"/>
                  </a:lnTo>
                  <a:lnTo>
                    <a:pt x="78" y="256"/>
                  </a:lnTo>
                  <a:lnTo>
                    <a:pt x="79" y="254"/>
                  </a:lnTo>
                  <a:lnTo>
                    <a:pt x="79" y="6"/>
                  </a:lnTo>
                  <a:lnTo>
                    <a:pt x="79" y="6"/>
                  </a:lnTo>
                  <a:lnTo>
                    <a:pt x="78" y="4"/>
                  </a:lnTo>
                  <a:lnTo>
                    <a:pt x="77" y="3"/>
                  </a:lnTo>
                  <a:lnTo>
                    <a:pt x="75" y="2"/>
                  </a:lnTo>
                  <a:lnTo>
                    <a:pt x="73" y="0"/>
                  </a:lnTo>
                  <a:lnTo>
                    <a:pt x="5" y="0"/>
                  </a:lnTo>
                  <a:lnTo>
                    <a:pt x="5" y="0"/>
                  </a:lnTo>
                  <a:lnTo>
                    <a:pt x="4" y="2"/>
                  </a:lnTo>
                  <a:lnTo>
                    <a:pt x="1" y="3"/>
                  </a:lnTo>
                  <a:lnTo>
                    <a:pt x="0" y="4"/>
                  </a:lnTo>
                  <a:lnTo>
                    <a:pt x="0" y="6"/>
                  </a:lnTo>
                  <a:lnTo>
                    <a:pt x="0" y="254"/>
                  </a:lnTo>
                  <a:lnTo>
                    <a:pt x="0" y="254"/>
                  </a:lnTo>
                  <a:lnTo>
                    <a:pt x="0" y="256"/>
                  </a:lnTo>
                  <a:lnTo>
                    <a:pt x="1" y="257"/>
                  </a:lnTo>
                  <a:lnTo>
                    <a:pt x="4" y="258"/>
                  </a:lnTo>
                  <a:lnTo>
                    <a:pt x="5" y="260"/>
                  </a:lnTo>
                  <a:lnTo>
                    <a:pt x="5" y="26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4" name="Freeform 210">
              <a:extLst>
                <a:ext uri="{FF2B5EF4-FFF2-40B4-BE49-F238E27FC236}">
                  <a16:creationId xmlns:a16="http://schemas.microsoft.com/office/drawing/2014/main" id="{51BB92D3-10BF-4CD6-BAD0-2D75EC7CDB74}"/>
                </a:ext>
              </a:extLst>
            </p:cNvPr>
            <p:cNvSpPr>
              <a:spLocks/>
            </p:cNvSpPr>
            <p:nvPr/>
          </p:nvSpPr>
          <p:spPr bwMode="auto">
            <a:xfrm>
              <a:off x="3533776" y="6111875"/>
              <a:ext cx="63500" cy="80963"/>
            </a:xfrm>
            <a:custGeom>
              <a:avLst/>
              <a:gdLst>
                <a:gd name="T0" fmla="*/ 5 w 79"/>
                <a:gd name="T1" fmla="*/ 103 h 103"/>
                <a:gd name="T2" fmla="*/ 72 w 79"/>
                <a:gd name="T3" fmla="*/ 103 h 103"/>
                <a:gd name="T4" fmla="*/ 72 w 79"/>
                <a:gd name="T5" fmla="*/ 103 h 103"/>
                <a:gd name="T6" fmla="*/ 75 w 79"/>
                <a:gd name="T7" fmla="*/ 101 h 103"/>
                <a:gd name="T8" fmla="*/ 76 w 79"/>
                <a:gd name="T9" fmla="*/ 100 h 103"/>
                <a:gd name="T10" fmla="*/ 78 w 79"/>
                <a:gd name="T11" fmla="*/ 99 h 103"/>
                <a:gd name="T12" fmla="*/ 79 w 79"/>
                <a:gd name="T13" fmla="*/ 97 h 103"/>
                <a:gd name="T14" fmla="*/ 79 w 79"/>
                <a:gd name="T15" fmla="*/ 7 h 103"/>
                <a:gd name="T16" fmla="*/ 79 w 79"/>
                <a:gd name="T17" fmla="*/ 7 h 103"/>
                <a:gd name="T18" fmla="*/ 78 w 79"/>
                <a:gd name="T19" fmla="*/ 4 h 103"/>
                <a:gd name="T20" fmla="*/ 76 w 79"/>
                <a:gd name="T21" fmla="*/ 3 h 103"/>
                <a:gd name="T22" fmla="*/ 75 w 79"/>
                <a:gd name="T23" fmla="*/ 2 h 103"/>
                <a:gd name="T24" fmla="*/ 72 w 79"/>
                <a:gd name="T25" fmla="*/ 0 h 103"/>
                <a:gd name="T26" fmla="*/ 5 w 79"/>
                <a:gd name="T27" fmla="*/ 0 h 103"/>
                <a:gd name="T28" fmla="*/ 5 w 79"/>
                <a:gd name="T29" fmla="*/ 0 h 103"/>
                <a:gd name="T30" fmla="*/ 4 w 79"/>
                <a:gd name="T31" fmla="*/ 2 h 103"/>
                <a:gd name="T32" fmla="*/ 1 w 79"/>
                <a:gd name="T33" fmla="*/ 3 h 103"/>
                <a:gd name="T34" fmla="*/ 0 w 79"/>
                <a:gd name="T35" fmla="*/ 4 h 103"/>
                <a:gd name="T36" fmla="*/ 0 w 79"/>
                <a:gd name="T37" fmla="*/ 7 h 103"/>
                <a:gd name="T38" fmla="*/ 0 w 79"/>
                <a:gd name="T39" fmla="*/ 97 h 103"/>
                <a:gd name="T40" fmla="*/ 0 w 79"/>
                <a:gd name="T41" fmla="*/ 97 h 103"/>
                <a:gd name="T42" fmla="*/ 0 w 79"/>
                <a:gd name="T43" fmla="*/ 99 h 103"/>
                <a:gd name="T44" fmla="*/ 1 w 79"/>
                <a:gd name="T45" fmla="*/ 100 h 103"/>
                <a:gd name="T46" fmla="*/ 4 w 79"/>
                <a:gd name="T47" fmla="*/ 101 h 103"/>
                <a:gd name="T48" fmla="*/ 5 w 79"/>
                <a:gd name="T49" fmla="*/ 103 h 103"/>
                <a:gd name="T50" fmla="*/ 5 w 79"/>
                <a:gd name="T51"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103">
                  <a:moveTo>
                    <a:pt x="5" y="103"/>
                  </a:moveTo>
                  <a:lnTo>
                    <a:pt x="72" y="103"/>
                  </a:lnTo>
                  <a:lnTo>
                    <a:pt x="72" y="103"/>
                  </a:lnTo>
                  <a:lnTo>
                    <a:pt x="75" y="101"/>
                  </a:lnTo>
                  <a:lnTo>
                    <a:pt x="76" y="100"/>
                  </a:lnTo>
                  <a:lnTo>
                    <a:pt x="78" y="99"/>
                  </a:lnTo>
                  <a:lnTo>
                    <a:pt x="79" y="97"/>
                  </a:lnTo>
                  <a:lnTo>
                    <a:pt x="79" y="7"/>
                  </a:lnTo>
                  <a:lnTo>
                    <a:pt x="79" y="7"/>
                  </a:lnTo>
                  <a:lnTo>
                    <a:pt x="78" y="4"/>
                  </a:lnTo>
                  <a:lnTo>
                    <a:pt x="76" y="3"/>
                  </a:lnTo>
                  <a:lnTo>
                    <a:pt x="75" y="2"/>
                  </a:lnTo>
                  <a:lnTo>
                    <a:pt x="72" y="0"/>
                  </a:lnTo>
                  <a:lnTo>
                    <a:pt x="5" y="0"/>
                  </a:lnTo>
                  <a:lnTo>
                    <a:pt x="5" y="0"/>
                  </a:lnTo>
                  <a:lnTo>
                    <a:pt x="4" y="2"/>
                  </a:lnTo>
                  <a:lnTo>
                    <a:pt x="1" y="3"/>
                  </a:lnTo>
                  <a:lnTo>
                    <a:pt x="0" y="4"/>
                  </a:lnTo>
                  <a:lnTo>
                    <a:pt x="0" y="7"/>
                  </a:lnTo>
                  <a:lnTo>
                    <a:pt x="0" y="97"/>
                  </a:lnTo>
                  <a:lnTo>
                    <a:pt x="0" y="97"/>
                  </a:lnTo>
                  <a:lnTo>
                    <a:pt x="0" y="99"/>
                  </a:lnTo>
                  <a:lnTo>
                    <a:pt x="1" y="100"/>
                  </a:lnTo>
                  <a:lnTo>
                    <a:pt x="4" y="101"/>
                  </a:lnTo>
                  <a:lnTo>
                    <a:pt x="5" y="103"/>
                  </a:lnTo>
                  <a:lnTo>
                    <a:pt x="5" y="10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65" name="Group 64">
            <a:extLst>
              <a:ext uri="{FF2B5EF4-FFF2-40B4-BE49-F238E27FC236}">
                <a16:creationId xmlns:a16="http://schemas.microsoft.com/office/drawing/2014/main" id="{531D49B3-C3A8-4F38-89C3-C9814AE44348}"/>
              </a:ext>
            </a:extLst>
          </p:cNvPr>
          <p:cNvGrpSpPr/>
          <p:nvPr/>
        </p:nvGrpSpPr>
        <p:grpSpPr>
          <a:xfrm>
            <a:off x="4771725" y="2416906"/>
            <a:ext cx="416776" cy="416776"/>
            <a:chOff x="8965178" y="2378440"/>
            <a:chExt cx="522288" cy="522288"/>
          </a:xfrm>
        </p:grpSpPr>
        <p:sp>
          <p:nvSpPr>
            <p:cNvPr id="66" name="Freeform 52">
              <a:extLst>
                <a:ext uri="{FF2B5EF4-FFF2-40B4-BE49-F238E27FC236}">
                  <a16:creationId xmlns:a16="http://schemas.microsoft.com/office/drawing/2014/main" id="{CDC177AA-A5B4-4331-854E-1EAEBCFD78F3}"/>
                </a:ext>
              </a:extLst>
            </p:cNvPr>
            <p:cNvSpPr>
              <a:spLocks noEditPoints="1"/>
            </p:cNvSpPr>
            <p:nvPr/>
          </p:nvSpPr>
          <p:spPr bwMode="auto">
            <a:xfrm>
              <a:off x="8965178" y="2378440"/>
              <a:ext cx="522288" cy="522288"/>
            </a:xfrm>
            <a:custGeom>
              <a:avLst/>
              <a:gdLst>
                <a:gd name="T0" fmla="*/ 312 w 657"/>
                <a:gd name="T1" fmla="*/ 657 h 657"/>
                <a:gd name="T2" fmla="*/ 262 w 657"/>
                <a:gd name="T3" fmla="*/ 651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8 h 657"/>
                <a:gd name="T16" fmla="*/ 2 w 657"/>
                <a:gd name="T17" fmla="*/ 295 h 657"/>
                <a:gd name="T18" fmla="*/ 11 w 657"/>
                <a:gd name="T19" fmla="*/ 246 h 657"/>
                <a:gd name="T20" fmla="*/ 39 w 657"/>
                <a:gd name="T21" fmla="*/ 172 h 657"/>
                <a:gd name="T22" fmla="*/ 97 w 657"/>
                <a:gd name="T23" fmla="*/ 96 h 657"/>
                <a:gd name="T24" fmla="*/ 172 w 657"/>
                <a:gd name="T25" fmla="*/ 39 h 657"/>
                <a:gd name="T26" fmla="*/ 246 w 657"/>
                <a:gd name="T27" fmla="*/ 10 h 657"/>
                <a:gd name="T28" fmla="*/ 296 w 657"/>
                <a:gd name="T29" fmla="*/ 2 h 657"/>
                <a:gd name="T30" fmla="*/ 329 w 657"/>
                <a:gd name="T31" fmla="*/ 0 h 657"/>
                <a:gd name="T32" fmla="*/ 379 w 657"/>
                <a:gd name="T33" fmla="*/ 3 h 657"/>
                <a:gd name="T34" fmla="*/ 426 w 657"/>
                <a:gd name="T35" fmla="*/ 15 h 657"/>
                <a:gd name="T36" fmla="*/ 512 w 657"/>
                <a:gd name="T37" fmla="*/ 55 h 657"/>
                <a:gd name="T38" fmla="*/ 582 w 657"/>
                <a:gd name="T39" fmla="*/ 120 h 657"/>
                <a:gd name="T40" fmla="*/ 632 w 657"/>
                <a:gd name="T41" fmla="*/ 201 h 657"/>
                <a:gd name="T42" fmla="*/ 650 w 657"/>
                <a:gd name="T43" fmla="*/ 262 h 657"/>
                <a:gd name="T44" fmla="*/ 657 w 657"/>
                <a:gd name="T45" fmla="*/ 312 h 657"/>
                <a:gd name="T46" fmla="*/ 657 w 657"/>
                <a:gd name="T47" fmla="*/ 346 h 657"/>
                <a:gd name="T48" fmla="*/ 650 w 657"/>
                <a:gd name="T49" fmla="*/ 395 h 657"/>
                <a:gd name="T50" fmla="*/ 632 w 657"/>
                <a:gd name="T51" fmla="*/ 457 h 657"/>
                <a:gd name="T52" fmla="*/ 582 w 657"/>
                <a:gd name="T53" fmla="*/ 538 h 657"/>
                <a:gd name="T54" fmla="*/ 512 w 657"/>
                <a:gd name="T55" fmla="*/ 601 h 657"/>
                <a:gd name="T56" fmla="*/ 426 w 657"/>
                <a:gd name="T57" fmla="*/ 643 h 657"/>
                <a:gd name="T58" fmla="*/ 379 w 657"/>
                <a:gd name="T59" fmla="*/ 653 h 657"/>
                <a:gd name="T60" fmla="*/ 329 w 657"/>
                <a:gd name="T61" fmla="*/ 657 h 657"/>
                <a:gd name="T62" fmla="*/ 329 w 657"/>
                <a:gd name="T63" fmla="*/ 38 h 657"/>
                <a:gd name="T64" fmla="*/ 242 w 657"/>
                <a:gd name="T65" fmla="*/ 50 h 657"/>
                <a:gd name="T66" fmla="*/ 165 w 657"/>
                <a:gd name="T67" fmla="*/ 88 h 657"/>
                <a:gd name="T68" fmla="*/ 104 w 657"/>
                <a:gd name="T69" fmla="*/ 144 h 657"/>
                <a:gd name="T70" fmla="*/ 61 w 657"/>
                <a:gd name="T71" fmla="*/ 215 h 657"/>
                <a:gd name="T72" fmla="*/ 39 w 657"/>
                <a:gd name="T73" fmla="*/ 299 h 657"/>
                <a:gd name="T74" fmla="*/ 39 w 657"/>
                <a:gd name="T75" fmla="*/ 359 h 657"/>
                <a:gd name="T76" fmla="*/ 61 w 657"/>
                <a:gd name="T77" fmla="*/ 442 h 657"/>
                <a:gd name="T78" fmla="*/ 104 w 657"/>
                <a:gd name="T79" fmla="*/ 514 h 657"/>
                <a:gd name="T80" fmla="*/ 165 w 657"/>
                <a:gd name="T81" fmla="*/ 570 h 657"/>
                <a:gd name="T82" fmla="*/ 242 w 657"/>
                <a:gd name="T83" fmla="*/ 606 h 657"/>
                <a:gd name="T84" fmla="*/ 329 w 657"/>
                <a:gd name="T85" fmla="*/ 620 h 657"/>
                <a:gd name="T86" fmla="*/ 387 w 657"/>
                <a:gd name="T87" fmla="*/ 614 h 657"/>
                <a:gd name="T88" fmla="*/ 468 w 657"/>
                <a:gd name="T89" fmla="*/ 585 h 657"/>
                <a:gd name="T90" fmla="*/ 535 w 657"/>
                <a:gd name="T91" fmla="*/ 535 h 657"/>
                <a:gd name="T92" fmla="*/ 585 w 657"/>
                <a:gd name="T93" fmla="*/ 468 h 657"/>
                <a:gd name="T94" fmla="*/ 614 w 657"/>
                <a:gd name="T95" fmla="*/ 387 h 657"/>
                <a:gd name="T96" fmla="*/ 619 w 657"/>
                <a:gd name="T97" fmla="*/ 328 h 657"/>
                <a:gd name="T98" fmla="*/ 607 w 657"/>
                <a:gd name="T99" fmla="*/ 242 h 657"/>
                <a:gd name="T100" fmla="*/ 570 w 657"/>
                <a:gd name="T101" fmla="*/ 166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6"/>
                  </a:lnTo>
                  <a:lnTo>
                    <a:pt x="278" y="653"/>
                  </a:lnTo>
                  <a:lnTo>
                    <a:pt x="262" y="651"/>
                  </a:lnTo>
                  <a:lnTo>
                    <a:pt x="246" y="647"/>
                  </a:lnTo>
                  <a:lnTo>
                    <a:pt x="231" y="643"/>
                  </a:lnTo>
                  <a:lnTo>
                    <a:pt x="200" y="632"/>
                  </a:lnTo>
                  <a:lnTo>
                    <a:pt x="172" y="618"/>
                  </a:lnTo>
                  <a:lnTo>
                    <a:pt x="145" y="601"/>
                  </a:lnTo>
                  <a:lnTo>
                    <a:pt x="120" y="582"/>
                  </a:lnTo>
                  <a:lnTo>
                    <a:pt x="97" y="561"/>
                  </a:lnTo>
                  <a:lnTo>
                    <a:pt x="75" y="538"/>
                  </a:lnTo>
                  <a:lnTo>
                    <a:pt x="57" y="512"/>
                  </a:lnTo>
                  <a:lnTo>
                    <a:pt x="39" y="485"/>
                  </a:lnTo>
                  <a:lnTo>
                    <a:pt x="26" y="457"/>
                  </a:lnTo>
                  <a:lnTo>
                    <a:pt x="15" y="426"/>
                  </a:lnTo>
                  <a:lnTo>
                    <a:pt x="11" y="410"/>
                  </a:lnTo>
                  <a:lnTo>
                    <a:pt x="7" y="395"/>
                  </a:lnTo>
                  <a:lnTo>
                    <a:pt x="4" y="379"/>
                  </a:lnTo>
                  <a:lnTo>
                    <a:pt x="2" y="362"/>
                  </a:lnTo>
                  <a:lnTo>
                    <a:pt x="0" y="346"/>
                  </a:lnTo>
                  <a:lnTo>
                    <a:pt x="0" y="328"/>
                  </a:lnTo>
                  <a:lnTo>
                    <a:pt x="0" y="328"/>
                  </a:lnTo>
                  <a:lnTo>
                    <a:pt x="0" y="312"/>
                  </a:lnTo>
                  <a:lnTo>
                    <a:pt x="2" y="295"/>
                  </a:lnTo>
                  <a:lnTo>
                    <a:pt x="4" y="278"/>
                  </a:lnTo>
                  <a:lnTo>
                    <a:pt x="7" y="262"/>
                  </a:lnTo>
                  <a:lnTo>
                    <a:pt x="11" y="246"/>
                  </a:lnTo>
                  <a:lnTo>
                    <a:pt x="15" y="231"/>
                  </a:lnTo>
                  <a:lnTo>
                    <a:pt x="26" y="201"/>
                  </a:lnTo>
                  <a:lnTo>
                    <a:pt x="39" y="172"/>
                  </a:lnTo>
                  <a:lnTo>
                    <a:pt x="57" y="145"/>
                  </a:lnTo>
                  <a:lnTo>
                    <a:pt x="75" y="120"/>
                  </a:lnTo>
                  <a:lnTo>
                    <a:pt x="97" y="96"/>
                  </a:lnTo>
                  <a:lnTo>
                    <a:pt x="120" y="76"/>
                  </a:lnTo>
                  <a:lnTo>
                    <a:pt x="145" y="55"/>
                  </a:lnTo>
                  <a:lnTo>
                    <a:pt x="172" y="39"/>
                  </a:lnTo>
                  <a:lnTo>
                    <a:pt x="200" y="26"/>
                  </a:lnTo>
                  <a:lnTo>
                    <a:pt x="231" y="15"/>
                  </a:lnTo>
                  <a:lnTo>
                    <a:pt x="246" y="10"/>
                  </a:lnTo>
                  <a:lnTo>
                    <a:pt x="262" y="7"/>
                  </a:lnTo>
                  <a:lnTo>
                    <a:pt x="278" y="3"/>
                  </a:lnTo>
                  <a:lnTo>
                    <a:pt x="296" y="2"/>
                  </a:lnTo>
                  <a:lnTo>
                    <a:pt x="312" y="0"/>
                  </a:lnTo>
                  <a:lnTo>
                    <a:pt x="329" y="0"/>
                  </a:lnTo>
                  <a:lnTo>
                    <a:pt x="329" y="0"/>
                  </a:lnTo>
                  <a:lnTo>
                    <a:pt x="345" y="0"/>
                  </a:lnTo>
                  <a:lnTo>
                    <a:pt x="363" y="2"/>
                  </a:lnTo>
                  <a:lnTo>
                    <a:pt x="379" y="3"/>
                  </a:lnTo>
                  <a:lnTo>
                    <a:pt x="395" y="7"/>
                  </a:lnTo>
                  <a:lnTo>
                    <a:pt x="411" y="10"/>
                  </a:lnTo>
                  <a:lnTo>
                    <a:pt x="426" y="15"/>
                  </a:lnTo>
                  <a:lnTo>
                    <a:pt x="457" y="26"/>
                  </a:lnTo>
                  <a:lnTo>
                    <a:pt x="485" y="39"/>
                  </a:lnTo>
                  <a:lnTo>
                    <a:pt x="512" y="55"/>
                  </a:lnTo>
                  <a:lnTo>
                    <a:pt x="538" y="76"/>
                  </a:lnTo>
                  <a:lnTo>
                    <a:pt x="562" y="96"/>
                  </a:lnTo>
                  <a:lnTo>
                    <a:pt x="582" y="120"/>
                  </a:lnTo>
                  <a:lnTo>
                    <a:pt x="601" y="145"/>
                  </a:lnTo>
                  <a:lnTo>
                    <a:pt x="618" y="172"/>
                  </a:lnTo>
                  <a:lnTo>
                    <a:pt x="632" y="201"/>
                  </a:lnTo>
                  <a:lnTo>
                    <a:pt x="642" y="231"/>
                  </a:lnTo>
                  <a:lnTo>
                    <a:pt x="648" y="246"/>
                  </a:lnTo>
                  <a:lnTo>
                    <a:pt x="650" y="262"/>
                  </a:lnTo>
                  <a:lnTo>
                    <a:pt x="654" y="278"/>
                  </a:lnTo>
                  <a:lnTo>
                    <a:pt x="656" y="295"/>
                  </a:lnTo>
                  <a:lnTo>
                    <a:pt x="657" y="312"/>
                  </a:lnTo>
                  <a:lnTo>
                    <a:pt x="657" y="328"/>
                  </a:lnTo>
                  <a:lnTo>
                    <a:pt x="657" y="328"/>
                  </a:lnTo>
                  <a:lnTo>
                    <a:pt x="657" y="346"/>
                  </a:lnTo>
                  <a:lnTo>
                    <a:pt x="656" y="362"/>
                  </a:lnTo>
                  <a:lnTo>
                    <a:pt x="654" y="379"/>
                  </a:lnTo>
                  <a:lnTo>
                    <a:pt x="650" y="395"/>
                  </a:lnTo>
                  <a:lnTo>
                    <a:pt x="648" y="410"/>
                  </a:lnTo>
                  <a:lnTo>
                    <a:pt x="642" y="426"/>
                  </a:lnTo>
                  <a:lnTo>
                    <a:pt x="632" y="457"/>
                  </a:lnTo>
                  <a:lnTo>
                    <a:pt x="618" y="485"/>
                  </a:lnTo>
                  <a:lnTo>
                    <a:pt x="601" y="512"/>
                  </a:lnTo>
                  <a:lnTo>
                    <a:pt x="582" y="538"/>
                  </a:lnTo>
                  <a:lnTo>
                    <a:pt x="562" y="561"/>
                  </a:lnTo>
                  <a:lnTo>
                    <a:pt x="538" y="582"/>
                  </a:lnTo>
                  <a:lnTo>
                    <a:pt x="512" y="601"/>
                  </a:lnTo>
                  <a:lnTo>
                    <a:pt x="485" y="618"/>
                  </a:lnTo>
                  <a:lnTo>
                    <a:pt x="457" y="632"/>
                  </a:lnTo>
                  <a:lnTo>
                    <a:pt x="426" y="643"/>
                  </a:lnTo>
                  <a:lnTo>
                    <a:pt x="411" y="647"/>
                  </a:lnTo>
                  <a:lnTo>
                    <a:pt x="395" y="651"/>
                  </a:lnTo>
                  <a:lnTo>
                    <a:pt x="379" y="653"/>
                  </a:lnTo>
                  <a:lnTo>
                    <a:pt x="363" y="656"/>
                  </a:lnTo>
                  <a:lnTo>
                    <a:pt x="345" y="657"/>
                  </a:lnTo>
                  <a:lnTo>
                    <a:pt x="329" y="657"/>
                  </a:lnTo>
                  <a:lnTo>
                    <a:pt x="329" y="657"/>
                  </a:lnTo>
                  <a:close/>
                  <a:moveTo>
                    <a:pt x="329" y="38"/>
                  </a:moveTo>
                  <a:lnTo>
                    <a:pt x="329" y="38"/>
                  </a:lnTo>
                  <a:lnTo>
                    <a:pt x="298" y="39"/>
                  </a:lnTo>
                  <a:lnTo>
                    <a:pt x="270" y="43"/>
                  </a:lnTo>
                  <a:lnTo>
                    <a:pt x="242" y="50"/>
                  </a:lnTo>
                  <a:lnTo>
                    <a:pt x="215" y="61"/>
                  </a:lnTo>
                  <a:lnTo>
                    <a:pt x="190" y="73"/>
                  </a:lnTo>
                  <a:lnTo>
                    <a:pt x="165" y="88"/>
                  </a:lnTo>
                  <a:lnTo>
                    <a:pt x="144" y="104"/>
                  </a:lnTo>
                  <a:lnTo>
                    <a:pt x="122" y="123"/>
                  </a:lnTo>
                  <a:lnTo>
                    <a:pt x="104" y="144"/>
                  </a:lnTo>
                  <a:lnTo>
                    <a:pt x="87" y="166"/>
                  </a:lnTo>
                  <a:lnTo>
                    <a:pt x="73" y="190"/>
                  </a:lnTo>
                  <a:lnTo>
                    <a:pt x="61" y="215"/>
                  </a:lnTo>
                  <a:lnTo>
                    <a:pt x="51" y="242"/>
                  </a:lnTo>
                  <a:lnTo>
                    <a:pt x="43" y="270"/>
                  </a:lnTo>
                  <a:lnTo>
                    <a:pt x="39" y="299"/>
                  </a:lnTo>
                  <a:lnTo>
                    <a:pt x="38" y="328"/>
                  </a:lnTo>
                  <a:lnTo>
                    <a:pt x="38" y="328"/>
                  </a:lnTo>
                  <a:lnTo>
                    <a:pt x="39" y="359"/>
                  </a:lnTo>
                  <a:lnTo>
                    <a:pt x="43" y="387"/>
                  </a:lnTo>
                  <a:lnTo>
                    <a:pt x="51" y="415"/>
                  </a:lnTo>
                  <a:lnTo>
                    <a:pt x="61" y="442"/>
                  </a:lnTo>
                  <a:lnTo>
                    <a:pt x="73" y="468"/>
                  </a:lnTo>
                  <a:lnTo>
                    <a:pt x="87" y="491"/>
                  </a:lnTo>
                  <a:lnTo>
                    <a:pt x="104" y="514"/>
                  </a:lnTo>
                  <a:lnTo>
                    <a:pt x="122" y="535"/>
                  </a:lnTo>
                  <a:lnTo>
                    <a:pt x="144" y="554"/>
                  </a:lnTo>
                  <a:lnTo>
                    <a:pt x="165" y="570"/>
                  </a:lnTo>
                  <a:lnTo>
                    <a:pt x="190" y="585"/>
                  </a:lnTo>
                  <a:lnTo>
                    <a:pt x="215" y="597"/>
                  </a:lnTo>
                  <a:lnTo>
                    <a:pt x="242" y="606"/>
                  </a:lnTo>
                  <a:lnTo>
                    <a:pt x="270" y="614"/>
                  </a:lnTo>
                  <a:lnTo>
                    <a:pt x="298" y="618"/>
                  </a:lnTo>
                  <a:lnTo>
                    <a:pt x="329" y="620"/>
                  </a:lnTo>
                  <a:lnTo>
                    <a:pt x="329" y="620"/>
                  </a:lnTo>
                  <a:lnTo>
                    <a:pt x="359" y="618"/>
                  </a:lnTo>
                  <a:lnTo>
                    <a:pt x="387" y="614"/>
                  </a:lnTo>
                  <a:lnTo>
                    <a:pt x="415" y="606"/>
                  </a:lnTo>
                  <a:lnTo>
                    <a:pt x="442" y="597"/>
                  </a:lnTo>
                  <a:lnTo>
                    <a:pt x="468" y="585"/>
                  </a:lnTo>
                  <a:lnTo>
                    <a:pt x="492" y="570"/>
                  </a:lnTo>
                  <a:lnTo>
                    <a:pt x="513" y="554"/>
                  </a:lnTo>
                  <a:lnTo>
                    <a:pt x="535" y="535"/>
                  </a:lnTo>
                  <a:lnTo>
                    <a:pt x="554" y="514"/>
                  </a:lnTo>
                  <a:lnTo>
                    <a:pt x="570" y="491"/>
                  </a:lnTo>
                  <a:lnTo>
                    <a:pt x="585" y="468"/>
                  </a:lnTo>
                  <a:lnTo>
                    <a:pt x="597" y="442"/>
                  </a:lnTo>
                  <a:lnTo>
                    <a:pt x="607" y="415"/>
                  </a:lnTo>
                  <a:lnTo>
                    <a:pt x="614" y="387"/>
                  </a:lnTo>
                  <a:lnTo>
                    <a:pt x="618" y="359"/>
                  </a:lnTo>
                  <a:lnTo>
                    <a:pt x="619" y="328"/>
                  </a:lnTo>
                  <a:lnTo>
                    <a:pt x="619" y="328"/>
                  </a:lnTo>
                  <a:lnTo>
                    <a:pt x="618" y="299"/>
                  </a:lnTo>
                  <a:lnTo>
                    <a:pt x="614" y="270"/>
                  </a:lnTo>
                  <a:lnTo>
                    <a:pt x="607" y="242"/>
                  </a:lnTo>
                  <a:lnTo>
                    <a:pt x="597" y="215"/>
                  </a:lnTo>
                  <a:lnTo>
                    <a:pt x="585" y="190"/>
                  </a:lnTo>
                  <a:lnTo>
                    <a:pt x="570" y="166"/>
                  </a:lnTo>
                  <a:lnTo>
                    <a:pt x="554" y="144"/>
                  </a:lnTo>
                  <a:lnTo>
                    <a:pt x="535" y="123"/>
                  </a:lnTo>
                  <a:lnTo>
                    <a:pt x="513" y="104"/>
                  </a:lnTo>
                  <a:lnTo>
                    <a:pt x="492" y="88"/>
                  </a:lnTo>
                  <a:lnTo>
                    <a:pt x="468" y="73"/>
                  </a:lnTo>
                  <a:lnTo>
                    <a:pt x="442" y="61"/>
                  </a:lnTo>
                  <a:lnTo>
                    <a:pt x="415" y="50"/>
                  </a:lnTo>
                  <a:lnTo>
                    <a:pt x="387" y="43"/>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7" name="Freeform 122">
              <a:extLst>
                <a:ext uri="{FF2B5EF4-FFF2-40B4-BE49-F238E27FC236}">
                  <a16:creationId xmlns:a16="http://schemas.microsoft.com/office/drawing/2014/main" id="{E6E9B28A-C877-42B4-96D6-FAED03A35A31}"/>
                </a:ext>
              </a:extLst>
            </p:cNvPr>
            <p:cNvSpPr>
              <a:spLocks/>
            </p:cNvSpPr>
            <p:nvPr/>
          </p:nvSpPr>
          <p:spPr bwMode="auto">
            <a:xfrm>
              <a:off x="9051517" y="2639727"/>
              <a:ext cx="296863" cy="125413"/>
            </a:xfrm>
            <a:custGeom>
              <a:avLst/>
              <a:gdLst>
                <a:gd name="T0" fmla="*/ 363 w 375"/>
                <a:gd name="T1" fmla="*/ 39 h 157"/>
                <a:gd name="T2" fmla="*/ 355 w 375"/>
                <a:gd name="T3" fmla="*/ 43 h 157"/>
                <a:gd name="T4" fmla="*/ 352 w 375"/>
                <a:gd name="T5" fmla="*/ 47 h 157"/>
                <a:gd name="T6" fmla="*/ 351 w 375"/>
                <a:gd name="T7" fmla="*/ 115 h 157"/>
                <a:gd name="T8" fmla="*/ 348 w 375"/>
                <a:gd name="T9" fmla="*/ 118 h 157"/>
                <a:gd name="T10" fmla="*/ 346 w 375"/>
                <a:gd name="T11" fmla="*/ 110 h 157"/>
                <a:gd name="T12" fmla="*/ 222 w 375"/>
                <a:gd name="T13" fmla="*/ 2 h 157"/>
                <a:gd name="T14" fmla="*/ 214 w 375"/>
                <a:gd name="T15" fmla="*/ 0 h 157"/>
                <a:gd name="T16" fmla="*/ 124 w 375"/>
                <a:gd name="T17" fmla="*/ 0 h 157"/>
                <a:gd name="T18" fmla="*/ 12 w 375"/>
                <a:gd name="T19" fmla="*/ 0 h 157"/>
                <a:gd name="T20" fmla="*/ 4 w 375"/>
                <a:gd name="T21" fmla="*/ 2 h 157"/>
                <a:gd name="T22" fmla="*/ 2 w 375"/>
                <a:gd name="T23" fmla="*/ 6 h 157"/>
                <a:gd name="T24" fmla="*/ 0 w 375"/>
                <a:gd name="T25" fmla="*/ 12 h 157"/>
                <a:gd name="T26" fmla="*/ 4 w 375"/>
                <a:gd name="T27" fmla="*/ 20 h 157"/>
                <a:gd name="T28" fmla="*/ 8 w 375"/>
                <a:gd name="T29" fmla="*/ 22 h 157"/>
                <a:gd name="T30" fmla="*/ 124 w 375"/>
                <a:gd name="T31" fmla="*/ 22 h 157"/>
                <a:gd name="T32" fmla="*/ 210 w 375"/>
                <a:gd name="T33" fmla="*/ 22 h 157"/>
                <a:gd name="T34" fmla="*/ 329 w 375"/>
                <a:gd name="T35" fmla="*/ 127 h 157"/>
                <a:gd name="T36" fmla="*/ 336 w 375"/>
                <a:gd name="T37" fmla="*/ 131 h 157"/>
                <a:gd name="T38" fmla="*/ 264 w 375"/>
                <a:gd name="T39" fmla="*/ 133 h 157"/>
                <a:gd name="T40" fmla="*/ 258 w 375"/>
                <a:gd name="T41" fmla="*/ 134 h 157"/>
                <a:gd name="T42" fmla="*/ 256 w 375"/>
                <a:gd name="T43" fmla="*/ 137 h 157"/>
                <a:gd name="T44" fmla="*/ 251 w 375"/>
                <a:gd name="T45" fmla="*/ 145 h 157"/>
                <a:gd name="T46" fmla="*/ 253 w 375"/>
                <a:gd name="T47" fmla="*/ 149 h 157"/>
                <a:gd name="T48" fmla="*/ 256 w 375"/>
                <a:gd name="T49" fmla="*/ 153 h 157"/>
                <a:gd name="T50" fmla="*/ 264 w 375"/>
                <a:gd name="T51" fmla="*/ 157 h 157"/>
                <a:gd name="T52" fmla="*/ 363 w 375"/>
                <a:gd name="T53" fmla="*/ 157 h 157"/>
                <a:gd name="T54" fmla="*/ 371 w 375"/>
                <a:gd name="T55" fmla="*/ 153 h 157"/>
                <a:gd name="T56" fmla="*/ 374 w 375"/>
                <a:gd name="T57" fmla="*/ 149 h 157"/>
                <a:gd name="T58" fmla="*/ 375 w 375"/>
                <a:gd name="T59" fmla="*/ 51 h 157"/>
                <a:gd name="T60" fmla="*/ 374 w 375"/>
                <a:gd name="T61" fmla="*/ 47 h 157"/>
                <a:gd name="T62" fmla="*/ 367 w 375"/>
                <a:gd name="T63" fmla="*/ 40 h 157"/>
                <a:gd name="T64" fmla="*/ 363 w 375"/>
                <a:gd name="T65"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5" h="157">
                  <a:moveTo>
                    <a:pt x="363" y="39"/>
                  </a:moveTo>
                  <a:lnTo>
                    <a:pt x="363" y="39"/>
                  </a:lnTo>
                  <a:lnTo>
                    <a:pt x="358" y="40"/>
                  </a:lnTo>
                  <a:lnTo>
                    <a:pt x="355" y="43"/>
                  </a:lnTo>
                  <a:lnTo>
                    <a:pt x="355" y="43"/>
                  </a:lnTo>
                  <a:lnTo>
                    <a:pt x="352" y="47"/>
                  </a:lnTo>
                  <a:lnTo>
                    <a:pt x="351" y="51"/>
                  </a:lnTo>
                  <a:lnTo>
                    <a:pt x="351" y="115"/>
                  </a:lnTo>
                  <a:lnTo>
                    <a:pt x="348" y="118"/>
                  </a:lnTo>
                  <a:lnTo>
                    <a:pt x="348" y="118"/>
                  </a:lnTo>
                  <a:lnTo>
                    <a:pt x="348" y="114"/>
                  </a:lnTo>
                  <a:lnTo>
                    <a:pt x="346" y="110"/>
                  </a:lnTo>
                  <a:lnTo>
                    <a:pt x="222" y="2"/>
                  </a:lnTo>
                  <a:lnTo>
                    <a:pt x="222" y="2"/>
                  </a:lnTo>
                  <a:lnTo>
                    <a:pt x="219" y="0"/>
                  </a:lnTo>
                  <a:lnTo>
                    <a:pt x="214" y="0"/>
                  </a:lnTo>
                  <a:lnTo>
                    <a:pt x="153" y="0"/>
                  </a:lnTo>
                  <a:lnTo>
                    <a:pt x="124" y="0"/>
                  </a:lnTo>
                  <a:lnTo>
                    <a:pt x="12" y="0"/>
                  </a:lnTo>
                  <a:lnTo>
                    <a:pt x="12" y="0"/>
                  </a:lnTo>
                  <a:lnTo>
                    <a:pt x="8" y="0"/>
                  </a:lnTo>
                  <a:lnTo>
                    <a:pt x="4" y="2"/>
                  </a:lnTo>
                  <a:lnTo>
                    <a:pt x="4" y="2"/>
                  </a:lnTo>
                  <a:lnTo>
                    <a:pt x="2" y="6"/>
                  </a:lnTo>
                  <a:lnTo>
                    <a:pt x="0" y="12"/>
                  </a:lnTo>
                  <a:lnTo>
                    <a:pt x="0" y="12"/>
                  </a:lnTo>
                  <a:lnTo>
                    <a:pt x="2" y="16"/>
                  </a:lnTo>
                  <a:lnTo>
                    <a:pt x="4" y="20"/>
                  </a:lnTo>
                  <a:lnTo>
                    <a:pt x="4" y="20"/>
                  </a:lnTo>
                  <a:lnTo>
                    <a:pt x="8" y="22"/>
                  </a:lnTo>
                  <a:lnTo>
                    <a:pt x="12" y="22"/>
                  </a:lnTo>
                  <a:lnTo>
                    <a:pt x="124" y="22"/>
                  </a:lnTo>
                  <a:lnTo>
                    <a:pt x="124" y="22"/>
                  </a:lnTo>
                  <a:lnTo>
                    <a:pt x="210" y="22"/>
                  </a:lnTo>
                  <a:lnTo>
                    <a:pt x="329" y="127"/>
                  </a:lnTo>
                  <a:lnTo>
                    <a:pt x="329" y="127"/>
                  </a:lnTo>
                  <a:lnTo>
                    <a:pt x="332" y="130"/>
                  </a:lnTo>
                  <a:lnTo>
                    <a:pt x="336" y="131"/>
                  </a:lnTo>
                  <a:lnTo>
                    <a:pt x="333" y="133"/>
                  </a:lnTo>
                  <a:lnTo>
                    <a:pt x="264" y="133"/>
                  </a:lnTo>
                  <a:lnTo>
                    <a:pt x="264" y="133"/>
                  </a:lnTo>
                  <a:lnTo>
                    <a:pt x="258" y="134"/>
                  </a:lnTo>
                  <a:lnTo>
                    <a:pt x="256" y="137"/>
                  </a:lnTo>
                  <a:lnTo>
                    <a:pt x="256" y="137"/>
                  </a:lnTo>
                  <a:lnTo>
                    <a:pt x="253" y="139"/>
                  </a:lnTo>
                  <a:lnTo>
                    <a:pt x="251" y="145"/>
                  </a:lnTo>
                  <a:lnTo>
                    <a:pt x="251" y="145"/>
                  </a:lnTo>
                  <a:lnTo>
                    <a:pt x="253" y="149"/>
                  </a:lnTo>
                  <a:lnTo>
                    <a:pt x="256" y="153"/>
                  </a:lnTo>
                  <a:lnTo>
                    <a:pt x="256" y="153"/>
                  </a:lnTo>
                  <a:lnTo>
                    <a:pt x="258" y="156"/>
                  </a:lnTo>
                  <a:lnTo>
                    <a:pt x="264" y="157"/>
                  </a:lnTo>
                  <a:lnTo>
                    <a:pt x="363" y="157"/>
                  </a:lnTo>
                  <a:lnTo>
                    <a:pt x="363" y="157"/>
                  </a:lnTo>
                  <a:lnTo>
                    <a:pt x="367" y="156"/>
                  </a:lnTo>
                  <a:lnTo>
                    <a:pt x="371" y="153"/>
                  </a:lnTo>
                  <a:lnTo>
                    <a:pt x="371" y="153"/>
                  </a:lnTo>
                  <a:lnTo>
                    <a:pt x="374" y="149"/>
                  </a:lnTo>
                  <a:lnTo>
                    <a:pt x="375" y="145"/>
                  </a:lnTo>
                  <a:lnTo>
                    <a:pt x="375" y="51"/>
                  </a:lnTo>
                  <a:lnTo>
                    <a:pt x="375" y="51"/>
                  </a:lnTo>
                  <a:lnTo>
                    <a:pt x="374" y="47"/>
                  </a:lnTo>
                  <a:lnTo>
                    <a:pt x="371" y="43"/>
                  </a:lnTo>
                  <a:lnTo>
                    <a:pt x="367" y="40"/>
                  </a:lnTo>
                  <a:lnTo>
                    <a:pt x="363" y="39"/>
                  </a:lnTo>
                  <a:lnTo>
                    <a:pt x="363" y="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8" name="Freeform 123">
              <a:extLst>
                <a:ext uri="{FF2B5EF4-FFF2-40B4-BE49-F238E27FC236}">
                  <a16:creationId xmlns:a16="http://schemas.microsoft.com/office/drawing/2014/main" id="{0D2F3B69-614F-4DC6-87A4-0C9D365A14EC}"/>
                </a:ext>
              </a:extLst>
            </p:cNvPr>
            <p:cNvSpPr>
              <a:spLocks/>
            </p:cNvSpPr>
            <p:nvPr/>
          </p:nvSpPr>
          <p:spPr bwMode="auto">
            <a:xfrm>
              <a:off x="9237255" y="2519077"/>
              <a:ext cx="114300" cy="114300"/>
            </a:xfrm>
            <a:custGeom>
              <a:avLst/>
              <a:gdLst>
                <a:gd name="T0" fmla="*/ 144 w 144"/>
                <a:gd name="T1" fmla="*/ 12 h 144"/>
                <a:gd name="T2" fmla="*/ 144 w 144"/>
                <a:gd name="T3" fmla="*/ 12 h 144"/>
                <a:gd name="T4" fmla="*/ 143 w 144"/>
                <a:gd name="T5" fmla="*/ 7 h 144"/>
                <a:gd name="T6" fmla="*/ 141 w 144"/>
                <a:gd name="T7" fmla="*/ 4 h 144"/>
                <a:gd name="T8" fmla="*/ 141 w 144"/>
                <a:gd name="T9" fmla="*/ 4 h 144"/>
                <a:gd name="T10" fmla="*/ 137 w 144"/>
                <a:gd name="T11" fmla="*/ 2 h 144"/>
                <a:gd name="T12" fmla="*/ 132 w 144"/>
                <a:gd name="T13" fmla="*/ 0 h 144"/>
                <a:gd name="T14" fmla="*/ 33 w 144"/>
                <a:gd name="T15" fmla="*/ 0 h 144"/>
                <a:gd name="T16" fmla="*/ 33 w 144"/>
                <a:gd name="T17" fmla="*/ 0 h 144"/>
                <a:gd name="T18" fmla="*/ 29 w 144"/>
                <a:gd name="T19" fmla="*/ 2 h 144"/>
                <a:gd name="T20" fmla="*/ 25 w 144"/>
                <a:gd name="T21" fmla="*/ 4 h 144"/>
                <a:gd name="T22" fmla="*/ 22 w 144"/>
                <a:gd name="T23" fmla="*/ 8 h 144"/>
                <a:gd name="T24" fmla="*/ 21 w 144"/>
                <a:gd name="T25" fmla="*/ 12 h 144"/>
                <a:gd name="T26" fmla="*/ 21 w 144"/>
                <a:gd name="T27" fmla="*/ 12 h 144"/>
                <a:gd name="T28" fmla="*/ 22 w 144"/>
                <a:gd name="T29" fmla="*/ 17 h 144"/>
                <a:gd name="T30" fmla="*/ 25 w 144"/>
                <a:gd name="T31" fmla="*/ 21 h 144"/>
                <a:gd name="T32" fmla="*/ 25 w 144"/>
                <a:gd name="T33" fmla="*/ 21 h 144"/>
                <a:gd name="T34" fmla="*/ 29 w 144"/>
                <a:gd name="T35" fmla="*/ 23 h 144"/>
                <a:gd name="T36" fmla="*/ 33 w 144"/>
                <a:gd name="T37" fmla="*/ 25 h 144"/>
                <a:gd name="T38" fmla="*/ 104 w 144"/>
                <a:gd name="T39" fmla="*/ 25 h 144"/>
                <a:gd name="T40" fmla="*/ 105 w 144"/>
                <a:gd name="T41" fmla="*/ 25 h 144"/>
                <a:gd name="T42" fmla="*/ 105 w 144"/>
                <a:gd name="T43" fmla="*/ 25 h 144"/>
                <a:gd name="T44" fmla="*/ 103 w 144"/>
                <a:gd name="T45" fmla="*/ 26 h 144"/>
                <a:gd name="T46" fmla="*/ 100 w 144"/>
                <a:gd name="T47" fmla="*/ 29 h 144"/>
                <a:gd name="T48" fmla="*/ 0 w 144"/>
                <a:gd name="T49" fmla="*/ 127 h 144"/>
                <a:gd name="T50" fmla="*/ 16 w 144"/>
                <a:gd name="T51" fmla="*/ 144 h 144"/>
                <a:gd name="T52" fmla="*/ 116 w 144"/>
                <a:gd name="T53" fmla="*/ 45 h 144"/>
                <a:gd name="T54" fmla="*/ 116 w 144"/>
                <a:gd name="T55" fmla="*/ 45 h 144"/>
                <a:gd name="T56" fmla="*/ 120 w 144"/>
                <a:gd name="T57" fmla="*/ 39 h 144"/>
                <a:gd name="T58" fmla="*/ 120 w 144"/>
                <a:gd name="T59" fmla="*/ 41 h 144"/>
                <a:gd name="T60" fmla="*/ 120 w 144"/>
                <a:gd name="T61" fmla="*/ 105 h 144"/>
                <a:gd name="T62" fmla="*/ 120 w 144"/>
                <a:gd name="T63" fmla="*/ 105 h 144"/>
                <a:gd name="T64" fmla="*/ 121 w 144"/>
                <a:gd name="T65" fmla="*/ 111 h 144"/>
                <a:gd name="T66" fmla="*/ 124 w 144"/>
                <a:gd name="T67" fmla="*/ 115 h 144"/>
                <a:gd name="T68" fmla="*/ 124 w 144"/>
                <a:gd name="T69" fmla="*/ 115 h 144"/>
                <a:gd name="T70" fmla="*/ 128 w 144"/>
                <a:gd name="T71" fmla="*/ 117 h 144"/>
                <a:gd name="T72" fmla="*/ 132 w 144"/>
                <a:gd name="T73" fmla="*/ 117 h 144"/>
                <a:gd name="T74" fmla="*/ 132 w 144"/>
                <a:gd name="T75" fmla="*/ 117 h 144"/>
                <a:gd name="T76" fmla="*/ 137 w 144"/>
                <a:gd name="T77" fmla="*/ 117 h 144"/>
                <a:gd name="T78" fmla="*/ 141 w 144"/>
                <a:gd name="T79" fmla="*/ 115 h 144"/>
                <a:gd name="T80" fmla="*/ 141 w 144"/>
                <a:gd name="T81" fmla="*/ 115 h 144"/>
                <a:gd name="T82" fmla="*/ 144 w 144"/>
                <a:gd name="T83" fmla="*/ 111 h 144"/>
                <a:gd name="T84" fmla="*/ 144 w 144"/>
                <a:gd name="T85" fmla="*/ 105 h 144"/>
                <a:gd name="T86" fmla="*/ 144 w 144"/>
                <a:gd name="T87"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4" h="144">
                  <a:moveTo>
                    <a:pt x="144" y="12"/>
                  </a:moveTo>
                  <a:lnTo>
                    <a:pt x="144" y="12"/>
                  </a:lnTo>
                  <a:lnTo>
                    <a:pt x="143" y="7"/>
                  </a:lnTo>
                  <a:lnTo>
                    <a:pt x="141" y="4"/>
                  </a:lnTo>
                  <a:lnTo>
                    <a:pt x="141" y="4"/>
                  </a:lnTo>
                  <a:lnTo>
                    <a:pt x="137" y="2"/>
                  </a:lnTo>
                  <a:lnTo>
                    <a:pt x="132" y="0"/>
                  </a:lnTo>
                  <a:lnTo>
                    <a:pt x="33" y="0"/>
                  </a:lnTo>
                  <a:lnTo>
                    <a:pt x="33" y="0"/>
                  </a:lnTo>
                  <a:lnTo>
                    <a:pt x="29" y="2"/>
                  </a:lnTo>
                  <a:lnTo>
                    <a:pt x="25" y="4"/>
                  </a:lnTo>
                  <a:lnTo>
                    <a:pt x="22" y="8"/>
                  </a:lnTo>
                  <a:lnTo>
                    <a:pt x="21" y="12"/>
                  </a:lnTo>
                  <a:lnTo>
                    <a:pt x="21" y="12"/>
                  </a:lnTo>
                  <a:lnTo>
                    <a:pt x="22" y="17"/>
                  </a:lnTo>
                  <a:lnTo>
                    <a:pt x="25" y="21"/>
                  </a:lnTo>
                  <a:lnTo>
                    <a:pt x="25" y="21"/>
                  </a:lnTo>
                  <a:lnTo>
                    <a:pt x="29" y="23"/>
                  </a:lnTo>
                  <a:lnTo>
                    <a:pt x="33" y="25"/>
                  </a:lnTo>
                  <a:lnTo>
                    <a:pt x="104" y="25"/>
                  </a:lnTo>
                  <a:lnTo>
                    <a:pt x="105" y="25"/>
                  </a:lnTo>
                  <a:lnTo>
                    <a:pt x="105" y="25"/>
                  </a:lnTo>
                  <a:lnTo>
                    <a:pt x="103" y="26"/>
                  </a:lnTo>
                  <a:lnTo>
                    <a:pt x="100" y="29"/>
                  </a:lnTo>
                  <a:lnTo>
                    <a:pt x="0" y="127"/>
                  </a:lnTo>
                  <a:lnTo>
                    <a:pt x="16" y="144"/>
                  </a:lnTo>
                  <a:lnTo>
                    <a:pt x="116" y="45"/>
                  </a:lnTo>
                  <a:lnTo>
                    <a:pt x="116" y="45"/>
                  </a:lnTo>
                  <a:lnTo>
                    <a:pt x="120" y="39"/>
                  </a:lnTo>
                  <a:lnTo>
                    <a:pt x="120" y="41"/>
                  </a:lnTo>
                  <a:lnTo>
                    <a:pt x="120" y="105"/>
                  </a:lnTo>
                  <a:lnTo>
                    <a:pt x="120" y="105"/>
                  </a:lnTo>
                  <a:lnTo>
                    <a:pt x="121" y="111"/>
                  </a:lnTo>
                  <a:lnTo>
                    <a:pt x="124" y="115"/>
                  </a:lnTo>
                  <a:lnTo>
                    <a:pt x="124" y="115"/>
                  </a:lnTo>
                  <a:lnTo>
                    <a:pt x="128" y="117"/>
                  </a:lnTo>
                  <a:lnTo>
                    <a:pt x="132" y="117"/>
                  </a:lnTo>
                  <a:lnTo>
                    <a:pt x="132" y="117"/>
                  </a:lnTo>
                  <a:lnTo>
                    <a:pt x="137" y="117"/>
                  </a:lnTo>
                  <a:lnTo>
                    <a:pt x="141" y="115"/>
                  </a:lnTo>
                  <a:lnTo>
                    <a:pt x="141" y="115"/>
                  </a:lnTo>
                  <a:lnTo>
                    <a:pt x="144" y="111"/>
                  </a:lnTo>
                  <a:lnTo>
                    <a:pt x="144" y="105"/>
                  </a:lnTo>
                  <a:lnTo>
                    <a:pt x="144"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cxnSp>
        <p:nvCxnSpPr>
          <p:cNvPr id="69" name="Straight Connector 68">
            <a:extLst>
              <a:ext uri="{FF2B5EF4-FFF2-40B4-BE49-F238E27FC236}">
                <a16:creationId xmlns:a16="http://schemas.microsoft.com/office/drawing/2014/main" id="{FCA1F44D-3B79-4A9D-A879-33027FFA69B4}"/>
              </a:ext>
            </a:extLst>
          </p:cNvPr>
          <p:cNvCxnSpPr>
            <a:cxnSpLocks/>
          </p:cNvCxnSpPr>
          <p:nvPr/>
        </p:nvCxnSpPr>
        <p:spPr>
          <a:xfrm flipH="1">
            <a:off x="609490" y="2101984"/>
            <a:ext cx="6124624" cy="0"/>
          </a:xfrm>
          <a:prstGeom prst="line">
            <a:avLst/>
          </a:prstGeom>
          <a:ln w="508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87B6C097-3398-4DA5-A4C8-8774DA936968}"/>
              </a:ext>
            </a:extLst>
          </p:cNvPr>
          <p:cNvSpPr txBox="1"/>
          <p:nvPr/>
        </p:nvSpPr>
        <p:spPr>
          <a:xfrm>
            <a:off x="3022693" y="1978873"/>
            <a:ext cx="1298218" cy="246221"/>
          </a:xfrm>
          <a:prstGeom prst="rect">
            <a:avLst/>
          </a:prstGeom>
          <a:solidFill>
            <a:schemeClr val="bg1"/>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300" normalizeH="0" baseline="0" noProof="0" dirty="0">
                <a:ln>
                  <a:noFill/>
                </a:ln>
                <a:solidFill>
                  <a:srgbClr val="000000"/>
                </a:solidFill>
                <a:effectLst/>
                <a:uLnTx/>
                <a:uFillTx/>
                <a:latin typeface="Open Sans"/>
                <a:ea typeface="Open Sans" charset="0"/>
                <a:cs typeface="Open Sans" charset="0"/>
              </a:rPr>
              <a:t>RFP SCOPE</a:t>
            </a:r>
          </a:p>
        </p:txBody>
      </p:sp>
      <p:sp>
        <p:nvSpPr>
          <p:cNvPr id="71" name="Rectangle 70">
            <a:extLst>
              <a:ext uri="{FF2B5EF4-FFF2-40B4-BE49-F238E27FC236}">
                <a16:creationId xmlns:a16="http://schemas.microsoft.com/office/drawing/2014/main" id="{EE3675C5-34EF-4B56-9003-470372A5ABAC}"/>
              </a:ext>
            </a:extLst>
          </p:cNvPr>
          <p:cNvSpPr/>
          <p:nvPr/>
        </p:nvSpPr>
        <p:spPr>
          <a:xfrm>
            <a:off x="7107901" y="2067237"/>
            <a:ext cx="4768301" cy="765811"/>
          </a:xfrm>
          <a:prstGeom prst="rect">
            <a:avLst/>
          </a:prstGeom>
          <a:solidFill>
            <a:schemeClr val="tx1">
              <a:lumMod val="65000"/>
              <a:lumOff val="35000"/>
            </a:schemeClr>
          </a:solidFill>
          <a:ln w="15875">
            <a:noFill/>
          </a:ln>
        </p:spPr>
        <p:txBody>
          <a:bodyPr wrap="square" lIns="91440" tIns="91440" rIns="91440" bIns="9144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Chronicle Display Black"/>
                <a:ea typeface="+mn-ea"/>
                <a:cs typeface="+mn-cs"/>
              </a:rPr>
              <a:t>Key tenets</a:t>
            </a:r>
            <a:r>
              <a:rPr kumimoji="0" lang="en-US" sz="2400" b="0" i="0" u="none" strike="noStrike" kern="1200" cap="none" spc="0" normalizeH="0" baseline="0" noProof="0" dirty="0">
                <a:ln>
                  <a:noFill/>
                </a:ln>
                <a:solidFill>
                  <a:srgbClr val="FFFFFF"/>
                </a:solidFill>
                <a:effectLst/>
                <a:uLnTx/>
                <a:uFillTx/>
                <a:latin typeface="Chronicle Display Light" pitchFamily="50" charset="0"/>
                <a:ea typeface="+mn-ea"/>
                <a:cs typeface="+mn-cs"/>
              </a:rPr>
              <a:t> of our approach</a:t>
            </a:r>
          </a:p>
        </p:txBody>
      </p:sp>
      <p:sp>
        <p:nvSpPr>
          <p:cNvPr id="72" name="Rectangle 71">
            <a:extLst>
              <a:ext uri="{FF2B5EF4-FFF2-40B4-BE49-F238E27FC236}">
                <a16:creationId xmlns:a16="http://schemas.microsoft.com/office/drawing/2014/main" id="{CE5301E4-A746-4892-A344-E6DD7EE5834A}"/>
              </a:ext>
            </a:extLst>
          </p:cNvPr>
          <p:cNvSpPr/>
          <p:nvPr/>
        </p:nvSpPr>
        <p:spPr>
          <a:xfrm>
            <a:off x="7112290" y="2824121"/>
            <a:ext cx="2379091" cy="1761067"/>
          </a:xfrm>
          <a:prstGeom prst="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274320" tIns="274320" rIns="274320" rtlCol="0" anchor="t" anchorCtr="0"/>
          <a:lstStyle/>
          <a:p>
            <a:pPr marL="0" marR="0" lvl="0" indent="0" algn="ctr" defTabSz="914400" rtl="0" eaLnBrk="1" fontAlgn="auto" latinLnBrk="0" hangingPunct="1">
              <a:lnSpc>
                <a:spcPct val="114000"/>
              </a:lnSpc>
              <a:spcBef>
                <a:spcPts val="0"/>
              </a:spcBef>
              <a:spcAft>
                <a:spcPts val="14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Focus on Value</a:t>
            </a:r>
          </a:p>
          <a:p>
            <a:pPr marL="0" marR="0" lvl="0" indent="0" algn="ctr" defTabSz="914400" rtl="0" eaLnBrk="1" fontAlgn="auto" latinLnBrk="0" hangingPunct="1">
              <a:lnSpc>
                <a:spcPct val="114000"/>
              </a:lnSpc>
              <a:spcBef>
                <a:spcPts val="0"/>
              </a:spcBef>
              <a:spcAft>
                <a:spcPts val="10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Prioritize use cases with the most value to deliver</a:t>
            </a:r>
            <a:br>
              <a:rPr kumimoji="0" lang="en-US" sz="1000" b="0"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br>
            <a:r>
              <a:rPr kumimoji="0" lang="en-US" sz="1000" b="0"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ROI for Client</a:t>
            </a:r>
          </a:p>
          <a:p>
            <a:pPr marL="0" marR="0" lvl="0" indent="0" algn="ctr" defTabSz="914400" rtl="0" eaLnBrk="1" fontAlgn="auto" latinLnBrk="0" hangingPunct="1">
              <a:lnSpc>
                <a:spcPct val="114000"/>
              </a:lnSpc>
              <a:spcBef>
                <a:spcPts val="0"/>
              </a:spcBef>
              <a:spcAft>
                <a:spcPts val="100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endParaRPr>
          </a:p>
        </p:txBody>
      </p:sp>
      <p:sp>
        <p:nvSpPr>
          <p:cNvPr id="73" name="Rectangle 72">
            <a:extLst>
              <a:ext uri="{FF2B5EF4-FFF2-40B4-BE49-F238E27FC236}">
                <a16:creationId xmlns:a16="http://schemas.microsoft.com/office/drawing/2014/main" id="{7D347EFA-C0E6-4A5E-B2C8-9F20AA5F641B}"/>
              </a:ext>
            </a:extLst>
          </p:cNvPr>
          <p:cNvSpPr/>
          <p:nvPr/>
        </p:nvSpPr>
        <p:spPr>
          <a:xfrm>
            <a:off x="9487236" y="2824121"/>
            <a:ext cx="2379091" cy="1761067"/>
          </a:xfrm>
          <a:prstGeom prst="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tIns="274320" rtlCol="0" anchor="t" anchorCtr="0"/>
          <a:lstStyle/>
          <a:p>
            <a:pPr marL="0" marR="0" lvl="0" indent="0" algn="ctr" defTabSz="914400" rtl="0" eaLnBrk="1" fontAlgn="auto" latinLnBrk="0" hangingPunct="1">
              <a:lnSpc>
                <a:spcPct val="114000"/>
              </a:lnSpc>
              <a:spcBef>
                <a:spcPts val="0"/>
              </a:spcBef>
              <a:spcAft>
                <a:spcPts val="14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Accelerate Execution</a:t>
            </a:r>
          </a:p>
          <a:p>
            <a:pPr marL="0" marR="0" lvl="0" indent="0" algn="ctr" defTabSz="914400" rtl="0" eaLnBrk="1" fontAlgn="auto" latinLnBrk="0" hangingPunct="1">
              <a:lnSpc>
                <a:spcPct val="114000"/>
              </a:lnSpc>
              <a:spcBef>
                <a:spcPts val="0"/>
              </a:spcBef>
              <a:spcAft>
                <a:spcPts val="10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Leverage Deloitte’s proven accelerators for use case prioritization, customer marketing integrations, and analytics to accelerate the release dates</a:t>
            </a:r>
          </a:p>
          <a:p>
            <a:pPr marL="0" marR="0" lvl="0" indent="0" algn="ctr" defTabSz="914400" rtl="0" eaLnBrk="1" fontAlgn="auto" latinLnBrk="0" hangingPunct="1">
              <a:lnSpc>
                <a:spcPct val="114000"/>
              </a:lnSpc>
              <a:spcBef>
                <a:spcPts val="0"/>
              </a:spcBef>
              <a:spcAft>
                <a:spcPts val="100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endParaRPr>
          </a:p>
        </p:txBody>
      </p:sp>
      <p:sp>
        <p:nvSpPr>
          <p:cNvPr id="74" name="Rectangle 73">
            <a:extLst>
              <a:ext uri="{FF2B5EF4-FFF2-40B4-BE49-F238E27FC236}">
                <a16:creationId xmlns:a16="http://schemas.microsoft.com/office/drawing/2014/main" id="{8DD56E82-DBC0-461C-B592-DB306EBFEEA1}"/>
              </a:ext>
            </a:extLst>
          </p:cNvPr>
          <p:cNvSpPr/>
          <p:nvPr/>
        </p:nvSpPr>
        <p:spPr>
          <a:xfrm>
            <a:off x="7112290" y="4585188"/>
            <a:ext cx="2379091" cy="1761067"/>
          </a:xfrm>
          <a:prstGeom prst="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0" tIns="274320" rIns="182880" rtlCol="0" anchor="t" anchorCtr="0"/>
          <a:lstStyle/>
          <a:p>
            <a:pPr marL="0" marR="0" lvl="0" indent="0" algn="ctr" defTabSz="914400" rtl="0" eaLnBrk="1" fontAlgn="auto" latinLnBrk="0" hangingPunct="1">
              <a:lnSpc>
                <a:spcPct val="114000"/>
              </a:lnSpc>
              <a:spcBef>
                <a:spcPts val="0"/>
              </a:spcBef>
              <a:spcAft>
                <a:spcPts val="14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Agile Delivery</a:t>
            </a:r>
          </a:p>
          <a:p>
            <a:pPr marL="0" marR="0" lvl="0" indent="0" algn="ctr" defTabSz="914400" rtl="0" eaLnBrk="1" fontAlgn="auto" latinLnBrk="0" hangingPunct="1">
              <a:lnSpc>
                <a:spcPct val="114000"/>
              </a:lnSpc>
              <a:spcBef>
                <a:spcPts val="0"/>
              </a:spcBef>
              <a:spcAft>
                <a:spcPts val="10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Roll-out use cases across multiple releases to incorporate lessons learned and re-prioritize backlog, as needed</a:t>
            </a:r>
            <a:endParaRPr kumimoji="0" lang="en-US" sz="1000" b="1"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endParaRPr>
          </a:p>
        </p:txBody>
      </p:sp>
      <p:sp>
        <p:nvSpPr>
          <p:cNvPr id="75" name="Rectangle 74">
            <a:extLst>
              <a:ext uri="{FF2B5EF4-FFF2-40B4-BE49-F238E27FC236}">
                <a16:creationId xmlns:a16="http://schemas.microsoft.com/office/drawing/2014/main" id="{26DFEA2F-7249-4F53-B400-0680675E9CF0}"/>
              </a:ext>
            </a:extLst>
          </p:cNvPr>
          <p:cNvSpPr/>
          <p:nvPr/>
        </p:nvSpPr>
        <p:spPr>
          <a:xfrm>
            <a:off x="9487236" y="4585188"/>
            <a:ext cx="2379091" cy="1761067"/>
          </a:xfrm>
          <a:prstGeom prst="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0" tIns="274320" rIns="182880" rtlCol="0" anchor="t" anchorCtr="0"/>
          <a:lstStyle/>
          <a:p>
            <a:pPr marL="0" marR="0" lvl="0" indent="0" algn="ctr" defTabSz="914400" rtl="0" eaLnBrk="1" fontAlgn="auto" latinLnBrk="0" hangingPunct="1">
              <a:lnSpc>
                <a:spcPct val="114000"/>
              </a:lnSpc>
              <a:spcBef>
                <a:spcPts val="0"/>
              </a:spcBef>
              <a:spcAft>
                <a:spcPts val="14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Do No Harm</a:t>
            </a:r>
          </a:p>
          <a:p>
            <a:pPr marL="0" marR="0" lvl="0" indent="0" algn="ctr" defTabSz="914400" rtl="0" eaLnBrk="1" fontAlgn="auto" latinLnBrk="0" hangingPunct="1">
              <a:lnSpc>
                <a:spcPct val="114000"/>
              </a:lnSpc>
              <a:spcBef>
                <a:spcPts val="0"/>
              </a:spcBef>
              <a:spcAft>
                <a:spcPts val="10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Build with minimal disruptions </a:t>
            </a:r>
            <a:br>
              <a:rPr kumimoji="0" lang="en-US" sz="1000" b="0"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br>
            <a:r>
              <a:rPr kumimoji="0" lang="en-US" sz="1000" b="0" i="0" u="none" strike="noStrike" kern="1200" cap="none" spc="0" normalizeH="0" baseline="0" noProof="0" dirty="0">
                <a:ln>
                  <a:noFill/>
                </a:ln>
                <a:solidFill>
                  <a:srgbClr val="000000"/>
                </a:solidFill>
                <a:effectLst/>
                <a:uLnTx/>
                <a:uFillTx/>
                <a:latin typeface="Open Sans"/>
                <a:ea typeface="Times New Roman" panose="02020603050405020304" pitchFamily="18" charset="0"/>
                <a:cs typeface="+mn-cs"/>
              </a:rPr>
              <a:t>to Client’s core operations</a:t>
            </a:r>
            <a:endParaRPr kumimoji="0" lang="en-US" sz="1000" b="0" i="0" u="none" strike="noStrike" kern="1200" cap="none" spc="0" normalizeH="0" baseline="0" noProof="0" dirty="0">
              <a:ln>
                <a:noFill/>
              </a:ln>
              <a:solidFill>
                <a:srgbClr val="000000"/>
              </a:solidFill>
              <a:effectLst/>
              <a:uLnTx/>
              <a:uFillTx/>
              <a:latin typeface="Open Sans"/>
              <a:ea typeface="Calibri" panose="020F0502020204030204" pitchFamily="34" charset="0"/>
              <a:cs typeface="+mn-cs"/>
            </a:endParaRPr>
          </a:p>
          <a:p>
            <a:pPr marL="0" marR="0" lvl="0" indent="0" algn="ctr" defTabSz="914400" rtl="0" eaLnBrk="1" fontAlgn="auto" latinLnBrk="0" hangingPunct="1">
              <a:lnSpc>
                <a:spcPct val="114000"/>
              </a:lnSpc>
              <a:spcBef>
                <a:spcPts val="0"/>
              </a:spcBef>
              <a:spcAft>
                <a:spcPts val="100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Calibri" panose="020F0502020204030204" pitchFamily="34" charset="0"/>
              <a:cs typeface="+mn-cs"/>
            </a:endParaRPr>
          </a:p>
        </p:txBody>
      </p:sp>
      <p:cxnSp>
        <p:nvCxnSpPr>
          <p:cNvPr id="76" name="Straight Connector 75">
            <a:extLst>
              <a:ext uri="{FF2B5EF4-FFF2-40B4-BE49-F238E27FC236}">
                <a16:creationId xmlns:a16="http://schemas.microsoft.com/office/drawing/2014/main" id="{D185D7C6-16DE-4D18-9380-D5FAB3BC4040}"/>
              </a:ext>
            </a:extLst>
          </p:cNvPr>
          <p:cNvCxnSpPr/>
          <p:nvPr/>
        </p:nvCxnSpPr>
        <p:spPr>
          <a:xfrm>
            <a:off x="7956819" y="3421412"/>
            <a:ext cx="69003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49070336-AF9E-4140-8A9C-DE0FAD495293}"/>
              </a:ext>
            </a:extLst>
          </p:cNvPr>
          <p:cNvCxnSpPr/>
          <p:nvPr/>
        </p:nvCxnSpPr>
        <p:spPr>
          <a:xfrm>
            <a:off x="10331765" y="3421412"/>
            <a:ext cx="690033"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383EB0CE-19E0-4927-A332-5546151C4E35}"/>
              </a:ext>
            </a:extLst>
          </p:cNvPr>
          <p:cNvCxnSpPr/>
          <p:nvPr/>
        </p:nvCxnSpPr>
        <p:spPr>
          <a:xfrm>
            <a:off x="7956819" y="5186710"/>
            <a:ext cx="690033"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1928D85F-E5CF-4D30-9B7C-6830BD96BDBC}"/>
              </a:ext>
            </a:extLst>
          </p:cNvPr>
          <p:cNvCxnSpPr/>
          <p:nvPr/>
        </p:nvCxnSpPr>
        <p:spPr>
          <a:xfrm>
            <a:off x="10331765" y="5186710"/>
            <a:ext cx="690033"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
        <p:nvSpPr>
          <p:cNvPr id="80" name="Shape 12569">
            <a:extLst>
              <a:ext uri="{FF2B5EF4-FFF2-40B4-BE49-F238E27FC236}">
                <a16:creationId xmlns:a16="http://schemas.microsoft.com/office/drawing/2014/main" id="{55DD0C53-E4A4-4B2D-B986-8D330A5D59D4}"/>
              </a:ext>
            </a:extLst>
          </p:cNvPr>
          <p:cNvSpPr/>
          <p:nvPr/>
        </p:nvSpPr>
        <p:spPr>
          <a:xfrm>
            <a:off x="496621" y="2870868"/>
            <a:ext cx="2228807" cy="445773"/>
          </a:xfrm>
          <a:prstGeom prst="rect">
            <a:avLst/>
          </a:prstGeom>
          <a:noFill/>
          <a:ln>
            <a:noFill/>
          </a:ln>
        </p:spPr>
        <p:txBody>
          <a:bodyPr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2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Verdana"/>
              </a:rPr>
              <a:t>Technical Systems Integration</a:t>
            </a:r>
            <a:endParaRPr kumimoji="0" lang="en-US" sz="1400" b="0" i="0" u="none" strike="noStrike" kern="0" cap="none" spc="-2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81" name="Rectangle 80">
            <a:extLst>
              <a:ext uri="{FF2B5EF4-FFF2-40B4-BE49-F238E27FC236}">
                <a16:creationId xmlns:a16="http://schemas.microsoft.com/office/drawing/2014/main" id="{29E02C6F-CB1F-496D-9460-C973A04DD711}"/>
              </a:ext>
            </a:extLst>
          </p:cNvPr>
          <p:cNvSpPr/>
          <p:nvPr/>
        </p:nvSpPr>
        <p:spPr>
          <a:xfrm>
            <a:off x="496621" y="3416343"/>
            <a:ext cx="2094643" cy="2975313"/>
          </a:xfrm>
          <a:prstGeom prst="rect">
            <a:avLst/>
          </a:prstGeom>
        </p:spPr>
        <p:txBody>
          <a:bodyPr wrap="square" numCol="1" spcCol="137160" anchor="t">
            <a:noAutofit/>
          </a:bodyPr>
          <a:lstStyle/>
          <a:p>
            <a:pPr marL="0" marR="0" lvl="0" indent="0" algn="l" defTabSz="914400" rtl="0" eaLnBrk="1" fontAlgn="auto" latinLnBrk="0" hangingPunct="1">
              <a:lnSpc>
                <a:spcPct val="114000"/>
              </a:lnSpc>
              <a:spcBef>
                <a:spcPts val="0"/>
              </a:spcBef>
              <a:spcAft>
                <a:spcPts val="800"/>
              </a:spcAft>
              <a:buClrTx/>
              <a:buSzTx/>
              <a:buFontTx/>
              <a:buNone/>
              <a:tabLst/>
              <a:defRPr/>
            </a:pPr>
            <a:r>
              <a:rPr kumimoji="0" lang="en-US" sz="1000" b="1" i="0" u="none" strike="noStrike" kern="1200" cap="none" spc="0" normalizeH="0" baseline="0" noProof="0" dirty="0">
                <a:ln>
                  <a:noFill/>
                </a:ln>
                <a:solidFill>
                  <a:srgbClr val="000000">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rPr>
              <a:t>Install/Configure Personalization Platform</a:t>
            </a:r>
            <a:br>
              <a:rPr kumimoji="0" lang="en-US" sz="8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800" b="0" i="0" u="none" strike="noStrike" kern="1200" cap="none" spc="0" normalizeH="0" baseline="0" noProof="0" dirty="0">
                <a:ln>
                  <a:noFill/>
                </a:ln>
                <a:solidFill>
                  <a:srgbClr val="000000"/>
                </a:solidFill>
                <a:effectLst/>
                <a:uLnTx/>
                <a:uFillTx/>
                <a:latin typeface="Open Sans"/>
                <a:ea typeface="+mn-ea"/>
                <a:cs typeface="+mn-cs"/>
              </a:rPr>
              <a:t>Design, build and implement the integrated personalization platform </a:t>
            </a:r>
            <a:br>
              <a:rPr kumimoji="0" lang="en-US" sz="800" b="0" i="0" u="none" strike="noStrike" kern="1200" cap="none" spc="0" normalizeH="0" baseline="0" noProof="0" dirty="0">
                <a:ln>
                  <a:noFill/>
                </a:ln>
                <a:solidFill>
                  <a:srgbClr val="000000"/>
                </a:solidFill>
                <a:effectLst/>
                <a:uLnTx/>
                <a:uFillTx/>
                <a:latin typeface="Open Sans"/>
                <a:ea typeface="+mn-ea"/>
                <a:cs typeface="+mn-cs"/>
              </a:rPr>
            </a:br>
            <a:r>
              <a:rPr kumimoji="0" lang="en-US" sz="800" b="0" i="0" u="none" strike="noStrike" kern="1200" cap="none" spc="0" normalizeH="0" baseline="0" noProof="0" dirty="0">
                <a:ln>
                  <a:noFill/>
                </a:ln>
                <a:solidFill>
                  <a:srgbClr val="000000"/>
                </a:solidFill>
                <a:effectLst/>
                <a:uLnTx/>
                <a:uFillTx/>
                <a:latin typeface="Open Sans"/>
                <a:ea typeface="+mn-ea"/>
                <a:cs typeface="+mn-cs"/>
              </a:rPr>
              <a:t>in Client’s on-premises environment.</a:t>
            </a:r>
            <a:endParaRPr kumimoji="0" lang="en-US" sz="8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14000"/>
              </a:lnSpc>
              <a:spcBef>
                <a:spcPts val="0"/>
              </a:spcBef>
              <a:spcAft>
                <a:spcPts val="800"/>
              </a:spcAft>
              <a:buClrTx/>
              <a:buSzTx/>
              <a:buFontTx/>
              <a:buNone/>
              <a:tabLst/>
              <a:defRPr/>
            </a:pPr>
            <a:r>
              <a:rPr kumimoji="0" lang="en-US" sz="1000" b="1" i="0" u="none" strike="noStrike" kern="1200" cap="none" spc="0" normalizeH="0" baseline="0" noProof="0" dirty="0">
                <a:ln>
                  <a:noFill/>
                </a:ln>
                <a:solidFill>
                  <a:srgbClr val="000000">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rPr>
              <a:t>Customer Data Integration (CDI)</a:t>
            </a:r>
            <a:br>
              <a:rPr kumimoji="0" lang="en-US" sz="8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rocess to stitch together all customer data for the personalization platform </a:t>
            </a:r>
            <a:br>
              <a:rPr kumimoji="0" lang="en-US" sz="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o consume.</a:t>
            </a:r>
          </a:p>
          <a:p>
            <a:pPr marL="0" marR="0" lvl="0" indent="0" algn="l" defTabSz="914400" rtl="0" eaLnBrk="1" fontAlgn="auto" latinLnBrk="0" hangingPunct="1">
              <a:lnSpc>
                <a:spcPct val="114000"/>
              </a:lnSpc>
              <a:spcBef>
                <a:spcPts val="0"/>
              </a:spcBef>
              <a:spcAft>
                <a:spcPts val="800"/>
              </a:spcAft>
              <a:buClrTx/>
              <a:buSzTx/>
              <a:buFontTx/>
              <a:buNone/>
              <a:tabLst/>
              <a:defRPr/>
            </a:pPr>
            <a:r>
              <a:rPr kumimoji="0" lang="en-US" sz="1000" b="1" i="0" u="none" strike="noStrike" kern="1200" cap="none" spc="0" normalizeH="0" baseline="0" noProof="0" dirty="0">
                <a:ln>
                  <a:noFill/>
                </a:ln>
                <a:solidFill>
                  <a:srgbClr val="000000">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rPr>
              <a:t>SIT/UAT, training and documentation</a:t>
            </a:r>
            <a:br>
              <a:rPr kumimoji="0" lang="en-US" sz="8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8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erform all systems integration and user acceptance training for the personalization platform. Provide documentation and training on the new personalization platform and data layer.</a:t>
            </a:r>
          </a:p>
        </p:txBody>
      </p:sp>
      <p:sp>
        <p:nvSpPr>
          <p:cNvPr id="82" name="Text Placeholder 19">
            <a:extLst>
              <a:ext uri="{FF2B5EF4-FFF2-40B4-BE49-F238E27FC236}">
                <a16:creationId xmlns:a16="http://schemas.microsoft.com/office/drawing/2014/main" id="{56F29890-F054-4287-9407-359B061C5B1D}"/>
              </a:ext>
            </a:extLst>
          </p:cNvPr>
          <p:cNvSpPr>
            <a:spLocks noGrp="1"/>
          </p:cNvSpPr>
          <p:nvPr>
            <p:ph type="body" sz="quarter" idx="15"/>
          </p:nvPr>
        </p:nvSpPr>
        <p:spPr>
          <a:xfrm>
            <a:off x="914971" y="466344"/>
            <a:ext cx="4402464" cy="174194"/>
          </a:xfrm>
        </p:spPr>
        <p:txBody>
          <a:bodyPr/>
          <a:lstStyle/>
          <a:p>
            <a:r>
              <a:rPr lang="en-US" dirty="0"/>
              <a:t>Approach, Scope, &amp; objectives</a:t>
            </a:r>
          </a:p>
        </p:txBody>
      </p:sp>
    </p:spTree>
    <p:extLst>
      <p:ext uri="{BB962C8B-B14F-4D97-AF65-F5344CB8AC3E}">
        <p14:creationId xmlns:p14="http://schemas.microsoft.com/office/powerpoint/2010/main" val="7431704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a:extLst>
              <a:ext uri="{FF2B5EF4-FFF2-40B4-BE49-F238E27FC236}">
                <a16:creationId xmlns:a16="http://schemas.microsoft.com/office/drawing/2014/main" id="{CD0360F4-338D-4B8B-8DDC-979C2A1E10E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4" name="think-cell Slide" r:id="rId5" imgW="395" imgH="396" progId="TCLayout.ActiveDocument.1">
                  <p:embed/>
                </p:oleObj>
              </mc:Choice>
              <mc:Fallback>
                <p:oleObj name="think-cell Slide" r:id="rId5" imgW="395" imgH="396" progId="TCLayout.ActiveDocument.1">
                  <p:embed/>
                  <p:pic>
                    <p:nvPicPr>
                      <p:cNvPr id="37" name="Object 36" hidden="1">
                        <a:extLst>
                          <a:ext uri="{FF2B5EF4-FFF2-40B4-BE49-F238E27FC236}">
                            <a16:creationId xmlns:a16="http://schemas.microsoft.com/office/drawing/2014/main" id="{CD0360F4-338D-4B8B-8DDC-979C2A1E10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Rectangle 20">
            <a:extLst>
              <a:ext uri="{FF2B5EF4-FFF2-40B4-BE49-F238E27FC236}">
                <a16:creationId xmlns:a16="http://schemas.microsoft.com/office/drawing/2014/main" id="{EB1C60B8-081F-4059-994B-4CDA804F7A89}"/>
              </a:ext>
            </a:extLst>
          </p:cNvPr>
          <p:cNvSpPr/>
          <p:nvPr/>
        </p:nvSpPr>
        <p:spPr>
          <a:xfrm>
            <a:off x="-16896" y="0"/>
            <a:ext cx="3404558" cy="6863680"/>
          </a:xfrm>
          <a:prstGeom prst="rect">
            <a:avLst/>
          </a:prstGeom>
          <a:solidFill>
            <a:srgbClr val="F7DE39"/>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2743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dirty="0">
              <a:ln>
                <a:noFill/>
              </a:ln>
              <a:solidFill>
                <a:prstClr val="black"/>
              </a:solidFill>
              <a:effectLst/>
              <a:uLnTx/>
              <a:uFillTx/>
              <a:latin typeface="Montserrat" panose="00000500000000000000" pitchFamily="2" charset="0"/>
              <a:ea typeface="+mn-ea"/>
              <a:cs typeface="+mn-cs"/>
            </a:endParaRPr>
          </a:p>
        </p:txBody>
      </p:sp>
      <p:sp>
        <p:nvSpPr>
          <p:cNvPr id="23" name="Rectangle 22">
            <a:extLst>
              <a:ext uri="{FF2B5EF4-FFF2-40B4-BE49-F238E27FC236}">
                <a16:creationId xmlns:a16="http://schemas.microsoft.com/office/drawing/2014/main" id="{8B0BA8CE-2839-4205-9FF6-947F119B9082}"/>
              </a:ext>
            </a:extLst>
          </p:cNvPr>
          <p:cNvSpPr/>
          <p:nvPr/>
        </p:nvSpPr>
        <p:spPr>
          <a:xfrm>
            <a:off x="395514" y="815753"/>
            <a:ext cx="2745251" cy="2862322"/>
          </a:xfrm>
          <a:prstGeom prst="rect">
            <a:avLst/>
          </a:prstGeom>
        </p:spPr>
        <p:txBody>
          <a:bodyPr vert="horz" lIns="0" tIns="0" rIns="0" bIns="0" rtlCol="0" anchor="t">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mj-lt"/>
                <a:ea typeface="Montserrat SemiBold" charset="0"/>
                <a:cs typeface="Montserrat SemiBold" charset="0"/>
              </a:rPr>
              <a:t>We set out to answer three fundamental questions</a:t>
            </a:r>
            <a:endParaRPr kumimoji="0" lang="en-US" sz="3200" b="0" i="0" u="none" strike="sngStrike" kern="1200" cap="none" spc="0" normalizeH="0" baseline="0" noProof="0" dirty="0">
              <a:ln>
                <a:noFill/>
              </a:ln>
              <a:solidFill>
                <a:srgbClr val="FF0000"/>
              </a:solidFill>
              <a:effectLst/>
              <a:uLnTx/>
              <a:uFillTx/>
              <a:latin typeface="+mj-lt"/>
              <a:ea typeface="Montserrat SemiBold" charset="0"/>
              <a:cs typeface="Montserrat SemiBold" charset="0"/>
            </a:endParaRPr>
          </a:p>
        </p:txBody>
      </p:sp>
      <p:sp>
        <p:nvSpPr>
          <p:cNvPr id="24" name="Oval 23">
            <a:extLst>
              <a:ext uri="{FF2B5EF4-FFF2-40B4-BE49-F238E27FC236}">
                <a16:creationId xmlns:a16="http://schemas.microsoft.com/office/drawing/2014/main" id="{0ED98EDD-4275-45BA-A049-703622482601}"/>
              </a:ext>
            </a:extLst>
          </p:cNvPr>
          <p:cNvSpPr/>
          <p:nvPr/>
        </p:nvSpPr>
        <p:spPr>
          <a:xfrm>
            <a:off x="5916964" y="1766899"/>
            <a:ext cx="274320" cy="274320"/>
          </a:xfrm>
          <a:prstGeom prst="ellipse">
            <a:avLst/>
          </a:prstGeom>
          <a:solidFill>
            <a:srgbClr val="F7DE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1</a:t>
            </a:r>
          </a:p>
        </p:txBody>
      </p:sp>
      <p:sp>
        <p:nvSpPr>
          <p:cNvPr id="25" name="TextBox 24">
            <a:extLst>
              <a:ext uri="{FF2B5EF4-FFF2-40B4-BE49-F238E27FC236}">
                <a16:creationId xmlns:a16="http://schemas.microsoft.com/office/drawing/2014/main" id="{77B0330E-ACE6-412F-BF5B-AEF1F726B74B}"/>
              </a:ext>
            </a:extLst>
          </p:cNvPr>
          <p:cNvSpPr txBox="1"/>
          <p:nvPr/>
        </p:nvSpPr>
        <p:spPr>
          <a:xfrm>
            <a:off x="6275367" y="3032407"/>
            <a:ext cx="3308631"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HOW AND WHERE SHOULD WE STAR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ea typeface="Montserrat Light" charset="0"/>
                <a:cs typeface="Montserrat Light" charset="0"/>
              </a:rPr>
              <a:t>What product and service offerings will we initially provide? How do we attract our new sellers and buyers?</a:t>
            </a:r>
          </a:p>
        </p:txBody>
      </p:sp>
      <p:sp>
        <p:nvSpPr>
          <p:cNvPr id="26" name="TextBox 25">
            <a:extLst>
              <a:ext uri="{FF2B5EF4-FFF2-40B4-BE49-F238E27FC236}">
                <a16:creationId xmlns:a16="http://schemas.microsoft.com/office/drawing/2014/main" id="{2DC8DAA7-56CD-48F4-A253-22A863B3D45C}"/>
              </a:ext>
            </a:extLst>
          </p:cNvPr>
          <p:cNvSpPr txBox="1"/>
          <p:nvPr/>
        </p:nvSpPr>
        <p:spPr>
          <a:xfrm>
            <a:off x="6275367" y="1766899"/>
            <a:ext cx="3198044"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WHAT IS OUR LONG TERM AMBI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ea typeface="Montserrat Light" charset="0"/>
                <a:cs typeface="Montserrat Light" charset="0"/>
              </a:rPr>
              <a:t>What is the future aspiration for a specialty marketplace? What are the key strategic decisions to be made?</a:t>
            </a:r>
          </a:p>
        </p:txBody>
      </p:sp>
      <p:sp>
        <p:nvSpPr>
          <p:cNvPr id="27" name="TextBox 26">
            <a:extLst>
              <a:ext uri="{FF2B5EF4-FFF2-40B4-BE49-F238E27FC236}">
                <a16:creationId xmlns:a16="http://schemas.microsoft.com/office/drawing/2014/main" id="{CDEB55E1-950D-4A3B-AEE6-9F38E9CEE864}"/>
              </a:ext>
            </a:extLst>
          </p:cNvPr>
          <p:cNvSpPr txBox="1"/>
          <p:nvPr/>
        </p:nvSpPr>
        <p:spPr>
          <a:xfrm>
            <a:off x="6275367" y="4387624"/>
            <a:ext cx="3383640"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WHAT CAPABILITES ARE REQUIRED NOW, AND OVER TIM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ea typeface="Montserrat Light" charset="0"/>
                <a:cs typeface="Montserrat Light" charset="0"/>
              </a:rPr>
              <a:t>What capabilities are required to establish and maintain a specialty marketplace? What is the investment and timeline?</a:t>
            </a:r>
          </a:p>
        </p:txBody>
      </p:sp>
      <p:cxnSp>
        <p:nvCxnSpPr>
          <p:cNvPr id="28" name="Straight Connector 27">
            <a:extLst>
              <a:ext uri="{FF2B5EF4-FFF2-40B4-BE49-F238E27FC236}">
                <a16:creationId xmlns:a16="http://schemas.microsoft.com/office/drawing/2014/main" id="{0E5A95C2-41A0-4AA4-974B-37D6B5CEC6DC}"/>
              </a:ext>
            </a:extLst>
          </p:cNvPr>
          <p:cNvCxnSpPr/>
          <p:nvPr/>
        </p:nvCxnSpPr>
        <p:spPr>
          <a:xfrm>
            <a:off x="6371489" y="3306727"/>
            <a:ext cx="3017520" cy="0"/>
          </a:xfrm>
          <a:prstGeom prst="line">
            <a:avLst/>
          </a:prstGeom>
          <a:ln w="28575">
            <a:solidFill>
              <a:srgbClr val="F7DE39"/>
            </a:solidFill>
          </a:ln>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9C1D51F2-665A-44F9-BC71-0BE1960E54A8}"/>
              </a:ext>
            </a:extLst>
          </p:cNvPr>
          <p:cNvSpPr/>
          <p:nvPr/>
        </p:nvSpPr>
        <p:spPr>
          <a:xfrm>
            <a:off x="5916964" y="3032802"/>
            <a:ext cx="274320" cy="274320"/>
          </a:xfrm>
          <a:prstGeom prst="ellipse">
            <a:avLst/>
          </a:prstGeom>
          <a:solidFill>
            <a:srgbClr val="F7DE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2</a:t>
            </a:r>
          </a:p>
        </p:txBody>
      </p:sp>
      <p:sp>
        <p:nvSpPr>
          <p:cNvPr id="30" name="Oval 29">
            <a:extLst>
              <a:ext uri="{FF2B5EF4-FFF2-40B4-BE49-F238E27FC236}">
                <a16:creationId xmlns:a16="http://schemas.microsoft.com/office/drawing/2014/main" id="{AA18EBBE-2C95-4ECB-82C5-56196C499DAF}"/>
              </a:ext>
            </a:extLst>
          </p:cNvPr>
          <p:cNvSpPr/>
          <p:nvPr/>
        </p:nvSpPr>
        <p:spPr>
          <a:xfrm>
            <a:off x="5916964" y="4387624"/>
            <a:ext cx="274320" cy="274320"/>
          </a:xfrm>
          <a:prstGeom prst="ellipse">
            <a:avLst/>
          </a:prstGeom>
          <a:solidFill>
            <a:srgbClr val="F7DE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ea typeface="+mn-ea"/>
                <a:cs typeface="+mn-cs"/>
              </a:rPr>
              <a:t>3</a:t>
            </a:r>
          </a:p>
        </p:txBody>
      </p:sp>
      <p:cxnSp>
        <p:nvCxnSpPr>
          <p:cNvPr id="31" name="Straight Connector 30">
            <a:extLst>
              <a:ext uri="{FF2B5EF4-FFF2-40B4-BE49-F238E27FC236}">
                <a16:creationId xmlns:a16="http://schemas.microsoft.com/office/drawing/2014/main" id="{01305B88-CEE7-44D4-A7F2-D288816FCAF1}"/>
              </a:ext>
            </a:extLst>
          </p:cNvPr>
          <p:cNvCxnSpPr/>
          <p:nvPr/>
        </p:nvCxnSpPr>
        <p:spPr>
          <a:xfrm>
            <a:off x="6356140" y="2041219"/>
            <a:ext cx="2854121" cy="0"/>
          </a:xfrm>
          <a:prstGeom prst="line">
            <a:avLst/>
          </a:prstGeom>
          <a:ln w="28575">
            <a:solidFill>
              <a:srgbClr val="F7DE39"/>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F34CF609-9ABF-4854-972D-39A2AF1F03F4}"/>
              </a:ext>
            </a:extLst>
          </p:cNvPr>
          <p:cNvCxnSpPr/>
          <p:nvPr/>
        </p:nvCxnSpPr>
        <p:spPr>
          <a:xfrm>
            <a:off x="6350373" y="4847474"/>
            <a:ext cx="2996809" cy="0"/>
          </a:xfrm>
          <a:prstGeom prst="line">
            <a:avLst/>
          </a:prstGeom>
          <a:ln w="28575">
            <a:solidFill>
              <a:srgbClr val="F7DE39"/>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DF26BF90-F13C-48AF-A589-353D4C46015D}"/>
              </a:ext>
            </a:extLst>
          </p:cNvPr>
          <p:cNvSpPr txBox="1"/>
          <p:nvPr/>
        </p:nvSpPr>
        <p:spPr>
          <a:xfrm>
            <a:off x="290287" y="6588106"/>
            <a:ext cx="425491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ea typeface="+mn-ea"/>
                <a:cs typeface="+mn-cs"/>
              </a:rPr>
              <a:t>DELOITTE CONSULTING LLP</a:t>
            </a:r>
          </a:p>
        </p:txBody>
      </p:sp>
    </p:spTree>
    <p:extLst>
      <p:ext uri="{BB962C8B-B14F-4D97-AF65-F5344CB8AC3E}">
        <p14:creationId xmlns:p14="http://schemas.microsoft.com/office/powerpoint/2010/main" val="205824910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ct 50" hidden="1">
            <a:extLst>
              <a:ext uri="{FF2B5EF4-FFF2-40B4-BE49-F238E27FC236}">
                <a16:creationId xmlns:a16="http://schemas.microsoft.com/office/drawing/2014/main" id="{77B5F5A7-C1DE-4001-86A0-4B1A3F50EF4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8" name="think-cell Slide" r:id="rId6" imgW="395" imgH="396" progId="TCLayout.ActiveDocument.1">
                  <p:embed/>
                </p:oleObj>
              </mc:Choice>
              <mc:Fallback>
                <p:oleObj name="think-cell Slide" r:id="rId6" imgW="395" imgH="396" progId="TCLayout.ActiveDocument.1">
                  <p:embed/>
                  <p:pic>
                    <p:nvPicPr>
                      <p:cNvPr id="51" name="Object 50" hidden="1">
                        <a:extLst>
                          <a:ext uri="{FF2B5EF4-FFF2-40B4-BE49-F238E27FC236}">
                            <a16:creationId xmlns:a16="http://schemas.microsoft.com/office/drawing/2014/main" id="{77B5F5A7-C1DE-4001-86A0-4B1A3F50EF4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2" name="Rectangle 51" hidden="1">
            <a:extLst>
              <a:ext uri="{FF2B5EF4-FFF2-40B4-BE49-F238E27FC236}">
                <a16:creationId xmlns:a16="http://schemas.microsoft.com/office/drawing/2014/main" id="{C950F101-5460-4F7E-851E-C7DD92D385D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a:sym typeface="Chronicle Display Black"/>
            </a:endParaRPr>
          </a:p>
        </p:txBody>
      </p:sp>
      <p:sp>
        <p:nvSpPr>
          <p:cNvPr id="48" name="Title 47">
            <a:extLst>
              <a:ext uri="{FF2B5EF4-FFF2-40B4-BE49-F238E27FC236}">
                <a16:creationId xmlns:a16="http://schemas.microsoft.com/office/drawing/2014/main" id="{ECD0EF2F-CCC5-4EBC-9435-DB8EFE61842B}"/>
              </a:ext>
            </a:extLst>
          </p:cNvPr>
          <p:cNvSpPr>
            <a:spLocks noGrp="1"/>
          </p:cNvSpPr>
          <p:nvPr>
            <p:ph type="title"/>
          </p:nvPr>
        </p:nvSpPr>
        <p:spPr/>
        <p:txBody>
          <a:bodyPr/>
          <a:lstStyle/>
          <a:p>
            <a:r>
              <a:rPr lang="en-US" dirty="0"/>
              <a:t>Project Scope</a:t>
            </a:r>
          </a:p>
        </p:txBody>
      </p:sp>
      <p:sp>
        <p:nvSpPr>
          <p:cNvPr id="49" name="Text Placeholder 48">
            <a:extLst>
              <a:ext uri="{FF2B5EF4-FFF2-40B4-BE49-F238E27FC236}">
                <a16:creationId xmlns:a16="http://schemas.microsoft.com/office/drawing/2014/main" id="{3234BAF0-6512-4439-91C6-35DC95FB69FF}"/>
              </a:ext>
            </a:extLst>
          </p:cNvPr>
          <p:cNvSpPr>
            <a:spLocks noGrp="1"/>
          </p:cNvSpPr>
          <p:nvPr>
            <p:ph type="body" sz="quarter" idx="14"/>
          </p:nvPr>
        </p:nvSpPr>
        <p:spPr/>
        <p:txBody>
          <a:bodyPr/>
          <a:lstStyle/>
          <a:p>
            <a:r>
              <a:rPr lang="en-US" spc="0" dirty="0">
                <a:solidFill>
                  <a:srgbClr val="575757"/>
                </a:solidFill>
              </a:rPr>
              <a:t>The scope of our 7-week effort engagement focuses on North America and encompasses shoes and apparel for all retail accounts</a:t>
            </a:r>
          </a:p>
          <a:p>
            <a:endParaRPr lang="en-US" dirty="0"/>
          </a:p>
        </p:txBody>
      </p:sp>
      <p:sp>
        <p:nvSpPr>
          <p:cNvPr id="50" name="Text Placeholder 49">
            <a:extLst>
              <a:ext uri="{FF2B5EF4-FFF2-40B4-BE49-F238E27FC236}">
                <a16:creationId xmlns:a16="http://schemas.microsoft.com/office/drawing/2014/main" id="{91B30417-7688-43D3-B92D-A13D323A97D8}"/>
              </a:ext>
            </a:extLst>
          </p:cNvPr>
          <p:cNvSpPr>
            <a:spLocks noGrp="1"/>
          </p:cNvSpPr>
          <p:nvPr>
            <p:ph type="body" sz="quarter" idx="15"/>
          </p:nvPr>
        </p:nvSpPr>
        <p:spPr/>
        <p:txBody>
          <a:bodyPr/>
          <a:lstStyle/>
          <a:p>
            <a:r>
              <a:rPr lang="en-US" dirty="0"/>
              <a:t>Approach, Scope, &amp; objectives</a:t>
            </a:r>
          </a:p>
        </p:txBody>
      </p:sp>
      <p:sp>
        <p:nvSpPr>
          <p:cNvPr id="4" name="Text Placeholder 1">
            <a:extLst>
              <a:ext uri="{FF2B5EF4-FFF2-40B4-BE49-F238E27FC236}">
                <a16:creationId xmlns:a16="http://schemas.microsoft.com/office/drawing/2014/main" id="{113ADF9F-D4EC-40B5-AC0E-053821B73248}"/>
              </a:ext>
            </a:extLst>
          </p:cNvPr>
          <p:cNvSpPr txBox="1">
            <a:spLocks/>
          </p:cNvSpPr>
          <p:nvPr/>
        </p:nvSpPr>
        <p:spPr>
          <a:xfrm>
            <a:off x="0" y="1883716"/>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2000" b="0" kern="1200">
                <a:solidFill>
                  <a:srgbClr val="575757"/>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Tx/>
              <a:buNone/>
              <a:tabLst/>
              <a:defRPr/>
            </a:pPr>
            <a:endParaRPr kumimoji="0" lang="en-US" sz="2000" b="0" i="0" u="none" strike="noStrike" kern="1200" cap="none" spc="0" normalizeH="0" baseline="0" noProof="0" dirty="0">
              <a:ln>
                <a:noFill/>
              </a:ln>
              <a:solidFill>
                <a:srgbClr val="575757"/>
              </a:solidFill>
              <a:effectLst/>
              <a:uLnTx/>
              <a:uFillTx/>
              <a:ea typeface="+mn-ea"/>
              <a:cs typeface="+mn-cs"/>
            </a:endParaRPr>
          </a:p>
        </p:txBody>
      </p:sp>
      <p:sp>
        <p:nvSpPr>
          <p:cNvPr id="5" name="Title 2">
            <a:extLst>
              <a:ext uri="{FF2B5EF4-FFF2-40B4-BE49-F238E27FC236}">
                <a16:creationId xmlns:a16="http://schemas.microsoft.com/office/drawing/2014/main" id="{C50668CF-1DB7-4CC7-AA20-607BC1CC3798}"/>
              </a:ext>
            </a:extLst>
          </p:cNvPr>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endParaRPr kumimoji="0" lang="en-US" sz="2000" b="1" i="0" u="none" strike="noStrike" kern="1200" cap="none" spc="0" normalizeH="0" baseline="0" noProof="0" dirty="0">
              <a:ln>
                <a:noFill/>
              </a:ln>
              <a:solidFill>
                <a:sysClr val="windowText" lastClr="000000"/>
              </a:solidFill>
              <a:effectLst/>
              <a:uLnTx/>
              <a:uFillTx/>
              <a:latin typeface="Verdana"/>
              <a:ea typeface="+mj-ea"/>
              <a:cs typeface="+mj-cs"/>
            </a:endParaRPr>
          </a:p>
        </p:txBody>
      </p:sp>
      <p:sp>
        <p:nvSpPr>
          <p:cNvPr id="6" name="Rectangle 5">
            <a:extLst>
              <a:ext uri="{FF2B5EF4-FFF2-40B4-BE49-F238E27FC236}">
                <a16:creationId xmlns:a16="http://schemas.microsoft.com/office/drawing/2014/main" id="{F3CC1E21-C752-48A9-89F0-A8993097EE13}"/>
              </a:ext>
            </a:extLst>
          </p:cNvPr>
          <p:cNvSpPr/>
          <p:nvPr/>
        </p:nvSpPr>
        <p:spPr>
          <a:xfrm>
            <a:off x="914400" y="1946196"/>
            <a:ext cx="1616897" cy="4113151"/>
          </a:xfrm>
          <a:prstGeom prst="rect">
            <a:avLst/>
          </a:prstGeom>
          <a:noFill/>
          <a:ln w="222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rPr>
              <a:t>SHOES &amp; APPAREL</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grpSp>
        <p:nvGrpSpPr>
          <p:cNvPr id="7" name="Group 6">
            <a:extLst>
              <a:ext uri="{FF2B5EF4-FFF2-40B4-BE49-F238E27FC236}">
                <a16:creationId xmlns:a16="http://schemas.microsoft.com/office/drawing/2014/main" id="{BB43353E-A92A-41E3-8742-BA3679E7B471}"/>
              </a:ext>
            </a:extLst>
          </p:cNvPr>
          <p:cNvGrpSpPr>
            <a:grpSpLocks noChangeAspect="1"/>
          </p:cNvGrpSpPr>
          <p:nvPr/>
        </p:nvGrpSpPr>
        <p:grpSpPr>
          <a:xfrm>
            <a:off x="1379948" y="2838021"/>
            <a:ext cx="685800" cy="685800"/>
            <a:chOff x="2320926" y="3340100"/>
            <a:chExt cx="520700" cy="520700"/>
          </a:xfrm>
        </p:grpSpPr>
        <p:sp>
          <p:nvSpPr>
            <p:cNvPr id="8" name="Freeform 59">
              <a:extLst>
                <a:ext uri="{FF2B5EF4-FFF2-40B4-BE49-F238E27FC236}">
                  <a16:creationId xmlns:a16="http://schemas.microsoft.com/office/drawing/2014/main" id="{2CBA00AE-6F3A-4C1B-A612-61342C2619DB}"/>
                </a:ext>
              </a:extLst>
            </p:cNvPr>
            <p:cNvSpPr>
              <a:spLocks noEditPoints="1"/>
            </p:cNvSpPr>
            <p:nvPr/>
          </p:nvSpPr>
          <p:spPr bwMode="auto">
            <a:xfrm>
              <a:off x="2320926" y="3340100"/>
              <a:ext cx="520700" cy="520700"/>
            </a:xfrm>
            <a:custGeom>
              <a:avLst/>
              <a:gdLst>
                <a:gd name="T0" fmla="*/ 311 w 657"/>
                <a:gd name="T1" fmla="*/ 657 h 657"/>
                <a:gd name="T2" fmla="*/ 262 w 657"/>
                <a:gd name="T3" fmla="*/ 650 h 657"/>
                <a:gd name="T4" fmla="*/ 200 w 657"/>
                <a:gd name="T5" fmla="*/ 632 h 657"/>
                <a:gd name="T6" fmla="*/ 119 w 657"/>
                <a:gd name="T7" fmla="*/ 582 h 657"/>
                <a:gd name="T8" fmla="*/ 55 w 657"/>
                <a:gd name="T9" fmla="*/ 512 h 657"/>
                <a:gd name="T10" fmla="*/ 14 w 657"/>
                <a:gd name="T11" fmla="*/ 426 h 657"/>
                <a:gd name="T12" fmla="*/ 2 w 657"/>
                <a:gd name="T13" fmla="*/ 379 h 657"/>
                <a:gd name="T14" fmla="*/ 0 w 657"/>
                <a:gd name="T15" fmla="*/ 328 h 657"/>
                <a:gd name="T16" fmla="*/ 1 w 657"/>
                <a:gd name="T17" fmla="*/ 294 h 657"/>
                <a:gd name="T18" fmla="*/ 9 w 657"/>
                <a:gd name="T19" fmla="*/ 246 h 657"/>
                <a:gd name="T20" fmla="*/ 39 w 657"/>
                <a:gd name="T21" fmla="*/ 172 h 657"/>
                <a:gd name="T22" fmla="*/ 95 w 657"/>
                <a:gd name="T23" fmla="*/ 96 h 657"/>
                <a:gd name="T24" fmla="*/ 172 w 657"/>
                <a:gd name="T25" fmla="*/ 39 h 657"/>
                <a:gd name="T26" fmla="*/ 246 w 657"/>
                <a:gd name="T27" fmla="*/ 10 h 657"/>
                <a:gd name="T28" fmla="*/ 294 w 657"/>
                <a:gd name="T29" fmla="*/ 2 h 657"/>
                <a:gd name="T30" fmla="*/ 327 w 657"/>
                <a:gd name="T31" fmla="*/ 0 h 657"/>
                <a:gd name="T32" fmla="*/ 378 w 657"/>
                <a:gd name="T33" fmla="*/ 3 h 657"/>
                <a:gd name="T34" fmla="*/ 425 w 657"/>
                <a:gd name="T35" fmla="*/ 15 h 657"/>
                <a:gd name="T36" fmla="*/ 511 w 657"/>
                <a:gd name="T37" fmla="*/ 57 h 657"/>
                <a:gd name="T38" fmla="*/ 581 w 657"/>
                <a:gd name="T39" fmla="*/ 120 h 657"/>
                <a:gd name="T40" fmla="*/ 631 w 657"/>
                <a:gd name="T41" fmla="*/ 200 h 657"/>
                <a:gd name="T42" fmla="*/ 650 w 657"/>
                <a:gd name="T43" fmla="*/ 262 h 657"/>
                <a:gd name="T44" fmla="*/ 657 w 657"/>
                <a:gd name="T45" fmla="*/ 312 h 657"/>
                <a:gd name="T46" fmla="*/ 657 w 657"/>
                <a:gd name="T47" fmla="*/ 345 h 657"/>
                <a:gd name="T48" fmla="*/ 650 w 657"/>
                <a:gd name="T49" fmla="*/ 395 h 657"/>
                <a:gd name="T50" fmla="*/ 631 w 657"/>
                <a:gd name="T51" fmla="*/ 457 h 657"/>
                <a:gd name="T52" fmla="*/ 581 w 657"/>
                <a:gd name="T53" fmla="*/ 538 h 657"/>
                <a:gd name="T54" fmla="*/ 511 w 657"/>
                <a:gd name="T55" fmla="*/ 601 h 657"/>
                <a:gd name="T56" fmla="*/ 425 w 657"/>
                <a:gd name="T57" fmla="*/ 642 h 657"/>
                <a:gd name="T58" fmla="*/ 378 w 657"/>
                <a:gd name="T59" fmla="*/ 653 h 657"/>
                <a:gd name="T60" fmla="*/ 327 w 657"/>
                <a:gd name="T61" fmla="*/ 657 h 657"/>
                <a:gd name="T62" fmla="*/ 327 w 657"/>
                <a:gd name="T63" fmla="*/ 38 h 657"/>
                <a:gd name="T64" fmla="*/ 241 w 657"/>
                <a:gd name="T65" fmla="*/ 50 h 657"/>
                <a:gd name="T66" fmla="*/ 165 w 657"/>
                <a:gd name="T67" fmla="*/ 88 h 657"/>
                <a:gd name="T68" fmla="*/ 103 w 657"/>
                <a:gd name="T69" fmla="*/ 144 h 657"/>
                <a:gd name="T70" fmla="*/ 60 w 657"/>
                <a:gd name="T71" fmla="*/ 215 h 657"/>
                <a:gd name="T72" fmla="*/ 39 w 657"/>
                <a:gd name="T73" fmla="*/ 298 h 657"/>
                <a:gd name="T74" fmla="*/ 39 w 657"/>
                <a:gd name="T75" fmla="*/ 359 h 657"/>
                <a:gd name="T76" fmla="*/ 60 w 657"/>
                <a:gd name="T77" fmla="*/ 442 h 657"/>
                <a:gd name="T78" fmla="*/ 103 w 657"/>
                <a:gd name="T79" fmla="*/ 513 h 657"/>
                <a:gd name="T80" fmla="*/ 165 w 657"/>
                <a:gd name="T81" fmla="*/ 570 h 657"/>
                <a:gd name="T82" fmla="*/ 241 w 657"/>
                <a:gd name="T83" fmla="*/ 606 h 657"/>
                <a:gd name="T84" fmla="*/ 327 w 657"/>
                <a:gd name="T85" fmla="*/ 619 h 657"/>
                <a:gd name="T86" fmla="*/ 387 w 657"/>
                <a:gd name="T87" fmla="*/ 614 h 657"/>
                <a:gd name="T88" fmla="*/ 467 w 657"/>
                <a:gd name="T89" fmla="*/ 585 h 657"/>
                <a:gd name="T90" fmla="*/ 534 w 657"/>
                <a:gd name="T91" fmla="*/ 535 h 657"/>
                <a:gd name="T92" fmla="*/ 584 w 657"/>
                <a:gd name="T93" fmla="*/ 468 h 657"/>
                <a:gd name="T94" fmla="*/ 614 w 657"/>
                <a:gd name="T95" fmla="*/ 387 h 657"/>
                <a:gd name="T96" fmla="*/ 619 w 657"/>
                <a:gd name="T97" fmla="*/ 328 h 657"/>
                <a:gd name="T98" fmla="*/ 605 w 657"/>
                <a:gd name="T99" fmla="*/ 242 h 657"/>
                <a:gd name="T100" fmla="*/ 569 w 657"/>
                <a:gd name="T101" fmla="*/ 165 h 657"/>
                <a:gd name="T102" fmla="*/ 513 w 657"/>
                <a:gd name="T103" fmla="*/ 104 h 657"/>
                <a:gd name="T104" fmla="*/ 442 w 657"/>
                <a:gd name="T105" fmla="*/ 61 h 657"/>
                <a:gd name="T106" fmla="*/ 358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7" y="657"/>
                  </a:moveTo>
                  <a:lnTo>
                    <a:pt x="327" y="657"/>
                  </a:lnTo>
                  <a:lnTo>
                    <a:pt x="311" y="657"/>
                  </a:lnTo>
                  <a:lnTo>
                    <a:pt x="294" y="656"/>
                  </a:lnTo>
                  <a:lnTo>
                    <a:pt x="278" y="653"/>
                  </a:lnTo>
                  <a:lnTo>
                    <a:pt x="262" y="650"/>
                  </a:lnTo>
                  <a:lnTo>
                    <a:pt x="246" y="646"/>
                  </a:lnTo>
                  <a:lnTo>
                    <a:pt x="231" y="642"/>
                  </a:lnTo>
                  <a:lnTo>
                    <a:pt x="200" y="632"/>
                  </a:lnTo>
                  <a:lnTo>
                    <a:pt x="172" y="618"/>
                  </a:lnTo>
                  <a:lnTo>
                    <a:pt x="145" y="601"/>
                  </a:lnTo>
                  <a:lnTo>
                    <a:pt x="119" y="582"/>
                  </a:lnTo>
                  <a:lnTo>
                    <a:pt x="95" y="560"/>
                  </a:lnTo>
                  <a:lnTo>
                    <a:pt x="75" y="538"/>
                  </a:lnTo>
                  <a:lnTo>
                    <a:pt x="55" y="512"/>
                  </a:lnTo>
                  <a:lnTo>
                    <a:pt x="39" y="485"/>
                  </a:lnTo>
                  <a:lnTo>
                    <a:pt x="25" y="457"/>
                  </a:lnTo>
                  <a:lnTo>
                    <a:pt x="14" y="426"/>
                  </a:lnTo>
                  <a:lnTo>
                    <a:pt x="9" y="411"/>
                  </a:lnTo>
                  <a:lnTo>
                    <a:pt x="6" y="395"/>
                  </a:lnTo>
                  <a:lnTo>
                    <a:pt x="2" y="379"/>
                  </a:lnTo>
                  <a:lnTo>
                    <a:pt x="1" y="362"/>
                  </a:lnTo>
                  <a:lnTo>
                    <a:pt x="0" y="345"/>
                  </a:lnTo>
                  <a:lnTo>
                    <a:pt x="0" y="328"/>
                  </a:lnTo>
                  <a:lnTo>
                    <a:pt x="0" y="328"/>
                  </a:lnTo>
                  <a:lnTo>
                    <a:pt x="0" y="312"/>
                  </a:lnTo>
                  <a:lnTo>
                    <a:pt x="1" y="294"/>
                  </a:lnTo>
                  <a:lnTo>
                    <a:pt x="2" y="278"/>
                  </a:lnTo>
                  <a:lnTo>
                    <a:pt x="6" y="262"/>
                  </a:lnTo>
                  <a:lnTo>
                    <a:pt x="9" y="246"/>
                  </a:lnTo>
                  <a:lnTo>
                    <a:pt x="14" y="231"/>
                  </a:lnTo>
                  <a:lnTo>
                    <a:pt x="25" y="200"/>
                  </a:lnTo>
                  <a:lnTo>
                    <a:pt x="39" y="172"/>
                  </a:lnTo>
                  <a:lnTo>
                    <a:pt x="55" y="145"/>
                  </a:lnTo>
                  <a:lnTo>
                    <a:pt x="75" y="120"/>
                  </a:lnTo>
                  <a:lnTo>
                    <a:pt x="95" y="96"/>
                  </a:lnTo>
                  <a:lnTo>
                    <a:pt x="119" y="75"/>
                  </a:lnTo>
                  <a:lnTo>
                    <a:pt x="145" y="57"/>
                  </a:lnTo>
                  <a:lnTo>
                    <a:pt x="172" y="39"/>
                  </a:lnTo>
                  <a:lnTo>
                    <a:pt x="200" y="26"/>
                  </a:lnTo>
                  <a:lnTo>
                    <a:pt x="231" y="15"/>
                  </a:lnTo>
                  <a:lnTo>
                    <a:pt x="246" y="10"/>
                  </a:lnTo>
                  <a:lnTo>
                    <a:pt x="262" y="7"/>
                  </a:lnTo>
                  <a:lnTo>
                    <a:pt x="278" y="3"/>
                  </a:lnTo>
                  <a:lnTo>
                    <a:pt x="294" y="2"/>
                  </a:lnTo>
                  <a:lnTo>
                    <a:pt x="311" y="0"/>
                  </a:lnTo>
                  <a:lnTo>
                    <a:pt x="327" y="0"/>
                  </a:lnTo>
                  <a:lnTo>
                    <a:pt x="327" y="0"/>
                  </a:lnTo>
                  <a:lnTo>
                    <a:pt x="345" y="0"/>
                  </a:lnTo>
                  <a:lnTo>
                    <a:pt x="361" y="2"/>
                  </a:lnTo>
                  <a:lnTo>
                    <a:pt x="378" y="3"/>
                  </a:lnTo>
                  <a:lnTo>
                    <a:pt x="395" y="7"/>
                  </a:lnTo>
                  <a:lnTo>
                    <a:pt x="409" y="10"/>
                  </a:lnTo>
                  <a:lnTo>
                    <a:pt x="425" y="15"/>
                  </a:lnTo>
                  <a:lnTo>
                    <a:pt x="456" y="26"/>
                  </a:lnTo>
                  <a:lnTo>
                    <a:pt x="485" y="39"/>
                  </a:lnTo>
                  <a:lnTo>
                    <a:pt x="511" y="57"/>
                  </a:lnTo>
                  <a:lnTo>
                    <a:pt x="537" y="75"/>
                  </a:lnTo>
                  <a:lnTo>
                    <a:pt x="560" y="96"/>
                  </a:lnTo>
                  <a:lnTo>
                    <a:pt x="581" y="120"/>
                  </a:lnTo>
                  <a:lnTo>
                    <a:pt x="600" y="145"/>
                  </a:lnTo>
                  <a:lnTo>
                    <a:pt x="618" y="172"/>
                  </a:lnTo>
                  <a:lnTo>
                    <a:pt x="631" y="200"/>
                  </a:lnTo>
                  <a:lnTo>
                    <a:pt x="642" y="231"/>
                  </a:lnTo>
                  <a:lnTo>
                    <a:pt x="646" y="246"/>
                  </a:lnTo>
                  <a:lnTo>
                    <a:pt x="650" y="262"/>
                  </a:lnTo>
                  <a:lnTo>
                    <a:pt x="652" y="278"/>
                  </a:lnTo>
                  <a:lnTo>
                    <a:pt x="655" y="294"/>
                  </a:lnTo>
                  <a:lnTo>
                    <a:pt x="657" y="312"/>
                  </a:lnTo>
                  <a:lnTo>
                    <a:pt x="657" y="328"/>
                  </a:lnTo>
                  <a:lnTo>
                    <a:pt x="657" y="328"/>
                  </a:lnTo>
                  <a:lnTo>
                    <a:pt x="657" y="345"/>
                  </a:lnTo>
                  <a:lnTo>
                    <a:pt x="655" y="362"/>
                  </a:lnTo>
                  <a:lnTo>
                    <a:pt x="652" y="379"/>
                  </a:lnTo>
                  <a:lnTo>
                    <a:pt x="650" y="395"/>
                  </a:lnTo>
                  <a:lnTo>
                    <a:pt x="646" y="411"/>
                  </a:lnTo>
                  <a:lnTo>
                    <a:pt x="642" y="426"/>
                  </a:lnTo>
                  <a:lnTo>
                    <a:pt x="631" y="457"/>
                  </a:lnTo>
                  <a:lnTo>
                    <a:pt x="618" y="485"/>
                  </a:lnTo>
                  <a:lnTo>
                    <a:pt x="600" y="512"/>
                  </a:lnTo>
                  <a:lnTo>
                    <a:pt x="581" y="538"/>
                  </a:lnTo>
                  <a:lnTo>
                    <a:pt x="560" y="560"/>
                  </a:lnTo>
                  <a:lnTo>
                    <a:pt x="537" y="582"/>
                  </a:lnTo>
                  <a:lnTo>
                    <a:pt x="511" y="601"/>
                  </a:lnTo>
                  <a:lnTo>
                    <a:pt x="485" y="618"/>
                  </a:lnTo>
                  <a:lnTo>
                    <a:pt x="456" y="632"/>
                  </a:lnTo>
                  <a:lnTo>
                    <a:pt x="425" y="642"/>
                  </a:lnTo>
                  <a:lnTo>
                    <a:pt x="409" y="646"/>
                  </a:lnTo>
                  <a:lnTo>
                    <a:pt x="395" y="650"/>
                  </a:lnTo>
                  <a:lnTo>
                    <a:pt x="378" y="653"/>
                  </a:lnTo>
                  <a:lnTo>
                    <a:pt x="361" y="656"/>
                  </a:lnTo>
                  <a:lnTo>
                    <a:pt x="345" y="657"/>
                  </a:lnTo>
                  <a:lnTo>
                    <a:pt x="327" y="657"/>
                  </a:lnTo>
                  <a:lnTo>
                    <a:pt x="327" y="657"/>
                  </a:lnTo>
                  <a:close/>
                  <a:moveTo>
                    <a:pt x="327" y="38"/>
                  </a:moveTo>
                  <a:lnTo>
                    <a:pt x="327" y="38"/>
                  </a:lnTo>
                  <a:lnTo>
                    <a:pt x="298" y="39"/>
                  </a:lnTo>
                  <a:lnTo>
                    <a:pt x="270" y="43"/>
                  </a:lnTo>
                  <a:lnTo>
                    <a:pt x="241" y="50"/>
                  </a:lnTo>
                  <a:lnTo>
                    <a:pt x="215" y="61"/>
                  </a:lnTo>
                  <a:lnTo>
                    <a:pt x="189" y="73"/>
                  </a:lnTo>
                  <a:lnTo>
                    <a:pt x="165" y="88"/>
                  </a:lnTo>
                  <a:lnTo>
                    <a:pt x="143" y="104"/>
                  </a:lnTo>
                  <a:lnTo>
                    <a:pt x="122" y="122"/>
                  </a:lnTo>
                  <a:lnTo>
                    <a:pt x="103" y="144"/>
                  </a:lnTo>
                  <a:lnTo>
                    <a:pt x="87" y="165"/>
                  </a:lnTo>
                  <a:lnTo>
                    <a:pt x="72" y="190"/>
                  </a:lnTo>
                  <a:lnTo>
                    <a:pt x="60" y="215"/>
                  </a:lnTo>
                  <a:lnTo>
                    <a:pt x="49" y="242"/>
                  </a:lnTo>
                  <a:lnTo>
                    <a:pt x="43" y="270"/>
                  </a:lnTo>
                  <a:lnTo>
                    <a:pt x="39" y="298"/>
                  </a:lnTo>
                  <a:lnTo>
                    <a:pt x="37" y="328"/>
                  </a:lnTo>
                  <a:lnTo>
                    <a:pt x="37" y="328"/>
                  </a:lnTo>
                  <a:lnTo>
                    <a:pt x="39" y="359"/>
                  </a:lnTo>
                  <a:lnTo>
                    <a:pt x="43" y="387"/>
                  </a:lnTo>
                  <a:lnTo>
                    <a:pt x="49" y="415"/>
                  </a:lnTo>
                  <a:lnTo>
                    <a:pt x="60" y="442"/>
                  </a:lnTo>
                  <a:lnTo>
                    <a:pt x="72" y="468"/>
                  </a:lnTo>
                  <a:lnTo>
                    <a:pt x="87" y="492"/>
                  </a:lnTo>
                  <a:lnTo>
                    <a:pt x="103" y="513"/>
                  </a:lnTo>
                  <a:lnTo>
                    <a:pt x="122" y="535"/>
                  </a:lnTo>
                  <a:lnTo>
                    <a:pt x="143" y="554"/>
                  </a:lnTo>
                  <a:lnTo>
                    <a:pt x="165" y="570"/>
                  </a:lnTo>
                  <a:lnTo>
                    <a:pt x="189" y="585"/>
                  </a:lnTo>
                  <a:lnTo>
                    <a:pt x="215" y="597"/>
                  </a:lnTo>
                  <a:lnTo>
                    <a:pt x="241" y="606"/>
                  </a:lnTo>
                  <a:lnTo>
                    <a:pt x="270" y="614"/>
                  </a:lnTo>
                  <a:lnTo>
                    <a:pt x="298" y="618"/>
                  </a:lnTo>
                  <a:lnTo>
                    <a:pt x="327" y="619"/>
                  </a:lnTo>
                  <a:lnTo>
                    <a:pt x="327" y="619"/>
                  </a:lnTo>
                  <a:lnTo>
                    <a:pt x="358" y="618"/>
                  </a:lnTo>
                  <a:lnTo>
                    <a:pt x="387" y="614"/>
                  </a:lnTo>
                  <a:lnTo>
                    <a:pt x="415" y="606"/>
                  </a:lnTo>
                  <a:lnTo>
                    <a:pt x="442" y="597"/>
                  </a:lnTo>
                  <a:lnTo>
                    <a:pt x="467" y="585"/>
                  </a:lnTo>
                  <a:lnTo>
                    <a:pt x="491" y="570"/>
                  </a:lnTo>
                  <a:lnTo>
                    <a:pt x="513" y="554"/>
                  </a:lnTo>
                  <a:lnTo>
                    <a:pt x="534" y="535"/>
                  </a:lnTo>
                  <a:lnTo>
                    <a:pt x="553" y="513"/>
                  </a:lnTo>
                  <a:lnTo>
                    <a:pt x="569" y="492"/>
                  </a:lnTo>
                  <a:lnTo>
                    <a:pt x="584" y="468"/>
                  </a:lnTo>
                  <a:lnTo>
                    <a:pt x="596" y="442"/>
                  </a:lnTo>
                  <a:lnTo>
                    <a:pt x="605" y="415"/>
                  </a:lnTo>
                  <a:lnTo>
                    <a:pt x="614" y="387"/>
                  </a:lnTo>
                  <a:lnTo>
                    <a:pt x="618" y="359"/>
                  </a:lnTo>
                  <a:lnTo>
                    <a:pt x="619" y="328"/>
                  </a:lnTo>
                  <a:lnTo>
                    <a:pt x="619" y="328"/>
                  </a:lnTo>
                  <a:lnTo>
                    <a:pt x="618" y="298"/>
                  </a:lnTo>
                  <a:lnTo>
                    <a:pt x="614" y="270"/>
                  </a:lnTo>
                  <a:lnTo>
                    <a:pt x="605" y="242"/>
                  </a:lnTo>
                  <a:lnTo>
                    <a:pt x="596" y="215"/>
                  </a:lnTo>
                  <a:lnTo>
                    <a:pt x="584" y="190"/>
                  </a:lnTo>
                  <a:lnTo>
                    <a:pt x="569" y="165"/>
                  </a:lnTo>
                  <a:lnTo>
                    <a:pt x="553" y="144"/>
                  </a:lnTo>
                  <a:lnTo>
                    <a:pt x="534" y="122"/>
                  </a:lnTo>
                  <a:lnTo>
                    <a:pt x="513" y="104"/>
                  </a:lnTo>
                  <a:lnTo>
                    <a:pt x="491" y="88"/>
                  </a:lnTo>
                  <a:lnTo>
                    <a:pt x="467" y="73"/>
                  </a:lnTo>
                  <a:lnTo>
                    <a:pt x="442" y="61"/>
                  </a:lnTo>
                  <a:lnTo>
                    <a:pt x="415" y="50"/>
                  </a:lnTo>
                  <a:lnTo>
                    <a:pt x="387" y="43"/>
                  </a:lnTo>
                  <a:lnTo>
                    <a:pt x="358" y="39"/>
                  </a:lnTo>
                  <a:lnTo>
                    <a:pt x="327" y="38"/>
                  </a:lnTo>
                  <a:lnTo>
                    <a:pt x="327"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sp>
          <p:nvSpPr>
            <p:cNvPr id="9" name="Freeform 274">
              <a:extLst>
                <a:ext uri="{FF2B5EF4-FFF2-40B4-BE49-F238E27FC236}">
                  <a16:creationId xmlns:a16="http://schemas.microsoft.com/office/drawing/2014/main" id="{40555AC7-7933-4D9E-A70D-5F76A76E10A4}"/>
                </a:ext>
              </a:extLst>
            </p:cNvPr>
            <p:cNvSpPr>
              <a:spLocks noEditPoints="1"/>
            </p:cNvSpPr>
            <p:nvPr/>
          </p:nvSpPr>
          <p:spPr bwMode="auto">
            <a:xfrm>
              <a:off x="2468563" y="3490913"/>
              <a:ext cx="228600" cy="228600"/>
            </a:xfrm>
            <a:custGeom>
              <a:avLst/>
              <a:gdLst>
                <a:gd name="T0" fmla="*/ 224 w 289"/>
                <a:gd name="T1" fmla="*/ 38 h 289"/>
                <a:gd name="T2" fmla="*/ 224 w 289"/>
                <a:gd name="T3" fmla="*/ 4 h 289"/>
                <a:gd name="T4" fmla="*/ 219 w 289"/>
                <a:gd name="T5" fmla="*/ 0 h 289"/>
                <a:gd name="T6" fmla="*/ 70 w 289"/>
                <a:gd name="T7" fmla="*/ 0 h 289"/>
                <a:gd name="T8" fmla="*/ 65 w 289"/>
                <a:gd name="T9" fmla="*/ 4 h 289"/>
                <a:gd name="T10" fmla="*/ 4 w 289"/>
                <a:gd name="T11" fmla="*/ 38 h 289"/>
                <a:gd name="T12" fmla="*/ 1 w 289"/>
                <a:gd name="T13" fmla="*/ 39 h 289"/>
                <a:gd name="T14" fmla="*/ 0 w 289"/>
                <a:gd name="T15" fmla="*/ 285 h 289"/>
                <a:gd name="T16" fmla="*/ 1 w 289"/>
                <a:gd name="T17" fmla="*/ 289 h 289"/>
                <a:gd name="T18" fmla="*/ 78 w 289"/>
                <a:gd name="T19" fmla="*/ 289 h 289"/>
                <a:gd name="T20" fmla="*/ 121 w 289"/>
                <a:gd name="T21" fmla="*/ 153 h 289"/>
                <a:gd name="T22" fmla="*/ 126 w 289"/>
                <a:gd name="T23" fmla="*/ 149 h 289"/>
                <a:gd name="T24" fmla="*/ 163 w 289"/>
                <a:gd name="T25" fmla="*/ 149 h 289"/>
                <a:gd name="T26" fmla="*/ 168 w 289"/>
                <a:gd name="T27" fmla="*/ 153 h 289"/>
                <a:gd name="T28" fmla="*/ 285 w 289"/>
                <a:gd name="T29" fmla="*/ 289 h 289"/>
                <a:gd name="T30" fmla="*/ 288 w 289"/>
                <a:gd name="T31" fmla="*/ 289 h 289"/>
                <a:gd name="T32" fmla="*/ 289 w 289"/>
                <a:gd name="T33" fmla="*/ 42 h 289"/>
                <a:gd name="T34" fmla="*/ 288 w 289"/>
                <a:gd name="T35" fmla="*/ 39 h 289"/>
                <a:gd name="T36" fmla="*/ 285 w 289"/>
                <a:gd name="T37" fmla="*/ 38 h 289"/>
                <a:gd name="T38" fmla="*/ 74 w 289"/>
                <a:gd name="T39" fmla="*/ 15 h 289"/>
                <a:gd name="T40" fmla="*/ 132 w 289"/>
                <a:gd name="T41" fmla="*/ 66 h 289"/>
                <a:gd name="T42" fmla="*/ 133 w 289"/>
                <a:gd name="T43" fmla="*/ 68 h 289"/>
                <a:gd name="T44" fmla="*/ 132 w 289"/>
                <a:gd name="T45" fmla="*/ 73 h 289"/>
                <a:gd name="T46" fmla="*/ 82 w 289"/>
                <a:gd name="T47" fmla="*/ 103 h 289"/>
                <a:gd name="T48" fmla="*/ 77 w 289"/>
                <a:gd name="T49" fmla="*/ 103 h 289"/>
                <a:gd name="T50" fmla="*/ 74 w 289"/>
                <a:gd name="T51" fmla="*/ 99 h 289"/>
                <a:gd name="T52" fmla="*/ 188 w 289"/>
                <a:gd name="T53" fmla="*/ 109 h 289"/>
                <a:gd name="T54" fmla="*/ 167 w 289"/>
                <a:gd name="T55" fmla="*/ 138 h 289"/>
                <a:gd name="T56" fmla="*/ 163 w 289"/>
                <a:gd name="T57" fmla="*/ 140 h 289"/>
                <a:gd name="T58" fmla="*/ 126 w 289"/>
                <a:gd name="T59" fmla="*/ 140 h 289"/>
                <a:gd name="T60" fmla="*/ 122 w 289"/>
                <a:gd name="T61" fmla="*/ 138 h 289"/>
                <a:gd name="T62" fmla="*/ 101 w 289"/>
                <a:gd name="T63" fmla="*/ 109 h 289"/>
                <a:gd name="T64" fmla="*/ 101 w 289"/>
                <a:gd name="T65" fmla="*/ 103 h 289"/>
                <a:gd name="T66" fmla="*/ 142 w 289"/>
                <a:gd name="T67" fmla="*/ 78 h 289"/>
                <a:gd name="T68" fmla="*/ 145 w 289"/>
                <a:gd name="T69" fmla="*/ 77 h 289"/>
                <a:gd name="T70" fmla="*/ 187 w 289"/>
                <a:gd name="T71" fmla="*/ 102 h 289"/>
                <a:gd name="T72" fmla="*/ 189 w 289"/>
                <a:gd name="T73" fmla="*/ 103 h 289"/>
                <a:gd name="T74" fmla="*/ 189 w 289"/>
                <a:gd name="T75" fmla="*/ 107 h 289"/>
                <a:gd name="T76" fmla="*/ 188 w 289"/>
                <a:gd name="T77" fmla="*/ 109 h 289"/>
                <a:gd name="T78" fmla="*/ 215 w 289"/>
                <a:gd name="T79" fmla="*/ 99 h 289"/>
                <a:gd name="T80" fmla="*/ 212 w 289"/>
                <a:gd name="T81" fmla="*/ 103 h 289"/>
                <a:gd name="T82" fmla="*/ 207 w 289"/>
                <a:gd name="T83" fmla="*/ 103 h 289"/>
                <a:gd name="T84" fmla="*/ 157 w 289"/>
                <a:gd name="T85" fmla="*/ 73 h 289"/>
                <a:gd name="T86" fmla="*/ 156 w 289"/>
                <a:gd name="T87" fmla="*/ 68 h 289"/>
                <a:gd name="T88" fmla="*/ 157 w 289"/>
                <a:gd name="T89" fmla="*/ 64 h 289"/>
                <a:gd name="T90" fmla="*/ 215 w 289"/>
                <a:gd name="T91" fmla="*/ 9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9" h="289">
                  <a:moveTo>
                    <a:pt x="285" y="38"/>
                  </a:moveTo>
                  <a:lnTo>
                    <a:pt x="224" y="38"/>
                  </a:lnTo>
                  <a:lnTo>
                    <a:pt x="224" y="4"/>
                  </a:lnTo>
                  <a:lnTo>
                    <a:pt x="224" y="4"/>
                  </a:lnTo>
                  <a:lnTo>
                    <a:pt x="223" y="1"/>
                  </a:lnTo>
                  <a:lnTo>
                    <a:pt x="219" y="0"/>
                  </a:lnTo>
                  <a:lnTo>
                    <a:pt x="70" y="0"/>
                  </a:lnTo>
                  <a:lnTo>
                    <a:pt x="70" y="0"/>
                  </a:lnTo>
                  <a:lnTo>
                    <a:pt x="66" y="1"/>
                  </a:lnTo>
                  <a:lnTo>
                    <a:pt x="65" y="4"/>
                  </a:lnTo>
                  <a:lnTo>
                    <a:pt x="65" y="38"/>
                  </a:lnTo>
                  <a:lnTo>
                    <a:pt x="4" y="38"/>
                  </a:lnTo>
                  <a:lnTo>
                    <a:pt x="4" y="38"/>
                  </a:lnTo>
                  <a:lnTo>
                    <a:pt x="1" y="39"/>
                  </a:lnTo>
                  <a:lnTo>
                    <a:pt x="0" y="42"/>
                  </a:lnTo>
                  <a:lnTo>
                    <a:pt x="0" y="285"/>
                  </a:lnTo>
                  <a:lnTo>
                    <a:pt x="0" y="285"/>
                  </a:lnTo>
                  <a:lnTo>
                    <a:pt x="1" y="289"/>
                  </a:lnTo>
                  <a:lnTo>
                    <a:pt x="4" y="289"/>
                  </a:lnTo>
                  <a:lnTo>
                    <a:pt x="78" y="289"/>
                  </a:lnTo>
                  <a:lnTo>
                    <a:pt x="121" y="153"/>
                  </a:lnTo>
                  <a:lnTo>
                    <a:pt x="121" y="153"/>
                  </a:lnTo>
                  <a:lnTo>
                    <a:pt x="122" y="150"/>
                  </a:lnTo>
                  <a:lnTo>
                    <a:pt x="126" y="149"/>
                  </a:lnTo>
                  <a:lnTo>
                    <a:pt x="163" y="149"/>
                  </a:lnTo>
                  <a:lnTo>
                    <a:pt x="163" y="149"/>
                  </a:lnTo>
                  <a:lnTo>
                    <a:pt x="165" y="150"/>
                  </a:lnTo>
                  <a:lnTo>
                    <a:pt x="168" y="153"/>
                  </a:lnTo>
                  <a:lnTo>
                    <a:pt x="211" y="289"/>
                  </a:lnTo>
                  <a:lnTo>
                    <a:pt x="285" y="289"/>
                  </a:lnTo>
                  <a:lnTo>
                    <a:pt x="285" y="289"/>
                  </a:lnTo>
                  <a:lnTo>
                    <a:pt x="288" y="289"/>
                  </a:lnTo>
                  <a:lnTo>
                    <a:pt x="289" y="285"/>
                  </a:lnTo>
                  <a:lnTo>
                    <a:pt x="289" y="42"/>
                  </a:lnTo>
                  <a:lnTo>
                    <a:pt x="289" y="42"/>
                  </a:lnTo>
                  <a:lnTo>
                    <a:pt x="288" y="39"/>
                  </a:lnTo>
                  <a:lnTo>
                    <a:pt x="285" y="38"/>
                  </a:lnTo>
                  <a:lnTo>
                    <a:pt x="285" y="38"/>
                  </a:lnTo>
                  <a:close/>
                  <a:moveTo>
                    <a:pt x="74" y="99"/>
                  </a:moveTo>
                  <a:lnTo>
                    <a:pt x="74" y="15"/>
                  </a:lnTo>
                  <a:lnTo>
                    <a:pt x="132" y="66"/>
                  </a:lnTo>
                  <a:lnTo>
                    <a:pt x="132" y="66"/>
                  </a:lnTo>
                  <a:lnTo>
                    <a:pt x="133" y="67"/>
                  </a:lnTo>
                  <a:lnTo>
                    <a:pt x="133" y="68"/>
                  </a:lnTo>
                  <a:lnTo>
                    <a:pt x="133" y="71"/>
                  </a:lnTo>
                  <a:lnTo>
                    <a:pt x="132" y="73"/>
                  </a:lnTo>
                  <a:lnTo>
                    <a:pt x="82" y="103"/>
                  </a:lnTo>
                  <a:lnTo>
                    <a:pt x="82" y="103"/>
                  </a:lnTo>
                  <a:lnTo>
                    <a:pt x="79" y="105"/>
                  </a:lnTo>
                  <a:lnTo>
                    <a:pt x="77" y="103"/>
                  </a:lnTo>
                  <a:lnTo>
                    <a:pt x="75" y="102"/>
                  </a:lnTo>
                  <a:lnTo>
                    <a:pt x="74" y="99"/>
                  </a:lnTo>
                  <a:lnTo>
                    <a:pt x="74" y="99"/>
                  </a:lnTo>
                  <a:close/>
                  <a:moveTo>
                    <a:pt x="188" y="109"/>
                  </a:moveTo>
                  <a:lnTo>
                    <a:pt x="167" y="138"/>
                  </a:lnTo>
                  <a:lnTo>
                    <a:pt x="167" y="138"/>
                  </a:lnTo>
                  <a:lnTo>
                    <a:pt x="165" y="140"/>
                  </a:lnTo>
                  <a:lnTo>
                    <a:pt x="163" y="140"/>
                  </a:lnTo>
                  <a:lnTo>
                    <a:pt x="126" y="140"/>
                  </a:lnTo>
                  <a:lnTo>
                    <a:pt x="126" y="140"/>
                  </a:lnTo>
                  <a:lnTo>
                    <a:pt x="124" y="140"/>
                  </a:lnTo>
                  <a:lnTo>
                    <a:pt x="122" y="138"/>
                  </a:lnTo>
                  <a:lnTo>
                    <a:pt x="101" y="109"/>
                  </a:lnTo>
                  <a:lnTo>
                    <a:pt x="101" y="109"/>
                  </a:lnTo>
                  <a:lnTo>
                    <a:pt x="99" y="106"/>
                  </a:lnTo>
                  <a:lnTo>
                    <a:pt x="101" y="103"/>
                  </a:lnTo>
                  <a:lnTo>
                    <a:pt x="102" y="102"/>
                  </a:lnTo>
                  <a:lnTo>
                    <a:pt x="142" y="78"/>
                  </a:lnTo>
                  <a:lnTo>
                    <a:pt x="142" y="78"/>
                  </a:lnTo>
                  <a:lnTo>
                    <a:pt x="145" y="77"/>
                  </a:lnTo>
                  <a:lnTo>
                    <a:pt x="148" y="78"/>
                  </a:lnTo>
                  <a:lnTo>
                    <a:pt x="187" y="102"/>
                  </a:lnTo>
                  <a:lnTo>
                    <a:pt x="187" y="102"/>
                  </a:lnTo>
                  <a:lnTo>
                    <a:pt x="189" y="103"/>
                  </a:lnTo>
                  <a:lnTo>
                    <a:pt x="189" y="105"/>
                  </a:lnTo>
                  <a:lnTo>
                    <a:pt x="189" y="107"/>
                  </a:lnTo>
                  <a:lnTo>
                    <a:pt x="188" y="109"/>
                  </a:lnTo>
                  <a:lnTo>
                    <a:pt x="188" y="109"/>
                  </a:lnTo>
                  <a:close/>
                  <a:moveTo>
                    <a:pt x="215" y="99"/>
                  </a:moveTo>
                  <a:lnTo>
                    <a:pt x="215" y="99"/>
                  </a:lnTo>
                  <a:lnTo>
                    <a:pt x="214" y="102"/>
                  </a:lnTo>
                  <a:lnTo>
                    <a:pt x="212" y="103"/>
                  </a:lnTo>
                  <a:lnTo>
                    <a:pt x="210" y="105"/>
                  </a:lnTo>
                  <a:lnTo>
                    <a:pt x="207" y="103"/>
                  </a:lnTo>
                  <a:lnTo>
                    <a:pt x="157" y="73"/>
                  </a:lnTo>
                  <a:lnTo>
                    <a:pt x="157" y="73"/>
                  </a:lnTo>
                  <a:lnTo>
                    <a:pt x="156" y="71"/>
                  </a:lnTo>
                  <a:lnTo>
                    <a:pt x="156" y="68"/>
                  </a:lnTo>
                  <a:lnTo>
                    <a:pt x="156" y="67"/>
                  </a:lnTo>
                  <a:lnTo>
                    <a:pt x="157" y="64"/>
                  </a:lnTo>
                  <a:lnTo>
                    <a:pt x="215" y="15"/>
                  </a:lnTo>
                  <a:lnTo>
                    <a:pt x="215" y="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grpSp>
      <p:sp>
        <p:nvSpPr>
          <p:cNvPr id="10" name="Rectangle 9">
            <a:extLst>
              <a:ext uri="{FF2B5EF4-FFF2-40B4-BE49-F238E27FC236}">
                <a16:creationId xmlns:a16="http://schemas.microsoft.com/office/drawing/2014/main" id="{BFB83E42-5D4E-4566-B887-1553F705FE73}"/>
              </a:ext>
            </a:extLst>
          </p:cNvPr>
          <p:cNvSpPr/>
          <p:nvPr/>
        </p:nvSpPr>
        <p:spPr>
          <a:xfrm>
            <a:off x="2760592" y="1946196"/>
            <a:ext cx="1616897" cy="4113151"/>
          </a:xfrm>
          <a:prstGeom prst="rect">
            <a:avLst/>
          </a:prstGeom>
          <a:no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rPr>
              <a:t>NORTH AMERICA</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grpSp>
        <p:nvGrpSpPr>
          <p:cNvPr id="11" name="Group 10">
            <a:extLst>
              <a:ext uri="{FF2B5EF4-FFF2-40B4-BE49-F238E27FC236}">
                <a16:creationId xmlns:a16="http://schemas.microsoft.com/office/drawing/2014/main" id="{E3AAC8F8-9CBE-4DA7-8C7E-19C597C77C6E}"/>
              </a:ext>
            </a:extLst>
          </p:cNvPr>
          <p:cNvGrpSpPr>
            <a:grpSpLocks noChangeAspect="1"/>
          </p:cNvGrpSpPr>
          <p:nvPr/>
        </p:nvGrpSpPr>
        <p:grpSpPr>
          <a:xfrm>
            <a:off x="3226140" y="2838021"/>
            <a:ext cx="685800" cy="685800"/>
            <a:chOff x="558801" y="822325"/>
            <a:chExt cx="522288" cy="522288"/>
          </a:xfrm>
        </p:grpSpPr>
        <p:sp>
          <p:nvSpPr>
            <p:cNvPr id="12" name="Freeform 6">
              <a:extLst>
                <a:ext uri="{FF2B5EF4-FFF2-40B4-BE49-F238E27FC236}">
                  <a16:creationId xmlns:a16="http://schemas.microsoft.com/office/drawing/2014/main" id="{43D9BE84-28B9-4379-B773-A6A65191AC13}"/>
                </a:ext>
              </a:extLst>
            </p:cNvPr>
            <p:cNvSpPr>
              <a:spLocks noEditPoints="1"/>
            </p:cNvSpPr>
            <p:nvPr/>
          </p:nvSpPr>
          <p:spPr bwMode="auto">
            <a:xfrm>
              <a:off x="558801" y="822325"/>
              <a:ext cx="522288" cy="522288"/>
            </a:xfrm>
            <a:custGeom>
              <a:avLst/>
              <a:gdLst>
                <a:gd name="T0" fmla="*/ 312 w 658"/>
                <a:gd name="T1" fmla="*/ 658 h 658"/>
                <a:gd name="T2" fmla="*/ 262 w 658"/>
                <a:gd name="T3" fmla="*/ 651 h 658"/>
                <a:gd name="T4" fmla="*/ 202 w 658"/>
                <a:gd name="T5" fmla="*/ 632 h 658"/>
                <a:gd name="T6" fmla="*/ 120 w 658"/>
                <a:gd name="T7" fmla="*/ 583 h 658"/>
                <a:gd name="T8" fmla="*/ 57 w 658"/>
                <a:gd name="T9" fmla="*/ 513 h 658"/>
                <a:gd name="T10" fmla="*/ 15 w 658"/>
                <a:gd name="T11" fmla="*/ 427 h 658"/>
                <a:gd name="T12" fmla="*/ 4 w 658"/>
                <a:gd name="T13" fmla="*/ 379 h 658"/>
                <a:gd name="T14" fmla="*/ 0 w 658"/>
                <a:gd name="T15" fmla="*/ 329 h 658"/>
                <a:gd name="T16" fmla="*/ 2 w 658"/>
                <a:gd name="T17" fmla="*/ 295 h 658"/>
                <a:gd name="T18" fmla="*/ 11 w 658"/>
                <a:gd name="T19" fmla="*/ 247 h 658"/>
                <a:gd name="T20" fmla="*/ 41 w 658"/>
                <a:gd name="T21" fmla="*/ 173 h 658"/>
                <a:gd name="T22" fmla="*/ 97 w 658"/>
                <a:gd name="T23" fmla="*/ 97 h 658"/>
                <a:gd name="T24" fmla="*/ 172 w 658"/>
                <a:gd name="T25" fmla="*/ 40 h 658"/>
                <a:gd name="T26" fmla="*/ 247 w 658"/>
                <a:gd name="T27" fmla="*/ 11 h 658"/>
                <a:gd name="T28" fmla="*/ 296 w 658"/>
                <a:gd name="T29" fmla="*/ 3 h 658"/>
                <a:gd name="T30" fmla="*/ 329 w 658"/>
                <a:gd name="T31" fmla="*/ 0 h 658"/>
                <a:gd name="T32" fmla="*/ 379 w 658"/>
                <a:gd name="T33" fmla="*/ 4 h 658"/>
                <a:gd name="T34" fmla="*/ 426 w 658"/>
                <a:gd name="T35" fmla="*/ 15 h 658"/>
                <a:gd name="T36" fmla="*/ 513 w 658"/>
                <a:gd name="T37" fmla="*/ 56 h 658"/>
                <a:gd name="T38" fmla="*/ 583 w 658"/>
                <a:gd name="T39" fmla="*/ 121 h 658"/>
                <a:gd name="T40" fmla="*/ 631 w 658"/>
                <a:gd name="T41" fmla="*/ 201 h 658"/>
                <a:gd name="T42" fmla="*/ 652 w 658"/>
                <a:gd name="T43" fmla="*/ 263 h 658"/>
                <a:gd name="T44" fmla="*/ 657 w 658"/>
                <a:gd name="T45" fmla="*/ 313 h 658"/>
                <a:gd name="T46" fmla="*/ 657 w 658"/>
                <a:gd name="T47" fmla="*/ 346 h 658"/>
                <a:gd name="T48" fmla="*/ 652 w 658"/>
                <a:gd name="T49" fmla="*/ 395 h 658"/>
                <a:gd name="T50" fmla="*/ 631 w 658"/>
                <a:gd name="T51" fmla="*/ 456 h 658"/>
                <a:gd name="T52" fmla="*/ 583 w 658"/>
                <a:gd name="T53" fmla="*/ 538 h 658"/>
                <a:gd name="T54" fmla="*/ 513 w 658"/>
                <a:gd name="T55" fmla="*/ 601 h 658"/>
                <a:gd name="T56" fmla="*/ 426 w 658"/>
                <a:gd name="T57" fmla="*/ 643 h 658"/>
                <a:gd name="T58" fmla="*/ 379 w 658"/>
                <a:gd name="T59" fmla="*/ 654 h 658"/>
                <a:gd name="T60" fmla="*/ 329 w 658"/>
                <a:gd name="T61" fmla="*/ 658 h 658"/>
                <a:gd name="T62" fmla="*/ 329 w 658"/>
                <a:gd name="T63" fmla="*/ 38 h 658"/>
                <a:gd name="T64" fmla="*/ 242 w 658"/>
                <a:gd name="T65" fmla="*/ 51 h 658"/>
                <a:gd name="T66" fmla="*/ 167 w 658"/>
                <a:gd name="T67" fmla="*/ 87 h 658"/>
                <a:gd name="T68" fmla="*/ 105 w 658"/>
                <a:gd name="T69" fmla="*/ 144 h 658"/>
                <a:gd name="T70" fmla="*/ 61 w 658"/>
                <a:gd name="T71" fmla="*/ 216 h 658"/>
                <a:gd name="T72" fmla="*/ 39 w 658"/>
                <a:gd name="T73" fmla="*/ 299 h 658"/>
                <a:gd name="T74" fmla="*/ 39 w 658"/>
                <a:gd name="T75" fmla="*/ 358 h 658"/>
                <a:gd name="T76" fmla="*/ 61 w 658"/>
                <a:gd name="T77" fmla="*/ 442 h 658"/>
                <a:gd name="T78" fmla="*/ 105 w 658"/>
                <a:gd name="T79" fmla="*/ 514 h 658"/>
                <a:gd name="T80" fmla="*/ 167 w 658"/>
                <a:gd name="T81" fmla="*/ 571 h 658"/>
                <a:gd name="T82" fmla="*/ 242 w 658"/>
                <a:gd name="T83" fmla="*/ 607 h 658"/>
                <a:gd name="T84" fmla="*/ 329 w 658"/>
                <a:gd name="T85" fmla="*/ 620 h 658"/>
                <a:gd name="T86" fmla="*/ 387 w 658"/>
                <a:gd name="T87" fmla="*/ 614 h 658"/>
                <a:gd name="T88" fmla="*/ 468 w 658"/>
                <a:gd name="T89" fmla="*/ 585 h 658"/>
                <a:gd name="T90" fmla="*/ 535 w 658"/>
                <a:gd name="T91" fmla="*/ 534 h 658"/>
                <a:gd name="T92" fmla="*/ 584 w 658"/>
                <a:gd name="T93" fmla="*/ 467 h 658"/>
                <a:gd name="T94" fmla="*/ 614 w 658"/>
                <a:gd name="T95" fmla="*/ 388 h 658"/>
                <a:gd name="T96" fmla="*/ 621 w 658"/>
                <a:gd name="T97" fmla="*/ 329 h 658"/>
                <a:gd name="T98" fmla="*/ 607 w 658"/>
                <a:gd name="T99" fmla="*/ 243 h 658"/>
                <a:gd name="T100" fmla="*/ 570 w 658"/>
                <a:gd name="T101" fmla="*/ 166 h 658"/>
                <a:gd name="T102" fmla="*/ 515 w 658"/>
                <a:gd name="T103" fmla="*/ 105 h 658"/>
                <a:gd name="T104" fmla="*/ 442 w 658"/>
                <a:gd name="T105" fmla="*/ 60 h 658"/>
                <a:gd name="T106" fmla="*/ 359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2" y="658"/>
                  </a:lnTo>
                  <a:lnTo>
                    <a:pt x="296" y="656"/>
                  </a:lnTo>
                  <a:lnTo>
                    <a:pt x="280" y="654"/>
                  </a:lnTo>
                  <a:lnTo>
                    <a:pt x="262" y="651"/>
                  </a:lnTo>
                  <a:lnTo>
                    <a:pt x="247" y="647"/>
                  </a:lnTo>
                  <a:lnTo>
                    <a:pt x="231" y="643"/>
                  </a:lnTo>
                  <a:lnTo>
                    <a:pt x="202" y="632"/>
                  </a:lnTo>
                  <a:lnTo>
                    <a:pt x="172" y="618"/>
                  </a:lnTo>
                  <a:lnTo>
                    <a:pt x="145" y="601"/>
                  </a:lnTo>
                  <a:lnTo>
                    <a:pt x="120" y="583"/>
                  </a:lnTo>
                  <a:lnTo>
                    <a:pt x="97" y="561"/>
                  </a:lnTo>
                  <a:lnTo>
                    <a:pt x="76" y="538"/>
                  </a:lnTo>
                  <a:lnTo>
                    <a:pt x="57" y="513"/>
                  </a:lnTo>
                  <a:lnTo>
                    <a:pt x="41" y="486"/>
                  </a:lnTo>
                  <a:lnTo>
                    <a:pt x="26" y="456"/>
                  </a:lnTo>
                  <a:lnTo>
                    <a:pt x="15" y="427"/>
                  </a:lnTo>
                  <a:lnTo>
                    <a:pt x="11" y="411"/>
                  </a:lnTo>
                  <a:lnTo>
                    <a:pt x="7" y="395"/>
                  </a:lnTo>
                  <a:lnTo>
                    <a:pt x="4" y="379"/>
                  </a:lnTo>
                  <a:lnTo>
                    <a:pt x="2" y="362"/>
                  </a:lnTo>
                  <a:lnTo>
                    <a:pt x="0" y="346"/>
                  </a:lnTo>
                  <a:lnTo>
                    <a:pt x="0" y="329"/>
                  </a:lnTo>
                  <a:lnTo>
                    <a:pt x="0" y="329"/>
                  </a:lnTo>
                  <a:lnTo>
                    <a:pt x="0" y="313"/>
                  </a:lnTo>
                  <a:lnTo>
                    <a:pt x="2" y="295"/>
                  </a:lnTo>
                  <a:lnTo>
                    <a:pt x="4" y="279"/>
                  </a:lnTo>
                  <a:lnTo>
                    <a:pt x="7" y="263"/>
                  </a:lnTo>
                  <a:lnTo>
                    <a:pt x="11" y="247"/>
                  </a:lnTo>
                  <a:lnTo>
                    <a:pt x="15" y="231"/>
                  </a:lnTo>
                  <a:lnTo>
                    <a:pt x="26" y="201"/>
                  </a:lnTo>
                  <a:lnTo>
                    <a:pt x="41" y="173"/>
                  </a:lnTo>
                  <a:lnTo>
                    <a:pt x="57" y="145"/>
                  </a:lnTo>
                  <a:lnTo>
                    <a:pt x="76" y="121"/>
                  </a:lnTo>
                  <a:lnTo>
                    <a:pt x="97" y="97"/>
                  </a:lnTo>
                  <a:lnTo>
                    <a:pt x="120" y="75"/>
                  </a:lnTo>
                  <a:lnTo>
                    <a:pt x="145" y="56"/>
                  </a:lnTo>
                  <a:lnTo>
                    <a:pt x="172" y="40"/>
                  </a:lnTo>
                  <a:lnTo>
                    <a:pt x="202" y="27"/>
                  </a:lnTo>
                  <a:lnTo>
                    <a:pt x="231" y="15"/>
                  </a:lnTo>
                  <a:lnTo>
                    <a:pt x="247" y="11"/>
                  </a:lnTo>
                  <a:lnTo>
                    <a:pt x="262" y="7"/>
                  </a:lnTo>
                  <a:lnTo>
                    <a:pt x="280" y="4"/>
                  </a:lnTo>
                  <a:lnTo>
                    <a:pt x="296" y="3"/>
                  </a:lnTo>
                  <a:lnTo>
                    <a:pt x="312" y="1"/>
                  </a:lnTo>
                  <a:lnTo>
                    <a:pt x="329" y="0"/>
                  </a:lnTo>
                  <a:lnTo>
                    <a:pt x="329" y="0"/>
                  </a:lnTo>
                  <a:lnTo>
                    <a:pt x="345" y="1"/>
                  </a:lnTo>
                  <a:lnTo>
                    <a:pt x="363" y="3"/>
                  </a:lnTo>
                  <a:lnTo>
                    <a:pt x="379" y="4"/>
                  </a:lnTo>
                  <a:lnTo>
                    <a:pt x="395" y="7"/>
                  </a:lnTo>
                  <a:lnTo>
                    <a:pt x="411" y="11"/>
                  </a:lnTo>
                  <a:lnTo>
                    <a:pt x="426" y="15"/>
                  </a:lnTo>
                  <a:lnTo>
                    <a:pt x="457" y="27"/>
                  </a:lnTo>
                  <a:lnTo>
                    <a:pt x="485" y="40"/>
                  </a:lnTo>
                  <a:lnTo>
                    <a:pt x="513" y="56"/>
                  </a:lnTo>
                  <a:lnTo>
                    <a:pt x="537" y="75"/>
                  </a:lnTo>
                  <a:lnTo>
                    <a:pt x="562" y="97"/>
                  </a:lnTo>
                  <a:lnTo>
                    <a:pt x="583" y="121"/>
                  </a:lnTo>
                  <a:lnTo>
                    <a:pt x="602" y="145"/>
                  </a:lnTo>
                  <a:lnTo>
                    <a:pt x="618" y="173"/>
                  </a:lnTo>
                  <a:lnTo>
                    <a:pt x="631" y="201"/>
                  </a:lnTo>
                  <a:lnTo>
                    <a:pt x="643" y="231"/>
                  </a:lnTo>
                  <a:lnTo>
                    <a:pt x="647" y="247"/>
                  </a:lnTo>
                  <a:lnTo>
                    <a:pt x="652" y="263"/>
                  </a:lnTo>
                  <a:lnTo>
                    <a:pt x="654" y="279"/>
                  </a:lnTo>
                  <a:lnTo>
                    <a:pt x="656" y="295"/>
                  </a:lnTo>
                  <a:lnTo>
                    <a:pt x="657" y="313"/>
                  </a:lnTo>
                  <a:lnTo>
                    <a:pt x="658" y="329"/>
                  </a:lnTo>
                  <a:lnTo>
                    <a:pt x="658" y="329"/>
                  </a:lnTo>
                  <a:lnTo>
                    <a:pt x="657" y="346"/>
                  </a:lnTo>
                  <a:lnTo>
                    <a:pt x="656" y="362"/>
                  </a:lnTo>
                  <a:lnTo>
                    <a:pt x="654" y="379"/>
                  </a:lnTo>
                  <a:lnTo>
                    <a:pt x="652" y="395"/>
                  </a:lnTo>
                  <a:lnTo>
                    <a:pt x="647" y="411"/>
                  </a:lnTo>
                  <a:lnTo>
                    <a:pt x="643" y="427"/>
                  </a:lnTo>
                  <a:lnTo>
                    <a:pt x="631" y="456"/>
                  </a:lnTo>
                  <a:lnTo>
                    <a:pt x="618" y="486"/>
                  </a:lnTo>
                  <a:lnTo>
                    <a:pt x="602" y="513"/>
                  </a:lnTo>
                  <a:lnTo>
                    <a:pt x="583" y="538"/>
                  </a:lnTo>
                  <a:lnTo>
                    <a:pt x="562" y="561"/>
                  </a:lnTo>
                  <a:lnTo>
                    <a:pt x="537" y="583"/>
                  </a:lnTo>
                  <a:lnTo>
                    <a:pt x="513" y="601"/>
                  </a:lnTo>
                  <a:lnTo>
                    <a:pt x="485" y="618"/>
                  </a:lnTo>
                  <a:lnTo>
                    <a:pt x="457" y="632"/>
                  </a:lnTo>
                  <a:lnTo>
                    <a:pt x="426" y="643"/>
                  </a:lnTo>
                  <a:lnTo>
                    <a:pt x="411" y="647"/>
                  </a:lnTo>
                  <a:lnTo>
                    <a:pt x="395" y="651"/>
                  </a:lnTo>
                  <a:lnTo>
                    <a:pt x="379" y="654"/>
                  </a:lnTo>
                  <a:lnTo>
                    <a:pt x="363" y="656"/>
                  </a:lnTo>
                  <a:lnTo>
                    <a:pt x="345" y="658"/>
                  </a:lnTo>
                  <a:lnTo>
                    <a:pt x="329" y="658"/>
                  </a:lnTo>
                  <a:lnTo>
                    <a:pt x="329" y="658"/>
                  </a:lnTo>
                  <a:close/>
                  <a:moveTo>
                    <a:pt x="329" y="38"/>
                  </a:moveTo>
                  <a:lnTo>
                    <a:pt x="329" y="38"/>
                  </a:lnTo>
                  <a:lnTo>
                    <a:pt x="300" y="40"/>
                  </a:lnTo>
                  <a:lnTo>
                    <a:pt x="270" y="44"/>
                  </a:lnTo>
                  <a:lnTo>
                    <a:pt x="242" y="51"/>
                  </a:lnTo>
                  <a:lnTo>
                    <a:pt x="215" y="60"/>
                  </a:lnTo>
                  <a:lnTo>
                    <a:pt x="191" y="74"/>
                  </a:lnTo>
                  <a:lnTo>
                    <a:pt x="167" y="87"/>
                  </a:lnTo>
                  <a:lnTo>
                    <a:pt x="144" y="105"/>
                  </a:lnTo>
                  <a:lnTo>
                    <a:pt x="124" y="124"/>
                  </a:lnTo>
                  <a:lnTo>
                    <a:pt x="105" y="144"/>
                  </a:lnTo>
                  <a:lnTo>
                    <a:pt x="88" y="166"/>
                  </a:lnTo>
                  <a:lnTo>
                    <a:pt x="73" y="191"/>
                  </a:lnTo>
                  <a:lnTo>
                    <a:pt x="61" y="216"/>
                  </a:lnTo>
                  <a:lnTo>
                    <a:pt x="51" y="243"/>
                  </a:lnTo>
                  <a:lnTo>
                    <a:pt x="43" y="271"/>
                  </a:lnTo>
                  <a:lnTo>
                    <a:pt x="39" y="299"/>
                  </a:lnTo>
                  <a:lnTo>
                    <a:pt x="38" y="329"/>
                  </a:lnTo>
                  <a:lnTo>
                    <a:pt x="38" y="329"/>
                  </a:lnTo>
                  <a:lnTo>
                    <a:pt x="39" y="358"/>
                  </a:lnTo>
                  <a:lnTo>
                    <a:pt x="43" y="388"/>
                  </a:lnTo>
                  <a:lnTo>
                    <a:pt x="51" y="416"/>
                  </a:lnTo>
                  <a:lnTo>
                    <a:pt x="61" y="442"/>
                  </a:lnTo>
                  <a:lnTo>
                    <a:pt x="73" y="467"/>
                  </a:lnTo>
                  <a:lnTo>
                    <a:pt x="88" y="491"/>
                  </a:lnTo>
                  <a:lnTo>
                    <a:pt x="105" y="514"/>
                  </a:lnTo>
                  <a:lnTo>
                    <a:pt x="124" y="534"/>
                  </a:lnTo>
                  <a:lnTo>
                    <a:pt x="144" y="553"/>
                  </a:lnTo>
                  <a:lnTo>
                    <a:pt x="167" y="571"/>
                  </a:lnTo>
                  <a:lnTo>
                    <a:pt x="191" y="585"/>
                  </a:lnTo>
                  <a:lnTo>
                    <a:pt x="215" y="597"/>
                  </a:lnTo>
                  <a:lnTo>
                    <a:pt x="242" y="607"/>
                  </a:lnTo>
                  <a:lnTo>
                    <a:pt x="270" y="614"/>
                  </a:lnTo>
                  <a:lnTo>
                    <a:pt x="300" y="619"/>
                  </a:lnTo>
                  <a:lnTo>
                    <a:pt x="329" y="620"/>
                  </a:lnTo>
                  <a:lnTo>
                    <a:pt x="329" y="620"/>
                  </a:lnTo>
                  <a:lnTo>
                    <a:pt x="359" y="619"/>
                  </a:lnTo>
                  <a:lnTo>
                    <a:pt x="387" y="614"/>
                  </a:lnTo>
                  <a:lnTo>
                    <a:pt x="415" y="607"/>
                  </a:lnTo>
                  <a:lnTo>
                    <a:pt x="442" y="597"/>
                  </a:lnTo>
                  <a:lnTo>
                    <a:pt x="468" y="585"/>
                  </a:lnTo>
                  <a:lnTo>
                    <a:pt x="492" y="571"/>
                  </a:lnTo>
                  <a:lnTo>
                    <a:pt x="515" y="553"/>
                  </a:lnTo>
                  <a:lnTo>
                    <a:pt x="535" y="534"/>
                  </a:lnTo>
                  <a:lnTo>
                    <a:pt x="554" y="514"/>
                  </a:lnTo>
                  <a:lnTo>
                    <a:pt x="570" y="491"/>
                  </a:lnTo>
                  <a:lnTo>
                    <a:pt x="584" y="467"/>
                  </a:lnTo>
                  <a:lnTo>
                    <a:pt x="596" y="442"/>
                  </a:lnTo>
                  <a:lnTo>
                    <a:pt x="607" y="416"/>
                  </a:lnTo>
                  <a:lnTo>
                    <a:pt x="614" y="388"/>
                  </a:lnTo>
                  <a:lnTo>
                    <a:pt x="618" y="358"/>
                  </a:lnTo>
                  <a:lnTo>
                    <a:pt x="621" y="329"/>
                  </a:lnTo>
                  <a:lnTo>
                    <a:pt x="621" y="329"/>
                  </a:lnTo>
                  <a:lnTo>
                    <a:pt x="618" y="299"/>
                  </a:lnTo>
                  <a:lnTo>
                    <a:pt x="614" y="271"/>
                  </a:lnTo>
                  <a:lnTo>
                    <a:pt x="607" y="243"/>
                  </a:lnTo>
                  <a:lnTo>
                    <a:pt x="596" y="216"/>
                  </a:lnTo>
                  <a:lnTo>
                    <a:pt x="584" y="191"/>
                  </a:lnTo>
                  <a:lnTo>
                    <a:pt x="570" y="166"/>
                  </a:lnTo>
                  <a:lnTo>
                    <a:pt x="554" y="144"/>
                  </a:lnTo>
                  <a:lnTo>
                    <a:pt x="535" y="124"/>
                  </a:lnTo>
                  <a:lnTo>
                    <a:pt x="515" y="105"/>
                  </a:lnTo>
                  <a:lnTo>
                    <a:pt x="492" y="87"/>
                  </a:lnTo>
                  <a:lnTo>
                    <a:pt x="468" y="74"/>
                  </a:lnTo>
                  <a:lnTo>
                    <a:pt x="442" y="60"/>
                  </a:lnTo>
                  <a:lnTo>
                    <a:pt x="415" y="51"/>
                  </a:lnTo>
                  <a:lnTo>
                    <a:pt x="387" y="44"/>
                  </a:lnTo>
                  <a:lnTo>
                    <a:pt x="359" y="40"/>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sp>
          <p:nvSpPr>
            <p:cNvPr id="13" name="Freeform 78">
              <a:extLst>
                <a:ext uri="{FF2B5EF4-FFF2-40B4-BE49-F238E27FC236}">
                  <a16:creationId xmlns:a16="http://schemas.microsoft.com/office/drawing/2014/main" id="{0FB0092D-5157-4E92-A3B6-F46D36E8F435}"/>
                </a:ext>
              </a:extLst>
            </p:cNvPr>
            <p:cNvSpPr>
              <a:spLocks noEditPoints="1"/>
            </p:cNvSpPr>
            <p:nvPr/>
          </p:nvSpPr>
          <p:spPr bwMode="auto">
            <a:xfrm>
              <a:off x="722313" y="965200"/>
              <a:ext cx="193675" cy="250825"/>
            </a:xfrm>
            <a:custGeom>
              <a:avLst/>
              <a:gdLst>
                <a:gd name="T0" fmla="*/ 122 w 243"/>
                <a:gd name="T1" fmla="*/ 317 h 317"/>
                <a:gd name="T2" fmla="*/ 125 w 243"/>
                <a:gd name="T3" fmla="*/ 314 h 317"/>
                <a:gd name="T4" fmla="*/ 146 w 243"/>
                <a:gd name="T5" fmla="*/ 293 h 317"/>
                <a:gd name="T6" fmla="*/ 187 w 243"/>
                <a:gd name="T7" fmla="*/ 244 h 317"/>
                <a:gd name="T8" fmla="*/ 216 w 243"/>
                <a:gd name="T9" fmla="*/ 197 h 317"/>
                <a:gd name="T10" fmla="*/ 232 w 243"/>
                <a:gd name="T11" fmla="*/ 166 h 317"/>
                <a:gd name="T12" fmla="*/ 242 w 243"/>
                <a:gd name="T13" fmla="*/ 135 h 317"/>
                <a:gd name="T14" fmla="*/ 243 w 243"/>
                <a:gd name="T15" fmla="*/ 122 h 317"/>
                <a:gd name="T16" fmla="*/ 240 w 243"/>
                <a:gd name="T17" fmla="*/ 94 h 317"/>
                <a:gd name="T18" fmla="*/ 232 w 243"/>
                <a:gd name="T19" fmla="*/ 70 h 317"/>
                <a:gd name="T20" fmla="*/ 220 w 243"/>
                <a:gd name="T21" fmla="*/ 50 h 317"/>
                <a:gd name="T22" fmla="*/ 206 w 243"/>
                <a:gd name="T23" fmla="*/ 32 h 317"/>
                <a:gd name="T24" fmla="*/ 187 w 243"/>
                <a:gd name="T25" fmla="*/ 19 h 317"/>
                <a:gd name="T26" fmla="*/ 167 w 243"/>
                <a:gd name="T27" fmla="*/ 8 h 317"/>
                <a:gd name="T28" fmla="*/ 144 w 243"/>
                <a:gd name="T29" fmla="*/ 1 h 317"/>
                <a:gd name="T30" fmla="*/ 122 w 243"/>
                <a:gd name="T31" fmla="*/ 0 h 317"/>
                <a:gd name="T32" fmla="*/ 110 w 243"/>
                <a:gd name="T33" fmla="*/ 0 h 317"/>
                <a:gd name="T34" fmla="*/ 89 w 243"/>
                <a:gd name="T35" fmla="*/ 4 h 317"/>
                <a:gd name="T36" fmla="*/ 67 w 243"/>
                <a:gd name="T37" fmla="*/ 12 h 317"/>
                <a:gd name="T38" fmla="*/ 47 w 243"/>
                <a:gd name="T39" fmla="*/ 24 h 317"/>
                <a:gd name="T40" fmla="*/ 31 w 243"/>
                <a:gd name="T41" fmla="*/ 40 h 317"/>
                <a:gd name="T42" fmla="*/ 16 w 243"/>
                <a:gd name="T43" fmla="*/ 59 h 317"/>
                <a:gd name="T44" fmla="*/ 7 w 243"/>
                <a:gd name="T45" fmla="*/ 82 h 317"/>
                <a:gd name="T46" fmla="*/ 1 w 243"/>
                <a:gd name="T47" fmla="*/ 107 h 317"/>
                <a:gd name="T48" fmla="*/ 0 w 243"/>
                <a:gd name="T49" fmla="*/ 122 h 317"/>
                <a:gd name="T50" fmla="*/ 5 w 243"/>
                <a:gd name="T51" fmla="*/ 150 h 317"/>
                <a:gd name="T52" fmla="*/ 18 w 243"/>
                <a:gd name="T53" fmla="*/ 182 h 317"/>
                <a:gd name="T54" fmla="*/ 36 w 243"/>
                <a:gd name="T55" fmla="*/ 213 h 317"/>
                <a:gd name="T56" fmla="*/ 79 w 243"/>
                <a:gd name="T57" fmla="*/ 271 h 317"/>
                <a:gd name="T58" fmla="*/ 118 w 243"/>
                <a:gd name="T59" fmla="*/ 314 h 317"/>
                <a:gd name="T60" fmla="*/ 120 w 243"/>
                <a:gd name="T61" fmla="*/ 315 h 317"/>
                <a:gd name="T62" fmla="*/ 122 w 243"/>
                <a:gd name="T63" fmla="*/ 317 h 317"/>
                <a:gd name="T64" fmla="*/ 85 w 243"/>
                <a:gd name="T65" fmla="*/ 121 h 317"/>
                <a:gd name="T66" fmla="*/ 87 w 243"/>
                <a:gd name="T67" fmla="*/ 106 h 317"/>
                <a:gd name="T68" fmla="*/ 95 w 243"/>
                <a:gd name="T69" fmla="*/ 95 h 317"/>
                <a:gd name="T70" fmla="*/ 108 w 243"/>
                <a:gd name="T71" fmla="*/ 87 h 317"/>
                <a:gd name="T72" fmla="*/ 122 w 243"/>
                <a:gd name="T73" fmla="*/ 84 h 317"/>
                <a:gd name="T74" fmla="*/ 129 w 243"/>
                <a:gd name="T75" fmla="*/ 84 h 317"/>
                <a:gd name="T76" fmla="*/ 142 w 243"/>
                <a:gd name="T77" fmla="*/ 90 h 317"/>
                <a:gd name="T78" fmla="*/ 152 w 243"/>
                <a:gd name="T79" fmla="*/ 101 h 317"/>
                <a:gd name="T80" fmla="*/ 159 w 243"/>
                <a:gd name="T81" fmla="*/ 114 h 317"/>
                <a:gd name="T82" fmla="*/ 159 w 243"/>
                <a:gd name="T83" fmla="*/ 121 h 317"/>
                <a:gd name="T84" fmla="*/ 156 w 243"/>
                <a:gd name="T85" fmla="*/ 135 h 317"/>
                <a:gd name="T86" fmla="*/ 148 w 243"/>
                <a:gd name="T87" fmla="*/ 148 h 317"/>
                <a:gd name="T88" fmla="*/ 136 w 243"/>
                <a:gd name="T89" fmla="*/ 156 h 317"/>
                <a:gd name="T90" fmla="*/ 122 w 243"/>
                <a:gd name="T91" fmla="*/ 158 h 317"/>
                <a:gd name="T92" fmla="*/ 114 w 243"/>
                <a:gd name="T93" fmla="*/ 157 h 317"/>
                <a:gd name="T94" fmla="*/ 101 w 243"/>
                <a:gd name="T95" fmla="*/ 152 h 317"/>
                <a:gd name="T96" fmla="*/ 91 w 243"/>
                <a:gd name="T97" fmla="*/ 142 h 317"/>
                <a:gd name="T98" fmla="*/ 86 w 243"/>
                <a:gd name="T99" fmla="*/ 129 h 317"/>
                <a:gd name="T100" fmla="*/ 85 w 243"/>
                <a:gd name="T101" fmla="*/ 121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3" h="317">
                  <a:moveTo>
                    <a:pt x="122" y="317"/>
                  </a:moveTo>
                  <a:lnTo>
                    <a:pt x="122" y="317"/>
                  </a:lnTo>
                  <a:lnTo>
                    <a:pt x="124" y="315"/>
                  </a:lnTo>
                  <a:lnTo>
                    <a:pt x="125" y="314"/>
                  </a:lnTo>
                  <a:lnTo>
                    <a:pt x="125" y="314"/>
                  </a:lnTo>
                  <a:lnTo>
                    <a:pt x="146" y="293"/>
                  </a:lnTo>
                  <a:lnTo>
                    <a:pt x="165" y="271"/>
                  </a:lnTo>
                  <a:lnTo>
                    <a:pt x="187" y="244"/>
                  </a:lnTo>
                  <a:lnTo>
                    <a:pt x="207" y="213"/>
                  </a:lnTo>
                  <a:lnTo>
                    <a:pt x="216" y="197"/>
                  </a:lnTo>
                  <a:lnTo>
                    <a:pt x="226" y="182"/>
                  </a:lnTo>
                  <a:lnTo>
                    <a:pt x="232" y="166"/>
                  </a:lnTo>
                  <a:lnTo>
                    <a:pt x="238" y="150"/>
                  </a:lnTo>
                  <a:lnTo>
                    <a:pt x="242" y="135"/>
                  </a:lnTo>
                  <a:lnTo>
                    <a:pt x="243" y="122"/>
                  </a:lnTo>
                  <a:lnTo>
                    <a:pt x="243" y="122"/>
                  </a:lnTo>
                  <a:lnTo>
                    <a:pt x="243" y="107"/>
                  </a:lnTo>
                  <a:lnTo>
                    <a:pt x="240" y="94"/>
                  </a:lnTo>
                  <a:lnTo>
                    <a:pt x="238" y="82"/>
                  </a:lnTo>
                  <a:lnTo>
                    <a:pt x="232" y="70"/>
                  </a:lnTo>
                  <a:lnTo>
                    <a:pt x="227" y="59"/>
                  </a:lnTo>
                  <a:lnTo>
                    <a:pt x="220" y="50"/>
                  </a:lnTo>
                  <a:lnTo>
                    <a:pt x="214" y="40"/>
                  </a:lnTo>
                  <a:lnTo>
                    <a:pt x="206" y="32"/>
                  </a:lnTo>
                  <a:lnTo>
                    <a:pt x="196" y="24"/>
                  </a:lnTo>
                  <a:lnTo>
                    <a:pt x="187" y="19"/>
                  </a:lnTo>
                  <a:lnTo>
                    <a:pt x="176" y="12"/>
                  </a:lnTo>
                  <a:lnTo>
                    <a:pt x="167" y="8"/>
                  </a:lnTo>
                  <a:lnTo>
                    <a:pt x="156" y="4"/>
                  </a:lnTo>
                  <a:lnTo>
                    <a:pt x="144" y="1"/>
                  </a:lnTo>
                  <a:lnTo>
                    <a:pt x="133" y="0"/>
                  </a:lnTo>
                  <a:lnTo>
                    <a:pt x="122" y="0"/>
                  </a:lnTo>
                  <a:lnTo>
                    <a:pt x="122" y="0"/>
                  </a:lnTo>
                  <a:lnTo>
                    <a:pt x="110" y="0"/>
                  </a:lnTo>
                  <a:lnTo>
                    <a:pt x="99" y="1"/>
                  </a:lnTo>
                  <a:lnTo>
                    <a:pt x="89" y="4"/>
                  </a:lnTo>
                  <a:lnTo>
                    <a:pt x="78" y="8"/>
                  </a:lnTo>
                  <a:lnTo>
                    <a:pt x="67" y="12"/>
                  </a:lnTo>
                  <a:lnTo>
                    <a:pt x="58" y="19"/>
                  </a:lnTo>
                  <a:lnTo>
                    <a:pt x="47" y="24"/>
                  </a:lnTo>
                  <a:lnTo>
                    <a:pt x="39" y="32"/>
                  </a:lnTo>
                  <a:lnTo>
                    <a:pt x="31" y="40"/>
                  </a:lnTo>
                  <a:lnTo>
                    <a:pt x="23" y="50"/>
                  </a:lnTo>
                  <a:lnTo>
                    <a:pt x="16" y="59"/>
                  </a:lnTo>
                  <a:lnTo>
                    <a:pt x="11" y="70"/>
                  </a:lnTo>
                  <a:lnTo>
                    <a:pt x="7" y="82"/>
                  </a:lnTo>
                  <a:lnTo>
                    <a:pt x="3" y="94"/>
                  </a:lnTo>
                  <a:lnTo>
                    <a:pt x="1" y="107"/>
                  </a:lnTo>
                  <a:lnTo>
                    <a:pt x="0" y="122"/>
                  </a:lnTo>
                  <a:lnTo>
                    <a:pt x="0" y="122"/>
                  </a:lnTo>
                  <a:lnTo>
                    <a:pt x="1" y="135"/>
                  </a:lnTo>
                  <a:lnTo>
                    <a:pt x="5" y="150"/>
                  </a:lnTo>
                  <a:lnTo>
                    <a:pt x="11" y="166"/>
                  </a:lnTo>
                  <a:lnTo>
                    <a:pt x="18" y="182"/>
                  </a:lnTo>
                  <a:lnTo>
                    <a:pt x="27" y="197"/>
                  </a:lnTo>
                  <a:lnTo>
                    <a:pt x="36" y="213"/>
                  </a:lnTo>
                  <a:lnTo>
                    <a:pt x="58" y="244"/>
                  </a:lnTo>
                  <a:lnTo>
                    <a:pt x="79" y="271"/>
                  </a:lnTo>
                  <a:lnTo>
                    <a:pt x="98" y="293"/>
                  </a:lnTo>
                  <a:lnTo>
                    <a:pt x="118" y="314"/>
                  </a:lnTo>
                  <a:lnTo>
                    <a:pt x="118" y="314"/>
                  </a:lnTo>
                  <a:lnTo>
                    <a:pt x="120" y="315"/>
                  </a:lnTo>
                  <a:lnTo>
                    <a:pt x="122" y="317"/>
                  </a:lnTo>
                  <a:lnTo>
                    <a:pt x="122" y="317"/>
                  </a:lnTo>
                  <a:close/>
                  <a:moveTo>
                    <a:pt x="85" y="121"/>
                  </a:moveTo>
                  <a:lnTo>
                    <a:pt x="85" y="121"/>
                  </a:lnTo>
                  <a:lnTo>
                    <a:pt x="86" y="114"/>
                  </a:lnTo>
                  <a:lnTo>
                    <a:pt x="87" y="106"/>
                  </a:lnTo>
                  <a:lnTo>
                    <a:pt x="91" y="101"/>
                  </a:lnTo>
                  <a:lnTo>
                    <a:pt x="95" y="95"/>
                  </a:lnTo>
                  <a:lnTo>
                    <a:pt x="101" y="90"/>
                  </a:lnTo>
                  <a:lnTo>
                    <a:pt x="108" y="87"/>
                  </a:lnTo>
                  <a:lnTo>
                    <a:pt x="114" y="84"/>
                  </a:lnTo>
                  <a:lnTo>
                    <a:pt x="122" y="84"/>
                  </a:lnTo>
                  <a:lnTo>
                    <a:pt x="122" y="84"/>
                  </a:lnTo>
                  <a:lnTo>
                    <a:pt x="129" y="84"/>
                  </a:lnTo>
                  <a:lnTo>
                    <a:pt x="136" y="87"/>
                  </a:lnTo>
                  <a:lnTo>
                    <a:pt x="142" y="90"/>
                  </a:lnTo>
                  <a:lnTo>
                    <a:pt x="148" y="95"/>
                  </a:lnTo>
                  <a:lnTo>
                    <a:pt x="152" y="101"/>
                  </a:lnTo>
                  <a:lnTo>
                    <a:pt x="156" y="106"/>
                  </a:lnTo>
                  <a:lnTo>
                    <a:pt x="159" y="114"/>
                  </a:lnTo>
                  <a:lnTo>
                    <a:pt x="159" y="121"/>
                  </a:lnTo>
                  <a:lnTo>
                    <a:pt x="159" y="121"/>
                  </a:lnTo>
                  <a:lnTo>
                    <a:pt x="159" y="129"/>
                  </a:lnTo>
                  <a:lnTo>
                    <a:pt x="156" y="135"/>
                  </a:lnTo>
                  <a:lnTo>
                    <a:pt x="152" y="142"/>
                  </a:lnTo>
                  <a:lnTo>
                    <a:pt x="148" y="148"/>
                  </a:lnTo>
                  <a:lnTo>
                    <a:pt x="142" y="152"/>
                  </a:lnTo>
                  <a:lnTo>
                    <a:pt x="136" y="156"/>
                  </a:lnTo>
                  <a:lnTo>
                    <a:pt x="129" y="157"/>
                  </a:lnTo>
                  <a:lnTo>
                    <a:pt x="122" y="158"/>
                  </a:lnTo>
                  <a:lnTo>
                    <a:pt x="122" y="158"/>
                  </a:lnTo>
                  <a:lnTo>
                    <a:pt x="114" y="157"/>
                  </a:lnTo>
                  <a:lnTo>
                    <a:pt x="108" y="156"/>
                  </a:lnTo>
                  <a:lnTo>
                    <a:pt x="101" y="152"/>
                  </a:lnTo>
                  <a:lnTo>
                    <a:pt x="95" y="148"/>
                  </a:lnTo>
                  <a:lnTo>
                    <a:pt x="91" y="142"/>
                  </a:lnTo>
                  <a:lnTo>
                    <a:pt x="87" y="135"/>
                  </a:lnTo>
                  <a:lnTo>
                    <a:pt x="86" y="129"/>
                  </a:lnTo>
                  <a:lnTo>
                    <a:pt x="85" y="121"/>
                  </a:lnTo>
                  <a:lnTo>
                    <a:pt x="85" y="1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grpSp>
      <p:sp>
        <p:nvSpPr>
          <p:cNvPr id="14" name="Rectangle 13">
            <a:extLst>
              <a:ext uri="{FF2B5EF4-FFF2-40B4-BE49-F238E27FC236}">
                <a16:creationId xmlns:a16="http://schemas.microsoft.com/office/drawing/2014/main" id="{935FF258-720F-4D65-A652-9DD7D733F544}"/>
              </a:ext>
            </a:extLst>
          </p:cNvPr>
          <p:cNvSpPr/>
          <p:nvPr/>
        </p:nvSpPr>
        <p:spPr>
          <a:xfrm>
            <a:off x="6282044" y="1946196"/>
            <a:ext cx="1616897" cy="4113151"/>
          </a:xfrm>
          <a:prstGeom prst="rect">
            <a:avLst/>
          </a:prstGeom>
          <a:noFill/>
          <a:ln w="222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rPr>
              <a:t>DEEP DIVE ON 10 RETAIL ACCOUN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grpSp>
        <p:nvGrpSpPr>
          <p:cNvPr id="15" name="Group 14">
            <a:extLst>
              <a:ext uri="{FF2B5EF4-FFF2-40B4-BE49-F238E27FC236}">
                <a16:creationId xmlns:a16="http://schemas.microsoft.com/office/drawing/2014/main" id="{A664ABF7-A0A8-477F-9CEE-745B9299EE28}"/>
              </a:ext>
            </a:extLst>
          </p:cNvPr>
          <p:cNvGrpSpPr>
            <a:grpSpLocks noChangeAspect="1"/>
          </p:cNvGrpSpPr>
          <p:nvPr/>
        </p:nvGrpSpPr>
        <p:grpSpPr>
          <a:xfrm>
            <a:off x="6747592" y="2827175"/>
            <a:ext cx="685800" cy="685800"/>
            <a:chOff x="4957763" y="2498725"/>
            <a:chExt cx="522288" cy="522288"/>
          </a:xfrm>
        </p:grpSpPr>
        <p:sp>
          <p:nvSpPr>
            <p:cNvPr id="16" name="Freeform 47">
              <a:extLst>
                <a:ext uri="{FF2B5EF4-FFF2-40B4-BE49-F238E27FC236}">
                  <a16:creationId xmlns:a16="http://schemas.microsoft.com/office/drawing/2014/main" id="{5609DA06-33C6-45F6-9183-EC39A85A3B42}"/>
                </a:ext>
              </a:extLst>
            </p:cNvPr>
            <p:cNvSpPr>
              <a:spLocks noEditPoints="1"/>
            </p:cNvSpPr>
            <p:nvPr/>
          </p:nvSpPr>
          <p:spPr bwMode="auto">
            <a:xfrm>
              <a:off x="4957763" y="2498725"/>
              <a:ext cx="522288" cy="522288"/>
            </a:xfrm>
            <a:custGeom>
              <a:avLst/>
              <a:gdLst>
                <a:gd name="T0" fmla="*/ 311 w 658"/>
                <a:gd name="T1" fmla="*/ 657 h 657"/>
                <a:gd name="T2" fmla="*/ 263 w 658"/>
                <a:gd name="T3" fmla="*/ 651 h 657"/>
                <a:gd name="T4" fmla="*/ 201 w 658"/>
                <a:gd name="T5" fmla="*/ 631 h 657"/>
                <a:gd name="T6" fmla="*/ 119 w 658"/>
                <a:gd name="T7" fmla="*/ 583 h 657"/>
                <a:gd name="T8" fmla="*/ 56 w 658"/>
                <a:gd name="T9" fmla="*/ 512 h 657"/>
                <a:gd name="T10" fmla="*/ 15 w 658"/>
                <a:gd name="T11" fmla="*/ 426 h 657"/>
                <a:gd name="T12" fmla="*/ 4 w 658"/>
                <a:gd name="T13" fmla="*/ 379 h 657"/>
                <a:gd name="T14" fmla="*/ 0 w 658"/>
                <a:gd name="T15" fmla="*/ 329 h 657"/>
                <a:gd name="T16" fmla="*/ 2 w 658"/>
                <a:gd name="T17" fmla="*/ 295 h 657"/>
                <a:gd name="T18" fmla="*/ 11 w 658"/>
                <a:gd name="T19" fmla="*/ 247 h 657"/>
                <a:gd name="T20" fmla="*/ 40 w 658"/>
                <a:gd name="T21" fmla="*/ 172 h 657"/>
                <a:gd name="T22" fmla="*/ 97 w 658"/>
                <a:gd name="T23" fmla="*/ 97 h 657"/>
                <a:gd name="T24" fmla="*/ 172 w 658"/>
                <a:gd name="T25" fmla="*/ 40 h 657"/>
                <a:gd name="T26" fmla="*/ 247 w 658"/>
                <a:gd name="T27" fmla="*/ 11 h 657"/>
                <a:gd name="T28" fmla="*/ 295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19 h 657"/>
                <a:gd name="T40" fmla="*/ 632 w 658"/>
                <a:gd name="T41" fmla="*/ 201 h 657"/>
                <a:gd name="T42" fmla="*/ 651 w 658"/>
                <a:gd name="T43" fmla="*/ 262 h 657"/>
                <a:gd name="T44" fmla="*/ 658 w 658"/>
                <a:gd name="T45" fmla="*/ 311 h 657"/>
                <a:gd name="T46" fmla="*/ 658 w 658"/>
                <a:gd name="T47" fmla="*/ 345 h 657"/>
                <a:gd name="T48" fmla="*/ 651 w 658"/>
                <a:gd name="T49" fmla="*/ 395 h 657"/>
                <a:gd name="T50" fmla="*/ 632 w 658"/>
                <a:gd name="T51" fmla="*/ 457 h 657"/>
                <a:gd name="T52" fmla="*/ 583 w 658"/>
                <a:gd name="T53" fmla="*/ 537 h 657"/>
                <a:gd name="T54" fmla="*/ 513 w 658"/>
                <a:gd name="T55" fmla="*/ 602 h 657"/>
                <a:gd name="T56" fmla="*/ 427 w 658"/>
                <a:gd name="T57" fmla="*/ 642 h 657"/>
                <a:gd name="T58" fmla="*/ 379 w 658"/>
                <a:gd name="T59" fmla="*/ 654 h 657"/>
                <a:gd name="T60" fmla="*/ 329 w 658"/>
                <a:gd name="T61" fmla="*/ 657 h 657"/>
                <a:gd name="T62" fmla="*/ 329 w 658"/>
                <a:gd name="T63" fmla="*/ 37 h 657"/>
                <a:gd name="T64" fmla="*/ 243 w 658"/>
                <a:gd name="T65" fmla="*/ 51 h 657"/>
                <a:gd name="T66" fmla="*/ 166 w 658"/>
                <a:gd name="T67" fmla="*/ 87 h 657"/>
                <a:gd name="T68" fmla="*/ 105 w 658"/>
                <a:gd name="T69" fmla="*/ 144 h 657"/>
                <a:gd name="T70" fmla="*/ 60 w 658"/>
                <a:gd name="T71" fmla="*/ 215 h 657"/>
                <a:gd name="T72" fmla="*/ 39 w 658"/>
                <a:gd name="T73" fmla="*/ 299 h 657"/>
                <a:gd name="T74" fmla="*/ 39 w 658"/>
                <a:gd name="T75" fmla="*/ 358 h 657"/>
                <a:gd name="T76" fmla="*/ 60 w 658"/>
                <a:gd name="T77" fmla="*/ 442 h 657"/>
                <a:gd name="T78" fmla="*/ 105 w 658"/>
                <a:gd name="T79" fmla="*/ 514 h 657"/>
                <a:gd name="T80" fmla="*/ 166 w 658"/>
                <a:gd name="T81" fmla="*/ 569 h 657"/>
                <a:gd name="T82" fmla="*/ 243 w 658"/>
                <a:gd name="T83" fmla="*/ 607 h 657"/>
                <a:gd name="T84" fmla="*/ 329 w 658"/>
                <a:gd name="T85" fmla="*/ 619 h 657"/>
                <a:gd name="T86" fmla="*/ 388 w 658"/>
                <a:gd name="T87" fmla="*/ 614 h 657"/>
                <a:gd name="T88" fmla="*/ 467 w 658"/>
                <a:gd name="T89" fmla="*/ 584 h 657"/>
                <a:gd name="T90" fmla="*/ 534 w 658"/>
                <a:gd name="T91" fmla="*/ 534 h 657"/>
                <a:gd name="T92" fmla="*/ 585 w 658"/>
                <a:gd name="T93" fmla="*/ 467 h 657"/>
                <a:gd name="T94" fmla="*/ 614 w 658"/>
                <a:gd name="T95" fmla="*/ 387 h 657"/>
                <a:gd name="T96" fmla="*/ 620 w 658"/>
                <a:gd name="T97" fmla="*/ 329 h 657"/>
                <a:gd name="T98" fmla="*/ 607 w 658"/>
                <a:gd name="T99" fmla="*/ 242 h 657"/>
                <a:gd name="T100" fmla="*/ 571 w 658"/>
                <a:gd name="T101" fmla="*/ 166 h 657"/>
                <a:gd name="T102" fmla="*/ 514 w 658"/>
                <a:gd name="T103" fmla="*/ 105 h 657"/>
                <a:gd name="T104" fmla="*/ 442 w 658"/>
                <a:gd name="T105" fmla="*/ 60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5"/>
                  </a:lnTo>
                  <a:lnTo>
                    <a:pt x="279" y="654"/>
                  </a:lnTo>
                  <a:lnTo>
                    <a:pt x="263" y="651"/>
                  </a:lnTo>
                  <a:lnTo>
                    <a:pt x="247" y="647"/>
                  </a:lnTo>
                  <a:lnTo>
                    <a:pt x="231" y="642"/>
                  </a:lnTo>
                  <a:lnTo>
                    <a:pt x="201" y="631"/>
                  </a:lnTo>
                  <a:lnTo>
                    <a:pt x="172" y="618"/>
                  </a:lnTo>
                  <a:lnTo>
                    <a:pt x="145" y="602"/>
                  </a:lnTo>
                  <a:lnTo>
                    <a:pt x="119" y="583"/>
                  </a:lnTo>
                  <a:lnTo>
                    <a:pt x="97" y="561"/>
                  </a:lnTo>
                  <a:lnTo>
                    <a:pt x="75" y="537"/>
                  </a:lnTo>
                  <a:lnTo>
                    <a:pt x="56" y="512"/>
                  </a:lnTo>
                  <a:lnTo>
                    <a:pt x="40" y="485"/>
                  </a:lnTo>
                  <a:lnTo>
                    <a:pt x="27" y="457"/>
                  </a:lnTo>
                  <a:lnTo>
                    <a:pt x="15" y="426"/>
                  </a:lnTo>
                  <a:lnTo>
                    <a:pt x="11" y="411"/>
                  </a:lnTo>
                  <a:lnTo>
                    <a:pt x="7" y="395"/>
                  </a:lnTo>
                  <a:lnTo>
                    <a:pt x="4" y="379"/>
                  </a:lnTo>
                  <a:lnTo>
                    <a:pt x="2" y="362"/>
                  </a:lnTo>
                  <a:lnTo>
                    <a:pt x="1" y="345"/>
                  </a:lnTo>
                  <a:lnTo>
                    <a:pt x="0" y="329"/>
                  </a:lnTo>
                  <a:lnTo>
                    <a:pt x="0" y="329"/>
                  </a:lnTo>
                  <a:lnTo>
                    <a:pt x="1" y="311"/>
                  </a:lnTo>
                  <a:lnTo>
                    <a:pt x="2" y="295"/>
                  </a:lnTo>
                  <a:lnTo>
                    <a:pt x="4" y="279"/>
                  </a:lnTo>
                  <a:lnTo>
                    <a:pt x="7" y="262"/>
                  </a:lnTo>
                  <a:lnTo>
                    <a:pt x="11" y="247"/>
                  </a:lnTo>
                  <a:lnTo>
                    <a:pt x="15" y="231"/>
                  </a:lnTo>
                  <a:lnTo>
                    <a:pt x="27" y="201"/>
                  </a:lnTo>
                  <a:lnTo>
                    <a:pt x="40" y="172"/>
                  </a:lnTo>
                  <a:lnTo>
                    <a:pt x="56" y="145"/>
                  </a:lnTo>
                  <a:lnTo>
                    <a:pt x="75" y="119"/>
                  </a:lnTo>
                  <a:lnTo>
                    <a:pt x="97" y="97"/>
                  </a:lnTo>
                  <a:lnTo>
                    <a:pt x="119" y="75"/>
                  </a:lnTo>
                  <a:lnTo>
                    <a:pt x="145" y="56"/>
                  </a:lnTo>
                  <a:lnTo>
                    <a:pt x="172" y="40"/>
                  </a:lnTo>
                  <a:lnTo>
                    <a:pt x="201" y="25"/>
                  </a:lnTo>
                  <a:lnTo>
                    <a:pt x="231" y="15"/>
                  </a:lnTo>
                  <a:lnTo>
                    <a:pt x="247" y="11"/>
                  </a:lnTo>
                  <a:lnTo>
                    <a:pt x="263" y="7"/>
                  </a:lnTo>
                  <a:lnTo>
                    <a:pt x="279" y="4"/>
                  </a:lnTo>
                  <a:lnTo>
                    <a:pt x="295" y="1"/>
                  </a:lnTo>
                  <a:lnTo>
                    <a:pt x="311" y="0"/>
                  </a:lnTo>
                  <a:lnTo>
                    <a:pt x="329" y="0"/>
                  </a:lnTo>
                  <a:lnTo>
                    <a:pt x="329" y="0"/>
                  </a:lnTo>
                  <a:lnTo>
                    <a:pt x="346" y="0"/>
                  </a:lnTo>
                  <a:lnTo>
                    <a:pt x="362" y="1"/>
                  </a:lnTo>
                  <a:lnTo>
                    <a:pt x="379" y="4"/>
                  </a:lnTo>
                  <a:lnTo>
                    <a:pt x="395" y="7"/>
                  </a:lnTo>
                  <a:lnTo>
                    <a:pt x="411" y="11"/>
                  </a:lnTo>
                  <a:lnTo>
                    <a:pt x="427" y="15"/>
                  </a:lnTo>
                  <a:lnTo>
                    <a:pt x="456" y="25"/>
                  </a:lnTo>
                  <a:lnTo>
                    <a:pt x="486" y="40"/>
                  </a:lnTo>
                  <a:lnTo>
                    <a:pt x="513" y="56"/>
                  </a:lnTo>
                  <a:lnTo>
                    <a:pt x="538" y="75"/>
                  </a:lnTo>
                  <a:lnTo>
                    <a:pt x="561" y="97"/>
                  </a:lnTo>
                  <a:lnTo>
                    <a:pt x="583" y="119"/>
                  </a:lnTo>
                  <a:lnTo>
                    <a:pt x="602" y="145"/>
                  </a:lnTo>
                  <a:lnTo>
                    <a:pt x="618" y="172"/>
                  </a:lnTo>
                  <a:lnTo>
                    <a:pt x="632" y="201"/>
                  </a:lnTo>
                  <a:lnTo>
                    <a:pt x="643" y="231"/>
                  </a:lnTo>
                  <a:lnTo>
                    <a:pt x="647" y="247"/>
                  </a:lnTo>
                  <a:lnTo>
                    <a:pt x="651" y="262"/>
                  </a:lnTo>
                  <a:lnTo>
                    <a:pt x="654" y="279"/>
                  </a:lnTo>
                  <a:lnTo>
                    <a:pt x="657" y="295"/>
                  </a:lnTo>
                  <a:lnTo>
                    <a:pt x="658" y="311"/>
                  </a:lnTo>
                  <a:lnTo>
                    <a:pt x="658" y="329"/>
                  </a:lnTo>
                  <a:lnTo>
                    <a:pt x="658" y="329"/>
                  </a:lnTo>
                  <a:lnTo>
                    <a:pt x="658" y="345"/>
                  </a:lnTo>
                  <a:lnTo>
                    <a:pt x="657" y="362"/>
                  </a:lnTo>
                  <a:lnTo>
                    <a:pt x="654" y="379"/>
                  </a:lnTo>
                  <a:lnTo>
                    <a:pt x="651" y="395"/>
                  </a:lnTo>
                  <a:lnTo>
                    <a:pt x="647" y="411"/>
                  </a:lnTo>
                  <a:lnTo>
                    <a:pt x="643" y="426"/>
                  </a:lnTo>
                  <a:lnTo>
                    <a:pt x="632" y="457"/>
                  </a:lnTo>
                  <a:lnTo>
                    <a:pt x="618" y="485"/>
                  </a:lnTo>
                  <a:lnTo>
                    <a:pt x="602" y="512"/>
                  </a:lnTo>
                  <a:lnTo>
                    <a:pt x="583" y="537"/>
                  </a:lnTo>
                  <a:lnTo>
                    <a:pt x="561" y="561"/>
                  </a:lnTo>
                  <a:lnTo>
                    <a:pt x="538" y="583"/>
                  </a:lnTo>
                  <a:lnTo>
                    <a:pt x="513" y="602"/>
                  </a:lnTo>
                  <a:lnTo>
                    <a:pt x="486" y="618"/>
                  </a:lnTo>
                  <a:lnTo>
                    <a:pt x="456" y="631"/>
                  </a:lnTo>
                  <a:lnTo>
                    <a:pt x="427" y="642"/>
                  </a:lnTo>
                  <a:lnTo>
                    <a:pt x="411" y="647"/>
                  </a:lnTo>
                  <a:lnTo>
                    <a:pt x="395" y="651"/>
                  </a:lnTo>
                  <a:lnTo>
                    <a:pt x="379" y="654"/>
                  </a:lnTo>
                  <a:lnTo>
                    <a:pt x="362" y="655"/>
                  </a:lnTo>
                  <a:lnTo>
                    <a:pt x="346" y="657"/>
                  </a:lnTo>
                  <a:lnTo>
                    <a:pt x="329" y="657"/>
                  </a:lnTo>
                  <a:lnTo>
                    <a:pt x="329" y="657"/>
                  </a:lnTo>
                  <a:close/>
                  <a:moveTo>
                    <a:pt x="329" y="37"/>
                  </a:moveTo>
                  <a:lnTo>
                    <a:pt x="329" y="37"/>
                  </a:lnTo>
                  <a:lnTo>
                    <a:pt x="299" y="39"/>
                  </a:lnTo>
                  <a:lnTo>
                    <a:pt x="270" y="43"/>
                  </a:lnTo>
                  <a:lnTo>
                    <a:pt x="243" y="51"/>
                  </a:lnTo>
                  <a:lnTo>
                    <a:pt x="216" y="60"/>
                  </a:lnTo>
                  <a:lnTo>
                    <a:pt x="191" y="72"/>
                  </a:lnTo>
                  <a:lnTo>
                    <a:pt x="166" y="87"/>
                  </a:lnTo>
                  <a:lnTo>
                    <a:pt x="144" y="105"/>
                  </a:lnTo>
                  <a:lnTo>
                    <a:pt x="123" y="123"/>
                  </a:lnTo>
                  <a:lnTo>
                    <a:pt x="105" y="144"/>
                  </a:lnTo>
                  <a:lnTo>
                    <a:pt x="87" y="166"/>
                  </a:lnTo>
                  <a:lnTo>
                    <a:pt x="74" y="189"/>
                  </a:lnTo>
                  <a:lnTo>
                    <a:pt x="60" y="215"/>
                  </a:lnTo>
                  <a:lnTo>
                    <a:pt x="51" y="242"/>
                  </a:lnTo>
                  <a:lnTo>
                    <a:pt x="44" y="270"/>
                  </a:lnTo>
                  <a:lnTo>
                    <a:pt x="39" y="299"/>
                  </a:lnTo>
                  <a:lnTo>
                    <a:pt x="37" y="329"/>
                  </a:lnTo>
                  <a:lnTo>
                    <a:pt x="37" y="329"/>
                  </a:lnTo>
                  <a:lnTo>
                    <a:pt x="39" y="358"/>
                  </a:lnTo>
                  <a:lnTo>
                    <a:pt x="44" y="387"/>
                  </a:lnTo>
                  <a:lnTo>
                    <a:pt x="51" y="415"/>
                  </a:lnTo>
                  <a:lnTo>
                    <a:pt x="60" y="442"/>
                  </a:lnTo>
                  <a:lnTo>
                    <a:pt x="74" y="467"/>
                  </a:lnTo>
                  <a:lnTo>
                    <a:pt x="87" y="491"/>
                  </a:lnTo>
                  <a:lnTo>
                    <a:pt x="105" y="514"/>
                  </a:lnTo>
                  <a:lnTo>
                    <a:pt x="123" y="534"/>
                  </a:lnTo>
                  <a:lnTo>
                    <a:pt x="144" y="553"/>
                  </a:lnTo>
                  <a:lnTo>
                    <a:pt x="166" y="569"/>
                  </a:lnTo>
                  <a:lnTo>
                    <a:pt x="191" y="584"/>
                  </a:lnTo>
                  <a:lnTo>
                    <a:pt x="216" y="596"/>
                  </a:lnTo>
                  <a:lnTo>
                    <a:pt x="243" y="607"/>
                  </a:lnTo>
                  <a:lnTo>
                    <a:pt x="270" y="614"/>
                  </a:lnTo>
                  <a:lnTo>
                    <a:pt x="299" y="618"/>
                  </a:lnTo>
                  <a:lnTo>
                    <a:pt x="329" y="619"/>
                  </a:lnTo>
                  <a:lnTo>
                    <a:pt x="329" y="619"/>
                  </a:lnTo>
                  <a:lnTo>
                    <a:pt x="358" y="618"/>
                  </a:lnTo>
                  <a:lnTo>
                    <a:pt x="388" y="614"/>
                  </a:lnTo>
                  <a:lnTo>
                    <a:pt x="415" y="607"/>
                  </a:lnTo>
                  <a:lnTo>
                    <a:pt x="442" y="596"/>
                  </a:lnTo>
                  <a:lnTo>
                    <a:pt x="467" y="584"/>
                  </a:lnTo>
                  <a:lnTo>
                    <a:pt x="491" y="569"/>
                  </a:lnTo>
                  <a:lnTo>
                    <a:pt x="514" y="553"/>
                  </a:lnTo>
                  <a:lnTo>
                    <a:pt x="534" y="534"/>
                  </a:lnTo>
                  <a:lnTo>
                    <a:pt x="553" y="514"/>
                  </a:lnTo>
                  <a:lnTo>
                    <a:pt x="571" y="491"/>
                  </a:lnTo>
                  <a:lnTo>
                    <a:pt x="585" y="467"/>
                  </a:lnTo>
                  <a:lnTo>
                    <a:pt x="598" y="442"/>
                  </a:lnTo>
                  <a:lnTo>
                    <a:pt x="607" y="415"/>
                  </a:lnTo>
                  <a:lnTo>
                    <a:pt x="614" y="387"/>
                  </a:lnTo>
                  <a:lnTo>
                    <a:pt x="619" y="358"/>
                  </a:lnTo>
                  <a:lnTo>
                    <a:pt x="620" y="329"/>
                  </a:lnTo>
                  <a:lnTo>
                    <a:pt x="620" y="329"/>
                  </a:lnTo>
                  <a:lnTo>
                    <a:pt x="619" y="299"/>
                  </a:lnTo>
                  <a:lnTo>
                    <a:pt x="614" y="270"/>
                  </a:lnTo>
                  <a:lnTo>
                    <a:pt x="607" y="242"/>
                  </a:lnTo>
                  <a:lnTo>
                    <a:pt x="598" y="215"/>
                  </a:lnTo>
                  <a:lnTo>
                    <a:pt x="585" y="189"/>
                  </a:lnTo>
                  <a:lnTo>
                    <a:pt x="571" y="166"/>
                  </a:lnTo>
                  <a:lnTo>
                    <a:pt x="553" y="144"/>
                  </a:lnTo>
                  <a:lnTo>
                    <a:pt x="534" y="123"/>
                  </a:lnTo>
                  <a:lnTo>
                    <a:pt x="514" y="105"/>
                  </a:lnTo>
                  <a:lnTo>
                    <a:pt x="491" y="87"/>
                  </a:lnTo>
                  <a:lnTo>
                    <a:pt x="467" y="72"/>
                  </a:lnTo>
                  <a:lnTo>
                    <a:pt x="442" y="60"/>
                  </a:lnTo>
                  <a:lnTo>
                    <a:pt x="415" y="51"/>
                  </a:lnTo>
                  <a:lnTo>
                    <a:pt x="388" y="43"/>
                  </a:lnTo>
                  <a:lnTo>
                    <a:pt x="358"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sp>
          <p:nvSpPr>
            <p:cNvPr id="17" name="Freeform 355">
              <a:extLst>
                <a:ext uri="{FF2B5EF4-FFF2-40B4-BE49-F238E27FC236}">
                  <a16:creationId xmlns:a16="http://schemas.microsoft.com/office/drawing/2014/main" id="{7E49C981-CFBB-4350-B45F-AEF2A6B719AF}"/>
                </a:ext>
              </a:extLst>
            </p:cNvPr>
            <p:cNvSpPr>
              <a:spLocks/>
            </p:cNvSpPr>
            <p:nvPr/>
          </p:nvSpPr>
          <p:spPr bwMode="auto">
            <a:xfrm>
              <a:off x="5284788" y="2833688"/>
              <a:ext cx="60325" cy="41275"/>
            </a:xfrm>
            <a:custGeom>
              <a:avLst/>
              <a:gdLst>
                <a:gd name="T0" fmla="*/ 0 w 75"/>
                <a:gd name="T1" fmla="*/ 0 h 54"/>
                <a:gd name="T2" fmla="*/ 0 w 75"/>
                <a:gd name="T3" fmla="*/ 49 h 54"/>
                <a:gd name="T4" fmla="*/ 0 w 75"/>
                <a:gd name="T5" fmla="*/ 49 h 54"/>
                <a:gd name="T6" fmla="*/ 0 w 75"/>
                <a:gd name="T7" fmla="*/ 51 h 54"/>
                <a:gd name="T8" fmla="*/ 3 w 75"/>
                <a:gd name="T9" fmla="*/ 54 h 54"/>
                <a:gd name="T10" fmla="*/ 3 w 75"/>
                <a:gd name="T11" fmla="*/ 54 h 54"/>
                <a:gd name="T12" fmla="*/ 5 w 75"/>
                <a:gd name="T13" fmla="*/ 54 h 54"/>
                <a:gd name="T14" fmla="*/ 8 w 75"/>
                <a:gd name="T15" fmla="*/ 54 h 54"/>
                <a:gd name="T16" fmla="*/ 37 w 75"/>
                <a:gd name="T17" fmla="*/ 34 h 54"/>
                <a:gd name="T18" fmla="*/ 67 w 75"/>
                <a:gd name="T19" fmla="*/ 54 h 54"/>
                <a:gd name="T20" fmla="*/ 67 w 75"/>
                <a:gd name="T21" fmla="*/ 54 h 54"/>
                <a:gd name="T22" fmla="*/ 70 w 75"/>
                <a:gd name="T23" fmla="*/ 54 h 54"/>
                <a:gd name="T24" fmla="*/ 70 w 75"/>
                <a:gd name="T25" fmla="*/ 54 h 54"/>
                <a:gd name="T26" fmla="*/ 72 w 75"/>
                <a:gd name="T27" fmla="*/ 54 h 54"/>
                <a:gd name="T28" fmla="*/ 72 w 75"/>
                <a:gd name="T29" fmla="*/ 54 h 54"/>
                <a:gd name="T30" fmla="*/ 74 w 75"/>
                <a:gd name="T31" fmla="*/ 51 h 54"/>
                <a:gd name="T32" fmla="*/ 75 w 75"/>
                <a:gd name="T33" fmla="*/ 49 h 54"/>
                <a:gd name="T34" fmla="*/ 75 w 75"/>
                <a:gd name="T35" fmla="*/ 0 h 54"/>
                <a:gd name="T36" fmla="*/ 75 w 75"/>
                <a:gd name="T37" fmla="*/ 0 h 54"/>
                <a:gd name="T38" fmla="*/ 67 w 75"/>
                <a:gd name="T39" fmla="*/ 4 h 54"/>
                <a:gd name="T40" fmla="*/ 58 w 75"/>
                <a:gd name="T41" fmla="*/ 8 h 54"/>
                <a:gd name="T42" fmla="*/ 47 w 75"/>
                <a:gd name="T43" fmla="*/ 10 h 54"/>
                <a:gd name="T44" fmla="*/ 37 w 75"/>
                <a:gd name="T45" fmla="*/ 11 h 54"/>
                <a:gd name="T46" fmla="*/ 37 w 75"/>
                <a:gd name="T47" fmla="*/ 11 h 54"/>
                <a:gd name="T48" fmla="*/ 27 w 75"/>
                <a:gd name="T49" fmla="*/ 10 h 54"/>
                <a:gd name="T50" fmla="*/ 17 w 75"/>
                <a:gd name="T51" fmla="*/ 8 h 54"/>
                <a:gd name="T52" fmla="*/ 8 w 75"/>
                <a:gd name="T53" fmla="*/ 4 h 54"/>
                <a:gd name="T54" fmla="*/ 0 w 75"/>
                <a:gd name="T55" fmla="*/ 0 h 54"/>
                <a:gd name="T56" fmla="*/ 0 w 75"/>
                <a:gd name="T5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5" h="54">
                  <a:moveTo>
                    <a:pt x="0" y="0"/>
                  </a:moveTo>
                  <a:lnTo>
                    <a:pt x="0" y="49"/>
                  </a:lnTo>
                  <a:lnTo>
                    <a:pt x="0" y="49"/>
                  </a:lnTo>
                  <a:lnTo>
                    <a:pt x="0" y="51"/>
                  </a:lnTo>
                  <a:lnTo>
                    <a:pt x="3" y="54"/>
                  </a:lnTo>
                  <a:lnTo>
                    <a:pt x="3" y="54"/>
                  </a:lnTo>
                  <a:lnTo>
                    <a:pt x="5" y="54"/>
                  </a:lnTo>
                  <a:lnTo>
                    <a:pt x="8" y="54"/>
                  </a:lnTo>
                  <a:lnTo>
                    <a:pt x="37" y="34"/>
                  </a:lnTo>
                  <a:lnTo>
                    <a:pt x="67" y="54"/>
                  </a:lnTo>
                  <a:lnTo>
                    <a:pt x="67" y="54"/>
                  </a:lnTo>
                  <a:lnTo>
                    <a:pt x="70" y="54"/>
                  </a:lnTo>
                  <a:lnTo>
                    <a:pt x="70" y="54"/>
                  </a:lnTo>
                  <a:lnTo>
                    <a:pt x="72" y="54"/>
                  </a:lnTo>
                  <a:lnTo>
                    <a:pt x="72" y="54"/>
                  </a:lnTo>
                  <a:lnTo>
                    <a:pt x="74" y="51"/>
                  </a:lnTo>
                  <a:lnTo>
                    <a:pt x="75" y="49"/>
                  </a:lnTo>
                  <a:lnTo>
                    <a:pt x="75" y="0"/>
                  </a:lnTo>
                  <a:lnTo>
                    <a:pt x="75" y="0"/>
                  </a:lnTo>
                  <a:lnTo>
                    <a:pt x="67" y="4"/>
                  </a:lnTo>
                  <a:lnTo>
                    <a:pt x="58" y="8"/>
                  </a:lnTo>
                  <a:lnTo>
                    <a:pt x="47" y="10"/>
                  </a:lnTo>
                  <a:lnTo>
                    <a:pt x="37" y="11"/>
                  </a:lnTo>
                  <a:lnTo>
                    <a:pt x="37" y="11"/>
                  </a:lnTo>
                  <a:lnTo>
                    <a:pt x="27" y="10"/>
                  </a:lnTo>
                  <a:lnTo>
                    <a:pt x="17" y="8"/>
                  </a:lnTo>
                  <a:lnTo>
                    <a:pt x="8" y="4"/>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sp>
          <p:nvSpPr>
            <p:cNvPr id="18" name="Freeform 356">
              <a:extLst>
                <a:ext uri="{FF2B5EF4-FFF2-40B4-BE49-F238E27FC236}">
                  <a16:creationId xmlns:a16="http://schemas.microsoft.com/office/drawing/2014/main" id="{D95A932A-D81E-46E7-8AF3-B128162B7126}"/>
                </a:ext>
              </a:extLst>
            </p:cNvPr>
            <p:cNvSpPr>
              <a:spLocks/>
            </p:cNvSpPr>
            <p:nvPr/>
          </p:nvSpPr>
          <p:spPr bwMode="auto">
            <a:xfrm>
              <a:off x="5265738" y="2738438"/>
              <a:ext cx="95250" cy="95250"/>
            </a:xfrm>
            <a:custGeom>
              <a:avLst/>
              <a:gdLst>
                <a:gd name="T0" fmla="*/ 60 w 120"/>
                <a:gd name="T1" fmla="*/ 0 h 119"/>
                <a:gd name="T2" fmla="*/ 60 w 120"/>
                <a:gd name="T3" fmla="*/ 0 h 119"/>
                <a:gd name="T4" fmla="*/ 48 w 120"/>
                <a:gd name="T5" fmla="*/ 1 h 119"/>
                <a:gd name="T6" fmla="*/ 38 w 120"/>
                <a:gd name="T7" fmla="*/ 5 h 119"/>
                <a:gd name="T8" fmla="*/ 27 w 120"/>
                <a:gd name="T9" fmla="*/ 10 h 119"/>
                <a:gd name="T10" fmla="*/ 17 w 120"/>
                <a:gd name="T11" fmla="*/ 17 h 119"/>
                <a:gd name="T12" fmla="*/ 11 w 120"/>
                <a:gd name="T13" fmla="*/ 27 h 119"/>
                <a:gd name="T14" fmla="*/ 5 w 120"/>
                <a:gd name="T15" fmla="*/ 36 h 119"/>
                <a:gd name="T16" fmla="*/ 1 w 120"/>
                <a:gd name="T17" fmla="*/ 48 h 119"/>
                <a:gd name="T18" fmla="*/ 0 w 120"/>
                <a:gd name="T19" fmla="*/ 60 h 119"/>
                <a:gd name="T20" fmla="*/ 0 w 120"/>
                <a:gd name="T21" fmla="*/ 60 h 119"/>
                <a:gd name="T22" fmla="*/ 1 w 120"/>
                <a:gd name="T23" fmla="*/ 72 h 119"/>
                <a:gd name="T24" fmla="*/ 5 w 120"/>
                <a:gd name="T25" fmla="*/ 83 h 119"/>
                <a:gd name="T26" fmla="*/ 11 w 120"/>
                <a:gd name="T27" fmla="*/ 92 h 119"/>
                <a:gd name="T28" fmla="*/ 17 w 120"/>
                <a:gd name="T29" fmla="*/ 102 h 119"/>
                <a:gd name="T30" fmla="*/ 27 w 120"/>
                <a:gd name="T31" fmla="*/ 108 h 119"/>
                <a:gd name="T32" fmla="*/ 38 w 120"/>
                <a:gd name="T33" fmla="*/ 114 h 119"/>
                <a:gd name="T34" fmla="*/ 48 w 120"/>
                <a:gd name="T35" fmla="*/ 118 h 119"/>
                <a:gd name="T36" fmla="*/ 60 w 120"/>
                <a:gd name="T37" fmla="*/ 119 h 119"/>
                <a:gd name="T38" fmla="*/ 60 w 120"/>
                <a:gd name="T39" fmla="*/ 119 h 119"/>
                <a:gd name="T40" fmla="*/ 73 w 120"/>
                <a:gd name="T41" fmla="*/ 118 h 119"/>
                <a:gd name="T42" fmla="*/ 83 w 120"/>
                <a:gd name="T43" fmla="*/ 114 h 119"/>
                <a:gd name="T44" fmla="*/ 94 w 120"/>
                <a:gd name="T45" fmla="*/ 108 h 119"/>
                <a:gd name="T46" fmla="*/ 102 w 120"/>
                <a:gd name="T47" fmla="*/ 102 h 119"/>
                <a:gd name="T48" fmla="*/ 110 w 120"/>
                <a:gd name="T49" fmla="*/ 92 h 119"/>
                <a:gd name="T50" fmla="*/ 115 w 120"/>
                <a:gd name="T51" fmla="*/ 83 h 119"/>
                <a:gd name="T52" fmla="*/ 118 w 120"/>
                <a:gd name="T53" fmla="*/ 72 h 119"/>
                <a:gd name="T54" fmla="*/ 120 w 120"/>
                <a:gd name="T55" fmla="*/ 60 h 119"/>
                <a:gd name="T56" fmla="*/ 120 w 120"/>
                <a:gd name="T57" fmla="*/ 60 h 119"/>
                <a:gd name="T58" fmla="*/ 118 w 120"/>
                <a:gd name="T59" fmla="*/ 48 h 119"/>
                <a:gd name="T60" fmla="*/ 115 w 120"/>
                <a:gd name="T61" fmla="*/ 36 h 119"/>
                <a:gd name="T62" fmla="*/ 110 w 120"/>
                <a:gd name="T63" fmla="*/ 27 h 119"/>
                <a:gd name="T64" fmla="*/ 102 w 120"/>
                <a:gd name="T65" fmla="*/ 17 h 119"/>
                <a:gd name="T66" fmla="*/ 94 w 120"/>
                <a:gd name="T67" fmla="*/ 10 h 119"/>
                <a:gd name="T68" fmla="*/ 83 w 120"/>
                <a:gd name="T69" fmla="*/ 5 h 119"/>
                <a:gd name="T70" fmla="*/ 73 w 120"/>
                <a:gd name="T71" fmla="*/ 1 h 119"/>
                <a:gd name="T72" fmla="*/ 60 w 120"/>
                <a:gd name="T73" fmla="*/ 0 h 119"/>
                <a:gd name="T74" fmla="*/ 60 w 120"/>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19">
                  <a:moveTo>
                    <a:pt x="60" y="0"/>
                  </a:moveTo>
                  <a:lnTo>
                    <a:pt x="60" y="0"/>
                  </a:lnTo>
                  <a:lnTo>
                    <a:pt x="48" y="1"/>
                  </a:lnTo>
                  <a:lnTo>
                    <a:pt x="38" y="5"/>
                  </a:lnTo>
                  <a:lnTo>
                    <a:pt x="27" y="10"/>
                  </a:lnTo>
                  <a:lnTo>
                    <a:pt x="17" y="17"/>
                  </a:lnTo>
                  <a:lnTo>
                    <a:pt x="11" y="27"/>
                  </a:lnTo>
                  <a:lnTo>
                    <a:pt x="5" y="36"/>
                  </a:lnTo>
                  <a:lnTo>
                    <a:pt x="1" y="48"/>
                  </a:lnTo>
                  <a:lnTo>
                    <a:pt x="0" y="60"/>
                  </a:lnTo>
                  <a:lnTo>
                    <a:pt x="0" y="60"/>
                  </a:lnTo>
                  <a:lnTo>
                    <a:pt x="1" y="72"/>
                  </a:lnTo>
                  <a:lnTo>
                    <a:pt x="5" y="83"/>
                  </a:lnTo>
                  <a:lnTo>
                    <a:pt x="11" y="92"/>
                  </a:lnTo>
                  <a:lnTo>
                    <a:pt x="17" y="102"/>
                  </a:lnTo>
                  <a:lnTo>
                    <a:pt x="27" y="108"/>
                  </a:lnTo>
                  <a:lnTo>
                    <a:pt x="38" y="114"/>
                  </a:lnTo>
                  <a:lnTo>
                    <a:pt x="48" y="118"/>
                  </a:lnTo>
                  <a:lnTo>
                    <a:pt x="60" y="119"/>
                  </a:lnTo>
                  <a:lnTo>
                    <a:pt x="60" y="119"/>
                  </a:lnTo>
                  <a:lnTo>
                    <a:pt x="73" y="118"/>
                  </a:lnTo>
                  <a:lnTo>
                    <a:pt x="83" y="114"/>
                  </a:lnTo>
                  <a:lnTo>
                    <a:pt x="94" y="108"/>
                  </a:lnTo>
                  <a:lnTo>
                    <a:pt x="102" y="102"/>
                  </a:lnTo>
                  <a:lnTo>
                    <a:pt x="110" y="92"/>
                  </a:lnTo>
                  <a:lnTo>
                    <a:pt x="115" y="83"/>
                  </a:lnTo>
                  <a:lnTo>
                    <a:pt x="118" y="72"/>
                  </a:lnTo>
                  <a:lnTo>
                    <a:pt x="120" y="60"/>
                  </a:lnTo>
                  <a:lnTo>
                    <a:pt x="120" y="60"/>
                  </a:lnTo>
                  <a:lnTo>
                    <a:pt x="118" y="48"/>
                  </a:lnTo>
                  <a:lnTo>
                    <a:pt x="115" y="36"/>
                  </a:lnTo>
                  <a:lnTo>
                    <a:pt x="110" y="27"/>
                  </a:lnTo>
                  <a:lnTo>
                    <a:pt x="102" y="17"/>
                  </a:lnTo>
                  <a:lnTo>
                    <a:pt x="94" y="10"/>
                  </a:lnTo>
                  <a:lnTo>
                    <a:pt x="83" y="5"/>
                  </a:lnTo>
                  <a:lnTo>
                    <a:pt x="73" y="1"/>
                  </a:lnTo>
                  <a:lnTo>
                    <a:pt x="60" y="0"/>
                  </a:lnTo>
                  <a:lnTo>
                    <a:pt x="6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sp>
          <p:nvSpPr>
            <p:cNvPr id="19" name="Freeform 357">
              <a:extLst>
                <a:ext uri="{FF2B5EF4-FFF2-40B4-BE49-F238E27FC236}">
                  <a16:creationId xmlns:a16="http://schemas.microsoft.com/office/drawing/2014/main" id="{44181AE7-5660-4532-A96A-A5589163B690}"/>
                </a:ext>
              </a:extLst>
            </p:cNvPr>
            <p:cNvSpPr>
              <a:spLocks noEditPoints="1"/>
            </p:cNvSpPr>
            <p:nvPr/>
          </p:nvSpPr>
          <p:spPr bwMode="auto">
            <a:xfrm>
              <a:off x="5103813" y="2625725"/>
              <a:ext cx="241300" cy="233363"/>
            </a:xfrm>
            <a:custGeom>
              <a:avLst/>
              <a:gdLst>
                <a:gd name="T0" fmla="*/ 33 w 304"/>
                <a:gd name="T1" fmla="*/ 103 h 292"/>
                <a:gd name="T2" fmla="*/ 34 w 304"/>
                <a:gd name="T3" fmla="*/ 100 h 292"/>
                <a:gd name="T4" fmla="*/ 37 w 304"/>
                <a:gd name="T5" fmla="*/ 98 h 292"/>
                <a:gd name="T6" fmla="*/ 266 w 304"/>
                <a:gd name="T7" fmla="*/ 98 h 292"/>
                <a:gd name="T8" fmla="*/ 268 w 304"/>
                <a:gd name="T9" fmla="*/ 98 h 292"/>
                <a:gd name="T10" fmla="*/ 272 w 304"/>
                <a:gd name="T11" fmla="*/ 100 h 292"/>
                <a:gd name="T12" fmla="*/ 272 w 304"/>
                <a:gd name="T13" fmla="*/ 130 h 292"/>
                <a:gd name="T14" fmla="*/ 280 w 304"/>
                <a:gd name="T15" fmla="*/ 131 h 292"/>
                <a:gd name="T16" fmla="*/ 297 w 304"/>
                <a:gd name="T17" fmla="*/ 137 h 292"/>
                <a:gd name="T18" fmla="*/ 304 w 304"/>
                <a:gd name="T19" fmla="*/ 71 h 292"/>
                <a:gd name="T20" fmla="*/ 304 w 304"/>
                <a:gd name="T21" fmla="*/ 68 h 292"/>
                <a:gd name="T22" fmla="*/ 301 w 304"/>
                <a:gd name="T23" fmla="*/ 65 h 292"/>
                <a:gd name="T24" fmla="*/ 246 w 304"/>
                <a:gd name="T25" fmla="*/ 65 h 292"/>
                <a:gd name="T26" fmla="*/ 168 w 304"/>
                <a:gd name="T27" fmla="*/ 16 h 292"/>
                <a:gd name="T28" fmla="*/ 164 w 304"/>
                <a:gd name="T29" fmla="*/ 5 h 292"/>
                <a:gd name="T30" fmla="*/ 152 w 304"/>
                <a:gd name="T31" fmla="*/ 0 h 292"/>
                <a:gd name="T32" fmla="*/ 146 w 304"/>
                <a:gd name="T33" fmla="*/ 1 h 292"/>
                <a:gd name="T34" fmla="*/ 137 w 304"/>
                <a:gd name="T35" fmla="*/ 10 h 292"/>
                <a:gd name="T36" fmla="*/ 58 w 304"/>
                <a:gd name="T37" fmla="*/ 65 h 292"/>
                <a:gd name="T38" fmla="*/ 6 w 304"/>
                <a:gd name="T39" fmla="*/ 65 h 292"/>
                <a:gd name="T40" fmla="*/ 2 w 304"/>
                <a:gd name="T41" fmla="*/ 67 h 292"/>
                <a:gd name="T42" fmla="*/ 0 w 304"/>
                <a:gd name="T43" fmla="*/ 71 h 292"/>
                <a:gd name="T44" fmla="*/ 0 w 304"/>
                <a:gd name="T45" fmla="*/ 287 h 292"/>
                <a:gd name="T46" fmla="*/ 2 w 304"/>
                <a:gd name="T47" fmla="*/ 291 h 292"/>
                <a:gd name="T48" fmla="*/ 6 w 304"/>
                <a:gd name="T49" fmla="*/ 292 h 292"/>
                <a:gd name="T50" fmla="*/ 218 w 304"/>
                <a:gd name="T51" fmla="*/ 260 h 292"/>
                <a:gd name="T52" fmla="*/ 38 w 304"/>
                <a:gd name="T53" fmla="*/ 260 h 292"/>
                <a:gd name="T54" fmla="*/ 35 w 304"/>
                <a:gd name="T55" fmla="*/ 259 h 292"/>
                <a:gd name="T56" fmla="*/ 33 w 304"/>
                <a:gd name="T57" fmla="*/ 255 h 292"/>
                <a:gd name="T58" fmla="*/ 140 w 304"/>
                <a:gd name="T59" fmla="*/ 27 h 292"/>
                <a:gd name="T60" fmla="*/ 146 w 304"/>
                <a:gd name="T61" fmla="*/ 31 h 292"/>
                <a:gd name="T62" fmla="*/ 152 w 304"/>
                <a:gd name="T63" fmla="*/ 33 h 292"/>
                <a:gd name="T64" fmla="*/ 156 w 304"/>
                <a:gd name="T65" fmla="*/ 32 h 292"/>
                <a:gd name="T66" fmla="*/ 166 w 304"/>
                <a:gd name="T67" fmla="*/ 27 h 292"/>
                <a:gd name="T68" fmla="*/ 80 w 304"/>
                <a:gd name="T69" fmla="*/ 65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4" h="292">
                  <a:moveTo>
                    <a:pt x="33" y="255"/>
                  </a:moveTo>
                  <a:lnTo>
                    <a:pt x="33" y="103"/>
                  </a:lnTo>
                  <a:lnTo>
                    <a:pt x="33" y="103"/>
                  </a:lnTo>
                  <a:lnTo>
                    <a:pt x="34" y="100"/>
                  </a:lnTo>
                  <a:lnTo>
                    <a:pt x="35" y="99"/>
                  </a:lnTo>
                  <a:lnTo>
                    <a:pt x="37" y="98"/>
                  </a:lnTo>
                  <a:lnTo>
                    <a:pt x="38" y="98"/>
                  </a:lnTo>
                  <a:lnTo>
                    <a:pt x="266" y="98"/>
                  </a:lnTo>
                  <a:lnTo>
                    <a:pt x="266" y="98"/>
                  </a:lnTo>
                  <a:lnTo>
                    <a:pt x="268" y="98"/>
                  </a:lnTo>
                  <a:lnTo>
                    <a:pt x="270" y="99"/>
                  </a:lnTo>
                  <a:lnTo>
                    <a:pt x="272" y="100"/>
                  </a:lnTo>
                  <a:lnTo>
                    <a:pt x="272" y="103"/>
                  </a:lnTo>
                  <a:lnTo>
                    <a:pt x="272" y="130"/>
                  </a:lnTo>
                  <a:lnTo>
                    <a:pt x="272" y="130"/>
                  </a:lnTo>
                  <a:lnTo>
                    <a:pt x="280" y="131"/>
                  </a:lnTo>
                  <a:lnTo>
                    <a:pt x="289" y="134"/>
                  </a:lnTo>
                  <a:lnTo>
                    <a:pt x="297" y="137"/>
                  </a:lnTo>
                  <a:lnTo>
                    <a:pt x="304" y="141"/>
                  </a:lnTo>
                  <a:lnTo>
                    <a:pt x="304" y="71"/>
                  </a:lnTo>
                  <a:lnTo>
                    <a:pt x="304" y="71"/>
                  </a:lnTo>
                  <a:lnTo>
                    <a:pt x="304" y="68"/>
                  </a:lnTo>
                  <a:lnTo>
                    <a:pt x="303" y="67"/>
                  </a:lnTo>
                  <a:lnTo>
                    <a:pt x="301" y="65"/>
                  </a:lnTo>
                  <a:lnTo>
                    <a:pt x="299" y="65"/>
                  </a:lnTo>
                  <a:lnTo>
                    <a:pt x="246" y="65"/>
                  </a:lnTo>
                  <a:lnTo>
                    <a:pt x="168" y="16"/>
                  </a:lnTo>
                  <a:lnTo>
                    <a:pt x="168" y="16"/>
                  </a:lnTo>
                  <a:lnTo>
                    <a:pt x="167" y="10"/>
                  </a:lnTo>
                  <a:lnTo>
                    <a:pt x="164" y="5"/>
                  </a:lnTo>
                  <a:lnTo>
                    <a:pt x="159" y="1"/>
                  </a:lnTo>
                  <a:lnTo>
                    <a:pt x="152" y="0"/>
                  </a:lnTo>
                  <a:lnTo>
                    <a:pt x="152" y="0"/>
                  </a:lnTo>
                  <a:lnTo>
                    <a:pt x="146" y="1"/>
                  </a:lnTo>
                  <a:lnTo>
                    <a:pt x="142" y="5"/>
                  </a:lnTo>
                  <a:lnTo>
                    <a:pt x="137" y="10"/>
                  </a:lnTo>
                  <a:lnTo>
                    <a:pt x="136" y="16"/>
                  </a:lnTo>
                  <a:lnTo>
                    <a:pt x="58" y="65"/>
                  </a:lnTo>
                  <a:lnTo>
                    <a:pt x="6" y="65"/>
                  </a:lnTo>
                  <a:lnTo>
                    <a:pt x="6" y="65"/>
                  </a:lnTo>
                  <a:lnTo>
                    <a:pt x="5" y="65"/>
                  </a:lnTo>
                  <a:lnTo>
                    <a:pt x="2" y="67"/>
                  </a:lnTo>
                  <a:lnTo>
                    <a:pt x="2" y="68"/>
                  </a:lnTo>
                  <a:lnTo>
                    <a:pt x="0" y="71"/>
                  </a:lnTo>
                  <a:lnTo>
                    <a:pt x="0" y="287"/>
                  </a:lnTo>
                  <a:lnTo>
                    <a:pt x="0" y="287"/>
                  </a:lnTo>
                  <a:lnTo>
                    <a:pt x="2" y="290"/>
                  </a:lnTo>
                  <a:lnTo>
                    <a:pt x="2" y="291"/>
                  </a:lnTo>
                  <a:lnTo>
                    <a:pt x="5" y="292"/>
                  </a:lnTo>
                  <a:lnTo>
                    <a:pt x="6" y="292"/>
                  </a:lnTo>
                  <a:lnTo>
                    <a:pt x="218" y="292"/>
                  </a:lnTo>
                  <a:lnTo>
                    <a:pt x="218" y="260"/>
                  </a:lnTo>
                  <a:lnTo>
                    <a:pt x="38" y="260"/>
                  </a:lnTo>
                  <a:lnTo>
                    <a:pt x="38" y="260"/>
                  </a:lnTo>
                  <a:lnTo>
                    <a:pt x="37" y="260"/>
                  </a:lnTo>
                  <a:lnTo>
                    <a:pt x="35" y="259"/>
                  </a:lnTo>
                  <a:lnTo>
                    <a:pt x="34" y="256"/>
                  </a:lnTo>
                  <a:lnTo>
                    <a:pt x="33" y="255"/>
                  </a:lnTo>
                  <a:lnTo>
                    <a:pt x="33" y="255"/>
                  </a:lnTo>
                  <a:close/>
                  <a:moveTo>
                    <a:pt x="140" y="27"/>
                  </a:moveTo>
                  <a:lnTo>
                    <a:pt x="140" y="27"/>
                  </a:lnTo>
                  <a:lnTo>
                    <a:pt x="146" y="31"/>
                  </a:lnTo>
                  <a:lnTo>
                    <a:pt x="148" y="32"/>
                  </a:lnTo>
                  <a:lnTo>
                    <a:pt x="152" y="33"/>
                  </a:lnTo>
                  <a:lnTo>
                    <a:pt x="152" y="33"/>
                  </a:lnTo>
                  <a:lnTo>
                    <a:pt x="156" y="32"/>
                  </a:lnTo>
                  <a:lnTo>
                    <a:pt x="159" y="31"/>
                  </a:lnTo>
                  <a:lnTo>
                    <a:pt x="166" y="27"/>
                  </a:lnTo>
                  <a:lnTo>
                    <a:pt x="226" y="65"/>
                  </a:lnTo>
                  <a:lnTo>
                    <a:pt x="80" y="65"/>
                  </a:lnTo>
                  <a:lnTo>
                    <a:pt x="140"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sp>
          <p:nvSpPr>
            <p:cNvPr id="20" name="Freeform 358">
              <a:extLst>
                <a:ext uri="{FF2B5EF4-FFF2-40B4-BE49-F238E27FC236}">
                  <a16:creationId xmlns:a16="http://schemas.microsoft.com/office/drawing/2014/main" id="{D281DD95-3A5F-4DF2-8094-7EDBB35AD474}"/>
                </a:ext>
              </a:extLst>
            </p:cNvPr>
            <p:cNvSpPr>
              <a:spLocks/>
            </p:cNvSpPr>
            <p:nvPr/>
          </p:nvSpPr>
          <p:spPr bwMode="auto">
            <a:xfrm>
              <a:off x="5156201" y="2728913"/>
              <a:ext cx="119063" cy="12700"/>
            </a:xfrm>
            <a:custGeom>
              <a:avLst/>
              <a:gdLst>
                <a:gd name="T0" fmla="*/ 151 w 151"/>
                <a:gd name="T1" fmla="*/ 8 h 16"/>
                <a:gd name="T2" fmla="*/ 151 w 151"/>
                <a:gd name="T3" fmla="*/ 8 h 16"/>
                <a:gd name="T4" fmla="*/ 149 w 151"/>
                <a:gd name="T5" fmla="*/ 5 h 16"/>
                <a:gd name="T6" fmla="*/ 148 w 151"/>
                <a:gd name="T7" fmla="*/ 2 h 16"/>
                <a:gd name="T8" fmla="*/ 145 w 151"/>
                <a:gd name="T9" fmla="*/ 1 h 16"/>
                <a:gd name="T10" fmla="*/ 143 w 151"/>
                <a:gd name="T11" fmla="*/ 0 h 16"/>
                <a:gd name="T12" fmla="*/ 8 w 151"/>
                <a:gd name="T13" fmla="*/ 0 h 16"/>
                <a:gd name="T14" fmla="*/ 8 w 151"/>
                <a:gd name="T15" fmla="*/ 0 h 16"/>
                <a:gd name="T16" fmla="*/ 6 w 151"/>
                <a:gd name="T17" fmla="*/ 1 h 16"/>
                <a:gd name="T18" fmla="*/ 3 w 151"/>
                <a:gd name="T19" fmla="*/ 2 h 16"/>
                <a:gd name="T20" fmla="*/ 2 w 151"/>
                <a:gd name="T21" fmla="*/ 5 h 16"/>
                <a:gd name="T22" fmla="*/ 0 w 151"/>
                <a:gd name="T23" fmla="*/ 8 h 16"/>
                <a:gd name="T24" fmla="*/ 0 w 151"/>
                <a:gd name="T25" fmla="*/ 8 h 16"/>
                <a:gd name="T26" fmla="*/ 2 w 151"/>
                <a:gd name="T27" fmla="*/ 12 h 16"/>
                <a:gd name="T28" fmla="*/ 3 w 151"/>
                <a:gd name="T29" fmla="*/ 14 h 16"/>
                <a:gd name="T30" fmla="*/ 6 w 151"/>
                <a:gd name="T31" fmla="*/ 16 h 16"/>
                <a:gd name="T32" fmla="*/ 8 w 151"/>
                <a:gd name="T33" fmla="*/ 16 h 16"/>
                <a:gd name="T34" fmla="*/ 143 w 151"/>
                <a:gd name="T35" fmla="*/ 16 h 16"/>
                <a:gd name="T36" fmla="*/ 143 w 151"/>
                <a:gd name="T37" fmla="*/ 16 h 16"/>
                <a:gd name="T38" fmla="*/ 145 w 151"/>
                <a:gd name="T39" fmla="*/ 16 h 16"/>
                <a:gd name="T40" fmla="*/ 148 w 151"/>
                <a:gd name="T41" fmla="*/ 14 h 16"/>
                <a:gd name="T42" fmla="*/ 149 w 151"/>
                <a:gd name="T43" fmla="*/ 12 h 16"/>
                <a:gd name="T44" fmla="*/ 151 w 151"/>
                <a:gd name="T45" fmla="*/ 8 h 16"/>
                <a:gd name="T46" fmla="*/ 151 w 151"/>
                <a:gd name="T4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1" h="16">
                  <a:moveTo>
                    <a:pt x="151" y="8"/>
                  </a:moveTo>
                  <a:lnTo>
                    <a:pt x="151" y="8"/>
                  </a:lnTo>
                  <a:lnTo>
                    <a:pt x="149" y="5"/>
                  </a:lnTo>
                  <a:lnTo>
                    <a:pt x="148" y="2"/>
                  </a:lnTo>
                  <a:lnTo>
                    <a:pt x="145" y="1"/>
                  </a:lnTo>
                  <a:lnTo>
                    <a:pt x="143" y="0"/>
                  </a:lnTo>
                  <a:lnTo>
                    <a:pt x="8" y="0"/>
                  </a:lnTo>
                  <a:lnTo>
                    <a:pt x="8" y="0"/>
                  </a:lnTo>
                  <a:lnTo>
                    <a:pt x="6" y="1"/>
                  </a:lnTo>
                  <a:lnTo>
                    <a:pt x="3" y="2"/>
                  </a:lnTo>
                  <a:lnTo>
                    <a:pt x="2" y="5"/>
                  </a:lnTo>
                  <a:lnTo>
                    <a:pt x="0" y="8"/>
                  </a:lnTo>
                  <a:lnTo>
                    <a:pt x="0" y="8"/>
                  </a:lnTo>
                  <a:lnTo>
                    <a:pt x="2" y="12"/>
                  </a:lnTo>
                  <a:lnTo>
                    <a:pt x="3" y="14"/>
                  </a:lnTo>
                  <a:lnTo>
                    <a:pt x="6" y="16"/>
                  </a:lnTo>
                  <a:lnTo>
                    <a:pt x="8" y="16"/>
                  </a:lnTo>
                  <a:lnTo>
                    <a:pt x="143" y="16"/>
                  </a:lnTo>
                  <a:lnTo>
                    <a:pt x="143" y="16"/>
                  </a:lnTo>
                  <a:lnTo>
                    <a:pt x="145" y="16"/>
                  </a:lnTo>
                  <a:lnTo>
                    <a:pt x="148" y="14"/>
                  </a:lnTo>
                  <a:lnTo>
                    <a:pt x="149" y="12"/>
                  </a:lnTo>
                  <a:lnTo>
                    <a:pt x="151" y="8"/>
                  </a:lnTo>
                  <a:lnTo>
                    <a:pt x="151"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sp>
          <p:nvSpPr>
            <p:cNvPr id="21" name="Freeform 359">
              <a:extLst>
                <a:ext uri="{FF2B5EF4-FFF2-40B4-BE49-F238E27FC236}">
                  <a16:creationId xmlns:a16="http://schemas.microsoft.com/office/drawing/2014/main" id="{3591AC18-A02D-4E90-9E81-598C0AAC86D2}"/>
                </a:ext>
              </a:extLst>
            </p:cNvPr>
            <p:cNvSpPr>
              <a:spLocks/>
            </p:cNvSpPr>
            <p:nvPr/>
          </p:nvSpPr>
          <p:spPr bwMode="auto">
            <a:xfrm>
              <a:off x="5156201" y="2762250"/>
              <a:ext cx="93663" cy="12700"/>
            </a:xfrm>
            <a:custGeom>
              <a:avLst/>
              <a:gdLst>
                <a:gd name="T0" fmla="*/ 120 w 120"/>
                <a:gd name="T1" fmla="*/ 8 h 16"/>
                <a:gd name="T2" fmla="*/ 120 w 120"/>
                <a:gd name="T3" fmla="*/ 8 h 16"/>
                <a:gd name="T4" fmla="*/ 120 w 120"/>
                <a:gd name="T5" fmla="*/ 5 h 16"/>
                <a:gd name="T6" fmla="*/ 117 w 120"/>
                <a:gd name="T7" fmla="*/ 2 h 16"/>
                <a:gd name="T8" fmla="*/ 116 w 120"/>
                <a:gd name="T9" fmla="*/ 0 h 16"/>
                <a:gd name="T10" fmla="*/ 112 w 120"/>
                <a:gd name="T11" fmla="*/ 0 h 16"/>
                <a:gd name="T12" fmla="*/ 8 w 120"/>
                <a:gd name="T13" fmla="*/ 0 h 16"/>
                <a:gd name="T14" fmla="*/ 8 w 120"/>
                <a:gd name="T15" fmla="*/ 0 h 16"/>
                <a:gd name="T16" fmla="*/ 6 w 120"/>
                <a:gd name="T17" fmla="*/ 0 h 16"/>
                <a:gd name="T18" fmla="*/ 3 w 120"/>
                <a:gd name="T19" fmla="*/ 2 h 16"/>
                <a:gd name="T20" fmla="*/ 2 w 120"/>
                <a:gd name="T21" fmla="*/ 5 h 16"/>
                <a:gd name="T22" fmla="*/ 0 w 120"/>
                <a:gd name="T23" fmla="*/ 8 h 16"/>
                <a:gd name="T24" fmla="*/ 0 w 120"/>
                <a:gd name="T25" fmla="*/ 8 h 16"/>
                <a:gd name="T26" fmla="*/ 2 w 120"/>
                <a:gd name="T27" fmla="*/ 10 h 16"/>
                <a:gd name="T28" fmla="*/ 3 w 120"/>
                <a:gd name="T29" fmla="*/ 13 h 16"/>
                <a:gd name="T30" fmla="*/ 6 w 120"/>
                <a:gd name="T31" fmla="*/ 16 h 16"/>
                <a:gd name="T32" fmla="*/ 8 w 120"/>
                <a:gd name="T33" fmla="*/ 16 h 16"/>
                <a:gd name="T34" fmla="*/ 112 w 120"/>
                <a:gd name="T35" fmla="*/ 16 h 16"/>
                <a:gd name="T36" fmla="*/ 112 w 120"/>
                <a:gd name="T37" fmla="*/ 16 h 16"/>
                <a:gd name="T38" fmla="*/ 116 w 120"/>
                <a:gd name="T39" fmla="*/ 16 h 16"/>
                <a:gd name="T40" fmla="*/ 117 w 120"/>
                <a:gd name="T41" fmla="*/ 13 h 16"/>
                <a:gd name="T42" fmla="*/ 120 w 120"/>
                <a:gd name="T43" fmla="*/ 10 h 16"/>
                <a:gd name="T44" fmla="*/ 120 w 120"/>
                <a:gd name="T45" fmla="*/ 8 h 16"/>
                <a:gd name="T46" fmla="*/ 120 w 120"/>
                <a:gd name="T4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0" h="16">
                  <a:moveTo>
                    <a:pt x="120" y="8"/>
                  </a:moveTo>
                  <a:lnTo>
                    <a:pt x="120" y="8"/>
                  </a:lnTo>
                  <a:lnTo>
                    <a:pt x="120" y="5"/>
                  </a:lnTo>
                  <a:lnTo>
                    <a:pt x="117" y="2"/>
                  </a:lnTo>
                  <a:lnTo>
                    <a:pt x="116" y="0"/>
                  </a:lnTo>
                  <a:lnTo>
                    <a:pt x="112" y="0"/>
                  </a:lnTo>
                  <a:lnTo>
                    <a:pt x="8" y="0"/>
                  </a:lnTo>
                  <a:lnTo>
                    <a:pt x="8" y="0"/>
                  </a:lnTo>
                  <a:lnTo>
                    <a:pt x="6" y="0"/>
                  </a:lnTo>
                  <a:lnTo>
                    <a:pt x="3" y="2"/>
                  </a:lnTo>
                  <a:lnTo>
                    <a:pt x="2" y="5"/>
                  </a:lnTo>
                  <a:lnTo>
                    <a:pt x="0" y="8"/>
                  </a:lnTo>
                  <a:lnTo>
                    <a:pt x="0" y="8"/>
                  </a:lnTo>
                  <a:lnTo>
                    <a:pt x="2" y="10"/>
                  </a:lnTo>
                  <a:lnTo>
                    <a:pt x="3" y="13"/>
                  </a:lnTo>
                  <a:lnTo>
                    <a:pt x="6" y="16"/>
                  </a:lnTo>
                  <a:lnTo>
                    <a:pt x="8" y="16"/>
                  </a:lnTo>
                  <a:lnTo>
                    <a:pt x="112" y="16"/>
                  </a:lnTo>
                  <a:lnTo>
                    <a:pt x="112" y="16"/>
                  </a:lnTo>
                  <a:lnTo>
                    <a:pt x="116" y="16"/>
                  </a:lnTo>
                  <a:lnTo>
                    <a:pt x="117" y="13"/>
                  </a:lnTo>
                  <a:lnTo>
                    <a:pt x="120" y="10"/>
                  </a:lnTo>
                  <a:lnTo>
                    <a:pt x="120" y="8"/>
                  </a:lnTo>
                  <a:lnTo>
                    <a:pt x="12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sp>
          <p:nvSpPr>
            <p:cNvPr id="22" name="Freeform 360">
              <a:extLst>
                <a:ext uri="{FF2B5EF4-FFF2-40B4-BE49-F238E27FC236}">
                  <a16:creationId xmlns:a16="http://schemas.microsoft.com/office/drawing/2014/main" id="{8A4FCA6F-D560-4D33-A0F4-0827F9615C83}"/>
                </a:ext>
              </a:extLst>
            </p:cNvPr>
            <p:cNvSpPr>
              <a:spLocks/>
            </p:cNvSpPr>
            <p:nvPr/>
          </p:nvSpPr>
          <p:spPr bwMode="auto">
            <a:xfrm>
              <a:off x="5156201" y="2797175"/>
              <a:ext cx="66675" cy="12700"/>
            </a:xfrm>
            <a:custGeom>
              <a:avLst/>
              <a:gdLst>
                <a:gd name="T0" fmla="*/ 8 w 85"/>
                <a:gd name="T1" fmla="*/ 0 h 16"/>
                <a:gd name="T2" fmla="*/ 8 w 85"/>
                <a:gd name="T3" fmla="*/ 0 h 16"/>
                <a:gd name="T4" fmla="*/ 6 w 85"/>
                <a:gd name="T5" fmla="*/ 0 h 16"/>
                <a:gd name="T6" fmla="*/ 3 w 85"/>
                <a:gd name="T7" fmla="*/ 1 h 16"/>
                <a:gd name="T8" fmla="*/ 2 w 85"/>
                <a:gd name="T9" fmla="*/ 4 h 16"/>
                <a:gd name="T10" fmla="*/ 0 w 85"/>
                <a:gd name="T11" fmla="*/ 8 h 16"/>
                <a:gd name="T12" fmla="*/ 0 w 85"/>
                <a:gd name="T13" fmla="*/ 8 h 16"/>
                <a:gd name="T14" fmla="*/ 2 w 85"/>
                <a:gd name="T15" fmla="*/ 10 h 16"/>
                <a:gd name="T16" fmla="*/ 3 w 85"/>
                <a:gd name="T17" fmla="*/ 13 h 16"/>
                <a:gd name="T18" fmla="*/ 6 w 85"/>
                <a:gd name="T19" fmla="*/ 14 h 16"/>
                <a:gd name="T20" fmla="*/ 8 w 85"/>
                <a:gd name="T21" fmla="*/ 16 h 16"/>
                <a:gd name="T22" fmla="*/ 77 w 85"/>
                <a:gd name="T23" fmla="*/ 16 h 16"/>
                <a:gd name="T24" fmla="*/ 77 w 85"/>
                <a:gd name="T25" fmla="*/ 16 h 16"/>
                <a:gd name="T26" fmla="*/ 81 w 85"/>
                <a:gd name="T27" fmla="*/ 14 h 16"/>
                <a:gd name="T28" fmla="*/ 82 w 85"/>
                <a:gd name="T29" fmla="*/ 13 h 16"/>
                <a:gd name="T30" fmla="*/ 85 w 85"/>
                <a:gd name="T31" fmla="*/ 10 h 16"/>
                <a:gd name="T32" fmla="*/ 85 w 85"/>
                <a:gd name="T33" fmla="*/ 8 h 16"/>
                <a:gd name="T34" fmla="*/ 85 w 85"/>
                <a:gd name="T35" fmla="*/ 8 h 16"/>
                <a:gd name="T36" fmla="*/ 85 w 85"/>
                <a:gd name="T37" fmla="*/ 4 h 16"/>
                <a:gd name="T38" fmla="*/ 82 w 85"/>
                <a:gd name="T39" fmla="*/ 1 h 16"/>
                <a:gd name="T40" fmla="*/ 81 w 85"/>
                <a:gd name="T41" fmla="*/ 0 h 16"/>
                <a:gd name="T42" fmla="*/ 77 w 85"/>
                <a:gd name="T43" fmla="*/ 0 h 16"/>
                <a:gd name="T44" fmla="*/ 8 w 85"/>
                <a:gd name="T4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5" h="16">
                  <a:moveTo>
                    <a:pt x="8" y="0"/>
                  </a:moveTo>
                  <a:lnTo>
                    <a:pt x="8" y="0"/>
                  </a:lnTo>
                  <a:lnTo>
                    <a:pt x="6" y="0"/>
                  </a:lnTo>
                  <a:lnTo>
                    <a:pt x="3" y="1"/>
                  </a:lnTo>
                  <a:lnTo>
                    <a:pt x="2" y="4"/>
                  </a:lnTo>
                  <a:lnTo>
                    <a:pt x="0" y="8"/>
                  </a:lnTo>
                  <a:lnTo>
                    <a:pt x="0" y="8"/>
                  </a:lnTo>
                  <a:lnTo>
                    <a:pt x="2" y="10"/>
                  </a:lnTo>
                  <a:lnTo>
                    <a:pt x="3" y="13"/>
                  </a:lnTo>
                  <a:lnTo>
                    <a:pt x="6" y="14"/>
                  </a:lnTo>
                  <a:lnTo>
                    <a:pt x="8" y="16"/>
                  </a:lnTo>
                  <a:lnTo>
                    <a:pt x="77" y="16"/>
                  </a:lnTo>
                  <a:lnTo>
                    <a:pt x="77" y="16"/>
                  </a:lnTo>
                  <a:lnTo>
                    <a:pt x="81" y="14"/>
                  </a:lnTo>
                  <a:lnTo>
                    <a:pt x="82" y="13"/>
                  </a:lnTo>
                  <a:lnTo>
                    <a:pt x="85" y="10"/>
                  </a:lnTo>
                  <a:lnTo>
                    <a:pt x="85" y="8"/>
                  </a:lnTo>
                  <a:lnTo>
                    <a:pt x="85" y="8"/>
                  </a:lnTo>
                  <a:lnTo>
                    <a:pt x="85" y="4"/>
                  </a:lnTo>
                  <a:lnTo>
                    <a:pt x="82" y="1"/>
                  </a:lnTo>
                  <a:lnTo>
                    <a:pt x="81" y="0"/>
                  </a:lnTo>
                  <a:lnTo>
                    <a:pt x="77" y="0"/>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grpSp>
      <p:sp>
        <p:nvSpPr>
          <p:cNvPr id="23" name="Rectangle 22">
            <a:extLst>
              <a:ext uri="{FF2B5EF4-FFF2-40B4-BE49-F238E27FC236}">
                <a16:creationId xmlns:a16="http://schemas.microsoft.com/office/drawing/2014/main" id="{4DC7B1B1-D2BC-4F1D-A798-9C6C9654C1D6}"/>
              </a:ext>
            </a:extLst>
          </p:cNvPr>
          <p:cNvSpPr/>
          <p:nvPr/>
        </p:nvSpPr>
        <p:spPr>
          <a:xfrm>
            <a:off x="4521318" y="1946196"/>
            <a:ext cx="1616897" cy="4113151"/>
          </a:xfrm>
          <a:prstGeom prst="rect">
            <a:avLst/>
          </a:prstGeom>
          <a:noFill/>
          <a:ln w="222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rPr>
              <a:t>ALL RETAI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rPr>
              <a:t>ACCOUN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500" b="0" i="1"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1"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grpSp>
        <p:nvGrpSpPr>
          <p:cNvPr id="24" name="Group 23">
            <a:extLst>
              <a:ext uri="{FF2B5EF4-FFF2-40B4-BE49-F238E27FC236}">
                <a16:creationId xmlns:a16="http://schemas.microsoft.com/office/drawing/2014/main" id="{68BA8D96-ED11-4717-9000-974190A813D1}"/>
              </a:ext>
            </a:extLst>
          </p:cNvPr>
          <p:cNvGrpSpPr>
            <a:grpSpLocks noChangeAspect="1"/>
          </p:cNvGrpSpPr>
          <p:nvPr/>
        </p:nvGrpSpPr>
        <p:grpSpPr>
          <a:xfrm>
            <a:off x="4986866" y="2838021"/>
            <a:ext cx="685800" cy="685800"/>
            <a:chOff x="4938713" y="5853113"/>
            <a:chExt cx="522288" cy="522288"/>
          </a:xfrm>
        </p:grpSpPr>
        <p:sp>
          <p:nvSpPr>
            <p:cNvPr id="25" name="Freeform 89">
              <a:extLst>
                <a:ext uri="{FF2B5EF4-FFF2-40B4-BE49-F238E27FC236}">
                  <a16:creationId xmlns:a16="http://schemas.microsoft.com/office/drawing/2014/main" id="{E215C6F2-35F4-43D9-877F-D585A89185B9}"/>
                </a:ext>
              </a:extLst>
            </p:cNvPr>
            <p:cNvSpPr>
              <a:spLocks noEditPoints="1"/>
            </p:cNvSpPr>
            <p:nvPr/>
          </p:nvSpPr>
          <p:spPr bwMode="auto">
            <a:xfrm>
              <a:off x="4938713" y="5853113"/>
              <a:ext cx="522288" cy="522288"/>
            </a:xfrm>
            <a:custGeom>
              <a:avLst/>
              <a:gdLst>
                <a:gd name="T0" fmla="*/ 312 w 658"/>
                <a:gd name="T1" fmla="*/ 657 h 659"/>
                <a:gd name="T2" fmla="*/ 262 w 658"/>
                <a:gd name="T3" fmla="*/ 652 h 659"/>
                <a:gd name="T4" fmla="*/ 202 w 658"/>
                <a:gd name="T5" fmla="*/ 632 h 659"/>
                <a:gd name="T6" fmla="*/ 120 w 658"/>
                <a:gd name="T7" fmla="*/ 583 h 659"/>
                <a:gd name="T8" fmla="*/ 57 w 658"/>
                <a:gd name="T9" fmla="*/ 514 h 659"/>
                <a:gd name="T10" fmla="*/ 15 w 658"/>
                <a:gd name="T11" fmla="*/ 428 h 659"/>
                <a:gd name="T12" fmla="*/ 4 w 658"/>
                <a:gd name="T13" fmla="*/ 379 h 659"/>
                <a:gd name="T14" fmla="*/ 0 w 658"/>
                <a:gd name="T15" fmla="*/ 330 h 659"/>
                <a:gd name="T16" fmla="*/ 2 w 658"/>
                <a:gd name="T17" fmla="*/ 296 h 659"/>
                <a:gd name="T18" fmla="*/ 11 w 658"/>
                <a:gd name="T19" fmla="*/ 248 h 659"/>
                <a:gd name="T20" fmla="*/ 41 w 658"/>
                <a:gd name="T21" fmla="*/ 172 h 659"/>
                <a:gd name="T22" fmla="*/ 97 w 658"/>
                <a:gd name="T23" fmla="*/ 97 h 659"/>
                <a:gd name="T24" fmla="*/ 172 w 658"/>
                <a:gd name="T25" fmla="*/ 41 h 659"/>
                <a:gd name="T26" fmla="*/ 247 w 658"/>
                <a:gd name="T27" fmla="*/ 11 h 659"/>
                <a:gd name="T28" fmla="*/ 296 w 658"/>
                <a:gd name="T29" fmla="*/ 2 h 659"/>
                <a:gd name="T30" fmla="*/ 329 w 658"/>
                <a:gd name="T31" fmla="*/ 0 h 659"/>
                <a:gd name="T32" fmla="*/ 379 w 658"/>
                <a:gd name="T33" fmla="*/ 4 h 659"/>
                <a:gd name="T34" fmla="*/ 426 w 658"/>
                <a:gd name="T35" fmla="*/ 15 h 659"/>
                <a:gd name="T36" fmla="*/ 513 w 658"/>
                <a:gd name="T37" fmla="*/ 57 h 659"/>
                <a:gd name="T38" fmla="*/ 583 w 658"/>
                <a:gd name="T39" fmla="*/ 120 h 659"/>
                <a:gd name="T40" fmla="*/ 632 w 658"/>
                <a:gd name="T41" fmla="*/ 202 h 659"/>
                <a:gd name="T42" fmla="*/ 652 w 658"/>
                <a:gd name="T43" fmla="*/ 264 h 659"/>
                <a:gd name="T44" fmla="*/ 657 w 658"/>
                <a:gd name="T45" fmla="*/ 312 h 659"/>
                <a:gd name="T46" fmla="*/ 657 w 658"/>
                <a:gd name="T47" fmla="*/ 347 h 659"/>
                <a:gd name="T48" fmla="*/ 652 w 658"/>
                <a:gd name="T49" fmla="*/ 395 h 659"/>
                <a:gd name="T50" fmla="*/ 632 w 658"/>
                <a:gd name="T51" fmla="*/ 457 h 659"/>
                <a:gd name="T52" fmla="*/ 583 w 658"/>
                <a:gd name="T53" fmla="*/ 539 h 659"/>
                <a:gd name="T54" fmla="*/ 513 w 658"/>
                <a:gd name="T55" fmla="*/ 602 h 659"/>
                <a:gd name="T56" fmla="*/ 426 w 658"/>
                <a:gd name="T57" fmla="*/ 644 h 659"/>
                <a:gd name="T58" fmla="*/ 379 w 658"/>
                <a:gd name="T59" fmla="*/ 655 h 659"/>
                <a:gd name="T60" fmla="*/ 329 w 658"/>
                <a:gd name="T61" fmla="*/ 659 h 659"/>
                <a:gd name="T62" fmla="*/ 329 w 658"/>
                <a:gd name="T63" fmla="*/ 38 h 659"/>
                <a:gd name="T64" fmla="*/ 242 w 658"/>
                <a:gd name="T65" fmla="*/ 52 h 659"/>
                <a:gd name="T66" fmla="*/ 167 w 658"/>
                <a:gd name="T67" fmla="*/ 88 h 659"/>
                <a:gd name="T68" fmla="*/ 105 w 658"/>
                <a:gd name="T69" fmla="*/ 144 h 659"/>
                <a:gd name="T70" fmla="*/ 61 w 658"/>
                <a:gd name="T71" fmla="*/ 217 h 659"/>
                <a:gd name="T72" fmla="*/ 39 w 658"/>
                <a:gd name="T73" fmla="*/ 300 h 659"/>
                <a:gd name="T74" fmla="*/ 39 w 658"/>
                <a:gd name="T75" fmla="*/ 359 h 659"/>
                <a:gd name="T76" fmla="*/ 61 w 658"/>
                <a:gd name="T77" fmla="*/ 442 h 659"/>
                <a:gd name="T78" fmla="*/ 105 w 658"/>
                <a:gd name="T79" fmla="*/ 515 h 659"/>
                <a:gd name="T80" fmla="*/ 167 w 658"/>
                <a:gd name="T81" fmla="*/ 571 h 659"/>
                <a:gd name="T82" fmla="*/ 242 w 658"/>
                <a:gd name="T83" fmla="*/ 608 h 659"/>
                <a:gd name="T84" fmla="*/ 329 w 658"/>
                <a:gd name="T85" fmla="*/ 621 h 659"/>
                <a:gd name="T86" fmla="*/ 387 w 658"/>
                <a:gd name="T87" fmla="*/ 614 h 659"/>
                <a:gd name="T88" fmla="*/ 468 w 658"/>
                <a:gd name="T89" fmla="*/ 586 h 659"/>
                <a:gd name="T90" fmla="*/ 535 w 658"/>
                <a:gd name="T91" fmla="*/ 535 h 659"/>
                <a:gd name="T92" fmla="*/ 585 w 658"/>
                <a:gd name="T93" fmla="*/ 468 h 659"/>
                <a:gd name="T94" fmla="*/ 614 w 658"/>
                <a:gd name="T95" fmla="*/ 389 h 659"/>
                <a:gd name="T96" fmla="*/ 621 w 658"/>
                <a:gd name="T97" fmla="*/ 330 h 659"/>
                <a:gd name="T98" fmla="*/ 607 w 658"/>
                <a:gd name="T99" fmla="*/ 244 h 659"/>
                <a:gd name="T100" fmla="*/ 570 w 658"/>
                <a:gd name="T101" fmla="*/ 167 h 659"/>
                <a:gd name="T102" fmla="*/ 515 w 658"/>
                <a:gd name="T103" fmla="*/ 105 h 659"/>
                <a:gd name="T104" fmla="*/ 442 w 658"/>
                <a:gd name="T105" fmla="*/ 61 h 659"/>
                <a:gd name="T106" fmla="*/ 359 w 658"/>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2" y="657"/>
                  </a:lnTo>
                  <a:lnTo>
                    <a:pt x="296" y="656"/>
                  </a:lnTo>
                  <a:lnTo>
                    <a:pt x="280" y="655"/>
                  </a:lnTo>
                  <a:lnTo>
                    <a:pt x="262" y="652"/>
                  </a:lnTo>
                  <a:lnTo>
                    <a:pt x="247" y="648"/>
                  </a:lnTo>
                  <a:lnTo>
                    <a:pt x="231" y="644"/>
                  </a:lnTo>
                  <a:lnTo>
                    <a:pt x="202" y="632"/>
                  </a:lnTo>
                  <a:lnTo>
                    <a:pt x="172" y="618"/>
                  </a:lnTo>
                  <a:lnTo>
                    <a:pt x="145" y="602"/>
                  </a:lnTo>
                  <a:lnTo>
                    <a:pt x="120" y="583"/>
                  </a:lnTo>
                  <a:lnTo>
                    <a:pt x="97" y="562"/>
                  </a:lnTo>
                  <a:lnTo>
                    <a:pt x="75" y="539"/>
                  </a:lnTo>
                  <a:lnTo>
                    <a:pt x="57" y="514"/>
                  </a:lnTo>
                  <a:lnTo>
                    <a:pt x="41" y="487"/>
                  </a:lnTo>
                  <a:lnTo>
                    <a:pt x="26" y="457"/>
                  </a:lnTo>
                  <a:lnTo>
                    <a:pt x="15" y="428"/>
                  </a:lnTo>
                  <a:lnTo>
                    <a:pt x="11" y="411"/>
                  </a:lnTo>
                  <a:lnTo>
                    <a:pt x="7" y="395"/>
                  </a:lnTo>
                  <a:lnTo>
                    <a:pt x="4" y="379"/>
                  </a:lnTo>
                  <a:lnTo>
                    <a:pt x="2" y="363"/>
                  </a:lnTo>
                  <a:lnTo>
                    <a:pt x="0" y="347"/>
                  </a:lnTo>
                  <a:lnTo>
                    <a:pt x="0" y="330"/>
                  </a:lnTo>
                  <a:lnTo>
                    <a:pt x="0" y="330"/>
                  </a:lnTo>
                  <a:lnTo>
                    <a:pt x="0" y="312"/>
                  </a:lnTo>
                  <a:lnTo>
                    <a:pt x="2" y="296"/>
                  </a:lnTo>
                  <a:lnTo>
                    <a:pt x="4" y="280"/>
                  </a:lnTo>
                  <a:lnTo>
                    <a:pt x="7" y="264"/>
                  </a:lnTo>
                  <a:lnTo>
                    <a:pt x="11" y="248"/>
                  </a:lnTo>
                  <a:lnTo>
                    <a:pt x="15" y="231"/>
                  </a:lnTo>
                  <a:lnTo>
                    <a:pt x="26" y="202"/>
                  </a:lnTo>
                  <a:lnTo>
                    <a:pt x="41" y="172"/>
                  </a:lnTo>
                  <a:lnTo>
                    <a:pt x="57" y="146"/>
                  </a:lnTo>
                  <a:lnTo>
                    <a:pt x="75" y="120"/>
                  </a:lnTo>
                  <a:lnTo>
                    <a:pt x="97" y="97"/>
                  </a:lnTo>
                  <a:lnTo>
                    <a:pt x="120" y="76"/>
                  </a:lnTo>
                  <a:lnTo>
                    <a:pt x="145" y="57"/>
                  </a:lnTo>
                  <a:lnTo>
                    <a:pt x="172" y="41"/>
                  </a:lnTo>
                  <a:lnTo>
                    <a:pt x="202" y="26"/>
                  </a:lnTo>
                  <a:lnTo>
                    <a:pt x="231" y="15"/>
                  </a:lnTo>
                  <a:lnTo>
                    <a:pt x="247" y="11"/>
                  </a:lnTo>
                  <a:lnTo>
                    <a:pt x="262" y="7"/>
                  </a:lnTo>
                  <a:lnTo>
                    <a:pt x="280" y="4"/>
                  </a:lnTo>
                  <a:lnTo>
                    <a:pt x="296" y="2"/>
                  </a:lnTo>
                  <a:lnTo>
                    <a:pt x="312" y="0"/>
                  </a:lnTo>
                  <a:lnTo>
                    <a:pt x="329" y="0"/>
                  </a:lnTo>
                  <a:lnTo>
                    <a:pt x="329" y="0"/>
                  </a:lnTo>
                  <a:lnTo>
                    <a:pt x="345" y="0"/>
                  </a:lnTo>
                  <a:lnTo>
                    <a:pt x="363" y="2"/>
                  </a:lnTo>
                  <a:lnTo>
                    <a:pt x="379" y="4"/>
                  </a:lnTo>
                  <a:lnTo>
                    <a:pt x="395" y="7"/>
                  </a:lnTo>
                  <a:lnTo>
                    <a:pt x="411" y="11"/>
                  </a:lnTo>
                  <a:lnTo>
                    <a:pt x="426" y="15"/>
                  </a:lnTo>
                  <a:lnTo>
                    <a:pt x="457" y="26"/>
                  </a:lnTo>
                  <a:lnTo>
                    <a:pt x="485" y="41"/>
                  </a:lnTo>
                  <a:lnTo>
                    <a:pt x="513" y="57"/>
                  </a:lnTo>
                  <a:lnTo>
                    <a:pt x="538" y="76"/>
                  </a:lnTo>
                  <a:lnTo>
                    <a:pt x="562" y="97"/>
                  </a:lnTo>
                  <a:lnTo>
                    <a:pt x="583" y="120"/>
                  </a:lnTo>
                  <a:lnTo>
                    <a:pt x="602" y="146"/>
                  </a:lnTo>
                  <a:lnTo>
                    <a:pt x="618" y="172"/>
                  </a:lnTo>
                  <a:lnTo>
                    <a:pt x="632" y="202"/>
                  </a:lnTo>
                  <a:lnTo>
                    <a:pt x="644" y="231"/>
                  </a:lnTo>
                  <a:lnTo>
                    <a:pt x="648" y="248"/>
                  </a:lnTo>
                  <a:lnTo>
                    <a:pt x="652" y="264"/>
                  </a:lnTo>
                  <a:lnTo>
                    <a:pt x="654" y="280"/>
                  </a:lnTo>
                  <a:lnTo>
                    <a:pt x="656" y="296"/>
                  </a:lnTo>
                  <a:lnTo>
                    <a:pt x="657" y="312"/>
                  </a:lnTo>
                  <a:lnTo>
                    <a:pt x="658" y="330"/>
                  </a:lnTo>
                  <a:lnTo>
                    <a:pt x="658" y="330"/>
                  </a:lnTo>
                  <a:lnTo>
                    <a:pt x="657" y="347"/>
                  </a:lnTo>
                  <a:lnTo>
                    <a:pt x="656" y="363"/>
                  </a:lnTo>
                  <a:lnTo>
                    <a:pt x="654" y="379"/>
                  </a:lnTo>
                  <a:lnTo>
                    <a:pt x="652" y="395"/>
                  </a:lnTo>
                  <a:lnTo>
                    <a:pt x="648" y="411"/>
                  </a:lnTo>
                  <a:lnTo>
                    <a:pt x="644" y="428"/>
                  </a:lnTo>
                  <a:lnTo>
                    <a:pt x="632" y="457"/>
                  </a:lnTo>
                  <a:lnTo>
                    <a:pt x="618" y="487"/>
                  </a:lnTo>
                  <a:lnTo>
                    <a:pt x="602" y="514"/>
                  </a:lnTo>
                  <a:lnTo>
                    <a:pt x="583" y="539"/>
                  </a:lnTo>
                  <a:lnTo>
                    <a:pt x="562" y="562"/>
                  </a:lnTo>
                  <a:lnTo>
                    <a:pt x="538" y="583"/>
                  </a:lnTo>
                  <a:lnTo>
                    <a:pt x="513" y="602"/>
                  </a:lnTo>
                  <a:lnTo>
                    <a:pt x="485" y="618"/>
                  </a:lnTo>
                  <a:lnTo>
                    <a:pt x="457" y="632"/>
                  </a:lnTo>
                  <a:lnTo>
                    <a:pt x="426" y="644"/>
                  </a:lnTo>
                  <a:lnTo>
                    <a:pt x="411" y="648"/>
                  </a:lnTo>
                  <a:lnTo>
                    <a:pt x="395" y="652"/>
                  </a:lnTo>
                  <a:lnTo>
                    <a:pt x="379" y="655"/>
                  </a:lnTo>
                  <a:lnTo>
                    <a:pt x="363" y="656"/>
                  </a:lnTo>
                  <a:lnTo>
                    <a:pt x="345" y="657"/>
                  </a:lnTo>
                  <a:lnTo>
                    <a:pt x="329" y="659"/>
                  </a:lnTo>
                  <a:lnTo>
                    <a:pt x="329" y="659"/>
                  </a:lnTo>
                  <a:close/>
                  <a:moveTo>
                    <a:pt x="329" y="38"/>
                  </a:moveTo>
                  <a:lnTo>
                    <a:pt x="329" y="38"/>
                  </a:lnTo>
                  <a:lnTo>
                    <a:pt x="300" y="39"/>
                  </a:lnTo>
                  <a:lnTo>
                    <a:pt x="270" y="45"/>
                  </a:lnTo>
                  <a:lnTo>
                    <a:pt x="242" y="52"/>
                  </a:lnTo>
                  <a:lnTo>
                    <a:pt x="215" y="61"/>
                  </a:lnTo>
                  <a:lnTo>
                    <a:pt x="191" y="73"/>
                  </a:lnTo>
                  <a:lnTo>
                    <a:pt x="167" y="88"/>
                  </a:lnTo>
                  <a:lnTo>
                    <a:pt x="144" y="105"/>
                  </a:lnTo>
                  <a:lnTo>
                    <a:pt x="124" y="124"/>
                  </a:lnTo>
                  <a:lnTo>
                    <a:pt x="105" y="144"/>
                  </a:lnTo>
                  <a:lnTo>
                    <a:pt x="88" y="167"/>
                  </a:lnTo>
                  <a:lnTo>
                    <a:pt x="73" y="191"/>
                  </a:lnTo>
                  <a:lnTo>
                    <a:pt x="61" y="217"/>
                  </a:lnTo>
                  <a:lnTo>
                    <a:pt x="51" y="244"/>
                  </a:lnTo>
                  <a:lnTo>
                    <a:pt x="43" y="270"/>
                  </a:lnTo>
                  <a:lnTo>
                    <a:pt x="39" y="300"/>
                  </a:lnTo>
                  <a:lnTo>
                    <a:pt x="38" y="330"/>
                  </a:lnTo>
                  <a:lnTo>
                    <a:pt x="38" y="330"/>
                  </a:lnTo>
                  <a:lnTo>
                    <a:pt x="39" y="359"/>
                  </a:lnTo>
                  <a:lnTo>
                    <a:pt x="43" y="389"/>
                  </a:lnTo>
                  <a:lnTo>
                    <a:pt x="51" y="416"/>
                  </a:lnTo>
                  <a:lnTo>
                    <a:pt x="61" y="442"/>
                  </a:lnTo>
                  <a:lnTo>
                    <a:pt x="73" y="468"/>
                  </a:lnTo>
                  <a:lnTo>
                    <a:pt x="88" y="492"/>
                  </a:lnTo>
                  <a:lnTo>
                    <a:pt x="105" y="515"/>
                  </a:lnTo>
                  <a:lnTo>
                    <a:pt x="124" y="535"/>
                  </a:lnTo>
                  <a:lnTo>
                    <a:pt x="144" y="554"/>
                  </a:lnTo>
                  <a:lnTo>
                    <a:pt x="167" y="571"/>
                  </a:lnTo>
                  <a:lnTo>
                    <a:pt x="191" y="586"/>
                  </a:lnTo>
                  <a:lnTo>
                    <a:pt x="215" y="598"/>
                  </a:lnTo>
                  <a:lnTo>
                    <a:pt x="242" y="608"/>
                  </a:lnTo>
                  <a:lnTo>
                    <a:pt x="270" y="614"/>
                  </a:lnTo>
                  <a:lnTo>
                    <a:pt x="300" y="620"/>
                  </a:lnTo>
                  <a:lnTo>
                    <a:pt x="329" y="621"/>
                  </a:lnTo>
                  <a:lnTo>
                    <a:pt x="329" y="621"/>
                  </a:lnTo>
                  <a:lnTo>
                    <a:pt x="359" y="620"/>
                  </a:lnTo>
                  <a:lnTo>
                    <a:pt x="387" y="614"/>
                  </a:lnTo>
                  <a:lnTo>
                    <a:pt x="415" y="608"/>
                  </a:lnTo>
                  <a:lnTo>
                    <a:pt x="442" y="598"/>
                  </a:lnTo>
                  <a:lnTo>
                    <a:pt x="468" y="586"/>
                  </a:lnTo>
                  <a:lnTo>
                    <a:pt x="492" y="571"/>
                  </a:lnTo>
                  <a:lnTo>
                    <a:pt x="515" y="554"/>
                  </a:lnTo>
                  <a:lnTo>
                    <a:pt x="535" y="535"/>
                  </a:lnTo>
                  <a:lnTo>
                    <a:pt x="554" y="515"/>
                  </a:lnTo>
                  <a:lnTo>
                    <a:pt x="570" y="492"/>
                  </a:lnTo>
                  <a:lnTo>
                    <a:pt x="585" y="468"/>
                  </a:lnTo>
                  <a:lnTo>
                    <a:pt x="597" y="442"/>
                  </a:lnTo>
                  <a:lnTo>
                    <a:pt x="607" y="416"/>
                  </a:lnTo>
                  <a:lnTo>
                    <a:pt x="614" y="389"/>
                  </a:lnTo>
                  <a:lnTo>
                    <a:pt x="618" y="359"/>
                  </a:lnTo>
                  <a:lnTo>
                    <a:pt x="621" y="330"/>
                  </a:lnTo>
                  <a:lnTo>
                    <a:pt x="621" y="330"/>
                  </a:lnTo>
                  <a:lnTo>
                    <a:pt x="618" y="300"/>
                  </a:lnTo>
                  <a:lnTo>
                    <a:pt x="614" y="270"/>
                  </a:lnTo>
                  <a:lnTo>
                    <a:pt x="607" y="244"/>
                  </a:lnTo>
                  <a:lnTo>
                    <a:pt x="597" y="217"/>
                  </a:lnTo>
                  <a:lnTo>
                    <a:pt x="585" y="191"/>
                  </a:lnTo>
                  <a:lnTo>
                    <a:pt x="570" y="167"/>
                  </a:lnTo>
                  <a:lnTo>
                    <a:pt x="554" y="144"/>
                  </a:lnTo>
                  <a:lnTo>
                    <a:pt x="535" y="124"/>
                  </a:lnTo>
                  <a:lnTo>
                    <a:pt x="515" y="105"/>
                  </a:lnTo>
                  <a:lnTo>
                    <a:pt x="492" y="88"/>
                  </a:lnTo>
                  <a:lnTo>
                    <a:pt x="468" y="73"/>
                  </a:lnTo>
                  <a:lnTo>
                    <a:pt x="442" y="61"/>
                  </a:lnTo>
                  <a:lnTo>
                    <a:pt x="415" y="52"/>
                  </a:lnTo>
                  <a:lnTo>
                    <a:pt x="387" y="45"/>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sp>
          <p:nvSpPr>
            <p:cNvPr id="26" name="Freeform 328">
              <a:extLst>
                <a:ext uri="{FF2B5EF4-FFF2-40B4-BE49-F238E27FC236}">
                  <a16:creationId xmlns:a16="http://schemas.microsoft.com/office/drawing/2014/main" id="{65E1EA66-C628-4DBB-83B5-E9F85BDB5777}"/>
                </a:ext>
              </a:extLst>
            </p:cNvPr>
            <p:cNvSpPr>
              <a:spLocks/>
            </p:cNvSpPr>
            <p:nvPr/>
          </p:nvSpPr>
          <p:spPr bwMode="auto">
            <a:xfrm>
              <a:off x="5113338" y="6189663"/>
              <a:ext cx="55563" cy="55563"/>
            </a:xfrm>
            <a:custGeom>
              <a:avLst/>
              <a:gdLst>
                <a:gd name="T0" fmla="*/ 36 w 71"/>
                <a:gd name="T1" fmla="*/ 0 h 71"/>
                <a:gd name="T2" fmla="*/ 36 w 71"/>
                <a:gd name="T3" fmla="*/ 0 h 71"/>
                <a:gd name="T4" fmla="*/ 28 w 71"/>
                <a:gd name="T5" fmla="*/ 0 h 71"/>
                <a:gd name="T6" fmla="*/ 21 w 71"/>
                <a:gd name="T7" fmla="*/ 2 h 71"/>
                <a:gd name="T8" fmla="*/ 16 w 71"/>
                <a:gd name="T9" fmla="*/ 5 h 71"/>
                <a:gd name="T10" fmla="*/ 10 w 71"/>
                <a:gd name="T11" fmla="*/ 10 h 71"/>
                <a:gd name="T12" fmla="*/ 5 w 71"/>
                <a:gd name="T13" fmla="*/ 16 h 71"/>
                <a:gd name="T14" fmla="*/ 2 w 71"/>
                <a:gd name="T15" fmla="*/ 21 h 71"/>
                <a:gd name="T16" fmla="*/ 0 w 71"/>
                <a:gd name="T17" fmla="*/ 28 h 71"/>
                <a:gd name="T18" fmla="*/ 0 w 71"/>
                <a:gd name="T19" fmla="*/ 34 h 71"/>
                <a:gd name="T20" fmla="*/ 0 w 71"/>
                <a:gd name="T21" fmla="*/ 34 h 71"/>
                <a:gd name="T22" fmla="*/ 0 w 71"/>
                <a:gd name="T23" fmla="*/ 43 h 71"/>
                <a:gd name="T24" fmla="*/ 2 w 71"/>
                <a:gd name="T25" fmla="*/ 49 h 71"/>
                <a:gd name="T26" fmla="*/ 5 w 71"/>
                <a:gd name="T27" fmla="*/ 55 h 71"/>
                <a:gd name="T28" fmla="*/ 10 w 71"/>
                <a:gd name="T29" fmla="*/ 60 h 71"/>
                <a:gd name="T30" fmla="*/ 16 w 71"/>
                <a:gd name="T31" fmla="*/ 65 h 71"/>
                <a:gd name="T32" fmla="*/ 21 w 71"/>
                <a:gd name="T33" fmla="*/ 68 h 71"/>
                <a:gd name="T34" fmla="*/ 28 w 71"/>
                <a:gd name="T35" fmla="*/ 71 h 71"/>
                <a:gd name="T36" fmla="*/ 36 w 71"/>
                <a:gd name="T37" fmla="*/ 71 h 71"/>
                <a:gd name="T38" fmla="*/ 36 w 71"/>
                <a:gd name="T39" fmla="*/ 71 h 71"/>
                <a:gd name="T40" fmla="*/ 43 w 71"/>
                <a:gd name="T41" fmla="*/ 71 h 71"/>
                <a:gd name="T42" fmla="*/ 49 w 71"/>
                <a:gd name="T43" fmla="*/ 68 h 71"/>
                <a:gd name="T44" fmla="*/ 56 w 71"/>
                <a:gd name="T45" fmla="*/ 65 h 71"/>
                <a:gd name="T46" fmla="*/ 60 w 71"/>
                <a:gd name="T47" fmla="*/ 60 h 71"/>
                <a:gd name="T48" fmla="*/ 65 w 71"/>
                <a:gd name="T49" fmla="*/ 55 h 71"/>
                <a:gd name="T50" fmla="*/ 68 w 71"/>
                <a:gd name="T51" fmla="*/ 49 h 71"/>
                <a:gd name="T52" fmla="*/ 71 w 71"/>
                <a:gd name="T53" fmla="*/ 43 h 71"/>
                <a:gd name="T54" fmla="*/ 71 w 71"/>
                <a:gd name="T55" fmla="*/ 34 h 71"/>
                <a:gd name="T56" fmla="*/ 71 w 71"/>
                <a:gd name="T57" fmla="*/ 34 h 71"/>
                <a:gd name="T58" fmla="*/ 71 w 71"/>
                <a:gd name="T59" fmla="*/ 28 h 71"/>
                <a:gd name="T60" fmla="*/ 68 w 71"/>
                <a:gd name="T61" fmla="*/ 21 h 71"/>
                <a:gd name="T62" fmla="*/ 65 w 71"/>
                <a:gd name="T63" fmla="*/ 16 h 71"/>
                <a:gd name="T64" fmla="*/ 60 w 71"/>
                <a:gd name="T65" fmla="*/ 10 h 71"/>
                <a:gd name="T66" fmla="*/ 56 w 71"/>
                <a:gd name="T67" fmla="*/ 5 h 71"/>
                <a:gd name="T68" fmla="*/ 49 w 71"/>
                <a:gd name="T69" fmla="*/ 2 h 71"/>
                <a:gd name="T70" fmla="*/ 43 w 71"/>
                <a:gd name="T71" fmla="*/ 0 h 71"/>
                <a:gd name="T72" fmla="*/ 36 w 71"/>
                <a:gd name="T73" fmla="*/ 0 h 71"/>
                <a:gd name="T74" fmla="*/ 36 w 71"/>
                <a:gd name="T7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1" h="71">
                  <a:moveTo>
                    <a:pt x="36" y="0"/>
                  </a:moveTo>
                  <a:lnTo>
                    <a:pt x="36" y="0"/>
                  </a:lnTo>
                  <a:lnTo>
                    <a:pt x="28" y="0"/>
                  </a:lnTo>
                  <a:lnTo>
                    <a:pt x="21" y="2"/>
                  </a:lnTo>
                  <a:lnTo>
                    <a:pt x="16" y="5"/>
                  </a:lnTo>
                  <a:lnTo>
                    <a:pt x="10" y="10"/>
                  </a:lnTo>
                  <a:lnTo>
                    <a:pt x="5" y="16"/>
                  </a:lnTo>
                  <a:lnTo>
                    <a:pt x="2" y="21"/>
                  </a:lnTo>
                  <a:lnTo>
                    <a:pt x="0" y="28"/>
                  </a:lnTo>
                  <a:lnTo>
                    <a:pt x="0" y="34"/>
                  </a:lnTo>
                  <a:lnTo>
                    <a:pt x="0" y="34"/>
                  </a:lnTo>
                  <a:lnTo>
                    <a:pt x="0" y="43"/>
                  </a:lnTo>
                  <a:lnTo>
                    <a:pt x="2" y="49"/>
                  </a:lnTo>
                  <a:lnTo>
                    <a:pt x="5" y="55"/>
                  </a:lnTo>
                  <a:lnTo>
                    <a:pt x="10" y="60"/>
                  </a:lnTo>
                  <a:lnTo>
                    <a:pt x="16" y="65"/>
                  </a:lnTo>
                  <a:lnTo>
                    <a:pt x="21" y="68"/>
                  </a:lnTo>
                  <a:lnTo>
                    <a:pt x="28" y="71"/>
                  </a:lnTo>
                  <a:lnTo>
                    <a:pt x="36" y="71"/>
                  </a:lnTo>
                  <a:lnTo>
                    <a:pt x="36" y="71"/>
                  </a:lnTo>
                  <a:lnTo>
                    <a:pt x="43" y="71"/>
                  </a:lnTo>
                  <a:lnTo>
                    <a:pt x="49" y="68"/>
                  </a:lnTo>
                  <a:lnTo>
                    <a:pt x="56" y="65"/>
                  </a:lnTo>
                  <a:lnTo>
                    <a:pt x="60" y="60"/>
                  </a:lnTo>
                  <a:lnTo>
                    <a:pt x="65" y="55"/>
                  </a:lnTo>
                  <a:lnTo>
                    <a:pt x="68" y="49"/>
                  </a:lnTo>
                  <a:lnTo>
                    <a:pt x="71" y="43"/>
                  </a:lnTo>
                  <a:lnTo>
                    <a:pt x="71" y="34"/>
                  </a:lnTo>
                  <a:lnTo>
                    <a:pt x="71" y="34"/>
                  </a:lnTo>
                  <a:lnTo>
                    <a:pt x="71" y="28"/>
                  </a:lnTo>
                  <a:lnTo>
                    <a:pt x="68" y="21"/>
                  </a:lnTo>
                  <a:lnTo>
                    <a:pt x="65" y="16"/>
                  </a:lnTo>
                  <a:lnTo>
                    <a:pt x="60" y="10"/>
                  </a:lnTo>
                  <a:lnTo>
                    <a:pt x="56" y="5"/>
                  </a:lnTo>
                  <a:lnTo>
                    <a:pt x="49" y="2"/>
                  </a:lnTo>
                  <a:lnTo>
                    <a:pt x="43" y="0"/>
                  </a:lnTo>
                  <a:lnTo>
                    <a:pt x="36" y="0"/>
                  </a:lnTo>
                  <a:lnTo>
                    <a:pt x="3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sp>
          <p:nvSpPr>
            <p:cNvPr id="27" name="Freeform 329">
              <a:extLst>
                <a:ext uri="{FF2B5EF4-FFF2-40B4-BE49-F238E27FC236}">
                  <a16:creationId xmlns:a16="http://schemas.microsoft.com/office/drawing/2014/main" id="{F8B93FF1-A816-4529-A115-FD08B3E4F4D5}"/>
                </a:ext>
              </a:extLst>
            </p:cNvPr>
            <p:cNvSpPr>
              <a:spLocks/>
            </p:cNvSpPr>
            <p:nvPr/>
          </p:nvSpPr>
          <p:spPr bwMode="auto">
            <a:xfrm>
              <a:off x="5243513" y="6189663"/>
              <a:ext cx="58738" cy="55563"/>
            </a:xfrm>
            <a:custGeom>
              <a:avLst/>
              <a:gdLst>
                <a:gd name="T0" fmla="*/ 36 w 72"/>
                <a:gd name="T1" fmla="*/ 0 h 71"/>
                <a:gd name="T2" fmla="*/ 36 w 72"/>
                <a:gd name="T3" fmla="*/ 0 h 71"/>
                <a:gd name="T4" fmla="*/ 29 w 72"/>
                <a:gd name="T5" fmla="*/ 0 h 71"/>
                <a:gd name="T6" fmla="*/ 23 w 72"/>
                <a:gd name="T7" fmla="*/ 2 h 71"/>
                <a:gd name="T8" fmla="*/ 16 w 72"/>
                <a:gd name="T9" fmla="*/ 5 h 71"/>
                <a:gd name="T10" fmla="*/ 11 w 72"/>
                <a:gd name="T11" fmla="*/ 10 h 71"/>
                <a:gd name="T12" fmla="*/ 6 w 72"/>
                <a:gd name="T13" fmla="*/ 16 h 71"/>
                <a:gd name="T14" fmla="*/ 4 w 72"/>
                <a:gd name="T15" fmla="*/ 21 h 71"/>
                <a:gd name="T16" fmla="*/ 1 w 72"/>
                <a:gd name="T17" fmla="*/ 28 h 71"/>
                <a:gd name="T18" fmla="*/ 0 w 72"/>
                <a:gd name="T19" fmla="*/ 34 h 71"/>
                <a:gd name="T20" fmla="*/ 0 w 72"/>
                <a:gd name="T21" fmla="*/ 34 h 71"/>
                <a:gd name="T22" fmla="*/ 1 w 72"/>
                <a:gd name="T23" fmla="*/ 43 h 71"/>
                <a:gd name="T24" fmla="*/ 4 w 72"/>
                <a:gd name="T25" fmla="*/ 49 h 71"/>
                <a:gd name="T26" fmla="*/ 6 w 72"/>
                <a:gd name="T27" fmla="*/ 55 h 71"/>
                <a:gd name="T28" fmla="*/ 11 w 72"/>
                <a:gd name="T29" fmla="*/ 60 h 71"/>
                <a:gd name="T30" fmla="*/ 16 w 72"/>
                <a:gd name="T31" fmla="*/ 65 h 71"/>
                <a:gd name="T32" fmla="*/ 23 w 72"/>
                <a:gd name="T33" fmla="*/ 68 h 71"/>
                <a:gd name="T34" fmla="*/ 29 w 72"/>
                <a:gd name="T35" fmla="*/ 71 h 71"/>
                <a:gd name="T36" fmla="*/ 36 w 72"/>
                <a:gd name="T37" fmla="*/ 71 h 71"/>
                <a:gd name="T38" fmla="*/ 36 w 72"/>
                <a:gd name="T39" fmla="*/ 71 h 71"/>
                <a:gd name="T40" fmla="*/ 44 w 72"/>
                <a:gd name="T41" fmla="*/ 71 h 71"/>
                <a:gd name="T42" fmla="*/ 51 w 72"/>
                <a:gd name="T43" fmla="*/ 68 h 71"/>
                <a:gd name="T44" fmla="*/ 56 w 72"/>
                <a:gd name="T45" fmla="*/ 65 h 71"/>
                <a:gd name="T46" fmla="*/ 62 w 72"/>
                <a:gd name="T47" fmla="*/ 60 h 71"/>
                <a:gd name="T48" fmla="*/ 66 w 72"/>
                <a:gd name="T49" fmla="*/ 55 h 71"/>
                <a:gd name="T50" fmla="*/ 70 w 72"/>
                <a:gd name="T51" fmla="*/ 49 h 71"/>
                <a:gd name="T52" fmla="*/ 71 w 72"/>
                <a:gd name="T53" fmla="*/ 43 h 71"/>
                <a:gd name="T54" fmla="*/ 72 w 72"/>
                <a:gd name="T55" fmla="*/ 34 h 71"/>
                <a:gd name="T56" fmla="*/ 72 w 72"/>
                <a:gd name="T57" fmla="*/ 34 h 71"/>
                <a:gd name="T58" fmla="*/ 71 w 72"/>
                <a:gd name="T59" fmla="*/ 28 h 71"/>
                <a:gd name="T60" fmla="*/ 70 w 72"/>
                <a:gd name="T61" fmla="*/ 21 h 71"/>
                <a:gd name="T62" fmla="*/ 66 w 72"/>
                <a:gd name="T63" fmla="*/ 16 h 71"/>
                <a:gd name="T64" fmla="*/ 62 w 72"/>
                <a:gd name="T65" fmla="*/ 10 h 71"/>
                <a:gd name="T66" fmla="*/ 56 w 72"/>
                <a:gd name="T67" fmla="*/ 5 h 71"/>
                <a:gd name="T68" fmla="*/ 51 w 72"/>
                <a:gd name="T69" fmla="*/ 2 h 71"/>
                <a:gd name="T70" fmla="*/ 44 w 72"/>
                <a:gd name="T71" fmla="*/ 0 h 71"/>
                <a:gd name="T72" fmla="*/ 36 w 72"/>
                <a:gd name="T73" fmla="*/ 0 h 71"/>
                <a:gd name="T74" fmla="*/ 36 w 72"/>
                <a:gd name="T7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2" h="71">
                  <a:moveTo>
                    <a:pt x="36" y="0"/>
                  </a:moveTo>
                  <a:lnTo>
                    <a:pt x="36" y="0"/>
                  </a:lnTo>
                  <a:lnTo>
                    <a:pt x="29" y="0"/>
                  </a:lnTo>
                  <a:lnTo>
                    <a:pt x="23" y="2"/>
                  </a:lnTo>
                  <a:lnTo>
                    <a:pt x="16" y="5"/>
                  </a:lnTo>
                  <a:lnTo>
                    <a:pt x="11" y="10"/>
                  </a:lnTo>
                  <a:lnTo>
                    <a:pt x="6" y="16"/>
                  </a:lnTo>
                  <a:lnTo>
                    <a:pt x="4" y="21"/>
                  </a:lnTo>
                  <a:lnTo>
                    <a:pt x="1" y="28"/>
                  </a:lnTo>
                  <a:lnTo>
                    <a:pt x="0" y="34"/>
                  </a:lnTo>
                  <a:lnTo>
                    <a:pt x="0" y="34"/>
                  </a:lnTo>
                  <a:lnTo>
                    <a:pt x="1" y="43"/>
                  </a:lnTo>
                  <a:lnTo>
                    <a:pt x="4" y="49"/>
                  </a:lnTo>
                  <a:lnTo>
                    <a:pt x="6" y="55"/>
                  </a:lnTo>
                  <a:lnTo>
                    <a:pt x="11" y="60"/>
                  </a:lnTo>
                  <a:lnTo>
                    <a:pt x="16" y="65"/>
                  </a:lnTo>
                  <a:lnTo>
                    <a:pt x="23" y="68"/>
                  </a:lnTo>
                  <a:lnTo>
                    <a:pt x="29" y="71"/>
                  </a:lnTo>
                  <a:lnTo>
                    <a:pt x="36" y="71"/>
                  </a:lnTo>
                  <a:lnTo>
                    <a:pt x="36" y="71"/>
                  </a:lnTo>
                  <a:lnTo>
                    <a:pt x="44" y="71"/>
                  </a:lnTo>
                  <a:lnTo>
                    <a:pt x="51" y="68"/>
                  </a:lnTo>
                  <a:lnTo>
                    <a:pt x="56" y="65"/>
                  </a:lnTo>
                  <a:lnTo>
                    <a:pt x="62" y="60"/>
                  </a:lnTo>
                  <a:lnTo>
                    <a:pt x="66" y="55"/>
                  </a:lnTo>
                  <a:lnTo>
                    <a:pt x="70" y="49"/>
                  </a:lnTo>
                  <a:lnTo>
                    <a:pt x="71" y="43"/>
                  </a:lnTo>
                  <a:lnTo>
                    <a:pt x="72" y="34"/>
                  </a:lnTo>
                  <a:lnTo>
                    <a:pt x="72" y="34"/>
                  </a:lnTo>
                  <a:lnTo>
                    <a:pt x="71" y="28"/>
                  </a:lnTo>
                  <a:lnTo>
                    <a:pt x="70" y="21"/>
                  </a:lnTo>
                  <a:lnTo>
                    <a:pt x="66" y="16"/>
                  </a:lnTo>
                  <a:lnTo>
                    <a:pt x="62" y="10"/>
                  </a:lnTo>
                  <a:lnTo>
                    <a:pt x="56" y="5"/>
                  </a:lnTo>
                  <a:lnTo>
                    <a:pt x="51" y="2"/>
                  </a:lnTo>
                  <a:lnTo>
                    <a:pt x="44" y="0"/>
                  </a:lnTo>
                  <a:lnTo>
                    <a:pt x="36" y="0"/>
                  </a:lnTo>
                  <a:lnTo>
                    <a:pt x="3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sp>
          <p:nvSpPr>
            <p:cNvPr id="28" name="Freeform 330">
              <a:extLst>
                <a:ext uri="{FF2B5EF4-FFF2-40B4-BE49-F238E27FC236}">
                  <a16:creationId xmlns:a16="http://schemas.microsoft.com/office/drawing/2014/main" id="{D5CED11D-64F9-4281-8706-E34FC532ABAF}"/>
                </a:ext>
              </a:extLst>
            </p:cNvPr>
            <p:cNvSpPr>
              <a:spLocks/>
            </p:cNvSpPr>
            <p:nvPr/>
          </p:nvSpPr>
          <p:spPr bwMode="auto">
            <a:xfrm>
              <a:off x="5060951" y="5997575"/>
              <a:ext cx="247650" cy="176213"/>
            </a:xfrm>
            <a:custGeom>
              <a:avLst/>
              <a:gdLst>
                <a:gd name="T0" fmla="*/ 307 w 311"/>
                <a:gd name="T1" fmla="*/ 63 h 223"/>
                <a:gd name="T2" fmla="*/ 307 w 311"/>
                <a:gd name="T3" fmla="*/ 63 h 223"/>
                <a:gd name="T4" fmla="*/ 303 w 311"/>
                <a:gd name="T5" fmla="*/ 59 h 223"/>
                <a:gd name="T6" fmla="*/ 297 w 311"/>
                <a:gd name="T7" fmla="*/ 58 h 223"/>
                <a:gd name="T8" fmla="*/ 111 w 311"/>
                <a:gd name="T9" fmla="*/ 58 h 223"/>
                <a:gd name="T10" fmla="*/ 111 w 311"/>
                <a:gd name="T11" fmla="*/ 58 h 223"/>
                <a:gd name="T12" fmla="*/ 106 w 311"/>
                <a:gd name="T13" fmla="*/ 59 h 223"/>
                <a:gd name="T14" fmla="*/ 100 w 311"/>
                <a:gd name="T15" fmla="*/ 62 h 223"/>
                <a:gd name="T16" fmla="*/ 98 w 311"/>
                <a:gd name="T17" fmla="*/ 67 h 223"/>
                <a:gd name="T18" fmla="*/ 96 w 311"/>
                <a:gd name="T19" fmla="*/ 72 h 223"/>
                <a:gd name="T20" fmla="*/ 96 w 311"/>
                <a:gd name="T21" fmla="*/ 72 h 223"/>
                <a:gd name="T22" fmla="*/ 98 w 311"/>
                <a:gd name="T23" fmla="*/ 78 h 223"/>
                <a:gd name="T24" fmla="*/ 100 w 311"/>
                <a:gd name="T25" fmla="*/ 82 h 223"/>
                <a:gd name="T26" fmla="*/ 106 w 311"/>
                <a:gd name="T27" fmla="*/ 86 h 223"/>
                <a:gd name="T28" fmla="*/ 111 w 311"/>
                <a:gd name="T29" fmla="*/ 86 h 223"/>
                <a:gd name="T30" fmla="*/ 279 w 311"/>
                <a:gd name="T31" fmla="*/ 86 h 223"/>
                <a:gd name="T32" fmla="*/ 256 w 311"/>
                <a:gd name="T33" fmla="*/ 195 h 223"/>
                <a:gd name="T34" fmla="*/ 103 w 311"/>
                <a:gd name="T35" fmla="*/ 195 h 223"/>
                <a:gd name="T36" fmla="*/ 67 w 311"/>
                <a:gd name="T37" fmla="*/ 11 h 223"/>
                <a:gd name="T38" fmla="*/ 67 w 311"/>
                <a:gd name="T39" fmla="*/ 11 h 223"/>
                <a:gd name="T40" fmla="*/ 64 w 311"/>
                <a:gd name="T41" fmla="*/ 7 h 223"/>
                <a:gd name="T42" fmla="*/ 62 w 311"/>
                <a:gd name="T43" fmla="*/ 2 h 223"/>
                <a:gd name="T44" fmla="*/ 58 w 311"/>
                <a:gd name="T45" fmla="*/ 0 h 223"/>
                <a:gd name="T46" fmla="*/ 52 w 311"/>
                <a:gd name="T47" fmla="*/ 0 h 223"/>
                <a:gd name="T48" fmla="*/ 13 w 311"/>
                <a:gd name="T49" fmla="*/ 0 h 223"/>
                <a:gd name="T50" fmla="*/ 13 w 311"/>
                <a:gd name="T51" fmla="*/ 0 h 223"/>
                <a:gd name="T52" fmla="*/ 8 w 311"/>
                <a:gd name="T53" fmla="*/ 0 h 223"/>
                <a:gd name="T54" fmla="*/ 4 w 311"/>
                <a:gd name="T55" fmla="*/ 4 h 223"/>
                <a:gd name="T56" fmla="*/ 0 w 311"/>
                <a:gd name="T57" fmla="*/ 8 h 223"/>
                <a:gd name="T58" fmla="*/ 0 w 311"/>
                <a:gd name="T59" fmla="*/ 13 h 223"/>
                <a:gd name="T60" fmla="*/ 0 w 311"/>
                <a:gd name="T61" fmla="*/ 13 h 223"/>
                <a:gd name="T62" fmla="*/ 0 w 311"/>
                <a:gd name="T63" fmla="*/ 19 h 223"/>
                <a:gd name="T64" fmla="*/ 4 w 311"/>
                <a:gd name="T65" fmla="*/ 24 h 223"/>
                <a:gd name="T66" fmla="*/ 8 w 311"/>
                <a:gd name="T67" fmla="*/ 27 h 223"/>
                <a:gd name="T68" fmla="*/ 13 w 311"/>
                <a:gd name="T69" fmla="*/ 28 h 223"/>
                <a:gd name="T70" fmla="*/ 41 w 311"/>
                <a:gd name="T71" fmla="*/ 28 h 223"/>
                <a:gd name="T72" fmla="*/ 78 w 311"/>
                <a:gd name="T73" fmla="*/ 212 h 223"/>
                <a:gd name="T74" fmla="*/ 78 w 311"/>
                <a:gd name="T75" fmla="*/ 212 h 223"/>
                <a:gd name="T76" fmla="*/ 79 w 311"/>
                <a:gd name="T77" fmla="*/ 216 h 223"/>
                <a:gd name="T78" fmla="*/ 83 w 311"/>
                <a:gd name="T79" fmla="*/ 220 h 223"/>
                <a:gd name="T80" fmla="*/ 87 w 311"/>
                <a:gd name="T81" fmla="*/ 223 h 223"/>
                <a:gd name="T82" fmla="*/ 91 w 311"/>
                <a:gd name="T83" fmla="*/ 223 h 223"/>
                <a:gd name="T84" fmla="*/ 267 w 311"/>
                <a:gd name="T85" fmla="*/ 223 h 223"/>
                <a:gd name="T86" fmla="*/ 267 w 311"/>
                <a:gd name="T87" fmla="*/ 223 h 223"/>
                <a:gd name="T88" fmla="*/ 272 w 311"/>
                <a:gd name="T89" fmla="*/ 223 h 223"/>
                <a:gd name="T90" fmla="*/ 276 w 311"/>
                <a:gd name="T91" fmla="*/ 220 h 223"/>
                <a:gd name="T92" fmla="*/ 279 w 311"/>
                <a:gd name="T93" fmla="*/ 216 h 223"/>
                <a:gd name="T94" fmla="*/ 282 w 311"/>
                <a:gd name="T95" fmla="*/ 212 h 223"/>
                <a:gd name="T96" fmla="*/ 310 w 311"/>
                <a:gd name="T97" fmla="*/ 75 h 223"/>
                <a:gd name="T98" fmla="*/ 310 w 311"/>
                <a:gd name="T99" fmla="*/ 75 h 223"/>
                <a:gd name="T100" fmla="*/ 311 w 311"/>
                <a:gd name="T101" fmla="*/ 72 h 223"/>
                <a:gd name="T102" fmla="*/ 310 w 311"/>
                <a:gd name="T103" fmla="*/ 70 h 223"/>
                <a:gd name="T104" fmla="*/ 310 w 311"/>
                <a:gd name="T105" fmla="*/ 66 h 223"/>
                <a:gd name="T106" fmla="*/ 307 w 311"/>
                <a:gd name="T107" fmla="*/ 63 h 223"/>
                <a:gd name="T108" fmla="*/ 307 w 311"/>
                <a:gd name="T109" fmla="*/ 6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1" h="223">
                  <a:moveTo>
                    <a:pt x="307" y="63"/>
                  </a:moveTo>
                  <a:lnTo>
                    <a:pt x="307" y="63"/>
                  </a:lnTo>
                  <a:lnTo>
                    <a:pt x="303" y="59"/>
                  </a:lnTo>
                  <a:lnTo>
                    <a:pt x="297" y="58"/>
                  </a:lnTo>
                  <a:lnTo>
                    <a:pt x="111" y="58"/>
                  </a:lnTo>
                  <a:lnTo>
                    <a:pt x="111" y="58"/>
                  </a:lnTo>
                  <a:lnTo>
                    <a:pt x="106" y="59"/>
                  </a:lnTo>
                  <a:lnTo>
                    <a:pt x="100" y="62"/>
                  </a:lnTo>
                  <a:lnTo>
                    <a:pt x="98" y="67"/>
                  </a:lnTo>
                  <a:lnTo>
                    <a:pt x="96" y="72"/>
                  </a:lnTo>
                  <a:lnTo>
                    <a:pt x="96" y="72"/>
                  </a:lnTo>
                  <a:lnTo>
                    <a:pt x="98" y="78"/>
                  </a:lnTo>
                  <a:lnTo>
                    <a:pt x="100" y="82"/>
                  </a:lnTo>
                  <a:lnTo>
                    <a:pt x="106" y="86"/>
                  </a:lnTo>
                  <a:lnTo>
                    <a:pt x="111" y="86"/>
                  </a:lnTo>
                  <a:lnTo>
                    <a:pt x="279" y="86"/>
                  </a:lnTo>
                  <a:lnTo>
                    <a:pt x="256" y="195"/>
                  </a:lnTo>
                  <a:lnTo>
                    <a:pt x="103" y="195"/>
                  </a:lnTo>
                  <a:lnTo>
                    <a:pt x="67" y="11"/>
                  </a:lnTo>
                  <a:lnTo>
                    <a:pt x="67" y="11"/>
                  </a:lnTo>
                  <a:lnTo>
                    <a:pt x="64" y="7"/>
                  </a:lnTo>
                  <a:lnTo>
                    <a:pt x="62" y="2"/>
                  </a:lnTo>
                  <a:lnTo>
                    <a:pt x="58" y="0"/>
                  </a:lnTo>
                  <a:lnTo>
                    <a:pt x="52" y="0"/>
                  </a:lnTo>
                  <a:lnTo>
                    <a:pt x="13" y="0"/>
                  </a:lnTo>
                  <a:lnTo>
                    <a:pt x="13" y="0"/>
                  </a:lnTo>
                  <a:lnTo>
                    <a:pt x="8" y="0"/>
                  </a:lnTo>
                  <a:lnTo>
                    <a:pt x="4" y="4"/>
                  </a:lnTo>
                  <a:lnTo>
                    <a:pt x="0" y="8"/>
                  </a:lnTo>
                  <a:lnTo>
                    <a:pt x="0" y="13"/>
                  </a:lnTo>
                  <a:lnTo>
                    <a:pt x="0" y="13"/>
                  </a:lnTo>
                  <a:lnTo>
                    <a:pt x="0" y="19"/>
                  </a:lnTo>
                  <a:lnTo>
                    <a:pt x="4" y="24"/>
                  </a:lnTo>
                  <a:lnTo>
                    <a:pt x="8" y="27"/>
                  </a:lnTo>
                  <a:lnTo>
                    <a:pt x="13" y="28"/>
                  </a:lnTo>
                  <a:lnTo>
                    <a:pt x="41" y="28"/>
                  </a:lnTo>
                  <a:lnTo>
                    <a:pt x="78" y="212"/>
                  </a:lnTo>
                  <a:lnTo>
                    <a:pt x="78" y="212"/>
                  </a:lnTo>
                  <a:lnTo>
                    <a:pt x="79" y="216"/>
                  </a:lnTo>
                  <a:lnTo>
                    <a:pt x="83" y="220"/>
                  </a:lnTo>
                  <a:lnTo>
                    <a:pt x="87" y="223"/>
                  </a:lnTo>
                  <a:lnTo>
                    <a:pt x="91" y="223"/>
                  </a:lnTo>
                  <a:lnTo>
                    <a:pt x="267" y="223"/>
                  </a:lnTo>
                  <a:lnTo>
                    <a:pt x="267" y="223"/>
                  </a:lnTo>
                  <a:lnTo>
                    <a:pt x="272" y="223"/>
                  </a:lnTo>
                  <a:lnTo>
                    <a:pt x="276" y="220"/>
                  </a:lnTo>
                  <a:lnTo>
                    <a:pt x="279" y="216"/>
                  </a:lnTo>
                  <a:lnTo>
                    <a:pt x="282" y="212"/>
                  </a:lnTo>
                  <a:lnTo>
                    <a:pt x="310" y="75"/>
                  </a:lnTo>
                  <a:lnTo>
                    <a:pt x="310" y="75"/>
                  </a:lnTo>
                  <a:lnTo>
                    <a:pt x="311" y="72"/>
                  </a:lnTo>
                  <a:lnTo>
                    <a:pt x="310" y="70"/>
                  </a:lnTo>
                  <a:lnTo>
                    <a:pt x="310" y="66"/>
                  </a:lnTo>
                  <a:lnTo>
                    <a:pt x="307" y="63"/>
                  </a:lnTo>
                  <a:lnTo>
                    <a:pt x="307"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grpSp>
      <p:sp>
        <p:nvSpPr>
          <p:cNvPr id="29" name="Rectangle 28">
            <a:extLst>
              <a:ext uri="{FF2B5EF4-FFF2-40B4-BE49-F238E27FC236}">
                <a16:creationId xmlns:a16="http://schemas.microsoft.com/office/drawing/2014/main" id="{50A8E7A7-9F8A-4245-A1D8-821AB0DD9666}"/>
              </a:ext>
            </a:extLst>
          </p:cNvPr>
          <p:cNvSpPr/>
          <p:nvPr/>
        </p:nvSpPr>
        <p:spPr>
          <a:xfrm>
            <a:off x="8013567" y="1946196"/>
            <a:ext cx="3494254" cy="4113151"/>
          </a:xfrm>
          <a:prstGeom prst="rect">
            <a:avLst/>
          </a:prstGeom>
          <a:noFill/>
          <a:ln w="222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rPr>
              <a:t>TRADE TERM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30" name="TextBox 29">
            <a:extLst>
              <a:ext uri="{FF2B5EF4-FFF2-40B4-BE49-F238E27FC236}">
                <a16:creationId xmlns:a16="http://schemas.microsoft.com/office/drawing/2014/main" id="{0224B6AF-821E-4739-8656-A742FA2CCE35}"/>
              </a:ext>
            </a:extLst>
          </p:cNvPr>
          <p:cNvSpPr txBox="1"/>
          <p:nvPr/>
        </p:nvSpPr>
        <p:spPr>
          <a:xfrm>
            <a:off x="8424153" y="3963858"/>
            <a:ext cx="2853448" cy="1107996"/>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Standard Discou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Other Accommodations</a:t>
            </a:r>
          </a:p>
          <a:p>
            <a:pPr marL="403225" marR="0" lvl="0" indent="-177800" algn="l" defTabSz="914400" rtl="0" eaLnBrk="1" fontAlgn="auto" latinLnBrk="0" hangingPunct="1">
              <a:lnSpc>
                <a:spcPct val="100000"/>
              </a:lnSpc>
              <a:spcBef>
                <a:spcPts val="0"/>
              </a:spcBef>
              <a:spcAft>
                <a:spcPts val="0"/>
              </a:spcAft>
              <a:buClrTx/>
              <a:buSzTx/>
              <a:buFontTx/>
              <a:buChar char="-"/>
              <a:tabLst/>
              <a:defRPr/>
            </a:pPr>
            <a:r>
              <a:rPr kumimoji="0" lang="en-US" sz="11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Defective discount</a:t>
            </a:r>
          </a:p>
          <a:p>
            <a:pPr marL="403225" marR="0" lvl="0" indent="-177800" algn="l" defTabSz="914400" rtl="0" eaLnBrk="1" fontAlgn="auto" latinLnBrk="0" hangingPunct="1">
              <a:lnSpc>
                <a:spcPct val="100000"/>
              </a:lnSpc>
              <a:spcBef>
                <a:spcPts val="0"/>
              </a:spcBef>
              <a:spcAft>
                <a:spcPts val="0"/>
              </a:spcAft>
              <a:buClrTx/>
              <a:buSzTx/>
              <a:buFontTx/>
              <a:buChar char="-"/>
              <a:tabLst/>
              <a:defRPr/>
            </a:pPr>
            <a:r>
              <a:rPr kumimoji="0" lang="en-US" sz="11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Margin assistance</a:t>
            </a:r>
          </a:p>
          <a:p>
            <a:pPr marL="403225" marR="0" lvl="0" indent="-177800" algn="l" defTabSz="914400" rtl="0" eaLnBrk="1" fontAlgn="auto" latinLnBrk="0" hangingPunct="1">
              <a:lnSpc>
                <a:spcPct val="100000"/>
              </a:lnSpc>
              <a:spcBef>
                <a:spcPts val="0"/>
              </a:spcBef>
              <a:spcAft>
                <a:spcPts val="0"/>
              </a:spcAft>
              <a:buClrTx/>
              <a:buSzTx/>
              <a:buFontTx/>
              <a:buChar char="-"/>
              <a:tabLst/>
              <a:defRPr/>
            </a:pPr>
            <a:r>
              <a:rPr kumimoji="0" lang="en-US" sz="11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Co-op marketing spend </a:t>
            </a:r>
          </a:p>
          <a:p>
            <a:pPr marL="403225" marR="0" lvl="0" indent="-177800" algn="l" defTabSz="914400" rtl="0" eaLnBrk="1" fontAlgn="auto" latinLnBrk="0" hangingPunct="1">
              <a:lnSpc>
                <a:spcPct val="100000"/>
              </a:lnSpc>
              <a:spcBef>
                <a:spcPts val="0"/>
              </a:spcBef>
              <a:spcAft>
                <a:spcPts val="0"/>
              </a:spcAft>
              <a:buClrTx/>
              <a:buSzTx/>
              <a:buFontTx/>
              <a:buChar char="-"/>
              <a:tabLst/>
              <a:defRPr/>
            </a:pPr>
            <a:r>
              <a:rPr kumimoji="0" lang="en-US" sz="11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Additional manual discounting</a:t>
            </a:r>
          </a:p>
        </p:txBody>
      </p:sp>
      <p:sp>
        <p:nvSpPr>
          <p:cNvPr id="31" name="Rectangle 30">
            <a:extLst>
              <a:ext uri="{FF2B5EF4-FFF2-40B4-BE49-F238E27FC236}">
                <a16:creationId xmlns:a16="http://schemas.microsoft.com/office/drawing/2014/main" id="{0680DD85-BFC3-44A5-8CC6-6737F3201052}"/>
              </a:ext>
            </a:extLst>
          </p:cNvPr>
          <p:cNvSpPr/>
          <p:nvPr/>
        </p:nvSpPr>
        <p:spPr>
          <a:xfrm>
            <a:off x="1248954" y="2117386"/>
            <a:ext cx="10066180" cy="503733"/>
          </a:xfrm>
          <a:prstGeom prst="rect">
            <a:avLst/>
          </a:prstGeom>
          <a:solidFill>
            <a:schemeClr val="bg1"/>
          </a:solidFill>
          <a:ln w="222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rPr>
              <a:t>WITHIN PROJECT SCOPE</a:t>
            </a:r>
            <a:endParaRPr kumimoji="0" lang="en-US" sz="8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grpSp>
        <p:nvGrpSpPr>
          <p:cNvPr id="32" name="Group 614">
            <a:extLst>
              <a:ext uri="{FF2B5EF4-FFF2-40B4-BE49-F238E27FC236}">
                <a16:creationId xmlns:a16="http://schemas.microsoft.com/office/drawing/2014/main" id="{BDA6A540-CBA4-4B12-8402-76C637D9B3DF}"/>
              </a:ext>
            </a:extLst>
          </p:cNvPr>
          <p:cNvGrpSpPr>
            <a:grpSpLocks noChangeAspect="1"/>
          </p:cNvGrpSpPr>
          <p:nvPr/>
        </p:nvGrpSpPr>
        <p:grpSpPr bwMode="auto">
          <a:xfrm>
            <a:off x="9417794" y="2827175"/>
            <a:ext cx="685800" cy="685800"/>
            <a:chOff x="3780" y="2658"/>
            <a:chExt cx="340" cy="340"/>
          </a:xfrm>
          <a:solidFill>
            <a:schemeClr val="tx1"/>
          </a:solidFill>
        </p:grpSpPr>
        <p:sp>
          <p:nvSpPr>
            <p:cNvPr id="33" name="Freeform 615">
              <a:extLst>
                <a:ext uri="{FF2B5EF4-FFF2-40B4-BE49-F238E27FC236}">
                  <a16:creationId xmlns:a16="http://schemas.microsoft.com/office/drawing/2014/main" id="{40C41AE3-46D4-42AC-BB88-7F6211B71279}"/>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sp>
          <p:nvSpPr>
            <p:cNvPr id="34" name="Freeform 616">
              <a:extLst>
                <a:ext uri="{FF2B5EF4-FFF2-40B4-BE49-F238E27FC236}">
                  <a16:creationId xmlns:a16="http://schemas.microsoft.com/office/drawing/2014/main" id="{84DF2520-98B8-424C-8305-DDD40BB55343}"/>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sp>
          <p:nvSpPr>
            <p:cNvPr id="35" name="Freeform 617">
              <a:extLst>
                <a:ext uri="{FF2B5EF4-FFF2-40B4-BE49-F238E27FC236}">
                  <a16:creationId xmlns:a16="http://schemas.microsoft.com/office/drawing/2014/main" id="{6EB497FB-2A80-44A5-850D-1A7C729357BA}"/>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sp>
          <p:nvSpPr>
            <p:cNvPr id="36" name="Freeform 618">
              <a:extLst>
                <a:ext uri="{FF2B5EF4-FFF2-40B4-BE49-F238E27FC236}">
                  <a16:creationId xmlns:a16="http://schemas.microsoft.com/office/drawing/2014/main" id="{E923B299-5355-4828-AF10-79C5929F5B30}"/>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sp>
          <p:nvSpPr>
            <p:cNvPr id="37" name="Freeform 619">
              <a:extLst>
                <a:ext uri="{FF2B5EF4-FFF2-40B4-BE49-F238E27FC236}">
                  <a16:creationId xmlns:a16="http://schemas.microsoft.com/office/drawing/2014/main" id="{601266F9-7883-48C7-B708-999FAC09F269}"/>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sp>
          <p:nvSpPr>
            <p:cNvPr id="38" name="Freeform 620">
              <a:extLst>
                <a:ext uri="{FF2B5EF4-FFF2-40B4-BE49-F238E27FC236}">
                  <a16:creationId xmlns:a16="http://schemas.microsoft.com/office/drawing/2014/main" id="{33D68BBF-4BA7-4113-83AC-0F04B53E7F10}"/>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sp>
          <p:nvSpPr>
            <p:cNvPr id="39" name="Freeform 621">
              <a:extLst>
                <a:ext uri="{FF2B5EF4-FFF2-40B4-BE49-F238E27FC236}">
                  <a16:creationId xmlns:a16="http://schemas.microsoft.com/office/drawing/2014/main" id="{C27E2199-3467-41CD-8F43-E5A95CAB7223}"/>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sp>
          <p:nvSpPr>
            <p:cNvPr id="40" name="Freeform 622">
              <a:extLst>
                <a:ext uri="{FF2B5EF4-FFF2-40B4-BE49-F238E27FC236}">
                  <a16:creationId xmlns:a16="http://schemas.microsoft.com/office/drawing/2014/main" id="{7BF969B5-8139-4043-A9FA-4A51F3C01275}"/>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sp>
          <p:nvSpPr>
            <p:cNvPr id="41" name="Freeform 623">
              <a:extLst>
                <a:ext uri="{FF2B5EF4-FFF2-40B4-BE49-F238E27FC236}">
                  <a16:creationId xmlns:a16="http://schemas.microsoft.com/office/drawing/2014/main" id="{4EC98F90-A936-4EDF-A060-53D6B3B117ED}"/>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ea typeface="Verdana" panose="020B0604030504040204" pitchFamily="34" charset="0"/>
                <a:cs typeface="Verdana" panose="020B0604030504040204" pitchFamily="34" charset="0"/>
              </a:endParaRPr>
            </a:p>
          </p:txBody>
        </p:sp>
      </p:grpSp>
    </p:spTree>
    <p:extLst>
      <p:ext uri="{BB962C8B-B14F-4D97-AF65-F5344CB8AC3E}">
        <p14:creationId xmlns:p14="http://schemas.microsoft.com/office/powerpoint/2010/main" val="122448025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a:extLst>
              <a:ext uri="{FF2B5EF4-FFF2-40B4-BE49-F238E27FC236}">
                <a16:creationId xmlns:a16="http://schemas.microsoft.com/office/drawing/2014/main" id="{8A8B706D-0858-4DD7-8E20-91D9755AFB2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2" name="think-cell Slide" r:id="rId6" imgW="395" imgH="396" progId="TCLayout.ActiveDocument.1">
                  <p:embed/>
                </p:oleObj>
              </mc:Choice>
              <mc:Fallback>
                <p:oleObj name="think-cell Slide" r:id="rId6" imgW="395" imgH="396" progId="TCLayout.ActiveDocument.1">
                  <p:embed/>
                  <p:pic>
                    <p:nvPicPr>
                      <p:cNvPr id="33" name="Object 32" hidden="1">
                        <a:extLst>
                          <a:ext uri="{FF2B5EF4-FFF2-40B4-BE49-F238E27FC236}">
                            <a16:creationId xmlns:a16="http://schemas.microsoft.com/office/drawing/2014/main" id="{8A8B706D-0858-4DD7-8E20-91D9755AFB2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a:extLst>
              <a:ext uri="{FF2B5EF4-FFF2-40B4-BE49-F238E27FC236}">
                <a16:creationId xmlns:a16="http://schemas.microsoft.com/office/drawing/2014/main" id="{4B3F2E75-6531-4ACC-8FA6-CFD145BD762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a:sym typeface="Chronicle Display Black"/>
            </a:endParaRPr>
          </a:p>
        </p:txBody>
      </p:sp>
      <p:sp>
        <p:nvSpPr>
          <p:cNvPr id="2" name="Title 1">
            <a:extLst>
              <a:ext uri="{FF2B5EF4-FFF2-40B4-BE49-F238E27FC236}">
                <a16:creationId xmlns:a16="http://schemas.microsoft.com/office/drawing/2014/main" id="{D8419493-22EE-4D7D-85A6-7A0981452805}"/>
              </a:ext>
            </a:extLst>
          </p:cNvPr>
          <p:cNvSpPr>
            <a:spLocks noGrp="1"/>
          </p:cNvSpPr>
          <p:nvPr>
            <p:ph type="title"/>
          </p:nvPr>
        </p:nvSpPr>
        <p:spPr/>
        <p:txBody>
          <a:bodyPr/>
          <a:lstStyle/>
          <a:p>
            <a:r>
              <a:rPr lang="en-US" dirty="0"/>
              <a:t>Analysis Approach</a:t>
            </a:r>
          </a:p>
        </p:txBody>
      </p:sp>
      <p:sp>
        <p:nvSpPr>
          <p:cNvPr id="34" name="Text Placeholder 33">
            <a:extLst>
              <a:ext uri="{FF2B5EF4-FFF2-40B4-BE49-F238E27FC236}">
                <a16:creationId xmlns:a16="http://schemas.microsoft.com/office/drawing/2014/main" id="{CA6A519C-051A-4938-833D-A37DE3A5A165}"/>
              </a:ext>
            </a:extLst>
          </p:cNvPr>
          <p:cNvSpPr>
            <a:spLocks noGrp="1"/>
          </p:cNvSpPr>
          <p:nvPr>
            <p:ph type="body" sz="quarter" idx="14"/>
          </p:nvPr>
        </p:nvSpPr>
        <p:spPr/>
        <p:txBody>
          <a:bodyPr/>
          <a:lstStyle/>
          <a:p>
            <a:r>
              <a:rPr lang="en-US" dirty="0"/>
              <a:t>Subtitle</a:t>
            </a:r>
          </a:p>
        </p:txBody>
      </p:sp>
      <p:sp>
        <p:nvSpPr>
          <p:cNvPr id="35" name="Text Placeholder 34">
            <a:extLst>
              <a:ext uri="{FF2B5EF4-FFF2-40B4-BE49-F238E27FC236}">
                <a16:creationId xmlns:a16="http://schemas.microsoft.com/office/drawing/2014/main" id="{1A7EC177-548E-41B6-A559-FD19239F8ECA}"/>
              </a:ext>
            </a:extLst>
          </p:cNvPr>
          <p:cNvSpPr>
            <a:spLocks noGrp="1"/>
          </p:cNvSpPr>
          <p:nvPr>
            <p:ph type="body" sz="quarter" idx="15"/>
          </p:nvPr>
        </p:nvSpPr>
        <p:spPr/>
        <p:txBody>
          <a:bodyPr/>
          <a:lstStyle/>
          <a:p>
            <a:r>
              <a:rPr lang="en-US" dirty="0"/>
              <a:t>Approach, Scope, &amp; objectives</a:t>
            </a:r>
          </a:p>
        </p:txBody>
      </p:sp>
      <p:cxnSp>
        <p:nvCxnSpPr>
          <p:cNvPr id="5" name="Straight Connector 4">
            <a:extLst>
              <a:ext uri="{FF2B5EF4-FFF2-40B4-BE49-F238E27FC236}">
                <a16:creationId xmlns:a16="http://schemas.microsoft.com/office/drawing/2014/main" id="{D61B55BB-B916-4C7E-945B-43FB9897878C}"/>
              </a:ext>
            </a:extLst>
          </p:cNvPr>
          <p:cNvCxnSpPr>
            <a:cxnSpLocks/>
          </p:cNvCxnSpPr>
          <p:nvPr/>
        </p:nvCxnSpPr>
        <p:spPr>
          <a:xfrm>
            <a:off x="5340591" y="1909159"/>
            <a:ext cx="1730517" cy="0"/>
          </a:xfrm>
          <a:prstGeom prst="line">
            <a:avLst/>
          </a:prstGeom>
          <a:ln w="76200" cmpd="sng">
            <a:solidFill>
              <a:schemeClr val="accent2">
                <a:lumMod val="20000"/>
                <a:lumOff val="80000"/>
              </a:schemeClr>
            </a:solidFill>
          </a:ln>
        </p:spPr>
        <p:style>
          <a:lnRef idx="2">
            <a:schemeClr val="accent1"/>
          </a:lnRef>
          <a:fillRef idx="0">
            <a:schemeClr val="accent1"/>
          </a:fillRef>
          <a:effectRef idx="1">
            <a:schemeClr val="accent1"/>
          </a:effectRef>
          <a:fontRef idx="minor">
            <a:schemeClr val="tx1"/>
          </a:fontRef>
        </p:style>
      </p:cxnSp>
      <p:sp>
        <p:nvSpPr>
          <p:cNvPr id="6" name="Rectangle 5">
            <a:extLst>
              <a:ext uri="{FF2B5EF4-FFF2-40B4-BE49-F238E27FC236}">
                <a16:creationId xmlns:a16="http://schemas.microsoft.com/office/drawing/2014/main" id="{45C88821-A5A1-4B21-A678-F77544BC2FE0}"/>
              </a:ext>
            </a:extLst>
          </p:cNvPr>
          <p:cNvSpPr/>
          <p:nvPr/>
        </p:nvSpPr>
        <p:spPr>
          <a:xfrm>
            <a:off x="5269332" y="1665671"/>
            <a:ext cx="4744312" cy="338554"/>
          </a:xfrm>
          <a:prstGeom prst="rect">
            <a:avLst/>
          </a:prstGeom>
          <a:noFill/>
        </p:spPr>
        <p:txBody>
          <a:bodyPr wrap="none" lIns="9144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A5A5A"/>
                </a:solidFill>
                <a:effectLst/>
                <a:uLnTx/>
                <a:uFillTx/>
                <a:latin typeface="Open Sans"/>
                <a:ea typeface="+mn-ea"/>
                <a:cs typeface="+mn-cs"/>
              </a:rPr>
              <a:t>INTERVIEW / RESEARCH SCOPE </a:t>
            </a:r>
            <a:r>
              <a:rPr kumimoji="0" lang="en-US" sz="1400" b="0" i="0" u="none" strike="noStrike" kern="1200" cap="none" spc="0" normalizeH="0" baseline="0" noProof="0" dirty="0">
                <a:ln>
                  <a:noFill/>
                </a:ln>
                <a:solidFill>
                  <a:srgbClr val="5A5A5A"/>
                </a:solidFill>
                <a:effectLst/>
                <a:uLnTx/>
                <a:uFillTx/>
                <a:latin typeface="Open Sans"/>
                <a:ea typeface="+mn-ea"/>
                <a:cs typeface="+mn-cs"/>
              </a:rPr>
              <a:t>(conducted 2017)</a:t>
            </a:r>
          </a:p>
        </p:txBody>
      </p:sp>
      <p:cxnSp>
        <p:nvCxnSpPr>
          <p:cNvPr id="7" name="Straight Connector 6">
            <a:extLst>
              <a:ext uri="{FF2B5EF4-FFF2-40B4-BE49-F238E27FC236}">
                <a16:creationId xmlns:a16="http://schemas.microsoft.com/office/drawing/2014/main" id="{603F95CA-984A-47C5-8336-62228ACC9C03}"/>
              </a:ext>
            </a:extLst>
          </p:cNvPr>
          <p:cNvCxnSpPr>
            <a:cxnSpLocks/>
          </p:cNvCxnSpPr>
          <p:nvPr/>
        </p:nvCxnSpPr>
        <p:spPr>
          <a:xfrm>
            <a:off x="938732" y="1899605"/>
            <a:ext cx="1730517" cy="0"/>
          </a:xfrm>
          <a:prstGeom prst="line">
            <a:avLst/>
          </a:prstGeom>
          <a:ln w="76200" cmpd="sng">
            <a:solidFill>
              <a:schemeClr val="accent2">
                <a:lumMod val="20000"/>
                <a:lumOff val="80000"/>
              </a:schemeClr>
            </a:solidFill>
          </a:ln>
        </p:spPr>
        <p:style>
          <a:lnRef idx="2">
            <a:schemeClr val="accent1"/>
          </a:lnRef>
          <a:fillRef idx="0">
            <a:schemeClr val="accent1"/>
          </a:fillRef>
          <a:effectRef idx="1">
            <a:schemeClr val="accent1"/>
          </a:effectRef>
          <a:fontRef idx="minor">
            <a:schemeClr val="tx1"/>
          </a:fontRef>
        </p:style>
      </p:cxnSp>
      <p:sp>
        <p:nvSpPr>
          <p:cNvPr id="8" name="Rectangle 7">
            <a:extLst>
              <a:ext uri="{FF2B5EF4-FFF2-40B4-BE49-F238E27FC236}">
                <a16:creationId xmlns:a16="http://schemas.microsoft.com/office/drawing/2014/main" id="{62921D3B-E2D5-430F-B5D2-B619A1024FC3}"/>
              </a:ext>
            </a:extLst>
          </p:cNvPr>
          <p:cNvSpPr/>
          <p:nvPr/>
        </p:nvSpPr>
        <p:spPr>
          <a:xfrm>
            <a:off x="834278" y="1665671"/>
            <a:ext cx="2315057" cy="338554"/>
          </a:xfrm>
          <a:prstGeom prst="rect">
            <a:avLst/>
          </a:prstGeom>
          <a:noFill/>
        </p:spPr>
        <p:txBody>
          <a:bodyPr wrap="none" lIns="9144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A5A5A"/>
                </a:solidFill>
                <a:effectLst/>
                <a:uLnTx/>
                <a:uFillTx/>
                <a:latin typeface="Open Sans"/>
                <a:ea typeface="+mn-ea"/>
                <a:cs typeface="+mn-cs"/>
              </a:rPr>
              <a:t>GUIDING PRINCIPLES</a:t>
            </a:r>
          </a:p>
        </p:txBody>
      </p:sp>
      <p:graphicFrame>
        <p:nvGraphicFramePr>
          <p:cNvPr id="10" name="Table 9">
            <a:extLst>
              <a:ext uri="{FF2B5EF4-FFF2-40B4-BE49-F238E27FC236}">
                <a16:creationId xmlns:a16="http://schemas.microsoft.com/office/drawing/2014/main" id="{41C402CB-6DB3-41F2-B9F7-8409E2210A22}"/>
              </a:ext>
            </a:extLst>
          </p:cNvPr>
          <p:cNvGraphicFramePr>
            <a:graphicFrameLocks noGrp="1"/>
          </p:cNvGraphicFramePr>
          <p:nvPr>
            <p:extLst>
              <p:ext uri="{D42A27DB-BD31-4B8C-83A1-F6EECF244321}">
                <p14:modId xmlns:p14="http://schemas.microsoft.com/office/powerpoint/2010/main" val="2006495342"/>
              </p:ext>
            </p:extLst>
          </p:nvPr>
        </p:nvGraphicFramePr>
        <p:xfrm>
          <a:off x="5269332" y="2263947"/>
          <a:ext cx="6638100" cy="4150720"/>
        </p:xfrm>
        <a:graphic>
          <a:graphicData uri="http://schemas.openxmlformats.org/drawingml/2006/table">
            <a:tbl>
              <a:tblPr firstRow="1" bandRow="1">
                <a:tableStyleId>{6E25E649-3F16-4E02-A733-19D2CDBF48F0}</a:tableStyleId>
              </a:tblPr>
              <a:tblGrid>
                <a:gridCol w="3734245">
                  <a:extLst>
                    <a:ext uri="{9D8B030D-6E8A-4147-A177-3AD203B41FA5}">
                      <a16:colId xmlns:a16="http://schemas.microsoft.com/office/drawing/2014/main" val="20000"/>
                    </a:ext>
                  </a:extLst>
                </a:gridCol>
                <a:gridCol w="2903855">
                  <a:extLst>
                    <a:ext uri="{9D8B030D-6E8A-4147-A177-3AD203B41FA5}">
                      <a16:colId xmlns:a16="http://schemas.microsoft.com/office/drawing/2014/main" val="20001"/>
                    </a:ext>
                  </a:extLst>
                </a:gridCol>
              </a:tblGrid>
              <a:tr h="353684">
                <a:tc>
                  <a:txBody>
                    <a:bodyPr/>
                    <a:lstStyle/>
                    <a:p>
                      <a:pPr>
                        <a:lnSpc>
                          <a:spcPct val="85000"/>
                        </a:lnSpc>
                      </a:pPr>
                      <a:r>
                        <a:rPr lang="en-US" sz="1400" b="1" i="0" dirty="0">
                          <a:solidFill>
                            <a:schemeClr val="tx1"/>
                          </a:solidFill>
                          <a:latin typeface="+mn-lt"/>
                          <a:ea typeface="Chronicle Display Black" charset="0"/>
                          <a:cs typeface="Chronicle Display Black" charset="0"/>
                        </a:rPr>
                        <a:t>Company Interviews</a:t>
                      </a:r>
                    </a:p>
                  </a:txBody>
                  <a:tcPr marL="457200" anchor="ct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en-US" sz="1400" b="1" i="0" dirty="0">
                          <a:solidFill>
                            <a:schemeClr val="tx1"/>
                          </a:solidFill>
                          <a:latin typeface="+mn-lt"/>
                          <a:ea typeface="Chronicle Display Black" charset="0"/>
                          <a:cs typeface="Chronicle Display Black" charset="0"/>
                        </a:rPr>
                        <a:t>Deloitte Quals </a:t>
                      </a:r>
                      <a:r>
                        <a:rPr lang="en-US" sz="1400" b="1" i="0" baseline="0" dirty="0">
                          <a:solidFill>
                            <a:schemeClr val="tx1"/>
                          </a:solidFill>
                          <a:latin typeface="+mn-lt"/>
                          <a:ea typeface="Chronicle Display Black" charset="0"/>
                          <a:cs typeface="Chronicle Display Black" charset="0"/>
                        </a:rPr>
                        <a:t>/ Other</a:t>
                      </a:r>
                      <a:endParaRPr lang="en-US" sz="1400" b="1" i="0" dirty="0">
                        <a:solidFill>
                          <a:schemeClr val="tx1"/>
                        </a:solidFill>
                        <a:latin typeface="+mn-lt"/>
                        <a:ea typeface="Chronicle Display Black" charset="0"/>
                        <a:cs typeface="Chronicle Display Black" charset="0"/>
                      </a:endParaRPr>
                    </a:p>
                  </a:txBody>
                  <a:tcPr marL="457200" anchor="ct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797036">
                <a:tc>
                  <a:txBody>
                    <a:bodyPr/>
                    <a:lstStyle/>
                    <a:p>
                      <a:pPr marL="0" lvl="1" indent="0" algn="l" defTabSz="914126" rtl="0" eaLnBrk="1" latinLnBrk="0" hangingPunct="1"/>
                      <a:r>
                        <a:rPr lang="en-US" sz="1200" i="1" u="sng" kern="1200" dirty="0">
                          <a:solidFill>
                            <a:schemeClr val="dk1"/>
                          </a:solidFill>
                          <a:latin typeface="+mn-lt"/>
                          <a:ea typeface="+mn-ea"/>
                          <a:cs typeface="+mn-cs"/>
                        </a:rPr>
                        <a:t>Software/Tech (subscription model)</a:t>
                      </a:r>
                    </a:p>
                    <a:p>
                      <a:pPr marL="171450" lvl="1" indent="-171450">
                        <a:buFont typeface="Arial" panose="020B0604020202020204" pitchFamily="34" charset="0"/>
                        <a:buChar char="•"/>
                      </a:pPr>
                      <a:r>
                        <a:rPr lang="en-US" sz="1200" dirty="0"/>
                        <a:t>Company (Audible), </a:t>
                      </a:r>
                      <a:r>
                        <a:rPr lang="en-US" sz="1200" i="1" dirty="0"/>
                        <a:t>TBC</a:t>
                      </a:r>
                      <a:r>
                        <a:rPr lang="en-US" sz="1200" dirty="0"/>
                        <a:t> </a:t>
                      </a:r>
                    </a:p>
                    <a:p>
                      <a:pPr marL="171450" lvl="1" indent="-171450">
                        <a:buFont typeface="Arial" panose="020B0604020202020204" pitchFamily="34" charset="0"/>
                        <a:buChar char="•"/>
                      </a:pPr>
                      <a:r>
                        <a:rPr lang="en-US" sz="1200" dirty="0"/>
                        <a:t>Company (Prime), </a:t>
                      </a:r>
                      <a:r>
                        <a:rPr lang="en-US" sz="1200" i="1" dirty="0"/>
                        <a:t>TBC</a:t>
                      </a:r>
                    </a:p>
                    <a:p>
                      <a:pPr marL="171450" lvl="1" indent="-171450">
                        <a:buFont typeface="Arial" panose="020B0604020202020204" pitchFamily="34" charset="0"/>
                        <a:buChar char="•"/>
                      </a:pPr>
                      <a:r>
                        <a:rPr lang="en-US" sz="1200" dirty="0"/>
                        <a:t>Company, </a:t>
                      </a:r>
                      <a:r>
                        <a:rPr lang="en-US" sz="1200" i="1" kern="1200" dirty="0">
                          <a:solidFill>
                            <a:schemeClr val="dk1"/>
                          </a:solidFill>
                          <a:latin typeface="+mn-lt"/>
                          <a:ea typeface="+mn-ea"/>
                          <a:cs typeface="+mn-cs"/>
                        </a:rPr>
                        <a:t>Marketing Manager </a:t>
                      </a:r>
                      <a:r>
                        <a:rPr lang="en-US" sz="1200" dirty="0"/>
                        <a:t>	</a:t>
                      </a:r>
                    </a:p>
                    <a:p>
                      <a:pPr marL="171450" lvl="1" indent="-171450">
                        <a:buFont typeface="Arial" panose="020B0604020202020204" pitchFamily="34" charset="0"/>
                        <a:buChar char="•"/>
                      </a:pPr>
                      <a:r>
                        <a:rPr lang="en-US" sz="1200" dirty="0"/>
                        <a:t>Company</a:t>
                      </a:r>
                      <a:r>
                        <a:rPr lang="en-US" sz="1200" i="1" dirty="0"/>
                        <a:t>, Senior Manager</a:t>
                      </a:r>
                      <a:r>
                        <a:rPr lang="en-US" sz="1200" i="1" baseline="0" dirty="0"/>
                        <a:t> (</a:t>
                      </a:r>
                      <a:r>
                        <a:rPr lang="en-US" sz="1200" i="1" dirty="0"/>
                        <a:t>Digital Marketing)</a:t>
                      </a:r>
                    </a:p>
                    <a:p>
                      <a:pPr marL="171450" lvl="1" indent="-171450">
                        <a:buFont typeface="Arial" panose="020B0604020202020204" pitchFamily="34" charset="0"/>
                        <a:buChar char="•"/>
                      </a:pPr>
                      <a:r>
                        <a:rPr lang="en-US" sz="1200" dirty="0"/>
                        <a:t>Company</a:t>
                      </a:r>
                      <a:r>
                        <a:rPr lang="en-US" sz="1200" dirty="0">
                          <a:sym typeface="Webdings" panose="05030102010509060703" pitchFamily="18" charset="2"/>
                        </a:rPr>
                        <a:t>, </a:t>
                      </a:r>
                      <a:r>
                        <a:rPr lang="en-US" sz="1200" i="1" dirty="0">
                          <a:sym typeface="Webdings" panose="05030102010509060703" pitchFamily="18" charset="2"/>
                        </a:rPr>
                        <a:t>Senior Manager</a:t>
                      </a:r>
                      <a:r>
                        <a:rPr lang="en-US" sz="1200" i="1" baseline="0" dirty="0">
                          <a:sym typeface="Webdings" panose="05030102010509060703" pitchFamily="18" charset="2"/>
                        </a:rPr>
                        <a:t> (</a:t>
                      </a:r>
                      <a:r>
                        <a:rPr lang="en-US" sz="1200" i="1" dirty="0">
                          <a:sym typeface="Webdings" panose="05030102010509060703" pitchFamily="18" charset="2"/>
                        </a:rPr>
                        <a:t>Strategy &amp; Analytics)</a:t>
                      </a:r>
                      <a:endParaRPr lang="en-US" sz="1200" i="1" dirty="0"/>
                    </a:p>
                    <a:p>
                      <a:pPr marL="171450" lvl="1" indent="-171450" algn="l" defTabSz="914126" rtl="0" eaLnBrk="1" latinLnBrk="0" hangingPunct="1">
                        <a:buFont typeface="Arial" panose="020B0604020202020204" pitchFamily="34" charset="0"/>
                        <a:buChar char="•"/>
                      </a:pPr>
                      <a:r>
                        <a:rPr lang="en-US" sz="1200" dirty="0"/>
                        <a:t>Company, </a:t>
                      </a:r>
                      <a:r>
                        <a:rPr lang="en-US" sz="1200" i="1" kern="1200" dirty="0">
                          <a:solidFill>
                            <a:schemeClr val="dk1"/>
                          </a:solidFill>
                          <a:latin typeface="+mn-lt"/>
                          <a:ea typeface="+mn-ea"/>
                          <a:cs typeface="+mn-cs"/>
                        </a:rPr>
                        <a:t>Global Head of Growth</a:t>
                      </a:r>
                    </a:p>
                    <a:p>
                      <a:pPr marL="171450" lvl="1" indent="-171450" algn="l" defTabSz="914126" rtl="0" eaLnBrk="1" latinLnBrk="0" hangingPunct="1">
                        <a:buFont typeface="Arial" panose="020B0604020202020204" pitchFamily="34" charset="0"/>
                        <a:buChar char="•"/>
                      </a:pPr>
                      <a:r>
                        <a:rPr lang="en-US" sz="1200" dirty="0"/>
                        <a:t>Company, </a:t>
                      </a:r>
                      <a:r>
                        <a:rPr lang="en-US" sz="1200" i="1" kern="1200" dirty="0">
                          <a:solidFill>
                            <a:schemeClr val="dk1"/>
                          </a:solidFill>
                          <a:latin typeface="+mn-lt"/>
                          <a:ea typeface="+mn-ea"/>
                          <a:cs typeface="+mn-cs"/>
                        </a:rPr>
                        <a:t>Marketing Manager (Monetization)</a:t>
                      </a:r>
                    </a:p>
                    <a:p>
                      <a:pPr marL="171450" lvl="1" indent="-171450" algn="l" defTabSz="914126" rtl="0" eaLnBrk="1" latinLnBrk="0" hangingPunct="1">
                        <a:buFont typeface="Arial" panose="020B0604020202020204" pitchFamily="34" charset="0"/>
                        <a:buChar char="•"/>
                      </a:pPr>
                      <a:r>
                        <a:rPr lang="en-US" sz="1200" dirty="0"/>
                        <a:t>Company, </a:t>
                      </a:r>
                      <a:r>
                        <a:rPr lang="en-US" sz="1200" i="1" kern="1200" dirty="0">
                          <a:solidFill>
                            <a:schemeClr val="dk1"/>
                          </a:solidFill>
                          <a:latin typeface="+mn-lt"/>
                          <a:ea typeface="+mn-ea"/>
                          <a:cs typeface="+mn-cs"/>
                        </a:rPr>
                        <a:t>Senior Director (Marketing)</a:t>
                      </a:r>
                    </a:p>
                    <a:p>
                      <a:pPr marL="171450" lvl="1" indent="-171450" algn="l" defTabSz="914126" rtl="0" eaLnBrk="1" latinLnBrk="0" hangingPunct="1">
                        <a:buFont typeface="Arial" panose="020B0604020202020204" pitchFamily="34" charset="0"/>
                        <a:buChar char="•"/>
                      </a:pPr>
                      <a:r>
                        <a:rPr lang="en-US" sz="1200" dirty="0"/>
                        <a:t>Company </a:t>
                      </a:r>
                      <a:r>
                        <a:rPr lang="en-US" sz="1200" i="0" kern="1200" baseline="0" dirty="0">
                          <a:solidFill>
                            <a:schemeClr val="dk1"/>
                          </a:solidFill>
                          <a:latin typeface="+mn-lt"/>
                          <a:ea typeface="+mn-ea"/>
                          <a:cs typeface="+mn-cs"/>
                        </a:rPr>
                        <a:t>(</a:t>
                      </a:r>
                      <a:r>
                        <a:rPr lang="en-US" sz="1200" dirty="0"/>
                        <a:t>Company</a:t>
                      </a:r>
                      <a:r>
                        <a:rPr lang="en-US" sz="1200" i="0" kern="1200" baseline="0" dirty="0">
                          <a:solidFill>
                            <a:schemeClr val="dk1"/>
                          </a:solidFill>
                          <a:latin typeface="+mn-lt"/>
                          <a:ea typeface="+mn-ea"/>
                          <a:cs typeface="+mn-cs"/>
                        </a:rPr>
                        <a:t>), </a:t>
                      </a:r>
                      <a:r>
                        <a:rPr lang="en-US" sz="1200" i="1" kern="1200" baseline="0" dirty="0">
                          <a:solidFill>
                            <a:schemeClr val="dk1"/>
                          </a:solidFill>
                          <a:latin typeface="+mn-lt"/>
                          <a:ea typeface="+mn-ea"/>
                          <a:cs typeface="+mn-cs"/>
                        </a:rPr>
                        <a:t>Marketing Lead</a:t>
                      </a:r>
                      <a:endParaRPr lang="en-US" sz="1200" i="1" u="sng" dirty="0"/>
                    </a:p>
                    <a:p>
                      <a:pPr marL="0" lvl="1" indent="0"/>
                      <a:endParaRPr lang="en-US" sz="1200" i="1" u="sng" dirty="0"/>
                    </a:p>
                    <a:p>
                      <a:pPr marL="0" lvl="1" indent="0"/>
                      <a:r>
                        <a:rPr lang="en-US" sz="1200" i="1" u="sng" dirty="0"/>
                        <a:t>Others</a:t>
                      </a:r>
                      <a:endParaRPr lang="en-US" sz="1200" i="1" u="sng" dirty="0">
                        <a:solidFill>
                          <a:srgbClr val="86F200">
                            <a:lumMod val="75000"/>
                          </a:srgbClr>
                        </a:solidFill>
                      </a:endParaRPr>
                    </a:p>
                    <a:p>
                      <a:pPr marL="171450" lvl="1" indent="-171450">
                        <a:buFont typeface="Arial" panose="020B0604020202020204" pitchFamily="34" charset="0"/>
                        <a:buChar char="•"/>
                      </a:pPr>
                      <a:r>
                        <a:rPr lang="en-US" sz="1200" dirty="0"/>
                        <a:t>Company, </a:t>
                      </a:r>
                      <a:r>
                        <a:rPr lang="en-US" sz="1200" i="1" kern="1200" dirty="0">
                          <a:solidFill>
                            <a:schemeClr val="dk1"/>
                          </a:solidFill>
                          <a:latin typeface="+mn-lt"/>
                          <a:ea typeface="+mn-ea"/>
                          <a:cs typeface="+mn-cs"/>
                        </a:rPr>
                        <a:t>Experiences Marketing Manager</a:t>
                      </a:r>
                    </a:p>
                    <a:p>
                      <a:pPr marL="171450" lvl="1" indent="-171450">
                        <a:buFont typeface="Arial" panose="020B0604020202020204" pitchFamily="34" charset="0"/>
                        <a:buChar char="•"/>
                      </a:pPr>
                      <a:r>
                        <a:rPr lang="en-US" sz="1200" dirty="0"/>
                        <a:t>Company (Marketplace), </a:t>
                      </a:r>
                      <a:r>
                        <a:rPr lang="en-US" sz="1200" i="1" dirty="0"/>
                        <a:t>TBC</a:t>
                      </a:r>
                    </a:p>
                    <a:p>
                      <a:pPr marL="171450" lvl="1" indent="-171450">
                        <a:buFont typeface="Arial" panose="020B0604020202020204" pitchFamily="34" charset="0"/>
                        <a:buChar char="•"/>
                      </a:pPr>
                      <a:r>
                        <a:rPr lang="en-US" sz="1200" dirty="0"/>
                        <a:t>Company, </a:t>
                      </a:r>
                      <a:r>
                        <a:rPr lang="en-US" sz="1200" i="1" kern="1200" dirty="0">
                          <a:solidFill>
                            <a:schemeClr val="dk1"/>
                          </a:solidFill>
                          <a:latin typeface="+mn-lt"/>
                          <a:ea typeface="+mn-ea"/>
                          <a:cs typeface="+mn-cs"/>
                        </a:rPr>
                        <a:t>Senior Manager of Acquisition</a:t>
                      </a:r>
                    </a:p>
                    <a:p>
                      <a:pPr marL="171450" lvl="1" indent="-171450">
                        <a:buFont typeface="Arial" panose="020B0604020202020204" pitchFamily="34" charset="0"/>
                        <a:buChar char="•"/>
                      </a:pPr>
                      <a:r>
                        <a:rPr lang="en-US" sz="1200" dirty="0"/>
                        <a:t>Company, </a:t>
                      </a:r>
                      <a:r>
                        <a:rPr lang="en-US" sz="1200" b="0" i="1" dirty="0"/>
                        <a:t>TBC</a:t>
                      </a:r>
                    </a:p>
                  </a:txBody>
                  <a:tcPr marT="182880">
                    <a:lnL w="9525" cap="flat" cmpd="sng" algn="ctr">
                      <a:noFill/>
                      <a:prstDash val="solid"/>
                      <a:round/>
                      <a:headEnd type="none" w="med" len="med"/>
                      <a:tailEnd type="none" w="med" len="med"/>
                    </a:lnL>
                    <a:lnR w="6350" cap="flat" cmpd="sng" algn="ctr">
                      <a:solidFill>
                        <a:schemeClr val="accent5">
                          <a:lumMod val="40000"/>
                          <a:lumOff val="6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1" indent="-171450" algn="l" defTabSz="914126" rtl="0" eaLnBrk="1" latinLnBrk="0" hangingPunct="1">
                        <a:buFont typeface="Arial" panose="020B0604020202020204" pitchFamily="34" charset="0"/>
                        <a:buChar char="•"/>
                      </a:pPr>
                      <a:r>
                        <a:rPr lang="en-US" sz="1200" kern="1200" dirty="0">
                          <a:solidFill>
                            <a:schemeClr val="dk1"/>
                          </a:solidFill>
                          <a:latin typeface="+mn-lt"/>
                          <a:ea typeface="+mn-ea"/>
                          <a:cs typeface="+mn-cs"/>
                        </a:rPr>
                        <a:t>Client</a:t>
                      </a:r>
                    </a:p>
                    <a:p>
                      <a:pPr marL="171450" lvl="1" indent="-171450" algn="l" defTabSz="914126" rtl="0" eaLnBrk="1" latinLnBrk="0" hangingPunct="1">
                        <a:buFont typeface="Arial" panose="020B0604020202020204" pitchFamily="34" charset="0"/>
                        <a:buChar char="•"/>
                      </a:pPr>
                      <a:r>
                        <a:rPr lang="en-US" sz="1200" kern="1200" dirty="0">
                          <a:solidFill>
                            <a:schemeClr val="dk1"/>
                          </a:solidFill>
                          <a:latin typeface="+mn-lt"/>
                          <a:ea typeface="+mn-ea"/>
                          <a:cs typeface="+mn-cs"/>
                        </a:rPr>
                        <a:t>Client</a:t>
                      </a:r>
                    </a:p>
                    <a:p>
                      <a:pPr marL="171450" lvl="1" indent="-171450" algn="l" defTabSz="914126" rtl="0" eaLnBrk="1" latinLnBrk="0" hangingPunct="1">
                        <a:buFont typeface="Arial" panose="020B0604020202020204" pitchFamily="34" charset="0"/>
                        <a:buChar char="•"/>
                      </a:pPr>
                      <a:r>
                        <a:rPr lang="en-US" sz="1200" kern="1200" dirty="0">
                          <a:solidFill>
                            <a:schemeClr val="dk1"/>
                          </a:solidFill>
                          <a:latin typeface="+mn-lt"/>
                          <a:ea typeface="+mn-ea"/>
                          <a:cs typeface="+mn-cs"/>
                        </a:rPr>
                        <a:t>Client</a:t>
                      </a:r>
                    </a:p>
                    <a:p>
                      <a:pPr marL="171450" lvl="1" indent="-171450" algn="l" defTabSz="914126" rtl="0" eaLnBrk="1" latinLnBrk="0" hangingPunct="1">
                        <a:buFont typeface="Arial" panose="020B0604020202020204" pitchFamily="34" charset="0"/>
                        <a:buChar char="•"/>
                      </a:pPr>
                      <a:r>
                        <a:rPr lang="en-US" sz="1200" kern="1200" dirty="0">
                          <a:solidFill>
                            <a:schemeClr val="dk1"/>
                          </a:solidFill>
                          <a:latin typeface="+mn-lt"/>
                          <a:ea typeface="+mn-ea"/>
                          <a:cs typeface="+mn-cs"/>
                        </a:rPr>
                        <a:t>Client</a:t>
                      </a:r>
                    </a:p>
                    <a:p>
                      <a:pPr marL="171450" lvl="1" indent="-171450" algn="l" defTabSz="914126" rtl="0" eaLnBrk="1" latinLnBrk="0" hangingPunct="1">
                        <a:buFont typeface="Arial" panose="020B0604020202020204" pitchFamily="34" charset="0"/>
                        <a:buChar char="•"/>
                      </a:pPr>
                      <a:r>
                        <a:rPr lang="en-US" sz="1200" kern="1200" dirty="0">
                          <a:solidFill>
                            <a:schemeClr val="dk1"/>
                          </a:solidFill>
                          <a:latin typeface="+mn-lt"/>
                          <a:ea typeface="+mn-ea"/>
                          <a:cs typeface="+mn-cs"/>
                        </a:rPr>
                        <a:t>Client</a:t>
                      </a:r>
                    </a:p>
                  </a:txBody>
                  <a:tcPr marT="182880">
                    <a:lnL w="6350" cap="flat" cmpd="sng" algn="ctr">
                      <a:solidFill>
                        <a:schemeClr val="accent5">
                          <a:lumMod val="40000"/>
                          <a:lumOff val="6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pSp>
        <p:nvGrpSpPr>
          <p:cNvPr id="11" name="Group 10">
            <a:extLst>
              <a:ext uri="{FF2B5EF4-FFF2-40B4-BE49-F238E27FC236}">
                <a16:creationId xmlns:a16="http://schemas.microsoft.com/office/drawing/2014/main" id="{393A092B-CD52-48EC-AC18-B1E6983D2704}"/>
              </a:ext>
            </a:extLst>
          </p:cNvPr>
          <p:cNvGrpSpPr>
            <a:grpSpLocks/>
          </p:cNvGrpSpPr>
          <p:nvPr/>
        </p:nvGrpSpPr>
        <p:grpSpPr>
          <a:xfrm>
            <a:off x="9108723" y="2278387"/>
            <a:ext cx="274320" cy="274320"/>
            <a:chOff x="1919288" y="207963"/>
            <a:chExt cx="508000" cy="511175"/>
          </a:xfrm>
          <a:solidFill>
            <a:schemeClr val="tx1"/>
          </a:solidFill>
        </p:grpSpPr>
        <p:sp>
          <p:nvSpPr>
            <p:cNvPr id="12" name="Freeform 42">
              <a:extLst>
                <a:ext uri="{FF2B5EF4-FFF2-40B4-BE49-F238E27FC236}">
                  <a16:creationId xmlns:a16="http://schemas.microsoft.com/office/drawing/2014/main" id="{73EDF8CA-EB36-4381-B221-820ECBBF9D5E}"/>
                </a:ext>
              </a:extLst>
            </p:cNvPr>
            <p:cNvSpPr>
              <a:spLocks/>
            </p:cNvSpPr>
            <p:nvPr/>
          </p:nvSpPr>
          <p:spPr bwMode="auto">
            <a:xfrm>
              <a:off x="2036763" y="207963"/>
              <a:ext cx="273050" cy="341313"/>
            </a:xfrm>
            <a:custGeom>
              <a:avLst/>
              <a:gdLst>
                <a:gd name="T0" fmla="*/ 343 w 686"/>
                <a:gd name="T1" fmla="*/ 856 h 856"/>
                <a:gd name="T2" fmla="*/ 395 w 686"/>
                <a:gd name="T3" fmla="*/ 852 h 856"/>
                <a:gd name="T4" fmla="*/ 445 w 686"/>
                <a:gd name="T5" fmla="*/ 841 h 856"/>
                <a:gd name="T6" fmla="*/ 492 w 686"/>
                <a:gd name="T7" fmla="*/ 823 h 856"/>
                <a:gd name="T8" fmla="*/ 535 w 686"/>
                <a:gd name="T9" fmla="*/ 798 h 856"/>
                <a:gd name="T10" fmla="*/ 574 w 686"/>
                <a:gd name="T11" fmla="*/ 768 h 856"/>
                <a:gd name="T12" fmla="*/ 607 w 686"/>
                <a:gd name="T13" fmla="*/ 732 h 856"/>
                <a:gd name="T14" fmla="*/ 636 w 686"/>
                <a:gd name="T15" fmla="*/ 691 h 856"/>
                <a:gd name="T16" fmla="*/ 659 w 686"/>
                <a:gd name="T17" fmla="*/ 647 h 856"/>
                <a:gd name="T18" fmla="*/ 675 w 686"/>
                <a:gd name="T19" fmla="*/ 599 h 856"/>
                <a:gd name="T20" fmla="*/ 684 w 686"/>
                <a:gd name="T21" fmla="*/ 548 h 856"/>
                <a:gd name="T22" fmla="*/ 686 w 686"/>
                <a:gd name="T23" fmla="*/ 342 h 856"/>
                <a:gd name="T24" fmla="*/ 684 w 686"/>
                <a:gd name="T25" fmla="*/ 306 h 856"/>
                <a:gd name="T26" fmla="*/ 675 w 686"/>
                <a:gd name="T27" fmla="*/ 257 h 856"/>
                <a:gd name="T28" fmla="*/ 659 w 686"/>
                <a:gd name="T29" fmla="*/ 208 h 856"/>
                <a:gd name="T30" fmla="*/ 636 w 686"/>
                <a:gd name="T31" fmla="*/ 164 h 856"/>
                <a:gd name="T32" fmla="*/ 607 w 686"/>
                <a:gd name="T33" fmla="*/ 124 h 856"/>
                <a:gd name="T34" fmla="*/ 574 w 686"/>
                <a:gd name="T35" fmla="*/ 88 h 856"/>
                <a:gd name="T36" fmla="*/ 535 w 686"/>
                <a:gd name="T37" fmla="*/ 58 h 856"/>
                <a:gd name="T38" fmla="*/ 492 w 686"/>
                <a:gd name="T39" fmla="*/ 33 h 856"/>
                <a:gd name="T40" fmla="*/ 445 w 686"/>
                <a:gd name="T41" fmla="*/ 15 h 856"/>
                <a:gd name="T42" fmla="*/ 395 w 686"/>
                <a:gd name="T43" fmla="*/ 3 h 856"/>
                <a:gd name="T44" fmla="*/ 343 w 686"/>
                <a:gd name="T45" fmla="*/ 0 h 856"/>
                <a:gd name="T46" fmla="*/ 325 w 686"/>
                <a:gd name="T47" fmla="*/ 0 h 856"/>
                <a:gd name="T48" fmla="*/ 274 w 686"/>
                <a:gd name="T49" fmla="*/ 6 h 856"/>
                <a:gd name="T50" fmla="*/ 225 w 686"/>
                <a:gd name="T51" fmla="*/ 20 h 856"/>
                <a:gd name="T52" fmla="*/ 180 w 686"/>
                <a:gd name="T53" fmla="*/ 41 h 856"/>
                <a:gd name="T54" fmla="*/ 138 w 686"/>
                <a:gd name="T55" fmla="*/ 68 h 856"/>
                <a:gd name="T56" fmla="*/ 101 w 686"/>
                <a:gd name="T57" fmla="*/ 99 h 856"/>
                <a:gd name="T58" fmla="*/ 68 w 686"/>
                <a:gd name="T59" fmla="*/ 137 h 856"/>
                <a:gd name="T60" fmla="*/ 41 w 686"/>
                <a:gd name="T61" fmla="*/ 179 h 856"/>
                <a:gd name="T62" fmla="*/ 21 w 686"/>
                <a:gd name="T63" fmla="*/ 224 h 856"/>
                <a:gd name="T64" fmla="*/ 7 w 686"/>
                <a:gd name="T65" fmla="*/ 273 h 856"/>
                <a:gd name="T66" fmla="*/ 0 w 686"/>
                <a:gd name="T67" fmla="*/ 325 h 856"/>
                <a:gd name="T68" fmla="*/ 0 w 686"/>
                <a:gd name="T69" fmla="*/ 514 h 856"/>
                <a:gd name="T70" fmla="*/ 4 w 686"/>
                <a:gd name="T71" fmla="*/ 566 h 856"/>
                <a:gd name="T72" fmla="*/ 16 w 686"/>
                <a:gd name="T73" fmla="*/ 615 h 856"/>
                <a:gd name="T74" fmla="*/ 34 w 686"/>
                <a:gd name="T75" fmla="*/ 662 h 856"/>
                <a:gd name="T76" fmla="*/ 59 w 686"/>
                <a:gd name="T77" fmla="*/ 705 h 856"/>
                <a:gd name="T78" fmla="*/ 89 w 686"/>
                <a:gd name="T79" fmla="*/ 744 h 856"/>
                <a:gd name="T80" fmla="*/ 125 w 686"/>
                <a:gd name="T81" fmla="*/ 778 h 856"/>
                <a:gd name="T82" fmla="*/ 166 w 686"/>
                <a:gd name="T83" fmla="*/ 806 h 856"/>
                <a:gd name="T84" fmla="*/ 210 w 686"/>
                <a:gd name="T85" fmla="*/ 829 h 856"/>
                <a:gd name="T86" fmla="*/ 257 w 686"/>
                <a:gd name="T87" fmla="*/ 845 h 856"/>
                <a:gd name="T88" fmla="*/ 308 w 686"/>
                <a:gd name="T89" fmla="*/ 854 h 856"/>
                <a:gd name="T90" fmla="*/ 343 w 686"/>
                <a:gd name="T91" fmla="*/ 856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86" h="856">
                  <a:moveTo>
                    <a:pt x="343" y="856"/>
                  </a:moveTo>
                  <a:lnTo>
                    <a:pt x="343" y="856"/>
                  </a:lnTo>
                  <a:lnTo>
                    <a:pt x="343" y="856"/>
                  </a:lnTo>
                  <a:lnTo>
                    <a:pt x="360" y="856"/>
                  </a:lnTo>
                  <a:lnTo>
                    <a:pt x="378" y="854"/>
                  </a:lnTo>
                  <a:lnTo>
                    <a:pt x="395" y="852"/>
                  </a:lnTo>
                  <a:lnTo>
                    <a:pt x="412" y="850"/>
                  </a:lnTo>
                  <a:lnTo>
                    <a:pt x="428" y="845"/>
                  </a:lnTo>
                  <a:lnTo>
                    <a:pt x="445" y="841"/>
                  </a:lnTo>
                  <a:lnTo>
                    <a:pt x="460" y="836"/>
                  </a:lnTo>
                  <a:lnTo>
                    <a:pt x="477" y="829"/>
                  </a:lnTo>
                  <a:lnTo>
                    <a:pt x="492" y="823"/>
                  </a:lnTo>
                  <a:lnTo>
                    <a:pt x="506" y="815"/>
                  </a:lnTo>
                  <a:lnTo>
                    <a:pt x="521" y="806"/>
                  </a:lnTo>
                  <a:lnTo>
                    <a:pt x="535" y="798"/>
                  </a:lnTo>
                  <a:lnTo>
                    <a:pt x="548" y="788"/>
                  </a:lnTo>
                  <a:lnTo>
                    <a:pt x="561" y="778"/>
                  </a:lnTo>
                  <a:lnTo>
                    <a:pt x="574" y="768"/>
                  </a:lnTo>
                  <a:lnTo>
                    <a:pt x="586" y="756"/>
                  </a:lnTo>
                  <a:lnTo>
                    <a:pt x="596" y="744"/>
                  </a:lnTo>
                  <a:lnTo>
                    <a:pt x="607" y="732"/>
                  </a:lnTo>
                  <a:lnTo>
                    <a:pt x="617" y="719"/>
                  </a:lnTo>
                  <a:lnTo>
                    <a:pt x="627" y="705"/>
                  </a:lnTo>
                  <a:lnTo>
                    <a:pt x="636" y="691"/>
                  </a:lnTo>
                  <a:lnTo>
                    <a:pt x="644" y="677"/>
                  </a:lnTo>
                  <a:lnTo>
                    <a:pt x="652" y="662"/>
                  </a:lnTo>
                  <a:lnTo>
                    <a:pt x="659" y="647"/>
                  </a:lnTo>
                  <a:lnTo>
                    <a:pt x="665" y="631"/>
                  </a:lnTo>
                  <a:lnTo>
                    <a:pt x="670" y="615"/>
                  </a:lnTo>
                  <a:lnTo>
                    <a:pt x="675" y="599"/>
                  </a:lnTo>
                  <a:lnTo>
                    <a:pt x="679" y="583"/>
                  </a:lnTo>
                  <a:lnTo>
                    <a:pt x="682" y="566"/>
                  </a:lnTo>
                  <a:lnTo>
                    <a:pt x="684" y="548"/>
                  </a:lnTo>
                  <a:lnTo>
                    <a:pt x="685" y="531"/>
                  </a:lnTo>
                  <a:lnTo>
                    <a:pt x="686" y="514"/>
                  </a:lnTo>
                  <a:lnTo>
                    <a:pt x="686" y="342"/>
                  </a:lnTo>
                  <a:lnTo>
                    <a:pt x="686" y="342"/>
                  </a:lnTo>
                  <a:lnTo>
                    <a:pt x="685" y="325"/>
                  </a:lnTo>
                  <a:lnTo>
                    <a:pt x="684" y="306"/>
                  </a:lnTo>
                  <a:lnTo>
                    <a:pt x="682" y="290"/>
                  </a:lnTo>
                  <a:lnTo>
                    <a:pt x="679" y="273"/>
                  </a:lnTo>
                  <a:lnTo>
                    <a:pt x="675" y="257"/>
                  </a:lnTo>
                  <a:lnTo>
                    <a:pt x="670" y="240"/>
                  </a:lnTo>
                  <a:lnTo>
                    <a:pt x="665" y="224"/>
                  </a:lnTo>
                  <a:lnTo>
                    <a:pt x="659" y="208"/>
                  </a:lnTo>
                  <a:lnTo>
                    <a:pt x="652" y="193"/>
                  </a:lnTo>
                  <a:lnTo>
                    <a:pt x="644" y="179"/>
                  </a:lnTo>
                  <a:lnTo>
                    <a:pt x="636" y="164"/>
                  </a:lnTo>
                  <a:lnTo>
                    <a:pt x="627" y="150"/>
                  </a:lnTo>
                  <a:lnTo>
                    <a:pt x="617" y="137"/>
                  </a:lnTo>
                  <a:lnTo>
                    <a:pt x="607" y="124"/>
                  </a:lnTo>
                  <a:lnTo>
                    <a:pt x="596" y="112"/>
                  </a:lnTo>
                  <a:lnTo>
                    <a:pt x="586" y="99"/>
                  </a:lnTo>
                  <a:lnTo>
                    <a:pt x="574" y="88"/>
                  </a:lnTo>
                  <a:lnTo>
                    <a:pt x="561" y="77"/>
                  </a:lnTo>
                  <a:lnTo>
                    <a:pt x="548" y="68"/>
                  </a:lnTo>
                  <a:lnTo>
                    <a:pt x="535" y="58"/>
                  </a:lnTo>
                  <a:lnTo>
                    <a:pt x="521" y="48"/>
                  </a:lnTo>
                  <a:lnTo>
                    <a:pt x="506" y="41"/>
                  </a:lnTo>
                  <a:lnTo>
                    <a:pt x="492" y="33"/>
                  </a:lnTo>
                  <a:lnTo>
                    <a:pt x="477" y="26"/>
                  </a:lnTo>
                  <a:lnTo>
                    <a:pt x="460" y="20"/>
                  </a:lnTo>
                  <a:lnTo>
                    <a:pt x="445" y="15"/>
                  </a:lnTo>
                  <a:lnTo>
                    <a:pt x="428" y="10"/>
                  </a:lnTo>
                  <a:lnTo>
                    <a:pt x="412" y="6"/>
                  </a:lnTo>
                  <a:lnTo>
                    <a:pt x="395" y="3"/>
                  </a:lnTo>
                  <a:lnTo>
                    <a:pt x="378" y="1"/>
                  </a:lnTo>
                  <a:lnTo>
                    <a:pt x="360" y="0"/>
                  </a:lnTo>
                  <a:lnTo>
                    <a:pt x="343" y="0"/>
                  </a:lnTo>
                  <a:lnTo>
                    <a:pt x="343" y="0"/>
                  </a:lnTo>
                  <a:lnTo>
                    <a:pt x="343" y="0"/>
                  </a:lnTo>
                  <a:lnTo>
                    <a:pt x="325" y="0"/>
                  </a:lnTo>
                  <a:lnTo>
                    <a:pt x="308" y="1"/>
                  </a:lnTo>
                  <a:lnTo>
                    <a:pt x="291" y="3"/>
                  </a:lnTo>
                  <a:lnTo>
                    <a:pt x="274" y="6"/>
                  </a:lnTo>
                  <a:lnTo>
                    <a:pt x="257" y="10"/>
                  </a:lnTo>
                  <a:lnTo>
                    <a:pt x="241" y="15"/>
                  </a:lnTo>
                  <a:lnTo>
                    <a:pt x="225" y="20"/>
                  </a:lnTo>
                  <a:lnTo>
                    <a:pt x="210" y="26"/>
                  </a:lnTo>
                  <a:lnTo>
                    <a:pt x="195" y="33"/>
                  </a:lnTo>
                  <a:lnTo>
                    <a:pt x="180" y="41"/>
                  </a:lnTo>
                  <a:lnTo>
                    <a:pt x="166" y="48"/>
                  </a:lnTo>
                  <a:lnTo>
                    <a:pt x="152" y="58"/>
                  </a:lnTo>
                  <a:lnTo>
                    <a:pt x="138" y="68"/>
                  </a:lnTo>
                  <a:lnTo>
                    <a:pt x="125" y="77"/>
                  </a:lnTo>
                  <a:lnTo>
                    <a:pt x="113" y="88"/>
                  </a:lnTo>
                  <a:lnTo>
                    <a:pt x="101" y="99"/>
                  </a:lnTo>
                  <a:lnTo>
                    <a:pt x="89" y="112"/>
                  </a:lnTo>
                  <a:lnTo>
                    <a:pt x="78" y="124"/>
                  </a:lnTo>
                  <a:lnTo>
                    <a:pt x="68" y="137"/>
                  </a:lnTo>
                  <a:lnTo>
                    <a:pt x="59" y="150"/>
                  </a:lnTo>
                  <a:lnTo>
                    <a:pt x="50" y="164"/>
                  </a:lnTo>
                  <a:lnTo>
                    <a:pt x="41" y="179"/>
                  </a:lnTo>
                  <a:lnTo>
                    <a:pt x="34" y="193"/>
                  </a:lnTo>
                  <a:lnTo>
                    <a:pt x="27" y="208"/>
                  </a:lnTo>
                  <a:lnTo>
                    <a:pt x="21" y="224"/>
                  </a:lnTo>
                  <a:lnTo>
                    <a:pt x="16" y="240"/>
                  </a:lnTo>
                  <a:lnTo>
                    <a:pt x="11" y="257"/>
                  </a:lnTo>
                  <a:lnTo>
                    <a:pt x="7" y="273"/>
                  </a:lnTo>
                  <a:lnTo>
                    <a:pt x="4" y="290"/>
                  </a:lnTo>
                  <a:lnTo>
                    <a:pt x="1" y="306"/>
                  </a:lnTo>
                  <a:lnTo>
                    <a:pt x="0" y="325"/>
                  </a:lnTo>
                  <a:lnTo>
                    <a:pt x="0" y="342"/>
                  </a:lnTo>
                  <a:lnTo>
                    <a:pt x="0" y="514"/>
                  </a:lnTo>
                  <a:lnTo>
                    <a:pt x="0" y="514"/>
                  </a:lnTo>
                  <a:lnTo>
                    <a:pt x="0" y="531"/>
                  </a:lnTo>
                  <a:lnTo>
                    <a:pt x="1" y="548"/>
                  </a:lnTo>
                  <a:lnTo>
                    <a:pt x="4" y="566"/>
                  </a:lnTo>
                  <a:lnTo>
                    <a:pt x="7" y="583"/>
                  </a:lnTo>
                  <a:lnTo>
                    <a:pt x="11" y="599"/>
                  </a:lnTo>
                  <a:lnTo>
                    <a:pt x="16" y="615"/>
                  </a:lnTo>
                  <a:lnTo>
                    <a:pt x="21" y="631"/>
                  </a:lnTo>
                  <a:lnTo>
                    <a:pt x="27" y="647"/>
                  </a:lnTo>
                  <a:lnTo>
                    <a:pt x="34" y="662"/>
                  </a:lnTo>
                  <a:lnTo>
                    <a:pt x="41" y="677"/>
                  </a:lnTo>
                  <a:lnTo>
                    <a:pt x="50" y="691"/>
                  </a:lnTo>
                  <a:lnTo>
                    <a:pt x="59" y="705"/>
                  </a:lnTo>
                  <a:lnTo>
                    <a:pt x="68" y="719"/>
                  </a:lnTo>
                  <a:lnTo>
                    <a:pt x="78" y="732"/>
                  </a:lnTo>
                  <a:lnTo>
                    <a:pt x="89" y="744"/>
                  </a:lnTo>
                  <a:lnTo>
                    <a:pt x="101" y="756"/>
                  </a:lnTo>
                  <a:lnTo>
                    <a:pt x="113" y="768"/>
                  </a:lnTo>
                  <a:lnTo>
                    <a:pt x="125" y="778"/>
                  </a:lnTo>
                  <a:lnTo>
                    <a:pt x="138" y="788"/>
                  </a:lnTo>
                  <a:lnTo>
                    <a:pt x="152" y="798"/>
                  </a:lnTo>
                  <a:lnTo>
                    <a:pt x="166" y="806"/>
                  </a:lnTo>
                  <a:lnTo>
                    <a:pt x="180" y="815"/>
                  </a:lnTo>
                  <a:lnTo>
                    <a:pt x="195" y="823"/>
                  </a:lnTo>
                  <a:lnTo>
                    <a:pt x="210" y="829"/>
                  </a:lnTo>
                  <a:lnTo>
                    <a:pt x="225" y="836"/>
                  </a:lnTo>
                  <a:lnTo>
                    <a:pt x="241" y="841"/>
                  </a:lnTo>
                  <a:lnTo>
                    <a:pt x="257" y="845"/>
                  </a:lnTo>
                  <a:lnTo>
                    <a:pt x="274" y="850"/>
                  </a:lnTo>
                  <a:lnTo>
                    <a:pt x="291" y="852"/>
                  </a:lnTo>
                  <a:lnTo>
                    <a:pt x="308" y="854"/>
                  </a:lnTo>
                  <a:lnTo>
                    <a:pt x="325" y="856"/>
                  </a:lnTo>
                  <a:lnTo>
                    <a:pt x="343" y="856"/>
                  </a:lnTo>
                  <a:lnTo>
                    <a:pt x="343" y="8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3" name="Freeform 43">
              <a:extLst>
                <a:ext uri="{FF2B5EF4-FFF2-40B4-BE49-F238E27FC236}">
                  <a16:creationId xmlns:a16="http://schemas.microsoft.com/office/drawing/2014/main" id="{323B897B-450E-4314-A24F-1AFF0EB70469}"/>
                </a:ext>
              </a:extLst>
            </p:cNvPr>
            <p:cNvSpPr>
              <a:spLocks/>
            </p:cNvSpPr>
            <p:nvPr/>
          </p:nvSpPr>
          <p:spPr bwMode="auto">
            <a:xfrm>
              <a:off x="1919288" y="533400"/>
              <a:ext cx="508000" cy="185738"/>
            </a:xfrm>
            <a:custGeom>
              <a:avLst/>
              <a:gdLst>
                <a:gd name="T0" fmla="*/ 1239 w 1281"/>
                <a:gd name="T1" fmla="*/ 467 h 467"/>
                <a:gd name="T2" fmla="*/ 1248 w 1281"/>
                <a:gd name="T3" fmla="*/ 466 h 467"/>
                <a:gd name="T4" fmla="*/ 1264 w 1281"/>
                <a:gd name="T5" fmla="*/ 458 h 467"/>
                <a:gd name="T6" fmla="*/ 1276 w 1281"/>
                <a:gd name="T7" fmla="*/ 446 h 467"/>
                <a:gd name="T8" fmla="*/ 1281 w 1281"/>
                <a:gd name="T9" fmla="*/ 429 h 467"/>
                <a:gd name="T10" fmla="*/ 1281 w 1281"/>
                <a:gd name="T11" fmla="*/ 420 h 467"/>
                <a:gd name="T12" fmla="*/ 1276 w 1281"/>
                <a:gd name="T13" fmla="*/ 380 h 467"/>
                <a:gd name="T14" fmla="*/ 1267 w 1281"/>
                <a:gd name="T15" fmla="*/ 342 h 467"/>
                <a:gd name="T16" fmla="*/ 1254 w 1281"/>
                <a:gd name="T17" fmla="*/ 304 h 467"/>
                <a:gd name="T18" fmla="*/ 1239 w 1281"/>
                <a:gd name="T19" fmla="*/ 267 h 467"/>
                <a:gd name="T20" fmla="*/ 1222 w 1281"/>
                <a:gd name="T21" fmla="*/ 233 h 467"/>
                <a:gd name="T22" fmla="*/ 1200 w 1281"/>
                <a:gd name="T23" fmla="*/ 200 h 467"/>
                <a:gd name="T24" fmla="*/ 1177 w 1281"/>
                <a:gd name="T25" fmla="*/ 169 h 467"/>
                <a:gd name="T26" fmla="*/ 1152 w 1281"/>
                <a:gd name="T27" fmla="*/ 140 h 467"/>
                <a:gd name="T28" fmla="*/ 1123 w 1281"/>
                <a:gd name="T29" fmla="*/ 113 h 467"/>
                <a:gd name="T30" fmla="*/ 1093 w 1281"/>
                <a:gd name="T31" fmla="*/ 89 h 467"/>
                <a:gd name="T32" fmla="*/ 1062 w 1281"/>
                <a:gd name="T33" fmla="*/ 66 h 467"/>
                <a:gd name="T34" fmla="*/ 1027 w 1281"/>
                <a:gd name="T35" fmla="*/ 48 h 467"/>
                <a:gd name="T36" fmla="*/ 992 w 1281"/>
                <a:gd name="T37" fmla="*/ 31 h 467"/>
                <a:gd name="T38" fmla="*/ 955 w 1281"/>
                <a:gd name="T39" fmla="*/ 18 h 467"/>
                <a:gd name="T40" fmla="*/ 916 w 1281"/>
                <a:gd name="T41" fmla="*/ 7 h 467"/>
                <a:gd name="T42" fmla="*/ 877 w 1281"/>
                <a:gd name="T43" fmla="*/ 0 h 467"/>
                <a:gd name="T44" fmla="*/ 851 w 1281"/>
                <a:gd name="T45" fmla="*/ 18 h 467"/>
                <a:gd name="T46" fmla="*/ 797 w 1281"/>
                <a:gd name="T47" fmla="*/ 48 h 467"/>
                <a:gd name="T48" fmla="*/ 768 w 1281"/>
                <a:gd name="T49" fmla="*/ 60 h 467"/>
                <a:gd name="T50" fmla="*/ 737 w 1281"/>
                <a:gd name="T51" fmla="*/ 68 h 467"/>
                <a:gd name="T52" fmla="*/ 706 w 1281"/>
                <a:gd name="T53" fmla="*/ 76 h 467"/>
                <a:gd name="T54" fmla="*/ 674 w 1281"/>
                <a:gd name="T55" fmla="*/ 79 h 467"/>
                <a:gd name="T56" fmla="*/ 641 w 1281"/>
                <a:gd name="T57" fmla="*/ 81 h 467"/>
                <a:gd name="T58" fmla="*/ 625 w 1281"/>
                <a:gd name="T59" fmla="*/ 80 h 467"/>
                <a:gd name="T60" fmla="*/ 592 w 1281"/>
                <a:gd name="T61" fmla="*/ 78 h 467"/>
                <a:gd name="T62" fmla="*/ 560 w 1281"/>
                <a:gd name="T63" fmla="*/ 73 h 467"/>
                <a:gd name="T64" fmla="*/ 529 w 1281"/>
                <a:gd name="T65" fmla="*/ 64 h 467"/>
                <a:gd name="T66" fmla="*/ 499 w 1281"/>
                <a:gd name="T67" fmla="*/ 54 h 467"/>
                <a:gd name="T68" fmla="*/ 457 w 1281"/>
                <a:gd name="T69" fmla="*/ 34 h 467"/>
                <a:gd name="T70" fmla="*/ 405 w 1281"/>
                <a:gd name="T71" fmla="*/ 0 h 467"/>
                <a:gd name="T72" fmla="*/ 385 w 1281"/>
                <a:gd name="T73" fmla="*/ 2 h 467"/>
                <a:gd name="T74" fmla="*/ 346 w 1281"/>
                <a:gd name="T75" fmla="*/ 12 h 467"/>
                <a:gd name="T76" fmla="*/ 308 w 1281"/>
                <a:gd name="T77" fmla="*/ 24 h 467"/>
                <a:gd name="T78" fmla="*/ 271 w 1281"/>
                <a:gd name="T79" fmla="*/ 39 h 467"/>
                <a:gd name="T80" fmla="*/ 237 w 1281"/>
                <a:gd name="T81" fmla="*/ 56 h 467"/>
                <a:gd name="T82" fmla="*/ 204 w 1281"/>
                <a:gd name="T83" fmla="*/ 77 h 467"/>
                <a:gd name="T84" fmla="*/ 173 w 1281"/>
                <a:gd name="T85" fmla="*/ 101 h 467"/>
                <a:gd name="T86" fmla="*/ 144 w 1281"/>
                <a:gd name="T87" fmla="*/ 126 h 467"/>
                <a:gd name="T88" fmla="*/ 117 w 1281"/>
                <a:gd name="T89" fmla="*/ 154 h 467"/>
                <a:gd name="T90" fmla="*/ 92 w 1281"/>
                <a:gd name="T91" fmla="*/ 184 h 467"/>
                <a:gd name="T92" fmla="*/ 71 w 1281"/>
                <a:gd name="T93" fmla="*/ 216 h 467"/>
                <a:gd name="T94" fmla="*/ 51 w 1281"/>
                <a:gd name="T95" fmla="*/ 250 h 467"/>
                <a:gd name="T96" fmla="*/ 35 w 1281"/>
                <a:gd name="T97" fmla="*/ 285 h 467"/>
                <a:gd name="T98" fmla="*/ 21 w 1281"/>
                <a:gd name="T99" fmla="*/ 322 h 467"/>
                <a:gd name="T100" fmla="*/ 10 w 1281"/>
                <a:gd name="T101" fmla="*/ 361 h 467"/>
                <a:gd name="T102" fmla="*/ 2 w 1281"/>
                <a:gd name="T103" fmla="*/ 400 h 467"/>
                <a:gd name="T104" fmla="*/ 0 w 1281"/>
                <a:gd name="T105" fmla="*/ 420 h 467"/>
                <a:gd name="T106" fmla="*/ 2 w 1281"/>
                <a:gd name="T107" fmla="*/ 438 h 467"/>
                <a:gd name="T108" fmla="*/ 11 w 1281"/>
                <a:gd name="T109" fmla="*/ 453 h 467"/>
                <a:gd name="T110" fmla="*/ 25 w 1281"/>
                <a:gd name="T111" fmla="*/ 463 h 467"/>
                <a:gd name="T112" fmla="*/ 44 w 1281"/>
                <a:gd name="T113"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81" h="467">
                  <a:moveTo>
                    <a:pt x="44" y="467"/>
                  </a:moveTo>
                  <a:lnTo>
                    <a:pt x="1239" y="467"/>
                  </a:lnTo>
                  <a:lnTo>
                    <a:pt x="1239" y="467"/>
                  </a:lnTo>
                  <a:lnTo>
                    <a:pt x="1248" y="466"/>
                  </a:lnTo>
                  <a:lnTo>
                    <a:pt x="1256" y="463"/>
                  </a:lnTo>
                  <a:lnTo>
                    <a:pt x="1264" y="458"/>
                  </a:lnTo>
                  <a:lnTo>
                    <a:pt x="1270" y="453"/>
                  </a:lnTo>
                  <a:lnTo>
                    <a:pt x="1276" y="446"/>
                  </a:lnTo>
                  <a:lnTo>
                    <a:pt x="1279" y="438"/>
                  </a:lnTo>
                  <a:lnTo>
                    <a:pt x="1281" y="429"/>
                  </a:lnTo>
                  <a:lnTo>
                    <a:pt x="1281" y="420"/>
                  </a:lnTo>
                  <a:lnTo>
                    <a:pt x="1281" y="420"/>
                  </a:lnTo>
                  <a:lnTo>
                    <a:pt x="1279" y="400"/>
                  </a:lnTo>
                  <a:lnTo>
                    <a:pt x="1276" y="380"/>
                  </a:lnTo>
                  <a:lnTo>
                    <a:pt x="1271" y="361"/>
                  </a:lnTo>
                  <a:lnTo>
                    <a:pt x="1267" y="342"/>
                  </a:lnTo>
                  <a:lnTo>
                    <a:pt x="1261" y="322"/>
                  </a:lnTo>
                  <a:lnTo>
                    <a:pt x="1254" y="304"/>
                  </a:lnTo>
                  <a:lnTo>
                    <a:pt x="1248" y="285"/>
                  </a:lnTo>
                  <a:lnTo>
                    <a:pt x="1239" y="267"/>
                  </a:lnTo>
                  <a:lnTo>
                    <a:pt x="1230" y="250"/>
                  </a:lnTo>
                  <a:lnTo>
                    <a:pt x="1222" y="233"/>
                  </a:lnTo>
                  <a:lnTo>
                    <a:pt x="1211" y="216"/>
                  </a:lnTo>
                  <a:lnTo>
                    <a:pt x="1200" y="200"/>
                  </a:lnTo>
                  <a:lnTo>
                    <a:pt x="1189" y="184"/>
                  </a:lnTo>
                  <a:lnTo>
                    <a:pt x="1177" y="169"/>
                  </a:lnTo>
                  <a:lnTo>
                    <a:pt x="1164" y="154"/>
                  </a:lnTo>
                  <a:lnTo>
                    <a:pt x="1152" y="140"/>
                  </a:lnTo>
                  <a:lnTo>
                    <a:pt x="1137" y="126"/>
                  </a:lnTo>
                  <a:lnTo>
                    <a:pt x="1123" y="113"/>
                  </a:lnTo>
                  <a:lnTo>
                    <a:pt x="1108" y="101"/>
                  </a:lnTo>
                  <a:lnTo>
                    <a:pt x="1093" y="89"/>
                  </a:lnTo>
                  <a:lnTo>
                    <a:pt x="1078" y="77"/>
                  </a:lnTo>
                  <a:lnTo>
                    <a:pt x="1062" y="66"/>
                  </a:lnTo>
                  <a:lnTo>
                    <a:pt x="1045" y="56"/>
                  </a:lnTo>
                  <a:lnTo>
                    <a:pt x="1027" y="48"/>
                  </a:lnTo>
                  <a:lnTo>
                    <a:pt x="1010" y="39"/>
                  </a:lnTo>
                  <a:lnTo>
                    <a:pt x="992" y="31"/>
                  </a:lnTo>
                  <a:lnTo>
                    <a:pt x="973" y="24"/>
                  </a:lnTo>
                  <a:lnTo>
                    <a:pt x="955" y="18"/>
                  </a:lnTo>
                  <a:lnTo>
                    <a:pt x="936" y="12"/>
                  </a:lnTo>
                  <a:lnTo>
                    <a:pt x="916" y="7"/>
                  </a:lnTo>
                  <a:lnTo>
                    <a:pt x="897" y="2"/>
                  </a:lnTo>
                  <a:lnTo>
                    <a:pt x="877" y="0"/>
                  </a:lnTo>
                  <a:lnTo>
                    <a:pt x="877" y="0"/>
                  </a:lnTo>
                  <a:lnTo>
                    <a:pt x="851" y="18"/>
                  </a:lnTo>
                  <a:lnTo>
                    <a:pt x="824" y="34"/>
                  </a:lnTo>
                  <a:lnTo>
                    <a:pt x="797" y="48"/>
                  </a:lnTo>
                  <a:lnTo>
                    <a:pt x="782" y="54"/>
                  </a:lnTo>
                  <a:lnTo>
                    <a:pt x="768" y="60"/>
                  </a:lnTo>
                  <a:lnTo>
                    <a:pt x="753" y="64"/>
                  </a:lnTo>
                  <a:lnTo>
                    <a:pt x="737" y="68"/>
                  </a:lnTo>
                  <a:lnTo>
                    <a:pt x="722" y="73"/>
                  </a:lnTo>
                  <a:lnTo>
                    <a:pt x="706" y="76"/>
                  </a:lnTo>
                  <a:lnTo>
                    <a:pt x="690" y="78"/>
                  </a:lnTo>
                  <a:lnTo>
                    <a:pt x="674" y="79"/>
                  </a:lnTo>
                  <a:lnTo>
                    <a:pt x="657" y="80"/>
                  </a:lnTo>
                  <a:lnTo>
                    <a:pt x="641" y="81"/>
                  </a:lnTo>
                  <a:lnTo>
                    <a:pt x="641" y="81"/>
                  </a:lnTo>
                  <a:lnTo>
                    <a:pt x="625" y="80"/>
                  </a:lnTo>
                  <a:lnTo>
                    <a:pt x="608" y="79"/>
                  </a:lnTo>
                  <a:lnTo>
                    <a:pt x="592" y="78"/>
                  </a:lnTo>
                  <a:lnTo>
                    <a:pt x="576" y="76"/>
                  </a:lnTo>
                  <a:lnTo>
                    <a:pt x="560" y="73"/>
                  </a:lnTo>
                  <a:lnTo>
                    <a:pt x="545" y="68"/>
                  </a:lnTo>
                  <a:lnTo>
                    <a:pt x="529" y="64"/>
                  </a:lnTo>
                  <a:lnTo>
                    <a:pt x="514" y="60"/>
                  </a:lnTo>
                  <a:lnTo>
                    <a:pt x="499" y="54"/>
                  </a:lnTo>
                  <a:lnTo>
                    <a:pt x="485" y="48"/>
                  </a:lnTo>
                  <a:lnTo>
                    <a:pt x="457" y="34"/>
                  </a:lnTo>
                  <a:lnTo>
                    <a:pt x="430" y="18"/>
                  </a:lnTo>
                  <a:lnTo>
                    <a:pt x="405" y="0"/>
                  </a:lnTo>
                  <a:lnTo>
                    <a:pt x="405" y="0"/>
                  </a:lnTo>
                  <a:lnTo>
                    <a:pt x="385" y="2"/>
                  </a:lnTo>
                  <a:lnTo>
                    <a:pt x="365" y="7"/>
                  </a:lnTo>
                  <a:lnTo>
                    <a:pt x="346" y="12"/>
                  </a:lnTo>
                  <a:lnTo>
                    <a:pt x="326" y="18"/>
                  </a:lnTo>
                  <a:lnTo>
                    <a:pt x="308" y="24"/>
                  </a:lnTo>
                  <a:lnTo>
                    <a:pt x="290" y="31"/>
                  </a:lnTo>
                  <a:lnTo>
                    <a:pt x="271" y="39"/>
                  </a:lnTo>
                  <a:lnTo>
                    <a:pt x="254" y="48"/>
                  </a:lnTo>
                  <a:lnTo>
                    <a:pt x="237" y="56"/>
                  </a:lnTo>
                  <a:lnTo>
                    <a:pt x="221" y="66"/>
                  </a:lnTo>
                  <a:lnTo>
                    <a:pt x="204" y="77"/>
                  </a:lnTo>
                  <a:lnTo>
                    <a:pt x="188" y="89"/>
                  </a:lnTo>
                  <a:lnTo>
                    <a:pt x="173" y="101"/>
                  </a:lnTo>
                  <a:lnTo>
                    <a:pt x="158" y="113"/>
                  </a:lnTo>
                  <a:lnTo>
                    <a:pt x="144" y="126"/>
                  </a:lnTo>
                  <a:lnTo>
                    <a:pt x="130" y="140"/>
                  </a:lnTo>
                  <a:lnTo>
                    <a:pt x="117" y="154"/>
                  </a:lnTo>
                  <a:lnTo>
                    <a:pt x="104" y="169"/>
                  </a:lnTo>
                  <a:lnTo>
                    <a:pt x="92" y="184"/>
                  </a:lnTo>
                  <a:lnTo>
                    <a:pt x="81" y="200"/>
                  </a:lnTo>
                  <a:lnTo>
                    <a:pt x="71" y="216"/>
                  </a:lnTo>
                  <a:lnTo>
                    <a:pt x="61" y="233"/>
                  </a:lnTo>
                  <a:lnTo>
                    <a:pt x="51" y="250"/>
                  </a:lnTo>
                  <a:lnTo>
                    <a:pt x="42" y="267"/>
                  </a:lnTo>
                  <a:lnTo>
                    <a:pt x="35" y="285"/>
                  </a:lnTo>
                  <a:lnTo>
                    <a:pt x="27" y="304"/>
                  </a:lnTo>
                  <a:lnTo>
                    <a:pt x="21" y="322"/>
                  </a:lnTo>
                  <a:lnTo>
                    <a:pt x="15" y="342"/>
                  </a:lnTo>
                  <a:lnTo>
                    <a:pt x="10" y="361"/>
                  </a:lnTo>
                  <a:lnTo>
                    <a:pt x="6" y="380"/>
                  </a:lnTo>
                  <a:lnTo>
                    <a:pt x="2" y="400"/>
                  </a:lnTo>
                  <a:lnTo>
                    <a:pt x="0" y="420"/>
                  </a:lnTo>
                  <a:lnTo>
                    <a:pt x="0" y="420"/>
                  </a:lnTo>
                  <a:lnTo>
                    <a:pt x="0" y="429"/>
                  </a:lnTo>
                  <a:lnTo>
                    <a:pt x="2" y="438"/>
                  </a:lnTo>
                  <a:lnTo>
                    <a:pt x="7" y="446"/>
                  </a:lnTo>
                  <a:lnTo>
                    <a:pt x="11" y="453"/>
                  </a:lnTo>
                  <a:lnTo>
                    <a:pt x="18" y="458"/>
                  </a:lnTo>
                  <a:lnTo>
                    <a:pt x="25" y="463"/>
                  </a:lnTo>
                  <a:lnTo>
                    <a:pt x="34" y="466"/>
                  </a:lnTo>
                  <a:lnTo>
                    <a:pt x="44" y="467"/>
                  </a:lnTo>
                  <a:lnTo>
                    <a:pt x="44" y="4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14" name="Group 13">
            <a:extLst>
              <a:ext uri="{FF2B5EF4-FFF2-40B4-BE49-F238E27FC236}">
                <a16:creationId xmlns:a16="http://schemas.microsoft.com/office/drawing/2014/main" id="{9BA33571-04C1-4C66-A4C3-F31AD6652D97}"/>
              </a:ext>
            </a:extLst>
          </p:cNvPr>
          <p:cNvGrpSpPr>
            <a:grpSpLocks/>
          </p:cNvGrpSpPr>
          <p:nvPr/>
        </p:nvGrpSpPr>
        <p:grpSpPr>
          <a:xfrm>
            <a:off x="5322661" y="2278387"/>
            <a:ext cx="274320" cy="274320"/>
            <a:chOff x="4944318" y="2356597"/>
            <a:chExt cx="483191" cy="435820"/>
          </a:xfrm>
        </p:grpSpPr>
        <p:sp>
          <p:nvSpPr>
            <p:cNvPr id="15" name="Freeform 102">
              <a:extLst>
                <a:ext uri="{FF2B5EF4-FFF2-40B4-BE49-F238E27FC236}">
                  <a16:creationId xmlns:a16="http://schemas.microsoft.com/office/drawing/2014/main" id="{212CD705-9770-4FF9-A6AA-3E072B33F216}"/>
                </a:ext>
              </a:extLst>
            </p:cNvPr>
            <p:cNvSpPr>
              <a:spLocks/>
            </p:cNvSpPr>
            <p:nvPr/>
          </p:nvSpPr>
          <p:spPr bwMode="auto">
            <a:xfrm>
              <a:off x="4975899" y="2691357"/>
              <a:ext cx="420029" cy="101060"/>
            </a:xfrm>
            <a:custGeom>
              <a:avLst/>
              <a:gdLst>
                <a:gd name="T0" fmla="*/ 4 w 266"/>
                <a:gd name="T1" fmla="*/ 0 h 65"/>
                <a:gd name="T2" fmla="*/ 4 w 266"/>
                <a:gd name="T3" fmla="*/ 0 h 65"/>
                <a:gd name="T4" fmla="*/ 1 w 266"/>
                <a:gd name="T5" fmla="*/ 2 h 65"/>
                <a:gd name="T6" fmla="*/ 0 w 266"/>
                <a:gd name="T7" fmla="*/ 6 h 65"/>
                <a:gd name="T8" fmla="*/ 0 w 266"/>
                <a:gd name="T9" fmla="*/ 59 h 65"/>
                <a:gd name="T10" fmla="*/ 0 w 266"/>
                <a:gd name="T11" fmla="*/ 59 h 65"/>
                <a:gd name="T12" fmla="*/ 1 w 266"/>
                <a:gd name="T13" fmla="*/ 63 h 65"/>
                <a:gd name="T14" fmla="*/ 4 w 266"/>
                <a:gd name="T15" fmla="*/ 65 h 65"/>
                <a:gd name="T16" fmla="*/ 260 w 266"/>
                <a:gd name="T17" fmla="*/ 65 h 65"/>
                <a:gd name="T18" fmla="*/ 260 w 266"/>
                <a:gd name="T19" fmla="*/ 65 h 65"/>
                <a:gd name="T20" fmla="*/ 264 w 266"/>
                <a:gd name="T21" fmla="*/ 63 h 65"/>
                <a:gd name="T22" fmla="*/ 266 w 266"/>
                <a:gd name="T23" fmla="*/ 59 h 65"/>
                <a:gd name="T24" fmla="*/ 266 w 266"/>
                <a:gd name="T25" fmla="*/ 6 h 65"/>
                <a:gd name="T26" fmla="*/ 266 w 266"/>
                <a:gd name="T27" fmla="*/ 6 h 65"/>
                <a:gd name="T28" fmla="*/ 264 w 266"/>
                <a:gd name="T29" fmla="*/ 2 h 65"/>
                <a:gd name="T30" fmla="*/ 260 w 266"/>
                <a:gd name="T31" fmla="*/ 0 h 65"/>
                <a:gd name="T32" fmla="*/ 157 w 266"/>
                <a:gd name="T33" fmla="*/ 0 h 65"/>
                <a:gd name="T34" fmla="*/ 157 w 266"/>
                <a:gd name="T35" fmla="*/ 10 h 65"/>
                <a:gd name="T36" fmla="*/ 157 w 266"/>
                <a:gd name="T37" fmla="*/ 10 h 65"/>
                <a:gd name="T38" fmla="*/ 156 w 266"/>
                <a:gd name="T39" fmla="*/ 14 h 65"/>
                <a:gd name="T40" fmla="*/ 152 w 266"/>
                <a:gd name="T41" fmla="*/ 15 h 65"/>
                <a:gd name="T42" fmla="*/ 113 w 266"/>
                <a:gd name="T43" fmla="*/ 15 h 65"/>
                <a:gd name="T44" fmla="*/ 113 w 266"/>
                <a:gd name="T45" fmla="*/ 15 h 65"/>
                <a:gd name="T46" fmla="*/ 109 w 266"/>
                <a:gd name="T47" fmla="*/ 14 h 65"/>
                <a:gd name="T48" fmla="*/ 107 w 266"/>
                <a:gd name="T49" fmla="*/ 10 h 65"/>
                <a:gd name="T50" fmla="*/ 107 w 266"/>
                <a:gd name="T51" fmla="*/ 0 h 65"/>
                <a:gd name="T52" fmla="*/ 4 w 266"/>
                <a:gd name="T5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66" h="65">
                  <a:moveTo>
                    <a:pt x="4" y="0"/>
                  </a:moveTo>
                  <a:lnTo>
                    <a:pt x="4" y="0"/>
                  </a:lnTo>
                  <a:lnTo>
                    <a:pt x="1" y="2"/>
                  </a:lnTo>
                  <a:lnTo>
                    <a:pt x="0" y="6"/>
                  </a:lnTo>
                  <a:lnTo>
                    <a:pt x="0" y="59"/>
                  </a:lnTo>
                  <a:lnTo>
                    <a:pt x="0" y="59"/>
                  </a:lnTo>
                  <a:lnTo>
                    <a:pt x="1" y="63"/>
                  </a:lnTo>
                  <a:lnTo>
                    <a:pt x="4" y="65"/>
                  </a:lnTo>
                  <a:lnTo>
                    <a:pt x="260" y="65"/>
                  </a:lnTo>
                  <a:lnTo>
                    <a:pt x="260" y="65"/>
                  </a:lnTo>
                  <a:lnTo>
                    <a:pt x="264" y="63"/>
                  </a:lnTo>
                  <a:lnTo>
                    <a:pt x="266" y="59"/>
                  </a:lnTo>
                  <a:lnTo>
                    <a:pt x="266" y="6"/>
                  </a:lnTo>
                  <a:lnTo>
                    <a:pt x="266" y="6"/>
                  </a:lnTo>
                  <a:lnTo>
                    <a:pt x="264" y="2"/>
                  </a:lnTo>
                  <a:lnTo>
                    <a:pt x="260" y="0"/>
                  </a:lnTo>
                  <a:lnTo>
                    <a:pt x="157" y="0"/>
                  </a:lnTo>
                  <a:lnTo>
                    <a:pt x="157" y="10"/>
                  </a:lnTo>
                  <a:lnTo>
                    <a:pt x="157" y="10"/>
                  </a:lnTo>
                  <a:lnTo>
                    <a:pt x="156" y="14"/>
                  </a:lnTo>
                  <a:lnTo>
                    <a:pt x="152" y="15"/>
                  </a:lnTo>
                  <a:lnTo>
                    <a:pt x="113" y="15"/>
                  </a:lnTo>
                  <a:lnTo>
                    <a:pt x="113" y="15"/>
                  </a:lnTo>
                  <a:lnTo>
                    <a:pt x="109" y="14"/>
                  </a:lnTo>
                  <a:lnTo>
                    <a:pt x="107" y="10"/>
                  </a:lnTo>
                  <a:lnTo>
                    <a:pt x="107" y="0"/>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6" name="Freeform 103">
              <a:extLst>
                <a:ext uri="{FF2B5EF4-FFF2-40B4-BE49-F238E27FC236}">
                  <a16:creationId xmlns:a16="http://schemas.microsoft.com/office/drawing/2014/main" id="{744FA104-BCB9-4821-87F2-3145310175A5}"/>
                </a:ext>
              </a:extLst>
            </p:cNvPr>
            <p:cNvSpPr>
              <a:spLocks noEditPoints="1"/>
            </p:cNvSpPr>
            <p:nvPr/>
          </p:nvSpPr>
          <p:spPr bwMode="auto">
            <a:xfrm>
              <a:off x="4944318" y="2356597"/>
              <a:ext cx="483191" cy="318970"/>
            </a:xfrm>
            <a:custGeom>
              <a:avLst/>
              <a:gdLst>
                <a:gd name="T0" fmla="*/ 301 w 306"/>
                <a:gd name="T1" fmla="*/ 30 h 203"/>
                <a:gd name="T2" fmla="*/ 207 w 306"/>
                <a:gd name="T3" fmla="*/ 30 h 203"/>
                <a:gd name="T4" fmla="*/ 207 w 306"/>
                <a:gd name="T5" fmla="*/ 6 h 203"/>
                <a:gd name="T6" fmla="*/ 207 w 306"/>
                <a:gd name="T7" fmla="*/ 6 h 203"/>
                <a:gd name="T8" fmla="*/ 205 w 306"/>
                <a:gd name="T9" fmla="*/ 1 h 203"/>
                <a:gd name="T10" fmla="*/ 201 w 306"/>
                <a:gd name="T11" fmla="*/ 0 h 203"/>
                <a:gd name="T12" fmla="*/ 103 w 306"/>
                <a:gd name="T13" fmla="*/ 0 h 203"/>
                <a:gd name="T14" fmla="*/ 103 w 306"/>
                <a:gd name="T15" fmla="*/ 0 h 203"/>
                <a:gd name="T16" fmla="*/ 99 w 306"/>
                <a:gd name="T17" fmla="*/ 1 h 203"/>
                <a:gd name="T18" fmla="*/ 98 w 306"/>
                <a:gd name="T19" fmla="*/ 6 h 203"/>
                <a:gd name="T20" fmla="*/ 98 w 306"/>
                <a:gd name="T21" fmla="*/ 30 h 203"/>
                <a:gd name="T22" fmla="*/ 5 w 306"/>
                <a:gd name="T23" fmla="*/ 30 h 203"/>
                <a:gd name="T24" fmla="*/ 5 w 306"/>
                <a:gd name="T25" fmla="*/ 30 h 203"/>
                <a:gd name="T26" fmla="*/ 1 w 306"/>
                <a:gd name="T27" fmla="*/ 31 h 203"/>
                <a:gd name="T28" fmla="*/ 0 w 306"/>
                <a:gd name="T29" fmla="*/ 35 h 203"/>
                <a:gd name="T30" fmla="*/ 0 w 306"/>
                <a:gd name="T31" fmla="*/ 198 h 203"/>
                <a:gd name="T32" fmla="*/ 0 w 306"/>
                <a:gd name="T33" fmla="*/ 198 h 203"/>
                <a:gd name="T34" fmla="*/ 1 w 306"/>
                <a:gd name="T35" fmla="*/ 200 h 203"/>
                <a:gd name="T36" fmla="*/ 5 w 306"/>
                <a:gd name="T37" fmla="*/ 203 h 203"/>
                <a:gd name="T38" fmla="*/ 127 w 306"/>
                <a:gd name="T39" fmla="*/ 203 h 203"/>
                <a:gd name="T40" fmla="*/ 127 w 306"/>
                <a:gd name="T41" fmla="*/ 183 h 203"/>
                <a:gd name="T42" fmla="*/ 127 w 306"/>
                <a:gd name="T43" fmla="*/ 183 h 203"/>
                <a:gd name="T44" fmla="*/ 129 w 306"/>
                <a:gd name="T45" fmla="*/ 179 h 203"/>
                <a:gd name="T46" fmla="*/ 133 w 306"/>
                <a:gd name="T47" fmla="*/ 177 h 203"/>
                <a:gd name="T48" fmla="*/ 172 w 306"/>
                <a:gd name="T49" fmla="*/ 177 h 203"/>
                <a:gd name="T50" fmla="*/ 172 w 306"/>
                <a:gd name="T51" fmla="*/ 177 h 203"/>
                <a:gd name="T52" fmla="*/ 176 w 306"/>
                <a:gd name="T53" fmla="*/ 179 h 203"/>
                <a:gd name="T54" fmla="*/ 177 w 306"/>
                <a:gd name="T55" fmla="*/ 183 h 203"/>
                <a:gd name="T56" fmla="*/ 177 w 306"/>
                <a:gd name="T57" fmla="*/ 203 h 203"/>
                <a:gd name="T58" fmla="*/ 301 w 306"/>
                <a:gd name="T59" fmla="*/ 203 h 203"/>
                <a:gd name="T60" fmla="*/ 301 w 306"/>
                <a:gd name="T61" fmla="*/ 203 h 203"/>
                <a:gd name="T62" fmla="*/ 303 w 306"/>
                <a:gd name="T63" fmla="*/ 200 h 203"/>
                <a:gd name="T64" fmla="*/ 306 w 306"/>
                <a:gd name="T65" fmla="*/ 198 h 203"/>
                <a:gd name="T66" fmla="*/ 306 w 306"/>
                <a:gd name="T67" fmla="*/ 35 h 203"/>
                <a:gd name="T68" fmla="*/ 306 w 306"/>
                <a:gd name="T69" fmla="*/ 35 h 203"/>
                <a:gd name="T70" fmla="*/ 303 w 306"/>
                <a:gd name="T71" fmla="*/ 31 h 203"/>
                <a:gd name="T72" fmla="*/ 301 w 306"/>
                <a:gd name="T73" fmla="*/ 30 h 203"/>
                <a:gd name="T74" fmla="*/ 301 w 306"/>
                <a:gd name="T75" fmla="*/ 30 h 203"/>
                <a:gd name="T76" fmla="*/ 197 w 306"/>
                <a:gd name="T77" fmla="*/ 30 h 203"/>
                <a:gd name="T78" fmla="*/ 108 w 306"/>
                <a:gd name="T79" fmla="*/ 30 h 203"/>
                <a:gd name="T80" fmla="*/ 108 w 306"/>
                <a:gd name="T81" fmla="*/ 10 h 203"/>
                <a:gd name="T82" fmla="*/ 197 w 306"/>
                <a:gd name="T83" fmla="*/ 10 h 203"/>
                <a:gd name="T84" fmla="*/ 197 w 306"/>
                <a:gd name="T85" fmla="*/ 3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6" h="203">
                  <a:moveTo>
                    <a:pt x="301" y="30"/>
                  </a:moveTo>
                  <a:lnTo>
                    <a:pt x="207" y="30"/>
                  </a:lnTo>
                  <a:lnTo>
                    <a:pt x="207" y="6"/>
                  </a:lnTo>
                  <a:lnTo>
                    <a:pt x="207" y="6"/>
                  </a:lnTo>
                  <a:lnTo>
                    <a:pt x="205" y="1"/>
                  </a:lnTo>
                  <a:lnTo>
                    <a:pt x="201" y="0"/>
                  </a:lnTo>
                  <a:lnTo>
                    <a:pt x="103" y="0"/>
                  </a:lnTo>
                  <a:lnTo>
                    <a:pt x="103" y="0"/>
                  </a:lnTo>
                  <a:lnTo>
                    <a:pt x="99" y="1"/>
                  </a:lnTo>
                  <a:lnTo>
                    <a:pt x="98" y="6"/>
                  </a:lnTo>
                  <a:lnTo>
                    <a:pt x="98" y="30"/>
                  </a:lnTo>
                  <a:lnTo>
                    <a:pt x="5" y="30"/>
                  </a:lnTo>
                  <a:lnTo>
                    <a:pt x="5" y="30"/>
                  </a:lnTo>
                  <a:lnTo>
                    <a:pt x="1" y="31"/>
                  </a:lnTo>
                  <a:lnTo>
                    <a:pt x="0" y="35"/>
                  </a:lnTo>
                  <a:lnTo>
                    <a:pt x="0" y="198"/>
                  </a:lnTo>
                  <a:lnTo>
                    <a:pt x="0" y="198"/>
                  </a:lnTo>
                  <a:lnTo>
                    <a:pt x="1" y="200"/>
                  </a:lnTo>
                  <a:lnTo>
                    <a:pt x="5" y="203"/>
                  </a:lnTo>
                  <a:lnTo>
                    <a:pt x="127" y="203"/>
                  </a:lnTo>
                  <a:lnTo>
                    <a:pt x="127" y="183"/>
                  </a:lnTo>
                  <a:lnTo>
                    <a:pt x="127" y="183"/>
                  </a:lnTo>
                  <a:lnTo>
                    <a:pt x="129" y="179"/>
                  </a:lnTo>
                  <a:lnTo>
                    <a:pt x="133" y="177"/>
                  </a:lnTo>
                  <a:lnTo>
                    <a:pt x="172" y="177"/>
                  </a:lnTo>
                  <a:lnTo>
                    <a:pt x="172" y="177"/>
                  </a:lnTo>
                  <a:lnTo>
                    <a:pt x="176" y="179"/>
                  </a:lnTo>
                  <a:lnTo>
                    <a:pt x="177" y="183"/>
                  </a:lnTo>
                  <a:lnTo>
                    <a:pt x="177" y="203"/>
                  </a:lnTo>
                  <a:lnTo>
                    <a:pt x="301" y="203"/>
                  </a:lnTo>
                  <a:lnTo>
                    <a:pt x="301" y="203"/>
                  </a:lnTo>
                  <a:lnTo>
                    <a:pt x="303" y="200"/>
                  </a:lnTo>
                  <a:lnTo>
                    <a:pt x="306" y="198"/>
                  </a:lnTo>
                  <a:lnTo>
                    <a:pt x="306" y="35"/>
                  </a:lnTo>
                  <a:lnTo>
                    <a:pt x="306" y="35"/>
                  </a:lnTo>
                  <a:lnTo>
                    <a:pt x="303" y="31"/>
                  </a:lnTo>
                  <a:lnTo>
                    <a:pt x="301" y="30"/>
                  </a:lnTo>
                  <a:lnTo>
                    <a:pt x="301" y="30"/>
                  </a:lnTo>
                  <a:close/>
                  <a:moveTo>
                    <a:pt x="197" y="30"/>
                  </a:moveTo>
                  <a:lnTo>
                    <a:pt x="108" y="30"/>
                  </a:lnTo>
                  <a:lnTo>
                    <a:pt x="108" y="10"/>
                  </a:lnTo>
                  <a:lnTo>
                    <a:pt x="197" y="10"/>
                  </a:lnTo>
                  <a:lnTo>
                    <a:pt x="19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17" name="Text Placeholder 3">
            <a:extLst>
              <a:ext uri="{FF2B5EF4-FFF2-40B4-BE49-F238E27FC236}">
                <a16:creationId xmlns:a16="http://schemas.microsoft.com/office/drawing/2014/main" id="{1D15A043-B225-4A10-8AE7-761674D74748}"/>
              </a:ext>
            </a:extLst>
          </p:cNvPr>
          <p:cNvSpPr txBox="1">
            <a:spLocks/>
          </p:cNvSpPr>
          <p:nvPr/>
        </p:nvSpPr>
        <p:spPr>
          <a:xfrm>
            <a:off x="1312943" y="2359114"/>
            <a:ext cx="3696020" cy="3510258"/>
          </a:xfrm>
          <a:prstGeom prst="rect">
            <a:avLst/>
          </a:prstGeom>
          <a:noFill/>
        </p:spPr>
        <p:txBody>
          <a:bodyPr/>
          <a:lstStyle>
            <a:lvl1pPr marL="342900" indent="-342900" algn="l" defTabSz="457200" rtl="0" eaLnBrk="1" latinLnBrk="0" hangingPunct="1">
              <a:spcBef>
                <a:spcPct val="20000"/>
              </a:spcBef>
              <a:buFont typeface="Wingdings" panose="05000000000000000000" pitchFamily="2" charset="2"/>
              <a:buChar char="§"/>
              <a:defRPr sz="2000" kern="1200">
                <a:solidFill>
                  <a:schemeClr val="tx1"/>
                </a:solidFill>
                <a:latin typeface="+mn-lt"/>
                <a:ea typeface="+mn-ea"/>
                <a:cs typeface="Marsfont"/>
              </a:defRPr>
            </a:lvl1pPr>
            <a:lvl2pPr marL="742950" indent="-285750" algn="l" defTabSz="457200" rtl="0" eaLnBrk="1" latinLnBrk="0" hangingPunct="1">
              <a:spcBef>
                <a:spcPct val="20000"/>
              </a:spcBef>
              <a:buFont typeface="Arial"/>
              <a:buChar char="–"/>
              <a:defRPr sz="1800" kern="1200">
                <a:solidFill>
                  <a:schemeClr val="tx1"/>
                </a:solidFill>
                <a:latin typeface="+mn-lt"/>
                <a:ea typeface="+mn-ea"/>
                <a:cs typeface="Marsfont"/>
              </a:defRPr>
            </a:lvl2pPr>
            <a:lvl3pPr marL="1143000" indent="-228600" algn="l" defTabSz="457200" rtl="0" eaLnBrk="1" latinLnBrk="0" hangingPunct="1">
              <a:spcBef>
                <a:spcPct val="20000"/>
              </a:spcBef>
              <a:buFont typeface="Arial"/>
              <a:buChar char="•"/>
              <a:defRPr sz="1600" kern="1200">
                <a:solidFill>
                  <a:schemeClr val="tx1"/>
                </a:solidFill>
                <a:latin typeface="+mn-lt"/>
                <a:ea typeface="+mn-ea"/>
                <a:cs typeface="Marsfont"/>
              </a:defRPr>
            </a:lvl3pPr>
            <a:lvl4pPr marL="1600200" indent="-228600" algn="l" defTabSz="457200" rtl="0" eaLnBrk="1" latinLnBrk="0" hangingPunct="1">
              <a:spcBef>
                <a:spcPct val="20000"/>
              </a:spcBef>
              <a:buFont typeface="Arial"/>
              <a:buChar char="–"/>
              <a:defRPr sz="1600" kern="1200">
                <a:solidFill>
                  <a:schemeClr val="tx1"/>
                </a:solidFill>
                <a:latin typeface="+mn-lt"/>
                <a:ea typeface="+mn-ea"/>
                <a:cs typeface="Marsfont"/>
              </a:defRPr>
            </a:lvl4pPr>
            <a:lvl5pPr marL="2057400" indent="-228600" algn="l" defTabSz="457200" rtl="0" eaLnBrk="1" latinLnBrk="0" hangingPunct="1">
              <a:spcBef>
                <a:spcPct val="20000"/>
              </a:spcBef>
              <a:buFont typeface="Arial"/>
              <a:buChar char="»"/>
              <a:defRPr sz="1600" kern="1200">
                <a:solidFill>
                  <a:schemeClr val="tx1"/>
                </a:solidFill>
                <a:latin typeface="+mn-lt"/>
                <a:ea typeface="+mn-ea"/>
                <a:cs typeface="Marsfon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179388" rtl="0" eaLnBrk="1" fontAlgn="auto" latinLnBrk="0" hangingPunct="1">
              <a:lnSpc>
                <a:spcPct val="100000"/>
              </a:lnSpc>
              <a:spcBef>
                <a:spcPts val="1200"/>
              </a:spcBef>
              <a:spcAft>
                <a:spcPts val="0"/>
              </a:spcAft>
              <a:buClrTx/>
              <a:buSzTx/>
              <a:buFont typeface="Wingdings" panose="05000000000000000000" pitchFamily="2" charset="2"/>
              <a:buNone/>
              <a:tabLst>
                <a:tab pos="169863" algn="l"/>
                <a:tab pos="403225" algn="l"/>
                <a:tab pos="914400" algn="l"/>
                <a:tab pos="1262063" algn="l"/>
                <a:tab pos="1538288" algn="l"/>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Times New Roman" pitchFamily="18" charset="0"/>
              </a:rPr>
              <a:t>Objective: </a:t>
            </a:r>
            <a:r>
              <a:rPr kumimoji="0" lang="en-US" sz="1400" b="0" i="0" u="none" strike="noStrike" kern="1200" cap="none" spc="0" normalizeH="0" baseline="0" noProof="0" dirty="0">
                <a:ln>
                  <a:noFill/>
                </a:ln>
                <a:solidFill>
                  <a:prstClr val="black"/>
                </a:solidFill>
                <a:effectLst/>
                <a:uLnTx/>
                <a:uFillTx/>
                <a:latin typeface="Open Sans"/>
                <a:ea typeface="+mn-ea"/>
                <a:cs typeface="Times New Roman" pitchFamily="18" charset="0"/>
              </a:rPr>
              <a:t>Provide trends and leading practices aligned to Customer Journey and Data-driven Operating Model (DDOM) Modules </a:t>
            </a:r>
          </a:p>
          <a:p>
            <a:pPr marL="0" marR="0" lvl="0" indent="0" algn="l" defTabSz="179388" rtl="0" eaLnBrk="1" fontAlgn="auto" latinLnBrk="0" hangingPunct="1">
              <a:lnSpc>
                <a:spcPct val="100000"/>
              </a:lnSpc>
              <a:spcBef>
                <a:spcPts val="1200"/>
              </a:spcBef>
              <a:spcAft>
                <a:spcPts val="0"/>
              </a:spcAft>
              <a:buClrTx/>
              <a:buSzTx/>
              <a:buFont typeface="Wingdings" panose="05000000000000000000" pitchFamily="2" charset="2"/>
              <a:buNone/>
              <a:tabLst>
                <a:tab pos="169863" algn="l"/>
                <a:tab pos="403225" algn="l"/>
                <a:tab pos="914400" algn="l"/>
                <a:tab pos="1262063" algn="l"/>
                <a:tab pos="1538288" algn="l"/>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Times New Roman" pitchFamily="18" charset="0"/>
              </a:rPr>
              <a:t>Key Drivers:  </a:t>
            </a:r>
          </a:p>
          <a:p>
            <a:pPr marL="627063" marR="0" lvl="3" indent="-200025" algn="l" defTabSz="179388" rtl="0" eaLnBrk="1" fontAlgn="auto" latinLnBrk="0" hangingPunct="1">
              <a:lnSpc>
                <a:spcPct val="100000"/>
              </a:lnSpc>
              <a:spcBef>
                <a:spcPts val="1200"/>
              </a:spcBef>
              <a:spcAft>
                <a:spcPts val="0"/>
              </a:spcAft>
              <a:buClrTx/>
              <a:buSzTx/>
              <a:buFont typeface="Arial" panose="020B0604020202020204" pitchFamily="34" charset="0"/>
              <a:buChar char="•"/>
              <a:tabLst>
                <a:tab pos="169863" algn="l"/>
                <a:tab pos="403225" algn="l"/>
                <a:tab pos="914400" algn="l"/>
                <a:tab pos="1262063" algn="l"/>
                <a:tab pos="1538288" algn="l"/>
              </a:tabLst>
              <a:defRPr/>
            </a:pPr>
            <a:r>
              <a:rPr kumimoji="0" lang="en-US" sz="1400" b="0" i="0" u="none" strike="noStrike" kern="1200" cap="none" spc="0" normalizeH="0" baseline="0" noProof="0" dirty="0">
                <a:ln>
                  <a:noFill/>
                </a:ln>
                <a:solidFill>
                  <a:prstClr val="black"/>
                </a:solidFill>
                <a:effectLst/>
                <a:uLnTx/>
                <a:uFillTx/>
                <a:latin typeface="Open Sans"/>
                <a:ea typeface="+mn-ea"/>
                <a:cs typeface="Times New Roman" pitchFamily="18" charset="0"/>
              </a:rPr>
              <a:t>Industry: Focus on consumer facing software/tech. Additional insights gained from other “customer centric” industries (e.g. retail, financial services etc.)</a:t>
            </a:r>
          </a:p>
          <a:p>
            <a:pPr marL="627063" marR="0" lvl="3" indent="-200025" algn="l" defTabSz="179388" rtl="0" eaLnBrk="1" fontAlgn="auto" latinLnBrk="0" hangingPunct="1">
              <a:lnSpc>
                <a:spcPct val="100000"/>
              </a:lnSpc>
              <a:spcBef>
                <a:spcPts val="1200"/>
              </a:spcBef>
              <a:spcAft>
                <a:spcPts val="0"/>
              </a:spcAft>
              <a:buClrTx/>
              <a:buSzTx/>
              <a:buFont typeface="Arial" panose="020B0604020202020204" pitchFamily="34" charset="0"/>
              <a:buChar char="•"/>
              <a:tabLst>
                <a:tab pos="169863" algn="l"/>
                <a:tab pos="403225" algn="l"/>
                <a:tab pos="914400" algn="l"/>
                <a:tab pos="1262063" algn="l"/>
                <a:tab pos="1538288" algn="l"/>
              </a:tabLst>
              <a:defRPr/>
            </a:pPr>
            <a:r>
              <a:rPr kumimoji="0" lang="en-US" sz="1400" b="0" i="0" u="none" strike="noStrike" kern="1200" cap="none" spc="0" normalizeH="0" baseline="0" noProof="0" dirty="0">
                <a:ln>
                  <a:noFill/>
                </a:ln>
                <a:solidFill>
                  <a:prstClr val="black"/>
                </a:solidFill>
                <a:effectLst/>
                <a:uLnTx/>
                <a:uFillTx/>
                <a:latin typeface="Open Sans"/>
                <a:ea typeface="+mn-ea"/>
                <a:cs typeface="Times New Roman" pitchFamily="18" charset="0"/>
              </a:rPr>
              <a:t>Business Model: Focus on subscription business models, reliant on annual recurring revenue. Additional insights from business models driven by retention/churn</a:t>
            </a:r>
          </a:p>
        </p:txBody>
      </p:sp>
      <p:grpSp>
        <p:nvGrpSpPr>
          <p:cNvPr id="18" name="Group 432">
            <a:extLst>
              <a:ext uri="{FF2B5EF4-FFF2-40B4-BE49-F238E27FC236}">
                <a16:creationId xmlns:a16="http://schemas.microsoft.com/office/drawing/2014/main" id="{C945575D-505D-44F0-AD10-51511F3479D2}"/>
              </a:ext>
            </a:extLst>
          </p:cNvPr>
          <p:cNvGrpSpPr>
            <a:grpSpLocks/>
          </p:cNvGrpSpPr>
          <p:nvPr/>
        </p:nvGrpSpPr>
        <p:grpSpPr bwMode="auto">
          <a:xfrm>
            <a:off x="938731" y="2355720"/>
            <a:ext cx="365760" cy="365760"/>
            <a:chOff x="3505" y="1546"/>
            <a:chExt cx="340" cy="341"/>
          </a:xfrm>
          <a:solidFill>
            <a:schemeClr val="tx1"/>
          </a:solidFill>
        </p:grpSpPr>
        <p:sp>
          <p:nvSpPr>
            <p:cNvPr id="19" name="Freeform 433">
              <a:extLst>
                <a:ext uri="{FF2B5EF4-FFF2-40B4-BE49-F238E27FC236}">
                  <a16:creationId xmlns:a16="http://schemas.microsoft.com/office/drawing/2014/main" id="{6A0439B7-2673-475D-913A-FFAFE335057E}"/>
                </a:ext>
              </a:extLst>
            </p:cNvPr>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0" name="Freeform 434">
              <a:extLst>
                <a:ext uri="{FF2B5EF4-FFF2-40B4-BE49-F238E27FC236}">
                  <a16:creationId xmlns:a16="http://schemas.microsoft.com/office/drawing/2014/main" id="{B1741B65-2BB4-4646-9970-BC5DE372A5D5}"/>
                </a:ext>
              </a:extLst>
            </p:cNvPr>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Open Sans"/>
                <a:ea typeface="+mn-ea"/>
                <a:cs typeface="+mn-cs"/>
              </a:endParaRPr>
            </a:p>
          </p:txBody>
        </p:sp>
      </p:grpSp>
      <p:grpSp>
        <p:nvGrpSpPr>
          <p:cNvPr id="21" name="Group 614">
            <a:extLst>
              <a:ext uri="{FF2B5EF4-FFF2-40B4-BE49-F238E27FC236}">
                <a16:creationId xmlns:a16="http://schemas.microsoft.com/office/drawing/2014/main" id="{4DD7410D-7EC7-4F79-89D9-B7E939DD65D9}"/>
              </a:ext>
            </a:extLst>
          </p:cNvPr>
          <p:cNvGrpSpPr>
            <a:grpSpLocks/>
          </p:cNvGrpSpPr>
          <p:nvPr/>
        </p:nvGrpSpPr>
        <p:grpSpPr bwMode="auto">
          <a:xfrm>
            <a:off x="939500" y="3335353"/>
            <a:ext cx="365760" cy="365760"/>
            <a:chOff x="3780" y="2658"/>
            <a:chExt cx="340" cy="340"/>
          </a:xfrm>
          <a:solidFill>
            <a:schemeClr val="tx1"/>
          </a:solidFill>
        </p:grpSpPr>
        <p:sp>
          <p:nvSpPr>
            <p:cNvPr id="22" name="Freeform 615">
              <a:extLst>
                <a:ext uri="{FF2B5EF4-FFF2-40B4-BE49-F238E27FC236}">
                  <a16:creationId xmlns:a16="http://schemas.microsoft.com/office/drawing/2014/main" id="{8D7DA275-F3F5-4517-B8E5-7F1B1E042228}"/>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3" name="Freeform 616">
              <a:extLst>
                <a:ext uri="{FF2B5EF4-FFF2-40B4-BE49-F238E27FC236}">
                  <a16:creationId xmlns:a16="http://schemas.microsoft.com/office/drawing/2014/main" id="{F2180993-4DDF-475B-AC8A-5566A7DB2214}"/>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4" name="Freeform 617">
              <a:extLst>
                <a:ext uri="{FF2B5EF4-FFF2-40B4-BE49-F238E27FC236}">
                  <a16:creationId xmlns:a16="http://schemas.microsoft.com/office/drawing/2014/main" id="{F04FA8AF-BB64-4243-BFE9-DBFACF891540}"/>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5" name="Freeform 618">
              <a:extLst>
                <a:ext uri="{FF2B5EF4-FFF2-40B4-BE49-F238E27FC236}">
                  <a16:creationId xmlns:a16="http://schemas.microsoft.com/office/drawing/2014/main" id="{1B9F67E5-02F0-4C1D-971E-38C873626A5D}"/>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6" name="Freeform 619">
              <a:extLst>
                <a:ext uri="{FF2B5EF4-FFF2-40B4-BE49-F238E27FC236}">
                  <a16:creationId xmlns:a16="http://schemas.microsoft.com/office/drawing/2014/main" id="{189E2232-8ADD-4745-80FD-AAE0C3B5D4A4}"/>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7" name="Freeform 620">
              <a:extLst>
                <a:ext uri="{FF2B5EF4-FFF2-40B4-BE49-F238E27FC236}">
                  <a16:creationId xmlns:a16="http://schemas.microsoft.com/office/drawing/2014/main" id="{9398FBF8-7B9B-46E6-AB31-2A67A0DFDB77}"/>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8" name="Freeform 621">
              <a:extLst>
                <a:ext uri="{FF2B5EF4-FFF2-40B4-BE49-F238E27FC236}">
                  <a16:creationId xmlns:a16="http://schemas.microsoft.com/office/drawing/2014/main" id="{37618460-2269-4050-B5DF-E46DDE97C4B1}"/>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9" name="Freeform 622">
              <a:extLst>
                <a:ext uri="{FF2B5EF4-FFF2-40B4-BE49-F238E27FC236}">
                  <a16:creationId xmlns:a16="http://schemas.microsoft.com/office/drawing/2014/main" id="{77FB2BBE-985C-42A4-B09E-1597F965EE99}"/>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30" name="Freeform 623">
              <a:extLst>
                <a:ext uri="{FF2B5EF4-FFF2-40B4-BE49-F238E27FC236}">
                  <a16:creationId xmlns:a16="http://schemas.microsoft.com/office/drawing/2014/main" id="{8AFC2B4F-03B7-4DC8-8DD5-0358D542D5BF}"/>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Open Sans"/>
                <a:ea typeface="+mn-ea"/>
                <a:cs typeface="+mn-cs"/>
              </a:endParaRPr>
            </a:p>
          </p:txBody>
        </p:sp>
      </p:grpSp>
    </p:spTree>
    <p:extLst>
      <p:ext uri="{BB962C8B-B14F-4D97-AF65-F5344CB8AC3E}">
        <p14:creationId xmlns:p14="http://schemas.microsoft.com/office/powerpoint/2010/main" val="164168807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AF895EB0-90CF-4895-B391-40EC879A3DD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6" name="think-cell Slide" r:id="rId6" imgW="395" imgH="396" progId="TCLayout.ActiveDocument.1">
                  <p:embed/>
                </p:oleObj>
              </mc:Choice>
              <mc:Fallback>
                <p:oleObj name="think-cell Slide" r:id="rId6" imgW="395" imgH="396" progId="TCLayout.ActiveDocument.1">
                  <p:embed/>
                  <p:pic>
                    <p:nvPicPr>
                      <p:cNvPr id="32" name="Object 31" hidden="1">
                        <a:extLst>
                          <a:ext uri="{FF2B5EF4-FFF2-40B4-BE49-F238E27FC236}">
                            <a16:creationId xmlns:a16="http://schemas.microsoft.com/office/drawing/2014/main" id="{AF895EB0-90CF-4895-B391-40EC879A3DD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1" name="Rectangle 30" hidden="1">
            <a:extLst>
              <a:ext uri="{FF2B5EF4-FFF2-40B4-BE49-F238E27FC236}">
                <a16:creationId xmlns:a16="http://schemas.microsoft.com/office/drawing/2014/main" id="{87233944-1AF5-4BFF-AC63-68DB9EE982C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a:sym typeface="Chronicle Display Black"/>
            </a:endParaRPr>
          </a:p>
        </p:txBody>
      </p:sp>
      <p:sp>
        <p:nvSpPr>
          <p:cNvPr id="2" name="Title 1">
            <a:extLst>
              <a:ext uri="{FF2B5EF4-FFF2-40B4-BE49-F238E27FC236}">
                <a16:creationId xmlns:a16="http://schemas.microsoft.com/office/drawing/2014/main" id="{1B02D9C1-56A9-469D-9108-E0B5B133A6F8}"/>
              </a:ext>
            </a:extLst>
          </p:cNvPr>
          <p:cNvSpPr>
            <a:spLocks noGrp="1"/>
          </p:cNvSpPr>
          <p:nvPr>
            <p:ph type="title"/>
          </p:nvPr>
        </p:nvSpPr>
        <p:spPr/>
        <p:txBody>
          <a:bodyPr/>
          <a:lstStyle/>
          <a:p>
            <a:r>
              <a:rPr lang="en-US" dirty="0"/>
              <a:t>Our Approach</a:t>
            </a:r>
          </a:p>
        </p:txBody>
      </p:sp>
      <p:sp>
        <p:nvSpPr>
          <p:cNvPr id="3" name="Text Placeholder 2">
            <a:extLst>
              <a:ext uri="{FF2B5EF4-FFF2-40B4-BE49-F238E27FC236}">
                <a16:creationId xmlns:a16="http://schemas.microsoft.com/office/drawing/2014/main" id="{C97DD858-2B96-4C7A-B5D2-7E5AA4F0BFB1}"/>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08364ABC-A3A4-4A00-9DAE-71E6721D36B7}"/>
              </a:ext>
            </a:extLst>
          </p:cNvPr>
          <p:cNvSpPr>
            <a:spLocks noGrp="1"/>
          </p:cNvSpPr>
          <p:nvPr>
            <p:ph type="body" sz="quarter" idx="15"/>
          </p:nvPr>
        </p:nvSpPr>
        <p:spPr/>
        <p:txBody>
          <a:bodyPr/>
          <a:lstStyle/>
          <a:p>
            <a:r>
              <a:rPr lang="en-US" dirty="0"/>
              <a:t>Approach, Scope, &amp; objectives</a:t>
            </a:r>
          </a:p>
        </p:txBody>
      </p:sp>
      <p:cxnSp>
        <p:nvCxnSpPr>
          <p:cNvPr id="6" name="Straight Connector 5">
            <a:extLst>
              <a:ext uri="{FF2B5EF4-FFF2-40B4-BE49-F238E27FC236}">
                <a16:creationId xmlns:a16="http://schemas.microsoft.com/office/drawing/2014/main" id="{48A884FB-7111-4926-A3B0-F346228EAA6A}"/>
              </a:ext>
            </a:extLst>
          </p:cNvPr>
          <p:cNvCxnSpPr>
            <a:cxnSpLocks/>
          </p:cNvCxnSpPr>
          <p:nvPr/>
        </p:nvCxnSpPr>
        <p:spPr>
          <a:xfrm>
            <a:off x="908955" y="2044200"/>
            <a:ext cx="10443879" cy="864"/>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DACE2739-AF30-4642-AA28-52A154FFB741}"/>
              </a:ext>
            </a:extLst>
          </p:cNvPr>
          <p:cNvSpPr/>
          <p:nvPr/>
        </p:nvSpPr>
        <p:spPr>
          <a:xfrm>
            <a:off x="9386177" y="1782742"/>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8" name="Oval 7">
            <a:extLst>
              <a:ext uri="{FF2B5EF4-FFF2-40B4-BE49-F238E27FC236}">
                <a16:creationId xmlns:a16="http://schemas.microsoft.com/office/drawing/2014/main" id="{9F696289-08CA-4D9F-A271-85217CA13DA3}"/>
              </a:ext>
            </a:extLst>
          </p:cNvPr>
          <p:cNvSpPr/>
          <p:nvPr/>
        </p:nvSpPr>
        <p:spPr>
          <a:xfrm>
            <a:off x="1748719" y="1695695"/>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9" name="Oval 8">
            <a:extLst>
              <a:ext uri="{FF2B5EF4-FFF2-40B4-BE49-F238E27FC236}">
                <a16:creationId xmlns:a16="http://schemas.microsoft.com/office/drawing/2014/main" id="{AF7080BC-E9D9-46C3-BFD2-1036B3983D4B}"/>
              </a:ext>
            </a:extLst>
          </p:cNvPr>
          <p:cNvSpPr/>
          <p:nvPr/>
        </p:nvSpPr>
        <p:spPr>
          <a:xfrm>
            <a:off x="5569076" y="1708790"/>
            <a:ext cx="673100" cy="673100"/>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D9848B93-5F78-4560-A7B8-12C18465B3F5}"/>
              </a:ext>
            </a:extLst>
          </p:cNvPr>
          <p:cNvSpPr/>
          <p:nvPr/>
        </p:nvSpPr>
        <p:spPr>
          <a:xfrm>
            <a:off x="914082" y="3408671"/>
            <a:ext cx="3017520" cy="2743200"/>
          </a:xfrm>
          <a:prstGeom prst="rect">
            <a:avLst/>
          </a:prstGeom>
        </p:spPr>
        <p:txBody>
          <a:bodyPr wrap="square">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Open Sans" charset="0"/>
                <a:cs typeface="Open Sans" charset="0"/>
              </a:rPr>
              <a:t>This all starts with getting in deep, and looking at your world from a different perspective. We gather documentation, review code and interview your key stakeholders to understand the existing user experience, operating model, pain points, and requirements while gaining input and consensus on the priorities, and needs of you organization.</a:t>
            </a:r>
          </a:p>
        </p:txBody>
      </p:sp>
      <p:sp>
        <p:nvSpPr>
          <p:cNvPr id="11" name="Oval 10">
            <a:extLst>
              <a:ext uri="{FF2B5EF4-FFF2-40B4-BE49-F238E27FC236}">
                <a16:creationId xmlns:a16="http://schemas.microsoft.com/office/drawing/2014/main" id="{1345A180-33D4-4BA8-824F-899BC9460880}"/>
              </a:ext>
            </a:extLst>
          </p:cNvPr>
          <p:cNvSpPr/>
          <p:nvPr/>
        </p:nvSpPr>
        <p:spPr>
          <a:xfrm>
            <a:off x="4028911" y="1970024"/>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pic>
        <p:nvPicPr>
          <p:cNvPr id="12" name="Picture 11">
            <a:extLst>
              <a:ext uri="{FF2B5EF4-FFF2-40B4-BE49-F238E27FC236}">
                <a16:creationId xmlns:a16="http://schemas.microsoft.com/office/drawing/2014/main" id="{E62F4E23-1A88-42B9-ACEF-EFF587E4B8F7}"/>
              </a:ext>
            </a:extLst>
          </p:cNvPr>
          <p:cNvPicPr>
            <a:picLocks noChangeAspect="1"/>
          </p:cNvPicPr>
          <p:nvPr/>
        </p:nvPicPr>
        <p:blipFill>
          <a:blip r:embed="rId8" cstate="email">
            <a:biLevel thresh="75000"/>
            <a:extLst>
              <a:ext uri="{28A0092B-C50C-407E-A947-70E740481C1C}">
                <a14:useLocalDpi xmlns:a14="http://schemas.microsoft.com/office/drawing/2010/main" val="0"/>
              </a:ext>
            </a:extLst>
          </a:blip>
          <a:stretch>
            <a:fillRect/>
          </a:stretch>
        </p:blipFill>
        <p:spPr>
          <a:xfrm>
            <a:off x="5749798" y="1900625"/>
            <a:ext cx="300276" cy="300274"/>
          </a:xfrm>
          <a:prstGeom prst="rect">
            <a:avLst/>
          </a:prstGeom>
        </p:spPr>
      </p:pic>
      <p:sp>
        <p:nvSpPr>
          <p:cNvPr id="13" name="Rectangle 12">
            <a:extLst>
              <a:ext uri="{FF2B5EF4-FFF2-40B4-BE49-F238E27FC236}">
                <a16:creationId xmlns:a16="http://schemas.microsoft.com/office/drawing/2014/main" id="{72256376-AAF0-4566-853B-2354F34A748B}"/>
              </a:ext>
            </a:extLst>
          </p:cNvPr>
          <p:cNvSpPr/>
          <p:nvPr/>
        </p:nvSpPr>
        <p:spPr>
          <a:xfrm>
            <a:off x="4761858" y="3408670"/>
            <a:ext cx="3017520" cy="1975349"/>
          </a:xfrm>
          <a:prstGeom prst="rect">
            <a:avLst/>
          </a:prstGeom>
        </p:spPr>
        <p:txBody>
          <a:bodyPr wrap="square">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Open Sans" charset="0"/>
                <a:cs typeface="Open Sans" charset="0"/>
              </a:rPr>
              <a:t>We then take these inputs and use our experience to articulate the end state. We have run multiple Adobe programs end to end and have encountered all varieties of issues/problems –  we have the experience to identify gaps in your solution.</a:t>
            </a:r>
          </a:p>
        </p:txBody>
      </p:sp>
      <p:sp>
        <p:nvSpPr>
          <p:cNvPr id="14" name="Rectangle 13">
            <a:extLst>
              <a:ext uri="{FF2B5EF4-FFF2-40B4-BE49-F238E27FC236}">
                <a16:creationId xmlns:a16="http://schemas.microsoft.com/office/drawing/2014/main" id="{44AD9ABF-4461-4960-B026-7BCF53C9596D}"/>
              </a:ext>
            </a:extLst>
          </p:cNvPr>
          <p:cNvSpPr/>
          <p:nvPr/>
        </p:nvSpPr>
        <p:spPr>
          <a:xfrm>
            <a:off x="8609634" y="3408670"/>
            <a:ext cx="3017520" cy="2449325"/>
          </a:xfrm>
          <a:prstGeom prst="rect">
            <a:avLst/>
          </a:prstGeom>
        </p:spPr>
        <p:txBody>
          <a:bodyPr wrap="square">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Open Sans" charset="0"/>
                <a:cs typeface="Open Sans" charset="0"/>
              </a:rPr>
              <a:t>Finally, we align the gaps, and convert then into digestible initiatives—packaging these around a high-level plan tied to business value and severity. </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Open Sans" charset="0"/>
                <a:cs typeface="Open Sans" charset="0"/>
              </a:rPr>
              <a:t>Our goal: to enable the Client to take action and make better decisions regarding the implementation of digital technologies, specifically Adobe.</a:t>
            </a:r>
          </a:p>
        </p:txBody>
      </p:sp>
      <p:sp>
        <p:nvSpPr>
          <p:cNvPr id="15" name="Rectangle 14">
            <a:extLst>
              <a:ext uri="{FF2B5EF4-FFF2-40B4-BE49-F238E27FC236}">
                <a16:creationId xmlns:a16="http://schemas.microsoft.com/office/drawing/2014/main" id="{00A8CE97-4704-48F9-8010-9BB6772DC702}"/>
              </a:ext>
            </a:extLst>
          </p:cNvPr>
          <p:cNvSpPr/>
          <p:nvPr/>
        </p:nvSpPr>
        <p:spPr>
          <a:xfrm>
            <a:off x="908955" y="2801471"/>
            <a:ext cx="2743200" cy="457200"/>
          </a:xfrm>
          <a:prstGeom prst="rect">
            <a:avLst/>
          </a:prstGeom>
        </p:spPr>
        <p:txBody>
          <a:bodyPr vert="horz" lIns="91440" tIns="45720" rIns="91440" bIns="45720" rtlCol="0" anchor="t">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all" spc="200" normalizeH="0" baseline="0" noProof="0" dirty="0">
                <a:ln>
                  <a:noFill/>
                </a:ln>
                <a:solidFill>
                  <a:srgbClr val="000000"/>
                </a:solidFill>
                <a:effectLst/>
                <a:uLnTx/>
                <a:uFillTx/>
                <a:ea typeface="Nexa Black" charset="0"/>
                <a:cs typeface="Nexa Black" charset="0"/>
              </a:rPr>
              <a:t>Assess Current state</a:t>
            </a:r>
          </a:p>
        </p:txBody>
      </p:sp>
      <p:sp>
        <p:nvSpPr>
          <p:cNvPr id="16" name="Rectangle 15">
            <a:extLst>
              <a:ext uri="{FF2B5EF4-FFF2-40B4-BE49-F238E27FC236}">
                <a16:creationId xmlns:a16="http://schemas.microsoft.com/office/drawing/2014/main" id="{67FC18AB-FC3F-4E73-A510-5144FF7AFEF2}"/>
              </a:ext>
            </a:extLst>
          </p:cNvPr>
          <p:cNvSpPr/>
          <p:nvPr/>
        </p:nvSpPr>
        <p:spPr>
          <a:xfrm>
            <a:off x="4759295" y="2801471"/>
            <a:ext cx="2743200" cy="457200"/>
          </a:xfrm>
          <a:prstGeom prst="rect">
            <a:avLst/>
          </a:prstGeom>
        </p:spPr>
        <p:txBody>
          <a:bodyPr vert="horz" lIns="91440" tIns="45720" rIns="91440" bIns="45720" rtlCol="0" anchor="t">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all" spc="200" normalizeH="0" baseline="0" noProof="0" dirty="0">
                <a:ln>
                  <a:noFill/>
                </a:ln>
                <a:solidFill>
                  <a:srgbClr val="000000"/>
                </a:solidFill>
                <a:effectLst/>
                <a:uLnTx/>
                <a:uFillTx/>
                <a:ea typeface="Nexa Black" charset="0"/>
                <a:cs typeface="Nexa Black" charset="0"/>
              </a:rPr>
              <a:t>Define future state</a:t>
            </a:r>
          </a:p>
        </p:txBody>
      </p:sp>
      <p:sp>
        <p:nvSpPr>
          <p:cNvPr id="17" name="Oval 16">
            <a:extLst>
              <a:ext uri="{FF2B5EF4-FFF2-40B4-BE49-F238E27FC236}">
                <a16:creationId xmlns:a16="http://schemas.microsoft.com/office/drawing/2014/main" id="{B105A7A4-19FB-4145-9864-F03EB9F6A7C4}"/>
              </a:ext>
            </a:extLst>
          </p:cNvPr>
          <p:cNvSpPr/>
          <p:nvPr/>
        </p:nvSpPr>
        <p:spPr>
          <a:xfrm>
            <a:off x="7886524" y="1970024"/>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8" name="Oval 17">
            <a:extLst>
              <a:ext uri="{FF2B5EF4-FFF2-40B4-BE49-F238E27FC236}">
                <a16:creationId xmlns:a16="http://schemas.microsoft.com/office/drawing/2014/main" id="{2D0454B0-4B7F-45F8-9627-A9B2A3C25C28}"/>
              </a:ext>
            </a:extLst>
          </p:cNvPr>
          <p:cNvSpPr/>
          <p:nvPr/>
        </p:nvSpPr>
        <p:spPr>
          <a:xfrm>
            <a:off x="11289710" y="1970024"/>
            <a:ext cx="150082" cy="15008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19" name="Group 18">
            <a:extLst>
              <a:ext uri="{FF2B5EF4-FFF2-40B4-BE49-F238E27FC236}">
                <a16:creationId xmlns:a16="http://schemas.microsoft.com/office/drawing/2014/main" id="{5B37BADE-BA39-4318-B5AF-A14354CFC16E}"/>
              </a:ext>
            </a:extLst>
          </p:cNvPr>
          <p:cNvGrpSpPr>
            <a:grpSpLocks noChangeAspect="1"/>
          </p:cNvGrpSpPr>
          <p:nvPr/>
        </p:nvGrpSpPr>
        <p:grpSpPr>
          <a:xfrm>
            <a:off x="1911687" y="1841672"/>
            <a:ext cx="368868" cy="368868"/>
            <a:chOff x="9686925" y="215900"/>
            <a:chExt cx="552450" cy="552450"/>
          </a:xfrm>
          <a:solidFill>
            <a:schemeClr val="tx2"/>
          </a:solidFill>
        </p:grpSpPr>
        <p:sp>
          <p:nvSpPr>
            <p:cNvPr id="20" name="Freeform 58">
              <a:extLst>
                <a:ext uri="{FF2B5EF4-FFF2-40B4-BE49-F238E27FC236}">
                  <a16:creationId xmlns:a16="http://schemas.microsoft.com/office/drawing/2014/main" id="{6CB3F2D8-AE18-4387-AA9A-2267BB3DE653}"/>
                </a:ext>
              </a:extLst>
            </p:cNvPr>
            <p:cNvSpPr>
              <a:spLocks noEditPoints="1"/>
            </p:cNvSpPr>
            <p:nvPr/>
          </p:nvSpPr>
          <p:spPr bwMode="auto">
            <a:xfrm>
              <a:off x="9686925" y="215900"/>
              <a:ext cx="552450" cy="552450"/>
            </a:xfrm>
            <a:custGeom>
              <a:avLst/>
              <a:gdLst>
                <a:gd name="T0" fmla="*/ 555 w 1390"/>
                <a:gd name="T1" fmla="*/ 14 h 1390"/>
                <a:gd name="T2" fmla="*/ 364 w 1390"/>
                <a:gd name="T3" fmla="*/ 84 h 1390"/>
                <a:gd name="T4" fmla="*/ 204 w 1390"/>
                <a:gd name="T5" fmla="*/ 204 h 1390"/>
                <a:gd name="T6" fmla="*/ 84 w 1390"/>
                <a:gd name="T7" fmla="*/ 364 h 1390"/>
                <a:gd name="T8" fmla="*/ 14 w 1390"/>
                <a:gd name="T9" fmla="*/ 555 h 1390"/>
                <a:gd name="T10" fmla="*/ 1 w 1390"/>
                <a:gd name="T11" fmla="*/ 730 h 1390"/>
                <a:gd name="T12" fmla="*/ 41 w 1390"/>
                <a:gd name="T13" fmla="*/ 934 h 1390"/>
                <a:gd name="T14" fmla="*/ 138 w 1390"/>
                <a:gd name="T15" fmla="*/ 1111 h 1390"/>
                <a:gd name="T16" fmla="*/ 280 w 1390"/>
                <a:gd name="T17" fmla="*/ 1252 h 1390"/>
                <a:gd name="T18" fmla="*/ 456 w 1390"/>
                <a:gd name="T19" fmla="*/ 1348 h 1390"/>
                <a:gd name="T20" fmla="*/ 659 w 1390"/>
                <a:gd name="T21" fmla="*/ 1389 h 1390"/>
                <a:gd name="T22" fmla="*/ 835 w 1390"/>
                <a:gd name="T23" fmla="*/ 1376 h 1390"/>
                <a:gd name="T24" fmla="*/ 1026 w 1390"/>
                <a:gd name="T25" fmla="*/ 1306 h 1390"/>
                <a:gd name="T26" fmla="*/ 1186 w 1390"/>
                <a:gd name="T27" fmla="*/ 1186 h 1390"/>
                <a:gd name="T28" fmla="*/ 1306 w 1390"/>
                <a:gd name="T29" fmla="*/ 1026 h 1390"/>
                <a:gd name="T30" fmla="*/ 1377 w 1390"/>
                <a:gd name="T31" fmla="*/ 835 h 1390"/>
                <a:gd name="T32" fmla="*/ 1389 w 1390"/>
                <a:gd name="T33" fmla="*/ 659 h 1390"/>
                <a:gd name="T34" fmla="*/ 1348 w 1390"/>
                <a:gd name="T35" fmla="*/ 456 h 1390"/>
                <a:gd name="T36" fmla="*/ 1252 w 1390"/>
                <a:gd name="T37" fmla="*/ 280 h 1390"/>
                <a:gd name="T38" fmla="*/ 1111 w 1390"/>
                <a:gd name="T39" fmla="*/ 138 h 1390"/>
                <a:gd name="T40" fmla="*/ 934 w 1390"/>
                <a:gd name="T41" fmla="*/ 42 h 1390"/>
                <a:gd name="T42" fmla="*/ 730 w 1390"/>
                <a:gd name="T43" fmla="*/ 1 h 1390"/>
                <a:gd name="T44" fmla="*/ 637 w 1390"/>
                <a:gd name="T45" fmla="*/ 1343 h 1390"/>
                <a:gd name="T46" fmla="*/ 474 w 1390"/>
                <a:gd name="T47" fmla="*/ 1307 h 1390"/>
                <a:gd name="T48" fmla="*/ 328 w 1390"/>
                <a:gd name="T49" fmla="*/ 1232 h 1390"/>
                <a:gd name="T50" fmla="*/ 329 w 1390"/>
                <a:gd name="T51" fmla="*/ 1161 h 1390"/>
                <a:gd name="T52" fmla="*/ 365 w 1390"/>
                <a:gd name="T53" fmla="*/ 1100 h 1390"/>
                <a:gd name="T54" fmla="*/ 388 w 1390"/>
                <a:gd name="T55" fmla="*/ 996 h 1390"/>
                <a:gd name="T56" fmla="*/ 365 w 1390"/>
                <a:gd name="T57" fmla="*/ 897 h 1390"/>
                <a:gd name="T58" fmla="*/ 296 w 1390"/>
                <a:gd name="T59" fmla="*/ 801 h 1390"/>
                <a:gd name="T60" fmla="*/ 234 w 1390"/>
                <a:gd name="T61" fmla="*/ 719 h 1390"/>
                <a:gd name="T62" fmla="*/ 230 w 1390"/>
                <a:gd name="T63" fmla="*/ 686 h 1390"/>
                <a:gd name="T64" fmla="*/ 294 w 1390"/>
                <a:gd name="T65" fmla="*/ 638 h 1390"/>
                <a:gd name="T66" fmla="*/ 425 w 1390"/>
                <a:gd name="T67" fmla="*/ 567 h 1390"/>
                <a:gd name="T68" fmla="*/ 479 w 1390"/>
                <a:gd name="T69" fmla="*/ 510 h 1390"/>
                <a:gd name="T70" fmla="*/ 499 w 1390"/>
                <a:gd name="T71" fmla="*/ 412 h 1390"/>
                <a:gd name="T72" fmla="*/ 474 w 1390"/>
                <a:gd name="T73" fmla="*/ 294 h 1390"/>
                <a:gd name="T74" fmla="*/ 440 w 1390"/>
                <a:gd name="T75" fmla="*/ 226 h 1390"/>
                <a:gd name="T76" fmla="*/ 349 w 1390"/>
                <a:gd name="T77" fmla="*/ 145 h 1390"/>
                <a:gd name="T78" fmla="*/ 508 w 1390"/>
                <a:gd name="T79" fmla="*/ 74 h 1390"/>
                <a:gd name="T80" fmla="*/ 610 w 1390"/>
                <a:gd name="T81" fmla="*/ 68 h 1390"/>
                <a:gd name="T82" fmla="*/ 617 w 1390"/>
                <a:gd name="T83" fmla="*/ 116 h 1390"/>
                <a:gd name="T84" fmla="*/ 697 w 1390"/>
                <a:gd name="T85" fmla="*/ 192 h 1390"/>
                <a:gd name="T86" fmla="*/ 765 w 1390"/>
                <a:gd name="T87" fmla="*/ 251 h 1390"/>
                <a:gd name="T88" fmla="*/ 798 w 1390"/>
                <a:gd name="T89" fmla="*/ 318 h 1390"/>
                <a:gd name="T90" fmla="*/ 846 w 1390"/>
                <a:gd name="T91" fmla="*/ 397 h 1390"/>
                <a:gd name="T92" fmla="*/ 903 w 1390"/>
                <a:gd name="T93" fmla="*/ 428 h 1390"/>
                <a:gd name="T94" fmla="*/ 944 w 1390"/>
                <a:gd name="T95" fmla="*/ 432 h 1390"/>
                <a:gd name="T96" fmla="*/ 1055 w 1390"/>
                <a:gd name="T97" fmla="*/ 397 h 1390"/>
                <a:gd name="T98" fmla="*/ 1220 w 1390"/>
                <a:gd name="T99" fmla="*/ 314 h 1390"/>
                <a:gd name="T100" fmla="*/ 1294 w 1390"/>
                <a:gd name="T101" fmla="*/ 442 h 1390"/>
                <a:gd name="T102" fmla="*/ 1337 w 1390"/>
                <a:gd name="T103" fmla="*/ 589 h 1390"/>
                <a:gd name="T104" fmla="*/ 1345 w 1390"/>
                <a:gd name="T105" fmla="*/ 728 h 1390"/>
                <a:gd name="T106" fmla="*/ 1306 w 1390"/>
                <a:gd name="T107" fmla="*/ 918 h 1390"/>
                <a:gd name="T108" fmla="*/ 1216 w 1390"/>
                <a:gd name="T109" fmla="*/ 1084 h 1390"/>
                <a:gd name="T110" fmla="*/ 1084 w 1390"/>
                <a:gd name="T111" fmla="*/ 1216 h 1390"/>
                <a:gd name="T112" fmla="*/ 918 w 1390"/>
                <a:gd name="T113" fmla="*/ 1306 h 1390"/>
                <a:gd name="T114" fmla="*/ 728 w 1390"/>
                <a:gd name="T115" fmla="*/ 1344 h 1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90" h="1390">
                  <a:moveTo>
                    <a:pt x="695" y="0"/>
                  </a:moveTo>
                  <a:lnTo>
                    <a:pt x="695" y="0"/>
                  </a:lnTo>
                  <a:lnTo>
                    <a:pt x="659" y="1"/>
                  </a:lnTo>
                  <a:lnTo>
                    <a:pt x="624" y="3"/>
                  </a:lnTo>
                  <a:lnTo>
                    <a:pt x="589" y="7"/>
                  </a:lnTo>
                  <a:lnTo>
                    <a:pt x="555" y="14"/>
                  </a:lnTo>
                  <a:lnTo>
                    <a:pt x="521" y="21"/>
                  </a:lnTo>
                  <a:lnTo>
                    <a:pt x="488" y="31"/>
                  </a:lnTo>
                  <a:lnTo>
                    <a:pt x="456" y="42"/>
                  </a:lnTo>
                  <a:lnTo>
                    <a:pt x="425" y="54"/>
                  </a:lnTo>
                  <a:lnTo>
                    <a:pt x="394" y="68"/>
                  </a:lnTo>
                  <a:lnTo>
                    <a:pt x="364" y="84"/>
                  </a:lnTo>
                  <a:lnTo>
                    <a:pt x="334" y="100"/>
                  </a:lnTo>
                  <a:lnTo>
                    <a:pt x="306" y="119"/>
                  </a:lnTo>
                  <a:lnTo>
                    <a:pt x="280" y="138"/>
                  </a:lnTo>
                  <a:lnTo>
                    <a:pt x="253" y="159"/>
                  </a:lnTo>
                  <a:lnTo>
                    <a:pt x="227" y="180"/>
                  </a:lnTo>
                  <a:lnTo>
                    <a:pt x="204" y="204"/>
                  </a:lnTo>
                  <a:lnTo>
                    <a:pt x="180" y="227"/>
                  </a:lnTo>
                  <a:lnTo>
                    <a:pt x="159" y="253"/>
                  </a:lnTo>
                  <a:lnTo>
                    <a:pt x="138" y="280"/>
                  </a:lnTo>
                  <a:lnTo>
                    <a:pt x="118" y="306"/>
                  </a:lnTo>
                  <a:lnTo>
                    <a:pt x="100" y="335"/>
                  </a:lnTo>
                  <a:lnTo>
                    <a:pt x="84" y="364"/>
                  </a:lnTo>
                  <a:lnTo>
                    <a:pt x="68" y="394"/>
                  </a:lnTo>
                  <a:lnTo>
                    <a:pt x="54" y="425"/>
                  </a:lnTo>
                  <a:lnTo>
                    <a:pt x="41" y="456"/>
                  </a:lnTo>
                  <a:lnTo>
                    <a:pt x="31" y="488"/>
                  </a:lnTo>
                  <a:lnTo>
                    <a:pt x="21" y="521"/>
                  </a:lnTo>
                  <a:lnTo>
                    <a:pt x="14" y="555"/>
                  </a:lnTo>
                  <a:lnTo>
                    <a:pt x="7" y="589"/>
                  </a:lnTo>
                  <a:lnTo>
                    <a:pt x="3" y="624"/>
                  </a:lnTo>
                  <a:lnTo>
                    <a:pt x="1" y="659"/>
                  </a:lnTo>
                  <a:lnTo>
                    <a:pt x="0" y="695"/>
                  </a:lnTo>
                  <a:lnTo>
                    <a:pt x="0" y="695"/>
                  </a:lnTo>
                  <a:lnTo>
                    <a:pt x="1" y="730"/>
                  </a:lnTo>
                  <a:lnTo>
                    <a:pt x="3" y="766"/>
                  </a:lnTo>
                  <a:lnTo>
                    <a:pt x="7" y="801"/>
                  </a:lnTo>
                  <a:lnTo>
                    <a:pt x="14" y="835"/>
                  </a:lnTo>
                  <a:lnTo>
                    <a:pt x="21" y="868"/>
                  </a:lnTo>
                  <a:lnTo>
                    <a:pt x="31" y="901"/>
                  </a:lnTo>
                  <a:lnTo>
                    <a:pt x="41" y="934"/>
                  </a:lnTo>
                  <a:lnTo>
                    <a:pt x="54" y="965"/>
                  </a:lnTo>
                  <a:lnTo>
                    <a:pt x="68" y="996"/>
                  </a:lnTo>
                  <a:lnTo>
                    <a:pt x="84" y="1026"/>
                  </a:lnTo>
                  <a:lnTo>
                    <a:pt x="100" y="1055"/>
                  </a:lnTo>
                  <a:lnTo>
                    <a:pt x="118" y="1084"/>
                  </a:lnTo>
                  <a:lnTo>
                    <a:pt x="138" y="1111"/>
                  </a:lnTo>
                  <a:lnTo>
                    <a:pt x="159" y="1137"/>
                  </a:lnTo>
                  <a:lnTo>
                    <a:pt x="180" y="1162"/>
                  </a:lnTo>
                  <a:lnTo>
                    <a:pt x="204" y="1186"/>
                  </a:lnTo>
                  <a:lnTo>
                    <a:pt x="227" y="1210"/>
                  </a:lnTo>
                  <a:lnTo>
                    <a:pt x="253" y="1231"/>
                  </a:lnTo>
                  <a:lnTo>
                    <a:pt x="280" y="1252"/>
                  </a:lnTo>
                  <a:lnTo>
                    <a:pt x="306" y="1272"/>
                  </a:lnTo>
                  <a:lnTo>
                    <a:pt x="334" y="1290"/>
                  </a:lnTo>
                  <a:lnTo>
                    <a:pt x="364" y="1306"/>
                  </a:lnTo>
                  <a:lnTo>
                    <a:pt x="394" y="1322"/>
                  </a:lnTo>
                  <a:lnTo>
                    <a:pt x="425" y="1336"/>
                  </a:lnTo>
                  <a:lnTo>
                    <a:pt x="456" y="1348"/>
                  </a:lnTo>
                  <a:lnTo>
                    <a:pt x="488" y="1359"/>
                  </a:lnTo>
                  <a:lnTo>
                    <a:pt x="521" y="1368"/>
                  </a:lnTo>
                  <a:lnTo>
                    <a:pt x="555" y="1376"/>
                  </a:lnTo>
                  <a:lnTo>
                    <a:pt x="589" y="1382"/>
                  </a:lnTo>
                  <a:lnTo>
                    <a:pt x="624" y="1387"/>
                  </a:lnTo>
                  <a:lnTo>
                    <a:pt x="659" y="1389"/>
                  </a:lnTo>
                  <a:lnTo>
                    <a:pt x="695" y="1390"/>
                  </a:lnTo>
                  <a:lnTo>
                    <a:pt x="695" y="1390"/>
                  </a:lnTo>
                  <a:lnTo>
                    <a:pt x="730" y="1389"/>
                  </a:lnTo>
                  <a:lnTo>
                    <a:pt x="766" y="1387"/>
                  </a:lnTo>
                  <a:lnTo>
                    <a:pt x="801" y="1382"/>
                  </a:lnTo>
                  <a:lnTo>
                    <a:pt x="835" y="1376"/>
                  </a:lnTo>
                  <a:lnTo>
                    <a:pt x="868" y="1368"/>
                  </a:lnTo>
                  <a:lnTo>
                    <a:pt x="901" y="1359"/>
                  </a:lnTo>
                  <a:lnTo>
                    <a:pt x="934" y="1348"/>
                  </a:lnTo>
                  <a:lnTo>
                    <a:pt x="965" y="1336"/>
                  </a:lnTo>
                  <a:lnTo>
                    <a:pt x="996" y="1322"/>
                  </a:lnTo>
                  <a:lnTo>
                    <a:pt x="1026" y="1306"/>
                  </a:lnTo>
                  <a:lnTo>
                    <a:pt x="1055" y="1290"/>
                  </a:lnTo>
                  <a:lnTo>
                    <a:pt x="1084" y="1272"/>
                  </a:lnTo>
                  <a:lnTo>
                    <a:pt x="1111" y="1252"/>
                  </a:lnTo>
                  <a:lnTo>
                    <a:pt x="1137" y="1231"/>
                  </a:lnTo>
                  <a:lnTo>
                    <a:pt x="1162" y="1210"/>
                  </a:lnTo>
                  <a:lnTo>
                    <a:pt x="1186" y="1186"/>
                  </a:lnTo>
                  <a:lnTo>
                    <a:pt x="1210" y="1162"/>
                  </a:lnTo>
                  <a:lnTo>
                    <a:pt x="1231" y="1137"/>
                  </a:lnTo>
                  <a:lnTo>
                    <a:pt x="1252" y="1111"/>
                  </a:lnTo>
                  <a:lnTo>
                    <a:pt x="1272" y="1084"/>
                  </a:lnTo>
                  <a:lnTo>
                    <a:pt x="1290" y="1055"/>
                  </a:lnTo>
                  <a:lnTo>
                    <a:pt x="1306" y="1026"/>
                  </a:lnTo>
                  <a:lnTo>
                    <a:pt x="1322" y="996"/>
                  </a:lnTo>
                  <a:lnTo>
                    <a:pt x="1336" y="965"/>
                  </a:lnTo>
                  <a:lnTo>
                    <a:pt x="1348" y="934"/>
                  </a:lnTo>
                  <a:lnTo>
                    <a:pt x="1360" y="901"/>
                  </a:lnTo>
                  <a:lnTo>
                    <a:pt x="1368" y="868"/>
                  </a:lnTo>
                  <a:lnTo>
                    <a:pt x="1377" y="835"/>
                  </a:lnTo>
                  <a:lnTo>
                    <a:pt x="1382" y="801"/>
                  </a:lnTo>
                  <a:lnTo>
                    <a:pt x="1386" y="766"/>
                  </a:lnTo>
                  <a:lnTo>
                    <a:pt x="1389" y="730"/>
                  </a:lnTo>
                  <a:lnTo>
                    <a:pt x="1390" y="695"/>
                  </a:lnTo>
                  <a:lnTo>
                    <a:pt x="1390" y="695"/>
                  </a:lnTo>
                  <a:lnTo>
                    <a:pt x="1389" y="659"/>
                  </a:lnTo>
                  <a:lnTo>
                    <a:pt x="1386" y="624"/>
                  </a:lnTo>
                  <a:lnTo>
                    <a:pt x="1382" y="589"/>
                  </a:lnTo>
                  <a:lnTo>
                    <a:pt x="1377" y="555"/>
                  </a:lnTo>
                  <a:lnTo>
                    <a:pt x="1368" y="521"/>
                  </a:lnTo>
                  <a:lnTo>
                    <a:pt x="1360" y="488"/>
                  </a:lnTo>
                  <a:lnTo>
                    <a:pt x="1348" y="456"/>
                  </a:lnTo>
                  <a:lnTo>
                    <a:pt x="1336" y="425"/>
                  </a:lnTo>
                  <a:lnTo>
                    <a:pt x="1322" y="394"/>
                  </a:lnTo>
                  <a:lnTo>
                    <a:pt x="1306" y="364"/>
                  </a:lnTo>
                  <a:lnTo>
                    <a:pt x="1290" y="335"/>
                  </a:lnTo>
                  <a:lnTo>
                    <a:pt x="1272" y="306"/>
                  </a:lnTo>
                  <a:lnTo>
                    <a:pt x="1252" y="280"/>
                  </a:lnTo>
                  <a:lnTo>
                    <a:pt x="1231" y="253"/>
                  </a:lnTo>
                  <a:lnTo>
                    <a:pt x="1210" y="227"/>
                  </a:lnTo>
                  <a:lnTo>
                    <a:pt x="1186" y="204"/>
                  </a:lnTo>
                  <a:lnTo>
                    <a:pt x="1162" y="180"/>
                  </a:lnTo>
                  <a:lnTo>
                    <a:pt x="1137" y="159"/>
                  </a:lnTo>
                  <a:lnTo>
                    <a:pt x="1111" y="138"/>
                  </a:lnTo>
                  <a:lnTo>
                    <a:pt x="1084" y="119"/>
                  </a:lnTo>
                  <a:lnTo>
                    <a:pt x="1055" y="100"/>
                  </a:lnTo>
                  <a:lnTo>
                    <a:pt x="1026" y="84"/>
                  </a:lnTo>
                  <a:lnTo>
                    <a:pt x="996" y="68"/>
                  </a:lnTo>
                  <a:lnTo>
                    <a:pt x="965" y="54"/>
                  </a:lnTo>
                  <a:lnTo>
                    <a:pt x="934" y="42"/>
                  </a:lnTo>
                  <a:lnTo>
                    <a:pt x="901" y="31"/>
                  </a:lnTo>
                  <a:lnTo>
                    <a:pt x="868" y="21"/>
                  </a:lnTo>
                  <a:lnTo>
                    <a:pt x="835" y="14"/>
                  </a:lnTo>
                  <a:lnTo>
                    <a:pt x="801" y="7"/>
                  </a:lnTo>
                  <a:lnTo>
                    <a:pt x="766" y="3"/>
                  </a:lnTo>
                  <a:lnTo>
                    <a:pt x="730" y="1"/>
                  </a:lnTo>
                  <a:lnTo>
                    <a:pt x="695" y="0"/>
                  </a:lnTo>
                  <a:lnTo>
                    <a:pt x="695" y="0"/>
                  </a:lnTo>
                  <a:close/>
                  <a:moveTo>
                    <a:pt x="695" y="1346"/>
                  </a:moveTo>
                  <a:lnTo>
                    <a:pt x="695" y="1346"/>
                  </a:lnTo>
                  <a:lnTo>
                    <a:pt x="666" y="1344"/>
                  </a:lnTo>
                  <a:lnTo>
                    <a:pt x="637" y="1343"/>
                  </a:lnTo>
                  <a:lnTo>
                    <a:pt x="610" y="1340"/>
                  </a:lnTo>
                  <a:lnTo>
                    <a:pt x="581" y="1336"/>
                  </a:lnTo>
                  <a:lnTo>
                    <a:pt x="554" y="1331"/>
                  </a:lnTo>
                  <a:lnTo>
                    <a:pt x="526" y="1323"/>
                  </a:lnTo>
                  <a:lnTo>
                    <a:pt x="500" y="1316"/>
                  </a:lnTo>
                  <a:lnTo>
                    <a:pt x="474" y="1307"/>
                  </a:lnTo>
                  <a:lnTo>
                    <a:pt x="448" y="1297"/>
                  </a:lnTo>
                  <a:lnTo>
                    <a:pt x="423" y="1286"/>
                  </a:lnTo>
                  <a:lnTo>
                    <a:pt x="398" y="1274"/>
                  </a:lnTo>
                  <a:lnTo>
                    <a:pt x="375" y="1261"/>
                  </a:lnTo>
                  <a:lnTo>
                    <a:pt x="351" y="1247"/>
                  </a:lnTo>
                  <a:lnTo>
                    <a:pt x="328" y="1232"/>
                  </a:lnTo>
                  <a:lnTo>
                    <a:pt x="306" y="1216"/>
                  </a:lnTo>
                  <a:lnTo>
                    <a:pt x="285" y="1199"/>
                  </a:lnTo>
                  <a:lnTo>
                    <a:pt x="285" y="1199"/>
                  </a:lnTo>
                  <a:lnTo>
                    <a:pt x="304" y="1184"/>
                  </a:lnTo>
                  <a:lnTo>
                    <a:pt x="321" y="1168"/>
                  </a:lnTo>
                  <a:lnTo>
                    <a:pt x="329" y="1161"/>
                  </a:lnTo>
                  <a:lnTo>
                    <a:pt x="336" y="1152"/>
                  </a:lnTo>
                  <a:lnTo>
                    <a:pt x="342" y="1144"/>
                  </a:lnTo>
                  <a:lnTo>
                    <a:pt x="347" y="1134"/>
                  </a:lnTo>
                  <a:lnTo>
                    <a:pt x="347" y="1134"/>
                  </a:lnTo>
                  <a:lnTo>
                    <a:pt x="357" y="1117"/>
                  </a:lnTo>
                  <a:lnTo>
                    <a:pt x="365" y="1100"/>
                  </a:lnTo>
                  <a:lnTo>
                    <a:pt x="371" y="1083"/>
                  </a:lnTo>
                  <a:lnTo>
                    <a:pt x="378" y="1066"/>
                  </a:lnTo>
                  <a:lnTo>
                    <a:pt x="382" y="1049"/>
                  </a:lnTo>
                  <a:lnTo>
                    <a:pt x="385" y="1031"/>
                  </a:lnTo>
                  <a:lnTo>
                    <a:pt x="388" y="1013"/>
                  </a:lnTo>
                  <a:lnTo>
                    <a:pt x="388" y="996"/>
                  </a:lnTo>
                  <a:lnTo>
                    <a:pt x="388" y="979"/>
                  </a:lnTo>
                  <a:lnTo>
                    <a:pt x="385" y="963"/>
                  </a:lnTo>
                  <a:lnTo>
                    <a:pt x="382" y="946"/>
                  </a:lnTo>
                  <a:lnTo>
                    <a:pt x="378" y="930"/>
                  </a:lnTo>
                  <a:lnTo>
                    <a:pt x="371" y="913"/>
                  </a:lnTo>
                  <a:lnTo>
                    <a:pt x="365" y="897"/>
                  </a:lnTo>
                  <a:lnTo>
                    <a:pt x="357" y="881"/>
                  </a:lnTo>
                  <a:lnTo>
                    <a:pt x="347" y="865"/>
                  </a:lnTo>
                  <a:lnTo>
                    <a:pt x="347" y="865"/>
                  </a:lnTo>
                  <a:lnTo>
                    <a:pt x="335" y="849"/>
                  </a:lnTo>
                  <a:lnTo>
                    <a:pt x="322" y="833"/>
                  </a:lnTo>
                  <a:lnTo>
                    <a:pt x="296" y="801"/>
                  </a:lnTo>
                  <a:lnTo>
                    <a:pt x="296" y="801"/>
                  </a:lnTo>
                  <a:lnTo>
                    <a:pt x="271" y="772"/>
                  </a:lnTo>
                  <a:lnTo>
                    <a:pt x="259" y="758"/>
                  </a:lnTo>
                  <a:lnTo>
                    <a:pt x="250" y="744"/>
                  </a:lnTo>
                  <a:lnTo>
                    <a:pt x="241" y="731"/>
                  </a:lnTo>
                  <a:lnTo>
                    <a:pt x="234" y="719"/>
                  </a:lnTo>
                  <a:lnTo>
                    <a:pt x="229" y="706"/>
                  </a:lnTo>
                  <a:lnTo>
                    <a:pt x="228" y="701"/>
                  </a:lnTo>
                  <a:lnTo>
                    <a:pt x="228" y="695"/>
                  </a:lnTo>
                  <a:lnTo>
                    <a:pt x="228" y="695"/>
                  </a:lnTo>
                  <a:lnTo>
                    <a:pt x="229" y="690"/>
                  </a:lnTo>
                  <a:lnTo>
                    <a:pt x="230" y="686"/>
                  </a:lnTo>
                  <a:lnTo>
                    <a:pt x="234" y="680"/>
                  </a:lnTo>
                  <a:lnTo>
                    <a:pt x="237" y="675"/>
                  </a:lnTo>
                  <a:lnTo>
                    <a:pt x="248" y="665"/>
                  </a:lnTo>
                  <a:lnTo>
                    <a:pt x="260" y="656"/>
                  </a:lnTo>
                  <a:lnTo>
                    <a:pt x="276" y="647"/>
                  </a:lnTo>
                  <a:lnTo>
                    <a:pt x="294" y="638"/>
                  </a:lnTo>
                  <a:lnTo>
                    <a:pt x="332" y="618"/>
                  </a:lnTo>
                  <a:lnTo>
                    <a:pt x="332" y="618"/>
                  </a:lnTo>
                  <a:lnTo>
                    <a:pt x="370" y="600"/>
                  </a:lnTo>
                  <a:lnTo>
                    <a:pt x="390" y="589"/>
                  </a:lnTo>
                  <a:lnTo>
                    <a:pt x="408" y="579"/>
                  </a:lnTo>
                  <a:lnTo>
                    <a:pt x="425" y="567"/>
                  </a:lnTo>
                  <a:lnTo>
                    <a:pt x="441" y="555"/>
                  </a:lnTo>
                  <a:lnTo>
                    <a:pt x="456" y="541"/>
                  </a:lnTo>
                  <a:lnTo>
                    <a:pt x="469" y="526"/>
                  </a:lnTo>
                  <a:lnTo>
                    <a:pt x="469" y="526"/>
                  </a:lnTo>
                  <a:lnTo>
                    <a:pt x="474" y="519"/>
                  </a:lnTo>
                  <a:lnTo>
                    <a:pt x="479" y="510"/>
                  </a:lnTo>
                  <a:lnTo>
                    <a:pt x="484" y="502"/>
                  </a:lnTo>
                  <a:lnTo>
                    <a:pt x="488" y="492"/>
                  </a:lnTo>
                  <a:lnTo>
                    <a:pt x="493" y="474"/>
                  </a:lnTo>
                  <a:lnTo>
                    <a:pt x="496" y="454"/>
                  </a:lnTo>
                  <a:lnTo>
                    <a:pt x="499" y="434"/>
                  </a:lnTo>
                  <a:lnTo>
                    <a:pt x="499" y="412"/>
                  </a:lnTo>
                  <a:lnTo>
                    <a:pt x="496" y="391"/>
                  </a:lnTo>
                  <a:lnTo>
                    <a:pt x="494" y="371"/>
                  </a:lnTo>
                  <a:lnTo>
                    <a:pt x="490" y="349"/>
                  </a:lnTo>
                  <a:lnTo>
                    <a:pt x="485" y="330"/>
                  </a:lnTo>
                  <a:lnTo>
                    <a:pt x="479" y="311"/>
                  </a:lnTo>
                  <a:lnTo>
                    <a:pt x="474" y="294"/>
                  </a:lnTo>
                  <a:lnTo>
                    <a:pt x="468" y="278"/>
                  </a:lnTo>
                  <a:lnTo>
                    <a:pt x="461" y="264"/>
                  </a:lnTo>
                  <a:lnTo>
                    <a:pt x="456" y="252"/>
                  </a:lnTo>
                  <a:lnTo>
                    <a:pt x="451" y="242"/>
                  </a:lnTo>
                  <a:lnTo>
                    <a:pt x="451" y="242"/>
                  </a:lnTo>
                  <a:lnTo>
                    <a:pt x="440" y="226"/>
                  </a:lnTo>
                  <a:lnTo>
                    <a:pt x="428" y="211"/>
                  </a:lnTo>
                  <a:lnTo>
                    <a:pt x="416" y="199"/>
                  </a:lnTo>
                  <a:lnTo>
                    <a:pt x="404" y="186"/>
                  </a:lnTo>
                  <a:lnTo>
                    <a:pt x="390" y="175"/>
                  </a:lnTo>
                  <a:lnTo>
                    <a:pt x="377" y="164"/>
                  </a:lnTo>
                  <a:lnTo>
                    <a:pt x="349" y="145"/>
                  </a:lnTo>
                  <a:lnTo>
                    <a:pt x="349" y="145"/>
                  </a:lnTo>
                  <a:lnTo>
                    <a:pt x="380" y="128"/>
                  </a:lnTo>
                  <a:lnTo>
                    <a:pt x="410" y="112"/>
                  </a:lnTo>
                  <a:lnTo>
                    <a:pt x="442" y="97"/>
                  </a:lnTo>
                  <a:lnTo>
                    <a:pt x="475" y="85"/>
                  </a:lnTo>
                  <a:lnTo>
                    <a:pt x="508" y="74"/>
                  </a:lnTo>
                  <a:lnTo>
                    <a:pt x="542" y="65"/>
                  </a:lnTo>
                  <a:lnTo>
                    <a:pt x="577" y="58"/>
                  </a:lnTo>
                  <a:lnTo>
                    <a:pt x="612" y="51"/>
                  </a:lnTo>
                  <a:lnTo>
                    <a:pt x="612" y="51"/>
                  </a:lnTo>
                  <a:lnTo>
                    <a:pt x="611" y="60"/>
                  </a:lnTo>
                  <a:lnTo>
                    <a:pt x="610" y="68"/>
                  </a:lnTo>
                  <a:lnTo>
                    <a:pt x="610" y="85"/>
                  </a:lnTo>
                  <a:lnTo>
                    <a:pt x="610" y="85"/>
                  </a:lnTo>
                  <a:lnTo>
                    <a:pt x="611" y="93"/>
                  </a:lnTo>
                  <a:lnTo>
                    <a:pt x="612" y="101"/>
                  </a:lnTo>
                  <a:lnTo>
                    <a:pt x="614" y="109"/>
                  </a:lnTo>
                  <a:lnTo>
                    <a:pt x="617" y="116"/>
                  </a:lnTo>
                  <a:lnTo>
                    <a:pt x="621" y="124"/>
                  </a:lnTo>
                  <a:lnTo>
                    <a:pt x="626" y="130"/>
                  </a:lnTo>
                  <a:lnTo>
                    <a:pt x="637" y="144"/>
                  </a:lnTo>
                  <a:lnTo>
                    <a:pt x="651" y="157"/>
                  </a:lnTo>
                  <a:lnTo>
                    <a:pt x="665" y="169"/>
                  </a:lnTo>
                  <a:lnTo>
                    <a:pt x="697" y="192"/>
                  </a:lnTo>
                  <a:lnTo>
                    <a:pt x="697" y="192"/>
                  </a:lnTo>
                  <a:lnTo>
                    <a:pt x="718" y="206"/>
                  </a:lnTo>
                  <a:lnTo>
                    <a:pt x="736" y="221"/>
                  </a:lnTo>
                  <a:lnTo>
                    <a:pt x="752" y="236"/>
                  </a:lnTo>
                  <a:lnTo>
                    <a:pt x="759" y="243"/>
                  </a:lnTo>
                  <a:lnTo>
                    <a:pt x="765" y="251"/>
                  </a:lnTo>
                  <a:lnTo>
                    <a:pt x="765" y="251"/>
                  </a:lnTo>
                  <a:lnTo>
                    <a:pt x="775" y="268"/>
                  </a:lnTo>
                  <a:lnTo>
                    <a:pt x="784" y="285"/>
                  </a:lnTo>
                  <a:lnTo>
                    <a:pt x="791" y="301"/>
                  </a:lnTo>
                  <a:lnTo>
                    <a:pt x="798" y="318"/>
                  </a:lnTo>
                  <a:lnTo>
                    <a:pt x="798" y="318"/>
                  </a:lnTo>
                  <a:lnTo>
                    <a:pt x="805" y="335"/>
                  </a:lnTo>
                  <a:lnTo>
                    <a:pt x="813" y="352"/>
                  </a:lnTo>
                  <a:lnTo>
                    <a:pt x="821" y="368"/>
                  </a:lnTo>
                  <a:lnTo>
                    <a:pt x="832" y="383"/>
                  </a:lnTo>
                  <a:lnTo>
                    <a:pt x="838" y="391"/>
                  </a:lnTo>
                  <a:lnTo>
                    <a:pt x="846" y="397"/>
                  </a:lnTo>
                  <a:lnTo>
                    <a:pt x="853" y="404"/>
                  </a:lnTo>
                  <a:lnTo>
                    <a:pt x="862" y="410"/>
                  </a:lnTo>
                  <a:lnTo>
                    <a:pt x="870" y="415"/>
                  </a:lnTo>
                  <a:lnTo>
                    <a:pt x="881" y="420"/>
                  </a:lnTo>
                  <a:lnTo>
                    <a:pt x="892" y="425"/>
                  </a:lnTo>
                  <a:lnTo>
                    <a:pt x="903" y="428"/>
                  </a:lnTo>
                  <a:lnTo>
                    <a:pt x="903" y="428"/>
                  </a:lnTo>
                  <a:lnTo>
                    <a:pt x="917" y="431"/>
                  </a:lnTo>
                  <a:lnTo>
                    <a:pt x="925" y="432"/>
                  </a:lnTo>
                  <a:lnTo>
                    <a:pt x="932" y="432"/>
                  </a:lnTo>
                  <a:lnTo>
                    <a:pt x="932" y="432"/>
                  </a:lnTo>
                  <a:lnTo>
                    <a:pt x="944" y="432"/>
                  </a:lnTo>
                  <a:lnTo>
                    <a:pt x="955" y="431"/>
                  </a:lnTo>
                  <a:lnTo>
                    <a:pt x="966" y="429"/>
                  </a:lnTo>
                  <a:lnTo>
                    <a:pt x="978" y="426"/>
                  </a:lnTo>
                  <a:lnTo>
                    <a:pt x="1003" y="419"/>
                  </a:lnTo>
                  <a:lnTo>
                    <a:pt x="1028" y="409"/>
                  </a:lnTo>
                  <a:lnTo>
                    <a:pt x="1055" y="397"/>
                  </a:lnTo>
                  <a:lnTo>
                    <a:pt x="1082" y="384"/>
                  </a:lnTo>
                  <a:lnTo>
                    <a:pt x="1139" y="355"/>
                  </a:lnTo>
                  <a:lnTo>
                    <a:pt x="1139" y="355"/>
                  </a:lnTo>
                  <a:lnTo>
                    <a:pt x="1178" y="334"/>
                  </a:lnTo>
                  <a:lnTo>
                    <a:pt x="1220" y="314"/>
                  </a:lnTo>
                  <a:lnTo>
                    <a:pt x="1220" y="314"/>
                  </a:lnTo>
                  <a:lnTo>
                    <a:pt x="1235" y="333"/>
                  </a:lnTo>
                  <a:lnTo>
                    <a:pt x="1247" y="353"/>
                  </a:lnTo>
                  <a:lnTo>
                    <a:pt x="1260" y="375"/>
                  </a:lnTo>
                  <a:lnTo>
                    <a:pt x="1273" y="397"/>
                  </a:lnTo>
                  <a:lnTo>
                    <a:pt x="1284" y="419"/>
                  </a:lnTo>
                  <a:lnTo>
                    <a:pt x="1294" y="442"/>
                  </a:lnTo>
                  <a:lnTo>
                    <a:pt x="1304" y="466"/>
                  </a:lnTo>
                  <a:lnTo>
                    <a:pt x="1313" y="489"/>
                  </a:lnTo>
                  <a:lnTo>
                    <a:pt x="1320" y="514"/>
                  </a:lnTo>
                  <a:lnTo>
                    <a:pt x="1326" y="538"/>
                  </a:lnTo>
                  <a:lnTo>
                    <a:pt x="1332" y="564"/>
                  </a:lnTo>
                  <a:lnTo>
                    <a:pt x="1337" y="589"/>
                  </a:lnTo>
                  <a:lnTo>
                    <a:pt x="1340" y="615"/>
                  </a:lnTo>
                  <a:lnTo>
                    <a:pt x="1343" y="642"/>
                  </a:lnTo>
                  <a:lnTo>
                    <a:pt x="1345" y="668"/>
                  </a:lnTo>
                  <a:lnTo>
                    <a:pt x="1346" y="695"/>
                  </a:lnTo>
                  <a:lnTo>
                    <a:pt x="1346" y="695"/>
                  </a:lnTo>
                  <a:lnTo>
                    <a:pt x="1345" y="728"/>
                  </a:lnTo>
                  <a:lnTo>
                    <a:pt x="1342" y="761"/>
                  </a:lnTo>
                  <a:lnTo>
                    <a:pt x="1338" y="795"/>
                  </a:lnTo>
                  <a:lnTo>
                    <a:pt x="1332" y="827"/>
                  </a:lnTo>
                  <a:lnTo>
                    <a:pt x="1325" y="858"/>
                  </a:lnTo>
                  <a:lnTo>
                    <a:pt x="1316" y="888"/>
                  </a:lnTo>
                  <a:lnTo>
                    <a:pt x="1306" y="918"/>
                  </a:lnTo>
                  <a:lnTo>
                    <a:pt x="1294" y="948"/>
                  </a:lnTo>
                  <a:lnTo>
                    <a:pt x="1282" y="977"/>
                  </a:lnTo>
                  <a:lnTo>
                    <a:pt x="1267" y="1005"/>
                  </a:lnTo>
                  <a:lnTo>
                    <a:pt x="1252" y="1033"/>
                  </a:lnTo>
                  <a:lnTo>
                    <a:pt x="1235" y="1058"/>
                  </a:lnTo>
                  <a:lnTo>
                    <a:pt x="1216" y="1084"/>
                  </a:lnTo>
                  <a:lnTo>
                    <a:pt x="1197" y="1108"/>
                  </a:lnTo>
                  <a:lnTo>
                    <a:pt x="1177" y="1132"/>
                  </a:lnTo>
                  <a:lnTo>
                    <a:pt x="1154" y="1154"/>
                  </a:lnTo>
                  <a:lnTo>
                    <a:pt x="1132" y="1177"/>
                  </a:lnTo>
                  <a:lnTo>
                    <a:pt x="1109" y="1197"/>
                  </a:lnTo>
                  <a:lnTo>
                    <a:pt x="1084" y="1216"/>
                  </a:lnTo>
                  <a:lnTo>
                    <a:pt x="1058" y="1234"/>
                  </a:lnTo>
                  <a:lnTo>
                    <a:pt x="1033" y="1252"/>
                  </a:lnTo>
                  <a:lnTo>
                    <a:pt x="1005" y="1267"/>
                  </a:lnTo>
                  <a:lnTo>
                    <a:pt x="977" y="1281"/>
                  </a:lnTo>
                  <a:lnTo>
                    <a:pt x="948" y="1294"/>
                  </a:lnTo>
                  <a:lnTo>
                    <a:pt x="918" y="1306"/>
                  </a:lnTo>
                  <a:lnTo>
                    <a:pt x="888" y="1316"/>
                  </a:lnTo>
                  <a:lnTo>
                    <a:pt x="857" y="1325"/>
                  </a:lnTo>
                  <a:lnTo>
                    <a:pt x="827" y="1332"/>
                  </a:lnTo>
                  <a:lnTo>
                    <a:pt x="794" y="1338"/>
                  </a:lnTo>
                  <a:lnTo>
                    <a:pt x="761" y="1342"/>
                  </a:lnTo>
                  <a:lnTo>
                    <a:pt x="728" y="1344"/>
                  </a:lnTo>
                  <a:lnTo>
                    <a:pt x="695" y="1346"/>
                  </a:lnTo>
                  <a:lnTo>
                    <a:pt x="695" y="134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 name="Freeform 59">
              <a:extLst>
                <a:ext uri="{FF2B5EF4-FFF2-40B4-BE49-F238E27FC236}">
                  <a16:creationId xmlns:a16="http://schemas.microsoft.com/office/drawing/2014/main" id="{77A6C8DD-03FA-49FA-806C-0D2EDE92D930}"/>
                </a:ext>
              </a:extLst>
            </p:cNvPr>
            <p:cNvSpPr>
              <a:spLocks/>
            </p:cNvSpPr>
            <p:nvPr/>
          </p:nvSpPr>
          <p:spPr bwMode="auto">
            <a:xfrm>
              <a:off x="9953625" y="431800"/>
              <a:ext cx="187325" cy="244475"/>
            </a:xfrm>
            <a:custGeom>
              <a:avLst/>
              <a:gdLst>
                <a:gd name="T0" fmla="*/ 238 w 474"/>
                <a:gd name="T1" fmla="*/ 0 h 617"/>
                <a:gd name="T2" fmla="*/ 209 w 474"/>
                <a:gd name="T3" fmla="*/ 2 h 617"/>
                <a:gd name="T4" fmla="*/ 180 w 474"/>
                <a:gd name="T5" fmla="*/ 6 h 617"/>
                <a:gd name="T6" fmla="*/ 151 w 474"/>
                <a:gd name="T7" fmla="*/ 14 h 617"/>
                <a:gd name="T8" fmla="*/ 125 w 474"/>
                <a:gd name="T9" fmla="*/ 23 h 617"/>
                <a:gd name="T10" fmla="*/ 99 w 474"/>
                <a:gd name="T11" fmla="*/ 36 h 617"/>
                <a:gd name="T12" fmla="*/ 75 w 474"/>
                <a:gd name="T13" fmla="*/ 51 h 617"/>
                <a:gd name="T14" fmla="*/ 55 w 474"/>
                <a:gd name="T15" fmla="*/ 68 h 617"/>
                <a:gd name="T16" fmla="*/ 36 w 474"/>
                <a:gd name="T17" fmla="*/ 87 h 617"/>
                <a:gd name="T18" fmla="*/ 25 w 474"/>
                <a:gd name="T19" fmla="*/ 102 h 617"/>
                <a:gd name="T20" fmla="*/ 9 w 474"/>
                <a:gd name="T21" fmla="*/ 131 h 617"/>
                <a:gd name="T22" fmla="*/ 1 w 474"/>
                <a:gd name="T23" fmla="*/ 161 h 617"/>
                <a:gd name="T24" fmla="*/ 1 w 474"/>
                <a:gd name="T25" fmla="*/ 193 h 617"/>
                <a:gd name="T26" fmla="*/ 3 w 474"/>
                <a:gd name="T27" fmla="*/ 208 h 617"/>
                <a:gd name="T28" fmla="*/ 15 w 474"/>
                <a:gd name="T29" fmla="*/ 287 h 617"/>
                <a:gd name="T30" fmla="*/ 20 w 474"/>
                <a:gd name="T31" fmla="*/ 351 h 617"/>
                <a:gd name="T32" fmla="*/ 20 w 474"/>
                <a:gd name="T33" fmla="*/ 403 h 617"/>
                <a:gd name="T34" fmla="*/ 19 w 474"/>
                <a:gd name="T35" fmla="*/ 446 h 617"/>
                <a:gd name="T36" fmla="*/ 17 w 474"/>
                <a:gd name="T37" fmla="*/ 490 h 617"/>
                <a:gd name="T38" fmla="*/ 19 w 474"/>
                <a:gd name="T39" fmla="*/ 518 h 617"/>
                <a:gd name="T40" fmla="*/ 24 w 474"/>
                <a:gd name="T41" fmla="*/ 536 h 617"/>
                <a:gd name="T42" fmla="*/ 32 w 474"/>
                <a:gd name="T43" fmla="*/ 553 h 617"/>
                <a:gd name="T44" fmla="*/ 44 w 474"/>
                <a:gd name="T45" fmla="*/ 570 h 617"/>
                <a:gd name="T46" fmla="*/ 62 w 474"/>
                <a:gd name="T47" fmla="*/ 588 h 617"/>
                <a:gd name="T48" fmla="*/ 72 w 474"/>
                <a:gd name="T49" fmla="*/ 597 h 617"/>
                <a:gd name="T50" fmla="*/ 86 w 474"/>
                <a:gd name="T51" fmla="*/ 605 h 617"/>
                <a:gd name="T52" fmla="*/ 101 w 474"/>
                <a:gd name="T53" fmla="*/ 612 h 617"/>
                <a:gd name="T54" fmla="*/ 116 w 474"/>
                <a:gd name="T55" fmla="*/ 615 h 617"/>
                <a:gd name="T56" fmla="*/ 133 w 474"/>
                <a:gd name="T57" fmla="*/ 617 h 617"/>
                <a:gd name="T58" fmla="*/ 144 w 474"/>
                <a:gd name="T59" fmla="*/ 616 h 617"/>
                <a:gd name="T60" fmla="*/ 166 w 474"/>
                <a:gd name="T61" fmla="*/ 613 h 617"/>
                <a:gd name="T62" fmla="*/ 189 w 474"/>
                <a:gd name="T63" fmla="*/ 605 h 617"/>
                <a:gd name="T64" fmla="*/ 213 w 474"/>
                <a:gd name="T65" fmla="*/ 595 h 617"/>
                <a:gd name="T66" fmla="*/ 250 w 474"/>
                <a:gd name="T67" fmla="*/ 573 h 617"/>
                <a:gd name="T68" fmla="*/ 301 w 474"/>
                <a:gd name="T69" fmla="*/ 534 h 617"/>
                <a:gd name="T70" fmla="*/ 325 w 474"/>
                <a:gd name="T71" fmla="*/ 509 h 617"/>
                <a:gd name="T72" fmla="*/ 359 w 474"/>
                <a:gd name="T73" fmla="*/ 473 h 617"/>
                <a:gd name="T74" fmla="*/ 388 w 474"/>
                <a:gd name="T75" fmla="*/ 435 h 617"/>
                <a:gd name="T76" fmla="*/ 414 w 474"/>
                <a:gd name="T77" fmla="*/ 396 h 617"/>
                <a:gd name="T78" fmla="*/ 435 w 474"/>
                <a:gd name="T79" fmla="*/ 356 h 617"/>
                <a:gd name="T80" fmla="*/ 453 w 474"/>
                <a:gd name="T81" fmla="*/ 317 h 617"/>
                <a:gd name="T82" fmla="*/ 464 w 474"/>
                <a:gd name="T83" fmla="*/ 278 h 617"/>
                <a:gd name="T84" fmla="*/ 472 w 474"/>
                <a:gd name="T85" fmla="*/ 241 h 617"/>
                <a:gd name="T86" fmla="*/ 474 w 474"/>
                <a:gd name="T87" fmla="*/ 206 h 617"/>
                <a:gd name="T88" fmla="*/ 473 w 474"/>
                <a:gd name="T89" fmla="*/ 185 h 617"/>
                <a:gd name="T90" fmla="*/ 463 w 474"/>
                <a:gd name="T91" fmla="*/ 145 h 617"/>
                <a:gd name="T92" fmla="*/ 445 w 474"/>
                <a:gd name="T93" fmla="*/ 107 h 617"/>
                <a:gd name="T94" fmla="*/ 419 w 474"/>
                <a:gd name="T95" fmla="*/ 74 h 617"/>
                <a:gd name="T96" fmla="*/ 387 w 474"/>
                <a:gd name="T97" fmla="*/ 47 h 617"/>
                <a:gd name="T98" fmla="*/ 350 w 474"/>
                <a:gd name="T99" fmla="*/ 24 h 617"/>
                <a:gd name="T100" fmla="*/ 307 w 474"/>
                <a:gd name="T101" fmla="*/ 9 h 617"/>
                <a:gd name="T102" fmla="*/ 262 w 474"/>
                <a:gd name="T103" fmla="*/ 1 h 617"/>
                <a:gd name="T104" fmla="*/ 238 w 474"/>
                <a:gd name="T105"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74" h="617">
                  <a:moveTo>
                    <a:pt x="238" y="0"/>
                  </a:moveTo>
                  <a:lnTo>
                    <a:pt x="238" y="0"/>
                  </a:lnTo>
                  <a:lnTo>
                    <a:pt x="224" y="1"/>
                  </a:lnTo>
                  <a:lnTo>
                    <a:pt x="209" y="2"/>
                  </a:lnTo>
                  <a:lnTo>
                    <a:pt x="194" y="3"/>
                  </a:lnTo>
                  <a:lnTo>
                    <a:pt x="180" y="6"/>
                  </a:lnTo>
                  <a:lnTo>
                    <a:pt x="166" y="9"/>
                  </a:lnTo>
                  <a:lnTo>
                    <a:pt x="151" y="14"/>
                  </a:lnTo>
                  <a:lnTo>
                    <a:pt x="138" y="18"/>
                  </a:lnTo>
                  <a:lnTo>
                    <a:pt x="125" y="23"/>
                  </a:lnTo>
                  <a:lnTo>
                    <a:pt x="112" y="30"/>
                  </a:lnTo>
                  <a:lnTo>
                    <a:pt x="99" y="36"/>
                  </a:lnTo>
                  <a:lnTo>
                    <a:pt x="87" y="43"/>
                  </a:lnTo>
                  <a:lnTo>
                    <a:pt x="75" y="51"/>
                  </a:lnTo>
                  <a:lnTo>
                    <a:pt x="65" y="59"/>
                  </a:lnTo>
                  <a:lnTo>
                    <a:pt x="55" y="68"/>
                  </a:lnTo>
                  <a:lnTo>
                    <a:pt x="46" y="78"/>
                  </a:lnTo>
                  <a:lnTo>
                    <a:pt x="36" y="87"/>
                  </a:lnTo>
                  <a:lnTo>
                    <a:pt x="36" y="87"/>
                  </a:lnTo>
                  <a:lnTo>
                    <a:pt x="25" y="102"/>
                  </a:lnTo>
                  <a:lnTo>
                    <a:pt x="17" y="116"/>
                  </a:lnTo>
                  <a:lnTo>
                    <a:pt x="9" y="131"/>
                  </a:lnTo>
                  <a:lnTo>
                    <a:pt x="5" y="146"/>
                  </a:lnTo>
                  <a:lnTo>
                    <a:pt x="1" y="161"/>
                  </a:lnTo>
                  <a:lnTo>
                    <a:pt x="0" y="177"/>
                  </a:lnTo>
                  <a:lnTo>
                    <a:pt x="1" y="193"/>
                  </a:lnTo>
                  <a:lnTo>
                    <a:pt x="3" y="208"/>
                  </a:lnTo>
                  <a:lnTo>
                    <a:pt x="3" y="208"/>
                  </a:lnTo>
                  <a:lnTo>
                    <a:pt x="10" y="250"/>
                  </a:lnTo>
                  <a:lnTo>
                    <a:pt x="15" y="287"/>
                  </a:lnTo>
                  <a:lnTo>
                    <a:pt x="18" y="320"/>
                  </a:lnTo>
                  <a:lnTo>
                    <a:pt x="20" y="351"/>
                  </a:lnTo>
                  <a:lnTo>
                    <a:pt x="20" y="379"/>
                  </a:lnTo>
                  <a:lnTo>
                    <a:pt x="20" y="403"/>
                  </a:lnTo>
                  <a:lnTo>
                    <a:pt x="19" y="446"/>
                  </a:lnTo>
                  <a:lnTo>
                    <a:pt x="19" y="446"/>
                  </a:lnTo>
                  <a:lnTo>
                    <a:pt x="17" y="468"/>
                  </a:lnTo>
                  <a:lnTo>
                    <a:pt x="17" y="490"/>
                  </a:lnTo>
                  <a:lnTo>
                    <a:pt x="18" y="509"/>
                  </a:lnTo>
                  <a:lnTo>
                    <a:pt x="19" y="518"/>
                  </a:lnTo>
                  <a:lnTo>
                    <a:pt x="21" y="527"/>
                  </a:lnTo>
                  <a:lnTo>
                    <a:pt x="24" y="536"/>
                  </a:lnTo>
                  <a:lnTo>
                    <a:pt x="27" y="544"/>
                  </a:lnTo>
                  <a:lnTo>
                    <a:pt x="32" y="553"/>
                  </a:lnTo>
                  <a:lnTo>
                    <a:pt x="38" y="561"/>
                  </a:lnTo>
                  <a:lnTo>
                    <a:pt x="44" y="570"/>
                  </a:lnTo>
                  <a:lnTo>
                    <a:pt x="52" y="578"/>
                  </a:lnTo>
                  <a:lnTo>
                    <a:pt x="62" y="588"/>
                  </a:lnTo>
                  <a:lnTo>
                    <a:pt x="72" y="597"/>
                  </a:lnTo>
                  <a:lnTo>
                    <a:pt x="72" y="597"/>
                  </a:lnTo>
                  <a:lnTo>
                    <a:pt x="79" y="601"/>
                  </a:lnTo>
                  <a:lnTo>
                    <a:pt x="86" y="605"/>
                  </a:lnTo>
                  <a:lnTo>
                    <a:pt x="94" y="608"/>
                  </a:lnTo>
                  <a:lnTo>
                    <a:pt x="101" y="612"/>
                  </a:lnTo>
                  <a:lnTo>
                    <a:pt x="109" y="614"/>
                  </a:lnTo>
                  <a:lnTo>
                    <a:pt x="116" y="615"/>
                  </a:lnTo>
                  <a:lnTo>
                    <a:pt x="125" y="616"/>
                  </a:lnTo>
                  <a:lnTo>
                    <a:pt x="133" y="617"/>
                  </a:lnTo>
                  <a:lnTo>
                    <a:pt x="133" y="617"/>
                  </a:lnTo>
                  <a:lnTo>
                    <a:pt x="144" y="616"/>
                  </a:lnTo>
                  <a:lnTo>
                    <a:pt x="155" y="615"/>
                  </a:lnTo>
                  <a:lnTo>
                    <a:pt x="166" y="613"/>
                  </a:lnTo>
                  <a:lnTo>
                    <a:pt x="177" y="609"/>
                  </a:lnTo>
                  <a:lnTo>
                    <a:pt x="189" y="605"/>
                  </a:lnTo>
                  <a:lnTo>
                    <a:pt x="200" y="601"/>
                  </a:lnTo>
                  <a:lnTo>
                    <a:pt x="213" y="595"/>
                  </a:lnTo>
                  <a:lnTo>
                    <a:pt x="225" y="589"/>
                  </a:lnTo>
                  <a:lnTo>
                    <a:pt x="250" y="573"/>
                  </a:lnTo>
                  <a:lnTo>
                    <a:pt x="275" y="555"/>
                  </a:lnTo>
                  <a:lnTo>
                    <a:pt x="301" y="534"/>
                  </a:lnTo>
                  <a:lnTo>
                    <a:pt x="325" y="509"/>
                  </a:lnTo>
                  <a:lnTo>
                    <a:pt x="325" y="509"/>
                  </a:lnTo>
                  <a:lnTo>
                    <a:pt x="343" y="491"/>
                  </a:lnTo>
                  <a:lnTo>
                    <a:pt x="359" y="473"/>
                  </a:lnTo>
                  <a:lnTo>
                    <a:pt x="373" y="455"/>
                  </a:lnTo>
                  <a:lnTo>
                    <a:pt x="388" y="435"/>
                  </a:lnTo>
                  <a:lnTo>
                    <a:pt x="401" y="416"/>
                  </a:lnTo>
                  <a:lnTo>
                    <a:pt x="414" y="396"/>
                  </a:lnTo>
                  <a:lnTo>
                    <a:pt x="425" y="377"/>
                  </a:lnTo>
                  <a:lnTo>
                    <a:pt x="435" y="356"/>
                  </a:lnTo>
                  <a:lnTo>
                    <a:pt x="444" y="337"/>
                  </a:lnTo>
                  <a:lnTo>
                    <a:pt x="453" y="317"/>
                  </a:lnTo>
                  <a:lnTo>
                    <a:pt x="459" y="298"/>
                  </a:lnTo>
                  <a:lnTo>
                    <a:pt x="464" y="278"/>
                  </a:lnTo>
                  <a:lnTo>
                    <a:pt x="469" y="259"/>
                  </a:lnTo>
                  <a:lnTo>
                    <a:pt x="472" y="241"/>
                  </a:lnTo>
                  <a:lnTo>
                    <a:pt x="474" y="223"/>
                  </a:lnTo>
                  <a:lnTo>
                    <a:pt x="474" y="206"/>
                  </a:lnTo>
                  <a:lnTo>
                    <a:pt x="474" y="206"/>
                  </a:lnTo>
                  <a:lnTo>
                    <a:pt x="473" y="185"/>
                  </a:lnTo>
                  <a:lnTo>
                    <a:pt x="469" y="164"/>
                  </a:lnTo>
                  <a:lnTo>
                    <a:pt x="463" y="145"/>
                  </a:lnTo>
                  <a:lnTo>
                    <a:pt x="455" y="126"/>
                  </a:lnTo>
                  <a:lnTo>
                    <a:pt x="445" y="107"/>
                  </a:lnTo>
                  <a:lnTo>
                    <a:pt x="433" y="90"/>
                  </a:lnTo>
                  <a:lnTo>
                    <a:pt x="419" y="74"/>
                  </a:lnTo>
                  <a:lnTo>
                    <a:pt x="404" y="60"/>
                  </a:lnTo>
                  <a:lnTo>
                    <a:pt x="387" y="47"/>
                  </a:lnTo>
                  <a:lnTo>
                    <a:pt x="369" y="35"/>
                  </a:lnTo>
                  <a:lnTo>
                    <a:pt x="350" y="24"/>
                  </a:lnTo>
                  <a:lnTo>
                    <a:pt x="329" y="16"/>
                  </a:lnTo>
                  <a:lnTo>
                    <a:pt x="307" y="9"/>
                  </a:lnTo>
                  <a:lnTo>
                    <a:pt x="285" y="4"/>
                  </a:lnTo>
                  <a:lnTo>
                    <a:pt x="262" y="1"/>
                  </a:lnTo>
                  <a:lnTo>
                    <a:pt x="238" y="0"/>
                  </a:lnTo>
                  <a:lnTo>
                    <a:pt x="23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22" name="Group 21">
            <a:extLst>
              <a:ext uri="{FF2B5EF4-FFF2-40B4-BE49-F238E27FC236}">
                <a16:creationId xmlns:a16="http://schemas.microsoft.com/office/drawing/2014/main" id="{9734615D-D6C0-4741-8AA3-AA5840B9423E}"/>
              </a:ext>
            </a:extLst>
          </p:cNvPr>
          <p:cNvGrpSpPr>
            <a:grpSpLocks noChangeAspect="1"/>
          </p:cNvGrpSpPr>
          <p:nvPr/>
        </p:nvGrpSpPr>
        <p:grpSpPr>
          <a:xfrm>
            <a:off x="9613051" y="1851858"/>
            <a:ext cx="348926" cy="399429"/>
            <a:chOff x="187325" y="3609975"/>
            <a:chExt cx="482600" cy="552451"/>
          </a:xfrm>
          <a:solidFill>
            <a:schemeClr val="tx2"/>
          </a:solidFill>
        </p:grpSpPr>
        <p:sp>
          <p:nvSpPr>
            <p:cNvPr id="23" name="Freeform 61">
              <a:extLst>
                <a:ext uri="{FF2B5EF4-FFF2-40B4-BE49-F238E27FC236}">
                  <a16:creationId xmlns:a16="http://schemas.microsoft.com/office/drawing/2014/main" id="{54316097-00EC-4146-994E-967E9A75852C}"/>
                </a:ext>
              </a:extLst>
            </p:cNvPr>
            <p:cNvSpPr>
              <a:spLocks/>
            </p:cNvSpPr>
            <p:nvPr/>
          </p:nvSpPr>
          <p:spPr bwMode="auto">
            <a:xfrm>
              <a:off x="473075" y="3609975"/>
              <a:ext cx="196850" cy="325438"/>
            </a:xfrm>
            <a:custGeom>
              <a:avLst/>
              <a:gdLst>
                <a:gd name="T0" fmla="*/ 274 w 492"/>
                <a:gd name="T1" fmla="*/ 1 h 822"/>
                <a:gd name="T2" fmla="*/ 246 w 492"/>
                <a:gd name="T3" fmla="*/ 1 h 822"/>
                <a:gd name="T4" fmla="*/ 219 w 492"/>
                <a:gd name="T5" fmla="*/ 3 h 822"/>
                <a:gd name="T6" fmla="*/ 195 w 492"/>
                <a:gd name="T7" fmla="*/ 8 h 822"/>
                <a:gd name="T8" fmla="*/ 170 w 492"/>
                <a:gd name="T9" fmla="*/ 17 h 822"/>
                <a:gd name="T10" fmla="*/ 148 w 492"/>
                <a:gd name="T11" fmla="*/ 29 h 822"/>
                <a:gd name="T12" fmla="*/ 126 w 492"/>
                <a:gd name="T13" fmla="*/ 43 h 822"/>
                <a:gd name="T14" fmla="*/ 106 w 492"/>
                <a:gd name="T15" fmla="*/ 60 h 822"/>
                <a:gd name="T16" fmla="*/ 88 w 492"/>
                <a:gd name="T17" fmla="*/ 79 h 822"/>
                <a:gd name="T18" fmla="*/ 71 w 492"/>
                <a:gd name="T19" fmla="*/ 101 h 822"/>
                <a:gd name="T20" fmla="*/ 55 w 492"/>
                <a:gd name="T21" fmla="*/ 126 h 822"/>
                <a:gd name="T22" fmla="*/ 41 w 492"/>
                <a:gd name="T23" fmla="*/ 153 h 822"/>
                <a:gd name="T24" fmla="*/ 19 w 492"/>
                <a:gd name="T25" fmla="*/ 213 h 822"/>
                <a:gd name="T26" fmla="*/ 4 w 492"/>
                <a:gd name="T27" fmla="*/ 280 h 822"/>
                <a:gd name="T28" fmla="*/ 1 w 492"/>
                <a:gd name="T29" fmla="*/ 318 h 822"/>
                <a:gd name="T30" fmla="*/ 0 w 492"/>
                <a:gd name="T31" fmla="*/ 375 h 822"/>
                <a:gd name="T32" fmla="*/ 6 w 492"/>
                <a:gd name="T33" fmla="*/ 435 h 822"/>
                <a:gd name="T34" fmla="*/ 16 w 492"/>
                <a:gd name="T35" fmla="*/ 495 h 822"/>
                <a:gd name="T36" fmla="*/ 29 w 492"/>
                <a:gd name="T37" fmla="*/ 555 h 822"/>
                <a:gd name="T38" fmla="*/ 45 w 492"/>
                <a:gd name="T39" fmla="*/ 641 h 822"/>
                <a:gd name="T40" fmla="*/ 53 w 492"/>
                <a:gd name="T41" fmla="*/ 695 h 822"/>
                <a:gd name="T42" fmla="*/ 56 w 492"/>
                <a:gd name="T43" fmla="*/ 748 h 822"/>
                <a:gd name="T44" fmla="*/ 55 w 492"/>
                <a:gd name="T45" fmla="*/ 772 h 822"/>
                <a:gd name="T46" fmla="*/ 56 w 492"/>
                <a:gd name="T47" fmla="*/ 781 h 822"/>
                <a:gd name="T48" fmla="*/ 60 w 492"/>
                <a:gd name="T49" fmla="*/ 788 h 822"/>
                <a:gd name="T50" fmla="*/ 67 w 492"/>
                <a:gd name="T51" fmla="*/ 795 h 822"/>
                <a:gd name="T52" fmla="*/ 76 w 492"/>
                <a:gd name="T53" fmla="*/ 797 h 822"/>
                <a:gd name="T54" fmla="*/ 389 w 492"/>
                <a:gd name="T55" fmla="*/ 822 h 822"/>
                <a:gd name="T56" fmla="*/ 390 w 492"/>
                <a:gd name="T57" fmla="*/ 822 h 822"/>
                <a:gd name="T58" fmla="*/ 404 w 492"/>
                <a:gd name="T59" fmla="*/ 817 h 822"/>
                <a:gd name="T60" fmla="*/ 412 w 492"/>
                <a:gd name="T61" fmla="*/ 807 h 822"/>
                <a:gd name="T62" fmla="*/ 423 w 492"/>
                <a:gd name="T63" fmla="*/ 770 h 822"/>
                <a:gd name="T64" fmla="*/ 445 w 492"/>
                <a:gd name="T65" fmla="*/ 683 h 822"/>
                <a:gd name="T66" fmla="*/ 471 w 492"/>
                <a:gd name="T67" fmla="*/ 556 h 822"/>
                <a:gd name="T68" fmla="*/ 481 w 492"/>
                <a:gd name="T69" fmla="*/ 481 h 822"/>
                <a:gd name="T70" fmla="*/ 490 w 492"/>
                <a:gd name="T71" fmla="*/ 401 h 822"/>
                <a:gd name="T72" fmla="*/ 492 w 492"/>
                <a:gd name="T73" fmla="*/ 359 h 822"/>
                <a:gd name="T74" fmla="*/ 490 w 492"/>
                <a:gd name="T75" fmla="*/ 279 h 822"/>
                <a:gd name="T76" fmla="*/ 478 w 492"/>
                <a:gd name="T77" fmla="*/ 208 h 822"/>
                <a:gd name="T78" fmla="*/ 469 w 492"/>
                <a:gd name="T79" fmla="*/ 176 h 822"/>
                <a:gd name="T80" fmla="*/ 458 w 492"/>
                <a:gd name="T81" fmla="*/ 146 h 822"/>
                <a:gd name="T82" fmla="*/ 445 w 492"/>
                <a:gd name="T83" fmla="*/ 119 h 822"/>
                <a:gd name="T84" fmla="*/ 430 w 492"/>
                <a:gd name="T85" fmla="*/ 94 h 822"/>
                <a:gd name="T86" fmla="*/ 413 w 492"/>
                <a:gd name="T87" fmla="*/ 72 h 822"/>
                <a:gd name="T88" fmla="*/ 394 w 492"/>
                <a:gd name="T89" fmla="*/ 52 h 822"/>
                <a:gd name="T90" fmla="*/ 373 w 492"/>
                <a:gd name="T91" fmla="*/ 36 h 822"/>
                <a:gd name="T92" fmla="*/ 351 w 492"/>
                <a:gd name="T93" fmla="*/ 22 h 822"/>
                <a:gd name="T94" fmla="*/ 326 w 492"/>
                <a:gd name="T95" fmla="*/ 12 h 822"/>
                <a:gd name="T96" fmla="*/ 301 w 492"/>
                <a:gd name="T97" fmla="*/ 5 h 822"/>
                <a:gd name="T98" fmla="*/ 274 w 492"/>
                <a:gd name="T99" fmla="*/ 1 h 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92" h="822">
                  <a:moveTo>
                    <a:pt x="274" y="1"/>
                  </a:moveTo>
                  <a:lnTo>
                    <a:pt x="274" y="1"/>
                  </a:lnTo>
                  <a:lnTo>
                    <a:pt x="260" y="0"/>
                  </a:lnTo>
                  <a:lnTo>
                    <a:pt x="246" y="1"/>
                  </a:lnTo>
                  <a:lnTo>
                    <a:pt x="233" y="1"/>
                  </a:lnTo>
                  <a:lnTo>
                    <a:pt x="219" y="3"/>
                  </a:lnTo>
                  <a:lnTo>
                    <a:pt x="206" y="5"/>
                  </a:lnTo>
                  <a:lnTo>
                    <a:pt x="195" y="8"/>
                  </a:lnTo>
                  <a:lnTo>
                    <a:pt x="182" y="13"/>
                  </a:lnTo>
                  <a:lnTo>
                    <a:pt x="170" y="17"/>
                  </a:lnTo>
                  <a:lnTo>
                    <a:pt x="158" y="22"/>
                  </a:lnTo>
                  <a:lnTo>
                    <a:pt x="148" y="29"/>
                  </a:lnTo>
                  <a:lnTo>
                    <a:pt x="137" y="35"/>
                  </a:lnTo>
                  <a:lnTo>
                    <a:pt x="126" y="43"/>
                  </a:lnTo>
                  <a:lnTo>
                    <a:pt x="116" y="51"/>
                  </a:lnTo>
                  <a:lnTo>
                    <a:pt x="106" y="60"/>
                  </a:lnTo>
                  <a:lnTo>
                    <a:pt x="96" y="69"/>
                  </a:lnTo>
                  <a:lnTo>
                    <a:pt x="88" y="79"/>
                  </a:lnTo>
                  <a:lnTo>
                    <a:pt x="78" y="90"/>
                  </a:lnTo>
                  <a:lnTo>
                    <a:pt x="71" y="101"/>
                  </a:lnTo>
                  <a:lnTo>
                    <a:pt x="62" y="113"/>
                  </a:lnTo>
                  <a:lnTo>
                    <a:pt x="55" y="126"/>
                  </a:lnTo>
                  <a:lnTo>
                    <a:pt x="48" y="139"/>
                  </a:lnTo>
                  <a:lnTo>
                    <a:pt x="41" y="153"/>
                  </a:lnTo>
                  <a:lnTo>
                    <a:pt x="29" y="182"/>
                  </a:lnTo>
                  <a:lnTo>
                    <a:pt x="19" y="213"/>
                  </a:lnTo>
                  <a:lnTo>
                    <a:pt x="11" y="246"/>
                  </a:lnTo>
                  <a:lnTo>
                    <a:pt x="4" y="280"/>
                  </a:lnTo>
                  <a:lnTo>
                    <a:pt x="1" y="318"/>
                  </a:lnTo>
                  <a:lnTo>
                    <a:pt x="1" y="318"/>
                  </a:lnTo>
                  <a:lnTo>
                    <a:pt x="0" y="347"/>
                  </a:lnTo>
                  <a:lnTo>
                    <a:pt x="0" y="375"/>
                  </a:lnTo>
                  <a:lnTo>
                    <a:pt x="2" y="405"/>
                  </a:lnTo>
                  <a:lnTo>
                    <a:pt x="6" y="435"/>
                  </a:lnTo>
                  <a:lnTo>
                    <a:pt x="11" y="465"/>
                  </a:lnTo>
                  <a:lnTo>
                    <a:pt x="16" y="495"/>
                  </a:lnTo>
                  <a:lnTo>
                    <a:pt x="29" y="555"/>
                  </a:lnTo>
                  <a:lnTo>
                    <a:pt x="29" y="555"/>
                  </a:lnTo>
                  <a:lnTo>
                    <a:pt x="41" y="612"/>
                  </a:lnTo>
                  <a:lnTo>
                    <a:pt x="45" y="641"/>
                  </a:lnTo>
                  <a:lnTo>
                    <a:pt x="49" y="669"/>
                  </a:lnTo>
                  <a:lnTo>
                    <a:pt x="53" y="695"/>
                  </a:lnTo>
                  <a:lnTo>
                    <a:pt x="56" y="722"/>
                  </a:lnTo>
                  <a:lnTo>
                    <a:pt x="56" y="748"/>
                  </a:lnTo>
                  <a:lnTo>
                    <a:pt x="55" y="772"/>
                  </a:lnTo>
                  <a:lnTo>
                    <a:pt x="55" y="772"/>
                  </a:lnTo>
                  <a:lnTo>
                    <a:pt x="55" y="777"/>
                  </a:lnTo>
                  <a:lnTo>
                    <a:pt x="56" y="781"/>
                  </a:lnTo>
                  <a:lnTo>
                    <a:pt x="58" y="785"/>
                  </a:lnTo>
                  <a:lnTo>
                    <a:pt x="60" y="788"/>
                  </a:lnTo>
                  <a:lnTo>
                    <a:pt x="63" y="792"/>
                  </a:lnTo>
                  <a:lnTo>
                    <a:pt x="67" y="795"/>
                  </a:lnTo>
                  <a:lnTo>
                    <a:pt x="71" y="796"/>
                  </a:lnTo>
                  <a:lnTo>
                    <a:pt x="76" y="797"/>
                  </a:lnTo>
                  <a:lnTo>
                    <a:pt x="389" y="822"/>
                  </a:lnTo>
                  <a:lnTo>
                    <a:pt x="389" y="822"/>
                  </a:lnTo>
                  <a:lnTo>
                    <a:pt x="390" y="822"/>
                  </a:lnTo>
                  <a:lnTo>
                    <a:pt x="390" y="822"/>
                  </a:lnTo>
                  <a:lnTo>
                    <a:pt x="398" y="821"/>
                  </a:lnTo>
                  <a:lnTo>
                    <a:pt x="404" y="817"/>
                  </a:lnTo>
                  <a:lnTo>
                    <a:pt x="409" y="813"/>
                  </a:lnTo>
                  <a:lnTo>
                    <a:pt x="412" y="807"/>
                  </a:lnTo>
                  <a:lnTo>
                    <a:pt x="412" y="807"/>
                  </a:lnTo>
                  <a:lnTo>
                    <a:pt x="423" y="770"/>
                  </a:lnTo>
                  <a:lnTo>
                    <a:pt x="433" y="733"/>
                  </a:lnTo>
                  <a:lnTo>
                    <a:pt x="445" y="683"/>
                  </a:lnTo>
                  <a:lnTo>
                    <a:pt x="458" y="624"/>
                  </a:lnTo>
                  <a:lnTo>
                    <a:pt x="471" y="556"/>
                  </a:lnTo>
                  <a:lnTo>
                    <a:pt x="476" y="519"/>
                  </a:lnTo>
                  <a:lnTo>
                    <a:pt x="481" y="481"/>
                  </a:lnTo>
                  <a:lnTo>
                    <a:pt x="486" y="442"/>
                  </a:lnTo>
                  <a:lnTo>
                    <a:pt x="490" y="401"/>
                  </a:lnTo>
                  <a:lnTo>
                    <a:pt x="490" y="401"/>
                  </a:lnTo>
                  <a:lnTo>
                    <a:pt x="492" y="359"/>
                  </a:lnTo>
                  <a:lnTo>
                    <a:pt x="492" y="319"/>
                  </a:lnTo>
                  <a:lnTo>
                    <a:pt x="490" y="279"/>
                  </a:lnTo>
                  <a:lnTo>
                    <a:pt x="485" y="243"/>
                  </a:lnTo>
                  <a:lnTo>
                    <a:pt x="478" y="208"/>
                  </a:lnTo>
                  <a:lnTo>
                    <a:pt x="474" y="192"/>
                  </a:lnTo>
                  <a:lnTo>
                    <a:pt x="469" y="176"/>
                  </a:lnTo>
                  <a:lnTo>
                    <a:pt x="463" y="161"/>
                  </a:lnTo>
                  <a:lnTo>
                    <a:pt x="458" y="146"/>
                  </a:lnTo>
                  <a:lnTo>
                    <a:pt x="451" y="133"/>
                  </a:lnTo>
                  <a:lnTo>
                    <a:pt x="445" y="119"/>
                  </a:lnTo>
                  <a:lnTo>
                    <a:pt x="438" y="106"/>
                  </a:lnTo>
                  <a:lnTo>
                    <a:pt x="430" y="94"/>
                  </a:lnTo>
                  <a:lnTo>
                    <a:pt x="422" y="82"/>
                  </a:lnTo>
                  <a:lnTo>
                    <a:pt x="413" y="72"/>
                  </a:lnTo>
                  <a:lnTo>
                    <a:pt x="403" y="62"/>
                  </a:lnTo>
                  <a:lnTo>
                    <a:pt x="394" y="52"/>
                  </a:lnTo>
                  <a:lnTo>
                    <a:pt x="384" y="44"/>
                  </a:lnTo>
                  <a:lnTo>
                    <a:pt x="373" y="36"/>
                  </a:lnTo>
                  <a:lnTo>
                    <a:pt x="363" y="29"/>
                  </a:lnTo>
                  <a:lnTo>
                    <a:pt x="351" y="22"/>
                  </a:lnTo>
                  <a:lnTo>
                    <a:pt x="339" y="17"/>
                  </a:lnTo>
                  <a:lnTo>
                    <a:pt x="326" y="12"/>
                  </a:lnTo>
                  <a:lnTo>
                    <a:pt x="315" y="8"/>
                  </a:lnTo>
                  <a:lnTo>
                    <a:pt x="301" y="5"/>
                  </a:lnTo>
                  <a:lnTo>
                    <a:pt x="288" y="3"/>
                  </a:lnTo>
                  <a:lnTo>
                    <a:pt x="274" y="1"/>
                  </a:lnTo>
                  <a:lnTo>
                    <a:pt x="274"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63">
              <a:extLst>
                <a:ext uri="{FF2B5EF4-FFF2-40B4-BE49-F238E27FC236}">
                  <a16:creationId xmlns:a16="http://schemas.microsoft.com/office/drawing/2014/main" id="{27A6A213-FF73-443D-8ECC-3E6DBBB51E4F}"/>
                </a:ext>
              </a:extLst>
            </p:cNvPr>
            <p:cNvSpPr>
              <a:spLocks/>
            </p:cNvSpPr>
            <p:nvPr/>
          </p:nvSpPr>
          <p:spPr bwMode="auto">
            <a:xfrm>
              <a:off x="487363" y="3979863"/>
              <a:ext cx="144463" cy="111125"/>
            </a:xfrm>
            <a:custGeom>
              <a:avLst/>
              <a:gdLst>
                <a:gd name="T0" fmla="*/ 344 w 364"/>
                <a:gd name="T1" fmla="*/ 25 h 282"/>
                <a:gd name="T2" fmla="*/ 30 w 364"/>
                <a:gd name="T3" fmla="*/ 0 h 282"/>
                <a:gd name="T4" fmla="*/ 30 w 364"/>
                <a:gd name="T5" fmla="*/ 0 h 282"/>
                <a:gd name="T6" fmla="*/ 25 w 364"/>
                <a:gd name="T7" fmla="*/ 1 h 282"/>
                <a:gd name="T8" fmla="*/ 21 w 364"/>
                <a:gd name="T9" fmla="*/ 1 h 282"/>
                <a:gd name="T10" fmla="*/ 17 w 364"/>
                <a:gd name="T11" fmla="*/ 3 h 282"/>
                <a:gd name="T12" fmla="*/ 13 w 364"/>
                <a:gd name="T13" fmla="*/ 5 h 282"/>
                <a:gd name="T14" fmla="*/ 10 w 364"/>
                <a:gd name="T15" fmla="*/ 8 h 282"/>
                <a:gd name="T16" fmla="*/ 8 w 364"/>
                <a:gd name="T17" fmla="*/ 13 h 282"/>
                <a:gd name="T18" fmla="*/ 7 w 364"/>
                <a:gd name="T19" fmla="*/ 17 h 282"/>
                <a:gd name="T20" fmla="*/ 6 w 364"/>
                <a:gd name="T21" fmla="*/ 21 h 282"/>
                <a:gd name="T22" fmla="*/ 0 w 364"/>
                <a:gd name="T23" fmla="*/ 88 h 282"/>
                <a:gd name="T24" fmla="*/ 0 w 364"/>
                <a:gd name="T25" fmla="*/ 88 h 282"/>
                <a:gd name="T26" fmla="*/ 0 w 364"/>
                <a:gd name="T27" fmla="*/ 107 h 282"/>
                <a:gd name="T28" fmla="*/ 1 w 364"/>
                <a:gd name="T29" fmla="*/ 124 h 282"/>
                <a:gd name="T30" fmla="*/ 5 w 364"/>
                <a:gd name="T31" fmla="*/ 142 h 282"/>
                <a:gd name="T32" fmla="*/ 9 w 364"/>
                <a:gd name="T33" fmla="*/ 159 h 282"/>
                <a:gd name="T34" fmla="*/ 15 w 364"/>
                <a:gd name="T35" fmla="*/ 175 h 282"/>
                <a:gd name="T36" fmla="*/ 23 w 364"/>
                <a:gd name="T37" fmla="*/ 190 h 282"/>
                <a:gd name="T38" fmla="*/ 32 w 364"/>
                <a:gd name="T39" fmla="*/ 205 h 282"/>
                <a:gd name="T40" fmla="*/ 43 w 364"/>
                <a:gd name="T41" fmla="*/ 219 h 282"/>
                <a:gd name="T42" fmla="*/ 55 w 364"/>
                <a:gd name="T43" fmla="*/ 232 h 282"/>
                <a:gd name="T44" fmla="*/ 68 w 364"/>
                <a:gd name="T45" fmla="*/ 243 h 282"/>
                <a:gd name="T46" fmla="*/ 82 w 364"/>
                <a:gd name="T47" fmla="*/ 253 h 282"/>
                <a:gd name="T48" fmla="*/ 97 w 364"/>
                <a:gd name="T49" fmla="*/ 262 h 282"/>
                <a:gd name="T50" fmla="*/ 113 w 364"/>
                <a:gd name="T51" fmla="*/ 269 h 282"/>
                <a:gd name="T52" fmla="*/ 130 w 364"/>
                <a:gd name="T53" fmla="*/ 275 h 282"/>
                <a:gd name="T54" fmla="*/ 147 w 364"/>
                <a:gd name="T55" fmla="*/ 279 h 282"/>
                <a:gd name="T56" fmla="*/ 165 w 364"/>
                <a:gd name="T57" fmla="*/ 281 h 282"/>
                <a:gd name="T58" fmla="*/ 165 w 364"/>
                <a:gd name="T59" fmla="*/ 281 h 282"/>
                <a:gd name="T60" fmla="*/ 180 w 364"/>
                <a:gd name="T61" fmla="*/ 282 h 282"/>
                <a:gd name="T62" fmla="*/ 180 w 364"/>
                <a:gd name="T63" fmla="*/ 282 h 282"/>
                <a:gd name="T64" fmla="*/ 197 w 364"/>
                <a:gd name="T65" fmla="*/ 281 h 282"/>
                <a:gd name="T66" fmla="*/ 213 w 364"/>
                <a:gd name="T67" fmla="*/ 279 h 282"/>
                <a:gd name="T68" fmla="*/ 230 w 364"/>
                <a:gd name="T69" fmla="*/ 275 h 282"/>
                <a:gd name="T70" fmla="*/ 245 w 364"/>
                <a:gd name="T71" fmla="*/ 269 h 282"/>
                <a:gd name="T72" fmla="*/ 261 w 364"/>
                <a:gd name="T73" fmla="*/ 262 h 282"/>
                <a:gd name="T74" fmla="*/ 275 w 364"/>
                <a:gd name="T75" fmla="*/ 254 h 282"/>
                <a:gd name="T76" fmla="*/ 289 w 364"/>
                <a:gd name="T77" fmla="*/ 245 h 282"/>
                <a:gd name="T78" fmla="*/ 301 w 364"/>
                <a:gd name="T79" fmla="*/ 234 h 282"/>
                <a:gd name="T80" fmla="*/ 313 w 364"/>
                <a:gd name="T81" fmla="*/ 222 h 282"/>
                <a:gd name="T82" fmla="*/ 323 w 364"/>
                <a:gd name="T83" fmla="*/ 210 h 282"/>
                <a:gd name="T84" fmla="*/ 333 w 364"/>
                <a:gd name="T85" fmla="*/ 196 h 282"/>
                <a:gd name="T86" fmla="*/ 340 w 364"/>
                <a:gd name="T87" fmla="*/ 182 h 282"/>
                <a:gd name="T88" fmla="*/ 347 w 364"/>
                <a:gd name="T89" fmla="*/ 167 h 282"/>
                <a:gd name="T90" fmla="*/ 352 w 364"/>
                <a:gd name="T91" fmla="*/ 151 h 282"/>
                <a:gd name="T92" fmla="*/ 357 w 364"/>
                <a:gd name="T93" fmla="*/ 134 h 282"/>
                <a:gd name="T94" fmla="*/ 359 w 364"/>
                <a:gd name="T95" fmla="*/ 116 h 282"/>
                <a:gd name="T96" fmla="*/ 364 w 364"/>
                <a:gd name="T97" fmla="*/ 49 h 282"/>
                <a:gd name="T98" fmla="*/ 364 w 364"/>
                <a:gd name="T99" fmla="*/ 49 h 282"/>
                <a:gd name="T100" fmla="*/ 364 w 364"/>
                <a:gd name="T101" fmla="*/ 45 h 282"/>
                <a:gd name="T102" fmla="*/ 363 w 364"/>
                <a:gd name="T103" fmla="*/ 40 h 282"/>
                <a:gd name="T104" fmla="*/ 361 w 364"/>
                <a:gd name="T105" fmla="*/ 36 h 282"/>
                <a:gd name="T106" fmla="*/ 359 w 364"/>
                <a:gd name="T107" fmla="*/ 33 h 282"/>
                <a:gd name="T108" fmla="*/ 355 w 364"/>
                <a:gd name="T109" fmla="*/ 30 h 282"/>
                <a:gd name="T110" fmla="*/ 352 w 364"/>
                <a:gd name="T111" fmla="*/ 28 h 282"/>
                <a:gd name="T112" fmla="*/ 348 w 364"/>
                <a:gd name="T113" fmla="*/ 25 h 282"/>
                <a:gd name="T114" fmla="*/ 344 w 364"/>
                <a:gd name="T115" fmla="*/ 25 h 282"/>
                <a:gd name="T116" fmla="*/ 344 w 364"/>
                <a:gd name="T117" fmla="*/ 25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4" h="282">
                  <a:moveTo>
                    <a:pt x="344" y="25"/>
                  </a:moveTo>
                  <a:lnTo>
                    <a:pt x="30" y="0"/>
                  </a:lnTo>
                  <a:lnTo>
                    <a:pt x="30" y="0"/>
                  </a:lnTo>
                  <a:lnTo>
                    <a:pt x="25" y="1"/>
                  </a:lnTo>
                  <a:lnTo>
                    <a:pt x="21" y="1"/>
                  </a:lnTo>
                  <a:lnTo>
                    <a:pt x="17" y="3"/>
                  </a:lnTo>
                  <a:lnTo>
                    <a:pt x="13" y="5"/>
                  </a:lnTo>
                  <a:lnTo>
                    <a:pt x="10" y="8"/>
                  </a:lnTo>
                  <a:lnTo>
                    <a:pt x="8" y="13"/>
                  </a:lnTo>
                  <a:lnTo>
                    <a:pt x="7" y="17"/>
                  </a:lnTo>
                  <a:lnTo>
                    <a:pt x="6" y="21"/>
                  </a:lnTo>
                  <a:lnTo>
                    <a:pt x="0" y="88"/>
                  </a:lnTo>
                  <a:lnTo>
                    <a:pt x="0" y="88"/>
                  </a:lnTo>
                  <a:lnTo>
                    <a:pt x="0" y="107"/>
                  </a:lnTo>
                  <a:lnTo>
                    <a:pt x="1" y="124"/>
                  </a:lnTo>
                  <a:lnTo>
                    <a:pt x="5" y="142"/>
                  </a:lnTo>
                  <a:lnTo>
                    <a:pt x="9" y="159"/>
                  </a:lnTo>
                  <a:lnTo>
                    <a:pt x="15" y="175"/>
                  </a:lnTo>
                  <a:lnTo>
                    <a:pt x="23" y="190"/>
                  </a:lnTo>
                  <a:lnTo>
                    <a:pt x="32" y="205"/>
                  </a:lnTo>
                  <a:lnTo>
                    <a:pt x="43" y="219"/>
                  </a:lnTo>
                  <a:lnTo>
                    <a:pt x="55" y="232"/>
                  </a:lnTo>
                  <a:lnTo>
                    <a:pt x="68" y="243"/>
                  </a:lnTo>
                  <a:lnTo>
                    <a:pt x="82" y="253"/>
                  </a:lnTo>
                  <a:lnTo>
                    <a:pt x="97" y="262"/>
                  </a:lnTo>
                  <a:lnTo>
                    <a:pt x="113" y="269"/>
                  </a:lnTo>
                  <a:lnTo>
                    <a:pt x="130" y="275"/>
                  </a:lnTo>
                  <a:lnTo>
                    <a:pt x="147" y="279"/>
                  </a:lnTo>
                  <a:lnTo>
                    <a:pt x="165" y="281"/>
                  </a:lnTo>
                  <a:lnTo>
                    <a:pt x="165" y="281"/>
                  </a:lnTo>
                  <a:lnTo>
                    <a:pt x="180" y="282"/>
                  </a:lnTo>
                  <a:lnTo>
                    <a:pt x="180" y="282"/>
                  </a:lnTo>
                  <a:lnTo>
                    <a:pt x="197" y="281"/>
                  </a:lnTo>
                  <a:lnTo>
                    <a:pt x="213" y="279"/>
                  </a:lnTo>
                  <a:lnTo>
                    <a:pt x="230" y="275"/>
                  </a:lnTo>
                  <a:lnTo>
                    <a:pt x="245" y="269"/>
                  </a:lnTo>
                  <a:lnTo>
                    <a:pt x="261" y="262"/>
                  </a:lnTo>
                  <a:lnTo>
                    <a:pt x="275" y="254"/>
                  </a:lnTo>
                  <a:lnTo>
                    <a:pt x="289" y="245"/>
                  </a:lnTo>
                  <a:lnTo>
                    <a:pt x="301" y="234"/>
                  </a:lnTo>
                  <a:lnTo>
                    <a:pt x="313" y="222"/>
                  </a:lnTo>
                  <a:lnTo>
                    <a:pt x="323" y="210"/>
                  </a:lnTo>
                  <a:lnTo>
                    <a:pt x="333" y="196"/>
                  </a:lnTo>
                  <a:lnTo>
                    <a:pt x="340" y="182"/>
                  </a:lnTo>
                  <a:lnTo>
                    <a:pt x="347" y="167"/>
                  </a:lnTo>
                  <a:lnTo>
                    <a:pt x="352" y="151"/>
                  </a:lnTo>
                  <a:lnTo>
                    <a:pt x="357" y="134"/>
                  </a:lnTo>
                  <a:lnTo>
                    <a:pt x="359" y="116"/>
                  </a:lnTo>
                  <a:lnTo>
                    <a:pt x="364" y="49"/>
                  </a:lnTo>
                  <a:lnTo>
                    <a:pt x="364" y="49"/>
                  </a:lnTo>
                  <a:lnTo>
                    <a:pt x="364" y="45"/>
                  </a:lnTo>
                  <a:lnTo>
                    <a:pt x="363" y="40"/>
                  </a:lnTo>
                  <a:lnTo>
                    <a:pt x="361" y="36"/>
                  </a:lnTo>
                  <a:lnTo>
                    <a:pt x="359" y="33"/>
                  </a:lnTo>
                  <a:lnTo>
                    <a:pt x="355" y="30"/>
                  </a:lnTo>
                  <a:lnTo>
                    <a:pt x="352" y="28"/>
                  </a:lnTo>
                  <a:lnTo>
                    <a:pt x="348" y="25"/>
                  </a:lnTo>
                  <a:lnTo>
                    <a:pt x="344" y="25"/>
                  </a:lnTo>
                  <a:lnTo>
                    <a:pt x="344" y="2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5" name="Freeform 65">
              <a:extLst>
                <a:ext uri="{FF2B5EF4-FFF2-40B4-BE49-F238E27FC236}">
                  <a16:creationId xmlns:a16="http://schemas.microsoft.com/office/drawing/2014/main" id="{8EEF775E-5F92-4930-983E-AC2F2C4BC2CB}"/>
                </a:ext>
              </a:extLst>
            </p:cNvPr>
            <p:cNvSpPr>
              <a:spLocks/>
            </p:cNvSpPr>
            <p:nvPr/>
          </p:nvSpPr>
          <p:spPr bwMode="auto">
            <a:xfrm>
              <a:off x="187325" y="3681413"/>
              <a:ext cx="196850" cy="325438"/>
            </a:xfrm>
            <a:custGeom>
              <a:avLst/>
              <a:gdLst>
                <a:gd name="T0" fmla="*/ 216 w 492"/>
                <a:gd name="T1" fmla="*/ 1 h 822"/>
                <a:gd name="T2" fmla="*/ 189 w 492"/>
                <a:gd name="T3" fmla="*/ 5 h 822"/>
                <a:gd name="T4" fmla="*/ 164 w 492"/>
                <a:gd name="T5" fmla="*/ 12 h 822"/>
                <a:gd name="T6" fmla="*/ 139 w 492"/>
                <a:gd name="T7" fmla="*/ 23 h 822"/>
                <a:gd name="T8" fmla="*/ 118 w 492"/>
                <a:gd name="T9" fmla="*/ 36 h 822"/>
                <a:gd name="T10" fmla="*/ 96 w 492"/>
                <a:gd name="T11" fmla="*/ 53 h 822"/>
                <a:gd name="T12" fmla="*/ 78 w 492"/>
                <a:gd name="T13" fmla="*/ 72 h 822"/>
                <a:gd name="T14" fmla="*/ 61 w 492"/>
                <a:gd name="T15" fmla="*/ 95 h 822"/>
                <a:gd name="T16" fmla="*/ 46 w 492"/>
                <a:gd name="T17" fmla="*/ 119 h 822"/>
                <a:gd name="T18" fmla="*/ 33 w 492"/>
                <a:gd name="T19" fmla="*/ 147 h 822"/>
                <a:gd name="T20" fmla="*/ 22 w 492"/>
                <a:gd name="T21" fmla="*/ 177 h 822"/>
                <a:gd name="T22" fmla="*/ 13 w 492"/>
                <a:gd name="T23" fmla="*/ 209 h 822"/>
                <a:gd name="T24" fmla="*/ 2 w 492"/>
                <a:gd name="T25" fmla="*/ 280 h 822"/>
                <a:gd name="T26" fmla="*/ 0 w 492"/>
                <a:gd name="T27" fmla="*/ 359 h 822"/>
                <a:gd name="T28" fmla="*/ 2 w 492"/>
                <a:gd name="T29" fmla="*/ 402 h 822"/>
                <a:gd name="T30" fmla="*/ 11 w 492"/>
                <a:gd name="T31" fmla="*/ 482 h 822"/>
                <a:gd name="T32" fmla="*/ 21 w 492"/>
                <a:gd name="T33" fmla="*/ 556 h 822"/>
                <a:gd name="T34" fmla="*/ 48 w 492"/>
                <a:gd name="T35" fmla="*/ 683 h 822"/>
                <a:gd name="T36" fmla="*/ 70 w 492"/>
                <a:gd name="T37" fmla="*/ 771 h 822"/>
                <a:gd name="T38" fmla="*/ 81 w 492"/>
                <a:gd name="T39" fmla="*/ 806 h 822"/>
                <a:gd name="T40" fmla="*/ 90 w 492"/>
                <a:gd name="T41" fmla="*/ 818 h 822"/>
                <a:gd name="T42" fmla="*/ 103 w 492"/>
                <a:gd name="T43" fmla="*/ 822 h 822"/>
                <a:gd name="T44" fmla="*/ 105 w 492"/>
                <a:gd name="T45" fmla="*/ 821 h 822"/>
                <a:gd name="T46" fmla="*/ 418 w 492"/>
                <a:gd name="T47" fmla="*/ 796 h 822"/>
                <a:gd name="T48" fmla="*/ 427 w 492"/>
                <a:gd name="T49" fmla="*/ 794 h 822"/>
                <a:gd name="T50" fmla="*/ 433 w 492"/>
                <a:gd name="T51" fmla="*/ 788 h 822"/>
                <a:gd name="T52" fmla="*/ 437 w 492"/>
                <a:gd name="T53" fmla="*/ 781 h 822"/>
                <a:gd name="T54" fmla="*/ 439 w 492"/>
                <a:gd name="T55" fmla="*/ 771 h 822"/>
                <a:gd name="T56" fmla="*/ 437 w 492"/>
                <a:gd name="T57" fmla="*/ 746 h 822"/>
                <a:gd name="T58" fmla="*/ 440 w 492"/>
                <a:gd name="T59" fmla="*/ 694 h 822"/>
                <a:gd name="T60" fmla="*/ 447 w 492"/>
                <a:gd name="T61" fmla="*/ 639 h 822"/>
                <a:gd name="T62" fmla="*/ 464 w 492"/>
                <a:gd name="T63" fmla="*/ 554 h 822"/>
                <a:gd name="T64" fmla="*/ 476 w 492"/>
                <a:gd name="T65" fmla="*/ 494 h 822"/>
                <a:gd name="T66" fmla="*/ 486 w 492"/>
                <a:gd name="T67" fmla="*/ 434 h 822"/>
                <a:gd name="T68" fmla="*/ 492 w 492"/>
                <a:gd name="T69" fmla="*/ 374 h 822"/>
                <a:gd name="T70" fmla="*/ 491 w 492"/>
                <a:gd name="T71" fmla="*/ 316 h 822"/>
                <a:gd name="T72" fmla="*/ 487 w 492"/>
                <a:gd name="T73" fmla="*/ 279 h 822"/>
                <a:gd name="T74" fmla="*/ 472 w 492"/>
                <a:gd name="T75" fmla="*/ 211 h 822"/>
                <a:gd name="T76" fmla="*/ 450 w 492"/>
                <a:gd name="T77" fmla="*/ 151 h 822"/>
                <a:gd name="T78" fmla="*/ 436 w 492"/>
                <a:gd name="T79" fmla="*/ 125 h 822"/>
                <a:gd name="T80" fmla="*/ 420 w 492"/>
                <a:gd name="T81" fmla="*/ 100 h 822"/>
                <a:gd name="T82" fmla="*/ 403 w 492"/>
                <a:gd name="T83" fmla="*/ 78 h 822"/>
                <a:gd name="T84" fmla="*/ 385 w 492"/>
                <a:gd name="T85" fmla="*/ 58 h 822"/>
                <a:gd name="T86" fmla="*/ 365 w 492"/>
                <a:gd name="T87" fmla="*/ 41 h 822"/>
                <a:gd name="T88" fmla="*/ 343 w 492"/>
                <a:gd name="T89" fmla="*/ 27 h 822"/>
                <a:gd name="T90" fmla="*/ 320 w 492"/>
                <a:gd name="T91" fmla="*/ 17 h 822"/>
                <a:gd name="T92" fmla="*/ 296 w 492"/>
                <a:gd name="T93" fmla="*/ 8 h 822"/>
                <a:gd name="T94" fmla="*/ 271 w 492"/>
                <a:gd name="T95" fmla="*/ 3 h 822"/>
                <a:gd name="T96" fmla="*/ 244 w 492"/>
                <a:gd name="T97" fmla="*/ 0 h 822"/>
                <a:gd name="T98" fmla="*/ 216 w 492"/>
                <a:gd name="T99" fmla="*/ 1 h 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92" h="822">
                  <a:moveTo>
                    <a:pt x="216" y="1"/>
                  </a:moveTo>
                  <a:lnTo>
                    <a:pt x="216" y="1"/>
                  </a:lnTo>
                  <a:lnTo>
                    <a:pt x="202" y="3"/>
                  </a:lnTo>
                  <a:lnTo>
                    <a:pt x="189" y="5"/>
                  </a:lnTo>
                  <a:lnTo>
                    <a:pt x="176" y="8"/>
                  </a:lnTo>
                  <a:lnTo>
                    <a:pt x="164" y="12"/>
                  </a:lnTo>
                  <a:lnTo>
                    <a:pt x="151" y="17"/>
                  </a:lnTo>
                  <a:lnTo>
                    <a:pt x="139" y="23"/>
                  </a:lnTo>
                  <a:lnTo>
                    <a:pt x="128" y="29"/>
                  </a:lnTo>
                  <a:lnTo>
                    <a:pt x="118" y="36"/>
                  </a:lnTo>
                  <a:lnTo>
                    <a:pt x="107" y="44"/>
                  </a:lnTo>
                  <a:lnTo>
                    <a:pt x="96" y="53"/>
                  </a:lnTo>
                  <a:lnTo>
                    <a:pt x="87" y="62"/>
                  </a:lnTo>
                  <a:lnTo>
                    <a:pt x="78" y="72"/>
                  </a:lnTo>
                  <a:lnTo>
                    <a:pt x="69" y="83"/>
                  </a:lnTo>
                  <a:lnTo>
                    <a:pt x="61" y="95"/>
                  </a:lnTo>
                  <a:lnTo>
                    <a:pt x="53" y="107"/>
                  </a:lnTo>
                  <a:lnTo>
                    <a:pt x="46" y="119"/>
                  </a:lnTo>
                  <a:lnTo>
                    <a:pt x="39" y="132"/>
                  </a:lnTo>
                  <a:lnTo>
                    <a:pt x="33" y="147"/>
                  </a:lnTo>
                  <a:lnTo>
                    <a:pt x="27" y="161"/>
                  </a:lnTo>
                  <a:lnTo>
                    <a:pt x="22" y="177"/>
                  </a:lnTo>
                  <a:lnTo>
                    <a:pt x="17" y="192"/>
                  </a:lnTo>
                  <a:lnTo>
                    <a:pt x="13" y="209"/>
                  </a:lnTo>
                  <a:lnTo>
                    <a:pt x="6" y="244"/>
                  </a:lnTo>
                  <a:lnTo>
                    <a:pt x="2" y="280"/>
                  </a:lnTo>
                  <a:lnTo>
                    <a:pt x="0" y="318"/>
                  </a:lnTo>
                  <a:lnTo>
                    <a:pt x="0" y="359"/>
                  </a:lnTo>
                  <a:lnTo>
                    <a:pt x="2" y="402"/>
                  </a:lnTo>
                  <a:lnTo>
                    <a:pt x="2" y="402"/>
                  </a:lnTo>
                  <a:lnTo>
                    <a:pt x="5" y="443"/>
                  </a:lnTo>
                  <a:lnTo>
                    <a:pt x="11" y="482"/>
                  </a:lnTo>
                  <a:lnTo>
                    <a:pt x="16" y="520"/>
                  </a:lnTo>
                  <a:lnTo>
                    <a:pt x="21" y="556"/>
                  </a:lnTo>
                  <a:lnTo>
                    <a:pt x="34" y="624"/>
                  </a:lnTo>
                  <a:lnTo>
                    <a:pt x="48" y="683"/>
                  </a:lnTo>
                  <a:lnTo>
                    <a:pt x="60" y="733"/>
                  </a:lnTo>
                  <a:lnTo>
                    <a:pt x="70" y="771"/>
                  </a:lnTo>
                  <a:lnTo>
                    <a:pt x="81" y="806"/>
                  </a:lnTo>
                  <a:lnTo>
                    <a:pt x="81" y="806"/>
                  </a:lnTo>
                  <a:lnTo>
                    <a:pt x="84" y="813"/>
                  </a:lnTo>
                  <a:lnTo>
                    <a:pt x="90" y="818"/>
                  </a:lnTo>
                  <a:lnTo>
                    <a:pt x="96" y="821"/>
                  </a:lnTo>
                  <a:lnTo>
                    <a:pt x="103" y="822"/>
                  </a:lnTo>
                  <a:lnTo>
                    <a:pt x="103" y="822"/>
                  </a:lnTo>
                  <a:lnTo>
                    <a:pt x="105" y="821"/>
                  </a:lnTo>
                  <a:lnTo>
                    <a:pt x="418" y="796"/>
                  </a:lnTo>
                  <a:lnTo>
                    <a:pt x="418" y="796"/>
                  </a:lnTo>
                  <a:lnTo>
                    <a:pt x="423" y="795"/>
                  </a:lnTo>
                  <a:lnTo>
                    <a:pt x="427" y="794"/>
                  </a:lnTo>
                  <a:lnTo>
                    <a:pt x="430" y="791"/>
                  </a:lnTo>
                  <a:lnTo>
                    <a:pt x="433" y="788"/>
                  </a:lnTo>
                  <a:lnTo>
                    <a:pt x="435" y="784"/>
                  </a:lnTo>
                  <a:lnTo>
                    <a:pt x="437" y="781"/>
                  </a:lnTo>
                  <a:lnTo>
                    <a:pt x="439" y="776"/>
                  </a:lnTo>
                  <a:lnTo>
                    <a:pt x="439" y="771"/>
                  </a:lnTo>
                  <a:lnTo>
                    <a:pt x="439" y="771"/>
                  </a:lnTo>
                  <a:lnTo>
                    <a:pt x="437" y="746"/>
                  </a:lnTo>
                  <a:lnTo>
                    <a:pt x="437" y="721"/>
                  </a:lnTo>
                  <a:lnTo>
                    <a:pt x="440" y="694"/>
                  </a:lnTo>
                  <a:lnTo>
                    <a:pt x="443" y="667"/>
                  </a:lnTo>
                  <a:lnTo>
                    <a:pt x="447" y="639"/>
                  </a:lnTo>
                  <a:lnTo>
                    <a:pt x="452" y="612"/>
                  </a:lnTo>
                  <a:lnTo>
                    <a:pt x="464" y="554"/>
                  </a:lnTo>
                  <a:lnTo>
                    <a:pt x="464" y="554"/>
                  </a:lnTo>
                  <a:lnTo>
                    <a:pt x="476" y="494"/>
                  </a:lnTo>
                  <a:lnTo>
                    <a:pt x="481" y="464"/>
                  </a:lnTo>
                  <a:lnTo>
                    <a:pt x="486" y="434"/>
                  </a:lnTo>
                  <a:lnTo>
                    <a:pt x="489" y="404"/>
                  </a:lnTo>
                  <a:lnTo>
                    <a:pt x="492" y="374"/>
                  </a:lnTo>
                  <a:lnTo>
                    <a:pt x="492" y="345"/>
                  </a:lnTo>
                  <a:lnTo>
                    <a:pt x="491" y="316"/>
                  </a:lnTo>
                  <a:lnTo>
                    <a:pt x="491" y="316"/>
                  </a:lnTo>
                  <a:lnTo>
                    <a:pt x="487" y="279"/>
                  </a:lnTo>
                  <a:lnTo>
                    <a:pt x="480" y="245"/>
                  </a:lnTo>
                  <a:lnTo>
                    <a:pt x="472" y="211"/>
                  </a:lnTo>
                  <a:lnTo>
                    <a:pt x="462" y="180"/>
                  </a:lnTo>
                  <a:lnTo>
                    <a:pt x="450" y="151"/>
                  </a:lnTo>
                  <a:lnTo>
                    <a:pt x="443" y="138"/>
                  </a:lnTo>
                  <a:lnTo>
                    <a:pt x="436" y="125"/>
                  </a:lnTo>
                  <a:lnTo>
                    <a:pt x="429" y="112"/>
                  </a:lnTo>
                  <a:lnTo>
                    <a:pt x="420" y="100"/>
                  </a:lnTo>
                  <a:lnTo>
                    <a:pt x="412" y="88"/>
                  </a:lnTo>
                  <a:lnTo>
                    <a:pt x="403" y="78"/>
                  </a:lnTo>
                  <a:lnTo>
                    <a:pt x="395" y="68"/>
                  </a:lnTo>
                  <a:lnTo>
                    <a:pt x="385" y="58"/>
                  </a:lnTo>
                  <a:lnTo>
                    <a:pt x="375" y="50"/>
                  </a:lnTo>
                  <a:lnTo>
                    <a:pt x="365" y="41"/>
                  </a:lnTo>
                  <a:lnTo>
                    <a:pt x="354" y="35"/>
                  </a:lnTo>
                  <a:lnTo>
                    <a:pt x="343" y="27"/>
                  </a:lnTo>
                  <a:lnTo>
                    <a:pt x="332" y="22"/>
                  </a:lnTo>
                  <a:lnTo>
                    <a:pt x="320" y="17"/>
                  </a:lnTo>
                  <a:lnTo>
                    <a:pt x="308" y="11"/>
                  </a:lnTo>
                  <a:lnTo>
                    <a:pt x="296" y="8"/>
                  </a:lnTo>
                  <a:lnTo>
                    <a:pt x="283" y="5"/>
                  </a:lnTo>
                  <a:lnTo>
                    <a:pt x="271" y="3"/>
                  </a:lnTo>
                  <a:lnTo>
                    <a:pt x="258" y="1"/>
                  </a:lnTo>
                  <a:lnTo>
                    <a:pt x="244" y="0"/>
                  </a:lnTo>
                  <a:lnTo>
                    <a:pt x="230" y="0"/>
                  </a:lnTo>
                  <a:lnTo>
                    <a:pt x="216" y="1"/>
                  </a:lnTo>
                  <a:lnTo>
                    <a:pt x="216"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69">
              <a:extLst>
                <a:ext uri="{FF2B5EF4-FFF2-40B4-BE49-F238E27FC236}">
                  <a16:creationId xmlns:a16="http://schemas.microsoft.com/office/drawing/2014/main" id="{C366B29D-D54D-4FF2-B4CD-7FC2160F8D38}"/>
                </a:ext>
              </a:extLst>
            </p:cNvPr>
            <p:cNvSpPr>
              <a:spLocks/>
            </p:cNvSpPr>
            <p:nvPr/>
          </p:nvSpPr>
          <p:spPr bwMode="auto">
            <a:xfrm>
              <a:off x="225425" y="4049713"/>
              <a:ext cx="144463" cy="112713"/>
            </a:xfrm>
            <a:custGeom>
              <a:avLst/>
              <a:gdLst>
                <a:gd name="T0" fmla="*/ 359 w 365"/>
                <a:gd name="T1" fmla="*/ 21 h 283"/>
                <a:gd name="T2" fmla="*/ 359 w 365"/>
                <a:gd name="T3" fmla="*/ 21 h 283"/>
                <a:gd name="T4" fmla="*/ 357 w 365"/>
                <a:gd name="T5" fmla="*/ 17 h 283"/>
                <a:gd name="T6" fmla="*/ 356 w 365"/>
                <a:gd name="T7" fmla="*/ 12 h 283"/>
                <a:gd name="T8" fmla="*/ 353 w 365"/>
                <a:gd name="T9" fmla="*/ 8 h 283"/>
                <a:gd name="T10" fmla="*/ 351 w 365"/>
                <a:gd name="T11" fmla="*/ 5 h 283"/>
                <a:gd name="T12" fmla="*/ 347 w 365"/>
                <a:gd name="T13" fmla="*/ 3 h 283"/>
                <a:gd name="T14" fmla="*/ 344 w 365"/>
                <a:gd name="T15" fmla="*/ 0 h 283"/>
                <a:gd name="T16" fmla="*/ 339 w 365"/>
                <a:gd name="T17" fmla="*/ 0 h 283"/>
                <a:gd name="T18" fmla="*/ 334 w 365"/>
                <a:gd name="T19" fmla="*/ 0 h 283"/>
                <a:gd name="T20" fmla="*/ 20 w 365"/>
                <a:gd name="T21" fmla="*/ 26 h 283"/>
                <a:gd name="T22" fmla="*/ 20 w 365"/>
                <a:gd name="T23" fmla="*/ 26 h 283"/>
                <a:gd name="T24" fmla="*/ 16 w 365"/>
                <a:gd name="T25" fmla="*/ 27 h 283"/>
                <a:gd name="T26" fmla="*/ 12 w 365"/>
                <a:gd name="T27" fmla="*/ 28 h 283"/>
                <a:gd name="T28" fmla="*/ 9 w 365"/>
                <a:gd name="T29" fmla="*/ 32 h 283"/>
                <a:gd name="T30" fmla="*/ 5 w 365"/>
                <a:gd name="T31" fmla="*/ 34 h 283"/>
                <a:gd name="T32" fmla="*/ 3 w 365"/>
                <a:gd name="T33" fmla="*/ 38 h 283"/>
                <a:gd name="T34" fmla="*/ 1 w 365"/>
                <a:gd name="T35" fmla="*/ 41 h 283"/>
                <a:gd name="T36" fmla="*/ 0 w 365"/>
                <a:gd name="T37" fmla="*/ 45 h 283"/>
                <a:gd name="T38" fmla="*/ 0 w 365"/>
                <a:gd name="T39" fmla="*/ 51 h 283"/>
                <a:gd name="T40" fmla="*/ 5 w 365"/>
                <a:gd name="T41" fmla="*/ 118 h 283"/>
                <a:gd name="T42" fmla="*/ 5 w 365"/>
                <a:gd name="T43" fmla="*/ 118 h 283"/>
                <a:gd name="T44" fmla="*/ 8 w 365"/>
                <a:gd name="T45" fmla="*/ 134 h 283"/>
                <a:gd name="T46" fmla="*/ 12 w 365"/>
                <a:gd name="T47" fmla="*/ 151 h 283"/>
                <a:gd name="T48" fmla="*/ 17 w 365"/>
                <a:gd name="T49" fmla="*/ 167 h 283"/>
                <a:gd name="T50" fmla="*/ 24 w 365"/>
                <a:gd name="T51" fmla="*/ 182 h 283"/>
                <a:gd name="T52" fmla="*/ 32 w 365"/>
                <a:gd name="T53" fmla="*/ 197 h 283"/>
                <a:gd name="T54" fmla="*/ 42 w 365"/>
                <a:gd name="T55" fmla="*/ 210 h 283"/>
                <a:gd name="T56" fmla="*/ 51 w 365"/>
                <a:gd name="T57" fmla="*/ 223 h 283"/>
                <a:gd name="T58" fmla="*/ 63 w 365"/>
                <a:gd name="T59" fmla="*/ 235 h 283"/>
                <a:gd name="T60" fmla="*/ 76 w 365"/>
                <a:gd name="T61" fmla="*/ 246 h 283"/>
                <a:gd name="T62" fmla="*/ 89 w 365"/>
                <a:gd name="T63" fmla="*/ 255 h 283"/>
                <a:gd name="T64" fmla="*/ 104 w 365"/>
                <a:gd name="T65" fmla="*/ 263 h 283"/>
                <a:gd name="T66" fmla="*/ 119 w 365"/>
                <a:gd name="T67" fmla="*/ 270 h 283"/>
                <a:gd name="T68" fmla="*/ 135 w 365"/>
                <a:gd name="T69" fmla="*/ 276 h 283"/>
                <a:gd name="T70" fmla="*/ 151 w 365"/>
                <a:gd name="T71" fmla="*/ 279 h 283"/>
                <a:gd name="T72" fmla="*/ 167 w 365"/>
                <a:gd name="T73" fmla="*/ 282 h 283"/>
                <a:gd name="T74" fmla="*/ 185 w 365"/>
                <a:gd name="T75" fmla="*/ 283 h 283"/>
                <a:gd name="T76" fmla="*/ 185 w 365"/>
                <a:gd name="T77" fmla="*/ 283 h 283"/>
                <a:gd name="T78" fmla="*/ 185 w 365"/>
                <a:gd name="T79" fmla="*/ 283 h 283"/>
                <a:gd name="T80" fmla="*/ 185 w 365"/>
                <a:gd name="T81" fmla="*/ 283 h 283"/>
                <a:gd name="T82" fmla="*/ 200 w 365"/>
                <a:gd name="T83" fmla="*/ 282 h 283"/>
                <a:gd name="T84" fmla="*/ 200 w 365"/>
                <a:gd name="T85" fmla="*/ 282 h 283"/>
                <a:gd name="T86" fmla="*/ 217 w 365"/>
                <a:gd name="T87" fmla="*/ 280 h 283"/>
                <a:gd name="T88" fmla="*/ 234 w 365"/>
                <a:gd name="T89" fmla="*/ 276 h 283"/>
                <a:gd name="T90" fmla="*/ 252 w 365"/>
                <a:gd name="T91" fmla="*/ 270 h 283"/>
                <a:gd name="T92" fmla="*/ 268 w 365"/>
                <a:gd name="T93" fmla="*/ 263 h 283"/>
                <a:gd name="T94" fmla="*/ 283 w 365"/>
                <a:gd name="T95" fmla="*/ 254 h 283"/>
                <a:gd name="T96" fmla="*/ 296 w 365"/>
                <a:gd name="T97" fmla="*/ 243 h 283"/>
                <a:gd name="T98" fmla="*/ 310 w 365"/>
                <a:gd name="T99" fmla="*/ 232 h 283"/>
                <a:gd name="T100" fmla="*/ 322 w 365"/>
                <a:gd name="T101" fmla="*/ 219 h 283"/>
                <a:gd name="T102" fmla="*/ 322 w 365"/>
                <a:gd name="T103" fmla="*/ 219 h 283"/>
                <a:gd name="T104" fmla="*/ 333 w 365"/>
                <a:gd name="T105" fmla="*/ 205 h 283"/>
                <a:gd name="T106" fmla="*/ 342 w 365"/>
                <a:gd name="T107" fmla="*/ 190 h 283"/>
                <a:gd name="T108" fmla="*/ 350 w 365"/>
                <a:gd name="T109" fmla="*/ 174 h 283"/>
                <a:gd name="T110" fmla="*/ 356 w 365"/>
                <a:gd name="T111" fmla="*/ 158 h 283"/>
                <a:gd name="T112" fmla="*/ 361 w 365"/>
                <a:gd name="T113" fmla="*/ 141 h 283"/>
                <a:gd name="T114" fmla="*/ 364 w 365"/>
                <a:gd name="T115" fmla="*/ 124 h 283"/>
                <a:gd name="T116" fmla="*/ 365 w 365"/>
                <a:gd name="T117" fmla="*/ 105 h 283"/>
                <a:gd name="T118" fmla="*/ 364 w 365"/>
                <a:gd name="T119" fmla="*/ 88 h 283"/>
                <a:gd name="T120" fmla="*/ 359 w 365"/>
                <a:gd name="T121" fmla="*/ 21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5" h="283">
                  <a:moveTo>
                    <a:pt x="359" y="21"/>
                  </a:moveTo>
                  <a:lnTo>
                    <a:pt x="359" y="21"/>
                  </a:lnTo>
                  <a:lnTo>
                    <a:pt x="357" y="17"/>
                  </a:lnTo>
                  <a:lnTo>
                    <a:pt x="356" y="12"/>
                  </a:lnTo>
                  <a:lnTo>
                    <a:pt x="353" y="8"/>
                  </a:lnTo>
                  <a:lnTo>
                    <a:pt x="351" y="5"/>
                  </a:lnTo>
                  <a:lnTo>
                    <a:pt x="347" y="3"/>
                  </a:lnTo>
                  <a:lnTo>
                    <a:pt x="344" y="0"/>
                  </a:lnTo>
                  <a:lnTo>
                    <a:pt x="339" y="0"/>
                  </a:lnTo>
                  <a:lnTo>
                    <a:pt x="334" y="0"/>
                  </a:lnTo>
                  <a:lnTo>
                    <a:pt x="20" y="26"/>
                  </a:lnTo>
                  <a:lnTo>
                    <a:pt x="20" y="26"/>
                  </a:lnTo>
                  <a:lnTo>
                    <a:pt x="16" y="27"/>
                  </a:lnTo>
                  <a:lnTo>
                    <a:pt x="12" y="28"/>
                  </a:lnTo>
                  <a:lnTo>
                    <a:pt x="9" y="32"/>
                  </a:lnTo>
                  <a:lnTo>
                    <a:pt x="5" y="34"/>
                  </a:lnTo>
                  <a:lnTo>
                    <a:pt x="3" y="38"/>
                  </a:lnTo>
                  <a:lnTo>
                    <a:pt x="1" y="41"/>
                  </a:lnTo>
                  <a:lnTo>
                    <a:pt x="0" y="45"/>
                  </a:lnTo>
                  <a:lnTo>
                    <a:pt x="0" y="51"/>
                  </a:lnTo>
                  <a:lnTo>
                    <a:pt x="5" y="118"/>
                  </a:lnTo>
                  <a:lnTo>
                    <a:pt x="5" y="118"/>
                  </a:lnTo>
                  <a:lnTo>
                    <a:pt x="8" y="134"/>
                  </a:lnTo>
                  <a:lnTo>
                    <a:pt x="12" y="151"/>
                  </a:lnTo>
                  <a:lnTo>
                    <a:pt x="17" y="167"/>
                  </a:lnTo>
                  <a:lnTo>
                    <a:pt x="24" y="182"/>
                  </a:lnTo>
                  <a:lnTo>
                    <a:pt x="32" y="197"/>
                  </a:lnTo>
                  <a:lnTo>
                    <a:pt x="42" y="210"/>
                  </a:lnTo>
                  <a:lnTo>
                    <a:pt x="51" y="223"/>
                  </a:lnTo>
                  <a:lnTo>
                    <a:pt x="63" y="235"/>
                  </a:lnTo>
                  <a:lnTo>
                    <a:pt x="76" y="246"/>
                  </a:lnTo>
                  <a:lnTo>
                    <a:pt x="89" y="255"/>
                  </a:lnTo>
                  <a:lnTo>
                    <a:pt x="104" y="263"/>
                  </a:lnTo>
                  <a:lnTo>
                    <a:pt x="119" y="270"/>
                  </a:lnTo>
                  <a:lnTo>
                    <a:pt x="135" y="276"/>
                  </a:lnTo>
                  <a:lnTo>
                    <a:pt x="151" y="279"/>
                  </a:lnTo>
                  <a:lnTo>
                    <a:pt x="167" y="282"/>
                  </a:lnTo>
                  <a:lnTo>
                    <a:pt x="185" y="283"/>
                  </a:lnTo>
                  <a:lnTo>
                    <a:pt x="185" y="283"/>
                  </a:lnTo>
                  <a:lnTo>
                    <a:pt x="185" y="283"/>
                  </a:lnTo>
                  <a:lnTo>
                    <a:pt x="185" y="283"/>
                  </a:lnTo>
                  <a:lnTo>
                    <a:pt x="200" y="282"/>
                  </a:lnTo>
                  <a:lnTo>
                    <a:pt x="200" y="282"/>
                  </a:lnTo>
                  <a:lnTo>
                    <a:pt x="217" y="280"/>
                  </a:lnTo>
                  <a:lnTo>
                    <a:pt x="234" y="276"/>
                  </a:lnTo>
                  <a:lnTo>
                    <a:pt x="252" y="270"/>
                  </a:lnTo>
                  <a:lnTo>
                    <a:pt x="268" y="263"/>
                  </a:lnTo>
                  <a:lnTo>
                    <a:pt x="283" y="254"/>
                  </a:lnTo>
                  <a:lnTo>
                    <a:pt x="296" y="243"/>
                  </a:lnTo>
                  <a:lnTo>
                    <a:pt x="310" y="232"/>
                  </a:lnTo>
                  <a:lnTo>
                    <a:pt x="322" y="219"/>
                  </a:lnTo>
                  <a:lnTo>
                    <a:pt x="322" y="219"/>
                  </a:lnTo>
                  <a:lnTo>
                    <a:pt x="333" y="205"/>
                  </a:lnTo>
                  <a:lnTo>
                    <a:pt x="342" y="190"/>
                  </a:lnTo>
                  <a:lnTo>
                    <a:pt x="350" y="174"/>
                  </a:lnTo>
                  <a:lnTo>
                    <a:pt x="356" y="158"/>
                  </a:lnTo>
                  <a:lnTo>
                    <a:pt x="361" y="141"/>
                  </a:lnTo>
                  <a:lnTo>
                    <a:pt x="364" y="124"/>
                  </a:lnTo>
                  <a:lnTo>
                    <a:pt x="365" y="105"/>
                  </a:lnTo>
                  <a:lnTo>
                    <a:pt x="364" y="88"/>
                  </a:lnTo>
                  <a:lnTo>
                    <a:pt x="359" y="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27" name="Rectangle 26">
            <a:extLst>
              <a:ext uri="{FF2B5EF4-FFF2-40B4-BE49-F238E27FC236}">
                <a16:creationId xmlns:a16="http://schemas.microsoft.com/office/drawing/2014/main" id="{2F0A0DB0-584E-49ED-AA0A-AB1156EDD4B2}"/>
              </a:ext>
            </a:extLst>
          </p:cNvPr>
          <p:cNvSpPr/>
          <p:nvPr/>
        </p:nvSpPr>
        <p:spPr>
          <a:xfrm>
            <a:off x="8609634" y="2801471"/>
            <a:ext cx="2743200" cy="457200"/>
          </a:xfrm>
          <a:prstGeom prst="rect">
            <a:avLst/>
          </a:prstGeom>
        </p:spPr>
        <p:txBody>
          <a:bodyPr vert="horz" lIns="91440" tIns="45720" rIns="91440" bIns="45720" rtlCol="0" anchor="t">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all" spc="200" normalizeH="0" baseline="0" noProof="0" dirty="0">
                <a:ln>
                  <a:noFill/>
                </a:ln>
                <a:solidFill>
                  <a:srgbClr val="000000"/>
                </a:solidFill>
                <a:effectLst/>
                <a:uLnTx/>
                <a:uFillTx/>
                <a:ea typeface="Nexa Black" charset="0"/>
                <a:cs typeface="Nexa Black" charset="0"/>
              </a:rPr>
              <a:t>Prioritized recommendations</a:t>
            </a:r>
          </a:p>
        </p:txBody>
      </p:sp>
    </p:spTree>
    <p:extLst>
      <p:ext uri="{BB962C8B-B14F-4D97-AF65-F5344CB8AC3E}">
        <p14:creationId xmlns:p14="http://schemas.microsoft.com/office/powerpoint/2010/main" val="272192279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75B08DFC-9741-4869-8AB7-DB340A72AE4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0" name="think-cell Slide" r:id="rId6" imgW="395" imgH="396" progId="TCLayout.ActiveDocument.1">
                  <p:embed/>
                </p:oleObj>
              </mc:Choice>
              <mc:Fallback>
                <p:oleObj name="think-cell Slide" r:id="rId6" imgW="395" imgH="396" progId="TCLayout.ActiveDocument.1">
                  <p:embed/>
                  <p:pic>
                    <p:nvPicPr>
                      <p:cNvPr id="27" name="Object 26" hidden="1">
                        <a:extLst>
                          <a:ext uri="{FF2B5EF4-FFF2-40B4-BE49-F238E27FC236}">
                            <a16:creationId xmlns:a16="http://schemas.microsoft.com/office/drawing/2014/main" id="{75B08DFC-9741-4869-8AB7-DB340A72AE4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6" name="Rectangle 25" hidden="1">
            <a:extLst>
              <a:ext uri="{FF2B5EF4-FFF2-40B4-BE49-F238E27FC236}">
                <a16:creationId xmlns:a16="http://schemas.microsoft.com/office/drawing/2014/main" id="{1822B948-CF83-4C9A-B9B5-CADB9383931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a:sym typeface="Chronicle Display Black"/>
            </a:endParaRPr>
          </a:p>
        </p:txBody>
      </p:sp>
      <p:sp>
        <p:nvSpPr>
          <p:cNvPr id="2" name="Title 1">
            <a:extLst>
              <a:ext uri="{FF2B5EF4-FFF2-40B4-BE49-F238E27FC236}">
                <a16:creationId xmlns:a16="http://schemas.microsoft.com/office/drawing/2014/main" id="{DB9C6C3C-DC16-46FA-9E48-A7B015DA9E1A}"/>
              </a:ext>
            </a:extLst>
          </p:cNvPr>
          <p:cNvSpPr>
            <a:spLocks noGrp="1"/>
          </p:cNvSpPr>
          <p:nvPr>
            <p:ph type="title"/>
          </p:nvPr>
        </p:nvSpPr>
        <p:spPr/>
        <p:txBody>
          <a:bodyPr/>
          <a:lstStyle/>
          <a:p>
            <a:r>
              <a:rPr lang="en-US" dirty="0"/>
              <a:t>How did the policy refresh start? </a:t>
            </a:r>
          </a:p>
        </p:txBody>
      </p:sp>
      <p:sp>
        <p:nvSpPr>
          <p:cNvPr id="3" name="Text Placeholder 2">
            <a:extLst>
              <a:ext uri="{FF2B5EF4-FFF2-40B4-BE49-F238E27FC236}">
                <a16:creationId xmlns:a16="http://schemas.microsoft.com/office/drawing/2014/main" id="{4A3FA3D2-AB45-4B36-B5FC-8E5501F07A8E}"/>
              </a:ext>
            </a:extLst>
          </p:cNvPr>
          <p:cNvSpPr>
            <a:spLocks noGrp="1"/>
          </p:cNvSpPr>
          <p:nvPr>
            <p:ph type="body" sz="quarter" idx="14"/>
          </p:nvPr>
        </p:nvSpPr>
        <p:spPr>
          <a:xfrm>
            <a:off x="914721" y="1353312"/>
            <a:ext cx="10362880" cy="475488"/>
          </a:xfrm>
        </p:spPr>
        <p:txBody>
          <a:bodyPr/>
          <a:lstStyle/>
          <a:p>
            <a:r>
              <a:rPr lang="en-US" dirty="0"/>
              <a:t>Subtitle</a:t>
            </a:r>
          </a:p>
        </p:txBody>
      </p:sp>
      <p:sp>
        <p:nvSpPr>
          <p:cNvPr id="4" name="Text Placeholder 3">
            <a:extLst>
              <a:ext uri="{FF2B5EF4-FFF2-40B4-BE49-F238E27FC236}">
                <a16:creationId xmlns:a16="http://schemas.microsoft.com/office/drawing/2014/main" id="{F7232AF6-3265-46BC-A99B-3D7EC6178A7E}"/>
              </a:ext>
            </a:extLst>
          </p:cNvPr>
          <p:cNvSpPr>
            <a:spLocks noGrp="1"/>
          </p:cNvSpPr>
          <p:nvPr>
            <p:ph type="body" sz="quarter" idx="15"/>
          </p:nvPr>
        </p:nvSpPr>
        <p:spPr/>
        <p:txBody>
          <a:bodyPr/>
          <a:lstStyle/>
          <a:p>
            <a:r>
              <a:rPr lang="en-US" dirty="0"/>
              <a:t>Approach, Scope, &amp; objectives</a:t>
            </a:r>
          </a:p>
        </p:txBody>
      </p:sp>
      <p:sp>
        <p:nvSpPr>
          <p:cNvPr id="5" name="Title 1">
            <a:extLst>
              <a:ext uri="{FF2B5EF4-FFF2-40B4-BE49-F238E27FC236}">
                <a16:creationId xmlns:a16="http://schemas.microsoft.com/office/drawing/2014/main" id="{C54A6522-E4F4-41BD-AAC7-27F50EB949D6}"/>
              </a:ext>
            </a:extLst>
          </p:cNvPr>
          <p:cNvSpPr txBox="1">
            <a:spLocks/>
          </p:cNvSpPr>
          <p:nvPr/>
        </p:nvSpPr>
        <p:spPr>
          <a:xfrm>
            <a:off x="366205" y="658868"/>
            <a:ext cx="11252200"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dirty="0"/>
          </a:p>
        </p:txBody>
      </p:sp>
      <p:cxnSp>
        <p:nvCxnSpPr>
          <p:cNvPr id="6" name="Straight Connector 5">
            <a:extLst>
              <a:ext uri="{FF2B5EF4-FFF2-40B4-BE49-F238E27FC236}">
                <a16:creationId xmlns:a16="http://schemas.microsoft.com/office/drawing/2014/main" id="{AE0694A2-99FD-449C-A2F5-10591191BEC9}"/>
              </a:ext>
            </a:extLst>
          </p:cNvPr>
          <p:cNvCxnSpPr/>
          <p:nvPr/>
        </p:nvCxnSpPr>
        <p:spPr>
          <a:xfrm flipH="1">
            <a:off x="5820648" y="5184471"/>
            <a:ext cx="786384" cy="0"/>
          </a:xfrm>
          <a:prstGeom prst="line">
            <a:avLst/>
          </a:prstGeom>
          <a:ln w="12700">
            <a:solidFill>
              <a:schemeClr val="accent5">
                <a:lumMod val="20000"/>
                <a:lumOff val="80000"/>
              </a:schemeClr>
            </a:solidFill>
            <a:prstDash val="sysDot"/>
          </a:ln>
        </p:spPr>
        <p:style>
          <a:lnRef idx="1">
            <a:schemeClr val="accent1"/>
          </a:lnRef>
          <a:fillRef idx="0">
            <a:schemeClr val="accent1"/>
          </a:fillRef>
          <a:effectRef idx="0">
            <a:schemeClr val="accent1"/>
          </a:effectRef>
          <a:fontRef idx="minor">
            <a:schemeClr val="tx1"/>
          </a:fontRef>
        </p:style>
      </p:cxnSp>
      <p:sp>
        <p:nvSpPr>
          <p:cNvPr id="7" name="Freeform 13">
            <a:extLst>
              <a:ext uri="{FF2B5EF4-FFF2-40B4-BE49-F238E27FC236}">
                <a16:creationId xmlns:a16="http://schemas.microsoft.com/office/drawing/2014/main" id="{647B59C5-E2B2-4169-9C8A-BDF8D4EEF78D}"/>
              </a:ext>
            </a:extLst>
          </p:cNvPr>
          <p:cNvSpPr>
            <a:spLocks/>
          </p:cNvSpPr>
          <p:nvPr/>
        </p:nvSpPr>
        <p:spPr>
          <a:xfrm>
            <a:off x="5011461" y="2438004"/>
            <a:ext cx="1591055" cy="1991470"/>
          </a:xfrm>
          <a:custGeom>
            <a:avLst/>
            <a:gdLst>
              <a:gd name="connsiteX0" fmla="*/ 0 w 1591056"/>
              <a:gd name="connsiteY0" fmla="*/ 1581912 h 1581912"/>
              <a:gd name="connsiteX1" fmla="*/ 1161288 w 1591056"/>
              <a:gd name="connsiteY1" fmla="*/ 0 h 1581912"/>
              <a:gd name="connsiteX2" fmla="*/ 1591056 w 1591056"/>
              <a:gd name="connsiteY2" fmla="*/ 0 h 1581912"/>
            </a:gdLst>
            <a:ahLst/>
            <a:cxnLst>
              <a:cxn ang="0">
                <a:pos x="connsiteX0" y="connsiteY0"/>
              </a:cxn>
              <a:cxn ang="0">
                <a:pos x="connsiteX1" y="connsiteY1"/>
              </a:cxn>
              <a:cxn ang="0">
                <a:pos x="connsiteX2" y="connsiteY2"/>
              </a:cxn>
            </a:cxnLst>
            <a:rect l="l" t="t" r="r" b="b"/>
            <a:pathLst>
              <a:path w="1591056" h="1581912">
                <a:moveTo>
                  <a:pt x="0" y="1581912"/>
                </a:moveTo>
                <a:lnTo>
                  <a:pt x="1161288" y="0"/>
                </a:lnTo>
                <a:lnTo>
                  <a:pt x="1591056" y="0"/>
                </a:lnTo>
              </a:path>
            </a:pathLst>
          </a:custGeom>
          <a:noFill/>
          <a:ln w="28575">
            <a:solidFill>
              <a:schemeClr val="accent3"/>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 name="Freeform 14">
            <a:extLst>
              <a:ext uri="{FF2B5EF4-FFF2-40B4-BE49-F238E27FC236}">
                <a16:creationId xmlns:a16="http://schemas.microsoft.com/office/drawing/2014/main" id="{1F594C0B-7673-4529-94CF-534ED0E6E62A}"/>
              </a:ext>
            </a:extLst>
          </p:cNvPr>
          <p:cNvSpPr/>
          <p:nvPr/>
        </p:nvSpPr>
        <p:spPr>
          <a:xfrm>
            <a:off x="5011460" y="3349428"/>
            <a:ext cx="1597231" cy="1072445"/>
          </a:xfrm>
          <a:custGeom>
            <a:avLst/>
            <a:gdLst>
              <a:gd name="connsiteX0" fmla="*/ 0 w 1597231"/>
              <a:gd name="connsiteY0" fmla="*/ 670956 h 670956"/>
              <a:gd name="connsiteX1" fmla="*/ 1163781 w 1597231"/>
              <a:gd name="connsiteY1" fmla="*/ 0 h 670956"/>
              <a:gd name="connsiteX2" fmla="*/ 1597231 w 1597231"/>
              <a:gd name="connsiteY2" fmla="*/ 0 h 670956"/>
            </a:gdLst>
            <a:ahLst/>
            <a:cxnLst>
              <a:cxn ang="0">
                <a:pos x="connsiteX0" y="connsiteY0"/>
              </a:cxn>
              <a:cxn ang="0">
                <a:pos x="connsiteX1" y="connsiteY1"/>
              </a:cxn>
              <a:cxn ang="0">
                <a:pos x="connsiteX2" y="connsiteY2"/>
              </a:cxn>
            </a:cxnLst>
            <a:rect l="l" t="t" r="r" b="b"/>
            <a:pathLst>
              <a:path w="1597231" h="670956">
                <a:moveTo>
                  <a:pt x="0" y="670956"/>
                </a:moveTo>
                <a:lnTo>
                  <a:pt x="1163781" y="0"/>
                </a:lnTo>
                <a:lnTo>
                  <a:pt x="1597231" y="0"/>
                </a:lnTo>
              </a:path>
            </a:pathLst>
          </a:custGeom>
          <a:noFill/>
          <a:ln w="28575">
            <a:solidFill>
              <a:schemeClr val="accent2"/>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 name="Freeform 16">
            <a:extLst>
              <a:ext uri="{FF2B5EF4-FFF2-40B4-BE49-F238E27FC236}">
                <a16:creationId xmlns:a16="http://schemas.microsoft.com/office/drawing/2014/main" id="{BD1848F0-432B-47AA-913D-1900831C01BE}"/>
              </a:ext>
            </a:extLst>
          </p:cNvPr>
          <p:cNvSpPr>
            <a:spLocks/>
          </p:cNvSpPr>
          <p:nvPr/>
        </p:nvSpPr>
        <p:spPr>
          <a:xfrm>
            <a:off x="5017397" y="4423757"/>
            <a:ext cx="1585356" cy="773612"/>
          </a:xfrm>
          <a:custGeom>
            <a:avLst/>
            <a:gdLst>
              <a:gd name="connsiteX0" fmla="*/ 0 w 1585356"/>
              <a:gd name="connsiteY0" fmla="*/ 0 h 249382"/>
              <a:gd name="connsiteX1" fmla="*/ 1157844 w 1585356"/>
              <a:gd name="connsiteY1" fmla="*/ 249382 h 249382"/>
              <a:gd name="connsiteX2" fmla="*/ 1585356 w 1585356"/>
              <a:gd name="connsiteY2" fmla="*/ 249382 h 249382"/>
            </a:gdLst>
            <a:ahLst/>
            <a:cxnLst>
              <a:cxn ang="0">
                <a:pos x="connsiteX0" y="connsiteY0"/>
              </a:cxn>
              <a:cxn ang="0">
                <a:pos x="connsiteX1" y="connsiteY1"/>
              </a:cxn>
              <a:cxn ang="0">
                <a:pos x="connsiteX2" y="connsiteY2"/>
              </a:cxn>
            </a:cxnLst>
            <a:rect l="l" t="t" r="r" b="b"/>
            <a:pathLst>
              <a:path w="1585356" h="249382">
                <a:moveTo>
                  <a:pt x="0" y="0"/>
                </a:moveTo>
                <a:lnTo>
                  <a:pt x="1157844" y="249382"/>
                </a:lnTo>
                <a:lnTo>
                  <a:pt x="1585356" y="249382"/>
                </a:lnTo>
              </a:path>
            </a:pathLst>
          </a:custGeom>
          <a:noFill/>
          <a:ln w="28575">
            <a:solidFill>
              <a:schemeClr val="accent4"/>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 name="Freeform 17">
            <a:extLst>
              <a:ext uri="{FF2B5EF4-FFF2-40B4-BE49-F238E27FC236}">
                <a16:creationId xmlns:a16="http://schemas.microsoft.com/office/drawing/2014/main" id="{BF4B3AB4-0DC0-45E4-A1AD-821F2BF1BCA2}"/>
              </a:ext>
            </a:extLst>
          </p:cNvPr>
          <p:cNvSpPr/>
          <p:nvPr/>
        </p:nvSpPr>
        <p:spPr>
          <a:xfrm>
            <a:off x="5017397" y="4423757"/>
            <a:ext cx="1585356" cy="1680803"/>
          </a:xfrm>
          <a:custGeom>
            <a:avLst/>
            <a:gdLst>
              <a:gd name="connsiteX0" fmla="*/ 0 w 1591293"/>
              <a:gd name="connsiteY0" fmla="*/ 0 h 1151907"/>
              <a:gd name="connsiteX1" fmla="*/ 1169719 w 1591293"/>
              <a:gd name="connsiteY1" fmla="*/ 1151907 h 1151907"/>
              <a:gd name="connsiteX2" fmla="*/ 1591293 w 1591293"/>
              <a:gd name="connsiteY2" fmla="*/ 1151907 h 1151907"/>
            </a:gdLst>
            <a:ahLst/>
            <a:cxnLst>
              <a:cxn ang="0">
                <a:pos x="connsiteX0" y="connsiteY0"/>
              </a:cxn>
              <a:cxn ang="0">
                <a:pos x="connsiteX1" y="connsiteY1"/>
              </a:cxn>
              <a:cxn ang="0">
                <a:pos x="connsiteX2" y="connsiteY2"/>
              </a:cxn>
            </a:cxnLst>
            <a:rect l="l" t="t" r="r" b="b"/>
            <a:pathLst>
              <a:path w="1591293" h="1151907">
                <a:moveTo>
                  <a:pt x="0" y="0"/>
                </a:moveTo>
                <a:lnTo>
                  <a:pt x="1169719" y="1151907"/>
                </a:lnTo>
                <a:lnTo>
                  <a:pt x="1591293" y="1151907"/>
                </a:lnTo>
              </a:path>
            </a:pathLst>
          </a:custGeom>
          <a:noFill/>
          <a:ln w="28575">
            <a:solidFill>
              <a:schemeClr val="accent6">
                <a:lumMod val="40000"/>
                <a:lumOff val="6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n-ea"/>
              <a:cs typeface="+mn-cs"/>
            </a:endParaRPr>
          </a:p>
        </p:txBody>
      </p:sp>
      <p:cxnSp>
        <p:nvCxnSpPr>
          <p:cNvPr id="11" name="Straight Connector 10">
            <a:extLst>
              <a:ext uri="{FF2B5EF4-FFF2-40B4-BE49-F238E27FC236}">
                <a16:creationId xmlns:a16="http://schemas.microsoft.com/office/drawing/2014/main" id="{72710C6B-0669-4866-A4BA-7FA500598F1F}"/>
              </a:ext>
            </a:extLst>
          </p:cNvPr>
          <p:cNvCxnSpPr>
            <a:cxnSpLocks/>
          </p:cNvCxnSpPr>
          <p:nvPr/>
        </p:nvCxnSpPr>
        <p:spPr>
          <a:xfrm flipV="1">
            <a:off x="4807670" y="4420583"/>
            <a:ext cx="220448" cy="129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Freeform 20">
            <a:extLst>
              <a:ext uri="{FF2B5EF4-FFF2-40B4-BE49-F238E27FC236}">
                <a16:creationId xmlns:a16="http://schemas.microsoft.com/office/drawing/2014/main" id="{6AD33F43-B326-400C-978C-DB68C4BF7A86}"/>
              </a:ext>
            </a:extLst>
          </p:cNvPr>
          <p:cNvSpPr/>
          <p:nvPr/>
        </p:nvSpPr>
        <p:spPr>
          <a:xfrm flipV="1">
            <a:off x="5017397" y="4260851"/>
            <a:ext cx="1585356" cy="150570"/>
          </a:xfrm>
          <a:custGeom>
            <a:avLst/>
            <a:gdLst>
              <a:gd name="connsiteX0" fmla="*/ 0 w 1585356"/>
              <a:gd name="connsiteY0" fmla="*/ 0 h 249382"/>
              <a:gd name="connsiteX1" fmla="*/ 1157844 w 1585356"/>
              <a:gd name="connsiteY1" fmla="*/ 249382 h 249382"/>
              <a:gd name="connsiteX2" fmla="*/ 1585356 w 1585356"/>
              <a:gd name="connsiteY2" fmla="*/ 249382 h 249382"/>
            </a:gdLst>
            <a:ahLst/>
            <a:cxnLst>
              <a:cxn ang="0">
                <a:pos x="connsiteX0" y="connsiteY0"/>
              </a:cxn>
              <a:cxn ang="0">
                <a:pos x="connsiteX1" y="connsiteY1"/>
              </a:cxn>
              <a:cxn ang="0">
                <a:pos x="connsiteX2" y="connsiteY2"/>
              </a:cxn>
            </a:cxnLst>
            <a:rect l="l" t="t" r="r" b="b"/>
            <a:pathLst>
              <a:path w="1585356" h="249382">
                <a:moveTo>
                  <a:pt x="0" y="0"/>
                </a:moveTo>
                <a:lnTo>
                  <a:pt x="1157844" y="249382"/>
                </a:lnTo>
                <a:lnTo>
                  <a:pt x="1585356" y="249382"/>
                </a:lnTo>
              </a:path>
            </a:pathLst>
          </a:custGeom>
          <a:noFill/>
          <a:ln w="28575">
            <a:solidFill>
              <a:schemeClr val="accent1"/>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 name="TextBox 12">
            <a:extLst>
              <a:ext uri="{FF2B5EF4-FFF2-40B4-BE49-F238E27FC236}">
                <a16:creationId xmlns:a16="http://schemas.microsoft.com/office/drawing/2014/main" id="{3B7FE008-80CC-4C7E-AEF9-954469314749}"/>
              </a:ext>
            </a:extLst>
          </p:cNvPr>
          <p:cNvSpPr txBox="1"/>
          <p:nvPr/>
        </p:nvSpPr>
        <p:spPr>
          <a:xfrm>
            <a:off x="1066776" y="2794170"/>
            <a:ext cx="3822763" cy="2462213"/>
          </a:xfrm>
          <a:prstGeom prst="rect">
            <a:avLst/>
          </a:prstGeom>
          <a:noFill/>
        </p:spPr>
        <p:txBody>
          <a:bodyPr wrap="square" rtlCol="0">
            <a:spAutoFit/>
          </a:bodyPr>
          <a:lstStyle/>
          <a:p>
            <a:pPr marL="285750" marR="0" lvl="1" indent="-285750" algn="l" defTabSz="914400" rtl="0" eaLnBrk="1" fontAlgn="auto" latinLnBrk="0" hangingPunct="1">
              <a:lnSpc>
                <a:spcPct val="100000"/>
              </a:lnSpc>
              <a:spcBef>
                <a:spcPts val="600"/>
              </a:spcBef>
              <a:spcAft>
                <a:spcPts val="600"/>
              </a:spcAft>
              <a:buClrTx/>
              <a:buSzPct val="100000"/>
              <a:buFont typeface="Wingdings" panose="05000000000000000000" pitchFamily="2" charset="2"/>
              <a:buChar char="Ø"/>
              <a:tabLst/>
              <a:defRPr/>
            </a:pPr>
            <a:r>
              <a:rPr kumimoji="0" lang="en-US" sz="16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A review of </a:t>
            </a:r>
            <a:r>
              <a:rPr kumimoji="0" lang="en-US" sz="1600" b="0" i="0" u="none" strike="noStrike" kern="1200" cap="none" spc="0" normalizeH="0" baseline="0" noProof="0" dirty="0" err="1">
                <a:ln>
                  <a:noFill/>
                </a:ln>
                <a:solidFill>
                  <a:srgbClr val="000000"/>
                </a:solidFill>
                <a:effectLst/>
                <a:uLnTx/>
                <a:uFillTx/>
                <a:latin typeface="Open Sans"/>
                <a:ea typeface="Verdana" panose="020B0604030504040204" pitchFamily="34" charset="0"/>
                <a:cs typeface="Verdana" panose="020B0604030504040204" pitchFamily="34" charset="0"/>
              </a:rPr>
              <a:t>Clien</a:t>
            </a:r>
            <a:r>
              <a:rPr lang="en-US" sz="1600" dirty="0">
                <a:solidFill>
                  <a:srgbClr val="000000"/>
                </a:solidFill>
                <a:latin typeface="Open Sans"/>
                <a:ea typeface="Verdana" panose="020B0604030504040204" pitchFamily="34" charset="0"/>
                <a:cs typeface="Verdana" panose="020B0604030504040204" pitchFamily="34" charset="0"/>
              </a:rPr>
              <a:t>t’s</a:t>
            </a:r>
            <a:r>
              <a:rPr kumimoji="0" lang="en-US" sz="16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 trade terms found </a:t>
            </a:r>
            <a:r>
              <a:rPr kumimoji="0" lang="en-US"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gaps in policy design and inconsistent execution of trade terms </a:t>
            </a:r>
          </a:p>
          <a:p>
            <a:pPr marL="285750" marR="0" lvl="1" indent="-285750" algn="l" defTabSz="914400" rtl="0" eaLnBrk="1" fontAlgn="auto" latinLnBrk="0" hangingPunct="1">
              <a:lnSpc>
                <a:spcPct val="100000"/>
              </a:lnSpc>
              <a:spcBef>
                <a:spcPts val="600"/>
              </a:spcBef>
              <a:spcAft>
                <a:spcPts val="600"/>
              </a:spcAft>
              <a:buClrTx/>
              <a:buSzPct val="100000"/>
              <a:buFont typeface="Wingdings" panose="05000000000000000000" pitchFamily="2" charset="2"/>
              <a:buChar char="Ø"/>
              <a:tabLst/>
              <a:defRPr/>
            </a:pPr>
            <a:r>
              <a:rPr kumimoji="0" lang="en-US" sz="16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There was an </a:t>
            </a:r>
            <a:r>
              <a:rPr kumimoji="0" lang="en-US"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opportunity to redesign terms </a:t>
            </a:r>
            <a:r>
              <a:rPr kumimoji="0" lang="en-US" sz="16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to better align with Client’s global strategy while also better aligning with parent company’s policies </a:t>
            </a:r>
          </a:p>
        </p:txBody>
      </p:sp>
      <p:sp>
        <p:nvSpPr>
          <p:cNvPr id="14" name="TextBox 13">
            <a:extLst>
              <a:ext uri="{FF2B5EF4-FFF2-40B4-BE49-F238E27FC236}">
                <a16:creationId xmlns:a16="http://schemas.microsoft.com/office/drawing/2014/main" id="{C4A9A149-2C82-4F7B-8B94-39F5A2755A62}"/>
              </a:ext>
            </a:extLst>
          </p:cNvPr>
          <p:cNvSpPr txBox="1">
            <a:spLocks/>
          </p:cNvSpPr>
          <p:nvPr/>
        </p:nvSpPr>
        <p:spPr>
          <a:xfrm>
            <a:off x="6734890" y="2225559"/>
            <a:ext cx="4220815" cy="492443"/>
          </a:xfrm>
          <a:prstGeom prst="rect">
            <a:avLst/>
          </a:prstGeom>
          <a:noFill/>
        </p:spPr>
        <p:txBody>
          <a:bodyPr vert="horz" wrap="square" lIns="0" tIns="0" rIns="0" bIns="0" rtlCol="0">
            <a:spAutoFit/>
          </a:bodyPr>
          <a:lstStyle/>
          <a:p>
            <a:pPr marL="0" marR="0" lvl="1" indent="0" algn="l" defTabSz="914400" rtl="0" eaLnBrk="1" fontAlgn="auto" latinLnBrk="0" hangingPunct="1">
              <a:lnSpc>
                <a:spcPct val="100000"/>
              </a:lnSpc>
              <a:spcBef>
                <a:spcPts val="600"/>
              </a:spcBef>
              <a:spcAft>
                <a:spcPts val="600"/>
              </a:spcAft>
              <a:buClrTx/>
              <a:buSzPct val="100000"/>
              <a:buFontTx/>
              <a:buNone/>
              <a:tabLst/>
              <a:defRPr/>
            </a:pPr>
            <a:r>
              <a:rPr kumimoji="0" lang="en-US" sz="16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Perform a </a:t>
            </a:r>
            <a:r>
              <a:rPr kumimoji="0" lang="en-US"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current state assessment </a:t>
            </a:r>
            <a:r>
              <a:rPr kumimoji="0" lang="en-US" sz="16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of trade terms</a:t>
            </a:r>
            <a:endParaRPr kumimoji="0" lang="en-US" sz="1600" b="0" i="0" u="none" strike="noStrike" kern="1200" cap="none" spc="0" normalizeH="0" baseline="0" noProof="0" dirty="0">
              <a:ln>
                <a:noFill/>
              </a:ln>
              <a:solidFill>
                <a:srgbClr val="000000"/>
              </a:solidFill>
              <a:effectLst/>
              <a:uLnTx/>
              <a:uFillTx/>
              <a:latin typeface="Open Sans"/>
            </a:endParaRPr>
          </a:p>
        </p:txBody>
      </p:sp>
      <p:sp>
        <p:nvSpPr>
          <p:cNvPr id="15" name="Rectangle 14">
            <a:extLst>
              <a:ext uri="{FF2B5EF4-FFF2-40B4-BE49-F238E27FC236}">
                <a16:creationId xmlns:a16="http://schemas.microsoft.com/office/drawing/2014/main" id="{859278E0-9C3C-471B-99AF-5276BF3C77B6}"/>
              </a:ext>
            </a:extLst>
          </p:cNvPr>
          <p:cNvSpPr>
            <a:spLocks/>
          </p:cNvSpPr>
          <p:nvPr/>
        </p:nvSpPr>
        <p:spPr>
          <a:xfrm>
            <a:off x="6734891" y="3129164"/>
            <a:ext cx="4750376" cy="492443"/>
          </a:xfrm>
          <a:prstGeom prst="rect">
            <a:avLst/>
          </a:prstGeom>
        </p:spPr>
        <p:txBody>
          <a:bodyPr wrap="square" lIns="0" tIns="0" rIns="0" bIns="0">
            <a:spAutoFit/>
          </a:bodyPr>
          <a:lstStyle/>
          <a:p>
            <a:pPr marL="0" marR="0" lvl="1" indent="0" algn="l" defTabSz="914400" rtl="0" eaLnBrk="1" fontAlgn="auto" latinLnBrk="0" hangingPunct="1">
              <a:lnSpc>
                <a:spcPct val="100000"/>
              </a:lnSpc>
              <a:spcBef>
                <a:spcPts val="600"/>
              </a:spcBef>
              <a:spcAft>
                <a:spcPts val="600"/>
              </a:spcAft>
              <a:buClrTx/>
              <a:buSzPct val="100000"/>
              <a:buFontTx/>
              <a:buNone/>
              <a:tabLst/>
              <a:defRPr/>
            </a:pPr>
            <a:r>
              <a:rPr kumimoji="0" lang="en-US" sz="16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Develop </a:t>
            </a:r>
            <a:r>
              <a:rPr kumimoji="0" lang="en-US"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revised trade terms </a:t>
            </a:r>
            <a:r>
              <a:rPr kumimoji="0" lang="en-US" sz="16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aligned to </a:t>
            </a:r>
            <a:br>
              <a:rPr kumimoji="0" lang="en-US" sz="16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br>
            <a:r>
              <a:rPr kumimoji="0" lang="en-US" sz="16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Client’s overall business strategy</a:t>
            </a:r>
          </a:p>
        </p:txBody>
      </p:sp>
      <p:sp>
        <p:nvSpPr>
          <p:cNvPr id="16" name="Rectangle 15">
            <a:extLst>
              <a:ext uri="{FF2B5EF4-FFF2-40B4-BE49-F238E27FC236}">
                <a16:creationId xmlns:a16="http://schemas.microsoft.com/office/drawing/2014/main" id="{7A293ABD-4BE3-4CA0-8415-C91B1D695ED0}"/>
              </a:ext>
            </a:extLst>
          </p:cNvPr>
          <p:cNvSpPr>
            <a:spLocks/>
          </p:cNvSpPr>
          <p:nvPr/>
        </p:nvSpPr>
        <p:spPr>
          <a:xfrm>
            <a:off x="6734890" y="4032768"/>
            <a:ext cx="3952459" cy="492443"/>
          </a:xfrm>
          <a:prstGeom prst="rect">
            <a:avLst/>
          </a:prstGeom>
        </p:spPr>
        <p:txBody>
          <a:bodyPr wrap="square" lIns="0" tIns="0" rIns="0" bIns="0">
            <a:spAutoFit/>
          </a:bodyPr>
          <a:lstStyle/>
          <a:p>
            <a:pPr marL="0" marR="0" lvl="1" indent="0" algn="l" defTabSz="914400" rtl="0" eaLnBrk="1" fontAlgn="auto" latinLnBrk="0" hangingPunct="1">
              <a:lnSpc>
                <a:spcPct val="100000"/>
              </a:lnSpc>
              <a:spcBef>
                <a:spcPts val="300"/>
              </a:spcBef>
              <a:spcAft>
                <a:spcPts val="300"/>
              </a:spcAft>
              <a:buClrTx/>
              <a:buSzPct val="100000"/>
              <a:buFontTx/>
              <a:buNone/>
              <a:tabLst/>
              <a:defRPr/>
            </a:pPr>
            <a:r>
              <a:rPr kumimoji="0" lang="en-US" sz="1600" b="0" i="0" u="none" strike="noStrike" kern="1200" cap="none" spc="0" normalizeH="0" baseline="0" noProof="0" dirty="0">
                <a:ln>
                  <a:noFill/>
                </a:ln>
                <a:solidFill>
                  <a:srgbClr val="000000"/>
                </a:solidFill>
                <a:effectLst/>
                <a:uLnTx/>
                <a:uFillTx/>
                <a:latin typeface="Open Sans"/>
                <a:ea typeface="+mn-ea"/>
                <a:cs typeface="+mn-cs"/>
              </a:rPr>
              <a:t>Establish new business </a:t>
            </a:r>
            <a:r>
              <a:rPr kumimoji="0" lang="en-US" sz="1600" b="1" i="0" u="none" strike="noStrike" kern="1200" cap="none" spc="0" normalizeH="0" baseline="0" noProof="0" dirty="0">
                <a:ln>
                  <a:noFill/>
                </a:ln>
                <a:solidFill>
                  <a:srgbClr val="000000"/>
                </a:solidFill>
                <a:effectLst/>
                <a:uLnTx/>
                <a:uFillTx/>
                <a:latin typeface="Open Sans"/>
                <a:ea typeface="+mn-ea"/>
                <a:cs typeface="+mn-cs"/>
              </a:rPr>
              <a:t>processes and controls</a:t>
            </a:r>
          </a:p>
        </p:txBody>
      </p:sp>
      <p:sp>
        <p:nvSpPr>
          <p:cNvPr id="17" name="Rectangle 16">
            <a:extLst>
              <a:ext uri="{FF2B5EF4-FFF2-40B4-BE49-F238E27FC236}">
                <a16:creationId xmlns:a16="http://schemas.microsoft.com/office/drawing/2014/main" id="{CB06549B-601D-4C04-A692-6BB3A54D5DD2}"/>
              </a:ext>
            </a:extLst>
          </p:cNvPr>
          <p:cNvSpPr>
            <a:spLocks/>
          </p:cNvSpPr>
          <p:nvPr/>
        </p:nvSpPr>
        <p:spPr>
          <a:xfrm>
            <a:off x="6734890" y="4936373"/>
            <a:ext cx="4340085" cy="492443"/>
          </a:xfrm>
          <a:prstGeom prst="rect">
            <a:avLst/>
          </a:prstGeom>
        </p:spPr>
        <p:txBody>
          <a:bodyPr wrap="square" lIns="0" tIns="0" rIns="0" bIns="0">
            <a:spAutoFit/>
          </a:bodyPr>
          <a:lstStyle/>
          <a:p>
            <a:pPr marL="0" marR="0" lvl="1" indent="0" algn="l" defTabSz="914400" rtl="0" eaLnBrk="1" fontAlgn="auto" latinLnBrk="0" hangingPunct="1">
              <a:lnSpc>
                <a:spcPct val="100000"/>
              </a:lnSpc>
              <a:spcBef>
                <a:spcPts val="300"/>
              </a:spcBef>
              <a:spcAft>
                <a:spcPts val="300"/>
              </a:spcAft>
              <a:buClrTx/>
              <a:buSzPct val="100000"/>
              <a:buFontTx/>
              <a:buNone/>
              <a:tabLst/>
              <a:defRPr/>
            </a:pPr>
            <a:r>
              <a:rPr kumimoji="0" lang="en-US" sz="1600" b="0" i="0" u="none" strike="noStrike" kern="1200" cap="none" spc="0" normalizeH="0" baseline="0" noProof="0" dirty="0">
                <a:ln>
                  <a:noFill/>
                </a:ln>
                <a:solidFill>
                  <a:srgbClr val="000000"/>
                </a:solidFill>
                <a:effectLst/>
                <a:uLnTx/>
                <a:uFillTx/>
                <a:latin typeface="Open Sans"/>
                <a:ea typeface="+mn-ea"/>
                <a:cs typeface="+mn-cs"/>
              </a:rPr>
              <a:t>Build analysis, </a:t>
            </a:r>
            <a:r>
              <a:rPr kumimoji="0" lang="en-US" sz="1600" b="1" i="0" u="none" strike="noStrike" kern="1200" cap="none" spc="0" normalizeH="0" baseline="0" noProof="0" dirty="0">
                <a:ln>
                  <a:noFill/>
                </a:ln>
                <a:solidFill>
                  <a:srgbClr val="000000"/>
                </a:solidFill>
                <a:effectLst/>
                <a:uLnTx/>
                <a:uFillTx/>
                <a:latin typeface="Open Sans"/>
                <a:ea typeface="+mn-ea"/>
                <a:cs typeface="+mn-cs"/>
              </a:rPr>
              <a:t>reporting and monitoring </a:t>
            </a:r>
            <a:r>
              <a:rPr kumimoji="0" lang="en-US" sz="1600" b="0" i="0" u="none" strike="noStrike" kern="1200" cap="none" spc="0" normalizeH="0" baseline="0" noProof="0" dirty="0">
                <a:ln>
                  <a:noFill/>
                </a:ln>
                <a:solidFill>
                  <a:srgbClr val="000000"/>
                </a:solidFill>
                <a:effectLst/>
                <a:uLnTx/>
                <a:uFillTx/>
                <a:latin typeface="Open Sans"/>
                <a:ea typeface="+mn-ea"/>
                <a:cs typeface="+mn-cs"/>
              </a:rPr>
              <a:t>capabilities</a:t>
            </a:r>
          </a:p>
        </p:txBody>
      </p:sp>
      <p:sp>
        <p:nvSpPr>
          <p:cNvPr id="18" name="Rectangle 17">
            <a:extLst>
              <a:ext uri="{FF2B5EF4-FFF2-40B4-BE49-F238E27FC236}">
                <a16:creationId xmlns:a16="http://schemas.microsoft.com/office/drawing/2014/main" id="{02285E4C-114A-43DB-814C-568BCB0A490F}"/>
              </a:ext>
            </a:extLst>
          </p:cNvPr>
          <p:cNvSpPr>
            <a:spLocks/>
          </p:cNvSpPr>
          <p:nvPr/>
        </p:nvSpPr>
        <p:spPr>
          <a:xfrm>
            <a:off x="6734890" y="5839977"/>
            <a:ext cx="3843128" cy="492443"/>
          </a:xfrm>
          <a:prstGeom prst="rect">
            <a:avLst/>
          </a:prstGeom>
        </p:spPr>
        <p:txBody>
          <a:bodyPr wrap="square" lIns="0" tIns="0" rIns="0" bIns="0">
            <a:spAutoFit/>
          </a:bodyPr>
          <a:lstStyle/>
          <a:p>
            <a:pPr marL="0" marR="0" lvl="1" indent="0" algn="l" defTabSz="914400" rtl="0" eaLnBrk="1" fontAlgn="auto" latinLnBrk="0" hangingPunct="1">
              <a:lnSpc>
                <a:spcPct val="100000"/>
              </a:lnSpc>
              <a:spcBef>
                <a:spcPts val="300"/>
              </a:spcBef>
              <a:spcAft>
                <a:spcPts val="300"/>
              </a:spcAft>
              <a:buClrTx/>
              <a:buSzPct val="100000"/>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mn-cs"/>
              </a:rPr>
              <a:t>Roll out </a:t>
            </a:r>
            <a:r>
              <a:rPr kumimoji="0" lang="en-US" sz="1600" b="0" i="0" u="none" strike="noStrike" kern="1200" cap="none" spc="0" normalizeH="0" baseline="0" noProof="0" dirty="0">
                <a:ln>
                  <a:noFill/>
                </a:ln>
                <a:solidFill>
                  <a:srgbClr val="000000"/>
                </a:solidFill>
                <a:effectLst/>
                <a:uLnTx/>
                <a:uFillTx/>
                <a:latin typeface="Open Sans"/>
                <a:ea typeface="+mn-ea"/>
                <a:cs typeface="+mn-cs"/>
              </a:rPr>
              <a:t>new trade terms policies to accounts</a:t>
            </a:r>
          </a:p>
        </p:txBody>
      </p:sp>
      <p:sp>
        <p:nvSpPr>
          <p:cNvPr id="19" name="Rectangle 18">
            <a:extLst>
              <a:ext uri="{FF2B5EF4-FFF2-40B4-BE49-F238E27FC236}">
                <a16:creationId xmlns:a16="http://schemas.microsoft.com/office/drawing/2014/main" id="{5C034B0A-B22E-459D-B19D-F9C4EC2FDC05}"/>
              </a:ext>
            </a:extLst>
          </p:cNvPr>
          <p:cNvSpPr/>
          <p:nvPr/>
        </p:nvSpPr>
        <p:spPr>
          <a:xfrm>
            <a:off x="1178363" y="1678339"/>
            <a:ext cx="1354858" cy="400110"/>
          </a:xfrm>
          <a:prstGeom prst="rect">
            <a:avLst/>
          </a:prstGeom>
        </p:spPr>
        <p:txBody>
          <a:bodyPr wrap="none">
            <a:spAutoFit/>
          </a:bodyPr>
          <a:lstStyle/>
          <a:p>
            <a:pPr marL="0" marR="0" lvl="1" indent="0" algn="l" defTabSz="914400" rtl="0" eaLnBrk="1" fontAlgn="auto" latinLnBrk="0" hangingPunct="1">
              <a:lnSpc>
                <a:spcPct val="100000"/>
              </a:lnSpc>
              <a:spcBef>
                <a:spcPts val="600"/>
              </a:spcBef>
              <a:spcAft>
                <a:spcPts val="600"/>
              </a:spcAft>
              <a:buClrTx/>
              <a:buSzPct val="100000"/>
              <a:buFontTx/>
              <a:buNone/>
              <a:tabLst/>
              <a:defRPr/>
            </a:pPr>
            <a:r>
              <a:rPr kumimoji="0" lang="en-US" sz="20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Situation</a:t>
            </a:r>
            <a:endParaRPr kumimoji="0" lang="en-US"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p:txBody>
      </p:sp>
      <p:sp>
        <p:nvSpPr>
          <p:cNvPr id="20" name="Rectangle 19">
            <a:extLst>
              <a:ext uri="{FF2B5EF4-FFF2-40B4-BE49-F238E27FC236}">
                <a16:creationId xmlns:a16="http://schemas.microsoft.com/office/drawing/2014/main" id="{C736BB3F-7FAB-42BC-B819-EDE8A23CCB52}"/>
              </a:ext>
            </a:extLst>
          </p:cNvPr>
          <p:cNvSpPr/>
          <p:nvPr/>
        </p:nvSpPr>
        <p:spPr>
          <a:xfrm>
            <a:off x="6607911" y="1678339"/>
            <a:ext cx="2499082" cy="400110"/>
          </a:xfrm>
          <a:prstGeom prst="rect">
            <a:avLst/>
          </a:prstGeom>
        </p:spPr>
        <p:txBody>
          <a:bodyPr wrap="none">
            <a:spAutoFit/>
          </a:bodyPr>
          <a:lstStyle/>
          <a:p>
            <a:pPr marL="0" marR="0" lvl="1" indent="0" algn="l" defTabSz="914400" rtl="0" eaLnBrk="1" fontAlgn="auto" latinLnBrk="0" hangingPunct="1">
              <a:lnSpc>
                <a:spcPct val="100000"/>
              </a:lnSpc>
              <a:spcBef>
                <a:spcPts val="600"/>
              </a:spcBef>
              <a:spcAft>
                <a:spcPts val="600"/>
              </a:spcAft>
              <a:buClrTx/>
              <a:buSzPct val="100000"/>
              <a:buFontTx/>
              <a:buNone/>
              <a:tabLst/>
              <a:defRPr/>
            </a:pPr>
            <a:r>
              <a:rPr kumimoji="0" lang="en-US" sz="20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Project Objectives</a:t>
            </a:r>
            <a:endParaRPr kumimoji="0" lang="en-US"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p:txBody>
      </p:sp>
      <p:cxnSp>
        <p:nvCxnSpPr>
          <p:cNvPr id="21" name="Straight Connector 20">
            <a:extLst>
              <a:ext uri="{FF2B5EF4-FFF2-40B4-BE49-F238E27FC236}">
                <a16:creationId xmlns:a16="http://schemas.microsoft.com/office/drawing/2014/main" id="{6BC8E7E2-2D2C-4737-8B8D-A0A78E458C22}"/>
              </a:ext>
            </a:extLst>
          </p:cNvPr>
          <p:cNvCxnSpPr/>
          <p:nvPr/>
        </p:nvCxnSpPr>
        <p:spPr>
          <a:xfrm>
            <a:off x="1242371" y="2107171"/>
            <a:ext cx="3372170"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B0AC9D8-80BA-4FFE-9AD2-CD92A2CBC95F}"/>
              </a:ext>
            </a:extLst>
          </p:cNvPr>
          <p:cNvCxnSpPr/>
          <p:nvPr/>
        </p:nvCxnSpPr>
        <p:spPr>
          <a:xfrm>
            <a:off x="6734890" y="2107171"/>
            <a:ext cx="3372170"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318370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2B7AC2-8F97-4E5B-92C9-6ADE85140A6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8"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562B7AC2-8F97-4E5B-92C9-6ADE85140A6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388FCEE-22D8-44F9-BF29-CA0D6A75D67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35B02637-A3A2-4469-890E-F300AC4A9A60}"/>
              </a:ext>
            </a:extLst>
          </p:cNvPr>
          <p:cNvSpPr>
            <a:spLocks noGrp="1"/>
          </p:cNvSpPr>
          <p:nvPr>
            <p:ph type="title"/>
          </p:nvPr>
        </p:nvSpPr>
        <p:spPr/>
        <p:txBody>
          <a:bodyPr/>
          <a:lstStyle/>
          <a:p>
            <a:r>
              <a:rPr lang="en-US" dirty="0"/>
              <a:t>Goals &amp; objectives</a:t>
            </a:r>
          </a:p>
        </p:txBody>
      </p:sp>
      <p:sp>
        <p:nvSpPr>
          <p:cNvPr id="27" name="Text Placeholder 26">
            <a:extLst>
              <a:ext uri="{FF2B5EF4-FFF2-40B4-BE49-F238E27FC236}">
                <a16:creationId xmlns:a16="http://schemas.microsoft.com/office/drawing/2014/main" id="{8F1DEBFA-B62D-4EC1-AFD4-4A40E957281E}"/>
              </a:ext>
            </a:extLst>
          </p:cNvPr>
          <p:cNvSpPr>
            <a:spLocks noGrp="1"/>
          </p:cNvSpPr>
          <p:nvPr>
            <p:ph type="body" sz="quarter" idx="14"/>
          </p:nvPr>
        </p:nvSpPr>
        <p:spPr/>
        <p:txBody>
          <a:bodyPr/>
          <a:lstStyle/>
          <a:p>
            <a:r>
              <a:rPr lang="en-US" dirty="0"/>
              <a:t>Subtitle</a:t>
            </a:r>
          </a:p>
        </p:txBody>
      </p:sp>
      <p:sp>
        <p:nvSpPr>
          <p:cNvPr id="28" name="Text Placeholder 27">
            <a:extLst>
              <a:ext uri="{FF2B5EF4-FFF2-40B4-BE49-F238E27FC236}">
                <a16:creationId xmlns:a16="http://schemas.microsoft.com/office/drawing/2014/main" id="{C630A753-842C-420F-9013-683F3828BD2F}"/>
              </a:ext>
            </a:extLst>
          </p:cNvPr>
          <p:cNvSpPr>
            <a:spLocks noGrp="1"/>
          </p:cNvSpPr>
          <p:nvPr>
            <p:ph type="body" sz="quarter" idx="15"/>
          </p:nvPr>
        </p:nvSpPr>
        <p:spPr/>
        <p:txBody>
          <a:bodyPr/>
          <a:lstStyle/>
          <a:p>
            <a:r>
              <a:rPr lang="en-US" dirty="0"/>
              <a:t>Approach, Scope, &amp; objectives</a:t>
            </a:r>
          </a:p>
        </p:txBody>
      </p:sp>
      <p:cxnSp>
        <p:nvCxnSpPr>
          <p:cNvPr id="44" name="Straight Connector 43">
            <a:extLst>
              <a:ext uri="{FF2B5EF4-FFF2-40B4-BE49-F238E27FC236}">
                <a16:creationId xmlns:a16="http://schemas.microsoft.com/office/drawing/2014/main" id="{FF0F0E97-47E4-4A87-94B6-7D5C21B5E014}"/>
              </a:ext>
            </a:extLst>
          </p:cNvPr>
          <p:cNvCxnSpPr>
            <a:cxnSpLocks/>
          </p:cNvCxnSpPr>
          <p:nvPr/>
        </p:nvCxnSpPr>
        <p:spPr>
          <a:xfrm>
            <a:off x="914400" y="2242655"/>
            <a:ext cx="45556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45" name="Content Placeholder 8">
            <a:extLst>
              <a:ext uri="{FF2B5EF4-FFF2-40B4-BE49-F238E27FC236}">
                <a16:creationId xmlns:a16="http://schemas.microsoft.com/office/drawing/2014/main" id="{3EACC2D0-1768-484D-88B1-11ABF4B90FE4}"/>
              </a:ext>
            </a:extLst>
          </p:cNvPr>
          <p:cNvSpPr txBox="1">
            <a:spLocks/>
          </p:cNvSpPr>
          <p:nvPr/>
        </p:nvSpPr>
        <p:spPr>
          <a:xfrm>
            <a:off x="1366494" y="2528429"/>
            <a:ext cx="3859000" cy="4100652"/>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GB" sz="1400" b="1" dirty="0">
                <a:latin typeface="Open Sans" charset="0"/>
                <a:ea typeface="Open Sans" charset="0"/>
                <a:cs typeface="Open Sans" charset="0"/>
              </a:rPr>
              <a:t>Be better, faster, &amp; more cost effective </a:t>
            </a:r>
          </a:p>
          <a:p>
            <a:pPr marL="0" indent="0">
              <a:spcBef>
                <a:spcPts val="0"/>
              </a:spcBef>
              <a:buNone/>
            </a:pPr>
            <a:r>
              <a:rPr lang="en-GB" sz="1200" dirty="0">
                <a:latin typeface="Open Sans" charset="0"/>
                <a:ea typeface="Open Sans" charset="0"/>
                <a:cs typeface="Open Sans" charset="0"/>
              </a:rPr>
              <a:t>Infuse new practices and creative sourcing to adapt to social / digital channels and gain greater effectiveness, efficiency, and agility</a:t>
            </a:r>
          </a:p>
          <a:p>
            <a:pPr marL="0" indent="0">
              <a:spcBef>
                <a:spcPts val="0"/>
              </a:spcBef>
              <a:buNone/>
            </a:pPr>
            <a:endParaRPr lang="en-GB" sz="2400" b="1" dirty="0">
              <a:latin typeface="Open Sans" charset="0"/>
              <a:ea typeface="Open Sans" charset="0"/>
              <a:cs typeface="Open Sans" charset="0"/>
            </a:endParaRPr>
          </a:p>
          <a:p>
            <a:pPr marL="0" indent="0">
              <a:spcBef>
                <a:spcPts val="0"/>
              </a:spcBef>
              <a:buNone/>
            </a:pPr>
            <a:r>
              <a:rPr lang="en-GB" sz="1400" b="1" dirty="0">
                <a:latin typeface="Open Sans" charset="0"/>
                <a:ea typeface="Open Sans" charset="0"/>
                <a:cs typeface="Open Sans" charset="0"/>
              </a:rPr>
              <a:t>Embody customer centricity</a:t>
            </a:r>
          </a:p>
          <a:p>
            <a:pPr marL="0" indent="0">
              <a:spcBef>
                <a:spcPts val="0"/>
              </a:spcBef>
              <a:buNone/>
            </a:pPr>
            <a:r>
              <a:rPr lang="en-US" sz="1200" dirty="0">
                <a:latin typeface="Open Sans" charset="0"/>
                <a:ea typeface="Open Sans" charset="0"/>
                <a:cs typeface="Open Sans" charset="0"/>
              </a:rPr>
              <a:t>Continue focus on enabling personalization and data-driven decision making and drive omni-channel engagement across the organization</a:t>
            </a:r>
            <a:endParaRPr lang="en-GB" sz="1200" dirty="0">
              <a:latin typeface="Open Sans" charset="0"/>
              <a:ea typeface="Open Sans" charset="0"/>
              <a:cs typeface="Open Sans" charset="0"/>
            </a:endParaRPr>
          </a:p>
          <a:p>
            <a:pPr marL="0" indent="0">
              <a:spcBef>
                <a:spcPts val="0"/>
              </a:spcBef>
              <a:buNone/>
            </a:pPr>
            <a:endParaRPr lang="en-GB" sz="2400" b="1" dirty="0">
              <a:latin typeface="Open Sans" charset="0"/>
              <a:ea typeface="Open Sans" charset="0"/>
              <a:cs typeface="Open Sans" charset="0"/>
            </a:endParaRPr>
          </a:p>
          <a:p>
            <a:pPr marL="0" indent="0">
              <a:spcBef>
                <a:spcPts val="0"/>
              </a:spcBef>
              <a:buNone/>
            </a:pPr>
            <a:r>
              <a:rPr lang="en-GB" sz="1400" b="1" dirty="0">
                <a:latin typeface="Open Sans" charset="0"/>
                <a:ea typeface="Open Sans" charset="0"/>
                <a:cs typeface="Open Sans" charset="0"/>
              </a:rPr>
              <a:t>Enable growth</a:t>
            </a:r>
          </a:p>
          <a:p>
            <a:pPr marL="0" indent="0">
              <a:spcBef>
                <a:spcPts val="0"/>
              </a:spcBef>
              <a:buNone/>
            </a:pPr>
            <a:r>
              <a:rPr lang="en-GB" sz="1200" dirty="0">
                <a:latin typeface="Open Sans" charset="0"/>
                <a:ea typeface="Open Sans" charset="0"/>
                <a:cs typeface="Open Sans" charset="0"/>
              </a:rPr>
              <a:t>Enable the Client team with the foundational structure to effectively respond to the increasing velocity, complexity and volume of marketing needs</a:t>
            </a:r>
          </a:p>
        </p:txBody>
      </p:sp>
      <p:sp>
        <p:nvSpPr>
          <p:cNvPr id="46" name="Rectangle 45">
            <a:extLst>
              <a:ext uri="{FF2B5EF4-FFF2-40B4-BE49-F238E27FC236}">
                <a16:creationId xmlns:a16="http://schemas.microsoft.com/office/drawing/2014/main" id="{2EABECC0-9E07-4636-9153-17E8E7226332}"/>
              </a:ext>
            </a:extLst>
          </p:cNvPr>
          <p:cNvSpPr/>
          <p:nvPr/>
        </p:nvSpPr>
        <p:spPr>
          <a:xfrm>
            <a:off x="857248" y="1902502"/>
            <a:ext cx="969753" cy="307777"/>
          </a:xfrm>
          <a:prstGeom prst="rect">
            <a:avLst/>
          </a:prstGeom>
        </p:spPr>
        <p:txBody>
          <a:bodyPr wrap="none">
            <a:spAutoFit/>
          </a:bodyPr>
          <a:lstStyle/>
          <a:p>
            <a:r>
              <a:rPr lang="en-GB" sz="1400" b="1" spc="300" dirty="0">
                <a:latin typeface="Open Sans" charset="0"/>
                <a:ea typeface="Open Sans" charset="0"/>
                <a:cs typeface="Open Sans" charset="0"/>
              </a:rPr>
              <a:t>GOALS</a:t>
            </a:r>
          </a:p>
        </p:txBody>
      </p:sp>
      <p:sp>
        <p:nvSpPr>
          <p:cNvPr id="47" name="Rectangle 46">
            <a:extLst>
              <a:ext uri="{FF2B5EF4-FFF2-40B4-BE49-F238E27FC236}">
                <a16:creationId xmlns:a16="http://schemas.microsoft.com/office/drawing/2014/main" id="{B45666CA-38A2-4313-848C-2F096A60856E}"/>
              </a:ext>
            </a:extLst>
          </p:cNvPr>
          <p:cNvSpPr/>
          <p:nvPr/>
        </p:nvSpPr>
        <p:spPr>
          <a:xfrm>
            <a:off x="6879745" y="1979964"/>
            <a:ext cx="2594813" cy="307777"/>
          </a:xfrm>
          <a:prstGeom prst="rect">
            <a:avLst/>
          </a:prstGeom>
        </p:spPr>
        <p:txBody>
          <a:bodyPr wrap="none">
            <a:spAutoFit/>
          </a:bodyPr>
          <a:lstStyle/>
          <a:p>
            <a:r>
              <a:rPr lang="en-GB" sz="1400" b="1" spc="300" dirty="0">
                <a:latin typeface="Open Sans" charset="0"/>
                <a:ea typeface="Open Sans" charset="0"/>
                <a:cs typeface="Open Sans" charset="0"/>
              </a:rPr>
              <a:t>DESIRED OUTCOMES</a:t>
            </a:r>
            <a:endParaRPr lang="en-GB" sz="1400" spc="300" dirty="0">
              <a:latin typeface="Open Sans" charset="0"/>
              <a:ea typeface="Open Sans" charset="0"/>
              <a:cs typeface="Open Sans" charset="0"/>
            </a:endParaRPr>
          </a:p>
        </p:txBody>
      </p:sp>
      <p:cxnSp>
        <p:nvCxnSpPr>
          <p:cNvPr id="48" name="Straight Connector 47">
            <a:extLst>
              <a:ext uri="{FF2B5EF4-FFF2-40B4-BE49-F238E27FC236}">
                <a16:creationId xmlns:a16="http://schemas.microsoft.com/office/drawing/2014/main" id="{0196794C-AC7C-46D1-ABDA-96ACAC080434}"/>
              </a:ext>
            </a:extLst>
          </p:cNvPr>
          <p:cNvCxnSpPr>
            <a:cxnSpLocks/>
          </p:cNvCxnSpPr>
          <p:nvPr/>
        </p:nvCxnSpPr>
        <p:spPr>
          <a:xfrm>
            <a:off x="6180153" y="2302506"/>
            <a:ext cx="5500224"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2588F946-1D2A-43C9-ACB7-8E208A663127}"/>
              </a:ext>
            </a:extLst>
          </p:cNvPr>
          <p:cNvGrpSpPr>
            <a:grpSpLocks noChangeAspect="1"/>
          </p:cNvGrpSpPr>
          <p:nvPr/>
        </p:nvGrpSpPr>
        <p:grpSpPr>
          <a:xfrm>
            <a:off x="922367" y="2502836"/>
            <a:ext cx="392403" cy="392403"/>
            <a:chOff x="558801" y="822325"/>
            <a:chExt cx="522288" cy="522288"/>
          </a:xfrm>
        </p:grpSpPr>
        <p:sp>
          <p:nvSpPr>
            <p:cNvPr id="77" name="Freeform 24">
              <a:extLst>
                <a:ext uri="{FF2B5EF4-FFF2-40B4-BE49-F238E27FC236}">
                  <a16:creationId xmlns:a16="http://schemas.microsoft.com/office/drawing/2014/main" id="{7D667186-65FC-460F-8106-10544AFE1800}"/>
                </a:ext>
              </a:extLst>
            </p:cNvPr>
            <p:cNvSpPr>
              <a:spLocks noEditPoints="1"/>
            </p:cNvSpPr>
            <p:nvPr/>
          </p:nvSpPr>
          <p:spPr bwMode="auto">
            <a:xfrm>
              <a:off x="558801" y="822325"/>
              <a:ext cx="522288" cy="522288"/>
            </a:xfrm>
            <a:custGeom>
              <a:avLst/>
              <a:gdLst>
                <a:gd name="T0" fmla="*/ 311 w 658"/>
                <a:gd name="T1" fmla="*/ 658 h 658"/>
                <a:gd name="T2" fmla="*/ 263 w 658"/>
                <a:gd name="T3" fmla="*/ 652 h 658"/>
                <a:gd name="T4" fmla="*/ 201 w 658"/>
                <a:gd name="T5" fmla="*/ 633 h 658"/>
                <a:gd name="T6" fmla="*/ 119 w 658"/>
                <a:gd name="T7" fmla="*/ 583 h 658"/>
                <a:gd name="T8" fmla="*/ 56 w 658"/>
                <a:gd name="T9" fmla="*/ 513 h 658"/>
                <a:gd name="T10" fmla="*/ 14 w 658"/>
                <a:gd name="T11" fmla="*/ 427 h 658"/>
                <a:gd name="T12" fmla="*/ 4 w 658"/>
                <a:gd name="T13" fmla="*/ 379 h 658"/>
                <a:gd name="T14" fmla="*/ 0 w 658"/>
                <a:gd name="T15" fmla="*/ 329 h 658"/>
                <a:gd name="T16" fmla="*/ 2 w 658"/>
                <a:gd name="T17" fmla="*/ 296 h 658"/>
                <a:gd name="T18" fmla="*/ 10 w 658"/>
                <a:gd name="T19" fmla="*/ 247 h 658"/>
                <a:gd name="T20" fmla="*/ 40 w 658"/>
                <a:gd name="T21" fmla="*/ 173 h 658"/>
                <a:gd name="T22" fmla="*/ 96 w 658"/>
                <a:gd name="T23" fmla="*/ 97 h 658"/>
                <a:gd name="T24" fmla="*/ 172 w 658"/>
                <a:gd name="T25" fmla="*/ 40 h 658"/>
                <a:gd name="T26" fmla="*/ 247 w 658"/>
                <a:gd name="T27" fmla="*/ 11 h 658"/>
                <a:gd name="T28" fmla="*/ 295 w 658"/>
                <a:gd name="T29" fmla="*/ 3 h 658"/>
                <a:gd name="T30" fmla="*/ 329 w 658"/>
                <a:gd name="T31" fmla="*/ 0 h 658"/>
                <a:gd name="T32" fmla="*/ 379 w 658"/>
                <a:gd name="T33" fmla="*/ 4 h 658"/>
                <a:gd name="T34" fmla="*/ 427 w 658"/>
                <a:gd name="T35" fmla="*/ 15 h 658"/>
                <a:gd name="T36" fmla="*/ 513 w 658"/>
                <a:gd name="T37" fmla="*/ 56 h 658"/>
                <a:gd name="T38" fmla="*/ 583 w 658"/>
                <a:gd name="T39" fmla="*/ 121 h 658"/>
                <a:gd name="T40" fmla="*/ 631 w 658"/>
                <a:gd name="T41" fmla="*/ 202 h 658"/>
                <a:gd name="T42" fmla="*/ 651 w 658"/>
                <a:gd name="T43" fmla="*/ 263 h 658"/>
                <a:gd name="T44" fmla="*/ 657 w 658"/>
                <a:gd name="T45" fmla="*/ 313 h 658"/>
                <a:gd name="T46" fmla="*/ 657 w 658"/>
                <a:gd name="T47" fmla="*/ 347 h 658"/>
                <a:gd name="T48" fmla="*/ 651 w 658"/>
                <a:gd name="T49" fmla="*/ 396 h 658"/>
                <a:gd name="T50" fmla="*/ 631 w 658"/>
                <a:gd name="T51" fmla="*/ 457 h 658"/>
                <a:gd name="T52" fmla="*/ 583 w 658"/>
                <a:gd name="T53" fmla="*/ 539 h 658"/>
                <a:gd name="T54" fmla="*/ 513 w 658"/>
                <a:gd name="T55" fmla="*/ 602 h 658"/>
                <a:gd name="T56" fmla="*/ 427 w 658"/>
                <a:gd name="T57" fmla="*/ 644 h 658"/>
                <a:gd name="T58" fmla="*/ 379 w 658"/>
                <a:gd name="T59" fmla="*/ 654 h 658"/>
                <a:gd name="T60" fmla="*/ 329 w 658"/>
                <a:gd name="T61" fmla="*/ 658 h 658"/>
                <a:gd name="T62" fmla="*/ 329 w 658"/>
                <a:gd name="T63" fmla="*/ 38 h 658"/>
                <a:gd name="T64" fmla="*/ 243 w 658"/>
                <a:gd name="T65" fmla="*/ 51 h 658"/>
                <a:gd name="T66" fmla="*/ 166 w 658"/>
                <a:gd name="T67" fmla="*/ 89 h 658"/>
                <a:gd name="T68" fmla="*/ 104 w 658"/>
                <a:gd name="T69" fmla="*/ 144 h 658"/>
                <a:gd name="T70" fmla="*/ 60 w 658"/>
                <a:gd name="T71" fmla="*/ 216 h 658"/>
                <a:gd name="T72" fmla="*/ 39 w 658"/>
                <a:gd name="T73" fmla="*/ 300 h 658"/>
                <a:gd name="T74" fmla="*/ 39 w 658"/>
                <a:gd name="T75" fmla="*/ 359 h 658"/>
                <a:gd name="T76" fmla="*/ 60 w 658"/>
                <a:gd name="T77" fmla="*/ 443 h 658"/>
                <a:gd name="T78" fmla="*/ 104 w 658"/>
                <a:gd name="T79" fmla="*/ 515 h 658"/>
                <a:gd name="T80" fmla="*/ 166 w 658"/>
                <a:gd name="T81" fmla="*/ 571 h 658"/>
                <a:gd name="T82" fmla="*/ 243 w 658"/>
                <a:gd name="T83" fmla="*/ 607 h 658"/>
                <a:gd name="T84" fmla="*/ 329 w 658"/>
                <a:gd name="T85" fmla="*/ 621 h 658"/>
                <a:gd name="T86" fmla="*/ 388 w 658"/>
                <a:gd name="T87" fmla="*/ 615 h 658"/>
                <a:gd name="T88" fmla="*/ 467 w 658"/>
                <a:gd name="T89" fmla="*/ 586 h 658"/>
                <a:gd name="T90" fmla="*/ 534 w 658"/>
                <a:gd name="T91" fmla="*/ 535 h 658"/>
                <a:gd name="T92" fmla="*/ 585 w 658"/>
                <a:gd name="T93" fmla="*/ 468 h 658"/>
                <a:gd name="T94" fmla="*/ 614 w 658"/>
                <a:gd name="T95" fmla="*/ 388 h 658"/>
                <a:gd name="T96" fmla="*/ 620 w 658"/>
                <a:gd name="T97" fmla="*/ 329 h 658"/>
                <a:gd name="T98" fmla="*/ 607 w 658"/>
                <a:gd name="T99" fmla="*/ 243 h 658"/>
                <a:gd name="T100" fmla="*/ 571 w 658"/>
                <a:gd name="T101" fmla="*/ 167 h 658"/>
                <a:gd name="T102" fmla="*/ 514 w 658"/>
                <a:gd name="T103" fmla="*/ 105 h 658"/>
                <a:gd name="T104" fmla="*/ 442 w 658"/>
                <a:gd name="T105" fmla="*/ 62 h 658"/>
                <a:gd name="T106" fmla="*/ 358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1" y="658"/>
                  </a:lnTo>
                  <a:lnTo>
                    <a:pt x="295" y="657"/>
                  </a:lnTo>
                  <a:lnTo>
                    <a:pt x="279" y="654"/>
                  </a:lnTo>
                  <a:lnTo>
                    <a:pt x="263" y="652"/>
                  </a:lnTo>
                  <a:lnTo>
                    <a:pt x="247" y="648"/>
                  </a:lnTo>
                  <a:lnTo>
                    <a:pt x="231" y="644"/>
                  </a:lnTo>
                  <a:lnTo>
                    <a:pt x="201" y="633"/>
                  </a:lnTo>
                  <a:lnTo>
                    <a:pt x="172" y="618"/>
                  </a:lnTo>
                  <a:lnTo>
                    <a:pt x="145" y="602"/>
                  </a:lnTo>
                  <a:lnTo>
                    <a:pt x="119" y="583"/>
                  </a:lnTo>
                  <a:lnTo>
                    <a:pt x="96" y="562"/>
                  </a:lnTo>
                  <a:lnTo>
                    <a:pt x="75" y="539"/>
                  </a:lnTo>
                  <a:lnTo>
                    <a:pt x="56" y="513"/>
                  </a:lnTo>
                  <a:lnTo>
                    <a:pt x="40" y="486"/>
                  </a:lnTo>
                  <a:lnTo>
                    <a:pt x="25" y="457"/>
                  </a:lnTo>
                  <a:lnTo>
                    <a:pt x="14" y="427"/>
                  </a:lnTo>
                  <a:lnTo>
                    <a:pt x="10" y="411"/>
                  </a:lnTo>
                  <a:lnTo>
                    <a:pt x="6" y="396"/>
                  </a:lnTo>
                  <a:lnTo>
                    <a:pt x="4" y="379"/>
                  </a:lnTo>
                  <a:lnTo>
                    <a:pt x="2" y="363"/>
                  </a:lnTo>
                  <a:lnTo>
                    <a:pt x="1" y="347"/>
                  </a:lnTo>
                  <a:lnTo>
                    <a:pt x="0" y="329"/>
                  </a:lnTo>
                  <a:lnTo>
                    <a:pt x="0" y="329"/>
                  </a:lnTo>
                  <a:lnTo>
                    <a:pt x="1" y="313"/>
                  </a:lnTo>
                  <a:lnTo>
                    <a:pt x="2" y="296"/>
                  </a:lnTo>
                  <a:lnTo>
                    <a:pt x="4" y="279"/>
                  </a:lnTo>
                  <a:lnTo>
                    <a:pt x="6" y="263"/>
                  </a:lnTo>
                  <a:lnTo>
                    <a:pt x="10" y="247"/>
                  </a:lnTo>
                  <a:lnTo>
                    <a:pt x="14" y="232"/>
                  </a:lnTo>
                  <a:lnTo>
                    <a:pt x="25" y="202"/>
                  </a:lnTo>
                  <a:lnTo>
                    <a:pt x="40" y="173"/>
                  </a:lnTo>
                  <a:lnTo>
                    <a:pt x="56" y="145"/>
                  </a:lnTo>
                  <a:lnTo>
                    <a:pt x="75" y="121"/>
                  </a:lnTo>
                  <a:lnTo>
                    <a:pt x="96" y="97"/>
                  </a:lnTo>
                  <a:lnTo>
                    <a:pt x="119" y="75"/>
                  </a:lnTo>
                  <a:lnTo>
                    <a:pt x="145" y="56"/>
                  </a:lnTo>
                  <a:lnTo>
                    <a:pt x="172" y="40"/>
                  </a:lnTo>
                  <a:lnTo>
                    <a:pt x="201" y="27"/>
                  </a:lnTo>
                  <a:lnTo>
                    <a:pt x="231" y="15"/>
                  </a:lnTo>
                  <a:lnTo>
                    <a:pt x="247" y="11"/>
                  </a:lnTo>
                  <a:lnTo>
                    <a:pt x="263" y="7"/>
                  </a:lnTo>
                  <a:lnTo>
                    <a:pt x="279" y="4"/>
                  </a:lnTo>
                  <a:lnTo>
                    <a:pt x="295" y="3"/>
                  </a:lnTo>
                  <a:lnTo>
                    <a:pt x="311" y="1"/>
                  </a:lnTo>
                  <a:lnTo>
                    <a:pt x="329" y="0"/>
                  </a:lnTo>
                  <a:lnTo>
                    <a:pt x="329" y="0"/>
                  </a:lnTo>
                  <a:lnTo>
                    <a:pt x="346" y="1"/>
                  </a:lnTo>
                  <a:lnTo>
                    <a:pt x="362" y="3"/>
                  </a:lnTo>
                  <a:lnTo>
                    <a:pt x="379" y="4"/>
                  </a:lnTo>
                  <a:lnTo>
                    <a:pt x="395" y="7"/>
                  </a:lnTo>
                  <a:lnTo>
                    <a:pt x="411" y="11"/>
                  </a:lnTo>
                  <a:lnTo>
                    <a:pt x="427" y="15"/>
                  </a:lnTo>
                  <a:lnTo>
                    <a:pt x="456" y="27"/>
                  </a:lnTo>
                  <a:lnTo>
                    <a:pt x="486" y="40"/>
                  </a:lnTo>
                  <a:lnTo>
                    <a:pt x="513" y="56"/>
                  </a:lnTo>
                  <a:lnTo>
                    <a:pt x="538" y="75"/>
                  </a:lnTo>
                  <a:lnTo>
                    <a:pt x="561" y="97"/>
                  </a:lnTo>
                  <a:lnTo>
                    <a:pt x="583" y="121"/>
                  </a:lnTo>
                  <a:lnTo>
                    <a:pt x="602" y="145"/>
                  </a:lnTo>
                  <a:lnTo>
                    <a:pt x="618" y="173"/>
                  </a:lnTo>
                  <a:lnTo>
                    <a:pt x="631" y="202"/>
                  </a:lnTo>
                  <a:lnTo>
                    <a:pt x="643" y="232"/>
                  </a:lnTo>
                  <a:lnTo>
                    <a:pt x="647" y="247"/>
                  </a:lnTo>
                  <a:lnTo>
                    <a:pt x="651" y="263"/>
                  </a:lnTo>
                  <a:lnTo>
                    <a:pt x="654" y="279"/>
                  </a:lnTo>
                  <a:lnTo>
                    <a:pt x="655" y="296"/>
                  </a:lnTo>
                  <a:lnTo>
                    <a:pt x="657" y="313"/>
                  </a:lnTo>
                  <a:lnTo>
                    <a:pt x="658" y="329"/>
                  </a:lnTo>
                  <a:lnTo>
                    <a:pt x="658" y="329"/>
                  </a:lnTo>
                  <a:lnTo>
                    <a:pt x="657" y="347"/>
                  </a:lnTo>
                  <a:lnTo>
                    <a:pt x="655" y="363"/>
                  </a:lnTo>
                  <a:lnTo>
                    <a:pt x="654" y="379"/>
                  </a:lnTo>
                  <a:lnTo>
                    <a:pt x="651" y="396"/>
                  </a:lnTo>
                  <a:lnTo>
                    <a:pt x="647" y="411"/>
                  </a:lnTo>
                  <a:lnTo>
                    <a:pt x="643" y="427"/>
                  </a:lnTo>
                  <a:lnTo>
                    <a:pt x="631" y="457"/>
                  </a:lnTo>
                  <a:lnTo>
                    <a:pt x="618" y="486"/>
                  </a:lnTo>
                  <a:lnTo>
                    <a:pt x="602" y="513"/>
                  </a:lnTo>
                  <a:lnTo>
                    <a:pt x="583" y="539"/>
                  </a:lnTo>
                  <a:lnTo>
                    <a:pt x="561" y="562"/>
                  </a:lnTo>
                  <a:lnTo>
                    <a:pt x="538" y="583"/>
                  </a:lnTo>
                  <a:lnTo>
                    <a:pt x="513" y="602"/>
                  </a:lnTo>
                  <a:lnTo>
                    <a:pt x="486" y="618"/>
                  </a:lnTo>
                  <a:lnTo>
                    <a:pt x="456" y="633"/>
                  </a:lnTo>
                  <a:lnTo>
                    <a:pt x="427" y="644"/>
                  </a:lnTo>
                  <a:lnTo>
                    <a:pt x="411" y="648"/>
                  </a:lnTo>
                  <a:lnTo>
                    <a:pt x="395" y="652"/>
                  </a:lnTo>
                  <a:lnTo>
                    <a:pt x="379" y="654"/>
                  </a:lnTo>
                  <a:lnTo>
                    <a:pt x="362" y="657"/>
                  </a:lnTo>
                  <a:lnTo>
                    <a:pt x="346" y="658"/>
                  </a:lnTo>
                  <a:lnTo>
                    <a:pt x="329" y="658"/>
                  </a:lnTo>
                  <a:lnTo>
                    <a:pt x="329" y="658"/>
                  </a:lnTo>
                  <a:close/>
                  <a:moveTo>
                    <a:pt x="329" y="38"/>
                  </a:moveTo>
                  <a:lnTo>
                    <a:pt x="329" y="38"/>
                  </a:lnTo>
                  <a:lnTo>
                    <a:pt x="299" y="40"/>
                  </a:lnTo>
                  <a:lnTo>
                    <a:pt x="270" y="44"/>
                  </a:lnTo>
                  <a:lnTo>
                    <a:pt x="243" y="51"/>
                  </a:lnTo>
                  <a:lnTo>
                    <a:pt x="216" y="62"/>
                  </a:lnTo>
                  <a:lnTo>
                    <a:pt x="190" y="74"/>
                  </a:lnTo>
                  <a:lnTo>
                    <a:pt x="166" y="89"/>
                  </a:lnTo>
                  <a:lnTo>
                    <a:pt x="143" y="105"/>
                  </a:lnTo>
                  <a:lnTo>
                    <a:pt x="123" y="124"/>
                  </a:lnTo>
                  <a:lnTo>
                    <a:pt x="104" y="144"/>
                  </a:lnTo>
                  <a:lnTo>
                    <a:pt x="87" y="167"/>
                  </a:lnTo>
                  <a:lnTo>
                    <a:pt x="72" y="191"/>
                  </a:lnTo>
                  <a:lnTo>
                    <a:pt x="60" y="216"/>
                  </a:lnTo>
                  <a:lnTo>
                    <a:pt x="51" y="243"/>
                  </a:lnTo>
                  <a:lnTo>
                    <a:pt x="44" y="271"/>
                  </a:lnTo>
                  <a:lnTo>
                    <a:pt x="39" y="300"/>
                  </a:lnTo>
                  <a:lnTo>
                    <a:pt x="37" y="329"/>
                  </a:lnTo>
                  <a:lnTo>
                    <a:pt x="37" y="329"/>
                  </a:lnTo>
                  <a:lnTo>
                    <a:pt x="39" y="359"/>
                  </a:lnTo>
                  <a:lnTo>
                    <a:pt x="44" y="388"/>
                  </a:lnTo>
                  <a:lnTo>
                    <a:pt x="51" y="416"/>
                  </a:lnTo>
                  <a:lnTo>
                    <a:pt x="60" y="443"/>
                  </a:lnTo>
                  <a:lnTo>
                    <a:pt x="72" y="468"/>
                  </a:lnTo>
                  <a:lnTo>
                    <a:pt x="87" y="492"/>
                  </a:lnTo>
                  <a:lnTo>
                    <a:pt x="104" y="515"/>
                  </a:lnTo>
                  <a:lnTo>
                    <a:pt x="123" y="535"/>
                  </a:lnTo>
                  <a:lnTo>
                    <a:pt x="143" y="553"/>
                  </a:lnTo>
                  <a:lnTo>
                    <a:pt x="166" y="571"/>
                  </a:lnTo>
                  <a:lnTo>
                    <a:pt x="190" y="586"/>
                  </a:lnTo>
                  <a:lnTo>
                    <a:pt x="216" y="598"/>
                  </a:lnTo>
                  <a:lnTo>
                    <a:pt x="243" y="607"/>
                  </a:lnTo>
                  <a:lnTo>
                    <a:pt x="270" y="615"/>
                  </a:lnTo>
                  <a:lnTo>
                    <a:pt x="299" y="619"/>
                  </a:lnTo>
                  <a:lnTo>
                    <a:pt x="329" y="621"/>
                  </a:lnTo>
                  <a:lnTo>
                    <a:pt x="329" y="621"/>
                  </a:lnTo>
                  <a:lnTo>
                    <a:pt x="358" y="619"/>
                  </a:lnTo>
                  <a:lnTo>
                    <a:pt x="388" y="615"/>
                  </a:lnTo>
                  <a:lnTo>
                    <a:pt x="415" y="607"/>
                  </a:lnTo>
                  <a:lnTo>
                    <a:pt x="442" y="598"/>
                  </a:lnTo>
                  <a:lnTo>
                    <a:pt x="467" y="586"/>
                  </a:lnTo>
                  <a:lnTo>
                    <a:pt x="491" y="571"/>
                  </a:lnTo>
                  <a:lnTo>
                    <a:pt x="514" y="553"/>
                  </a:lnTo>
                  <a:lnTo>
                    <a:pt x="534" y="535"/>
                  </a:lnTo>
                  <a:lnTo>
                    <a:pt x="553" y="515"/>
                  </a:lnTo>
                  <a:lnTo>
                    <a:pt x="571" y="492"/>
                  </a:lnTo>
                  <a:lnTo>
                    <a:pt x="585" y="468"/>
                  </a:lnTo>
                  <a:lnTo>
                    <a:pt x="598" y="443"/>
                  </a:lnTo>
                  <a:lnTo>
                    <a:pt x="607" y="416"/>
                  </a:lnTo>
                  <a:lnTo>
                    <a:pt x="614" y="388"/>
                  </a:lnTo>
                  <a:lnTo>
                    <a:pt x="619" y="359"/>
                  </a:lnTo>
                  <a:lnTo>
                    <a:pt x="620" y="329"/>
                  </a:lnTo>
                  <a:lnTo>
                    <a:pt x="620" y="329"/>
                  </a:lnTo>
                  <a:lnTo>
                    <a:pt x="619" y="300"/>
                  </a:lnTo>
                  <a:lnTo>
                    <a:pt x="614" y="271"/>
                  </a:lnTo>
                  <a:lnTo>
                    <a:pt x="607" y="243"/>
                  </a:lnTo>
                  <a:lnTo>
                    <a:pt x="598" y="216"/>
                  </a:lnTo>
                  <a:lnTo>
                    <a:pt x="585" y="191"/>
                  </a:lnTo>
                  <a:lnTo>
                    <a:pt x="571" y="167"/>
                  </a:lnTo>
                  <a:lnTo>
                    <a:pt x="553" y="144"/>
                  </a:lnTo>
                  <a:lnTo>
                    <a:pt x="534" y="124"/>
                  </a:lnTo>
                  <a:lnTo>
                    <a:pt x="514" y="105"/>
                  </a:lnTo>
                  <a:lnTo>
                    <a:pt x="491" y="89"/>
                  </a:lnTo>
                  <a:lnTo>
                    <a:pt x="467" y="74"/>
                  </a:lnTo>
                  <a:lnTo>
                    <a:pt x="442" y="62"/>
                  </a:lnTo>
                  <a:lnTo>
                    <a:pt x="415" y="51"/>
                  </a:lnTo>
                  <a:lnTo>
                    <a:pt x="388" y="44"/>
                  </a:lnTo>
                  <a:lnTo>
                    <a:pt x="358" y="40"/>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78" name="Group 77">
              <a:extLst>
                <a:ext uri="{FF2B5EF4-FFF2-40B4-BE49-F238E27FC236}">
                  <a16:creationId xmlns:a16="http://schemas.microsoft.com/office/drawing/2014/main" id="{E11D48F3-1BD3-4B64-8697-7874447F6AF1}"/>
                </a:ext>
              </a:extLst>
            </p:cNvPr>
            <p:cNvGrpSpPr/>
            <p:nvPr/>
          </p:nvGrpSpPr>
          <p:grpSpPr>
            <a:xfrm>
              <a:off x="698501" y="935038"/>
              <a:ext cx="244475" cy="298450"/>
              <a:chOff x="698501" y="935038"/>
              <a:chExt cx="244475" cy="298450"/>
            </a:xfrm>
          </p:grpSpPr>
          <p:sp>
            <p:nvSpPr>
              <p:cNvPr id="79" name="Freeform 157">
                <a:extLst>
                  <a:ext uri="{FF2B5EF4-FFF2-40B4-BE49-F238E27FC236}">
                    <a16:creationId xmlns:a16="http://schemas.microsoft.com/office/drawing/2014/main" id="{E0B67462-5E97-4F40-8587-ACCFAEF32ADF}"/>
                  </a:ext>
                </a:extLst>
              </p:cNvPr>
              <p:cNvSpPr>
                <a:spLocks/>
              </p:cNvSpPr>
              <p:nvPr/>
            </p:nvSpPr>
            <p:spPr bwMode="auto">
              <a:xfrm>
                <a:off x="777876" y="935038"/>
                <a:ext cx="85725" cy="38100"/>
              </a:xfrm>
              <a:custGeom>
                <a:avLst/>
                <a:gdLst>
                  <a:gd name="T0" fmla="*/ 5 w 108"/>
                  <a:gd name="T1" fmla="*/ 24 h 48"/>
                  <a:gd name="T2" fmla="*/ 42 w 108"/>
                  <a:gd name="T3" fmla="*/ 24 h 48"/>
                  <a:gd name="T4" fmla="*/ 42 w 108"/>
                  <a:gd name="T5" fmla="*/ 48 h 48"/>
                  <a:gd name="T6" fmla="*/ 66 w 108"/>
                  <a:gd name="T7" fmla="*/ 48 h 48"/>
                  <a:gd name="T8" fmla="*/ 66 w 108"/>
                  <a:gd name="T9" fmla="*/ 24 h 48"/>
                  <a:gd name="T10" fmla="*/ 102 w 108"/>
                  <a:gd name="T11" fmla="*/ 24 h 48"/>
                  <a:gd name="T12" fmla="*/ 102 w 108"/>
                  <a:gd name="T13" fmla="*/ 24 h 48"/>
                  <a:gd name="T14" fmla="*/ 105 w 108"/>
                  <a:gd name="T15" fmla="*/ 23 h 48"/>
                  <a:gd name="T16" fmla="*/ 106 w 108"/>
                  <a:gd name="T17" fmla="*/ 22 h 48"/>
                  <a:gd name="T18" fmla="*/ 108 w 108"/>
                  <a:gd name="T19" fmla="*/ 20 h 48"/>
                  <a:gd name="T20" fmla="*/ 108 w 108"/>
                  <a:gd name="T21" fmla="*/ 18 h 48"/>
                  <a:gd name="T22" fmla="*/ 108 w 108"/>
                  <a:gd name="T23" fmla="*/ 5 h 48"/>
                  <a:gd name="T24" fmla="*/ 108 w 108"/>
                  <a:gd name="T25" fmla="*/ 5 h 48"/>
                  <a:gd name="T26" fmla="*/ 108 w 108"/>
                  <a:gd name="T27" fmla="*/ 3 h 48"/>
                  <a:gd name="T28" fmla="*/ 106 w 108"/>
                  <a:gd name="T29" fmla="*/ 1 h 48"/>
                  <a:gd name="T30" fmla="*/ 105 w 108"/>
                  <a:gd name="T31" fmla="*/ 0 h 48"/>
                  <a:gd name="T32" fmla="*/ 102 w 108"/>
                  <a:gd name="T33" fmla="*/ 0 h 48"/>
                  <a:gd name="T34" fmla="*/ 5 w 108"/>
                  <a:gd name="T35" fmla="*/ 0 h 48"/>
                  <a:gd name="T36" fmla="*/ 5 w 108"/>
                  <a:gd name="T37" fmla="*/ 0 h 48"/>
                  <a:gd name="T38" fmla="*/ 3 w 108"/>
                  <a:gd name="T39" fmla="*/ 0 h 48"/>
                  <a:gd name="T40" fmla="*/ 1 w 108"/>
                  <a:gd name="T41" fmla="*/ 1 h 48"/>
                  <a:gd name="T42" fmla="*/ 0 w 108"/>
                  <a:gd name="T43" fmla="*/ 3 h 48"/>
                  <a:gd name="T44" fmla="*/ 0 w 108"/>
                  <a:gd name="T45" fmla="*/ 5 h 48"/>
                  <a:gd name="T46" fmla="*/ 0 w 108"/>
                  <a:gd name="T47" fmla="*/ 18 h 48"/>
                  <a:gd name="T48" fmla="*/ 0 w 108"/>
                  <a:gd name="T49" fmla="*/ 18 h 48"/>
                  <a:gd name="T50" fmla="*/ 0 w 108"/>
                  <a:gd name="T51" fmla="*/ 20 h 48"/>
                  <a:gd name="T52" fmla="*/ 1 w 108"/>
                  <a:gd name="T53" fmla="*/ 22 h 48"/>
                  <a:gd name="T54" fmla="*/ 3 w 108"/>
                  <a:gd name="T55" fmla="*/ 23 h 48"/>
                  <a:gd name="T56" fmla="*/ 5 w 108"/>
                  <a:gd name="T57" fmla="*/ 24 h 48"/>
                  <a:gd name="T58" fmla="*/ 5 w 108"/>
                  <a:gd name="T59"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8" h="48">
                    <a:moveTo>
                      <a:pt x="5" y="24"/>
                    </a:moveTo>
                    <a:lnTo>
                      <a:pt x="42" y="24"/>
                    </a:lnTo>
                    <a:lnTo>
                      <a:pt x="42" y="48"/>
                    </a:lnTo>
                    <a:lnTo>
                      <a:pt x="66" y="48"/>
                    </a:lnTo>
                    <a:lnTo>
                      <a:pt x="66" y="24"/>
                    </a:lnTo>
                    <a:lnTo>
                      <a:pt x="102" y="24"/>
                    </a:lnTo>
                    <a:lnTo>
                      <a:pt x="102" y="24"/>
                    </a:lnTo>
                    <a:lnTo>
                      <a:pt x="105" y="23"/>
                    </a:lnTo>
                    <a:lnTo>
                      <a:pt x="106" y="22"/>
                    </a:lnTo>
                    <a:lnTo>
                      <a:pt x="108" y="20"/>
                    </a:lnTo>
                    <a:lnTo>
                      <a:pt x="108" y="18"/>
                    </a:lnTo>
                    <a:lnTo>
                      <a:pt x="108" y="5"/>
                    </a:lnTo>
                    <a:lnTo>
                      <a:pt x="108" y="5"/>
                    </a:lnTo>
                    <a:lnTo>
                      <a:pt x="108" y="3"/>
                    </a:lnTo>
                    <a:lnTo>
                      <a:pt x="106" y="1"/>
                    </a:lnTo>
                    <a:lnTo>
                      <a:pt x="105" y="0"/>
                    </a:lnTo>
                    <a:lnTo>
                      <a:pt x="102" y="0"/>
                    </a:lnTo>
                    <a:lnTo>
                      <a:pt x="5" y="0"/>
                    </a:lnTo>
                    <a:lnTo>
                      <a:pt x="5" y="0"/>
                    </a:lnTo>
                    <a:lnTo>
                      <a:pt x="3" y="0"/>
                    </a:lnTo>
                    <a:lnTo>
                      <a:pt x="1" y="1"/>
                    </a:lnTo>
                    <a:lnTo>
                      <a:pt x="0" y="3"/>
                    </a:lnTo>
                    <a:lnTo>
                      <a:pt x="0" y="5"/>
                    </a:lnTo>
                    <a:lnTo>
                      <a:pt x="0" y="18"/>
                    </a:lnTo>
                    <a:lnTo>
                      <a:pt x="0" y="18"/>
                    </a:lnTo>
                    <a:lnTo>
                      <a:pt x="0" y="20"/>
                    </a:lnTo>
                    <a:lnTo>
                      <a:pt x="1" y="22"/>
                    </a:lnTo>
                    <a:lnTo>
                      <a:pt x="3" y="23"/>
                    </a:lnTo>
                    <a:lnTo>
                      <a:pt x="5" y="24"/>
                    </a:lnTo>
                    <a:lnTo>
                      <a:pt x="5"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158">
                <a:extLst>
                  <a:ext uri="{FF2B5EF4-FFF2-40B4-BE49-F238E27FC236}">
                    <a16:creationId xmlns:a16="http://schemas.microsoft.com/office/drawing/2014/main" id="{5A818710-0400-4054-89C0-6843843D7595}"/>
                  </a:ext>
                </a:extLst>
              </p:cNvPr>
              <p:cNvSpPr>
                <a:spLocks/>
              </p:cNvSpPr>
              <p:nvPr/>
            </p:nvSpPr>
            <p:spPr bwMode="auto">
              <a:xfrm>
                <a:off x="773113" y="1063625"/>
                <a:ext cx="66675" cy="66675"/>
              </a:xfrm>
              <a:custGeom>
                <a:avLst/>
                <a:gdLst>
                  <a:gd name="T0" fmla="*/ 0 w 83"/>
                  <a:gd name="T1" fmla="*/ 0 h 84"/>
                  <a:gd name="T2" fmla="*/ 0 w 83"/>
                  <a:gd name="T3" fmla="*/ 0 h 84"/>
                  <a:gd name="T4" fmla="*/ 17 w 83"/>
                  <a:gd name="T5" fmla="*/ 35 h 84"/>
                  <a:gd name="T6" fmla="*/ 31 w 83"/>
                  <a:gd name="T7" fmla="*/ 60 h 84"/>
                  <a:gd name="T8" fmla="*/ 37 w 83"/>
                  <a:gd name="T9" fmla="*/ 71 h 84"/>
                  <a:gd name="T10" fmla="*/ 41 w 83"/>
                  <a:gd name="T11" fmla="*/ 76 h 84"/>
                  <a:gd name="T12" fmla="*/ 41 w 83"/>
                  <a:gd name="T13" fmla="*/ 76 h 84"/>
                  <a:gd name="T14" fmla="*/ 45 w 83"/>
                  <a:gd name="T15" fmla="*/ 80 h 84"/>
                  <a:gd name="T16" fmla="*/ 49 w 83"/>
                  <a:gd name="T17" fmla="*/ 82 h 84"/>
                  <a:gd name="T18" fmla="*/ 55 w 83"/>
                  <a:gd name="T19" fmla="*/ 83 h 84"/>
                  <a:gd name="T20" fmla="*/ 59 w 83"/>
                  <a:gd name="T21" fmla="*/ 84 h 84"/>
                  <a:gd name="T22" fmla="*/ 63 w 83"/>
                  <a:gd name="T23" fmla="*/ 83 h 84"/>
                  <a:gd name="T24" fmla="*/ 68 w 83"/>
                  <a:gd name="T25" fmla="*/ 82 h 84"/>
                  <a:gd name="T26" fmla="*/ 72 w 83"/>
                  <a:gd name="T27" fmla="*/ 80 h 84"/>
                  <a:gd name="T28" fmla="*/ 76 w 83"/>
                  <a:gd name="T29" fmla="*/ 76 h 84"/>
                  <a:gd name="T30" fmla="*/ 76 w 83"/>
                  <a:gd name="T31" fmla="*/ 76 h 84"/>
                  <a:gd name="T32" fmla="*/ 79 w 83"/>
                  <a:gd name="T33" fmla="*/ 74 h 84"/>
                  <a:gd name="T34" fmla="*/ 82 w 83"/>
                  <a:gd name="T35" fmla="*/ 68 h 84"/>
                  <a:gd name="T36" fmla="*/ 83 w 83"/>
                  <a:gd name="T37" fmla="*/ 64 h 84"/>
                  <a:gd name="T38" fmla="*/ 83 w 83"/>
                  <a:gd name="T39" fmla="*/ 60 h 84"/>
                  <a:gd name="T40" fmla="*/ 83 w 83"/>
                  <a:gd name="T41" fmla="*/ 55 h 84"/>
                  <a:gd name="T42" fmla="*/ 82 w 83"/>
                  <a:gd name="T43" fmla="*/ 51 h 84"/>
                  <a:gd name="T44" fmla="*/ 79 w 83"/>
                  <a:gd name="T45" fmla="*/ 47 h 84"/>
                  <a:gd name="T46" fmla="*/ 76 w 83"/>
                  <a:gd name="T47" fmla="*/ 43 h 84"/>
                  <a:gd name="T48" fmla="*/ 76 w 83"/>
                  <a:gd name="T49" fmla="*/ 43 h 84"/>
                  <a:gd name="T50" fmla="*/ 70 w 83"/>
                  <a:gd name="T51" fmla="*/ 39 h 84"/>
                  <a:gd name="T52" fmla="*/ 60 w 83"/>
                  <a:gd name="T53" fmla="*/ 32 h 84"/>
                  <a:gd name="T54" fmla="*/ 33 w 83"/>
                  <a:gd name="T55" fmla="*/ 17 h 84"/>
                  <a:gd name="T56" fmla="*/ 0 w 83"/>
                  <a:gd name="T57" fmla="*/ 0 h 84"/>
                  <a:gd name="T58" fmla="*/ 0 w 83"/>
                  <a:gd name="T59"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3" h="84">
                    <a:moveTo>
                      <a:pt x="0" y="0"/>
                    </a:moveTo>
                    <a:lnTo>
                      <a:pt x="0" y="0"/>
                    </a:lnTo>
                    <a:lnTo>
                      <a:pt x="17" y="35"/>
                    </a:lnTo>
                    <a:lnTo>
                      <a:pt x="31" y="60"/>
                    </a:lnTo>
                    <a:lnTo>
                      <a:pt x="37" y="71"/>
                    </a:lnTo>
                    <a:lnTo>
                      <a:pt x="41" y="76"/>
                    </a:lnTo>
                    <a:lnTo>
                      <a:pt x="41" y="76"/>
                    </a:lnTo>
                    <a:lnTo>
                      <a:pt x="45" y="80"/>
                    </a:lnTo>
                    <a:lnTo>
                      <a:pt x="49" y="82"/>
                    </a:lnTo>
                    <a:lnTo>
                      <a:pt x="55" y="83"/>
                    </a:lnTo>
                    <a:lnTo>
                      <a:pt x="59" y="84"/>
                    </a:lnTo>
                    <a:lnTo>
                      <a:pt x="63" y="83"/>
                    </a:lnTo>
                    <a:lnTo>
                      <a:pt x="68" y="82"/>
                    </a:lnTo>
                    <a:lnTo>
                      <a:pt x="72" y="80"/>
                    </a:lnTo>
                    <a:lnTo>
                      <a:pt x="76" y="76"/>
                    </a:lnTo>
                    <a:lnTo>
                      <a:pt x="76" y="76"/>
                    </a:lnTo>
                    <a:lnTo>
                      <a:pt x="79" y="74"/>
                    </a:lnTo>
                    <a:lnTo>
                      <a:pt x="82" y="68"/>
                    </a:lnTo>
                    <a:lnTo>
                      <a:pt x="83" y="64"/>
                    </a:lnTo>
                    <a:lnTo>
                      <a:pt x="83" y="60"/>
                    </a:lnTo>
                    <a:lnTo>
                      <a:pt x="83" y="55"/>
                    </a:lnTo>
                    <a:lnTo>
                      <a:pt x="82" y="51"/>
                    </a:lnTo>
                    <a:lnTo>
                      <a:pt x="79" y="47"/>
                    </a:lnTo>
                    <a:lnTo>
                      <a:pt x="76" y="43"/>
                    </a:lnTo>
                    <a:lnTo>
                      <a:pt x="76" y="43"/>
                    </a:lnTo>
                    <a:lnTo>
                      <a:pt x="70" y="39"/>
                    </a:lnTo>
                    <a:lnTo>
                      <a:pt x="60" y="32"/>
                    </a:lnTo>
                    <a:lnTo>
                      <a:pt x="33" y="17"/>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159">
                <a:extLst>
                  <a:ext uri="{FF2B5EF4-FFF2-40B4-BE49-F238E27FC236}">
                    <a16:creationId xmlns:a16="http://schemas.microsoft.com/office/drawing/2014/main" id="{51276086-1FF3-4839-9D0D-A3A14AA350E3}"/>
                  </a:ext>
                </a:extLst>
              </p:cNvPr>
              <p:cNvSpPr>
                <a:spLocks/>
              </p:cNvSpPr>
              <p:nvPr/>
            </p:nvSpPr>
            <p:spPr bwMode="auto">
              <a:xfrm>
                <a:off x="814388" y="1017588"/>
                <a:ext cx="12700" cy="28575"/>
              </a:xfrm>
              <a:custGeom>
                <a:avLst/>
                <a:gdLst>
                  <a:gd name="T0" fmla="*/ 8 w 16"/>
                  <a:gd name="T1" fmla="*/ 36 h 36"/>
                  <a:gd name="T2" fmla="*/ 8 w 16"/>
                  <a:gd name="T3" fmla="*/ 36 h 36"/>
                  <a:gd name="T4" fmla="*/ 12 w 16"/>
                  <a:gd name="T5" fmla="*/ 35 h 36"/>
                  <a:gd name="T6" fmla="*/ 15 w 16"/>
                  <a:gd name="T7" fmla="*/ 33 h 36"/>
                  <a:gd name="T8" fmla="*/ 16 w 16"/>
                  <a:gd name="T9" fmla="*/ 31 h 36"/>
                  <a:gd name="T10" fmla="*/ 16 w 16"/>
                  <a:gd name="T11" fmla="*/ 27 h 36"/>
                  <a:gd name="T12" fmla="*/ 16 w 16"/>
                  <a:gd name="T13" fmla="*/ 9 h 36"/>
                  <a:gd name="T14" fmla="*/ 16 w 16"/>
                  <a:gd name="T15" fmla="*/ 9 h 36"/>
                  <a:gd name="T16" fmla="*/ 16 w 16"/>
                  <a:gd name="T17" fmla="*/ 5 h 36"/>
                  <a:gd name="T18" fmla="*/ 15 w 16"/>
                  <a:gd name="T19" fmla="*/ 3 h 36"/>
                  <a:gd name="T20" fmla="*/ 12 w 16"/>
                  <a:gd name="T21" fmla="*/ 1 h 36"/>
                  <a:gd name="T22" fmla="*/ 8 w 16"/>
                  <a:gd name="T23" fmla="*/ 0 h 36"/>
                  <a:gd name="T24" fmla="*/ 8 w 16"/>
                  <a:gd name="T25" fmla="*/ 0 h 36"/>
                  <a:gd name="T26" fmla="*/ 4 w 16"/>
                  <a:gd name="T27" fmla="*/ 1 h 36"/>
                  <a:gd name="T28" fmla="*/ 1 w 16"/>
                  <a:gd name="T29" fmla="*/ 3 h 36"/>
                  <a:gd name="T30" fmla="*/ 0 w 16"/>
                  <a:gd name="T31" fmla="*/ 5 h 36"/>
                  <a:gd name="T32" fmla="*/ 0 w 16"/>
                  <a:gd name="T33" fmla="*/ 9 h 36"/>
                  <a:gd name="T34" fmla="*/ 0 w 16"/>
                  <a:gd name="T35" fmla="*/ 27 h 36"/>
                  <a:gd name="T36" fmla="*/ 0 w 16"/>
                  <a:gd name="T37" fmla="*/ 27 h 36"/>
                  <a:gd name="T38" fmla="*/ 0 w 16"/>
                  <a:gd name="T39" fmla="*/ 31 h 36"/>
                  <a:gd name="T40" fmla="*/ 1 w 16"/>
                  <a:gd name="T41" fmla="*/ 33 h 36"/>
                  <a:gd name="T42" fmla="*/ 4 w 16"/>
                  <a:gd name="T43" fmla="*/ 35 h 36"/>
                  <a:gd name="T44" fmla="*/ 8 w 16"/>
                  <a:gd name="T45" fmla="*/ 36 h 36"/>
                  <a:gd name="T46" fmla="*/ 8 w 16"/>
                  <a:gd name="T4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6">
                    <a:moveTo>
                      <a:pt x="8" y="36"/>
                    </a:moveTo>
                    <a:lnTo>
                      <a:pt x="8" y="36"/>
                    </a:lnTo>
                    <a:lnTo>
                      <a:pt x="12" y="35"/>
                    </a:lnTo>
                    <a:lnTo>
                      <a:pt x="15" y="33"/>
                    </a:lnTo>
                    <a:lnTo>
                      <a:pt x="16" y="31"/>
                    </a:lnTo>
                    <a:lnTo>
                      <a:pt x="16" y="27"/>
                    </a:lnTo>
                    <a:lnTo>
                      <a:pt x="16" y="9"/>
                    </a:lnTo>
                    <a:lnTo>
                      <a:pt x="16" y="9"/>
                    </a:lnTo>
                    <a:lnTo>
                      <a:pt x="16" y="5"/>
                    </a:lnTo>
                    <a:lnTo>
                      <a:pt x="15" y="3"/>
                    </a:lnTo>
                    <a:lnTo>
                      <a:pt x="12" y="1"/>
                    </a:lnTo>
                    <a:lnTo>
                      <a:pt x="8" y="0"/>
                    </a:lnTo>
                    <a:lnTo>
                      <a:pt x="8" y="0"/>
                    </a:lnTo>
                    <a:lnTo>
                      <a:pt x="4" y="1"/>
                    </a:lnTo>
                    <a:lnTo>
                      <a:pt x="1" y="3"/>
                    </a:lnTo>
                    <a:lnTo>
                      <a:pt x="0" y="5"/>
                    </a:lnTo>
                    <a:lnTo>
                      <a:pt x="0" y="9"/>
                    </a:lnTo>
                    <a:lnTo>
                      <a:pt x="0" y="27"/>
                    </a:lnTo>
                    <a:lnTo>
                      <a:pt x="0" y="27"/>
                    </a:lnTo>
                    <a:lnTo>
                      <a:pt x="0" y="31"/>
                    </a:lnTo>
                    <a:lnTo>
                      <a:pt x="1" y="33"/>
                    </a:lnTo>
                    <a:lnTo>
                      <a:pt x="4" y="35"/>
                    </a:lnTo>
                    <a:lnTo>
                      <a:pt x="8" y="36"/>
                    </a:lnTo>
                    <a:lnTo>
                      <a:pt x="8"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160">
                <a:extLst>
                  <a:ext uri="{FF2B5EF4-FFF2-40B4-BE49-F238E27FC236}">
                    <a16:creationId xmlns:a16="http://schemas.microsoft.com/office/drawing/2014/main" id="{4443DEA2-0FA4-4814-A2DE-00E5C2EB5B8A}"/>
                  </a:ext>
                </a:extLst>
              </p:cNvPr>
              <p:cNvSpPr>
                <a:spLocks/>
              </p:cNvSpPr>
              <p:nvPr/>
            </p:nvSpPr>
            <p:spPr bwMode="auto">
              <a:xfrm>
                <a:off x="885826" y="1103313"/>
                <a:ext cx="26988" cy="14288"/>
              </a:xfrm>
              <a:custGeom>
                <a:avLst/>
                <a:gdLst>
                  <a:gd name="T0" fmla="*/ 27 w 35"/>
                  <a:gd name="T1" fmla="*/ 0 h 17"/>
                  <a:gd name="T2" fmla="*/ 8 w 35"/>
                  <a:gd name="T3" fmla="*/ 0 h 17"/>
                  <a:gd name="T4" fmla="*/ 8 w 35"/>
                  <a:gd name="T5" fmla="*/ 0 h 17"/>
                  <a:gd name="T6" fmla="*/ 5 w 35"/>
                  <a:gd name="T7" fmla="*/ 1 h 17"/>
                  <a:gd name="T8" fmla="*/ 2 w 35"/>
                  <a:gd name="T9" fmla="*/ 2 h 17"/>
                  <a:gd name="T10" fmla="*/ 0 w 35"/>
                  <a:gd name="T11" fmla="*/ 5 h 17"/>
                  <a:gd name="T12" fmla="*/ 0 w 35"/>
                  <a:gd name="T13" fmla="*/ 9 h 17"/>
                  <a:gd name="T14" fmla="*/ 0 w 35"/>
                  <a:gd name="T15" fmla="*/ 9 h 17"/>
                  <a:gd name="T16" fmla="*/ 0 w 35"/>
                  <a:gd name="T17" fmla="*/ 12 h 17"/>
                  <a:gd name="T18" fmla="*/ 2 w 35"/>
                  <a:gd name="T19" fmla="*/ 14 h 17"/>
                  <a:gd name="T20" fmla="*/ 5 w 35"/>
                  <a:gd name="T21" fmla="*/ 17 h 17"/>
                  <a:gd name="T22" fmla="*/ 8 w 35"/>
                  <a:gd name="T23" fmla="*/ 17 h 17"/>
                  <a:gd name="T24" fmla="*/ 27 w 35"/>
                  <a:gd name="T25" fmla="*/ 17 h 17"/>
                  <a:gd name="T26" fmla="*/ 27 w 35"/>
                  <a:gd name="T27" fmla="*/ 17 h 17"/>
                  <a:gd name="T28" fmla="*/ 29 w 35"/>
                  <a:gd name="T29" fmla="*/ 17 h 17"/>
                  <a:gd name="T30" fmla="*/ 32 w 35"/>
                  <a:gd name="T31" fmla="*/ 14 h 17"/>
                  <a:gd name="T32" fmla="*/ 35 w 35"/>
                  <a:gd name="T33" fmla="*/ 12 h 17"/>
                  <a:gd name="T34" fmla="*/ 35 w 35"/>
                  <a:gd name="T35" fmla="*/ 9 h 17"/>
                  <a:gd name="T36" fmla="*/ 35 w 35"/>
                  <a:gd name="T37" fmla="*/ 9 h 17"/>
                  <a:gd name="T38" fmla="*/ 35 w 35"/>
                  <a:gd name="T39" fmla="*/ 5 h 17"/>
                  <a:gd name="T40" fmla="*/ 32 w 35"/>
                  <a:gd name="T41" fmla="*/ 2 h 17"/>
                  <a:gd name="T42" fmla="*/ 29 w 35"/>
                  <a:gd name="T43" fmla="*/ 1 h 17"/>
                  <a:gd name="T44" fmla="*/ 27 w 35"/>
                  <a:gd name="T45" fmla="*/ 0 h 17"/>
                  <a:gd name="T46" fmla="*/ 27 w 35"/>
                  <a:gd name="T4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17">
                    <a:moveTo>
                      <a:pt x="27" y="0"/>
                    </a:moveTo>
                    <a:lnTo>
                      <a:pt x="8" y="0"/>
                    </a:lnTo>
                    <a:lnTo>
                      <a:pt x="8" y="0"/>
                    </a:lnTo>
                    <a:lnTo>
                      <a:pt x="5" y="1"/>
                    </a:lnTo>
                    <a:lnTo>
                      <a:pt x="2" y="2"/>
                    </a:lnTo>
                    <a:lnTo>
                      <a:pt x="0" y="5"/>
                    </a:lnTo>
                    <a:lnTo>
                      <a:pt x="0" y="9"/>
                    </a:lnTo>
                    <a:lnTo>
                      <a:pt x="0" y="9"/>
                    </a:lnTo>
                    <a:lnTo>
                      <a:pt x="0" y="12"/>
                    </a:lnTo>
                    <a:lnTo>
                      <a:pt x="2" y="14"/>
                    </a:lnTo>
                    <a:lnTo>
                      <a:pt x="5" y="17"/>
                    </a:lnTo>
                    <a:lnTo>
                      <a:pt x="8" y="17"/>
                    </a:lnTo>
                    <a:lnTo>
                      <a:pt x="27" y="17"/>
                    </a:lnTo>
                    <a:lnTo>
                      <a:pt x="27" y="17"/>
                    </a:lnTo>
                    <a:lnTo>
                      <a:pt x="29" y="17"/>
                    </a:lnTo>
                    <a:lnTo>
                      <a:pt x="32" y="14"/>
                    </a:lnTo>
                    <a:lnTo>
                      <a:pt x="35" y="12"/>
                    </a:lnTo>
                    <a:lnTo>
                      <a:pt x="35" y="9"/>
                    </a:lnTo>
                    <a:lnTo>
                      <a:pt x="35" y="9"/>
                    </a:lnTo>
                    <a:lnTo>
                      <a:pt x="35" y="5"/>
                    </a:lnTo>
                    <a:lnTo>
                      <a:pt x="32" y="2"/>
                    </a:lnTo>
                    <a:lnTo>
                      <a:pt x="29" y="1"/>
                    </a:lnTo>
                    <a:lnTo>
                      <a:pt x="27" y="0"/>
                    </a:lnTo>
                    <a:lnTo>
                      <a:pt x="2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161">
                <a:extLst>
                  <a:ext uri="{FF2B5EF4-FFF2-40B4-BE49-F238E27FC236}">
                    <a16:creationId xmlns:a16="http://schemas.microsoft.com/office/drawing/2014/main" id="{6879F404-77D3-4153-9F6E-9183BB252917}"/>
                  </a:ext>
                </a:extLst>
              </p:cNvPr>
              <p:cNvSpPr>
                <a:spLocks/>
              </p:cNvSpPr>
              <p:nvPr/>
            </p:nvSpPr>
            <p:spPr bwMode="auto">
              <a:xfrm>
                <a:off x="814388" y="1174750"/>
                <a:ext cx="12700" cy="28575"/>
              </a:xfrm>
              <a:custGeom>
                <a:avLst/>
                <a:gdLst>
                  <a:gd name="T0" fmla="*/ 8 w 16"/>
                  <a:gd name="T1" fmla="*/ 0 h 36"/>
                  <a:gd name="T2" fmla="*/ 8 w 16"/>
                  <a:gd name="T3" fmla="*/ 0 h 36"/>
                  <a:gd name="T4" fmla="*/ 4 w 16"/>
                  <a:gd name="T5" fmla="*/ 1 h 36"/>
                  <a:gd name="T6" fmla="*/ 1 w 16"/>
                  <a:gd name="T7" fmla="*/ 2 h 36"/>
                  <a:gd name="T8" fmla="*/ 0 w 16"/>
                  <a:gd name="T9" fmla="*/ 5 h 36"/>
                  <a:gd name="T10" fmla="*/ 0 w 16"/>
                  <a:gd name="T11" fmla="*/ 9 h 36"/>
                  <a:gd name="T12" fmla="*/ 0 w 16"/>
                  <a:gd name="T13" fmla="*/ 27 h 36"/>
                  <a:gd name="T14" fmla="*/ 0 w 16"/>
                  <a:gd name="T15" fmla="*/ 27 h 36"/>
                  <a:gd name="T16" fmla="*/ 0 w 16"/>
                  <a:gd name="T17" fmla="*/ 31 h 36"/>
                  <a:gd name="T18" fmla="*/ 1 w 16"/>
                  <a:gd name="T19" fmla="*/ 33 h 36"/>
                  <a:gd name="T20" fmla="*/ 4 w 16"/>
                  <a:gd name="T21" fmla="*/ 35 h 36"/>
                  <a:gd name="T22" fmla="*/ 8 w 16"/>
                  <a:gd name="T23" fmla="*/ 36 h 36"/>
                  <a:gd name="T24" fmla="*/ 8 w 16"/>
                  <a:gd name="T25" fmla="*/ 36 h 36"/>
                  <a:gd name="T26" fmla="*/ 12 w 16"/>
                  <a:gd name="T27" fmla="*/ 35 h 36"/>
                  <a:gd name="T28" fmla="*/ 15 w 16"/>
                  <a:gd name="T29" fmla="*/ 33 h 36"/>
                  <a:gd name="T30" fmla="*/ 16 w 16"/>
                  <a:gd name="T31" fmla="*/ 31 h 36"/>
                  <a:gd name="T32" fmla="*/ 16 w 16"/>
                  <a:gd name="T33" fmla="*/ 27 h 36"/>
                  <a:gd name="T34" fmla="*/ 16 w 16"/>
                  <a:gd name="T35" fmla="*/ 9 h 36"/>
                  <a:gd name="T36" fmla="*/ 16 w 16"/>
                  <a:gd name="T37" fmla="*/ 9 h 36"/>
                  <a:gd name="T38" fmla="*/ 16 w 16"/>
                  <a:gd name="T39" fmla="*/ 5 h 36"/>
                  <a:gd name="T40" fmla="*/ 15 w 16"/>
                  <a:gd name="T41" fmla="*/ 2 h 36"/>
                  <a:gd name="T42" fmla="*/ 12 w 16"/>
                  <a:gd name="T43" fmla="*/ 1 h 36"/>
                  <a:gd name="T44" fmla="*/ 8 w 16"/>
                  <a:gd name="T45" fmla="*/ 0 h 36"/>
                  <a:gd name="T46" fmla="*/ 8 w 16"/>
                  <a:gd name="T4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6">
                    <a:moveTo>
                      <a:pt x="8" y="0"/>
                    </a:moveTo>
                    <a:lnTo>
                      <a:pt x="8" y="0"/>
                    </a:lnTo>
                    <a:lnTo>
                      <a:pt x="4" y="1"/>
                    </a:lnTo>
                    <a:lnTo>
                      <a:pt x="1" y="2"/>
                    </a:lnTo>
                    <a:lnTo>
                      <a:pt x="0" y="5"/>
                    </a:lnTo>
                    <a:lnTo>
                      <a:pt x="0" y="9"/>
                    </a:lnTo>
                    <a:lnTo>
                      <a:pt x="0" y="27"/>
                    </a:lnTo>
                    <a:lnTo>
                      <a:pt x="0" y="27"/>
                    </a:lnTo>
                    <a:lnTo>
                      <a:pt x="0" y="31"/>
                    </a:lnTo>
                    <a:lnTo>
                      <a:pt x="1" y="33"/>
                    </a:lnTo>
                    <a:lnTo>
                      <a:pt x="4" y="35"/>
                    </a:lnTo>
                    <a:lnTo>
                      <a:pt x="8" y="36"/>
                    </a:lnTo>
                    <a:lnTo>
                      <a:pt x="8" y="36"/>
                    </a:lnTo>
                    <a:lnTo>
                      <a:pt x="12" y="35"/>
                    </a:lnTo>
                    <a:lnTo>
                      <a:pt x="15" y="33"/>
                    </a:lnTo>
                    <a:lnTo>
                      <a:pt x="16" y="31"/>
                    </a:lnTo>
                    <a:lnTo>
                      <a:pt x="16" y="27"/>
                    </a:lnTo>
                    <a:lnTo>
                      <a:pt x="16" y="9"/>
                    </a:lnTo>
                    <a:lnTo>
                      <a:pt x="16" y="9"/>
                    </a:lnTo>
                    <a:lnTo>
                      <a:pt x="16" y="5"/>
                    </a:lnTo>
                    <a:lnTo>
                      <a:pt x="15" y="2"/>
                    </a:lnTo>
                    <a:lnTo>
                      <a:pt x="12" y="1"/>
                    </a:lnTo>
                    <a:lnTo>
                      <a:pt x="8" y="0"/>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 name="Freeform 162">
                <a:extLst>
                  <a:ext uri="{FF2B5EF4-FFF2-40B4-BE49-F238E27FC236}">
                    <a16:creationId xmlns:a16="http://schemas.microsoft.com/office/drawing/2014/main" id="{FBF269DD-3B10-4515-9102-D90861589971}"/>
                  </a:ext>
                </a:extLst>
              </p:cNvPr>
              <p:cNvSpPr>
                <a:spLocks/>
              </p:cNvSpPr>
              <p:nvPr/>
            </p:nvSpPr>
            <p:spPr bwMode="auto">
              <a:xfrm>
                <a:off x="727076" y="1103313"/>
                <a:ext cx="28575" cy="14288"/>
              </a:xfrm>
              <a:custGeom>
                <a:avLst/>
                <a:gdLst>
                  <a:gd name="T0" fmla="*/ 27 w 35"/>
                  <a:gd name="T1" fmla="*/ 0 h 17"/>
                  <a:gd name="T2" fmla="*/ 8 w 35"/>
                  <a:gd name="T3" fmla="*/ 0 h 17"/>
                  <a:gd name="T4" fmla="*/ 8 w 35"/>
                  <a:gd name="T5" fmla="*/ 0 h 17"/>
                  <a:gd name="T6" fmla="*/ 5 w 35"/>
                  <a:gd name="T7" fmla="*/ 1 h 17"/>
                  <a:gd name="T8" fmla="*/ 3 w 35"/>
                  <a:gd name="T9" fmla="*/ 2 h 17"/>
                  <a:gd name="T10" fmla="*/ 0 w 35"/>
                  <a:gd name="T11" fmla="*/ 5 h 17"/>
                  <a:gd name="T12" fmla="*/ 0 w 35"/>
                  <a:gd name="T13" fmla="*/ 9 h 17"/>
                  <a:gd name="T14" fmla="*/ 0 w 35"/>
                  <a:gd name="T15" fmla="*/ 9 h 17"/>
                  <a:gd name="T16" fmla="*/ 0 w 35"/>
                  <a:gd name="T17" fmla="*/ 12 h 17"/>
                  <a:gd name="T18" fmla="*/ 3 w 35"/>
                  <a:gd name="T19" fmla="*/ 14 h 17"/>
                  <a:gd name="T20" fmla="*/ 5 w 35"/>
                  <a:gd name="T21" fmla="*/ 17 h 17"/>
                  <a:gd name="T22" fmla="*/ 8 w 35"/>
                  <a:gd name="T23" fmla="*/ 17 h 17"/>
                  <a:gd name="T24" fmla="*/ 27 w 35"/>
                  <a:gd name="T25" fmla="*/ 17 h 17"/>
                  <a:gd name="T26" fmla="*/ 27 w 35"/>
                  <a:gd name="T27" fmla="*/ 17 h 17"/>
                  <a:gd name="T28" fmla="*/ 30 w 35"/>
                  <a:gd name="T29" fmla="*/ 17 h 17"/>
                  <a:gd name="T30" fmla="*/ 32 w 35"/>
                  <a:gd name="T31" fmla="*/ 14 h 17"/>
                  <a:gd name="T32" fmla="*/ 35 w 35"/>
                  <a:gd name="T33" fmla="*/ 12 h 17"/>
                  <a:gd name="T34" fmla="*/ 35 w 35"/>
                  <a:gd name="T35" fmla="*/ 9 h 17"/>
                  <a:gd name="T36" fmla="*/ 35 w 35"/>
                  <a:gd name="T37" fmla="*/ 9 h 17"/>
                  <a:gd name="T38" fmla="*/ 35 w 35"/>
                  <a:gd name="T39" fmla="*/ 5 h 17"/>
                  <a:gd name="T40" fmla="*/ 32 w 35"/>
                  <a:gd name="T41" fmla="*/ 2 h 17"/>
                  <a:gd name="T42" fmla="*/ 30 w 35"/>
                  <a:gd name="T43" fmla="*/ 1 h 17"/>
                  <a:gd name="T44" fmla="*/ 27 w 35"/>
                  <a:gd name="T45" fmla="*/ 0 h 17"/>
                  <a:gd name="T46" fmla="*/ 27 w 35"/>
                  <a:gd name="T4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17">
                    <a:moveTo>
                      <a:pt x="27" y="0"/>
                    </a:moveTo>
                    <a:lnTo>
                      <a:pt x="8" y="0"/>
                    </a:lnTo>
                    <a:lnTo>
                      <a:pt x="8" y="0"/>
                    </a:lnTo>
                    <a:lnTo>
                      <a:pt x="5" y="1"/>
                    </a:lnTo>
                    <a:lnTo>
                      <a:pt x="3" y="2"/>
                    </a:lnTo>
                    <a:lnTo>
                      <a:pt x="0" y="5"/>
                    </a:lnTo>
                    <a:lnTo>
                      <a:pt x="0" y="9"/>
                    </a:lnTo>
                    <a:lnTo>
                      <a:pt x="0" y="9"/>
                    </a:lnTo>
                    <a:lnTo>
                      <a:pt x="0" y="12"/>
                    </a:lnTo>
                    <a:lnTo>
                      <a:pt x="3" y="14"/>
                    </a:lnTo>
                    <a:lnTo>
                      <a:pt x="5" y="17"/>
                    </a:lnTo>
                    <a:lnTo>
                      <a:pt x="8" y="17"/>
                    </a:lnTo>
                    <a:lnTo>
                      <a:pt x="27" y="17"/>
                    </a:lnTo>
                    <a:lnTo>
                      <a:pt x="27" y="17"/>
                    </a:lnTo>
                    <a:lnTo>
                      <a:pt x="30" y="17"/>
                    </a:lnTo>
                    <a:lnTo>
                      <a:pt x="32" y="14"/>
                    </a:lnTo>
                    <a:lnTo>
                      <a:pt x="35" y="12"/>
                    </a:lnTo>
                    <a:lnTo>
                      <a:pt x="35" y="9"/>
                    </a:lnTo>
                    <a:lnTo>
                      <a:pt x="35" y="9"/>
                    </a:lnTo>
                    <a:lnTo>
                      <a:pt x="35" y="5"/>
                    </a:lnTo>
                    <a:lnTo>
                      <a:pt x="32" y="2"/>
                    </a:lnTo>
                    <a:lnTo>
                      <a:pt x="30" y="1"/>
                    </a:lnTo>
                    <a:lnTo>
                      <a:pt x="27" y="0"/>
                    </a:lnTo>
                    <a:lnTo>
                      <a:pt x="2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163">
                <a:extLst>
                  <a:ext uri="{FF2B5EF4-FFF2-40B4-BE49-F238E27FC236}">
                    <a16:creationId xmlns:a16="http://schemas.microsoft.com/office/drawing/2014/main" id="{E4BA8E25-6125-4BD0-BD26-7F0004D1BE29}"/>
                  </a:ext>
                </a:extLst>
              </p:cNvPr>
              <p:cNvSpPr>
                <a:spLocks noEditPoints="1"/>
              </p:cNvSpPr>
              <p:nvPr/>
            </p:nvSpPr>
            <p:spPr bwMode="auto">
              <a:xfrm>
                <a:off x="698501" y="987425"/>
                <a:ext cx="244475" cy="246063"/>
              </a:xfrm>
              <a:custGeom>
                <a:avLst/>
                <a:gdLst>
                  <a:gd name="T0" fmla="*/ 139 w 309"/>
                  <a:gd name="T1" fmla="*/ 2 h 311"/>
                  <a:gd name="T2" fmla="*/ 94 w 309"/>
                  <a:gd name="T3" fmla="*/ 14 h 311"/>
                  <a:gd name="T4" fmla="*/ 57 w 309"/>
                  <a:gd name="T5" fmla="*/ 37 h 311"/>
                  <a:gd name="T6" fmla="*/ 27 w 309"/>
                  <a:gd name="T7" fmla="*/ 69 h 311"/>
                  <a:gd name="T8" fmla="*/ 7 w 309"/>
                  <a:gd name="T9" fmla="*/ 109 h 311"/>
                  <a:gd name="T10" fmla="*/ 0 w 309"/>
                  <a:gd name="T11" fmla="*/ 156 h 311"/>
                  <a:gd name="T12" fmla="*/ 3 w 309"/>
                  <a:gd name="T13" fmla="*/ 187 h 311"/>
                  <a:gd name="T14" fmla="*/ 19 w 309"/>
                  <a:gd name="T15" fmla="*/ 230 h 311"/>
                  <a:gd name="T16" fmla="*/ 46 w 309"/>
                  <a:gd name="T17" fmla="*/ 265 h 311"/>
                  <a:gd name="T18" fmla="*/ 81 w 309"/>
                  <a:gd name="T19" fmla="*/ 292 h 311"/>
                  <a:gd name="T20" fmla="*/ 124 w 309"/>
                  <a:gd name="T21" fmla="*/ 308 h 311"/>
                  <a:gd name="T22" fmla="*/ 155 w 309"/>
                  <a:gd name="T23" fmla="*/ 311 h 311"/>
                  <a:gd name="T24" fmla="*/ 201 w 309"/>
                  <a:gd name="T25" fmla="*/ 304 h 311"/>
                  <a:gd name="T26" fmla="*/ 241 w 309"/>
                  <a:gd name="T27" fmla="*/ 284 h 311"/>
                  <a:gd name="T28" fmla="*/ 274 w 309"/>
                  <a:gd name="T29" fmla="*/ 254 h 311"/>
                  <a:gd name="T30" fmla="*/ 297 w 309"/>
                  <a:gd name="T31" fmla="*/ 215 h 311"/>
                  <a:gd name="T32" fmla="*/ 309 w 309"/>
                  <a:gd name="T33" fmla="*/ 171 h 311"/>
                  <a:gd name="T34" fmla="*/ 309 w 309"/>
                  <a:gd name="T35" fmla="*/ 140 h 311"/>
                  <a:gd name="T36" fmla="*/ 297 w 309"/>
                  <a:gd name="T37" fmla="*/ 96 h 311"/>
                  <a:gd name="T38" fmla="*/ 274 w 309"/>
                  <a:gd name="T39" fmla="*/ 57 h 311"/>
                  <a:gd name="T40" fmla="*/ 241 w 309"/>
                  <a:gd name="T41" fmla="*/ 27 h 311"/>
                  <a:gd name="T42" fmla="*/ 201 w 309"/>
                  <a:gd name="T43" fmla="*/ 8 h 311"/>
                  <a:gd name="T44" fmla="*/ 155 w 309"/>
                  <a:gd name="T45" fmla="*/ 0 h 311"/>
                  <a:gd name="T46" fmla="*/ 155 w 309"/>
                  <a:gd name="T47" fmla="*/ 290 h 311"/>
                  <a:gd name="T48" fmla="*/ 115 w 309"/>
                  <a:gd name="T49" fmla="*/ 284 h 311"/>
                  <a:gd name="T50" fmla="*/ 80 w 309"/>
                  <a:gd name="T51" fmla="*/ 268 h 311"/>
                  <a:gd name="T52" fmla="*/ 51 w 309"/>
                  <a:gd name="T53" fmla="*/ 241 h 311"/>
                  <a:gd name="T54" fmla="*/ 31 w 309"/>
                  <a:gd name="T55" fmla="*/ 208 h 311"/>
                  <a:gd name="T56" fmla="*/ 21 w 309"/>
                  <a:gd name="T57" fmla="*/ 170 h 311"/>
                  <a:gd name="T58" fmla="*/ 21 w 309"/>
                  <a:gd name="T59" fmla="*/ 141 h 311"/>
                  <a:gd name="T60" fmla="*/ 31 w 309"/>
                  <a:gd name="T61" fmla="*/ 104 h 311"/>
                  <a:gd name="T62" fmla="*/ 51 w 309"/>
                  <a:gd name="T63" fmla="*/ 70 h 311"/>
                  <a:gd name="T64" fmla="*/ 80 w 309"/>
                  <a:gd name="T65" fmla="*/ 45 h 311"/>
                  <a:gd name="T66" fmla="*/ 115 w 309"/>
                  <a:gd name="T67" fmla="*/ 27 h 311"/>
                  <a:gd name="T68" fmla="*/ 155 w 309"/>
                  <a:gd name="T69" fmla="*/ 20 h 311"/>
                  <a:gd name="T70" fmla="*/ 182 w 309"/>
                  <a:gd name="T71" fmla="*/ 23 h 311"/>
                  <a:gd name="T72" fmla="*/ 219 w 309"/>
                  <a:gd name="T73" fmla="*/ 38 h 311"/>
                  <a:gd name="T74" fmla="*/ 250 w 309"/>
                  <a:gd name="T75" fmla="*/ 61 h 311"/>
                  <a:gd name="T76" fmla="*/ 273 w 309"/>
                  <a:gd name="T77" fmla="*/ 92 h 311"/>
                  <a:gd name="T78" fmla="*/ 286 w 309"/>
                  <a:gd name="T79" fmla="*/ 128 h 311"/>
                  <a:gd name="T80" fmla="*/ 289 w 309"/>
                  <a:gd name="T81" fmla="*/ 156 h 311"/>
                  <a:gd name="T82" fmla="*/ 284 w 309"/>
                  <a:gd name="T83" fmla="*/ 195 h 311"/>
                  <a:gd name="T84" fmla="*/ 266 w 309"/>
                  <a:gd name="T85" fmla="*/ 231 h 311"/>
                  <a:gd name="T86" fmla="*/ 241 w 309"/>
                  <a:gd name="T87" fmla="*/ 260 h 311"/>
                  <a:gd name="T88" fmla="*/ 207 w 309"/>
                  <a:gd name="T89" fmla="*/ 280 h 311"/>
                  <a:gd name="T90" fmla="*/ 168 w 309"/>
                  <a:gd name="T91" fmla="*/ 28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9" h="311">
                    <a:moveTo>
                      <a:pt x="155" y="0"/>
                    </a:moveTo>
                    <a:lnTo>
                      <a:pt x="155" y="0"/>
                    </a:lnTo>
                    <a:lnTo>
                      <a:pt x="139" y="2"/>
                    </a:lnTo>
                    <a:lnTo>
                      <a:pt x="124" y="4"/>
                    </a:lnTo>
                    <a:lnTo>
                      <a:pt x="109" y="8"/>
                    </a:lnTo>
                    <a:lnTo>
                      <a:pt x="94" y="14"/>
                    </a:lnTo>
                    <a:lnTo>
                      <a:pt x="81" y="19"/>
                    </a:lnTo>
                    <a:lnTo>
                      <a:pt x="69" y="27"/>
                    </a:lnTo>
                    <a:lnTo>
                      <a:pt x="57" y="37"/>
                    </a:lnTo>
                    <a:lnTo>
                      <a:pt x="46" y="46"/>
                    </a:lnTo>
                    <a:lnTo>
                      <a:pt x="35" y="57"/>
                    </a:lnTo>
                    <a:lnTo>
                      <a:pt x="27" y="69"/>
                    </a:lnTo>
                    <a:lnTo>
                      <a:pt x="19" y="82"/>
                    </a:lnTo>
                    <a:lnTo>
                      <a:pt x="12" y="96"/>
                    </a:lnTo>
                    <a:lnTo>
                      <a:pt x="7" y="109"/>
                    </a:lnTo>
                    <a:lnTo>
                      <a:pt x="3" y="124"/>
                    </a:lnTo>
                    <a:lnTo>
                      <a:pt x="0" y="140"/>
                    </a:lnTo>
                    <a:lnTo>
                      <a:pt x="0" y="156"/>
                    </a:lnTo>
                    <a:lnTo>
                      <a:pt x="0" y="156"/>
                    </a:lnTo>
                    <a:lnTo>
                      <a:pt x="0" y="171"/>
                    </a:lnTo>
                    <a:lnTo>
                      <a:pt x="3" y="187"/>
                    </a:lnTo>
                    <a:lnTo>
                      <a:pt x="7" y="202"/>
                    </a:lnTo>
                    <a:lnTo>
                      <a:pt x="12" y="215"/>
                    </a:lnTo>
                    <a:lnTo>
                      <a:pt x="19" y="230"/>
                    </a:lnTo>
                    <a:lnTo>
                      <a:pt x="27" y="242"/>
                    </a:lnTo>
                    <a:lnTo>
                      <a:pt x="35" y="254"/>
                    </a:lnTo>
                    <a:lnTo>
                      <a:pt x="46" y="265"/>
                    </a:lnTo>
                    <a:lnTo>
                      <a:pt x="57" y="276"/>
                    </a:lnTo>
                    <a:lnTo>
                      <a:pt x="69" y="284"/>
                    </a:lnTo>
                    <a:lnTo>
                      <a:pt x="81" y="292"/>
                    </a:lnTo>
                    <a:lnTo>
                      <a:pt x="94" y="298"/>
                    </a:lnTo>
                    <a:lnTo>
                      <a:pt x="109" y="304"/>
                    </a:lnTo>
                    <a:lnTo>
                      <a:pt x="124" y="308"/>
                    </a:lnTo>
                    <a:lnTo>
                      <a:pt x="139" y="309"/>
                    </a:lnTo>
                    <a:lnTo>
                      <a:pt x="155" y="311"/>
                    </a:lnTo>
                    <a:lnTo>
                      <a:pt x="155" y="311"/>
                    </a:lnTo>
                    <a:lnTo>
                      <a:pt x="171" y="309"/>
                    </a:lnTo>
                    <a:lnTo>
                      <a:pt x="186" y="308"/>
                    </a:lnTo>
                    <a:lnTo>
                      <a:pt x="201" y="304"/>
                    </a:lnTo>
                    <a:lnTo>
                      <a:pt x="215" y="298"/>
                    </a:lnTo>
                    <a:lnTo>
                      <a:pt x="229" y="292"/>
                    </a:lnTo>
                    <a:lnTo>
                      <a:pt x="241" y="284"/>
                    </a:lnTo>
                    <a:lnTo>
                      <a:pt x="253" y="276"/>
                    </a:lnTo>
                    <a:lnTo>
                      <a:pt x="264" y="265"/>
                    </a:lnTo>
                    <a:lnTo>
                      <a:pt x="274" y="254"/>
                    </a:lnTo>
                    <a:lnTo>
                      <a:pt x="282" y="242"/>
                    </a:lnTo>
                    <a:lnTo>
                      <a:pt x="291" y="230"/>
                    </a:lnTo>
                    <a:lnTo>
                      <a:pt x="297" y="215"/>
                    </a:lnTo>
                    <a:lnTo>
                      <a:pt x="303" y="202"/>
                    </a:lnTo>
                    <a:lnTo>
                      <a:pt x="307" y="187"/>
                    </a:lnTo>
                    <a:lnTo>
                      <a:pt x="309" y="171"/>
                    </a:lnTo>
                    <a:lnTo>
                      <a:pt x="309" y="156"/>
                    </a:lnTo>
                    <a:lnTo>
                      <a:pt x="309" y="156"/>
                    </a:lnTo>
                    <a:lnTo>
                      <a:pt x="309" y="140"/>
                    </a:lnTo>
                    <a:lnTo>
                      <a:pt x="307" y="124"/>
                    </a:lnTo>
                    <a:lnTo>
                      <a:pt x="303" y="109"/>
                    </a:lnTo>
                    <a:lnTo>
                      <a:pt x="297" y="96"/>
                    </a:lnTo>
                    <a:lnTo>
                      <a:pt x="291" y="82"/>
                    </a:lnTo>
                    <a:lnTo>
                      <a:pt x="282" y="69"/>
                    </a:lnTo>
                    <a:lnTo>
                      <a:pt x="274" y="57"/>
                    </a:lnTo>
                    <a:lnTo>
                      <a:pt x="264" y="46"/>
                    </a:lnTo>
                    <a:lnTo>
                      <a:pt x="253" y="37"/>
                    </a:lnTo>
                    <a:lnTo>
                      <a:pt x="241" y="27"/>
                    </a:lnTo>
                    <a:lnTo>
                      <a:pt x="229" y="19"/>
                    </a:lnTo>
                    <a:lnTo>
                      <a:pt x="215" y="14"/>
                    </a:lnTo>
                    <a:lnTo>
                      <a:pt x="201" y="8"/>
                    </a:lnTo>
                    <a:lnTo>
                      <a:pt x="186" y="4"/>
                    </a:lnTo>
                    <a:lnTo>
                      <a:pt x="171" y="2"/>
                    </a:lnTo>
                    <a:lnTo>
                      <a:pt x="155" y="0"/>
                    </a:lnTo>
                    <a:lnTo>
                      <a:pt x="155" y="0"/>
                    </a:lnTo>
                    <a:close/>
                    <a:moveTo>
                      <a:pt x="155" y="290"/>
                    </a:moveTo>
                    <a:lnTo>
                      <a:pt x="155" y="290"/>
                    </a:lnTo>
                    <a:lnTo>
                      <a:pt x="141" y="289"/>
                    </a:lnTo>
                    <a:lnTo>
                      <a:pt x="128" y="288"/>
                    </a:lnTo>
                    <a:lnTo>
                      <a:pt x="115" y="284"/>
                    </a:lnTo>
                    <a:lnTo>
                      <a:pt x="102" y="280"/>
                    </a:lnTo>
                    <a:lnTo>
                      <a:pt x="90" y="274"/>
                    </a:lnTo>
                    <a:lnTo>
                      <a:pt x="80" y="268"/>
                    </a:lnTo>
                    <a:lnTo>
                      <a:pt x="69" y="260"/>
                    </a:lnTo>
                    <a:lnTo>
                      <a:pt x="59" y="250"/>
                    </a:lnTo>
                    <a:lnTo>
                      <a:pt x="51" y="241"/>
                    </a:lnTo>
                    <a:lnTo>
                      <a:pt x="43" y="231"/>
                    </a:lnTo>
                    <a:lnTo>
                      <a:pt x="37" y="219"/>
                    </a:lnTo>
                    <a:lnTo>
                      <a:pt x="31" y="208"/>
                    </a:lnTo>
                    <a:lnTo>
                      <a:pt x="26" y="195"/>
                    </a:lnTo>
                    <a:lnTo>
                      <a:pt x="23" y="183"/>
                    </a:lnTo>
                    <a:lnTo>
                      <a:pt x="21" y="170"/>
                    </a:lnTo>
                    <a:lnTo>
                      <a:pt x="21" y="156"/>
                    </a:lnTo>
                    <a:lnTo>
                      <a:pt x="21" y="156"/>
                    </a:lnTo>
                    <a:lnTo>
                      <a:pt x="21" y="141"/>
                    </a:lnTo>
                    <a:lnTo>
                      <a:pt x="23" y="128"/>
                    </a:lnTo>
                    <a:lnTo>
                      <a:pt x="26" y="116"/>
                    </a:lnTo>
                    <a:lnTo>
                      <a:pt x="31" y="104"/>
                    </a:lnTo>
                    <a:lnTo>
                      <a:pt x="37" y="92"/>
                    </a:lnTo>
                    <a:lnTo>
                      <a:pt x="43" y="81"/>
                    </a:lnTo>
                    <a:lnTo>
                      <a:pt x="51" y="70"/>
                    </a:lnTo>
                    <a:lnTo>
                      <a:pt x="59" y="61"/>
                    </a:lnTo>
                    <a:lnTo>
                      <a:pt x="69" y="51"/>
                    </a:lnTo>
                    <a:lnTo>
                      <a:pt x="80" y="45"/>
                    </a:lnTo>
                    <a:lnTo>
                      <a:pt x="90" y="38"/>
                    </a:lnTo>
                    <a:lnTo>
                      <a:pt x="102" y="31"/>
                    </a:lnTo>
                    <a:lnTo>
                      <a:pt x="115" y="27"/>
                    </a:lnTo>
                    <a:lnTo>
                      <a:pt x="128" y="23"/>
                    </a:lnTo>
                    <a:lnTo>
                      <a:pt x="141" y="22"/>
                    </a:lnTo>
                    <a:lnTo>
                      <a:pt x="155" y="20"/>
                    </a:lnTo>
                    <a:lnTo>
                      <a:pt x="155" y="20"/>
                    </a:lnTo>
                    <a:lnTo>
                      <a:pt x="168" y="22"/>
                    </a:lnTo>
                    <a:lnTo>
                      <a:pt x="182" y="23"/>
                    </a:lnTo>
                    <a:lnTo>
                      <a:pt x="195" y="27"/>
                    </a:lnTo>
                    <a:lnTo>
                      <a:pt x="207" y="31"/>
                    </a:lnTo>
                    <a:lnTo>
                      <a:pt x="219" y="38"/>
                    </a:lnTo>
                    <a:lnTo>
                      <a:pt x="230" y="45"/>
                    </a:lnTo>
                    <a:lnTo>
                      <a:pt x="241" y="51"/>
                    </a:lnTo>
                    <a:lnTo>
                      <a:pt x="250" y="61"/>
                    </a:lnTo>
                    <a:lnTo>
                      <a:pt x="258" y="70"/>
                    </a:lnTo>
                    <a:lnTo>
                      <a:pt x="266" y="81"/>
                    </a:lnTo>
                    <a:lnTo>
                      <a:pt x="273" y="92"/>
                    </a:lnTo>
                    <a:lnTo>
                      <a:pt x="278" y="104"/>
                    </a:lnTo>
                    <a:lnTo>
                      <a:pt x="284" y="116"/>
                    </a:lnTo>
                    <a:lnTo>
                      <a:pt x="286" y="128"/>
                    </a:lnTo>
                    <a:lnTo>
                      <a:pt x="289" y="141"/>
                    </a:lnTo>
                    <a:lnTo>
                      <a:pt x="289" y="156"/>
                    </a:lnTo>
                    <a:lnTo>
                      <a:pt x="289" y="156"/>
                    </a:lnTo>
                    <a:lnTo>
                      <a:pt x="289" y="170"/>
                    </a:lnTo>
                    <a:lnTo>
                      <a:pt x="286" y="183"/>
                    </a:lnTo>
                    <a:lnTo>
                      <a:pt x="284" y="195"/>
                    </a:lnTo>
                    <a:lnTo>
                      <a:pt x="278" y="208"/>
                    </a:lnTo>
                    <a:lnTo>
                      <a:pt x="273" y="219"/>
                    </a:lnTo>
                    <a:lnTo>
                      <a:pt x="266" y="231"/>
                    </a:lnTo>
                    <a:lnTo>
                      <a:pt x="258" y="241"/>
                    </a:lnTo>
                    <a:lnTo>
                      <a:pt x="250" y="250"/>
                    </a:lnTo>
                    <a:lnTo>
                      <a:pt x="241" y="260"/>
                    </a:lnTo>
                    <a:lnTo>
                      <a:pt x="230" y="268"/>
                    </a:lnTo>
                    <a:lnTo>
                      <a:pt x="219" y="274"/>
                    </a:lnTo>
                    <a:lnTo>
                      <a:pt x="207" y="280"/>
                    </a:lnTo>
                    <a:lnTo>
                      <a:pt x="195" y="284"/>
                    </a:lnTo>
                    <a:lnTo>
                      <a:pt x="182" y="288"/>
                    </a:lnTo>
                    <a:lnTo>
                      <a:pt x="168" y="289"/>
                    </a:lnTo>
                    <a:lnTo>
                      <a:pt x="155" y="290"/>
                    </a:lnTo>
                    <a:lnTo>
                      <a:pt x="155" y="2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86" name="Group 85">
            <a:extLst>
              <a:ext uri="{FF2B5EF4-FFF2-40B4-BE49-F238E27FC236}">
                <a16:creationId xmlns:a16="http://schemas.microsoft.com/office/drawing/2014/main" id="{7C01CED2-CE2E-47F5-956B-B86400595DD0}"/>
              </a:ext>
            </a:extLst>
          </p:cNvPr>
          <p:cNvGrpSpPr/>
          <p:nvPr/>
        </p:nvGrpSpPr>
        <p:grpSpPr>
          <a:xfrm>
            <a:off x="5470000" y="1973020"/>
            <a:ext cx="710153" cy="713232"/>
            <a:chOff x="5038122" y="2814343"/>
            <a:chExt cx="710153" cy="713232"/>
          </a:xfrm>
        </p:grpSpPr>
        <p:grpSp>
          <p:nvGrpSpPr>
            <p:cNvPr id="87" name="Group 86">
              <a:extLst>
                <a:ext uri="{FF2B5EF4-FFF2-40B4-BE49-F238E27FC236}">
                  <a16:creationId xmlns:a16="http://schemas.microsoft.com/office/drawing/2014/main" id="{B9FADD78-D3C9-42F5-9647-5DC0D641EC00}"/>
                </a:ext>
              </a:extLst>
            </p:cNvPr>
            <p:cNvGrpSpPr>
              <a:grpSpLocks noChangeAspect="1"/>
            </p:cNvGrpSpPr>
            <p:nvPr/>
          </p:nvGrpSpPr>
          <p:grpSpPr>
            <a:xfrm>
              <a:off x="5274263" y="3040599"/>
              <a:ext cx="255587" cy="260350"/>
              <a:chOff x="692151" y="5145723"/>
              <a:chExt cx="255587" cy="260350"/>
            </a:xfrm>
          </p:grpSpPr>
          <p:sp>
            <p:nvSpPr>
              <p:cNvPr id="91" name="Freeform 199">
                <a:extLst>
                  <a:ext uri="{FF2B5EF4-FFF2-40B4-BE49-F238E27FC236}">
                    <a16:creationId xmlns:a16="http://schemas.microsoft.com/office/drawing/2014/main" id="{B28EB2CE-1629-4754-B030-E08A481773F8}"/>
                  </a:ext>
                </a:extLst>
              </p:cNvPr>
              <p:cNvSpPr>
                <a:spLocks/>
              </p:cNvSpPr>
              <p:nvPr/>
            </p:nvSpPr>
            <p:spPr bwMode="auto">
              <a:xfrm>
                <a:off x="722313" y="5145723"/>
                <a:ext cx="15875" cy="138113"/>
              </a:xfrm>
              <a:custGeom>
                <a:avLst/>
                <a:gdLst>
                  <a:gd name="T0" fmla="*/ 19 w 19"/>
                  <a:gd name="T1" fmla="*/ 8 h 174"/>
                  <a:gd name="T2" fmla="*/ 19 w 19"/>
                  <a:gd name="T3" fmla="*/ 8 h 174"/>
                  <a:gd name="T4" fmla="*/ 18 w 19"/>
                  <a:gd name="T5" fmla="*/ 6 h 174"/>
                  <a:gd name="T6" fmla="*/ 16 w 19"/>
                  <a:gd name="T7" fmla="*/ 3 h 174"/>
                  <a:gd name="T8" fmla="*/ 12 w 19"/>
                  <a:gd name="T9" fmla="*/ 0 h 174"/>
                  <a:gd name="T10" fmla="*/ 10 w 19"/>
                  <a:gd name="T11" fmla="*/ 0 h 174"/>
                  <a:gd name="T12" fmla="*/ 10 w 19"/>
                  <a:gd name="T13" fmla="*/ 0 h 174"/>
                  <a:gd name="T14" fmla="*/ 6 w 19"/>
                  <a:gd name="T15" fmla="*/ 0 h 174"/>
                  <a:gd name="T16" fmla="*/ 3 w 19"/>
                  <a:gd name="T17" fmla="*/ 3 h 174"/>
                  <a:gd name="T18" fmla="*/ 0 w 19"/>
                  <a:gd name="T19" fmla="*/ 6 h 174"/>
                  <a:gd name="T20" fmla="*/ 0 w 19"/>
                  <a:gd name="T21" fmla="*/ 8 h 174"/>
                  <a:gd name="T22" fmla="*/ 0 w 19"/>
                  <a:gd name="T23" fmla="*/ 174 h 174"/>
                  <a:gd name="T24" fmla="*/ 19 w 19"/>
                  <a:gd name="T25" fmla="*/ 174 h 174"/>
                  <a:gd name="T26" fmla="*/ 19 w 19"/>
                  <a:gd name="T27" fmla="*/ 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74">
                    <a:moveTo>
                      <a:pt x="19" y="8"/>
                    </a:moveTo>
                    <a:lnTo>
                      <a:pt x="19" y="8"/>
                    </a:lnTo>
                    <a:lnTo>
                      <a:pt x="18" y="6"/>
                    </a:lnTo>
                    <a:lnTo>
                      <a:pt x="16" y="3"/>
                    </a:lnTo>
                    <a:lnTo>
                      <a:pt x="12" y="0"/>
                    </a:lnTo>
                    <a:lnTo>
                      <a:pt x="10" y="0"/>
                    </a:lnTo>
                    <a:lnTo>
                      <a:pt x="10" y="0"/>
                    </a:lnTo>
                    <a:lnTo>
                      <a:pt x="6" y="0"/>
                    </a:lnTo>
                    <a:lnTo>
                      <a:pt x="3" y="3"/>
                    </a:lnTo>
                    <a:lnTo>
                      <a:pt x="0" y="6"/>
                    </a:lnTo>
                    <a:lnTo>
                      <a:pt x="0" y="8"/>
                    </a:lnTo>
                    <a:lnTo>
                      <a:pt x="0" y="174"/>
                    </a:lnTo>
                    <a:lnTo>
                      <a:pt x="19" y="174"/>
                    </a:lnTo>
                    <a:lnTo>
                      <a:pt x="1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Freeform 200">
                <a:extLst>
                  <a:ext uri="{FF2B5EF4-FFF2-40B4-BE49-F238E27FC236}">
                    <a16:creationId xmlns:a16="http://schemas.microsoft.com/office/drawing/2014/main" id="{97B2CAD2-5617-46AF-9FAF-0170ADBF978A}"/>
                  </a:ext>
                </a:extLst>
              </p:cNvPr>
              <p:cNvSpPr>
                <a:spLocks/>
              </p:cNvSpPr>
              <p:nvPr/>
            </p:nvSpPr>
            <p:spPr bwMode="auto">
              <a:xfrm>
                <a:off x="692151" y="5296535"/>
                <a:ext cx="74613" cy="109538"/>
              </a:xfrm>
              <a:custGeom>
                <a:avLst/>
                <a:gdLst>
                  <a:gd name="T0" fmla="*/ 88 w 92"/>
                  <a:gd name="T1" fmla="*/ 0 h 138"/>
                  <a:gd name="T2" fmla="*/ 5 w 92"/>
                  <a:gd name="T3" fmla="*/ 0 h 138"/>
                  <a:gd name="T4" fmla="*/ 5 w 92"/>
                  <a:gd name="T5" fmla="*/ 0 h 138"/>
                  <a:gd name="T6" fmla="*/ 2 w 92"/>
                  <a:gd name="T7" fmla="*/ 0 h 138"/>
                  <a:gd name="T8" fmla="*/ 1 w 92"/>
                  <a:gd name="T9" fmla="*/ 1 h 138"/>
                  <a:gd name="T10" fmla="*/ 0 w 92"/>
                  <a:gd name="T11" fmla="*/ 4 h 138"/>
                  <a:gd name="T12" fmla="*/ 0 w 92"/>
                  <a:gd name="T13" fmla="*/ 5 h 138"/>
                  <a:gd name="T14" fmla="*/ 0 w 92"/>
                  <a:gd name="T15" fmla="*/ 58 h 138"/>
                  <a:gd name="T16" fmla="*/ 0 w 92"/>
                  <a:gd name="T17" fmla="*/ 58 h 138"/>
                  <a:gd name="T18" fmla="*/ 0 w 92"/>
                  <a:gd name="T19" fmla="*/ 59 h 138"/>
                  <a:gd name="T20" fmla="*/ 1 w 92"/>
                  <a:gd name="T21" fmla="*/ 60 h 138"/>
                  <a:gd name="T22" fmla="*/ 2 w 92"/>
                  <a:gd name="T23" fmla="*/ 62 h 138"/>
                  <a:gd name="T24" fmla="*/ 5 w 92"/>
                  <a:gd name="T25" fmla="*/ 62 h 138"/>
                  <a:gd name="T26" fmla="*/ 37 w 92"/>
                  <a:gd name="T27" fmla="*/ 62 h 138"/>
                  <a:gd name="T28" fmla="*/ 37 w 92"/>
                  <a:gd name="T29" fmla="*/ 129 h 138"/>
                  <a:gd name="T30" fmla="*/ 37 w 92"/>
                  <a:gd name="T31" fmla="*/ 129 h 138"/>
                  <a:gd name="T32" fmla="*/ 37 w 92"/>
                  <a:gd name="T33" fmla="*/ 133 h 138"/>
                  <a:gd name="T34" fmla="*/ 40 w 92"/>
                  <a:gd name="T35" fmla="*/ 135 h 138"/>
                  <a:gd name="T36" fmla="*/ 43 w 92"/>
                  <a:gd name="T37" fmla="*/ 138 h 138"/>
                  <a:gd name="T38" fmla="*/ 47 w 92"/>
                  <a:gd name="T39" fmla="*/ 138 h 138"/>
                  <a:gd name="T40" fmla="*/ 47 w 92"/>
                  <a:gd name="T41" fmla="*/ 138 h 138"/>
                  <a:gd name="T42" fmla="*/ 49 w 92"/>
                  <a:gd name="T43" fmla="*/ 138 h 138"/>
                  <a:gd name="T44" fmla="*/ 53 w 92"/>
                  <a:gd name="T45" fmla="*/ 135 h 138"/>
                  <a:gd name="T46" fmla="*/ 55 w 92"/>
                  <a:gd name="T47" fmla="*/ 133 h 138"/>
                  <a:gd name="T48" fmla="*/ 56 w 92"/>
                  <a:gd name="T49" fmla="*/ 129 h 138"/>
                  <a:gd name="T50" fmla="*/ 56 w 92"/>
                  <a:gd name="T51" fmla="*/ 62 h 138"/>
                  <a:gd name="T52" fmla="*/ 88 w 92"/>
                  <a:gd name="T53" fmla="*/ 62 h 138"/>
                  <a:gd name="T54" fmla="*/ 88 w 92"/>
                  <a:gd name="T55" fmla="*/ 62 h 138"/>
                  <a:gd name="T56" fmla="*/ 90 w 92"/>
                  <a:gd name="T57" fmla="*/ 62 h 138"/>
                  <a:gd name="T58" fmla="*/ 91 w 92"/>
                  <a:gd name="T59" fmla="*/ 60 h 138"/>
                  <a:gd name="T60" fmla="*/ 92 w 92"/>
                  <a:gd name="T61" fmla="*/ 59 h 138"/>
                  <a:gd name="T62" fmla="*/ 92 w 92"/>
                  <a:gd name="T63" fmla="*/ 58 h 138"/>
                  <a:gd name="T64" fmla="*/ 92 w 92"/>
                  <a:gd name="T65" fmla="*/ 5 h 138"/>
                  <a:gd name="T66" fmla="*/ 92 w 92"/>
                  <a:gd name="T67" fmla="*/ 5 h 138"/>
                  <a:gd name="T68" fmla="*/ 92 w 92"/>
                  <a:gd name="T69" fmla="*/ 4 h 138"/>
                  <a:gd name="T70" fmla="*/ 91 w 92"/>
                  <a:gd name="T71" fmla="*/ 1 h 138"/>
                  <a:gd name="T72" fmla="*/ 90 w 92"/>
                  <a:gd name="T73" fmla="*/ 0 h 138"/>
                  <a:gd name="T74" fmla="*/ 88 w 92"/>
                  <a:gd name="T75" fmla="*/ 0 h 138"/>
                  <a:gd name="T76" fmla="*/ 88 w 92"/>
                  <a:gd name="T7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2" h="138">
                    <a:moveTo>
                      <a:pt x="88" y="0"/>
                    </a:moveTo>
                    <a:lnTo>
                      <a:pt x="5" y="0"/>
                    </a:lnTo>
                    <a:lnTo>
                      <a:pt x="5" y="0"/>
                    </a:lnTo>
                    <a:lnTo>
                      <a:pt x="2" y="0"/>
                    </a:lnTo>
                    <a:lnTo>
                      <a:pt x="1" y="1"/>
                    </a:lnTo>
                    <a:lnTo>
                      <a:pt x="0" y="4"/>
                    </a:lnTo>
                    <a:lnTo>
                      <a:pt x="0" y="5"/>
                    </a:lnTo>
                    <a:lnTo>
                      <a:pt x="0" y="58"/>
                    </a:lnTo>
                    <a:lnTo>
                      <a:pt x="0" y="58"/>
                    </a:lnTo>
                    <a:lnTo>
                      <a:pt x="0" y="59"/>
                    </a:lnTo>
                    <a:lnTo>
                      <a:pt x="1" y="60"/>
                    </a:lnTo>
                    <a:lnTo>
                      <a:pt x="2" y="62"/>
                    </a:lnTo>
                    <a:lnTo>
                      <a:pt x="5" y="62"/>
                    </a:lnTo>
                    <a:lnTo>
                      <a:pt x="37" y="62"/>
                    </a:lnTo>
                    <a:lnTo>
                      <a:pt x="37" y="129"/>
                    </a:lnTo>
                    <a:lnTo>
                      <a:pt x="37" y="129"/>
                    </a:lnTo>
                    <a:lnTo>
                      <a:pt x="37" y="133"/>
                    </a:lnTo>
                    <a:lnTo>
                      <a:pt x="40" y="135"/>
                    </a:lnTo>
                    <a:lnTo>
                      <a:pt x="43" y="138"/>
                    </a:lnTo>
                    <a:lnTo>
                      <a:pt x="47" y="138"/>
                    </a:lnTo>
                    <a:lnTo>
                      <a:pt x="47" y="138"/>
                    </a:lnTo>
                    <a:lnTo>
                      <a:pt x="49" y="138"/>
                    </a:lnTo>
                    <a:lnTo>
                      <a:pt x="53" y="135"/>
                    </a:lnTo>
                    <a:lnTo>
                      <a:pt x="55" y="133"/>
                    </a:lnTo>
                    <a:lnTo>
                      <a:pt x="56" y="129"/>
                    </a:lnTo>
                    <a:lnTo>
                      <a:pt x="56" y="62"/>
                    </a:lnTo>
                    <a:lnTo>
                      <a:pt x="88" y="62"/>
                    </a:lnTo>
                    <a:lnTo>
                      <a:pt x="88" y="62"/>
                    </a:lnTo>
                    <a:lnTo>
                      <a:pt x="90" y="62"/>
                    </a:lnTo>
                    <a:lnTo>
                      <a:pt x="91" y="60"/>
                    </a:lnTo>
                    <a:lnTo>
                      <a:pt x="92" y="59"/>
                    </a:lnTo>
                    <a:lnTo>
                      <a:pt x="92" y="58"/>
                    </a:lnTo>
                    <a:lnTo>
                      <a:pt x="92" y="5"/>
                    </a:lnTo>
                    <a:lnTo>
                      <a:pt x="92" y="5"/>
                    </a:lnTo>
                    <a:lnTo>
                      <a:pt x="92" y="4"/>
                    </a:lnTo>
                    <a:lnTo>
                      <a:pt x="91" y="1"/>
                    </a:lnTo>
                    <a:lnTo>
                      <a:pt x="90" y="0"/>
                    </a:lnTo>
                    <a:lnTo>
                      <a:pt x="88" y="0"/>
                    </a:lnTo>
                    <a:lnTo>
                      <a:pt x="8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201">
                <a:extLst>
                  <a:ext uri="{FF2B5EF4-FFF2-40B4-BE49-F238E27FC236}">
                    <a16:creationId xmlns:a16="http://schemas.microsoft.com/office/drawing/2014/main" id="{50954957-1A91-4D8D-AE34-129232BEF93E}"/>
                  </a:ext>
                </a:extLst>
              </p:cNvPr>
              <p:cNvSpPr>
                <a:spLocks/>
              </p:cNvSpPr>
              <p:nvPr/>
            </p:nvSpPr>
            <p:spPr bwMode="auto">
              <a:xfrm>
                <a:off x="903288" y="5145723"/>
                <a:ext cx="14288" cy="138113"/>
              </a:xfrm>
              <a:custGeom>
                <a:avLst/>
                <a:gdLst>
                  <a:gd name="T0" fmla="*/ 19 w 19"/>
                  <a:gd name="T1" fmla="*/ 8 h 174"/>
                  <a:gd name="T2" fmla="*/ 19 w 19"/>
                  <a:gd name="T3" fmla="*/ 8 h 174"/>
                  <a:gd name="T4" fmla="*/ 18 w 19"/>
                  <a:gd name="T5" fmla="*/ 6 h 174"/>
                  <a:gd name="T6" fmla="*/ 17 w 19"/>
                  <a:gd name="T7" fmla="*/ 3 h 174"/>
                  <a:gd name="T8" fmla="*/ 14 w 19"/>
                  <a:gd name="T9" fmla="*/ 0 h 174"/>
                  <a:gd name="T10" fmla="*/ 10 w 19"/>
                  <a:gd name="T11" fmla="*/ 0 h 174"/>
                  <a:gd name="T12" fmla="*/ 10 w 19"/>
                  <a:gd name="T13" fmla="*/ 0 h 174"/>
                  <a:gd name="T14" fmla="*/ 6 w 19"/>
                  <a:gd name="T15" fmla="*/ 0 h 174"/>
                  <a:gd name="T16" fmla="*/ 3 w 19"/>
                  <a:gd name="T17" fmla="*/ 3 h 174"/>
                  <a:gd name="T18" fmla="*/ 2 w 19"/>
                  <a:gd name="T19" fmla="*/ 6 h 174"/>
                  <a:gd name="T20" fmla="*/ 0 w 19"/>
                  <a:gd name="T21" fmla="*/ 8 h 174"/>
                  <a:gd name="T22" fmla="*/ 0 w 19"/>
                  <a:gd name="T23" fmla="*/ 174 h 174"/>
                  <a:gd name="T24" fmla="*/ 19 w 19"/>
                  <a:gd name="T25" fmla="*/ 174 h 174"/>
                  <a:gd name="T26" fmla="*/ 19 w 19"/>
                  <a:gd name="T27" fmla="*/ 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74">
                    <a:moveTo>
                      <a:pt x="19" y="8"/>
                    </a:moveTo>
                    <a:lnTo>
                      <a:pt x="19" y="8"/>
                    </a:lnTo>
                    <a:lnTo>
                      <a:pt x="18" y="6"/>
                    </a:lnTo>
                    <a:lnTo>
                      <a:pt x="17" y="3"/>
                    </a:lnTo>
                    <a:lnTo>
                      <a:pt x="14" y="0"/>
                    </a:lnTo>
                    <a:lnTo>
                      <a:pt x="10" y="0"/>
                    </a:lnTo>
                    <a:lnTo>
                      <a:pt x="10" y="0"/>
                    </a:lnTo>
                    <a:lnTo>
                      <a:pt x="6" y="0"/>
                    </a:lnTo>
                    <a:lnTo>
                      <a:pt x="3" y="3"/>
                    </a:lnTo>
                    <a:lnTo>
                      <a:pt x="2" y="6"/>
                    </a:lnTo>
                    <a:lnTo>
                      <a:pt x="0" y="8"/>
                    </a:lnTo>
                    <a:lnTo>
                      <a:pt x="0" y="174"/>
                    </a:lnTo>
                    <a:lnTo>
                      <a:pt x="19" y="174"/>
                    </a:lnTo>
                    <a:lnTo>
                      <a:pt x="1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202">
                <a:extLst>
                  <a:ext uri="{FF2B5EF4-FFF2-40B4-BE49-F238E27FC236}">
                    <a16:creationId xmlns:a16="http://schemas.microsoft.com/office/drawing/2014/main" id="{26F561F7-A0A7-49F8-B8B5-DC2567F1CDF2}"/>
                  </a:ext>
                </a:extLst>
              </p:cNvPr>
              <p:cNvSpPr>
                <a:spLocks/>
              </p:cNvSpPr>
              <p:nvPr/>
            </p:nvSpPr>
            <p:spPr bwMode="auto">
              <a:xfrm>
                <a:off x="874713" y="5296535"/>
                <a:ext cx="73025" cy="109538"/>
              </a:xfrm>
              <a:custGeom>
                <a:avLst/>
                <a:gdLst>
                  <a:gd name="T0" fmla="*/ 88 w 93"/>
                  <a:gd name="T1" fmla="*/ 0 h 138"/>
                  <a:gd name="T2" fmla="*/ 4 w 93"/>
                  <a:gd name="T3" fmla="*/ 0 h 138"/>
                  <a:gd name="T4" fmla="*/ 4 w 93"/>
                  <a:gd name="T5" fmla="*/ 0 h 138"/>
                  <a:gd name="T6" fmla="*/ 3 w 93"/>
                  <a:gd name="T7" fmla="*/ 0 h 138"/>
                  <a:gd name="T8" fmla="*/ 2 w 93"/>
                  <a:gd name="T9" fmla="*/ 1 h 138"/>
                  <a:gd name="T10" fmla="*/ 0 w 93"/>
                  <a:gd name="T11" fmla="*/ 4 h 138"/>
                  <a:gd name="T12" fmla="*/ 0 w 93"/>
                  <a:gd name="T13" fmla="*/ 5 h 138"/>
                  <a:gd name="T14" fmla="*/ 0 w 93"/>
                  <a:gd name="T15" fmla="*/ 58 h 138"/>
                  <a:gd name="T16" fmla="*/ 0 w 93"/>
                  <a:gd name="T17" fmla="*/ 58 h 138"/>
                  <a:gd name="T18" fmla="*/ 0 w 93"/>
                  <a:gd name="T19" fmla="*/ 59 h 138"/>
                  <a:gd name="T20" fmla="*/ 2 w 93"/>
                  <a:gd name="T21" fmla="*/ 60 h 138"/>
                  <a:gd name="T22" fmla="*/ 3 w 93"/>
                  <a:gd name="T23" fmla="*/ 62 h 138"/>
                  <a:gd name="T24" fmla="*/ 4 w 93"/>
                  <a:gd name="T25" fmla="*/ 62 h 138"/>
                  <a:gd name="T26" fmla="*/ 36 w 93"/>
                  <a:gd name="T27" fmla="*/ 62 h 138"/>
                  <a:gd name="T28" fmla="*/ 36 w 93"/>
                  <a:gd name="T29" fmla="*/ 129 h 138"/>
                  <a:gd name="T30" fmla="*/ 36 w 93"/>
                  <a:gd name="T31" fmla="*/ 129 h 138"/>
                  <a:gd name="T32" fmla="*/ 38 w 93"/>
                  <a:gd name="T33" fmla="*/ 133 h 138"/>
                  <a:gd name="T34" fmla="*/ 39 w 93"/>
                  <a:gd name="T35" fmla="*/ 135 h 138"/>
                  <a:gd name="T36" fmla="*/ 42 w 93"/>
                  <a:gd name="T37" fmla="*/ 138 h 138"/>
                  <a:gd name="T38" fmla="*/ 46 w 93"/>
                  <a:gd name="T39" fmla="*/ 138 h 138"/>
                  <a:gd name="T40" fmla="*/ 46 w 93"/>
                  <a:gd name="T41" fmla="*/ 138 h 138"/>
                  <a:gd name="T42" fmla="*/ 50 w 93"/>
                  <a:gd name="T43" fmla="*/ 138 h 138"/>
                  <a:gd name="T44" fmla="*/ 53 w 93"/>
                  <a:gd name="T45" fmla="*/ 135 h 138"/>
                  <a:gd name="T46" fmla="*/ 54 w 93"/>
                  <a:gd name="T47" fmla="*/ 133 h 138"/>
                  <a:gd name="T48" fmla="*/ 55 w 93"/>
                  <a:gd name="T49" fmla="*/ 129 h 138"/>
                  <a:gd name="T50" fmla="*/ 55 w 93"/>
                  <a:gd name="T51" fmla="*/ 62 h 138"/>
                  <a:gd name="T52" fmla="*/ 88 w 93"/>
                  <a:gd name="T53" fmla="*/ 62 h 138"/>
                  <a:gd name="T54" fmla="*/ 88 w 93"/>
                  <a:gd name="T55" fmla="*/ 62 h 138"/>
                  <a:gd name="T56" fmla="*/ 89 w 93"/>
                  <a:gd name="T57" fmla="*/ 62 h 138"/>
                  <a:gd name="T58" fmla="*/ 92 w 93"/>
                  <a:gd name="T59" fmla="*/ 60 h 138"/>
                  <a:gd name="T60" fmla="*/ 93 w 93"/>
                  <a:gd name="T61" fmla="*/ 59 h 138"/>
                  <a:gd name="T62" fmla="*/ 93 w 93"/>
                  <a:gd name="T63" fmla="*/ 58 h 138"/>
                  <a:gd name="T64" fmla="*/ 93 w 93"/>
                  <a:gd name="T65" fmla="*/ 5 h 138"/>
                  <a:gd name="T66" fmla="*/ 93 w 93"/>
                  <a:gd name="T67" fmla="*/ 5 h 138"/>
                  <a:gd name="T68" fmla="*/ 93 w 93"/>
                  <a:gd name="T69" fmla="*/ 4 h 138"/>
                  <a:gd name="T70" fmla="*/ 92 w 93"/>
                  <a:gd name="T71" fmla="*/ 1 h 138"/>
                  <a:gd name="T72" fmla="*/ 89 w 93"/>
                  <a:gd name="T73" fmla="*/ 0 h 138"/>
                  <a:gd name="T74" fmla="*/ 88 w 93"/>
                  <a:gd name="T75" fmla="*/ 0 h 138"/>
                  <a:gd name="T76" fmla="*/ 88 w 93"/>
                  <a:gd name="T7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 h="138">
                    <a:moveTo>
                      <a:pt x="88" y="0"/>
                    </a:moveTo>
                    <a:lnTo>
                      <a:pt x="4" y="0"/>
                    </a:lnTo>
                    <a:lnTo>
                      <a:pt x="4" y="0"/>
                    </a:lnTo>
                    <a:lnTo>
                      <a:pt x="3" y="0"/>
                    </a:lnTo>
                    <a:lnTo>
                      <a:pt x="2" y="1"/>
                    </a:lnTo>
                    <a:lnTo>
                      <a:pt x="0" y="4"/>
                    </a:lnTo>
                    <a:lnTo>
                      <a:pt x="0" y="5"/>
                    </a:lnTo>
                    <a:lnTo>
                      <a:pt x="0" y="58"/>
                    </a:lnTo>
                    <a:lnTo>
                      <a:pt x="0" y="58"/>
                    </a:lnTo>
                    <a:lnTo>
                      <a:pt x="0" y="59"/>
                    </a:lnTo>
                    <a:lnTo>
                      <a:pt x="2" y="60"/>
                    </a:lnTo>
                    <a:lnTo>
                      <a:pt x="3" y="62"/>
                    </a:lnTo>
                    <a:lnTo>
                      <a:pt x="4" y="62"/>
                    </a:lnTo>
                    <a:lnTo>
                      <a:pt x="36" y="62"/>
                    </a:lnTo>
                    <a:lnTo>
                      <a:pt x="36" y="129"/>
                    </a:lnTo>
                    <a:lnTo>
                      <a:pt x="36" y="129"/>
                    </a:lnTo>
                    <a:lnTo>
                      <a:pt x="38" y="133"/>
                    </a:lnTo>
                    <a:lnTo>
                      <a:pt x="39" y="135"/>
                    </a:lnTo>
                    <a:lnTo>
                      <a:pt x="42" y="138"/>
                    </a:lnTo>
                    <a:lnTo>
                      <a:pt x="46" y="138"/>
                    </a:lnTo>
                    <a:lnTo>
                      <a:pt x="46" y="138"/>
                    </a:lnTo>
                    <a:lnTo>
                      <a:pt x="50" y="138"/>
                    </a:lnTo>
                    <a:lnTo>
                      <a:pt x="53" y="135"/>
                    </a:lnTo>
                    <a:lnTo>
                      <a:pt x="54" y="133"/>
                    </a:lnTo>
                    <a:lnTo>
                      <a:pt x="55" y="129"/>
                    </a:lnTo>
                    <a:lnTo>
                      <a:pt x="55" y="62"/>
                    </a:lnTo>
                    <a:lnTo>
                      <a:pt x="88" y="62"/>
                    </a:lnTo>
                    <a:lnTo>
                      <a:pt x="88" y="62"/>
                    </a:lnTo>
                    <a:lnTo>
                      <a:pt x="89" y="62"/>
                    </a:lnTo>
                    <a:lnTo>
                      <a:pt x="92" y="60"/>
                    </a:lnTo>
                    <a:lnTo>
                      <a:pt x="93" y="59"/>
                    </a:lnTo>
                    <a:lnTo>
                      <a:pt x="93" y="58"/>
                    </a:lnTo>
                    <a:lnTo>
                      <a:pt x="93" y="5"/>
                    </a:lnTo>
                    <a:lnTo>
                      <a:pt x="93" y="5"/>
                    </a:lnTo>
                    <a:lnTo>
                      <a:pt x="93" y="4"/>
                    </a:lnTo>
                    <a:lnTo>
                      <a:pt x="92" y="1"/>
                    </a:lnTo>
                    <a:lnTo>
                      <a:pt x="89" y="0"/>
                    </a:lnTo>
                    <a:lnTo>
                      <a:pt x="88" y="0"/>
                    </a:lnTo>
                    <a:lnTo>
                      <a:pt x="8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Freeform 203">
                <a:extLst>
                  <a:ext uri="{FF2B5EF4-FFF2-40B4-BE49-F238E27FC236}">
                    <a16:creationId xmlns:a16="http://schemas.microsoft.com/office/drawing/2014/main" id="{C44A00FA-4E04-4300-8EB4-EDBBE7A96886}"/>
                  </a:ext>
                </a:extLst>
              </p:cNvPr>
              <p:cNvSpPr>
                <a:spLocks/>
              </p:cNvSpPr>
              <p:nvPr/>
            </p:nvSpPr>
            <p:spPr bwMode="auto">
              <a:xfrm>
                <a:off x="812801" y="5267960"/>
                <a:ext cx="14288" cy="138113"/>
              </a:xfrm>
              <a:custGeom>
                <a:avLst/>
                <a:gdLst>
                  <a:gd name="T0" fmla="*/ 0 w 17"/>
                  <a:gd name="T1" fmla="*/ 164 h 173"/>
                  <a:gd name="T2" fmla="*/ 0 w 17"/>
                  <a:gd name="T3" fmla="*/ 164 h 173"/>
                  <a:gd name="T4" fmla="*/ 0 w 17"/>
                  <a:gd name="T5" fmla="*/ 168 h 173"/>
                  <a:gd name="T6" fmla="*/ 2 w 17"/>
                  <a:gd name="T7" fmla="*/ 170 h 173"/>
                  <a:gd name="T8" fmla="*/ 5 w 17"/>
                  <a:gd name="T9" fmla="*/ 173 h 173"/>
                  <a:gd name="T10" fmla="*/ 8 w 17"/>
                  <a:gd name="T11" fmla="*/ 173 h 173"/>
                  <a:gd name="T12" fmla="*/ 8 w 17"/>
                  <a:gd name="T13" fmla="*/ 173 h 173"/>
                  <a:gd name="T14" fmla="*/ 12 w 17"/>
                  <a:gd name="T15" fmla="*/ 173 h 173"/>
                  <a:gd name="T16" fmla="*/ 14 w 17"/>
                  <a:gd name="T17" fmla="*/ 170 h 173"/>
                  <a:gd name="T18" fmla="*/ 17 w 17"/>
                  <a:gd name="T19" fmla="*/ 168 h 173"/>
                  <a:gd name="T20" fmla="*/ 17 w 17"/>
                  <a:gd name="T21" fmla="*/ 164 h 173"/>
                  <a:gd name="T22" fmla="*/ 17 w 17"/>
                  <a:gd name="T23" fmla="*/ 0 h 173"/>
                  <a:gd name="T24" fmla="*/ 0 w 17"/>
                  <a:gd name="T25" fmla="*/ 0 h 173"/>
                  <a:gd name="T26" fmla="*/ 0 w 17"/>
                  <a:gd name="T27" fmla="*/ 164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73">
                    <a:moveTo>
                      <a:pt x="0" y="164"/>
                    </a:moveTo>
                    <a:lnTo>
                      <a:pt x="0" y="164"/>
                    </a:lnTo>
                    <a:lnTo>
                      <a:pt x="0" y="168"/>
                    </a:lnTo>
                    <a:lnTo>
                      <a:pt x="2" y="170"/>
                    </a:lnTo>
                    <a:lnTo>
                      <a:pt x="5" y="173"/>
                    </a:lnTo>
                    <a:lnTo>
                      <a:pt x="8" y="173"/>
                    </a:lnTo>
                    <a:lnTo>
                      <a:pt x="8" y="173"/>
                    </a:lnTo>
                    <a:lnTo>
                      <a:pt x="12" y="173"/>
                    </a:lnTo>
                    <a:lnTo>
                      <a:pt x="14" y="170"/>
                    </a:lnTo>
                    <a:lnTo>
                      <a:pt x="17" y="168"/>
                    </a:lnTo>
                    <a:lnTo>
                      <a:pt x="17" y="164"/>
                    </a:lnTo>
                    <a:lnTo>
                      <a:pt x="17" y="0"/>
                    </a:lnTo>
                    <a:lnTo>
                      <a:pt x="0" y="0"/>
                    </a:lnTo>
                    <a:lnTo>
                      <a:pt x="0" y="16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204">
                <a:extLst>
                  <a:ext uri="{FF2B5EF4-FFF2-40B4-BE49-F238E27FC236}">
                    <a16:creationId xmlns:a16="http://schemas.microsoft.com/office/drawing/2014/main" id="{6BC4F745-5C78-421B-8677-0D688925C4A3}"/>
                  </a:ext>
                </a:extLst>
              </p:cNvPr>
              <p:cNvSpPr>
                <a:spLocks/>
              </p:cNvSpPr>
              <p:nvPr/>
            </p:nvSpPr>
            <p:spPr bwMode="auto">
              <a:xfrm>
                <a:off x="782638" y="5145723"/>
                <a:ext cx="74613" cy="109538"/>
              </a:xfrm>
              <a:custGeom>
                <a:avLst/>
                <a:gdLst>
                  <a:gd name="T0" fmla="*/ 87 w 93"/>
                  <a:gd name="T1" fmla="*/ 75 h 139"/>
                  <a:gd name="T2" fmla="*/ 55 w 93"/>
                  <a:gd name="T3" fmla="*/ 75 h 139"/>
                  <a:gd name="T4" fmla="*/ 55 w 93"/>
                  <a:gd name="T5" fmla="*/ 8 h 139"/>
                  <a:gd name="T6" fmla="*/ 55 w 93"/>
                  <a:gd name="T7" fmla="*/ 8 h 139"/>
                  <a:gd name="T8" fmla="*/ 55 w 93"/>
                  <a:gd name="T9" fmla="*/ 6 h 139"/>
                  <a:gd name="T10" fmla="*/ 52 w 93"/>
                  <a:gd name="T11" fmla="*/ 3 h 139"/>
                  <a:gd name="T12" fmla="*/ 50 w 93"/>
                  <a:gd name="T13" fmla="*/ 0 h 139"/>
                  <a:gd name="T14" fmla="*/ 46 w 93"/>
                  <a:gd name="T15" fmla="*/ 0 h 139"/>
                  <a:gd name="T16" fmla="*/ 46 w 93"/>
                  <a:gd name="T17" fmla="*/ 0 h 139"/>
                  <a:gd name="T18" fmla="*/ 43 w 93"/>
                  <a:gd name="T19" fmla="*/ 0 h 139"/>
                  <a:gd name="T20" fmla="*/ 40 w 93"/>
                  <a:gd name="T21" fmla="*/ 3 h 139"/>
                  <a:gd name="T22" fmla="*/ 38 w 93"/>
                  <a:gd name="T23" fmla="*/ 6 h 139"/>
                  <a:gd name="T24" fmla="*/ 38 w 93"/>
                  <a:gd name="T25" fmla="*/ 8 h 139"/>
                  <a:gd name="T26" fmla="*/ 38 w 93"/>
                  <a:gd name="T27" fmla="*/ 75 h 139"/>
                  <a:gd name="T28" fmla="*/ 5 w 93"/>
                  <a:gd name="T29" fmla="*/ 75 h 139"/>
                  <a:gd name="T30" fmla="*/ 5 w 93"/>
                  <a:gd name="T31" fmla="*/ 75 h 139"/>
                  <a:gd name="T32" fmla="*/ 3 w 93"/>
                  <a:gd name="T33" fmla="*/ 77 h 139"/>
                  <a:gd name="T34" fmla="*/ 1 w 93"/>
                  <a:gd name="T35" fmla="*/ 78 h 139"/>
                  <a:gd name="T36" fmla="*/ 0 w 93"/>
                  <a:gd name="T37" fmla="*/ 80 h 139"/>
                  <a:gd name="T38" fmla="*/ 0 w 93"/>
                  <a:gd name="T39" fmla="*/ 81 h 139"/>
                  <a:gd name="T40" fmla="*/ 0 w 93"/>
                  <a:gd name="T41" fmla="*/ 133 h 139"/>
                  <a:gd name="T42" fmla="*/ 0 w 93"/>
                  <a:gd name="T43" fmla="*/ 133 h 139"/>
                  <a:gd name="T44" fmla="*/ 0 w 93"/>
                  <a:gd name="T45" fmla="*/ 135 h 139"/>
                  <a:gd name="T46" fmla="*/ 1 w 93"/>
                  <a:gd name="T47" fmla="*/ 137 h 139"/>
                  <a:gd name="T48" fmla="*/ 3 w 93"/>
                  <a:gd name="T49" fmla="*/ 137 h 139"/>
                  <a:gd name="T50" fmla="*/ 5 w 93"/>
                  <a:gd name="T51" fmla="*/ 139 h 139"/>
                  <a:gd name="T52" fmla="*/ 87 w 93"/>
                  <a:gd name="T53" fmla="*/ 139 h 139"/>
                  <a:gd name="T54" fmla="*/ 87 w 93"/>
                  <a:gd name="T55" fmla="*/ 139 h 139"/>
                  <a:gd name="T56" fmla="*/ 90 w 93"/>
                  <a:gd name="T57" fmla="*/ 137 h 139"/>
                  <a:gd name="T58" fmla="*/ 91 w 93"/>
                  <a:gd name="T59" fmla="*/ 137 h 139"/>
                  <a:gd name="T60" fmla="*/ 93 w 93"/>
                  <a:gd name="T61" fmla="*/ 135 h 139"/>
                  <a:gd name="T62" fmla="*/ 93 w 93"/>
                  <a:gd name="T63" fmla="*/ 133 h 139"/>
                  <a:gd name="T64" fmla="*/ 93 w 93"/>
                  <a:gd name="T65" fmla="*/ 81 h 139"/>
                  <a:gd name="T66" fmla="*/ 93 w 93"/>
                  <a:gd name="T67" fmla="*/ 81 h 139"/>
                  <a:gd name="T68" fmla="*/ 93 w 93"/>
                  <a:gd name="T69" fmla="*/ 80 h 139"/>
                  <a:gd name="T70" fmla="*/ 91 w 93"/>
                  <a:gd name="T71" fmla="*/ 78 h 139"/>
                  <a:gd name="T72" fmla="*/ 90 w 93"/>
                  <a:gd name="T73" fmla="*/ 77 h 139"/>
                  <a:gd name="T74" fmla="*/ 87 w 93"/>
                  <a:gd name="T75" fmla="*/ 75 h 139"/>
                  <a:gd name="T76" fmla="*/ 87 w 93"/>
                  <a:gd name="T77" fmla="*/ 7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 h="139">
                    <a:moveTo>
                      <a:pt x="87" y="75"/>
                    </a:moveTo>
                    <a:lnTo>
                      <a:pt x="55" y="75"/>
                    </a:lnTo>
                    <a:lnTo>
                      <a:pt x="55" y="8"/>
                    </a:lnTo>
                    <a:lnTo>
                      <a:pt x="55" y="8"/>
                    </a:lnTo>
                    <a:lnTo>
                      <a:pt x="55" y="6"/>
                    </a:lnTo>
                    <a:lnTo>
                      <a:pt x="52" y="3"/>
                    </a:lnTo>
                    <a:lnTo>
                      <a:pt x="50" y="0"/>
                    </a:lnTo>
                    <a:lnTo>
                      <a:pt x="46" y="0"/>
                    </a:lnTo>
                    <a:lnTo>
                      <a:pt x="46" y="0"/>
                    </a:lnTo>
                    <a:lnTo>
                      <a:pt x="43" y="0"/>
                    </a:lnTo>
                    <a:lnTo>
                      <a:pt x="40" y="3"/>
                    </a:lnTo>
                    <a:lnTo>
                      <a:pt x="38" y="6"/>
                    </a:lnTo>
                    <a:lnTo>
                      <a:pt x="38" y="8"/>
                    </a:lnTo>
                    <a:lnTo>
                      <a:pt x="38" y="75"/>
                    </a:lnTo>
                    <a:lnTo>
                      <a:pt x="5" y="75"/>
                    </a:lnTo>
                    <a:lnTo>
                      <a:pt x="5" y="75"/>
                    </a:lnTo>
                    <a:lnTo>
                      <a:pt x="3" y="77"/>
                    </a:lnTo>
                    <a:lnTo>
                      <a:pt x="1" y="78"/>
                    </a:lnTo>
                    <a:lnTo>
                      <a:pt x="0" y="80"/>
                    </a:lnTo>
                    <a:lnTo>
                      <a:pt x="0" y="81"/>
                    </a:lnTo>
                    <a:lnTo>
                      <a:pt x="0" y="133"/>
                    </a:lnTo>
                    <a:lnTo>
                      <a:pt x="0" y="133"/>
                    </a:lnTo>
                    <a:lnTo>
                      <a:pt x="0" y="135"/>
                    </a:lnTo>
                    <a:lnTo>
                      <a:pt x="1" y="137"/>
                    </a:lnTo>
                    <a:lnTo>
                      <a:pt x="3" y="137"/>
                    </a:lnTo>
                    <a:lnTo>
                      <a:pt x="5" y="139"/>
                    </a:lnTo>
                    <a:lnTo>
                      <a:pt x="87" y="139"/>
                    </a:lnTo>
                    <a:lnTo>
                      <a:pt x="87" y="139"/>
                    </a:lnTo>
                    <a:lnTo>
                      <a:pt x="90" y="137"/>
                    </a:lnTo>
                    <a:lnTo>
                      <a:pt x="91" y="137"/>
                    </a:lnTo>
                    <a:lnTo>
                      <a:pt x="93" y="135"/>
                    </a:lnTo>
                    <a:lnTo>
                      <a:pt x="93" y="133"/>
                    </a:lnTo>
                    <a:lnTo>
                      <a:pt x="93" y="81"/>
                    </a:lnTo>
                    <a:lnTo>
                      <a:pt x="93" y="81"/>
                    </a:lnTo>
                    <a:lnTo>
                      <a:pt x="93" y="80"/>
                    </a:lnTo>
                    <a:lnTo>
                      <a:pt x="91" y="78"/>
                    </a:lnTo>
                    <a:lnTo>
                      <a:pt x="90" y="77"/>
                    </a:lnTo>
                    <a:lnTo>
                      <a:pt x="87" y="75"/>
                    </a:lnTo>
                    <a:lnTo>
                      <a:pt x="87" y="7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8" name="Group 87">
              <a:extLst>
                <a:ext uri="{FF2B5EF4-FFF2-40B4-BE49-F238E27FC236}">
                  <a16:creationId xmlns:a16="http://schemas.microsoft.com/office/drawing/2014/main" id="{7C1647CB-3B8C-4BE0-826F-1F1140AE338A}"/>
                </a:ext>
              </a:extLst>
            </p:cNvPr>
            <p:cNvGrpSpPr>
              <a:grpSpLocks noChangeAspect="1"/>
            </p:cNvGrpSpPr>
            <p:nvPr/>
          </p:nvGrpSpPr>
          <p:grpSpPr>
            <a:xfrm>
              <a:off x="5038122" y="2814343"/>
              <a:ext cx="710153" cy="713232"/>
              <a:chOff x="12216425" y="429331"/>
              <a:chExt cx="1510323" cy="1600239"/>
            </a:xfrm>
          </p:grpSpPr>
          <p:sp>
            <p:nvSpPr>
              <p:cNvPr id="89" name="Arc 88">
                <a:extLst>
                  <a:ext uri="{FF2B5EF4-FFF2-40B4-BE49-F238E27FC236}">
                    <a16:creationId xmlns:a16="http://schemas.microsoft.com/office/drawing/2014/main" id="{85B6F15C-51DA-4956-B264-C58EE2112D94}"/>
                  </a:ext>
                </a:extLst>
              </p:cNvPr>
              <p:cNvSpPr/>
              <p:nvPr/>
            </p:nvSpPr>
            <p:spPr>
              <a:xfrm>
                <a:off x="12216425" y="429331"/>
                <a:ext cx="1510323" cy="1600239"/>
              </a:xfrm>
              <a:prstGeom prst="arc">
                <a:avLst>
                  <a:gd name="adj1" fmla="val 17163472"/>
                  <a:gd name="adj2" fmla="val 6137139"/>
                </a:avLst>
              </a:prstGeom>
              <a:ln w="25400">
                <a:solidFill>
                  <a:schemeClr val="accent2">
                    <a:lumMod val="75000"/>
                  </a:schemeClr>
                </a:solidFill>
                <a:prstDash val="solid"/>
                <a:headEnd type="none" w="lg" len="lg"/>
                <a:tailEnd type="arrow"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5C5C5C"/>
                  </a:solidFill>
                </a:endParaRPr>
              </a:p>
            </p:txBody>
          </p:sp>
          <p:sp>
            <p:nvSpPr>
              <p:cNvPr id="90" name="Arc 89">
                <a:extLst>
                  <a:ext uri="{FF2B5EF4-FFF2-40B4-BE49-F238E27FC236}">
                    <a16:creationId xmlns:a16="http://schemas.microsoft.com/office/drawing/2014/main" id="{E5B058BB-B83C-4D25-A12E-CADEC73AFFB4}"/>
                  </a:ext>
                </a:extLst>
              </p:cNvPr>
              <p:cNvSpPr/>
              <p:nvPr/>
            </p:nvSpPr>
            <p:spPr>
              <a:xfrm>
                <a:off x="12216425" y="429331"/>
                <a:ext cx="1510323" cy="1600239"/>
              </a:xfrm>
              <a:prstGeom prst="arc">
                <a:avLst>
                  <a:gd name="adj1" fmla="val 6540982"/>
                  <a:gd name="adj2" fmla="val 16779209"/>
                </a:avLst>
              </a:prstGeom>
              <a:ln w="25400">
                <a:solidFill>
                  <a:schemeClr val="accent1"/>
                </a:solidFill>
                <a:prstDash val="solid"/>
                <a:headEnd type="none" w="lg" len="lg"/>
                <a:tailEnd type="arrow"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5C5C5C"/>
                  </a:solidFill>
                </a:endParaRPr>
              </a:p>
            </p:txBody>
          </p:sp>
        </p:grpSp>
      </p:grpSp>
      <p:sp>
        <p:nvSpPr>
          <p:cNvPr id="97" name="Content Placeholder 8">
            <a:extLst>
              <a:ext uri="{FF2B5EF4-FFF2-40B4-BE49-F238E27FC236}">
                <a16:creationId xmlns:a16="http://schemas.microsoft.com/office/drawing/2014/main" id="{90DCB576-41DB-47A6-B0F2-EC9FA10BC958}"/>
              </a:ext>
            </a:extLst>
          </p:cNvPr>
          <p:cNvSpPr txBox="1">
            <a:spLocks/>
          </p:cNvSpPr>
          <p:nvPr/>
        </p:nvSpPr>
        <p:spPr>
          <a:xfrm>
            <a:off x="6721785" y="2619433"/>
            <a:ext cx="4958591" cy="4100652"/>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spcBef>
                <a:spcPts val="600"/>
              </a:spcBef>
              <a:spcAft>
                <a:spcPts val="600"/>
              </a:spcAft>
              <a:buFont typeface="Wingdings" panose="05000000000000000000" pitchFamily="2" charset="2"/>
              <a:buChar char="§"/>
            </a:pPr>
            <a:r>
              <a:rPr lang="en-US" sz="1200" b="1" dirty="0"/>
              <a:t>Take out SG&amp;A costs </a:t>
            </a:r>
            <a:r>
              <a:rPr lang="en-US" sz="1200" dirty="0"/>
              <a:t>and realize benefits of proximity between product production and advertising production to </a:t>
            </a:r>
            <a:r>
              <a:rPr lang="en-US" sz="1200" b="1" dirty="0"/>
              <a:t>accelerate throughput </a:t>
            </a:r>
            <a:r>
              <a:rPr lang="en-US" sz="1200" dirty="0"/>
              <a:t>within </a:t>
            </a:r>
            <a:r>
              <a:rPr lang="en-US" sz="1200" i="1" dirty="0"/>
              <a:t>Creative / Photo Production</a:t>
            </a:r>
            <a:endParaRPr lang="en-US" sz="1200" dirty="0"/>
          </a:p>
          <a:p>
            <a:pPr marL="285750" indent="-285750">
              <a:spcBef>
                <a:spcPts val="600"/>
              </a:spcBef>
              <a:spcAft>
                <a:spcPts val="600"/>
              </a:spcAft>
              <a:buFont typeface="Wingdings" panose="05000000000000000000" pitchFamily="2" charset="2"/>
              <a:buChar char="§"/>
            </a:pPr>
            <a:r>
              <a:rPr lang="en-US" sz="1200" dirty="0"/>
              <a:t>Stabilize operations within </a:t>
            </a:r>
            <a:r>
              <a:rPr lang="en-US" sz="1200" i="1" dirty="0"/>
              <a:t>Analytics </a:t>
            </a:r>
            <a:r>
              <a:rPr lang="en-US" sz="1200" dirty="0"/>
              <a:t>to </a:t>
            </a:r>
            <a:r>
              <a:rPr lang="en-US" sz="1200" b="1" dirty="0"/>
              <a:t>improve output quality </a:t>
            </a:r>
            <a:r>
              <a:rPr lang="en-US" sz="1200" dirty="0"/>
              <a:t>and </a:t>
            </a:r>
            <a:r>
              <a:rPr lang="en-US" sz="1200" b="1" dirty="0"/>
              <a:t>reduce associate turnover</a:t>
            </a:r>
            <a:r>
              <a:rPr lang="en-US" sz="1200" dirty="0"/>
              <a:t> </a:t>
            </a:r>
          </a:p>
          <a:p>
            <a:pPr marL="285750" indent="-285750">
              <a:spcBef>
                <a:spcPts val="600"/>
              </a:spcBef>
              <a:spcAft>
                <a:spcPts val="600"/>
              </a:spcAft>
              <a:buFont typeface="Wingdings" panose="05000000000000000000" pitchFamily="2" charset="2"/>
              <a:buChar char="§"/>
            </a:pPr>
            <a:r>
              <a:rPr lang="en-US" sz="1200" b="1" dirty="0"/>
              <a:t>Optimize resource time allocation </a:t>
            </a:r>
            <a:r>
              <a:rPr lang="en-US" sz="1200" dirty="0"/>
              <a:t>to allow resources to dedicate more time to bigger strategic priorities</a:t>
            </a:r>
          </a:p>
          <a:p>
            <a:pPr marL="285750" indent="-285750">
              <a:spcBef>
                <a:spcPts val="600"/>
              </a:spcBef>
              <a:spcAft>
                <a:spcPts val="600"/>
              </a:spcAft>
              <a:buFont typeface="Wingdings" panose="05000000000000000000" pitchFamily="2" charset="2"/>
              <a:buChar char="§"/>
            </a:pPr>
            <a:r>
              <a:rPr lang="en-US" sz="1200" b="1" dirty="0"/>
              <a:t>Reconfigure the operating model </a:t>
            </a:r>
            <a:r>
              <a:rPr lang="en-US" sz="1200" dirty="0"/>
              <a:t>around the offshore processes to drive further efficiency and collaboration</a:t>
            </a:r>
          </a:p>
          <a:p>
            <a:pPr marL="285750" indent="-285750">
              <a:spcBef>
                <a:spcPts val="600"/>
              </a:spcBef>
              <a:spcAft>
                <a:spcPts val="600"/>
              </a:spcAft>
              <a:buFont typeface="Wingdings" panose="05000000000000000000" pitchFamily="2" charset="2"/>
              <a:buChar char="§"/>
            </a:pPr>
            <a:r>
              <a:rPr lang="en-US" sz="1200" dirty="0"/>
              <a:t>Provide </a:t>
            </a:r>
            <a:r>
              <a:rPr lang="en-US" sz="1200" b="1" dirty="0"/>
              <a:t>rapid</a:t>
            </a:r>
            <a:r>
              <a:rPr lang="en-US" sz="1200" dirty="0"/>
              <a:t> </a:t>
            </a:r>
            <a:r>
              <a:rPr lang="en-US" sz="1200" b="1" dirty="0"/>
              <a:t>demonstrable value </a:t>
            </a:r>
            <a:r>
              <a:rPr lang="en-US" sz="1200" dirty="0"/>
              <a:t>to the rest of the organization</a:t>
            </a:r>
          </a:p>
          <a:p>
            <a:pPr marL="285750" indent="-285750">
              <a:spcBef>
                <a:spcPts val="600"/>
              </a:spcBef>
              <a:spcAft>
                <a:spcPts val="600"/>
              </a:spcAft>
              <a:buFont typeface="Wingdings" panose="05000000000000000000" pitchFamily="2" charset="2"/>
              <a:buChar char="§"/>
            </a:pPr>
            <a:r>
              <a:rPr lang="en-US" sz="1200" b="1" dirty="0"/>
              <a:t>Empathetically</a:t>
            </a:r>
            <a:r>
              <a:rPr lang="en-US" sz="1200" dirty="0"/>
              <a:t> </a:t>
            </a:r>
            <a:r>
              <a:rPr lang="en-US" sz="1200" b="1" dirty="0"/>
              <a:t>manage change </a:t>
            </a:r>
            <a:r>
              <a:rPr lang="en-US" sz="1200" dirty="0"/>
              <a:t>throughout the transition process</a:t>
            </a:r>
          </a:p>
          <a:p>
            <a:pPr marL="0" indent="0">
              <a:spcBef>
                <a:spcPts val="600"/>
              </a:spcBef>
              <a:spcAft>
                <a:spcPts val="600"/>
              </a:spcAft>
              <a:buNone/>
            </a:pPr>
            <a:endParaRPr lang="en-GB" sz="1200" dirty="0">
              <a:latin typeface="Open Sans" charset="0"/>
              <a:ea typeface="Open Sans" charset="0"/>
              <a:cs typeface="Open Sans" charset="0"/>
            </a:endParaRPr>
          </a:p>
        </p:txBody>
      </p:sp>
      <p:grpSp>
        <p:nvGrpSpPr>
          <p:cNvPr id="98" name="Group 97">
            <a:extLst>
              <a:ext uri="{FF2B5EF4-FFF2-40B4-BE49-F238E27FC236}">
                <a16:creationId xmlns:a16="http://schemas.microsoft.com/office/drawing/2014/main" id="{E938EF36-A48F-4A90-9159-75FB53D99D59}"/>
              </a:ext>
            </a:extLst>
          </p:cNvPr>
          <p:cNvGrpSpPr>
            <a:grpSpLocks noChangeAspect="1"/>
          </p:cNvGrpSpPr>
          <p:nvPr/>
        </p:nvGrpSpPr>
        <p:grpSpPr>
          <a:xfrm>
            <a:off x="923164" y="3633298"/>
            <a:ext cx="390809" cy="393192"/>
            <a:chOff x="8469313" y="1664335"/>
            <a:chExt cx="520700" cy="523875"/>
          </a:xfrm>
        </p:grpSpPr>
        <p:sp>
          <p:nvSpPr>
            <p:cNvPr id="99" name="Freeform 25">
              <a:extLst>
                <a:ext uri="{FF2B5EF4-FFF2-40B4-BE49-F238E27FC236}">
                  <a16:creationId xmlns:a16="http://schemas.microsoft.com/office/drawing/2014/main" id="{EA3D5CEE-110D-42D0-A3E9-61635468A257}"/>
                </a:ext>
              </a:extLst>
            </p:cNvPr>
            <p:cNvSpPr>
              <a:spLocks noEditPoints="1"/>
            </p:cNvSpPr>
            <p:nvPr/>
          </p:nvSpPr>
          <p:spPr bwMode="auto">
            <a:xfrm>
              <a:off x="8469313" y="1664335"/>
              <a:ext cx="520700" cy="523875"/>
            </a:xfrm>
            <a:custGeom>
              <a:avLst/>
              <a:gdLst>
                <a:gd name="T0" fmla="*/ 312 w 657"/>
                <a:gd name="T1" fmla="*/ 659 h 659"/>
                <a:gd name="T2" fmla="*/ 262 w 657"/>
                <a:gd name="T3" fmla="*/ 652 h 659"/>
                <a:gd name="T4" fmla="*/ 200 w 657"/>
                <a:gd name="T5" fmla="*/ 634 h 659"/>
                <a:gd name="T6" fmla="*/ 120 w 657"/>
                <a:gd name="T7" fmla="*/ 584 h 659"/>
                <a:gd name="T8" fmla="*/ 56 w 657"/>
                <a:gd name="T9" fmla="*/ 514 h 659"/>
                <a:gd name="T10" fmla="*/ 15 w 657"/>
                <a:gd name="T11" fmla="*/ 428 h 659"/>
                <a:gd name="T12" fmla="*/ 4 w 657"/>
                <a:gd name="T13" fmla="*/ 380 h 659"/>
                <a:gd name="T14" fmla="*/ 0 w 657"/>
                <a:gd name="T15" fmla="*/ 330 h 659"/>
                <a:gd name="T16" fmla="*/ 1 w 657"/>
                <a:gd name="T17" fmla="*/ 296 h 659"/>
                <a:gd name="T18" fmla="*/ 11 w 657"/>
                <a:gd name="T19" fmla="*/ 248 h 659"/>
                <a:gd name="T20" fmla="*/ 39 w 657"/>
                <a:gd name="T21" fmla="*/ 174 h 659"/>
                <a:gd name="T22" fmla="*/ 97 w 657"/>
                <a:gd name="T23" fmla="*/ 97 h 659"/>
                <a:gd name="T24" fmla="*/ 172 w 657"/>
                <a:gd name="T25" fmla="*/ 41 h 659"/>
                <a:gd name="T26" fmla="*/ 246 w 657"/>
                <a:gd name="T27" fmla="*/ 11 h 659"/>
                <a:gd name="T28" fmla="*/ 296 w 657"/>
                <a:gd name="T29" fmla="*/ 3 h 659"/>
                <a:gd name="T30" fmla="*/ 329 w 657"/>
                <a:gd name="T31" fmla="*/ 0 h 659"/>
                <a:gd name="T32" fmla="*/ 379 w 657"/>
                <a:gd name="T33" fmla="*/ 5 h 659"/>
                <a:gd name="T34" fmla="*/ 426 w 657"/>
                <a:gd name="T35" fmla="*/ 15 h 659"/>
                <a:gd name="T36" fmla="*/ 512 w 657"/>
                <a:gd name="T37" fmla="*/ 57 h 659"/>
                <a:gd name="T38" fmla="*/ 582 w 657"/>
                <a:gd name="T39" fmla="*/ 121 h 659"/>
                <a:gd name="T40" fmla="*/ 632 w 657"/>
                <a:gd name="T41" fmla="*/ 202 h 659"/>
                <a:gd name="T42" fmla="*/ 651 w 657"/>
                <a:gd name="T43" fmla="*/ 264 h 659"/>
                <a:gd name="T44" fmla="*/ 657 w 657"/>
                <a:gd name="T45" fmla="*/ 314 h 659"/>
                <a:gd name="T46" fmla="*/ 657 w 657"/>
                <a:gd name="T47" fmla="*/ 347 h 659"/>
                <a:gd name="T48" fmla="*/ 651 w 657"/>
                <a:gd name="T49" fmla="*/ 396 h 659"/>
                <a:gd name="T50" fmla="*/ 632 w 657"/>
                <a:gd name="T51" fmla="*/ 457 h 659"/>
                <a:gd name="T52" fmla="*/ 582 w 657"/>
                <a:gd name="T53" fmla="*/ 539 h 659"/>
                <a:gd name="T54" fmla="*/ 512 w 657"/>
                <a:gd name="T55" fmla="*/ 603 h 659"/>
                <a:gd name="T56" fmla="*/ 426 w 657"/>
                <a:gd name="T57" fmla="*/ 644 h 659"/>
                <a:gd name="T58" fmla="*/ 379 w 657"/>
                <a:gd name="T59" fmla="*/ 655 h 659"/>
                <a:gd name="T60" fmla="*/ 329 w 657"/>
                <a:gd name="T61" fmla="*/ 659 h 659"/>
                <a:gd name="T62" fmla="*/ 329 w 657"/>
                <a:gd name="T63" fmla="*/ 38 h 659"/>
                <a:gd name="T64" fmla="*/ 242 w 657"/>
                <a:gd name="T65" fmla="*/ 52 h 659"/>
                <a:gd name="T66" fmla="*/ 165 w 657"/>
                <a:gd name="T67" fmla="*/ 89 h 659"/>
                <a:gd name="T68" fmla="*/ 104 w 657"/>
                <a:gd name="T69" fmla="*/ 144 h 659"/>
                <a:gd name="T70" fmla="*/ 61 w 657"/>
                <a:gd name="T71" fmla="*/ 217 h 659"/>
                <a:gd name="T72" fmla="*/ 39 w 657"/>
                <a:gd name="T73" fmla="*/ 300 h 659"/>
                <a:gd name="T74" fmla="*/ 39 w 657"/>
                <a:gd name="T75" fmla="*/ 359 h 659"/>
                <a:gd name="T76" fmla="*/ 61 w 657"/>
                <a:gd name="T77" fmla="*/ 444 h 659"/>
                <a:gd name="T78" fmla="*/ 104 w 657"/>
                <a:gd name="T79" fmla="*/ 515 h 659"/>
                <a:gd name="T80" fmla="*/ 165 w 657"/>
                <a:gd name="T81" fmla="*/ 572 h 659"/>
                <a:gd name="T82" fmla="*/ 242 w 657"/>
                <a:gd name="T83" fmla="*/ 608 h 659"/>
                <a:gd name="T84" fmla="*/ 329 w 657"/>
                <a:gd name="T85" fmla="*/ 621 h 659"/>
                <a:gd name="T86" fmla="*/ 387 w 657"/>
                <a:gd name="T87" fmla="*/ 616 h 659"/>
                <a:gd name="T88" fmla="*/ 468 w 657"/>
                <a:gd name="T89" fmla="*/ 586 h 659"/>
                <a:gd name="T90" fmla="*/ 535 w 657"/>
                <a:gd name="T91" fmla="*/ 535 h 659"/>
                <a:gd name="T92" fmla="*/ 585 w 657"/>
                <a:gd name="T93" fmla="*/ 468 h 659"/>
                <a:gd name="T94" fmla="*/ 614 w 657"/>
                <a:gd name="T95" fmla="*/ 389 h 659"/>
                <a:gd name="T96" fmla="*/ 620 w 657"/>
                <a:gd name="T97" fmla="*/ 330 h 659"/>
                <a:gd name="T98" fmla="*/ 608 w 657"/>
                <a:gd name="T99" fmla="*/ 244 h 659"/>
                <a:gd name="T100" fmla="*/ 570 w 657"/>
                <a:gd name="T101" fmla="*/ 167 h 659"/>
                <a:gd name="T102" fmla="*/ 513 w 657"/>
                <a:gd name="T103" fmla="*/ 105 h 659"/>
                <a:gd name="T104" fmla="*/ 442 w 657"/>
                <a:gd name="T105" fmla="*/ 62 h 659"/>
                <a:gd name="T106" fmla="*/ 359 w 657"/>
                <a:gd name="T107" fmla="*/ 41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9">
                  <a:moveTo>
                    <a:pt x="329" y="659"/>
                  </a:moveTo>
                  <a:lnTo>
                    <a:pt x="329" y="659"/>
                  </a:lnTo>
                  <a:lnTo>
                    <a:pt x="312" y="659"/>
                  </a:lnTo>
                  <a:lnTo>
                    <a:pt x="296" y="658"/>
                  </a:lnTo>
                  <a:lnTo>
                    <a:pt x="278" y="655"/>
                  </a:lnTo>
                  <a:lnTo>
                    <a:pt x="262" y="652"/>
                  </a:lnTo>
                  <a:lnTo>
                    <a:pt x="246" y="648"/>
                  </a:lnTo>
                  <a:lnTo>
                    <a:pt x="231" y="644"/>
                  </a:lnTo>
                  <a:lnTo>
                    <a:pt x="200" y="634"/>
                  </a:lnTo>
                  <a:lnTo>
                    <a:pt x="172" y="619"/>
                  </a:lnTo>
                  <a:lnTo>
                    <a:pt x="145" y="603"/>
                  </a:lnTo>
                  <a:lnTo>
                    <a:pt x="120" y="584"/>
                  </a:lnTo>
                  <a:lnTo>
                    <a:pt x="97" y="562"/>
                  </a:lnTo>
                  <a:lnTo>
                    <a:pt x="75" y="539"/>
                  </a:lnTo>
                  <a:lnTo>
                    <a:pt x="56" y="514"/>
                  </a:lnTo>
                  <a:lnTo>
                    <a:pt x="39" y="487"/>
                  </a:lnTo>
                  <a:lnTo>
                    <a:pt x="26" y="457"/>
                  </a:lnTo>
                  <a:lnTo>
                    <a:pt x="15" y="428"/>
                  </a:lnTo>
                  <a:lnTo>
                    <a:pt x="11" y="412"/>
                  </a:lnTo>
                  <a:lnTo>
                    <a:pt x="7" y="396"/>
                  </a:lnTo>
                  <a:lnTo>
                    <a:pt x="4" y="380"/>
                  </a:lnTo>
                  <a:lnTo>
                    <a:pt x="1" y="363"/>
                  </a:lnTo>
                  <a:lnTo>
                    <a:pt x="0" y="347"/>
                  </a:lnTo>
                  <a:lnTo>
                    <a:pt x="0" y="330"/>
                  </a:lnTo>
                  <a:lnTo>
                    <a:pt x="0" y="330"/>
                  </a:lnTo>
                  <a:lnTo>
                    <a:pt x="0" y="314"/>
                  </a:lnTo>
                  <a:lnTo>
                    <a:pt x="1" y="296"/>
                  </a:lnTo>
                  <a:lnTo>
                    <a:pt x="4" y="280"/>
                  </a:lnTo>
                  <a:lnTo>
                    <a:pt x="7" y="264"/>
                  </a:lnTo>
                  <a:lnTo>
                    <a:pt x="11" y="248"/>
                  </a:lnTo>
                  <a:lnTo>
                    <a:pt x="15" y="233"/>
                  </a:lnTo>
                  <a:lnTo>
                    <a:pt x="26" y="202"/>
                  </a:lnTo>
                  <a:lnTo>
                    <a:pt x="39" y="174"/>
                  </a:lnTo>
                  <a:lnTo>
                    <a:pt x="56" y="146"/>
                  </a:lnTo>
                  <a:lnTo>
                    <a:pt x="75" y="121"/>
                  </a:lnTo>
                  <a:lnTo>
                    <a:pt x="97" y="97"/>
                  </a:lnTo>
                  <a:lnTo>
                    <a:pt x="120" y="76"/>
                  </a:lnTo>
                  <a:lnTo>
                    <a:pt x="145" y="57"/>
                  </a:lnTo>
                  <a:lnTo>
                    <a:pt x="172" y="41"/>
                  </a:lnTo>
                  <a:lnTo>
                    <a:pt x="200" y="27"/>
                  </a:lnTo>
                  <a:lnTo>
                    <a:pt x="231" y="15"/>
                  </a:lnTo>
                  <a:lnTo>
                    <a:pt x="246" y="11"/>
                  </a:lnTo>
                  <a:lnTo>
                    <a:pt x="262" y="7"/>
                  </a:lnTo>
                  <a:lnTo>
                    <a:pt x="278" y="5"/>
                  </a:lnTo>
                  <a:lnTo>
                    <a:pt x="296" y="3"/>
                  </a:lnTo>
                  <a:lnTo>
                    <a:pt x="312" y="2"/>
                  </a:lnTo>
                  <a:lnTo>
                    <a:pt x="329" y="0"/>
                  </a:lnTo>
                  <a:lnTo>
                    <a:pt x="329" y="0"/>
                  </a:lnTo>
                  <a:lnTo>
                    <a:pt x="345" y="2"/>
                  </a:lnTo>
                  <a:lnTo>
                    <a:pt x="363" y="3"/>
                  </a:lnTo>
                  <a:lnTo>
                    <a:pt x="379" y="5"/>
                  </a:lnTo>
                  <a:lnTo>
                    <a:pt x="395" y="7"/>
                  </a:lnTo>
                  <a:lnTo>
                    <a:pt x="411" y="11"/>
                  </a:lnTo>
                  <a:lnTo>
                    <a:pt x="426" y="15"/>
                  </a:lnTo>
                  <a:lnTo>
                    <a:pt x="457" y="27"/>
                  </a:lnTo>
                  <a:lnTo>
                    <a:pt x="485" y="41"/>
                  </a:lnTo>
                  <a:lnTo>
                    <a:pt x="512" y="57"/>
                  </a:lnTo>
                  <a:lnTo>
                    <a:pt x="538" y="76"/>
                  </a:lnTo>
                  <a:lnTo>
                    <a:pt x="562" y="97"/>
                  </a:lnTo>
                  <a:lnTo>
                    <a:pt x="582" y="121"/>
                  </a:lnTo>
                  <a:lnTo>
                    <a:pt x="601" y="146"/>
                  </a:lnTo>
                  <a:lnTo>
                    <a:pt x="618" y="174"/>
                  </a:lnTo>
                  <a:lnTo>
                    <a:pt x="632" y="202"/>
                  </a:lnTo>
                  <a:lnTo>
                    <a:pt x="642" y="233"/>
                  </a:lnTo>
                  <a:lnTo>
                    <a:pt x="648" y="248"/>
                  </a:lnTo>
                  <a:lnTo>
                    <a:pt x="651" y="264"/>
                  </a:lnTo>
                  <a:lnTo>
                    <a:pt x="653" y="280"/>
                  </a:lnTo>
                  <a:lnTo>
                    <a:pt x="656" y="296"/>
                  </a:lnTo>
                  <a:lnTo>
                    <a:pt x="657" y="314"/>
                  </a:lnTo>
                  <a:lnTo>
                    <a:pt x="657" y="330"/>
                  </a:lnTo>
                  <a:lnTo>
                    <a:pt x="657" y="330"/>
                  </a:lnTo>
                  <a:lnTo>
                    <a:pt x="657" y="347"/>
                  </a:lnTo>
                  <a:lnTo>
                    <a:pt x="656" y="363"/>
                  </a:lnTo>
                  <a:lnTo>
                    <a:pt x="653" y="380"/>
                  </a:lnTo>
                  <a:lnTo>
                    <a:pt x="651" y="396"/>
                  </a:lnTo>
                  <a:lnTo>
                    <a:pt x="648" y="412"/>
                  </a:lnTo>
                  <a:lnTo>
                    <a:pt x="642" y="428"/>
                  </a:lnTo>
                  <a:lnTo>
                    <a:pt x="632" y="457"/>
                  </a:lnTo>
                  <a:lnTo>
                    <a:pt x="618" y="487"/>
                  </a:lnTo>
                  <a:lnTo>
                    <a:pt x="601" y="514"/>
                  </a:lnTo>
                  <a:lnTo>
                    <a:pt x="582" y="539"/>
                  </a:lnTo>
                  <a:lnTo>
                    <a:pt x="562" y="562"/>
                  </a:lnTo>
                  <a:lnTo>
                    <a:pt x="538" y="584"/>
                  </a:lnTo>
                  <a:lnTo>
                    <a:pt x="512" y="603"/>
                  </a:lnTo>
                  <a:lnTo>
                    <a:pt x="485" y="619"/>
                  </a:lnTo>
                  <a:lnTo>
                    <a:pt x="457" y="634"/>
                  </a:lnTo>
                  <a:lnTo>
                    <a:pt x="426" y="644"/>
                  </a:lnTo>
                  <a:lnTo>
                    <a:pt x="411" y="648"/>
                  </a:lnTo>
                  <a:lnTo>
                    <a:pt x="395" y="652"/>
                  </a:lnTo>
                  <a:lnTo>
                    <a:pt x="379" y="655"/>
                  </a:lnTo>
                  <a:lnTo>
                    <a:pt x="363" y="658"/>
                  </a:lnTo>
                  <a:lnTo>
                    <a:pt x="345" y="659"/>
                  </a:lnTo>
                  <a:lnTo>
                    <a:pt x="329" y="659"/>
                  </a:lnTo>
                  <a:lnTo>
                    <a:pt x="329" y="659"/>
                  </a:lnTo>
                  <a:close/>
                  <a:moveTo>
                    <a:pt x="329" y="38"/>
                  </a:moveTo>
                  <a:lnTo>
                    <a:pt x="329" y="38"/>
                  </a:lnTo>
                  <a:lnTo>
                    <a:pt x="298" y="41"/>
                  </a:lnTo>
                  <a:lnTo>
                    <a:pt x="270" y="45"/>
                  </a:lnTo>
                  <a:lnTo>
                    <a:pt x="242" y="52"/>
                  </a:lnTo>
                  <a:lnTo>
                    <a:pt x="215" y="62"/>
                  </a:lnTo>
                  <a:lnTo>
                    <a:pt x="190" y="74"/>
                  </a:lnTo>
                  <a:lnTo>
                    <a:pt x="165" y="89"/>
                  </a:lnTo>
                  <a:lnTo>
                    <a:pt x="144" y="105"/>
                  </a:lnTo>
                  <a:lnTo>
                    <a:pt x="122" y="124"/>
                  </a:lnTo>
                  <a:lnTo>
                    <a:pt x="104" y="144"/>
                  </a:lnTo>
                  <a:lnTo>
                    <a:pt x="87" y="167"/>
                  </a:lnTo>
                  <a:lnTo>
                    <a:pt x="73" y="191"/>
                  </a:lnTo>
                  <a:lnTo>
                    <a:pt x="61" y="217"/>
                  </a:lnTo>
                  <a:lnTo>
                    <a:pt x="51" y="244"/>
                  </a:lnTo>
                  <a:lnTo>
                    <a:pt x="43" y="272"/>
                  </a:lnTo>
                  <a:lnTo>
                    <a:pt x="39" y="300"/>
                  </a:lnTo>
                  <a:lnTo>
                    <a:pt x="38" y="330"/>
                  </a:lnTo>
                  <a:lnTo>
                    <a:pt x="38" y="330"/>
                  </a:lnTo>
                  <a:lnTo>
                    <a:pt x="39" y="359"/>
                  </a:lnTo>
                  <a:lnTo>
                    <a:pt x="43" y="389"/>
                  </a:lnTo>
                  <a:lnTo>
                    <a:pt x="51" y="417"/>
                  </a:lnTo>
                  <a:lnTo>
                    <a:pt x="61" y="444"/>
                  </a:lnTo>
                  <a:lnTo>
                    <a:pt x="73" y="468"/>
                  </a:lnTo>
                  <a:lnTo>
                    <a:pt x="87" y="492"/>
                  </a:lnTo>
                  <a:lnTo>
                    <a:pt x="104" y="515"/>
                  </a:lnTo>
                  <a:lnTo>
                    <a:pt x="122" y="535"/>
                  </a:lnTo>
                  <a:lnTo>
                    <a:pt x="144" y="554"/>
                  </a:lnTo>
                  <a:lnTo>
                    <a:pt x="165" y="572"/>
                  </a:lnTo>
                  <a:lnTo>
                    <a:pt x="190" y="586"/>
                  </a:lnTo>
                  <a:lnTo>
                    <a:pt x="215" y="599"/>
                  </a:lnTo>
                  <a:lnTo>
                    <a:pt x="242" y="608"/>
                  </a:lnTo>
                  <a:lnTo>
                    <a:pt x="270" y="616"/>
                  </a:lnTo>
                  <a:lnTo>
                    <a:pt x="298" y="620"/>
                  </a:lnTo>
                  <a:lnTo>
                    <a:pt x="329" y="621"/>
                  </a:lnTo>
                  <a:lnTo>
                    <a:pt x="329" y="621"/>
                  </a:lnTo>
                  <a:lnTo>
                    <a:pt x="359" y="620"/>
                  </a:lnTo>
                  <a:lnTo>
                    <a:pt x="387" y="616"/>
                  </a:lnTo>
                  <a:lnTo>
                    <a:pt x="415" y="608"/>
                  </a:lnTo>
                  <a:lnTo>
                    <a:pt x="442" y="599"/>
                  </a:lnTo>
                  <a:lnTo>
                    <a:pt x="468" y="586"/>
                  </a:lnTo>
                  <a:lnTo>
                    <a:pt x="492" y="572"/>
                  </a:lnTo>
                  <a:lnTo>
                    <a:pt x="513" y="554"/>
                  </a:lnTo>
                  <a:lnTo>
                    <a:pt x="535" y="535"/>
                  </a:lnTo>
                  <a:lnTo>
                    <a:pt x="554" y="515"/>
                  </a:lnTo>
                  <a:lnTo>
                    <a:pt x="570" y="492"/>
                  </a:lnTo>
                  <a:lnTo>
                    <a:pt x="585" y="468"/>
                  </a:lnTo>
                  <a:lnTo>
                    <a:pt x="597" y="444"/>
                  </a:lnTo>
                  <a:lnTo>
                    <a:pt x="608" y="417"/>
                  </a:lnTo>
                  <a:lnTo>
                    <a:pt x="614" y="389"/>
                  </a:lnTo>
                  <a:lnTo>
                    <a:pt x="618" y="359"/>
                  </a:lnTo>
                  <a:lnTo>
                    <a:pt x="620" y="330"/>
                  </a:lnTo>
                  <a:lnTo>
                    <a:pt x="620" y="330"/>
                  </a:lnTo>
                  <a:lnTo>
                    <a:pt x="618" y="300"/>
                  </a:lnTo>
                  <a:lnTo>
                    <a:pt x="614" y="272"/>
                  </a:lnTo>
                  <a:lnTo>
                    <a:pt x="608" y="244"/>
                  </a:lnTo>
                  <a:lnTo>
                    <a:pt x="597" y="217"/>
                  </a:lnTo>
                  <a:lnTo>
                    <a:pt x="585" y="191"/>
                  </a:lnTo>
                  <a:lnTo>
                    <a:pt x="570" y="167"/>
                  </a:lnTo>
                  <a:lnTo>
                    <a:pt x="554" y="144"/>
                  </a:lnTo>
                  <a:lnTo>
                    <a:pt x="535" y="124"/>
                  </a:lnTo>
                  <a:lnTo>
                    <a:pt x="513" y="105"/>
                  </a:lnTo>
                  <a:lnTo>
                    <a:pt x="492" y="89"/>
                  </a:lnTo>
                  <a:lnTo>
                    <a:pt x="468" y="74"/>
                  </a:lnTo>
                  <a:lnTo>
                    <a:pt x="442" y="62"/>
                  </a:lnTo>
                  <a:lnTo>
                    <a:pt x="415" y="52"/>
                  </a:lnTo>
                  <a:lnTo>
                    <a:pt x="387" y="45"/>
                  </a:lnTo>
                  <a:lnTo>
                    <a:pt x="359" y="41"/>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129">
              <a:extLst>
                <a:ext uri="{FF2B5EF4-FFF2-40B4-BE49-F238E27FC236}">
                  <a16:creationId xmlns:a16="http://schemas.microsoft.com/office/drawing/2014/main" id="{36D8B07D-B9AC-48B9-A860-02DAC971616C}"/>
                </a:ext>
              </a:extLst>
            </p:cNvPr>
            <p:cNvSpPr>
              <a:spLocks/>
            </p:cNvSpPr>
            <p:nvPr/>
          </p:nvSpPr>
          <p:spPr bwMode="auto">
            <a:xfrm>
              <a:off x="8677276" y="1884998"/>
              <a:ext cx="115888" cy="144463"/>
            </a:xfrm>
            <a:custGeom>
              <a:avLst/>
              <a:gdLst>
                <a:gd name="T0" fmla="*/ 34 w 147"/>
                <a:gd name="T1" fmla="*/ 87 h 181"/>
                <a:gd name="T2" fmla="*/ 34 w 147"/>
                <a:gd name="T3" fmla="*/ 176 h 181"/>
                <a:gd name="T4" fmla="*/ 34 w 147"/>
                <a:gd name="T5" fmla="*/ 176 h 181"/>
                <a:gd name="T6" fmla="*/ 35 w 147"/>
                <a:gd name="T7" fmla="*/ 177 h 181"/>
                <a:gd name="T8" fmla="*/ 35 w 147"/>
                <a:gd name="T9" fmla="*/ 180 h 181"/>
                <a:gd name="T10" fmla="*/ 38 w 147"/>
                <a:gd name="T11" fmla="*/ 181 h 181"/>
                <a:gd name="T12" fmla="*/ 39 w 147"/>
                <a:gd name="T13" fmla="*/ 181 h 181"/>
                <a:gd name="T14" fmla="*/ 108 w 147"/>
                <a:gd name="T15" fmla="*/ 181 h 181"/>
                <a:gd name="T16" fmla="*/ 108 w 147"/>
                <a:gd name="T17" fmla="*/ 181 h 181"/>
                <a:gd name="T18" fmla="*/ 110 w 147"/>
                <a:gd name="T19" fmla="*/ 181 h 181"/>
                <a:gd name="T20" fmla="*/ 112 w 147"/>
                <a:gd name="T21" fmla="*/ 180 h 181"/>
                <a:gd name="T22" fmla="*/ 113 w 147"/>
                <a:gd name="T23" fmla="*/ 177 h 181"/>
                <a:gd name="T24" fmla="*/ 113 w 147"/>
                <a:gd name="T25" fmla="*/ 176 h 181"/>
                <a:gd name="T26" fmla="*/ 113 w 147"/>
                <a:gd name="T27" fmla="*/ 87 h 181"/>
                <a:gd name="T28" fmla="*/ 145 w 147"/>
                <a:gd name="T29" fmla="*/ 55 h 181"/>
                <a:gd name="T30" fmla="*/ 145 w 147"/>
                <a:gd name="T31" fmla="*/ 55 h 181"/>
                <a:gd name="T32" fmla="*/ 147 w 147"/>
                <a:gd name="T33" fmla="*/ 53 h 181"/>
                <a:gd name="T34" fmla="*/ 147 w 147"/>
                <a:gd name="T35" fmla="*/ 51 h 181"/>
                <a:gd name="T36" fmla="*/ 147 w 147"/>
                <a:gd name="T37" fmla="*/ 6 h 181"/>
                <a:gd name="T38" fmla="*/ 147 w 147"/>
                <a:gd name="T39" fmla="*/ 6 h 181"/>
                <a:gd name="T40" fmla="*/ 147 w 147"/>
                <a:gd name="T41" fmla="*/ 4 h 181"/>
                <a:gd name="T42" fmla="*/ 145 w 147"/>
                <a:gd name="T43" fmla="*/ 2 h 181"/>
                <a:gd name="T44" fmla="*/ 144 w 147"/>
                <a:gd name="T45" fmla="*/ 1 h 181"/>
                <a:gd name="T46" fmla="*/ 141 w 147"/>
                <a:gd name="T47" fmla="*/ 0 h 181"/>
                <a:gd name="T48" fmla="*/ 5 w 147"/>
                <a:gd name="T49" fmla="*/ 0 h 181"/>
                <a:gd name="T50" fmla="*/ 5 w 147"/>
                <a:gd name="T51" fmla="*/ 0 h 181"/>
                <a:gd name="T52" fmla="*/ 3 w 147"/>
                <a:gd name="T53" fmla="*/ 1 h 181"/>
                <a:gd name="T54" fmla="*/ 1 w 147"/>
                <a:gd name="T55" fmla="*/ 2 h 181"/>
                <a:gd name="T56" fmla="*/ 0 w 147"/>
                <a:gd name="T57" fmla="*/ 4 h 181"/>
                <a:gd name="T58" fmla="*/ 0 w 147"/>
                <a:gd name="T59" fmla="*/ 6 h 181"/>
                <a:gd name="T60" fmla="*/ 0 w 147"/>
                <a:gd name="T61" fmla="*/ 51 h 181"/>
                <a:gd name="T62" fmla="*/ 0 w 147"/>
                <a:gd name="T63" fmla="*/ 51 h 181"/>
                <a:gd name="T64" fmla="*/ 0 w 147"/>
                <a:gd name="T65" fmla="*/ 53 h 181"/>
                <a:gd name="T66" fmla="*/ 1 w 147"/>
                <a:gd name="T67" fmla="*/ 55 h 181"/>
                <a:gd name="T68" fmla="*/ 34 w 147"/>
                <a:gd name="T69" fmla="*/ 87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81">
                  <a:moveTo>
                    <a:pt x="34" y="87"/>
                  </a:moveTo>
                  <a:lnTo>
                    <a:pt x="34" y="176"/>
                  </a:lnTo>
                  <a:lnTo>
                    <a:pt x="34" y="176"/>
                  </a:lnTo>
                  <a:lnTo>
                    <a:pt x="35" y="177"/>
                  </a:lnTo>
                  <a:lnTo>
                    <a:pt x="35" y="180"/>
                  </a:lnTo>
                  <a:lnTo>
                    <a:pt x="38" y="181"/>
                  </a:lnTo>
                  <a:lnTo>
                    <a:pt x="39" y="181"/>
                  </a:lnTo>
                  <a:lnTo>
                    <a:pt x="108" y="181"/>
                  </a:lnTo>
                  <a:lnTo>
                    <a:pt x="108" y="181"/>
                  </a:lnTo>
                  <a:lnTo>
                    <a:pt x="110" y="181"/>
                  </a:lnTo>
                  <a:lnTo>
                    <a:pt x="112" y="180"/>
                  </a:lnTo>
                  <a:lnTo>
                    <a:pt x="113" y="177"/>
                  </a:lnTo>
                  <a:lnTo>
                    <a:pt x="113" y="176"/>
                  </a:lnTo>
                  <a:lnTo>
                    <a:pt x="113" y="87"/>
                  </a:lnTo>
                  <a:lnTo>
                    <a:pt x="145" y="55"/>
                  </a:lnTo>
                  <a:lnTo>
                    <a:pt x="145" y="55"/>
                  </a:lnTo>
                  <a:lnTo>
                    <a:pt x="147" y="53"/>
                  </a:lnTo>
                  <a:lnTo>
                    <a:pt x="147" y="51"/>
                  </a:lnTo>
                  <a:lnTo>
                    <a:pt x="147" y="6"/>
                  </a:lnTo>
                  <a:lnTo>
                    <a:pt x="147" y="6"/>
                  </a:lnTo>
                  <a:lnTo>
                    <a:pt x="147" y="4"/>
                  </a:lnTo>
                  <a:lnTo>
                    <a:pt x="145" y="2"/>
                  </a:lnTo>
                  <a:lnTo>
                    <a:pt x="144" y="1"/>
                  </a:lnTo>
                  <a:lnTo>
                    <a:pt x="141" y="0"/>
                  </a:lnTo>
                  <a:lnTo>
                    <a:pt x="5" y="0"/>
                  </a:lnTo>
                  <a:lnTo>
                    <a:pt x="5" y="0"/>
                  </a:lnTo>
                  <a:lnTo>
                    <a:pt x="3" y="1"/>
                  </a:lnTo>
                  <a:lnTo>
                    <a:pt x="1" y="2"/>
                  </a:lnTo>
                  <a:lnTo>
                    <a:pt x="0" y="4"/>
                  </a:lnTo>
                  <a:lnTo>
                    <a:pt x="0" y="6"/>
                  </a:lnTo>
                  <a:lnTo>
                    <a:pt x="0" y="51"/>
                  </a:lnTo>
                  <a:lnTo>
                    <a:pt x="0" y="51"/>
                  </a:lnTo>
                  <a:lnTo>
                    <a:pt x="0" y="53"/>
                  </a:lnTo>
                  <a:lnTo>
                    <a:pt x="1" y="55"/>
                  </a:lnTo>
                  <a:lnTo>
                    <a:pt x="34" y="8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130">
              <a:extLst>
                <a:ext uri="{FF2B5EF4-FFF2-40B4-BE49-F238E27FC236}">
                  <a16:creationId xmlns:a16="http://schemas.microsoft.com/office/drawing/2014/main" id="{842D7BE9-6D2C-4086-BDA2-BF4F5729BA2C}"/>
                </a:ext>
              </a:extLst>
            </p:cNvPr>
            <p:cNvSpPr>
              <a:spLocks/>
            </p:cNvSpPr>
            <p:nvPr/>
          </p:nvSpPr>
          <p:spPr bwMode="auto">
            <a:xfrm>
              <a:off x="8694738" y="1788160"/>
              <a:ext cx="80963" cy="79375"/>
            </a:xfrm>
            <a:custGeom>
              <a:avLst/>
              <a:gdLst>
                <a:gd name="T0" fmla="*/ 51 w 102"/>
                <a:gd name="T1" fmla="*/ 101 h 101"/>
                <a:gd name="T2" fmla="*/ 51 w 102"/>
                <a:gd name="T3" fmla="*/ 101 h 101"/>
                <a:gd name="T4" fmla="*/ 60 w 102"/>
                <a:gd name="T5" fmla="*/ 101 h 101"/>
                <a:gd name="T6" fmla="*/ 70 w 102"/>
                <a:gd name="T7" fmla="*/ 98 h 101"/>
                <a:gd name="T8" fmla="*/ 79 w 102"/>
                <a:gd name="T9" fmla="*/ 93 h 101"/>
                <a:gd name="T10" fmla="*/ 86 w 102"/>
                <a:gd name="T11" fmla="*/ 86 h 101"/>
                <a:gd name="T12" fmla="*/ 93 w 102"/>
                <a:gd name="T13" fmla="*/ 79 h 101"/>
                <a:gd name="T14" fmla="*/ 98 w 102"/>
                <a:gd name="T15" fmla="*/ 70 h 101"/>
                <a:gd name="T16" fmla="*/ 101 w 102"/>
                <a:gd name="T17" fmla="*/ 61 h 101"/>
                <a:gd name="T18" fmla="*/ 102 w 102"/>
                <a:gd name="T19" fmla="*/ 51 h 101"/>
                <a:gd name="T20" fmla="*/ 102 w 102"/>
                <a:gd name="T21" fmla="*/ 51 h 101"/>
                <a:gd name="T22" fmla="*/ 101 w 102"/>
                <a:gd name="T23" fmla="*/ 40 h 101"/>
                <a:gd name="T24" fmla="*/ 98 w 102"/>
                <a:gd name="T25" fmla="*/ 31 h 101"/>
                <a:gd name="T26" fmla="*/ 93 w 102"/>
                <a:gd name="T27" fmla="*/ 22 h 101"/>
                <a:gd name="T28" fmla="*/ 86 w 102"/>
                <a:gd name="T29" fmla="*/ 15 h 101"/>
                <a:gd name="T30" fmla="*/ 79 w 102"/>
                <a:gd name="T31" fmla="*/ 8 h 101"/>
                <a:gd name="T32" fmla="*/ 70 w 102"/>
                <a:gd name="T33" fmla="*/ 4 h 101"/>
                <a:gd name="T34" fmla="*/ 60 w 102"/>
                <a:gd name="T35" fmla="*/ 0 h 101"/>
                <a:gd name="T36" fmla="*/ 51 w 102"/>
                <a:gd name="T37" fmla="*/ 0 h 101"/>
                <a:gd name="T38" fmla="*/ 51 w 102"/>
                <a:gd name="T39" fmla="*/ 0 h 101"/>
                <a:gd name="T40" fmla="*/ 40 w 102"/>
                <a:gd name="T41" fmla="*/ 0 h 101"/>
                <a:gd name="T42" fmla="*/ 31 w 102"/>
                <a:gd name="T43" fmla="*/ 4 h 101"/>
                <a:gd name="T44" fmla="*/ 21 w 102"/>
                <a:gd name="T45" fmla="*/ 8 h 101"/>
                <a:gd name="T46" fmla="*/ 15 w 102"/>
                <a:gd name="T47" fmla="*/ 15 h 101"/>
                <a:gd name="T48" fmla="*/ 8 w 102"/>
                <a:gd name="T49" fmla="*/ 22 h 101"/>
                <a:gd name="T50" fmla="*/ 4 w 102"/>
                <a:gd name="T51" fmla="*/ 31 h 101"/>
                <a:gd name="T52" fmla="*/ 1 w 102"/>
                <a:gd name="T53" fmla="*/ 40 h 101"/>
                <a:gd name="T54" fmla="*/ 0 w 102"/>
                <a:gd name="T55" fmla="*/ 51 h 101"/>
                <a:gd name="T56" fmla="*/ 0 w 102"/>
                <a:gd name="T57" fmla="*/ 51 h 101"/>
                <a:gd name="T58" fmla="*/ 1 w 102"/>
                <a:gd name="T59" fmla="*/ 61 h 101"/>
                <a:gd name="T60" fmla="*/ 4 w 102"/>
                <a:gd name="T61" fmla="*/ 70 h 101"/>
                <a:gd name="T62" fmla="*/ 8 w 102"/>
                <a:gd name="T63" fmla="*/ 79 h 101"/>
                <a:gd name="T64" fmla="*/ 15 w 102"/>
                <a:gd name="T65" fmla="*/ 86 h 101"/>
                <a:gd name="T66" fmla="*/ 21 w 102"/>
                <a:gd name="T67" fmla="*/ 93 h 101"/>
                <a:gd name="T68" fmla="*/ 31 w 102"/>
                <a:gd name="T69" fmla="*/ 98 h 101"/>
                <a:gd name="T70" fmla="*/ 40 w 102"/>
                <a:gd name="T71" fmla="*/ 101 h 101"/>
                <a:gd name="T72" fmla="*/ 51 w 102"/>
                <a:gd name="T73" fmla="*/ 101 h 101"/>
                <a:gd name="T74" fmla="*/ 51 w 102"/>
                <a:gd name="T7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1">
                  <a:moveTo>
                    <a:pt x="51" y="101"/>
                  </a:moveTo>
                  <a:lnTo>
                    <a:pt x="51" y="101"/>
                  </a:lnTo>
                  <a:lnTo>
                    <a:pt x="60" y="101"/>
                  </a:lnTo>
                  <a:lnTo>
                    <a:pt x="70" y="98"/>
                  </a:lnTo>
                  <a:lnTo>
                    <a:pt x="79" y="93"/>
                  </a:lnTo>
                  <a:lnTo>
                    <a:pt x="86" y="86"/>
                  </a:lnTo>
                  <a:lnTo>
                    <a:pt x="93" y="79"/>
                  </a:lnTo>
                  <a:lnTo>
                    <a:pt x="98" y="70"/>
                  </a:lnTo>
                  <a:lnTo>
                    <a:pt x="101" y="61"/>
                  </a:lnTo>
                  <a:lnTo>
                    <a:pt x="102" y="51"/>
                  </a:lnTo>
                  <a:lnTo>
                    <a:pt x="102" y="51"/>
                  </a:lnTo>
                  <a:lnTo>
                    <a:pt x="101" y="40"/>
                  </a:lnTo>
                  <a:lnTo>
                    <a:pt x="98" y="31"/>
                  </a:lnTo>
                  <a:lnTo>
                    <a:pt x="93" y="22"/>
                  </a:lnTo>
                  <a:lnTo>
                    <a:pt x="86" y="15"/>
                  </a:lnTo>
                  <a:lnTo>
                    <a:pt x="79" y="8"/>
                  </a:lnTo>
                  <a:lnTo>
                    <a:pt x="70" y="4"/>
                  </a:lnTo>
                  <a:lnTo>
                    <a:pt x="60" y="0"/>
                  </a:lnTo>
                  <a:lnTo>
                    <a:pt x="51" y="0"/>
                  </a:lnTo>
                  <a:lnTo>
                    <a:pt x="51" y="0"/>
                  </a:lnTo>
                  <a:lnTo>
                    <a:pt x="40" y="0"/>
                  </a:lnTo>
                  <a:lnTo>
                    <a:pt x="31" y="4"/>
                  </a:lnTo>
                  <a:lnTo>
                    <a:pt x="21" y="8"/>
                  </a:lnTo>
                  <a:lnTo>
                    <a:pt x="15" y="15"/>
                  </a:lnTo>
                  <a:lnTo>
                    <a:pt x="8" y="22"/>
                  </a:lnTo>
                  <a:lnTo>
                    <a:pt x="4" y="31"/>
                  </a:lnTo>
                  <a:lnTo>
                    <a:pt x="1" y="40"/>
                  </a:lnTo>
                  <a:lnTo>
                    <a:pt x="0" y="51"/>
                  </a:lnTo>
                  <a:lnTo>
                    <a:pt x="0" y="51"/>
                  </a:lnTo>
                  <a:lnTo>
                    <a:pt x="1" y="61"/>
                  </a:lnTo>
                  <a:lnTo>
                    <a:pt x="4" y="70"/>
                  </a:lnTo>
                  <a:lnTo>
                    <a:pt x="8" y="79"/>
                  </a:lnTo>
                  <a:lnTo>
                    <a:pt x="15" y="86"/>
                  </a:lnTo>
                  <a:lnTo>
                    <a:pt x="21" y="93"/>
                  </a:lnTo>
                  <a:lnTo>
                    <a:pt x="31" y="98"/>
                  </a:lnTo>
                  <a:lnTo>
                    <a:pt x="40" y="101"/>
                  </a:lnTo>
                  <a:lnTo>
                    <a:pt x="51" y="101"/>
                  </a:lnTo>
                  <a:lnTo>
                    <a:pt x="51"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131">
              <a:extLst>
                <a:ext uri="{FF2B5EF4-FFF2-40B4-BE49-F238E27FC236}">
                  <a16:creationId xmlns:a16="http://schemas.microsoft.com/office/drawing/2014/main" id="{D950324A-5B9C-4C73-86DA-4A4605D57093}"/>
                </a:ext>
              </a:extLst>
            </p:cNvPr>
            <p:cNvSpPr>
              <a:spLocks/>
            </p:cNvSpPr>
            <p:nvPr/>
          </p:nvSpPr>
          <p:spPr bwMode="auto">
            <a:xfrm>
              <a:off x="8602663" y="1992948"/>
              <a:ext cx="266700" cy="76200"/>
            </a:xfrm>
            <a:custGeom>
              <a:avLst/>
              <a:gdLst>
                <a:gd name="T0" fmla="*/ 228 w 336"/>
                <a:gd name="T1" fmla="*/ 19 h 97"/>
                <a:gd name="T2" fmla="*/ 254 w 336"/>
                <a:gd name="T3" fmla="*/ 22 h 97"/>
                <a:gd name="T4" fmla="*/ 289 w 336"/>
                <a:gd name="T5" fmla="*/ 30 h 97"/>
                <a:gd name="T6" fmla="*/ 308 w 336"/>
                <a:gd name="T7" fmla="*/ 38 h 97"/>
                <a:gd name="T8" fmla="*/ 316 w 336"/>
                <a:gd name="T9" fmla="*/ 44 h 97"/>
                <a:gd name="T10" fmla="*/ 316 w 336"/>
                <a:gd name="T11" fmla="*/ 47 h 97"/>
                <a:gd name="T12" fmla="*/ 315 w 336"/>
                <a:gd name="T13" fmla="*/ 51 h 97"/>
                <a:gd name="T14" fmla="*/ 296 w 336"/>
                <a:gd name="T15" fmla="*/ 61 h 97"/>
                <a:gd name="T16" fmla="*/ 258 w 336"/>
                <a:gd name="T17" fmla="*/ 70 h 97"/>
                <a:gd name="T18" fmla="*/ 202 w 336"/>
                <a:gd name="T19" fmla="*/ 77 h 97"/>
                <a:gd name="T20" fmla="*/ 168 w 336"/>
                <a:gd name="T21" fmla="*/ 77 h 97"/>
                <a:gd name="T22" fmla="*/ 104 w 336"/>
                <a:gd name="T23" fmla="*/ 74 h 97"/>
                <a:gd name="T24" fmla="*/ 56 w 336"/>
                <a:gd name="T25" fmla="*/ 66 h 97"/>
                <a:gd name="T26" fmla="*/ 28 w 336"/>
                <a:gd name="T27" fmla="*/ 55 h 97"/>
                <a:gd name="T28" fmla="*/ 19 w 336"/>
                <a:gd name="T29" fmla="*/ 48 h 97"/>
                <a:gd name="T30" fmla="*/ 19 w 336"/>
                <a:gd name="T31" fmla="*/ 47 h 97"/>
                <a:gd name="T32" fmla="*/ 22 w 336"/>
                <a:gd name="T33" fmla="*/ 42 h 97"/>
                <a:gd name="T34" fmla="*/ 35 w 336"/>
                <a:gd name="T35" fmla="*/ 34 h 97"/>
                <a:gd name="T36" fmla="*/ 60 w 336"/>
                <a:gd name="T37" fmla="*/ 26 h 97"/>
                <a:gd name="T38" fmla="*/ 106 w 336"/>
                <a:gd name="T39" fmla="*/ 19 h 97"/>
                <a:gd name="T40" fmla="*/ 105 w 336"/>
                <a:gd name="T41" fmla="*/ 0 h 97"/>
                <a:gd name="T42" fmla="*/ 56 w 336"/>
                <a:gd name="T43" fmla="*/ 7 h 97"/>
                <a:gd name="T44" fmla="*/ 24 w 336"/>
                <a:gd name="T45" fmla="*/ 18 h 97"/>
                <a:gd name="T46" fmla="*/ 11 w 336"/>
                <a:gd name="T47" fmla="*/ 26 h 97"/>
                <a:gd name="T48" fmla="*/ 3 w 336"/>
                <a:gd name="T49" fmla="*/ 35 h 97"/>
                <a:gd name="T50" fmla="*/ 0 w 336"/>
                <a:gd name="T51" fmla="*/ 47 h 97"/>
                <a:gd name="T52" fmla="*/ 0 w 336"/>
                <a:gd name="T53" fmla="*/ 54 h 97"/>
                <a:gd name="T54" fmla="*/ 8 w 336"/>
                <a:gd name="T55" fmla="*/ 65 h 97"/>
                <a:gd name="T56" fmla="*/ 22 w 336"/>
                <a:gd name="T57" fmla="*/ 74 h 97"/>
                <a:gd name="T58" fmla="*/ 54 w 336"/>
                <a:gd name="T59" fmla="*/ 85 h 97"/>
                <a:gd name="T60" fmla="*/ 108 w 336"/>
                <a:gd name="T61" fmla="*/ 94 h 97"/>
                <a:gd name="T62" fmla="*/ 168 w 336"/>
                <a:gd name="T63" fmla="*/ 97 h 97"/>
                <a:gd name="T64" fmla="*/ 198 w 336"/>
                <a:gd name="T65" fmla="*/ 96 h 97"/>
                <a:gd name="T66" fmla="*/ 257 w 336"/>
                <a:gd name="T67" fmla="*/ 90 h 97"/>
                <a:gd name="T68" fmla="*/ 304 w 336"/>
                <a:gd name="T69" fmla="*/ 78 h 97"/>
                <a:gd name="T70" fmla="*/ 321 w 336"/>
                <a:gd name="T71" fmla="*/ 69 h 97"/>
                <a:gd name="T72" fmla="*/ 332 w 336"/>
                <a:gd name="T73" fmla="*/ 59 h 97"/>
                <a:gd name="T74" fmla="*/ 336 w 336"/>
                <a:gd name="T75" fmla="*/ 47 h 97"/>
                <a:gd name="T76" fmla="*/ 335 w 336"/>
                <a:gd name="T77" fmla="*/ 42 h 97"/>
                <a:gd name="T78" fmla="*/ 329 w 336"/>
                <a:gd name="T79" fmla="*/ 31 h 97"/>
                <a:gd name="T80" fmla="*/ 319 w 336"/>
                <a:gd name="T81" fmla="*/ 22 h 97"/>
                <a:gd name="T82" fmla="*/ 296 w 336"/>
                <a:gd name="T83" fmla="*/ 12 h 97"/>
                <a:gd name="T84" fmla="*/ 261 w 336"/>
                <a:gd name="T85" fmla="*/ 4 h 97"/>
                <a:gd name="T86" fmla="*/ 230 w 336"/>
                <a:gd name="T8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36" h="97">
                  <a:moveTo>
                    <a:pt x="230" y="0"/>
                  </a:moveTo>
                  <a:lnTo>
                    <a:pt x="228" y="19"/>
                  </a:lnTo>
                  <a:lnTo>
                    <a:pt x="228" y="19"/>
                  </a:lnTo>
                  <a:lnTo>
                    <a:pt x="254" y="22"/>
                  </a:lnTo>
                  <a:lnTo>
                    <a:pt x="274" y="26"/>
                  </a:lnTo>
                  <a:lnTo>
                    <a:pt x="289" y="30"/>
                  </a:lnTo>
                  <a:lnTo>
                    <a:pt x="301" y="34"/>
                  </a:lnTo>
                  <a:lnTo>
                    <a:pt x="308" y="38"/>
                  </a:lnTo>
                  <a:lnTo>
                    <a:pt x="313" y="42"/>
                  </a:lnTo>
                  <a:lnTo>
                    <a:pt x="316" y="44"/>
                  </a:lnTo>
                  <a:lnTo>
                    <a:pt x="316" y="47"/>
                  </a:lnTo>
                  <a:lnTo>
                    <a:pt x="316" y="47"/>
                  </a:lnTo>
                  <a:lnTo>
                    <a:pt x="316" y="48"/>
                  </a:lnTo>
                  <a:lnTo>
                    <a:pt x="315" y="51"/>
                  </a:lnTo>
                  <a:lnTo>
                    <a:pt x="306" y="55"/>
                  </a:lnTo>
                  <a:lnTo>
                    <a:pt x="296" y="61"/>
                  </a:lnTo>
                  <a:lnTo>
                    <a:pt x="278" y="66"/>
                  </a:lnTo>
                  <a:lnTo>
                    <a:pt x="258" y="70"/>
                  </a:lnTo>
                  <a:lnTo>
                    <a:pt x="233" y="74"/>
                  </a:lnTo>
                  <a:lnTo>
                    <a:pt x="202" y="77"/>
                  </a:lnTo>
                  <a:lnTo>
                    <a:pt x="168" y="77"/>
                  </a:lnTo>
                  <a:lnTo>
                    <a:pt x="168" y="77"/>
                  </a:lnTo>
                  <a:lnTo>
                    <a:pt x="133" y="77"/>
                  </a:lnTo>
                  <a:lnTo>
                    <a:pt x="104" y="74"/>
                  </a:lnTo>
                  <a:lnTo>
                    <a:pt x="78" y="70"/>
                  </a:lnTo>
                  <a:lnTo>
                    <a:pt x="56" y="66"/>
                  </a:lnTo>
                  <a:lnTo>
                    <a:pt x="40" y="61"/>
                  </a:lnTo>
                  <a:lnTo>
                    <a:pt x="28" y="55"/>
                  </a:lnTo>
                  <a:lnTo>
                    <a:pt x="22" y="51"/>
                  </a:lnTo>
                  <a:lnTo>
                    <a:pt x="19" y="48"/>
                  </a:lnTo>
                  <a:lnTo>
                    <a:pt x="19" y="47"/>
                  </a:lnTo>
                  <a:lnTo>
                    <a:pt x="19" y="47"/>
                  </a:lnTo>
                  <a:lnTo>
                    <a:pt x="20" y="44"/>
                  </a:lnTo>
                  <a:lnTo>
                    <a:pt x="22" y="42"/>
                  </a:lnTo>
                  <a:lnTo>
                    <a:pt x="27" y="38"/>
                  </a:lnTo>
                  <a:lnTo>
                    <a:pt x="35" y="34"/>
                  </a:lnTo>
                  <a:lnTo>
                    <a:pt x="46" y="30"/>
                  </a:lnTo>
                  <a:lnTo>
                    <a:pt x="60" y="26"/>
                  </a:lnTo>
                  <a:lnTo>
                    <a:pt x="81" y="22"/>
                  </a:lnTo>
                  <a:lnTo>
                    <a:pt x="106" y="19"/>
                  </a:lnTo>
                  <a:lnTo>
                    <a:pt x="105" y="0"/>
                  </a:lnTo>
                  <a:lnTo>
                    <a:pt x="105" y="0"/>
                  </a:lnTo>
                  <a:lnTo>
                    <a:pt x="74" y="4"/>
                  </a:lnTo>
                  <a:lnTo>
                    <a:pt x="56" y="7"/>
                  </a:lnTo>
                  <a:lnTo>
                    <a:pt x="39" y="12"/>
                  </a:lnTo>
                  <a:lnTo>
                    <a:pt x="24" y="18"/>
                  </a:lnTo>
                  <a:lnTo>
                    <a:pt x="17" y="22"/>
                  </a:lnTo>
                  <a:lnTo>
                    <a:pt x="11" y="26"/>
                  </a:lnTo>
                  <a:lnTo>
                    <a:pt x="7" y="31"/>
                  </a:lnTo>
                  <a:lnTo>
                    <a:pt x="3" y="35"/>
                  </a:lnTo>
                  <a:lnTo>
                    <a:pt x="0" y="42"/>
                  </a:lnTo>
                  <a:lnTo>
                    <a:pt x="0" y="47"/>
                  </a:lnTo>
                  <a:lnTo>
                    <a:pt x="0" y="47"/>
                  </a:lnTo>
                  <a:lnTo>
                    <a:pt x="0" y="54"/>
                  </a:lnTo>
                  <a:lnTo>
                    <a:pt x="3" y="59"/>
                  </a:lnTo>
                  <a:lnTo>
                    <a:pt x="8" y="65"/>
                  </a:lnTo>
                  <a:lnTo>
                    <a:pt x="15" y="69"/>
                  </a:lnTo>
                  <a:lnTo>
                    <a:pt x="22" y="74"/>
                  </a:lnTo>
                  <a:lnTo>
                    <a:pt x="31" y="78"/>
                  </a:lnTo>
                  <a:lnTo>
                    <a:pt x="54" y="85"/>
                  </a:lnTo>
                  <a:lnTo>
                    <a:pt x="79" y="90"/>
                  </a:lnTo>
                  <a:lnTo>
                    <a:pt x="108" y="94"/>
                  </a:lnTo>
                  <a:lnTo>
                    <a:pt x="137" y="96"/>
                  </a:lnTo>
                  <a:lnTo>
                    <a:pt x="168" y="97"/>
                  </a:lnTo>
                  <a:lnTo>
                    <a:pt x="168" y="97"/>
                  </a:lnTo>
                  <a:lnTo>
                    <a:pt x="198" y="96"/>
                  </a:lnTo>
                  <a:lnTo>
                    <a:pt x="228" y="94"/>
                  </a:lnTo>
                  <a:lnTo>
                    <a:pt x="257" y="90"/>
                  </a:lnTo>
                  <a:lnTo>
                    <a:pt x="282" y="85"/>
                  </a:lnTo>
                  <a:lnTo>
                    <a:pt x="304" y="78"/>
                  </a:lnTo>
                  <a:lnTo>
                    <a:pt x="313" y="74"/>
                  </a:lnTo>
                  <a:lnTo>
                    <a:pt x="321" y="69"/>
                  </a:lnTo>
                  <a:lnTo>
                    <a:pt x="327" y="65"/>
                  </a:lnTo>
                  <a:lnTo>
                    <a:pt x="332" y="59"/>
                  </a:lnTo>
                  <a:lnTo>
                    <a:pt x="335" y="54"/>
                  </a:lnTo>
                  <a:lnTo>
                    <a:pt x="336" y="47"/>
                  </a:lnTo>
                  <a:lnTo>
                    <a:pt x="336" y="47"/>
                  </a:lnTo>
                  <a:lnTo>
                    <a:pt x="335" y="42"/>
                  </a:lnTo>
                  <a:lnTo>
                    <a:pt x="332" y="35"/>
                  </a:lnTo>
                  <a:lnTo>
                    <a:pt x="329" y="31"/>
                  </a:lnTo>
                  <a:lnTo>
                    <a:pt x="324" y="26"/>
                  </a:lnTo>
                  <a:lnTo>
                    <a:pt x="319" y="22"/>
                  </a:lnTo>
                  <a:lnTo>
                    <a:pt x="312" y="18"/>
                  </a:lnTo>
                  <a:lnTo>
                    <a:pt x="296" y="12"/>
                  </a:lnTo>
                  <a:lnTo>
                    <a:pt x="278" y="7"/>
                  </a:lnTo>
                  <a:lnTo>
                    <a:pt x="261" y="4"/>
                  </a:lnTo>
                  <a:lnTo>
                    <a:pt x="230" y="0"/>
                  </a:lnTo>
                  <a:lnTo>
                    <a:pt x="23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3" name="Group 102">
            <a:extLst>
              <a:ext uri="{FF2B5EF4-FFF2-40B4-BE49-F238E27FC236}">
                <a16:creationId xmlns:a16="http://schemas.microsoft.com/office/drawing/2014/main" id="{891B4AAB-6E5E-4A9D-AA2A-8A7CF76AE256}"/>
              </a:ext>
            </a:extLst>
          </p:cNvPr>
          <p:cNvGrpSpPr>
            <a:grpSpLocks noChangeAspect="1"/>
          </p:cNvGrpSpPr>
          <p:nvPr/>
        </p:nvGrpSpPr>
        <p:grpSpPr>
          <a:xfrm>
            <a:off x="921972" y="4762944"/>
            <a:ext cx="393192" cy="393192"/>
            <a:chOff x="4071938" y="1660525"/>
            <a:chExt cx="522288" cy="522288"/>
          </a:xfrm>
        </p:grpSpPr>
        <p:sp>
          <p:nvSpPr>
            <p:cNvPr id="104" name="Freeform 20">
              <a:extLst>
                <a:ext uri="{FF2B5EF4-FFF2-40B4-BE49-F238E27FC236}">
                  <a16:creationId xmlns:a16="http://schemas.microsoft.com/office/drawing/2014/main" id="{E570F892-0FFA-4D09-8CE2-C31ED65A994D}"/>
                </a:ext>
              </a:extLst>
            </p:cNvPr>
            <p:cNvSpPr>
              <a:spLocks noEditPoints="1"/>
            </p:cNvSpPr>
            <p:nvPr/>
          </p:nvSpPr>
          <p:spPr bwMode="auto">
            <a:xfrm>
              <a:off x="4071938" y="1660525"/>
              <a:ext cx="522288" cy="522288"/>
            </a:xfrm>
            <a:custGeom>
              <a:avLst/>
              <a:gdLst>
                <a:gd name="T0" fmla="*/ 313 w 658"/>
                <a:gd name="T1" fmla="*/ 657 h 658"/>
                <a:gd name="T2" fmla="*/ 263 w 658"/>
                <a:gd name="T3" fmla="*/ 651 h 658"/>
                <a:gd name="T4" fmla="*/ 201 w 658"/>
                <a:gd name="T5" fmla="*/ 631 h 658"/>
                <a:gd name="T6" fmla="*/ 120 w 658"/>
                <a:gd name="T7" fmla="*/ 583 h 658"/>
                <a:gd name="T8" fmla="*/ 56 w 658"/>
                <a:gd name="T9" fmla="*/ 513 h 658"/>
                <a:gd name="T10" fmla="*/ 14 w 658"/>
                <a:gd name="T11" fmla="*/ 426 h 658"/>
                <a:gd name="T12" fmla="*/ 4 w 658"/>
                <a:gd name="T13" fmla="*/ 379 h 658"/>
                <a:gd name="T14" fmla="*/ 0 w 658"/>
                <a:gd name="T15" fmla="*/ 329 h 658"/>
                <a:gd name="T16" fmla="*/ 2 w 658"/>
                <a:gd name="T17" fmla="*/ 295 h 658"/>
                <a:gd name="T18" fmla="*/ 10 w 658"/>
                <a:gd name="T19" fmla="*/ 247 h 658"/>
                <a:gd name="T20" fmla="*/ 40 w 658"/>
                <a:gd name="T21" fmla="*/ 172 h 658"/>
                <a:gd name="T22" fmla="*/ 96 w 658"/>
                <a:gd name="T23" fmla="*/ 96 h 658"/>
                <a:gd name="T24" fmla="*/ 173 w 658"/>
                <a:gd name="T25" fmla="*/ 40 h 658"/>
                <a:gd name="T26" fmla="*/ 247 w 658"/>
                <a:gd name="T27" fmla="*/ 10 h 658"/>
                <a:gd name="T28" fmla="*/ 295 w 658"/>
                <a:gd name="T29" fmla="*/ 1 h 658"/>
                <a:gd name="T30" fmla="*/ 329 w 658"/>
                <a:gd name="T31" fmla="*/ 0 h 658"/>
                <a:gd name="T32" fmla="*/ 378 w 658"/>
                <a:gd name="T33" fmla="*/ 4 h 658"/>
                <a:gd name="T34" fmla="*/ 427 w 658"/>
                <a:gd name="T35" fmla="*/ 15 h 658"/>
                <a:gd name="T36" fmla="*/ 513 w 658"/>
                <a:gd name="T37" fmla="*/ 56 h 658"/>
                <a:gd name="T38" fmla="*/ 583 w 658"/>
                <a:gd name="T39" fmla="*/ 119 h 658"/>
                <a:gd name="T40" fmla="*/ 632 w 658"/>
                <a:gd name="T41" fmla="*/ 201 h 658"/>
                <a:gd name="T42" fmla="*/ 651 w 658"/>
                <a:gd name="T43" fmla="*/ 263 h 658"/>
                <a:gd name="T44" fmla="*/ 658 w 658"/>
                <a:gd name="T45" fmla="*/ 311 h 658"/>
                <a:gd name="T46" fmla="*/ 658 w 658"/>
                <a:gd name="T47" fmla="*/ 345 h 658"/>
                <a:gd name="T48" fmla="*/ 651 w 658"/>
                <a:gd name="T49" fmla="*/ 395 h 658"/>
                <a:gd name="T50" fmla="*/ 632 w 658"/>
                <a:gd name="T51" fmla="*/ 456 h 658"/>
                <a:gd name="T52" fmla="*/ 583 w 658"/>
                <a:gd name="T53" fmla="*/ 537 h 658"/>
                <a:gd name="T54" fmla="*/ 513 w 658"/>
                <a:gd name="T55" fmla="*/ 601 h 658"/>
                <a:gd name="T56" fmla="*/ 427 w 658"/>
                <a:gd name="T57" fmla="*/ 643 h 658"/>
                <a:gd name="T58" fmla="*/ 378 w 658"/>
                <a:gd name="T59" fmla="*/ 654 h 658"/>
                <a:gd name="T60" fmla="*/ 329 w 658"/>
                <a:gd name="T61" fmla="*/ 658 h 658"/>
                <a:gd name="T62" fmla="*/ 329 w 658"/>
                <a:gd name="T63" fmla="*/ 37 h 658"/>
                <a:gd name="T64" fmla="*/ 243 w 658"/>
                <a:gd name="T65" fmla="*/ 51 h 658"/>
                <a:gd name="T66" fmla="*/ 166 w 658"/>
                <a:gd name="T67" fmla="*/ 87 h 658"/>
                <a:gd name="T68" fmla="*/ 104 w 658"/>
                <a:gd name="T69" fmla="*/ 143 h 658"/>
                <a:gd name="T70" fmla="*/ 61 w 658"/>
                <a:gd name="T71" fmla="*/ 215 h 658"/>
                <a:gd name="T72" fmla="*/ 40 w 658"/>
                <a:gd name="T73" fmla="*/ 299 h 658"/>
                <a:gd name="T74" fmla="*/ 40 w 658"/>
                <a:gd name="T75" fmla="*/ 358 h 658"/>
                <a:gd name="T76" fmla="*/ 61 w 658"/>
                <a:gd name="T77" fmla="*/ 442 h 658"/>
                <a:gd name="T78" fmla="*/ 104 w 658"/>
                <a:gd name="T79" fmla="*/ 514 h 658"/>
                <a:gd name="T80" fmla="*/ 166 w 658"/>
                <a:gd name="T81" fmla="*/ 569 h 658"/>
                <a:gd name="T82" fmla="*/ 243 w 658"/>
                <a:gd name="T83" fmla="*/ 607 h 658"/>
                <a:gd name="T84" fmla="*/ 329 w 658"/>
                <a:gd name="T85" fmla="*/ 620 h 658"/>
                <a:gd name="T86" fmla="*/ 388 w 658"/>
                <a:gd name="T87" fmla="*/ 614 h 658"/>
                <a:gd name="T88" fmla="*/ 467 w 658"/>
                <a:gd name="T89" fmla="*/ 584 h 658"/>
                <a:gd name="T90" fmla="*/ 534 w 658"/>
                <a:gd name="T91" fmla="*/ 534 h 658"/>
                <a:gd name="T92" fmla="*/ 585 w 658"/>
                <a:gd name="T93" fmla="*/ 467 h 658"/>
                <a:gd name="T94" fmla="*/ 615 w 658"/>
                <a:gd name="T95" fmla="*/ 387 h 658"/>
                <a:gd name="T96" fmla="*/ 620 w 658"/>
                <a:gd name="T97" fmla="*/ 329 h 658"/>
                <a:gd name="T98" fmla="*/ 607 w 658"/>
                <a:gd name="T99" fmla="*/ 242 h 658"/>
                <a:gd name="T100" fmla="*/ 570 w 658"/>
                <a:gd name="T101" fmla="*/ 166 h 658"/>
                <a:gd name="T102" fmla="*/ 514 w 658"/>
                <a:gd name="T103" fmla="*/ 105 h 658"/>
                <a:gd name="T104" fmla="*/ 443 w 658"/>
                <a:gd name="T105" fmla="*/ 60 h 658"/>
                <a:gd name="T106" fmla="*/ 358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7"/>
                  </a:lnTo>
                  <a:lnTo>
                    <a:pt x="295" y="655"/>
                  </a:lnTo>
                  <a:lnTo>
                    <a:pt x="279" y="654"/>
                  </a:lnTo>
                  <a:lnTo>
                    <a:pt x="263" y="651"/>
                  </a:lnTo>
                  <a:lnTo>
                    <a:pt x="247" y="647"/>
                  </a:lnTo>
                  <a:lnTo>
                    <a:pt x="232" y="643"/>
                  </a:lnTo>
                  <a:lnTo>
                    <a:pt x="201" y="631"/>
                  </a:lnTo>
                  <a:lnTo>
                    <a:pt x="173" y="618"/>
                  </a:lnTo>
                  <a:lnTo>
                    <a:pt x="145" y="601"/>
                  </a:lnTo>
                  <a:lnTo>
                    <a:pt x="120" y="583"/>
                  </a:lnTo>
                  <a:lnTo>
                    <a:pt x="96" y="561"/>
                  </a:lnTo>
                  <a:lnTo>
                    <a:pt x="75" y="537"/>
                  </a:lnTo>
                  <a:lnTo>
                    <a:pt x="56" y="513"/>
                  </a:lnTo>
                  <a:lnTo>
                    <a:pt x="40" y="485"/>
                  </a:lnTo>
                  <a:lnTo>
                    <a:pt x="26" y="456"/>
                  </a:lnTo>
                  <a:lnTo>
                    <a:pt x="14" y="426"/>
                  </a:lnTo>
                  <a:lnTo>
                    <a:pt x="10" y="411"/>
                  </a:lnTo>
                  <a:lnTo>
                    <a:pt x="6" y="395"/>
                  </a:lnTo>
                  <a:lnTo>
                    <a:pt x="4" y="379"/>
                  </a:lnTo>
                  <a:lnTo>
                    <a:pt x="2" y="362"/>
                  </a:lnTo>
                  <a:lnTo>
                    <a:pt x="1" y="345"/>
                  </a:lnTo>
                  <a:lnTo>
                    <a:pt x="0" y="329"/>
                  </a:lnTo>
                  <a:lnTo>
                    <a:pt x="0" y="329"/>
                  </a:lnTo>
                  <a:lnTo>
                    <a:pt x="1" y="311"/>
                  </a:lnTo>
                  <a:lnTo>
                    <a:pt x="2" y="295"/>
                  </a:lnTo>
                  <a:lnTo>
                    <a:pt x="4" y="279"/>
                  </a:lnTo>
                  <a:lnTo>
                    <a:pt x="6" y="263"/>
                  </a:lnTo>
                  <a:lnTo>
                    <a:pt x="10" y="247"/>
                  </a:lnTo>
                  <a:lnTo>
                    <a:pt x="14" y="231"/>
                  </a:lnTo>
                  <a:lnTo>
                    <a:pt x="26" y="201"/>
                  </a:lnTo>
                  <a:lnTo>
                    <a:pt x="40" y="172"/>
                  </a:lnTo>
                  <a:lnTo>
                    <a:pt x="56" y="145"/>
                  </a:lnTo>
                  <a:lnTo>
                    <a:pt x="75" y="119"/>
                  </a:lnTo>
                  <a:lnTo>
                    <a:pt x="96" y="96"/>
                  </a:lnTo>
                  <a:lnTo>
                    <a:pt x="120" y="75"/>
                  </a:lnTo>
                  <a:lnTo>
                    <a:pt x="145" y="56"/>
                  </a:lnTo>
                  <a:lnTo>
                    <a:pt x="173" y="40"/>
                  </a:lnTo>
                  <a:lnTo>
                    <a:pt x="201" y="25"/>
                  </a:lnTo>
                  <a:lnTo>
                    <a:pt x="232" y="15"/>
                  </a:lnTo>
                  <a:lnTo>
                    <a:pt x="247" y="10"/>
                  </a:lnTo>
                  <a:lnTo>
                    <a:pt x="263" y="6"/>
                  </a:lnTo>
                  <a:lnTo>
                    <a:pt x="279" y="4"/>
                  </a:lnTo>
                  <a:lnTo>
                    <a:pt x="295" y="1"/>
                  </a:lnTo>
                  <a:lnTo>
                    <a:pt x="313" y="0"/>
                  </a:lnTo>
                  <a:lnTo>
                    <a:pt x="329" y="0"/>
                  </a:lnTo>
                  <a:lnTo>
                    <a:pt x="329" y="0"/>
                  </a:lnTo>
                  <a:lnTo>
                    <a:pt x="346" y="0"/>
                  </a:lnTo>
                  <a:lnTo>
                    <a:pt x="362" y="1"/>
                  </a:lnTo>
                  <a:lnTo>
                    <a:pt x="378" y="4"/>
                  </a:lnTo>
                  <a:lnTo>
                    <a:pt x="396" y="6"/>
                  </a:lnTo>
                  <a:lnTo>
                    <a:pt x="411" y="10"/>
                  </a:lnTo>
                  <a:lnTo>
                    <a:pt x="427" y="15"/>
                  </a:lnTo>
                  <a:lnTo>
                    <a:pt x="456" y="25"/>
                  </a:lnTo>
                  <a:lnTo>
                    <a:pt x="486" y="40"/>
                  </a:lnTo>
                  <a:lnTo>
                    <a:pt x="513" y="56"/>
                  </a:lnTo>
                  <a:lnTo>
                    <a:pt x="538" y="75"/>
                  </a:lnTo>
                  <a:lnTo>
                    <a:pt x="561" y="96"/>
                  </a:lnTo>
                  <a:lnTo>
                    <a:pt x="583" y="119"/>
                  </a:lnTo>
                  <a:lnTo>
                    <a:pt x="601" y="145"/>
                  </a:lnTo>
                  <a:lnTo>
                    <a:pt x="617" y="172"/>
                  </a:lnTo>
                  <a:lnTo>
                    <a:pt x="632" y="201"/>
                  </a:lnTo>
                  <a:lnTo>
                    <a:pt x="643" y="231"/>
                  </a:lnTo>
                  <a:lnTo>
                    <a:pt x="647" y="247"/>
                  </a:lnTo>
                  <a:lnTo>
                    <a:pt x="651" y="263"/>
                  </a:lnTo>
                  <a:lnTo>
                    <a:pt x="654" y="279"/>
                  </a:lnTo>
                  <a:lnTo>
                    <a:pt x="656" y="295"/>
                  </a:lnTo>
                  <a:lnTo>
                    <a:pt x="658" y="311"/>
                  </a:lnTo>
                  <a:lnTo>
                    <a:pt x="658" y="329"/>
                  </a:lnTo>
                  <a:lnTo>
                    <a:pt x="658" y="329"/>
                  </a:lnTo>
                  <a:lnTo>
                    <a:pt x="658" y="345"/>
                  </a:lnTo>
                  <a:lnTo>
                    <a:pt x="656" y="362"/>
                  </a:lnTo>
                  <a:lnTo>
                    <a:pt x="654" y="379"/>
                  </a:lnTo>
                  <a:lnTo>
                    <a:pt x="651" y="395"/>
                  </a:lnTo>
                  <a:lnTo>
                    <a:pt x="647" y="411"/>
                  </a:lnTo>
                  <a:lnTo>
                    <a:pt x="643" y="426"/>
                  </a:lnTo>
                  <a:lnTo>
                    <a:pt x="632" y="456"/>
                  </a:lnTo>
                  <a:lnTo>
                    <a:pt x="617" y="485"/>
                  </a:lnTo>
                  <a:lnTo>
                    <a:pt x="601" y="513"/>
                  </a:lnTo>
                  <a:lnTo>
                    <a:pt x="583" y="537"/>
                  </a:lnTo>
                  <a:lnTo>
                    <a:pt x="561" y="561"/>
                  </a:lnTo>
                  <a:lnTo>
                    <a:pt x="538" y="583"/>
                  </a:lnTo>
                  <a:lnTo>
                    <a:pt x="513" y="601"/>
                  </a:lnTo>
                  <a:lnTo>
                    <a:pt x="486" y="618"/>
                  </a:lnTo>
                  <a:lnTo>
                    <a:pt x="456" y="631"/>
                  </a:lnTo>
                  <a:lnTo>
                    <a:pt x="427" y="643"/>
                  </a:lnTo>
                  <a:lnTo>
                    <a:pt x="411" y="647"/>
                  </a:lnTo>
                  <a:lnTo>
                    <a:pt x="396" y="651"/>
                  </a:lnTo>
                  <a:lnTo>
                    <a:pt x="378" y="654"/>
                  </a:lnTo>
                  <a:lnTo>
                    <a:pt x="362" y="655"/>
                  </a:lnTo>
                  <a:lnTo>
                    <a:pt x="346" y="657"/>
                  </a:lnTo>
                  <a:lnTo>
                    <a:pt x="329" y="658"/>
                  </a:lnTo>
                  <a:lnTo>
                    <a:pt x="329" y="658"/>
                  </a:lnTo>
                  <a:close/>
                  <a:moveTo>
                    <a:pt x="329" y="37"/>
                  </a:moveTo>
                  <a:lnTo>
                    <a:pt x="329" y="37"/>
                  </a:lnTo>
                  <a:lnTo>
                    <a:pt x="299" y="39"/>
                  </a:lnTo>
                  <a:lnTo>
                    <a:pt x="271" y="43"/>
                  </a:lnTo>
                  <a:lnTo>
                    <a:pt x="243" y="51"/>
                  </a:lnTo>
                  <a:lnTo>
                    <a:pt x="216" y="60"/>
                  </a:lnTo>
                  <a:lnTo>
                    <a:pt x="190" y="72"/>
                  </a:lnTo>
                  <a:lnTo>
                    <a:pt x="166" y="87"/>
                  </a:lnTo>
                  <a:lnTo>
                    <a:pt x="143" y="105"/>
                  </a:lnTo>
                  <a:lnTo>
                    <a:pt x="123" y="123"/>
                  </a:lnTo>
                  <a:lnTo>
                    <a:pt x="104" y="143"/>
                  </a:lnTo>
                  <a:lnTo>
                    <a:pt x="88" y="166"/>
                  </a:lnTo>
                  <a:lnTo>
                    <a:pt x="73" y="190"/>
                  </a:lnTo>
                  <a:lnTo>
                    <a:pt x="61" y="215"/>
                  </a:lnTo>
                  <a:lnTo>
                    <a:pt x="51" y="242"/>
                  </a:lnTo>
                  <a:lnTo>
                    <a:pt x="44" y="270"/>
                  </a:lnTo>
                  <a:lnTo>
                    <a:pt x="40" y="299"/>
                  </a:lnTo>
                  <a:lnTo>
                    <a:pt x="37" y="329"/>
                  </a:lnTo>
                  <a:lnTo>
                    <a:pt x="37" y="329"/>
                  </a:lnTo>
                  <a:lnTo>
                    <a:pt x="40" y="358"/>
                  </a:lnTo>
                  <a:lnTo>
                    <a:pt x="44" y="387"/>
                  </a:lnTo>
                  <a:lnTo>
                    <a:pt x="51" y="415"/>
                  </a:lnTo>
                  <a:lnTo>
                    <a:pt x="61" y="442"/>
                  </a:lnTo>
                  <a:lnTo>
                    <a:pt x="73" y="467"/>
                  </a:lnTo>
                  <a:lnTo>
                    <a:pt x="88" y="491"/>
                  </a:lnTo>
                  <a:lnTo>
                    <a:pt x="104" y="514"/>
                  </a:lnTo>
                  <a:lnTo>
                    <a:pt x="123" y="534"/>
                  </a:lnTo>
                  <a:lnTo>
                    <a:pt x="143" y="553"/>
                  </a:lnTo>
                  <a:lnTo>
                    <a:pt x="166" y="569"/>
                  </a:lnTo>
                  <a:lnTo>
                    <a:pt x="190" y="584"/>
                  </a:lnTo>
                  <a:lnTo>
                    <a:pt x="216" y="596"/>
                  </a:lnTo>
                  <a:lnTo>
                    <a:pt x="243" y="607"/>
                  </a:lnTo>
                  <a:lnTo>
                    <a:pt x="271" y="614"/>
                  </a:lnTo>
                  <a:lnTo>
                    <a:pt x="299" y="618"/>
                  </a:lnTo>
                  <a:lnTo>
                    <a:pt x="329" y="620"/>
                  </a:lnTo>
                  <a:lnTo>
                    <a:pt x="329" y="620"/>
                  </a:lnTo>
                  <a:lnTo>
                    <a:pt x="358" y="618"/>
                  </a:lnTo>
                  <a:lnTo>
                    <a:pt x="388" y="614"/>
                  </a:lnTo>
                  <a:lnTo>
                    <a:pt x="416" y="607"/>
                  </a:lnTo>
                  <a:lnTo>
                    <a:pt x="443" y="596"/>
                  </a:lnTo>
                  <a:lnTo>
                    <a:pt x="467" y="584"/>
                  </a:lnTo>
                  <a:lnTo>
                    <a:pt x="491" y="569"/>
                  </a:lnTo>
                  <a:lnTo>
                    <a:pt x="514" y="553"/>
                  </a:lnTo>
                  <a:lnTo>
                    <a:pt x="534" y="534"/>
                  </a:lnTo>
                  <a:lnTo>
                    <a:pt x="553" y="514"/>
                  </a:lnTo>
                  <a:lnTo>
                    <a:pt x="570" y="491"/>
                  </a:lnTo>
                  <a:lnTo>
                    <a:pt x="585" y="467"/>
                  </a:lnTo>
                  <a:lnTo>
                    <a:pt x="597" y="442"/>
                  </a:lnTo>
                  <a:lnTo>
                    <a:pt x="607" y="415"/>
                  </a:lnTo>
                  <a:lnTo>
                    <a:pt x="615" y="387"/>
                  </a:lnTo>
                  <a:lnTo>
                    <a:pt x="619" y="358"/>
                  </a:lnTo>
                  <a:lnTo>
                    <a:pt x="620" y="329"/>
                  </a:lnTo>
                  <a:lnTo>
                    <a:pt x="620" y="329"/>
                  </a:lnTo>
                  <a:lnTo>
                    <a:pt x="619" y="299"/>
                  </a:lnTo>
                  <a:lnTo>
                    <a:pt x="615" y="270"/>
                  </a:lnTo>
                  <a:lnTo>
                    <a:pt x="607" y="242"/>
                  </a:lnTo>
                  <a:lnTo>
                    <a:pt x="597" y="215"/>
                  </a:lnTo>
                  <a:lnTo>
                    <a:pt x="585" y="190"/>
                  </a:lnTo>
                  <a:lnTo>
                    <a:pt x="570" y="166"/>
                  </a:lnTo>
                  <a:lnTo>
                    <a:pt x="553" y="143"/>
                  </a:lnTo>
                  <a:lnTo>
                    <a:pt x="534" y="123"/>
                  </a:lnTo>
                  <a:lnTo>
                    <a:pt x="514" y="105"/>
                  </a:lnTo>
                  <a:lnTo>
                    <a:pt x="491" y="87"/>
                  </a:lnTo>
                  <a:lnTo>
                    <a:pt x="467" y="72"/>
                  </a:lnTo>
                  <a:lnTo>
                    <a:pt x="443" y="60"/>
                  </a:lnTo>
                  <a:lnTo>
                    <a:pt x="416" y="51"/>
                  </a:lnTo>
                  <a:lnTo>
                    <a:pt x="388" y="43"/>
                  </a:lnTo>
                  <a:lnTo>
                    <a:pt x="358"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82">
              <a:extLst>
                <a:ext uri="{FF2B5EF4-FFF2-40B4-BE49-F238E27FC236}">
                  <a16:creationId xmlns:a16="http://schemas.microsoft.com/office/drawing/2014/main" id="{82D2F237-145C-4F65-970A-E479BE16BFF8}"/>
                </a:ext>
              </a:extLst>
            </p:cNvPr>
            <p:cNvSpPr>
              <a:spLocks/>
            </p:cNvSpPr>
            <p:nvPr/>
          </p:nvSpPr>
          <p:spPr bwMode="auto">
            <a:xfrm>
              <a:off x="4303713" y="1920875"/>
              <a:ext cx="60325" cy="104775"/>
            </a:xfrm>
            <a:custGeom>
              <a:avLst/>
              <a:gdLst>
                <a:gd name="T0" fmla="*/ 71 w 75"/>
                <a:gd name="T1" fmla="*/ 0 h 131"/>
                <a:gd name="T2" fmla="*/ 5 w 75"/>
                <a:gd name="T3" fmla="*/ 0 h 131"/>
                <a:gd name="T4" fmla="*/ 5 w 75"/>
                <a:gd name="T5" fmla="*/ 0 h 131"/>
                <a:gd name="T6" fmla="*/ 1 w 75"/>
                <a:gd name="T7" fmla="*/ 1 h 131"/>
                <a:gd name="T8" fmla="*/ 0 w 75"/>
                <a:gd name="T9" fmla="*/ 5 h 131"/>
                <a:gd name="T10" fmla="*/ 0 w 75"/>
                <a:gd name="T11" fmla="*/ 127 h 131"/>
                <a:gd name="T12" fmla="*/ 0 w 75"/>
                <a:gd name="T13" fmla="*/ 127 h 131"/>
                <a:gd name="T14" fmla="*/ 1 w 75"/>
                <a:gd name="T15" fmla="*/ 130 h 131"/>
                <a:gd name="T16" fmla="*/ 5 w 75"/>
                <a:gd name="T17" fmla="*/ 131 h 131"/>
                <a:gd name="T18" fmla="*/ 71 w 75"/>
                <a:gd name="T19" fmla="*/ 131 h 131"/>
                <a:gd name="T20" fmla="*/ 71 w 75"/>
                <a:gd name="T21" fmla="*/ 131 h 131"/>
                <a:gd name="T22" fmla="*/ 74 w 75"/>
                <a:gd name="T23" fmla="*/ 130 h 131"/>
                <a:gd name="T24" fmla="*/ 75 w 75"/>
                <a:gd name="T25" fmla="*/ 127 h 131"/>
                <a:gd name="T26" fmla="*/ 75 w 75"/>
                <a:gd name="T27" fmla="*/ 5 h 131"/>
                <a:gd name="T28" fmla="*/ 75 w 75"/>
                <a:gd name="T29" fmla="*/ 5 h 131"/>
                <a:gd name="T30" fmla="*/ 74 w 75"/>
                <a:gd name="T31" fmla="*/ 1 h 131"/>
                <a:gd name="T32" fmla="*/ 71 w 75"/>
                <a:gd name="T33" fmla="*/ 0 h 131"/>
                <a:gd name="T34" fmla="*/ 71 w 75"/>
                <a:gd name="T35"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 h="131">
                  <a:moveTo>
                    <a:pt x="71" y="0"/>
                  </a:moveTo>
                  <a:lnTo>
                    <a:pt x="5" y="0"/>
                  </a:lnTo>
                  <a:lnTo>
                    <a:pt x="5" y="0"/>
                  </a:lnTo>
                  <a:lnTo>
                    <a:pt x="1" y="1"/>
                  </a:lnTo>
                  <a:lnTo>
                    <a:pt x="0" y="5"/>
                  </a:lnTo>
                  <a:lnTo>
                    <a:pt x="0" y="127"/>
                  </a:lnTo>
                  <a:lnTo>
                    <a:pt x="0" y="127"/>
                  </a:lnTo>
                  <a:lnTo>
                    <a:pt x="1" y="130"/>
                  </a:lnTo>
                  <a:lnTo>
                    <a:pt x="5" y="131"/>
                  </a:lnTo>
                  <a:lnTo>
                    <a:pt x="71" y="131"/>
                  </a:lnTo>
                  <a:lnTo>
                    <a:pt x="71" y="131"/>
                  </a:lnTo>
                  <a:lnTo>
                    <a:pt x="74" y="130"/>
                  </a:lnTo>
                  <a:lnTo>
                    <a:pt x="75" y="127"/>
                  </a:lnTo>
                  <a:lnTo>
                    <a:pt x="75" y="5"/>
                  </a:lnTo>
                  <a:lnTo>
                    <a:pt x="75" y="5"/>
                  </a:lnTo>
                  <a:lnTo>
                    <a:pt x="74" y="1"/>
                  </a:lnTo>
                  <a:lnTo>
                    <a:pt x="71" y="0"/>
                  </a:lnTo>
                  <a:lnTo>
                    <a:pt x="7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83">
              <a:extLst>
                <a:ext uri="{FF2B5EF4-FFF2-40B4-BE49-F238E27FC236}">
                  <a16:creationId xmlns:a16="http://schemas.microsoft.com/office/drawing/2014/main" id="{BC3640E1-A189-41C5-B4F6-E08FABFD9082}"/>
                </a:ext>
              </a:extLst>
            </p:cNvPr>
            <p:cNvSpPr>
              <a:spLocks/>
            </p:cNvSpPr>
            <p:nvPr/>
          </p:nvSpPr>
          <p:spPr bwMode="auto">
            <a:xfrm>
              <a:off x="4222751" y="1966913"/>
              <a:ext cx="58738" cy="58738"/>
            </a:xfrm>
            <a:custGeom>
              <a:avLst/>
              <a:gdLst>
                <a:gd name="T0" fmla="*/ 70 w 74"/>
                <a:gd name="T1" fmla="*/ 0 h 75"/>
                <a:gd name="T2" fmla="*/ 4 w 74"/>
                <a:gd name="T3" fmla="*/ 0 h 75"/>
                <a:gd name="T4" fmla="*/ 4 w 74"/>
                <a:gd name="T5" fmla="*/ 0 h 75"/>
                <a:gd name="T6" fmla="*/ 1 w 74"/>
                <a:gd name="T7" fmla="*/ 2 h 75"/>
                <a:gd name="T8" fmla="*/ 0 w 74"/>
                <a:gd name="T9" fmla="*/ 6 h 75"/>
                <a:gd name="T10" fmla="*/ 0 w 74"/>
                <a:gd name="T11" fmla="*/ 71 h 75"/>
                <a:gd name="T12" fmla="*/ 0 w 74"/>
                <a:gd name="T13" fmla="*/ 71 h 75"/>
                <a:gd name="T14" fmla="*/ 1 w 74"/>
                <a:gd name="T15" fmla="*/ 74 h 75"/>
                <a:gd name="T16" fmla="*/ 4 w 74"/>
                <a:gd name="T17" fmla="*/ 75 h 75"/>
                <a:gd name="T18" fmla="*/ 70 w 74"/>
                <a:gd name="T19" fmla="*/ 75 h 75"/>
                <a:gd name="T20" fmla="*/ 70 w 74"/>
                <a:gd name="T21" fmla="*/ 75 h 75"/>
                <a:gd name="T22" fmla="*/ 73 w 74"/>
                <a:gd name="T23" fmla="*/ 74 h 75"/>
                <a:gd name="T24" fmla="*/ 74 w 74"/>
                <a:gd name="T25" fmla="*/ 71 h 75"/>
                <a:gd name="T26" fmla="*/ 74 w 74"/>
                <a:gd name="T27" fmla="*/ 6 h 75"/>
                <a:gd name="T28" fmla="*/ 74 w 74"/>
                <a:gd name="T29" fmla="*/ 6 h 75"/>
                <a:gd name="T30" fmla="*/ 73 w 74"/>
                <a:gd name="T31" fmla="*/ 2 h 75"/>
                <a:gd name="T32" fmla="*/ 70 w 74"/>
                <a:gd name="T33" fmla="*/ 0 h 75"/>
                <a:gd name="T34" fmla="*/ 70 w 74"/>
                <a:gd name="T35"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75">
                  <a:moveTo>
                    <a:pt x="70" y="0"/>
                  </a:moveTo>
                  <a:lnTo>
                    <a:pt x="4" y="0"/>
                  </a:lnTo>
                  <a:lnTo>
                    <a:pt x="4" y="0"/>
                  </a:lnTo>
                  <a:lnTo>
                    <a:pt x="1" y="2"/>
                  </a:lnTo>
                  <a:lnTo>
                    <a:pt x="0" y="6"/>
                  </a:lnTo>
                  <a:lnTo>
                    <a:pt x="0" y="71"/>
                  </a:lnTo>
                  <a:lnTo>
                    <a:pt x="0" y="71"/>
                  </a:lnTo>
                  <a:lnTo>
                    <a:pt x="1" y="74"/>
                  </a:lnTo>
                  <a:lnTo>
                    <a:pt x="4" y="75"/>
                  </a:lnTo>
                  <a:lnTo>
                    <a:pt x="70" y="75"/>
                  </a:lnTo>
                  <a:lnTo>
                    <a:pt x="70" y="75"/>
                  </a:lnTo>
                  <a:lnTo>
                    <a:pt x="73" y="74"/>
                  </a:lnTo>
                  <a:lnTo>
                    <a:pt x="74" y="71"/>
                  </a:lnTo>
                  <a:lnTo>
                    <a:pt x="74" y="6"/>
                  </a:lnTo>
                  <a:lnTo>
                    <a:pt x="74" y="6"/>
                  </a:lnTo>
                  <a:lnTo>
                    <a:pt x="73" y="2"/>
                  </a:lnTo>
                  <a:lnTo>
                    <a:pt x="70" y="0"/>
                  </a:lnTo>
                  <a:lnTo>
                    <a:pt x="7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84">
              <a:extLst>
                <a:ext uri="{FF2B5EF4-FFF2-40B4-BE49-F238E27FC236}">
                  <a16:creationId xmlns:a16="http://schemas.microsoft.com/office/drawing/2014/main" id="{8F855FFF-9AB9-48DE-911B-254E5013461D}"/>
                </a:ext>
              </a:extLst>
            </p:cNvPr>
            <p:cNvSpPr>
              <a:spLocks/>
            </p:cNvSpPr>
            <p:nvPr/>
          </p:nvSpPr>
          <p:spPr bwMode="auto">
            <a:xfrm>
              <a:off x="4386263" y="1876425"/>
              <a:ext cx="58738" cy="149225"/>
            </a:xfrm>
            <a:custGeom>
              <a:avLst/>
              <a:gdLst>
                <a:gd name="T0" fmla="*/ 70 w 76"/>
                <a:gd name="T1" fmla="*/ 0 h 188"/>
                <a:gd name="T2" fmla="*/ 6 w 76"/>
                <a:gd name="T3" fmla="*/ 0 h 188"/>
                <a:gd name="T4" fmla="*/ 6 w 76"/>
                <a:gd name="T5" fmla="*/ 0 h 188"/>
                <a:gd name="T6" fmla="*/ 2 w 76"/>
                <a:gd name="T7" fmla="*/ 2 h 188"/>
                <a:gd name="T8" fmla="*/ 0 w 76"/>
                <a:gd name="T9" fmla="*/ 6 h 188"/>
                <a:gd name="T10" fmla="*/ 0 w 76"/>
                <a:gd name="T11" fmla="*/ 184 h 188"/>
                <a:gd name="T12" fmla="*/ 0 w 76"/>
                <a:gd name="T13" fmla="*/ 184 h 188"/>
                <a:gd name="T14" fmla="*/ 2 w 76"/>
                <a:gd name="T15" fmla="*/ 187 h 188"/>
                <a:gd name="T16" fmla="*/ 6 w 76"/>
                <a:gd name="T17" fmla="*/ 188 h 188"/>
                <a:gd name="T18" fmla="*/ 70 w 76"/>
                <a:gd name="T19" fmla="*/ 188 h 188"/>
                <a:gd name="T20" fmla="*/ 70 w 76"/>
                <a:gd name="T21" fmla="*/ 188 h 188"/>
                <a:gd name="T22" fmla="*/ 74 w 76"/>
                <a:gd name="T23" fmla="*/ 187 h 188"/>
                <a:gd name="T24" fmla="*/ 76 w 76"/>
                <a:gd name="T25" fmla="*/ 184 h 188"/>
                <a:gd name="T26" fmla="*/ 76 w 76"/>
                <a:gd name="T27" fmla="*/ 6 h 188"/>
                <a:gd name="T28" fmla="*/ 76 w 76"/>
                <a:gd name="T29" fmla="*/ 6 h 188"/>
                <a:gd name="T30" fmla="*/ 74 w 76"/>
                <a:gd name="T31" fmla="*/ 2 h 188"/>
                <a:gd name="T32" fmla="*/ 70 w 76"/>
                <a:gd name="T33" fmla="*/ 0 h 188"/>
                <a:gd name="T34" fmla="*/ 70 w 76"/>
                <a:gd name="T35"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188">
                  <a:moveTo>
                    <a:pt x="70" y="0"/>
                  </a:moveTo>
                  <a:lnTo>
                    <a:pt x="6" y="0"/>
                  </a:lnTo>
                  <a:lnTo>
                    <a:pt x="6" y="0"/>
                  </a:lnTo>
                  <a:lnTo>
                    <a:pt x="2" y="2"/>
                  </a:lnTo>
                  <a:lnTo>
                    <a:pt x="0" y="6"/>
                  </a:lnTo>
                  <a:lnTo>
                    <a:pt x="0" y="184"/>
                  </a:lnTo>
                  <a:lnTo>
                    <a:pt x="0" y="184"/>
                  </a:lnTo>
                  <a:lnTo>
                    <a:pt x="2" y="187"/>
                  </a:lnTo>
                  <a:lnTo>
                    <a:pt x="6" y="188"/>
                  </a:lnTo>
                  <a:lnTo>
                    <a:pt x="70" y="188"/>
                  </a:lnTo>
                  <a:lnTo>
                    <a:pt x="70" y="188"/>
                  </a:lnTo>
                  <a:lnTo>
                    <a:pt x="74" y="187"/>
                  </a:lnTo>
                  <a:lnTo>
                    <a:pt x="76" y="184"/>
                  </a:lnTo>
                  <a:lnTo>
                    <a:pt x="76" y="6"/>
                  </a:lnTo>
                  <a:lnTo>
                    <a:pt x="76" y="6"/>
                  </a:lnTo>
                  <a:lnTo>
                    <a:pt x="74" y="2"/>
                  </a:lnTo>
                  <a:lnTo>
                    <a:pt x="70" y="0"/>
                  </a:lnTo>
                  <a:lnTo>
                    <a:pt x="7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85">
              <a:extLst>
                <a:ext uri="{FF2B5EF4-FFF2-40B4-BE49-F238E27FC236}">
                  <a16:creationId xmlns:a16="http://schemas.microsoft.com/office/drawing/2014/main" id="{E81C667D-3D5A-47FE-B163-BAF7B1E0808E}"/>
                </a:ext>
              </a:extLst>
            </p:cNvPr>
            <p:cNvSpPr>
              <a:spLocks/>
            </p:cNvSpPr>
            <p:nvPr/>
          </p:nvSpPr>
          <p:spPr bwMode="auto">
            <a:xfrm>
              <a:off x="4252913" y="1792288"/>
              <a:ext cx="163513" cy="87313"/>
            </a:xfrm>
            <a:custGeom>
              <a:avLst/>
              <a:gdLst>
                <a:gd name="T0" fmla="*/ 102 w 205"/>
                <a:gd name="T1" fmla="*/ 110 h 110"/>
                <a:gd name="T2" fmla="*/ 102 w 205"/>
                <a:gd name="T3" fmla="*/ 110 h 110"/>
                <a:gd name="T4" fmla="*/ 106 w 205"/>
                <a:gd name="T5" fmla="*/ 110 h 110"/>
                <a:gd name="T6" fmla="*/ 108 w 205"/>
                <a:gd name="T7" fmla="*/ 109 h 110"/>
                <a:gd name="T8" fmla="*/ 188 w 205"/>
                <a:gd name="T9" fmla="*/ 30 h 110"/>
                <a:gd name="T10" fmla="*/ 188 w 205"/>
                <a:gd name="T11" fmla="*/ 65 h 110"/>
                <a:gd name="T12" fmla="*/ 188 w 205"/>
                <a:gd name="T13" fmla="*/ 65 h 110"/>
                <a:gd name="T14" fmla="*/ 188 w 205"/>
                <a:gd name="T15" fmla="*/ 69 h 110"/>
                <a:gd name="T16" fmla="*/ 189 w 205"/>
                <a:gd name="T17" fmla="*/ 71 h 110"/>
                <a:gd name="T18" fmla="*/ 192 w 205"/>
                <a:gd name="T19" fmla="*/ 73 h 110"/>
                <a:gd name="T20" fmla="*/ 196 w 205"/>
                <a:gd name="T21" fmla="*/ 74 h 110"/>
                <a:gd name="T22" fmla="*/ 196 w 205"/>
                <a:gd name="T23" fmla="*/ 74 h 110"/>
                <a:gd name="T24" fmla="*/ 200 w 205"/>
                <a:gd name="T25" fmla="*/ 73 h 110"/>
                <a:gd name="T26" fmla="*/ 202 w 205"/>
                <a:gd name="T27" fmla="*/ 71 h 110"/>
                <a:gd name="T28" fmla="*/ 204 w 205"/>
                <a:gd name="T29" fmla="*/ 69 h 110"/>
                <a:gd name="T30" fmla="*/ 205 w 205"/>
                <a:gd name="T31" fmla="*/ 65 h 110"/>
                <a:gd name="T32" fmla="*/ 205 w 205"/>
                <a:gd name="T33" fmla="*/ 8 h 110"/>
                <a:gd name="T34" fmla="*/ 205 w 205"/>
                <a:gd name="T35" fmla="*/ 8 h 110"/>
                <a:gd name="T36" fmla="*/ 204 w 205"/>
                <a:gd name="T37" fmla="*/ 6 h 110"/>
                <a:gd name="T38" fmla="*/ 204 w 205"/>
                <a:gd name="T39" fmla="*/ 6 h 110"/>
                <a:gd name="T40" fmla="*/ 202 w 205"/>
                <a:gd name="T41" fmla="*/ 3 h 110"/>
                <a:gd name="T42" fmla="*/ 198 w 205"/>
                <a:gd name="T43" fmla="*/ 0 h 110"/>
                <a:gd name="T44" fmla="*/ 198 w 205"/>
                <a:gd name="T45" fmla="*/ 0 h 110"/>
                <a:gd name="T46" fmla="*/ 196 w 205"/>
                <a:gd name="T47" fmla="*/ 0 h 110"/>
                <a:gd name="T48" fmla="*/ 139 w 205"/>
                <a:gd name="T49" fmla="*/ 0 h 110"/>
                <a:gd name="T50" fmla="*/ 139 w 205"/>
                <a:gd name="T51" fmla="*/ 0 h 110"/>
                <a:gd name="T52" fmla="*/ 137 w 205"/>
                <a:gd name="T53" fmla="*/ 0 h 110"/>
                <a:gd name="T54" fmla="*/ 134 w 205"/>
                <a:gd name="T55" fmla="*/ 3 h 110"/>
                <a:gd name="T56" fmla="*/ 131 w 205"/>
                <a:gd name="T57" fmla="*/ 6 h 110"/>
                <a:gd name="T58" fmla="*/ 131 w 205"/>
                <a:gd name="T59" fmla="*/ 8 h 110"/>
                <a:gd name="T60" fmla="*/ 131 w 205"/>
                <a:gd name="T61" fmla="*/ 8 h 110"/>
                <a:gd name="T62" fmla="*/ 131 w 205"/>
                <a:gd name="T63" fmla="*/ 12 h 110"/>
                <a:gd name="T64" fmla="*/ 134 w 205"/>
                <a:gd name="T65" fmla="*/ 15 h 110"/>
                <a:gd name="T66" fmla="*/ 137 w 205"/>
                <a:gd name="T67" fmla="*/ 16 h 110"/>
                <a:gd name="T68" fmla="*/ 139 w 205"/>
                <a:gd name="T69" fmla="*/ 18 h 110"/>
                <a:gd name="T70" fmla="*/ 174 w 205"/>
                <a:gd name="T71" fmla="*/ 18 h 110"/>
                <a:gd name="T72" fmla="*/ 102 w 205"/>
                <a:gd name="T73" fmla="*/ 90 h 110"/>
                <a:gd name="T74" fmla="*/ 61 w 205"/>
                <a:gd name="T75" fmla="*/ 50 h 110"/>
                <a:gd name="T76" fmla="*/ 61 w 205"/>
                <a:gd name="T77" fmla="*/ 50 h 110"/>
                <a:gd name="T78" fmla="*/ 59 w 205"/>
                <a:gd name="T79" fmla="*/ 47 h 110"/>
                <a:gd name="T80" fmla="*/ 55 w 205"/>
                <a:gd name="T81" fmla="*/ 47 h 110"/>
                <a:gd name="T82" fmla="*/ 52 w 205"/>
                <a:gd name="T83" fmla="*/ 47 h 110"/>
                <a:gd name="T84" fmla="*/ 49 w 205"/>
                <a:gd name="T85" fmla="*/ 50 h 110"/>
                <a:gd name="T86" fmla="*/ 2 w 205"/>
                <a:gd name="T87" fmla="*/ 96 h 110"/>
                <a:gd name="T88" fmla="*/ 2 w 205"/>
                <a:gd name="T89" fmla="*/ 96 h 110"/>
                <a:gd name="T90" fmla="*/ 0 w 205"/>
                <a:gd name="T91" fmla="*/ 100 h 110"/>
                <a:gd name="T92" fmla="*/ 0 w 205"/>
                <a:gd name="T93" fmla="*/ 102 h 110"/>
                <a:gd name="T94" fmla="*/ 0 w 205"/>
                <a:gd name="T95" fmla="*/ 105 h 110"/>
                <a:gd name="T96" fmla="*/ 2 w 205"/>
                <a:gd name="T97" fmla="*/ 109 h 110"/>
                <a:gd name="T98" fmla="*/ 2 w 205"/>
                <a:gd name="T99" fmla="*/ 109 h 110"/>
                <a:gd name="T100" fmla="*/ 5 w 205"/>
                <a:gd name="T101" fmla="*/ 110 h 110"/>
                <a:gd name="T102" fmla="*/ 8 w 205"/>
                <a:gd name="T103" fmla="*/ 110 h 110"/>
                <a:gd name="T104" fmla="*/ 12 w 205"/>
                <a:gd name="T105" fmla="*/ 110 h 110"/>
                <a:gd name="T106" fmla="*/ 14 w 205"/>
                <a:gd name="T107" fmla="*/ 109 h 110"/>
                <a:gd name="T108" fmla="*/ 55 w 205"/>
                <a:gd name="T109" fmla="*/ 67 h 110"/>
                <a:gd name="T110" fmla="*/ 96 w 205"/>
                <a:gd name="T111" fmla="*/ 109 h 110"/>
                <a:gd name="T112" fmla="*/ 96 w 205"/>
                <a:gd name="T113" fmla="*/ 109 h 110"/>
                <a:gd name="T114" fmla="*/ 99 w 205"/>
                <a:gd name="T115" fmla="*/ 110 h 110"/>
                <a:gd name="T116" fmla="*/ 102 w 205"/>
                <a:gd name="T117" fmla="*/ 110 h 110"/>
                <a:gd name="T118" fmla="*/ 102 w 205"/>
                <a:gd name="T119"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5" h="110">
                  <a:moveTo>
                    <a:pt x="102" y="110"/>
                  </a:moveTo>
                  <a:lnTo>
                    <a:pt x="102" y="110"/>
                  </a:lnTo>
                  <a:lnTo>
                    <a:pt x="106" y="110"/>
                  </a:lnTo>
                  <a:lnTo>
                    <a:pt x="108" y="109"/>
                  </a:lnTo>
                  <a:lnTo>
                    <a:pt x="188" y="30"/>
                  </a:lnTo>
                  <a:lnTo>
                    <a:pt x="188" y="65"/>
                  </a:lnTo>
                  <a:lnTo>
                    <a:pt x="188" y="65"/>
                  </a:lnTo>
                  <a:lnTo>
                    <a:pt x="188" y="69"/>
                  </a:lnTo>
                  <a:lnTo>
                    <a:pt x="189" y="71"/>
                  </a:lnTo>
                  <a:lnTo>
                    <a:pt x="192" y="73"/>
                  </a:lnTo>
                  <a:lnTo>
                    <a:pt x="196" y="74"/>
                  </a:lnTo>
                  <a:lnTo>
                    <a:pt x="196" y="74"/>
                  </a:lnTo>
                  <a:lnTo>
                    <a:pt x="200" y="73"/>
                  </a:lnTo>
                  <a:lnTo>
                    <a:pt x="202" y="71"/>
                  </a:lnTo>
                  <a:lnTo>
                    <a:pt x="204" y="69"/>
                  </a:lnTo>
                  <a:lnTo>
                    <a:pt x="205" y="65"/>
                  </a:lnTo>
                  <a:lnTo>
                    <a:pt x="205" y="8"/>
                  </a:lnTo>
                  <a:lnTo>
                    <a:pt x="205" y="8"/>
                  </a:lnTo>
                  <a:lnTo>
                    <a:pt x="204" y="6"/>
                  </a:lnTo>
                  <a:lnTo>
                    <a:pt x="204" y="6"/>
                  </a:lnTo>
                  <a:lnTo>
                    <a:pt x="202" y="3"/>
                  </a:lnTo>
                  <a:lnTo>
                    <a:pt x="198" y="0"/>
                  </a:lnTo>
                  <a:lnTo>
                    <a:pt x="198" y="0"/>
                  </a:lnTo>
                  <a:lnTo>
                    <a:pt x="196" y="0"/>
                  </a:lnTo>
                  <a:lnTo>
                    <a:pt x="139" y="0"/>
                  </a:lnTo>
                  <a:lnTo>
                    <a:pt x="139" y="0"/>
                  </a:lnTo>
                  <a:lnTo>
                    <a:pt x="137" y="0"/>
                  </a:lnTo>
                  <a:lnTo>
                    <a:pt x="134" y="3"/>
                  </a:lnTo>
                  <a:lnTo>
                    <a:pt x="131" y="6"/>
                  </a:lnTo>
                  <a:lnTo>
                    <a:pt x="131" y="8"/>
                  </a:lnTo>
                  <a:lnTo>
                    <a:pt x="131" y="8"/>
                  </a:lnTo>
                  <a:lnTo>
                    <a:pt x="131" y="12"/>
                  </a:lnTo>
                  <a:lnTo>
                    <a:pt x="134" y="15"/>
                  </a:lnTo>
                  <a:lnTo>
                    <a:pt x="137" y="16"/>
                  </a:lnTo>
                  <a:lnTo>
                    <a:pt x="139" y="18"/>
                  </a:lnTo>
                  <a:lnTo>
                    <a:pt x="174" y="18"/>
                  </a:lnTo>
                  <a:lnTo>
                    <a:pt x="102" y="90"/>
                  </a:lnTo>
                  <a:lnTo>
                    <a:pt x="61" y="50"/>
                  </a:lnTo>
                  <a:lnTo>
                    <a:pt x="61" y="50"/>
                  </a:lnTo>
                  <a:lnTo>
                    <a:pt x="59" y="47"/>
                  </a:lnTo>
                  <a:lnTo>
                    <a:pt x="55" y="47"/>
                  </a:lnTo>
                  <a:lnTo>
                    <a:pt x="52" y="47"/>
                  </a:lnTo>
                  <a:lnTo>
                    <a:pt x="49" y="50"/>
                  </a:lnTo>
                  <a:lnTo>
                    <a:pt x="2" y="96"/>
                  </a:lnTo>
                  <a:lnTo>
                    <a:pt x="2" y="96"/>
                  </a:lnTo>
                  <a:lnTo>
                    <a:pt x="0" y="100"/>
                  </a:lnTo>
                  <a:lnTo>
                    <a:pt x="0" y="102"/>
                  </a:lnTo>
                  <a:lnTo>
                    <a:pt x="0" y="105"/>
                  </a:lnTo>
                  <a:lnTo>
                    <a:pt x="2" y="109"/>
                  </a:lnTo>
                  <a:lnTo>
                    <a:pt x="2" y="109"/>
                  </a:lnTo>
                  <a:lnTo>
                    <a:pt x="5" y="110"/>
                  </a:lnTo>
                  <a:lnTo>
                    <a:pt x="8" y="110"/>
                  </a:lnTo>
                  <a:lnTo>
                    <a:pt x="12" y="110"/>
                  </a:lnTo>
                  <a:lnTo>
                    <a:pt x="14" y="109"/>
                  </a:lnTo>
                  <a:lnTo>
                    <a:pt x="55" y="67"/>
                  </a:lnTo>
                  <a:lnTo>
                    <a:pt x="96" y="109"/>
                  </a:lnTo>
                  <a:lnTo>
                    <a:pt x="96" y="109"/>
                  </a:lnTo>
                  <a:lnTo>
                    <a:pt x="99" y="110"/>
                  </a:lnTo>
                  <a:lnTo>
                    <a:pt x="102" y="110"/>
                  </a:lnTo>
                  <a:lnTo>
                    <a:pt x="102" y="1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4020247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E5ECFC4-71B4-4EDD-A185-16F341DF806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0"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EE5ECFC4-71B4-4EDD-A185-16F341DF806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D0164E-264E-4CC3-968C-0568D2FA9AA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070968FD-B46C-4409-9936-7D11BE332DC3}"/>
              </a:ext>
            </a:extLst>
          </p:cNvPr>
          <p:cNvSpPr>
            <a:spLocks noGrp="1"/>
          </p:cNvSpPr>
          <p:nvPr>
            <p:ph type="title"/>
          </p:nvPr>
        </p:nvSpPr>
        <p:spPr/>
        <p:txBody>
          <a:bodyPr/>
          <a:lstStyle/>
          <a:p>
            <a:r>
              <a:rPr lang="en-US" dirty="0"/>
              <a:t>Approach is grounded in strong design principles</a:t>
            </a:r>
          </a:p>
        </p:txBody>
      </p:sp>
      <p:sp>
        <p:nvSpPr>
          <p:cNvPr id="5" name="Text Placeholder 4">
            <a:extLst>
              <a:ext uri="{FF2B5EF4-FFF2-40B4-BE49-F238E27FC236}">
                <a16:creationId xmlns:a16="http://schemas.microsoft.com/office/drawing/2014/main" id="{F0DFB9DE-8761-490B-8FBE-2E3D42A19BB4}"/>
              </a:ext>
            </a:extLst>
          </p:cNvPr>
          <p:cNvSpPr>
            <a:spLocks noGrp="1"/>
          </p:cNvSpPr>
          <p:nvPr>
            <p:ph type="body" sz="quarter" idx="14"/>
          </p:nvPr>
        </p:nvSpPr>
        <p:spPr>
          <a:xfrm>
            <a:off x="914721" y="1353312"/>
            <a:ext cx="10362880" cy="475488"/>
          </a:xfrm>
        </p:spPr>
        <p:txBody>
          <a:bodyPr/>
          <a:lstStyle/>
          <a:p>
            <a:r>
              <a:rPr lang="en-US" dirty="0"/>
              <a:t>Subheader</a:t>
            </a:r>
          </a:p>
        </p:txBody>
      </p:sp>
      <p:sp>
        <p:nvSpPr>
          <p:cNvPr id="50" name="Text Placeholder 49">
            <a:extLst>
              <a:ext uri="{FF2B5EF4-FFF2-40B4-BE49-F238E27FC236}">
                <a16:creationId xmlns:a16="http://schemas.microsoft.com/office/drawing/2014/main" id="{05090DA5-171B-405F-8DE8-FAEBB7AE3CDA}"/>
              </a:ext>
            </a:extLst>
          </p:cNvPr>
          <p:cNvSpPr>
            <a:spLocks noGrp="1"/>
          </p:cNvSpPr>
          <p:nvPr>
            <p:ph type="body" sz="quarter" idx="15"/>
          </p:nvPr>
        </p:nvSpPr>
        <p:spPr/>
        <p:txBody>
          <a:bodyPr/>
          <a:lstStyle/>
          <a:p>
            <a:r>
              <a:rPr lang="en-US" dirty="0"/>
              <a:t>Approach, Scope, &amp; objectives</a:t>
            </a:r>
          </a:p>
        </p:txBody>
      </p:sp>
      <p:graphicFrame>
        <p:nvGraphicFramePr>
          <p:cNvPr id="6" name="Content Placeholder 6">
            <a:extLst>
              <a:ext uri="{FF2B5EF4-FFF2-40B4-BE49-F238E27FC236}">
                <a16:creationId xmlns:a16="http://schemas.microsoft.com/office/drawing/2014/main" id="{120D5DDA-6CAB-4D74-AFFE-D94AC2687232}"/>
              </a:ext>
            </a:extLst>
          </p:cNvPr>
          <p:cNvGraphicFramePr>
            <a:graphicFrameLocks/>
          </p:cNvGraphicFramePr>
          <p:nvPr/>
        </p:nvGraphicFramePr>
        <p:xfrm>
          <a:off x="914399" y="1791380"/>
          <a:ext cx="10535056" cy="4579465"/>
        </p:xfrm>
        <a:graphic>
          <a:graphicData uri="http://schemas.openxmlformats.org/drawingml/2006/table">
            <a:tbl>
              <a:tblPr firstRow="1" bandRow="1">
                <a:tableStyleId>{5C22544A-7EE6-4342-B048-85BDC9FD1C3A}</a:tableStyleId>
              </a:tblPr>
              <a:tblGrid>
                <a:gridCol w="417609">
                  <a:extLst>
                    <a:ext uri="{9D8B030D-6E8A-4147-A177-3AD203B41FA5}">
                      <a16:colId xmlns:a16="http://schemas.microsoft.com/office/drawing/2014/main" val="20000"/>
                    </a:ext>
                  </a:extLst>
                </a:gridCol>
                <a:gridCol w="4142200">
                  <a:extLst>
                    <a:ext uri="{9D8B030D-6E8A-4147-A177-3AD203B41FA5}">
                      <a16:colId xmlns:a16="http://schemas.microsoft.com/office/drawing/2014/main" val="20002"/>
                    </a:ext>
                  </a:extLst>
                </a:gridCol>
                <a:gridCol w="663945">
                  <a:extLst>
                    <a:ext uri="{9D8B030D-6E8A-4147-A177-3AD203B41FA5}">
                      <a16:colId xmlns:a16="http://schemas.microsoft.com/office/drawing/2014/main" val="434360006"/>
                    </a:ext>
                  </a:extLst>
                </a:gridCol>
                <a:gridCol w="5311302">
                  <a:extLst>
                    <a:ext uri="{9D8B030D-6E8A-4147-A177-3AD203B41FA5}">
                      <a16:colId xmlns:a16="http://schemas.microsoft.com/office/drawing/2014/main" val="20003"/>
                    </a:ext>
                  </a:extLst>
                </a:gridCol>
              </a:tblGrid>
              <a:tr h="379617">
                <a:tc>
                  <a:txBody>
                    <a:bodyPr/>
                    <a:lstStyle/>
                    <a:p>
                      <a:endParaRPr lang="en-GB" sz="1200" b="0" dirty="0">
                        <a:solidFill>
                          <a:schemeClr val="accent1"/>
                        </a:solidFill>
                        <a:latin typeface="Frutiger Next Pro" panose="020B0503040204020203" pitchFamily="34" charset="0"/>
                      </a:endParaRPr>
                    </a:p>
                  </a:txBody>
                  <a:tcPr marL="91320" marR="91320" marT="90000" marB="90000" anchor="ctr">
                    <a:lnL w="12700" cmpd="sng">
                      <a:noFill/>
                    </a:lnL>
                    <a:lnR w="12700" cmpd="sng">
                      <a:noFill/>
                    </a:lnR>
                    <a:lnT w="12700" cap="flat" cmpd="sng" algn="ctr">
                      <a:no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spc="300" dirty="0">
                          <a:solidFill>
                            <a:schemeClr val="tx1"/>
                          </a:solidFill>
                          <a:latin typeface="Open Sans" charset="0"/>
                          <a:ea typeface="Open Sans" charset="0"/>
                          <a:cs typeface="Open Sans" charset="0"/>
                        </a:rPr>
                        <a:t>KEY PRINCIPLES</a:t>
                      </a:r>
                    </a:p>
                  </a:txBody>
                  <a:tcPr marL="91320" marR="91320" marT="90000" marB="90000" anchor="ctr">
                    <a:lnL w="12700" cmpd="sng">
                      <a:noFill/>
                    </a:lnL>
                    <a:lnR w="12700" cmpd="sng">
                      <a:noFill/>
                    </a:lnR>
                    <a:lnT w="12700" cap="flat" cmpd="sng" algn="ctr">
                      <a:no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400" b="1" spc="300" dirty="0">
                        <a:solidFill>
                          <a:schemeClr val="tx1"/>
                        </a:solidFill>
                        <a:latin typeface="Open Sans" charset="0"/>
                        <a:ea typeface="Open Sans" charset="0"/>
                        <a:cs typeface="Open Sans" charset="0"/>
                      </a:endParaRPr>
                    </a:p>
                  </a:txBody>
                  <a:tcPr marL="91320" marR="91320" marT="90000" marB="90000" anchor="ctr">
                    <a:lnL w="12700" cmpd="sng">
                      <a:noFill/>
                    </a:lnL>
                    <a:lnR w="12700" cmpd="sng">
                      <a:noFill/>
                    </a:lnR>
                    <a:lnT w="12700" cap="flat" cmpd="sng" algn="ctr">
                      <a:no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spc="300" dirty="0">
                          <a:solidFill>
                            <a:schemeClr val="tx1"/>
                          </a:solidFill>
                          <a:latin typeface="Open Sans" charset="0"/>
                          <a:ea typeface="Open Sans" charset="0"/>
                          <a:cs typeface="Open Sans" charset="0"/>
                        </a:rPr>
                        <a:t>IMPLICATIONS</a:t>
                      </a:r>
                      <a:r>
                        <a:rPr lang="en-GB" sz="1400" b="1" spc="300" baseline="0" dirty="0">
                          <a:solidFill>
                            <a:schemeClr val="tx1"/>
                          </a:solidFill>
                          <a:latin typeface="Open Sans" charset="0"/>
                          <a:ea typeface="Open Sans" charset="0"/>
                          <a:cs typeface="Open Sans" charset="0"/>
                        </a:rPr>
                        <a:t> FOR THE CLIENT</a:t>
                      </a:r>
                      <a:endParaRPr lang="en-GB" sz="1400" b="1" spc="300" dirty="0">
                        <a:solidFill>
                          <a:schemeClr val="tx1"/>
                        </a:solidFill>
                        <a:latin typeface="Open Sans" charset="0"/>
                        <a:ea typeface="Open Sans" charset="0"/>
                        <a:cs typeface="Open Sans" charset="0"/>
                      </a:endParaRPr>
                    </a:p>
                  </a:txBody>
                  <a:tcPr marL="91320" marR="91320" marT="90000" marB="90000" anchor="ctr">
                    <a:lnL w="12700" cmpd="sng">
                      <a:noFill/>
                    </a:lnL>
                    <a:lnR w="12700" cmpd="sng">
                      <a:noFill/>
                    </a:lnR>
                    <a:lnT w="12700" cap="flat" cmpd="sng" algn="ctr">
                      <a:no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03183">
                <a:tc>
                  <a:txBody>
                    <a:bodyPr/>
                    <a:lstStyle/>
                    <a:p>
                      <a:endParaRPr lang="en-GB" sz="1400" dirty="0">
                        <a:solidFill>
                          <a:schemeClr val="tx1"/>
                        </a:solidFill>
                        <a:latin typeface="Frutiger Next Pro" panose="020B0503040204020203" pitchFamily="34" charset="0"/>
                      </a:endParaRPr>
                    </a:p>
                  </a:txBody>
                  <a:tcPr marL="91320" marR="91320" marT="90000" marB="90000" anchor="ctr">
                    <a:lnL w="12700" cmpd="sng">
                      <a:noFill/>
                    </a:lnL>
                    <a:lnR w="12700" cmpd="sng">
                      <a:noFill/>
                    </a:lnR>
                    <a:lnT w="19050" cap="flat" cmpd="sng" algn="ctr">
                      <a:solidFill>
                        <a:schemeClr val="bg1">
                          <a:lumMod val="85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r>
                        <a:rPr lang="en-US" sz="1200" b="0" dirty="0">
                          <a:solidFill>
                            <a:schemeClr val="tx1"/>
                          </a:solidFill>
                          <a:latin typeface="Open Sans" charset="0"/>
                          <a:ea typeface="Open Sans" charset="0"/>
                          <a:cs typeface="Open Sans" charset="0"/>
                        </a:rPr>
                        <a:t>Work from business needs back (and technical capabilities forward)</a:t>
                      </a:r>
                    </a:p>
                  </a:txBody>
                  <a:tcPr marL="91320" marR="91320" marT="90000" marB="90000" anchor="ctr">
                    <a:lnL w="12700" cmpd="sng">
                      <a:noFill/>
                    </a:lnL>
                    <a:lnR w="12700" cmpd="sng">
                      <a:noFill/>
                    </a:lnR>
                    <a:lnT w="19050" cap="flat" cmpd="sng" algn="ctr">
                      <a:solidFill>
                        <a:schemeClr val="bg1">
                          <a:lumMod val="85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endParaRPr lang="en-US" sz="1200" b="1" dirty="0">
                        <a:solidFill>
                          <a:schemeClr val="tx1"/>
                        </a:solidFill>
                        <a:latin typeface="Open Sans" charset="0"/>
                        <a:ea typeface="Open Sans" charset="0"/>
                        <a:cs typeface="Open Sans" charset="0"/>
                      </a:endParaRPr>
                    </a:p>
                  </a:txBody>
                  <a:tcPr marL="91320" marR="91320" marT="90000" marB="90000" anchor="ctr">
                    <a:lnL w="12700" cmpd="sng">
                      <a:noFill/>
                    </a:lnL>
                    <a:lnR w="12700" cmpd="sng">
                      <a:noFill/>
                    </a:lnR>
                    <a:lnT w="19050" cap="flat" cmpd="sng" algn="ctr">
                      <a:solidFill>
                        <a:schemeClr val="bg1">
                          <a:lumMod val="85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solidFill>
                            <a:schemeClr val="tx1"/>
                          </a:solidFill>
                          <a:latin typeface="Open Sans" charset="0"/>
                          <a:ea typeface="Open Sans" charset="0"/>
                          <a:cs typeface="Open Sans" charset="0"/>
                        </a:rPr>
                        <a:t>Start with the business needs and consumer behavior in mind and work backward to the right data, tools, technology, &amp; operating requirements</a:t>
                      </a:r>
                    </a:p>
                  </a:txBody>
                  <a:tcPr marL="91320" marR="91320" marT="90000" marB="90000" anchor="ctr">
                    <a:lnL w="12700" cmpd="sng">
                      <a:noFill/>
                    </a:lnL>
                    <a:lnR w="12700" cmpd="sng">
                      <a:noFill/>
                    </a:lnR>
                    <a:lnT w="19050" cap="flat" cmpd="sng" algn="ctr">
                      <a:solidFill>
                        <a:schemeClr val="bg1">
                          <a:lumMod val="85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14254">
                <a:tc>
                  <a:txBody>
                    <a:bodyPr/>
                    <a:lstStyle/>
                    <a:p>
                      <a:endParaRPr lang="en-GB" sz="1400" dirty="0">
                        <a:solidFill>
                          <a:schemeClr val="tx1"/>
                        </a:solidFill>
                        <a:latin typeface="Frutiger Next Pro" panose="020B0503040204020203" pitchFamily="34" charset="0"/>
                      </a:endParaRPr>
                    </a:p>
                  </a:txBody>
                  <a:tcPr marL="91320" marR="91320" marT="90000" marB="90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r>
                        <a:rPr lang="en-US" sz="1200" dirty="0">
                          <a:solidFill>
                            <a:schemeClr val="tx1"/>
                          </a:solidFill>
                          <a:latin typeface="Open Sans" charset="0"/>
                          <a:ea typeface="Open Sans" charset="0"/>
                          <a:cs typeface="Open Sans" charset="0"/>
                        </a:rPr>
                        <a:t>Don’t be a data perfectionist</a:t>
                      </a:r>
                    </a:p>
                  </a:txBody>
                  <a:tcPr marL="91320" marR="91320" marT="90000" marB="90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endParaRPr lang="en-US" sz="1200" dirty="0">
                        <a:solidFill>
                          <a:schemeClr val="tx1"/>
                        </a:solidFill>
                        <a:latin typeface="Open Sans" charset="0"/>
                        <a:ea typeface="Open Sans" charset="0"/>
                        <a:cs typeface="Open Sans" charset="0"/>
                      </a:endParaRPr>
                    </a:p>
                  </a:txBody>
                  <a:tcPr marL="91320" marR="91320" marT="90000" marB="90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solidFill>
                            <a:schemeClr val="tx1"/>
                          </a:solidFill>
                          <a:latin typeface="Open Sans" charset="0"/>
                          <a:ea typeface="Open Sans" charset="0"/>
                          <a:cs typeface="Open Sans" charset="0"/>
                        </a:rPr>
                        <a:t>There is always more data – real engagement is like real conversation –</a:t>
                      </a:r>
                      <a:r>
                        <a:rPr lang="en-US" sz="1200" baseline="0" dirty="0">
                          <a:solidFill>
                            <a:schemeClr val="tx1"/>
                          </a:solidFill>
                          <a:latin typeface="Open Sans" charset="0"/>
                          <a:ea typeface="Open Sans" charset="0"/>
                          <a:cs typeface="Open Sans" charset="0"/>
                        </a:rPr>
                        <a:t> </a:t>
                      </a:r>
                      <a:r>
                        <a:rPr lang="en-US" sz="1200" dirty="0">
                          <a:solidFill>
                            <a:schemeClr val="tx1"/>
                          </a:solidFill>
                          <a:latin typeface="Open Sans" charset="0"/>
                          <a:ea typeface="Open Sans" charset="0"/>
                          <a:cs typeface="Open Sans" charset="0"/>
                        </a:rPr>
                        <a:t>start light,</a:t>
                      </a:r>
                      <a:r>
                        <a:rPr lang="en-US" sz="1200" baseline="0" dirty="0">
                          <a:solidFill>
                            <a:schemeClr val="tx1"/>
                          </a:solidFill>
                          <a:latin typeface="Open Sans" charset="0"/>
                          <a:ea typeface="Open Sans" charset="0"/>
                          <a:cs typeface="Open Sans" charset="0"/>
                        </a:rPr>
                        <a:t> then</a:t>
                      </a:r>
                      <a:r>
                        <a:rPr lang="en-US" sz="1200" dirty="0">
                          <a:solidFill>
                            <a:schemeClr val="tx1"/>
                          </a:solidFill>
                          <a:latin typeface="Open Sans" charset="0"/>
                          <a:ea typeface="Open Sans" charset="0"/>
                          <a:cs typeface="Open Sans" charset="0"/>
                        </a:rPr>
                        <a:t> deepen value</a:t>
                      </a:r>
                      <a:r>
                        <a:rPr lang="en-US" sz="1200" baseline="0" dirty="0">
                          <a:solidFill>
                            <a:schemeClr val="tx1"/>
                          </a:solidFill>
                          <a:latin typeface="Open Sans" charset="0"/>
                          <a:ea typeface="Open Sans" charset="0"/>
                          <a:cs typeface="Open Sans" charset="0"/>
                        </a:rPr>
                        <a:t> realization over time</a:t>
                      </a:r>
                      <a:endParaRPr lang="en-US" sz="1200" dirty="0">
                        <a:solidFill>
                          <a:schemeClr val="tx1"/>
                        </a:solidFill>
                        <a:latin typeface="Open Sans" charset="0"/>
                        <a:ea typeface="Open Sans" charset="0"/>
                        <a:cs typeface="Open Sans" charset="0"/>
                      </a:endParaRPr>
                    </a:p>
                  </a:txBody>
                  <a:tcPr marL="91320" marR="91320" marT="90000" marB="90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1425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400" dirty="0">
                        <a:solidFill>
                          <a:schemeClr val="tx1"/>
                        </a:solidFill>
                        <a:latin typeface="Frutiger Next Pro" panose="020B0503040204020203" pitchFamily="34" charset="0"/>
                      </a:endParaRPr>
                    </a:p>
                  </a:txBody>
                  <a:tcPr marL="91320" marR="91320" marT="90000" marB="90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r>
                        <a:rPr lang="en-US" sz="1200" dirty="0">
                          <a:solidFill>
                            <a:schemeClr val="tx1"/>
                          </a:solidFill>
                          <a:latin typeface="Open Sans" charset="0"/>
                          <a:ea typeface="Open Sans" charset="0"/>
                          <a:cs typeface="Open Sans" charset="0"/>
                        </a:rPr>
                        <a:t>Look</a:t>
                      </a:r>
                      <a:r>
                        <a:rPr lang="en-US" sz="1200" baseline="0" dirty="0">
                          <a:solidFill>
                            <a:schemeClr val="tx1"/>
                          </a:solidFill>
                          <a:latin typeface="Open Sans" charset="0"/>
                          <a:ea typeface="Open Sans" charset="0"/>
                          <a:cs typeface="Open Sans" charset="0"/>
                        </a:rPr>
                        <a:t> forward, explore broadly</a:t>
                      </a:r>
                      <a:endParaRPr lang="en-US" sz="1200" dirty="0">
                        <a:solidFill>
                          <a:schemeClr val="tx1"/>
                        </a:solidFill>
                        <a:latin typeface="Open Sans" charset="0"/>
                        <a:ea typeface="Open Sans" charset="0"/>
                        <a:cs typeface="Open Sans" charset="0"/>
                      </a:endParaRPr>
                    </a:p>
                  </a:txBody>
                  <a:tcPr marL="91320" marR="91320" marT="90000" marB="90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endParaRPr lang="en-US" sz="1200" dirty="0">
                        <a:solidFill>
                          <a:schemeClr val="tx1"/>
                        </a:solidFill>
                        <a:latin typeface="Open Sans" charset="0"/>
                        <a:ea typeface="Open Sans" charset="0"/>
                        <a:cs typeface="Open Sans" charset="0"/>
                      </a:endParaRPr>
                    </a:p>
                  </a:txBody>
                  <a:tcPr marL="91320" marR="91320" marT="90000" marB="90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solidFill>
                            <a:schemeClr val="tx1"/>
                          </a:solidFill>
                          <a:latin typeface="Open Sans" charset="0"/>
                          <a:ea typeface="Open Sans" charset="0"/>
                          <a:cs typeface="Open Sans" charset="0"/>
                        </a:rPr>
                        <a:t>Build technology solutions</a:t>
                      </a:r>
                      <a:r>
                        <a:rPr lang="en-US" sz="1200" baseline="0" dirty="0">
                          <a:solidFill>
                            <a:schemeClr val="tx1"/>
                          </a:solidFill>
                          <a:latin typeface="Open Sans" charset="0"/>
                          <a:ea typeface="Open Sans" charset="0"/>
                          <a:cs typeface="Open Sans" charset="0"/>
                        </a:rPr>
                        <a:t> that match common brand use cases.  At same time be flexible, adaptable and modular to </a:t>
                      </a:r>
                      <a:r>
                        <a:rPr lang="en-US" sz="1200" dirty="0">
                          <a:solidFill>
                            <a:schemeClr val="tx1"/>
                          </a:solidFill>
                          <a:latin typeface="Open Sans" charset="0"/>
                          <a:ea typeface="Open Sans" charset="0"/>
                          <a:cs typeface="Open Sans" charset="0"/>
                        </a:rPr>
                        <a:t>tailor</a:t>
                      </a:r>
                      <a:r>
                        <a:rPr lang="en-US" sz="1200" baseline="0" dirty="0">
                          <a:solidFill>
                            <a:schemeClr val="tx1"/>
                          </a:solidFill>
                          <a:latin typeface="Open Sans" charset="0"/>
                          <a:ea typeface="Open Sans" charset="0"/>
                          <a:cs typeface="Open Sans" charset="0"/>
                        </a:rPr>
                        <a:t> brand experiences consistent with channel and geography</a:t>
                      </a:r>
                      <a:endParaRPr lang="en-US" sz="1200" dirty="0">
                        <a:solidFill>
                          <a:schemeClr val="tx1"/>
                        </a:solidFill>
                        <a:latin typeface="Open Sans" charset="0"/>
                        <a:ea typeface="Open Sans" charset="0"/>
                        <a:cs typeface="Open Sans" charset="0"/>
                      </a:endParaRPr>
                    </a:p>
                  </a:txBody>
                  <a:tcPr marL="91320" marR="91320" marT="90000" marB="90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61425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400" dirty="0">
                        <a:solidFill>
                          <a:schemeClr val="tx1"/>
                        </a:solidFill>
                        <a:latin typeface="Frutiger Next Pro" panose="020B0503040204020203" pitchFamily="34" charset="0"/>
                      </a:endParaRPr>
                    </a:p>
                  </a:txBody>
                  <a:tcPr marL="91320" marR="91320" marT="90000" marB="90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solidFill>
                            <a:schemeClr val="tx1"/>
                          </a:solidFill>
                          <a:latin typeface="Open Sans" charset="0"/>
                          <a:ea typeface="Open Sans" charset="0"/>
                          <a:cs typeface="Open Sans" charset="0"/>
                        </a:rPr>
                        <a:t>Prove it works (quickly), prototype, test/learn</a:t>
                      </a:r>
                    </a:p>
                  </a:txBody>
                  <a:tcPr marL="91320" marR="91320" marT="90000" marB="90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latin typeface="Open Sans" charset="0"/>
                        <a:ea typeface="Open Sans" charset="0"/>
                        <a:cs typeface="Open Sans" charset="0"/>
                      </a:endParaRPr>
                    </a:p>
                  </a:txBody>
                  <a:tcPr marL="91320" marR="91320" marT="90000" marB="90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solidFill>
                            <a:schemeClr val="tx1"/>
                          </a:solidFill>
                          <a:latin typeface="Open Sans" charset="0"/>
                          <a:ea typeface="Open Sans" charset="0"/>
                          <a:cs typeface="Open Sans" charset="0"/>
                        </a:rPr>
                        <a:t>Design pilots that scale, using an agile and iterative approach, moving</a:t>
                      </a:r>
                      <a:r>
                        <a:rPr lang="en-US" sz="1200" baseline="0" dirty="0">
                          <a:solidFill>
                            <a:schemeClr val="tx1"/>
                          </a:solidFill>
                          <a:latin typeface="Open Sans" charset="0"/>
                          <a:ea typeface="Open Sans" charset="0"/>
                          <a:cs typeface="Open Sans" charset="0"/>
                        </a:rPr>
                        <a:t> quickly</a:t>
                      </a:r>
                      <a:r>
                        <a:rPr lang="en-US" sz="1200" dirty="0">
                          <a:solidFill>
                            <a:schemeClr val="tx1"/>
                          </a:solidFill>
                          <a:latin typeface="Open Sans" charset="0"/>
                          <a:ea typeface="Open Sans" charset="0"/>
                          <a:cs typeface="Open Sans" charset="0"/>
                        </a:rPr>
                        <a:t> from strategy to in-market measurable results</a:t>
                      </a:r>
                    </a:p>
                  </a:txBody>
                  <a:tcPr marL="91320" marR="91320" marT="90000" marB="90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61425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400" dirty="0">
                        <a:solidFill>
                          <a:schemeClr val="tx1"/>
                        </a:solidFill>
                        <a:latin typeface="Frutiger Next Pro" panose="020B0503040204020203" pitchFamily="34" charset="0"/>
                      </a:endParaRPr>
                    </a:p>
                  </a:txBody>
                  <a:tcPr marL="91320" marR="91320" marT="90000" marB="90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r>
                        <a:rPr lang="en-US" sz="1200" dirty="0">
                          <a:solidFill>
                            <a:schemeClr val="tx1"/>
                          </a:solidFill>
                          <a:latin typeface="Open Sans" charset="0"/>
                          <a:ea typeface="Open Sans" charset="0"/>
                          <a:cs typeface="Open Sans" charset="0"/>
                        </a:rPr>
                        <a:t>Lead through</a:t>
                      </a:r>
                      <a:r>
                        <a:rPr lang="en-US" sz="1200" baseline="0" dirty="0">
                          <a:solidFill>
                            <a:schemeClr val="tx1"/>
                          </a:solidFill>
                          <a:latin typeface="Open Sans" charset="0"/>
                          <a:ea typeface="Open Sans" charset="0"/>
                          <a:cs typeface="Open Sans" charset="0"/>
                        </a:rPr>
                        <a:t> innovation </a:t>
                      </a:r>
                      <a:r>
                        <a:rPr lang="en-US" sz="1200" dirty="0">
                          <a:solidFill>
                            <a:schemeClr val="tx1"/>
                          </a:solidFill>
                          <a:latin typeface="Open Sans" charset="0"/>
                          <a:ea typeface="Open Sans" charset="0"/>
                          <a:cs typeface="Open Sans" charset="0"/>
                        </a:rPr>
                        <a:t>to</a:t>
                      </a:r>
                      <a:r>
                        <a:rPr lang="en-US" sz="1200" baseline="0" dirty="0">
                          <a:solidFill>
                            <a:schemeClr val="tx1"/>
                          </a:solidFill>
                          <a:latin typeface="Open Sans" charset="0"/>
                          <a:ea typeface="Open Sans" charset="0"/>
                          <a:cs typeface="Open Sans" charset="0"/>
                        </a:rPr>
                        <a:t> build strong bonds</a:t>
                      </a:r>
                      <a:endParaRPr lang="en-US" sz="1200" dirty="0">
                        <a:solidFill>
                          <a:schemeClr val="tx1"/>
                        </a:solidFill>
                        <a:latin typeface="Open Sans" charset="0"/>
                        <a:ea typeface="Open Sans" charset="0"/>
                        <a:cs typeface="Open Sans" charset="0"/>
                      </a:endParaRPr>
                    </a:p>
                  </a:txBody>
                  <a:tcPr marL="91320" marR="91320" marT="90000" marB="90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endParaRPr lang="en-US" sz="1200" dirty="0">
                        <a:solidFill>
                          <a:schemeClr val="tx1"/>
                        </a:solidFill>
                        <a:latin typeface="Open Sans" charset="0"/>
                        <a:ea typeface="Open Sans" charset="0"/>
                        <a:cs typeface="Open Sans" charset="0"/>
                      </a:endParaRPr>
                    </a:p>
                  </a:txBody>
                  <a:tcPr marL="91320" marR="91320" marT="90000" marB="90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solidFill>
                            <a:schemeClr val="tx1"/>
                          </a:solidFill>
                          <a:latin typeface="Open Sans" charset="0"/>
                          <a:ea typeface="Open Sans" charset="0"/>
                          <a:cs typeface="Open Sans" charset="0"/>
                        </a:rPr>
                        <a:t>Build champions and</a:t>
                      </a:r>
                      <a:r>
                        <a:rPr lang="en-US" sz="1200" baseline="0" dirty="0">
                          <a:solidFill>
                            <a:schemeClr val="tx1"/>
                          </a:solidFill>
                          <a:latin typeface="Open Sans" charset="0"/>
                          <a:ea typeface="Open Sans" charset="0"/>
                          <a:cs typeface="Open Sans" charset="0"/>
                        </a:rPr>
                        <a:t> advocates within each Segment through joint experimentation, with failure and success celebrated mutually </a:t>
                      </a:r>
                      <a:r>
                        <a:rPr lang="en-US" sz="1200" dirty="0">
                          <a:solidFill>
                            <a:schemeClr val="tx1"/>
                          </a:solidFill>
                          <a:latin typeface="Open Sans" charset="0"/>
                          <a:ea typeface="Open Sans" charset="0"/>
                          <a:cs typeface="Open Sans" charset="0"/>
                        </a:rPr>
                        <a:t>  </a:t>
                      </a:r>
                    </a:p>
                  </a:txBody>
                  <a:tcPr marL="91320" marR="91320" marT="90000" marB="90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87967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400" dirty="0">
                        <a:solidFill>
                          <a:schemeClr val="tx1"/>
                        </a:solidFill>
                        <a:latin typeface="Frutiger Next Pro" panose="020B0503040204020203" pitchFamily="34" charset="0"/>
                      </a:endParaRPr>
                    </a:p>
                  </a:txBody>
                  <a:tcPr marL="91320" marR="91320" marT="90000" marB="90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solidFill>
                          <a:schemeClr val="tx2"/>
                        </a:solidFill>
                        <a:latin typeface="Open Sans" charset="0"/>
                        <a:ea typeface="Open Sans" charset="0"/>
                        <a:cs typeface="Open Sans"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tx2"/>
                          </a:solidFill>
                          <a:latin typeface="Open Sans" charset="0"/>
                          <a:ea typeface="Open Sans" charset="0"/>
                          <a:cs typeface="Open Sans" charset="0"/>
                        </a:rPr>
                        <a:t>Set the foundation for agile operations to create business impact</a:t>
                      </a:r>
                    </a:p>
                    <a:p>
                      <a:endParaRPr lang="en-US" sz="1200" dirty="0">
                        <a:solidFill>
                          <a:schemeClr val="tx1"/>
                        </a:solidFill>
                        <a:latin typeface="Open Sans" charset="0"/>
                        <a:ea typeface="Open Sans" charset="0"/>
                        <a:cs typeface="Open Sans" charset="0"/>
                      </a:endParaRPr>
                    </a:p>
                  </a:txBody>
                  <a:tcPr marL="91320" marR="91320" marT="90000" marB="90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solidFill>
                        <a:latin typeface="Open Sans" charset="0"/>
                        <a:ea typeface="Open Sans" charset="0"/>
                        <a:cs typeface="Open Sans" charset="0"/>
                      </a:endParaRPr>
                    </a:p>
                  </a:txBody>
                  <a:tcPr marL="91320" marR="91320" marT="90000" marB="90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Open Sans" charset="0"/>
                          <a:ea typeface="Open Sans" charset="0"/>
                          <a:cs typeface="Open Sans" charset="0"/>
                        </a:rPr>
                        <a:t>Create a </a:t>
                      </a:r>
                      <a:r>
                        <a:rPr lang="en-US" sz="1200" dirty="0" err="1">
                          <a:solidFill>
                            <a:schemeClr val="tx1"/>
                          </a:solidFill>
                          <a:latin typeface="Open Sans" charset="0"/>
                          <a:ea typeface="Open Sans" charset="0"/>
                          <a:cs typeface="Open Sans" charset="0"/>
                        </a:rPr>
                        <a:t>martech</a:t>
                      </a:r>
                      <a:r>
                        <a:rPr lang="en-US" sz="1200" dirty="0">
                          <a:solidFill>
                            <a:schemeClr val="tx1"/>
                          </a:solidFill>
                          <a:latin typeface="Open Sans" charset="0"/>
                          <a:ea typeface="Open Sans" charset="0"/>
                          <a:cs typeface="Open Sans" charset="0"/>
                        </a:rPr>
                        <a:t>/</a:t>
                      </a:r>
                      <a:r>
                        <a:rPr lang="en-US" sz="1200" dirty="0" err="1">
                          <a:solidFill>
                            <a:schemeClr val="tx1"/>
                          </a:solidFill>
                          <a:latin typeface="Open Sans" charset="0"/>
                          <a:ea typeface="Open Sans" charset="0"/>
                          <a:cs typeface="Open Sans" charset="0"/>
                        </a:rPr>
                        <a:t>adtech</a:t>
                      </a:r>
                      <a:r>
                        <a:rPr lang="en-US" sz="1200" baseline="0" dirty="0">
                          <a:solidFill>
                            <a:schemeClr val="tx1"/>
                          </a:solidFill>
                          <a:latin typeface="Open Sans" charset="0"/>
                          <a:ea typeface="Open Sans" charset="0"/>
                          <a:cs typeface="Open Sans" charset="0"/>
                        </a:rPr>
                        <a:t> </a:t>
                      </a:r>
                      <a:r>
                        <a:rPr lang="en-US" sz="1200" dirty="0">
                          <a:solidFill>
                            <a:schemeClr val="tx1"/>
                          </a:solidFill>
                          <a:latin typeface="Open Sans" charset="0"/>
                          <a:ea typeface="Open Sans" charset="0"/>
                          <a:cs typeface="Open Sans" charset="0"/>
                        </a:rPr>
                        <a:t>architecture adapted</a:t>
                      </a:r>
                      <a:r>
                        <a:rPr lang="en-US" sz="1200" baseline="0" dirty="0">
                          <a:solidFill>
                            <a:schemeClr val="tx1"/>
                          </a:solidFill>
                          <a:latin typeface="Open Sans" charset="0"/>
                          <a:ea typeface="Open Sans" charset="0"/>
                          <a:cs typeface="Open Sans" charset="0"/>
                        </a:rPr>
                        <a:t> to meet Segment needs. Ensure seamless operating model effectiveness supported by change management</a:t>
                      </a:r>
                      <a:endParaRPr lang="en-US" sz="1200" dirty="0">
                        <a:solidFill>
                          <a:schemeClr val="tx1"/>
                        </a:solidFill>
                        <a:latin typeface="Open Sans" charset="0"/>
                        <a:ea typeface="Open Sans" charset="0"/>
                        <a:cs typeface="Open Sans" charset="0"/>
                      </a:endParaRPr>
                    </a:p>
                  </a:txBody>
                  <a:tcPr marL="91320" marR="91320" marT="90000" marB="90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sp>
        <p:nvSpPr>
          <p:cNvPr id="7" name="Right Arrow 8">
            <a:extLst>
              <a:ext uri="{FF2B5EF4-FFF2-40B4-BE49-F238E27FC236}">
                <a16:creationId xmlns:a16="http://schemas.microsoft.com/office/drawing/2014/main" id="{C92C5993-B77B-468C-BA5C-F02F06B09F97}"/>
              </a:ext>
            </a:extLst>
          </p:cNvPr>
          <p:cNvSpPr/>
          <p:nvPr/>
        </p:nvSpPr>
        <p:spPr>
          <a:xfrm>
            <a:off x="5654779" y="2394969"/>
            <a:ext cx="302872" cy="309282"/>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Right Arrow 131">
            <a:extLst>
              <a:ext uri="{FF2B5EF4-FFF2-40B4-BE49-F238E27FC236}">
                <a16:creationId xmlns:a16="http://schemas.microsoft.com/office/drawing/2014/main" id="{29BDD395-BECD-46F3-9BB5-607321E3CA67}"/>
              </a:ext>
            </a:extLst>
          </p:cNvPr>
          <p:cNvSpPr/>
          <p:nvPr/>
        </p:nvSpPr>
        <p:spPr>
          <a:xfrm>
            <a:off x="5654779" y="3027723"/>
            <a:ext cx="302872" cy="309282"/>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Right Arrow 132">
            <a:extLst>
              <a:ext uri="{FF2B5EF4-FFF2-40B4-BE49-F238E27FC236}">
                <a16:creationId xmlns:a16="http://schemas.microsoft.com/office/drawing/2014/main" id="{7B853FA1-CE8E-403A-B064-D394276A3668}"/>
              </a:ext>
            </a:extLst>
          </p:cNvPr>
          <p:cNvSpPr/>
          <p:nvPr/>
        </p:nvSpPr>
        <p:spPr>
          <a:xfrm>
            <a:off x="5654779" y="5766003"/>
            <a:ext cx="302872" cy="309282"/>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Right Arrow 134">
            <a:extLst>
              <a:ext uri="{FF2B5EF4-FFF2-40B4-BE49-F238E27FC236}">
                <a16:creationId xmlns:a16="http://schemas.microsoft.com/office/drawing/2014/main" id="{70ADEC73-67C0-4CD7-91C8-AAF3C34EB4EB}"/>
              </a:ext>
            </a:extLst>
          </p:cNvPr>
          <p:cNvSpPr/>
          <p:nvPr/>
        </p:nvSpPr>
        <p:spPr>
          <a:xfrm>
            <a:off x="5654779" y="4999137"/>
            <a:ext cx="302872" cy="309282"/>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Right Arrow 135">
            <a:extLst>
              <a:ext uri="{FF2B5EF4-FFF2-40B4-BE49-F238E27FC236}">
                <a16:creationId xmlns:a16="http://schemas.microsoft.com/office/drawing/2014/main" id="{47E1DB16-4DB6-4F27-9A22-9589C95F1865}"/>
              </a:ext>
            </a:extLst>
          </p:cNvPr>
          <p:cNvSpPr/>
          <p:nvPr/>
        </p:nvSpPr>
        <p:spPr>
          <a:xfrm>
            <a:off x="5654779" y="4378575"/>
            <a:ext cx="302872" cy="309282"/>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Right Arrow 136">
            <a:extLst>
              <a:ext uri="{FF2B5EF4-FFF2-40B4-BE49-F238E27FC236}">
                <a16:creationId xmlns:a16="http://schemas.microsoft.com/office/drawing/2014/main" id="{2A96D7E2-6FF7-4A1C-AF06-5A9B05227410}"/>
              </a:ext>
            </a:extLst>
          </p:cNvPr>
          <p:cNvSpPr/>
          <p:nvPr/>
        </p:nvSpPr>
        <p:spPr>
          <a:xfrm>
            <a:off x="5654779" y="3709245"/>
            <a:ext cx="302872" cy="309282"/>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4" name="Group 13">
            <a:extLst>
              <a:ext uri="{FF2B5EF4-FFF2-40B4-BE49-F238E27FC236}">
                <a16:creationId xmlns:a16="http://schemas.microsoft.com/office/drawing/2014/main" id="{65C9B778-6CEE-454D-9754-247E5D3640F8}"/>
              </a:ext>
            </a:extLst>
          </p:cNvPr>
          <p:cNvGrpSpPr>
            <a:grpSpLocks noChangeAspect="1"/>
          </p:cNvGrpSpPr>
          <p:nvPr/>
        </p:nvGrpSpPr>
        <p:grpSpPr>
          <a:xfrm>
            <a:off x="935888" y="2329834"/>
            <a:ext cx="382704" cy="381544"/>
            <a:chOff x="5834063" y="3342323"/>
            <a:chExt cx="523875" cy="522288"/>
          </a:xfrm>
          <a:solidFill>
            <a:schemeClr val="tx1"/>
          </a:solidFill>
        </p:grpSpPr>
        <p:sp>
          <p:nvSpPr>
            <p:cNvPr id="15" name="Freeform 56">
              <a:extLst>
                <a:ext uri="{FF2B5EF4-FFF2-40B4-BE49-F238E27FC236}">
                  <a16:creationId xmlns:a16="http://schemas.microsoft.com/office/drawing/2014/main" id="{3F184450-874E-4310-8332-171E626D8EE2}"/>
                </a:ext>
              </a:extLst>
            </p:cNvPr>
            <p:cNvSpPr>
              <a:spLocks noEditPoints="1"/>
            </p:cNvSpPr>
            <p:nvPr/>
          </p:nvSpPr>
          <p:spPr bwMode="auto">
            <a:xfrm>
              <a:off x="5834063" y="3342323"/>
              <a:ext cx="523875" cy="522288"/>
            </a:xfrm>
            <a:custGeom>
              <a:avLst/>
              <a:gdLst>
                <a:gd name="T0" fmla="*/ 312 w 658"/>
                <a:gd name="T1" fmla="*/ 658 h 659"/>
                <a:gd name="T2" fmla="*/ 262 w 658"/>
                <a:gd name="T3" fmla="*/ 652 h 659"/>
                <a:gd name="T4" fmla="*/ 201 w 658"/>
                <a:gd name="T5" fmla="*/ 632 h 659"/>
                <a:gd name="T6" fmla="*/ 119 w 658"/>
                <a:gd name="T7" fmla="*/ 584 h 659"/>
                <a:gd name="T8" fmla="*/ 56 w 658"/>
                <a:gd name="T9" fmla="*/ 514 h 659"/>
                <a:gd name="T10" fmla="*/ 15 w 658"/>
                <a:gd name="T11" fmla="*/ 428 h 659"/>
                <a:gd name="T12" fmla="*/ 4 w 658"/>
                <a:gd name="T13" fmla="*/ 379 h 659"/>
                <a:gd name="T14" fmla="*/ 0 w 658"/>
                <a:gd name="T15" fmla="*/ 330 h 659"/>
                <a:gd name="T16" fmla="*/ 1 w 658"/>
                <a:gd name="T17" fmla="*/ 296 h 659"/>
                <a:gd name="T18" fmla="*/ 10 w 658"/>
                <a:gd name="T19" fmla="*/ 248 h 659"/>
                <a:gd name="T20" fmla="*/ 40 w 658"/>
                <a:gd name="T21" fmla="*/ 172 h 659"/>
                <a:gd name="T22" fmla="*/ 96 w 658"/>
                <a:gd name="T23" fmla="*/ 97 h 659"/>
                <a:gd name="T24" fmla="*/ 172 w 658"/>
                <a:gd name="T25" fmla="*/ 41 h 659"/>
                <a:gd name="T26" fmla="*/ 247 w 658"/>
                <a:gd name="T27" fmla="*/ 11 h 659"/>
                <a:gd name="T28" fmla="*/ 295 w 658"/>
                <a:gd name="T29" fmla="*/ 2 h 659"/>
                <a:gd name="T30" fmla="*/ 329 w 658"/>
                <a:gd name="T31" fmla="*/ 0 h 659"/>
                <a:gd name="T32" fmla="*/ 379 w 658"/>
                <a:gd name="T33" fmla="*/ 4 h 659"/>
                <a:gd name="T34" fmla="*/ 426 w 658"/>
                <a:gd name="T35" fmla="*/ 15 h 659"/>
                <a:gd name="T36" fmla="*/ 513 w 658"/>
                <a:gd name="T37" fmla="*/ 57 h 659"/>
                <a:gd name="T38" fmla="*/ 583 w 658"/>
                <a:gd name="T39" fmla="*/ 120 h 659"/>
                <a:gd name="T40" fmla="*/ 631 w 658"/>
                <a:gd name="T41" fmla="*/ 202 h 659"/>
                <a:gd name="T42" fmla="*/ 652 w 658"/>
                <a:gd name="T43" fmla="*/ 264 h 659"/>
                <a:gd name="T44" fmla="*/ 657 w 658"/>
                <a:gd name="T45" fmla="*/ 312 h 659"/>
                <a:gd name="T46" fmla="*/ 657 w 658"/>
                <a:gd name="T47" fmla="*/ 347 h 659"/>
                <a:gd name="T48" fmla="*/ 652 w 658"/>
                <a:gd name="T49" fmla="*/ 396 h 659"/>
                <a:gd name="T50" fmla="*/ 631 w 658"/>
                <a:gd name="T51" fmla="*/ 457 h 659"/>
                <a:gd name="T52" fmla="*/ 583 w 658"/>
                <a:gd name="T53" fmla="*/ 539 h 659"/>
                <a:gd name="T54" fmla="*/ 513 w 658"/>
                <a:gd name="T55" fmla="*/ 603 h 659"/>
                <a:gd name="T56" fmla="*/ 426 w 658"/>
                <a:gd name="T57" fmla="*/ 644 h 659"/>
                <a:gd name="T58" fmla="*/ 379 w 658"/>
                <a:gd name="T59" fmla="*/ 655 h 659"/>
                <a:gd name="T60" fmla="*/ 329 w 658"/>
                <a:gd name="T61" fmla="*/ 659 h 659"/>
                <a:gd name="T62" fmla="*/ 329 w 658"/>
                <a:gd name="T63" fmla="*/ 38 h 659"/>
                <a:gd name="T64" fmla="*/ 242 w 658"/>
                <a:gd name="T65" fmla="*/ 51 h 659"/>
                <a:gd name="T66" fmla="*/ 166 w 658"/>
                <a:gd name="T67" fmla="*/ 88 h 659"/>
                <a:gd name="T68" fmla="*/ 105 w 658"/>
                <a:gd name="T69" fmla="*/ 144 h 659"/>
                <a:gd name="T70" fmla="*/ 60 w 658"/>
                <a:gd name="T71" fmla="*/ 217 h 659"/>
                <a:gd name="T72" fmla="*/ 39 w 658"/>
                <a:gd name="T73" fmla="*/ 300 h 659"/>
                <a:gd name="T74" fmla="*/ 39 w 658"/>
                <a:gd name="T75" fmla="*/ 359 h 659"/>
                <a:gd name="T76" fmla="*/ 60 w 658"/>
                <a:gd name="T77" fmla="*/ 443 h 659"/>
                <a:gd name="T78" fmla="*/ 105 w 658"/>
                <a:gd name="T79" fmla="*/ 515 h 659"/>
                <a:gd name="T80" fmla="*/ 166 w 658"/>
                <a:gd name="T81" fmla="*/ 572 h 659"/>
                <a:gd name="T82" fmla="*/ 242 w 658"/>
                <a:gd name="T83" fmla="*/ 608 h 659"/>
                <a:gd name="T84" fmla="*/ 329 w 658"/>
                <a:gd name="T85" fmla="*/ 621 h 659"/>
                <a:gd name="T86" fmla="*/ 387 w 658"/>
                <a:gd name="T87" fmla="*/ 615 h 659"/>
                <a:gd name="T88" fmla="*/ 467 w 658"/>
                <a:gd name="T89" fmla="*/ 586 h 659"/>
                <a:gd name="T90" fmla="*/ 535 w 658"/>
                <a:gd name="T91" fmla="*/ 535 h 659"/>
                <a:gd name="T92" fmla="*/ 584 w 658"/>
                <a:gd name="T93" fmla="*/ 468 h 659"/>
                <a:gd name="T94" fmla="*/ 614 w 658"/>
                <a:gd name="T95" fmla="*/ 389 h 659"/>
                <a:gd name="T96" fmla="*/ 621 w 658"/>
                <a:gd name="T97" fmla="*/ 330 h 659"/>
                <a:gd name="T98" fmla="*/ 607 w 658"/>
                <a:gd name="T99" fmla="*/ 244 h 659"/>
                <a:gd name="T100" fmla="*/ 570 w 658"/>
                <a:gd name="T101" fmla="*/ 167 h 659"/>
                <a:gd name="T102" fmla="*/ 514 w 658"/>
                <a:gd name="T103" fmla="*/ 105 h 659"/>
                <a:gd name="T104" fmla="*/ 442 w 658"/>
                <a:gd name="T105" fmla="*/ 61 h 659"/>
                <a:gd name="T106" fmla="*/ 359 w 658"/>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2" y="658"/>
                  </a:lnTo>
                  <a:lnTo>
                    <a:pt x="295" y="656"/>
                  </a:lnTo>
                  <a:lnTo>
                    <a:pt x="279" y="655"/>
                  </a:lnTo>
                  <a:lnTo>
                    <a:pt x="262" y="652"/>
                  </a:lnTo>
                  <a:lnTo>
                    <a:pt x="247" y="648"/>
                  </a:lnTo>
                  <a:lnTo>
                    <a:pt x="231" y="644"/>
                  </a:lnTo>
                  <a:lnTo>
                    <a:pt x="201" y="632"/>
                  </a:lnTo>
                  <a:lnTo>
                    <a:pt x="172" y="619"/>
                  </a:lnTo>
                  <a:lnTo>
                    <a:pt x="145" y="603"/>
                  </a:lnTo>
                  <a:lnTo>
                    <a:pt x="119" y="584"/>
                  </a:lnTo>
                  <a:lnTo>
                    <a:pt x="96" y="562"/>
                  </a:lnTo>
                  <a:lnTo>
                    <a:pt x="75" y="539"/>
                  </a:lnTo>
                  <a:lnTo>
                    <a:pt x="56" y="514"/>
                  </a:lnTo>
                  <a:lnTo>
                    <a:pt x="40" y="487"/>
                  </a:lnTo>
                  <a:lnTo>
                    <a:pt x="25" y="457"/>
                  </a:lnTo>
                  <a:lnTo>
                    <a:pt x="15" y="428"/>
                  </a:lnTo>
                  <a:lnTo>
                    <a:pt x="10" y="412"/>
                  </a:lnTo>
                  <a:lnTo>
                    <a:pt x="6" y="396"/>
                  </a:lnTo>
                  <a:lnTo>
                    <a:pt x="4" y="379"/>
                  </a:lnTo>
                  <a:lnTo>
                    <a:pt x="1" y="363"/>
                  </a:lnTo>
                  <a:lnTo>
                    <a:pt x="0" y="347"/>
                  </a:lnTo>
                  <a:lnTo>
                    <a:pt x="0" y="330"/>
                  </a:lnTo>
                  <a:lnTo>
                    <a:pt x="0" y="330"/>
                  </a:lnTo>
                  <a:lnTo>
                    <a:pt x="0" y="312"/>
                  </a:lnTo>
                  <a:lnTo>
                    <a:pt x="1" y="296"/>
                  </a:lnTo>
                  <a:lnTo>
                    <a:pt x="4" y="280"/>
                  </a:lnTo>
                  <a:lnTo>
                    <a:pt x="6" y="264"/>
                  </a:lnTo>
                  <a:lnTo>
                    <a:pt x="10" y="248"/>
                  </a:lnTo>
                  <a:lnTo>
                    <a:pt x="15" y="232"/>
                  </a:lnTo>
                  <a:lnTo>
                    <a:pt x="25" y="202"/>
                  </a:lnTo>
                  <a:lnTo>
                    <a:pt x="40" y="172"/>
                  </a:lnTo>
                  <a:lnTo>
                    <a:pt x="56" y="146"/>
                  </a:lnTo>
                  <a:lnTo>
                    <a:pt x="75" y="120"/>
                  </a:lnTo>
                  <a:lnTo>
                    <a:pt x="96" y="97"/>
                  </a:lnTo>
                  <a:lnTo>
                    <a:pt x="119" y="76"/>
                  </a:lnTo>
                  <a:lnTo>
                    <a:pt x="145" y="57"/>
                  </a:lnTo>
                  <a:lnTo>
                    <a:pt x="172" y="41"/>
                  </a:lnTo>
                  <a:lnTo>
                    <a:pt x="201" y="26"/>
                  </a:lnTo>
                  <a:lnTo>
                    <a:pt x="231" y="15"/>
                  </a:lnTo>
                  <a:lnTo>
                    <a:pt x="247" y="11"/>
                  </a:lnTo>
                  <a:lnTo>
                    <a:pt x="262" y="7"/>
                  </a:lnTo>
                  <a:lnTo>
                    <a:pt x="279" y="4"/>
                  </a:lnTo>
                  <a:lnTo>
                    <a:pt x="295" y="2"/>
                  </a:lnTo>
                  <a:lnTo>
                    <a:pt x="312" y="2"/>
                  </a:lnTo>
                  <a:lnTo>
                    <a:pt x="329" y="0"/>
                  </a:lnTo>
                  <a:lnTo>
                    <a:pt x="329" y="0"/>
                  </a:lnTo>
                  <a:lnTo>
                    <a:pt x="345" y="2"/>
                  </a:lnTo>
                  <a:lnTo>
                    <a:pt x="363" y="2"/>
                  </a:lnTo>
                  <a:lnTo>
                    <a:pt x="379" y="4"/>
                  </a:lnTo>
                  <a:lnTo>
                    <a:pt x="395" y="7"/>
                  </a:lnTo>
                  <a:lnTo>
                    <a:pt x="411" y="11"/>
                  </a:lnTo>
                  <a:lnTo>
                    <a:pt x="426" y="15"/>
                  </a:lnTo>
                  <a:lnTo>
                    <a:pt x="457" y="26"/>
                  </a:lnTo>
                  <a:lnTo>
                    <a:pt x="485" y="41"/>
                  </a:lnTo>
                  <a:lnTo>
                    <a:pt x="513" y="57"/>
                  </a:lnTo>
                  <a:lnTo>
                    <a:pt x="537" y="76"/>
                  </a:lnTo>
                  <a:lnTo>
                    <a:pt x="562" y="97"/>
                  </a:lnTo>
                  <a:lnTo>
                    <a:pt x="583" y="120"/>
                  </a:lnTo>
                  <a:lnTo>
                    <a:pt x="602" y="146"/>
                  </a:lnTo>
                  <a:lnTo>
                    <a:pt x="618" y="172"/>
                  </a:lnTo>
                  <a:lnTo>
                    <a:pt x="631" y="202"/>
                  </a:lnTo>
                  <a:lnTo>
                    <a:pt x="643" y="232"/>
                  </a:lnTo>
                  <a:lnTo>
                    <a:pt x="648" y="248"/>
                  </a:lnTo>
                  <a:lnTo>
                    <a:pt x="652" y="264"/>
                  </a:lnTo>
                  <a:lnTo>
                    <a:pt x="654" y="280"/>
                  </a:lnTo>
                  <a:lnTo>
                    <a:pt x="656" y="296"/>
                  </a:lnTo>
                  <a:lnTo>
                    <a:pt x="657" y="312"/>
                  </a:lnTo>
                  <a:lnTo>
                    <a:pt x="658" y="330"/>
                  </a:lnTo>
                  <a:lnTo>
                    <a:pt x="658" y="330"/>
                  </a:lnTo>
                  <a:lnTo>
                    <a:pt x="657" y="347"/>
                  </a:lnTo>
                  <a:lnTo>
                    <a:pt x="656" y="363"/>
                  </a:lnTo>
                  <a:lnTo>
                    <a:pt x="654" y="379"/>
                  </a:lnTo>
                  <a:lnTo>
                    <a:pt x="652" y="396"/>
                  </a:lnTo>
                  <a:lnTo>
                    <a:pt x="648" y="412"/>
                  </a:lnTo>
                  <a:lnTo>
                    <a:pt x="643" y="428"/>
                  </a:lnTo>
                  <a:lnTo>
                    <a:pt x="631" y="457"/>
                  </a:lnTo>
                  <a:lnTo>
                    <a:pt x="618" y="487"/>
                  </a:lnTo>
                  <a:lnTo>
                    <a:pt x="602" y="514"/>
                  </a:lnTo>
                  <a:lnTo>
                    <a:pt x="583" y="539"/>
                  </a:lnTo>
                  <a:lnTo>
                    <a:pt x="562" y="562"/>
                  </a:lnTo>
                  <a:lnTo>
                    <a:pt x="537" y="584"/>
                  </a:lnTo>
                  <a:lnTo>
                    <a:pt x="513" y="603"/>
                  </a:lnTo>
                  <a:lnTo>
                    <a:pt x="485" y="619"/>
                  </a:lnTo>
                  <a:lnTo>
                    <a:pt x="457" y="632"/>
                  </a:lnTo>
                  <a:lnTo>
                    <a:pt x="426" y="644"/>
                  </a:lnTo>
                  <a:lnTo>
                    <a:pt x="411" y="648"/>
                  </a:lnTo>
                  <a:lnTo>
                    <a:pt x="395" y="652"/>
                  </a:lnTo>
                  <a:lnTo>
                    <a:pt x="379" y="655"/>
                  </a:lnTo>
                  <a:lnTo>
                    <a:pt x="363" y="656"/>
                  </a:lnTo>
                  <a:lnTo>
                    <a:pt x="345" y="658"/>
                  </a:lnTo>
                  <a:lnTo>
                    <a:pt x="329" y="659"/>
                  </a:lnTo>
                  <a:lnTo>
                    <a:pt x="329" y="659"/>
                  </a:lnTo>
                  <a:close/>
                  <a:moveTo>
                    <a:pt x="329" y="38"/>
                  </a:moveTo>
                  <a:lnTo>
                    <a:pt x="329" y="38"/>
                  </a:lnTo>
                  <a:lnTo>
                    <a:pt x="299" y="39"/>
                  </a:lnTo>
                  <a:lnTo>
                    <a:pt x="270" y="45"/>
                  </a:lnTo>
                  <a:lnTo>
                    <a:pt x="242" y="51"/>
                  </a:lnTo>
                  <a:lnTo>
                    <a:pt x="215" y="61"/>
                  </a:lnTo>
                  <a:lnTo>
                    <a:pt x="191" y="73"/>
                  </a:lnTo>
                  <a:lnTo>
                    <a:pt x="166" y="88"/>
                  </a:lnTo>
                  <a:lnTo>
                    <a:pt x="144" y="105"/>
                  </a:lnTo>
                  <a:lnTo>
                    <a:pt x="123" y="124"/>
                  </a:lnTo>
                  <a:lnTo>
                    <a:pt x="105" y="144"/>
                  </a:lnTo>
                  <a:lnTo>
                    <a:pt x="87" y="167"/>
                  </a:lnTo>
                  <a:lnTo>
                    <a:pt x="72" y="191"/>
                  </a:lnTo>
                  <a:lnTo>
                    <a:pt x="60" y="217"/>
                  </a:lnTo>
                  <a:lnTo>
                    <a:pt x="51" y="244"/>
                  </a:lnTo>
                  <a:lnTo>
                    <a:pt x="43" y="271"/>
                  </a:lnTo>
                  <a:lnTo>
                    <a:pt x="39" y="300"/>
                  </a:lnTo>
                  <a:lnTo>
                    <a:pt x="37" y="330"/>
                  </a:lnTo>
                  <a:lnTo>
                    <a:pt x="37" y="330"/>
                  </a:lnTo>
                  <a:lnTo>
                    <a:pt x="39" y="359"/>
                  </a:lnTo>
                  <a:lnTo>
                    <a:pt x="43" y="389"/>
                  </a:lnTo>
                  <a:lnTo>
                    <a:pt x="51" y="416"/>
                  </a:lnTo>
                  <a:lnTo>
                    <a:pt x="60" y="443"/>
                  </a:lnTo>
                  <a:lnTo>
                    <a:pt x="72" y="468"/>
                  </a:lnTo>
                  <a:lnTo>
                    <a:pt x="87" y="492"/>
                  </a:lnTo>
                  <a:lnTo>
                    <a:pt x="105" y="515"/>
                  </a:lnTo>
                  <a:lnTo>
                    <a:pt x="123" y="535"/>
                  </a:lnTo>
                  <a:lnTo>
                    <a:pt x="144" y="554"/>
                  </a:lnTo>
                  <a:lnTo>
                    <a:pt x="166" y="572"/>
                  </a:lnTo>
                  <a:lnTo>
                    <a:pt x="191" y="586"/>
                  </a:lnTo>
                  <a:lnTo>
                    <a:pt x="215" y="598"/>
                  </a:lnTo>
                  <a:lnTo>
                    <a:pt x="242" y="608"/>
                  </a:lnTo>
                  <a:lnTo>
                    <a:pt x="270" y="615"/>
                  </a:lnTo>
                  <a:lnTo>
                    <a:pt x="299" y="620"/>
                  </a:lnTo>
                  <a:lnTo>
                    <a:pt x="329" y="621"/>
                  </a:lnTo>
                  <a:lnTo>
                    <a:pt x="329" y="621"/>
                  </a:lnTo>
                  <a:lnTo>
                    <a:pt x="359" y="620"/>
                  </a:lnTo>
                  <a:lnTo>
                    <a:pt x="387" y="615"/>
                  </a:lnTo>
                  <a:lnTo>
                    <a:pt x="415" y="608"/>
                  </a:lnTo>
                  <a:lnTo>
                    <a:pt x="442" y="598"/>
                  </a:lnTo>
                  <a:lnTo>
                    <a:pt x="467" y="586"/>
                  </a:lnTo>
                  <a:lnTo>
                    <a:pt x="492" y="572"/>
                  </a:lnTo>
                  <a:lnTo>
                    <a:pt x="514" y="554"/>
                  </a:lnTo>
                  <a:lnTo>
                    <a:pt x="535" y="535"/>
                  </a:lnTo>
                  <a:lnTo>
                    <a:pt x="553" y="515"/>
                  </a:lnTo>
                  <a:lnTo>
                    <a:pt x="570" y="492"/>
                  </a:lnTo>
                  <a:lnTo>
                    <a:pt x="584" y="468"/>
                  </a:lnTo>
                  <a:lnTo>
                    <a:pt x="596" y="443"/>
                  </a:lnTo>
                  <a:lnTo>
                    <a:pt x="607" y="416"/>
                  </a:lnTo>
                  <a:lnTo>
                    <a:pt x="614" y="389"/>
                  </a:lnTo>
                  <a:lnTo>
                    <a:pt x="618" y="359"/>
                  </a:lnTo>
                  <a:lnTo>
                    <a:pt x="621" y="330"/>
                  </a:lnTo>
                  <a:lnTo>
                    <a:pt x="621" y="330"/>
                  </a:lnTo>
                  <a:lnTo>
                    <a:pt x="618" y="300"/>
                  </a:lnTo>
                  <a:lnTo>
                    <a:pt x="614" y="271"/>
                  </a:lnTo>
                  <a:lnTo>
                    <a:pt x="607" y="244"/>
                  </a:lnTo>
                  <a:lnTo>
                    <a:pt x="596" y="217"/>
                  </a:lnTo>
                  <a:lnTo>
                    <a:pt x="584" y="191"/>
                  </a:lnTo>
                  <a:lnTo>
                    <a:pt x="570" y="167"/>
                  </a:lnTo>
                  <a:lnTo>
                    <a:pt x="553" y="144"/>
                  </a:lnTo>
                  <a:lnTo>
                    <a:pt x="535" y="124"/>
                  </a:lnTo>
                  <a:lnTo>
                    <a:pt x="514" y="105"/>
                  </a:lnTo>
                  <a:lnTo>
                    <a:pt x="492" y="88"/>
                  </a:lnTo>
                  <a:lnTo>
                    <a:pt x="467" y="73"/>
                  </a:lnTo>
                  <a:lnTo>
                    <a:pt x="442" y="61"/>
                  </a:lnTo>
                  <a:lnTo>
                    <a:pt x="415" y="51"/>
                  </a:lnTo>
                  <a:lnTo>
                    <a:pt x="387" y="45"/>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217">
              <a:extLst>
                <a:ext uri="{FF2B5EF4-FFF2-40B4-BE49-F238E27FC236}">
                  <a16:creationId xmlns:a16="http://schemas.microsoft.com/office/drawing/2014/main" id="{D04BA4BD-F1CB-4B94-B94B-80F60149E1C0}"/>
                </a:ext>
              </a:extLst>
            </p:cNvPr>
            <p:cNvSpPr>
              <a:spLocks/>
            </p:cNvSpPr>
            <p:nvPr/>
          </p:nvSpPr>
          <p:spPr bwMode="auto">
            <a:xfrm>
              <a:off x="5964238" y="3467735"/>
              <a:ext cx="263525" cy="249238"/>
            </a:xfrm>
            <a:custGeom>
              <a:avLst/>
              <a:gdLst>
                <a:gd name="T0" fmla="*/ 330 w 330"/>
                <a:gd name="T1" fmla="*/ 120 h 314"/>
                <a:gd name="T2" fmla="*/ 330 w 330"/>
                <a:gd name="T3" fmla="*/ 120 h 314"/>
                <a:gd name="T4" fmla="*/ 328 w 330"/>
                <a:gd name="T5" fmla="*/ 117 h 314"/>
                <a:gd name="T6" fmla="*/ 325 w 330"/>
                <a:gd name="T7" fmla="*/ 116 h 314"/>
                <a:gd name="T8" fmla="*/ 217 w 330"/>
                <a:gd name="T9" fmla="*/ 101 h 314"/>
                <a:gd name="T10" fmla="*/ 170 w 330"/>
                <a:gd name="T11" fmla="*/ 4 h 314"/>
                <a:gd name="T12" fmla="*/ 170 w 330"/>
                <a:gd name="T13" fmla="*/ 4 h 314"/>
                <a:gd name="T14" fmla="*/ 168 w 330"/>
                <a:gd name="T15" fmla="*/ 1 h 314"/>
                <a:gd name="T16" fmla="*/ 165 w 330"/>
                <a:gd name="T17" fmla="*/ 0 h 314"/>
                <a:gd name="T18" fmla="*/ 162 w 330"/>
                <a:gd name="T19" fmla="*/ 1 h 314"/>
                <a:gd name="T20" fmla="*/ 160 w 330"/>
                <a:gd name="T21" fmla="*/ 4 h 314"/>
                <a:gd name="T22" fmla="*/ 111 w 330"/>
                <a:gd name="T23" fmla="*/ 101 h 314"/>
                <a:gd name="T24" fmla="*/ 5 w 330"/>
                <a:gd name="T25" fmla="*/ 116 h 314"/>
                <a:gd name="T26" fmla="*/ 5 w 330"/>
                <a:gd name="T27" fmla="*/ 116 h 314"/>
                <a:gd name="T28" fmla="*/ 2 w 330"/>
                <a:gd name="T29" fmla="*/ 117 h 314"/>
                <a:gd name="T30" fmla="*/ 0 w 330"/>
                <a:gd name="T31" fmla="*/ 120 h 314"/>
                <a:gd name="T32" fmla="*/ 0 w 330"/>
                <a:gd name="T33" fmla="*/ 120 h 314"/>
                <a:gd name="T34" fmla="*/ 0 w 330"/>
                <a:gd name="T35" fmla="*/ 124 h 314"/>
                <a:gd name="T36" fmla="*/ 1 w 330"/>
                <a:gd name="T37" fmla="*/ 126 h 314"/>
                <a:gd name="T38" fmla="*/ 79 w 330"/>
                <a:gd name="T39" fmla="*/ 202 h 314"/>
                <a:gd name="T40" fmla="*/ 60 w 330"/>
                <a:gd name="T41" fmla="*/ 308 h 314"/>
                <a:gd name="T42" fmla="*/ 60 w 330"/>
                <a:gd name="T43" fmla="*/ 308 h 314"/>
                <a:gd name="T44" fmla="*/ 62 w 330"/>
                <a:gd name="T45" fmla="*/ 312 h 314"/>
                <a:gd name="T46" fmla="*/ 63 w 330"/>
                <a:gd name="T47" fmla="*/ 314 h 314"/>
                <a:gd name="T48" fmla="*/ 63 w 330"/>
                <a:gd name="T49" fmla="*/ 314 h 314"/>
                <a:gd name="T50" fmla="*/ 66 w 330"/>
                <a:gd name="T51" fmla="*/ 314 h 314"/>
                <a:gd name="T52" fmla="*/ 70 w 330"/>
                <a:gd name="T53" fmla="*/ 314 h 314"/>
                <a:gd name="T54" fmla="*/ 165 w 330"/>
                <a:gd name="T55" fmla="*/ 263 h 314"/>
                <a:gd name="T56" fmla="*/ 260 w 330"/>
                <a:gd name="T57" fmla="*/ 314 h 314"/>
                <a:gd name="T58" fmla="*/ 260 w 330"/>
                <a:gd name="T59" fmla="*/ 314 h 314"/>
                <a:gd name="T60" fmla="*/ 263 w 330"/>
                <a:gd name="T61" fmla="*/ 314 h 314"/>
                <a:gd name="T62" fmla="*/ 263 w 330"/>
                <a:gd name="T63" fmla="*/ 314 h 314"/>
                <a:gd name="T64" fmla="*/ 267 w 330"/>
                <a:gd name="T65" fmla="*/ 314 h 314"/>
                <a:gd name="T66" fmla="*/ 267 w 330"/>
                <a:gd name="T67" fmla="*/ 314 h 314"/>
                <a:gd name="T68" fmla="*/ 268 w 330"/>
                <a:gd name="T69" fmla="*/ 312 h 314"/>
                <a:gd name="T70" fmla="*/ 268 w 330"/>
                <a:gd name="T71" fmla="*/ 308 h 314"/>
                <a:gd name="T72" fmla="*/ 251 w 330"/>
                <a:gd name="T73" fmla="*/ 202 h 314"/>
                <a:gd name="T74" fmla="*/ 329 w 330"/>
                <a:gd name="T75" fmla="*/ 126 h 314"/>
                <a:gd name="T76" fmla="*/ 329 w 330"/>
                <a:gd name="T77" fmla="*/ 126 h 314"/>
                <a:gd name="T78" fmla="*/ 330 w 330"/>
                <a:gd name="T79" fmla="*/ 124 h 314"/>
                <a:gd name="T80" fmla="*/ 330 w 330"/>
                <a:gd name="T81" fmla="*/ 120 h 314"/>
                <a:gd name="T82" fmla="*/ 330 w 330"/>
                <a:gd name="T83" fmla="*/ 12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0" h="314">
                  <a:moveTo>
                    <a:pt x="330" y="120"/>
                  </a:moveTo>
                  <a:lnTo>
                    <a:pt x="330" y="120"/>
                  </a:lnTo>
                  <a:lnTo>
                    <a:pt x="328" y="117"/>
                  </a:lnTo>
                  <a:lnTo>
                    <a:pt x="325" y="116"/>
                  </a:lnTo>
                  <a:lnTo>
                    <a:pt x="217" y="101"/>
                  </a:lnTo>
                  <a:lnTo>
                    <a:pt x="170" y="4"/>
                  </a:lnTo>
                  <a:lnTo>
                    <a:pt x="170" y="4"/>
                  </a:lnTo>
                  <a:lnTo>
                    <a:pt x="168" y="1"/>
                  </a:lnTo>
                  <a:lnTo>
                    <a:pt x="165" y="0"/>
                  </a:lnTo>
                  <a:lnTo>
                    <a:pt x="162" y="1"/>
                  </a:lnTo>
                  <a:lnTo>
                    <a:pt x="160" y="4"/>
                  </a:lnTo>
                  <a:lnTo>
                    <a:pt x="111" y="101"/>
                  </a:lnTo>
                  <a:lnTo>
                    <a:pt x="5" y="116"/>
                  </a:lnTo>
                  <a:lnTo>
                    <a:pt x="5" y="116"/>
                  </a:lnTo>
                  <a:lnTo>
                    <a:pt x="2" y="117"/>
                  </a:lnTo>
                  <a:lnTo>
                    <a:pt x="0" y="120"/>
                  </a:lnTo>
                  <a:lnTo>
                    <a:pt x="0" y="120"/>
                  </a:lnTo>
                  <a:lnTo>
                    <a:pt x="0" y="124"/>
                  </a:lnTo>
                  <a:lnTo>
                    <a:pt x="1" y="126"/>
                  </a:lnTo>
                  <a:lnTo>
                    <a:pt x="79" y="202"/>
                  </a:lnTo>
                  <a:lnTo>
                    <a:pt x="60" y="308"/>
                  </a:lnTo>
                  <a:lnTo>
                    <a:pt x="60" y="308"/>
                  </a:lnTo>
                  <a:lnTo>
                    <a:pt x="62" y="312"/>
                  </a:lnTo>
                  <a:lnTo>
                    <a:pt x="63" y="314"/>
                  </a:lnTo>
                  <a:lnTo>
                    <a:pt x="63" y="314"/>
                  </a:lnTo>
                  <a:lnTo>
                    <a:pt x="66" y="314"/>
                  </a:lnTo>
                  <a:lnTo>
                    <a:pt x="70" y="314"/>
                  </a:lnTo>
                  <a:lnTo>
                    <a:pt x="165" y="263"/>
                  </a:lnTo>
                  <a:lnTo>
                    <a:pt x="260" y="314"/>
                  </a:lnTo>
                  <a:lnTo>
                    <a:pt x="260" y="314"/>
                  </a:lnTo>
                  <a:lnTo>
                    <a:pt x="263" y="314"/>
                  </a:lnTo>
                  <a:lnTo>
                    <a:pt x="263" y="314"/>
                  </a:lnTo>
                  <a:lnTo>
                    <a:pt x="267" y="314"/>
                  </a:lnTo>
                  <a:lnTo>
                    <a:pt x="267" y="314"/>
                  </a:lnTo>
                  <a:lnTo>
                    <a:pt x="268" y="312"/>
                  </a:lnTo>
                  <a:lnTo>
                    <a:pt x="268" y="308"/>
                  </a:lnTo>
                  <a:lnTo>
                    <a:pt x="251" y="202"/>
                  </a:lnTo>
                  <a:lnTo>
                    <a:pt x="329" y="126"/>
                  </a:lnTo>
                  <a:lnTo>
                    <a:pt x="329" y="126"/>
                  </a:lnTo>
                  <a:lnTo>
                    <a:pt x="330" y="124"/>
                  </a:lnTo>
                  <a:lnTo>
                    <a:pt x="330" y="120"/>
                  </a:lnTo>
                  <a:lnTo>
                    <a:pt x="330"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7" name="Group 16">
            <a:extLst>
              <a:ext uri="{FF2B5EF4-FFF2-40B4-BE49-F238E27FC236}">
                <a16:creationId xmlns:a16="http://schemas.microsoft.com/office/drawing/2014/main" id="{113811ED-2150-4FF8-A90B-2904505F7FD5}"/>
              </a:ext>
            </a:extLst>
          </p:cNvPr>
          <p:cNvGrpSpPr>
            <a:grpSpLocks noChangeAspect="1"/>
          </p:cNvGrpSpPr>
          <p:nvPr/>
        </p:nvGrpSpPr>
        <p:grpSpPr>
          <a:xfrm>
            <a:off x="935888" y="3002570"/>
            <a:ext cx="380384" cy="381544"/>
            <a:chOff x="5837238" y="5020310"/>
            <a:chExt cx="520700" cy="522288"/>
          </a:xfrm>
          <a:solidFill>
            <a:schemeClr val="tx1"/>
          </a:solidFill>
        </p:grpSpPr>
        <p:sp>
          <p:nvSpPr>
            <p:cNvPr id="18" name="Freeform 43">
              <a:extLst>
                <a:ext uri="{FF2B5EF4-FFF2-40B4-BE49-F238E27FC236}">
                  <a16:creationId xmlns:a16="http://schemas.microsoft.com/office/drawing/2014/main" id="{5A0463AB-56B6-4523-B169-146A975D31E3}"/>
                </a:ext>
              </a:extLst>
            </p:cNvPr>
            <p:cNvSpPr>
              <a:spLocks noEditPoints="1"/>
            </p:cNvSpPr>
            <p:nvPr/>
          </p:nvSpPr>
          <p:spPr bwMode="auto">
            <a:xfrm>
              <a:off x="5837238" y="5020310"/>
              <a:ext cx="520700" cy="522288"/>
            </a:xfrm>
            <a:custGeom>
              <a:avLst/>
              <a:gdLst>
                <a:gd name="T0" fmla="*/ 312 w 658"/>
                <a:gd name="T1" fmla="*/ 657 h 657"/>
                <a:gd name="T2" fmla="*/ 262 w 658"/>
                <a:gd name="T3" fmla="*/ 650 h 657"/>
                <a:gd name="T4" fmla="*/ 201 w 658"/>
                <a:gd name="T5" fmla="*/ 632 h 657"/>
                <a:gd name="T6" fmla="*/ 120 w 658"/>
                <a:gd name="T7" fmla="*/ 582 h 657"/>
                <a:gd name="T8" fmla="*/ 57 w 658"/>
                <a:gd name="T9" fmla="*/ 512 h 657"/>
                <a:gd name="T10" fmla="*/ 15 w 658"/>
                <a:gd name="T11" fmla="*/ 426 h 657"/>
                <a:gd name="T12" fmla="*/ 4 w 658"/>
                <a:gd name="T13" fmla="*/ 379 h 657"/>
                <a:gd name="T14" fmla="*/ 0 w 658"/>
                <a:gd name="T15" fmla="*/ 328 h 657"/>
                <a:gd name="T16" fmla="*/ 2 w 658"/>
                <a:gd name="T17" fmla="*/ 294 h 657"/>
                <a:gd name="T18" fmla="*/ 10 w 658"/>
                <a:gd name="T19" fmla="*/ 246 h 657"/>
                <a:gd name="T20" fmla="*/ 39 w 658"/>
                <a:gd name="T21" fmla="*/ 172 h 657"/>
                <a:gd name="T22" fmla="*/ 96 w 658"/>
                <a:gd name="T23" fmla="*/ 95 h 657"/>
                <a:gd name="T24" fmla="*/ 172 w 658"/>
                <a:gd name="T25" fmla="*/ 39 h 657"/>
                <a:gd name="T26" fmla="*/ 246 w 658"/>
                <a:gd name="T27" fmla="*/ 9 h 657"/>
                <a:gd name="T28" fmla="*/ 295 w 658"/>
                <a:gd name="T29" fmla="*/ 1 h 657"/>
                <a:gd name="T30" fmla="*/ 328 w 658"/>
                <a:gd name="T31" fmla="*/ 0 h 657"/>
                <a:gd name="T32" fmla="*/ 379 w 658"/>
                <a:gd name="T33" fmla="*/ 3 h 657"/>
                <a:gd name="T34" fmla="*/ 426 w 658"/>
                <a:gd name="T35" fmla="*/ 15 h 657"/>
                <a:gd name="T36" fmla="*/ 512 w 658"/>
                <a:gd name="T37" fmla="*/ 56 h 657"/>
                <a:gd name="T38" fmla="*/ 582 w 658"/>
                <a:gd name="T39" fmla="*/ 120 h 657"/>
                <a:gd name="T40" fmla="*/ 632 w 658"/>
                <a:gd name="T41" fmla="*/ 200 h 657"/>
                <a:gd name="T42" fmla="*/ 651 w 658"/>
                <a:gd name="T43" fmla="*/ 262 h 657"/>
                <a:gd name="T44" fmla="*/ 658 w 658"/>
                <a:gd name="T45" fmla="*/ 312 h 657"/>
                <a:gd name="T46" fmla="*/ 658 w 658"/>
                <a:gd name="T47" fmla="*/ 345 h 657"/>
                <a:gd name="T48" fmla="*/ 651 w 658"/>
                <a:gd name="T49" fmla="*/ 395 h 657"/>
                <a:gd name="T50" fmla="*/ 632 w 658"/>
                <a:gd name="T51" fmla="*/ 457 h 657"/>
                <a:gd name="T52" fmla="*/ 582 w 658"/>
                <a:gd name="T53" fmla="*/ 538 h 657"/>
                <a:gd name="T54" fmla="*/ 512 w 658"/>
                <a:gd name="T55" fmla="*/ 601 h 657"/>
                <a:gd name="T56" fmla="*/ 426 w 658"/>
                <a:gd name="T57" fmla="*/ 642 h 657"/>
                <a:gd name="T58" fmla="*/ 379 w 658"/>
                <a:gd name="T59" fmla="*/ 653 h 657"/>
                <a:gd name="T60" fmla="*/ 328 w 658"/>
                <a:gd name="T61" fmla="*/ 657 h 657"/>
                <a:gd name="T62" fmla="*/ 328 w 658"/>
                <a:gd name="T63" fmla="*/ 38 h 657"/>
                <a:gd name="T64" fmla="*/ 242 w 658"/>
                <a:gd name="T65" fmla="*/ 50 h 657"/>
                <a:gd name="T66" fmla="*/ 166 w 658"/>
                <a:gd name="T67" fmla="*/ 87 h 657"/>
                <a:gd name="T68" fmla="*/ 104 w 658"/>
                <a:gd name="T69" fmla="*/ 144 h 657"/>
                <a:gd name="T70" fmla="*/ 61 w 658"/>
                <a:gd name="T71" fmla="*/ 215 h 657"/>
                <a:gd name="T72" fmla="*/ 39 w 658"/>
                <a:gd name="T73" fmla="*/ 298 h 657"/>
                <a:gd name="T74" fmla="*/ 39 w 658"/>
                <a:gd name="T75" fmla="*/ 359 h 657"/>
                <a:gd name="T76" fmla="*/ 61 w 658"/>
                <a:gd name="T77" fmla="*/ 442 h 657"/>
                <a:gd name="T78" fmla="*/ 104 w 658"/>
                <a:gd name="T79" fmla="*/ 513 h 657"/>
                <a:gd name="T80" fmla="*/ 166 w 658"/>
                <a:gd name="T81" fmla="*/ 570 h 657"/>
                <a:gd name="T82" fmla="*/ 242 w 658"/>
                <a:gd name="T83" fmla="*/ 606 h 657"/>
                <a:gd name="T84" fmla="*/ 328 w 658"/>
                <a:gd name="T85" fmla="*/ 620 h 657"/>
                <a:gd name="T86" fmla="*/ 387 w 658"/>
                <a:gd name="T87" fmla="*/ 614 h 657"/>
                <a:gd name="T88" fmla="*/ 468 w 658"/>
                <a:gd name="T89" fmla="*/ 585 h 657"/>
                <a:gd name="T90" fmla="*/ 535 w 658"/>
                <a:gd name="T91" fmla="*/ 535 h 657"/>
                <a:gd name="T92" fmla="*/ 585 w 658"/>
                <a:gd name="T93" fmla="*/ 468 h 657"/>
                <a:gd name="T94" fmla="*/ 615 w 658"/>
                <a:gd name="T95" fmla="*/ 387 h 657"/>
                <a:gd name="T96" fmla="*/ 620 w 658"/>
                <a:gd name="T97" fmla="*/ 328 h 657"/>
                <a:gd name="T98" fmla="*/ 607 w 658"/>
                <a:gd name="T99" fmla="*/ 242 h 657"/>
                <a:gd name="T100" fmla="*/ 570 w 658"/>
                <a:gd name="T101" fmla="*/ 165 h 657"/>
                <a:gd name="T102" fmla="*/ 514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8" y="657"/>
                  </a:moveTo>
                  <a:lnTo>
                    <a:pt x="328" y="657"/>
                  </a:lnTo>
                  <a:lnTo>
                    <a:pt x="312" y="657"/>
                  </a:lnTo>
                  <a:lnTo>
                    <a:pt x="295" y="656"/>
                  </a:lnTo>
                  <a:lnTo>
                    <a:pt x="279" y="653"/>
                  </a:lnTo>
                  <a:lnTo>
                    <a:pt x="262" y="650"/>
                  </a:lnTo>
                  <a:lnTo>
                    <a:pt x="246" y="646"/>
                  </a:lnTo>
                  <a:lnTo>
                    <a:pt x="232" y="642"/>
                  </a:lnTo>
                  <a:lnTo>
                    <a:pt x="201" y="632"/>
                  </a:lnTo>
                  <a:lnTo>
                    <a:pt x="172" y="618"/>
                  </a:lnTo>
                  <a:lnTo>
                    <a:pt x="146" y="601"/>
                  </a:lnTo>
                  <a:lnTo>
                    <a:pt x="120" y="582"/>
                  </a:lnTo>
                  <a:lnTo>
                    <a:pt x="96" y="560"/>
                  </a:lnTo>
                  <a:lnTo>
                    <a:pt x="76" y="538"/>
                  </a:lnTo>
                  <a:lnTo>
                    <a:pt x="57" y="512"/>
                  </a:lnTo>
                  <a:lnTo>
                    <a:pt x="39" y="485"/>
                  </a:lnTo>
                  <a:lnTo>
                    <a:pt x="26" y="457"/>
                  </a:lnTo>
                  <a:lnTo>
                    <a:pt x="15" y="426"/>
                  </a:lnTo>
                  <a:lnTo>
                    <a:pt x="10" y="411"/>
                  </a:lnTo>
                  <a:lnTo>
                    <a:pt x="7" y="395"/>
                  </a:lnTo>
                  <a:lnTo>
                    <a:pt x="4" y="379"/>
                  </a:lnTo>
                  <a:lnTo>
                    <a:pt x="2" y="362"/>
                  </a:lnTo>
                  <a:lnTo>
                    <a:pt x="0" y="345"/>
                  </a:lnTo>
                  <a:lnTo>
                    <a:pt x="0" y="328"/>
                  </a:lnTo>
                  <a:lnTo>
                    <a:pt x="0" y="328"/>
                  </a:lnTo>
                  <a:lnTo>
                    <a:pt x="0" y="312"/>
                  </a:lnTo>
                  <a:lnTo>
                    <a:pt x="2" y="294"/>
                  </a:lnTo>
                  <a:lnTo>
                    <a:pt x="4" y="278"/>
                  </a:lnTo>
                  <a:lnTo>
                    <a:pt x="7" y="262"/>
                  </a:lnTo>
                  <a:lnTo>
                    <a:pt x="10" y="246"/>
                  </a:lnTo>
                  <a:lnTo>
                    <a:pt x="15" y="231"/>
                  </a:lnTo>
                  <a:lnTo>
                    <a:pt x="26" y="200"/>
                  </a:lnTo>
                  <a:lnTo>
                    <a:pt x="39" y="172"/>
                  </a:lnTo>
                  <a:lnTo>
                    <a:pt x="57" y="145"/>
                  </a:lnTo>
                  <a:lnTo>
                    <a:pt x="76" y="120"/>
                  </a:lnTo>
                  <a:lnTo>
                    <a:pt x="96" y="95"/>
                  </a:lnTo>
                  <a:lnTo>
                    <a:pt x="120" y="75"/>
                  </a:lnTo>
                  <a:lnTo>
                    <a:pt x="146" y="56"/>
                  </a:lnTo>
                  <a:lnTo>
                    <a:pt x="172" y="39"/>
                  </a:lnTo>
                  <a:lnTo>
                    <a:pt x="201" y="25"/>
                  </a:lnTo>
                  <a:lnTo>
                    <a:pt x="232" y="15"/>
                  </a:lnTo>
                  <a:lnTo>
                    <a:pt x="246" y="9"/>
                  </a:lnTo>
                  <a:lnTo>
                    <a:pt x="262" y="7"/>
                  </a:lnTo>
                  <a:lnTo>
                    <a:pt x="279" y="3"/>
                  </a:lnTo>
                  <a:lnTo>
                    <a:pt x="295" y="1"/>
                  </a:lnTo>
                  <a:lnTo>
                    <a:pt x="312" y="0"/>
                  </a:lnTo>
                  <a:lnTo>
                    <a:pt x="328" y="0"/>
                  </a:lnTo>
                  <a:lnTo>
                    <a:pt x="328" y="0"/>
                  </a:lnTo>
                  <a:lnTo>
                    <a:pt x="346" y="0"/>
                  </a:lnTo>
                  <a:lnTo>
                    <a:pt x="362" y="1"/>
                  </a:lnTo>
                  <a:lnTo>
                    <a:pt x="379" y="3"/>
                  </a:lnTo>
                  <a:lnTo>
                    <a:pt x="396" y="7"/>
                  </a:lnTo>
                  <a:lnTo>
                    <a:pt x="412" y="9"/>
                  </a:lnTo>
                  <a:lnTo>
                    <a:pt x="426" y="15"/>
                  </a:lnTo>
                  <a:lnTo>
                    <a:pt x="457" y="25"/>
                  </a:lnTo>
                  <a:lnTo>
                    <a:pt x="486" y="39"/>
                  </a:lnTo>
                  <a:lnTo>
                    <a:pt x="512" y="56"/>
                  </a:lnTo>
                  <a:lnTo>
                    <a:pt x="538" y="75"/>
                  </a:lnTo>
                  <a:lnTo>
                    <a:pt x="561" y="95"/>
                  </a:lnTo>
                  <a:lnTo>
                    <a:pt x="582" y="120"/>
                  </a:lnTo>
                  <a:lnTo>
                    <a:pt x="601" y="145"/>
                  </a:lnTo>
                  <a:lnTo>
                    <a:pt x="619" y="172"/>
                  </a:lnTo>
                  <a:lnTo>
                    <a:pt x="632" y="200"/>
                  </a:lnTo>
                  <a:lnTo>
                    <a:pt x="643" y="231"/>
                  </a:lnTo>
                  <a:lnTo>
                    <a:pt x="648" y="246"/>
                  </a:lnTo>
                  <a:lnTo>
                    <a:pt x="651" y="262"/>
                  </a:lnTo>
                  <a:lnTo>
                    <a:pt x="654" y="278"/>
                  </a:lnTo>
                  <a:lnTo>
                    <a:pt x="656" y="294"/>
                  </a:lnTo>
                  <a:lnTo>
                    <a:pt x="658" y="312"/>
                  </a:lnTo>
                  <a:lnTo>
                    <a:pt x="658" y="328"/>
                  </a:lnTo>
                  <a:lnTo>
                    <a:pt x="658" y="328"/>
                  </a:lnTo>
                  <a:lnTo>
                    <a:pt x="658" y="345"/>
                  </a:lnTo>
                  <a:lnTo>
                    <a:pt x="656" y="362"/>
                  </a:lnTo>
                  <a:lnTo>
                    <a:pt x="654" y="379"/>
                  </a:lnTo>
                  <a:lnTo>
                    <a:pt x="651" y="395"/>
                  </a:lnTo>
                  <a:lnTo>
                    <a:pt x="648" y="411"/>
                  </a:lnTo>
                  <a:lnTo>
                    <a:pt x="643" y="426"/>
                  </a:lnTo>
                  <a:lnTo>
                    <a:pt x="632" y="457"/>
                  </a:lnTo>
                  <a:lnTo>
                    <a:pt x="619" y="485"/>
                  </a:lnTo>
                  <a:lnTo>
                    <a:pt x="601" y="512"/>
                  </a:lnTo>
                  <a:lnTo>
                    <a:pt x="582" y="538"/>
                  </a:lnTo>
                  <a:lnTo>
                    <a:pt x="561" y="560"/>
                  </a:lnTo>
                  <a:lnTo>
                    <a:pt x="538" y="582"/>
                  </a:lnTo>
                  <a:lnTo>
                    <a:pt x="512" y="601"/>
                  </a:lnTo>
                  <a:lnTo>
                    <a:pt x="486" y="618"/>
                  </a:lnTo>
                  <a:lnTo>
                    <a:pt x="457" y="632"/>
                  </a:lnTo>
                  <a:lnTo>
                    <a:pt x="426" y="642"/>
                  </a:lnTo>
                  <a:lnTo>
                    <a:pt x="412" y="646"/>
                  </a:lnTo>
                  <a:lnTo>
                    <a:pt x="396" y="650"/>
                  </a:lnTo>
                  <a:lnTo>
                    <a:pt x="379" y="653"/>
                  </a:lnTo>
                  <a:lnTo>
                    <a:pt x="362" y="656"/>
                  </a:lnTo>
                  <a:lnTo>
                    <a:pt x="346" y="657"/>
                  </a:lnTo>
                  <a:lnTo>
                    <a:pt x="328" y="657"/>
                  </a:lnTo>
                  <a:lnTo>
                    <a:pt x="328" y="657"/>
                  </a:lnTo>
                  <a:close/>
                  <a:moveTo>
                    <a:pt x="328" y="38"/>
                  </a:moveTo>
                  <a:lnTo>
                    <a:pt x="328" y="38"/>
                  </a:lnTo>
                  <a:lnTo>
                    <a:pt x="299" y="39"/>
                  </a:lnTo>
                  <a:lnTo>
                    <a:pt x="271" y="43"/>
                  </a:lnTo>
                  <a:lnTo>
                    <a:pt x="242" y="50"/>
                  </a:lnTo>
                  <a:lnTo>
                    <a:pt x="215" y="60"/>
                  </a:lnTo>
                  <a:lnTo>
                    <a:pt x="190" y="73"/>
                  </a:lnTo>
                  <a:lnTo>
                    <a:pt x="166" y="87"/>
                  </a:lnTo>
                  <a:lnTo>
                    <a:pt x="144" y="103"/>
                  </a:lnTo>
                  <a:lnTo>
                    <a:pt x="123" y="122"/>
                  </a:lnTo>
                  <a:lnTo>
                    <a:pt x="104" y="144"/>
                  </a:lnTo>
                  <a:lnTo>
                    <a:pt x="88" y="165"/>
                  </a:lnTo>
                  <a:lnTo>
                    <a:pt x="73" y="189"/>
                  </a:lnTo>
                  <a:lnTo>
                    <a:pt x="61" y="215"/>
                  </a:lnTo>
                  <a:lnTo>
                    <a:pt x="50" y="242"/>
                  </a:lnTo>
                  <a:lnTo>
                    <a:pt x="43" y="270"/>
                  </a:lnTo>
                  <a:lnTo>
                    <a:pt x="39" y="298"/>
                  </a:lnTo>
                  <a:lnTo>
                    <a:pt x="38" y="328"/>
                  </a:lnTo>
                  <a:lnTo>
                    <a:pt x="38" y="328"/>
                  </a:lnTo>
                  <a:lnTo>
                    <a:pt x="39" y="359"/>
                  </a:lnTo>
                  <a:lnTo>
                    <a:pt x="43" y="387"/>
                  </a:lnTo>
                  <a:lnTo>
                    <a:pt x="50" y="415"/>
                  </a:lnTo>
                  <a:lnTo>
                    <a:pt x="61" y="442"/>
                  </a:lnTo>
                  <a:lnTo>
                    <a:pt x="73" y="468"/>
                  </a:lnTo>
                  <a:lnTo>
                    <a:pt x="88" y="492"/>
                  </a:lnTo>
                  <a:lnTo>
                    <a:pt x="104" y="513"/>
                  </a:lnTo>
                  <a:lnTo>
                    <a:pt x="123" y="535"/>
                  </a:lnTo>
                  <a:lnTo>
                    <a:pt x="144" y="554"/>
                  </a:lnTo>
                  <a:lnTo>
                    <a:pt x="166" y="570"/>
                  </a:lnTo>
                  <a:lnTo>
                    <a:pt x="190" y="585"/>
                  </a:lnTo>
                  <a:lnTo>
                    <a:pt x="215" y="597"/>
                  </a:lnTo>
                  <a:lnTo>
                    <a:pt x="242" y="606"/>
                  </a:lnTo>
                  <a:lnTo>
                    <a:pt x="271" y="614"/>
                  </a:lnTo>
                  <a:lnTo>
                    <a:pt x="299" y="618"/>
                  </a:lnTo>
                  <a:lnTo>
                    <a:pt x="328" y="620"/>
                  </a:lnTo>
                  <a:lnTo>
                    <a:pt x="328" y="620"/>
                  </a:lnTo>
                  <a:lnTo>
                    <a:pt x="359" y="618"/>
                  </a:lnTo>
                  <a:lnTo>
                    <a:pt x="387" y="614"/>
                  </a:lnTo>
                  <a:lnTo>
                    <a:pt x="416" y="606"/>
                  </a:lnTo>
                  <a:lnTo>
                    <a:pt x="443" y="597"/>
                  </a:lnTo>
                  <a:lnTo>
                    <a:pt x="468" y="585"/>
                  </a:lnTo>
                  <a:lnTo>
                    <a:pt x="492" y="570"/>
                  </a:lnTo>
                  <a:lnTo>
                    <a:pt x="514" y="554"/>
                  </a:lnTo>
                  <a:lnTo>
                    <a:pt x="535" y="535"/>
                  </a:lnTo>
                  <a:lnTo>
                    <a:pt x="554" y="513"/>
                  </a:lnTo>
                  <a:lnTo>
                    <a:pt x="570" y="492"/>
                  </a:lnTo>
                  <a:lnTo>
                    <a:pt x="585" y="468"/>
                  </a:lnTo>
                  <a:lnTo>
                    <a:pt x="597" y="442"/>
                  </a:lnTo>
                  <a:lnTo>
                    <a:pt x="607" y="415"/>
                  </a:lnTo>
                  <a:lnTo>
                    <a:pt x="615" y="387"/>
                  </a:lnTo>
                  <a:lnTo>
                    <a:pt x="619" y="359"/>
                  </a:lnTo>
                  <a:lnTo>
                    <a:pt x="620" y="328"/>
                  </a:lnTo>
                  <a:lnTo>
                    <a:pt x="620" y="328"/>
                  </a:lnTo>
                  <a:lnTo>
                    <a:pt x="619" y="298"/>
                  </a:lnTo>
                  <a:lnTo>
                    <a:pt x="615" y="270"/>
                  </a:lnTo>
                  <a:lnTo>
                    <a:pt x="607" y="242"/>
                  </a:lnTo>
                  <a:lnTo>
                    <a:pt x="597" y="215"/>
                  </a:lnTo>
                  <a:lnTo>
                    <a:pt x="585" y="189"/>
                  </a:lnTo>
                  <a:lnTo>
                    <a:pt x="570" y="165"/>
                  </a:lnTo>
                  <a:lnTo>
                    <a:pt x="554" y="144"/>
                  </a:lnTo>
                  <a:lnTo>
                    <a:pt x="535" y="122"/>
                  </a:lnTo>
                  <a:lnTo>
                    <a:pt x="514" y="103"/>
                  </a:lnTo>
                  <a:lnTo>
                    <a:pt x="492" y="87"/>
                  </a:lnTo>
                  <a:lnTo>
                    <a:pt x="468" y="73"/>
                  </a:lnTo>
                  <a:lnTo>
                    <a:pt x="443" y="60"/>
                  </a:lnTo>
                  <a:lnTo>
                    <a:pt x="416" y="50"/>
                  </a:lnTo>
                  <a:lnTo>
                    <a:pt x="387" y="43"/>
                  </a:lnTo>
                  <a:lnTo>
                    <a:pt x="359" y="39"/>
                  </a:lnTo>
                  <a:lnTo>
                    <a:pt x="328" y="38"/>
                  </a:lnTo>
                  <a:lnTo>
                    <a:pt x="328"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180">
              <a:extLst>
                <a:ext uri="{FF2B5EF4-FFF2-40B4-BE49-F238E27FC236}">
                  <a16:creationId xmlns:a16="http://schemas.microsoft.com/office/drawing/2014/main" id="{2A24E35A-FC76-4F9E-9763-86807DE01119}"/>
                </a:ext>
              </a:extLst>
            </p:cNvPr>
            <p:cNvSpPr>
              <a:spLocks/>
            </p:cNvSpPr>
            <p:nvPr/>
          </p:nvSpPr>
          <p:spPr bwMode="auto">
            <a:xfrm>
              <a:off x="6022976" y="5137785"/>
              <a:ext cx="17463" cy="58738"/>
            </a:xfrm>
            <a:custGeom>
              <a:avLst/>
              <a:gdLst>
                <a:gd name="T0" fmla="*/ 5 w 21"/>
                <a:gd name="T1" fmla="*/ 72 h 72"/>
                <a:gd name="T2" fmla="*/ 16 w 21"/>
                <a:gd name="T3" fmla="*/ 72 h 72"/>
                <a:gd name="T4" fmla="*/ 16 w 21"/>
                <a:gd name="T5" fmla="*/ 72 h 72"/>
                <a:gd name="T6" fmla="*/ 17 w 21"/>
                <a:gd name="T7" fmla="*/ 72 h 72"/>
                <a:gd name="T8" fmla="*/ 18 w 21"/>
                <a:gd name="T9" fmla="*/ 71 h 72"/>
                <a:gd name="T10" fmla="*/ 20 w 21"/>
                <a:gd name="T11" fmla="*/ 70 h 72"/>
                <a:gd name="T12" fmla="*/ 21 w 21"/>
                <a:gd name="T13" fmla="*/ 67 h 72"/>
                <a:gd name="T14" fmla="*/ 21 w 21"/>
                <a:gd name="T15" fmla="*/ 5 h 72"/>
                <a:gd name="T16" fmla="*/ 21 w 21"/>
                <a:gd name="T17" fmla="*/ 5 h 72"/>
                <a:gd name="T18" fmla="*/ 20 w 21"/>
                <a:gd name="T19" fmla="*/ 4 h 72"/>
                <a:gd name="T20" fmla="*/ 18 w 21"/>
                <a:gd name="T21" fmla="*/ 2 h 72"/>
                <a:gd name="T22" fmla="*/ 17 w 21"/>
                <a:gd name="T23" fmla="*/ 1 h 72"/>
                <a:gd name="T24" fmla="*/ 16 w 21"/>
                <a:gd name="T25" fmla="*/ 0 h 72"/>
                <a:gd name="T26" fmla="*/ 5 w 21"/>
                <a:gd name="T27" fmla="*/ 0 h 72"/>
                <a:gd name="T28" fmla="*/ 5 w 21"/>
                <a:gd name="T29" fmla="*/ 0 h 72"/>
                <a:gd name="T30" fmla="*/ 4 w 21"/>
                <a:gd name="T31" fmla="*/ 1 h 72"/>
                <a:gd name="T32" fmla="*/ 1 w 21"/>
                <a:gd name="T33" fmla="*/ 2 h 72"/>
                <a:gd name="T34" fmla="*/ 0 w 21"/>
                <a:gd name="T35" fmla="*/ 4 h 72"/>
                <a:gd name="T36" fmla="*/ 0 w 21"/>
                <a:gd name="T37" fmla="*/ 5 h 72"/>
                <a:gd name="T38" fmla="*/ 0 w 21"/>
                <a:gd name="T39" fmla="*/ 67 h 72"/>
                <a:gd name="T40" fmla="*/ 0 w 21"/>
                <a:gd name="T41" fmla="*/ 67 h 72"/>
                <a:gd name="T42" fmla="*/ 0 w 21"/>
                <a:gd name="T43" fmla="*/ 70 h 72"/>
                <a:gd name="T44" fmla="*/ 1 w 21"/>
                <a:gd name="T45" fmla="*/ 71 h 72"/>
                <a:gd name="T46" fmla="*/ 4 w 21"/>
                <a:gd name="T47" fmla="*/ 72 h 72"/>
                <a:gd name="T48" fmla="*/ 5 w 21"/>
                <a:gd name="T49" fmla="*/ 72 h 72"/>
                <a:gd name="T50" fmla="*/ 5 w 21"/>
                <a:gd name="T5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 h="72">
                  <a:moveTo>
                    <a:pt x="5" y="72"/>
                  </a:moveTo>
                  <a:lnTo>
                    <a:pt x="16" y="72"/>
                  </a:lnTo>
                  <a:lnTo>
                    <a:pt x="16" y="72"/>
                  </a:lnTo>
                  <a:lnTo>
                    <a:pt x="17" y="72"/>
                  </a:lnTo>
                  <a:lnTo>
                    <a:pt x="18" y="71"/>
                  </a:lnTo>
                  <a:lnTo>
                    <a:pt x="20" y="70"/>
                  </a:lnTo>
                  <a:lnTo>
                    <a:pt x="21" y="67"/>
                  </a:lnTo>
                  <a:lnTo>
                    <a:pt x="21" y="5"/>
                  </a:lnTo>
                  <a:lnTo>
                    <a:pt x="21" y="5"/>
                  </a:lnTo>
                  <a:lnTo>
                    <a:pt x="20" y="4"/>
                  </a:lnTo>
                  <a:lnTo>
                    <a:pt x="18" y="2"/>
                  </a:lnTo>
                  <a:lnTo>
                    <a:pt x="17" y="1"/>
                  </a:lnTo>
                  <a:lnTo>
                    <a:pt x="16" y="0"/>
                  </a:lnTo>
                  <a:lnTo>
                    <a:pt x="5" y="0"/>
                  </a:lnTo>
                  <a:lnTo>
                    <a:pt x="5" y="0"/>
                  </a:lnTo>
                  <a:lnTo>
                    <a:pt x="4" y="1"/>
                  </a:lnTo>
                  <a:lnTo>
                    <a:pt x="1" y="2"/>
                  </a:lnTo>
                  <a:lnTo>
                    <a:pt x="0" y="4"/>
                  </a:lnTo>
                  <a:lnTo>
                    <a:pt x="0" y="5"/>
                  </a:lnTo>
                  <a:lnTo>
                    <a:pt x="0" y="67"/>
                  </a:lnTo>
                  <a:lnTo>
                    <a:pt x="0" y="67"/>
                  </a:lnTo>
                  <a:lnTo>
                    <a:pt x="0" y="70"/>
                  </a:lnTo>
                  <a:lnTo>
                    <a:pt x="1" y="71"/>
                  </a:lnTo>
                  <a:lnTo>
                    <a:pt x="4" y="72"/>
                  </a:lnTo>
                  <a:lnTo>
                    <a:pt x="5" y="72"/>
                  </a:lnTo>
                  <a:lnTo>
                    <a:pt x="5"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181">
              <a:extLst>
                <a:ext uri="{FF2B5EF4-FFF2-40B4-BE49-F238E27FC236}">
                  <a16:creationId xmlns:a16="http://schemas.microsoft.com/office/drawing/2014/main" id="{2F1419DD-CF2F-4F65-BDCC-A4A429B3FF28}"/>
                </a:ext>
              </a:extLst>
            </p:cNvPr>
            <p:cNvSpPr>
              <a:spLocks/>
            </p:cNvSpPr>
            <p:nvPr/>
          </p:nvSpPr>
          <p:spPr bwMode="auto">
            <a:xfrm>
              <a:off x="6154738" y="5137785"/>
              <a:ext cx="17463" cy="58738"/>
            </a:xfrm>
            <a:custGeom>
              <a:avLst/>
              <a:gdLst>
                <a:gd name="T0" fmla="*/ 5 w 21"/>
                <a:gd name="T1" fmla="*/ 72 h 72"/>
                <a:gd name="T2" fmla="*/ 16 w 21"/>
                <a:gd name="T3" fmla="*/ 72 h 72"/>
                <a:gd name="T4" fmla="*/ 16 w 21"/>
                <a:gd name="T5" fmla="*/ 72 h 72"/>
                <a:gd name="T6" fmla="*/ 17 w 21"/>
                <a:gd name="T7" fmla="*/ 72 h 72"/>
                <a:gd name="T8" fmla="*/ 20 w 21"/>
                <a:gd name="T9" fmla="*/ 71 h 72"/>
                <a:gd name="T10" fmla="*/ 20 w 21"/>
                <a:gd name="T11" fmla="*/ 70 h 72"/>
                <a:gd name="T12" fmla="*/ 21 w 21"/>
                <a:gd name="T13" fmla="*/ 67 h 72"/>
                <a:gd name="T14" fmla="*/ 21 w 21"/>
                <a:gd name="T15" fmla="*/ 5 h 72"/>
                <a:gd name="T16" fmla="*/ 21 w 21"/>
                <a:gd name="T17" fmla="*/ 5 h 72"/>
                <a:gd name="T18" fmla="*/ 20 w 21"/>
                <a:gd name="T19" fmla="*/ 4 h 72"/>
                <a:gd name="T20" fmla="*/ 20 w 21"/>
                <a:gd name="T21" fmla="*/ 2 h 72"/>
                <a:gd name="T22" fmla="*/ 17 w 21"/>
                <a:gd name="T23" fmla="*/ 1 h 72"/>
                <a:gd name="T24" fmla="*/ 16 w 21"/>
                <a:gd name="T25" fmla="*/ 0 h 72"/>
                <a:gd name="T26" fmla="*/ 5 w 21"/>
                <a:gd name="T27" fmla="*/ 0 h 72"/>
                <a:gd name="T28" fmla="*/ 5 w 21"/>
                <a:gd name="T29" fmla="*/ 0 h 72"/>
                <a:gd name="T30" fmla="*/ 4 w 21"/>
                <a:gd name="T31" fmla="*/ 1 h 72"/>
                <a:gd name="T32" fmla="*/ 3 w 21"/>
                <a:gd name="T33" fmla="*/ 2 h 72"/>
                <a:gd name="T34" fmla="*/ 1 w 21"/>
                <a:gd name="T35" fmla="*/ 4 h 72"/>
                <a:gd name="T36" fmla="*/ 0 w 21"/>
                <a:gd name="T37" fmla="*/ 5 h 72"/>
                <a:gd name="T38" fmla="*/ 0 w 21"/>
                <a:gd name="T39" fmla="*/ 67 h 72"/>
                <a:gd name="T40" fmla="*/ 0 w 21"/>
                <a:gd name="T41" fmla="*/ 67 h 72"/>
                <a:gd name="T42" fmla="*/ 1 w 21"/>
                <a:gd name="T43" fmla="*/ 70 h 72"/>
                <a:gd name="T44" fmla="*/ 3 w 21"/>
                <a:gd name="T45" fmla="*/ 71 h 72"/>
                <a:gd name="T46" fmla="*/ 4 w 21"/>
                <a:gd name="T47" fmla="*/ 72 h 72"/>
                <a:gd name="T48" fmla="*/ 5 w 21"/>
                <a:gd name="T49" fmla="*/ 72 h 72"/>
                <a:gd name="T50" fmla="*/ 5 w 21"/>
                <a:gd name="T5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 h="72">
                  <a:moveTo>
                    <a:pt x="5" y="72"/>
                  </a:moveTo>
                  <a:lnTo>
                    <a:pt x="16" y="72"/>
                  </a:lnTo>
                  <a:lnTo>
                    <a:pt x="16" y="72"/>
                  </a:lnTo>
                  <a:lnTo>
                    <a:pt x="17" y="72"/>
                  </a:lnTo>
                  <a:lnTo>
                    <a:pt x="20" y="71"/>
                  </a:lnTo>
                  <a:lnTo>
                    <a:pt x="20" y="70"/>
                  </a:lnTo>
                  <a:lnTo>
                    <a:pt x="21" y="67"/>
                  </a:lnTo>
                  <a:lnTo>
                    <a:pt x="21" y="5"/>
                  </a:lnTo>
                  <a:lnTo>
                    <a:pt x="21" y="5"/>
                  </a:lnTo>
                  <a:lnTo>
                    <a:pt x="20" y="4"/>
                  </a:lnTo>
                  <a:lnTo>
                    <a:pt x="20" y="2"/>
                  </a:lnTo>
                  <a:lnTo>
                    <a:pt x="17" y="1"/>
                  </a:lnTo>
                  <a:lnTo>
                    <a:pt x="16" y="0"/>
                  </a:lnTo>
                  <a:lnTo>
                    <a:pt x="5" y="0"/>
                  </a:lnTo>
                  <a:lnTo>
                    <a:pt x="5" y="0"/>
                  </a:lnTo>
                  <a:lnTo>
                    <a:pt x="4" y="1"/>
                  </a:lnTo>
                  <a:lnTo>
                    <a:pt x="3" y="2"/>
                  </a:lnTo>
                  <a:lnTo>
                    <a:pt x="1" y="4"/>
                  </a:lnTo>
                  <a:lnTo>
                    <a:pt x="0" y="5"/>
                  </a:lnTo>
                  <a:lnTo>
                    <a:pt x="0" y="67"/>
                  </a:lnTo>
                  <a:lnTo>
                    <a:pt x="0" y="67"/>
                  </a:lnTo>
                  <a:lnTo>
                    <a:pt x="1" y="70"/>
                  </a:lnTo>
                  <a:lnTo>
                    <a:pt x="3" y="71"/>
                  </a:lnTo>
                  <a:lnTo>
                    <a:pt x="4" y="72"/>
                  </a:lnTo>
                  <a:lnTo>
                    <a:pt x="5" y="72"/>
                  </a:lnTo>
                  <a:lnTo>
                    <a:pt x="5"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182">
              <a:extLst>
                <a:ext uri="{FF2B5EF4-FFF2-40B4-BE49-F238E27FC236}">
                  <a16:creationId xmlns:a16="http://schemas.microsoft.com/office/drawing/2014/main" id="{333AE25C-5094-42A5-ABF0-D47DE5EED8AE}"/>
                </a:ext>
              </a:extLst>
            </p:cNvPr>
            <p:cNvSpPr>
              <a:spLocks noEditPoints="1"/>
            </p:cNvSpPr>
            <p:nvPr/>
          </p:nvSpPr>
          <p:spPr bwMode="auto">
            <a:xfrm>
              <a:off x="5970588" y="5164773"/>
              <a:ext cx="254000" cy="228600"/>
            </a:xfrm>
            <a:custGeom>
              <a:avLst/>
              <a:gdLst>
                <a:gd name="T0" fmla="*/ 265 w 322"/>
                <a:gd name="T1" fmla="*/ 0 h 289"/>
                <a:gd name="T2" fmla="*/ 265 w 322"/>
                <a:gd name="T3" fmla="*/ 46 h 289"/>
                <a:gd name="T4" fmla="*/ 262 w 322"/>
                <a:gd name="T5" fmla="*/ 50 h 289"/>
                <a:gd name="T6" fmla="*/ 260 w 322"/>
                <a:gd name="T7" fmla="*/ 51 h 289"/>
                <a:gd name="T8" fmla="*/ 229 w 322"/>
                <a:gd name="T9" fmla="*/ 51 h 289"/>
                <a:gd name="T10" fmla="*/ 225 w 322"/>
                <a:gd name="T11" fmla="*/ 50 h 289"/>
                <a:gd name="T12" fmla="*/ 224 w 322"/>
                <a:gd name="T13" fmla="*/ 46 h 289"/>
                <a:gd name="T14" fmla="*/ 99 w 322"/>
                <a:gd name="T15" fmla="*/ 0 h 289"/>
                <a:gd name="T16" fmla="*/ 99 w 322"/>
                <a:gd name="T17" fmla="*/ 46 h 289"/>
                <a:gd name="T18" fmla="*/ 97 w 322"/>
                <a:gd name="T19" fmla="*/ 50 h 289"/>
                <a:gd name="T20" fmla="*/ 93 w 322"/>
                <a:gd name="T21" fmla="*/ 51 h 289"/>
                <a:gd name="T22" fmla="*/ 62 w 322"/>
                <a:gd name="T23" fmla="*/ 51 h 289"/>
                <a:gd name="T24" fmla="*/ 60 w 322"/>
                <a:gd name="T25" fmla="*/ 50 h 289"/>
                <a:gd name="T26" fmla="*/ 57 w 322"/>
                <a:gd name="T27" fmla="*/ 46 h 289"/>
                <a:gd name="T28" fmla="*/ 11 w 322"/>
                <a:gd name="T29" fmla="*/ 0 h 289"/>
                <a:gd name="T30" fmla="*/ 7 w 322"/>
                <a:gd name="T31" fmla="*/ 0 h 289"/>
                <a:gd name="T32" fmla="*/ 2 w 322"/>
                <a:gd name="T33" fmla="*/ 5 h 289"/>
                <a:gd name="T34" fmla="*/ 0 w 322"/>
                <a:gd name="T35" fmla="*/ 278 h 289"/>
                <a:gd name="T36" fmla="*/ 2 w 322"/>
                <a:gd name="T37" fmla="*/ 282 h 289"/>
                <a:gd name="T38" fmla="*/ 7 w 322"/>
                <a:gd name="T39" fmla="*/ 289 h 289"/>
                <a:gd name="T40" fmla="*/ 311 w 322"/>
                <a:gd name="T41" fmla="*/ 289 h 289"/>
                <a:gd name="T42" fmla="*/ 315 w 322"/>
                <a:gd name="T43" fmla="*/ 289 h 289"/>
                <a:gd name="T44" fmla="*/ 320 w 322"/>
                <a:gd name="T45" fmla="*/ 282 h 289"/>
                <a:gd name="T46" fmla="*/ 322 w 322"/>
                <a:gd name="T47" fmla="*/ 9 h 289"/>
                <a:gd name="T48" fmla="*/ 320 w 322"/>
                <a:gd name="T49" fmla="*/ 5 h 289"/>
                <a:gd name="T50" fmla="*/ 315 w 322"/>
                <a:gd name="T51" fmla="*/ 0 h 289"/>
                <a:gd name="T52" fmla="*/ 311 w 322"/>
                <a:gd name="T53" fmla="*/ 0 h 289"/>
                <a:gd name="T54" fmla="*/ 300 w 322"/>
                <a:gd name="T55" fmla="*/ 264 h 289"/>
                <a:gd name="T56" fmla="*/ 299 w 322"/>
                <a:gd name="T57" fmla="*/ 266 h 289"/>
                <a:gd name="T58" fmla="*/ 295 w 322"/>
                <a:gd name="T59" fmla="*/ 268 h 289"/>
                <a:gd name="T60" fmla="*/ 27 w 322"/>
                <a:gd name="T61" fmla="*/ 268 h 289"/>
                <a:gd name="T62" fmla="*/ 23 w 322"/>
                <a:gd name="T63" fmla="*/ 266 h 289"/>
                <a:gd name="T64" fmla="*/ 22 w 322"/>
                <a:gd name="T65" fmla="*/ 264 h 289"/>
                <a:gd name="T66" fmla="*/ 22 w 322"/>
                <a:gd name="T67" fmla="*/ 87 h 289"/>
                <a:gd name="T68" fmla="*/ 23 w 322"/>
                <a:gd name="T69" fmla="*/ 83 h 289"/>
                <a:gd name="T70" fmla="*/ 27 w 322"/>
                <a:gd name="T71" fmla="*/ 82 h 289"/>
                <a:gd name="T72" fmla="*/ 295 w 322"/>
                <a:gd name="T73" fmla="*/ 82 h 289"/>
                <a:gd name="T74" fmla="*/ 299 w 322"/>
                <a:gd name="T75" fmla="*/ 83 h 289"/>
                <a:gd name="T76" fmla="*/ 300 w 322"/>
                <a:gd name="T77" fmla="*/ 87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2" h="289">
                  <a:moveTo>
                    <a:pt x="311" y="0"/>
                  </a:moveTo>
                  <a:lnTo>
                    <a:pt x="265" y="0"/>
                  </a:lnTo>
                  <a:lnTo>
                    <a:pt x="265" y="46"/>
                  </a:lnTo>
                  <a:lnTo>
                    <a:pt x="265" y="46"/>
                  </a:lnTo>
                  <a:lnTo>
                    <a:pt x="264" y="48"/>
                  </a:lnTo>
                  <a:lnTo>
                    <a:pt x="262" y="50"/>
                  </a:lnTo>
                  <a:lnTo>
                    <a:pt x="261" y="51"/>
                  </a:lnTo>
                  <a:lnTo>
                    <a:pt x="260" y="51"/>
                  </a:lnTo>
                  <a:lnTo>
                    <a:pt x="229" y="51"/>
                  </a:lnTo>
                  <a:lnTo>
                    <a:pt x="229" y="51"/>
                  </a:lnTo>
                  <a:lnTo>
                    <a:pt x="226" y="51"/>
                  </a:lnTo>
                  <a:lnTo>
                    <a:pt x="225" y="50"/>
                  </a:lnTo>
                  <a:lnTo>
                    <a:pt x="224" y="48"/>
                  </a:lnTo>
                  <a:lnTo>
                    <a:pt x="224" y="46"/>
                  </a:lnTo>
                  <a:lnTo>
                    <a:pt x="224" y="0"/>
                  </a:lnTo>
                  <a:lnTo>
                    <a:pt x="99" y="0"/>
                  </a:lnTo>
                  <a:lnTo>
                    <a:pt x="99" y="46"/>
                  </a:lnTo>
                  <a:lnTo>
                    <a:pt x="99" y="46"/>
                  </a:lnTo>
                  <a:lnTo>
                    <a:pt x="99" y="48"/>
                  </a:lnTo>
                  <a:lnTo>
                    <a:pt x="97" y="50"/>
                  </a:lnTo>
                  <a:lnTo>
                    <a:pt x="96" y="51"/>
                  </a:lnTo>
                  <a:lnTo>
                    <a:pt x="93" y="51"/>
                  </a:lnTo>
                  <a:lnTo>
                    <a:pt x="62" y="51"/>
                  </a:lnTo>
                  <a:lnTo>
                    <a:pt x="62" y="51"/>
                  </a:lnTo>
                  <a:lnTo>
                    <a:pt x="61" y="51"/>
                  </a:lnTo>
                  <a:lnTo>
                    <a:pt x="60" y="50"/>
                  </a:lnTo>
                  <a:lnTo>
                    <a:pt x="58" y="48"/>
                  </a:lnTo>
                  <a:lnTo>
                    <a:pt x="57" y="46"/>
                  </a:lnTo>
                  <a:lnTo>
                    <a:pt x="57" y="0"/>
                  </a:lnTo>
                  <a:lnTo>
                    <a:pt x="11" y="0"/>
                  </a:lnTo>
                  <a:lnTo>
                    <a:pt x="11" y="0"/>
                  </a:lnTo>
                  <a:lnTo>
                    <a:pt x="7" y="0"/>
                  </a:lnTo>
                  <a:lnTo>
                    <a:pt x="3" y="3"/>
                  </a:lnTo>
                  <a:lnTo>
                    <a:pt x="2" y="5"/>
                  </a:lnTo>
                  <a:lnTo>
                    <a:pt x="0" y="9"/>
                  </a:lnTo>
                  <a:lnTo>
                    <a:pt x="0" y="278"/>
                  </a:lnTo>
                  <a:lnTo>
                    <a:pt x="0" y="278"/>
                  </a:lnTo>
                  <a:lnTo>
                    <a:pt x="2" y="282"/>
                  </a:lnTo>
                  <a:lnTo>
                    <a:pt x="3" y="286"/>
                  </a:lnTo>
                  <a:lnTo>
                    <a:pt x="7" y="289"/>
                  </a:lnTo>
                  <a:lnTo>
                    <a:pt x="11" y="289"/>
                  </a:lnTo>
                  <a:lnTo>
                    <a:pt x="311" y="289"/>
                  </a:lnTo>
                  <a:lnTo>
                    <a:pt x="311" y="289"/>
                  </a:lnTo>
                  <a:lnTo>
                    <a:pt x="315" y="289"/>
                  </a:lnTo>
                  <a:lnTo>
                    <a:pt x="319" y="286"/>
                  </a:lnTo>
                  <a:lnTo>
                    <a:pt x="320" y="282"/>
                  </a:lnTo>
                  <a:lnTo>
                    <a:pt x="322" y="278"/>
                  </a:lnTo>
                  <a:lnTo>
                    <a:pt x="322" y="9"/>
                  </a:lnTo>
                  <a:lnTo>
                    <a:pt x="322" y="9"/>
                  </a:lnTo>
                  <a:lnTo>
                    <a:pt x="320" y="5"/>
                  </a:lnTo>
                  <a:lnTo>
                    <a:pt x="319" y="3"/>
                  </a:lnTo>
                  <a:lnTo>
                    <a:pt x="315" y="0"/>
                  </a:lnTo>
                  <a:lnTo>
                    <a:pt x="311" y="0"/>
                  </a:lnTo>
                  <a:lnTo>
                    <a:pt x="311" y="0"/>
                  </a:lnTo>
                  <a:close/>
                  <a:moveTo>
                    <a:pt x="300" y="264"/>
                  </a:moveTo>
                  <a:lnTo>
                    <a:pt x="300" y="264"/>
                  </a:lnTo>
                  <a:lnTo>
                    <a:pt x="300" y="265"/>
                  </a:lnTo>
                  <a:lnTo>
                    <a:pt x="299" y="266"/>
                  </a:lnTo>
                  <a:lnTo>
                    <a:pt x="297" y="268"/>
                  </a:lnTo>
                  <a:lnTo>
                    <a:pt x="295" y="268"/>
                  </a:lnTo>
                  <a:lnTo>
                    <a:pt x="27" y="268"/>
                  </a:lnTo>
                  <a:lnTo>
                    <a:pt x="27" y="268"/>
                  </a:lnTo>
                  <a:lnTo>
                    <a:pt x="25" y="268"/>
                  </a:lnTo>
                  <a:lnTo>
                    <a:pt x="23" y="266"/>
                  </a:lnTo>
                  <a:lnTo>
                    <a:pt x="22" y="265"/>
                  </a:lnTo>
                  <a:lnTo>
                    <a:pt x="22" y="264"/>
                  </a:lnTo>
                  <a:lnTo>
                    <a:pt x="22" y="87"/>
                  </a:lnTo>
                  <a:lnTo>
                    <a:pt x="22" y="87"/>
                  </a:lnTo>
                  <a:lnTo>
                    <a:pt x="22" y="85"/>
                  </a:lnTo>
                  <a:lnTo>
                    <a:pt x="23" y="83"/>
                  </a:lnTo>
                  <a:lnTo>
                    <a:pt x="25" y="82"/>
                  </a:lnTo>
                  <a:lnTo>
                    <a:pt x="27" y="82"/>
                  </a:lnTo>
                  <a:lnTo>
                    <a:pt x="295" y="82"/>
                  </a:lnTo>
                  <a:lnTo>
                    <a:pt x="295" y="82"/>
                  </a:lnTo>
                  <a:lnTo>
                    <a:pt x="297" y="82"/>
                  </a:lnTo>
                  <a:lnTo>
                    <a:pt x="299" y="83"/>
                  </a:lnTo>
                  <a:lnTo>
                    <a:pt x="300" y="85"/>
                  </a:lnTo>
                  <a:lnTo>
                    <a:pt x="300" y="87"/>
                  </a:lnTo>
                  <a:lnTo>
                    <a:pt x="300"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183">
              <a:extLst>
                <a:ext uri="{FF2B5EF4-FFF2-40B4-BE49-F238E27FC236}">
                  <a16:creationId xmlns:a16="http://schemas.microsoft.com/office/drawing/2014/main" id="{BDAECA10-600B-4384-9AE5-591F887E728B}"/>
                </a:ext>
              </a:extLst>
            </p:cNvPr>
            <p:cNvSpPr>
              <a:spLocks/>
            </p:cNvSpPr>
            <p:nvPr/>
          </p:nvSpPr>
          <p:spPr bwMode="auto">
            <a:xfrm>
              <a:off x="6010276" y="5313998"/>
              <a:ext cx="44450" cy="36513"/>
            </a:xfrm>
            <a:custGeom>
              <a:avLst/>
              <a:gdLst>
                <a:gd name="T0" fmla="*/ 53 w 57"/>
                <a:gd name="T1" fmla="*/ 0 h 47"/>
                <a:gd name="T2" fmla="*/ 6 w 57"/>
                <a:gd name="T3" fmla="*/ 0 h 47"/>
                <a:gd name="T4" fmla="*/ 6 w 57"/>
                <a:gd name="T5" fmla="*/ 0 h 47"/>
                <a:gd name="T6" fmla="*/ 2 w 57"/>
                <a:gd name="T7" fmla="*/ 2 h 47"/>
                <a:gd name="T8" fmla="*/ 0 w 57"/>
                <a:gd name="T9" fmla="*/ 4 h 47"/>
                <a:gd name="T10" fmla="*/ 0 w 57"/>
                <a:gd name="T11" fmla="*/ 42 h 47"/>
                <a:gd name="T12" fmla="*/ 0 w 57"/>
                <a:gd name="T13" fmla="*/ 42 h 47"/>
                <a:gd name="T14" fmla="*/ 2 w 57"/>
                <a:gd name="T15" fmla="*/ 46 h 47"/>
                <a:gd name="T16" fmla="*/ 6 w 57"/>
                <a:gd name="T17" fmla="*/ 47 h 47"/>
                <a:gd name="T18" fmla="*/ 53 w 57"/>
                <a:gd name="T19" fmla="*/ 47 h 47"/>
                <a:gd name="T20" fmla="*/ 53 w 57"/>
                <a:gd name="T21" fmla="*/ 47 h 47"/>
                <a:gd name="T22" fmla="*/ 56 w 57"/>
                <a:gd name="T23" fmla="*/ 46 h 47"/>
                <a:gd name="T24" fmla="*/ 57 w 57"/>
                <a:gd name="T25" fmla="*/ 42 h 47"/>
                <a:gd name="T26" fmla="*/ 57 w 57"/>
                <a:gd name="T27" fmla="*/ 4 h 47"/>
                <a:gd name="T28" fmla="*/ 57 w 57"/>
                <a:gd name="T29" fmla="*/ 4 h 47"/>
                <a:gd name="T30" fmla="*/ 56 w 57"/>
                <a:gd name="T31" fmla="*/ 2 h 47"/>
                <a:gd name="T32" fmla="*/ 53 w 57"/>
                <a:gd name="T33" fmla="*/ 0 h 47"/>
                <a:gd name="T34" fmla="*/ 53 w 57"/>
                <a:gd name="T3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47">
                  <a:moveTo>
                    <a:pt x="53" y="0"/>
                  </a:moveTo>
                  <a:lnTo>
                    <a:pt x="6" y="0"/>
                  </a:lnTo>
                  <a:lnTo>
                    <a:pt x="6" y="0"/>
                  </a:lnTo>
                  <a:lnTo>
                    <a:pt x="2" y="2"/>
                  </a:lnTo>
                  <a:lnTo>
                    <a:pt x="0" y="4"/>
                  </a:lnTo>
                  <a:lnTo>
                    <a:pt x="0" y="42"/>
                  </a:lnTo>
                  <a:lnTo>
                    <a:pt x="0" y="42"/>
                  </a:lnTo>
                  <a:lnTo>
                    <a:pt x="2" y="46"/>
                  </a:lnTo>
                  <a:lnTo>
                    <a:pt x="6" y="47"/>
                  </a:lnTo>
                  <a:lnTo>
                    <a:pt x="53" y="47"/>
                  </a:lnTo>
                  <a:lnTo>
                    <a:pt x="53" y="47"/>
                  </a:lnTo>
                  <a:lnTo>
                    <a:pt x="56" y="46"/>
                  </a:lnTo>
                  <a:lnTo>
                    <a:pt x="57" y="42"/>
                  </a:lnTo>
                  <a:lnTo>
                    <a:pt x="57" y="4"/>
                  </a:lnTo>
                  <a:lnTo>
                    <a:pt x="57" y="4"/>
                  </a:lnTo>
                  <a:lnTo>
                    <a:pt x="56" y="2"/>
                  </a:lnTo>
                  <a:lnTo>
                    <a:pt x="53" y="0"/>
                  </a:lnTo>
                  <a:lnTo>
                    <a:pt x="5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184">
              <a:extLst>
                <a:ext uri="{FF2B5EF4-FFF2-40B4-BE49-F238E27FC236}">
                  <a16:creationId xmlns:a16="http://schemas.microsoft.com/office/drawing/2014/main" id="{F356ADE0-E239-4B0F-AD81-DFA78F760248}"/>
                </a:ext>
              </a:extLst>
            </p:cNvPr>
            <p:cNvSpPr>
              <a:spLocks/>
            </p:cNvSpPr>
            <p:nvPr/>
          </p:nvSpPr>
          <p:spPr bwMode="auto">
            <a:xfrm>
              <a:off x="6010276" y="5255260"/>
              <a:ext cx="44450" cy="38100"/>
            </a:xfrm>
            <a:custGeom>
              <a:avLst/>
              <a:gdLst>
                <a:gd name="T0" fmla="*/ 53 w 57"/>
                <a:gd name="T1" fmla="*/ 0 h 47"/>
                <a:gd name="T2" fmla="*/ 6 w 57"/>
                <a:gd name="T3" fmla="*/ 0 h 47"/>
                <a:gd name="T4" fmla="*/ 6 w 57"/>
                <a:gd name="T5" fmla="*/ 0 h 47"/>
                <a:gd name="T6" fmla="*/ 2 w 57"/>
                <a:gd name="T7" fmla="*/ 1 h 47"/>
                <a:gd name="T8" fmla="*/ 0 w 57"/>
                <a:gd name="T9" fmla="*/ 4 h 47"/>
                <a:gd name="T10" fmla="*/ 0 w 57"/>
                <a:gd name="T11" fmla="*/ 41 h 47"/>
                <a:gd name="T12" fmla="*/ 0 w 57"/>
                <a:gd name="T13" fmla="*/ 41 h 47"/>
                <a:gd name="T14" fmla="*/ 2 w 57"/>
                <a:gd name="T15" fmla="*/ 45 h 47"/>
                <a:gd name="T16" fmla="*/ 6 w 57"/>
                <a:gd name="T17" fmla="*/ 47 h 47"/>
                <a:gd name="T18" fmla="*/ 53 w 57"/>
                <a:gd name="T19" fmla="*/ 47 h 47"/>
                <a:gd name="T20" fmla="*/ 53 w 57"/>
                <a:gd name="T21" fmla="*/ 47 h 47"/>
                <a:gd name="T22" fmla="*/ 56 w 57"/>
                <a:gd name="T23" fmla="*/ 45 h 47"/>
                <a:gd name="T24" fmla="*/ 57 w 57"/>
                <a:gd name="T25" fmla="*/ 41 h 47"/>
                <a:gd name="T26" fmla="*/ 57 w 57"/>
                <a:gd name="T27" fmla="*/ 4 h 47"/>
                <a:gd name="T28" fmla="*/ 57 w 57"/>
                <a:gd name="T29" fmla="*/ 4 h 47"/>
                <a:gd name="T30" fmla="*/ 56 w 57"/>
                <a:gd name="T31" fmla="*/ 1 h 47"/>
                <a:gd name="T32" fmla="*/ 53 w 57"/>
                <a:gd name="T33" fmla="*/ 0 h 47"/>
                <a:gd name="T34" fmla="*/ 53 w 57"/>
                <a:gd name="T3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47">
                  <a:moveTo>
                    <a:pt x="53" y="0"/>
                  </a:moveTo>
                  <a:lnTo>
                    <a:pt x="6" y="0"/>
                  </a:lnTo>
                  <a:lnTo>
                    <a:pt x="6" y="0"/>
                  </a:lnTo>
                  <a:lnTo>
                    <a:pt x="2" y="1"/>
                  </a:lnTo>
                  <a:lnTo>
                    <a:pt x="0" y="4"/>
                  </a:lnTo>
                  <a:lnTo>
                    <a:pt x="0" y="41"/>
                  </a:lnTo>
                  <a:lnTo>
                    <a:pt x="0" y="41"/>
                  </a:lnTo>
                  <a:lnTo>
                    <a:pt x="2" y="45"/>
                  </a:lnTo>
                  <a:lnTo>
                    <a:pt x="6" y="47"/>
                  </a:lnTo>
                  <a:lnTo>
                    <a:pt x="53" y="47"/>
                  </a:lnTo>
                  <a:lnTo>
                    <a:pt x="53" y="47"/>
                  </a:lnTo>
                  <a:lnTo>
                    <a:pt x="56" y="45"/>
                  </a:lnTo>
                  <a:lnTo>
                    <a:pt x="57" y="41"/>
                  </a:lnTo>
                  <a:lnTo>
                    <a:pt x="57" y="4"/>
                  </a:lnTo>
                  <a:lnTo>
                    <a:pt x="57" y="4"/>
                  </a:lnTo>
                  <a:lnTo>
                    <a:pt x="56" y="1"/>
                  </a:lnTo>
                  <a:lnTo>
                    <a:pt x="53" y="0"/>
                  </a:lnTo>
                  <a:lnTo>
                    <a:pt x="5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185">
              <a:extLst>
                <a:ext uri="{FF2B5EF4-FFF2-40B4-BE49-F238E27FC236}">
                  <a16:creationId xmlns:a16="http://schemas.microsoft.com/office/drawing/2014/main" id="{D3EA9E0F-80D8-446B-805C-B4533C6C943A}"/>
                </a:ext>
              </a:extLst>
            </p:cNvPr>
            <p:cNvSpPr>
              <a:spLocks/>
            </p:cNvSpPr>
            <p:nvPr/>
          </p:nvSpPr>
          <p:spPr bwMode="auto">
            <a:xfrm>
              <a:off x="6076951" y="5313998"/>
              <a:ext cx="44450" cy="36513"/>
            </a:xfrm>
            <a:custGeom>
              <a:avLst/>
              <a:gdLst>
                <a:gd name="T0" fmla="*/ 51 w 56"/>
                <a:gd name="T1" fmla="*/ 0 h 47"/>
                <a:gd name="T2" fmla="*/ 5 w 56"/>
                <a:gd name="T3" fmla="*/ 0 h 47"/>
                <a:gd name="T4" fmla="*/ 5 w 56"/>
                <a:gd name="T5" fmla="*/ 0 h 47"/>
                <a:gd name="T6" fmla="*/ 1 w 56"/>
                <a:gd name="T7" fmla="*/ 2 h 47"/>
                <a:gd name="T8" fmla="*/ 0 w 56"/>
                <a:gd name="T9" fmla="*/ 4 h 47"/>
                <a:gd name="T10" fmla="*/ 0 w 56"/>
                <a:gd name="T11" fmla="*/ 42 h 47"/>
                <a:gd name="T12" fmla="*/ 0 w 56"/>
                <a:gd name="T13" fmla="*/ 42 h 47"/>
                <a:gd name="T14" fmla="*/ 1 w 56"/>
                <a:gd name="T15" fmla="*/ 46 h 47"/>
                <a:gd name="T16" fmla="*/ 5 w 56"/>
                <a:gd name="T17" fmla="*/ 47 h 47"/>
                <a:gd name="T18" fmla="*/ 51 w 56"/>
                <a:gd name="T19" fmla="*/ 47 h 47"/>
                <a:gd name="T20" fmla="*/ 51 w 56"/>
                <a:gd name="T21" fmla="*/ 47 h 47"/>
                <a:gd name="T22" fmla="*/ 55 w 56"/>
                <a:gd name="T23" fmla="*/ 46 h 47"/>
                <a:gd name="T24" fmla="*/ 56 w 56"/>
                <a:gd name="T25" fmla="*/ 42 h 47"/>
                <a:gd name="T26" fmla="*/ 56 w 56"/>
                <a:gd name="T27" fmla="*/ 4 h 47"/>
                <a:gd name="T28" fmla="*/ 56 w 56"/>
                <a:gd name="T29" fmla="*/ 4 h 47"/>
                <a:gd name="T30" fmla="*/ 55 w 56"/>
                <a:gd name="T31" fmla="*/ 2 h 47"/>
                <a:gd name="T32" fmla="*/ 51 w 56"/>
                <a:gd name="T33" fmla="*/ 0 h 47"/>
                <a:gd name="T34" fmla="*/ 51 w 56"/>
                <a:gd name="T3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 h="47">
                  <a:moveTo>
                    <a:pt x="51" y="0"/>
                  </a:moveTo>
                  <a:lnTo>
                    <a:pt x="5" y="0"/>
                  </a:lnTo>
                  <a:lnTo>
                    <a:pt x="5" y="0"/>
                  </a:lnTo>
                  <a:lnTo>
                    <a:pt x="1" y="2"/>
                  </a:lnTo>
                  <a:lnTo>
                    <a:pt x="0" y="4"/>
                  </a:lnTo>
                  <a:lnTo>
                    <a:pt x="0" y="42"/>
                  </a:lnTo>
                  <a:lnTo>
                    <a:pt x="0" y="42"/>
                  </a:lnTo>
                  <a:lnTo>
                    <a:pt x="1" y="46"/>
                  </a:lnTo>
                  <a:lnTo>
                    <a:pt x="5" y="47"/>
                  </a:lnTo>
                  <a:lnTo>
                    <a:pt x="51" y="47"/>
                  </a:lnTo>
                  <a:lnTo>
                    <a:pt x="51" y="47"/>
                  </a:lnTo>
                  <a:lnTo>
                    <a:pt x="55" y="46"/>
                  </a:lnTo>
                  <a:lnTo>
                    <a:pt x="56" y="42"/>
                  </a:lnTo>
                  <a:lnTo>
                    <a:pt x="56" y="4"/>
                  </a:lnTo>
                  <a:lnTo>
                    <a:pt x="56" y="4"/>
                  </a:lnTo>
                  <a:lnTo>
                    <a:pt x="55" y="2"/>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186">
              <a:extLst>
                <a:ext uri="{FF2B5EF4-FFF2-40B4-BE49-F238E27FC236}">
                  <a16:creationId xmlns:a16="http://schemas.microsoft.com/office/drawing/2014/main" id="{4DD8F07E-AC08-4A43-B214-369631808A98}"/>
                </a:ext>
              </a:extLst>
            </p:cNvPr>
            <p:cNvSpPr>
              <a:spLocks/>
            </p:cNvSpPr>
            <p:nvPr/>
          </p:nvSpPr>
          <p:spPr bwMode="auto">
            <a:xfrm>
              <a:off x="6076951" y="5255260"/>
              <a:ext cx="44450" cy="38100"/>
            </a:xfrm>
            <a:custGeom>
              <a:avLst/>
              <a:gdLst>
                <a:gd name="T0" fmla="*/ 51 w 56"/>
                <a:gd name="T1" fmla="*/ 0 h 47"/>
                <a:gd name="T2" fmla="*/ 5 w 56"/>
                <a:gd name="T3" fmla="*/ 0 h 47"/>
                <a:gd name="T4" fmla="*/ 5 w 56"/>
                <a:gd name="T5" fmla="*/ 0 h 47"/>
                <a:gd name="T6" fmla="*/ 1 w 56"/>
                <a:gd name="T7" fmla="*/ 1 h 47"/>
                <a:gd name="T8" fmla="*/ 0 w 56"/>
                <a:gd name="T9" fmla="*/ 4 h 47"/>
                <a:gd name="T10" fmla="*/ 0 w 56"/>
                <a:gd name="T11" fmla="*/ 41 h 47"/>
                <a:gd name="T12" fmla="*/ 0 w 56"/>
                <a:gd name="T13" fmla="*/ 41 h 47"/>
                <a:gd name="T14" fmla="*/ 1 w 56"/>
                <a:gd name="T15" fmla="*/ 45 h 47"/>
                <a:gd name="T16" fmla="*/ 5 w 56"/>
                <a:gd name="T17" fmla="*/ 47 h 47"/>
                <a:gd name="T18" fmla="*/ 51 w 56"/>
                <a:gd name="T19" fmla="*/ 47 h 47"/>
                <a:gd name="T20" fmla="*/ 51 w 56"/>
                <a:gd name="T21" fmla="*/ 47 h 47"/>
                <a:gd name="T22" fmla="*/ 55 w 56"/>
                <a:gd name="T23" fmla="*/ 45 h 47"/>
                <a:gd name="T24" fmla="*/ 56 w 56"/>
                <a:gd name="T25" fmla="*/ 41 h 47"/>
                <a:gd name="T26" fmla="*/ 56 w 56"/>
                <a:gd name="T27" fmla="*/ 4 h 47"/>
                <a:gd name="T28" fmla="*/ 56 w 56"/>
                <a:gd name="T29" fmla="*/ 4 h 47"/>
                <a:gd name="T30" fmla="*/ 55 w 56"/>
                <a:gd name="T31" fmla="*/ 1 h 47"/>
                <a:gd name="T32" fmla="*/ 51 w 56"/>
                <a:gd name="T33" fmla="*/ 0 h 47"/>
                <a:gd name="T34" fmla="*/ 51 w 56"/>
                <a:gd name="T3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 h="47">
                  <a:moveTo>
                    <a:pt x="51" y="0"/>
                  </a:moveTo>
                  <a:lnTo>
                    <a:pt x="5" y="0"/>
                  </a:lnTo>
                  <a:lnTo>
                    <a:pt x="5" y="0"/>
                  </a:lnTo>
                  <a:lnTo>
                    <a:pt x="1" y="1"/>
                  </a:lnTo>
                  <a:lnTo>
                    <a:pt x="0" y="4"/>
                  </a:lnTo>
                  <a:lnTo>
                    <a:pt x="0" y="41"/>
                  </a:lnTo>
                  <a:lnTo>
                    <a:pt x="0" y="41"/>
                  </a:lnTo>
                  <a:lnTo>
                    <a:pt x="1" y="45"/>
                  </a:lnTo>
                  <a:lnTo>
                    <a:pt x="5" y="47"/>
                  </a:lnTo>
                  <a:lnTo>
                    <a:pt x="51" y="47"/>
                  </a:lnTo>
                  <a:lnTo>
                    <a:pt x="51" y="47"/>
                  </a:lnTo>
                  <a:lnTo>
                    <a:pt x="55" y="45"/>
                  </a:lnTo>
                  <a:lnTo>
                    <a:pt x="56" y="41"/>
                  </a:lnTo>
                  <a:lnTo>
                    <a:pt x="56" y="4"/>
                  </a:lnTo>
                  <a:lnTo>
                    <a:pt x="56" y="4"/>
                  </a:lnTo>
                  <a:lnTo>
                    <a:pt x="55" y="1"/>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187">
              <a:extLst>
                <a:ext uri="{FF2B5EF4-FFF2-40B4-BE49-F238E27FC236}">
                  <a16:creationId xmlns:a16="http://schemas.microsoft.com/office/drawing/2014/main" id="{C2E961BF-1452-48F7-A847-4AD2031C05F0}"/>
                </a:ext>
              </a:extLst>
            </p:cNvPr>
            <p:cNvSpPr>
              <a:spLocks/>
            </p:cNvSpPr>
            <p:nvPr/>
          </p:nvSpPr>
          <p:spPr bwMode="auto">
            <a:xfrm>
              <a:off x="6143626" y="5255260"/>
              <a:ext cx="42863" cy="38100"/>
            </a:xfrm>
            <a:custGeom>
              <a:avLst/>
              <a:gdLst>
                <a:gd name="T0" fmla="*/ 51 w 55"/>
                <a:gd name="T1" fmla="*/ 0 h 47"/>
                <a:gd name="T2" fmla="*/ 4 w 55"/>
                <a:gd name="T3" fmla="*/ 0 h 47"/>
                <a:gd name="T4" fmla="*/ 4 w 55"/>
                <a:gd name="T5" fmla="*/ 0 h 47"/>
                <a:gd name="T6" fmla="*/ 1 w 55"/>
                <a:gd name="T7" fmla="*/ 1 h 47"/>
                <a:gd name="T8" fmla="*/ 0 w 55"/>
                <a:gd name="T9" fmla="*/ 4 h 47"/>
                <a:gd name="T10" fmla="*/ 0 w 55"/>
                <a:gd name="T11" fmla="*/ 41 h 47"/>
                <a:gd name="T12" fmla="*/ 0 w 55"/>
                <a:gd name="T13" fmla="*/ 41 h 47"/>
                <a:gd name="T14" fmla="*/ 1 w 55"/>
                <a:gd name="T15" fmla="*/ 45 h 47"/>
                <a:gd name="T16" fmla="*/ 4 w 55"/>
                <a:gd name="T17" fmla="*/ 47 h 47"/>
                <a:gd name="T18" fmla="*/ 51 w 55"/>
                <a:gd name="T19" fmla="*/ 47 h 47"/>
                <a:gd name="T20" fmla="*/ 51 w 55"/>
                <a:gd name="T21" fmla="*/ 47 h 47"/>
                <a:gd name="T22" fmla="*/ 54 w 55"/>
                <a:gd name="T23" fmla="*/ 45 h 47"/>
                <a:gd name="T24" fmla="*/ 55 w 55"/>
                <a:gd name="T25" fmla="*/ 41 h 47"/>
                <a:gd name="T26" fmla="*/ 55 w 55"/>
                <a:gd name="T27" fmla="*/ 4 h 47"/>
                <a:gd name="T28" fmla="*/ 55 w 55"/>
                <a:gd name="T29" fmla="*/ 4 h 47"/>
                <a:gd name="T30" fmla="*/ 54 w 55"/>
                <a:gd name="T31" fmla="*/ 1 h 47"/>
                <a:gd name="T32" fmla="*/ 51 w 55"/>
                <a:gd name="T33" fmla="*/ 0 h 47"/>
                <a:gd name="T34" fmla="*/ 51 w 55"/>
                <a:gd name="T3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47">
                  <a:moveTo>
                    <a:pt x="51" y="0"/>
                  </a:moveTo>
                  <a:lnTo>
                    <a:pt x="4" y="0"/>
                  </a:lnTo>
                  <a:lnTo>
                    <a:pt x="4" y="0"/>
                  </a:lnTo>
                  <a:lnTo>
                    <a:pt x="1" y="1"/>
                  </a:lnTo>
                  <a:lnTo>
                    <a:pt x="0" y="4"/>
                  </a:lnTo>
                  <a:lnTo>
                    <a:pt x="0" y="41"/>
                  </a:lnTo>
                  <a:lnTo>
                    <a:pt x="0" y="41"/>
                  </a:lnTo>
                  <a:lnTo>
                    <a:pt x="1" y="45"/>
                  </a:lnTo>
                  <a:lnTo>
                    <a:pt x="4" y="47"/>
                  </a:lnTo>
                  <a:lnTo>
                    <a:pt x="51" y="47"/>
                  </a:lnTo>
                  <a:lnTo>
                    <a:pt x="51" y="47"/>
                  </a:lnTo>
                  <a:lnTo>
                    <a:pt x="54" y="45"/>
                  </a:lnTo>
                  <a:lnTo>
                    <a:pt x="55" y="41"/>
                  </a:lnTo>
                  <a:lnTo>
                    <a:pt x="55" y="4"/>
                  </a:lnTo>
                  <a:lnTo>
                    <a:pt x="55" y="4"/>
                  </a:lnTo>
                  <a:lnTo>
                    <a:pt x="54" y="1"/>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7" name="Group 26">
            <a:extLst>
              <a:ext uri="{FF2B5EF4-FFF2-40B4-BE49-F238E27FC236}">
                <a16:creationId xmlns:a16="http://schemas.microsoft.com/office/drawing/2014/main" id="{D746A88B-B860-4C3A-9D44-F91E479CD15C}"/>
              </a:ext>
            </a:extLst>
          </p:cNvPr>
          <p:cNvGrpSpPr>
            <a:grpSpLocks noChangeAspect="1"/>
          </p:cNvGrpSpPr>
          <p:nvPr/>
        </p:nvGrpSpPr>
        <p:grpSpPr>
          <a:xfrm>
            <a:off x="935888" y="4348042"/>
            <a:ext cx="381544" cy="381544"/>
            <a:chOff x="2316163" y="825500"/>
            <a:chExt cx="522288" cy="522288"/>
          </a:xfrm>
          <a:solidFill>
            <a:schemeClr val="tx1"/>
          </a:solidFill>
        </p:grpSpPr>
        <p:sp>
          <p:nvSpPr>
            <p:cNvPr id="28" name="Freeform 9">
              <a:extLst>
                <a:ext uri="{FF2B5EF4-FFF2-40B4-BE49-F238E27FC236}">
                  <a16:creationId xmlns:a16="http://schemas.microsoft.com/office/drawing/2014/main" id="{BBE443DE-01DB-47D3-A2B8-7DD82B94E018}"/>
                </a:ext>
              </a:extLst>
            </p:cNvPr>
            <p:cNvSpPr>
              <a:spLocks noEditPoints="1"/>
            </p:cNvSpPr>
            <p:nvPr/>
          </p:nvSpPr>
          <p:spPr bwMode="auto">
            <a:xfrm>
              <a:off x="2316163" y="825500"/>
              <a:ext cx="522288" cy="522288"/>
            </a:xfrm>
            <a:custGeom>
              <a:avLst/>
              <a:gdLst>
                <a:gd name="T0" fmla="*/ 311 w 657"/>
                <a:gd name="T1" fmla="*/ 658 h 658"/>
                <a:gd name="T2" fmla="*/ 261 w 657"/>
                <a:gd name="T3" fmla="*/ 651 h 658"/>
                <a:gd name="T4" fmla="*/ 201 w 657"/>
                <a:gd name="T5" fmla="*/ 632 h 658"/>
                <a:gd name="T6" fmla="*/ 119 w 657"/>
                <a:gd name="T7" fmla="*/ 583 h 658"/>
                <a:gd name="T8" fmla="*/ 56 w 657"/>
                <a:gd name="T9" fmla="*/ 513 h 658"/>
                <a:gd name="T10" fmla="*/ 14 w 657"/>
                <a:gd name="T11" fmla="*/ 427 h 658"/>
                <a:gd name="T12" fmla="*/ 4 w 657"/>
                <a:gd name="T13" fmla="*/ 379 h 658"/>
                <a:gd name="T14" fmla="*/ 0 w 657"/>
                <a:gd name="T15" fmla="*/ 329 h 658"/>
                <a:gd name="T16" fmla="*/ 1 w 657"/>
                <a:gd name="T17" fmla="*/ 295 h 658"/>
                <a:gd name="T18" fmla="*/ 10 w 657"/>
                <a:gd name="T19" fmla="*/ 247 h 658"/>
                <a:gd name="T20" fmla="*/ 40 w 657"/>
                <a:gd name="T21" fmla="*/ 173 h 658"/>
                <a:gd name="T22" fmla="*/ 96 w 657"/>
                <a:gd name="T23" fmla="*/ 97 h 658"/>
                <a:gd name="T24" fmla="*/ 171 w 657"/>
                <a:gd name="T25" fmla="*/ 40 h 658"/>
                <a:gd name="T26" fmla="*/ 247 w 657"/>
                <a:gd name="T27" fmla="*/ 11 h 658"/>
                <a:gd name="T28" fmla="*/ 295 w 657"/>
                <a:gd name="T29" fmla="*/ 3 h 658"/>
                <a:gd name="T30" fmla="*/ 329 w 657"/>
                <a:gd name="T31" fmla="*/ 0 h 658"/>
                <a:gd name="T32" fmla="*/ 378 w 657"/>
                <a:gd name="T33" fmla="*/ 4 h 658"/>
                <a:gd name="T34" fmla="*/ 425 w 657"/>
                <a:gd name="T35" fmla="*/ 15 h 658"/>
                <a:gd name="T36" fmla="*/ 512 w 657"/>
                <a:gd name="T37" fmla="*/ 56 h 658"/>
                <a:gd name="T38" fmla="*/ 582 w 657"/>
                <a:gd name="T39" fmla="*/ 121 h 658"/>
                <a:gd name="T40" fmla="*/ 631 w 657"/>
                <a:gd name="T41" fmla="*/ 201 h 658"/>
                <a:gd name="T42" fmla="*/ 651 w 657"/>
                <a:gd name="T43" fmla="*/ 263 h 658"/>
                <a:gd name="T44" fmla="*/ 656 w 657"/>
                <a:gd name="T45" fmla="*/ 313 h 658"/>
                <a:gd name="T46" fmla="*/ 656 w 657"/>
                <a:gd name="T47" fmla="*/ 346 h 658"/>
                <a:gd name="T48" fmla="*/ 651 w 657"/>
                <a:gd name="T49" fmla="*/ 396 h 658"/>
                <a:gd name="T50" fmla="*/ 631 w 657"/>
                <a:gd name="T51" fmla="*/ 456 h 658"/>
                <a:gd name="T52" fmla="*/ 582 w 657"/>
                <a:gd name="T53" fmla="*/ 538 h 658"/>
                <a:gd name="T54" fmla="*/ 512 w 657"/>
                <a:gd name="T55" fmla="*/ 601 h 658"/>
                <a:gd name="T56" fmla="*/ 425 w 657"/>
                <a:gd name="T57" fmla="*/ 643 h 658"/>
                <a:gd name="T58" fmla="*/ 378 w 657"/>
                <a:gd name="T59" fmla="*/ 654 h 658"/>
                <a:gd name="T60" fmla="*/ 329 w 657"/>
                <a:gd name="T61" fmla="*/ 658 h 658"/>
                <a:gd name="T62" fmla="*/ 329 w 657"/>
                <a:gd name="T63" fmla="*/ 38 h 658"/>
                <a:gd name="T64" fmla="*/ 241 w 657"/>
                <a:gd name="T65" fmla="*/ 51 h 658"/>
                <a:gd name="T66" fmla="*/ 166 w 657"/>
                <a:gd name="T67" fmla="*/ 89 h 658"/>
                <a:gd name="T68" fmla="*/ 104 w 657"/>
                <a:gd name="T69" fmla="*/ 144 h 658"/>
                <a:gd name="T70" fmla="*/ 60 w 657"/>
                <a:gd name="T71" fmla="*/ 216 h 658"/>
                <a:gd name="T72" fmla="*/ 39 w 657"/>
                <a:gd name="T73" fmla="*/ 299 h 658"/>
                <a:gd name="T74" fmla="*/ 39 w 657"/>
                <a:gd name="T75" fmla="*/ 358 h 658"/>
                <a:gd name="T76" fmla="*/ 60 w 657"/>
                <a:gd name="T77" fmla="*/ 443 h 658"/>
                <a:gd name="T78" fmla="*/ 104 w 657"/>
                <a:gd name="T79" fmla="*/ 514 h 658"/>
                <a:gd name="T80" fmla="*/ 166 w 657"/>
                <a:gd name="T81" fmla="*/ 571 h 658"/>
                <a:gd name="T82" fmla="*/ 241 w 657"/>
                <a:gd name="T83" fmla="*/ 607 h 658"/>
                <a:gd name="T84" fmla="*/ 329 w 657"/>
                <a:gd name="T85" fmla="*/ 620 h 658"/>
                <a:gd name="T86" fmla="*/ 386 w 657"/>
                <a:gd name="T87" fmla="*/ 615 h 658"/>
                <a:gd name="T88" fmla="*/ 467 w 657"/>
                <a:gd name="T89" fmla="*/ 585 h 658"/>
                <a:gd name="T90" fmla="*/ 534 w 657"/>
                <a:gd name="T91" fmla="*/ 534 h 658"/>
                <a:gd name="T92" fmla="*/ 584 w 657"/>
                <a:gd name="T93" fmla="*/ 467 h 658"/>
                <a:gd name="T94" fmla="*/ 613 w 657"/>
                <a:gd name="T95" fmla="*/ 388 h 658"/>
                <a:gd name="T96" fmla="*/ 620 w 657"/>
                <a:gd name="T97" fmla="*/ 329 h 658"/>
                <a:gd name="T98" fmla="*/ 606 w 657"/>
                <a:gd name="T99" fmla="*/ 243 h 658"/>
                <a:gd name="T100" fmla="*/ 569 w 657"/>
                <a:gd name="T101" fmla="*/ 167 h 658"/>
                <a:gd name="T102" fmla="*/ 514 w 657"/>
                <a:gd name="T103" fmla="*/ 105 h 658"/>
                <a:gd name="T104" fmla="*/ 441 w 657"/>
                <a:gd name="T105" fmla="*/ 62 h 658"/>
                <a:gd name="T106" fmla="*/ 358 w 657"/>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1" y="658"/>
                  </a:lnTo>
                  <a:lnTo>
                    <a:pt x="295" y="657"/>
                  </a:lnTo>
                  <a:lnTo>
                    <a:pt x="279" y="654"/>
                  </a:lnTo>
                  <a:lnTo>
                    <a:pt x="261" y="651"/>
                  </a:lnTo>
                  <a:lnTo>
                    <a:pt x="247" y="647"/>
                  </a:lnTo>
                  <a:lnTo>
                    <a:pt x="231" y="643"/>
                  </a:lnTo>
                  <a:lnTo>
                    <a:pt x="201" y="632"/>
                  </a:lnTo>
                  <a:lnTo>
                    <a:pt x="171" y="618"/>
                  </a:lnTo>
                  <a:lnTo>
                    <a:pt x="145" y="601"/>
                  </a:lnTo>
                  <a:lnTo>
                    <a:pt x="119" y="583"/>
                  </a:lnTo>
                  <a:lnTo>
                    <a:pt x="96" y="561"/>
                  </a:lnTo>
                  <a:lnTo>
                    <a:pt x="75" y="538"/>
                  </a:lnTo>
                  <a:lnTo>
                    <a:pt x="56" y="513"/>
                  </a:lnTo>
                  <a:lnTo>
                    <a:pt x="40" y="486"/>
                  </a:lnTo>
                  <a:lnTo>
                    <a:pt x="25" y="456"/>
                  </a:lnTo>
                  <a:lnTo>
                    <a:pt x="14" y="427"/>
                  </a:lnTo>
                  <a:lnTo>
                    <a:pt x="10" y="411"/>
                  </a:lnTo>
                  <a:lnTo>
                    <a:pt x="6" y="396"/>
                  </a:lnTo>
                  <a:lnTo>
                    <a:pt x="4" y="379"/>
                  </a:lnTo>
                  <a:lnTo>
                    <a:pt x="1" y="363"/>
                  </a:lnTo>
                  <a:lnTo>
                    <a:pt x="0" y="346"/>
                  </a:lnTo>
                  <a:lnTo>
                    <a:pt x="0" y="329"/>
                  </a:lnTo>
                  <a:lnTo>
                    <a:pt x="0" y="329"/>
                  </a:lnTo>
                  <a:lnTo>
                    <a:pt x="0" y="313"/>
                  </a:lnTo>
                  <a:lnTo>
                    <a:pt x="1" y="295"/>
                  </a:lnTo>
                  <a:lnTo>
                    <a:pt x="4" y="279"/>
                  </a:lnTo>
                  <a:lnTo>
                    <a:pt x="6" y="263"/>
                  </a:lnTo>
                  <a:lnTo>
                    <a:pt x="10" y="247"/>
                  </a:lnTo>
                  <a:lnTo>
                    <a:pt x="14" y="232"/>
                  </a:lnTo>
                  <a:lnTo>
                    <a:pt x="25" y="201"/>
                  </a:lnTo>
                  <a:lnTo>
                    <a:pt x="40" y="173"/>
                  </a:lnTo>
                  <a:lnTo>
                    <a:pt x="56" y="145"/>
                  </a:lnTo>
                  <a:lnTo>
                    <a:pt x="75" y="121"/>
                  </a:lnTo>
                  <a:lnTo>
                    <a:pt x="96" y="97"/>
                  </a:lnTo>
                  <a:lnTo>
                    <a:pt x="119" y="75"/>
                  </a:lnTo>
                  <a:lnTo>
                    <a:pt x="145" y="56"/>
                  </a:lnTo>
                  <a:lnTo>
                    <a:pt x="171" y="40"/>
                  </a:lnTo>
                  <a:lnTo>
                    <a:pt x="201" y="27"/>
                  </a:lnTo>
                  <a:lnTo>
                    <a:pt x="231" y="15"/>
                  </a:lnTo>
                  <a:lnTo>
                    <a:pt x="247" y="11"/>
                  </a:lnTo>
                  <a:lnTo>
                    <a:pt x="261" y="7"/>
                  </a:lnTo>
                  <a:lnTo>
                    <a:pt x="279" y="4"/>
                  </a:lnTo>
                  <a:lnTo>
                    <a:pt x="295" y="3"/>
                  </a:lnTo>
                  <a:lnTo>
                    <a:pt x="311" y="1"/>
                  </a:lnTo>
                  <a:lnTo>
                    <a:pt x="329" y="0"/>
                  </a:lnTo>
                  <a:lnTo>
                    <a:pt x="329" y="0"/>
                  </a:lnTo>
                  <a:lnTo>
                    <a:pt x="345" y="1"/>
                  </a:lnTo>
                  <a:lnTo>
                    <a:pt x="362" y="3"/>
                  </a:lnTo>
                  <a:lnTo>
                    <a:pt x="378" y="4"/>
                  </a:lnTo>
                  <a:lnTo>
                    <a:pt x="394" y="7"/>
                  </a:lnTo>
                  <a:lnTo>
                    <a:pt x="410" y="11"/>
                  </a:lnTo>
                  <a:lnTo>
                    <a:pt x="425" y="15"/>
                  </a:lnTo>
                  <a:lnTo>
                    <a:pt x="456" y="27"/>
                  </a:lnTo>
                  <a:lnTo>
                    <a:pt x="484" y="40"/>
                  </a:lnTo>
                  <a:lnTo>
                    <a:pt x="512" y="56"/>
                  </a:lnTo>
                  <a:lnTo>
                    <a:pt x="537" y="75"/>
                  </a:lnTo>
                  <a:lnTo>
                    <a:pt x="561" y="97"/>
                  </a:lnTo>
                  <a:lnTo>
                    <a:pt x="582" y="121"/>
                  </a:lnTo>
                  <a:lnTo>
                    <a:pt x="601" y="145"/>
                  </a:lnTo>
                  <a:lnTo>
                    <a:pt x="617" y="173"/>
                  </a:lnTo>
                  <a:lnTo>
                    <a:pt x="631" y="201"/>
                  </a:lnTo>
                  <a:lnTo>
                    <a:pt x="643" y="232"/>
                  </a:lnTo>
                  <a:lnTo>
                    <a:pt x="647" y="247"/>
                  </a:lnTo>
                  <a:lnTo>
                    <a:pt x="651" y="263"/>
                  </a:lnTo>
                  <a:lnTo>
                    <a:pt x="653" y="279"/>
                  </a:lnTo>
                  <a:lnTo>
                    <a:pt x="655" y="295"/>
                  </a:lnTo>
                  <a:lnTo>
                    <a:pt x="656" y="313"/>
                  </a:lnTo>
                  <a:lnTo>
                    <a:pt x="657" y="329"/>
                  </a:lnTo>
                  <a:lnTo>
                    <a:pt x="657" y="329"/>
                  </a:lnTo>
                  <a:lnTo>
                    <a:pt x="656" y="346"/>
                  </a:lnTo>
                  <a:lnTo>
                    <a:pt x="655" y="363"/>
                  </a:lnTo>
                  <a:lnTo>
                    <a:pt x="653" y="379"/>
                  </a:lnTo>
                  <a:lnTo>
                    <a:pt x="651" y="396"/>
                  </a:lnTo>
                  <a:lnTo>
                    <a:pt x="647" y="411"/>
                  </a:lnTo>
                  <a:lnTo>
                    <a:pt x="643" y="427"/>
                  </a:lnTo>
                  <a:lnTo>
                    <a:pt x="631" y="456"/>
                  </a:lnTo>
                  <a:lnTo>
                    <a:pt x="617" y="486"/>
                  </a:lnTo>
                  <a:lnTo>
                    <a:pt x="601" y="513"/>
                  </a:lnTo>
                  <a:lnTo>
                    <a:pt x="582" y="538"/>
                  </a:lnTo>
                  <a:lnTo>
                    <a:pt x="561" y="561"/>
                  </a:lnTo>
                  <a:lnTo>
                    <a:pt x="537" y="583"/>
                  </a:lnTo>
                  <a:lnTo>
                    <a:pt x="512" y="601"/>
                  </a:lnTo>
                  <a:lnTo>
                    <a:pt x="484" y="618"/>
                  </a:lnTo>
                  <a:lnTo>
                    <a:pt x="456" y="632"/>
                  </a:lnTo>
                  <a:lnTo>
                    <a:pt x="425" y="643"/>
                  </a:lnTo>
                  <a:lnTo>
                    <a:pt x="410" y="647"/>
                  </a:lnTo>
                  <a:lnTo>
                    <a:pt x="394" y="651"/>
                  </a:lnTo>
                  <a:lnTo>
                    <a:pt x="378" y="654"/>
                  </a:lnTo>
                  <a:lnTo>
                    <a:pt x="362" y="657"/>
                  </a:lnTo>
                  <a:lnTo>
                    <a:pt x="345" y="658"/>
                  </a:lnTo>
                  <a:lnTo>
                    <a:pt x="329" y="658"/>
                  </a:lnTo>
                  <a:lnTo>
                    <a:pt x="329" y="658"/>
                  </a:lnTo>
                  <a:close/>
                  <a:moveTo>
                    <a:pt x="329" y="38"/>
                  </a:moveTo>
                  <a:lnTo>
                    <a:pt x="329" y="38"/>
                  </a:lnTo>
                  <a:lnTo>
                    <a:pt x="299" y="40"/>
                  </a:lnTo>
                  <a:lnTo>
                    <a:pt x="269" y="44"/>
                  </a:lnTo>
                  <a:lnTo>
                    <a:pt x="241" y="51"/>
                  </a:lnTo>
                  <a:lnTo>
                    <a:pt x="214" y="62"/>
                  </a:lnTo>
                  <a:lnTo>
                    <a:pt x="190" y="74"/>
                  </a:lnTo>
                  <a:lnTo>
                    <a:pt x="166" y="89"/>
                  </a:lnTo>
                  <a:lnTo>
                    <a:pt x="143" y="105"/>
                  </a:lnTo>
                  <a:lnTo>
                    <a:pt x="123" y="124"/>
                  </a:lnTo>
                  <a:lnTo>
                    <a:pt x="104" y="144"/>
                  </a:lnTo>
                  <a:lnTo>
                    <a:pt x="87" y="167"/>
                  </a:lnTo>
                  <a:lnTo>
                    <a:pt x="72" y="191"/>
                  </a:lnTo>
                  <a:lnTo>
                    <a:pt x="60" y="216"/>
                  </a:lnTo>
                  <a:lnTo>
                    <a:pt x="51" y="243"/>
                  </a:lnTo>
                  <a:lnTo>
                    <a:pt x="43" y="271"/>
                  </a:lnTo>
                  <a:lnTo>
                    <a:pt x="39" y="299"/>
                  </a:lnTo>
                  <a:lnTo>
                    <a:pt x="37" y="329"/>
                  </a:lnTo>
                  <a:lnTo>
                    <a:pt x="37" y="329"/>
                  </a:lnTo>
                  <a:lnTo>
                    <a:pt x="39" y="358"/>
                  </a:lnTo>
                  <a:lnTo>
                    <a:pt x="43" y="388"/>
                  </a:lnTo>
                  <a:lnTo>
                    <a:pt x="51" y="416"/>
                  </a:lnTo>
                  <a:lnTo>
                    <a:pt x="60" y="443"/>
                  </a:lnTo>
                  <a:lnTo>
                    <a:pt x="72" y="467"/>
                  </a:lnTo>
                  <a:lnTo>
                    <a:pt x="87" y="491"/>
                  </a:lnTo>
                  <a:lnTo>
                    <a:pt x="104" y="514"/>
                  </a:lnTo>
                  <a:lnTo>
                    <a:pt x="123" y="534"/>
                  </a:lnTo>
                  <a:lnTo>
                    <a:pt x="143" y="553"/>
                  </a:lnTo>
                  <a:lnTo>
                    <a:pt x="166" y="571"/>
                  </a:lnTo>
                  <a:lnTo>
                    <a:pt x="190" y="585"/>
                  </a:lnTo>
                  <a:lnTo>
                    <a:pt x="214" y="597"/>
                  </a:lnTo>
                  <a:lnTo>
                    <a:pt x="241" y="607"/>
                  </a:lnTo>
                  <a:lnTo>
                    <a:pt x="269" y="615"/>
                  </a:lnTo>
                  <a:lnTo>
                    <a:pt x="299" y="619"/>
                  </a:lnTo>
                  <a:lnTo>
                    <a:pt x="329" y="620"/>
                  </a:lnTo>
                  <a:lnTo>
                    <a:pt x="329" y="620"/>
                  </a:lnTo>
                  <a:lnTo>
                    <a:pt x="358" y="619"/>
                  </a:lnTo>
                  <a:lnTo>
                    <a:pt x="386" y="615"/>
                  </a:lnTo>
                  <a:lnTo>
                    <a:pt x="414" y="607"/>
                  </a:lnTo>
                  <a:lnTo>
                    <a:pt x="441" y="597"/>
                  </a:lnTo>
                  <a:lnTo>
                    <a:pt x="467" y="585"/>
                  </a:lnTo>
                  <a:lnTo>
                    <a:pt x="491" y="571"/>
                  </a:lnTo>
                  <a:lnTo>
                    <a:pt x="514" y="553"/>
                  </a:lnTo>
                  <a:lnTo>
                    <a:pt x="534" y="534"/>
                  </a:lnTo>
                  <a:lnTo>
                    <a:pt x="553" y="514"/>
                  </a:lnTo>
                  <a:lnTo>
                    <a:pt x="569" y="491"/>
                  </a:lnTo>
                  <a:lnTo>
                    <a:pt x="584" y="467"/>
                  </a:lnTo>
                  <a:lnTo>
                    <a:pt x="596" y="443"/>
                  </a:lnTo>
                  <a:lnTo>
                    <a:pt x="606" y="416"/>
                  </a:lnTo>
                  <a:lnTo>
                    <a:pt x="613" y="388"/>
                  </a:lnTo>
                  <a:lnTo>
                    <a:pt x="617" y="358"/>
                  </a:lnTo>
                  <a:lnTo>
                    <a:pt x="620" y="329"/>
                  </a:lnTo>
                  <a:lnTo>
                    <a:pt x="620" y="329"/>
                  </a:lnTo>
                  <a:lnTo>
                    <a:pt x="617" y="299"/>
                  </a:lnTo>
                  <a:lnTo>
                    <a:pt x="613" y="271"/>
                  </a:lnTo>
                  <a:lnTo>
                    <a:pt x="606" y="243"/>
                  </a:lnTo>
                  <a:lnTo>
                    <a:pt x="596" y="216"/>
                  </a:lnTo>
                  <a:lnTo>
                    <a:pt x="584" y="191"/>
                  </a:lnTo>
                  <a:lnTo>
                    <a:pt x="569" y="167"/>
                  </a:lnTo>
                  <a:lnTo>
                    <a:pt x="553" y="144"/>
                  </a:lnTo>
                  <a:lnTo>
                    <a:pt x="534" y="124"/>
                  </a:lnTo>
                  <a:lnTo>
                    <a:pt x="514" y="105"/>
                  </a:lnTo>
                  <a:lnTo>
                    <a:pt x="491" y="89"/>
                  </a:lnTo>
                  <a:lnTo>
                    <a:pt x="467" y="74"/>
                  </a:lnTo>
                  <a:lnTo>
                    <a:pt x="441" y="62"/>
                  </a:lnTo>
                  <a:lnTo>
                    <a:pt x="414" y="51"/>
                  </a:lnTo>
                  <a:lnTo>
                    <a:pt x="386" y="44"/>
                  </a:lnTo>
                  <a:lnTo>
                    <a:pt x="358" y="40"/>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85">
              <a:extLst>
                <a:ext uri="{FF2B5EF4-FFF2-40B4-BE49-F238E27FC236}">
                  <a16:creationId xmlns:a16="http://schemas.microsoft.com/office/drawing/2014/main" id="{DE7121AD-13D0-404A-9E1D-8E5661830E2B}"/>
                </a:ext>
              </a:extLst>
            </p:cNvPr>
            <p:cNvSpPr>
              <a:spLocks/>
            </p:cNvSpPr>
            <p:nvPr/>
          </p:nvSpPr>
          <p:spPr bwMode="auto">
            <a:xfrm>
              <a:off x="2468563" y="1131888"/>
              <a:ext cx="217488" cy="77788"/>
            </a:xfrm>
            <a:custGeom>
              <a:avLst/>
              <a:gdLst>
                <a:gd name="T0" fmla="*/ 185 w 272"/>
                <a:gd name="T1" fmla="*/ 17 h 98"/>
                <a:gd name="T2" fmla="*/ 202 w 272"/>
                <a:gd name="T3" fmla="*/ 20 h 98"/>
                <a:gd name="T4" fmla="*/ 228 w 272"/>
                <a:gd name="T5" fmla="*/ 27 h 98"/>
                <a:gd name="T6" fmla="*/ 244 w 272"/>
                <a:gd name="T7" fmla="*/ 35 h 98"/>
                <a:gd name="T8" fmla="*/ 252 w 272"/>
                <a:gd name="T9" fmla="*/ 43 h 98"/>
                <a:gd name="T10" fmla="*/ 253 w 272"/>
                <a:gd name="T11" fmla="*/ 47 h 98"/>
                <a:gd name="T12" fmla="*/ 252 w 272"/>
                <a:gd name="T13" fmla="*/ 52 h 98"/>
                <a:gd name="T14" fmla="*/ 236 w 272"/>
                <a:gd name="T15" fmla="*/ 63 h 98"/>
                <a:gd name="T16" fmla="*/ 205 w 272"/>
                <a:gd name="T17" fmla="*/ 72 h 98"/>
                <a:gd name="T18" fmla="*/ 162 w 272"/>
                <a:gd name="T19" fmla="*/ 79 h 98"/>
                <a:gd name="T20" fmla="*/ 137 w 272"/>
                <a:gd name="T21" fmla="*/ 79 h 98"/>
                <a:gd name="T22" fmla="*/ 88 w 272"/>
                <a:gd name="T23" fmla="*/ 76 h 98"/>
                <a:gd name="T24" fmla="*/ 51 w 272"/>
                <a:gd name="T25" fmla="*/ 68 h 98"/>
                <a:gd name="T26" fmla="*/ 28 w 272"/>
                <a:gd name="T27" fmla="*/ 57 h 98"/>
                <a:gd name="T28" fmla="*/ 20 w 272"/>
                <a:gd name="T29" fmla="*/ 49 h 98"/>
                <a:gd name="T30" fmla="*/ 18 w 272"/>
                <a:gd name="T31" fmla="*/ 47 h 98"/>
                <a:gd name="T32" fmla="*/ 22 w 272"/>
                <a:gd name="T33" fmla="*/ 40 h 98"/>
                <a:gd name="T34" fmla="*/ 36 w 272"/>
                <a:gd name="T35" fmla="*/ 31 h 98"/>
                <a:gd name="T36" fmla="*/ 56 w 272"/>
                <a:gd name="T37" fmla="*/ 24 h 98"/>
                <a:gd name="T38" fmla="*/ 87 w 272"/>
                <a:gd name="T39" fmla="*/ 17 h 98"/>
                <a:gd name="T40" fmla="*/ 73 w 272"/>
                <a:gd name="T41" fmla="*/ 0 h 98"/>
                <a:gd name="T42" fmla="*/ 40 w 272"/>
                <a:gd name="T43" fmla="*/ 9 h 98"/>
                <a:gd name="T44" fmla="*/ 17 w 272"/>
                <a:gd name="T45" fmla="*/ 20 h 98"/>
                <a:gd name="T46" fmla="*/ 5 w 272"/>
                <a:gd name="T47" fmla="*/ 31 h 98"/>
                <a:gd name="T48" fmla="*/ 1 w 272"/>
                <a:gd name="T49" fmla="*/ 41 h 98"/>
                <a:gd name="T50" fmla="*/ 0 w 272"/>
                <a:gd name="T51" fmla="*/ 47 h 98"/>
                <a:gd name="T52" fmla="*/ 4 w 272"/>
                <a:gd name="T53" fmla="*/ 59 h 98"/>
                <a:gd name="T54" fmla="*/ 12 w 272"/>
                <a:gd name="T55" fmla="*/ 68 h 98"/>
                <a:gd name="T56" fmla="*/ 25 w 272"/>
                <a:gd name="T57" fmla="*/ 78 h 98"/>
                <a:gd name="T58" fmla="*/ 64 w 272"/>
                <a:gd name="T59" fmla="*/ 91 h 98"/>
                <a:gd name="T60" fmla="*/ 111 w 272"/>
                <a:gd name="T61" fmla="*/ 98 h 98"/>
                <a:gd name="T62" fmla="*/ 137 w 272"/>
                <a:gd name="T63" fmla="*/ 98 h 98"/>
                <a:gd name="T64" fmla="*/ 186 w 272"/>
                <a:gd name="T65" fmla="*/ 95 h 98"/>
                <a:gd name="T66" fmla="*/ 229 w 272"/>
                <a:gd name="T67" fmla="*/ 84 h 98"/>
                <a:gd name="T68" fmla="*/ 255 w 272"/>
                <a:gd name="T69" fmla="*/ 74 h 98"/>
                <a:gd name="T70" fmla="*/ 265 w 272"/>
                <a:gd name="T71" fmla="*/ 64 h 98"/>
                <a:gd name="T72" fmla="*/ 271 w 272"/>
                <a:gd name="T73" fmla="*/ 52 h 98"/>
                <a:gd name="T74" fmla="*/ 272 w 272"/>
                <a:gd name="T75" fmla="*/ 47 h 98"/>
                <a:gd name="T76" fmla="*/ 269 w 272"/>
                <a:gd name="T77" fmla="*/ 36 h 98"/>
                <a:gd name="T78" fmla="*/ 264 w 272"/>
                <a:gd name="T79" fmla="*/ 27 h 98"/>
                <a:gd name="T80" fmla="*/ 244 w 272"/>
                <a:gd name="T81" fmla="*/ 13 h 98"/>
                <a:gd name="T82" fmla="*/ 220 w 272"/>
                <a:gd name="T83" fmla="*/ 5 h 98"/>
                <a:gd name="T84" fmla="*/ 197 w 272"/>
                <a:gd name="T85"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2" h="98">
                  <a:moveTo>
                    <a:pt x="197" y="0"/>
                  </a:moveTo>
                  <a:lnTo>
                    <a:pt x="185" y="17"/>
                  </a:lnTo>
                  <a:lnTo>
                    <a:pt x="185" y="17"/>
                  </a:lnTo>
                  <a:lnTo>
                    <a:pt x="202" y="20"/>
                  </a:lnTo>
                  <a:lnTo>
                    <a:pt x="216" y="24"/>
                  </a:lnTo>
                  <a:lnTo>
                    <a:pt x="228" y="27"/>
                  </a:lnTo>
                  <a:lnTo>
                    <a:pt x="237" y="31"/>
                  </a:lnTo>
                  <a:lnTo>
                    <a:pt x="244" y="35"/>
                  </a:lnTo>
                  <a:lnTo>
                    <a:pt x="249" y="40"/>
                  </a:lnTo>
                  <a:lnTo>
                    <a:pt x="252" y="43"/>
                  </a:lnTo>
                  <a:lnTo>
                    <a:pt x="253" y="47"/>
                  </a:lnTo>
                  <a:lnTo>
                    <a:pt x="253" y="47"/>
                  </a:lnTo>
                  <a:lnTo>
                    <a:pt x="253" y="49"/>
                  </a:lnTo>
                  <a:lnTo>
                    <a:pt x="252" y="52"/>
                  </a:lnTo>
                  <a:lnTo>
                    <a:pt x="245" y="57"/>
                  </a:lnTo>
                  <a:lnTo>
                    <a:pt x="236" y="63"/>
                  </a:lnTo>
                  <a:lnTo>
                    <a:pt x="221" y="68"/>
                  </a:lnTo>
                  <a:lnTo>
                    <a:pt x="205" y="72"/>
                  </a:lnTo>
                  <a:lnTo>
                    <a:pt x="185" y="76"/>
                  </a:lnTo>
                  <a:lnTo>
                    <a:pt x="162" y="79"/>
                  </a:lnTo>
                  <a:lnTo>
                    <a:pt x="137" y="79"/>
                  </a:lnTo>
                  <a:lnTo>
                    <a:pt x="137" y="79"/>
                  </a:lnTo>
                  <a:lnTo>
                    <a:pt x="111" y="79"/>
                  </a:lnTo>
                  <a:lnTo>
                    <a:pt x="88" y="76"/>
                  </a:lnTo>
                  <a:lnTo>
                    <a:pt x="68" y="72"/>
                  </a:lnTo>
                  <a:lnTo>
                    <a:pt x="51" y="68"/>
                  </a:lnTo>
                  <a:lnTo>
                    <a:pt x="37" y="63"/>
                  </a:lnTo>
                  <a:lnTo>
                    <a:pt x="28" y="57"/>
                  </a:lnTo>
                  <a:lnTo>
                    <a:pt x="21" y="52"/>
                  </a:lnTo>
                  <a:lnTo>
                    <a:pt x="20" y="49"/>
                  </a:lnTo>
                  <a:lnTo>
                    <a:pt x="18" y="47"/>
                  </a:lnTo>
                  <a:lnTo>
                    <a:pt x="18" y="47"/>
                  </a:lnTo>
                  <a:lnTo>
                    <a:pt x="20" y="43"/>
                  </a:lnTo>
                  <a:lnTo>
                    <a:pt x="22" y="40"/>
                  </a:lnTo>
                  <a:lnTo>
                    <a:pt x="28" y="36"/>
                  </a:lnTo>
                  <a:lnTo>
                    <a:pt x="36" y="31"/>
                  </a:lnTo>
                  <a:lnTo>
                    <a:pt x="45" y="27"/>
                  </a:lnTo>
                  <a:lnTo>
                    <a:pt x="56" y="24"/>
                  </a:lnTo>
                  <a:lnTo>
                    <a:pt x="71" y="20"/>
                  </a:lnTo>
                  <a:lnTo>
                    <a:pt x="87" y="17"/>
                  </a:lnTo>
                  <a:lnTo>
                    <a:pt x="73" y="0"/>
                  </a:lnTo>
                  <a:lnTo>
                    <a:pt x="73" y="0"/>
                  </a:lnTo>
                  <a:lnTo>
                    <a:pt x="53" y="5"/>
                  </a:lnTo>
                  <a:lnTo>
                    <a:pt x="40" y="9"/>
                  </a:lnTo>
                  <a:lnTo>
                    <a:pt x="28" y="13"/>
                  </a:lnTo>
                  <a:lnTo>
                    <a:pt x="17" y="20"/>
                  </a:lnTo>
                  <a:lnTo>
                    <a:pt x="9" y="27"/>
                  </a:lnTo>
                  <a:lnTo>
                    <a:pt x="5" y="31"/>
                  </a:lnTo>
                  <a:lnTo>
                    <a:pt x="2" y="36"/>
                  </a:lnTo>
                  <a:lnTo>
                    <a:pt x="1" y="41"/>
                  </a:lnTo>
                  <a:lnTo>
                    <a:pt x="0" y="47"/>
                  </a:lnTo>
                  <a:lnTo>
                    <a:pt x="0" y="47"/>
                  </a:lnTo>
                  <a:lnTo>
                    <a:pt x="1" y="52"/>
                  </a:lnTo>
                  <a:lnTo>
                    <a:pt x="4" y="59"/>
                  </a:lnTo>
                  <a:lnTo>
                    <a:pt x="8" y="64"/>
                  </a:lnTo>
                  <a:lnTo>
                    <a:pt x="12" y="68"/>
                  </a:lnTo>
                  <a:lnTo>
                    <a:pt x="18" y="74"/>
                  </a:lnTo>
                  <a:lnTo>
                    <a:pt x="25" y="78"/>
                  </a:lnTo>
                  <a:lnTo>
                    <a:pt x="43" y="84"/>
                  </a:lnTo>
                  <a:lnTo>
                    <a:pt x="64" y="91"/>
                  </a:lnTo>
                  <a:lnTo>
                    <a:pt x="87" y="95"/>
                  </a:lnTo>
                  <a:lnTo>
                    <a:pt x="111" y="98"/>
                  </a:lnTo>
                  <a:lnTo>
                    <a:pt x="137" y="98"/>
                  </a:lnTo>
                  <a:lnTo>
                    <a:pt x="137" y="98"/>
                  </a:lnTo>
                  <a:lnTo>
                    <a:pt x="162" y="98"/>
                  </a:lnTo>
                  <a:lnTo>
                    <a:pt x="186" y="95"/>
                  </a:lnTo>
                  <a:lnTo>
                    <a:pt x="209" y="91"/>
                  </a:lnTo>
                  <a:lnTo>
                    <a:pt x="229" y="84"/>
                  </a:lnTo>
                  <a:lnTo>
                    <a:pt x="247" y="78"/>
                  </a:lnTo>
                  <a:lnTo>
                    <a:pt x="255" y="74"/>
                  </a:lnTo>
                  <a:lnTo>
                    <a:pt x="260" y="68"/>
                  </a:lnTo>
                  <a:lnTo>
                    <a:pt x="265" y="64"/>
                  </a:lnTo>
                  <a:lnTo>
                    <a:pt x="269" y="59"/>
                  </a:lnTo>
                  <a:lnTo>
                    <a:pt x="271" y="52"/>
                  </a:lnTo>
                  <a:lnTo>
                    <a:pt x="272" y="47"/>
                  </a:lnTo>
                  <a:lnTo>
                    <a:pt x="272" y="47"/>
                  </a:lnTo>
                  <a:lnTo>
                    <a:pt x="272" y="41"/>
                  </a:lnTo>
                  <a:lnTo>
                    <a:pt x="269" y="36"/>
                  </a:lnTo>
                  <a:lnTo>
                    <a:pt x="267" y="31"/>
                  </a:lnTo>
                  <a:lnTo>
                    <a:pt x="264" y="27"/>
                  </a:lnTo>
                  <a:lnTo>
                    <a:pt x="255" y="20"/>
                  </a:lnTo>
                  <a:lnTo>
                    <a:pt x="244" y="13"/>
                  </a:lnTo>
                  <a:lnTo>
                    <a:pt x="232" y="8"/>
                  </a:lnTo>
                  <a:lnTo>
                    <a:pt x="220" y="5"/>
                  </a:lnTo>
                  <a:lnTo>
                    <a:pt x="197" y="0"/>
                  </a:lnTo>
                  <a:lnTo>
                    <a:pt x="19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86">
              <a:extLst>
                <a:ext uri="{FF2B5EF4-FFF2-40B4-BE49-F238E27FC236}">
                  <a16:creationId xmlns:a16="http://schemas.microsoft.com/office/drawing/2014/main" id="{8AAD5B84-2A8D-486E-B3E1-5A184C6E4251}"/>
                </a:ext>
              </a:extLst>
            </p:cNvPr>
            <p:cNvSpPr>
              <a:spLocks noEditPoints="1"/>
            </p:cNvSpPr>
            <p:nvPr/>
          </p:nvSpPr>
          <p:spPr bwMode="auto">
            <a:xfrm>
              <a:off x="2489201" y="947738"/>
              <a:ext cx="176213" cy="225425"/>
            </a:xfrm>
            <a:custGeom>
              <a:avLst/>
              <a:gdLst>
                <a:gd name="T0" fmla="*/ 112 w 222"/>
                <a:gd name="T1" fmla="*/ 285 h 285"/>
                <a:gd name="T2" fmla="*/ 116 w 222"/>
                <a:gd name="T3" fmla="*/ 283 h 285"/>
                <a:gd name="T4" fmla="*/ 133 w 222"/>
                <a:gd name="T5" fmla="*/ 263 h 285"/>
                <a:gd name="T6" fmla="*/ 171 w 222"/>
                <a:gd name="T7" fmla="*/ 218 h 285"/>
                <a:gd name="T8" fmla="*/ 197 w 222"/>
                <a:gd name="T9" fmla="*/ 175 h 285"/>
                <a:gd name="T10" fmla="*/ 212 w 222"/>
                <a:gd name="T11" fmla="*/ 146 h 285"/>
                <a:gd name="T12" fmla="*/ 220 w 222"/>
                <a:gd name="T13" fmla="*/ 120 h 285"/>
                <a:gd name="T14" fmla="*/ 222 w 222"/>
                <a:gd name="T15" fmla="*/ 106 h 285"/>
                <a:gd name="T16" fmla="*/ 219 w 222"/>
                <a:gd name="T17" fmla="*/ 83 h 285"/>
                <a:gd name="T18" fmla="*/ 212 w 222"/>
                <a:gd name="T19" fmla="*/ 62 h 285"/>
                <a:gd name="T20" fmla="*/ 201 w 222"/>
                <a:gd name="T21" fmla="*/ 44 h 285"/>
                <a:gd name="T22" fmla="*/ 187 w 222"/>
                <a:gd name="T23" fmla="*/ 28 h 285"/>
                <a:gd name="T24" fmla="*/ 171 w 222"/>
                <a:gd name="T25" fmla="*/ 16 h 285"/>
                <a:gd name="T26" fmla="*/ 152 w 222"/>
                <a:gd name="T27" fmla="*/ 8 h 285"/>
                <a:gd name="T28" fmla="*/ 132 w 222"/>
                <a:gd name="T29" fmla="*/ 3 h 285"/>
                <a:gd name="T30" fmla="*/ 112 w 222"/>
                <a:gd name="T31" fmla="*/ 0 h 285"/>
                <a:gd name="T32" fmla="*/ 101 w 222"/>
                <a:gd name="T33" fmla="*/ 1 h 285"/>
                <a:gd name="T34" fmla="*/ 81 w 222"/>
                <a:gd name="T35" fmla="*/ 4 h 285"/>
                <a:gd name="T36" fmla="*/ 62 w 222"/>
                <a:gd name="T37" fmla="*/ 12 h 285"/>
                <a:gd name="T38" fmla="*/ 43 w 222"/>
                <a:gd name="T39" fmla="*/ 23 h 285"/>
                <a:gd name="T40" fmla="*/ 28 w 222"/>
                <a:gd name="T41" fmla="*/ 36 h 285"/>
                <a:gd name="T42" fmla="*/ 15 w 222"/>
                <a:gd name="T43" fmla="*/ 52 h 285"/>
                <a:gd name="T44" fmla="*/ 5 w 222"/>
                <a:gd name="T45" fmla="*/ 73 h 285"/>
                <a:gd name="T46" fmla="*/ 1 w 222"/>
                <a:gd name="T47" fmla="*/ 94 h 285"/>
                <a:gd name="T48" fmla="*/ 0 w 222"/>
                <a:gd name="T49" fmla="*/ 106 h 285"/>
                <a:gd name="T50" fmla="*/ 5 w 222"/>
                <a:gd name="T51" fmla="*/ 133 h 285"/>
                <a:gd name="T52" fmla="*/ 16 w 222"/>
                <a:gd name="T53" fmla="*/ 161 h 285"/>
                <a:gd name="T54" fmla="*/ 34 w 222"/>
                <a:gd name="T55" fmla="*/ 189 h 285"/>
                <a:gd name="T56" fmla="*/ 71 w 222"/>
                <a:gd name="T57" fmla="*/ 242 h 285"/>
                <a:gd name="T58" fmla="*/ 107 w 222"/>
                <a:gd name="T59" fmla="*/ 283 h 285"/>
                <a:gd name="T60" fmla="*/ 109 w 222"/>
                <a:gd name="T61" fmla="*/ 285 h 285"/>
                <a:gd name="T62" fmla="*/ 112 w 222"/>
                <a:gd name="T63" fmla="*/ 285 h 285"/>
                <a:gd name="T64" fmla="*/ 74 w 222"/>
                <a:gd name="T65" fmla="*/ 112 h 285"/>
                <a:gd name="T66" fmla="*/ 77 w 222"/>
                <a:gd name="T67" fmla="*/ 97 h 285"/>
                <a:gd name="T68" fmla="*/ 85 w 222"/>
                <a:gd name="T69" fmla="*/ 86 h 285"/>
                <a:gd name="T70" fmla="*/ 97 w 222"/>
                <a:gd name="T71" fmla="*/ 78 h 285"/>
                <a:gd name="T72" fmla="*/ 112 w 222"/>
                <a:gd name="T73" fmla="*/ 74 h 285"/>
                <a:gd name="T74" fmla="*/ 118 w 222"/>
                <a:gd name="T75" fmla="*/ 75 h 285"/>
                <a:gd name="T76" fmla="*/ 132 w 222"/>
                <a:gd name="T77" fmla="*/ 81 h 285"/>
                <a:gd name="T78" fmla="*/ 142 w 222"/>
                <a:gd name="T79" fmla="*/ 91 h 285"/>
                <a:gd name="T80" fmla="*/ 148 w 222"/>
                <a:gd name="T81" fmla="*/ 103 h 285"/>
                <a:gd name="T82" fmla="*/ 148 w 222"/>
                <a:gd name="T83" fmla="*/ 112 h 285"/>
                <a:gd name="T84" fmla="*/ 145 w 222"/>
                <a:gd name="T85" fmla="*/ 126 h 285"/>
                <a:gd name="T86" fmla="*/ 137 w 222"/>
                <a:gd name="T87" fmla="*/ 137 h 285"/>
                <a:gd name="T88" fmla="*/ 125 w 222"/>
                <a:gd name="T89" fmla="*/ 145 h 285"/>
                <a:gd name="T90" fmla="*/ 112 w 222"/>
                <a:gd name="T91" fmla="*/ 149 h 285"/>
                <a:gd name="T92" fmla="*/ 103 w 222"/>
                <a:gd name="T93" fmla="*/ 148 h 285"/>
                <a:gd name="T94" fmla="*/ 90 w 222"/>
                <a:gd name="T95" fmla="*/ 142 h 285"/>
                <a:gd name="T96" fmla="*/ 81 w 222"/>
                <a:gd name="T97" fmla="*/ 132 h 285"/>
                <a:gd name="T98" fmla="*/ 75 w 222"/>
                <a:gd name="T99" fmla="*/ 120 h 285"/>
                <a:gd name="T100" fmla="*/ 74 w 222"/>
                <a:gd name="T101" fmla="*/ 11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22" h="285">
                  <a:moveTo>
                    <a:pt x="112" y="285"/>
                  </a:moveTo>
                  <a:lnTo>
                    <a:pt x="112" y="285"/>
                  </a:lnTo>
                  <a:lnTo>
                    <a:pt x="113" y="285"/>
                  </a:lnTo>
                  <a:lnTo>
                    <a:pt x="116" y="283"/>
                  </a:lnTo>
                  <a:lnTo>
                    <a:pt x="116" y="283"/>
                  </a:lnTo>
                  <a:lnTo>
                    <a:pt x="133" y="263"/>
                  </a:lnTo>
                  <a:lnTo>
                    <a:pt x="150" y="242"/>
                  </a:lnTo>
                  <a:lnTo>
                    <a:pt x="171" y="218"/>
                  </a:lnTo>
                  <a:lnTo>
                    <a:pt x="189" y="189"/>
                  </a:lnTo>
                  <a:lnTo>
                    <a:pt x="197" y="175"/>
                  </a:lnTo>
                  <a:lnTo>
                    <a:pt x="206" y="161"/>
                  </a:lnTo>
                  <a:lnTo>
                    <a:pt x="212" y="146"/>
                  </a:lnTo>
                  <a:lnTo>
                    <a:pt x="218" y="133"/>
                  </a:lnTo>
                  <a:lnTo>
                    <a:pt x="220" y="120"/>
                  </a:lnTo>
                  <a:lnTo>
                    <a:pt x="222" y="106"/>
                  </a:lnTo>
                  <a:lnTo>
                    <a:pt x="222" y="106"/>
                  </a:lnTo>
                  <a:lnTo>
                    <a:pt x="222" y="94"/>
                  </a:lnTo>
                  <a:lnTo>
                    <a:pt x="219" y="83"/>
                  </a:lnTo>
                  <a:lnTo>
                    <a:pt x="216" y="73"/>
                  </a:lnTo>
                  <a:lnTo>
                    <a:pt x="212" y="62"/>
                  </a:lnTo>
                  <a:lnTo>
                    <a:pt x="207" y="52"/>
                  </a:lnTo>
                  <a:lnTo>
                    <a:pt x="201" y="44"/>
                  </a:lnTo>
                  <a:lnTo>
                    <a:pt x="195" y="36"/>
                  </a:lnTo>
                  <a:lnTo>
                    <a:pt x="187" y="28"/>
                  </a:lnTo>
                  <a:lnTo>
                    <a:pt x="179" y="23"/>
                  </a:lnTo>
                  <a:lnTo>
                    <a:pt x="171" y="16"/>
                  </a:lnTo>
                  <a:lnTo>
                    <a:pt x="161" y="12"/>
                  </a:lnTo>
                  <a:lnTo>
                    <a:pt x="152" y="8"/>
                  </a:lnTo>
                  <a:lnTo>
                    <a:pt x="141" y="4"/>
                  </a:lnTo>
                  <a:lnTo>
                    <a:pt x="132" y="3"/>
                  </a:lnTo>
                  <a:lnTo>
                    <a:pt x="121" y="1"/>
                  </a:lnTo>
                  <a:lnTo>
                    <a:pt x="112" y="0"/>
                  </a:lnTo>
                  <a:lnTo>
                    <a:pt x="112" y="0"/>
                  </a:lnTo>
                  <a:lnTo>
                    <a:pt x="101" y="1"/>
                  </a:lnTo>
                  <a:lnTo>
                    <a:pt x="91" y="3"/>
                  </a:lnTo>
                  <a:lnTo>
                    <a:pt x="81" y="4"/>
                  </a:lnTo>
                  <a:lnTo>
                    <a:pt x="71" y="8"/>
                  </a:lnTo>
                  <a:lnTo>
                    <a:pt x="62" y="12"/>
                  </a:lnTo>
                  <a:lnTo>
                    <a:pt x="52" y="16"/>
                  </a:lnTo>
                  <a:lnTo>
                    <a:pt x="43" y="23"/>
                  </a:lnTo>
                  <a:lnTo>
                    <a:pt x="35" y="28"/>
                  </a:lnTo>
                  <a:lnTo>
                    <a:pt x="28" y="36"/>
                  </a:lnTo>
                  <a:lnTo>
                    <a:pt x="22" y="44"/>
                  </a:lnTo>
                  <a:lnTo>
                    <a:pt x="15" y="52"/>
                  </a:lnTo>
                  <a:lnTo>
                    <a:pt x="9" y="62"/>
                  </a:lnTo>
                  <a:lnTo>
                    <a:pt x="5" y="73"/>
                  </a:lnTo>
                  <a:lnTo>
                    <a:pt x="3" y="83"/>
                  </a:lnTo>
                  <a:lnTo>
                    <a:pt x="1" y="94"/>
                  </a:lnTo>
                  <a:lnTo>
                    <a:pt x="0" y="106"/>
                  </a:lnTo>
                  <a:lnTo>
                    <a:pt x="0" y="106"/>
                  </a:lnTo>
                  <a:lnTo>
                    <a:pt x="1" y="120"/>
                  </a:lnTo>
                  <a:lnTo>
                    <a:pt x="5" y="133"/>
                  </a:lnTo>
                  <a:lnTo>
                    <a:pt x="9" y="146"/>
                  </a:lnTo>
                  <a:lnTo>
                    <a:pt x="16" y="161"/>
                  </a:lnTo>
                  <a:lnTo>
                    <a:pt x="24" y="175"/>
                  </a:lnTo>
                  <a:lnTo>
                    <a:pt x="34" y="189"/>
                  </a:lnTo>
                  <a:lnTo>
                    <a:pt x="52" y="218"/>
                  </a:lnTo>
                  <a:lnTo>
                    <a:pt x="71" y="242"/>
                  </a:lnTo>
                  <a:lnTo>
                    <a:pt x="89" y="263"/>
                  </a:lnTo>
                  <a:lnTo>
                    <a:pt x="107" y="283"/>
                  </a:lnTo>
                  <a:lnTo>
                    <a:pt x="107" y="283"/>
                  </a:lnTo>
                  <a:lnTo>
                    <a:pt x="109" y="285"/>
                  </a:lnTo>
                  <a:lnTo>
                    <a:pt x="112" y="285"/>
                  </a:lnTo>
                  <a:lnTo>
                    <a:pt x="112" y="285"/>
                  </a:lnTo>
                  <a:close/>
                  <a:moveTo>
                    <a:pt x="74" y="112"/>
                  </a:moveTo>
                  <a:lnTo>
                    <a:pt x="74" y="112"/>
                  </a:lnTo>
                  <a:lnTo>
                    <a:pt x="75" y="103"/>
                  </a:lnTo>
                  <a:lnTo>
                    <a:pt x="77" y="97"/>
                  </a:lnTo>
                  <a:lnTo>
                    <a:pt x="81" y="91"/>
                  </a:lnTo>
                  <a:lnTo>
                    <a:pt x="85" y="86"/>
                  </a:lnTo>
                  <a:lnTo>
                    <a:pt x="90" y="81"/>
                  </a:lnTo>
                  <a:lnTo>
                    <a:pt x="97" y="78"/>
                  </a:lnTo>
                  <a:lnTo>
                    <a:pt x="103" y="75"/>
                  </a:lnTo>
                  <a:lnTo>
                    <a:pt x="112" y="74"/>
                  </a:lnTo>
                  <a:lnTo>
                    <a:pt x="112" y="74"/>
                  </a:lnTo>
                  <a:lnTo>
                    <a:pt x="118" y="75"/>
                  </a:lnTo>
                  <a:lnTo>
                    <a:pt x="125" y="78"/>
                  </a:lnTo>
                  <a:lnTo>
                    <a:pt x="132" y="81"/>
                  </a:lnTo>
                  <a:lnTo>
                    <a:pt x="137" y="86"/>
                  </a:lnTo>
                  <a:lnTo>
                    <a:pt x="142" y="91"/>
                  </a:lnTo>
                  <a:lnTo>
                    <a:pt x="145" y="97"/>
                  </a:lnTo>
                  <a:lnTo>
                    <a:pt x="148" y="103"/>
                  </a:lnTo>
                  <a:lnTo>
                    <a:pt x="148" y="112"/>
                  </a:lnTo>
                  <a:lnTo>
                    <a:pt x="148" y="112"/>
                  </a:lnTo>
                  <a:lnTo>
                    <a:pt x="148" y="120"/>
                  </a:lnTo>
                  <a:lnTo>
                    <a:pt x="145" y="126"/>
                  </a:lnTo>
                  <a:lnTo>
                    <a:pt x="142" y="132"/>
                  </a:lnTo>
                  <a:lnTo>
                    <a:pt x="137" y="137"/>
                  </a:lnTo>
                  <a:lnTo>
                    <a:pt x="132" y="142"/>
                  </a:lnTo>
                  <a:lnTo>
                    <a:pt x="125" y="145"/>
                  </a:lnTo>
                  <a:lnTo>
                    <a:pt x="118" y="148"/>
                  </a:lnTo>
                  <a:lnTo>
                    <a:pt x="112" y="149"/>
                  </a:lnTo>
                  <a:lnTo>
                    <a:pt x="112" y="149"/>
                  </a:lnTo>
                  <a:lnTo>
                    <a:pt x="103" y="148"/>
                  </a:lnTo>
                  <a:lnTo>
                    <a:pt x="97" y="145"/>
                  </a:lnTo>
                  <a:lnTo>
                    <a:pt x="90" y="142"/>
                  </a:lnTo>
                  <a:lnTo>
                    <a:pt x="85" y="137"/>
                  </a:lnTo>
                  <a:lnTo>
                    <a:pt x="81" y="132"/>
                  </a:lnTo>
                  <a:lnTo>
                    <a:pt x="77" y="126"/>
                  </a:lnTo>
                  <a:lnTo>
                    <a:pt x="75" y="120"/>
                  </a:lnTo>
                  <a:lnTo>
                    <a:pt x="74" y="112"/>
                  </a:lnTo>
                  <a:lnTo>
                    <a:pt x="74"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1" name="Group 30">
            <a:extLst>
              <a:ext uri="{FF2B5EF4-FFF2-40B4-BE49-F238E27FC236}">
                <a16:creationId xmlns:a16="http://schemas.microsoft.com/office/drawing/2014/main" id="{BD11E7AE-6E08-4E20-B317-264AF7CC5504}"/>
              </a:ext>
            </a:extLst>
          </p:cNvPr>
          <p:cNvGrpSpPr>
            <a:grpSpLocks noChangeAspect="1"/>
          </p:cNvGrpSpPr>
          <p:nvPr/>
        </p:nvGrpSpPr>
        <p:grpSpPr>
          <a:xfrm>
            <a:off x="935888" y="4959818"/>
            <a:ext cx="381544" cy="380384"/>
            <a:chOff x="11115676" y="822325"/>
            <a:chExt cx="522288" cy="520700"/>
          </a:xfrm>
          <a:solidFill>
            <a:schemeClr val="tx1"/>
          </a:solidFill>
        </p:grpSpPr>
        <p:sp>
          <p:nvSpPr>
            <p:cNvPr id="32" name="Freeform 59">
              <a:extLst>
                <a:ext uri="{FF2B5EF4-FFF2-40B4-BE49-F238E27FC236}">
                  <a16:creationId xmlns:a16="http://schemas.microsoft.com/office/drawing/2014/main" id="{9D4D034B-A69C-4D77-AF37-4841C2F14965}"/>
                </a:ext>
              </a:extLst>
            </p:cNvPr>
            <p:cNvSpPr>
              <a:spLocks noEditPoints="1"/>
            </p:cNvSpPr>
            <p:nvPr/>
          </p:nvSpPr>
          <p:spPr bwMode="auto">
            <a:xfrm>
              <a:off x="11115676" y="822325"/>
              <a:ext cx="522288" cy="520700"/>
            </a:xfrm>
            <a:custGeom>
              <a:avLst/>
              <a:gdLst>
                <a:gd name="T0" fmla="*/ 313 w 658"/>
                <a:gd name="T1" fmla="*/ 656 h 656"/>
                <a:gd name="T2" fmla="*/ 263 w 658"/>
                <a:gd name="T3" fmla="*/ 650 h 656"/>
                <a:gd name="T4" fmla="*/ 202 w 658"/>
                <a:gd name="T5" fmla="*/ 631 h 656"/>
                <a:gd name="T6" fmla="*/ 120 w 658"/>
                <a:gd name="T7" fmla="*/ 581 h 656"/>
                <a:gd name="T8" fmla="*/ 57 w 658"/>
                <a:gd name="T9" fmla="*/ 512 h 656"/>
                <a:gd name="T10" fmla="*/ 15 w 658"/>
                <a:gd name="T11" fmla="*/ 426 h 656"/>
                <a:gd name="T12" fmla="*/ 4 w 658"/>
                <a:gd name="T13" fmla="*/ 379 h 656"/>
                <a:gd name="T14" fmla="*/ 0 w 658"/>
                <a:gd name="T15" fmla="*/ 328 h 656"/>
                <a:gd name="T16" fmla="*/ 3 w 658"/>
                <a:gd name="T17" fmla="*/ 294 h 656"/>
                <a:gd name="T18" fmla="*/ 11 w 658"/>
                <a:gd name="T19" fmla="*/ 246 h 656"/>
                <a:gd name="T20" fmla="*/ 40 w 658"/>
                <a:gd name="T21" fmla="*/ 172 h 656"/>
                <a:gd name="T22" fmla="*/ 97 w 658"/>
                <a:gd name="T23" fmla="*/ 95 h 656"/>
                <a:gd name="T24" fmla="*/ 173 w 658"/>
                <a:gd name="T25" fmla="*/ 39 h 656"/>
                <a:gd name="T26" fmla="*/ 247 w 658"/>
                <a:gd name="T27" fmla="*/ 9 h 656"/>
                <a:gd name="T28" fmla="*/ 296 w 658"/>
                <a:gd name="T29" fmla="*/ 1 h 656"/>
                <a:gd name="T30" fmla="*/ 329 w 658"/>
                <a:gd name="T31" fmla="*/ 0 h 656"/>
                <a:gd name="T32" fmla="*/ 379 w 658"/>
                <a:gd name="T33" fmla="*/ 3 h 656"/>
                <a:gd name="T34" fmla="*/ 427 w 658"/>
                <a:gd name="T35" fmla="*/ 15 h 656"/>
                <a:gd name="T36" fmla="*/ 513 w 658"/>
                <a:gd name="T37" fmla="*/ 55 h 656"/>
                <a:gd name="T38" fmla="*/ 583 w 658"/>
                <a:gd name="T39" fmla="*/ 119 h 656"/>
                <a:gd name="T40" fmla="*/ 632 w 658"/>
                <a:gd name="T41" fmla="*/ 200 h 656"/>
                <a:gd name="T42" fmla="*/ 651 w 658"/>
                <a:gd name="T43" fmla="*/ 262 h 656"/>
                <a:gd name="T44" fmla="*/ 658 w 658"/>
                <a:gd name="T45" fmla="*/ 311 h 656"/>
                <a:gd name="T46" fmla="*/ 658 w 658"/>
                <a:gd name="T47" fmla="*/ 345 h 656"/>
                <a:gd name="T48" fmla="*/ 651 w 658"/>
                <a:gd name="T49" fmla="*/ 395 h 656"/>
                <a:gd name="T50" fmla="*/ 632 w 658"/>
                <a:gd name="T51" fmla="*/ 456 h 656"/>
                <a:gd name="T52" fmla="*/ 583 w 658"/>
                <a:gd name="T53" fmla="*/ 537 h 656"/>
                <a:gd name="T54" fmla="*/ 513 w 658"/>
                <a:gd name="T55" fmla="*/ 600 h 656"/>
                <a:gd name="T56" fmla="*/ 427 w 658"/>
                <a:gd name="T57" fmla="*/ 642 h 656"/>
                <a:gd name="T58" fmla="*/ 379 w 658"/>
                <a:gd name="T59" fmla="*/ 652 h 656"/>
                <a:gd name="T60" fmla="*/ 329 w 658"/>
                <a:gd name="T61" fmla="*/ 656 h 656"/>
                <a:gd name="T62" fmla="*/ 329 w 658"/>
                <a:gd name="T63" fmla="*/ 38 h 656"/>
                <a:gd name="T64" fmla="*/ 243 w 658"/>
                <a:gd name="T65" fmla="*/ 50 h 656"/>
                <a:gd name="T66" fmla="*/ 167 w 658"/>
                <a:gd name="T67" fmla="*/ 87 h 656"/>
                <a:gd name="T68" fmla="*/ 105 w 658"/>
                <a:gd name="T69" fmla="*/ 144 h 656"/>
                <a:gd name="T70" fmla="*/ 61 w 658"/>
                <a:gd name="T71" fmla="*/ 215 h 656"/>
                <a:gd name="T72" fmla="*/ 39 w 658"/>
                <a:gd name="T73" fmla="*/ 298 h 656"/>
                <a:gd name="T74" fmla="*/ 39 w 658"/>
                <a:gd name="T75" fmla="*/ 357 h 656"/>
                <a:gd name="T76" fmla="*/ 61 w 658"/>
                <a:gd name="T77" fmla="*/ 442 h 656"/>
                <a:gd name="T78" fmla="*/ 105 w 658"/>
                <a:gd name="T79" fmla="*/ 513 h 656"/>
                <a:gd name="T80" fmla="*/ 167 w 658"/>
                <a:gd name="T81" fmla="*/ 569 h 656"/>
                <a:gd name="T82" fmla="*/ 243 w 658"/>
                <a:gd name="T83" fmla="*/ 605 h 656"/>
                <a:gd name="T84" fmla="*/ 329 w 658"/>
                <a:gd name="T85" fmla="*/ 619 h 656"/>
                <a:gd name="T86" fmla="*/ 388 w 658"/>
                <a:gd name="T87" fmla="*/ 614 h 656"/>
                <a:gd name="T88" fmla="*/ 467 w 658"/>
                <a:gd name="T89" fmla="*/ 584 h 656"/>
                <a:gd name="T90" fmla="*/ 534 w 658"/>
                <a:gd name="T91" fmla="*/ 534 h 656"/>
                <a:gd name="T92" fmla="*/ 586 w 658"/>
                <a:gd name="T93" fmla="*/ 467 h 656"/>
                <a:gd name="T94" fmla="*/ 614 w 658"/>
                <a:gd name="T95" fmla="*/ 387 h 656"/>
                <a:gd name="T96" fmla="*/ 620 w 658"/>
                <a:gd name="T97" fmla="*/ 328 h 656"/>
                <a:gd name="T98" fmla="*/ 607 w 658"/>
                <a:gd name="T99" fmla="*/ 242 h 656"/>
                <a:gd name="T100" fmla="*/ 571 w 658"/>
                <a:gd name="T101" fmla="*/ 165 h 656"/>
                <a:gd name="T102" fmla="*/ 514 w 658"/>
                <a:gd name="T103" fmla="*/ 103 h 656"/>
                <a:gd name="T104" fmla="*/ 442 w 658"/>
                <a:gd name="T105" fmla="*/ 60 h 656"/>
                <a:gd name="T106" fmla="*/ 359 w 658"/>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6">
                  <a:moveTo>
                    <a:pt x="329" y="656"/>
                  </a:moveTo>
                  <a:lnTo>
                    <a:pt x="329" y="656"/>
                  </a:lnTo>
                  <a:lnTo>
                    <a:pt x="313" y="656"/>
                  </a:lnTo>
                  <a:lnTo>
                    <a:pt x="296" y="655"/>
                  </a:lnTo>
                  <a:lnTo>
                    <a:pt x="279" y="652"/>
                  </a:lnTo>
                  <a:lnTo>
                    <a:pt x="263" y="650"/>
                  </a:lnTo>
                  <a:lnTo>
                    <a:pt x="247" y="646"/>
                  </a:lnTo>
                  <a:lnTo>
                    <a:pt x="231" y="642"/>
                  </a:lnTo>
                  <a:lnTo>
                    <a:pt x="202" y="631"/>
                  </a:lnTo>
                  <a:lnTo>
                    <a:pt x="173" y="618"/>
                  </a:lnTo>
                  <a:lnTo>
                    <a:pt x="145" y="600"/>
                  </a:lnTo>
                  <a:lnTo>
                    <a:pt x="120" y="581"/>
                  </a:lnTo>
                  <a:lnTo>
                    <a:pt x="97" y="560"/>
                  </a:lnTo>
                  <a:lnTo>
                    <a:pt x="75" y="537"/>
                  </a:lnTo>
                  <a:lnTo>
                    <a:pt x="57" y="512"/>
                  </a:lnTo>
                  <a:lnTo>
                    <a:pt x="40" y="485"/>
                  </a:lnTo>
                  <a:lnTo>
                    <a:pt x="27" y="456"/>
                  </a:lnTo>
                  <a:lnTo>
                    <a:pt x="15" y="426"/>
                  </a:lnTo>
                  <a:lnTo>
                    <a:pt x="11" y="409"/>
                  </a:lnTo>
                  <a:lnTo>
                    <a:pt x="7" y="395"/>
                  </a:lnTo>
                  <a:lnTo>
                    <a:pt x="4" y="379"/>
                  </a:lnTo>
                  <a:lnTo>
                    <a:pt x="3" y="361"/>
                  </a:lnTo>
                  <a:lnTo>
                    <a:pt x="1" y="345"/>
                  </a:lnTo>
                  <a:lnTo>
                    <a:pt x="0" y="328"/>
                  </a:lnTo>
                  <a:lnTo>
                    <a:pt x="0" y="328"/>
                  </a:lnTo>
                  <a:lnTo>
                    <a:pt x="1" y="311"/>
                  </a:lnTo>
                  <a:lnTo>
                    <a:pt x="3" y="294"/>
                  </a:lnTo>
                  <a:lnTo>
                    <a:pt x="4" y="278"/>
                  </a:lnTo>
                  <a:lnTo>
                    <a:pt x="7" y="262"/>
                  </a:lnTo>
                  <a:lnTo>
                    <a:pt x="11" y="246"/>
                  </a:lnTo>
                  <a:lnTo>
                    <a:pt x="15" y="231"/>
                  </a:lnTo>
                  <a:lnTo>
                    <a:pt x="27" y="200"/>
                  </a:lnTo>
                  <a:lnTo>
                    <a:pt x="40" y="172"/>
                  </a:lnTo>
                  <a:lnTo>
                    <a:pt x="57" y="145"/>
                  </a:lnTo>
                  <a:lnTo>
                    <a:pt x="75" y="119"/>
                  </a:lnTo>
                  <a:lnTo>
                    <a:pt x="97" y="95"/>
                  </a:lnTo>
                  <a:lnTo>
                    <a:pt x="120" y="75"/>
                  </a:lnTo>
                  <a:lnTo>
                    <a:pt x="145" y="55"/>
                  </a:lnTo>
                  <a:lnTo>
                    <a:pt x="173" y="39"/>
                  </a:lnTo>
                  <a:lnTo>
                    <a:pt x="202" y="26"/>
                  </a:lnTo>
                  <a:lnTo>
                    <a:pt x="231" y="15"/>
                  </a:lnTo>
                  <a:lnTo>
                    <a:pt x="247" y="9"/>
                  </a:lnTo>
                  <a:lnTo>
                    <a:pt x="263" y="7"/>
                  </a:lnTo>
                  <a:lnTo>
                    <a:pt x="279" y="3"/>
                  </a:lnTo>
                  <a:lnTo>
                    <a:pt x="296" y="1"/>
                  </a:lnTo>
                  <a:lnTo>
                    <a:pt x="313" y="0"/>
                  </a:lnTo>
                  <a:lnTo>
                    <a:pt x="329" y="0"/>
                  </a:lnTo>
                  <a:lnTo>
                    <a:pt x="329" y="0"/>
                  </a:lnTo>
                  <a:lnTo>
                    <a:pt x="347" y="0"/>
                  </a:lnTo>
                  <a:lnTo>
                    <a:pt x="363" y="1"/>
                  </a:lnTo>
                  <a:lnTo>
                    <a:pt x="379" y="3"/>
                  </a:lnTo>
                  <a:lnTo>
                    <a:pt x="395" y="7"/>
                  </a:lnTo>
                  <a:lnTo>
                    <a:pt x="411" y="9"/>
                  </a:lnTo>
                  <a:lnTo>
                    <a:pt x="427" y="15"/>
                  </a:lnTo>
                  <a:lnTo>
                    <a:pt x="457" y="26"/>
                  </a:lnTo>
                  <a:lnTo>
                    <a:pt x="486" y="39"/>
                  </a:lnTo>
                  <a:lnTo>
                    <a:pt x="513" y="55"/>
                  </a:lnTo>
                  <a:lnTo>
                    <a:pt x="539" y="75"/>
                  </a:lnTo>
                  <a:lnTo>
                    <a:pt x="561" y="95"/>
                  </a:lnTo>
                  <a:lnTo>
                    <a:pt x="583" y="119"/>
                  </a:lnTo>
                  <a:lnTo>
                    <a:pt x="602" y="145"/>
                  </a:lnTo>
                  <a:lnTo>
                    <a:pt x="618" y="172"/>
                  </a:lnTo>
                  <a:lnTo>
                    <a:pt x="632" y="200"/>
                  </a:lnTo>
                  <a:lnTo>
                    <a:pt x="643" y="231"/>
                  </a:lnTo>
                  <a:lnTo>
                    <a:pt x="647" y="246"/>
                  </a:lnTo>
                  <a:lnTo>
                    <a:pt x="651" y="262"/>
                  </a:lnTo>
                  <a:lnTo>
                    <a:pt x="654" y="278"/>
                  </a:lnTo>
                  <a:lnTo>
                    <a:pt x="657" y="294"/>
                  </a:lnTo>
                  <a:lnTo>
                    <a:pt x="658" y="311"/>
                  </a:lnTo>
                  <a:lnTo>
                    <a:pt x="658" y="328"/>
                  </a:lnTo>
                  <a:lnTo>
                    <a:pt x="658" y="328"/>
                  </a:lnTo>
                  <a:lnTo>
                    <a:pt x="658" y="345"/>
                  </a:lnTo>
                  <a:lnTo>
                    <a:pt x="657" y="361"/>
                  </a:lnTo>
                  <a:lnTo>
                    <a:pt x="654" y="379"/>
                  </a:lnTo>
                  <a:lnTo>
                    <a:pt x="651" y="395"/>
                  </a:lnTo>
                  <a:lnTo>
                    <a:pt x="647" y="409"/>
                  </a:lnTo>
                  <a:lnTo>
                    <a:pt x="643" y="426"/>
                  </a:lnTo>
                  <a:lnTo>
                    <a:pt x="632" y="456"/>
                  </a:lnTo>
                  <a:lnTo>
                    <a:pt x="618" y="485"/>
                  </a:lnTo>
                  <a:lnTo>
                    <a:pt x="602" y="512"/>
                  </a:lnTo>
                  <a:lnTo>
                    <a:pt x="583" y="537"/>
                  </a:lnTo>
                  <a:lnTo>
                    <a:pt x="561" y="560"/>
                  </a:lnTo>
                  <a:lnTo>
                    <a:pt x="539" y="581"/>
                  </a:lnTo>
                  <a:lnTo>
                    <a:pt x="513" y="600"/>
                  </a:lnTo>
                  <a:lnTo>
                    <a:pt x="486" y="618"/>
                  </a:lnTo>
                  <a:lnTo>
                    <a:pt x="457" y="631"/>
                  </a:lnTo>
                  <a:lnTo>
                    <a:pt x="427" y="642"/>
                  </a:lnTo>
                  <a:lnTo>
                    <a:pt x="411" y="646"/>
                  </a:lnTo>
                  <a:lnTo>
                    <a:pt x="395" y="650"/>
                  </a:lnTo>
                  <a:lnTo>
                    <a:pt x="379" y="652"/>
                  </a:lnTo>
                  <a:lnTo>
                    <a:pt x="363" y="655"/>
                  </a:lnTo>
                  <a:lnTo>
                    <a:pt x="347" y="656"/>
                  </a:lnTo>
                  <a:lnTo>
                    <a:pt x="329" y="656"/>
                  </a:lnTo>
                  <a:lnTo>
                    <a:pt x="329" y="656"/>
                  </a:lnTo>
                  <a:close/>
                  <a:moveTo>
                    <a:pt x="329" y="38"/>
                  </a:moveTo>
                  <a:lnTo>
                    <a:pt x="329" y="38"/>
                  </a:lnTo>
                  <a:lnTo>
                    <a:pt x="300" y="39"/>
                  </a:lnTo>
                  <a:lnTo>
                    <a:pt x="270" y="43"/>
                  </a:lnTo>
                  <a:lnTo>
                    <a:pt x="243" y="50"/>
                  </a:lnTo>
                  <a:lnTo>
                    <a:pt x="216" y="60"/>
                  </a:lnTo>
                  <a:lnTo>
                    <a:pt x="191" y="72"/>
                  </a:lnTo>
                  <a:lnTo>
                    <a:pt x="167" y="87"/>
                  </a:lnTo>
                  <a:lnTo>
                    <a:pt x="144" y="103"/>
                  </a:lnTo>
                  <a:lnTo>
                    <a:pt x="124" y="122"/>
                  </a:lnTo>
                  <a:lnTo>
                    <a:pt x="105" y="144"/>
                  </a:lnTo>
                  <a:lnTo>
                    <a:pt x="87" y="165"/>
                  </a:lnTo>
                  <a:lnTo>
                    <a:pt x="74" y="189"/>
                  </a:lnTo>
                  <a:lnTo>
                    <a:pt x="61" y="215"/>
                  </a:lnTo>
                  <a:lnTo>
                    <a:pt x="51" y="242"/>
                  </a:lnTo>
                  <a:lnTo>
                    <a:pt x="44" y="270"/>
                  </a:lnTo>
                  <a:lnTo>
                    <a:pt x="39" y="298"/>
                  </a:lnTo>
                  <a:lnTo>
                    <a:pt x="38" y="328"/>
                  </a:lnTo>
                  <a:lnTo>
                    <a:pt x="38" y="328"/>
                  </a:lnTo>
                  <a:lnTo>
                    <a:pt x="39" y="357"/>
                  </a:lnTo>
                  <a:lnTo>
                    <a:pt x="44" y="387"/>
                  </a:lnTo>
                  <a:lnTo>
                    <a:pt x="51" y="415"/>
                  </a:lnTo>
                  <a:lnTo>
                    <a:pt x="61" y="442"/>
                  </a:lnTo>
                  <a:lnTo>
                    <a:pt x="74" y="467"/>
                  </a:lnTo>
                  <a:lnTo>
                    <a:pt x="87" y="490"/>
                  </a:lnTo>
                  <a:lnTo>
                    <a:pt x="105" y="513"/>
                  </a:lnTo>
                  <a:lnTo>
                    <a:pt x="124" y="534"/>
                  </a:lnTo>
                  <a:lnTo>
                    <a:pt x="144" y="553"/>
                  </a:lnTo>
                  <a:lnTo>
                    <a:pt x="167" y="569"/>
                  </a:lnTo>
                  <a:lnTo>
                    <a:pt x="191" y="584"/>
                  </a:lnTo>
                  <a:lnTo>
                    <a:pt x="216" y="596"/>
                  </a:lnTo>
                  <a:lnTo>
                    <a:pt x="243" y="605"/>
                  </a:lnTo>
                  <a:lnTo>
                    <a:pt x="270" y="614"/>
                  </a:lnTo>
                  <a:lnTo>
                    <a:pt x="300" y="618"/>
                  </a:lnTo>
                  <a:lnTo>
                    <a:pt x="329" y="619"/>
                  </a:lnTo>
                  <a:lnTo>
                    <a:pt x="329" y="619"/>
                  </a:lnTo>
                  <a:lnTo>
                    <a:pt x="359" y="618"/>
                  </a:lnTo>
                  <a:lnTo>
                    <a:pt x="388" y="614"/>
                  </a:lnTo>
                  <a:lnTo>
                    <a:pt x="415" y="605"/>
                  </a:lnTo>
                  <a:lnTo>
                    <a:pt x="442" y="596"/>
                  </a:lnTo>
                  <a:lnTo>
                    <a:pt x="467" y="584"/>
                  </a:lnTo>
                  <a:lnTo>
                    <a:pt x="492" y="569"/>
                  </a:lnTo>
                  <a:lnTo>
                    <a:pt x="514" y="553"/>
                  </a:lnTo>
                  <a:lnTo>
                    <a:pt x="534" y="534"/>
                  </a:lnTo>
                  <a:lnTo>
                    <a:pt x="553" y="513"/>
                  </a:lnTo>
                  <a:lnTo>
                    <a:pt x="571" y="490"/>
                  </a:lnTo>
                  <a:lnTo>
                    <a:pt x="586" y="467"/>
                  </a:lnTo>
                  <a:lnTo>
                    <a:pt x="598" y="442"/>
                  </a:lnTo>
                  <a:lnTo>
                    <a:pt x="607" y="415"/>
                  </a:lnTo>
                  <a:lnTo>
                    <a:pt x="614" y="387"/>
                  </a:lnTo>
                  <a:lnTo>
                    <a:pt x="619" y="357"/>
                  </a:lnTo>
                  <a:lnTo>
                    <a:pt x="620" y="328"/>
                  </a:lnTo>
                  <a:lnTo>
                    <a:pt x="620" y="328"/>
                  </a:lnTo>
                  <a:lnTo>
                    <a:pt x="619" y="298"/>
                  </a:lnTo>
                  <a:lnTo>
                    <a:pt x="614" y="270"/>
                  </a:lnTo>
                  <a:lnTo>
                    <a:pt x="607" y="242"/>
                  </a:lnTo>
                  <a:lnTo>
                    <a:pt x="598" y="215"/>
                  </a:lnTo>
                  <a:lnTo>
                    <a:pt x="586" y="189"/>
                  </a:lnTo>
                  <a:lnTo>
                    <a:pt x="571" y="165"/>
                  </a:lnTo>
                  <a:lnTo>
                    <a:pt x="553" y="144"/>
                  </a:lnTo>
                  <a:lnTo>
                    <a:pt x="534" y="122"/>
                  </a:lnTo>
                  <a:lnTo>
                    <a:pt x="514" y="103"/>
                  </a:lnTo>
                  <a:lnTo>
                    <a:pt x="492" y="87"/>
                  </a:lnTo>
                  <a:lnTo>
                    <a:pt x="467" y="72"/>
                  </a:lnTo>
                  <a:lnTo>
                    <a:pt x="442" y="60"/>
                  </a:lnTo>
                  <a:lnTo>
                    <a:pt x="415" y="50"/>
                  </a:lnTo>
                  <a:lnTo>
                    <a:pt x="388" y="43"/>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168">
              <a:extLst>
                <a:ext uri="{FF2B5EF4-FFF2-40B4-BE49-F238E27FC236}">
                  <a16:creationId xmlns:a16="http://schemas.microsoft.com/office/drawing/2014/main" id="{7DF7FEBD-200E-4C3A-9531-A14FDDB44A18}"/>
                </a:ext>
              </a:extLst>
            </p:cNvPr>
            <p:cNvSpPr>
              <a:spLocks/>
            </p:cNvSpPr>
            <p:nvPr/>
          </p:nvSpPr>
          <p:spPr bwMode="auto">
            <a:xfrm>
              <a:off x="11234738" y="1001713"/>
              <a:ext cx="311150" cy="107950"/>
            </a:xfrm>
            <a:custGeom>
              <a:avLst/>
              <a:gdLst>
                <a:gd name="T0" fmla="*/ 389 w 392"/>
                <a:gd name="T1" fmla="*/ 63 h 135"/>
                <a:gd name="T2" fmla="*/ 322 w 392"/>
                <a:gd name="T3" fmla="*/ 1 h 135"/>
                <a:gd name="T4" fmla="*/ 322 w 392"/>
                <a:gd name="T5" fmla="*/ 1 h 135"/>
                <a:gd name="T6" fmla="*/ 319 w 392"/>
                <a:gd name="T7" fmla="*/ 0 h 135"/>
                <a:gd name="T8" fmla="*/ 316 w 392"/>
                <a:gd name="T9" fmla="*/ 0 h 135"/>
                <a:gd name="T10" fmla="*/ 6 w 392"/>
                <a:gd name="T11" fmla="*/ 0 h 135"/>
                <a:gd name="T12" fmla="*/ 6 w 392"/>
                <a:gd name="T13" fmla="*/ 0 h 135"/>
                <a:gd name="T14" fmla="*/ 4 w 392"/>
                <a:gd name="T15" fmla="*/ 0 h 135"/>
                <a:gd name="T16" fmla="*/ 1 w 392"/>
                <a:gd name="T17" fmla="*/ 1 h 135"/>
                <a:gd name="T18" fmla="*/ 0 w 392"/>
                <a:gd name="T19" fmla="*/ 4 h 135"/>
                <a:gd name="T20" fmla="*/ 0 w 392"/>
                <a:gd name="T21" fmla="*/ 7 h 135"/>
                <a:gd name="T22" fmla="*/ 0 w 392"/>
                <a:gd name="T23" fmla="*/ 129 h 135"/>
                <a:gd name="T24" fmla="*/ 0 w 392"/>
                <a:gd name="T25" fmla="*/ 129 h 135"/>
                <a:gd name="T26" fmla="*/ 0 w 392"/>
                <a:gd name="T27" fmla="*/ 131 h 135"/>
                <a:gd name="T28" fmla="*/ 1 w 392"/>
                <a:gd name="T29" fmla="*/ 133 h 135"/>
                <a:gd name="T30" fmla="*/ 4 w 392"/>
                <a:gd name="T31" fmla="*/ 134 h 135"/>
                <a:gd name="T32" fmla="*/ 6 w 392"/>
                <a:gd name="T33" fmla="*/ 135 h 135"/>
                <a:gd name="T34" fmla="*/ 316 w 392"/>
                <a:gd name="T35" fmla="*/ 135 h 135"/>
                <a:gd name="T36" fmla="*/ 316 w 392"/>
                <a:gd name="T37" fmla="*/ 135 h 135"/>
                <a:gd name="T38" fmla="*/ 319 w 392"/>
                <a:gd name="T39" fmla="*/ 134 h 135"/>
                <a:gd name="T40" fmla="*/ 322 w 392"/>
                <a:gd name="T41" fmla="*/ 133 h 135"/>
                <a:gd name="T42" fmla="*/ 389 w 392"/>
                <a:gd name="T43" fmla="*/ 72 h 135"/>
                <a:gd name="T44" fmla="*/ 389 w 392"/>
                <a:gd name="T45" fmla="*/ 72 h 135"/>
                <a:gd name="T46" fmla="*/ 390 w 392"/>
                <a:gd name="T47" fmla="*/ 70 h 135"/>
                <a:gd name="T48" fmla="*/ 392 w 392"/>
                <a:gd name="T49" fmla="*/ 67 h 135"/>
                <a:gd name="T50" fmla="*/ 392 w 392"/>
                <a:gd name="T51" fmla="*/ 67 h 135"/>
                <a:gd name="T52" fmla="*/ 390 w 392"/>
                <a:gd name="T53" fmla="*/ 64 h 135"/>
                <a:gd name="T54" fmla="*/ 389 w 392"/>
                <a:gd name="T55" fmla="*/ 63 h 135"/>
                <a:gd name="T56" fmla="*/ 389 w 392"/>
                <a:gd name="T57" fmla="*/ 6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92" h="135">
                  <a:moveTo>
                    <a:pt x="389" y="63"/>
                  </a:moveTo>
                  <a:lnTo>
                    <a:pt x="322" y="1"/>
                  </a:lnTo>
                  <a:lnTo>
                    <a:pt x="322" y="1"/>
                  </a:lnTo>
                  <a:lnTo>
                    <a:pt x="319" y="0"/>
                  </a:lnTo>
                  <a:lnTo>
                    <a:pt x="316" y="0"/>
                  </a:lnTo>
                  <a:lnTo>
                    <a:pt x="6" y="0"/>
                  </a:lnTo>
                  <a:lnTo>
                    <a:pt x="6" y="0"/>
                  </a:lnTo>
                  <a:lnTo>
                    <a:pt x="4" y="0"/>
                  </a:lnTo>
                  <a:lnTo>
                    <a:pt x="1" y="1"/>
                  </a:lnTo>
                  <a:lnTo>
                    <a:pt x="0" y="4"/>
                  </a:lnTo>
                  <a:lnTo>
                    <a:pt x="0" y="7"/>
                  </a:lnTo>
                  <a:lnTo>
                    <a:pt x="0" y="129"/>
                  </a:lnTo>
                  <a:lnTo>
                    <a:pt x="0" y="129"/>
                  </a:lnTo>
                  <a:lnTo>
                    <a:pt x="0" y="131"/>
                  </a:lnTo>
                  <a:lnTo>
                    <a:pt x="1" y="133"/>
                  </a:lnTo>
                  <a:lnTo>
                    <a:pt x="4" y="134"/>
                  </a:lnTo>
                  <a:lnTo>
                    <a:pt x="6" y="135"/>
                  </a:lnTo>
                  <a:lnTo>
                    <a:pt x="316" y="135"/>
                  </a:lnTo>
                  <a:lnTo>
                    <a:pt x="316" y="135"/>
                  </a:lnTo>
                  <a:lnTo>
                    <a:pt x="319" y="134"/>
                  </a:lnTo>
                  <a:lnTo>
                    <a:pt x="322" y="133"/>
                  </a:lnTo>
                  <a:lnTo>
                    <a:pt x="389" y="72"/>
                  </a:lnTo>
                  <a:lnTo>
                    <a:pt x="389" y="72"/>
                  </a:lnTo>
                  <a:lnTo>
                    <a:pt x="390" y="70"/>
                  </a:lnTo>
                  <a:lnTo>
                    <a:pt x="392" y="67"/>
                  </a:lnTo>
                  <a:lnTo>
                    <a:pt x="392" y="67"/>
                  </a:lnTo>
                  <a:lnTo>
                    <a:pt x="390" y="64"/>
                  </a:lnTo>
                  <a:lnTo>
                    <a:pt x="389" y="63"/>
                  </a:lnTo>
                  <a:lnTo>
                    <a:pt x="389"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169">
              <a:extLst>
                <a:ext uri="{FF2B5EF4-FFF2-40B4-BE49-F238E27FC236}">
                  <a16:creationId xmlns:a16="http://schemas.microsoft.com/office/drawing/2014/main" id="{EFA57FFE-34D9-4D0A-AEAC-AA77D21C1A85}"/>
                </a:ext>
              </a:extLst>
            </p:cNvPr>
            <p:cNvSpPr>
              <a:spLocks/>
            </p:cNvSpPr>
            <p:nvPr/>
          </p:nvSpPr>
          <p:spPr bwMode="auto">
            <a:xfrm>
              <a:off x="11331576" y="939800"/>
              <a:ext cx="74613" cy="42863"/>
            </a:xfrm>
            <a:custGeom>
              <a:avLst/>
              <a:gdLst>
                <a:gd name="T0" fmla="*/ 96 w 96"/>
                <a:gd name="T1" fmla="*/ 6 h 53"/>
                <a:gd name="T2" fmla="*/ 96 w 96"/>
                <a:gd name="T3" fmla="*/ 6 h 53"/>
                <a:gd name="T4" fmla="*/ 94 w 96"/>
                <a:gd name="T5" fmla="*/ 4 h 53"/>
                <a:gd name="T6" fmla="*/ 93 w 96"/>
                <a:gd name="T7" fmla="*/ 2 h 53"/>
                <a:gd name="T8" fmla="*/ 92 w 96"/>
                <a:gd name="T9" fmla="*/ 1 h 53"/>
                <a:gd name="T10" fmla="*/ 89 w 96"/>
                <a:gd name="T11" fmla="*/ 0 h 53"/>
                <a:gd name="T12" fmla="*/ 7 w 96"/>
                <a:gd name="T13" fmla="*/ 0 h 53"/>
                <a:gd name="T14" fmla="*/ 7 w 96"/>
                <a:gd name="T15" fmla="*/ 0 h 53"/>
                <a:gd name="T16" fmla="*/ 4 w 96"/>
                <a:gd name="T17" fmla="*/ 1 h 53"/>
                <a:gd name="T18" fmla="*/ 3 w 96"/>
                <a:gd name="T19" fmla="*/ 2 h 53"/>
                <a:gd name="T20" fmla="*/ 2 w 96"/>
                <a:gd name="T21" fmla="*/ 4 h 53"/>
                <a:gd name="T22" fmla="*/ 0 w 96"/>
                <a:gd name="T23" fmla="*/ 6 h 53"/>
                <a:gd name="T24" fmla="*/ 0 w 96"/>
                <a:gd name="T25" fmla="*/ 53 h 53"/>
                <a:gd name="T26" fmla="*/ 96 w 96"/>
                <a:gd name="T27" fmla="*/ 53 h 53"/>
                <a:gd name="T28" fmla="*/ 96 w 96"/>
                <a:gd name="T29"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53">
                  <a:moveTo>
                    <a:pt x="96" y="6"/>
                  </a:moveTo>
                  <a:lnTo>
                    <a:pt x="96" y="6"/>
                  </a:lnTo>
                  <a:lnTo>
                    <a:pt x="94" y="4"/>
                  </a:lnTo>
                  <a:lnTo>
                    <a:pt x="93" y="2"/>
                  </a:lnTo>
                  <a:lnTo>
                    <a:pt x="92" y="1"/>
                  </a:lnTo>
                  <a:lnTo>
                    <a:pt x="89" y="0"/>
                  </a:lnTo>
                  <a:lnTo>
                    <a:pt x="7" y="0"/>
                  </a:lnTo>
                  <a:lnTo>
                    <a:pt x="7" y="0"/>
                  </a:lnTo>
                  <a:lnTo>
                    <a:pt x="4" y="1"/>
                  </a:lnTo>
                  <a:lnTo>
                    <a:pt x="3" y="2"/>
                  </a:lnTo>
                  <a:lnTo>
                    <a:pt x="2" y="4"/>
                  </a:lnTo>
                  <a:lnTo>
                    <a:pt x="0" y="6"/>
                  </a:lnTo>
                  <a:lnTo>
                    <a:pt x="0" y="53"/>
                  </a:lnTo>
                  <a:lnTo>
                    <a:pt x="96" y="53"/>
                  </a:lnTo>
                  <a:lnTo>
                    <a:pt x="9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170">
              <a:extLst>
                <a:ext uri="{FF2B5EF4-FFF2-40B4-BE49-F238E27FC236}">
                  <a16:creationId xmlns:a16="http://schemas.microsoft.com/office/drawing/2014/main" id="{FD131E68-DB9C-40E3-A38A-14DDD8247134}"/>
                </a:ext>
              </a:extLst>
            </p:cNvPr>
            <p:cNvSpPr>
              <a:spLocks/>
            </p:cNvSpPr>
            <p:nvPr/>
          </p:nvSpPr>
          <p:spPr bwMode="auto">
            <a:xfrm>
              <a:off x="11331576" y="1128713"/>
              <a:ext cx="74613" cy="115888"/>
            </a:xfrm>
            <a:custGeom>
              <a:avLst/>
              <a:gdLst>
                <a:gd name="T0" fmla="*/ 0 w 96"/>
                <a:gd name="T1" fmla="*/ 138 h 145"/>
                <a:gd name="T2" fmla="*/ 0 w 96"/>
                <a:gd name="T3" fmla="*/ 138 h 145"/>
                <a:gd name="T4" fmla="*/ 2 w 96"/>
                <a:gd name="T5" fmla="*/ 141 h 145"/>
                <a:gd name="T6" fmla="*/ 3 w 96"/>
                <a:gd name="T7" fmla="*/ 142 h 145"/>
                <a:gd name="T8" fmla="*/ 4 w 96"/>
                <a:gd name="T9" fmla="*/ 143 h 145"/>
                <a:gd name="T10" fmla="*/ 7 w 96"/>
                <a:gd name="T11" fmla="*/ 145 h 145"/>
                <a:gd name="T12" fmla="*/ 89 w 96"/>
                <a:gd name="T13" fmla="*/ 145 h 145"/>
                <a:gd name="T14" fmla="*/ 89 w 96"/>
                <a:gd name="T15" fmla="*/ 145 h 145"/>
                <a:gd name="T16" fmla="*/ 92 w 96"/>
                <a:gd name="T17" fmla="*/ 143 h 145"/>
                <a:gd name="T18" fmla="*/ 93 w 96"/>
                <a:gd name="T19" fmla="*/ 142 h 145"/>
                <a:gd name="T20" fmla="*/ 94 w 96"/>
                <a:gd name="T21" fmla="*/ 141 h 145"/>
                <a:gd name="T22" fmla="*/ 96 w 96"/>
                <a:gd name="T23" fmla="*/ 138 h 145"/>
                <a:gd name="T24" fmla="*/ 96 w 96"/>
                <a:gd name="T25" fmla="*/ 0 h 145"/>
                <a:gd name="T26" fmla="*/ 0 w 96"/>
                <a:gd name="T27" fmla="*/ 0 h 145"/>
                <a:gd name="T28" fmla="*/ 0 w 96"/>
                <a:gd name="T29" fmla="*/ 138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145">
                  <a:moveTo>
                    <a:pt x="0" y="138"/>
                  </a:moveTo>
                  <a:lnTo>
                    <a:pt x="0" y="138"/>
                  </a:lnTo>
                  <a:lnTo>
                    <a:pt x="2" y="141"/>
                  </a:lnTo>
                  <a:lnTo>
                    <a:pt x="3" y="142"/>
                  </a:lnTo>
                  <a:lnTo>
                    <a:pt x="4" y="143"/>
                  </a:lnTo>
                  <a:lnTo>
                    <a:pt x="7" y="145"/>
                  </a:lnTo>
                  <a:lnTo>
                    <a:pt x="89" y="145"/>
                  </a:lnTo>
                  <a:lnTo>
                    <a:pt x="89" y="145"/>
                  </a:lnTo>
                  <a:lnTo>
                    <a:pt x="92" y="143"/>
                  </a:lnTo>
                  <a:lnTo>
                    <a:pt x="93" y="142"/>
                  </a:lnTo>
                  <a:lnTo>
                    <a:pt x="94" y="141"/>
                  </a:lnTo>
                  <a:lnTo>
                    <a:pt x="96" y="138"/>
                  </a:lnTo>
                  <a:lnTo>
                    <a:pt x="96" y="0"/>
                  </a:lnTo>
                  <a:lnTo>
                    <a:pt x="0" y="0"/>
                  </a:lnTo>
                  <a:lnTo>
                    <a:pt x="0" y="1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1" name="Group 40">
            <a:extLst>
              <a:ext uri="{FF2B5EF4-FFF2-40B4-BE49-F238E27FC236}">
                <a16:creationId xmlns:a16="http://schemas.microsoft.com/office/drawing/2014/main" id="{CB36E577-61F9-4A1C-8F9E-E5B27AB6F876}"/>
              </a:ext>
            </a:extLst>
          </p:cNvPr>
          <p:cNvGrpSpPr>
            <a:grpSpLocks noChangeAspect="1"/>
          </p:cNvGrpSpPr>
          <p:nvPr/>
        </p:nvGrpSpPr>
        <p:grpSpPr>
          <a:xfrm>
            <a:off x="935888" y="3675306"/>
            <a:ext cx="381544" cy="381544"/>
            <a:chOff x="8475663" y="5857875"/>
            <a:chExt cx="522288" cy="522288"/>
          </a:xfrm>
          <a:solidFill>
            <a:schemeClr val="tx1"/>
          </a:solidFill>
        </p:grpSpPr>
        <p:sp>
          <p:nvSpPr>
            <p:cNvPr id="42" name="Freeform 91">
              <a:extLst>
                <a:ext uri="{FF2B5EF4-FFF2-40B4-BE49-F238E27FC236}">
                  <a16:creationId xmlns:a16="http://schemas.microsoft.com/office/drawing/2014/main" id="{09843213-DBA2-4673-A6B8-4549CAF2943B}"/>
                </a:ext>
              </a:extLst>
            </p:cNvPr>
            <p:cNvSpPr>
              <a:spLocks noEditPoints="1"/>
            </p:cNvSpPr>
            <p:nvPr/>
          </p:nvSpPr>
          <p:spPr bwMode="auto">
            <a:xfrm>
              <a:off x="8475663" y="5857875"/>
              <a:ext cx="522288" cy="522288"/>
            </a:xfrm>
            <a:custGeom>
              <a:avLst/>
              <a:gdLst>
                <a:gd name="T0" fmla="*/ 313 w 658"/>
                <a:gd name="T1" fmla="*/ 657 h 658"/>
                <a:gd name="T2" fmla="*/ 263 w 658"/>
                <a:gd name="T3" fmla="*/ 651 h 658"/>
                <a:gd name="T4" fmla="*/ 201 w 658"/>
                <a:gd name="T5" fmla="*/ 631 h 658"/>
                <a:gd name="T6" fmla="*/ 121 w 658"/>
                <a:gd name="T7" fmla="*/ 583 h 658"/>
                <a:gd name="T8" fmla="*/ 56 w 658"/>
                <a:gd name="T9" fmla="*/ 513 h 658"/>
                <a:gd name="T10" fmla="*/ 14 w 658"/>
                <a:gd name="T11" fmla="*/ 427 h 658"/>
                <a:gd name="T12" fmla="*/ 4 w 658"/>
                <a:gd name="T13" fmla="*/ 379 h 658"/>
                <a:gd name="T14" fmla="*/ 0 w 658"/>
                <a:gd name="T15" fmla="*/ 329 h 658"/>
                <a:gd name="T16" fmla="*/ 2 w 658"/>
                <a:gd name="T17" fmla="*/ 295 h 658"/>
                <a:gd name="T18" fmla="*/ 10 w 658"/>
                <a:gd name="T19" fmla="*/ 247 h 658"/>
                <a:gd name="T20" fmla="*/ 40 w 658"/>
                <a:gd name="T21" fmla="*/ 172 h 658"/>
                <a:gd name="T22" fmla="*/ 96 w 658"/>
                <a:gd name="T23" fmla="*/ 96 h 658"/>
                <a:gd name="T24" fmla="*/ 173 w 658"/>
                <a:gd name="T25" fmla="*/ 40 h 658"/>
                <a:gd name="T26" fmla="*/ 247 w 658"/>
                <a:gd name="T27" fmla="*/ 10 h 658"/>
                <a:gd name="T28" fmla="*/ 295 w 658"/>
                <a:gd name="T29" fmla="*/ 2 h 658"/>
                <a:gd name="T30" fmla="*/ 329 w 658"/>
                <a:gd name="T31" fmla="*/ 0 h 658"/>
                <a:gd name="T32" fmla="*/ 378 w 658"/>
                <a:gd name="T33" fmla="*/ 4 h 658"/>
                <a:gd name="T34" fmla="*/ 427 w 658"/>
                <a:gd name="T35" fmla="*/ 14 h 658"/>
                <a:gd name="T36" fmla="*/ 513 w 658"/>
                <a:gd name="T37" fmla="*/ 56 h 658"/>
                <a:gd name="T38" fmla="*/ 583 w 658"/>
                <a:gd name="T39" fmla="*/ 119 h 658"/>
                <a:gd name="T40" fmla="*/ 632 w 658"/>
                <a:gd name="T41" fmla="*/ 201 h 658"/>
                <a:gd name="T42" fmla="*/ 651 w 658"/>
                <a:gd name="T43" fmla="*/ 263 h 658"/>
                <a:gd name="T44" fmla="*/ 658 w 658"/>
                <a:gd name="T45" fmla="*/ 311 h 658"/>
                <a:gd name="T46" fmla="*/ 658 w 658"/>
                <a:gd name="T47" fmla="*/ 346 h 658"/>
                <a:gd name="T48" fmla="*/ 651 w 658"/>
                <a:gd name="T49" fmla="*/ 395 h 658"/>
                <a:gd name="T50" fmla="*/ 632 w 658"/>
                <a:gd name="T51" fmla="*/ 456 h 658"/>
                <a:gd name="T52" fmla="*/ 583 w 658"/>
                <a:gd name="T53" fmla="*/ 538 h 658"/>
                <a:gd name="T54" fmla="*/ 513 w 658"/>
                <a:gd name="T55" fmla="*/ 602 h 658"/>
                <a:gd name="T56" fmla="*/ 427 w 658"/>
                <a:gd name="T57" fmla="*/ 643 h 658"/>
                <a:gd name="T58" fmla="*/ 378 w 658"/>
                <a:gd name="T59" fmla="*/ 654 h 658"/>
                <a:gd name="T60" fmla="*/ 329 w 658"/>
                <a:gd name="T61" fmla="*/ 658 h 658"/>
                <a:gd name="T62" fmla="*/ 329 w 658"/>
                <a:gd name="T63" fmla="*/ 37 h 658"/>
                <a:gd name="T64" fmla="*/ 243 w 658"/>
                <a:gd name="T65" fmla="*/ 51 h 658"/>
                <a:gd name="T66" fmla="*/ 166 w 658"/>
                <a:gd name="T67" fmla="*/ 87 h 658"/>
                <a:gd name="T68" fmla="*/ 104 w 658"/>
                <a:gd name="T69" fmla="*/ 143 h 658"/>
                <a:gd name="T70" fmla="*/ 60 w 658"/>
                <a:gd name="T71" fmla="*/ 216 h 658"/>
                <a:gd name="T72" fmla="*/ 40 w 658"/>
                <a:gd name="T73" fmla="*/ 299 h 658"/>
                <a:gd name="T74" fmla="*/ 40 w 658"/>
                <a:gd name="T75" fmla="*/ 358 h 658"/>
                <a:gd name="T76" fmla="*/ 60 w 658"/>
                <a:gd name="T77" fmla="*/ 442 h 658"/>
                <a:gd name="T78" fmla="*/ 104 w 658"/>
                <a:gd name="T79" fmla="*/ 514 h 658"/>
                <a:gd name="T80" fmla="*/ 166 w 658"/>
                <a:gd name="T81" fmla="*/ 571 h 658"/>
                <a:gd name="T82" fmla="*/ 243 w 658"/>
                <a:gd name="T83" fmla="*/ 607 h 658"/>
                <a:gd name="T84" fmla="*/ 329 w 658"/>
                <a:gd name="T85" fmla="*/ 620 h 658"/>
                <a:gd name="T86" fmla="*/ 388 w 658"/>
                <a:gd name="T87" fmla="*/ 614 h 658"/>
                <a:gd name="T88" fmla="*/ 467 w 658"/>
                <a:gd name="T89" fmla="*/ 585 h 658"/>
                <a:gd name="T90" fmla="*/ 534 w 658"/>
                <a:gd name="T91" fmla="*/ 534 h 658"/>
                <a:gd name="T92" fmla="*/ 585 w 658"/>
                <a:gd name="T93" fmla="*/ 467 h 658"/>
                <a:gd name="T94" fmla="*/ 615 w 658"/>
                <a:gd name="T95" fmla="*/ 388 h 658"/>
                <a:gd name="T96" fmla="*/ 620 w 658"/>
                <a:gd name="T97" fmla="*/ 329 h 658"/>
                <a:gd name="T98" fmla="*/ 607 w 658"/>
                <a:gd name="T99" fmla="*/ 243 h 658"/>
                <a:gd name="T100" fmla="*/ 571 w 658"/>
                <a:gd name="T101" fmla="*/ 166 h 658"/>
                <a:gd name="T102" fmla="*/ 514 w 658"/>
                <a:gd name="T103" fmla="*/ 105 h 658"/>
                <a:gd name="T104" fmla="*/ 442 w 658"/>
                <a:gd name="T105" fmla="*/ 60 h 658"/>
                <a:gd name="T106" fmla="*/ 358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7"/>
                  </a:lnTo>
                  <a:lnTo>
                    <a:pt x="295" y="655"/>
                  </a:lnTo>
                  <a:lnTo>
                    <a:pt x="279" y="654"/>
                  </a:lnTo>
                  <a:lnTo>
                    <a:pt x="263" y="651"/>
                  </a:lnTo>
                  <a:lnTo>
                    <a:pt x="247" y="647"/>
                  </a:lnTo>
                  <a:lnTo>
                    <a:pt x="231" y="643"/>
                  </a:lnTo>
                  <a:lnTo>
                    <a:pt x="201" y="631"/>
                  </a:lnTo>
                  <a:lnTo>
                    <a:pt x="173" y="618"/>
                  </a:lnTo>
                  <a:lnTo>
                    <a:pt x="145" y="602"/>
                  </a:lnTo>
                  <a:lnTo>
                    <a:pt x="121" y="583"/>
                  </a:lnTo>
                  <a:lnTo>
                    <a:pt x="96" y="561"/>
                  </a:lnTo>
                  <a:lnTo>
                    <a:pt x="75" y="538"/>
                  </a:lnTo>
                  <a:lnTo>
                    <a:pt x="56" y="513"/>
                  </a:lnTo>
                  <a:lnTo>
                    <a:pt x="40" y="486"/>
                  </a:lnTo>
                  <a:lnTo>
                    <a:pt x="27" y="456"/>
                  </a:lnTo>
                  <a:lnTo>
                    <a:pt x="14" y="427"/>
                  </a:lnTo>
                  <a:lnTo>
                    <a:pt x="10" y="411"/>
                  </a:lnTo>
                  <a:lnTo>
                    <a:pt x="6" y="395"/>
                  </a:lnTo>
                  <a:lnTo>
                    <a:pt x="4" y="379"/>
                  </a:lnTo>
                  <a:lnTo>
                    <a:pt x="2" y="362"/>
                  </a:lnTo>
                  <a:lnTo>
                    <a:pt x="1" y="346"/>
                  </a:lnTo>
                  <a:lnTo>
                    <a:pt x="0" y="329"/>
                  </a:lnTo>
                  <a:lnTo>
                    <a:pt x="0" y="329"/>
                  </a:lnTo>
                  <a:lnTo>
                    <a:pt x="1" y="311"/>
                  </a:lnTo>
                  <a:lnTo>
                    <a:pt x="2" y="295"/>
                  </a:lnTo>
                  <a:lnTo>
                    <a:pt x="4" y="279"/>
                  </a:lnTo>
                  <a:lnTo>
                    <a:pt x="6" y="263"/>
                  </a:lnTo>
                  <a:lnTo>
                    <a:pt x="10" y="247"/>
                  </a:lnTo>
                  <a:lnTo>
                    <a:pt x="14" y="231"/>
                  </a:lnTo>
                  <a:lnTo>
                    <a:pt x="27" y="201"/>
                  </a:lnTo>
                  <a:lnTo>
                    <a:pt x="40" y="172"/>
                  </a:lnTo>
                  <a:lnTo>
                    <a:pt x="56" y="145"/>
                  </a:lnTo>
                  <a:lnTo>
                    <a:pt x="75" y="119"/>
                  </a:lnTo>
                  <a:lnTo>
                    <a:pt x="96" y="96"/>
                  </a:lnTo>
                  <a:lnTo>
                    <a:pt x="121" y="75"/>
                  </a:lnTo>
                  <a:lnTo>
                    <a:pt x="145" y="56"/>
                  </a:lnTo>
                  <a:lnTo>
                    <a:pt x="173" y="40"/>
                  </a:lnTo>
                  <a:lnTo>
                    <a:pt x="201" y="27"/>
                  </a:lnTo>
                  <a:lnTo>
                    <a:pt x="231" y="14"/>
                  </a:lnTo>
                  <a:lnTo>
                    <a:pt x="247" y="10"/>
                  </a:lnTo>
                  <a:lnTo>
                    <a:pt x="263" y="6"/>
                  </a:lnTo>
                  <a:lnTo>
                    <a:pt x="279" y="4"/>
                  </a:lnTo>
                  <a:lnTo>
                    <a:pt x="295" y="2"/>
                  </a:lnTo>
                  <a:lnTo>
                    <a:pt x="313" y="1"/>
                  </a:lnTo>
                  <a:lnTo>
                    <a:pt x="329" y="0"/>
                  </a:lnTo>
                  <a:lnTo>
                    <a:pt x="329" y="0"/>
                  </a:lnTo>
                  <a:lnTo>
                    <a:pt x="346" y="1"/>
                  </a:lnTo>
                  <a:lnTo>
                    <a:pt x="362" y="2"/>
                  </a:lnTo>
                  <a:lnTo>
                    <a:pt x="378" y="4"/>
                  </a:lnTo>
                  <a:lnTo>
                    <a:pt x="395" y="6"/>
                  </a:lnTo>
                  <a:lnTo>
                    <a:pt x="411" y="10"/>
                  </a:lnTo>
                  <a:lnTo>
                    <a:pt x="427" y="14"/>
                  </a:lnTo>
                  <a:lnTo>
                    <a:pt x="456" y="27"/>
                  </a:lnTo>
                  <a:lnTo>
                    <a:pt x="486" y="40"/>
                  </a:lnTo>
                  <a:lnTo>
                    <a:pt x="513" y="56"/>
                  </a:lnTo>
                  <a:lnTo>
                    <a:pt x="538" y="75"/>
                  </a:lnTo>
                  <a:lnTo>
                    <a:pt x="561" y="96"/>
                  </a:lnTo>
                  <a:lnTo>
                    <a:pt x="583" y="119"/>
                  </a:lnTo>
                  <a:lnTo>
                    <a:pt x="601" y="145"/>
                  </a:lnTo>
                  <a:lnTo>
                    <a:pt x="618" y="172"/>
                  </a:lnTo>
                  <a:lnTo>
                    <a:pt x="632" y="201"/>
                  </a:lnTo>
                  <a:lnTo>
                    <a:pt x="643" y="231"/>
                  </a:lnTo>
                  <a:lnTo>
                    <a:pt x="647" y="247"/>
                  </a:lnTo>
                  <a:lnTo>
                    <a:pt x="651" y="263"/>
                  </a:lnTo>
                  <a:lnTo>
                    <a:pt x="654" y="279"/>
                  </a:lnTo>
                  <a:lnTo>
                    <a:pt x="657" y="295"/>
                  </a:lnTo>
                  <a:lnTo>
                    <a:pt x="658" y="311"/>
                  </a:lnTo>
                  <a:lnTo>
                    <a:pt x="658" y="329"/>
                  </a:lnTo>
                  <a:lnTo>
                    <a:pt x="658" y="329"/>
                  </a:lnTo>
                  <a:lnTo>
                    <a:pt x="658" y="346"/>
                  </a:lnTo>
                  <a:lnTo>
                    <a:pt x="657" y="362"/>
                  </a:lnTo>
                  <a:lnTo>
                    <a:pt x="654" y="379"/>
                  </a:lnTo>
                  <a:lnTo>
                    <a:pt x="651" y="395"/>
                  </a:lnTo>
                  <a:lnTo>
                    <a:pt x="647" y="411"/>
                  </a:lnTo>
                  <a:lnTo>
                    <a:pt x="643" y="427"/>
                  </a:lnTo>
                  <a:lnTo>
                    <a:pt x="632" y="456"/>
                  </a:lnTo>
                  <a:lnTo>
                    <a:pt x="618" y="486"/>
                  </a:lnTo>
                  <a:lnTo>
                    <a:pt x="601" y="513"/>
                  </a:lnTo>
                  <a:lnTo>
                    <a:pt x="583" y="538"/>
                  </a:lnTo>
                  <a:lnTo>
                    <a:pt x="561" y="561"/>
                  </a:lnTo>
                  <a:lnTo>
                    <a:pt x="538" y="583"/>
                  </a:lnTo>
                  <a:lnTo>
                    <a:pt x="513" y="602"/>
                  </a:lnTo>
                  <a:lnTo>
                    <a:pt x="486" y="618"/>
                  </a:lnTo>
                  <a:lnTo>
                    <a:pt x="456" y="631"/>
                  </a:lnTo>
                  <a:lnTo>
                    <a:pt x="427" y="643"/>
                  </a:lnTo>
                  <a:lnTo>
                    <a:pt x="411" y="647"/>
                  </a:lnTo>
                  <a:lnTo>
                    <a:pt x="395" y="651"/>
                  </a:lnTo>
                  <a:lnTo>
                    <a:pt x="378" y="654"/>
                  </a:lnTo>
                  <a:lnTo>
                    <a:pt x="362" y="655"/>
                  </a:lnTo>
                  <a:lnTo>
                    <a:pt x="346" y="657"/>
                  </a:lnTo>
                  <a:lnTo>
                    <a:pt x="329" y="658"/>
                  </a:lnTo>
                  <a:lnTo>
                    <a:pt x="329" y="658"/>
                  </a:lnTo>
                  <a:close/>
                  <a:moveTo>
                    <a:pt x="329" y="37"/>
                  </a:moveTo>
                  <a:lnTo>
                    <a:pt x="329" y="37"/>
                  </a:lnTo>
                  <a:lnTo>
                    <a:pt x="299" y="39"/>
                  </a:lnTo>
                  <a:lnTo>
                    <a:pt x="271" y="44"/>
                  </a:lnTo>
                  <a:lnTo>
                    <a:pt x="243" y="51"/>
                  </a:lnTo>
                  <a:lnTo>
                    <a:pt x="216" y="60"/>
                  </a:lnTo>
                  <a:lnTo>
                    <a:pt x="190" y="72"/>
                  </a:lnTo>
                  <a:lnTo>
                    <a:pt x="166" y="87"/>
                  </a:lnTo>
                  <a:lnTo>
                    <a:pt x="143" y="105"/>
                  </a:lnTo>
                  <a:lnTo>
                    <a:pt x="123" y="123"/>
                  </a:lnTo>
                  <a:lnTo>
                    <a:pt x="104" y="143"/>
                  </a:lnTo>
                  <a:lnTo>
                    <a:pt x="88" y="166"/>
                  </a:lnTo>
                  <a:lnTo>
                    <a:pt x="74" y="190"/>
                  </a:lnTo>
                  <a:lnTo>
                    <a:pt x="60" y="216"/>
                  </a:lnTo>
                  <a:lnTo>
                    <a:pt x="51" y="243"/>
                  </a:lnTo>
                  <a:lnTo>
                    <a:pt x="44" y="270"/>
                  </a:lnTo>
                  <a:lnTo>
                    <a:pt x="40" y="299"/>
                  </a:lnTo>
                  <a:lnTo>
                    <a:pt x="37" y="329"/>
                  </a:lnTo>
                  <a:lnTo>
                    <a:pt x="37" y="329"/>
                  </a:lnTo>
                  <a:lnTo>
                    <a:pt x="40" y="358"/>
                  </a:lnTo>
                  <a:lnTo>
                    <a:pt x="44" y="388"/>
                  </a:lnTo>
                  <a:lnTo>
                    <a:pt x="51" y="415"/>
                  </a:lnTo>
                  <a:lnTo>
                    <a:pt x="60" y="442"/>
                  </a:lnTo>
                  <a:lnTo>
                    <a:pt x="74" y="467"/>
                  </a:lnTo>
                  <a:lnTo>
                    <a:pt x="88" y="491"/>
                  </a:lnTo>
                  <a:lnTo>
                    <a:pt x="104" y="514"/>
                  </a:lnTo>
                  <a:lnTo>
                    <a:pt x="123" y="534"/>
                  </a:lnTo>
                  <a:lnTo>
                    <a:pt x="143" y="553"/>
                  </a:lnTo>
                  <a:lnTo>
                    <a:pt x="166" y="571"/>
                  </a:lnTo>
                  <a:lnTo>
                    <a:pt x="190" y="585"/>
                  </a:lnTo>
                  <a:lnTo>
                    <a:pt x="216" y="598"/>
                  </a:lnTo>
                  <a:lnTo>
                    <a:pt x="243" y="607"/>
                  </a:lnTo>
                  <a:lnTo>
                    <a:pt x="271" y="614"/>
                  </a:lnTo>
                  <a:lnTo>
                    <a:pt x="299" y="619"/>
                  </a:lnTo>
                  <a:lnTo>
                    <a:pt x="329" y="620"/>
                  </a:lnTo>
                  <a:lnTo>
                    <a:pt x="329" y="620"/>
                  </a:lnTo>
                  <a:lnTo>
                    <a:pt x="358" y="619"/>
                  </a:lnTo>
                  <a:lnTo>
                    <a:pt x="388" y="614"/>
                  </a:lnTo>
                  <a:lnTo>
                    <a:pt x="416" y="607"/>
                  </a:lnTo>
                  <a:lnTo>
                    <a:pt x="442" y="598"/>
                  </a:lnTo>
                  <a:lnTo>
                    <a:pt x="467" y="585"/>
                  </a:lnTo>
                  <a:lnTo>
                    <a:pt x="491" y="571"/>
                  </a:lnTo>
                  <a:lnTo>
                    <a:pt x="514" y="553"/>
                  </a:lnTo>
                  <a:lnTo>
                    <a:pt x="534" y="534"/>
                  </a:lnTo>
                  <a:lnTo>
                    <a:pt x="553" y="514"/>
                  </a:lnTo>
                  <a:lnTo>
                    <a:pt x="571" y="491"/>
                  </a:lnTo>
                  <a:lnTo>
                    <a:pt x="585" y="467"/>
                  </a:lnTo>
                  <a:lnTo>
                    <a:pt x="597" y="442"/>
                  </a:lnTo>
                  <a:lnTo>
                    <a:pt x="607" y="415"/>
                  </a:lnTo>
                  <a:lnTo>
                    <a:pt x="615" y="388"/>
                  </a:lnTo>
                  <a:lnTo>
                    <a:pt x="619" y="358"/>
                  </a:lnTo>
                  <a:lnTo>
                    <a:pt x="620" y="329"/>
                  </a:lnTo>
                  <a:lnTo>
                    <a:pt x="620" y="329"/>
                  </a:lnTo>
                  <a:lnTo>
                    <a:pt x="619" y="299"/>
                  </a:lnTo>
                  <a:lnTo>
                    <a:pt x="615" y="270"/>
                  </a:lnTo>
                  <a:lnTo>
                    <a:pt x="607" y="243"/>
                  </a:lnTo>
                  <a:lnTo>
                    <a:pt x="597" y="216"/>
                  </a:lnTo>
                  <a:lnTo>
                    <a:pt x="585" y="190"/>
                  </a:lnTo>
                  <a:lnTo>
                    <a:pt x="571" y="166"/>
                  </a:lnTo>
                  <a:lnTo>
                    <a:pt x="553" y="143"/>
                  </a:lnTo>
                  <a:lnTo>
                    <a:pt x="534" y="123"/>
                  </a:lnTo>
                  <a:lnTo>
                    <a:pt x="514" y="105"/>
                  </a:lnTo>
                  <a:lnTo>
                    <a:pt x="491" y="87"/>
                  </a:lnTo>
                  <a:lnTo>
                    <a:pt x="467" y="72"/>
                  </a:lnTo>
                  <a:lnTo>
                    <a:pt x="442" y="60"/>
                  </a:lnTo>
                  <a:lnTo>
                    <a:pt x="416" y="51"/>
                  </a:lnTo>
                  <a:lnTo>
                    <a:pt x="388" y="44"/>
                  </a:lnTo>
                  <a:lnTo>
                    <a:pt x="358" y="39"/>
                  </a:lnTo>
                  <a:lnTo>
                    <a:pt x="329" y="37"/>
                  </a:lnTo>
                  <a:lnTo>
                    <a:pt x="329"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Freeform 290">
              <a:extLst>
                <a:ext uri="{FF2B5EF4-FFF2-40B4-BE49-F238E27FC236}">
                  <a16:creationId xmlns:a16="http://schemas.microsoft.com/office/drawing/2014/main" id="{51AB05DB-E0E7-4E57-8553-96FB2F2D5B6B}"/>
                </a:ext>
              </a:extLst>
            </p:cNvPr>
            <p:cNvSpPr>
              <a:spLocks/>
            </p:cNvSpPr>
            <p:nvPr/>
          </p:nvSpPr>
          <p:spPr bwMode="auto">
            <a:xfrm>
              <a:off x="8659813" y="5991225"/>
              <a:ext cx="158750" cy="255588"/>
            </a:xfrm>
            <a:custGeom>
              <a:avLst/>
              <a:gdLst>
                <a:gd name="T0" fmla="*/ 200 w 200"/>
                <a:gd name="T1" fmla="*/ 189 h 322"/>
                <a:gd name="T2" fmla="*/ 198 w 200"/>
                <a:gd name="T3" fmla="*/ 197 h 322"/>
                <a:gd name="T4" fmla="*/ 189 w 200"/>
                <a:gd name="T5" fmla="*/ 200 h 322"/>
                <a:gd name="T6" fmla="*/ 179 w 200"/>
                <a:gd name="T7" fmla="*/ 233 h 322"/>
                <a:gd name="T8" fmla="*/ 177 w 200"/>
                <a:gd name="T9" fmla="*/ 239 h 322"/>
                <a:gd name="T10" fmla="*/ 112 w 200"/>
                <a:gd name="T11" fmla="*/ 284 h 322"/>
                <a:gd name="T12" fmla="*/ 112 w 200"/>
                <a:gd name="T13" fmla="*/ 311 h 322"/>
                <a:gd name="T14" fmla="*/ 109 w 200"/>
                <a:gd name="T15" fmla="*/ 319 h 322"/>
                <a:gd name="T16" fmla="*/ 101 w 200"/>
                <a:gd name="T17" fmla="*/ 322 h 322"/>
                <a:gd name="T18" fmla="*/ 95 w 200"/>
                <a:gd name="T19" fmla="*/ 322 h 322"/>
                <a:gd name="T20" fmla="*/ 90 w 200"/>
                <a:gd name="T21" fmla="*/ 315 h 322"/>
                <a:gd name="T22" fmla="*/ 89 w 200"/>
                <a:gd name="T23" fmla="*/ 251 h 322"/>
                <a:gd name="T24" fmla="*/ 27 w 200"/>
                <a:gd name="T25" fmla="*/ 209 h 322"/>
                <a:gd name="T26" fmla="*/ 23 w 200"/>
                <a:gd name="T27" fmla="*/ 200 h 322"/>
                <a:gd name="T28" fmla="*/ 23 w 200"/>
                <a:gd name="T29" fmla="*/ 165 h 322"/>
                <a:gd name="T30" fmla="*/ 7 w 200"/>
                <a:gd name="T31" fmla="*/ 153 h 322"/>
                <a:gd name="T32" fmla="*/ 0 w 200"/>
                <a:gd name="T33" fmla="*/ 138 h 322"/>
                <a:gd name="T34" fmla="*/ 0 w 200"/>
                <a:gd name="T35" fmla="*/ 133 h 322"/>
                <a:gd name="T36" fmla="*/ 3 w 200"/>
                <a:gd name="T37" fmla="*/ 121 h 322"/>
                <a:gd name="T38" fmla="*/ 9 w 200"/>
                <a:gd name="T39" fmla="*/ 110 h 322"/>
                <a:gd name="T40" fmla="*/ 20 w 200"/>
                <a:gd name="T41" fmla="*/ 102 h 322"/>
                <a:gd name="T42" fmla="*/ 34 w 200"/>
                <a:gd name="T43" fmla="*/ 99 h 322"/>
                <a:gd name="T44" fmla="*/ 40 w 200"/>
                <a:gd name="T45" fmla="*/ 100 h 322"/>
                <a:gd name="T46" fmla="*/ 52 w 200"/>
                <a:gd name="T47" fmla="*/ 106 h 322"/>
                <a:gd name="T48" fmla="*/ 62 w 200"/>
                <a:gd name="T49" fmla="*/ 114 h 322"/>
                <a:gd name="T50" fmla="*/ 66 w 200"/>
                <a:gd name="T51" fmla="*/ 126 h 322"/>
                <a:gd name="T52" fmla="*/ 67 w 200"/>
                <a:gd name="T53" fmla="*/ 133 h 322"/>
                <a:gd name="T54" fmla="*/ 66 w 200"/>
                <a:gd name="T55" fmla="*/ 143 h 322"/>
                <a:gd name="T56" fmla="*/ 54 w 200"/>
                <a:gd name="T57" fmla="*/ 160 h 322"/>
                <a:gd name="T58" fmla="*/ 44 w 200"/>
                <a:gd name="T59" fmla="*/ 194 h 322"/>
                <a:gd name="T60" fmla="*/ 89 w 200"/>
                <a:gd name="T61" fmla="*/ 65 h 322"/>
                <a:gd name="T62" fmla="*/ 101 w 200"/>
                <a:gd name="T63" fmla="*/ 0 h 322"/>
                <a:gd name="T64" fmla="*/ 112 w 200"/>
                <a:gd name="T65" fmla="*/ 65 h 322"/>
                <a:gd name="T66" fmla="*/ 156 w 200"/>
                <a:gd name="T67" fmla="*/ 228 h 322"/>
                <a:gd name="T68" fmla="*/ 145 w 200"/>
                <a:gd name="T69" fmla="*/ 200 h 322"/>
                <a:gd name="T70" fmla="*/ 141 w 200"/>
                <a:gd name="T71" fmla="*/ 198 h 322"/>
                <a:gd name="T72" fmla="*/ 134 w 200"/>
                <a:gd name="T73" fmla="*/ 193 h 322"/>
                <a:gd name="T74" fmla="*/ 134 w 200"/>
                <a:gd name="T75" fmla="*/ 145 h 322"/>
                <a:gd name="T76" fmla="*/ 134 w 200"/>
                <a:gd name="T77" fmla="*/ 139 h 322"/>
                <a:gd name="T78" fmla="*/ 141 w 200"/>
                <a:gd name="T79" fmla="*/ 134 h 322"/>
                <a:gd name="T80" fmla="*/ 189 w 200"/>
                <a:gd name="T81" fmla="*/ 133 h 322"/>
                <a:gd name="T82" fmla="*/ 193 w 200"/>
                <a:gd name="T83" fmla="*/ 134 h 322"/>
                <a:gd name="T84" fmla="*/ 200 w 200"/>
                <a:gd name="T85" fmla="*/ 139 h 322"/>
                <a:gd name="T86" fmla="*/ 200 w 200"/>
                <a:gd name="T87" fmla="*/ 18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0" h="322">
                  <a:moveTo>
                    <a:pt x="200" y="189"/>
                  </a:moveTo>
                  <a:lnTo>
                    <a:pt x="200" y="189"/>
                  </a:lnTo>
                  <a:lnTo>
                    <a:pt x="200" y="193"/>
                  </a:lnTo>
                  <a:lnTo>
                    <a:pt x="198" y="197"/>
                  </a:lnTo>
                  <a:lnTo>
                    <a:pt x="193" y="198"/>
                  </a:lnTo>
                  <a:lnTo>
                    <a:pt x="189" y="200"/>
                  </a:lnTo>
                  <a:lnTo>
                    <a:pt x="179" y="200"/>
                  </a:lnTo>
                  <a:lnTo>
                    <a:pt x="179" y="233"/>
                  </a:lnTo>
                  <a:lnTo>
                    <a:pt x="179" y="233"/>
                  </a:lnTo>
                  <a:lnTo>
                    <a:pt x="177" y="239"/>
                  </a:lnTo>
                  <a:lnTo>
                    <a:pt x="173" y="243"/>
                  </a:lnTo>
                  <a:lnTo>
                    <a:pt x="112" y="284"/>
                  </a:lnTo>
                  <a:lnTo>
                    <a:pt x="112" y="311"/>
                  </a:lnTo>
                  <a:lnTo>
                    <a:pt x="112" y="311"/>
                  </a:lnTo>
                  <a:lnTo>
                    <a:pt x="110" y="315"/>
                  </a:lnTo>
                  <a:lnTo>
                    <a:pt x="109" y="319"/>
                  </a:lnTo>
                  <a:lnTo>
                    <a:pt x="105" y="322"/>
                  </a:lnTo>
                  <a:lnTo>
                    <a:pt x="101" y="322"/>
                  </a:lnTo>
                  <a:lnTo>
                    <a:pt x="101" y="322"/>
                  </a:lnTo>
                  <a:lnTo>
                    <a:pt x="95" y="322"/>
                  </a:lnTo>
                  <a:lnTo>
                    <a:pt x="93" y="319"/>
                  </a:lnTo>
                  <a:lnTo>
                    <a:pt x="90" y="315"/>
                  </a:lnTo>
                  <a:lnTo>
                    <a:pt x="89" y="311"/>
                  </a:lnTo>
                  <a:lnTo>
                    <a:pt x="89" y="251"/>
                  </a:lnTo>
                  <a:lnTo>
                    <a:pt x="27" y="209"/>
                  </a:lnTo>
                  <a:lnTo>
                    <a:pt x="27" y="209"/>
                  </a:lnTo>
                  <a:lnTo>
                    <a:pt x="24" y="205"/>
                  </a:lnTo>
                  <a:lnTo>
                    <a:pt x="23" y="200"/>
                  </a:lnTo>
                  <a:lnTo>
                    <a:pt x="23" y="165"/>
                  </a:lnTo>
                  <a:lnTo>
                    <a:pt x="23" y="165"/>
                  </a:lnTo>
                  <a:lnTo>
                    <a:pt x="13" y="160"/>
                  </a:lnTo>
                  <a:lnTo>
                    <a:pt x="7" y="153"/>
                  </a:lnTo>
                  <a:lnTo>
                    <a:pt x="1" y="143"/>
                  </a:lnTo>
                  <a:lnTo>
                    <a:pt x="0" y="138"/>
                  </a:lnTo>
                  <a:lnTo>
                    <a:pt x="0" y="133"/>
                  </a:lnTo>
                  <a:lnTo>
                    <a:pt x="0" y="133"/>
                  </a:lnTo>
                  <a:lnTo>
                    <a:pt x="0" y="126"/>
                  </a:lnTo>
                  <a:lnTo>
                    <a:pt x="3" y="121"/>
                  </a:lnTo>
                  <a:lnTo>
                    <a:pt x="5" y="114"/>
                  </a:lnTo>
                  <a:lnTo>
                    <a:pt x="9" y="110"/>
                  </a:lnTo>
                  <a:lnTo>
                    <a:pt x="15" y="106"/>
                  </a:lnTo>
                  <a:lnTo>
                    <a:pt x="20" y="102"/>
                  </a:lnTo>
                  <a:lnTo>
                    <a:pt x="27" y="100"/>
                  </a:lnTo>
                  <a:lnTo>
                    <a:pt x="34" y="99"/>
                  </a:lnTo>
                  <a:lnTo>
                    <a:pt x="34" y="99"/>
                  </a:lnTo>
                  <a:lnTo>
                    <a:pt x="40" y="100"/>
                  </a:lnTo>
                  <a:lnTo>
                    <a:pt x="47" y="102"/>
                  </a:lnTo>
                  <a:lnTo>
                    <a:pt x="52" y="106"/>
                  </a:lnTo>
                  <a:lnTo>
                    <a:pt x="56" y="110"/>
                  </a:lnTo>
                  <a:lnTo>
                    <a:pt x="62" y="114"/>
                  </a:lnTo>
                  <a:lnTo>
                    <a:pt x="65" y="121"/>
                  </a:lnTo>
                  <a:lnTo>
                    <a:pt x="66" y="126"/>
                  </a:lnTo>
                  <a:lnTo>
                    <a:pt x="67" y="133"/>
                  </a:lnTo>
                  <a:lnTo>
                    <a:pt x="67" y="133"/>
                  </a:lnTo>
                  <a:lnTo>
                    <a:pt x="66" y="138"/>
                  </a:lnTo>
                  <a:lnTo>
                    <a:pt x="66" y="143"/>
                  </a:lnTo>
                  <a:lnTo>
                    <a:pt x="61" y="153"/>
                  </a:lnTo>
                  <a:lnTo>
                    <a:pt x="54" y="160"/>
                  </a:lnTo>
                  <a:lnTo>
                    <a:pt x="44" y="165"/>
                  </a:lnTo>
                  <a:lnTo>
                    <a:pt x="44" y="194"/>
                  </a:lnTo>
                  <a:lnTo>
                    <a:pt x="89" y="224"/>
                  </a:lnTo>
                  <a:lnTo>
                    <a:pt x="89" y="65"/>
                  </a:lnTo>
                  <a:lnTo>
                    <a:pt x="44" y="65"/>
                  </a:lnTo>
                  <a:lnTo>
                    <a:pt x="101" y="0"/>
                  </a:lnTo>
                  <a:lnTo>
                    <a:pt x="156" y="65"/>
                  </a:lnTo>
                  <a:lnTo>
                    <a:pt x="112" y="65"/>
                  </a:lnTo>
                  <a:lnTo>
                    <a:pt x="112" y="258"/>
                  </a:lnTo>
                  <a:lnTo>
                    <a:pt x="156" y="228"/>
                  </a:lnTo>
                  <a:lnTo>
                    <a:pt x="156" y="200"/>
                  </a:lnTo>
                  <a:lnTo>
                    <a:pt x="145" y="200"/>
                  </a:lnTo>
                  <a:lnTo>
                    <a:pt x="145" y="200"/>
                  </a:lnTo>
                  <a:lnTo>
                    <a:pt x="141" y="198"/>
                  </a:lnTo>
                  <a:lnTo>
                    <a:pt x="137" y="197"/>
                  </a:lnTo>
                  <a:lnTo>
                    <a:pt x="134" y="193"/>
                  </a:lnTo>
                  <a:lnTo>
                    <a:pt x="134" y="189"/>
                  </a:lnTo>
                  <a:lnTo>
                    <a:pt x="134" y="145"/>
                  </a:lnTo>
                  <a:lnTo>
                    <a:pt x="134" y="145"/>
                  </a:lnTo>
                  <a:lnTo>
                    <a:pt x="134" y="139"/>
                  </a:lnTo>
                  <a:lnTo>
                    <a:pt x="137" y="137"/>
                  </a:lnTo>
                  <a:lnTo>
                    <a:pt x="141" y="134"/>
                  </a:lnTo>
                  <a:lnTo>
                    <a:pt x="145" y="133"/>
                  </a:lnTo>
                  <a:lnTo>
                    <a:pt x="189" y="133"/>
                  </a:lnTo>
                  <a:lnTo>
                    <a:pt x="189" y="133"/>
                  </a:lnTo>
                  <a:lnTo>
                    <a:pt x="193" y="134"/>
                  </a:lnTo>
                  <a:lnTo>
                    <a:pt x="198" y="137"/>
                  </a:lnTo>
                  <a:lnTo>
                    <a:pt x="200" y="139"/>
                  </a:lnTo>
                  <a:lnTo>
                    <a:pt x="200" y="145"/>
                  </a:lnTo>
                  <a:lnTo>
                    <a:pt x="200"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4" name="Group 43">
            <a:extLst>
              <a:ext uri="{FF2B5EF4-FFF2-40B4-BE49-F238E27FC236}">
                <a16:creationId xmlns:a16="http://schemas.microsoft.com/office/drawing/2014/main" id="{90B25613-A0C4-4169-9AF1-4E987AADD6A0}"/>
              </a:ext>
            </a:extLst>
          </p:cNvPr>
          <p:cNvGrpSpPr>
            <a:grpSpLocks noChangeAspect="1"/>
          </p:cNvGrpSpPr>
          <p:nvPr/>
        </p:nvGrpSpPr>
        <p:grpSpPr>
          <a:xfrm>
            <a:off x="935888" y="5716738"/>
            <a:ext cx="380384" cy="381544"/>
            <a:chOff x="5837238" y="4180523"/>
            <a:chExt cx="520700" cy="522288"/>
          </a:xfrm>
          <a:solidFill>
            <a:schemeClr val="tx1"/>
          </a:solidFill>
        </p:grpSpPr>
        <p:sp>
          <p:nvSpPr>
            <p:cNvPr id="45" name="Freeform 72">
              <a:extLst>
                <a:ext uri="{FF2B5EF4-FFF2-40B4-BE49-F238E27FC236}">
                  <a16:creationId xmlns:a16="http://schemas.microsoft.com/office/drawing/2014/main" id="{703285E0-6DBF-4652-9DF2-15723E9BB683}"/>
                </a:ext>
              </a:extLst>
            </p:cNvPr>
            <p:cNvSpPr>
              <a:spLocks noEditPoints="1"/>
            </p:cNvSpPr>
            <p:nvPr/>
          </p:nvSpPr>
          <p:spPr bwMode="auto">
            <a:xfrm>
              <a:off x="5837238" y="4180523"/>
              <a:ext cx="520700" cy="522288"/>
            </a:xfrm>
            <a:custGeom>
              <a:avLst/>
              <a:gdLst>
                <a:gd name="T0" fmla="*/ 312 w 658"/>
                <a:gd name="T1" fmla="*/ 657 h 657"/>
                <a:gd name="T2" fmla="*/ 262 w 658"/>
                <a:gd name="T3" fmla="*/ 650 h 657"/>
                <a:gd name="T4" fmla="*/ 201 w 658"/>
                <a:gd name="T5" fmla="*/ 632 h 657"/>
                <a:gd name="T6" fmla="*/ 120 w 658"/>
                <a:gd name="T7" fmla="*/ 582 h 657"/>
                <a:gd name="T8" fmla="*/ 57 w 658"/>
                <a:gd name="T9" fmla="*/ 512 h 657"/>
                <a:gd name="T10" fmla="*/ 15 w 658"/>
                <a:gd name="T11" fmla="*/ 426 h 657"/>
                <a:gd name="T12" fmla="*/ 4 w 658"/>
                <a:gd name="T13" fmla="*/ 379 h 657"/>
                <a:gd name="T14" fmla="*/ 0 w 658"/>
                <a:gd name="T15" fmla="*/ 329 h 657"/>
                <a:gd name="T16" fmla="*/ 2 w 658"/>
                <a:gd name="T17" fmla="*/ 296 h 657"/>
                <a:gd name="T18" fmla="*/ 10 w 658"/>
                <a:gd name="T19" fmla="*/ 246 h 657"/>
                <a:gd name="T20" fmla="*/ 39 w 658"/>
                <a:gd name="T21" fmla="*/ 172 h 657"/>
                <a:gd name="T22" fmla="*/ 96 w 658"/>
                <a:gd name="T23" fmla="*/ 97 h 657"/>
                <a:gd name="T24" fmla="*/ 172 w 658"/>
                <a:gd name="T25" fmla="*/ 39 h 657"/>
                <a:gd name="T26" fmla="*/ 246 w 658"/>
                <a:gd name="T27" fmla="*/ 9 h 657"/>
                <a:gd name="T28" fmla="*/ 295 w 658"/>
                <a:gd name="T29" fmla="*/ 1 h 657"/>
                <a:gd name="T30" fmla="*/ 328 w 658"/>
                <a:gd name="T31" fmla="*/ 0 h 657"/>
                <a:gd name="T32" fmla="*/ 379 w 658"/>
                <a:gd name="T33" fmla="*/ 4 h 657"/>
                <a:gd name="T34" fmla="*/ 426 w 658"/>
                <a:gd name="T35" fmla="*/ 15 h 657"/>
                <a:gd name="T36" fmla="*/ 512 w 658"/>
                <a:gd name="T37" fmla="*/ 56 h 657"/>
                <a:gd name="T38" fmla="*/ 582 w 658"/>
                <a:gd name="T39" fmla="*/ 119 h 657"/>
                <a:gd name="T40" fmla="*/ 632 w 658"/>
                <a:gd name="T41" fmla="*/ 200 h 657"/>
                <a:gd name="T42" fmla="*/ 651 w 658"/>
                <a:gd name="T43" fmla="*/ 262 h 657"/>
                <a:gd name="T44" fmla="*/ 658 w 658"/>
                <a:gd name="T45" fmla="*/ 312 h 657"/>
                <a:gd name="T46" fmla="*/ 658 w 658"/>
                <a:gd name="T47" fmla="*/ 345 h 657"/>
                <a:gd name="T48" fmla="*/ 651 w 658"/>
                <a:gd name="T49" fmla="*/ 395 h 657"/>
                <a:gd name="T50" fmla="*/ 632 w 658"/>
                <a:gd name="T51" fmla="*/ 457 h 657"/>
                <a:gd name="T52" fmla="*/ 582 w 658"/>
                <a:gd name="T53" fmla="*/ 537 h 657"/>
                <a:gd name="T54" fmla="*/ 512 w 658"/>
                <a:gd name="T55" fmla="*/ 601 h 657"/>
                <a:gd name="T56" fmla="*/ 426 w 658"/>
                <a:gd name="T57" fmla="*/ 642 h 657"/>
                <a:gd name="T58" fmla="*/ 379 w 658"/>
                <a:gd name="T59" fmla="*/ 653 h 657"/>
                <a:gd name="T60" fmla="*/ 328 w 658"/>
                <a:gd name="T61" fmla="*/ 657 h 657"/>
                <a:gd name="T62" fmla="*/ 328 w 658"/>
                <a:gd name="T63" fmla="*/ 37 h 657"/>
                <a:gd name="T64" fmla="*/ 242 w 658"/>
                <a:gd name="T65" fmla="*/ 51 h 657"/>
                <a:gd name="T66" fmla="*/ 166 w 658"/>
                <a:gd name="T67" fmla="*/ 87 h 657"/>
                <a:gd name="T68" fmla="*/ 104 w 658"/>
                <a:gd name="T69" fmla="*/ 144 h 657"/>
                <a:gd name="T70" fmla="*/ 61 w 658"/>
                <a:gd name="T71" fmla="*/ 215 h 657"/>
                <a:gd name="T72" fmla="*/ 39 w 658"/>
                <a:gd name="T73" fmla="*/ 298 h 657"/>
                <a:gd name="T74" fmla="*/ 39 w 658"/>
                <a:gd name="T75" fmla="*/ 359 h 657"/>
                <a:gd name="T76" fmla="*/ 61 w 658"/>
                <a:gd name="T77" fmla="*/ 442 h 657"/>
                <a:gd name="T78" fmla="*/ 104 w 658"/>
                <a:gd name="T79" fmla="*/ 513 h 657"/>
                <a:gd name="T80" fmla="*/ 166 w 658"/>
                <a:gd name="T81" fmla="*/ 570 h 657"/>
                <a:gd name="T82" fmla="*/ 242 w 658"/>
                <a:gd name="T83" fmla="*/ 607 h 657"/>
                <a:gd name="T84" fmla="*/ 328 w 658"/>
                <a:gd name="T85" fmla="*/ 619 h 657"/>
                <a:gd name="T86" fmla="*/ 387 w 658"/>
                <a:gd name="T87" fmla="*/ 614 h 657"/>
                <a:gd name="T88" fmla="*/ 468 w 658"/>
                <a:gd name="T89" fmla="*/ 584 h 657"/>
                <a:gd name="T90" fmla="*/ 535 w 658"/>
                <a:gd name="T91" fmla="*/ 535 h 657"/>
                <a:gd name="T92" fmla="*/ 585 w 658"/>
                <a:gd name="T93" fmla="*/ 468 h 657"/>
                <a:gd name="T94" fmla="*/ 615 w 658"/>
                <a:gd name="T95" fmla="*/ 387 h 657"/>
                <a:gd name="T96" fmla="*/ 620 w 658"/>
                <a:gd name="T97" fmla="*/ 329 h 657"/>
                <a:gd name="T98" fmla="*/ 607 w 658"/>
                <a:gd name="T99" fmla="*/ 242 h 657"/>
                <a:gd name="T100" fmla="*/ 570 w 658"/>
                <a:gd name="T101" fmla="*/ 165 h 657"/>
                <a:gd name="T102" fmla="*/ 514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8" y="657"/>
                  </a:moveTo>
                  <a:lnTo>
                    <a:pt x="328" y="657"/>
                  </a:lnTo>
                  <a:lnTo>
                    <a:pt x="312" y="657"/>
                  </a:lnTo>
                  <a:lnTo>
                    <a:pt x="295" y="656"/>
                  </a:lnTo>
                  <a:lnTo>
                    <a:pt x="279" y="653"/>
                  </a:lnTo>
                  <a:lnTo>
                    <a:pt x="262" y="650"/>
                  </a:lnTo>
                  <a:lnTo>
                    <a:pt x="246" y="648"/>
                  </a:lnTo>
                  <a:lnTo>
                    <a:pt x="232" y="642"/>
                  </a:lnTo>
                  <a:lnTo>
                    <a:pt x="201" y="632"/>
                  </a:lnTo>
                  <a:lnTo>
                    <a:pt x="172" y="618"/>
                  </a:lnTo>
                  <a:lnTo>
                    <a:pt x="146" y="601"/>
                  </a:lnTo>
                  <a:lnTo>
                    <a:pt x="120" y="582"/>
                  </a:lnTo>
                  <a:lnTo>
                    <a:pt x="96" y="562"/>
                  </a:lnTo>
                  <a:lnTo>
                    <a:pt x="76" y="537"/>
                  </a:lnTo>
                  <a:lnTo>
                    <a:pt x="57" y="512"/>
                  </a:lnTo>
                  <a:lnTo>
                    <a:pt x="39" y="485"/>
                  </a:lnTo>
                  <a:lnTo>
                    <a:pt x="26" y="457"/>
                  </a:lnTo>
                  <a:lnTo>
                    <a:pt x="15" y="426"/>
                  </a:lnTo>
                  <a:lnTo>
                    <a:pt x="10" y="411"/>
                  </a:lnTo>
                  <a:lnTo>
                    <a:pt x="7" y="395"/>
                  </a:lnTo>
                  <a:lnTo>
                    <a:pt x="4" y="379"/>
                  </a:lnTo>
                  <a:lnTo>
                    <a:pt x="2" y="361"/>
                  </a:lnTo>
                  <a:lnTo>
                    <a:pt x="0" y="345"/>
                  </a:lnTo>
                  <a:lnTo>
                    <a:pt x="0" y="329"/>
                  </a:lnTo>
                  <a:lnTo>
                    <a:pt x="0" y="329"/>
                  </a:lnTo>
                  <a:lnTo>
                    <a:pt x="0" y="312"/>
                  </a:lnTo>
                  <a:lnTo>
                    <a:pt x="2" y="296"/>
                  </a:lnTo>
                  <a:lnTo>
                    <a:pt x="4" y="278"/>
                  </a:lnTo>
                  <a:lnTo>
                    <a:pt x="7" y="262"/>
                  </a:lnTo>
                  <a:lnTo>
                    <a:pt x="10" y="246"/>
                  </a:lnTo>
                  <a:lnTo>
                    <a:pt x="15" y="231"/>
                  </a:lnTo>
                  <a:lnTo>
                    <a:pt x="26" y="200"/>
                  </a:lnTo>
                  <a:lnTo>
                    <a:pt x="39" y="172"/>
                  </a:lnTo>
                  <a:lnTo>
                    <a:pt x="57" y="145"/>
                  </a:lnTo>
                  <a:lnTo>
                    <a:pt x="76" y="119"/>
                  </a:lnTo>
                  <a:lnTo>
                    <a:pt x="96" y="97"/>
                  </a:lnTo>
                  <a:lnTo>
                    <a:pt x="120" y="75"/>
                  </a:lnTo>
                  <a:lnTo>
                    <a:pt x="146" y="56"/>
                  </a:lnTo>
                  <a:lnTo>
                    <a:pt x="172" y="39"/>
                  </a:lnTo>
                  <a:lnTo>
                    <a:pt x="201" y="25"/>
                  </a:lnTo>
                  <a:lnTo>
                    <a:pt x="232" y="15"/>
                  </a:lnTo>
                  <a:lnTo>
                    <a:pt x="246" y="9"/>
                  </a:lnTo>
                  <a:lnTo>
                    <a:pt x="262" y="7"/>
                  </a:lnTo>
                  <a:lnTo>
                    <a:pt x="279" y="4"/>
                  </a:lnTo>
                  <a:lnTo>
                    <a:pt x="295" y="1"/>
                  </a:lnTo>
                  <a:lnTo>
                    <a:pt x="312" y="0"/>
                  </a:lnTo>
                  <a:lnTo>
                    <a:pt x="328" y="0"/>
                  </a:lnTo>
                  <a:lnTo>
                    <a:pt x="328" y="0"/>
                  </a:lnTo>
                  <a:lnTo>
                    <a:pt x="346" y="0"/>
                  </a:lnTo>
                  <a:lnTo>
                    <a:pt x="362" y="1"/>
                  </a:lnTo>
                  <a:lnTo>
                    <a:pt x="379" y="4"/>
                  </a:lnTo>
                  <a:lnTo>
                    <a:pt x="396" y="7"/>
                  </a:lnTo>
                  <a:lnTo>
                    <a:pt x="412" y="9"/>
                  </a:lnTo>
                  <a:lnTo>
                    <a:pt x="426" y="15"/>
                  </a:lnTo>
                  <a:lnTo>
                    <a:pt x="457" y="25"/>
                  </a:lnTo>
                  <a:lnTo>
                    <a:pt x="486" y="39"/>
                  </a:lnTo>
                  <a:lnTo>
                    <a:pt x="512" y="56"/>
                  </a:lnTo>
                  <a:lnTo>
                    <a:pt x="538" y="75"/>
                  </a:lnTo>
                  <a:lnTo>
                    <a:pt x="561" y="97"/>
                  </a:lnTo>
                  <a:lnTo>
                    <a:pt x="582" y="119"/>
                  </a:lnTo>
                  <a:lnTo>
                    <a:pt x="601" y="145"/>
                  </a:lnTo>
                  <a:lnTo>
                    <a:pt x="619" y="172"/>
                  </a:lnTo>
                  <a:lnTo>
                    <a:pt x="632" y="200"/>
                  </a:lnTo>
                  <a:lnTo>
                    <a:pt x="643" y="231"/>
                  </a:lnTo>
                  <a:lnTo>
                    <a:pt x="648" y="246"/>
                  </a:lnTo>
                  <a:lnTo>
                    <a:pt x="651" y="262"/>
                  </a:lnTo>
                  <a:lnTo>
                    <a:pt x="654" y="278"/>
                  </a:lnTo>
                  <a:lnTo>
                    <a:pt x="656" y="296"/>
                  </a:lnTo>
                  <a:lnTo>
                    <a:pt x="658" y="312"/>
                  </a:lnTo>
                  <a:lnTo>
                    <a:pt x="658" y="329"/>
                  </a:lnTo>
                  <a:lnTo>
                    <a:pt x="658" y="329"/>
                  </a:lnTo>
                  <a:lnTo>
                    <a:pt x="658" y="345"/>
                  </a:lnTo>
                  <a:lnTo>
                    <a:pt x="656" y="361"/>
                  </a:lnTo>
                  <a:lnTo>
                    <a:pt x="654" y="379"/>
                  </a:lnTo>
                  <a:lnTo>
                    <a:pt x="651" y="395"/>
                  </a:lnTo>
                  <a:lnTo>
                    <a:pt x="648" y="411"/>
                  </a:lnTo>
                  <a:lnTo>
                    <a:pt x="643" y="426"/>
                  </a:lnTo>
                  <a:lnTo>
                    <a:pt x="632" y="457"/>
                  </a:lnTo>
                  <a:lnTo>
                    <a:pt x="619" y="485"/>
                  </a:lnTo>
                  <a:lnTo>
                    <a:pt x="601" y="512"/>
                  </a:lnTo>
                  <a:lnTo>
                    <a:pt x="582" y="537"/>
                  </a:lnTo>
                  <a:lnTo>
                    <a:pt x="561" y="562"/>
                  </a:lnTo>
                  <a:lnTo>
                    <a:pt x="538" y="582"/>
                  </a:lnTo>
                  <a:lnTo>
                    <a:pt x="512" y="601"/>
                  </a:lnTo>
                  <a:lnTo>
                    <a:pt x="486" y="618"/>
                  </a:lnTo>
                  <a:lnTo>
                    <a:pt x="457" y="632"/>
                  </a:lnTo>
                  <a:lnTo>
                    <a:pt x="426" y="642"/>
                  </a:lnTo>
                  <a:lnTo>
                    <a:pt x="412" y="648"/>
                  </a:lnTo>
                  <a:lnTo>
                    <a:pt x="396" y="650"/>
                  </a:lnTo>
                  <a:lnTo>
                    <a:pt x="379" y="653"/>
                  </a:lnTo>
                  <a:lnTo>
                    <a:pt x="362" y="656"/>
                  </a:lnTo>
                  <a:lnTo>
                    <a:pt x="346" y="657"/>
                  </a:lnTo>
                  <a:lnTo>
                    <a:pt x="328" y="657"/>
                  </a:lnTo>
                  <a:lnTo>
                    <a:pt x="328" y="657"/>
                  </a:lnTo>
                  <a:close/>
                  <a:moveTo>
                    <a:pt x="328" y="37"/>
                  </a:moveTo>
                  <a:lnTo>
                    <a:pt x="328" y="37"/>
                  </a:lnTo>
                  <a:lnTo>
                    <a:pt x="299" y="39"/>
                  </a:lnTo>
                  <a:lnTo>
                    <a:pt x="271" y="43"/>
                  </a:lnTo>
                  <a:lnTo>
                    <a:pt x="242" y="51"/>
                  </a:lnTo>
                  <a:lnTo>
                    <a:pt x="215" y="60"/>
                  </a:lnTo>
                  <a:lnTo>
                    <a:pt x="190" y="72"/>
                  </a:lnTo>
                  <a:lnTo>
                    <a:pt x="166" y="87"/>
                  </a:lnTo>
                  <a:lnTo>
                    <a:pt x="144" y="103"/>
                  </a:lnTo>
                  <a:lnTo>
                    <a:pt x="123" y="122"/>
                  </a:lnTo>
                  <a:lnTo>
                    <a:pt x="104" y="144"/>
                  </a:lnTo>
                  <a:lnTo>
                    <a:pt x="88" y="165"/>
                  </a:lnTo>
                  <a:lnTo>
                    <a:pt x="73" y="189"/>
                  </a:lnTo>
                  <a:lnTo>
                    <a:pt x="61" y="215"/>
                  </a:lnTo>
                  <a:lnTo>
                    <a:pt x="50" y="242"/>
                  </a:lnTo>
                  <a:lnTo>
                    <a:pt x="43" y="270"/>
                  </a:lnTo>
                  <a:lnTo>
                    <a:pt x="39" y="298"/>
                  </a:lnTo>
                  <a:lnTo>
                    <a:pt x="38" y="329"/>
                  </a:lnTo>
                  <a:lnTo>
                    <a:pt x="38" y="329"/>
                  </a:lnTo>
                  <a:lnTo>
                    <a:pt x="39" y="359"/>
                  </a:lnTo>
                  <a:lnTo>
                    <a:pt x="43" y="387"/>
                  </a:lnTo>
                  <a:lnTo>
                    <a:pt x="50" y="415"/>
                  </a:lnTo>
                  <a:lnTo>
                    <a:pt x="61" y="442"/>
                  </a:lnTo>
                  <a:lnTo>
                    <a:pt x="73" y="468"/>
                  </a:lnTo>
                  <a:lnTo>
                    <a:pt x="88" y="492"/>
                  </a:lnTo>
                  <a:lnTo>
                    <a:pt x="104" y="513"/>
                  </a:lnTo>
                  <a:lnTo>
                    <a:pt x="123" y="535"/>
                  </a:lnTo>
                  <a:lnTo>
                    <a:pt x="144" y="554"/>
                  </a:lnTo>
                  <a:lnTo>
                    <a:pt x="166" y="570"/>
                  </a:lnTo>
                  <a:lnTo>
                    <a:pt x="190" y="584"/>
                  </a:lnTo>
                  <a:lnTo>
                    <a:pt x="215" y="597"/>
                  </a:lnTo>
                  <a:lnTo>
                    <a:pt x="242" y="607"/>
                  </a:lnTo>
                  <a:lnTo>
                    <a:pt x="271" y="614"/>
                  </a:lnTo>
                  <a:lnTo>
                    <a:pt x="299" y="618"/>
                  </a:lnTo>
                  <a:lnTo>
                    <a:pt x="328" y="619"/>
                  </a:lnTo>
                  <a:lnTo>
                    <a:pt x="328" y="619"/>
                  </a:lnTo>
                  <a:lnTo>
                    <a:pt x="359" y="618"/>
                  </a:lnTo>
                  <a:lnTo>
                    <a:pt x="387" y="614"/>
                  </a:lnTo>
                  <a:lnTo>
                    <a:pt x="416" y="607"/>
                  </a:lnTo>
                  <a:lnTo>
                    <a:pt x="443" y="597"/>
                  </a:lnTo>
                  <a:lnTo>
                    <a:pt x="468" y="584"/>
                  </a:lnTo>
                  <a:lnTo>
                    <a:pt x="492" y="570"/>
                  </a:lnTo>
                  <a:lnTo>
                    <a:pt x="514" y="554"/>
                  </a:lnTo>
                  <a:lnTo>
                    <a:pt x="535" y="535"/>
                  </a:lnTo>
                  <a:lnTo>
                    <a:pt x="554" y="513"/>
                  </a:lnTo>
                  <a:lnTo>
                    <a:pt x="570" y="492"/>
                  </a:lnTo>
                  <a:lnTo>
                    <a:pt x="585" y="468"/>
                  </a:lnTo>
                  <a:lnTo>
                    <a:pt x="597" y="442"/>
                  </a:lnTo>
                  <a:lnTo>
                    <a:pt x="607" y="415"/>
                  </a:lnTo>
                  <a:lnTo>
                    <a:pt x="615" y="387"/>
                  </a:lnTo>
                  <a:lnTo>
                    <a:pt x="619" y="359"/>
                  </a:lnTo>
                  <a:lnTo>
                    <a:pt x="620" y="329"/>
                  </a:lnTo>
                  <a:lnTo>
                    <a:pt x="620" y="329"/>
                  </a:lnTo>
                  <a:lnTo>
                    <a:pt x="619" y="298"/>
                  </a:lnTo>
                  <a:lnTo>
                    <a:pt x="615" y="270"/>
                  </a:lnTo>
                  <a:lnTo>
                    <a:pt x="607" y="242"/>
                  </a:lnTo>
                  <a:lnTo>
                    <a:pt x="597" y="215"/>
                  </a:lnTo>
                  <a:lnTo>
                    <a:pt x="585" y="189"/>
                  </a:lnTo>
                  <a:lnTo>
                    <a:pt x="570" y="165"/>
                  </a:lnTo>
                  <a:lnTo>
                    <a:pt x="554" y="144"/>
                  </a:lnTo>
                  <a:lnTo>
                    <a:pt x="535" y="122"/>
                  </a:lnTo>
                  <a:lnTo>
                    <a:pt x="514" y="103"/>
                  </a:lnTo>
                  <a:lnTo>
                    <a:pt x="492" y="87"/>
                  </a:lnTo>
                  <a:lnTo>
                    <a:pt x="468" y="72"/>
                  </a:lnTo>
                  <a:lnTo>
                    <a:pt x="443" y="60"/>
                  </a:lnTo>
                  <a:lnTo>
                    <a:pt x="416" y="51"/>
                  </a:lnTo>
                  <a:lnTo>
                    <a:pt x="387" y="43"/>
                  </a:lnTo>
                  <a:lnTo>
                    <a:pt x="359" y="39"/>
                  </a:lnTo>
                  <a:lnTo>
                    <a:pt x="328" y="37"/>
                  </a:lnTo>
                  <a:lnTo>
                    <a:pt x="328"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reeform 213">
              <a:extLst>
                <a:ext uri="{FF2B5EF4-FFF2-40B4-BE49-F238E27FC236}">
                  <a16:creationId xmlns:a16="http://schemas.microsoft.com/office/drawing/2014/main" id="{63C97706-3805-410C-8148-718CB4A0EB46}"/>
                </a:ext>
              </a:extLst>
            </p:cNvPr>
            <p:cNvSpPr>
              <a:spLocks/>
            </p:cNvSpPr>
            <p:nvPr/>
          </p:nvSpPr>
          <p:spPr bwMode="auto">
            <a:xfrm>
              <a:off x="5978526" y="4312285"/>
              <a:ext cx="103188" cy="103188"/>
            </a:xfrm>
            <a:custGeom>
              <a:avLst/>
              <a:gdLst>
                <a:gd name="T0" fmla="*/ 40 w 131"/>
                <a:gd name="T1" fmla="*/ 85 h 130"/>
                <a:gd name="T2" fmla="*/ 40 w 131"/>
                <a:gd name="T3" fmla="*/ 85 h 130"/>
                <a:gd name="T4" fmla="*/ 45 w 131"/>
                <a:gd name="T5" fmla="*/ 87 h 130"/>
                <a:gd name="T6" fmla="*/ 66 w 131"/>
                <a:gd name="T7" fmla="*/ 87 h 130"/>
                <a:gd name="T8" fmla="*/ 108 w 131"/>
                <a:gd name="T9" fmla="*/ 130 h 130"/>
                <a:gd name="T10" fmla="*/ 131 w 131"/>
                <a:gd name="T11" fmla="*/ 111 h 130"/>
                <a:gd name="T12" fmla="*/ 86 w 131"/>
                <a:gd name="T13" fmla="*/ 66 h 130"/>
                <a:gd name="T14" fmla="*/ 86 w 131"/>
                <a:gd name="T15" fmla="*/ 45 h 130"/>
                <a:gd name="T16" fmla="*/ 86 w 131"/>
                <a:gd name="T17" fmla="*/ 45 h 130"/>
                <a:gd name="T18" fmla="*/ 85 w 131"/>
                <a:gd name="T19" fmla="*/ 41 h 130"/>
                <a:gd name="T20" fmla="*/ 46 w 131"/>
                <a:gd name="T21" fmla="*/ 3 h 130"/>
                <a:gd name="T22" fmla="*/ 46 w 131"/>
                <a:gd name="T23" fmla="*/ 3 h 130"/>
                <a:gd name="T24" fmla="*/ 45 w 131"/>
                <a:gd name="T25" fmla="*/ 2 h 130"/>
                <a:gd name="T26" fmla="*/ 42 w 131"/>
                <a:gd name="T27" fmla="*/ 0 h 130"/>
                <a:gd name="T28" fmla="*/ 40 w 131"/>
                <a:gd name="T29" fmla="*/ 2 h 130"/>
                <a:gd name="T30" fmla="*/ 39 w 131"/>
                <a:gd name="T31" fmla="*/ 3 h 130"/>
                <a:gd name="T32" fmla="*/ 2 w 131"/>
                <a:gd name="T33" fmla="*/ 39 h 130"/>
                <a:gd name="T34" fmla="*/ 2 w 131"/>
                <a:gd name="T35" fmla="*/ 39 h 130"/>
                <a:gd name="T36" fmla="*/ 2 w 131"/>
                <a:gd name="T37" fmla="*/ 41 h 130"/>
                <a:gd name="T38" fmla="*/ 0 w 131"/>
                <a:gd name="T39" fmla="*/ 43 h 130"/>
                <a:gd name="T40" fmla="*/ 2 w 131"/>
                <a:gd name="T41" fmla="*/ 45 h 130"/>
                <a:gd name="T42" fmla="*/ 2 w 131"/>
                <a:gd name="T43" fmla="*/ 46 h 130"/>
                <a:gd name="T44" fmla="*/ 40 w 131"/>
                <a:gd name="T45" fmla="*/ 8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1" h="130">
                  <a:moveTo>
                    <a:pt x="40" y="85"/>
                  </a:moveTo>
                  <a:lnTo>
                    <a:pt x="40" y="85"/>
                  </a:lnTo>
                  <a:lnTo>
                    <a:pt x="45" y="87"/>
                  </a:lnTo>
                  <a:lnTo>
                    <a:pt x="66" y="87"/>
                  </a:lnTo>
                  <a:lnTo>
                    <a:pt x="108" y="130"/>
                  </a:lnTo>
                  <a:lnTo>
                    <a:pt x="131" y="111"/>
                  </a:lnTo>
                  <a:lnTo>
                    <a:pt x="86" y="66"/>
                  </a:lnTo>
                  <a:lnTo>
                    <a:pt x="86" y="45"/>
                  </a:lnTo>
                  <a:lnTo>
                    <a:pt x="86" y="45"/>
                  </a:lnTo>
                  <a:lnTo>
                    <a:pt x="85" y="41"/>
                  </a:lnTo>
                  <a:lnTo>
                    <a:pt x="46" y="3"/>
                  </a:lnTo>
                  <a:lnTo>
                    <a:pt x="46" y="3"/>
                  </a:lnTo>
                  <a:lnTo>
                    <a:pt x="45" y="2"/>
                  </a:lnTo>
                  <a:lnTo>
                    <a:pt x="42" y="0"/>
                  </a:lnTo>
                  <a:lnTo>
                    <a:pt x="40" y="2"/>
                  </a:lnTo>
                  <a:lnTo>
                    <a:pt x="39" y="3"/>
                  </a:lnTo>
                  <a:lnTo>
                    <a:pt x="2" y="39"/>
                  </a:lnTo>
                  <a:lnTo>
                    <a:pt x="2" y="39"/>
                  </a:lnTo>
                  <a:lnTo>
                    <a:pt x="2" y="41"/>
                  </a:lnTo>
                  <a:lnTo>
                    <a:pt x="0" y="43"/>
                  </a:lnTo>
                  <a:lnTo>
                    <a:pt x="2" y="45"/>
                  </a:lnTo>
                  <a:lnTo>
                    <a:pt x="2" y="46"/>
                  </a:lnTo>
                  <a:lnTo>
                    <a:pt x="40"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Freeform 214">
              <a:extLst>
                <a:ext uri="{FF2B5EF4-FFF2-40B4-BE49-F238E27FC236}">
                  <a16:creationId xmlns:a16="http://schemas.microsoft.com/office/drawing/2014/main" id="{91136CBA-2B31-409B-B805-F334F1B42E6F}"/>
                </a:ext>
              </a:extLst>
            </p:cNvPr>
            <p:cNvSpPr>
              <a:spLocks noEditPoints="1"/>
            </p:cNvSpPr>
            <p:nvPr/>
          </p:nvSpPr>
          <p:spPr bwMode="auto">
            <a:xfrm>
              <a:off x="6108701" y="4439285"/>
              <a:ext cx="115888" cy="119063"/>
            </a:xfrm>
            <a:custGeom>
              <a:avLst/>
              <a:gdLst>
                <a:gd name="T0" fmla="*/ 57 w 147"/>
                <a:gd name="T1" fmla="*/ 0 h 152"/>
                <a:gd name="T2" fmla="*/ 0 w 147"/>
                <a:gd name="T3" fmla="*/ 69 h 152"/>
                <a:gd name="T4" fmla="*/ 73 w 147"/>
                <a:gd name="T5" fmla="*/ 140 h 152"/>
                <a:gd name="T6" fmla="*/ 73 w 147"/>
                <a:gd name="T7" fmla="*/ 140 h 152"/>
                <a:gd name="T8" fmla="*/ 79 w 147"/>
                <a:gd name="T9" fmla="*/ 145 h 152"/>
                <a:gd name="T10" fmla="*/ 86 w 147"/>
                <a:gd name="T11" fmla="*/ 149 h 152"/>
                <a:gd name="T12" fmla="*/ 94 w 147"/>
                <a:gd name="T13" fmla="*/ 152 h 152"/>
                <a:gd name="T14" fmla="*/ 104 w 147"/>
                <a:gd name="T15" fmla="*/ 152 h 152"/>
                <a:gd name="T16" fmla="*/ 112 w 147"/>
                <a:gd name="T17" fmla="*/ 152 h 152"/>
                <a:gd name="T18" fmla="*/ 120 w 147"/>
                <a:gd name="T19" fmla="*/ 149 h 152"/>
                <a:gd name="T20" fmla="*/ 128 w 147"/>
                <a:gd name="T21" fmla="*/ 145 h 152"/>
                <a:gd name="T22" fmla="*/ 135 w 147"/>
                <a:gd name="T23" fmla="*/ 140 h 152"/>
                <a:gd name="T24" fmla="*/ 135 w 147"/>
                <a:gd name="T25" fmla="*/ 140 h 152"/>
                <a:gd name="T26" fmla="*/ 140 w 147"/>
                <a:gd name="T27" fmla="*/ 133 h 152"/>
                <a:gd name="T28" fmla="*/ 144 w 147"/>
                <a:gd name="T29" fmla="*/ 125 h 152"/>
                <a:gd name="T30" fmla="*/ 147 w 147"/>
                <a:gd name="T31" fmla="*/ 117 h 152"/>
                <a:gd name="T32" fmla="*/ 147 w 147"/>
                <a:gd name="T33" fmla="*/ 109 h 152"/>
                <a:gd name="T34" fmla="*/ 147 w 147"/>
                <a:gd name="T35" fmla="*/ 101 h 152"/>
                <a:gd name="T36" fmla="*/ 144 w 147"/>
                <a:gd name="T37" fmla="*/ 91 h 152"/>
                <a:gd name="T38" fmla="*/ 140 w 147"/>
                <a:gd name="T39" fmla="*/ 85 h 152"/>
                <a:gd name="T40" fmla="*/ 135 w 147"/>
                <a:gd name="T41" fmla="*/ 78 h 152"/>
                <a:gd name="T42" fmla="*/ 57 w 147"/>
                <a:gd name="T43" fmla="*/ 0 h 152"/>
                <a:gd name="T44" fmla="*/ 100 w 147"/>
                <a:gd name="T45" fmla="*/ 105 h 152"/>
                <a:gd name="T46" fmla="*/ 100 w 147"/>
                <a:gd name="T47" fmla="*/ 105 h 152"/>
                <a:gd name="T48" fmla="*/ 97 w 147"/>
                <a:gd name="T49" fmla="*/ 106 h 152"/>
                <a:gd name="T50" fmla="*/ 96 w 147"/>
                <a:gd name="T51" fmla="*/ 106 h 152"/>
                <a:gd name="T52" fmla="*/ 96 w 147"/>
                <a:gd name="T53" fmla="*/ 106 h 152"/>
                <a:gd name="T54" fmla="*/ 93 w 147"/>
                <a:gd name="T55" fmla="*/ 106 h 152"/>
                <a:gd name="T56" fmla="*/ 92 w 147"/>
                <a:gd name="T57" fmla="*/ 105 h 152"/>
                <a:gd name="T58" fmla="*/ 50 w 147"/>
                <a:gd name="T59" fmla="*/ 63 h 152"/>
                <a:gd name="T60" fmla="*/ 50 w 147"/>
                <a:gd name="T61" fmla="*/ 63 h 152"/>
                <a:gd name="T62" fmla="*/ 49 w 147"/>
                <a:gd name="T63" fmla="*/ 62 h 152"/>
                <a:gd name="T64" fmla="*/ 49 w 147"/>
                <a:gd name="T65" fmla="*/ 59 h 152"/>
                <a:gd name="T66" fmla="*/ 49 w 147"/>
                <a:gd name="T67" fmla="*/ 58 h 152"/>
                <a:gd name="T68" fmla="*/ 50 w 147"/>
                <a:gd name="T69" fmla="*/ 55 h 152"/>
                <a:gd name="T70" fmla="*/ 50 w 147"/>
                <a:gd name="T71" fmla="*/ 55 h 152"/>
                <a:gd name="T72" fmla="*/ 53 w 147"/>
                <a:gd name="T73" fmla="*/ 55 h 152"/>
                <a:gd name="T74" fmla="*/ 54 w 147"/>
                <a:gd name="T75" fmla="*/ 54 h 152"/>
                <a:gd name="T76" fmla="*/ 55 w 147"/>
                <a:gd name="T77" fmla="*/ 55 h 152"/>
                <a:gd name="T78" fmla="*/ 58 w 147"/>
                <a:gd name="T79" fmla="*/ 55 h 152"/>
                <a:gd name="T80" fmla="*/ 100 w 147"/>
                <a:gd name="T81" fmla="*/ 97 h 152"/>
                <a:gd name="T82" fmla="*/ 100 w 147"/>
                <a:gd name="T83" fmla="*/ 97 h 152"/>
                <a:gd name="T84" fmla="*/ 100 w 147"/>
                <a:gd name="T85" fmla="*/ 100 h 152"/>
                <a:gd name="T86" fmla="*/ 101 w 147"/>
                <a:gd name="T87" fmla="*/ 101 h 152"/>
                <a:gd name="T88" fmla="*/ 100 w 147"/>
                <a:gd name="T89" fmla="*/ 102 h 152"/>
                <a:gd name="T90" fmla="*/ 100 w 147"/>
                <a:gd name="T91" fmla="*/ 105 h 152"/>
                <a:gd name="T92" fmla="*/ 100 w 147"/>
                <a:gd name="T93" fmla="*/ 105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7" h="152">
                  <a:moveTo>
                    <a:pt x="57" y="0"/>
                  </a:moveTo>
                  <a:lnTo>
                    <a:pt x="0" y="69"/>
                  </a:lnTo>
                  <a:lnTo>
                    <a:pt x="73" y="140"/>
                  </a:lnTo>
                  <a:lnTo>
                    <a:pt x="73" y="140"/>
                  </a:lnTo>
                  <a:lnTo>
                    <a:pt x="79" y="145"/>
                  </a:lnTo>
                  <a:lnTo>
                    <a:pt x="86" y="149"/>
                  </a:lnTo>
                  <a:lnTo>
                    <a:pt x="94" y="152"/>
                  </a:lnTo>
                  <a:lnTo>
                    <a:pt x="104" y="152"/>
                  </a:lnTo>
                  <a:lnTo>
                    <a:pt x="112" y="152"/>
                  </a:lnTo>
                  <a:lnTo>
                    <a:pt x="120" y="149"/>
                  </a:lnTo>
                  <a:lnTo>
                    <a:pt x="128" y="145"/>
                  </a:lnTo>
                  <a:lnTo>
                    <a:pt x="135" y="140"/>
                  </a:lnTo>
                  <a:lnTo>
                    <a:pt x="135" y="140"/>
                  </a:lnTo>
                  <a:lnTo>
                    <a:pt x="140" y="133"/>
                  </a:lnTo>
                  <a:lnTo>
                    <a:pt x="144" y="125"/>
                  </a:lnTo>
                  <a:lnTo>
                    <a:pt x="147" y="117"/>
                  </a:lnTo>
                  <a:lnTo>
                    <a:pt x="147" y="109"/>
                  </a:lnTo>
                  <a:lnTo>
                    <a:pt x="147" y="101"/>
                  </a:lnTo>
                  <a:lnTo>
                    <a:pt x="144" y="91"/>
                  </a:lnTo>
                  <a:lnTo>
                    <a:pt x="140" y="85"/>
                  </a:lnTo>
                  <a:lnTo>
                    <a:pt x="135" y="78"/>
                  </a:lnTo>
                  <a:lnTo>
                    <a:pt x="57" y="0"/>
                  </a:lnTo>
                  <a:close/>
                  <a:moveTo>
                    <a:pt x="100" y="105"/>
                  </a:moveTo>
                  <a:lnTo>
                    <a:pt x="100" y="105"/>
                  </a:lnTo>
                  <a:lnTo>
                    <a:pt x="97" y="106"/>
                  </a:lnTo>
                  <a:lnTo>
                    <a:pt x="96" y="106"/>
                  </a:lnTo>
                  <a:lnTo>
                    <a:pt x="96" y="106"/>
                  </a:lnTo>
                  <a:lnTo>
                    <a:pt x="93" y="106"/>
                  </a:lnTo>
                  <a:lnTo>
                    <a:pt x="92" y="105"/>
                  </a:lnTo>
                  <a:lnTo>
                    <a:pt x="50" y="63"/>
                  </a:lnTo>
                  <a:lnTo>
                    <a:pt x="50" y="63"/>
                  </a:lnTo>
                  <a:lnTo>
                    <a:pt x="49" y="62"/>
                  </a:lnTo>
                  <a:lnTo>
                    <a:pt x="49" y="59"/>
                  </a:lnTo>
                  <a:lnTo>
                    <a:pt x="49" y="58"/>
                  </a:lnTo>
                  <a:lnTo>
                    <a:pt x="50" y="55"/>
                  </a:lnTo>
                  <a:lnTo>
                    <a:pt x="50" y="55"/>
                  </a:lnTo>
                  <a:lnTo>
                    <a:pt x="53" y="55"/>
                  </a:lnTo>
                  <a:lnTo>
                    <a:pt x="54" y="54"/>
                  </a:lnTo>
                  <a:lnTo>
                    <a:pt x="55" y="55"/>
                  </a:lnTo>
                  <a:lnTo>
                    <a:pt x="58" y="55"/>
                  </a:lnTo>
                  <a:lnTo>
                    <a:pt x="100" y="97"/>
                  </a:lnTo>
                  <a:lnTo>
                    <a:pt x="100" y="97"/>
                  </a:lnTo>
                  <a:lnTo>
                    <a:pt x="100" y="100"/>
                  </a:lnTo>
                  <a:lnTo>
                    <a:pt x="101" y="101"/>
                  </a:lnTo>
                  <a:lnTo>
                    <a:pt x="100" y="102"/>
                  </a:lnTo>
                  <a:lnTo>
                    <a:pt x="100" y="105"/>
                  </a:lnTo>
                  <a:lnTo>
                    <a:pt x="100"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Freeform 215">
              <a:extLst>
                <a:ext uri="{FF2B5EF4-FFF2-40B4-BE49-F238E27FC236}">
                  <a16:creationId xmlns:a16="http://schemas.microsoft.com/office/drawing/2014/main" id="{2E9459C4-E852-4CF0-AF16-4404B930263D}"/>
                </a:ext>
              </a:extLst>
            </p:cNvPr>
            <p:cNvSpPr>
              <a:spLocks noEditPoints="1"/>
            </p:cNvSpPr>
            <p:nvPr/>
          </p:nvSpPr>
          <p:spPr bwMode="auto">
            <a:xfrm>
              <a:off x="5978526" y="4312285"/>
              <a:ext cx="246063" cy="246063"/>
            </a:xfrm>
            <a:custGeom>
              <a:avLst/>
              <a:gdLst>
                <a:gd name="T0" fmla="*/ 270 w 311"/>
                <a:gd name="T1" fmla="*/ 84 h 311"/>
                <a:gd name="T2" fmla="*/ 269 w 311"/>
                <a:gd name="T3" fmla="*/ 85 h 311"/>
                <a:gd name="T4" fmla="*/ 265 w 311"/>
                <a:gd name="T5" fmla="*/ 85 h 311"/>
                <a:gd name="T6" fmla="*/ 227 w 311"/>
                <a:gd name="T7" fmla="*/ 49 h 311"/>
                <a:gd name="T8" fmla="*/ 227 w 311"/>
                <a:gd name="T9" fmla="*/ 48 h 311"/>
                <a:gd name="T10" fmla="*/ 227 w 311"/>
                <a:gd name="T11" fmla="*/ 43 h 311"/>
                <a:gd name="T12" fmla="*/ 264 w 311"/>
                <a:gd name="T13" fmla="*/ 6 h 311"/>
                <a:gd name="T14" fmla="*/ 251 w 311"/>
                <a:gd name="T15" fmla="*/ 2 h 311"/>
                <a:gd name="T16" fmla="*/ 238 w 311"/>
                <a:gd name="T17" fmla="*/ 0 h 311"/>
                <a:gd name="T18" fmla="*/ 210 w 311"/>
                <a:gd name="T19" fmla="*/ 7 h 311"/>
                <a:gd name="T20" fmla="*/ 187 w 311"/>
                <a:gd name="T21" fmla="*/ 22 h 311"/>
                <a:gd name="T22" fmla="*/ 172 w 311"/>
                <a:gd name="T23" fmla="*/ 45 h 311"/>
                <a:gd name="T24" fmla="*/ 165 w 311"/>
                <a:gd name="T25" fmla="*/ 73 h 311"/>
                <a:gd name="T26" fmla="*/ 167 w 311"/>
                <a:gd name="T27" fmla="*/ 84 h 311"/>
                <a:gd name="T28" fmla="*/ 22 w 311"/>
                <a:gd name="T29" fmla="*/ 212 h 311"/>
                <a:gd name="T30" fmla="*/ 14 w 311"/>
                <a:gd name="T31" fmla="*/ 220 h 311"/>
                <a:gd name="T32" fmla="*/ 3 w 311"/>
                <a:gd name="T33" fmla="*/ 240 h 311"/>
                <a:gd name="T34" fmla="*/ 2 w 311"/>
                <a:gd name="T35" fmla="*/ 263 h 311"/>
                <a:gd name="T36" fmla="*/ 8 w 311"/>
                <a:gd name="T37" fmla="*/ 283 h 311"/>
                <a:gd name="T38" fmla="*/ 15 w 311"/>
                <a:gd name="T39" fmla="*/ 293 h 311"/>
                <a:gd name="T40" fmla="*/ 24 w 311"/>
                <a:gd name="T41" fmla="*/ 302 h 311"/>
                <a:gd name="T42" fmla="*/ 46 w 311"/>
                <a:gd name="T43" fmla="*/ 311 h 311"/>
                <a:gd name="T44" fmla="*/ 69 w 311"/>
                <a:gd name="T45" fmla="*/ 310 h 311"/>
                <a:gd name="T46" fmla="*/ 90 w 311"/>
                <a:gd name="T47" fmla="*/ 300 h 311"/>
                <a:gd name="T48" fmla="*/ 219 w 311"/>
                <a:gd name="T49" fmla="*/ 143 h 311"/>
                <a:gd name="T50" fmla="*/ 229 w 311"/>
                <a:gd name="T51" fmla="*/ 146 h 311"/>
                <a:gd name="T52" fmla="*/ 238 w 311"/>
                <a:gd name="T53" fmla="*/ 146 h 311"/>
                <a:gd name="T54" fmla="*/ 266 w 311"/>
                <a:gd name="T55" fmla="*/ 140 h 311"/>
                <a:gd name="T56" fmla="*/ 289 w 311"/>
                <a:gd name="T57" fmla="*/ 124 h 311"/>
                <a:gd name="T58" fmla="*/ 305 w 311"/>
                <a:gd name="T59" fmla="*/ 101 h 311"/>
                <a:gd name="T60" fmla="*/ 311 w 311"/>
                <a:gd name="T61" fmla="*/ 73 h 311"/>
                <a:gd name="T62" fmla="*/ 309 w 311"/>
                <a:gd name="T63" fmla="*/ 61 h 311"/>
                <a:gd name="T64" fmla="*/ 307 w 311"/>
                <a:gd name="T65" fmla="*/ 49 h 311"/>
                <a:gd name="T66" fmla="*/ 62 w 311"/>
                <a:gd name="T67" fmla="*/ 265 h 311"/>
                <a:gd name="T68" fmla="*/ 51 w 311"/>
                <a:gd name="T69" fmla="*/ 260 h 311"/>
                <a:gd name="T70" fmla="*/ 47 w 311"/>
                <a:gd name="T71" fmla="*/ 249 h 311"/>
                <a:gd name="T72" fmla="*/ 49 w 311"/>
                <a:gd name="T73" fmla="*/ 244 h 311"/>
                <a:gd name="T74" fmla="*/ 57 w 311"/>
                <a:gd name="T75" fmla="*/ 236 h 311"/>
                <a:gd name="T76" fmla="*/ 62 w 311"/>
                <a:gd name="T77" fmla="*/ 234 h 311"/>
                <a:gd name="T78" fmla="*/ 74 w 311"/>
                <a:gd name="T79" fmla="*/ 238 h 311"/>
                <a:gd name="T80" fmla="*/ 78 w 311"/>
                <a:gd name="T81" fmla="*/ 249 h 311"/>
                <a:gd name="T82" fmla="*/ 77 w 311"/>
                <a:gd name="T83" fmla="*/ 256 h 311"/>
                <a:gd name="T84" fmla="*/ 69 w 311"/>
                <a:gd name="T85" fmla="*/ 264 h 311"/>
                <a:gd name="T86" fmla="*/ 62 w 311"/>
                <a:gd name="T87" fmla="*/ 265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1" h="311">
                  <a:moveTo>
                    <a:pt x="307" y="49"/>
                  </a:moveTo>
                  <a:lnTo>
                    <a:pt x="270" y="84"/>
                  </a:lnTo>
                  <a:lnTo>
                    <a:pt x="270" y="84"/>
                  </a:lnTo>
                  <a:lnTo>
                    <a:pt x="269" y="85"/>
                  </a:lnTo>
                  <a:lnTo>
                    <a:pt x="268" y="85"/>
                  </a:lnTo>
                  <a:lnTo>
                    <a:pt x="265" y="85"/>
                  </a:lnTo>
                  <a:lnTo>
                    <a:pt x="264" y="84"/>
                  </a:lnTo>
                  <a:lnTo>
                    <a:pt x="227" y="49"/>
                  </a:lnTo>
                  <a:lnTo>
                    <a:pt x="227" y="49"/>
                  </a:lnTo>
                  <a:lnTo>
                    <a:pt x="227" y="48"/>
                  </a:lnTo>
                  <a:lnTo>
                    <a:pt x="226" y="45"/>
                  </a:lnTo>
                  <a:lnTo>
                    <a:pt x="227" y="43"/>
                  </a:lnTo>
                  <a:lnTo>
                    <a:pt x="227" y="41"/>
                  </a:lnTo>
                  <a:lnTo>
                    <a:pt x="264" y="6"/>
                  </a:lnTo>
                  <a:lnTo>
                    <a:pt x="264" y="6"/>
                  </a:lnTo>
                  <a:lnTo>
                    <a:pt x="251" y="2"/>
                  </a:lnTo>
                  <a:lnTo>
                    <a:pt x="238" y="0"/>
                  </a:lnTo>
                  <a:lnTo>
                    <a:pt x="238" y="0"/>
                  </a:lnTo>
                  <a:lnTo>
                    <a:pt x="225" y="3"/>
                  </a:lnTo>
                  <a:lnTo>
                    <a:pt x="210" y="7"/>
                  </a:lnTo>
                  <a:lnTo>
                    <a:pt x="198" y="14"/>
                  </a:lnTo>
                  <a:lnTo>
                    <a:pt x="187" y="22"/>
                  </a:lnTo>
                  <a:lnTo>
                    <a:pt x="179" y="33"/>
                  </a:lnTo>
                  <a:lnTo>
                    <a:pt x="172" y="45"/>
                  </a:lnTo>
                  <a:lnTo>
                    <a:pt x="168" y="58"/>
                  </a:lnTo>
                  <a:lnTo>
                    <a:pt x="165" y="73"/>
                  </a:lnTo>
                  <a:lnTo>
                    <a:pt x="165" y="73"/>
                  </a:lnTo>
                  <a:lnTo>
                    <a:pt x="167" y="84"/>
                  </a:lnTo>
                  <a:lnTo>
                    <a:pt x="170" y="93"/>
                  </a:lnTo>
                  <a:lnTo>
                    <a:pt x="22" y="212"/>
                  </a:lnTo>
                  <a:lnTo>
                    <a:pt x="22" y="212"/>
                  </a:lnTo>
                  <a:lnTo>
                    <a:pt x="14" y="220"/>
                  </a:lnTo>
                  <a:lnTo>
                    <a:pt x="7" y="229"/>
                  </a:lnTo>
                  <a:lnTo>
                    <a:pt x="3" y="240"/>
                  </a:lnTo>
                  <a:lnTo>
                    <a:pt x="0" y="250"/>
                  </a:lnTo>
                  <a:lnTo>
                    <a:pt x="2" y="263"/>
                  </a:lnTo>
                  <a:lnTo>
                    <a:pt x="3" y="273"/>
                  </a:lnTo>
                  <a:lnTo>
                    <a:pt x="8" y="283"/>
                  </a:lnTo>
                  <a:lnTo>
                    <a:pt x="15" y="293"/>
                  </a:lnTo>
                  <a:lnTo>
                    <a:pt x="15" y="293"/>
                  </a:lnTo>
                  <a:lnTo>
                    <a:pt x="15" y="293"/>
                  </a:lnTo>
                  <a:lnTo>
                    <a:pt x="24" y="302"/>
                  </a:lnTo>
                  <a:lnTo>
                    <a:pt x="34" y="307"/>
                  </a:lnTo>
                  <a:lnTo>
                    <a:pt x="46" y="311"/>
                  </a:lnTo>
                  <a:lnTo>
                    <a:pt x="57" y="311"/>
                  </a:lnTo>
                  <a:lnTo>
                    <a:pt x="69" y="310"/>
                  </a:lnTo>
                  <a:lnTo>
                    <a:pt x="79" y="307"/>
                  </a:lnTo>
                  <a:lnTo>
                    <a:pt x="90" y="300"/>
                  </a:lnTo>
                  <a:lnTo>
                    <a:pt x="100" y="291"/>
                  </a:lnTo>
                  <a:lnTo>
                    <a:pt x="219" y="143"/>
                  </a:lnTo>
                  <a:lnTo>
                    <a:pt x="219" y="143"/>
                  </a:lnTo>
                  <a:lnTo>
                    <a:pt x="229" y="146"/>
                  </a:lnTo>
                  <a:lnTo>
                    <a:pt x="238" y="146"/>
                  </a:lnTo>
                  <a:lnTo>
                    <a:pt x="238" y="146"/>
                  </a:lnTo>
                  <a:lnTo>
                    <a:pt x="253" y="144"/>
                  </a:lnTo>
                  <a:lnTo>
                    <a:pt x="266" y="140"/>
                  </a:lnTo>
                  <a:lnTo>
                    <a:pt x="280" y="134"/>
                  </a:lnTo>
                  <a:lnTo>
                    <a:pt x="289" y="124"/>
                  </a:lnTo>
                  <a:lnTo>
                    <a:pt x="299" y="115"/>
                  </a:lnTo>
                  <a:lnTo>
                    <a:pt x="305" y="101"/>
                  </a:lnTo>
                  <a:lnTo>
                    <a:pt x="309" y="88"/>
                  </a:lnTo>
                  <a:lnTo>
                    <a:pt x="311" y="73"/>
                  </a:lnTo>
                  <a:lnTo>
                    <a:pt x="311" y="73"/>
                  </a:lnTo>
                  <a:lnTo>
                    <a:pt x="309" y="61"/>
                  </a:lnTo>
                  <a:lnTo>
                    <a:pt x="307" y="49"/>
                  </a:lnTo>
                  <a:lnTo>
                    <a:pt x="307" y="49"/>
                  </a:lnTo>
                  <a:close/>
                  <a:moveTo>
                    <a:pt x="62" y="265"/>
                  </a:moveTo>
                  <a:lnTo>
                    <a:pt x="62" y="265"/>
                  </a:lnTo>
                  <a:lnTo>
                    <a:pt x="57" y="264"/>
                  </a:lnTo>
                  <a:lnTo>
                    <a:pt x="51" y="260"/>
                  </a:lnTo>
                  <a:lnTo>
                    <a:pt x="49" y="256"/>
                  </a:lnTo>
                  <a:lnTo>
                    <a:pt x="47" y="249"/>
                  </a:lnTo>
                  <a:lnTo>
                    <a:pt x="47" y="249"/>
                  </a:lnTo>
                  <a:lnTo>
                    <a:pt x="49" y="244"/>
                  </a:lnTo>
                  <a:lnTo>
                    <a:pt x="51" y="238"/>
                  </a:lnTo>
                  <a:lnTo>
                    <a:pt x="57" y="236"/>
                  </a:lnTo>
                  <a:lnTo>
                    <a:pt x="62" y="234"/>
                  </a:lnTo>
                  <a:lnTo>
                    <a:pt x="62" y="234"/>
                  </a:lnTo>
                  <a:lnTo>
                    <a:pt x="69" y="236"/>
                  </a:lnTo>
                  <a:lnTo>
                    <a:pt x="74" y="238"/>
                  </a:lnTo>
                  <a:lnTo>
                    <a:pt x="77" y="244"/>
                  </a:lnTo>
                  <a:lnTo>
                    <a:pt x="78" y="249"/>
                  </a:lnTo>
                  <a:lnTo>
                    <a:pt x="78" y="249"/>
                  </a:lnTo>
                  <a:lnTo>
                    <a:pt x="77" y="256"/>
                  </a:lnTo>
                  <a:lnTo>
                    <a:pt x="74" y="260"/>
                  </a:lnTo>
                  <a:lnTo>
                    <a:pt x="69" y="264"/>
                  </a:lnTo>
                  <a:lnTo>
                    <a:pt x="62" y="265"/>
                  </a:lnTo>
                  <a:lnTo>
                    <a:pt x="62" y="2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08345802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FEF450-C040-4C8D-8820-088F457B5105}"/>
              </a:ext>
            </a:extLst>
          </p:cNvPr>
          <p:cNvSpPr>
            <a:spLocks noGrp="1"/>
          </p:cNvSpPr>
          <p:nvPr>
            <p:ph type="body" sz="quarter" idx="10"/>
          </p:nvPr>
        </p:nvSpPr>
        <p:spPr>
          <a:xfrm>
            <a:off x="952500" y="1206500"/>
            <a:ext cx="6287286" cy="2257425"/>
          </a:xfrm>
        </p:spPr>
        <p:txBody>
          <a:bodyPr/>
          <a:lstStyle/>
          <a:p>
            <a:r>
              <a:rPr lang="en-US" dirty="0">
                <a:solidFill>
                  <a:srgbClr val="000000"/>
                </a:solidFill>
              </a:rPr>
              <a:t>Content</a:t>
            </a:r>
            <a:endParaRPr lang="en-US" sz="1200" spc="300" dirty="0">
              <a:solidFill>
                <a:srgbClr val="000000"/>
              </a:solidFill>
              <a:latin typeface="Open Sans"/>
            </a:endParaRPr>
          </a:p>
          <a:p>
            <a:endParaRPr lang="en-US" dirty="0"/>
          </a:p>
        </p:txBody>
      </p:sp>
      <p:grpSp>
        <p:nvGrpSpPr>
          <p:cNvPr id="4" name="Group 3">
            <a:extLst>
              <a:ext uri="{FF2B5EF4-FFF2-40B4-BE49-F238E27FC236}">
                <a16:creationId xmlns:a16="http://schemas.microsoft.com/office/drawing/2014/main" id="{16ABA2DA-E1BF-466F-AFF8-4EC1077F3F79}"/>
              </a:ext>
            </a:extLst>
          </p:cNvPr>
          <p:cNvGrpSpPr/>
          <p:nvPr/>
        </p:nvGrpSpPr>
        <p:grpSpPr>
          <a:xfrm>
            <a:off x="2277508" y="6274108"/>
            <a:ext cx="7636984" cy="501266"/>
            <a:chOff x="2277508" y="6274107"/>
            <a:chExt cx="7636984" cy="583893"/>
          </a:xfrm>
        </p:grpSpPr>
        <p:sp>
          <p:nvSpPr>
            <p:cNvPr id="5" name="Text Placeholder 1">
              <a:extLst>
                <a:ext uri="{FF2B5EF4-FFF2-40B4-BE49-F238E27FC236}">
                  <a16:creationId xmlns:a16="http://schemas.microsoft.com/office/drawing/2014/main" id="{6B512285-DA1B-49FC-8D2D-86E67DC4FA8A}"/>
                </a:ext>
              </a:extLst>
            </p:cNvPr>
            <p:cNvSpPr txBox="1">
              <a:spLocks/>
            </p:cNvSpPr>
            <p:nvPr/>
          </p:nvSpPr>
          <p:spPr>
            <a:xfrm>
              <a:off x="2277508" y="6274107"/>
              <a:ext cx="7636984" cy="583893"/>
            </a:xfrm>
            <a:prstGeom prst="rect">
              <a:avLst/>
            </a:prstGeom>
          </p:spPr>
          <p:txBody>
            <a:bodyPr vert="horz"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800" dirty="0">
                  <a:solidFill>
                    <a:srgbClr val="000000"/>
                  </a:solidFill>
                  <a:latin typeface="+mn-lt"/>
                </a:rPr>
                <a:t>Click Here to Return to the Table of Contents</a:t>
              </a:r>
              <a:endParaRPr lang="en-US" sz="2800" dirty="0">
                <a:latin typeface="+mn-lt"/>
              </a:endParaRPr>
            </a:p>
          </p:txBody>
        </p:sp>
        <p:sp>
          <p:nvSpPr>
            <p:cNvPr id="6" name="Rectangle 5">
              <a:hlinkClick r:id="rId2" action="ppaction://hlinksldjump"/>
              <a:extLst>
                <a:ext uri="{FF2B5EF4-FFF2-40B4-BE49-F238E27FC236}">
                  <a16:creationId xmlns:a16="http://schemas.microsoft.com/office/drawing/2014/main" id="{7C18242C-E8B8-4DA6-94EF-100F66C05578}"/>
                </a:ext>
              </a:extLst>
            </p:cNvPr>
            <p:cNvSpPr/>
            <p:nvPr/>
          </p:nvSpPr>
          <p:spPr>
            <a:xfrm>
              <a:off x="2401677" y="6274107"/>
              <a:ext cx="7425369" cy="4792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spTree>
    <p:extLst>
      <p:ext uri="{BB962C8B-B14F-4D97-AF65-F5344CB8AC3E}">
        <p14:creationId xmlns:p14="http://schemas.microsoft.com/office/powerpoint/2010/main" val="73647067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64144A4-0BB1-4130-AAD3-EA5915B704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4" name="think-cell Slide" r:id="rId6" imgW="415" imgH="416" progId="TCLayout.ActiveDocument.1">
                  <p:embed/>
                </p:oleObj>
              </mc:Choice>
              <mc:Fallback>
                <p:oleObj name="think-cell Slide" r:id="rId6" imgW="415" imgH="416" progId="TCLayout.ActiveDocument.1">
                  <p:embed/>
                  <p:pic>
                    <p:nvPicPr>
                      <p:cNvPr id="5" name="Object 4" hidden="1">
                        <a:extLst>
                          <a:ext uri="{FF2B5EF4-FFF2-40B4-BE49-F238E27FC236}">
                            <a16:creationId xmlns:a16="http://schemas.microsoft.com/office/drawing/2014/main" id="{764144A4-0BB1-4130-AAD3-EA5915B704D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3B127DC-BACE-42FC-8191-C078DA40A8A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F4662641-744C-4CB5-A23C-4576F31D81C0}"/>
              </a:ext>
            </a:extLst>
          </p:cNvPr>
          <p:cNvSpPr>
            <a:spLocks noGrp="1"/>
          </p:cNvSpPr>
          <p:nvPr>
            <p:ph type="title"/>
          </p:nvPr>
        </p:nvSpPr>
        <p:spPr/>
        <p:txBody>
          <a:bodyPr/>
          <a:lstStyle/>
          <a:p>
            <a:r>
              <a:rPr lang="en-US" dirty="0"/>
              <a:t>Our talent engagement model</a:t>
            </a:r>
          </a:p>
        </p:txBody>
      </p:sp>
      <p:sp>
        <p:nvSpPr>
          <p:cNvPr id="3" name="Text Placeholder 2">
            <a:extLst>
              <a:ext uri="{FF2B5EF4-FFF2-40B4-BE49-F238E27FC236}">
                <a16:creationId xmlns:a16="http://schemas.microsoft.com/office/drawing/2014/main" id="{FAB379A3-9F6F-4B40-8AAB-B6B8145C15AA}"/>
              </a:ext>
            </a:extLst>
          </p:cNvPr>
          <p:cNvSpPr>
            <a:spLocks noGrp="1"/>
          </p:cNvSpPr>
          <p:nvPr>
            <p:ph type="body" sz="quarter" idx="14"/>
          </p:nvPr>
        </p:nvSpPr>
        <p:spPr/>
        <p:txBody>
          <a:bodyPr/>
          <a:lstStyle/>
          <a:p>
            <a:r>
              <a:rPr lang="en-US" dirty="0"/>
              <a:t>Over 200 diverse programs across all service lines to effectively engage &amp; retain talent</a:t>
            </a:r>
          </a:p>
        </p:txBody>
      </p:sp>
      <p:sp>
        <p:nvSpPr>
          <p:cNvPr id="6" name="Text Placeholder 5">
            <a:extLst>
              <a:ext uri="{FF2B5EF4-FFF2-40B4-BE49-F238E27FC236}">
                <a16:creationId xmlns:a16="http://schemas.microsoft.com/office/drawing/2014/main" id="{96D9D916-B8AE-4CC3-AF5B-0FFDE04A9F51}"/>
              </a:ext>
            </a:extLst>
          </p:cNvPr>
          <p:cNvSpPr>
            <a:spLocks noGrp="1"/>
          </p:cNvSpPr>
          <p:nvPr>
            <p:ph type="body" sz="quarter" idx="15"/>
          </p:nvPr>
        </p:nvSpPr>
        <p:spPr/>
        <p:txBody>
          <a:bodyPr/>
          <a:lstStyle/>
          <a:p>
            <a:r>
              <a:rPr lang="en-US" dirty="0"/>
              <a:t>text</a:t>
            </a:r>
          </a:p>
        </p:txBody>
      </p:sp>
      <p:cxnSp>
        <p:nvCxnSpPr>
          <p:cNvPr id="22" name="Straight Connector 21">
            <a:extLst>
              <a:ext uri="{FF2B5EF4-FFF2-40B4-BE49-F238E27FC236}">
                <a16:creationId xmlns:a16="http://schemas.microsoft.com/office/drawing/2014/main" id="{612FE059-AFC1-46E7-8440-CE6BBF420593}"/>
              </a:ext>
            </a:extLst>
          </p:cNvPr>
          <p:cNvCxnSpPr/>
          <p:nvPr/>
        </p:nvCxnSpPr>
        <p:spPr>
          <a:xfrm flipV="1">
            <a:off x="609600" y="2086991"/>
            <a:ext cx="10972800" cy="10154"/>
          </a:xfrm>
          <a:prstGeom prst="line">
            <a:avLst/>
          </a:prstGeom>
          <a:noFill/>
          <a:ln w="6350" cap="flat" cmpd="sng" algn="ctr">
            <a:solidFill>
              <a:srgbClr val="B4B4B4"/>
            </a:solidFill>
            <a:prstDash val="solid"/>
            <a:miter lim="800000"/>
          </a:ln>
          <a:effectLst/>
        </p:spPr>
      </p:cxnSp>
      <p:sp>
        <p:nvSpPr>
          <p:cNvPr id="23" name="Rectangle 22">
            <a:extLst>
              <a:ext uri="{FF2B5EF4-FFF2-40B4-BE49-F238E27FC236}">
                <a16:creationId xmlns:a16="http://schemas.microsoft.com/office/drawing/2014/main" id="{617E3620-F1B3-4573-AC5B-7EB3115BB316}"/>
              </a:ext>
            </a:extLst>
          </p:cNvPr>
          <p:cNvSpPr/>
          <p:nvPr/>
        </p:nvSpPr>
        <p:spPr>
          <a:xfrm>
            <a:off x="1174217" y="4035957"/>
            <a:ext cx="2587615" cy="1369606"/>
          </a:xfrm>
          <a:prstGeom prst="rect">
            <a:avLst/>
          </a:prstGeom>
        </p:spPr>
        <p:txBody>
          <a:bodyPr wrap="square" lIns="0" tIns="0" rIns="0" bIns="0" anchor="t">
            <a:spAutoFit/>
          </a:bodyPr>
          <a:lstStyle/>
          <a:p>
            <a:pPr>
              <a:defRPr/>
            </a:pPr>
            <a:r>
              <a:rPr lang="en-US" sz="1200" dirty="0">
                <a:solidFill>
                  <a:srgbClr val="81BC00"/>
                </a:solidFill>
              </a:rPr>
              <a:t>Client Service excellence</a:t>
            </a:r>
          </a:p>
          <a:p>
            <a:pPr>
              <a:defRPr/>
            </a:pPr>
            <a:r>
              <a:rPr lang="en-US" sz="1200" dirty="0">
                <a:solidFill>
                  <a:srgbClr val="5C5C5C"/>
                </a:solidFill>
              </a:rPr>
              <a:t>Industry insight, Centers of Excellence</a:t>
            </a:r>
          </a:p>
          <a:p>
            <a:pPr>
              <a:spcBef>
                <a:spcPts val="600"/>
              </a:spcBef>
              <a:defRPr/>
            </a:pPr>
            <a:r>
              <a:rPr lang="en-US" sz="1200" dirty="0">
                <a:solidFill>
                  <a:srgbClr val="81BC00"/>
                </a:solidFill>
              </a:rPr>
              <a:t>Global footprint</a:t>
            </a:r>
          </a:p>
          <a:p>
            <a:pPr>
              <a:defRPr/>
            </a:pPr>
            <a:r>
              <a:rPr lang="en-US" sz="1200" dirty="0">
                <a:solidFill>
                  <a:srgbClr val="5C5C5C"/>
                </a:solidFill>
              </a:rPr>
              <a:t>Services to client engagement teams across the world, global delivery model</a:t>
            </a:r>
          </a:p>
        </p:txBody>
      </p:sp>
      <p:sp>
        <p:nvSpPr>
          <p:cNvPr id="24" name="Rectangle 23">
            <a:extLst>
              <a:ext uri="{FF2B5EF4-FFF2-40B4-BE49-F238E27FC236}">
                <a16:creationId xmlns:a16="http://schemas.microsoft.com/office/drawing/2014/main" id="{152CED2A-1D7F-4C8E-90A4-AE2F49D7B6CF}"/>
              </a:ext>
            </a:extLst>
          </p:cNvPr>
          <p:cNvSpPr/>
          <p:nvPr/>
        </p:nvSpPr>
        <p:spPr>
          <a:xfrm>
            <a:off x="4789713" y="3758070"/>
            <a:ext cx="2901420" cy="2185214"/>
          </a:xfrm>
          <a:prstGeom prst="rect">
            <a:avLst/>
          </a:prstGeom>
        </p:spPr>
        <p:txBody>
          <a:bodyPr wrap="square" lIns="0" tIns="0" rIns="0" bIns="0" anchor="t">
            <a:spAutoFit/>
          </a:bodyPr>
          <a:lstStyle/>
          <a:p>
            <a:pPr>
              <a:spcBef>
                <a:spcPts val="600"/>
              </a:spcBef>
              <a:defRPr/>
            </a:pPr>
            <a:r>
              <a:rPr lang="en-US" sz="1200" dirty="0">
                <a:solidFill>
                  <a:srgbClr val="81BC00"/>
                </a:solidFill>
              </a:rPr>
              <a:t>Culture</a:t>
            </a:r>
          </a:p>
          <a:p>
            <a:pPr>
              <a:defRPr/>
            </a:pPr>
            <a:r>
              <a:rPr lang="en-US" sz="1200" dirty="0">
                <a:solidFill>
                  <a:srgbClr val="5C5C5C"/>
                </a:solidFill>
              </a:rPr>
              <a:t>Talent Survey, Inclusive work culture, Flexible Work Options, Sports, and Offbeat</a:t>
            </a:r>
          </a:p>
          <a:p>
            <a:pPr>
              <a:spcBef>
                <a:spcPts val="600"/>
              </a:spcBef>
              <a:defRPr/>
            </a:pPr>
            <a:r>
              <a:rPr lang="en-US" sz="1200" dirty="0">
                <a:solidFill>
                  <a:srgbClr val="81BC00"/>
                </a:solidFill>
              </a:rPr>
              <a:t>Benefits</a:t>
            </a:r>
          </a:p>
          <a:p>
            <a:pPr>
              <a:defRPr/>
            </a:pPr>
            <a:r>
              <a:rPr lang="en-US" sz="1200" dirty="0">
                <a:solidFill>
                  <a:srgbClr val="5C5C5C"/>
                </a:solidFill>
              </a:rPr>
              <a:t>Rewards &amp; Recognition, Employee Assistance Program, Health &amp; Wellness</a:t>
            </a:r>
          </a:p>
          <a:p>
            <a:pPr>
              <a:spcBef>
                <a:spcPts val="600"/>
              </a:spcBef>
              <a:defRPr/>
            </a:pPr>
            <a:r>
              <a:rPr lang="en-US" sz="1200" dirty="0">
                <a:solidFill>
                  <a:srgbClr val="81BC00"/>
                </a:solidFill>
              </a:rPr>
              <a:t>Growth</a:t>
            </a:r>
          </a:p>
          <a:p>
            <a:pPr>
              <a:defRPr/>
            </a:pPr>
            <a:r>
              <a:rPr lang="en-US" sz="1200" dirty="0">
                <a:solidFill>
                  <a:srgbClr val="5C5C5C"/>
                </a:solidFill>
              </a:rPr>
              <a:t>Leadership development roadmap, Graduate School Assistance Program, Internal Mobility, Global deployment</a:t>
            </a:r>
          </a:p>
        </p:txBody>
      </p:sp>
      <p:sp>
        <p:nvSpPr>
          <p:cNvPr id="25" name="Rectangle 24">
            <a:extLst>
              <a:ext uri="{FF2B5EF4-FFF2-40B4-BE49-F238E27FC236}">
                <a16:creationId xmlns:a16="http://schemas.microsoft.com/office/drawing/2014/main" id="{85E292FA-651D-4BBB-9071-02C570DF4C49}"/>
              </a:ext>
            </a:extLst>
          </p:cNvPr>
          <p:cNvSpPr/>
          <p:nvPr/>
        </p:nvSpPr>
        <p:spPr>
          <a:xfrm>
            <a:off x="8816996" y="3961232"/>
            <a:ext cx="2914651" cy="1000274"/>
          </a:xfrm>
          <a:prstGeom prst="rect">
            <a:avLst/>
          </a:prstGeom>
        </p:spPr>
        <p:txBody>
          <a:bodyPr wrap="square" lIns="0" tIns="0" rIns="0" bIns="0" anchor="t">
            <a:spAutoFit/>
          </a:bodyPr>
          <a:lstStyle/>
          <a:p>
            <a:pPr>
              <a:spcBef>
                <a:spcPts val="600"/>
              </a:spcBef>
              <a:defRPr/>
            </a:pPr>
            <a:r>
              <a:rPr lang="en-US" sz="1200" dirty="0">
                <a:solidFill>
                  <a:srgbClr val="81BC00"/>
                </a:solidFill>
              </a:rPr>
              <a:t>Workplace volunteerism</a:t>
            </a:r>
          </a:p>
          <a:p>
            <a:pPr>
              <a:defRPr/>
            </a:pPr>
            <a:r>
              <a:rPr lang="en-US" sz="1200" dirty="0">
                <a:solidFill>
                  <a:srgbClr val="5C5C5C"/>
                </a:solidFill>
              </a:rPr>
              <a:t>Skills based, year-round programs</a:t>
            </a:r>
          </a:p>
          <a:p>
            <a:pPr>
              <a:spcBef>
                <a:spcPts val="600"/>
              </a:spcBef>
              <a:defRPr/>
            </a:pPr>
            <a:r>
              <a:rPr lang="en-US" sz="1200" dirty="0">
                <a:solidFill>
                  <a:srgbClr val="81BC00"/>
                </a:solidFill>
              </a:rPr>
              <a:t>IMPACT Day</a:t>
            </a:r>
          </a:p>
          <a:p>
            <a:pPr>
              <a:defRPr/>
            </a:pPr>
            <a:r>
              <a:rPr lang="en-US" sz="1200" dirty="0">
                <a:solidFill>
                  <a:srgbClr val="5C5C5C"/>
                </a:solidFill>
              </a:rPr>
              <a:t>Unique day of making an impact on local communities</a:t>
            </a:r>
          </a:p>
        </p:txBody>
      </p:sp>
      <p:sp>
        <p:nvSpPr>
          <p:cNvPr id="26" name="Rectangle 25">
            <a:extLst>
              <a:ext uri="{FF2B5EF4-FFF2-40B4-BE49-F238E27FC236}">
                <a16:creationId xmlns:a16="http://schemas.microsoft.com/office/drawing/2014/main" id="{A5AA4365-3283-4545-8378-580D2479836F}"/>
              </a:ext>
            </a:extLst>
          </p:cNvPr>
          <p:cNvSpPr/>
          <p:nvPr/>
        </p:nvSpPr>
        <p:spPr>
          <a:xfrm>
            <a:off x="1002473" y="2607704"/>
            <a:ext cx="1385380" cy="276999"/>
          </a:xfrm>
          <a:prstGeom prst="rect">
            <a:avLst/>
          </a:prstGeom>
        </p:spPr>
        <p:txBody>
          <a:bodyPr wrap="square" lIns="0" tIns="0" rIns="0" bIns="0" anchor="t">
            <a:spAutoFit/>
          </a:bodyPr>
          <a:lstStyle/>
          <a:p>
            <a:pPr>
              <a:defRPr/>
            </a:pPr>
            <a:r>
              <a:rPr lang="en-US" dirty="0">
                <a:solidFill>
                  <a:srgbClr val="5C5C5C"/>
                </a:solidFill>
              </a:rPr>
              <a:t>Clients</a:t>
            </a:r>
          </a:p>
        </p:txBody>
      </p:sp>
      <p:sp>
        <p:nvSpPr>
          <p:cNvPr id="27" name="Rectangle 26">
            <a:extLst>
              <a:ext uri="{FF2B5EF4-FFF2-40B4-BE49-F238E27FC236}">
                <a16:creationId xmlns:a16="http://schemas.microsoft.com/office/drawing/2014/main" id="{96FFBA12-BDA3-4E33-8643-38F9E06C8E98}"/>
              </a:ext>
            </a:extLst>
          </p:cNvPr>
          <p:cNvSpPr/>
          <p:nvPr/>
        </p:nvSpPr>
        <p:spPr>
          <a:xfrm>
            <a:off x="5088336" y="1977910"/>
            <a:ext cx="1861553" cy="246221"/>
          </a:xfrm>
          <a:prstGeom prst="rect">
            <a:avLst/>
          </a:prstGeom>
          <a:solidFill>
            <a:sysClr val="window" lastClr="FFFFFF"/>
          </a:solidFill>
        </p:spPr>
        <p:txBody>
          <a:bodyPr wrap="square" lIns="0" tIns="0" rIns="0" bIns="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5C5C5C"/>
                </a:solidFill>
                <a:effectLst/>
                <a:uLnTx/>
                <a:uFillTx/>
              </a:rPr>
              <a:t>Commitment To</a:t>
            </a:r>
          </a:p>
        </p:txBody>
      </p:sp>
      <p:sp>
        <p:nvSpPr>
          <p:cNvPr id="28" name="Rectangle 27">
            <a:extLst>
              <a:ext uri="{FF2B5EF4-FFF2-40B4-BE49-F238E27FC236}">
                <a16:creationId xmlns:a16="http://schemas.microsoft.com/office/drawing/2014/main" id="{805E0ECE-9473-43AD-9027-190C5B228386}"/>
              </a:ext>
            </a:extLst>
          </p:cNvPr>
          <p:cNvSpPr/>
          <p:nvPr/>
        </p:nvSpPr>
        <p:spPr>
          <a:xfrm>
            <a:off x="4548277" y="2607704"/>
            <a:ext cx="1385380" cy="276999"/>
          </a:xfrm>
          <a:prstGeom prst="rect">
            <a:avLst/>
          </a:prstGeom>
        </p:spPr>
        <p:txBody>
          <a:bodyPr wrap="square" lIns="0" tIns="0" rIns="0" bIns="0" anchor="t">
            <a:spAutoFit/>
          </a:bodyPr>
          <a:lstStyle/>
          <a:p>
            <a:pPr>
              <a:defRPr/>
            </a:pPr>
            <a:r>
              <a:rPr lang="en-US" dirty="0">
                <a:solidFill>
                  <a:srgbClr val="5C5C5C"/>
                </a:solidFill>
              </a:rPr>
              <a:t>People</a:t>
            </a:r>
          </a:p>
        </p:txBody>
      </p:sp>
      <p:sp>
        <p:nvSpPr>
          <p:cNvPr id="29" name="Rectangle 28">
            <a:extLst>
              <a:ext uri="{FF2B5EF4-FFF2-40B4-BE49-F238E27FC236}">
                <a16:creationId xmlns:a16="http://schemas.microsoft.com/office/drawing/2014/main" id="{6049690B-60DA-4D60-B288-B88A51508858}"/>
              </a:ext>
            </a:extLst>
          </p:cNvPr>
          <p:cNvSpPr/>
          <p:nvPr/>
        </p:nvSpPr>
        <p:spPr>
          <a:xfrm>
            <a:off x="8645479" y="2607704"/>
            <a:ext cx="1385380" cy="276999"/>
          </a:xfrm>
          <a:prstGeom prst="rect">
            <a:avLst/>
          </a:prstGeom>
        </p:spPr>
        <p:txBody>
          <a:bodyPr wrap="square" lIns="0" tIns="0" rIns="0" bIns="0" anchor="t">
            <a:spAutoFit/>
          </a:bodyPr>
          <a:lstStyle/>
          <a:p>
            <a:pPr>
              <a:defRPr/>
            </a:pPr>
            <a:r>
              <a:rPr lang="en-US" dirty="0">
                <a:solidFill>
                  <a:srgbClr val="5C5C5C"/>
                </a:solidFill>
              </a:rPr>
              <a:t>Community</a:t>
            </a:r>
          </a:p>
        </p:txBody>
      </p:sp>
      <p:pic>
        <p:nvPicPr>
          <p:cNvPr id="30" name="Picture 29" descr="molecular strand.eps">
            <a:extLst>
              <a:ext uri="{FF2B5EF4-FFF2-40B4-BE49-F238E27FC236}">
                <a16:creationId xmlns:a16="http://schemas.microsoft.com/office/drawing/2014/main" id="{F14CF867-BA5E-4209-BE90-A4F87DB95F7F}"/>
              </a:ext>
            </a:extLst>
          </p:cNvPr>
          <p:cNvPicPr>
            <a:picLocks noChangeAspect="1"/>
          </p:cNvPicPr>
          <p:nvPr/>
        </p:nvPicPr>
        <p:blipFill rotWithShape="1">
          <a:blip r:embed="rId8">
            <a:extLst>
              <a:ext uri="{28A0092B-C50C-407E-A947-70E740481C1C}">
                <a14:useLocalDpi xmlns:a14="http://schemas.microsoft.com/office/drawing/2010/main" val="0"/>
              </a:ext>
            </a:extLst>
          </a:blip>
          <a:srcRect l="24342" r="24342"/>
          <a:stretch/>
        </p:blipFill>
        <p:spPr>
          <a:xfrm>
            <a:off x="0" y="3043735"/>
            <a:ext cx="12192000" cy="545769"/>
          </a:xfrm>
          <a:prstGeom prst="rect">
            <a:avLst/>
          </a:prstGeom>
        </p:spPr>
      </p:pic>
      <p:cxnSp>
        <p:nvCxnSpPr>
          <p:cNvPr id="31" name="Straight Connector 30">
            <a:extLst>
              <a:ext uri="{FF2B5EF4-FFF2-40B4-BE49-F238E27FC236}">
                <a16:creationId xmlns:a16="http://schemas.microsoft.com/office/drawing/2014/main" id="{633A1794-E4D5-452C-9854-D2BE42965D28}"/>
              </a:ext>
            </a:extLst>
          </p:cNvPr>
          <p:cNvCxnSpPr/>
          <p:nvPr/>
        </p:nvCxnSpPr>
        <p:spPr>
          <a:xfrm flipH="1">
            <a:off x="1002473" y="3430572"/>
            <a:ext cx="23006" cy="1575968"/>
          </a:xfrm>
          <a:prstGeom prst="line">
            <a:avLst/>
          </a:prstGeom>
          <a:noFill/>
          <a:ln w="6350" cap="flat" cmpd="sng" algn="ctr">
            <a:solidFill>
              <a:srgbClr val="B4B4B4"/>
            </a:solidFill>
            <a:prstDash val="solid"/>
            <a:miter lim="800000"/>
          </a:ln>
          <a:effectLst/>
        </p:spPr>
      </p:cxnSp>
      <p:cxnSp>
        <p:nvCxnSpPr>
          <p:cNvPr id="32" name="Straight Connector 31">
            <a:extLst>
              <a:ext uri="{FF2B5EF4-FFF2-40B4-BE49-F238E27FC236}">
                <a16:creationId xmlns:a16="http://schemas.microsoft.com/office/drawing/2014/main" id="{CB0F9717-1EDE-4E73-8379-B9EB9ABA9D4C}"/>
              </a:ext>
            </a:extLst>
          </p:cNvPr>
          <p:cNvCxnSpPr/>
          <p:nvPr/>
        </p:nvCxnSpPr>
        <p:spPr>
          <a:xfrm flipH="1">
            <a:off x="4609704" y="3182376"/>
            <a:ext cx="23006" cy="2576242"/>
          </a:xfrm>
          <a:prstGeom prst="line">
            <a:avLst/>
          </a:prstGeom>
          <a:noFill/>
          <a:ln w="6350" cap="flat" cmpd="sng" algn="ctr">
            <a:solidFill>
              <a:srgbClr val="B4B4B4"/>
            </a:solidFill>
            <a:prstDash val="solid"/>
            <a:miter lim="800000"/>
          </a:ln>
          <a:effectLst/>
        </p:spPr>
      </p:cxnSp>
      <p:cxnSp>
        <p:nvCxnSpPr>
          <p:cNvPr id="33" name="Straight Connector 32">
            <a:extLst>
              <a:ext uri="{FF2B5EF4-FFF2-40B4-BE49-F238E27FC236}">
                <a16:creationId xmlns:a16="http://schemas.microsoft.com/office/drawing/2014/main" id="{AD691667-8CCA-4FB2-AB96-EF71D9F5FA22}"/>
              </a:ext>
            </a:extLst>
          </p:cNvPr>
          <p:cNvCxnSpPr/>
          <p:nvPr/>
        </p:nvCxnSpPr>
        <p:spPr>
          <a:xfrm flipH="1">
            <a:off x="8645662" y="3332417"/>
            <a:ext cx="23006" cy="1575968"/>
          </a:xfrm>
          <a:prstGeom prst="line">
            <a:avLst/>
          </a:prstGeom>
          <a:noFill/>
          <a:ln w="6350" cap="flat" cmpd="sng" algn="ctr">
            <a:solidFill>
              <a:srgbClr val="B4B4B4"/>
            </a:solidFill>
            <a:prstDash val="solid"/>
            <a:miter lim="800000"/>
          </a:ln>
          <a:effectLst/>
        </p:spPr>
      </p:cxnSp>
      <p:sp>
        <p:nvSpPr>
          <p:cNvPr id="34" name="Oval 33">
            <a:extLst>
              <a:ext uri="{FF2B5EF4-FFF2-40B4-BE49-F238E27FC236}">
                <a16:creationId xmlns:a16="http://schemas.microsoft.com/office/drawing/2014/main" id="{F7B5DB85-1B32-444C-AD56-CFFE81B7F7B9}"/>
              </a:ext>
            </a:extLst>
          </p:cNvPr>
          <p:cNvSpPr/>
          <p:nvPr/>
        </p:nvSpPr>
        <p:spPr>
          <a:xfrm>
            <a:off x="4558216" y="3035503"/>
            <a:ext cx="162584" cy="162584"/>
          </a:xfrm>
          <a:prstGeom prst="ellipse">
            <a:avLst/>
          </a:prstGeom>
          <a:solidFill>
            <a:srgbClr val="B4B4B4"/>
          </a:solidFill>
          <a:ln w="28575"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a typeface="+mn-ea"/>
              <a:cs typeface="+mn-cs"/>
            </a:endParaRPr>
          </a:p>
        </p:txBody>
      </p:sp>
      <p:sp>
        <p:nvSpPr>
          <p:cNvPr id="35" name="Oval 34">
            <a:extLst>
              <a:ext uri="{FF2B5EF4-FFF2-40B4-BE49-F238E27FC236}">
                <a16:creationId xmlns:a16="http://schemas.microsoft.com/office/drawing/2014/main" id="{AF4CDA17-E100-4685-866E-11408DC53C67}"/>
              </a:ext>
            </a:extLst>
          </p:cNvPr>
          <p:cNvSpPr/>
          <p:nvPr/>
        </p:nvSpPr>
        <p:spPr>
          <a:xfrm>
            <a:off x="8585499" y="3232678"/>
            <a:ext cx="162584" cy="162584"/>
          </a:xfrm>
          <a:prstGeom prst="ellipse">
            <a:avLst/>
          </a:prstGeom>
          <a:solidFill>
            <a:srgbClr val="B4B4B4"/>
          </a:solidFill>
          <a:ln w="28575"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a typeface="+mn-ea"/>
              <a:cs typeface="+mn-cs"/>
            </a:endParaRPr>
          </a:p>
        </p:txBody>
      </p:sp>
      <p:sp>
        <p:nvSpPr>
          <p:cNvPr id="36" name="Oval 35">
            <a:extLst>
              <a:ext uri="{FF2B5EF4-FFF2-40B4-BE49-F238E27FC236}">
                <a16:creationId xmlns:a16="http://schemas.microsoft.com/office/drawing/2014/main" id="{72F0C43A-DC08-405D-90DE-2C8474B131CC}"/>
              </a:ext>
            </a:extLst>
          </p:cNvPr>
          <p:cNvSpPr/>
          <p:nvPr/>
        </p:nvSpPr>
        <p:spPr>
          <a:xfrm>
            <a:off x="950985" y="3267988"/>
            <a:ext cx="162584" cy="162584"/>
          </a:xfrm>
          <a:prstGeom prst="ellipse">
            <a:avLst/>
          </a:prstGeom>
          <a:solidFill>
            <a:srgbClr val="B4B4B4"/>
          </a:solidFill>
          <a:ln w="28575"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a typeface="+mn-ea"/>
              <a:cs typeface="+mn-cs"/>
            </a:endParaRPr>
          </a:p>
        </p:txBody>
      </p:sp>
    </p:spTree>
    <p:extLst>
      <p:ext uri="{BB962C8B-B14F-4D97-AF65-F5344CB8AC3E}">
        <p14:creationId xmlns:p14="http://schemas.microsoft.com/office/powerpoint/2010/main" val="6547551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8"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5F105F7-A315-45A8-81AB-9EB3E9E4D7D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5000"/>
              </a:lnSpc>
              <a:spcBef>
                <a:spcPct val="0"/>
              </a:spcBef>
              <a:spcAft>
                <a:spcPct val="0"/>
              </a:spcAft>
            </a:pPr>
            <a:endParaRPr lang="en-US" sz="2800" b="1" dirty="0">
              <a:latin typeface="Open Sans" panose="020B0606030504020204" pitchFamily="34" charset="0"/>
              <a:sym typeface="Open Sans" panose="020B0606030504020204" pitchFamily="34" charset="0"/>
            </a:endParaRPr>
          </a:p>
        </p:txBody>
      </p:sp>
      <p:sp>
        <p:nvSpPr>
          <p:cNvPr id="19" name="Title 3">
            <a:extLst>
              <a:ext uri="{FF2B5EF4-FFF2-40B4-BE49-F238E27FC236}">
                <a16:creationId xmlns:a16="http://schemas.microsoft.com/office/drawing/2014/main" id="{D70FB163-7BA0-4E19-BF71-7A4E55987534}"/>
              </a:ext>
            </a:extLst>
          </p:cNvPr>
          <p:cNvSpPr>
            <a:spLocks noGrp="1"/>
          </p:cNvSpPr>
          <p:nvPr>
            <p:ph type="title"/>
          </p:nvPr>
        </p:nvSpPr>
        <p:spPr>
          <a:xfrm>
            <a:off x="914402" y="4965303"/>
            <a:ext cx="4407673" cy="897983"/>
          </a:xfrm>
        </p:spPr>
        <p:txBody>
          <a:bodyPr/>
          <a:lstStyle/>
          <a:p>
            <a:r>
              <a:rPr lang="en-US" dirty="0"/>
              <a:t>TITLE</a:t>
            </a:r>
          </a:p>
        </p:txBody>
      </p:sp>
      <p:sp>
        <p:nvSpPr>
          <p:cNvPr id="20" name="Text Placeholder 4">
            <a:extLst>
              <a:ext uri="{FF2B5EF4-FFF2-40B4-BE49-F238E27FC236}">
                <a16:creationId xmlns:a16="http://schemas.microsoft.com/office/drawing/2014/main" id="{9D59CDA7-A6C3-4694-BF92-3916114FA54C}"/>
              </a:ext>
            </a:extLst>
          </p:cNvPr>
          <p:cNvSpPr>
            <a:spLocks noGrp="1"/>
          </p:cNvSpPr>
          <p:nvPr>
            <p:ph type="body" sz="quarter" idx="16"/>
          </p:nvPr>
        </p:nvSpPr>
        <p:spPr>
          <a:xfrm>
            <a:off x="914402" y="5940663"/>
            <a:ext cx="4407673" cy="478209"/>
          </a:xfrm>
        </p:spPr>
        <p:txBody>
          <a:bodyPr/>
          <a:lstStyle/>
          <a:p>
            <a:r>
              <a:rPr lang="en-US" dirty="0"/>
              <a:t>SUBTITLE</a:t>
            </a:r>
          </a:p>
        </p:txBody>
      </p:sp>
      <p:sp>
        <p:nvSpPr>
          <p:cNvPr id="21" name="Text Placeholder 5">
            <a:extLst>
              <a:ext uri="{FF2B5EF4-FFF2-40B4-BE49-F238E27FC236}">
                <a16:creationId xmlns:a16="http://schemas.microsoft.com/office/drawing/2014/main" id="{DB53F8A3-2D51-42C5-B2AB-B0B01E629BBF}"/>
              </a:ext>
            </a:extLst>
          </p:cNvPr>
          <p:cNvSpPr>
            <a:spLocks noGrp="1"/>
          </p:cNvSpPr>
          <p:nvPr>
            <p:ph type="body" sz="quarter" idx="17"/>
          </p:nvPr>
        </p:nvSpPr>
        <p:spPr>
          <a:xfrm>
            <a:off x="914402" y="4585210"/>
            <a:ext cx="4407673" cy="348286"/>
          </a:xfrm>
        </p:spPr>
        <p:txBody>
          <a:bodyPr/>
          <a:lstStyle/>
          <a:p>
            <a:r>
              <a:rPr lang="en-US" dirty="0"/>
              <a:t>DATE</a:t>
            </a:r>
          </a:p>
        </p:txBody>
      </p:sp>
      <p:pic>
        <p:nvPicPr>
          <p:cNvPr id="22" name="Picture 21">
            <a:extLst>
              <a:ext uri="{FF2B5EF4-FFF2-40B4-BE49-F238E27FC236}">
                <a16:creationId xmlns:a16="http://schemas.microsoft.com/office/drawing/2014/main" id="{94AD0B3A-CFFC-49EE-AA86-DC85E2BEAF0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981575" y="30822"/>
            <a:ext cx="6858000" cy="6858000"/>
          </a:xfrm>
          <a:prstGeom prst="rect">
            <a:avLst/>
          </a:prstGeom>
        </p:spPr>
      </p:pic>
    </p:spTree>
    <p:extLst>
      <p:ext uri="{BB962C8B-B14F-4D97-AF65-F5344CB8AC3E}">
        <p14:creationId xmlns:p14="http://schemas.microsoft.com/office/powerpoint/2010/main" val="292772025"/>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F89E453-0D38-43BE-9B4E-D1A6C040EEF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8" name="think-cell Slide" r:id="rId6" imgW="415" imgH="416" progId="TCLayout.ActiveDocument.1">
                  <p:embed/>
                </p:oleObj>
              </mc:Choice>
              <mc:Fallback>
                <p:oleObj name="think-cell Slide" r:id="rId6" imgW="415" imgH="416" progId="TCLayout.ActiveDocument.1">
                  <p:embed/>
                  <p:pic>
                    <p:nvPicPr>
                      <p:cNvPr id="8" name="Object 7" hidden="1">
                        <a:extLst>
                          <a:ext uri="{FF2B5EF4-FFF2-40B4-BE49-F238E27FC236}">
                            <a16:creationId xmlns:a16="http://schemas.microsoft.com/office/drawing/2014/main" id="{2F89E453-0D38-43BE-9B4E-D1A6C040EEF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D8A4DCB-D3A6-4CA5-B11F-E36AE53F820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CD376810-B9DB-4A25-9348-F822C6E80FD9}"/>
              </a:ext>
            </a:extLst>
          </p:cNvPr>
          <p:cNvSpPr>
            <a:spLocks noGrp="1"/>
          </p:cNvSpPr>
          <p:nvPr>
            <p:ph type="title"/>
          </p:nvPr>
        </p:nvSpPr>
        <p:spPr/>
        <p:txBody>
          <a:bodyPr/>
          <a:lstStyle/>
          <a:p>
            <a:r>
              <a:rPr lang="en-US" dirty="0"/>
              <a:t>What benefits would this create?</a:t>
            </a:r>
          </a:p>
        </p:txBody>
      </p:sp>
      <p:sp>
        <p:nvSpPr>
          <p:cNvPr id="9" name="Text Placeholder 8">
            <a:extLst>
              <a:ext uri="{FF2B5EF4-FFF2-40B4-BE49-F238E27FC236}">
                <a16:creationId xmlns:a16="http://schemas.microsoft.com/office/drawing/2014/main" id="{3ADCE901-7B20-4F20-9A4D-C9D052C4A326}"/>
              </a:ext>
            </a:extLst>
          </p:cNvPr>
          <p:cNvSpPr>
            <a:spLocks noGrp="1"/>
          </p:cNvSpPr>
          <p:nvPr>
            <p:ph type="body" sz="quarter" idx="14"/>
          </p:nvPr>
        </p:nvSpPr>
        <p:spPr/>
        <p:txBody>
          <a:bodyPr/>
          <a:lstStyle/>
          <a:p>
            <a:r>
              <a:rPr lang="en-US" dirty="0"/>
              <a:t>Outcomes</a:t>
            </a:r>
          </a:p>
          <a:p>
            <a:endParaRPr lang="en-US" dirty="0"/>
          </a:p>
        </p:txBody>
      </p:sp>
      <p:sp>
        <p:nvSpPr>
          <p:cNvPr id="3" name="Text Placeholder 2">
            <a:extLst>
              <a:ext uri="{FF2B5EF4-FFF2-40B4-BE49-F238E27FC236}">
                <a16:creationId xmlns:a16="http://schemas.microsoft.com/office/drawing/2014/main" id="{946DE541-6110-47BC-99D9-2DC28A16DDF8}"/>
              </a:ext>
            </a:extLst>
          </p:cNvPr>
          <p:cNvSpPr>
            <a:spLocks noGrp="1"/>
          </p:cNvSpPr>
          <p:nvPr>
            <p:ph type="body" sz="quarter" idx="15"/>
          </p:nvPr>
        </p:nvSpPr>
        <p:spPr/>
        <p:txBody>
          <a:bodyPr/>
          <a:lstStyle/>
          <a:p>
            <a:r>
              <a:rPr lang="en-US" dirty="0"/>
              <a:t>text</a:t>
            </a:r>
          </a:p>
        </p:txBody>
      </p:sp>
      <p:grpSp>
        <p:nvGrpSpPr>
          <p:cNvPr id="10" name="Group 9">
            <a:extLst>
              <a:ext uri="{FF2B5EF4-FFF2-40B4-BE49-F238E27FC236}">
                <a16:creationId xmlns:a16="http://schemas.microsoft.com/office/drawing/2014/main" id="{4D670CA9-57BA-412E-90B1-EBB5080E4830}"/>
              </a:ext>
            </a:extLst>
          </p:cNvPr>
          <p:cNvGrpSpPr/>
          <p:nvPr/>
        </p:nvGrpSpPr>
        <p:grpSpPr>
          <a:xfrm>
            <a:off x="563701" y="3074605"/>
            <a:ext cx="2149223" cy="2188954"/>
            <a:chOff x="818225" y="2720643"/>
            <a:chExt cx="2149223" cy="2188954"/>
          </a:xfrm>
        </p:grpSpPr>
        <p:cxnSp>
          <p:nvCxnSpPr>
            <p:cNvPr id="11" name="Straight Connector 10">
              <a:extLst>
                <a:ext uri="{FF2B5EF4-FFF2-40B4-BE49-F238E27FC236}">
                  <a16:creationId xmlns:a16="http://schemas.microsoft.com/office/drawing/2014/main" id="{371CE41D-FDD9-4EB0-BCA8-73DC5AA06BF4}"/>
                </a:ext>
              </a:extLst>
            </p:cNvPr>
            <p:cNvCxnSpPr>
              <a:cxnSpLocks/>
            </p:cNvCxnSpPr>
            <p:nvPr/>
          </p:nvCxnSpPr>
          <p:spPr>
            <a:xfrm>
              <a:off x="928288" y="2720643"/>
              <a:ext cx="1956313"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B3CD7FE7-950B-4D7D-9763-2568C00E7B75}"/>
                </a:ext>
              </a:extLst>
            </p:cNvPr>
            <p:cNvSpPr/>
            <p:nvPr/>
          </p:nvSpPr>
          <p:spPr>
            <a:xfrm>
              <a:off x="818225" y="2955216"/>
              <a:ext cx="2149223" cy="1954381"/>
            </a:xfrm>
            <a:prstGeom prst="rect">
              <a:avLst/>
            </a:prstGeom>
          </p:spPr>
          <p:txBody>
            <a:bodyPr wrap="square">
              <a:spAutoFit/>
            </a:bodyPr>
            <a:lstStyle/>
            <a:p>
              <a:pPr marL="0" marR="0" lvl="1" indent="0" algn="l" defTabSz="914400" rtl="0" eaLnBrk="1" fontAlgn="auto" latinLnBrk="0" hangingPunct="1">
                <a:lnSpc>
                  <a:spcPct val="100000"/>
                </a:lnSpc>
                <a:spcBef>
                  <a:spcPts val="600"/>
                </a:spcBef>
                <a:spcAft>
                  <a:spcPts val="0"/>
                </a:spcAft>
                <a:buClrTx/>
                <a:buSzPct val="100000"/>
                <a:buFontTx/>
                <a:buNone/>
                <a:tabLst/>
                <a:defRPr/>
              </a:pPr>
              <a:r>
                <a:rPr kumimoji="0" lang="en-US" sz="20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Growth</a:t>
              </a:r>
            </a:p>
            <a:p>
              <a:pPr marL="0" marR="0" lvl="1" indent="0" algn="l"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Provides a single forum for leaders to actively decide and commit to </a:t>
              </a:r>
              <a:r>
                <a:rPr kumimoji="0" lang="en-US" sz="1200" b="1"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disproportionately investing in the key opportunities that will grow our businesses</a:t>
              </a:r>
              <a:r>
                <a:rPr kumimoji="0" lang="en-US" sz="12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 at the portfolio level</a:t>
              </a:r>
              <a:endParaRPr kumimoji="0" 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3" name="Group 12">
            <a:extLst>
              <a:ext uri="{FF2B5EF4-FFF2-40B4-BE49-F238E27FC236}">
                <a16:creationId xmlns:a16="http://schemas.microsoft.com/office/drawing/2014/main" id="{28465134-7367-446D-AF5A-F143EEE346FE}"/>
              </a:ext>
            </a:extLst>
          </p:cNvPr>
          <p:cNvGrpSpPr/>
          <p:nvPr/>
        </p:nvGrpSpPr>
        <p:grpSpPr>
          <a:xfrm>
            <a:off x="2841857" y="3074605"/>
            <a:ext cx="2069755" cy="2004288"/>
            <a:chOff x="3090288" y="2720643"/>
            <a:chExt cx="2069755" cy="2004288"/>
          </a:xfrm>
        </p:grpSpPr>
        <p:cxnSp>
          <p:nvCxnSpPr>
            <p:cNvPr id="14" name="Straight Connector 13">
              <a:extLst>
                <a:ext uri="{FF2B5EF4-FFF2-40B4-BE49-F238E27FC236}">
                  <a16:creationId xmlns:a16="http://schemas.microsoft.com/office/drawing/2014/main" id="{22B0D428-F2D7-4EA2-840F-1631A9877C04}"/>
                </a:ext>
              </a:extLst>
            </p:cNvPr>
            <p:cNvCxnSpPr>
              <a:cxnSpLocks/>
            </p:cNvCxnSpPr>
            <p:nvPr/>
          </p:nvCxnSpPr>
          <p:spPr>
            <a:xfrm>
              <a:off x="3187410" y="2720643"/>
              <a:ext cx="1956816" cy="0"/>
            </a:xfrm>
            <a:prstGeom prst="line">
              <a:avLst/>
            </a:prstGeom>
            <a:ln w="571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50A0FE1E-94D6-4D6B-A0DE-90D429E3A1B4}"/>
                </a:ext>
              </a:extLst>
            </p:cNvPr>
            <p:cNvSpPr/>
            <p:nvPr/>
          </p:nvSpPr>
          <p:spPr>
            <a:xfrm>
              <a:off x="3090288" y="2955216"/>
              <a:ext cx="2069755" cy="1769715"/>
            </a:xfrm>
            <a:prstGeom prst="rect">
              <a:avLst/>
            </a:prstGeom>
          </p:spPr>
          <p:txBody>
            <a:bodyPr wrap="square">
              <a:spAutoFit/>
            </a:bodyPr>
            <a:lstStyle/>
            <a:p>
              <a:pPr marL="0" marR="0" lvl="1" indent="0" algn="l" defTabSz="914400" rtl="0" eaLnBrk="1" fontAlgn="auto" latinLnBrk="0" hangingPunct="1">
                <a:lnSpc>
                  <a:spcPct val="100000"/>
                </a:lnSpc>
                <a:spcBef>
                  <a:spcPts val="600"/>
                </a:spcBef>
                <a:spcAft>
                  <a:spcPts val="0"/>
                </a:spcAft>
                <a:buClrTx/>
                <a:buSzPct val="100000"/>
                <a:buFontTx/>
                <a:buNone/>
                <a:tabLst/>
                <a:defRPr/>
              </a:pPr>
              <a:r>
                <a:rPr kumimoji="0" lang="en-US" sz="20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OI</a:t>
              </a:r>
            </a:p>
            <a:p>
              <a:pPr marL="0" marR="0" lvl="1" indent="0" algn="l"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Allows leaders to actively</a:t>
              </a:r>
              <a:r>
                <a:rPr kumimoji="0" lang="en-US" sz="1200" b="1"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 track and manage our investments</a:t>
              </a:r>
              <a:r>
                <a:rPr kumimoji="0" lang="en-US" sz="12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 and provides a channel to create value-based conversations around future allocation</a:t>
              </a:r>
              <a:endParaRPr kumimoji="0" lang="en-US" sz="1200" b="1"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endParaRPr>
            </a:p>
          </p:txBody>
        </p:sp>
      </p:grpSp>
      <p:grpSp>
        <p:nvGrpSpPr>
          <p:cNvPr id="16" name="Group 15">
            <a:extLst>
              <a:ext uri="{FF2B5EF4-FFF2-40B4-BE49-F238E27FC236}">
                <a16:creationId xmlns:a16="http://schemas.microsoft.com/office/drawing/2014/main" id="{8BEA6B11-CC0D-4593-AFDE-82D8AFF16925}"/>
              </a:ext>
            </a:extLst>
          </p:cNvPr>
          <p:cNvGrpSpPr/>
          <p:nvPr/>
        </p:nvGrpSpPr>
        <p:grpSpPr>
          <a:xfrm>
            <a:off x="5039533" y="3074605"/>
            <a:ext cx="2053938" cy="2188954"/>
            <a:chOff x="5160045" y="2720643"/>
            <a:chExt cx="2053938" cy="2188954"/>
          </a:xfrm>
        </p:grpSpPr>
        <p:cxnSp>
          <p:nvCxnSpPr>
            <p:cNvPr id="17" name="Straight Connector 16">
              <a:extLst>
                <a:ext uri="{FF2B5EF4-FFF2-40B4-BE49-F238E27FC236}">
                  <a16:creationId xmlns:a16="http://schemas.microsoft.com/office/drawing/2014/main" id="{981DC50B-6588-4EA0-8A7C-3F087D3B4748}"/>
                </a:ext>
              </a:extLst>
            </p:cNvPr>
            <p:cNvCxnSpPr>
              <a:cxnSpLocks/>
            </p:cNvCxnSpPr>
            <p:nvPr/>
          </p:nvCxnSpPr>
          <p:spPr>
            <a:xfrm>
              <a:off x="5257167" y="2720643"/>
              <a:ext cx="1956816" cy="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7E8D772A-3BC7-4001-B776-02B6E1B6FB54}"/>
                </a:ext>
              </a:extLst>
            </p:cNvPr>
            <p:cNvSpPr/>
            <p:nvPr/>
          </p:nvSpPr>
          <p:spPr>
            <a:xfrm>
              <a:off x="5160045" y="2955216"/>
              <a:ext cx="2052926" cy="1954381"/>
            </a:xfrm>
            <a:prstGeom prst="rect">
              <a:avLst/>
            </a:prstGeom>
          </p:spPr>
          <p:txBody>
            <a:bodyPr wrap="square">
              <a:spAutoFit/>
            </a:bodyPr>
            <a:lstStyle/>
            <a:p>
              <a:pPr marL="0" marR="0" lvl="1" indent="0" algn="l" defTabSz="914400" rtl="0" eaLnBrk="1" fontAlgn="auto" latinLnBrk="0" hangingPunct="1">
                <a:lnSpc>
                  <a:spcPct val="100000"/>
                </a:lnSpc>
                <a:spcBef>
                  <a:spcPts val="600"/>
                </a:spcBef>
                <a:spcAft>
                  <a:spcPts val="0"/>
                </a:spcAft>
                <a:buClrTx/>
                <a:buSzPct val="100000"/>
                <a:buFontTx/>
                <a:buNone/>
                <a:tabLst/>
                <a:defRPr/>
              </a:pPr>
              <a:r>
                <a:rPr kumimoji="0" lang="en-US" sz="20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erformance</a:t>
              </a:r>
            </a:p>
            <a:p>
              <a:pPr marL="0" marR="0" lvl="1" indent="0" algn="l"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Creates the vehicle to </a:t>
              </a:r>
              <a:r>
                <a:rPr kumimoji="0" lang="en-US" sz="1200" b="1"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manage opportunity traction, and risk along the entire investment lifecycle </a:t>
              </a:r>
              <a:r>
                <a:rPr kumimoji="0" lang="en-US" sz="12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to ensure our C&amp;M investments are performing at or above their opportunity cost</a:t>
              </a:r>
            </a:p>
          </p:txBody>
        </p:sp>
      </p:grpSp>
      <p:grpSp>
        <p:nvGrpSpPr>
          <p:cNvPr id="19" name="Group 18">
            <a:extLst>
              <a:ext uri="{FF2B5EF4-FFF2-40B4-BE49-F238E27FC236}">
                <a16:creationId xmlns:a16="http://schemas.microsoft.com/office/drawing/2014/main" id="{41E993EB-93DF-4428-BEB0-808EC40A7836}"/>
              </a:ext>
            </a:extLst>
          </p:cNvPr>
          <p:cNvGrpSpPr/>
          <p:nvPr/>
        </p:nvGrpSpPr>
        <p:grpSpPr>
          <a:xfrm>
            <a:off x="7221392" y="3074605"/>
            <a:ext cx="2053938" cy="2188954"/>
            <a:chOff x="7229801" y="2720643"/>
            <a:chExt cx="2053938" cy="2188954"/>
          </a:xfrm>
        </p:grpSpPr>
        <p:cxnSp>
          <p:nvCxnSpPr>
            <p:cNvPr id="20" name="Straight Connector 19">
              <a:extLst>
                <a:ext uri="{FF2B5EF4-FFF2-40B4-BE49-F238E27FC236}">
                  <a16:creationId xmlns:a16="http://schemas.microsoft.com/office/drawing/2014/main" id="{E90A88B0-48BC-4046-97AF-32CE98A68FD8}"/>
                </a:ext>
              </a:extLst>
            </p:cNvPr>
            <p:cNvCxnSpPr>
              <a:cxnSpLocks/>
            </p:cNvCxnSpPr>
            <p:nvPr/>
          </p:nvCxnSpPr>
          <p:spPr>
            <a:xfrm>
              <a:off x="7326923" y="2720643"/>
              <a:ext cx="1956816" cy="0"/>
            </a:xfrm>
            <a:prstGeom prst="line">
              <a:avLst/>
            </a:prstGeom>
            <a:ln w="57150">
              <a:solidFill>
                <a:srgbClr val="3DF9C5"/>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B58F42BB-0316-4522-BFA3-4CAC692C5BEA}"/>
                </a:ext>
              </a:extLst>
            </p:cNvPr>
            <p:cNvSpPr/>
            <p:nvPr/>
          </p:nvSpPr>
          <p:spPr>
            <a:xfrm>
              <a:off x="7229801" y="2955216"/>
              <a:ext cx="2053938" cy="1954381"/>
            </a:xfrm>
            <a:prstGeom prst="rect">
              <a:avLst/>
            </a:prstGeom>
          </p:spPr>
          <p:txBody>
            <a:bodyPr wrap="square">
              <a:spAutoFit/>
            </a:bodyPr>
            <a:lstStyle/>
            <a:p>
              <a:pPr marL="0" marR="0" lvl="1" indent="0" algn="l" defTabSz="914400" rtl="0" eaLnBrk="1" fontAlgn="auto" latinLnBrk="0" hangingPunct="1">
                <a:lnSpc>
                  <a:spcPct val="100000"/>
                </a:lnSpc>
                <a:spcBef>
                  <a:spcPts val="600"/>
                </a:spcBef>
                <a:spcAft>
                  <a:spcPts val="0"/>
                </a:spcAft>
                <a:buClrTx/>
                <a:buSzPct val="100000"/>
                <a:buFontTx/>
                <a:buNone/>
                <a:tabLst/>
                <a:defRPr/>
              </a:pPr>
              <a:r>
                <a:rPr kumimoji="0" lang="en-US" sz="20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fficiency</a:t>
              </a:r>
            </a:p>
            <a:p>
              <a:pPr marL="0" marR="0" lvl="1" indent="0" algn="l"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livers scale-efficiencies by creating a </a:t>
              </a:r>
              <a:r>
                <a:rPr kumimoji="0" 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ingle, transparent investment management process, </a:t>
              </a:r>
              <a:r>
                <a:rPr kumimoji="0" lang="en-US" sz="12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ffectively minimizing the ad hoc analysis and reporting required for  opportunities and assets</a:t>
              </a:r>
              <a:endParaRPr kumimoji="0" 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2" name="Group 21">
            <a:extLst>
              <a:ext uri="{FF2B5EF4-FFF2-40B4-BE49-F238E27FC236}">
                <a16:creationId xmlns:a16="http://schemas.microsoft.com/office/drawing/2014/main" id="{AC69932E-506E-4235-B452-E255F96AC4AF}"/>
              </a:ext>
            </a:extLst>
          </p:cNvPr>
          <p:cNvGrpSpPr/>
          <p:nvPr/>
        </p:nvGrpSpPr>
        <p:grpSpPr>
          <a:xfrm>
            <a:off x="9403251" y="3074605"/>
            <a:ext cx="2163909" cy="2188954"/>
            <a:chOff x="9299555" y="2720643"/>
            <a:chExt cx="2163909" cy="2188954"/>
          </a:xfrm>
        </p:grpSpPr>
        <p:cxnSp>
          <p:nvCxnSpPr>
            <p:cNvPr id="23" name="Straight Connector 22">
              <a:extLst>
                <a:ext uri="{FF2B5EF4-FFF2-40B4-BE49-F238E27FC236}">
                  <a16:creationId xmlns:a16="http://schemas.microsoft.com/office/drawing/2014/main" id="{D5C09700-FEFB-4D65-A058-6C3312C7F935}"/>
                </a:ext>
              </a:extLst>
            </p:cNvPr>
            <p:cNvCxnSpPr>
              <a:cxnSpLocks/>
            </p:cNvCxnSpPr>
            <p:nvPr/>
          </p:nvCxnSpPr>
          <p:spPr>
            <a:xfrm>
              <a:off x="9396677" y="2720643"/>
              <a:ext cx="1956816"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F999B2DA-CAEE-434D-9E46-86A37B32C743}"/>
                </a:ext>
              </a:extLst>
            </p:cNvPr>
            <p:cNvSpPr/>
            <p:nvPr/>
          </p:nvSpPr>
          <p:spPr>
            <a:xfrm>
              <a:off x="9299555" y="2955216"/>
              <a:ext cx="2163909" cy="1954381"/>
            </a:xfrm>
            <a:prstGeom prst="rect">
              <a:avLst/>
            </a:prstGeom>
          </p:spPr>
          <p:txBody>
            <a:bodyPr wrap="square">
              <a:spAutoFit/>
            </a:bodyPr>
            <a:lstStyle/>
            <a:p>
              <a:pPr marL="0" marR="0" lvl="1" indent="0" algn="l" defTabSz="914400" rtl="0" eaLnBrk="1" fontAlgn="auto" latinLnBrk="0" hangingPunct="1">
                <a:lnSpc>
                  <a:spcPct val="100000"/>
                </a:lnSpc>
                <a:spcBef>
                  <a:spcPts val="600"/>
                </a:spcBef>
                <a:spcAft>
                  <a:spcPts val="0"/>
                </a:spcAft>
                <a:buClrTx/>
                <a:buSzPct val="100000"/>
                <a:buFontTx/>
                <a:buNone/>
                <a:tabLst/>
                <a:defRPr/>
              </a:pPr>
              <a:r>
                <a:rPr kumimoji="0" lang="en-US" sz="20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istency</a:t>
              </a:r>
            </a:p>
            <a:p>
              <a:pPr marL="0" marR="0" lvl="1" indent="0" algn="l"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stablishes a </a:t>
              </a:r>
              <a:r>
                <a:rPr kumimoji="0" 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istent message across the </a:t>
              </a:r>
              <a:r>
                <a:rPr lang="en-US" sz="12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top</a:t>
              </a:r>
              <a:r>
                <a:rPr kumimoji="0" 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on how high-value initiatives are evaluated regardless of their lifecycle </a:t>
              </a:r>
              <a:r>
                <a:rPr kumimoji="0" lang="en-US" sz="12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rom ideation through full maturity) </a:t>
              </a:r>
              <a:r>
                <a:rPr kumimoji="0" 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nd source</a:t>
              </a:r>
            </a:p>
          </p:txBody>
        </p:sp>
      </p:grpSp>
      <p:grpSp>
        <p:nvGrpSpPr>
          <p:cNvPr id="25" name="Group 24">
            <a:extLst>
              <a:ext uri="{FF2B5EF4-FFF2-40B4-BE49-F238E27FC236}">
                <a16:creationId xmlns:a16="http://schemas.microsoft.com/office/drawing/2014/main" id="{2AE134B6-8B80-4240-AC1D-C89F42667324}"/>
              </a:ext>
            </a:extLst>
          </p:cNvPr>
          <p:cNvGrpSpPr>
            <a:grpSpLocks noChangeAspect="1"/>
          </p:cNvGrpSpPr>
          <p:nvPr/>
        </p:nvGrpSpPr>
        <p:grpSpPr>
          <a:xfrm>
            <a:off x="9500373" y="2128656"/>
            <a:ext cx="762455" cy="764771"/>
            <a:chOff x="4954588" y="824548"/>
            <a:chExt cx="522288" cy="523875"/>
          </a:xfrm>
        </p:grpSpPr>
        <p:sp>
          <p:nvSpPr>
            <p:cNvPr id="26" name="Freeform 11">
              <a:extLst>
                <a:ext uri="{FF2B5EF4-FFF2-40B4-BE49-F238E27FC236}">
                  <a16:creationId xmlns:a16="http://schemas.microsoft.com/office/drawing/2014/main" id="{2B4351E6-9745-4597-B135-6CE8CA6B8E7F}"/>
                </a:ext>
              </a:extLst>
            </p:cNvPr>
            <p:cNvSpPr>
              <a:spLocks noEditPoints="1"/>
            </p:cNvSpPr>
            <p:nvPr/>
          </p:nvSpPr>
          <p:spPr bwMode="auto">
            <a:xfrm>
              <a:off x="4954588" y="824548"/>
              <a:ext cx="522288" cy="523875"/>
            </a:xfrm>
            <a:custGeom>
              <a:avLst/>
              <a:gdLst>
                <a:gd name="T0" fmla="*/ 312 w 658"/>
                <a:gd name="T1" fmla="*/ 658 h 658"/>
                <a:gd name="T2" fmla="*/ 262 w 658"/>
                <a:gd name="T3" fmla="*/ 652 h 658"/>
                <a:gd name="T4" fmla="*/ 202 w 658"/>
                <a:gd name="T5" fmla="*/ 633 h 658"/>
                <a:gd name="T6" fmla="*/ 120 w 658"/>
                <a:gd name="T7" fmla="*/ 583 h 658"/>
                <a:gd name="T8" fmla="*/ 56 w 658"/>
                <a:gd name="T9" fmla="*/ 513 h 658"/>
                <a:gd name="T10" fmla="*/ 15 w 658"/>
                <a:gd name="T11" fmla="*/ 427 h 658"/>
                <a:gd name="T12" fmla="*/ 4 w 658"/>
                <a:gd name="T13" fmla="*/ 379 h 658"/>
                <a:gd name="T14" fmla="*/ 0 w 658"/>
                <a:gd name="T15" fmla="*/ 329 h 658"/>
                <a:gd name="T16" fmla="*/ 1 w 658"/>
                <a:gd name="T17" fmla="*/ 295 h 658"/>
                <a:gd name="T18" fmla="*/ 11 w 658"/>
                <a:gd name="T19" fmla="*/ 247 h 658"/>
                <a:gd name="T20" fmla="*/ 40 w 658"/>
                <a:gd name="T21" fmla="*/ 173 h 658"/>
                <a:gd name="T22" fmla="*/ 97 w 658"/>
                <a:gd name="T23" fmla="*/ 96 h 658"/>
                <a:gd name="T24" fmla="*/ 172 w 658"/>
                <a:gd name="T25" fmla="*/ 40 h 658"/>
                <a:gd name="T26" fmla="*/ 247 w 658"/>
                <a:gd name="T27" fmla="*/ 10 h 658"/>
                <a:gd name="T28" fmla="*/ 296 w 658"/>
                <a:gd name="T29" fmla="*/ 2 h 658"/>
                <a:gd name="T30" fmla="*/ 329 w 658"/>
                <a:gd name="T31" fmla="*/ 0 h 658"/>
                <a:gd name="T32" fmla="*/ 379 w 658"/>
                <a:gd name="T33" fmla="*/ 4 h 658"/>
                <a:gd name="T34" fmla="*/ 426 w 658"/>
                <a:gd name="T35" fmla="*/ 16 h 658"/>
                <a:gd name="T36" fmla="*/ 513 w 658"/>
                <a:gd name="T37" fmla="*/ 56 h 658"/>
                <a:gd name="T38" fmla="*/ 583 w 658"/>
                <a:gd name="T39" fmla="*/ 121 h 658"/>
                <a:gd name="T40" fmla="*/ 632 w 658"/>
                <a:gd name="T41" fmla="*/ 201 h 658"/>
                <a:gd name="T42" fmla="*/ 652 w 658"/>
                <a:gd name="T43" fmla="*/ 263 h 658"/>
                <a:gd name="T44" fmla="*/ 657 w 658"/>
                <a:gd name="T45" fmla="*/ 313 h 658"/>
                <a:gd name="T46" fmla="*/ 657 w 658"/>
                <a:gd name="T47" fmla="*/ 346 h 658"/>
                <a:gd name="T48" fmla="*/ 652 w 658"/>
                <a:gd name="T49" fmla="*/ 396 h 658"/>
                <a:gd name="T50" fmla="*/ 632 w 658"/>
                <a:gd name="T51" fmla="*/ 457 h 658"/>
                <a:gd name="T52" fmla="*/ 583 w 658"/>
                <a:gd name="T53" fmla="*/ 539 h 658"/>
                <a:gd name="T54" fmla="*/ 513 w 658"/>
                <a:gd name="T55" fmla="*/ 602 h 658"/>
                <a:gd name="T56" fmla="*/ 426 w 658"/>
                <a:gd name="T57" fmla="*/ 644 h 658"/>
                <a:gd name="T58" fmla="*/ 379 w 658"/>
                <a:gd name="T59" fmla="*/ 654 h 658"/>
                <a:gd name="T60" fmla="*/ 329 w 658"/>
                <a:gd name="T61" fmla="*/ 658 h 658"/>
                <a:gd name="T62" fmla="*/ 329 w 658"/>
                <a:gd name="T63" fmla="*/ 37 h 658"/>
                <a:gd name="T64" fmla="*/ 242 w 658"/>
                <a:gd name="T65" fmla="*/ 51 h 658"/>
                <a:gd name="T66" fmla="*/ 167 w 658"/>
                <a:gd name="T67" fmla="*/ 88 h 658"/>
                <a:gd name="T68" fmla="*/ 105 w 658"/>
                <a:gd name="T69" fmla="*/ 144 h 658"/>
                <a:gd name="T70" fmla="*/ 60 w 658"/>
                <a:gd name="T71" fmla="*/ 216 h 658"/>
                <a:gd name="T72" fmla="*/ 39 w 658"/>
                <a:gd name="T73" fmla="*/ 299 h 658"/>
                <a:gd name="T74" fmla="*/ 39 w 658"/>
                <a:gd name="T75" fmla="*/ 359 h 658"/>
                <a:gd name="T76" fmla="*/ 60 w 658"/>
                <a:gd name="T77" fmla="*/ 443 h 658"/>
                <a:gd name="T78" fmla="*/ 105 w 658"/>
                <a:gd name="T79" fmla="*/ 514 h 658"/>
                <a:gd name="T80" fmla="*/ 167 w 658"/>
                <a:gd name="T81" fmla="*/ 571 h 658"/>
                <a:gd name="T82" fmla="*/ 242 w 658"/>
                <a:gd name="T83" fmla="*/ 607 h 658"/>
                <a:gd name="T84" fmla="*/ 329 w 658"/>
                <a:gd name="T85" fmla="*/ 621 h 658"/>
                <a:gd name="T86" fmla="*/ 387 w 658"/>
                <a:gd name="T87" fmla="*/ 615 h 658"/>
                <a:gd name="T88" fmla="*/ 468 w 658"/>
                <a:gd name="T89" fmla="*/ 586 h 658"/>
                <a:gd name="T90" fmla="*/ 535 w 658"/>
                <a:gd name="T91" fmla="*/ 535 h 658"/>
                <a:gd name="T92" fmla="*/ 585 w 658"/>
                <a:gd name="T93" fmla="*/ 467 h 658"/>
                <a:gd name="T94" fmla="*/ 614 w 658"/>
                <a:gd name="T95" fmla="*/ 388 h 658"/>
                <a:gd name="T96" fmla="*/ 621 w 658"/>
                <a:gd name="T97" fmla="*/ 329 h 658"/>
                <a:gd name="T98" fmla="*/ 607 w 658"/>
                <a:gd name="T99" fmla="*/ 243 h 658"/>
                <a:gd name="T100" fmla="*/ 570 w 658"/>
                <a:gd name="T101" fmla="*/ 166 h 658"/>
                <a:gd name="T102" fmla="*/ 515 w 658"/>
                <a:gd name="T103" fmla="*/ 105 h 658"/>
                <a:gd name="T104" fmla="*/ 442 w 658"/>
                <a:gd name="T105" fmla="*/ 62 h 658"/>
                <a:gd name="T106" fmla="*/ 359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2" y="658"/>
                  </a:lnTo>
                  <a:lnTo>
                    <a:pt x="296" y="657"/>
                  </a:lnTo>
                  <a:lnTo>
                    <a:pt x="279" y="654"/>
                  </a:lnTo>
                  <a:lnTo>
                    <a:pt x="262" y="652"/>
                  </a:lnTo>
                  <a:lnTo>
                    <a:pt x="247" y="648"/>
                  </a:lnTo>
                  <a:lnTo>
                    <a:pt x="231" y="644"/>
                  </a:lnTo>
                  <a:lnTo>
                    <a:pt x="202" y="633"/>
                  </a:lnTo>
                  <a:lnTo>
                    <a:pt x="172" y="618"/>
                  </a:lnTo>
                  <a:lnTo>
                    <a:pt x="145" y="602"/>
                  </a:lnTo>
                  <a:lnTo>
                    <a:pt x="120" y="583"/>
                  </a:lnTo>
                  <a:lnTo>
                    <a:pt x="97" y="562"/>
                  </a:lnTo>
                  <a:lnTo>
                    <a:pt x="75" y="539"/>
                  </a:lnTo>
                  <a:lnTo>
                    <a:pt x="56" y="513"/>
                  </a:lnTo>
                  <a:lnTo>
                    <a:pt x="40" y="486"/>
                  </a:lnTo>
                  <a:lnTo>
                    <a:pt x="25" y="457"/>
                  </a:lnTo>
                  <a:lnTo>
                    <a:pt x="15" y="427"/>
                  </a:lnTo>
                  <a:lnTo>
                    <a:pt x="11" y="411"/>
                  </a:lnTo>
                  <a:lnTo>
                    <a:pt x="7" y="396"/>
                  </a:lnTo>
                  <a:lnTo>
                    <a:pt x="4" y="379"/>
                  </a:lnTo>
                  <a:lnTo>
                    <a:pt x="1" y="363"/>
                  </a:lnTo>
                  <a:lnTo>
                    <a:pt x="0" y="346"/>
                  </a:lnTo>
                  <a:lnTo>
                    <a:pt x="0" y="329"/>
                  </a:lnTo>
                  <a:lnTo>
                    <a:pt x="0" y="329"/>
                  </a:lnTo>
                  <a:lnTo>
                    <a:pt x="0" y="313"/>
                  </a:lnTo>
                  <a:lnTo>
                    <a:pt x="1" y="295"/>
                  </a:lnTo>
                  <a:lnTo>
                    <a:pt x="4" y="279"/>
                  </a:lnTo>
                  <a:lnTo>
                    <a:pt x="7" y="263"/>
                  </a:lnTo>
                  <a:lnTo>
                    <a:pt x="11" y="247"/>
                  </a:lnTo>
                  <a:lnTo>
                    <a:pt x="15" y="232"/>
                  </a:lnTo>
                  <a:lnTo>
                    <a:pt x="25" y="201"/>
                  </a:lnTo>
                  <a:lnTo>
                    <a:pt x="40" y="173"/>
                  </a:lnTo>
                  <a:lnTo>
                    <a:pt x="56" y="145"/>
                  </a:lnTo>
                  <a:lnTo>
                    <a:pt x="75" y="121"/>
                  </a:lnTo>
                  <a:lnTo>
                    <a:pt x="97" y="96"/>
                  </a:lnTo>
                  <a:lnTo>
                    <a:pt x="120" y="75"/>
                  </a:lnTo>
                  <a:lnTo>
                    <a:pt x="145" y="56"/>
                  </a:lnTo>
                  <a:lnTo>
                    <a:pt x="172" y="40"/>
                  </a:lnTo>
                  <a:lnTo>
                    <a:pt x="202" y="27"/>
                  </a:lnTo>
                  <a:lnTo>
                    <a:pt x="231" y="16"/>
                  </a:lnTo>
                  <a:lnTo>
                    <a:pt x="247" y="10"/>
                  </a:lnTo>
                  <a:lnTo>
                    <a:pt x="262" y="6"/>
                  </a:lnTo>
                  <a:lnTo>
                    <a:pt x="279" y="4"/>
                  </a:lnTo>
                  <a:lnTo>
                    <a:pt x="296" y="2"/>
                  </a:lnTo>
                  <a:lnTo>
                    <a:pt x="312" y="1"/>
                  </a:lnTo>
                  <a:lnTo>
                    <a:pt x="329" y="0"/>
                  </a:lnTo>
                  <a:lnTo>
                    <a:pt x="329" y="0"/>
                  </a:lnTo>
                  <a:lnTo>
                    <a:pt x="345" y="1"/>
                  </a:lnTo>
                  <a:lnTo>
                    <a:pt x="363" y="2"/>
                  </a:lnTo>
                  <a:lnTo>
                    <a:pt x="379" y="4"/>
                  </a:lnTo>
                  <a:lnTo>
                    <a:pt x="395" y="6"/>
                  </a:lnTo>
                  <a:lnTo>
                    <a:pt x="411" y="10"/>
                  </a:lnTo>
                  <a:lnTo>
                    <a:pt x="426" y="16"/>
                  </a:lnTo>
                  <a:lnTo>
                    <a:pt x="457" y="27"/>
                  </a:lnTo>
                  <a:lnTo>
                    <a:pt x="485" y="40"/>
                  </a:lnTo>
                  <a:lnTo>
                    <a:pt x="513" y="56"/>
                  </a:lnTo>
                  <a:lnTo>
                    <a:pt x="538" y="75"/>
                  </a:lnTo>
                  <a:lnTo>
                    <a:pt x="562" y="96"/>
                  </a:lnTo>
                  <a:lnTo>
                    <a:pt x="583" y="121"/>
                  </a:lnTo>
                  <a:lnTo>
                    <a:pt x="602" y="145"/>
                  </a:lnTo>
                  <a:lnTo>
                    <a:pt x="618" y="173"/>
                  </a:lnTo>
                  <a:lnTo>
                    <a:pt x="632" y="201"/>
                  </a:lnTo>
                  <a:lnTo>
                    <a:pt x="644" y="232"/>
                  </a:lnTo>
                  <a:lnTo>
                    <a:pt x="648" y="247"/>
                  </a:lnTo>
                  <a:lnTo>
                    <a:pt x="652" y="263"/>
                  </a:lnTo>
                  <a:lnTo>
                    <a:pt x="654" y="279"/>
                  </a:lnTo>
                  <a:lnTo>
                    <a:pt x="656" y="295"/>
                  </a:lnTo>
                  <a:lnTo>
                    <a:pt x="657" y="313"/>
                  </a:lnTo>
                  <a:lnTo>
                    <a:pt x="658" y="329"/>
                  </a:lnTo>
                  <a:lnTo>
                    <a:pt x="658" y="329"/>
                  </a:lnTo>
                  <a:lnTo>
                    <a:pt x="657" y="346"/>
                  </a:lnTo>
                  <a:lnTo>
                    <a:pt x="656" y="363"/>
                  </a:lnTo>
                  <a:lnTo>
                    <a:pt x="654" y="379"/>
                  </a:lnTo>
                  <a:lnTo>
                    <a:pt x="652" y="396"/>
                  </a:lnTo>
                  <a:lnTo>
                    <a:pt x="648" y="411"/>
                  </a:lnTo>
                  <a:lnTo>
                    <a:pt x="644" y="427"/>
                  </a:lnTo>
                  <a:lnTo>
                    <a:pt x="632" y="457"/>
                  </a:lnTo>
                  <a:lnTo>
                    <a:pt x="618" y="486"/>
                  </a:lnTo>
                  <a:lnTo>
                    <a:pt x="602" y="513"/>
                  </a:lnTo>
                  <a:lnTo>
                    <a:pt x="583" y="539"/>
                  </a:lnTo>
                  <a:lnTo>
                    <a:pt x="562" y="562"/>
                  </a:lnTo>
                  <a:lnTo>
                    <a:pt x="538" y="583"/>
                  </a:lnTo>
                  <a:lnTo>
                    <a:pt x="513" y="602"/>
                  </a:lnTo>
                  <a:lnTo>
                    <a:pt x="485" y="618"/>
                  </a:lnTo>
                  <a:lnTo>
                    <a:pt x="457" y="633"/>
                  </a:lnTo>
                  <a:lnTo>
                    <a:pt x="426" y="644"/>
                  </a:lnTo>
                  <a:lnTo>
                    <a:pt x="411" y="648"/>
                  </a:lnTo>
                  <a:lnTo>
                    <a:pt x="395" y="652"/>
                  </a:lnTo>
                  <a:lnTo>
                    <a:pt x="379" y="654"/>
                  </a:lnTo>
                  <a:lnTo>
                    <a:pt x="363" y="657"/>
                  </a:lnTo>
                  <a:lnTo>
                    <a:pt x="345" y="658"/>
                  </a:lnTo>
                  <a:lnTo>
                    <a:pt x="329" y="658"/>
                  </a:lnTo>
                  <a:lnTo>
                    <a:pt x="329" y="658"/>
                  </a:lnTo>
                  <a:close/>
                  <a:moveTo>
                    <a:pt x="329" y="37"/>
                  </a:moveTo>
                  <a:lnTo>
                    <a:pt x="329" y="37"/>
                  </a:lnTo>
                  <a:lnTo>
                    <a:pt x="300" y="40"/>
                  </a:lnTo>
                  <a:lnTo>
                    <a:pt x="270" y="44"/>
                  </a:lnTo>
                  <a:lnTo>
                    <a:pt x="242" y="51"/>
                  </a:lnTo>
                  <a:lnTo>
                    <a:pt x="215" y="62"/>
                  </a:lnTo>
                  <a:lnTo>
                    <a:pt x="191" y="74"/>
                  </a:lnTo>
                  <a:lnTo>
                    <a:pt x="167" y="88"/>
                  </a:lnTo>
                  <a:lnTo>
                    <a:pt x="144" y="105"/>
                  </a:lnTo>
                  <a:lnTo>
                    <a:pt x="124" y="123"/>
                  </a:lnTo>
                  <a:lnTo>
                    <a:pt x="105" y="144"/>
                  </a:lnTo>
                  <a:lnTo>
                    <a:pt x="87" y="166"/>
                  </a:lnTo>
                  <a:lnTo>
                    <a:pt x="73" y="191"/>
                  </a:lnTo>
                  <a:lnTo>
                    <a:pt x="60" y="216"/>
                  </a:lnTo>
                  <a:lnTo>
                    <a:pt x="51" y="243"/>
                  </a:lnTo>
                  <a:lnTo>
                    <a:pt x="43" y="271"/>
                  </a:lnTo>
                  <a:lnTo>
                    <a:pt x="39" y="299"/>
                  </a:lnTo>
                  <a:lnTo>
                    <a:pt x="38" y="329"/>
                  </a:lnTo>
                  <a:lnTo>
                    <a:pt x="38" y="329"/>
                  </a:lnTo>
                  <a:lnTo>
                    <a:pt x="39" y="359"/>
                  </a:lnTo>
                  <a:lnTo>
                    <a:pt x="43" y="388"/>
                  </a:lnTo>
                  <a:lnTo>
                    <a:pt x="51" y="416"/>
                  </a:lnTo>
                  <a:lnTo>
                    <a:pt x="60" y="443"/>
                  </a:lnTo>
                  <a:lnTo>
                    <a:pt x="73" y="467"/>
                  </a:lnTo>
                  <a:lnTo>
                    <a:pt x="87" y="492"/>
                  </a:lnTo>
                  <a:lnTo>
                    <a:pt x="105" y="514"/>
                  </a:lnTo>
                  <a:lnTo>
                    <a:pt x="124" y="535"/>
                  </a:lnTo>
                  <a:lnTo>
                    <a:pt x="144" y="553"/>
                  </a:lnTo>
                  <a:lnTo>
                    <a:pt x="167" y="571"/>
                  </a:lnTo>
                  <a:lnTo>
                    <a:pt x="191" y="586"/>
                  </a:lnTo>
                  <a:lnTo>
                    <a:pt x="215" y="598"/>
                  </a:lnTo>
                  <a:lnTo>
                    <a:pt x="242" y="607"/>
                  </a:lnTo>
                  <a:lnTo>
                    <a:pt x="270" y="615"/>
                  </a:lnTo>
                  <a:lnTo>
                    <a:pt x="300" y="619"/>
                  </a:lnTo>
                  <a:lnTo>
                    <a:pt x="329" y="621"/>
                  </a:lnTo>
                  <a:lnTo>
                    <a:pt x="329" y="621"/>
                  </a:lnTo>
                  <a:lnTo>
                    <a:pt x="359" y="619"/>
                  </a:lnTo>
                  <a:lnTo>
                    <a:pt x="387" y="615"/>
                  </a:lnTo>
                  <a:lnTo>
                    <a:pt x="415" y="607"/>
                  </a:lnTo>
                  <a:lnTo>
                    <a:pt x="442" y="598"/>
                  </a:lnTo>
                  <a:lnTo>
                    <a:pt x="468" y="586"/>
                  </a:lnTo>
                  <a:lnTo>
                    <a:pt x="492" y="571"/>
                  </a:lnTo>
                  <a:lnTo>
                    <a:pt x="515" y="553"/>
                  </a:lnTo>
                  <a:lnTo>
                    <a:pt x="535" y="535"/>
                  </a:lnTo>
                  <a:lnTo>
                    <a:pt x="554" y="514"/>
                  </a:lnTo>
                  <a:lnTo>
                    <a:pt x="570" y="492"/>
                  </a:lnTo>
                  <a:lnTo>
                    <a:pt x="585" y="467"/>
                  </a:lnTo>
                  <a:lnTo>
                    <a:pt x="597" y="443"/>
                  </a:lnTo>
                  <a:lnTo>
                    <a:pt x="607" y="416"/>
                  </a:lnTo>
                  <a:lnTo>
                    <a:pt x="614" y="388"/>
                  </a:lnTo>
                  <a:lnTo>
                    <a:pt x="618" y="359"/>
                  </a:lnTo>
                  <a:lnTo>
                    <a:pt x="621" y="329"/>
                  </a:lnTo>
                  <a:lnTo>
                    <a:pt x="621" y="329"/>
                  </a:lnTo>
                  <a:lnTo>
                    <a:pt x="618" y="299"/>
                  </a:lnTo>
                  <a:lnTo>
                    <a:pt x="614" y="271"/>
                  </a:lnTo>
                  <a:lnTo>
                    <a:pt x="607" y="243"/>
                  </a:lnTo>
                  <a:lnTo>
                    <a:pt x="597" y="216"/>
                  </a:lnTo>
                  <a:lnTo>
                    <a:pt x="585" y="191"/>
                  </a:lnTo>
                  <a:lnTo>
                    <a:pt x="570" y="166"/>
                  </a:lnTo>
                  <a:lnTo>
                    <a:pt x="554" y="144"/>
                  </a:lnTo>
                  <a:lnTo>
                    <a:pt x="535" y="123"/>
                  </a:lnTo>
                  <a:lnTo>
                    <a:pt x="515" y="105"/>
                  </a:lnTo>
                  <a:lnTo>
                    <a:pt x="492" y="88"/>
                  </a:lnTo>
                  <a:lnTo>
                    <a:pt x="468" y="74"/>
                  </a:lnTo>
                  <a:lnTo>
                    <a:pt x="442" y="62"/>
                  </a:lnTo>
                  <a:lnTo>
                    <a:pt x="415" y="51"/>
                  </a:lnTo>
                  <a:lnTo>
                    <a:pt x="387" y="44"/>
                  </a:lnTo>
                  <a:lnTo>
                    <a:pt x="359" y="40"/>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102">
              <a:extLst>
                <a:ext uri="{FF2B5EF4-FFF2-40B4-BE49-F238E27FC236}">
                  <a16:creationId xmlns:a16="http://schemas.microsoft.com/office/drawing/2014/main" id="{64CDE384-EA58-4B8B-B745-753DF5464644}"/>
                </a:ext>
              </a:extLst>
            </p:cNvPr>
            <p:cNvSpPr>
              <a:spLocks/>
            </p:cNvSpPr>
            <p:nvPr/>
          </p:nvSpPr>
          <p:spPr bwMode="auto">
            <a:xfrm>
              <a:off x="5092701" y="962660"/>
              <a:ext cx="88900" cy="88900"/>
            </a:xfrm>
            <a:custGeom>
              <a:avLst/>
              <a:gdLst>
                <a:gd name="T0" fmla="*/ 96 w 113"/>
                <a:gd name="T1" fmla="*/ 83 h 113"/>
                <a:gd name="T2" fmla="*/ 12 w 113"/>
                <a:gd name="T3" fmla="*/ 0 h 113"/>
                <a:gd name="T4" fmla="*/ 0 w 113"/>
                <a:gd name="T5" fmla="*/ 12 h 113"/>
                <a:gd name="T6" fmla="*/ 84 w 113"/>
                <a:gd name="T7" fmla="*/ 96 h 113"/>
                <a:gd name="T8" fmla="*/ 14 w 113"/>
                <a:gd name="T9" fmla="*/ 96 h 113"/>
                <a:gd name="T10" fmla="*/ 14 w 113"/>
                <a:gd name="T11" fmla="*/ 113 h 113"/>
                <a:gd name="T12" fmla="*/ 104 w 113"/>
                <a:gd name="T13" fmla="*/ 113 h 113"/>
                <a:gd name="T14" fmla="*/ 104 w 113"/>
                <a:gd name="T15" fmla="*/ 113 h 113"/>
                <a:gd name="T16" fmla="*/ 108 w 113"/>
                <a:gd name="T17" fmla="*/ 112 h 113"/>
                <a:gd name="T18" fmla="*/ 111 w 113"/>
                <a:gd name="T19" fmla="*/ 110 h 113"/>
                <a:gd name="T20" fmla="*/ 112 w 113"/>
                <a:gd name="T21" fmla="*/ 108 h 113"/>
                <a:gd name="T22" fmla="*/ 113 w 113"/>
                <a:gd name="T23" fmla="*/ 104 h 113"/>
                <a:gd name="T24" fmla="*/ 113 w 113"/>
                <a:gd name="T25" fmla="*/ 14 h 113"/>
                <a:gd name="T26" fmla="*/ 96 w 113"/>
                <a:gd name="T27" fmla="*/ 14 h 113"/>
                <a:gd name="T28" fmla="*/ 96 w 113"/>
                <a:gd name="T29" fmla="*/ 8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3" h="113">
                  <a:moveTo>
                    <a:pt x="96" y="83"/>
                  </a:moveTo>
                  <a:lnTo>
                    <a:pt x="12" y="0"/>
                  </a:lnTo>
                  <a:lnTo>
                    <a:pt x="0" y="12"/>
                  </a:lnTo>
                  <a:lnTo>
                    <a:pt x="84" y="96"/>
                  </a:lnTo>
                  <a:lnTo>
                    <a:pt x="14" y="96"/>
                  </a:lnTo>
                  <a:lnTo>
                    <a:pt x="14" y="113"/>
                  </a:lnTo>
                  <a:lnTo>
                    <a:pt x="104" y="113"/>
                  </a:lnTo>
                  <a:lnTo>
                    <a:pt x="104" y="113"/>
                  </a:lnTo>
                  <a:lnTo>
                    <a:pt x="108" y="112"/>
                  </a:lnTo>
                  <a:lnTo>
                    <a:pt x="111" y="110"/>
                  </a:lnTo>
                  <a:lnTo>
                    <a:pt x="112" y="108"/>
                  </a:lnTo>
                  <a:lnTo>
                    <a:pt x="113" y="104"/>
                  </a:lnTo>
                  <a:lnTo>
                    <a:pt x="113" y="14"/>
                  </a:lnTo>
                  <a:lnTo>
                    <a:pt x="96" y="14"/>
                  </a:lnTo>
                  <a:lnTo>
                    <a:pt x="96" y="8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103">
              <a:extLst>
                <a:ext uri="{FF2B5EF4-FFF2-40B4-BE49-F238E27FC236}">
                  <a16:creationId xmlns:a16="http://schemas.microsoft.com/office/drawing/2014/main" id="{FC9BF16E-0BE5-4A76-B86E-09ED63CF21A1}"/>
                </a:ext>
              </a:extLst>
            </p:cNvPr>
            <p:cNvSpPr>
              <a:spLocks/>
            </p:cNvSpPr>
            <p:nvPr/>
          </p:nvSpPr>
          <p:spPr bwMode="auto">
            <a:xfrm>
              <a:off x="5249863" y="1119823"/>
              <a:ext cx="88900" cy="88900"/>
            </a:xfrm>
            <a:custGeom>
              <a:avLst/>
              <a:gdLst>
                <a:gd name="T0" fmla="*/ 100 w 112"/>
                <a:gd name="T1" fmla="*/ 17 h 112"/>
                <a:gd name="T2" fmla="*/ 100 w 112"/>
                <a:gd name="T3" fmla="*/ 0 h 112"/>
                <a:gd name="T4" fmla="*/ 8 w 112"/>
                <a:gd name="T5" fmla="*/ 0 h 112"/>
                <a:gd name="T6" fmla="*/ 8 w 112"/>
                <a:gd name="T7" fmla="*/ 0 h 112"/>
                <a:gd name="T8" fmla="*/ 6 w 112"/>
                <a:gd name="T9" fmla="*/ 0 h 112"/>
                <a:gd name="T10" fmla="*/ 3 w 112"/>
                <a:gd name="T11" fmla="*/ 3 h 112"/>
                <a:gd name="T12" fmla="*/ 0 w 112"/>
                <a:gd name="T13" fmla="*/ 5 h 112"/>
                <a:gd name="T14" fmla="*/ 0 w 112"/>
                <a:gd name="T15" fmla="*/ 8 h 112"/>
                <a:gd name="T16" fmla="*/ 0 w 112"/>
                <a:gd name="T17" fmla="*/ 99 h 112"/>
                <a:gd name="T18" fmla="*/ 18 w 112"/>
                <a:gd name="T19" fmla="*/ 99 h 112"/>
                <a:gd name="T20" fmla="*/ 18 w 112"/>
                <a:gd name="T21" fmla="*/ 30 h 112"/>
                <a:gd name="T22" fmla="*/ 100 w 112"/>
                <a:gd name="T23" fmla="*/ 112 h 112"/>
                <a:gd name="T24" fmla="*/ 112 w 112"/>
                <a:gd name="T25" fmla="*/ 99 h 112"/>
                <a:gd name="T26" fmla="*/ 30 w 112"/>
                <a:gd name="T27" fmla="*/ 17 h 112"/>
                <a:gd name="T28" fmla="*/ 100 w 112"/>
                <a:gd name="T29" fmla="*/ 1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2" h="112">
                  <a:moveTo>
                    <a:pt x="100" y="17"/>
                  </a:moveTo>
                  <a:lnTo>
                    <a:pt x="100" y="0"/>
                  </a:lnTo>
                  <a:lnTo>
                    <a:pt x="8" y="0"/>
                  </a:lnTo>
                  <a:lnTo>
                    <a:pt x="8" y="0"/>
                  </a:lnTo>
                  <a:lnTo>
                    <a:pt x="6" y="0"/>
                  </a:lnTo>
                  <a:lnTo>
                    <a:pt x="3" y="3"/>
                  </a:lnTo>
                  <a:lnTo>
                    <a:pt x="0" y="5"/>
                  </a:lnTo>
                  <a:lnTo>
                    <a:pt x="0" y="8"/>
                  </a:lnTo>
                  <a:lnTo>
                    <a:pt x="0" y="99"/>
                  </a:lnTo>
                  <a:lnTo>
                    <a:pt x="18" y="99"/>
                  </a:lnTo>
                  <a:lnTo>
                    <a:pt x="18" y="30"/>
                  </a:lnTo>
                  <a:lnTo>
                    <a:pt x="100" y="112"/>
                  </a:lnTo>
                  <a:lnTo>
                    <a:pt x="112" y="99"/>
                  </a:lnTo>
                  <a:lnTo>
                    <a:pt x="30" y="17"/>
                  </a:lnTo>
                  <a:lnTo>
                    <a:pt x="100"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104">
              <a:extLst>
                <a:ext uri="{FF2B5EF4-FFF2-40B4-BE49-F238E27FC236}">
                  <a16:creationId xmlns:a16="http://schemas.microsoft.com/office/drawing/2014/main" id="{5C97BEA3-B3BE-4EAF-AE97-D626DC43CF03}"/>
                </a:ext>
              </a:extLst>
            </p:cNvPr>
            <p:cNvSpPr>
              <a:spLocks/>
            </p:cNvSpPr>
            <p:nvPr/>
          </p:nvSpPr>
          <p:spPr bwMode="auto">
            <a:xfrm>
              <a:off x="5249863" y="962660"/>
              <a:ext cx="88900" cy="88900"/>
            </a:xfrm>
            <a:custGeom>
              <a:avLst/>
              <a:gdLst>
                <a:gd name="T0" fmla="*/ 8 w 112"/>
                <a:gd name="T1" fmla="*/ 113 h 113"/>
                <a:gd name="T2" fmla="*/ 100 w 112"/>
                <a:gd name="T3" fmla="*/ 113 h 113"/>
                <a:gd name="T4" fmla="*/ 100 w 112"/>
                <a:gd name="T5" fmla="*/ 96 h 113"/>
                <a:gd name="T6" fmla="*/ 30 w 112"/>
                <a:gd name="T7" fmla="*/ 96 h 113"/>
                <a:gd name="T8" fmla="*/ 112 w 112"/>
                <a:gd name="T9" fmla="*/ 12 h 113"/>
                <a:gd name="T10" fmla="*/ 100 w 112"/>
                <a:gd name="T11" fmla="*/ 0 h 113"/>
                <a:gd name="T12" fmla="*/ 18 w 112"/>
                <a:gd name="T13" fmla="*/ 83 h 113"/>
                <a:gd name="T14" fmla="*/ 18 w 112"/>
                <a:gd name="T15" fmla="*/ 14 h 113"/>
                <a:gd name="T16" fmla="*/ 0 w 112"/>
                <a:gd name="T17" fmla="*/ 14 h 113"/>
                <a:gd name="T18" fmla="*/ 0 w 112"/>
                <a:gd name="T19" fmla="*/ 104 h 113"/>
                <a:gd name="T20" fmla="*/ 0 w 112"/>
                <a:gd name="T21" fmla="*/ 104 h 113"/>
                <a:gd name="T22" fmla="*/ 0 w 112"/>
                <a:gd name="T23" fmla="*/ 108 h 113"/>
                <a:gd name="T24" fmla="*/ 3 w 112"/>
                <a:gd name="T25" fmla="*/ 110 h 113"/>
                <a:gd name="T26" fmla="*/ 6 w 112"/>
                <a:gd name="T27" fmla="*/ 112 h 113"/>
                <a:gd name="T28" fmla="*/ 8 w 112"/>
                <a:gd name="T29" fmla="*/ 113 h 113"/>
                <a:gd name="T30" fmla="*/ 8 w 112"/>
                <a:gd name="T31"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2" h="113">
                  <a:moveTo>
                    <a:pt x="8" y="113"/>
                  </a:moveTo>
                  <a:lnTo>
                    <a:pt x="100" y="113"/>
                  </a:lnTo>
                  <a:lnTo>
                    <a:pt x="100" y="96"/>
                  </a:lnTo>
                  <a:lnTo>
                    <a:pt x="30" y="96"/>
                  </a:lnTo>
                  <a:lnTo>
                    <a:pt x="112" y="12"/>
                  </a:lnTo>
                  <a:lnTo>
                    <a:pt x="100" y="0"/>
                  </a:lnTo>
                  <a:lnTo>
                    <a:pt x="18" y="83"/>
                  </a:lnTo>
                  <a:lnTo>
                    <a:pt x="18" y="14"/>
                  </a:lnTo>
                  <a:lnTo>
                    <a:pt x="0" y="14"/>
                  </a:lnTo>
                  <a:lnTo>
                    <a:pt x="0" y="104"/>
                  </a:lnTo>
                  <a:lnTo>
                    <a:pt x="0" y="104"/>
                  </a:lnTo>
                  <a:lnTo>
                    <a:pt x="0" y="108"/>
                  </a:lnTo>
                  <a:lnTo>
                    <a:pt x="3" y="110"/>
                  </a:lnTo>
                  <a:lnTo>
                    <a:pt x="6" y="112"/>
                  </a:lnTo>
                  <a:lnTo>
                    <a:pt x="8" y="113"/>
                  </a:lnTo>
                  <a:lnTo>
                    <a:pt x="8" y="1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30" name="Freeform 105">
              <a:extLst>
                <a:ext uri="{FF2B5EF4-FFF2-40B4-BE49-F238E27FC236}">
                  <a16:creationId xmlns:a16="http://schemas.microsoft.com/office/drawing/2014/main" id="{94A53FEA-DEB5-4354-8208-8EC3D0C6D199}"/>
                </a:ext>
              </a:extLst>
            </p:cNvPr>
            <p:cNvSpPr>
              <a:spLocks/>
            </p:cNvSpPr>
            <p:nvPr/>
          </p:nvSpPr>
          <p:spPr bwMode="auto">
            <a:xfrm>
              <a:off x="5092701" y="1119823"/>
              <a:ext cx="88900" cy="88900"/>
            </a:xfrm>
            <a:custGeom>
              <a:avLst/>
              <a:gdLst>
                <a:gd name="T0" fmla="*/ 104 w 113"/>
                <a:gd name="T1" fmla="*/ 0 h 112"/>
                <a:gd name="T2" fmla="*/ 14 w 113"/>
                <a:gd name="T3" fmla="*/ 0 h 112"/>
                <a:gd name="T4" fmla="*/ 14 w 113"/>
                <a:gd name="T5" fmla="*/ 17 h 112"/>
                <a:gd name="T6" fmla="*/ 84 w 113"/>
                <a:gd name="T7" fmla="*/ 17 h 112"/>
                <a:gd name="T8" fmla="*/ 0 w 113"/>
                <a:gd name="T9" fmla="*/ 99 h 112"/>
                <a:gd name="T10" fmla="*/ 12 w 113"/>
                <a:gd name="T11" fmla="*/ 112 h 112"/>
                <a:gd name="T12" fmla="*/ 96 w 113"/>
                <a:gd name="T13" fmla="*/ 30 h 112"/>
                <a:gd name="T14" fmla="*/ 96 w 113"/>
                <a:gd name="T15" fmla="*/ 99 h 112"/>
                <a:gd name="T16" fmla="*/ 113 w 113"/>
                <a:gd name="T17" fmla="*/ 99 h 112"/>
                <a:gd name="T18" fmla="*/ 113 w 113"/>
                <a:gd name="T19" fmla="*/ 8 h 112"/>
                <a:gd name="T20" fmla="*/ 113 w 113"/>
                <a:gd name="T21" fmla="*/ 8 h 112"/>
                <a:gd name="T22" fmla="*/ 112 w 113"/>
                <a:gd name="T23" fmla="*/ 5 h 112"/>
                <a:gd name="T24" fmla="*/ 111 w 113"/>
                <a:gd name="T25" fmla="*/ 3 h 112"/>
                <a:gd name="T26" fmla="*/ 108 w 113"/>
                <a:gd name="T27" fmla="*/ 0 h 112"/>
                <a:gd name="T28" fmla="*/ 104 w 113"/>
                <a:gd name="T29" fmla="*/ 0 h 112"/>
                <a:gd name="T30" fmla="*/ 104 w 113"/>
                <a:gd name="T31"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12">
                  <a:moveTo>
                    <a:pt x="104" y="0"/>
                  </a:moveTo>
                  <a:lnTo>
                    <a:pt x="14" y="0"/>
                  </a:lnTo>
                  <a:lnTo>
                    <a:pt x="14" y="17"/>
                  </a:lnTo>
                  <a:lnTo>
                    <a:pt x="84" y="17"/>
                  </a:lnTo>
                  <a:lnTo>
                    <a:pt x="0" y="99"/>
                  </a:lnTo>
                  <a:lnTo>
                    <a:pt x="12" y="112"/>
                  </a:lnTo>
                  <a:lnTo>
                    <a:pt x="96" y="30"/>
                  </a:lnTo>
                  <a:lnTo>
                    <a:pt x="96" y="99"/>
                  </a:lnTo>
                  <a:lnTo>
                    <a:pt x="113" y="99"/>
                  </a:lnTo>
                  <a:lnTo>
                    <a:pt x="113" y="8"/>
                  </a:lnTo>
                  <a:lnTo>
                    <a:pt x="113" y="8"/>
                  </a:lnTo>
                  <a:lnTo>
                    <a:pt x="112" y="5"/>
                  </a:lnTo>
                  <a:lnTo>
                    <a:pt x="111" y="3"/>
                  </a:lnTo>
                  <a:lnTo>
                    <a:pt x="108" y="0"/>
                  </a:lnTo>
                  <a:lnTo>
                    <a:pt x="104" y="0"/>
                  </a:lnTo>
                  <a:lnTo>
                    <a:pt x="10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31" name="Freeform 13">
            <a:extLst>
              <a:ext uri="{FF2B5EF4-FFF2-40B4-BE49-F238E27FC236}">
                <a16:creationId xmlns:a16="http://schemas.microsoft.com/office/drawing/2014/main" id="{8F537DE7-CFB7-42EC-B8A0-AFD95717AEAC}"/>
              </a:ext>
            </a:extLst>
          </p:cNvPr>
          <p:cNvSpPr>
            <a:spLocks noEditPoints="1"/>
          </p:cNvSpPr>
          <p:nvPr/>
        </p:nvSpPr>
        <p:spPr bwMode="auto">
          <a:xfrm>
            <a:off x="673764" y="2128656"/>
            <a:ext cx="762455" cy="764771"/>
          </a:xfrm>
          <a:custGeom>
            <a:avLst/>
            <a:gdLst>
              <a:gd name="T0" fmla="*/ 311 w 658"/>
              <a:gd name="T1" fmla="*/ 658 h 658"/>
              <a:gd name="T2" fmla="*/ 262 w 658"/>
              <a:gd name="T3" fmla="*/ 652 h 658"/>
              <a:gd name="T4" fmla="*/ 201 w 658"/>
              <a:gd name="T5" fmla="*/ 633 h 658"/>
              <a:gd name="T6" fmla="*/ 119 w 658"/>
              <a:gd name="T7" fmla="*/ 583 h 658"/>
              <a:gd name="T8" fmla="*/ 56 w 658"/>
              <a:gd name="T9" fmla="*/ 513 h 658"/>
              <a:gd name="T10" fmla="*/ 14 w 658"/>
              <a:gd name="T11" fmla="*/ 427 h 658"/>
              <a:gd name="T12" fmla="*/ 4 w 658"/>
              <a:gd name="T13" fmla="*/ 379 h 658"/>
              <a:gd name="T14" fmla="*/ 0 w 658"/>
              <a:gd name="T15" fmla="*/ 329 h 658"/>
              <a:gd name="T16" fmla="*/ 1 w 658"/>
              <a:gd name="T17" fmla="*/ 295 h 658"/>
              <a:gd name="T18" fmla="*/ 10 w 658"/>
              <a:gd name="T19" fmla="*/ 247 h 658"/>
              <a:gd name="T20" fmla="*/ 40 w 658"/>
              <a:gd name="T21" fmla="*/ 173 h 658"/>
              <a:gd name="T22" fmla="*/ 96 w 658"/>
              <a:gd name="T23" fmla="*/ 96 h 658"/>
              <a:gd name="T24" fmla="*/ 172 w 658"/>
              <a:gd name="T25" fmla="*/ 40 h 658"/>
              <a:gd name="T26" fmla="*/ 247 w 658"/>
              <a:gd name="T27" fmla="*/ 10 h 658"/>
              <a:gd name="T28" fmla="*/ 295 w 658"/>
              <a:gd name="T29" fmla="*/ 2 h 658"/>
              <a:gd name="T30" fmla="*/ 329 w 658"/>
              <a:gd name="T31" fmla="*/ 0 h 658"/>
              <a:gd name="T32" fmla="*/ 379 w 658"/>
              <a:gd name="T33" fmla="*/ 4 h 658"/>
              <a:gd name="T34" fmla="*/ 426 w 658"/>
              <a:gd name="T35" fmla="*/ 16 h 658"/>
              <a:gd name="T36" fmla="*/ 513 w 658"/>
              <a:gd name="T37" fmla="*/ 56 h 658"/>
              <a:gd name="T38" fmla="*/ 583 w 658"/>
              <a:gd name="T39" fmla="*/ 121 h 658"/>
              <a:gd name="T40" fmla="*/ 631 w 658"/>
              <a:gd name="T41" fmla="*/ 201 h 658"/>
              <a:gd name="T42" fmla="*/ 651 w 658"/>
              <a:gd name="T43" fmla="*/ 263 h 658"/>
              <a:gd name="T44" fmla="*/ 657 w 658"/>
              <a:gd name="T45" fmla="*/ 313 h 658"/>
              <a:gd name="T46" fmla="*/ 657 w 658"/>
              <a:gd name="T47" fmla="*/ 346 h 658"/>
              <a:gd name="T48" fmla="*/ 651 w 658"/>
              <a:gd name="T49" fmla="*/ 396 h 658"/>
              <a:gd name="T50" fmla="*/ 631 w 658"/>
              <a:gd name="T51" fmla="*/ 457 h 658"/>
              <a:gd name="T52" fmla="*/ 583 w 658"/>
              <a:gd name="T53" fmla="*/ 539 h 658"/>
              <a:gd name="T54" fmla="*/ 513 w 658"/>
              <a:gd name="T55" fmla="*/ 602 h 658"/>
              <a:gd name="T56" fmla="*/ 426 w 658"/>
              <a:gd name="T57" fmla="*/ 644 h 658"/>
              <a:gd name="T58" fmla="*/ 379 w 658"/>
              <a:gd name="T59" fmla="*/ 654 h 658"/>
              <a:gd name="T60" fmla="*/ 329 w 658"/>
              <a:gd name="T61" fmla="*/ 658 h 658"/>
              <a:gd name="T62" fmla="*/ 329 w 658"/>
              <a:gd name="T63" fmla="*/ 37 h 658"/>
              <a:gd name="T64" fmla="*/ 241 w 658"/>
              <a:gd name="T65" fmla="*/ 51 h 658"/>
              <a:gd name="T66" fmla="*/ 166 w 658"/>
              <a:gd name="T67" fmla="*/ 88 h 658"/>
              <a:gd name="T68" fmla="*/ 104 w 658"/>
              <a:gd name="T69" fmla="*/ 144 h 658"/>
              <a:gd name="T70" fmla="*/ 60 w 658"/>
              <a:gd name="T71" fmla="*/ 216 h 658"/>
              <a:gd name="T72" fmla="*/ 38 w 658"/>
              <a:gd name="T73" fmla="*/ 299 h 658"/>
              <a:gd name="T74" fmla="*/ 38 w 658"/>
              <a:gd name="T75" fmla="*/ 359 h 658"/>
              <a:gd name="T76" fmla="*/ 60 w 658"/>
              <a:gd name="T77" fmla="*/ 443 h 658"/>
              <a:gd name="T78" fmla="*/ 104 w 658"/>
              <a:gd name="T79" fmla="*/ 514 h 658"/>
              <a:gd name="T80" fmla="*/ 166 w 658"/>
              <a:gd name="T81" fmla="*/ 571 h 658"/>
              <a:gd name="T82" fmla="*/ 241 w 658"/>
              <a:gd name="T83" fmla="*/ 607 h 658"/>
              <a:gd name="T84" fmla="*/ 329 w 658"/>
              <a:gd name="T85" fmla="*/ 621 h 658"/>
              <a:gd name="T86" fmla="*/ 387 w 658"/>
              <a:gd name="T87" fmla="*/ 615 h 658"/>
              <a:gd name="T88" fmla="*/ 467 w 658"/>
              <a:gd name="T89" fmla="*/ 586 h 658"/>
              <a:gd name="T90" fmla="*/ 534 w 658"/>
              <a:gd name="T91" fmla="*/ 535 h 658"/>
              <a:gd name="T92" fmla="*/ 584 w 658"/>
              <a:gd name="T93" fmla="*/ 467 h 658"/>
              <a:gd name="T94" fmla="*/ 614 w 658"/>
              <a:gd name="T95" fmla="*/ 388 h 658"/>
              <a:gd name="T96" fmla="*/ 620 w 658"/>
              <a:gd name="T97" fmla="*/ 329 h 658"/>
              <a:gd name="T98" fmla="*/ 607 w 658"/>
              <a:gd name="T99" fmla="*/ 243 h 658"/>
              <a:gd name="T100" fmla="*/ 569 w 658"/>
              <a:gd name="T101" fmla="*/ 166 h 658"/>
              <a:gd name="T102" fmla="*/ 514 w 658"/>
              <a:gd name="T103" fmla="*/ 105 h 658"/>
              <a:gd name="T104" fmla="*/ 442 w 658"/>
              <a:gd name="T105" fmla="*/ 62 h 658"/>
              <a:gd name="T106" fmla="*/ 358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1" y="658"/>
                </a:lnTo>
                <a:lnTo>
                  <a:pt x="295" y="657"/>
                </a:lnTo>
                <a:lnTo>
                  <a:pt x="279" y="654"/>
                </a:lnTo>
                <a:lnTo>
                  <a:pt x="262" y="652"/>
                </a:lnTo>
                <a:lnTo>
                  <a:pt x="247" y="648"/>
                </a:lnTo>
                <a:lnTo>
                  <a:pt x="231" y="644"/>
                </a:lnTo>
                <a:lnTo>
                  <a:pt x="201" y="633"/>
                </a:lnTo>
                <a:lnTo>
                  <a:pt x="172" y="618"/>
                </a:lnTo>
                <a:lnTo>
                  <a:pt x="145" y="602"/>
                </a:lnTo>
                <a:lnTo>
                  <a:pt x="119" y="583"/>
                </a:lnTo>
                <a:lnTo>
                  <a:pt x="96" y="562"/>
                </a:lnTo>
                <a:lnTo>
                  <a:pt x="75" y="539"/>
                </a:lnTo>
                <a:lnTo>
                  <a:pt x="56" y="513"/>
                </a:lnTo>
                <a:lnTo>
                  <a:pt x="40" y="486"/>
                </a:lnTo>
                <a:lnTo>
                  <a:pt x="25" y="457"/>
                </a:lnTo>
                <a:lnTo>
                  <a:pt x="14" y="427"/>
                </a:lnTo>
                <a:lnTo>
                  <a:pt x="10" y="411"/>
                </a:lnTo>
                <a:lnTo>
                  <a:pt x="6" y="396"/>
                </a:lnTo>
                <a:lnTo>
                  <a:pt x="4" y="379"/>
                </a:lnTo>
                <a:lnTo>
                  <a:pt x="1" y="363"/>
                </a:lnTo>
                <a:lnTo>
                  <a:pt x="0" y="346"/>
                </a:lnTo>
                <a:lnTo>
                  <a:pt x="0" y="329"/>
                </a:lnTo>
                <a:lnTo>
                  <a:pt x="0" y="329"/>
                </a:lnTo>
                <a:lnTo>
                  <a:pt x="0" y="313"/>
                </a:lnTo>
                <a:lnTo>
                  <a:pt x="1" y="295"/>
                </a:lnTo>
                <a:lnTo>
                  <a:pt x="4" y="279"/>
                </a:lnTo>
                <a:lnTo>
                  <a:pt x="6" y="263"/>
                </a:lnTo>
                <a:lnTo>
                  <a:pt x="10" y="247"/>
                </a:lnTo>
                <a:lnTo>
                  <a:pt x="14" y="232"/>
                </a:lnTo>
                <a:lnTo>
                  <a:pt x="25" y="201"/>
                </a:lnTo>
                <a:lnTo>
                  <a:pt x="40" y="173"/>
                </a:lnTo>
                <a:lnTo>
                  <a:pt x="56" y="145"/>
                </a:lnTo>
                <a:lnTo>
                  <a:pt x="75" y="121"/>
                </a:lnTo>
                <a:lnTo>
                  <a:pt x="96" y="96"/>
                </a:lnTo>
                <a:lnTo>
                  <a:pt x="119" y="75"/>
                </a:lnTo>
                <a:lnTo>
                  <a:pt x="145" y="56"/>
                </a:lnTo>
                <a:lnTo>
                  <a:pt x="172" y="40"/>
                </a:lnTo>
                <a:lnTo>
                  <a:pt x="201" y="27"/>
                </a:lnTo>
                <a:lnTo>
                  <a:pt x="231" y="16"/>
                </a:lnTo>
                <a:lnTo>
                  <a:pt x="247" y="10"/>
                </a:lnTo>
                <a:lnTo>
                  <a:pt x="262" y="6"/>
                </a:lnTo>
                <a:lnTo>
                  <a:pt x="279" y="4"/>
                </a:lnTo>
                <a:lnTo>
                  <a:pt x="295" y="2"/>
                </a:lnTo>
                <a:lnTo>
                  <a:pt x="311" y="1"/>
                </a:lnTo>
                <a:lnTo>
                  <a:pt x="329" y="0"/>
                </a:lnTo>
                <a:lnTo>
                  <a:pt x="329" y="0"/>
                </a:lnTo>
                <a:lnTo>
                  <a:pt x="345" y="1"/>
                </a:lnTo>
                <a:lnTo>
                  <a:pt x="362" y="2"/>
                </a:lnTo>
                <a:lnTo>
                  <a:pt x="379" y="4"/>
                </a:lnTo>
                <a:lnTo>
                  <a:pt x="395" y="6"/>
                </a:lnTo>
                <a:lnTo>
                  <a:pt x="411" y="10"/>
                </a:lnTo>
                <a:lnTo>
                  <a:pt x="426" y="16"/>
                </a:lnTo>
                <a:lnTo>
                  <a:pt x="456" y="27"/>
                </a:lnTo>
                <a:lnTo>
                  <a:pt x="485" y="40"/>
                </a:lnTo>
                <a:lnTo>
                  <a:pt x="513" y="56"/>
                </a:lnTo>
                <a:lnTo>
                  <a:pt x="537" y="75"/>
                </a:lnTo>
                <a:lnTo>
                  <a:pt x="561" y="96"/>
                </a:lnTo>
                <a:lnTo>
                  <a:pt x="583" y="121"/>
                </a:lnTo>
                <a:lnTo>
                  <a:pt x="602" y="145"/>
                </a:lnTo>
                <a:lnTo>
                  <a:pt x="618" y="173"/>
                </a:lnTo>
                <a:lnTo>
                  <a:pt x="631" y="201"/>
                </a:lnTo>
                <a:lnTo>
                  <a:pt x="643" y="232"/>
                </a:lnTo>
                <a:lnTo>
                  <a:pt x="647" y="247"/>
                </a:lnTo>
                <a:lnTo>
                  <a:pt x="651" y="263"/>
                </a:lnTo>
                <a:lnTo>
                  <a:pt x="654" y="279"/>
                </a:lnTo>
                <a:lnTo>
                  <a:pt x="655" y="295"/>
                </a:lnTo>
                <a:lnTo>
                  <a:pt x="657" y="313"/>
                </a:lnTo>
                <a:lnTo>
                  <a:pt x="658" y="329"/>
                </a:lnTo>
                <a:lnTo>
                  <a:pt x="658" y="329"/>
                </a:lnTo>
                <a:lnTo>
                  <a:pt x="657" y="346"/>
                </a:lnTo>
                <a:lnTo>
                  <a:pt x="655" y="363"/>
                </a:lnTo>
                <a:lnTo>
                  <a:pt x="654" y="379"/>
                </a:lnTo>
                <a:lnTo>
                  <a:pt x="651" y="396"/>
                </a:lnTo>
                <a:lnTo>
                  <a:pt x="647" y="411"/>
                </a:lnTo>
                <a:lnTo>
                  <a:pt x="643" y="427"/>
                </a:lnTo>
                <a:lnTo>
                  <a:pt x="631" y="457"/>
                </a:lnTo>
                <a:lnTo>
                  <a:pt x="618" y="486"/>
                </a:lnTo>
                <a:lnTo>
                  <a:pt x="602" y="513"/>
                </a:lnTo>
                <a:lnTo>
                  <a:pt x="583" y="539"/>
                </a:lnTo>
                <a:lnTo>
                  <a:pt x="561" y="562"/>
                </a:lnTo>
                <a:lnTo>
                  <a:pt x="537" y="583"/>
                </a:lnTo>
                <a:lnTo>
                  <a:pt x="513" y="602"/>
                </a:lnTo>
                <a:lnTo>
                  <a:pt x="485" y="618"/>
                </a:lnTo>
                <a:lnTo>
                  <a:pt x="456" y="633"/>
                </a:lnTo>
                <a:lnTo>
                  <a:pt x="426" y="644"/>
                </a:lnTo>
                <a:lnTo>
                  <a:pt x="411" y="648"/>
                </a:lnTo>
                <a:lnTo>
                  <a:pt x="395" y="652"/>
                </a:lnTo>
                <a:lnTo>
                  <a:pt x="379" y="654"/>
                </a:lnTo>
                <a:lnTo>
                  <a:pt x="362" y="657"/>
                </a:lnTo>
                <a:lnTo>
                  <a:pt x="345" y="658"/>
                </a:lnTo>
                <a:lnTo>
                  <a:pt x="329" y="658"/>
                </a:lnTo>
                <a:lnTo>
                  <a:pt x="329" y="658"/>
                </a:lnTo>
                <a:close/>
                <a:moveTo>
                  <a:pt x="329" y="37"/>
                </a:moveTo>
                <a:lnTo>
                  <a:pt x="329" y="37"/>
                </a:lnTo>
                <a:lnTo>
                  <a:pt x="299" y="40"/>
                </a:lnTo>
                <a:lnTo>
                  <a:pt x="270" y="44"/>
                </a:lnTo>
                <a:lnTo>
                  <a:pt x="241" y="51"/>
                </a:lnTo>
                <a:lnTo>
                  <a:pt x="215" y="62"/>
                </a:lnTo>
                <a:lnTo>
                  <a:pt x="190" y="74"/>
                </a:lnTo>
                <a:lnTo>
                  <a:pt x="166" y="88"/>
                </a:lnTo>
                <a:lnTo>
                  <a:pt x="143" y="105"/>
                </a:lnTo>
                <a:lnTo>
                  <a:pt x="123" y="123"/>
                </a:lnTo>
                <a:lnTo>
                  <a:pt x="104" y="144"/>
                </a:lnTo>
                <a:lnTo>
                  <a:pt x="87" y="166"/>
                </a:lnTo>
                <a:lnTo>
                  <a:pt x="72" y="191"/>
                </a:lnTo>
                <a:lnTo>
                  <a:pt x="60" y="216"/>
                </a:lnTo>
                <a:lnTo>
                  <a:pt x="51" y="243"/>
                </a:lnTo>
                <a:lnTo>
                  <a:pt x="43" y="271"/>
                </a:lnTo>
                <a:lnTo>
                  <a:pt x="38" y="299"/>
                </a:lnTo>
                <a:lnTo>
                  <a:pt x="37" y="329"/>
                </a:lnTo>
                <a:lnTo>
                  <a:pt x="37" y="329"/>
                </a:lnTo>
                <a:lnTo>
                  <a:pt x="38" y="359"/>
                </a:lnTo>
                <a:lnTo>
                  <a:pt x="43" y="388"/>
                </a:lnTo>
                <a:lnTo>
                  <a:pt x="51" y="416"/>
                </a:lnTo>
                <a:lnTo>
                  <a:pt x="60" y="443"/>
                </a:lnTo>
                <a:lnTo>
                  <a:pt x="72" y="467"/>
                </a:lnTo>
                <a:lnTo>
                  <a:pt x="87" y="492"/>
                </a:lnTo>
                <a:lnTo>
                  <a:pt x="104" y="514"/>
                </a:lnTo>
                <a:lnTo>
                  <a:pt x="123" y="535"/>
                </a:lnTo>
                <a:lnTo>
                  <a:pt x="143" y="553"/>
                </a:lnTo>
                <a:lnTo>
                  <a:pt x="166" y="571"/>
                </a:lnTo>
                <a:lnTo>
                  <a:pt x="190" y="586"/>
                </a:lnTo>
                <a:lnTo>
                  <a:pt x="215" y="598"/>
                </a:lnTo>
                <a:lnTo>
                  <a:pt x="241" y="607"/>
                </a:lnTo>
                <a:lnTo>
                  <a:pt x="270" y="615"/>
                </a:lnTo>
                <a:lnTo>
                  <a:pt x="299" y="619"/>
                </a:lnTo>
                <a:lnTo>
                  <a:pt x="329" y="621"/>
                </a:lnTo>
                <a:lnTo>
                  <a:pt x="329" y="621"/>
                </a:lnTo>
                <a:lnTo>
                  <a:pt x="358" y="619"/>
                </a:lnTo>
                <a:lnTo>
                  <a:pt x="387" y="615"/>
                </a:lnTo>
                <a:lnTo>
                  <a:pt x="415" y="607"/>
                </a:lnTo>
                <a:lnTo>
                  <a:pt x="442" y="598"/>
                </a:lnTo>
                <a:lnTo>
                  <a:pt x="467" y="586"/>
                </a:lnTo>
                <a:lnTo>
                  <a:pt x="491" y="571"/>
                </a:lnTo>
                <a:lnTo>
                  <a:pt x="514" y="553"/>
                </a:lnTo>
                <a:lnTo>
                  <a:pt x="534" y="535"/>
                </a:lnTo>
                <a:lnTo>
                  <a:pt x="553" y="514"/>
                </a:lnTo>
                <a:lnTo>
                  <a:pt x="569" y="492"/>
                </a:lnTo>
                <a:lnTo>
                  <a:pt x="584" y="467"/>
                </a:lnTo>
                <a:lnTo>
                  <a:pt x="596" y="443"/>
                </a:lnTo>
                <a:lnTo>
                  <a:pt x="607" y="416"/>
                </a:lnTo>
                <a:lnTo>
                  <a:pt x="614" y="388"/>
                </a:lnTo>
                <a:lnTo>
                  <a:pt x="618" y="359"/>
                </a:lnTo>
                <a:lnTo>
                  <a:pt x="620" y="329"/>
                </a:lnTo>
                <a:lnTo>
                  <a:pt x="620" y="329"/>
                </a:lnTo>
                <a:lnTo>
                  <a:pt x="618" y="299"/>
                </a:lnTo>
                <a:lnTo>
                  <a:pt x="614" y="271"/>
                </a:lnTo>
                <a:lnTo>
                  <a:pt x="607" y="243"/>
                </a:lnTo>
                <a:lnTo>
                  <a:pt x="596" y="216"/>
                </a:lnTo>
                <a:lnTo>
                  <a:pt x="584" y="191"/>
                </a:lnTo>
                <a:lnTo>
                  <a:pt x="569" y="166"/>
                </a:lnTo>
                <a:lnTo>
                  <a:pt x="553" y="144"/>
                </a:lnTo>
                <a:lnTo>
                  <a:pt x="534" y="123"/>
                </a:lnTo>
                <a:lnTo>
                  <a:pt x="514" y="105"/>
                </a:lnTo>
                <a:lnTo>
                  <a:pt x="491" y="88"/>
                </a:lnTo>
                <a:lnTo>
                  <a:pt x="467" y="74"/>
                </a:lnTo>
                <a:lnTo>
                  <a:pt x="442" y="62"/>
                </a:lnTo>
                <a:lnTo>
                  <a:pt x="415" y="51"/>
                </a:lnTo>
                <a:lnTo>
                  <a:pt x="387" y="44"/>
                </a:lnTo>
                <a:lnTo>
                  <a:pt x="358" y="40"/>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32" name="Group 31">
            <a:extLst>
              <a:ext uri="{FF2B5EF4-FFF2-40B4-BE49-F238E27FC236}">
                <a16:creationId xmlns:a16="http://schemas.microsoft.com/office/drawing/2014/main" id="{0B9161CA-D264-4035-8F4D-03DD5F9B0FEF}"/>
              </a:ext>
            </a:extLst>
          </p:cNvPr>
          <p:cNvGrpSpPr>
            <a:grpSpLocks noChangeAspect="1"/>
          </p:cNvGrpSpPr>
          <p:nvPr/>
        </p:nvGrpSpPr>
        <p:grpSpPr>
          <a:xfrm>
            <a:off x="5135936" y="2128656"/>
            <a:ext cx="762445" cy="764771"/>
            <a:chOff x="6710363" y="1662113"/>
            <a:chExt cx="520700" cy="522288"/>
          </a:xfrm>
        </p:grpSpPr>
        <p:sp>
          <p:nvSpPr>
            <p:cNvPr id="33" name="Freeform 22">
              <a:extLst>
                <a:ext uri="{FF2B5EF4-FFF2-40B4-BE49-F238E27FC236}">
                  <a16:creationId xmlns:a16="http://schemas.microsoft.com/office/drawing/2014/main" id="{34349C3E-BAB3-46EF-BD92-BD2438415C13}"/>
                </a:ext>
              </a:extLst>
            </p:cNvPr>
            <p:cNvSpPr>
              <a:spLocks noEditPoints="1"/>
            </p:cNvSpPr>
            <p:nvPr/>
          </p:nvSpPr>
          <p:spPr bwMode="auto">
            <a:xfrm>
              <a:off x="6710363" y="1662113"/>
              <a:ext cx="520700" cy="522288"/>
            </a:xfrm>
            <a:custGeom>
              <a:avLst/>
              <a:gdLst>
                <a:gd name="T0" fmla="*/ 311 w 657"/>
                <a:gd name="T1" fmla="*/ 658 h 658"/>
                <a:gd name="T2" fmla="*/ 262 w 657"/>
                <a:gd name="T3" fmla="*/ 651 h 658"/>
                <a:gd name="T4" fmla="*/ 201 w 657"/>
                <a:gd name="T5" fmla="*/ 632 h 658"/>
                <a:gd name="T6" fmla="*/ 119 w 657"/>
                <a:gd name="T7" fmla="*/ 583 h 658"/>
                <a:gd name="T8" fmla="*/ 56 w 657"/>
                <a:gd name="T9" fmla="*/ 513 h 658"/>
                <a:gd name="T10" fmla="*/ 15 w 657"/>
                <a:gd name="T11" fmla="*/ 427 h 658"/>
                <a:gd name="T12" fmla="*/ 4 w 657"/>
                <a:gd name="T13" fmla="*/ 378 h 658"/>
                <a:gd name="T14" fmla="*/ 0 w 657"/>
                <a:gd name="T15" fmla="*/ 329 h 658"/>
                <a:gd name="T16" fmla="*/ 1 w 657"/>
                <a:gd name="T17" fmla="*/ 295 h 658"/>
                <a:gd name="T18" fmla="*/ 11 w 657"/>
                <a:gd name="T19" fmla="*/ 247 h 658"/>
                <a:gd name="T20" fmla="*/ 40 w 657"/>
                <a:gd name="T21" fmla="*/ 173 h 658"/>
                <a:gd name="T22" fmla="*/ 97 w 657"/>
                <a:gd name="T23" fmla="*/ 97 h 658"/>
                <a:gd name="T24" fmla="*/ 172 w 657"/>
                <a:gd name="T25" fmla="*/ 40 h 658"/>
                <a:gd name="T26" fmla="*/ 247 w 657"/>
                <a:gd name="T27" fmla="*/ 11 h 658"/>
                <a:gd name="T28" fmla="*/ 295 w 657"/>
                <a:gd name="T29" fmla="*/ 3 h 658"/>
                <a:gd name="T30" fmla="*/ 329 w 657"/>
                <a:gd name="T31" fmla="*/ 0 h 658"/>
                <a:gd name="T32" fmla="*/ 379 w 657"/>
                <a:gd name="T33" fmla="*/ 4 h 658"/>
                <a:gd name="T34" fmla="*/ 426 w 657"/>
                <a:gd name="T35" fmla="*/ 15 h 658"/>
                <a:gd name="T36" fmla="*/ 512 w 657"/>
                <a:gd name="T37" fmla="*/ 56 h 658"/>
                <a:gd name="T38" fmla="*/ 583 w 657"/>
                <a:gd name="T39" fmla="*/ 121 h 658"/>
                <a:gd name="T40" fmla="*/ 631 w 657"/>
                <a:gd name="T41" fmla="*/ 201 h 658"/>
                <a:gd name="T42" fmla="*/ 651 w 657"/>
                <a:gd name="T43" fmla="*/ 263 h 658"/>
                <a:gd name="T44" fmla="*/ 657 w 657"/>
                <a:gd name="T45" fmla="*/ 313 h 658"/>
                <a:gd name="T46" fmla="*/ 657 w 657"/>
                <a:gd name="T47" fmla="*/ 346 h 658"/>
                <a:gd name="T48" fmla="*/ 651 w 657"/>
                <a:gd name="T49" fmla="*/ 395 h 658"/>
                <a:gd name="T50" fmla="*/ 631 w 657"/>
                <a:gd name="T51" fmla="*/ 456 h 658"/>
                <a:gd name="T52" fmla="*/ 583 w 657"/>
                <a:gd name="T53" fmla="*/ 538 h 658"/>
                <a:gd name="T54" fmla="*/ 512 w 657"/>
                <a:gd name="T55" fmla="*/ 601 h 658"/>
                <a:gd name="T56" fmla="*/ 426 w 657"/>
                <a:gd name="T57" fmla="*/ 643 h 658"/>
                <a:gd name="T58" fmla="*/ 379 w 657"/>
                <a:gd name="T59" fmla="*/ 654 h 658"/>
                <a:gd name="T60" fmla="*/ 329 w 657"/>
                <a:gd name="T61" fmla="*/ 658 h 658"/>
                <a:gd name="T62" fmla="*/ 329 w 657"/>
                <a:gd name="T63" fmla="*/ 37 h 658"/>
                <a:gd name="T64" fmla="*/ 242 w 657"/>
                <a:gd name="T65" fmla="*/ 51 h 658"/>
                <a:gd name="T66" fmla="*/ 166 w 657"/>
                <a:gd name="T67" fmla="*/ 87 h 658"/>
                <a:gd name="T68" fmla="*/ 105 w 657"/>
                <a:gd name="T69" fmla="*/ 144 h 658"/>
                <a:gd name="T70" fmla="*/ 60 w 657"/>
                <a:gd name="T71" fmla="*/ 216 h 658"/>
                <a:gd name="T72" fmla="*/ 39 w 657"/>
                <a:gd name="T73" fmla="*/ 299 h 658"/>
                <a:gd name="T74" fmla="*/ 39 w 657"/>
                <a:gd name="T75" fmla="*/ 358 h 658"/>
                <a:gd name="T76" fmla="*/ 60 w 657"/>
                <a:gd name="T77" fmla="*/ 442 h 658"/>
                <a:gd name="T78" fmla="*/ 105 w 657"/>
                <a:gd name="T79" fmla="*/ 514 h 658"/>
                <a:gd name="T80" fmla="*/ 166 w 657"/>
                <a:gd name="T81" fmla="*/ 570 h 658"/>
                <a:gd name="T82" fmla="*/ 242 w 657"/>
                <a:gd name="T83" fmla="*/ 607 h 658"/>
                <a:gd name="T84" fmla="*/ 329 w 657"/>
                <a:gd name="T85" fmla="*/ 620 h 658"/>
                <a:gd name="T86" fmla="*/ 387 w 657"/>
                <a:gd name="T87" fmla="*/ 615 h 658"/>
                <a:gd name="T88" fmla="*/ 467 w 657"/>
                <a:gd name="T89" fmla="*/ 585 h 658"/>
                <a:gd name="T90" fmla="*/ 534 w 657"/>
                <a:gd name="T91" fmla="*/ 534 h 658"/>
                <a:gd name="T92" fmla="*/ 584 w 657"/>
                <a:gd name="T93" fmla="*/ 467 h 658"/>
                <a:gd name="T94" fmla="*/ 614 w 657"/>
                <a:gd name="T95" fmla="*/ 388 h 658"/>
                <a:gd name="T96" fmla="*/ 619 w 657"/>
                <a:gd name="T97" fmla="*/ 329 h 658"/>
                <a:gd name="T98" fmla="*/ 607 w 657"/>
                <a:gd name="T99" fmla="*/ 243 h 658"/>
                <a:gd name="T100" fmla="*/ 569 w 657"/>
                <a:gd name="T101" fmla="*/ 166 h 658"/>
                <a:gd name="T102" fmla="*/ 514 w 657"/>
                <a:gd name="T103" fmla="*/ 105 h 658"/>
                <a:gd name="T104" fmla="*/ 442 w 657"/>
                <a:gd name="T105" fmla="*/ 60 h 658"/>
                <a:gd name="T106" fmla="*/ 358 w 657"/>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1" y="658"/>
                  </a:lnTo>
                  <a:lnTo>
                    <a:pt x="295" y="656"/>
                  </a:lnTo>
                  <a:lnTo>
                    <a:pt x="278" y="654"/>
                  </a:lnTo>
                  <a:lnTo>
                    <a:pt x="262" y="651"/>
                  </a:lnTo>
                  <a:lnTo>
                    <a:pt x="247" y="647"/>
                  </a:lnTo>
                  <a:lnTo>
                    <a:pt x="231" y="643"/>
                  </a:lnTo>
                  <a:lnTo>
                    <a:pt x="201" y="632"/>
                  </a:lnTo>
                  <a:lnTo>
                    <a:pt x="172" y="617"/>
                  </a:lnTo>
                  <a:lnTo>
                    <a:pt x="145" y="601"/>
                  </a:lnTo>
                  <a:lnTo>
                    <a:pt x="119" y="583"/>
                  </a:lnTo>
                  <a:lnTo>
                    <a:pt x="97" y="561"/>
                  </a:lnTo>
                  <a:lnTo>
                    <a:pt x="75" y="538"/>
                  </a:lnTo>
                  <a:lnTo>
                    <a:pt x="56" y="513"/>
                  </a:lnTo>
                  <a:lnTo>
                    <a:pt x="40" y="486"/>
                  </a:lnTo>
                  <a:lnTo>
                    <a:pt x="25" y="456"/>
                  </a:lnTo>
                  <a:lnTo>
                    <a:pt x="15" y="427"/>
                  </a:lnTo>
                  <a:lnTo>
                    <a:pt x="11" y="411"/>
                  </a:lnTo>
                  <a:lnTo>
                    <a:pt x="7" y="395"/>
                  </a:lnTo>
                  <a:lnTo>
                    <a:pt x="4" y="378"/>
                  </a:lnTo>
                  <a:lnTo>
                    <a:pt x="1" y="362"/>
                  </a:lnTo>
                  <a:lnTo>
                    <a:pt x="0" y="346"/>
                  </a:lnTo>
                  <a:lnTo>
                    <a:pt x="0" y="329"/>
                  </a:lnTo>
                  <a:lnTo>
                    <a:pt x="0" y="329"/>
                  </a:lnTo>
                  <a:lnTo>
                    <a:pt x="0" y="313"/>
                  </a:lnTo>
                  <a:lnTo>
                    <a:pt x="1" y="295"/>
                  </a:lnTo>
                  <a:lnTo>
                    <a:pt x="4" y="279"/>
                  </a:lnTo>
                  <a:lnTo>
                    <a:pt x="7" y="263"/>
                  </a:lnTo>
                  <a:lnTo>
                    <a:pt x="11" y="247"/>
                  </a:lnTo>
                  <a:lnTo>
                    <a:pt x="15" y="231"/>
                  </a:lnTo>
                  <a:lnTo>
                    <a:pt x="25" y="201"/>
                  </a:lnTo>
                  <a:lnTo>
                    <a:pt x="40" y="173"/>
                  </a:lnTo>
                  <a:lnTo>
                    <a:pt x="56" y="145"/>
                  </a:lnTo>
                  <a:lnTo>
                    <a:pt x="75" y="121"/>
                  </a:lnTo>
                  <a:lnTo>
                    <a:pt x="97" y="97"/>
                  </a:lnTo>
                  <a:lnTo>
                    <a:pt x="119" y="75"/>
                  </a:lnTo>
                  <a:lnTo>
                    <a:pt x="145" y="56"/>
                  </a:lnTo>
                  <a:lnTo>
                    <a:pt x="172" y="40"/>
                  </a:lnTo>
                  <a:lnTo>
                    <a:pt x="201" y="27"/>
                  </a:lnTo>
                  <a:lnTo>
                    <a:pt x="231" y="15"/>
                  </a:lnTo>
                  <a:lnTo>
                    <a:pt x="247" y="11"/>
                  </a:lnTo>
                  <a:lnTo>
                    <a:pt x="262" y="7"/>
                  </a:lnTo>
                  <a:lnTo>
                    <a:pt x="278" y="4"/>
                  </a:lnTo>
                  <a:lnTo>
                    <a:pt x="295" y="3"/>
                  </a:lnTo>
                  <a:lnTo>
                    <a:pt x="311" y="1"/>
                  </a:lnTo>
                  <a:lnTo>
                    <a:pt x="329" y="0"/>
                  </a:lnTo>
                  <a:lnTo>
                    <a:pt x="329" y="0"/>
                  </a:lnTo>
                  <a:lnTo>
                    <a:pt x="345" y="1"/>
                  </a:lnTo>
                  <a:lnTo>
                    <a:pt x="362" y="3"/>
                  </a:lnTo>
                  <a:lnTo>
                    <a:pt x="379" y="4"/>
                  </a:lnTo>
                  <a:lnTo>
                    <a:pt x="395" y="7"/>
                  </a:lnTo>
                  <a:lnTo>
                    <a:pt x="411" y="11"/>
                  </a:lnTo>
                  <a:lnTo>
                    <a:pt x="426" y="15"/>
                  </a:lnTo>
                  <a:lnTo>
                    <a:pt x="456" y="27"/>
                  </a:lnTo>
                  <a:lnTo>
                    <a:pt x="485" y="40"/>
                  </a:lnTo>
                  <a:lnTo>
                    <a:pt x="512" y="56"/>
                  </a:lnTo>
                  <a:lnTo>
                    <a:pt x="537" y="75"/>
                  </a:lnTo>
                  <a:lnTo>
                    <a:pt x="561" y="97"/>
                  </a:lnTo>
                  <a:lnTo>
                    <a:pt x="583" y="121"/>
                  </a:lnTo>
                  <a:lnTo>
                    <a:pt x="601" y="145"/>
                  </a:lnTo>
                  <a:lnTo>
                    <a:pt x="618" y="173"/>
                  </a:lnTo>
                  <a:lnTo>
                    <a:pt x="631" y="201"/>
                  </a:lnTo>
                  <a:lnTo>
                    <a:pt x="642" y="231"/>
                  </a:lnTo>
                  <a:lnTo>
                    <a:pt x="647" y="247"/>
                  </a:lnTo>
                  <a:lnTo>
                    <a:pt x="651" y="263"/>
                  </a:lnTo>
                  <a:lnTo>
                    <a:pt x="654" y="279"/>
                  </a:lnTo>
                  <a:lnTo>
                    <a:pt x="655" y="295"/>
                  </a:lnTo>
                  <a:lnTo>
                    <a:pt x="657" y="313"/>
                  </a:lnTo>
                  <a:lnTo>
                    <a:pt x="657" y="329"/>
                  </a:lnTo>
                  <a:lnTo>
                    <a:pt x="657" y="329"/>
                  </a:lnTo>
                  <a:lnTo>
                    <a:pt x="657" y="346"/>
                  </a:lnTo>
                  <a:lnTo>
                    <a:pt x="655" y="362"/>
                  </a:lnTo>
                  <a:lnTo>
                    <a:pt x="654" y="378"/>
                  </a:lnTo>
                  <a:lnTo>
                    <a:pt x="651" y="395"/>
                  </a:lnTo>
                  <a:lnTo>
                    <a:pt x="647" y="411"/>
                  </a:lnTo>
                  <a:lnTo>
                    <a:pt x="642" y="427"/>
                  </a:lnTo>
                  <a:lnTo>
                    <a:pt x="631" y="456"/>
                  </a:lnTo>
                  <a:lnTo>
                    <a:pt x="618" y="486"/>
                  </a:lnTo>
                  <a:lnTo>
                    <a:pt x="601" y="513"/>
                  </a:lnTo>
                  <a:lnTo>
                    <a:pt x="583" y="538"/>
                  </a:lnTo>
                  <a:lnTo>
                    <a:pt x="561" y="561"/>
                  </a:lnTo>
                  <a:lnTo>
                    <a:pt x="537" y="583"/>
                  </a:lnTo>
                  <a:lnTo>
                    <a:pt x="512" y="601"/>
                  </a:lnTo>
                  <a:lnTo>
                    <a:pt x="485" y="617"/>
                  </a:lnTo>
                  <a:lnTo>
                    <a:pt x="456" y="632"/>
                  </a:lnTo>
                  <a:lnTo>
                    <a:pt x="426" y="643"/>
                  </a:lnTo>
                  <a:lnTo>
                    <a:pt x="411" y="647"/>
                  </a:lnTo>
                  <a:lnTo>
                    <a:pt x="395" y="651"/>
                  </a:lnTo>
                  <a:lnTo>
                    <a:pt x="379" y="654"/>
                  </a:lnTo>
                  <a:lnTo>
                    <a:pt x="362" y="656"/>
                  </a:lnTo>
                  <a:lnTo>
                    <a:pt x="345" y="658"/>
                  </a:lnTo>
                  <a:lnTo>
                    <a:pt x="329" y="658"/>
                  </a:lnTo>
                  <a:lnTo>
                    <a:pt x="329" y="658"/>
                  </a:lnTo>
                  <a:close/>
                  <a:moveTo>
                    <a:pt x="329" y="37"/>
                  </a:moveTo>
                  <a:lnTo>
                    <a:pt x="329" y="37"/>
                  </a:lnTo>
                  <a:lnTo>
                    <a:pt x="299" y="40"/>
                  </a:lnTo>
                  <a:lnTo>
                    <a:pt x="270" y="44"/>
                  </a:lnTo>
                  <a:lnTo>
                    <a:pt x="242" y="51"/>
                  </a:lnTo>
                  <a:lnTo>
                    <a:pt x="215" y="60"/>
                  </a:lnTo>
                  <a:lnTo>
                    <a:pt x="189" y="74"/>
                  </a:lnTo>
                  <a:lnTo>
                    <a:pt x="166" y="87"/>
                  </a:lnTo>
                  <a:lnTo>
                    <a:pt x="144" y="105"/>
                  </a:lnTo>
                  <a:lnTo>
                    <a:pt x="124" y="123"/>
                  </a:lnTo>
                  <a:lnTo>
                    <a:pt x="105" y="144"/>
                  </a:lnTo>
                  <a:lnTo>
                    <a:pt x="87" y="166"/>
                  </a:lnTo>
                  <a:lnTo>
                    <a:pt x="72" y="191"/>
                  </a:lnTo>
                  <a:lnTo>
                    <a:pt x="60" y="216"/>
                  </a:lnTo>
                  <a:lnTo>
                    <a:pt x="51" y="243"/>
                  </a:lnTo>
                  <a:lnTo>
                    <a:pt x="43" y="271"/>
                  </a:lnTo>
                  <a:lnTo>
                    <a:pt x="39" y="299"/>
                  </a:lnTo>
                  <a:lnTo>
                    <a:pt x="38" y="329"/>
                  </a:lnTo>
                  <a:lnTo>
                    <a:pt x="38" y="329"/>
                  </a:lnTo>
                  <a:lnTo>
                    <a:pt x="39" y="358"/>
                  </a:lnTo>
                  <a:lnTo>
                    <a:pt x="43" y="388"/>
                  </a:lnTo>
                  <a:lnTo>
                    <a:pt x="51" y="416"/>
                  </a:lnTo>
                  <a:lnTo>
                    <a:pt x="60" y="442"/>
                  </a:lnTo>
                  <a:lnTo>
                    <a:pt x="72" y="467"/>
                  </a:lnTo>
                  <a:lnTo>
                    <a:pt x="87" y="491"/>
                  </a:lnTo>
                  <a:lnTo>
                    <a:pt x="105" y="514"/>
                  </a:lnTo>
                  <a:lnTo>
                    <a:pt x="124" y="534"/>
                  </a:lnTo>
                  <a:lnTo>
                    <a:pt x="144" y="553"/>
                  </a:lnTo>
                  <a:lnTo>
                    <a:pt x="166" y="570"/>
                  </a:lnTo>
                  <a:lnTo>
                    <a:pt x="189" y="585"/>
                  </a:lnTo>
                  <a:lnTo>
                    <a:pt x="215" y="597"/>
                  </a:lnTo>
                  <a:lnTo>
                    <a:pt x="242" y="607"/>
                  </a:lnTo>
                  <a:lnTo>
                    <a:pt x="270" y="615"/>
                  </a:lnTo>
                  <a:lnTo>
                    <a:pt x="299" y="619"/>
                  </a:lnTo>
                  <a:lnTo>
                    <a:pt x="329" y="620"/>
                  </a:lnTo>
                  <a:lnTo>
                    <a:pt x="329" y="620"/>
                  </a:lnTo>
                  <a:lnTo>
                    <a:pt x="358" y="619"/>
                  </a:lnTo>
                  <a:lnTo>
                    <a:pt x="387" y="615"/>
                  </a:lnTo>
                  <a:lnTo>
                    <a:pt x="415" y="607"/>
                  </a:lnTo>
                  <a:lnTo>
                    <a:pt x="442" y="597"/>
                  </a:lnTo>
                  <a:lnTo>
                    <a:pt x="467" y="585"/>
                  </a:lnTo>
                  <a:lnTo>
                    <a:pt x="491" y="570"/>
                  </a:lnTo>
                  <a:lnTo>
                    <a:pt x="514" y="553"/>
                  </a:lnTo>
                  <a:lnTo>
                    <a:pt x="534" y="534"/>
                  </a:lnTo>
                  <a:lnTo>
                    <a:pt x="553" y="514"/>
                  </a:lnTo>
                  <a:lnTo>
                    <a:pt x="569" y="491"/>
                  </a:lnTo>
                  <a:lnTo>
                    <a:pt x="584" y="467"/>
                  </a:lnTo>
                  <a:lnTo>
                    <a:pt x="596" y="442"/>
                  </a:lnTo>
                  <a:lnTo>
                    <a:pt x="607" y="416"/>
                  </a:lnTo>
                  <a:lnTo>
                    <a:pt x="614" y="388"/>
                  </a:lnTo>
                  <a:lnTo>
                    <a:pt x="618" y="358"/>
                  </a:lnTo>
                  <a:lnTo>
                    <a:pt x="619" y="329"/>
                  </a:lnTo>
                  <a:lnTo>
                    <a:pt x="619" y="329"/>
                  </a:lnTo>
                  <a:lnTo>
                    <a:pt x="618" y="299"/>
                  </a:lnTo>
                  <a:lnTo>
                    <a:pt x="614" y="271"/>
                  </a:lnTo>
                  <a:lnTo>
                    <a:pt x="607" y="243"/>
                  </a:lnTo>
                  <a:lnTo>
                    <a:pt x="596" y="216"/>
                  </a:lnTo>
                  <a:lnTo>
                    <a:pt x="584" y="191"/>
                  </a:lnTo>
                  <a:lnTo>
                    <a:pt x="569" y="166"/>
                  </a:lnTo>
                  <a:lnTo>
                    <a:pt x="553" y="144"/>
                  </a:lnTo>
                  <a:lnTo>
                    <a:pt x="534" y="123"/>
                  </a:lnTo>
                  <a:lnTo>
                    <a:pt x="514" y="105"/>
                  </a:lnTo>
                  <a:lnTo>
                    <a:pt x="491" y="87"/>
                  </a:lnTo>
                  <a:lnTo>
                    <a:pt x="467" y="74"/>
                  </a:lnTo>
                  <a:lnTo>
                    <a:pt x="442" y="60"/>
                  </a:lnTo>
                  <a:lnTo>
                    <a:pt x="415" y="51"/>
                  </a:lnTo>
                  <a:lnTo>
                    <a:pt x="387" y="44"/>
                  </a:lnTo>
                  <a:lnTo>
                    <a:pt x="358" y="40"/>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106">
              <a:extLst>
                <a:ext uri="{FF2B5EF4-FFF2-40B4-BE49-F238E27FC236}">
                  <a16:creationId xmlns:a16="http://schemas.microsoft.com/office/drawing/2014/main" id="{9E6B5C22-2D26-422A-9125-E98D57C90112}"/>
                </a:ext>
              </a:extLst>
            </p:cNvPr>
            <p:cNvSpPr>
              <a:spLocks/>
            </p:cNvSpPr>
            <p:nvPr/>
          </p:nvSpPr>
          <p:spPr bwMode="auto">
            <a:xfrm>
              <a:off x="6935788" y="1876425"/>
              <a:ext cx="69850" cy="68263"/>
            </a:xfrm>
            <a:custGeom>
              <a:avLst/>
              <a:gdLst>
                <a:gd name="T0" fmla="*/ 44 w 87"/>
                <a:gd name="T1" fmla="*/ 0 h 86"/>
                <a:gd name="T2" fmla="*/ 44 w 87"/>
                <a:gd name="T3" fmla="*/ 0 h 86"/>
                <a:gd name="T4" fmla="*/ 35 w 87"/>
                <a:gd name="T5" fmla="*/ 1 h 86"/>
                <a:gd name="T6" fmla="*/ 26 w 87"/>
                <a:gd name="T7" fmla="*/ 2 h 86"/>
                <a:gd name="T8" fmla="*/ 20 w 87"/>
                <a:gd name="T9" fmla="*/ 6 h 86"/>
                <a:gd name="T10" fmla="*/ 13 w 87"/>
                <a:gd name="T11" fmla="*/ 12 h 86"/>
                <a:gd name="T12" fmla="*/ 8 w 87"/>
                <a:gd name="T13" fmla="*/ 19 h 86"/>
                <a:gd name="T14" fmla="*/ 4 w 87"/>
                <a:gd name="T15" fmla="*/ 27 h 86"/>
                <a:gd name="T16" fmla="*/ 1 w 87"/>
                <a:gd name="T17" fmla="*/ 35 h 86"/>
                <a:gd name="T18" fmla="*/ 0 w 87"/>
                <a:gd name="T19" fmla="*/ 43 h 86"/>
                <a:gd name="T20" fmla="*/ 0 w 87"/>
                <a:gd name="T21" fmla="*/ 43 h 86"/>
                <a:gd name="T22" fmla="*/ 1 w 87"/>
                <a:gd name="T23" fmla="*/ 52 h 86"/>
                <a:gd name="T24" fmla="*/ 4 w 87"/>
                <a:gd name="T25" fmla="*/ 60 h 86"/>
                <a:gd name="T26" fmla="*/ 8 w 87"/>
                <a:gd name="T27" fmla="*/ 67 h 86"/>
                <a:gd name="T28" fmla="*/ 13 w 87"/>
                <a:gd name="T29" fmla="*/ 74 h 86"/>
                <a:gd name="T30" fmla="*/ 20 w 87"/>
                <a:gd name="T31" fmla="*/ 79 h 86"/>
                <a:gd name="T32" fmla="*/ 26 w 87"/>
                <a:gd name="T33" fmla="*/ 83 h 86"/>
                <a:gd name="T34" fmla="*/ 35 w 87"/>
                <a:gd name="T35" fmla="*/ 86 h 86"/>
                <a:gd name="T36" fmla="*/ 44 w 87"/>
                <a:gd name="T37" fmla="*/ 86 h 86"/>
                <a:gd name="T38" fmla="*/ 44 w 87"/>
                <a:gd name="T39" fmla="*/ 86 h 86"/>
                <a:gd name="T40" fmla="*/ 52 w 87"/>
                <a:gd name="T41" fmla="*/ 86 h 86"/>
                <a:gd name="T42" fmla="*/ 60 w 87"/>
                <a:gd name="T43" fmla="*/ 83 h 86"/>
                <a:gd name="T44" fmla="*/ 68 w 87"/>
                <a:gd name="T45" fmla="*/ 79 h 86"/>
                <a:gd name="T46" fmla="*/ 75 w 87"/>
                <a:gd name="T47" fmla="*/ 74 h 86"/>
                <a:gd name="T48" fmla="*/ 79 w 87"/>
                <a:gd name="T49" fmla="*/ 67 h 86"/>
                <a:gd name="T50" fmla="*/ 83 w 87"/>
                <a:gd name="T51" fmla="*/ 60 h 86"/>
                <a:gd name="T52" fmla="*/ 86 w 87"/>
                <a:gd name="T53" fmla="*/ 52 h 86"/>
                <a:gd name="T54" fmla="*/ 87 w 87"/>
                <a:gd name="T55" fmla="*/ 43 h 86"/>
                <a:gd name="T56" fmla="*/ 87 w 87"/>
                <a:gd name="T57" fmla="*/ 43 h 86"/>
                <a:gd name="T58" fmla="*/ 86 w 87"/>
                <a:gd name="T59" fmla="*/ 35 h 86"/>
                <a:gd name="T60" fmla="*/ 83 w 87"/>
                <a:gd name="T61" fmla="*/ 27 h 86"/>
                <a:gd name="T62" fmla="*/ 79 w 87"/>
                <a:gd name="T63" fmla="*/ 19 h 86"/>
                <a:gd name="T64" fmla="*/ 75 w 87"/>
                <a:gd name="T65" fmla="*/ 12 h 86"/>
                <a:gd name="T66" fmla="*/ 68 w 87"/>
                <a:gd name="T67" fmla="*/ 6 h 86"/>
                <a:gd name="T68" fmla="*/ 60 w 87"/>
                <a:gd name="T69" fmla="*/ 2 h 86"/>
                <a:gd name="T70" fmla="*/ 52 w 87"/>
                <a:gd name="T71" fmla="*/ 1 h 86"/>
                <a:gd name="T72" fmla="*/ 44 w 87"/>
                <a:gd name="T73" fmla="*/ 0 h 86"/>
                <a:gd name="T74" fmla="*/ 44 w 87"/>
                <a:gd name="T75"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7" h="86">
                  <a:moveTo>
                    <a:pt x="44" y="0"/>
                  </a:moveTo>
                  <a:lnTo>
                    <a:pt x="44" y="0"/>
                  </a:lnTo>
                  <a:lnTo>
                    <a:pt x="35" y="1"/>
                  </a:lnTo>
                  <a:lnTo>
                    <a:pt x="26" y="2"/>
                  </a:lnTo>
                  <a:lnTo>
                    <a:pt x="20" y="6"/>
                  </a:lnTo>
                  <a:lnTo>
                    <a:pt x="13" y="12"/>
                  </a:lnTo>
                  <a:lnTo>
                    <a:pt x="8" y="19"/>
                  </a:lnTo>
                  <a:lnTo>
                    <a:pt x="4" y="27"/>
                  </a:lnTo>
                  <a:lnTo>
                    <a:pt x="1" y="35"/>
                  </a:lnTo>
                  <a:lnTo>
                    <a:pt x="0" y="43"/>
                  </a:lnTo>
                  <a:lnTo>
                    <a:pt x="0" y="43"/>
                  </a:lnTo>
                  <a:lnTo>
                    <a:pt x="1" y="52"/>
                  </a:lnTo>
                  <a:lnTo>
                    <a:pt x="4" y="60"/>
                  </a:lnTo>
                  <a:lnTo>
                    <a:pt x="8" y="67"/>
                  </a:lnTo>
                  <a:lnTo>
                    <a:pt x="13" y="74"/>
                  </a:lnTo>
                  <a:lnTo>
                    <a:pt x="20" y="79"/>
                  </a:lnTo>
                  <a:lnTo>
                    <a:pt x="26" y="83"/>
                  </a:lnTo>
                  <a:lnTo>
                    <a:pt x="35" y="86"/>
                  </a:lnTo>
                  <a:lnTo>
                    <a:pt x="44" y="86"/>
                  </a:lnTo>
                  <a:lnTo>
                    <a:pt x="44" y="86"/>
                  </a:lnTo>
                  <a:lnTo>
                    <a:pt x="52" y="86"/>
                  </a:lnTo>
                  <a:lnTo>
                    <a:pt x="60" y="83"/>
                  </a:lnTo>
                  <a:lnTo>
                    <a:pt x="68" y="79"/>
                  </a:lnTo>
                  <a:lnTo>
                    <a:pt x="75" y="74"/>
                  </a:lnTo>
                  <a:lnTo>
                    <a:pt x="79" y="67"/>
                  </a:lnTo>
                  <a:lnTo>
                    <a:pt x="83" y="60"/>
                  </a:lnTo>
                  <a:lnTo>
                    <a:pt x="86" y="52"/>
                  </a:lnTo>
                  <a:lnTo>
                    <a:pt x="87" y="43"/>
                  </a:lnTo>
                  <a:lnTo>
                    <a:pt x="87" y="43"/>
                  </a:lnTo>
                  <a:lnTo>
                    <a:pt x="86" y="35"/>
                  </a:lnTo>
                  <a:lnTo>
                    <a:pt x="83" y="27"/>
                  </a:lnTo>
                  <a:lnTo>
                    <a:pt x="79" y="19"/>
                  </a:lnTo>
                  <a:lnTo>
                    <a:pt x="75" y="12"/>
                  </a:lnTo>
                  <a:lnTo>
                    <a:pt x="68" y="6"/>
                  </a:lnTo>
                  <a:lnTo>
                    <a:pt x="60" y="2"/>
                  </a:lnTo>
                  <a:lnTo>
                    <a:pt x="52" y="1"/>
                  </a:lnTo>
                  <a:lnTo>
                    <a:pt x="44" y="0"/>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107">
              <a:extLst>
                <a:ext uri="{FF2B5EF4-FFF2-40B4-BE49-F238E27FC236}">
                  <a16:creationId xmlns:a16="http://schemas.microsoft.com/office/drawing/2014/main" id="{38ED1425-6B90-4B58-A2E0-A445815952A0}"/>
                </a:ext>
              </a:extLst>
            </p:cNvPr>
            <p:cNvSpPr>
              <a:spLocks/>
            </p:cNvSpPr>
            <p:nvPr/>
          </p:nvSpPr>
          <p:spPr bwMode="auto">
            <a:xfrm>
              <a:off x="6835776" y="1903413"/>
              <a:ext cx="152400" cy="150813"/>
            </a:xfrm>
            <a:custGeom>
              <a:avLst/>
              <a:gdLst>
                <a:gd name="T0" fmla="*/ 156 w 191"/>
                <a:gd name="T1" fmla="*/ 110 h 191"/>
                <a:gd name="T2" fmla="*/ 152 w 191"/>
                <a:gd name="T3" fmla="*/ 108 h 191"/>
                <a:gd name="T4" fmla="*/ 145 w 191"/>
                <a:gd name="T5" fmla="*/ 108 h 191"/>
                <a:gd name="T6" fmla="*/ 143 w 191"/>
                <a:gd name="T7" fmla="*/ 110 h 191"/>
                <a:gd name="T8" fmla="*/ 140 w 191"/>
                <a:gd name="T9" fmla="*/ 117 h 191"/>
                <a:gd name="T10" fmla="*/ 140 w 191"/>
                <a:gd name="T11" fmla="*/ 121 h 191"/>
                <a:gd name="T12" fmla="*/ 159 w 191"/>
                <a:gd name="T13" fmla="*/ 140 h 191"/>
                <a:gd name="T14" fmla="*/ 80 w 191"/>
                <a:gd name="T15" fmla="*/ 140 h 191"/>
                <a:gd name="T16" fmla="*/ 57 w 191"/>
                <a:gd name="T17" fmla="*/ 135 h 191"/>
                <a:gd name="T18" fmla="*/ 37 w 191"/>
                <a:gd name="T19" fmla="*/ 122 h 191"/>
                <a:gd name="T20" fmla="*/ 25 w 191"/>
                <a:gd name="T21" fmla="*/ 102 h 191"/>
                <a:gd name="T22" fmla="*/ 19 w 191"/>
                <a:gd name="T23" fmla="*/ 80 h 191"/>
                <a:gd name="T24" fmla="*/ 21 w 191"/>
                <a:gd name="T25" fmla="*/ 67 h 191"/>
                <a:gd name="T26" fmla="*/ 30 w 191"/>
                <a:gd name="T27" fmla="*/ 46 h 191"/>
                <a:gd name="T28" fmla="*/ 46 w 191"/>
                <a:gd name="T29" fmla="*/ 30 h 191"/>
                <a:gd name="T30" fmla="*/ 68 w 191"/>
                <a:gd name="T31" fmla="*/ 20 h 191"/>
                <a:gd name="T32" fmla="*/ 116 w 191"/>
                <a:gd name="T33" fmla="*/ 19 h 191"/>
                <a:gd name="T34" fmla="*/ 116 w 191"/>
                <a:gd name="T35" fmla="*/ 15 h 191"/>
                <a:gd name="T36" fmla="*/ 116 w 191"/>
                <a:gd name="T37" fmla="*/ 10 h 191"/>
                <a:gd name="T38" fmla="*/ 116 w 191"/>
                <a:gd name="T39" fmla="*/ 0 h 191"/>
                <a:gd name="T40" fmla="*/ 80 w 191"/>
                <a:gd name="T41" fmla="*/ 0 h 191"/>
                <a:gd name="T42" fmla="*/ 64 w 191"/>
                <a:gd name="T43" fmla="*/ 2 h 191"/>
                <a:gd name="T44" fmla="*/ 35 w 191"/>
                <a:gd name="T45" fmla="*/ 14 h 191"/>
                <a:gd name="T46" fmla="*/ 14 w 191"/>
                <a:gd name="T47" fmla="*/ 35 h 191"/>
                <a:gd name="T48" fmla="*/ 2 w 191"/>
                <a:gd name="T49" fmla="*/ 63 h 191"/>
                <a:gd name="T50" fmla="*/ 0 w 191"/>
                <a:gd name="T51" fmla="*/ 80 h 191"/>
                <a:gd name="T52" fmla="*/ 2 w 191"/>
                <a:gd name="T53" fmla="*/ 88 h 191"/>
                <a:gd name="T54" fmla="*/ 7 w 191"/>
                <a:gd name="T55" fmla="*/ 110 h 191"/>
                <a:gd name="T56" fmla="*/ 23 w 191"/>
                <a:gd name="T57" fmla="*/ 136 h 191"/>
                <a:gd name="T58" fmla="*/ 49 w 191"/>
                <a:gd name="T59" fmla="*/ 152 h 191"/>
                <a:gd name="T60" fmla="*/ 72 w 191"/>
                <a:gd name="T61" fmla="*/ 157 h 191"/>
                <a:gd name="T62" fmla="*/ 159 w 191"/>
                <a:gd name="T63" fmla="*/ 159 h 191"/>
                <a:gd name="T64" fmla="*/ 143 w 191"/>
                <a:gd name="T65" fmla="*/ 175 h 191"/>
                <a:gd name="T66" fmla="*/ 140 w 191"/>
                <a:gd name="T67" fmla="*/ 182 h 191"/>
                <a:gd name="T68" fmla="*/ 140 w 191"/>
                <a:gd name="T69" fmla="*/ 184 h 191"/>
                <a:gd name="T70" fmla="*/ 143 w 191"/>
                <a:gd name="T71" fmla="*/ 188 h 191"/>
                <a:gd name="T72" fmla="*/ 149 w 191"/>
                <a:gd name="T73" fmla="*/ 191 h 191"/>
                <a:gd name="T74" fmla="*/ 152 w 191"/>
                <a:gd name="T75" fmla="*/ 190 h 191"/>
                <a:gd name="T76" fmla="*/ 188 w 191"/>
                <a:gd name="T77" fmla="*/ 156 h 191"/>
                <a:gd name="T78" fmla="*/ 190 w 191"/>
                <a:gd name="T79" fmla="*/ 152 h 191"/>
                <a:gd name="T80" fmla="*/ 191 w 191"/>
                <a:gd name="T81" fmla="*/ 149 h 191"/>
                <a:gd name="T82" fmla="*/ 190 w 191"/>
                <a:gd name="T83" fmla="*/ 145 h 191"/>
                <a:gd name="T84" fmla="*/ 188 w 191"/>
                <a:gd name="T85" fmla="*/ 143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1" h="191">
                  <a:moveTo>
                    <a:pt x="188" y="143"/>
                  </a:moveTo>
                  <a:lnTo>
                    <a:pt x="156" y="110"/>
                  </a:lnTo>
                  <a:lnTo>
                    <a:pt x="156" y="110"/>
                  </a:lnTo>
                  <a:lnTo>
                    <a:pt x="152" y="108"/>
                  </a:lnTo>
                  <a:lnTo>
                    <a:pt x="149" y="108"/>
                  </a:lnTo>
                  <a:lnTo>
                    <a:pt x="145" y="108"/>
                  </a:lnTo>
                  <a:lnTo>
                    <a:pt x="143" y="110"/>
                  </a:lnTo>
                  <a:lnTo>
                    <a:pt x="143" y="110"/>
                  </a:lnTo>
                  <a:lnTo>
                    <a:pt x="140" y="113"/>
                  </a:lnTo>
                  <a:lnTo>
                    <a:pt x="140" y="117"/>
                  </a:lnTo>
                  <a:lnTo>
                    <a:pt x="140" y="117"/>
                  </a:lnTo>
                  <a:lnTo>
                    <a:pt x="140" y="121"/>
                  </a:lnTo>
                  <a:lnTo>
                    <a:pt x="143" y="124"/>
                  </a:lnTo>
                  <a:lnTo>
                    <a:pt x="159" y="140"/>
                  </a:lnTo>
                  <a:lnTo>
                    <a:pt x="80" y="140"/>
                  </a:lnTo>
                  <a:lnTo>
                    <a:pt x="80" y="140"/>
                  </a:lnTo>
                  <a:lnTo>
                    <a:pt x="68" y="139"/>
                  </a:lnTo>
                  <a:lnTo>
                    <a:pt x="57" y="135"/>
                  </a:lnTo>
                  <a:lnTo>
                    <a:pt x="46" y="129"/>
                  </a:lnTo>
                  <a:lnTo>
                    <a:pt x="37" y="122"/>
                  </a:lnTo>
                  <a:lnTo>
                    <a:pt x="30" y="113"/>
                  </a:lnTo>
                  <a:lnTo>
                    <a:pt x="25" y="102"/>
                  </a:lnTo>
                  <a:lnTo>
                    <a:pt x="21" y="92"/>
                  </a:lnTo>
                  <a:lnTo>
                    <a:pt x="19" y="80"/>
                  </a:lnTo>
                  <a:lnTo>
                    <a:pt x="19" y="80"/>
                  </a:lnTo>
                  <a:lnTo>
                    <a:pt x="21" y="67"/>
                  </a:lnTo>
                  <a:lnTo>
                    <a:pt x="25" y="57"/>
                  </a:lnTo>
                  <a:lnTo>
                    <a:pt x="30" y="46"/>
                  </a:lnTo>
                  <a:lnTo>
                    <a:pt x="37" y="37"/>
                  </a:lnTo>
                  <a:lnTo>
                    <a:pt x="46" y="30"/>
                  </a:lnTo>
                  <a:lnTo>
                    <a:pt x="57" y="24"/>
                  </a:lnTo>
                  <a:lnTo>
                    <a:pt x="68" y="20"/>
                  </a:lnTo>
                  <a:lnTo>
                    <a:pt x="80" y="19"/>
                  </a:lnTo>
                  <a:lnTo>
                    <a:pt x="116" y="19"/>
                  </a:lnTo>
                  <a:lnTo>
                    <a:pt x="116" y="15"/>
                  </a:lnTo>
                  <a:lnTo>
                    <a:pt x="116" y="15"/>
                  </a:lnTo>
                  <a:lnTo>
                    <a:pt x="116" y="10"/>
                  </a:lnTo>
                  <a:lnTo>
                    <a:pt x="116" y="10"/>
                  </a:lnTo>
                  <a:lnTo>
                    <a:pt x="116" y="6"/>
                  </a:lnTo>
                  <a:lnTo>
                    <a:pt x="116" y="0"/>
                  </a:lnTo>
                  <a:lnTo>
                    <a:pt x="80" y="0"/>
                  </a:lnTo>
                  <a:lnTo>
                    <a:pt x="80" y="0"/>
                  </a:lnTo>
                  <a:lnTo>
                    <a:pt x="72" y="2"/>
                  </a:lnTo>
                  <a:lnTo>
                    <a:pt x="64" y="2"/>
                  </a:lnTo>
                  <a:lnTo>
                    <a:pt x="49" y="7"/>
                  </a:lnTo>
                  <a:lnTo>
                    <a:pt x="35" y="14"/>
                  </a:lnTo>
                  <a:lnTo>
                    <a:pt x="23" y="23"/>
                  </a:lnTo>
                  <a:lnTo>
                    <a:pt x="14" y="35"/>
                  </a:lnTo>
                  <a:lnTo>
                    <a:pt x="7" y="49"/>
                  </a:lnTo>
                  <a:lnTo>
                    <a:pt x="2" y="63"/>
                  </a:lnTo>
                  <a:lnTo>
                    <a:pt x="2" y="71"/>
                  </a:lnTo>
                  <a:lnTo>
                    <a:pt x="0" y="80"/>
                  </a:lnTo>
                  <a:lnTo>
                    <a:pt x="0" y="80"/>
                  </a:lnTo>
                  <a:lnTo>
                    <a:pt x="2" y="88"/>
                  </a:lnTo>
                  <a:lnTo>
                    <a:pt x="2" y="96"/>
                  </a:lnTo>
                  <a:lnTo>
                    <a:pt x="7" y="110"/>
                  </a:lnTo>
                  <a:lnTo>
                    <a:pt x="14" y="124"/>
                  </a:lnTo>
                  <a:lnTo>
                    <a:pt x="23" y="136"/>
                  </a:lnTo>
                  <a:lnTo>
                    <a:pt x="35" y="145"/>
                  </a:lnTo>
                  <a:lnTo>
                    <a:pt x="49" y="152"/>
                  </a:lnTo>
                  <a:lnTo>
                    <a:pt x="64" y="157"/>
                  </a:lnTo>
                  <a:lnTo>
                    <a:pt x="72" y="157"/>
                  </a:lnTo>
                  <a:lnTo>
                    <a:pt x="80" y="159"/>
                  </a:lnTo>
                  <a:lnTo>
                    <a:pt x="159" y="159"/>
                  </a:lnTo>
                  <a:lnTo>
                    <a:pt x="143" y="175"/>
                  </a:lnTo>
                  <a:lnTo>
                    <a:pt x="143" y="175"/>
                  </a:lnTo>
                  <a:lnTo>
                    <a:pt x="140" y="178"/>
                  </a:lnTo>
                  <a:lnTo>
                    <a:pt x="140" y="182"/>
                  </a:lnTo>
                  <a:lnTo>
                    <a:pt x="140" y="182"/>
                  </a:lnTo>
                  <a:lnTo>
                    <a:pt x="140" y="184"/>
                  </a:lnTo>
                  <a:lnTo>
                    <a:pt x="143" y="188"/>
                  </a:lnTo>
                  <a:lnTo>
                    <a:pt x="143" y="188"/>
                  </a:lnTo>
                  <a:lnTo>
                    <a:pt x="145" y="190"/>
                  </a:lnTo>
                  <a:lnTo>
                    <a:pt x="149" y="191"/>
                  </a:lnTo>
                  <a:lnTo>
                    <a:pt x="149" y="191"/>
                  </a:lnTo>
                  <a:lnTo>
                    <a:pt x="152" y="190"/>
                  </a:lnTo>
                  <a:lnTo>
                    <a:pt x="156" y="188"/>
                  </a:lnTo>
                  <a:lnTo>
                    <a:pt x="188" y="156"/>
                  </a:lnTo>
                  <a:lnTo>
                    <a:pt x="188" y="156"/>
                  </a:lnTo>
                  <a:lnTo>
                    <a:pt x="190" y="152"/>
                  </a:lnTo>
                  <a:lnTo>
                    <a:pt x="190" y="152"/>
                  </a:lnTo>
                  <a:lnTo>
                    <a:pt x="191" y="149"/>
                  </a:lnTo>
                  <a:lnTo>
                    <a:pt x="190" y="145"/>
                  </a:lnTo>
                  <a:lnTo>
                    <a:pt x="190" y="145"/>
                  </a:lnTo>
                  <a:lnTo>
                    <a:pt x="188" y="143"/>
                  </a:lnTo>
                  <a:lnTo>
                    <a:pt x="188" y="1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108">
              <a:extLst>
                <a:ext uri="{FF2B5EF4-FFF2-40B4-BE49-F238E27FC236}">
                  <a16:creationId xmlns:a16="http://schemas.microsoft.com/office/drawing/2014/main" id="{2860FCAD-1B48-48E2-99D1-592257808EBD}"/>
                </a:ext>
              </a:extLst>
            </p:cNvPr>
            <p:cNvSpPr>
              <a:spLocks/>
            </p:cNvSpPr>
            <p:nvPr/>
          </p:nvSpPr>
          <p:spPr bwMode="auto">
            <a:xfrm>
              <a:off x="6964363" y="1793875"/>
              <a:ext cx="141288" cy="123825"/>
            </a:xfrm>
            <a:custGeom>
              <a:avLst/>
              <a:gdLst>
                <a:gd name="T0" fmla="*/ 99 w 178"/>
                <a:gd name="T1" fmla="*/ 0 h 157"/>
                <a:gd name="T2" fmla="*/ 9 w 178"/>
                <a:gd name="T3" fmla="*/ 0 h 157"/>
                <a:gd name="T4" fmla="*/ 9 w 178"/>
                <a:gd name="T5" fmla="*/ 0 h 157"/>
                <a:gd name="T6" fmla="*/ 5 w 178"/>
                <a:gd name="T7" fmla="*/ 0 h 157"/>
                <a:gd name="T8" fmla="*/ 2 w 178"/>
                <a:gd name="T9" fmla="*/ 3 h 157"/>
                <a:gd name="T10" fmla="*/ 0 w 178"/>
                <a:gd name="T11" fmla="*/ 5 h 157"/>
                <a:gd name="T12" fmla="*/ 0 w 178"/>
                <a:gd name="T13" fmla="*/ 9 h 157"/>
                <a:gd name="T14" fmla="*/ 0 w 178"/>
                <a:gd name="T15" fmla="*/ 9 h 157"/>
                <a:gd name="T16" fmla="*/ 0 w 178"/>
                <a:gd name="T17" fmla="*/ 12 h 157"/>
                <a:gd name="T18" fmla="*/ 2 w 178"/>
                <a:gd name="T19" fmla="*/ 16 h 157"/>
                <a:gd name="T20" fmla="*/ 5 w 178"/>
                <a:gd name="T21" fmla="*/ 17 h 157"/>
                <a:gd name="T22" fmla="*/ 9 w 178"/>
                <a:gd name="T23" fmla="*/ 19 h 157"/>
                <a:gd name="T24" fmla="*/ 99 w 178"/>
                <a:gd name="T25" fmla="*/ 19 h 157"/>
                <a:gd name="T26" fmla="*/ 99 w 178"/>
                <a:gd name="T27" fmla="*/ 19 h 157"/>
                <a:gd name="T28" fmla="*/ 111 w 178"/>
                <a:gd name="T29" fmla="*/ 20 h 157"/>
                <a:gd name="T30" fmla="*/ 123 w 178"/>
                <a:gd name="T31" fmla="*/ 23 h 157"/>
                <a:gd name="T32" fmla="*/ 132 w 178"/>
                <a:gd name="T33" fmla="*/ 28 h 157"/>
                <a:gd name="T34" fmla="*/ 142 w 178"/>
                <a:gd name="T35" fmla="*/ 36 h 157"/>
                <a:gd name="T36" fmla="*/ 150 w 178"/>
                <a:gd name="T37" fmla="*/ 44 h 157"/>
                <a:gd name="T38" fmla="*/ 155 w 178"/>
                <a:gd name="T39" fmla="*/ 55 h 157"/>
                <a:gd name="T40" fmla="*/ 158 w 178"/>
                <a:gd name="T41" fmla="*/ 66 h 157"/>
                <a:gd name="T42" fmla="*/ 159 w 178"/>
                <a:gd name="T43" fmla="*/ 78 h 157"/>
                <a:gd name="T44" fmla="*/ 159 w 178"/>
                <a:gd name="T45" fmla="*/ 78 h 157"/>
                <a:gd name="T46" fmla="*/ 158 w 178"/>
                <a:gd name="T47" fmla="*/ 90 h 157"/>
                <a:gd name="T48" fmla="*/ 155 w 178"/>
                <a:gd name="T49" fmla="*/ 102 h 157"/>
                <a:gd name="T50" fmla="*/ 150 w 178"/>
                <a:gd name="T51" fmla="*/ 111 h 157"/>
                <a:gd name="T52" fmla="*/ 142 w 178"/>
                <a:gd name="T53" fmla="*/ 121 h 157"/>
                <a:gd name="T54" fmla="*/ 132 w 178"/>
                <a:gd name="T55" fmla="*/ 129 h 157"/>
                <a:gd name="T56" fmla="*/ 123 w 178"/>
                <a:gd name="T57" fmla="*/ 134 h 157"/>
                <a:gd name="T58" fmla="*/ 111 w 178"/>
                <a:gd name="T59" fmla="*/ 137 h 157"/>
                <a:gd name="T60" fmla="*/ 99 w 178"/>
                <a:gd name="T61" fmla="*/ 138 h 157"/>
                <a:gd name="T62" fmla="*/ 63 w 178"/>
                <a:gd name="T63" fmla="*/ 138 h 157"/>
                <a:gd name="T64" fmla="*/ 63 w 178"/>
                <a:gd name="T65" fmla="*/ 144 h 157"/>
                <a:gd name="T66" fmla="*/ 63 w 178"/>
                <a:gd name="T67" fmla="*/ 144 h 157"/>
                <a:gd name="T68" fmla="*/ 64 w 178"/>
                <a:gd name="T69" fmla="*/ 148 h 157"/>
                <a:gd name="T70" fmla="*/ 64 w 178"/>
                <a:gd name="T71" fmla="*/ 148 h 157"/>
                <a:gd name="T72" fmla="*/ 63 w 178"/>
                <a:gd name="T73" fmla="*/ 153 h 157"/>
                <a:gd name="T74" fmla="*/ 63 w 178"/>
                <a:gd name="T75" fmla="*/ 157 h 157"/>
                <a:gd name="T76" fmla="*/ 99 w 178"/>
                <a:gd name="T77" fmla="*/ 157 h 157"/>
                <a:gd name="T78" fmla="*/ 99 w 178"/>
                <a:gd name="T79" fmla="*/ 157 h 157"/>
                <a:gd name="T80" fmla="*/ 107 w 178"/>
                <a:gd name="T81" fmla="*/ 157 h 157"/>
                <a:gd name="T82" fmla="*/ 115 w 178"/>
                <a:gd name="T83" fmla="*/ 156 h 157"/>
                <a:gd name="T84" fmla="*/ 130 w 178"/>
                <a:gd name="T85" fmla="*/ 152 h 157"/>
                <a:gd name="T86" fmla="*/ 143 w 178"/>
                <a:gd name="T87" fmla="*/ 144 h 157"/>
                <a:gd name="T88" fmla="*/ 155 w 178"/>
                <a:gd name="T89" fmla="*/ 134 h 157"/>
                <a:gd name="T90" fmla="*/ 165 w 178"/>
                <a:gd name="T91" fmla="*/ 122 h 157"/>
                <a:gd name="T92" fmla="*/ 173 w 178"/>
                <a:gd name="T93" fmla="*/ 109 h 157"/>
                <a:gd name="T94" fmla="*/ 177 w 178"/>
                <a:gd name="T95" fmla="*/ 94 h 157"/>
                <a:gd name="T96" fmla="*/ 178 w 178"/>
                <a:gd name="T97" fmla="*/ 86 h 157"/>
                <a:gd name="T98" fmla="*/ 178 w 178"/>
                <a:gd name="T99" fmla="*/ 78 h 157"/>
                <a:gd name="T100" fmla="*/ 178 w 178"/>
                <a:gd name="T101" fmla="*/ 78 h 157"/>
                <a:gd name="T102" fmla="*/ 178 w 178"/>
                <a:gd name="T103" fmla="*/ 70 h 157"/>
                <a:gd name="T104" fmla="*/ 177 w 178"/>
                <a:gd name="T105" fmla="*/ 63 h 157"/>
                <a:gd name="T106" fmla="*/ 173 w 178"/>
                <a:gd name="T107" fmla="*/ 48 h 157"/>
                <a:gd name="T108" fmla="*/ 165 w 178"/>
                <a:gd name="T109" fmla="*/ 35 h 157"/>
                <a:gd name="T110" fmla="*/ 155 w 178"/>
                <a:gd name="T111" fmla="*/ 23 h 157"/>
                <a:gd name="T112" fmla="*/ 143 w 178"/>
                <a:gd name="T113" fmla="*/ 13 h 157"/>
                <a:gd name="T114" fmla="*/ 130 w 178"/>
                <a:gd name="T115" fmla="*/ 5 h 157"/>
                <a:gd name="T116" fmla="*/ 115 w 178"/>
                <a:gd name="T117" fmla="*/ 1 h 157"/>
                <a:gd name="T118" fmla="*/ 107 w 178"/>
                <a:gd name="T119" fmla="*/ 0 h 157"/>
                <a:gd name="T120" fmla="*/ 99 w 178"/>
                <a:gd name="T121" fmla="*/ 0 h 157"/>
                <a:gd name="T122" fmla="*/ 99 w 178"/>
                <a:gd name="T123"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8" h="157">
                  <a:moveTo>
                    <a:pt x="99" y="0"/>
                  </a:moveTo>
                  <a:lnTo>
                    <a:pt x="9" y="0"/>
                  </a:lnTo>
                  <a:lnTo>
                    <a:pt x="9" y="0"/>
                  </a:lnTo>
                  <a:lnTo>
                    <a:pt x="5" y="0"/>
                  </a:lnTo>
                  <a:lnTo>
                    <a:pt x="2" y="3"/>
                  </a:lnTo>
                  <a:lnTo>
                    <a:pt x="0" y="5"/>
                  </a:lnTo>
                  <a:lnTo>
                    <a:pt x="0" y="9"/>
                  </a:lnTo>
                  <a:lnTo>
                    <a:pt x="0" y="9"/>
                  </a:lnTo>
                  <a:lnTo>
                    <a:pt x="0" y="12"/>
                  </a:lnTo>
                  <a:lnTo>
                    <a:pt x="2" y="16"/>
                  </a:lnTo>
                  <a:lnTo>
                    <a:pt x="5" y="17"/>
                  </a:lnTo>
                  <a:lnTo>
                    <a:pt x="9" y="19"/>
                  </a:lnTo>
                  <a:lnTo>
                    <a:pt x="99" y="19"/>
                  </a:lnTo>
                  <a:lnTo>
                    <a:pt x="99" y="19"/>
                  </a:lnTo>
                  <a:lnTo>
                    <a:pt x="111" y="20"/>
                  </a:lnTo>
                  <a:lnTo>
                    <a:pt x="123" y="23"/>
                  </a:lnTo>
                  <a:lnTo>
                    <a:pt x="132" y="28"/>
                  </a:lnTo>
                  <a:lnTo>
                    <a:pt x="142" y="36"/>
                  </a:lnTo>
                  <a:lnTo>
                    <a:pt x="150" y="44"/>
                  </a:lnTo>
                  <a:lnTo>
                    <a:pt x="155" y="55"/>
                  </a:lnTo>
                  <a:lnTo>
                    <a:pt x="158" y="66"/>
                  </a:lnTo>
                  <a:lnTo>
                    <a:pt x="159" y="78"/>
                  </a:lnTo>
                  <a:lnTo>
                    <a:pt x="159" y="78"/>
                  </a:lnTo>
                  <a:lnTo>
                    <a:pt x="158" y="90"/>
                  </a:lnTo>
                  <a:lnTo>
                    <a:pt x="155" y="102"/>
                  </a:lnTo>
                  <a:lnTo>
                    <a:pt x="150" y="111"/>
                  </a:lnTo>
                  <a:lnTo>
                    <a:pt x="142" y="121"/>
                  </a:lnTo>
                  <a:lnTo>
                    <a:pt x="132" y="129"/>
                  </a:lnTo>
                  <a:lnTo>
                    <a:pt x="123" y="134"/>
                  </a:lnTo>
                  <a:lnTo>
                    <a:pt x="111" y="137"/>
                  </a:lnTo>
                  <a:lnTo>
                    <a:pt x="99" y="138"/>
                  </a:lnTo>
                  <a:lnTo>
                    <a:pt x="63" y="138"/>
                  </a:lnTo>
                  <a:lnTo>
                    <a:pt x="63" y="144"/>
                  </a:lnTo>
                  <a:lnTo>
                    <a:pt x="63" y="144"/>
                  </a:lnTo>
                  <a:lnTo>
                    <a:pt x="64" y="148"/>
                  </a:lnTo>
                  <a:lnTo>
                    <a:pt x="64" y="148"/>
                  </a:lnTo>
                  <a:lnTo>
                    <a:pt x="63" y="153"/>
                  </a:lnTo>
                  <a:lnTo>
                    <a:pt x="63" y="157"/>
                  </a:lnTo>
                  <a:lnTo>
                    <a:pt x="99" y="157"/>
                  </a:lnTo>
                  <a:lnTo>
                    <a:pt x="99" y="157"/>
                  </a:lnTo>
                  <a:lnTo>
                    <a:pt x="107" y="157"/>
                  </a:lnTo>
                  <a:lnTo>
                    <a:pt x="115" y="156"/>
                  </a:lnTo>
                  <a:lnTo>
                    <a:pt x="130" y="152"/>
                  </a:lnTo>
                  <a:lnTo>
                    <a:pt x="143" y="144"/>
                  </a:lnTo>
                  <a:lnTo>
                    <a:pt x="155" y="134"/>
                  </a:lnTo>
                  <a:lnTo>
                    <a:pt x="165" y="122"/>
                  </a:lnTo>
                  <a:lnTo>
                    <a:pt x="173" y="109"/>
                  </a:lnTo>
                  <a:lnTo>
                    <a:pt x="177" y="94"/>
                  </a:lnTo>
                  <a:lnTo>
                    <a:pt x="178" y="86"/>
                  </a:lnTo>
                  <a:lnTo>
                    <a:pt x="178" y="78"/>
                  </a:lnTo>
                  <a:lnTo>
                    <a:pt x="178" y="78"/>
                  </a:lnTo>
                  <a:lnTo>
                    <a:pt x="178" y="70"/>
                  </a:lnTo>
                  <a:lnTo>
                    <a:pt x="177" y="63"/>
                  </a:lnTo>
                  <a:lnTo>
                    <a:pt x="173" y="48"/>
                  </a:lnTo>
                  <a:lnTo>
                    <a:pt x="165" y="35"/>
                  </a:lnTo>
                  <a:lnTo>
                    <a:pt x="155" y="23"/>
                  </a:lnTo>
                  <a:lnTo>
                    <a:pt x="143" y="13"/>
                  </a:lnTo>
                  <a:lnTo>
                    <a:pt x="130" y="5"/>
                  </a:lnTo>
                  <a:lnTo>
                    <a:pt x="115" y="1"/>
                  </a:lnTo>
                  <a:lnTo>
                    <a:pt x="107" y="0"/>
                  </a:lnTo>
                  <a:lnTo>
                    <a:pt x="99" y="0"/>
                  </a:lnTo>
                  <a:lnTo>
                    <a:pt x="9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37" name="Freeform 19">
            <a:extLst>
              <a:ext uri="{FF2B5EF4-FFF2-40B4-BE49-F238E27FC236}">
                <a16:creationId xmlns:a16="http://schemas.microsoft.com/office/drawing/2014/main" id="{83A8459C-5C21-4E51-B0A5-28CF432A7038}"/>
              </a:ext>
            </a:extLst>
          </p:cNvPr>
          <p:cNvSpPr>
            <a:spLocks noEditPoints="1"/>
          </p:cNvSpPr>
          <p:nvPr/>
        </p:nvSpPr>
        <p:spPr bwMode="auto">
          <a:xfrm>
            <a:off x="2935549" y="2128656"/>
            <a:ext cx="762455" cy="764771"/>
          </a:xfrm>
          <a:custGeom>
            <a:avLst/>
            <a:gdLst>
              <a:gd name="T0" fmla="*/ 313 w 659"/>
              <a:gd name="T1" fmla="*/ 659 h 659"/>
              <a:gd name="T2" fmla="*/ 264 w 659"/>
              <a:gd name="T3" fmla="*/ 652 h 659"/>
              <a:gd name="T4" fmla="*/ 202 w 659"/>
              <a:gd name="T5" fmla="*/ 634 h 659"/>
              <a:gd name="T6" fmla="*/ 121 w 659"/>
              <a:gd name="T7" fmla="*/ 584 h 659"/>
              <a:gd name="T8" fmla="*/ 57 w 659"/>
              <a:gd name="T9" fmla="*/ 514 h 659"/>
              <a:gd name="T10" fmla="*/ 15 w 659"/>
              <a:gd name="T11" fmla="*/ 428 h 659"/>
              <a:gd name="T12" fmla="*/ 4 w 659"/>
              <a:gd name="T13" fmla="*/ 380 h 659"/>
              <a:gd name="T14" fmla="*/ 0 w 659"/>
              <a:gd name="T15" fmla="*/ 330 h 659"/>
              <a:gd name="T16" fmla="*/ 3 w 659"/>
              <a:gd name="T17" fmla="*/ 296 h 659"/>
              <a:gd name="T18" fmla="*/ 11 w 659"/>
              <a:gd name="T19" fmla="*/ 248 h 659"/>
              <a:gd name="T20" fmla="*/ 41 w 659"/>
              <a:gd name="T21" fmla="*/ 174 h 659"/>
              <a:gd name="T22" fmla="*/ 97 w 659"/>
              <a:gd name="T23" fmla="*/ 97 h 659"/>
              <a:gd name="T24" fmla="*/ 174 w 659"/>
              <a:gd name="T25" fmla="*/ 41 h 659"/>
              <a:gd name="T26" fmla="*/ 248 w 659"/>
              <a:gd name="T27" fmla="*/ 11 h 659"/>
              <a:gd name="T28" fmla="*/ 296 w 659"/>
              <a:gd name="T29" fmla="*/ 3 h 659"/>
              <a:gd name="T30" fmla="*/ 330 w 659"/>
              <a:gd name="T31" fmla="*/ 0 h 659"/>
              <a:gd name="T32" fmla="*/ 379 w 659"/>
              <a:gd name="T33" fmla="*/ 5 h 659"/>
              <a:gd name="T34" fmla="*/ 428 w 659"/>
              <a:gd name="T35" fmla="*/ 15 h 659"/>
              <a:gd name="T36" fmla="*/ 514 w 659"/>
              <a:gd name="T37" fmla="*/ 57 h 659"/>
              <a:gd name="T38" fmla="*/ 584 w 659"/>
              <a:gd name="T39" fmla="*/ 121 h 659"/>
              <a:gd name="T40" fmla="*/ 633 w 659"/>
              <a:gd name="T41" fmla="*/ 202 h 659"/>
              <a:gd name="T42" fmla="*/ 652 w 659"/>
              <a:gd name="T43" fmla="*/ 264 h 659"/>
              <a:gd name="T44" fmla="*/ 659 w 659"/>
              <a:gd name="T45" fmla="*/ 314 h 659"/>
              <a:gd name="T46" fmla="*/ 659 w 659"/>
              <a:gd name="T47" fmla="*/ 347 h 659"/>
              <a:gd name="T48" fmla="*/ 652 w 659"/>
              <a:gd name="T49" fmla="*/ 396 h 659"/>
              <a:gd name="T50" fmla="*/ 633 w 659"/>
              <a:gd name="T51" fmla="*/ 457 h 659"/>
              <a:gd name="T52" fmla="*/ 584 w 659"/>
              <a:gd name="T53" fmla="*/ 539 h 659"/>
              <a:gd name="T54" fmla="*/ 514 w 659"/>
              <a:gd name="T55" fmla="*/ 603 h 659"/>
              <a:gd name="T56" fmla="*/ 428 w 659"/>
              <a:gd name="T57" fmla="*/ 644 h 659"/>
              <a:gd name="T58" fmla="*/ 379 w 659"/>
              <a:gd name="T59" fmla="*/ 655 h 659"/>
              <a:gd name="T60" fmla="*/ 330 w 659"/>
              <a:gd name="T61" fmla="*/ 659 h 659"/>
              <a:gd name="T62" fmla="*/ 330 w 659"/>
              <a:gd name="T63" fmla="*/ 38 h 659"/>
              <a:gd name="T64" fmla="*/ 243 w 659"/>
              <a:gd name="T65" fmla="*/ 52 h 659"/>
              <a:gd name="T66" fmla="*/ 167 w 659"/>
              <a:gd name="T67" fmla="*/ 89 h 659"/>
              <a:gd name="T68" fmla="*/ 105 w 659"/>
              <a:gd name="T69" fmla="*/ 144 h 659"/>
              <a:gd name="T70" fmla="*/ 62 w 659"/>
              <a:gd name="T71" fmla="*/ 217 h 659"/>
              <a:gd name="T72" fmla="*/ 41 w 659"/>
              <a:gd name="T73" fmla="*/ 300 h 659"/>
              <a:gd name="T74" fmla="*/ 41 w 659"/>
              <a:gd name="T75" fmla="*/ 359 h 659"/>
              <a:gd name="T76" fmla="*/ 62 w 659"/>
              <a:gd name="T77" fmla="*/ 443 h 659"/>
              <a:gd name="T78" fmla="*/ 105 w 659"/>
              <a:gd name="T79" fmla="*/ 515 h 659"/>
              <a:gd name="T80" fmla="*/ 167 w 659"/>
              <a:gd name="T81" fmla="*/ 572 h 659"/>
              <a:gd name="T82" fmla="*/ 243 w 659"/>
              <a:gd name="T83" fmla="*/ 608 h 659"/>
              <a:gd name="T84" fmla="*/ 330 w 659"/>
              <a:gd name="T85" fmla="*/ 621 h 659"/>
              <a:gd name="T86" fmla="*/ 389 w 659"/>
              <a:gd name="T87" fmla="*/ 616 h 659"/>
              <a:gd name="T88" fmla="*/ 468 w 659"/>
              <a:gd name="T89" fmla="*/ 586 h 659"/>
              <a:gd name="T90" fmla="*/ 535 w 659"/>
              <a:gd name="T91" fmla="*/ 535 h 659"/>
              <a:gd name="T92" fmla="*/ 586 w 659"/>
              <a:gd name="T93" fmla="*/ 468 h 659"/>
              <a:gd name="T94" fmla="*/ 616 w 659"/>
              <a:gd name="T95" fmla="*/ 389 h 659"/>
              <a:gd name="T96" fmla="*/ 621 w 659"/>
              <a:gd name="T97" fmla="*/ 330 h 659"/>
              <a:gd name="T98" fmla="*/ 608 w 659"/>
              <a:gd name="T99" fmla="*/ 244 h 659"/>
              <a:gd name="T100" fmla="*/ 571 w 659"/>
              <a:gd name="T101" fmla="*/ 167 h 659"/>
              <a:gd name="T102" fmla="*/ 515 w 659"/>
              <a:gd name="T103" fmla="*/ 105 h 659"/>
              <a:gd name="T104" fmla="*/ 444 w 659"/>
              <a:gd name="T105" fmla="*/ 62 h 659"/>
              <a:gd name="T106" fmla="*/ 359 w 659"/>
              <a:gd name="T107" fmla="*/ 41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9">
                <a:moveTo>
                  <a:pt x="330" y="659"/>
                </a:moveTo>
                <a:lnTo>
                  <a:pt x="330" y="659"/>
                </a:lnTo>
                <a:lnTo>
                  <a:pt x="313" y="659"/>
                </a:lnTo>
                <a:lnTo>
                  <a:pt x="296" y="658"/>
                </a:lnTo>
                <a:lnTo>
                  <a:pt x="280" y="655"/>
                </a:lnTo>
                <a:lnTo>
                  <a:pt x="264" y="652"/>
                </a:lnTo>
                <a:lnTo>
                  <a:pt x="248" y="648"/>
                </a:lnTo>
                <a:lnTo>
                  <a:pt x="233" y="644"/>
                </a:lnTo>
                <a:lnTo>
                  <a:pt x="202" y="634"/>
                </a:lnTo>
                <a:lnTo>
                  <a:pt x="174" y="619"/>
                </a:lnTo>
                <a:lnTo>
                  <a:pt x="145" y="603"/>
                </a:lnTo>
                <a:lnTo>
                  <a:pt x="121" y="584"/>
                </a:lnTo>
                <a:lnTo>
                  <a:pt x="97" y="562"/>
                </a:lnTo>
                <a:lnTo>
                  <a:pt x="75" y="539"/>
                </a:lnTo>
                <a:lnTo>
                  <a:pt x="57" y="514"/>
                </a:lnTo>
                <a:lnTo>
                  <a:pt x="41" y="487"/>
                </a:lnTo>
                <a:lnTo>
                  <a:pt x="27" y="457"/>
                </a:lnTo>
                <a:lnTo>
                  <a:pt x="15" y="428"/>
                </a:lnTo>
                <a:lnTo>
                  <a:pt x="11" y="412"/>
                </a:lnTo>
                <a:lnTo>
                  <a:pt x="7" y="396"/>
                </a:lnTo>
                <a:lnTo>
                  <a:pt x="4" y="380"/>
                </a:lnTo>
                <a:lnTo>
                  <a:pt x="3" y="363"/>
                </a:lnTo>
                <a:lnTo>
                  <a:pt x="2" y="347"/>
                </a:lnTo>
                <a:lnTo>
                  <a:pt x="0" y="330"/>
                </a:lnTo>
                <a:lnTo>
                  <a:pt x="0" y="330"/>
                </a:lnTo>
                <a:lnTo>
                  <a:pt x="2" y="314"/>
                </a:lnTo>
                <a:lnTo>
                  <a:pt x="3" y="296"/>
                </a:lnTo>
                <a:lnTo>
                  <a:pt x="4" y="280"/>
                </a:lnTo>
                <a:lnTo>
                  <a:pt x="7" y="264"/>
                </a:lnTo>
                <a:lnTo>
                  <a:pt x="11" y="248"/>
                </a:lnTo>
                <a:lnTo>
                  <a:pt x="15" y="233"/>
                </a:lnTo>
                <a:lnTo>
                  <a:pt x="27" y="202"/>
                </a:lnTo>
                <a:lnTo>
                  <a:pt x="41" y="174"/>
                </a:lnTo>
                <a:lnTo>
                  <a:pt x="57" y="146"/>
                </a:lnTo>
                <a:lnTo>
                  <a:pt x="75" y="121"/>
                </a:lnTo>
                <a:lnTo>
                  <a:pt x="97" y="97"/>
                </a:lnTo>
                <a:lnTo>
                  <a:pt x="121" y="76"/>
                </a:lnTo>
                <a:lnTo>
                  <a:pt x="145" y="57"/>
                </a:lnTo>
                <a:lnTo>
                  <a:pt x="174" y="41"/>
                </a:lnTo>
                <a:lnTo>
                  <a:pt x="202" y="27"/>
                </a:lnTo>
                <a:lnTo>
                  <a:pt x="233" y="15"/>
                </a:lnTo>
                <a:lnTo>
                  <a:pt x="248" y="11"/>
                </a:lnTo>
                <a:lnTo>
                  <a:pt x="264" y="7"/>
                </a:lnTo>
                <a:lnTo>
                  <a:pt x="280" y="5"/>
                </a:lnTo>
                <a:lnTo>
                  <a:pt x="296" y="3"/>
                </a:lnTo>
                <a:lnTo>
                  <a:pt x="313" y="2"/>
                </a:lnTo>
                <a:lnTo>
                  <a:pt x="330" y="0"/>
                </a:lnTo>
                <a:lnTo>
                  <a:pt x="330" y="0"/>
                </a:lnTo>
                <a:lnTo>
                  <a:pt x="347" y="2"/>
                </a:lnTo>
                <a:lnTo>
                  <a:pt x="363" y="3"/>
                </a:lnTo>
                <a:lnTo>
                  <a:pt x="379" y="5"/>
                </a:lnTo>
                <a:lnTo>
                  <a:pt x="395" y="7"/>
                </a:lnTo>
                <a:lnTo>
                  <a:pt x="411" y="11"/>
                </a:lnTo>
                <a:lnTo>
                  <a:pt x="428" y="15"/>
                </a:lnTo>
                <a:lnTo>
                  <a:pt x="457" y="27"/>
                </a:lnTo>
                <a:lnTo>
                  <a:pt x="487" y="41"/>
                </a:lnTo>
                <a:lnTo>
                  <a:pt x="514" y="57"/>
                </a:lnTo>
                <a:lnTo>
                  <a:pt x="539" y="76"/>
                </a:lnTo>
                <a:lnTo>
                  <a:pt x="562" y="97"/>
                </a:lnTo>
                <a:lnTo>
                  <a:pt x="584" y="121"/>
                </a:lnTo>
                <a:lnTo>
                  <a:pt x="602" y="146"/>
                </a:lnTo>
                <a:lnTo>
                  <a:pt x="618" y="174"/>
                </a:lnTo>
                <a:lnTo>
                  <a:pt x="633" y="202"/>
                </a:lnTo>
                <a:lnTo>
                  <a:pt x="644" y="233"/>
                </a:lnTo>
                <a:lnTo>
                  <a:pt x="648" y="248"/>
                </a:lnTo>
                <a:lnTo>
                  <a:pt x="652" y="264"/>
                </a:lnTo>
                <a:lnTo>
                  <a:pt x="655" y="280"/>
                </a:lnTo>
                <a:lnTo>
                  <a:pt x="657" y="296"/>
                </a:lnTo>
                <a:lnTo>
                  <a:pt x="659" y="314"/>
                </a:lnTo>
                <a:lnTo>
                  <a:pt x="659" y="330"/>
                </a:lnTo>
                <a:lnTo>
                  <a:pt x="659" y="330"/>
                </a:lnTo>
                <a:lnTo>
                  <a:pt x="659" y="347"/>
                </a:lnTo>
                <a:lnTo>
                  <a:pt x="657" y="363"/>
                </a:lnTo>
                <a:lnTo>
                  <a:pt x="655" y="380"/>
                </a:lnTo>
                <a:lnTo>
                  <a:pt x="652" y="396"/>
                </a:lnTo>
                <a:lnTo>
                  <a:pt x="648" y="412"/>
                </a:lnTo>
                <a:lnTo>
                  <a:pt x="644" y="428"/>
                </a:lnTo>
                <a:lnTo>
                  <a:pt x="633" y="457"/>
                </a:lnTo>
                <a:lnTo>
                  <a:pt x="618" y="487"/>
                </a:lnTo>
                <a:lnTo>
                  <a:pt x="602" y="514"/>
                </a:lnTo>
                <a:lnTo>
                  <a:pt x="584" y="539"/>
                </a:lnTo>
                <a:lnTo>
                  <a:pt x="562" y="562"/>
                </a:lnTo>
                <a:lnTo>
                  <a:pt x="539" y="584"/>
                </a:lnTo>
                <a:lnTo>
                  <a:pt x="514" y="603"/>
                </a:lnTo>
                <a:lnTo>
                  <a:pt x="487" y="619"/>
                </a:lnTo>
                <a:lnTo>
                  <a:pt x="457" y="634"/>
                </a:lnTo>
                <a:lnTo>
                  <a:pt x="428" y="644"/>
                </a:lnTo>
                <a:lnTo>
                  <a:pt x="411" y="648"/>
                </a:lnTo>
                <a:lnTo>
                  <a:pt x="395" y="652"/>
                </a:lnTo>
                <a:lnTo>
                  <a:pt x="379" y="655"/>
                </a:lnTo>
                <a:lnTo>
                  <a:pt x="363" y="658"/>
                </a:lnTo>
                <a:lnTo>
                  <a:pt x="347" y="659"/>
                </a:lnTo>
                <a:lnTo>
                  <a:pt x="330" y="659"/>
                </a:lnTo>
                <a:lnTo>
                  <a:pt x="330" y="659"/>
                </a:lnTo>
                <a:close/>
                <a:moveTo>
                  <a:pt x="330" y="38"/>
                </a:moveTo>
                <a:lnTo>
                  <a:pt x="330" y="38"/>
                </a:lnTo>
                <a:lnTo>
                  <a:pt x="300" y="41"/>
                </a:lnTo>
                <a:lnTo>
                  <a:pt x="272" y="45"/>
                </a:lnTo>
                <a:lnTo>
                  <a:pt x="243" y="52"/>
                </a:lnTo>
                <a:lnTo>
                  <a:pt x="217" y="62"/>
                </a:lnTo>
                <a:lnTo>
                  <a:pt x="191" y="74"/>
                </a:lnTo>
                <a:lnTo>
                  <a:pt x="167" y="89"/>
                </a:lnTo>
                <a:lnTo>
                  <a:pt x="144" y="105"/>
                </a:lnTo>
                <a:lnTo>
                  <a:pt x="124" y="124"/>
                </a:lnTo>
                <a:lnTo>
                  <a:pt x="105" y="144"/>
                </a:lnTo>
                <a:lnTo>
                  <a:pt x="89" y="167"/>
                </a:lnTo>
                <a:lnTo>
                  <a:pt x="74" y="191"/>
                </a:lnTo>
                <a:lnTo>
                  <a:pt x="62" y="217"/>
                </a:lnTo>
                <a:lnTo>
                  <a:pt x="51" y="244"/>
                </a:lnTo>
                <a:lnTo>
                  <a:pt x="45" y="272"/>
                </a:lnTo>
                <a:lnTo>
                  <a:pt x="41" y="300"/>
                </a:lnTo>
                <a:lnTo>
                  <a:pt x="38" y="330"/>
                </a:lnTo>
                <a:lnTo>
                  <a:pt x="38" y="330"/>
                </a:lnTo>
                <a:lnTo>
                  <a:pt x="41" y="359"/>
                </a:lnTo>
                <a:lnTo>
                  <a:pt x="45" y="389"/>
                </a:lnTo>
                <a:lnTo>
                  <a:pt x="51" y="417"/>
                </a:lnTo>
                <a:lnTo>
                  <a:pt x="62" y="443"/>
                </a:lnTo>
                <a:lnTo>
                  <a:pt x="74" y="468"/>
                </a:lnTo>
                <a:lnTo>
                  <a:pt x="89" y="492"/>
                </a:lnTo>
                <a:lnTo>
                  <a:pt x="105" y="515"/>
                </a:lnTo>
                <a:lnTo>
                  <a:pt x="124" y="535"/>
                </a:lnTo>
                <a:lnTo>
                  <a:pt x="144" y="554"/>
                </a:lnTo>
                <a:lnTo>
                  <a:pt x="167" y="572"/>
                </a:lnTo>
                <a:lnTo>
                  <a:pt x="191" y="586"/>
                </a:lnTo>
                <a:lnTo>
                  <a:pt x="217" y="599"/>
                </a:lnTo>
                <a:lnTo>
                  <a:pt x="243" y="608"/>
                </a:lnTo>
                <a:lnTo>
                  <a:pt x="272" y="616"/>
                </a:lnTo>
                <a:lnTo>
                  <a:pt x="300" y="620"/>
                </a:lnTo>
                <a:lnTo>
                  <a:pt x="330" y="621"/>
                </a:lnTo>
                <a:lnTo>
                  <a:pt x="330" y="621"/>
                </a:lnTo>
                <a:lnTo>
                  <a:pt x="359" y="620"/>
                </a:lnTo>
                <a:lnTo>
                  <a:pt x="389" y="616"/>
                </a:lnTo>
                <a:lnTo>
                  <a:pt x="417" y="608"/>
                </a:lnTo>
                <a:lnTo>
                  <a:pt x="444" y="599"/>
                </a:lnTo>
                <a:lnTo>
                  <a:pt x="468" y="586"/>
                </a:lnTo>
                <a:lnTo>
                  <a:pt x="492" y="572"/>
                </a:lnTo>
                <a:lnTo>
                  <a:pt x="515" y="554"/>
                </a:lnTo>
                <a:lnTo>
                  <a:pt x="535" y="535"/>
                </a:lnTo>
                <a:lnTo>
                  <a:pt x="554" y="515"/>
                </a:lnTo>
                <a:lnTo>
                  <a:pt x="571" y="492"/>
                </a:lnTo>
                <a:lnTo>
                  <a:pt x="586" y="468"/>
                </a:lnTo>
                <a:lnTo>
                  <a:pt x="598" y="443"/>
                </a:lnTo>
                <a:lnTo>
                  <a:pt x="608" y="417"/>
                </a:lnTo>
                <a:lnTo>
                  <a:pt x="616" y="389"/>
                </a:lnTo>
                <a:lnTo>
                  <a:pt x="620" y="359"/>
                </a:lnTo>
                <a:lnTo>
                  <a:pt x="621" y="330"/>
                </a:lnTo>
                <a:lnTo>
                  <a:pt x="621" y="330"/>
                </a:lnTo>
                <a:lnTo>
                  <a:pt x="620" y="300"/>
                </a:lnTo>
                <a:lnTo>
                  <a:pt x="616" y="272"/>
                </a:lnTo>
                <a:lnTo>
                  <a:pt x="608" y="244"/>
                </a:lnTo>
                <a:lnTo>
                  <a:pt x="598" y="217"/>
                </a:lnTo>
                <a:lnTo>
                  <a:pt x="586" y="191"/>
                </a:lnTo>
                <a:lnTo>
                  <a:pt x="571" y="167"/>
                </a:lnTo>
                <a:lnTo>
                  <a:pt x="554" y="144"/>
                </a:lnTo>
                <a:lnTo>
                  <a:pt x="535" y="124"/>
                </a:lnTo>
                <a:lnTo>
                  <a:pt x="515" y="105"/>
                </a:lnTo>
                <a:lnTo>
                  <a:pt x="492" y="89"/>
                </a:lnTo>
                <a:lnTo>
                  <a:pt x="468" y="74"/>
                </a:lnTo>
                <a:lnTo>
                  <a:pt x="444" y="62"/>
                </a:lnTo>
                <a:lnTo>
                  <a:pt x="417" y="52"/>
                </a:lnTo>
                <a:lnTo>
                  <a:pt x="389" y="45"/>
                </a:lnTo>
                <a:lnTo>
                  <a:pt x="359" y="41"/>
                </a:lnTo>
                <a:lnTo>
                  <a:pt x="330" y="38"/>
                </a:lnTo>
                <a:lnTo>
                  <a:pt x="330"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38" name="Group 37">
            <a:extLst>
              <a:ext uri="{FF2B5EF4-FFF2-40B4-BE49-F238E27FC236}">
                <a16:creationId xmlns:a16="http://schemas.microsoft.com/office/drawing/2014/main" id="{39930BAB-B94A-4EDD-BBA5-61148E5B75C3}"/>
              </a:ext>
            </a:extLst>
          </p:cNvPr>
          <p:cNvGrpSpPr>
            <a:grpSpLocks noChangeAspect="1"/>
          </p:cNvGrpSpPr>
          <p:nvPr/>
        </p:nvGrpSpPr>
        <p:grpSpPr>
          <a:xfrm>
            <a:off x="7318514" y="2128656"/>
            <a:ext cx="764771" cy="764771"/>
            <a:chOff x="554038" y="3342323"/>
            <a:chExt cx="522288" cy="522288"/>
          </a:xfrm>
        </p:grpSpPr>
        <p:sp>
          <p:nvSpPr>
            <p:cNvPr id="39" name="Freeform 79">
              <a:extLst>
                <a:ext uri="{FF2B5EF4-FFF2-40B4-BE49-F238E27FC236}">
                  <a16:creationId xmlns:a16="http://schemas.microsoft.com/office/drawing/2014/main" id="{C4F84D1C-1434-48A2-98BB-2C15DF43CB28}"/>
                </a:ext>
              </a:extLst>
            </p:cNvPr>
            <p:cNvSpPr>
              <a:spLocks noEditPoints="1"/>
            </p:cNvSpPr>
            <p:nvPr/>
          </p:nvSpPr>
          <p:spPr bwMode="auto">
            <a:xfrm>
              <a:off x="554038" y="3342323"/>
              <a:ext cx="522288" cy="522288"/>
            </a:xfrm>
            <a:custGeom>
              <a:avLst/>
              <a:gdLst>
                <a:gd name="T0" fmla="*/ 312 w 659"/>
                <a:gd name="T1" fmla="*/ 658 h 659"/>
                <a:gd name="T2" fmla="*/ 262 w 659"/>
                <a:gd name="T3" fmla="*/ 652 h 659"/>
                <a:gd name="T4" fmla="*/ 202 w 659"/>
                <a:gd name="T5" fmla="*/ 632 h 659"/>
                <a:gd name="T6" fmla="*/ 120 w 659"/>
                <a:gd name="T7" fmla="*/ 584 h 659"/>
                <a:gd name="T8" fmla="*/ 56 w 659"/>
                <a:gd name="T9" fmla="*/ 514 h 659"/>
                <a:gd name="T10" fmla="*/ 15 w 659"/>
                <a:gd name="T11" fmla="*/ 428 h 659"/>
                <a:gd name="T12" fmla="*/ 4 w 659"/>
                <a:gd name="T13" fmla="*/ 379 h 659"/>
                <a:gd name="T14" fmla="*/ 0 w 659"/>
                <a:gd name="T15" fmla="*/ 330 h 659"/>
                <a:gd name="T16" fmla="*/ 1 w 659"/>
                <a:gd name="T17" fmla="*/ 296 h 659"/>
                <a:gd name="T18" fmla="*/ 11 w 659"/>
                <a:gd name="T19" fmla="*/ 248 h 659"/>
                <a:gd name="T20" fmla="*/ 40 w 659"/>
                <a:gd name="T21" fmla="*/ 172 h 659"/>
                <a:gd name="T22" fmla="*/ 97 w 659"/>
                <a:gd name="T23" fmla="*/ 97 h 659"/>
                <a:gd name="T24" fmla="*/ 172 w 659"/>
                <a:gd name="T25" fmla="*/ 41 h 659"/>
                <a:gd name="T26" fmla="*/ 247 w 659"/>
                <a:gd name="T27" fmla="*/ 11 h 659"/>
                <a:gd name="T28" fmla="*/ 296 w 659"/>
                <a:gd name="T29" fmla="*/ 2 h 659"/>
                <a:gd name="T30" fmla="*/ 329 w 659"/>
                <a:gd name="T31" fmla="*/ 0 h 659"/>
                <a:gd name="T32" fmla="*/ 379 w 659"/>
                <a:gd name="T33" fmla="*/ 4 h 659"/>
                <a:gd name="T34" fmla="*/ 426 w 659"/>
                <a:gd name="T35" fmla="*/ 15 h 659"/>
                <a:gd name="T36" fmla="*/ 513 w 659"/>
                <a:gd name="T37" fmla="*/ 57 h 659"/>
                <a:gd name="T38" fmla="*/ 583 w 659"/>
                <a:gd name="T39" fmla="*/ 120 h 659"/>
                <a:gd name="T40" fmla="*/ 632 w 659"/>
                <a:gd name="T41" fmla="*/ 202 h 659"/>
                <a:gd name="T42" fmla="*/ 652 w 659"/>
                <a:gd name="T43" fmla="*/ 264 h 659"/>
                <a:gd name="T44" fmla="*/ 657 w 659"/>
                <a:gd name="T45" fmla="*/ 312 h 659"/>
                <a:gd name="T46" fmla="*/ 657 w 659"/>
                <a:gd name="T47" fmla="*/ 347 h 659"/>
                <a:gd name="T48" fmla="*/ 652 w 659"/>
                <a:gd name="T49" fmla="*/ 396 h 659"/>
                <a:gd name="T50" fmla="*/ 632 w 659"/>
                <a:gd name="T51" fmla="*/ 457 h 659"/>
                <a:gd name="T52" fmla="*/ 583 w 659"/>
                <a:gd name="T53" fmla="*/ 539 h 659"/>
                <a:gd name="T54" fmla="*/ 513 w 659"/>
                <a:gd name="T55" fmla="*/ 603 h 659"/>
                <a:gd name="T56" fmla="*/ 426 w 659"/>
                <a:gd name="T57" fmla="*/ 644 h 659"/>
                <a:gd name="T58" fmla="*/ 379 w 659"/>
                <a:gd name="T59" fmla="*/ 655 h 659"/>
                <a:gd name="T60" fmla="*/ 329 w 659"/>
                <a:gd name="T61" fmla="*/ 659 h 659"/>
                <a:gd name="T62" fmla="*/ 329 w 659"/>
                <a:gd name="T63" fmla="*/ 38 h 659"/>
                <a:gd name="T64" fmla="*/ 242 w 659"/>
                <a:gd name="T65" fmla="*/ 51 h 659"/>
                <a:gd name="T66" fmla="*/ 167 w 659"/>
                <a:gd name="T67" fmla="*/ 88 h 659"/>
                <a:gd name="T68" fmla="*/ 105 w 659"/>
                <a:gd name="T69" fmla="*/ 144 h 659"/>
                <a:gd name="T70" fmla="*/ 60 w 659"/>
                <a:gd name="T71" fmla="*/ 217 h 659"/>
                <a:gd name="T72" fmla="*/ 39 w 659"/>
                <a:gd name="T73" fmla="*/ 300 h 659"/>
                <a:gd name="T74" fmla="*/ 39 w 659"/>
                <a:gd name="T75" fmla="*/ 359 h 659"/>
                <a:gd name="T76" fmla="*/ 60 w 659"/>
                <a:gd name="T77" fmla="*/ 443 h 659"/>
                <a:gd name="T78" fmla="*/ 105 w 659"/>
                <a:gd name="T79" fmla="*/ 515 h 659"/>
                <a:gd name="T80" fmla="*/ 167 w 659"/>
                <a:gd name="T81" fmla="*/ 572 h 659"/>
                <a:gd name="T82" fmla="*/ 242 w 659"/>
                <a:gd name="T83" fmla="*/ 608 h 659"/>
                <a:gd name="T84" fmla="*/ 329 w 659"/>
                <a:gd name="T85" fmla="*/ 621 h 659"/>
                <a:gd name="T86" fmla="*/ 387 w 659"/>
                <a:gd name="T87" fmla="*/ 615 h 659"/>
                <a:gd name="T88" fmla="*/ 468 w 659"/>
                <a:gd name="T89" fmla="*/ 586 h 659"/>
                <a:gd name="T90" fmla="*/ 535 w 659"/>
                <a:gd name="T91" fmla="*/ 535 h 659"/>
                <a:gd name="T92" fmla="*/ 585 w 659"/>
                <a:gd name="T93" fmla="*/ 468 h 659"/>
                <a:gd name="T94" fmla="*/ 614 w 659"/>
                <a:gd name="T95" fmla="*/ 389 h 659"/>
                <a:gd name="T96" fmla="*/ 621 w 659"/>
                <a:gd name="T97" fmla="*/ 330 h 659"/>
                <a:gd name="T98" fmla="*/ 607 w 659"/>
                <a:gd name="T99" fmla="*/ 244 h 659"/>
                <a:gd name="T100" fmla="*/ 570 w 659"/>
                <a:gd name="T101" fmla="*/ 167 h 659"/>
                <a:gd name="T102" fmla="*/ 515 w 659"/>
                <a:gd name="T103" fmla="*/ 105 h 659"/>
                <a:gd name="T104" fmla="*/ 442 w 659"/>
                <a:gd name="T105" fmla="*/ 61 h 659"/>
                <a:gd name="T106" fmla="*/ 359 w 659"/>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9">
                  <a:moveTo>
                    <a:pt x="329" y="659"/>
                  </a:moveTo>
                  <a:lnTo>
                    <a:pt x="329" y="659"/>
                  </a:lnTo>
                  <a:lnTo>
                    <a:pt x="312" y="658"/>
                  </a:lnTo>
                  <a:lnTo>
                    <a:pt x="296" y="656"/>
                  </a:lnTo>
                  <a:lnTo>
                    <a:pt x="280" y="655"/>
                  </a:lnTo>
                  <a:lnTo>
                    <a:pt x="262" y="652"/>
                  </a:lnTo>
                  <a:lnTo>
                    <a:pt x="247" y="648"/>
                  </a:lnTo>
                  <a:lnTo>
                    <a:pt x="231" y="644"/>
                  </a:lnTo>
                  <a:lnTo>
                    <a:pt x="202" y="632"/>
                  </a:lnTo>
                  <a:lnTo>
                    <a:pt x="172" y="619"/>
                  </a:lnTo>
                  <a:lnTo>
                    <a:pt x="145" y="603"/>
                  </a:lnTo>
                  <a:lnTo>
                    <a:pt x="120" y="584"/>
                  </a:lnTo>
                  <a:lnTo>
                    <a:pt x="97" y="562"/>
                  </a:lnTo>
                  <a:lnTo>
                    <a:pt x="75" y="539"/>
                  </a:lnTo>
                  <a:lnTo>
                    <a:pt x="56" y="514"/>
                  </a:lnTo>
                  <a:lnTo>
                    <a:pt x="40" y="487"/>
                  </a:lnTo>
                  <a:lnTo>
                    <a:pt x="26" y="457"/>
                  </a:lnTo>
                  <a:lnTo>
                    <a:pt x="15" y="428"/>
                  </a:lnTo>
                  <a:lnTo>
                    <a:pt x="11" y="412"/>
                  </a:lnTo>
                  <a:lnTo>
                    <a:pt x="7" y="396"/>
                  </a:lnTo>
                  <a:lnTo>
                    <a:pt x="4" y="379"/>
                  </a:lnTo>
                  <a:lnTo>
                    <a:pt x="1" y="363"/>
                  </a:lnTo>
                  <a:lnTo>
                    <a:pt x="0" y="347"/>
                  </a:lnTo>
                  <a:lnTo>
                    <a:pt x="0" y="330"/>
                  </a:lnTo>
                  <a:lnTo>
                    <a:pt x="0" y="330"/>
                  </a:lnTo>
                  <a:lnTo>
                    <a:pt x="0" y="312"/>
                  </a:lnTo>
                  <a:lnTo>
                    <a:pt x="1" y="296"/>
                  </a:lnTo>
                  <a:lnTo>
                    <a:pt x="4" y="280"/>
                  </a:lnTo>
                  <a:lnTo>
                    <a:pt x="7" y="264"/>
                  </a:lnTo>
                  <a:lnTo>
                    <a:pt x="11" y="248"/>
                  </a:lnTo>
                  <a:lnTo>
                    <a:pt x="15" y="232"/>
                  </a:lnTo>
                  <a:lnTo>
                    <a:pt x="26" y="202"/>
                  </a:lnTo>
                  <a:lnTo>
                    <a:pt x="40" y="172"/>
                  </a:lnTo>
                  <a:lnTo>
                    <a:pt x="56" y="146"/>
                  </a:lnTo>
                  <a:lnTo>
                    <a:pt x="75" y="120"/>
                  </a:lnTo>
                  <a:lnTo>
                    <a:pt x="97" y="97"/>
                  </a:lnTo>
                  <a:lnTo>
                    <a:pt x="120" y="76"/>
                  </a:lnTo>
                  <a:lnTo>
                    <a:pt x="145" y="57"/>
                  </a:lnTo>
                  <a:lnTo>
                    <a:pt x="172" y="41"/>
                  </a:lnTo>
                  <a:lnTo>
                    <a:pt x="202" y="26"/>
                  </a:lnTo>
                  <a:lnTo>
                    <a:pt x="231" y="15"/>
                  </a:lnTo>
                  <a:lnTo>
                    <a:pt x="247" y="11"/>
                  </a:lnTo>
                  <a:lnTo>
                    <a:pt x="262" y="7"/>
                  </a:lnTo>
                  <a:lnTo>
                    <a:pt x="280" y="4"/>
                  </a:lnTo>
                  <a:lnTo>
                    <a:pt x="296" y="2"/>
                  </a:lnTo>
                  <a:lnTo>
                    <a:pt x="312" y="2"/>
                  </a:lnTo>
                  <a:lnTo>
                    <a:pt x="329" y="0"/>
                  </a:lnTo>
                  <a:lnTo>
                    <a:pt x="329" y="0"/>
                  </a:lnTo>
                  <a:lnTo>
                    <a:pt x="345" y="2"/>
                  </a:lnTo>
                  <a:lnTo>
                    <a:pt x="363" y="2"/>
                  </a:lnTo>
                  <a:lnTo>
                    <a:pt x="379" y="4"/>
                  </a:lnTo>
                  <a:lnTo>
                    <a:pt x="395" y="7"/>
                  </a:lnTo>
                  <a:lnTo>
                    <a:pt x="411" y="11"/>
                  </a:lnTo>
                  <a:lnTo>
                    <a:pt x="426" y="15"/>
                  </a:lnTo>
                  <a:lnTo>
                    <a:pt x="457" y="26"/>
                  </a:lnTo>
                  <a:lnTo>
                    <a:pt x="485" y="41"/>
                  </a:lnTo>
                  <a:lnTo>
                    <a:pt x="513" y="57"/>
                  </a:lnTo>
                  <a:lnTo>
                    <a:pt x="538" y="76"/>
                  </a:lnTo>
                  <a:lnTo>
                    <a:pt x="562" y="97"/>
                  </a:lnTo>
                  <a:lnTo>
                    <a:pt x="583" y="120"/>
                  </a:lnTo>
                  <a:lnTo>
                    <a:pt x="602" y="146"/>
                  </a:lnTo>
                  <a:lnTo>
                    <a:pt x="618" y="172"/>
                  </a:lnTo>
                  <a:lnTo>
                    <a:pt x="632" y="202"/>
                  </a:lnTo>
                  <a:lnTo>
                    <a:pt x="644" y="232"/>
                  </a:lnTo>
                  <a:lnTo>
                    <a:pt x="648" y="248"/>
                  </a:lnTo>
                  <a:lnTo>
                    <a:pt x="652" y="264"/>
                  </a:lnTo>
                  <a:lnTo>
                    <a:pt x="655" y="280"/>
                  </a:lnTo>
                  <a:lnTo>
                    <a:pt x="656" y="296"/>
                  </a:lnTo>
                  <a:lnTo>
                    <a:pt x="657" y="312"/>
                  </a:lnTo>
                  <a:lnTo>
                    <a:pt x="659" y="330"/>
                  </a:lnTo>
                  <a:lnTo>
                    <a:pt x="659" y="330"/>
                  </a:lnTo>
                  <a:lnTo>
                    <a:pt x="657" y="347"/>
                  </a:lnTo>
                  <a:lnTo>
                    <a:pt x="656" y="363"/>
                  </a:lnTo>
                  <a:lnTo>
                    <a:pt x="655" y="379"/>
                  </a:lnTo>
                  <a:lnTo>
                    <a:pt x="652" y="396"/>
                  </a:lnTo>
                  <a:lnTo>
                    <a:pt x="648" y="412"/>
                  </a:lnTo>
                  <a:lnTo>
                    <a:pt x="644" y="428"/>
                  </a:lnTo>
                  <a:lnTo>
                    <a:pt x="632" y="457"/>
                  </a:lnTo>
                  <a:lnTo>
                    <a:pt x="618" y="487"/>
                  </a:lnTo>
                  <a:lnTo>
                    <a:pt x="602" y="514"/>
                  </a:lnTo>
                  <a:lnTo>
                    <a:pt x="583" y="539"/>
                  </a:lnTo>
                  <a:lnTo>
                    <a:pt x="562" y="562"/>
                  </a:lnTo>
                  <a:lnTo>
                    <a:pt x="538" y="584"/>
                  </a:lnTo>
                  <a:lnTo>
                    <a:pt x="513" y="603"/>
                  </a:lnTo>
                  <a:lnTo>
                    <a:pt x="485" y="619"/>
                  </a:lnTo>
                  <a:lnTo>
                    <a:pt x="457" y="632"/>
                  </a:lnTo>
                  <a:lnTo>
                    <a:pt x="426" y="644"/>
                  </a:lnTo>
                  <a:lnTo>
                    <a:pt x="411" y="648"/>
                  </a:lnTo>
                  <a:lnTo>
                    <a:pt x="395" y="652"/>
                  </a:lnTo>
                  <a:lnTo>
                    <a:pt x="379" y="655"/>
                  </a:lnTo>
                  <a:lnTo>
                    <a:pt x="363" y="656"/>
                  </a:lnTo>
                  <a:lnTo>
                    <a:pt x="345" y="658"/>
                  </a:lnTo>
                  <a:lnTo>
                    <a:pt x="329" y="659"/>
                  </a:lnTo>
                  <a:lnTo>
                    <a:pt x="329" y="659"/>
                  </a:lnTo>
                  <a:close/>
                  <a:moveTo>
                    <a:pt x="329" y="38"/>
                  </a:moveTo>
                  <a:lnTo>
                    <a:pt x="329" y="38"/>
                  </a:lnTo>
                  <a:lnTo>
                    <a:pt x="300" y="39"/>
                  </a:lnTo>
                  <a:lnTo>
                    <a:pt x="270" y="45"/>
                  </a:lnTo>
                  <a:lnTo>
                    <a:pt x="242" y="51"/>
                  </a:lnTo>
                  <a:lnTo>
                    <a:pt x="215" y="61"/>
                  </a:lnTo>
                  <a:lnTo>
                    <a:pt x="191" y="73"/>
                  </a:lnTo>
                  <a:lnTo>
                    <a:pt x="167" y="88"/>
                  </a:lnTo>
                  <a:lnTo>
                    <a:pt x="144" y="105"/>
                  </a:lnTo>
                  <a:lnTo>
                    <a:pt x="124" y="124"/>
                  </a:lnTo>
                  <a:lnTo>
                    <a:pt x="105" y="144"/>
                  </a:lnTo>
                  <a:lnTo>
                    <a:pt x="87" y="167"/>
                  </a:lnTo>
                  <a:lnTo>
                    <a:pt x="73" y="191"/>
                  </a:lnTo>
                  <a:lnTo>
                    <a:pt x="60" y="217"/>
                  </a:lnTo>
                  <a:lnTo>
                    <a:pt x="51" y="244"/>
                  </a:lnTo>
                  <a:lnTo>
                    <a:pt x="43" y="271"/>
                  </a:lnTo>
                  <a:lnTo>
                    <a:pt x="39" y="300"/>
                  </a:lnTo>
                  <a:lnTo>
                    <a:pt x="38" y="330"/>
                  </a:lnTo>
                  <a:lnTo>
                    <a:pt x="38" y="330"/>
                  </a:lnTo>
                  <a:lnTo>
                    <a:pt x="39" y="359"/>
                  </a:lnTo>
                  <a:lnTo>
                    <a:pt x="43" y="389"/>
                  </a:lnTo>
                  <a:lnTo>
                    <a:pt x="51" y="416"/>
                  </a:lnTo>
                  <a:lnTo>
                    <a:pt x="60" y="443"/>
                  </a:lnTo>
                  <a:lnTo>
                    <a:pt x="73" y="468"/>
                  </a:lnTo>
                  <a:lnTo>
                    <a:pt x="87" y="492"/>
                  </a:lnTo>
                  <a:lnTo>
                    <a:pt x="105" y="515"/>
                  </a:lnTo>
                  <a:lnTo>
                    <a:pt x="124" y="535"/>
                  </a:lnTo>
                  <a:lnTo>
                    <a:pt x="144" y="554"/>
                  </a:lnTo>
                  <a:lnTo>
                    <a:pt x="167" y="572"/>
                  </a:lnTo>
                  <a:lnTo>
                    <a:pt x="191" y="586"/>
                  </a:lnTo>
                  <a:lnTo>
                    <a:pt x="215" y="598"/>
                  </a:lnTo>
                  <a:lnTo>
                    <a:pt x="242" y="608"/>
                  </a:lnTo>
                  <a:lnTo>
                    <a:pt x="270" y="615"/>
                  </a:lnTo>
                  <a:lnTo>
                    <a:pt x="300" y="620"/>
                  </a:lnTo>
                  <a:lnTo>
                    <a:pt x="329" y="621"/>
                  </a:lnTo>
                  <a:lnTo>
                    <a:pt x="329" y="621"/>
                  </a:lnTo>
                  <a:lnTo>
                    <a:pt x="359" y="620"/>
                  </a:lnTo>
                  <a:lnTo>
                    <a:pt x="387" y="615"/>
                  </a:lnTo>
                  <a:lnTo>
                    <a:pt x="415" y="608"/>
                  </a:lnTo>
                  <a:lnTo>
                    <a:pt x="442" y="598"/>
                  </a:lnTo>
                  <a:lnTo>
                    <a:pt x="468" y="586"/>
                  </a:lnTo>
                  <a:lnTo>
                    <a:pt x="492" y="572"/>
                  </a:lnTo>
                  <a:lnTo>
                    <a:pt x="515" y="554"/>
                  </a:lnTo>
                  <a:lnTo>
                    <a:pt x="535" y="535"/>
                  </a:lnTo>
                  <a:lnTo>
                    <a:pt x="554" y="515"/>
                  </a:lnTo>
                  <a:lnTo>
                    <a:pt x="570" y="492"/>
                  </a:lnTo>
                  <a:lnTo>
                    <a:pt x="585" y="468"/>
                  </a:lnTo>
                  <a:lnTo>
                    <a:pt x="597" y="443"/>
                  </a:lnTo>
                  <a:lnTo>
                    <a:pt x="607" y="416"/>
                  </a:lnTo>
                  <a:lnTo>
                    <a:pt x="614" y="389"/>
                  </a:lnTo>
                  <a:lnTo>
                    <a:pt x="618" y="359"/>
                  </a:lnTo>
                  <a:lnTo>
                    <a:pt x="621" y="330"/>
                  </a:lnTo>
                  <a:lnTo>
                    <a:pt x="621" y="330"/>
                  </a:lnTo>
                  <a:lnTo>
                    <a:pt x="618" y="300"/>
                  </a:lnTo>
                  <a:lnTo>
                    <a:pt x="614" y="271"/>
                  </a:lnTo>
                  <a:lnTo>
                    <a:pt x="607" y="244"/>
                  </a:lnTo>
                  <a:lnTo>
                    <a:pt x="597" y="217"/>
                  </a:lnTo>
                  <a:lnTo>
                    <a:pt x="585" y="191"/>
                  </a:lnTo>
                  <a:lnTo>
                    <a:pt x="570" y="167"/>
                  </a:lnTo>
                  <a:lnTo>
                    <a:pt x="554" y="144"/>
                  </a:lnTo>
                  <a:lnTo>
                    <a:pt x="535" y="124"/>
                  </a:lnTo>
                  <a:lnTo>
                    <a:pt x="515" y="105"/>
                  </a:lnTo>
                  <a:lnTo>
                    <a:pt x="492" y="88"/>
                  </a:lnTo>
                  <a:lnTo>
                    <a:pt x="468" y="73"/>
                  </a:lnTo>
                  <a:lnTo>
                    <a:pt x="442" y="61"/>
                  </a:lnTo>
                  <a:lnTo>
                    <a:pt x="415" y="51"/>
                  </a:lnTo>
                  <a:lnTo>
                    <a:pt x="387" y="45"/>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170">
              <a:extLst>
                <a:ext uri="{FF2B5EF4-FFF2-40B4-BE49-F238E27FC236}">
                  <a16:creationId xmlns:a16="http://schemas.microsoft.com/office/drawing/2014/main" id="{B53C3A93-D5AC-4B63-A104-6354EDAEC7BF}"/>
                </a:ext>
              </a:extLst>
            </p:cNvPr>
            <p:cNvSpPr>
              <a:spLocks/>
            </p:cNvSpPr>
            <p:nvPr/>
          </p:nvSpPr>
          <p:spPr bwMode="auto">
            <a:xfrm>
              <a:off x="706438" y="3655060"/>
              <a:ext cx="227013" cy="55563"/>
            </a:xfrm>
            <a:custGeom>
              <a:avLst/>
              <a:gdLst>
                <a:gd name="T0" fmla="*/ 278 w 286"/>
                <a:gd name="T1" fmla="*/ 0 h 69"/>
                <a:gd name="T2" fmla="*/ 278 w 286"/>
                <a:gd name="T3" fmla="*/ 0 h 69"/>
                <a:gd name="T4" fmla="*/ 274 w 286"/>
                <a:gd name="T5" fmla="*/ 1 h 69"/>
                <a:gd name="T6" fmla="*/ 272 w 286"/>
                <a:gd name="T7" fmla="*/ 2 h 69"/>
                <a:gd name="T8" fmla="*/ 270 w 286"/>
                <a:gd name="T9" fmla="*/ 5 h 69"/>
                <a:gd name="T10" fmla="*/ 269 w 286"/>
                <a:gd name="T11" fmla="*/ 9 h 69"/>
                <a:gd name="T12" fmla="*/ 269 w 286"/>
                <a:gd name="T13" fmla="*/ 52 h 69"/>
                <a:gd name="T14" fmla="*/ 18 w 286"/>
                <a:gd name="T15" fmla="*/ 52 h 69"/>
                <a:gd name="T16" fmla="*/ 18 w 286"/>
                <a:gd name="T17" fmla="*/ 9 h 69"/>
                <a:gd name="T18" fmla="*/ 18 w 286"/>
                <a:gd name="T19" fmla="*/ 9 h 69"/>
                <a:gd name="T20" fmla="*/ 16 w 286"/>
                <a:gd name="T21" fmla="*/ 5 h 69"/>
                <a:gd name="T22" fmla="*/ 15 w 286"/>
                <a:gd name="T23" fmla="*/ 2 h 69"/>
                <a:gd name="T24" fmla="*/ 12 w 286"/>
                <a:gd name="T25" fmla="*/ 1 h 69"/>
                <a:gd name="T26" fmla="*/ 8 w 286"/>
                <a:gd name="T27" fmla="*/ 0 h 69"/>
                <a:gd name="T28" fmla="*/ 8 w 286"/>
                <a:gd name="T29" fmla="*/ 0 h 69"/>
                <a:gd name="T30" fmla="*/ 6 w 286"/>
                <a:gd name="T31" fmla="*/ 1 h 69"/>
                <a:gd name="T32" fmla="*/ 3 w 286"/>
                <a:gd name="T33" fmla="*/ 2 h 69"/>
                <a:gd name="T34" fmla="*/ 0 w 286"/>
                <a:gd name="T35" fmla="*/ 5 h 69"/>
                <a:gd name="T36" fmla="*/ 0 w 286"/>
                <a:gd name="T37" fmla="*/ 9 h 69"/>
                <a:gd name="T38" fmla="*/ 0 w 286"/>
                <a:gd name="T39" fmla="*/ 60 h 69"/>
                <a:gd name="T40" fmla="*/ 0 w 286"/>
                <a:gd name="T41" fmla="*/ 60 h 69"/>
                <a:gd name="T42" fmla="*/ 0 w 286"/>
                <a:gd name="T43" fmla="*/ 64 h 69"/>
                <a:gd name="T44" fmla="*/ 3 w 286"/>
                <a:gd name="T45" fmla="*/ 67 h 69"/>
                <a:gd name="T46" fmla="*/ 6 w 286"/>
                <a:gd name="T47" fmla="*/ 68 h 69"/>
                <a:gd name="T48" fmla="*/ 8 w 286"/>
                <a:gd name="T49" fmla="*/ 69 h 69"/>
                <a:gd name="T50" fmla="*/ 278 w 286"/>
                <a:gd name="T51" fmla="*/ 69 h 69"/>
                <a:gd name="T52" fmla="*/ 278 w 286"/>
                <a:gd name="T53" fmla="*/ 69 h 69"/>
                <a:gd name="T54" fmla="*/ 281 w 286"/>
                <a:gd name="T55" fmla="*/ 68 h 69"/>
                <a:gd name="T56" fmla="*/ 284 w 286"/>
                <a:gd name="T57" fmla="*/ 67 h 69"/>
                <a:gd name="T58" fmla="*/ 286 w 286"/>
                <a:gd name="T59" fmla="*/ 64 h 69"/>
                <a:gd name="T60" fmla="*/ 286 w 286"/>
                <a:gd name="T61" fmla="*/ 60 h 69"/>
                <a:gd name="T62" fmla="*/ 286 w 286"/>
                <a:gd name="T63" fmla="*/ 9 h 69"/>
                <a:gd name="T64" fmla="*/ 286 w 286"/>
                <a:gd name="T65" fmla="*/ 9 h 69"/>
                <a:gd name="T66" fmla="*/ 286 w 286"/>
                <a:gd name="T67" fmla="*/ 5 h 69"/>
                <a:gd name="T68" fmla="*/ 284 w 286"/>
                <a:gd name="T69" fmla="*/ 2 h 69"/>
                <a:gd name="T70" fmla="*/ 281 w 286"/>
                <a:gd name="T71" fmla="*/ 1 h 69"/>
                <a:gd name="T72" fmla="*/ 278 w 286"/>
                <a:gd name="T73" fmla="*/ 0 h 69"/>
                <a:gd name="T74" fmla="*/ 278 w 286"/>
                <a:gd name="T7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6" h="69">
                  <a:moveTo>
                    <a:pt x="278" y="0"/>
                  </a:moveTo>
                  <a:lnTo>
                    <a:pt x="278" y="0"/>
                  </a:lnTo>
                  <a:lnTo>
                    <a:pt x="274" y="1"/>
                  </a:lnTo>
                  <a:lnTo>
                    <a:pt x="272" y="2"/>
                  </a:lnTo>
                  <a:lnTo>
                    <a:pt x="270" y="5"/>
                  </a:lnTo>
                  <a:lnTo>
                    <a:pt x="269" y="9"/>
                  </a:lnTo>
                  <a:lnTo>
                    <a:pt x="269" y="52"/>
                  </a:lnTo>
                  <a:lnTo>
                    <a:pt x="18" y="52"/>
                  </a:lnTo>
                  <a:lnTo>
                    <a:pt x="18" y="9"/>
                  </a:lnTo>
                  <a:lnTo>
                    <a:pt x="18" y="9"/>
                  </a:lnTo>
                  <a:lnTo>
                    <a:pt x="16" y="5"/>
                  </a:lnTo>
                  <a:lnTo>
                    <a:pt x="15" y="2"/>
                  </a:lnTo>
                  <a:lnTo>
                    <a:pt x="12" y="1"/>
                  </a:lnTo>
                  <a:lnTo>
                    <a:pt x="8" y="0"/>
                  </a:lnTo>
                  <a:lnTo>
                    <a:pt x="8" y="0"/>
                  </a:lnTo>
                  <a:lnTo>
                    <a:pt x="6" y="1"/>
                  </a:lnTo>
                  <a:lnTo>
                    <a:pt x="3" y="2"/>
                  </a:lnTo>
                  <a:lnTo>
                    <a:pt x="0" y="5"/>
                  </a:lnTo>
                  <a:lnTo>
                    <a:pt x="0" y="9"/>
                  </a:lnTo>
                  <a:lnTo>
                    <a:pt x="0" y="60"/>
                  </a:lnTo>
                  <a:lnTo>
                    <a:pt x="0" y="60"/>
                  </a:lnTo>
                  <a:lnTo>
                    <a:pt x="0" y="64"/>
                  </a:lnTo>
                  <a:lnTo>
                    <a:pt x="3" y="67"/>
                  </a:lnTo>
                  <a:lnTo>
                    <a:pt x="6" y="68"/>
                  </a:lnTo>
                  <a:lnTo>
                    <a:pt x="8" y="69"/>
                  </a:lnTo>
                  <a:lnTo>
                    <a:pt x="278" y="69"/>
                  </a:lnTo>
                  <a:lnTo>
                    <a:pt x="278" y="69"/>
                  </a:lnTo>
                  <a:lnTo>
                    <a:pt x="281" y="68"/>
                  </a:lnTo>
                  <a:lnTo>
                    <a:pt x="284" y="67"/>
                  </a:lnTo>
                  <a:lnTo>
                    <a:pt x="286" y="64"/>
                  </a:lnTo>
                  <a:lnTo>
                    <a:pt x="286" y="60"/>
                  </a:lnTo>
                  <a:lnTo>
                    <a:pt x="286" y="9"/>
                  </a:lnTo>
                  <a:lnTo>
                    <a:pt x="286" y="9"/>
                  </a:lnTo>
                  <a:lnTo>
                    <a:pt x="286" y="5"/>
                  </a:lnTo>
                  <a:lnTo>
                    <a:pt x="284" y="2"/>
                  </a:lnTo>
                  <a:lnTo>
                    <a:pt x="281" y="1"/>
                  </a:lnTo>
                  <a:lnTo>
                    <a:pt x="278" y="0"/>
                  </a:lnTo>
                  <a:lnTo>
                    <a:pt x="27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171">
              <a:extLst>
                <a:ext uri="{FF2B5EF4-FFF2-40B4-BE49-F238E27FC236}">
                  <a16:creationId xmlns:a16="http://schemas.microsoft.com/office/drawing/2014/main" id="{5A258A52-DBAE-49C2-A07E-C5F0FA4E880D}"/>
                </a:ext>
              </a:extLst>
            </p:cNvPr>
            <p:cNvSpPr>
              <a:spLocks/>
            </p:cNvSpPr>
            <p:nvPr/>
          </p:nvSpPr>
          <p:spPr bwMode="auto">
            <a:xfrm>
              <a:off x="747713" y="3466148"/>
              <a:ext cx="146050" cy="195263"/>
            </a:xfrm>
            <a:custGeom>
              <a:avLst/>
              <a:gdLst>
                <a:gd name="T0" fmla="*/ 84 w 182"/>
                <a:gd name="T1" fmla="*/ 242 h 244"/>
                <a:gd name="T2" fmla="*/ 84 w 182"/>
                <a:gd name="T3" fmla="*/ 242 h 244"/>
                <a:gd name="T4" fmla="*/ 87 w 182"/>
                <a:gd name="T5" fmla="*/ 244 h 244"/>
                <a:gd name="T6" fmla="*/ 87 w 182"/>
                <a:gd name="T7" fmla="*/ 244 h 244"/>
                <a:gd name="T8" fmla="*/ 91 w 182"/>
                <a:gd name="T9" fmla="*/ 244 h 244"/>
                <a:gd name="T10" fmla="*/ 91 w 182"/>
                <a:gd name="T11" fmla="*/ 244 h 244"/>
                <a:gd name="T12" fmla="*/ 92 w 182"/>
                <a:gd name="T13" fmla="*/ 244 h 244"/>
                <a:gd name="T14" fmla="*/ 95 w 182"/>
                <a:gd name="T15" fmla="*/ 243 h 244"/>
                <a:gd name="T16" fmla="*/ 95 w 182"/>
                <a:gd name="T17" fmla="*/ 243 h 244"/>
                <a:gd name="T18" fmla="*/ 96 w 182"/>
                <a:gd name="T19" fmla="*/ 242 h 244"/>
                <a:gd name="T20" fmla="*/ 180 w 182"/>
                <a:gd name="T21" fmla="*/ 160 h 244"/>
                <a:gd name="T22" fmla="*/ 180 w 182"/>
                <a:gd name="T23" fmla="*/ 160 h 244"/>
                <a:gd name="T24" fmla="*/ 181 w 182"/>
                <a:gd name="T25" fmla="*/ 157 h 244"/>
                <a:gd name="T26" fmla="*/ 182 w 182"/>
                <a:gd name="T27" fmla="*/ 153 h 244"/>
                <a:gd name="T28" fmla="*/ 181 w 182"/>
                <a:gd name="T29" fmla="*/ 150 h 244"/>
                <a:gd name="T30" fmla="*/ 180 w 182"/>
                <a:gd name="T31" fmla="*/ 147 h 244"/>
                <a:gd name="T32" fmla="*/ 180 w 182"/>
                <a:gd name="T33" fmla="*/ 147 h 244"/>
                <a:gd name="T34" fmla="*/ 177 w 182"/>
                <a:gd name="T35" fmla="*/ 145 h 244"/>
                <a:gd name="T36" fmla="*/ 173 w 182"/>
                <a:gd name="T37" fmla="*/ 145 h 244"/>
                <a:gd name="T38" fmla="*/ 170 w 182"/>
                <a:gd name="T39" fmla="*/ 145 h 244"/>
                <a:gd name="T40" fmla="*/ 168 w 182"/>
                <a:gd name="T41" fmla="*/ 147 h 244"/>
                <a:gd name="T42" fmla="*/ 99 w 182"/>
                <a:gd name="T43" fmla="*/ 216 h 244"/>
                <a:gd name="T44" fmla="*/ 99 w 182"/>
                <a:gd name="T45" fmla="*/ 9 h 244"/>
                <a:gd name="T46" fmla="*/ 99 w 182"/>
                <a:gd name="T47" fmla="*/ 9 h 244"/>
                <a:gd name="T48" fmla="*/ 98 w 182"/>
                <a:gd name="T49" fmla="*/ 5 h 244"/>
                <a:gd name="T50" fmla="*/ 96 w 182"/>
                <a:gd name="T51" fmla="*/ 2 h 244"/>
                <a:gd name="T52" fmla="*/ 94 w 182"/>
                <a:gd name="T53" fmla="*/ 1 h 244"/>
                <a:gd name="T54" fmla="*/ 91 w 182"/>
                <a:gd name="T55" fmla="*/ 0 h 244"/>
                <a:gd name="T56" fmla="*/ 91 w 182"/>
                <a:gd name="T57" fmla="*/ 0 h 244"/>
                <a:gd name="T58" fmla="*/ 87 w 182"/>
                <a:gd name="T59" fmla="*/ 1 h 244"/>
                <a:gd name="T60" fmla="*/ 84 w 182"/>
                <a:gd name="T61" fmla="*/ 2 h 244"/>
                <a:gd name="T62" fmla="*/ 83 w 182"/>
                <a:gd name="T63" fmla="*/ 5 h 244"/>
                <a:gd name="T64" fmla="*/ 82 w 182"/>
                <a:gd name="T65" fmla="*/ 9 h 244"/>
                <a:gd name="T66" fmla="*/ 82 w 182"/>
                <a:gd name="T67" fmla="*/ 216 h 244"/>
                <a:gd name="T68" fmla="*/ 13 w 182"/>
                <a:gd name="T69" fmla="*/ 147 h 244"/>
                <a:gd name="T70" fmla="*/ 13 w 182"/>
                <a:gd name="T71" fmla="*/ 147 h 244"/>
                <a:gd name="T72" fmla="*/ 10 w 182"/>
                <a:gd name="T73" fmla="*/ 145 h 244"/>
                <a:gd name="T74" fmla="*/ 8 w 182"/>
                <a:gd name="T75" fmla="*/ 145 h 244"/>
                <a:gd name="T76" fmla="*/ 5 w 182"/>
                <a:gd name="T77" fmla="*/ 145 h 244"/>
                <a:gd name="T78" fmla="*/ 1 w 182"/>
                <a:gd name="T79" fmla="*/ 147 h 244"/>
                <a:gd name="T80" fmla="*/ 1 w 182"/>
                <a:gd name="T81" fmla="*/ 147 h 244"/>
                <a:gd name="T82" fmla="*/ 0 w 182"/>
                <a:gd name="T83" fmla="*/ 150 h 244"/>
                <a:gd name="T84" fmla="*/ 0 w 182"/>
                <a:gd name="T85" fmla="*/ 153 h 244"/>
                <a:gd name="T86" fmla="*/ 0 w 182"/>
                <a:gd name="T87" fmla="*/ 157 h 244"/>
                <a:gd name="T88" fmla="*/ 1 w 182"/>
                <a:gd name="T89" fmla="*/ 160 h 244"/>
                <a:gd name="T90" fmla="*/ 84 w 182"/>
                <a:gd name="T91" fmla="*/ 24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2" h="244">
                  <a:moveTo>
                    <a:pt x="84" y="242"/>
                  </a:moveTo>
                  <a:lnTo>
                    <a:pt x="84" y="242"/>
                  </a:lnTo>
                  <a:lnTo>
                    <a:pt x="87" y="244"/>
                  </a:lnTo>
                  <a:lnTo>
                    <a:pt x="87" y="244"/>
                  </a:lnTo>
                  <a:lnTo>
                    <a:pt x="91" y="244"/>
                  </a:lnTo>
                  <a:lnTo>
                    <a:pt x="91" y="244"/>
                  </a:lnTo>
                  <a:lnTo>
                    <a:pt x="92" y="244"/>
                  </a:lnTo>
                  <a:lnTo>
                    <a:pt x="95" y="243"/>
                  </a:lnTo>
                  <a:lnTo>
                    <a:pt x="95" y="243"/>
                  </a:lnTo>
                  <a:lnTo>
                    <a:pt x="96" y="242"/>
                  </a:lnTo>
                  <a:lnTo>
                    <a:pt x="180" y="160"/>
                  </a:lnTo>
                  <a:lnTo>
                    <a:pt x="180" y="160"/>
                  </a:lnTo>
                  <a:lnTo>
                    <a:pt x="181" y="157"/>
                  </a:lnTo>
                  <a:lnTo>
                    <a:pt x="182" y="153"/>
                  </a:lnTo>
                  <a:lnTo>
                    <a:pt x="181" y="150"/>
                  </a:lnTo>
                  <a:lnTo>
                    <a:pt x="180" y="147"/>
                  </a:lnTo>
                  <a:lnTo>
                    <a:pt x="180" y="147"/>
                  </a:lnTo>
                  <a:lnTo>
                    <a:pt x="177" y="145"/>
                  </a:lnTo>
                  <a:lnTo>
                    <a:pt x="173" y="145"/>
                  </a:lnTo>
                  <a:lnTo>
                    <a:pt x="170" y="145"/>
                  </a:lnTo>
                  <a:lnTo>
                    <a:pt x="168" y="147"/>
                  </a:lnTo>
                  <a:lnTo>
                    <a:pt x="99" y="216"/>
                  </a:lnTo>
                  <a:lnTo>
                    <a:pt x="99" y="9"/>
                  </a:lnTo>
                  <a:lnTo>
                    <a:pt x="99" y="9"/>
                  </a:lnTo>
                  <a:lnTo>
                    <a:pt x="98" y="5"/>
                  </a:lnTo>
                  <a:lnTo>
                    <a:pt x="96" y="2"/>
                  </a:lnTo>
                  <a:lnTo>
                    <a:pt x="94" y="1"/>
                  </a:lnTo>
                  <a:lnTo>
                    <a:pt x="91" y="0"/>
                  </a:lnTo>
                  <a:lnTo>
                    <a:pt x="91" y="0"/>
                  </a:lnTo>
                  <a:lnTo>
                    <a:pt x="87" y="1"/>
                  </a:lnTo>
                  <a:lnTo>
                    <a:pt x="84" y="2"/>
                  </a:lnTo>
                  <a:lnTo>
                    <a:pt x="83" y="5"/>
                  </a:lnTo>
                  <a:lnTo>
                    <a:pt x="82" y="9"/>
                  </a:lnTo>
                  <a:lnTo>
                    <a:pt x="82" y="216"/>
                  </a:lnTo>
                  <a:lnTo>
                    <a:pt x="13" y="147"/>
                  </a:lnTo>
                  <a:lnTo>
                    <a:pt x="13" y="147"/>
                  </a:lnTo>
                  <a:lnTo>
                    <a:pt x="10" y="145"/>
                  </a:lnTo>
                  <a:lnTo>
                    <a:pt x="8" y="145"/>
                  </a:lnTo>
                  <a:lnTo>
                    <a:pt x="5" y="145"/>
                  </a:lnTo>
                  <a:lnTo>
                    <a:pt x="1" y="147"/>
                  </a:lnTo>
                  <a:lnTo>
                    <a:pt x="1" y="147"/>
                  </a:lnTo>
                  <a:lnTo>
                    <a:pt x="0" y="150"/>
                  </a:lnTo>
                  <a:lnTo>
                    <a:pt x="0" y="153"/>
                  </a:lnTo>
                  <a:lnTo>
                    <a:pt x="0" y="157"/>
                  </a:lnTo>
                  <a:lnTo>
                    <a:pt x="1" y="160"/>
                  </a:lnTo>
                  <a:lnTo>
                    <a:pt x="84" y="2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42" name="Freeform 212">
            <a:extLst>
              <a:ext uri="{FF2B5EF4-FFF2-40B4-BE49-F238E27FC236}">
                <a16:creationId xmlns:a16="http://schemas.microsoft.com/office/drawing/2014/main" id="{D0FF44F8-19EB-4D6B-B328-07B4189B3088}"/>
              </a:ext>
            </a:extLst>
          </p:cNvPr>
          <p:cNvSpPr>
            <a:spLocks/>
          </p:cNvSpPr>
          <p:nvPr/>
        </p:nvSpPr>
        <p:spPr bwMode="auto">
          <a:xfrm>
            <a:off x="857136" y="2335246"/>
            <a:ext cx="395710" cy="361116"/>
          </a:xfrm>
          <a:custGeom>
            <a:avLst/>
            <a:gdLst>
              <a:gd name="T0" fmla="*/ 2 w 301"/>
              <a:gd name="T1" fmla="*/ 113 h 290"/>
              <a:gd name="T2" fmla="*/ 84 w 301"/>
              <a:gd name="T3" fmla="*/ 175 h 290"/>
              <a:gd name="T4" fmla="*/ 204 w 301"/>
              <a:gd name="T5" fmla="*/ 83 h 290"/>
              <a:gd name="T6" fmla="*/ 204 w 301"/>
              <a:gd name="T7" fmla="*/ 83 h 290"/>
              <a:gd name="T8" fmla="*/ 207 w 301"/>
              <a:gd name="T9" fmla="*/ 83 h 290"/>
              <a:gd name="T10" fmla="*/ 208 w 301"/>
              <a:gd name="T11" fmla="*/ 85 h 290"/>
              <a:gd name="T12" fmla="*/ 208 w 301"/>
              <a:gd name="T13" fmla="*/ 86 h 290"/>
              <a:gd name="T14" fmla="*/ 208 w 301"/>
              <a:gd name="T15" fmla="*/ 87 h 290"/>
              <a:gd name="T16" fmla="*/ 112 w 301"/>
              <a:gd name="T17" fmla="*/ 195 h 290"/>
              <a:gd name="T18" fmla="*/ 88 w 301"/>
              <a:gd name="T19" fmla="*/ 281 h 290"/>
              <a:gd name="T20" fmla="*/ 88 w 301"/>
              <a:gd name="T21" fmla="*/ 281 h 290"/>
              <a:gd name="T22" fmla="*/ 90 w 301"/>
              <a:gd name="T23" fmla="*/ 285 h 290"/>
              <a:gd name="T24" fmla="*/ 91 w 301"/>
              <a:gd name="T25" fmla="*/ 286 h 290"/>
              <a:gd name="T26" fmla="*/ 94 w 301"/>
              <a:gd name="T27" fmla="*/ 286 h 290"/>
              <a:gd name="T28" fmla="*/ 96 w 301"/>
              <a:gd name="T29" fmla="*/ 285 h 290"/>
              <a:gd name="T30" fmla="*/ 150 w 301"/>
              <a:gd name="T31" fmla="*/ 224 h 290"/>
              <a:gd name="T32" fmla="*/ 240 w 301"/>
              <a:gd name="T33" fmla="*/ 289 h 290"/>
              <a:gd name="T34" fmla="*/ 240 w 301"/>
              <a:gd name="T35" fmla="*/ 289 h 290"/>
              <a:gd name="T36" fmla="*/ 243 w 301"/>
              <a:gd name="T37" fmla="*/ 290 h 290"/>
              <a:gd name="T38" fmla="*/ 245 w 301"/>
              <a:gd name="T39" fmla="*/ 290 h 290"/>
              <a:gd name="T40" fmla="*/ 247 w 301"/>
              <a:gd name="T41" fmla="*/ 289 h 290"/>
              <a:gd name="T42" fmla="*/ 248 w 301"/>
              <a:gd name="T43" fmla="*/ 286 h 290"/>
              <a:gd name="T44" fmla="*/ 301 w 301"/>
              <a:gd name="T45" fmla="*/ 7 h 290"/>
              <a:gd name="T46" fmla="*/ 301 w 301"/>
              <a:gd name="T47" fmla="*/ 7 h 290"/>
              <a:gd name="T48" fmla="*/ 301 w 301"/>
              <a:gd name="T49" fmla="*/ 4 h 290"/>
              <a:gd name="T50" fmla="*/ 298 w 301"/>
              <a:gd name="T51" fmla="*/ 1 h 290"/>
              <a:gd name="T52" fmla="*/ 297 w 301"/>
              <a:gd name="T53" fmla="*/ 0 h 290"/>
              <a:gd name="T54" fmla="*/ 294 w 301"/>
              <a:gd name="T55" fmla="*/ 1 h 290"/>
              <a:gd name="T56" fmla="*/ 4 w 301"/>
              <a:gd name="T57" fmla="*/ 105 h 290"/>
              <a:gd name="T58" fmla="*/ 4 w 301"/>
              <a:gd name="T59" fmla="*/ 105 h 290"/>
              <a:gd name="T60" fmla="*/ 1 w 301"/>
              <a:gd name="T61" fmla="*/ 106 h 290"/>
              <a:gd name="T62" fmla="*/ 0 w 301"/>
              <a:gd name="T63" fmla="*/ 109 h 290"/>
              <a:gd name="T64" fmla="*/ 1 w 301"/>
              <a:gd name="T65" fmla="*/ 112 h 290"/>
              <a:gd name="T66" fmla="*/ 2 w 301"/>
              <a:gd name="T67" fmla="*/ 113 h 290"/>
              <a:gd name="T68" fmla="*/ 2 w 301"/>
              <a:gd name="T69" fmla="*/ 113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1" h="290">
                <a:moveTo>
                  <a:pt x="2" y="113"/>
                </a:moveTo>
                <a:lnTo>
                  <a:pt x="84" y="175"/>
                </a:lnTo>
                <a:lnTo>
                  <a:pt x="204" y="83"/>
                </a:lnTo>
                <a:lnTo>
                  <a:pt x="204" y="83"/>
                </a:lnTo>
                <a:lnTo>
                  <a:pt x="207" y="83"/>
                </a:lnTo>
                <a:lnTo>
                  <a:pt x="208" y="85"/>
                </a:lnTo>
                <a:lnTo>
                  <a:pt x="208" y="86"/>
                </a:lnTo>
                <a:lnTo>
                  <a:pt x="208" y="87"/>
                </a:lnTo>
                <a:lnTo>
                  <a:pt x="112" y="195"/>
                </a:lnTo>
                <a:lnTo>
                  <a:pt x="88" y="281"/>
                </a:lnTo>
                <a:lnTo>
                  <a:pt x="88" y="281"/>
                </a:lnTo>
                <a:lnTo>
                  <a:pt x="90" y="285"/>
                </a:lnTo>
                <a:lnTo>
                  <a:pt x="91" y="286"/>
                </a:lnTo>
                <a:lnTo>
                  <a:pt x="94" y="286"/>
                </a:lnTo>
                <a:lnTo>
                  <a:pt x="96" y="285"/>
                </a:lnTo>
                <a:lnTo>
                  <a:pt x="150" y="224"/>
                </a:lnTo>
                <a:lnTo>
                  <a:pt x="240" y="289"/>
                </a:lnTo>
                <a:lnTo>
                  <a:pt x="240" y="289"/>
                </a:lnTo>
                <a:lnTo>
                  <a:pt x="243" y="290"/>
                </a:lnTo>
                <a:lnTo>
                  <a:pt x="245" y="290"/>
                </a:lnTo>
                <a:lnTo>
                  <a:pt x="247" y="289"/>
                </a:lnTo>
                <a:lnTo>
                  <a:pt x="248" y="286"/>
                </a:lnTo>
                <a:lnTo>
                  <a:pt x="301" y="7"/>
                </a:lnTo>
                <a:lnTo>
                  <a:pt x="301" y="7"/>
                </a:lnTo>
                <a:lnTo>
                  <a:pt x="301" y="4"/>
                </a:lnTo>
                <a:lnTo>
                  <a:pt x="298" y="1"/>
                </a:lnTo>
                <a:lnTo>
                  <a:pt x="297" y="0"/>
                </a:lnTo>
                <a:lnTo>
                  <a:pt x="294" y="1"/>
                </a:lnTo>
                <a:lnTo>
                  <a:pt x="4" y="105"/>
                </a:lnTo>
                <a:lnTo>
                  <a:pt x="4" y="105"/>
                </a:lnTo>
                <a:lnTo>
                  <a:pt x="1" y="106"/>
                </a:lnTo>
                <a:lnTo>
                  <a:pt x="0" y="109"/>
                </a:lnTo>
                <a:lnTo>
                  <a:pt x="1" y="112"/>
                </a:lnTo>
                <a:lnTo>
                  <a:pt x="2" y="113"/>
                </a:lnTo>
                <a:lnTo>
                  <a:pt x="2" y="11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grpSp>
        <p:nvGrpSpPr>
          <p:cNvPr id="43" name="Group 42">
            <a:extLst>
              <a:ext uri="{FF2B5EF4-FFF2-40B4-BE49-F238E27FC236}">
                <a16:creationId xmlns:a16="http://schemas.microsoft.com/office/drawing/2014/main" id="{7CCB70FA-7789-4874-A1E0-79ACF8AA763A}"/>
              </a:ext>
            </a:extLst>
          </p:cNvPr>
          <p:cNvGrpSpPr/>
          <p:nvPr/>
        </p:nvGrpSpPr>
        <p:grpSpPr>
          <a:xfrm>
            <a:off x="3119241" y="2321133"/>
            <a:ext cx="433914" cy="406830"/>
            <a:chOff x="8033105" y="5486160"/>
            <a:chExt cx="267727" cy="251016"/>
          </a:xfrm>
          <a:solidFill>
            <a:schemeClr val="tx1"/>
          </a:solidFill>
        </p:grpSpPr>
        <p:sp>
          <p:nvSpPr>
            <p:cNvPr id="44" name="Freeform 104">
              <a:extLst>
                <a:ext uri="{FF2B5EF4-FFF2-40B4-BE49-F238E27FC236}">
                  <a16:creationId xmlns:a16="http://schemas.microsoft.com/office/drawing/2014/main" id="{BF6EA2A7-466E-4A5C-8030-B36B57BE7FF7}"/>
                </a:ext>
              </a:extLst>
            </p:cNvPr>
            <p:cNvSpPr>
              <a:spLocks noEditPoints="1"/>
            </p:cNvSpPr>
            <p:nvPr/>
          </p:nvSpPr>
          <p:spPr bwMode="auto">
            <a:xfrm>
              <a:off x="8033105" y="5486160"/>
              <a:ext cx="213544" cy="201709"/>
            </a:xfrm>
            <a:custGeom>
              <a:avLst/>
              <a:gdLst>
                <a:gd name="T0" fmla="*/ 129 w 268"/>
                <a:gd name="T1" fmla="*/ 270 h 270"/>
                <a:gd name="T2" fmla="*/ 135 w 268"/>
                <a:gd name="T3" fmla="*/ 254 h 270"/>
                <a:gd name="T4" fmla="*/ 131 w 268"/>
                <a:gd name="T5" fmla="*/ 245 h 270"/>
                <a:gd name="T6" fmla="*/ 129 w 268"/>
                <a:gd name="T7" fmla="*/ 237 h 270"/>
                <a:gd name="T8" fmla="*/ 135 w 268"/>
                <a:gd name="T9" fmla="*/ 221 h 270"/>
                <a:gd name="T10" fmla="*/ 131 w 268"/>
                <a:gd name="T11" fmla="*/ 213 h 270"/>
                <a:gd name="T12" fmla="*/ 129 w 268"/>
                <a:gd name="T13" fmla="*/ 205 h 270"/>
                <a:gd name="T14" fmla="*/ 135 w 268"/>
                <a:gd name="T15" fmla="*/ 188 h 270"/>
                <a:gd name="T16" fmla="*/ 150 w 268"/>
                <a:gd name="T17" fmla="*/ 174 h 270"/>
                <a:gd name="T18" fmla="*/ 172 w 268"/>
                <a:gd name="T19" fmla="*/ 165 h 270"/>
                <a:gd name="T20" fmla="*/ 201 w 268"/>
                <a:gd name="T21" fmla="*/ 162 h 270"/>
                <a:gd name="T22" fmla="*/ 209 w 268"/>
                <a:gd name="T23" fmla="*/ 162 h 270"/>
                <a:gd name="T24" fmla="*/ 206 w 268"/>
                <a:gd name="T25" fmla="*/ 157 h 270"/>
                <a:gd name="T26" fmla="*/ 206 w 268"/>
                <a:gd name="T27" fmla="*/ 151 h 270"/>
                <a:gd name="T28" fmla="*/ 210 w 268"/>
                <a:gd name="T29" fmla="*/ 135 h 270"/>
                <a:gd name="T30" fmla="*/ 223 w 268"/>
                <a:gd name="T31" fmla="*/ 122 h 270"/>
                <a:gd name="T32" fmla="*/ 244 w 268"/>
                <a:gd name="T33" fmla="*/ 112 h 270"/>
                <a:gd name="T34" fmla="*/ 268 w 268"/>
                <a:gd name="T35" fmla="*/ 107 h 270"/>
                <a:gd name="T36" fmla="*/ 265 w 268"/>
                <a:gd name="T37" fmla="*/ 96 h 270"/>
                <a:gd name="T38" fmla="*/ 257 w 268"/>
                <a:gd name="T39" fmla="*/ 75 h 270"/>
                <a:gd name="T40" fmla="*/ 245 w 268"/>
                <a:gd name="T41" fmla="*/ 55 h 270"/>
                <a:gd name="T42" fmla="*/ 230 w 268"/>
                <a:gd name="T43" fmla="*/ 37 h 270"/>
                <a:gd name="T44" fmla="*/ 213 w 268"/>
                <a:gd name="T45" fmla="*/ 24 h 270"/>
                <a:gd name="T46" fmla="*/ 193 w 268"/>
                <a:gd name="T47" fmla="*/ 12 h 270"/>
                <a:gd name="T48" fmla="*/ 171 w 268"/>
                <a:gd name="T49" fmla="*/ 4 h 270"/>
                <a:gd name="T50" fmla="*/ 148 w 268"/>
                <a:gd name="T51" fmla="*/ 0 h 270"/>
                <a:gd name="T52" fmla="*/ 136 w 268"/>
                <a:gd name="T53" fmla="*/ 0 h 270"/>
                <a:gd name="T54" fmla="*/ 108 w 268"/>
                <a:gd name="T55" fmla="*/ 2 h 270"/>
                <a:gd name="T56" fmla="*/ 82 w 268"/>
                <a:gd name="T57" fmla="*/ 10 h 270"/>
                <a:gd name="T58" fmla="*/ 60 w 268"/>
                <a:gd name="T59" fmla="*/ 22 h 270"/>
                <a:gd name="T60" fmla="*/ 39 w 268"/>
                <a:gd name="T61" fmla="*/ 39 h 270"/>
                <a:gd name="T62" fmla="*/ 23 w 268"/>
                <a:gd name="T63" fmla="*/ 59 h 270"/>
                <a:gd name="T64" fmla="*/ 11 w 268"/>
                <a:gd name="T65" fmla="*/ 82 h 270"/>
                <a:gd name="T66" fmla="*/ 3 w 268"/>
                <a:gd name="T67" fmla="*/ 107 h 270"/>
                <a:gd name="T68" fmla="*/ 0 w 268"/>
                <a:gd name="T69" fmla="*/ 134 h 270"/>
                <a:gd name="T70" fmla="*/ 0 w 268"/>
                <a:gd name="T71" fmla="*/ 147 h 270"/>
                <a:gd name="T72" fmla="*/ 6 w 268"/>
                <a:gd name="T73" fmla="*/ 174 h 270"/>
                <a:gd name="T74" fmla="*/ 15 w 268"/>
                <a:gd name="T75" fmla="*/ 197 h 270"/>
                <a:gd name="T76" fmla="*/ 30 w 268"/>
                <a:gd name="T77" fmla="*/ 219 h 270"/>
                <a:gd name="T78" fmla="*/ 47 w 268"/>
                <a:gd name="T79" fmla="*/ 237 h 270"/>
                <a:gd name="T80" fmla="*/ 68 w 268"/>
                <a:gd name="T81" fmla="*/ 252 h 270"/>
                <a:gd name="T82" fmla="*/ 92 w 268"/>
                <a:gd name="T83" fmla="*/ 263 h 270"/>
                <a:gd name="T84" fmla="*/ 117 w 268"/>
                <a:gd name="T85" fmla="*/ 268 h 270"/>
                <a:gd name="T86" fmla="*/ 129 w 268"/>
                <a:gd name="T87" fmla="*/ 270 h 270"/>
                <a:gd name="T88" fmla="*/ 129 w 268"/>
                <a:gd name="T89" fmla="*/ 129 h 270"/>
                <a:gd name="T90" fmla="*/ 129 w 268"/>
                <a:gd name="T91" fmla="*/ 69 h 270"/>
                <a:gd name="T92" fmla="*/ 132 w 268"/>
                <a:gd name="T93" fmla="*/ 65 h 270"/>
                <a:gd name="T94" fmla="*/ 136 w 268"/>
                <a:gd name="T95" fmla="*/ 64 h 270"/>
                <a:gd name="T96" fmla="*/ 137 w 268"/>
                <a:gd name="T97" fmla="*/ 64 h 270"/>
                <a:gd name="T98" fmla="*/ 140 w 268"/>
                <a:gd name="T99" fmla="*/ 67 h 270"/>
                <a:gd name="T100" fmla="*/ 141 w 268"/>
                <a:gd name="T101" fmla="*/ 134 h 270"/>
                <a:gd name="T102" fmla="*/ 140 w 268"/>
                <a:gd name="T103" fmla="*/ 137 h 270"/>
                <a:gd name="T104" fmla="*/ 137 w 268"/>
                <a:gd name="T105" fmla="*/ 139 h 270"/>
                <a:gd name="T106" fmla="*/ 70 w 268"/>
                <a:gd name="T107" fmla="*/ 139 h 270"/>
                <a:gd name="T108" fmla="*/ 69 w 268"/>
                <a:gd name="T109" fmla="*/ 139 h 270"/>
                <a:gd name="T110" fmla="*/ 65 w 268"/>
                <a:gd name="T111" fmla="*/ 137 h 270"/>
                <a:gd name="T112" fmla="*/ 65 w 268"/>
                <a:gd name="T113" fmla="*/ 134 h 270"/>
                <a:gd name="T114" fmla="*/ 66 w 268"/>
                <a:gd name="T115" fmla="*/ 131 h 270"/>
                <a:gd name="T116" fmla="*/ 70 w 268"/>
                <a:gd name="T117" fmla="*/ 129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8" h="270">
                  <a:moveTo>
                    <a:pt x="129" y="270"/>
                  </a:moveTo>
                  <a:lnTo>
                    <a:pt x="129" y="270"/>
                  </a:lnTo>
                  <a:lnTo>
                    <a:pt x="131" y="262"/>
                  </a:lnTo>
                  <a:lnTo>
                    <a:pt x="135" y="254"/>
                  </a:lnTo>
                  <a:lnTo>
                    <a:pt x="135" y="254"/>
                  </a:lnTo>
                  <a:lnTo>
                    <a:pt x="131" y="245"/>
                  </a:lnTo>
                  <a:lnTo>
                    <a:pt x="129" y="237"/>
                  </a:lnTo>
                  <a:lnTo>
                    <a:pt x="129" y="237"/>
                  </a:lnTo>
                  <a:lnTo>
                    <a:pt x="131" y="229"/>
                  </a:lnTo>
                  <a:lnTo>
                    <a:pt x="135" y="221"/>
                  </a:lnTo>
                  <a:lnTo>
                    <a:pt x="135" y="221"/>
                  </a:lnTo>
                  <a:lnTo>
                    <a:pt x="131" y="213"/>
                  </a:lnTo>
                  <a:lnTo>
                    <a:pt x="129" y="205"/>
                  </a:lnTo>
                  <a:lnTo>
                    <a:pt x="129" y="205"/>
                  </a:lnTo>
                  <a:lnTo>
                    <a:pt x="132" y="196"/>
                  </a:lnTo>
                  <a:lnTo>
                    <a:pt x="135" y="188"/>
                  </a:lnTo>
                  <a:lnTo>
                    <a:pt x="141" y="181"/>
                  </a:lnTo>
                  <a:lnTo>
                    <a:pt x="150" y="174"/>
                  </a:lnTo>
                  <a:lnTo>
                    <a:pt x="160" y="169"/>
                  </a:lnTo>
                  <a:lnTo>
                    <a:pt x="172" y="165"/>
                  </a:lnTo>
                  <a:lnTo>
                    <a:pt x="186" y="162"/>
                  </a:lnTo>
                  <a:lnTo>
                    <a:pt x="201" y="162"/>
                  </a:lnTo>
                  <a:lnTo>
                    <a:pt x="201" y="162"/>
                  </a:lnTo>
                  <a:lnTo>
                    <a:pt x="209" y="162"/>
                  </a:lnTo>
                  <a:lnTo>
                    <a:pt x="209" y="162"/>
                  </a:lnTo>
                  <a:lnTo>
                    <a:pt x="206" y="157"/>
                  </a:lnTo>
                  <a:lnTo>
                    <a:pt x="206" y="151"/>
                  </a:lnTo>
                  <a:lnTo>
                    <a:pt x="206" y="151"/>
                  </a:lnTo>
                  <a:lnTo>
                    <a:pt x="207" y="142"/>
                  </a:lnTo>
                  <a:lnTo>
                    <a:pt x="210" y="135"/>
                  </a:lnTo>
                  <a:lnTo>
                    <a:pt x="217" y="127"/>
                  </a:lnTo>
                  <a:lnTo>
                    <a:pt x="223" y="122"/>
                  </a:lnTo>
                  <a:lnTo>
                    <a:pt x="233" y="116"/>
                  </a:lnTo>
                  <a:lnTo>
                    <a:pt x="244" y="112"/>
                  </a:lnTo>
                  <a:lnTo>
                    <a:pt x="256" y="110"/>
                  </a:lnTo>
                  <a:lnTo>
                    <a:pt x="268" y="107"/>
                  </a:lnTo>
                  <a:lnTo>
                    <a:pt x="268" y="107"/>
                  </a:lnTo>
                  <a:lnTo>
                    <a:pt x="265" y="96"/>
                  </a:lnTo>
                  <a:lnTo>
                    <a:pt x="261" y="86"/>
                  </a:lnTo>
                  <a:lnTo>
                    <a:pt x="257" y="75"/>
                  </a:lnTo>
                  <a:lnTo>
                    <a:pt x="252" y="64"/>
                  </a:lnTo>
                  <a:lnTo>
                    <a:pt x="245" y="55"/>
                  </a:lnTo>
                  <a:lnTo>
                    <a:pt x="238" y="47"/>
                  </a:lnTo>
                  <a:lnTo>
                    <a:pt x="230" y="37"/>
                  </a:lnTo>
                  <a:lnTo>
                    <a:pt x="222" y="31"/>
                  </a:lnTo>
                  <a:lnTo>
                    <a:pt x="213" y="24"/>
                  </a:lnTo>
                  <a:lnTo>
                    <a:pt x="203" y="17"/>
                  </a:lnTo>
                  <a:lnTo>
                    <a:pt x="193" y="12"/>
                  </a:lnTo>
                  <a:lnTo>
                    <a:pt x="182" y="8"/>
                  </a:lnTo>
                  <a:lnTo>
                    <a:pt x="171" y="4"/>
                  </a:lnTo>
                  <a:lnTo>
                    <a:pt x="159" y="1"/>
                  </a:lnTo>
                  <a:lnTo>
                    <a:pt x="148" y="0"/>
                  </a:lnTo>
                  <a:lnTo>
                    <a:pt x="136" y="0"/>
                  </a:lnTo>
                  <a:lnTo>
                    <a:pt x="136" y="0"/>
                  </a:lnTo>
                  <a:lnTo>
                    <a:pt x="121" y="0"/>
                  </a:lnTo>
                  <a:lnTo>
                    <a:pt x="108" y="2"/>
                  </a:lnTo>
                  <a:lnTo>
                    <a:pt x="96" y="5"/>
                  </a:lnTo>
                  <a:lnTo>
                    <a:pt x="82" y="10"/>
                  </a:lnTo>
                  <a:lnTo>
                    <a:pt x="72" y="16"/>
                  </a:lnTo>
                  <a:lnTo>
                    <a:pt x="60" y="22"/>
                  </a:lnTo>
                  <a:lnTo>
                    <a:pt x="49" y="31"/>
                  </a:lnTo>
                  <a:lnTo>
                    <a:pt x="39" y="39"/>
                  </a:lnTo>
                  <a:lnTo>
                    <a:pt x="31" y="48"/>
                  </a:lnTo>
                  <a:lnTo>
                    <a:pt x="23" y="59"/>
                  </a:lnTo>
                  <a:lnTo>
                    <a:pt x="17" y="69"/>
                  </a:lnTo>
                  <a:lnTo>
                    <a:pt x="11" y="82"/>
                  </a:lnTo>
                  <a:lnTo>
                    <a:pt x="6" y="94"/>
                  </a:lnTo>
                  <a:lnTo>
                    <a:pt x="3" y="107"/>
                  </a:lnTo>
                  <a:lnTo>
                    <a:pt x="0" y="121"/>
                  </a:lnTo>
                  <a:lnTo>
                    <a:pt x="0" y="134"/>
                  </a:lnTo>
                  <a:lnTo>
                    <a:pt x="0" y="134"/>
                  </a:lnTo>
                  <a:lnTo>
                    <a:pt x="0" y="147"/>
                  </a:lnTo>
                  <a:lnTo>
                    <a:pt x="3" y="161"/>
                  </a:lnTo>
                  <a:lnTo>
                    <a:pt x="6" y="174"/>
                  </a:lnTo>
                  <a:lnTo>
                    <a:pt x="10" y="186"/>
                  </a:lnTo>
                  <a:lnTo>
                    <a:pt x="15" y="197"/>
                  </a:lnTo>
                  <a:lnTo>
                    <a:pt x="22" y="209"/>
                  </a:lnTo>
                  <a:lnTo>
                    <a:pt x="30" y="219"/>
                  </a:lnTo>
                  <a:lnTo>
                    <a:pt x="38" y="228"/>
                  </a:lnTo>
                  <a:lnTo>
                    <a:pt x="47" y="237"/>
                  </a:lnTo>
                  <a:lnTo>
                    <a:pt x="57" y="245"/>
                  </a:lnTo>
                  <a:lnTo>
                    <a:pt x="68" y="252"/>
                  </a:lnTo>
                  <a:lnTo>
                    <a:pt x="80" y="258"/>
                  </a:lnTo>
                  <a:lnTo>
                    <a:pt x="92" y="263"/>
                  </a:lnTo>
                  <a:lnTo>
                    <a:pt x="104" y="266"/>
                  </a:lnTo>
                  <a:lnTo>
                    <a:pt x="117" y="268"/>
                  </a:lnTo>
                  <a:lnTo>
                    <a:pt x="129" y="270"/>
                  </a:lnTo>
                  <a:lnTo>
                    <a:pt x="129" y="270"/>
                  </a:lnTo>
                  <a:close/>
                  <a:moveTo>
                    <a:pt x="70" y="129"/>
                  </a:moveTo>
                  <a:lnTo>
                    <a:pt x="129" y="129"/>
                  </a:lnTo>
                  <a:lnTo>
                    <a:pt x="129" y="69"/>
                  </a:lnTo>
                  <a:lnTo>
                    <a:pt x="129" y="69"/>
                  </a:lnTo>
                  <a:lnTo>
                    <a:pt x="131" y="67"/>
                  </a:lnTo>
                  <a:lnTo>
                    <a:pt x="132" y="65"/>
                  </a:lnTo>
                  <a:lnTo>
                    <a:pt x="133" y="64"/>
                  </a:lnTo>
                  <a:lnTo>
                    <a:pt x="136" y="64"/>
                  </a:lnTo>
                  <a:lnTo>
                    <a:pt x="136" y="64"/>
                  </a:lnTo>
                  <a:lnTo>
                    <a:pt x="137" y="64"/>
                  </a:lnTo>
                  <a:lnTo>
                    <a:pt x="139" y="65"/>
                  </a:lnTo>
                  <a:lnTo>
                    <a:pt x="140" y="67"/>
                  </a:lnTo>
                  <a:lnTo>
                    <a:pt x="141" y="69"/>
                  </a:lnTo>
                  <a:lnTo>
                    <a:pt x="141" y="134"/>
                  </a:lnTo>
                  <a:lnTo>
                    <a:pt x="141" y="134"/>
                  </a:lnTo>
                  <a:lnTo>
                    <a:pt x="140" y="137"/>
                  </a:lnTo>
                  <a:lnTo>
                    <a:pt x="139" y="138"/>
                  </a:lnTo>
                  <a:lnTo>
                    <a:pt x="137" y="139"/>
                  </a:lnTo>
                  <a:lnTo>
                    <a:pt x="136" y="139"/>
                  </a:lnTo>
                  <a:lnTo>
                    <a:pt x="70" y="139"/>
                  </a:lnTo>
                  <a:lnTo>
                    <a:pt x="70" y="139"/>
                  </a:lnTo>
                  <a:lnTo>
                    <a:pt x="69" y="139"/>
                  </a:lnTo>
                  <a:lnTo>
                    <a:pt x="66" y="138"/>
                  </a:lnTo>
                  <a:lnTo>
                    <a:pt x="65" y="137"/>
                  </a:lnTo>
                  <a:lnTo>
                    <a:pt x="65" y="134"/>
                  </a:lnTo>
                  <a:lnTo>
                    <a:pt x="65" y="134"/>
                  </a:lnTo>
                  <a:lnTo>
                    <a:pt x="65" y="133"/>
                  </a:lnTo>
                  <a:lnTo>
                    <a:pt x="66" y="131"/>
                  </a:lnTo>
                  <a:lnTo>
                    <a:pt x="69" y="130"/>
                  </a:lnTo>
                  <a:lnTo>
                    <a:pt x="70" y="129"/>
                  </a:lnTo>
                  <a:lnTo>
                    <a:pt x="70" y="1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sp>
          <p:nvSpPr>
            <p:cNvPr id="45" name="Freeform 105">
              <a:extLst>
                <a:ext uri="{FF2B5EF4-FFF2-40B4-BE49-F238E27FC236}">
                  <a16:creationId xmlns:a16="http://schemas.microsoft.com/office/drawing/2014/main" id="{FE67F49D-B061-48A8-87BB-1DF0AA54E7AA}"/>
                </a:ext>
              </a:extLst>
            </p:cNvPr>
            <p:cNvSpPr>
              <a:spLocks/>
            </p:cNvSpPr>
            <p:nvPr/>
          </p:nvSpPr>
          <p:spPr bwMode="auto">
            <a:xfrm>
              <a:off x="8205215" y="5574314"/>
              <a:ext cx="95617" cy="49307"/>
            </a:xfrm>
            <a:custGeom>
              <a:avLst/>
              <a:gdLst>
                <a:gd name="T0" fmla="*/ 59 w 119"/>
                <a:gd name="T1" fmla="*/ 0 h 66"/>
                <a:gd name="T2" fmla="*/ 59 w 119"/>
                <a:gd name="T3" fmla="*/ 0 h 66"/>
                <a:gd name="T4" fmla="*/ 47 w 119"/>
                <a:gd name="T5" fmla="*/ 1 h 66"/>
                <a:gd name="T6" fmla="*/ 36 w 119"/>
                <a:gd name="T7" fmla="*/ 3 h 66"/>
                <a:gd name="T8" fmla="*/ 25 w 119"/>
                <a:gd name="T9" fmla="*/ 5 h 66"/>
                <a:gd name="T10" fmla="*/ 17 w 119"/>
                <a:gd name="T11" fmla="*/ 9 h 66"/>
                <a:gd name="T12" fmla="*/ 9 w 119"/>
                <a:gd name="T13" fmla="*/ 15 h 66"/>
                <a:gd name="T14" fmla="*/ 4 w 119"/>
                <a:gd name="T15" fmla="*/ 20 h 66"/>
                <a:gd name="T16" fmla="*/ 1 w 119"/>
                <a:gd name="T17" fmla="*/ 27 h 66"/>
                <a:gd name="T18" fmla="*/ 0 w 119"/>
                <a:gd name="T19" fmla="*/ 33 h 66"/>
                <a:gd name="T20" fmla="*/ 0 w 119"/>
                <a:gd name="T21" fmla="*/ 33 h 66"/>
                <a:gd name="T22" fmla="*/ 1 w 119"/>
                <a:gd name="T23" fmla="*/ 39 h 66"/>
                <a:gd name="T24" fmla="*/ 4 w 119"/>
                <a:gd name="T25" fmla="*/ 46 h 66"/>
                <a:gd name="T26" fmla="*/ 4 w 119"/>
                <a:gd name="T27" fmla="*/ 46 h 66"/>
                <a:gd name="T28" fmla="*/ 16 w 119"/>
                <a:gd name="T29" fmla="*/ 48 h 66"/>
                <a:gd name="T30" fmla="*/ 27 w 119"/>
                <a:gd name="T31" fmla="*/ 52 h 66"/>
                <a:gd name="T32" fmla="*/ 36 w 119"/>
                <a:gd name="T33" fmla="*/ 58 h 66"/>
                <a:gd name="T34" fmla="*/ 44 w 119"/>
                <a:gd name="T35" fmla="*/ 64 h 66"/>
                <a:gd name="T36" fmla="*/ 44 w 119"/>
                <a:gd name="T37" fmla="*/ 64 h 66"/>
                <a:gd name="T38" fmla="*/ 59 w 119"/>
                <a:gd name="T39" fmla="*/ 66 h 66"/>
                <a:gd name="T40" fmla="*/ 59 w 119"/>
                <a:gd name="T41" fmla="*/ 66 h 66"/>
                <a:gd name="T42" fmla="*/ 71 w 119"/>
                <a:gd name="T43" fmla="*/ 64 h 66"/>
                <a:gd name="T44" fmla="*/ 83 w 119"/>
                <a:gd name="T45" fmla="*/ 63 h 66"/>
                <a:gd name="T46" fmla="*/ 92 w 119"/>
                <a:gd name="T47" fmla="*/ 60 h 66"/>
                <a:gd name="T48" fmla="*/ 102 w 119"/>
                <a:gd name="T49" fmla="*/ 56 h 66"/>
                <a:gd name="T50" fmla="*/ 108 w 119"/>
                <a:gd name="T51" fmla="*/ 51 h 66"/>
                <a:gd name="T52" fmla="*/ 114 w 119"/>
                <a:gd name="T53" fmla="*/ 46 h 66"/>
                <a:gd name="T54" fmla="*/ 118 w 119"/>
                <a:gd name="T55" fmla="*/ 39 h 66"/>
                <a:gd name="T56" fmla="*/ 119 w 119"/>
                <a:gd name="T57" fmla="*/ 33 h 66"/>
                <a:gd name="T58" fmla="*/ 119 w 119"/>
                <a:gd name="T59" fmla="*/ 33 h 66"/>
                <a:gd name="T60" fmla="*/ 118 w 119"/>
                <a:gd name="T61" fmla="*/ 27 h 66"/>
                <a:gd name="T62" fmla="*/ 114 w 119"/>
                <a:gd name="T63" fmla="*/ 20 h 66"/>
                <a:gd name="T64" fmla="*/ 108 w 119"/>
                <a:gd name="T65" fmla="*/ 15 h 66"/>
                <a:gd name="T66" fmla="*/ 102 w 119"/>
                <a:gd name="T67" fmla="*/ 9 h 66"/>
                <a:gd name="T68" fmla="*/ 92 w 119"/>
                <a:gd name="T69" fmla="*/ 5 h 66"/>
                <a:gd name="T70" fmla="*/ 83 w 119"/>
                <a:gd name="T71" fmla="*/ 3 h 66"/>
                <a:gd name="T72" fmla="*/ 71 w 119"/>
                <a:gd name="T73" fmla="*/ 1 h 66"/>
                <a:gd name="T74" fmla="*/ 59 w 119"/>
                <a:gd name="T75" fmla="*/ 0 h 66"/>
                <a:gd name="T76" fmla="*/ 59 w 119"/>
                <a:gd name="T77"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9" h="66">
                  <a:moveTo>
                    <a:pt x="59" y="0"/>
                  </a:moveTo>
                  <a:lnTo>
                    <a:pt x="59" y="0"/>
                  </a:lnTo>
                  <a:lnTo>
                    <a:pt x="47" y="1"/>
                  </a:lnTo>
                  <a:lnTo>
                    <a:pt x="36" y="3"/>
                  </a:lnTo>
                  <a:lnTo>
                    <a:pt x="25" y="5"/>
                  </a:lnTo>
                  <a:lnTo>
                    <a:pt x="17" y="9"/>
                  </a:lnTo>
                  <a:lnTo>
                    <a:pt x="9" y="15"/>
                  </a:lnTo>
                  <a:lnTo>
                    <a:pt x="4" y="20"/>
                  </a:lnTo>
                  <a:lnTo>
                    <a:pt x="1" y="27"/>
                  </a:lnTo>
                  <a:lnTo>
                    <a:pt x="0" y="33"/>
                  </a:lnTo>
                  <a:lnTo>
                    <a:pt x="0" y="33"/>
                  </a:lnTo>
                  <a:lnTo>
                    <a:pt x="1" y="39"/>
                  </a:lnTo>
                  <a:lnTo>
                    <a:pt x="4" y="46"/>
                  </a:lnTo>
                  <a:lnTo>
                    <a:pt x="4" y="46"/>
                  </a:lnTo>
                  <a:lnTo>
                    <a:pt x="16" y="48"/>
                  </a:lnTo>
                  <a:lnTo>
                    <a:pt x="27" y="52"/>
                  </a:lnTo>
                  <a:lnTo>
                    <a:pt x="36" y="58"/>
                  </a:lnTo>
                  <a:lnTo>
                    <a:pt x="44" y="64"/>
                  </a:lnTo>
                  <a:lnTo>
                    <a:pt x="44" y="64"/>
                  </a:lnTo>
                  <a:lnTo>
                    <a:pt x="59" y="66"/>
                  </a:lnTo>
                  <a:lnTo>
                    <a:pt x="59" y="66"/>
                  </a:lnTo>
                  <a:lnTo>
                    <a:pt x="71" y="64"/>
                  </a:lnTo>
                  <a:lnTo>
                    <a:pt x="83" y="63"/>
                  </a:lnTo>
                  <a:lnTo>
                    <a:pt x="92" y="60"/>
                  </a:lnTo>
                  <a:lnTo>
                    <a:pt x="102" y="56"/>
                  </a:lnTo>
                  <a:lnTo>
                    <a:pt x="108" y="51"/>
                  </a:lnTo>
                  <a:lnTo>
                    <a:pt x="114" y="46"/>
                  </a:lnTo>
                  <a:lnTo>
                    <a:pt x="118" y="39"/>
                  </a:lnTo>
                  <a:lnTo>
                    <a:pt x="119" y="33"/>
                  </a:lnTo>
                  <a:lnTo>
                    <a:pt x="119" y="33"/>
                  </a:lnTo>
                  <a:lnTo>
                    <a:pt x="118" y="27"/>
                  </a:lnTo>
                  <a:lnTo>
                    <a:pt x="114" y="20"/>
                  </a:lnTo>
                  <a:lnTo>
                    <a:pt x="108" y="15"/>
                  </a:lnTo>
                  <a:lnTo>
                    <a:pt x="102" y="9"/>
                  </a:lnTo>
                  <a:lnTo>
                    <a:pt x="92" y="5"/>
                  </a:lnTo>
                  <a:lnTo>
                    <a:pt x="83" y="3"/>
                  </a:lnTo>
                  <a:lnTo>
                    <a:pt x="71" y="1"/>
                  </a:lnTo>
                  <a:lnTo>
                    <a:pt x="59" y="0"/>
                  </a:lnTo>
                  <a:lnTo>
                    <a:pt x="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sp>
          <p:nvSpPr>
            <p:cNvPr id="46" name="Freeform 106">
              <a:extLst>
                <a:ext uri="{FF2B5EF4-FFF2-40B4-BE49-F238E27FC236}">
                  <a16:creationId xmlns:a16="http://schemas.microsoft.com/office/drawing/2014/main" id="{BE3E54B2-6AD2-4BDE-B358-E2C300E83E89}"/>
                </a:ext>
              </a:extLst>
            </p:cNvPr>
            <p:cNvSpPr>
              <a:spLocks/>
            </p:cNvSpPr>
            <p:nvPr/>
          </p:nvSpPr>
          <p:spPr bwMode="auto">
            <a:xfrm>
              <a:off x="8248242" y="5641551"/>
              <a:ext cx="52590" cy="31377"/>
            </a:xfrm>
            <a:custGeom>
              <a:avLst/>
              <a:gdLst>
                <a:gd name="T0" fmla="*/ 66 w 67"/>
                <a:gd name="T1" fmla="*/ 0 h 40"/>
                <a:gd name="T2" fmla="*/ 66 w 67"/>
                <a:gd name="T3" fmla="*/ 0 h 40"/>
                <a:gd name="T4" fmla="*/ 54 w 67"/>
                <a:gd name="T5" fmla="*/ 8 h 40"/>
                <a:gd name="T6" fmla="*/ 40 w 67"/>
                <a:gd name="T7" fmla="*/ 13 h 40"/>
                <a:gd name="T8" fmla="*/ 26 w 67"/>
                <a:gd name="T9" fmla="*/ 17 h 40"/>
                <a:gd name="T10" fmla="*/ 7 w 67"/>
                <a:gd name="T11" fmla="*/ 19 h 40"/>
                <a:gd name="T12" fmla="*/ 7 w 67"/>
                <a:gd name="T13" fmla="*/ 19 h 40"/>
                <a:gd name="T14" fmla="*/ 0 w 67"/>
                <a:gd name="T15" fmla="*/ 19 h 40"/>
                <a:gd name="T16" fmla="*/ 0 w 67"/>
                <a:gd name="T17" fmla="*/ 19 h 40"/>
                <a:gd name="T18" fmla="*/ 1 w 67"/>
                <a:gd name="T19" fmla="*/ 24 h 40"/>
                <a:gd name="T20" fmla="*/ 1 w 67"/>
                <a:gd name="T21" fmla="*/ 29 h 40"/>
                <a:gd name="T22" fmla="*/ 1 w 67"/>
                <a:gd name="T23" fmla="*/ 29 h 40"/>
                <a:gd name="T24" fmla="*/ 1 w 67"/>
                <a:gd name="T25" fmla="*/ 35 h 40"/>
                <a:gd name="T26" fmla="*/ 0 w 67"/>
                <a:gd name="T27" fmla="*/ 40 h 40"/>
                <a:gd name="T28" fmla="*/ 0 w 67"/>
                <a:gd name="T29" fmla="*/ 40 h 40"/>
                <a:gd name="T30" fmla="*/ 7 w 67"/>
                <a:gd name="T31" fmla="*/ 40 h 40"/>
                <a:gd name="T32" fmla="*/ 7 w 67"/>
                <a:gd name="T33" fmla="*/ 40 h 40"/>
                <a:gd name="T34" fmla="*/ 19 w 67"/>
                <a:gd name="T35" fmla="*/ 40 h 40"/>
                <a:gd name="T36" fmla="*/ 31 w 67"/>
                <a:gd name="T37" fmla="*/ 37 h 40"/>
                <a:gd name="T38" fmla="*/ 40 w 67"/>
                <a:gd name="T39" fmla="*/ 35 h 40"/>
                <a:gd name="T40" fmla="*/ 50 w 67"/>
                <a:gd name="T41" fmla="*/ 31 h 40"/>
                <a:gd name="T42" fmla="*/ 56 w 67"/>
                <a:gd name="T43" fmla="*/ 27 h 40"/>
                <a:gd name="T44" fmla="*/ 62 w 67"/>
                <a:gd name="T45" fmla="*/ 20 h 40"/>
                <a:gd name="T46" fmla="*/ 66 w 67"/>
                <a:gd name="T47" fmla="*/ 15 h 40"/>
                <a:gd name="T48" fmla="*/ 67 w 67"/>
                <a:gd name="T49" fmla="*/ 8 h 40"/>
                <a:gd name="T50" fmla="*/ 67 w 67"/>
                <a:gd name="T51" fmla="*/ 8 h 40"/>
                <a:gd name="T52" fmla="*/ 66 w 67"/>
                <a:gd name="T53" fmla="*/ 0 h 40"/>
                <a:gd name="T54" fmla="*/ 66 w 67"/>
                <a:gd name="T5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 h="40">
                  <a:moveTo>
                    <a:pt x="66" y="0"/>
                  </a:moveTo>
                  <a:lnTo>
                    <a:pt x="66" y="0"/>
                  </a:lnTo>
                  <a:lnTo>
                    <a:pt x="54" y="8"/>
                  </a:lnTo>
                  <a:lnTo>
                    <a:pt x="40" y="13"/>
                  </a:lnTo>
                  <a:lnTo>
                    <a:pt x="26" y="17"/>
                  </a:lnTo>
                  <a:lnTo>
                    <a:pt x="7" y="19"/>
                  </a:lnTo>
                  <a:lnTo>
                    <a:pt x="7" y="19"/>
                  </a:lnTo>
                  <a:lnTo>
                    <a:pt x="0" y="19"/>
                  </a:lnTo>
                  <a:lnTo>
                    <a:pt x="0" y="19"/>
                  </a:lnTo>
                  <a:lnTo>
                    <a:pt x="1" y="24"/>
                  </a:lnTo>
                  <a:lnTo>
                    <a:pt x="1" y="29"/>
                  </a:lnTo>
                  <a:lnTo>
                    <a:pt x="1" y="29"/>
                  </a:lnTo>
                  <a:lnTo>
                    <a:pt x="1" y="35"/>
                  </a:lnTo>
                  <a:lnTo>
                    <a:pt x="0" y="40"/>
                  </a:lnTo>
                  <a:lnTo>
                    <a:pt x="0" y="40"/>
                  </a:lnTo>
                  <a:lnTo>
                    <a:pt x="7" y="40"/>
                  </a:lnTo>
                  <a:lnTo>
                    <a:pt x="7" y="40"/>
                  </a:lnTo>
                  <a:lnTo>
                    <a:pt x="19" y="40"/>
                  </a:lnTo>
                  <a:lnTo>
                    <a:pt x="31" y="37"/>
                  </a:lnTo>
                  <a:lnTo>
                    <a:pt x="40" y="35"/>
                  </a:lnTo>
                  <a:lnTo>
                    <a:pt x="50" y="31"/>
                  </a:lnTo>
                  <a:lnTo>
                    <a:pt x="56" y="27"/>
                  </a:lnTo>
                  <a:lnTo>
                    <a:pt x="62" y="20"/>
                  </a:lnTo>
                  <a:lnTo>
                    <a:pt x="66" y="15"/>
                  </a:lnTo>
                  <a:lnTo>
                    <a:pt x="67" y="8"/>
                  </a:lnTo>
                  <a:lnTo>
                    <a:pt x="67" y="8"/>
                  </a:lnTo>
                  <a:lnTo>
                    <a:pt x="66" y="0"/>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sp>
          <p:nvSpPr>
            <p:cNvPr id="47" name="Freeform 107">
              <a:extLst>
                <a:ext uri="{FF2B5EF4-FFF2-40B4-BE49-F238E27FC236}">
                  <a16:creationId xmlns:a16="http://schemas.microsoft.com/office/drawing/2014/main" id="{E76154AA-2DBE-4927-B5C1-1C29D3D9773A}"/>
                </a:ext>
              </a:extLst>
            </p:cNvPr>
            <p:cNvSpPr>
              <a:spLocks/>
            </p:cNvSpPr>
            <p:nvPr/>
          </p:nvSpPr>
          <p:spPr bwMode="auto">
            <a:xfrm>
              <a:off x="8248242" y="5617644"/>
              <a:ext cx="52590" cy="29883"/>
            </a:xfrm>
            <a:custGeom>
              <a:avLst/>
              <a:gdLst>
                <a:gd name="T0" fmla="*/ 66 w 67"/>
                <a:gd name="T1" fmla="*/ 0 h 40"/>
                <a:gd name="T2" fmla="*/ 66 w 67"/>
                <a:gd name="T3" fmla="*/ 0 h 40"/>
                <a:gd name="T4" fmla="*/ 54 w 67"/>
                <a:gd name="T5" fmla="*/ 8 h 40"/>
                <a:gd name="T6" fmla="*/ 40 w 67"/>
                <a:gd name="T7" fmla="*/ 13 h 40"/>
                <a:gd name="T8" fmla="*/ 26 w 67"/>
                <a:gd name="T9" fmla="*/ 17 h 40"/>
                <a:gd name="T10" fmla="*/ 7 w 67"/>
                <a:gd name="T11" fmla="*/ 18 h 40"/>
                <a:gd name="T12" fmla="*/ 7 w 67"/>
                <a:gd name="T13" fmla="*/ 18 h 40"/>
                <a:gd name="T14" fmla="*/ 0 w 67"/>
                <a:gd name="T15" fmla="*/ 18 h 40"/>
                <a:gd name="T16" fmla="*/ 0 w 67"/>
                <a:gd name="T17" fmla="*/ 18 h 40"/>
                <a:gd name="T18" fmla="*/ 1 w 67"/>
                <a:gd name="T19" fmla="*/ 24 h 40"/>
                <a:gd name="T20" fmla="*/ 1 w 67"/>
                <a:gd name="T21" fmla="*/ 29 h 40"/>
                <a:gd name="T22" fmla="*/ 1 w 67"/>
                <a:gd name="T23" fmla="*/ 29 h 40"/>
                <a:gd name="T24" fmla="*/ 1 w 67"/>
                <a:gd name="T25" fmla="*/ 35 h 40"/>
                <a:gd name="T26" fmla="*/ 0 w 67"/>
                <a:gd name="T27" fmla="*/ 40 h 40"/>
                <a:gd name="T28" fmla="*/ 0 w 67"/>
                <a:gd name="T29" fmla="*/ 40 h 40"/>
                <a:gd name="T30" fmla="*/ 7 w 67"/>
                <a:gd name="T31" fmla="*/ 40 h 40"/>
                <a:gd name="T32" fmla="*/ 7 w 67"/>
                <a:gd name="T33" fmla="*/ 40 h 40"/>
                <a:gd name="T34" fmla="*/ 19 w 67"/>
                <a:gd name="T35" fmla="*/ 39 h 40"/>
                <a:gd name="T36" fmla="*/ 31 w 67"/>
                <a:gd name="T37" fmla="*/ 37 h 40"/>
                <a:gd name="T38" fmla="*/ 40 w 67"/>
                <a:gd name="T39" fmla="*/ 35 h 40"/>
                <a:gd name="T40" fmla="*/ 50 w 67"/>
                <a:gd name="T41" fmla="*/ 30 h 40"/>
                <a:gd name="T42" fmla="*/ 56 w 67"/>
                <a:gd name="T43" fmla="*/ 25 h 40"/>
                <a:gd name="T44" fmla="*/ 62 w 67"/>
                <a:gd name="T45" fmla="*/ 20 h 40"/>
                <a:gd name="T46" fmla="*/ 66 w 67"/>
                <a:gd name="T47" fmla="*/ 14 h 40"/>
                <a:gd name="T48" fmla="*/ 67 w 67"/>
                <a:gd name="T49" fmla="*/ 8 h 40"/>
                <a:gd name="T50" fmla="*/ 67 w 67"/>
                <a:gd name="T51" fmla="*/ 8 h 40"/>
                <a:gd name="T52" fmla="*/ 66 w 67"/>
                <a:gd name="T53" fmla="*/ 0 h 40"/>
                <a:gd name="T54" fmla="*/ 66 w 67"/>
                <a:gd name="T5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 h="40">
                  <a:moveTo>
                    <a:pt x="66" y="0"/>
                  </a:moveTo>
                  <a:lnTo>
                    <a:pt x="66" y="0"/>
                  </a:lnTo>
                  <a:lnTo>
                    <a:pt x="54" y="8"/>
                  </a:lnTo>
                  <a:lnTo>
                    <a:pt x="40" y="13"/>
                  </a:lnTo>
                  <a:lnTo>
                    <a:pt x="26" y="17"/>
                  </a:lnTo>
                  <a:lnTo>
                    <a:pt x="7" y="18"/>
                  </a:lnTo>
                  <a:lnTo>
                    <a:pt x="7" y="18"/>
                  </a:lnTo>
                  <a:lnTo>
                    <a:pt x="0" y="18"/>
                  </a:lnTo>
                  <a:lnTo>
                    <a:pt x="0" y="18"/>
                  </a:lnTo>
                  <a:lnTo>
                    <a:pt x="1" y="24"/>
                  </a:lnTo>
                  <a:lnTo>
                    <a:pt x="1" y="29"/>
                  </a:lnTo>
                  <a:lnTo>
                    <a:pt x="1" y="29"/>
                  </a:lnTo>
                  <a:lnTo>
                    <a:pt x="1" y="35"/>
                  </a:lnTo>
                  <a:lnTo>
                    <a:pt x="0" y="40"/>
                  </a:lnTo>
                  <a:lnTo>
                    <a:pt x="0" y="40"/>
                  </a:lnTo>
                  <a:lnTo>
                    <a:pt x="7" y="40"/>
                  </a:lnTo>
                  <a:lnTo>
                    <a:pt x="7" y="40"/>
                  </a:lnTo>
                  <a:lnTo>
                    <a:pt x="19" y="39"/>
                  </a:lnTo>
                  <a:lnTo>
                    <a:pt x="31" y="37"/>
                  </a:lnTo>
                  <a:lnTo>
                    <a:pt x="40" y="35"/>
                  </a:lnTo>
                  <a:lnTo>
                    <a:pt x="50" y="30"/>
                  </a:lnTo>
                  <a:lnTo>
                    <a:pt x="56" y="25"/>
                  </a:lnTo>
                  <a:lnTo>
                    <a:pt x="62" y="20"/>
                  </a:lnTo>
                  <a:lnTo>
                    <a:pt x="66" y="14"/>
                  </a:lnTo>
                  <a:lnTo>
                    <a:pt x="67" y="8"/>
                  </a:lnTo>
                  <a:lnTo>
                    <a:pt x="67" y="8"/>
                  </a:lnTo>
                  <a:lnTo>
                    <a:pt x="66" y="0"/>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sp>
          <p:nvSpPr>
            <p:cNvPr id="48" name="Freeform 108">
              <a:extLst>
                <a:ext uri="{FF2B5EF4-FFF2-40B4-BE49-F238E27FC236}">
                  <a16:creationId xmlns:a16="http://schemas.microsoft.com/office/drawing/2014/main" id="{B1CAEA4A-8814-47DB-BA3C-554CDDE06054}"/>
                </a:ext>
              </a:extLst>
            </p:cNvPr>
            <p:cNvSpPr>
              <a:spLocks/>
            </p:cNvSpPr>
            <p:nvPr/>
          </p:nvSpPr>
          <p:spPr bwMode="auto">
            <a:xfrm>
              <a:off x="8248242" y="5666950"/>
              <a:ext cx="52590" cy="29883"/>
            </a:xfrm>
            <a:custGeom>
              <a:avLst/>
              <a:gdLst>
                <a:gd name="T0" fmla="*/ 7 w 67"/>
                <a:gd name="T1" fmla="*/ 39 h 39"/>
                <a:gd name="T2" fmla="*/ 7 w 67"/>
                <a:gd name="T3" fmla="*/ 39 h 39"/>
                <a:gd name="T4" fmla="*/ 19 w 67"/>
                <a:gd name="T5" fmla="*/ 39 h 39"/>
                <a:gd name="T6" fmla="*/ 31 w 67"/>
                <a:gd name="T7" fmla="*/ 37 h 39"/>
                <a:gd name="T8" fmla="*/ 40 w 67"/>
                <a:gd name="T9" fmla="*/ 34 h 39"/>
                <a:gd name="T10" fmla="*/ 50 w 67"/>
                <a:gd name="T11" fmla="*/ 30 h 39"/>
                <a:gd name="T12" fmla="*/ 56 w 67"/>
                <a:gd name="T13" fmla="*/ 26 h 39"/>
                <a:gd name="T14" fmla="*/ 62 w 67"/>
                <a:gd name="T15" fmla="*/ 21 h 39"/>
                <a:gd name="T16" fmla="*/ 66 w 67"/>
                <a:gd name="T17" fmla="*/ 14 h 39"/>
                <a:gd name="T18" fmla="*/ 67 w 67"/>
                <a:gd name="T19" fmla="*/ 7 h 39"/>
                <a:gd name="T20" fmla="*/ 67 w 67"/>
                <a:gd name="T21" fmla="*/ 7 h 39"/>
                <a:gd name="T22" fmla="*/ 66 w 67"/>
                <a:gd name="T23" fmla="*/ 0 h 39"/>
                <a:gd name="T24" fmla="*/ 66 w 67"/>
                <a:gd name="T25" fmla="*/ 0 h 39"/>
                <a:gd name="T26" fmla="*/ 54 w 67"/>
                <a:gd name="T27" fmla="*/ 7 h 39"/>
                <a:gd name="T28" fmla="*/ 40 w 67"/>
                <a:gd name="T29" fmla="*/ 13 h 39"/>
                <a:gd name="T30" fmla="*/ 26 w 67"/>
                <a:gd name="T31" fmla="*/ 17 h 39"/>
                <a:gd name="T32" fmla="*/ 7 w 67"/>
                <a:gd name="T33" fmla="*/ 18 h 39"/>
                <a:gd name="T34" fmla="*/ 7 w 67"/>
                <a:gd name="T35" fmla="*/ 18 h 39"/>
                <a:gd name="T36" fmla="*/ 0 w 67"/>
                <a:gd name="T37" fmla="*/ 18 h 39"/>
                <a:gd name="T38" fmla="*/ 0 w 67"/>
                <a:gd name="T39" fmla="*/ 18 h 39"/>
                <a:gd name="T40" fmla="*/ 1 w 67"/>
                <a:gd name="T41" fmla="*/ 23 h 39"/>
                <a:gd name="T42" fmla="*/ 1 w 67"/>
                <a:gd name="T43" fmla="*/ 29 h 39"/>
                <a:gd name="T44" fmla="*/ 1 w 67"/>
                <a:gd name="T45" fmla="*/ 29 h 39"/>
                <a:gd name="T46" fmla="*/ 1 w 67"/>
                <a:gd name="T47" fmla="*/ 34 h 39"/>
                <a:gd name="T48" fmla="*/ 0 w 67"/>
                <a:gd name="T49" fmla="*/ 39 h 39"/>
                <a:gd name="T50" fmla="*/ 0 w 67"/>
                <a:gd name="T51" fmla="*/ 39 h 39"/>
                <a:gd name="T52" fmla="*/ 7 w 67"/>
                <a:gd name="T53" fmla="*/ 39 h 39"/>
                <a:gd name="T54" fmla="*/ 7 w 67"/>
                <a:gd name="T5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 h="39">
                  <a:moveTo>
                    <a:pt x="7" y="39"/>
                  </a:moveTo>
                  <a:lnTo>
                    <a:pt x="7" y="39"/>
                  </a:lnTo>
                  <a:lnTo>
                    <a:pt x="19" y="39"/>
                  </a:lnTo>
                  <a:lnTo>
                    <a:pt x="31" y="37"/>
                  </a:lnTo>
                  <a:lnTo>
                    <a:pt x="40" y="34"/>
                  </a:lnTo>
                  <a:lnTo>
                    <a:pt x="50" y="30"/>
                  </a:lnTo>
                  <a:lnTo>
                    <a:pt x="56" y="26"/>
                  </a:lnTo>
                  <a:lnTo>
                    <a:pt x="62" y="21"/>
                  </a:lnTo>
                  <a:lnTo>
                    <a:pt x="66" y="14"/>
                  </a:lnTo>
                  <a:lnTo>
                    <a:pt x="67" y="7"/>
                  </a:lnTo>
                  <a:lnTo>
                    <a:pt x="67" y="7"/>
                  </a:lnTo>
                  <a:lnTo>
                    <a:pt x="66" y="0"/>
                  </a:lnTo>
                  <a:lnTo>
                    <a:pt x="66" y="0"/>
                  </a:lnTo>
                  <a:lnTo>
                    <a:pt x="54" y="7"/>
                  </a:lnTo>
                  <a:lnTo>
                    <a:pt x="40" y="13"/>
                  </a:lnTo>
                  <a:lnTo>
                    <a:pt x="26" y="17"/>
                  </a:lnTo>
                  <a:lnTo>
                    <a:pt x="7" y="18"/>
                  </a:lnTo>
                  <a:lnTo>
                    <a:pt x="7" y="18"/>
                  </a:lnTo>
                  <a:lnTo>
                    <a:pt x="0" y="18"/>
                  </a:lnTo>
                  <a:lnTo>
                    <a:pt x="0" y="18"/>
                  </a:lnTo>
                  <a:lnTo>
                    <a:pt x="1" y="23"/>
                  </a:lnTo>
                  <a:lnTo>
                    <a:pt x="1" y="29"/>
                  </a:lnTo>
                  <a:lnTo>
                    <a:pt x="1" y="29"/>
                  </a:lnTo>
                  <a:lnTo>
                    <a:pt x="1" y="34"/>
                  </a:lnTo>
                  <a:lnTo>
                    <a:pt x="0" y="39"/>
                  </a:lnTo>
                  <a:lnTo>
                    <a:pt x="0" y="39"/>
                  </a:lnTo>
                  <a:lnTo>
                    <a:pt x="7" y="39"/>
                  </a:lnTo>
                  <a:lnTo>
                    <a:pt x="7"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sp>
          <p:nvSpPr>
            <p:cNvPr id="49" name="Freeform 109">
              <a:extLst>
                <a:ext uri="{FF2B5EF4-FFF2-40B4-BE49-F238E27FC236}">
                  <a16:creationId xmlns:a16="http://schemas.microsoft.com/office/drawing/2014/main" id="{4B7EEE19-23D0-4B49-96CE-05709CAE14D1}"/>
                </a:ext>
              </a:extLst>
            </p:cNvPr>
            <p:cNvSpPr>
              <a:spLocks/>
            </p:cNvSpPr>
            <p:nvPr/>
          </p:nvSpPr>
          <p:spPr bwMode="auto">
            <a:xfrm>
              <a:off x="8146251" y="5707293"/>
              <a:ext cx="94024" cy="29883"/>
            </a:xfrm>
            <a:custGeom>
              <a:avLst/>
              <a:gdLst>
                <a:gd name="T0" fmla="*/ 2 w 119"/>
                <a:gd name="T1" fmla="*/ 0 h 40"/>
                <a:gd name="T2" fmla="*/ 2 w 119"/>
                <a:gd name="T3" fmla="*/ 0 h 40"/>
                <a:gd name="T4" fmla="*/ 0 w 119"/>
                <a:gd name="T5" fmla="*/ 7 h 40"/>
                <a:gd name="T6" fmla="*/ 0 w 119"/>
                <a:gd name="T7" fmla="*/ 7 h 40"/>
                <a:gd name="T8" fmla="*/ 0 w 119"/>
                <a:gd name="T9" fmla="*/ 14 h 40"/>
                <a:gd name="T10" fmla="*/ 4 w 119"/>
                <a:gd name="T11" fmla="*/ 20 h 40"/>
                <a:gd name="T12" fmla="*/ 10 w 119"/>
                <a:gd name="T13" fmla="*/ 26 h 40"/>
                <a:gd name="T14" fmla="*/ 17 w 119"/>
                <a:gd name="T15" fmla="*/ 31 h 40"/>
                <a:gd name="T16" fmla="*/ 26 w 119"/>
                <a:gd name="T17" fmla="*/ 35 h 40"/>
                <a:gd name="T18" fmla="*/ 35 w 119"/>
                <a:gd name="T19" fmla="*/ 38 h 40"/>
                <a:gd name="T20" fmla="*/ 47 w 119"/>
                <a:gd name="T21" fmla="*/ 39 h 40"/>
                <a:gd name="T22" fmla="*/ 60 w 119"/>
                <a:gd name="T23" fmla="*/ 40 h 40"/>
                <a:gd name="T24" fmla="*/ 60 w 119"/>
                <a:gd name="T25" fmla="*/ 40 h 40"/>
                <a:gd name="T26" fmla="*/ 72 w 119"/>
                <a:gd name="T27" fmla="*/ 39 h 40"/>
                <a:gd name="T28" fmla="*/ 82 w 119"/>
                <a:gd name="T29" fmla="*/ 38 h 40"/>
                <a:gd name="T30" fmla="*/ 93 w 119"/>
                <a:gd name="T31" fmla="*/ 35 h 40"/>
                <a:gd name="T32" fmla="*/ 101 w 119"/>
                <a:gd name="T33" fmla="*/ 31 h 40"/>
                <a:gd name="T34" fmla="*/ 109 w 119"/>
                <a:gd name="T35" fmla="*/ 26 h 40"/>
                <a:gd name="T36" fmla="*/ 115 w 119"/>
                <a:gd name="T37" fmla="*/ 20 h 40"/>
                <a:gd name="T38" fmla="*/ 117 w 119"/>
                <a:gd name="T39" fmla="*/ 14 h 40"/>
                <a:gd name="T40" fmla="*/ 119 w 119"/>
                <a:gd name="T41" fmla="*/ 7 h 40"/>
                <a:gd name="T42" fmla="*/ 119 w 119"/>
                <a:gd name="T43" fmla="*/ 7 h 40"/>
                <a:gd name="T44" fmla="*/ 117 w 119"/>
                <a:gd name="T45" fmla="*/ 0 h 40"/>
                <a:gd name="T46" fmla="*/ 117 w 119"/>
                <a:gd name="T47" fmla="*/ 0 h 40"/>
                <a:gd name="T48" fmla="*/ 107 w 119"/>
                <a:gd name="T49" fmla="*/ 8 h 40"/>
                <a:gd name="T50" fmla="*/ 93 w 119"/>
                <a:gd name="T51" fmla="*/ 14 h 40"/>
                <a:gd name="T52" fmla="*/ 77 w 119"/>
                <a:gd name="T53" fmla="*/ 18 h 40"/>
                <a:gd name="T54" fmla="*/ 60 w 119"/>
                <a:gd name="T55" fmla="*/ 18 h 40"/>
                <a:gd name="T56" fmla="*/ 60 w 119"/>
                <a:gd name="T57" fmla="*/ 18 h 40"/>
                <a:gd name="T58" fmla="*/ 42 w 119"/>
                <a:gd name="T59" fmla="*/ 18 h 40"/>
                <a:gd name="T60" fmla="*/ 26 w 119"/>
                <a:gd name="T61" fmla="*/ 14 h 40"/>
                <a:gd name="T62" fmla="*/ 13 w 119"/>
                <a:gd name="T63" fmla="*/ 8 h 40"/>
                <a:gd name="T64" fmla="*/ 2 w 119"/>
                <a:gd name="T65" fmla="*/ 0 h 40"/>
                <a:gd name="T66" fmla="*/ 2 w 119"/>
                <a:gd name="T6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 h="40">
                  <a:moveTo>
                    <a:pt x="2" y="0"/>
                  </a:moveTo>
                  <a:lnTo>
                    <a:pt x="2" y="0"/>
                  </a:lnTo>
                  <a:lnTo>
                    <a:pt x="0" y="7"/>
                  </a:lnTo>
                  <a:lnTo>
                    <a:pt x="0" y="7"/>
                  </a:lnTo>
                  <a:lnTo>
                    <a:pt x="0" y="14"/>
                  </a:lnTo>
                  <a:lnTo>
                    <a:pt x="4" y="20"/>
                  </a:lnTo>
                  <a:lnTo>
                    <a:pt x="10" y="26"/>
                  </a:lnTo>
                  <a:lnTo>
                    <a:pt x="17" y="31"/>
                  </a:lnTo>
                  <a:lnTo>
                    <a:pt x="26" y="35"/>
                  </a:lnTo>
                  <a:lnTo>
                    <a:pt x="35" y="38"/>
                  </a:lnTo>
                  <a:lnTo>
                    <a:pt x="47" y="39"/>
                  </a:lnTo>
                  <a:lnTo>
                    <a:pt x="60" y="40"/>
                  </a:lnTo>
                  <a:lnTo>
                    <a:pt x="60" y="40"/>
                  </a:lnTo>
                  <a:lnTo>
                    <a:pt x="72" y="39"/>
                  </a:lnTo>
                  <a:lnTo>
                    <a:pt x="82" y="38"/>
                  </a:lnTo>
                  <a:lnTo>
                    <a:pt x="93" y="35"/>
                  </a:lnTo>
                  <a:lnTo>
                    <a:pt x="101" y="31"/>
                  </a:lnTo>
                  <a:lnTo>
                    <a:pt x="109" y="26"/>
                  </a:lnTo>
                  <a:lnTo>
                    <a:pt x="115" y="20"/>
                  </a:lnTo>
                  <a:lnTo>
                    <a:pt x="117" y="14"/>
                  </a:lnTo>
                  <a:lnTo>
                    <a:pt x="119" y="7"/>
                  </a:lnTo>
                  <a:lnTo>
                    <a:pt x="119" y="7"/>
                  </a:lnTo>
                  <a:lnTo>
                    <a:pt x="117" y="0"/>
                  </a:lnTo>
                  <a:lnTo>
                    <a:pt x="117" y="0"/>
                  </a:lnTo>
                  <a:lnTo>
                    <a:pt x="107" y="8"/>
                  </a:lnTo>
                  <a:lnTo>
                    <a:pt x="93" y="14"/>
                  </a:lnTo>
                  <a:lnTo>
                    <a:pt x="77" y="18"/>
                  </a:lnTo>
                  <a:lnTo>
                    <a:pt x="60" y="18"/>
                  </a:lnTo>
                  <a:lnTo>
                    <a:pt x="60" y="18"/>
                  </a:lnTo>
                  <a:lnTo>
                    <a:pt x="42" y="18"/>
                  </a:lnTo>
                  <a:lnTo>
                    <a:pt x="26" y="14"/>
                  </a:lnTo>
                  <a:lnTo>
                    <a:pt x="13" y="8"/>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sp>
          <p:nvSpPr>
            <p:cNvPr id="50" name="Freeform 110">
              <a:extLst>
                <a:ext uri="{FF2B5EF4-FFF2-40B4-BE49-F238E27FC236}">
                  <a16:creationId xmlns:a16="http://schemas.microsoft.com/office/drawing/2014/main" id="{C2840389-14BA-4CB8-866C-FC384AD452D0}"/>
                </a:ext>
              </a:extLst>
            </p:cNvPr>
            <p:cNvSpPr>
              <a:spLocks/>
            </p:cNvSpPr>
            <p:nvPr/>
          </p:nvSpPr>
          <p:spPr bwMode="auto">
            <a:xfrm>
              <a:off x="8146251" y="5683386"/>
              <a:ext cx="94024" cy="28389"/>
            </a:xfrm>
            <a:custGeom>
              <a:avLst/>
              <a:gdLst>
                <a:gd name="T0" fmla="*/ 117 w 119"/>
                <a:gd name="T1" fmla="*/ 0 h 39"/>
                <a:gd name="T2" fmla="*/ 117 w 119"/>
                <a:gd name="T3" fmla="*/ 0 h 39"/>
                <a:gd name="T4" fmla="*/ 107 w 119"/>
                <a:gd name="T5" fmla="*/ 7 h 39"/>
                <a:gd name="T6" fmla="*/ 93 w 119"/>
                <a:gd name="T7" fmla="*/ 13 h 39"/>
                <a:gd name="T8" fmla="*/ 77 w 119"/>
                <a:gd name="T9" fmla="*/ 16 h 39"/>
                <a:gd name="T10" fmla="*/ 60 w 119"/>
                <a:gd name="T11" fmla="*/ 17 h 39"/>
                <a:gd name="T12" fmla="*/ 60 w 119"/>
                <a:gd name="T13" fmla="*/ 17 h 39"/>
                <a:gd name="T14" fmla="*/ 42 w 119"/>
                <a:gd name="T15" fmla="*/ 16 h 39"/>
                <a:gd name="T16" fmla="*/ 26 w 119"/>
                <a:gd name="T17" fmla="*/ 13 h 39"/>
                <a:gd name="T18" fmla="*/ 13 w 119"/>
                <a:gd name="T19" fmla="*/ 7 h 39"/>
                <a:gd name="T20" fmla="*/ 2 w 119"/>
                <a:gd name="T21" fmla="*/ 0 h 39"/>
                <a:gd name="T22" fmla="*/ 2 w 119"/>
                <a:gd name="T23" fmla="*/ 0 h 39"/>
                <a:gd name="T24" fmla="*/ 0 w 119"/>
                <a:gd name="T25" fmla="*/ 7 h 39"/>
                <a:gd name="T26" fmla="*/ 0 w 119"/>
                <a:gd name="T27" fmla="*/ 7 h 39"/>
                <a:gd name="T28" fmla="*/ 0 w 119"/>
                <a:gd name="T29" fmla="*/ 13 h 39"/>
                <a:gd name="T30" fmla="*/ 4 w 119"/>
                <a:gd name="T31" fmla="*/ 20 h 39"/>
                <a:gd name="T32" fmla="*/ 10 w 119"/>
                <a:gd name="T33" fmla="*/ 25 h 39"/>
                <a:gd name="T34" fmla="*/ 17 w 119"/>
                <a:gd name="T35" fmla="*/ 29 h 39"/>
                <a:gd name="T36" fmla="*/ 26 w 119"/>
                <a:gd name="T37" fmla="*/ 33 h 39"/>
                <a:gd name="T38" fmla="*/ 35 w 119"/>
                <a:gd name="T39" fmla="*/ 38 h 39"/>
                <a:gd name="T40" fmla="*/ 47 w 119"/>
                <a:gd name="T41" fmla="*/ 39 h 39"/>
                <a:gd name="T42" fmla="*/ 60 w 119"/>
                <a:gd name="T43" fmla="*/ 39 h 39"/>
                <a:gd name="T44" fmla="*/ 60 w 119"/>
                <a:gd name="T45" fmla="*/ 39 h 39"/>
                <a:gd name="T46" fmla="*/ 72 w 119"/>
                <a:gd name="T47" fmla="*/ 39 h 39"/>
                <a:gd name="T48" fmla="*/ 82 w 119"/>
                <a:gd name="T49" fmla="*/ 38 h 39"/>
                <a:gd name="T50" fmla="*/ 93 w 119"/>
                <a:gd name="T51" fmla="*/ 33 h 39"/>
                <a:gd name="T52" fmla="*/ 101 w 119"/>
                <a:gd name="T53" fmla="*/ 29 h 39"/>
                <a:gd name="T54" fmla="*/ 109 w 119"/>
                <a:gd name="T55" fmla="*/ 25 h 39"/>
                <a:gd name="T56" fmla="*/ 115 w 119"/>
                <a:gd name="T57" fmla="*/ 20 h 39"/>
                <a:gd name="T58" fmla="*/ 117 w 119"/>
                <a:gd name="T59" fmla="*/ 13 h 39"/>
                <a:gd name="T60" fmla="*/ 119 w 119"/>
                <a:gd name="T61" fmla="*/ 7 h 39"/>
                <a:gd name="T62" fmla="*/ 119 w 119"/>
                <a:gd name="T63" fmla="*/ 7 h 39"/>
                <a:gd name="T64" fmla="*/ 117 w 119"/>
                <a:gd name="T65" fmla="*/ 0 h 39"/>
                <a:gd name="T66" fmla="*/ 117 w 119"/>
                <a:gd name="T6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 h="39">
                  <a:moveTo>
                    <a:pt x="117" y="0"/>
                  </a:moveTo>
                  <a:lnTo>
                    <a:pt x="117" y="0"/>
                  </a:lnTo>
                  <a:lnTo>
                    <a:pt x="107" y="7"/>
                  </a:lnTo>
                  <a:lnTo>
                    <a:pt x="93" y="13"/>
                  </a:lnTo>
                  <a:lnTo>
                    <a:pt x="77" y="16"/>
                  </a:lnTo>
                  <a:lnTo>
                    <a:pt x="60" y="17"/>
                  </a:lnTo>
                  <a:lnTo>
                    <a:pt x="60" y="17"/>
                  </a:lnTo>
                  <a:lnTo>
                    <a:pt x="42" y="16"/>
                  </a:lnTo>
                  <a:lnTo>
                    <a:pt x="26" y="13"/>
                  </a:lnTo>
                  <a:lnTo>
                    <a:pt x="13" y="7"/>
                  </a:lnTo>
                  <a:lnTo>
                    <a:pt x="2" y="0"/>
                  </a:lnTo>
                  <a:lnTo>
                    <a:pt x="2" y="0"/>
                  </a:lnTo>
                  <a:lnTo>
                    <a:pt x="0" y="7"/>
                  </a:lnTo>
                  <a:lnTo>
                    <a:pt x="0" y="7"/>
                  </a:lnTo>
                  <a:lnTo>
                    <a:pt x="0" y="13"/>
                  </a:lnTo>
                  <a:lnTo>
                    <a:pt x="4" y="20"/>
                  </a:lnTo>
                  <a:lnTo>
                    <a:pt x="10" y="25"/>
                  </a:lnTo>
                  <a:lnTo>
                    <a:pt x="17" y="29"/>
                  </a:lnTo>
                  <a:lnTo>
                    <a:pt x="26" y="33"/>
                  </a:lnTo>
                  <a:lnTo>
                    <a:pt x="35" y="38"/>
                  </a:lnTo>
                  <a:lnTo>
                    <a:pt x="47" y="39"/>
                  </a:lnTo>
                  <a:lnTo>
                    <a:pt x="60" y="39"/>
                  </a:lnTo>
                  <a:lnTo>
                    <a:pt x="60" y="39"/>
                  </a:lnTo>
                  <a:lnTo>
                    <a:pt x="72" y="39"/>
                  </a:lnTo>
                  <a:lnTo>
                    <a:pt x="82" y="38"/>
                  </a:lnTo>
                  <a:lnTo>
                    <a:pt x="93" y="33"/>
                  </a:lnTo>
                  <a:lnTo>
                    <a:pt x="101" y="29"/>
                  </a:lnTo>
                  <a:lnTo>
                    <a:pt x="109" y="25"/>
                  </a:lnTo>
                  <a:lnTo>
                    <a:pt x="115" y="20"/>
                  </a:lnTo>
                  <a:lnTo>
                    <a:pt x="117" y="13"/>
                  </a:lnTo>
                  <a:lnTo>
                    <a:pt x="119" y="7"/>
                  </a:lnTo>
                  <a:lnTo>
                    <a:pt x="119" y="7"/>
                  </a:lnTo>
                  <a:lnTo>
                    <a:pt x="117" y="0"/>
                  </a:lnTo>
                  <a:lnTo>
                    <a:pt x="11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sp>
          <p:nvSpPr>
            <p:cNvPr id="51" name="Freeform 111">
              <a:extLst>
                <a:ext uri="{FF2B5EF4-FFF2-40B4-BE49-F238E27FC236}">
                  <a16:creationId xmlns:a16="http://schemas.microsoft.com/office/drawing/2014/main" id="{79A54B8D-F291-4B9F-8C2E-2E9A2F749A4E}"/>
                </a:ext>
              </a:extLst>
            </p:cNvPr>
            <p:cNvSpPr>
              <a:spLocks/>
            </p:cNvSpPr>
            <p:nvPr/>
          </p:nvSpPr>
          <p:spPr bwMode="auto">
            <a:xfrm>
              <a:off x="8146251" y="5659480"/>
              <a:ext cx="94024" cy="28389"/>
            </a:xfrm>
            <a:custGeom>
              <a:avLst/>
              <a:gdLst>
                <a:gd name="T0" fmla="*/ 117 w 119"/>
                <a:gd name="T1" fmla="*/ 0 h 39"/>
                <a:gd name="T2" fmla="*/ 117 w 119"/>
                <a:gd name="T3" fmla="*/ 0 h 39"/>
                <a:gd name="T4" fmla="*/ 107 w 119"/>
                <a:gd name="T5" fmla="*/ 6 h 39"/>
                <a:gd name="T6" fmla="*/ 93 w 119"/>
                <a:gd name="T7" fmla="*/ 12 h 39"/>
                <a:gd name="T8" fmla="*/ 77 w 119"/>
                <a:gd name="T9" fmla="*/ 16 h 39"/>
                <a:gd name="T10" fmla="*/ 60 w 119"/>
                <a:gd name="T11" fmla="*/ 17 h 39"/>
                <a:gd name="T12" fmla="*/ 60 w 119"/>
                <a:gd name="T13" fmla="*/ 17 h 39"/>
                <a:gd name="T14" fmla="*/ 42 w 119"/>
                <a:gd name="T15" fmla="*/ 16 h 39"/>
                <a:gd name="T16" fmla="*/ 26 w 119"/>
                <a:gd name="T17" fmla="*/ 12 h 39"/>
                <a:gd name="T18" fmla="*/ 13 w 119"/>
                <a:gd name="T19" fmla="*/ 6 h 39"/>
                <a:gd name="T20" fmla="*/ 2 w 119"/>
                <a:gd name="T21" fmla="*/ 0 h 39"/>
                <a:gd name="T22" fmla="*/ 2 w 119"/>
                <a:gd name="T23" fmla="*/ 0 h 39"/>
                <a:gd name="T24" fmla="*/ 0 w 119"/>
                <a:gd name="T25" fmla="*/ 6 h 39"/>
                <a:gd name="T26" fmla="*/ 0 w 119"/>
                <a:gd name="T27" fmla="*/ 6 h 39"/>
                <a:gd name="T28" fmla="*/ 0 w 119"/>
                <a:gd name="T29" fmla="*/ 13 h 39"/>
                <a:gd name="T30" fmla="*/ 4 w 119"/>
                <a:gd name="T31" fmla="*/ 20 h 39"/>
                <a:gd name="T32" fmla="*/ 10 w 119"/>
                <a:gd name="T33" fmla="*/ 25 h 39"/>
                <a:gd name="T34" fmla="*/ 17 w 119"/>
                <a:gd name="T35" fmla="*/ 29 h 39"/>
                <a:gd name="T36" fmla="*/ 26 w 119"/>
                <a:gd name="T37" fmla="*/ 33 h 39"/>
                <a:gd name="T38" fmla="*/ 35 w 119"/>
                <a:gd name="T39" fmla="*/ 36 h 39"/>
                <a:gd name="T40" fmla="*/ 47 w 119"/>
                <a:gd name="T41" fmla="*/ 39 h 39"/>
                <a:gd name="T42" fmla="*/ 60 w 119"/>
                <a:gd name="T43" fmla="*/ 39 h 39"/>
                <a:gd name="T44" fmla="*/ 60 w 119"/>
                <a:gd name="T45" fmla="*/ 39 h 39"/>
                <a:gd name="T46" fmla="*/ 72 w 119"/>
                <a:gd name="T47" fmla="*/ 39 h 39"/>
                <a:gd name="T48" fmla="*/ 82 w 119"/>
                <a:gd name="T49" fmla="*/ 36 h 39"/>
                <a:gd name="T50" fmla="*/ 93 w 119"/>
                <a:gd name="T51" fmla="*/ 33 h 39"/>
                <a:gd name="T52" fmla="*/ 101 w 119"/>
                <a:gd name="T53" fmla="*/ 29 h 39"/>
                <a:gd name="T54" fmla="*/ 109 w 119"/>
                <a:gd name="T55" fmla="*/ 25 h 39"/>
                <a:gd name="T56" fmla="*/ 115 w 119"/>
                <a:gd name="T57" fmla="*/ 20 h 39"/>
                <a:gd name="T58" fmla="*/ 117 w 119"/>
                <a:gd name="T59" fmla="*/ 13 h 39"/>
                <a:gd name="T60" fmla="*/ 119 w 119"/>
                <a:gd name="T61" fmla="*/ 6 h 39"/>
                <a:gd name="T62" fmla="*/ 119 w 119"/>
                <a:gd name="T63" fmla="*/ 6 h 39"/>
                <a:gd name="T64" fmla="*/ 117 w 119"/>
                <a:gd name="T65" fmla="*/ 0 h 39"/>
                <a:gd name="T66" fmla="*/ 117 w 119"/>
                <a:gd name="T6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 h="39">
                  <a:moveTo>
                    <a:pt x="117" y="0"/>
                  </a:moveTo>
                  <a:lnTo>
                    <a:pt x="117" y="0"/>
                  </a:lnTo>
                  <a:lnTo>
                    <a:pt x="107" y="6"/>
                  </a:lnTo>
                  <a:lnTo>
                    <a:pt x="93" y="12"/>
                  </a:lnTo>
                  <a:lnTo>
                    <a:pt x="77" y="16"/>
                  </a:lnTo>
                  <a:lnTo>
                    <a:pt x="60" y="17"/>
                  </a:lnTo>
                  <a:lnTo>
                    <a:pt x="60" y="17"/>
                  </a:lnTo>
                  <a:lnTo>
                    <a:pt x="42" y="16"/>
                  </a:lnTo>
                  <a:lnTo>
                    <a:pt x="26" y="12"/>
                  </a:lnTo>
                  <a:lnTo>
                    <a:pt x="13" y="6"/>
                  </a:lnTo>
                  <a:lnTo>
                    <a:pt x="2" y="0"/>
                  </a:lnTo>
                  <a:lnTo>
                    <a:pt x="2" y="0"/>
                  </a:lnTo>
                  <a:lnTo>
                    <a:pt x="0" y="6"/>
                  </a:lnTo>
                  <a:lnTo>
                    <a:pt x="0" y="6"/>
                  </a:lnTo>
                  <a:lnTo>
                    <a:pt x="0" y="13"/>
                  </a:lnTo>
                  <a:lnTo>
                    <a:pt x="4" y="20"/>
                  </a:lnTo>
                  <a:lnTo>
                    <a:pt x="10" y="25"/>
                  </a:lnTo>
                  <a:lnTo>
                    <a:pt x="17" y="29"/>
                  </a:lnTo>
                  <a:lnTo>
                    <a:pt x="26" y="33"/>
                  </a:lnTo>
                  <a:lnTo>
                    <a:pt x="35" y="36"/>
                  </a:lnTo>
                  <a:lnTo>
                    <a:pt x="47" y="39"/>
                  </a:lnTo>
                  <a:lnTo>
                    <a:pt x="60" y="39"/>
                  </a:lnTo>
                  <a:lnTo>
                    <a:pt x="60" y="39"/>
                  </a:lnTo>
                  <a:lnTo>
                    <a:pt x="72" y="39"/>
                  </a:lnTo>
                  <a:lnTo>
                    <a:pt x="82" y="36"/>
                  </a:lnTo>
                  <a:lnTo>
                    <a:pt x="93" y="33"/>
                  </a:lnTo>
                  <a:lnTo>
                    <a:pt x="101" y="29"/>
                  </a:lnTo>
                  <a:lnTo>
                    <a:pt x="109" y="25"/>
                  </a:lnTo>
                  <a:lnTo>
                    <a:pt x="115" y="20"/>
                  </a:lnTo>
                  <a:lnTo>
                    <a:pt x="117" y="13"/>
                  </a:lnTo>
                  <a:lnTo>
                    <a:pt x="119" y="6"/>
                  </a:lnTo>
                  <a:lnTo>
                    <a:pt x="119" y="6"/>
                  </a:lnTo>
                  <a:lnTo>
                    <a:pt x="117" y="0"/>
                  </a:lnTo>
                  <a:lnTo>
                    <a:pt x="11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sp>
          <p:nvSpPr>
            <p:cNvPr id="52" name="Freeform 112">
              <a:extLst>
                <a:ext uri="{FF2B5EF4-FFF2-40B4-BE49-F238E27FC236}">
                  <a16:creationId xmlns:a16="http://schemas.microsoft.com/office/drawing/2014/main" id="{3210CA3D-4F62-4BE8-A789-A9AE8C9B8B63}"/>
                </a:ext>
              </a:extLst>
            </p:cNvPr>
            <p:cNvSpPr>
              <a:spLocks/>
            </p:cNvSpPr>
            <p:nvPr/>
          </p:nvSpPr>
          <p:spPr bwMode="auto">
            <a:xfrm>
              <a:off x="8146251" y="5616150"/>
              <a:ext cx="94024" cy="47812"/>
            </a:xfrm>
            <a:custGeom>
              <a:avLst/>
              <a:gdLst>
                <a:gd name="T0" fmla="*/ 60 w 119"/>
                <a:gd name="T1" fmla="*/ 0 h 64"/>
                <a:gd name="T2" fmla="*/ 60 w 119"/>
                <a:gd name="T3" fmla="*/ 0 h 64"/>
                <a:gd name="T4" fmla="*/ 47 w 119"/>
                <a:gd name="T5" fmla="*/ 0 h 64"/>
                <a:gd name="T6" fmla="*/ 35 w 119"/>
                <a:gd name="T7" fmla="*/ 3 h 64"/>
                <a:gd name="T8" fmla="*/ 26 w 119"/>
                <a:gd name="T9" fmla="*/ 5 h 64"/>
                <a:gd name="T10" fmla="*/ 17 w 119"/>
                <a:gd name="T11" fmla="*/ 9 h 64"/>
                <a:gd name="T12" fmla="*/ 10 w 119"/>
                <a:gd name="T13" fmla="*/ 13 h 64"/>
                <a:gd name="T14" fmla="*/ 4 w 119"/>
                <a:gd name="T15" fmla="*/ 19 h 64"/>
                <a:gd name="T16" fmla="*/ 0 w 119"/>
                <a:gd name="T17" fmla="*/ 25 h 64"/>
                <a:gd name="T18" fmla="*/ 0 w 119"/>
                <a:gd name="T19" fmla="*/ 32 h 64"/>
                <a:gd name="T20" fmla="*/ 0 w 119"/>
                <a:gd name="T21" fmla="*/ 32 h 64"/>
                <a:gd name="T22" fmla="*/ 0 w 119"/>
                <a:gd name="T23" fmla="*/ 39 h 64"/>
                <a:gd name="T24" fmla="*/ 4 w 119"/>
                <a:gd name="T25" fmla="*/ 44 h 64"/>
                <a:gd name="T26" fmla="*/ 10 w 119"/>
                <a:gd name="T27" fmla="*/ 50 h 64"/>
                <a:gd name="T28" fmla="*/ 17 w 119"/>
                <a:gd name="T29" fmla="*/ 55 h 64"/>
                <a:gd name="T30" fmla="*/ 26 w 119"/>
                <a:gd name="T31" fmla="*/ 59 h 64"/>
                <a:gd name="T32" fmla="*/ 35 w 119"/>
                <a:gd name="T33" fmla="*/ 62 h 64"/>
                <a:gd name="T34" fmla="*/ 47 w 119"/>
                <a:gd name="T35" fmla="*/ 64 h 64"/>
                <a:gd name="T36" fmla="*/ 60 w 119"/>
                <a:gd name="T37" fmla="*/ 64 h 64"/>
                <a:gd name="T38" fmla="*/ 60 w 119"/>
                <a:gd name="T39" fmla="*/ 64 h 64"/>
                <a:gd name="T40" fmla="*/ 72 w 119"/>
                <a:gd name="T41" fmla="*/ 64 h 64"/>
                <a:gd name="T42" fmla="*/ 82 w 119"/>
                <a:gd name="T43" fmla="*/ 62 h 64"/>
                <a:gd name="T44" fmla="*/ 93 w 119"/>
                <a:gd name="T45" fmla="*/ 59 h 64"/>
                <a:gd name="T46" fmla="*/ 101 w 119"/>
                <a:gd name="T47" fmla="*/ 55 h 64"/>
                <a:gd name="T48" fmla="*/ 109 w 119"/>
                <a:gd name="T49" fmla="*/ 50 h 64"/>
                <a:gd name="T50" fmla="*/ 115 w 119"/>
                <a:gd name="T51" fmla="*/ 44 h 64"/>
                <a:gd name="T52" fmla="*/ 117 w 119"/>
                <a:gd name="T53" fmla="*/ 39 h 64"/>
                <a:gd name="T54" fmla="*/ 119 w 119"/>
                <a:gd name="T55" fmla="*/ 32 h 64"/>
                <a:gd name="T56" fmla="*/ 119 w 119"/>
                <a:gd name="T57" fmla="*/ 32 h 64"/>
                <a:gd name="T58" fmla="*/ 117 w 119"/>
                <a:gd name="T59" fmla="*/ 25 h 64"/>
                <a:gd name="T60" fmla="*/ 115 w 119"/>
                <a:gd name="T61" fmla="*/ 19 h 64"/>
                <a:gd name="T62" fmla="*/ 109 w 119"/>
                <a:gd name="T63" fmla="*/ 13 h 64"/>
                <a:gd name="T64" fmla="*/ 101 w 119"/>
                <a:gd name="T65" fmla="*/ 9 h 64"/>
                <a:gd name="T66" fmla="*/ 93 w 119"/>
                <a:gd name="T67" fmla="*/ 5 h 64"/>
                <a:gd name="T68" fmla="*/ 82 w 119"/>
                <a:gd name="T69" fmla="*/ 3 h 64"/>
                <a:gd name="T70" fmla="*/ 72 w 119"/>
                <a:gd name="T71" fmla="*/ 0 h 64"/>
                <a:gd name="T72" fmla="*/ 60 w 119"/>
                <a:gd name="T73" fmla="*/ 0 h 64"/>
                <a:gd name="T74" fmla="*/ 60 w 119"/>
                <a:gd name="T75"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9" h="64">
                  <a:moveTo>
                    <a:pt x="60" y="0"/>
                  </a:moveTo>
                  <a:lnTo>
                    <a:pt x="60" y="0"/>
                  </a:lnTo>
                  <a:lnTo>
                    <a:pt x="47" y="0"/>
                  </a:lnTo>
                  <a:lnTo>
                    <a:pt x="35" y="3"/>
                  </a:lnTo>
                  <a:lnTo>
                    <a:pt x="26" y="5"/>
                  </a:lnTo>
                  <a:lnTo>
                    <a:pt x="17" y="9"/>
                  </a:lnTo>
                  <a:lnTo>
                    <a:pt x="10" y="13"/>
                  </a:lnTo>
                  <a:lnTo>
                    <a:pt x="4" y="19"/>
                  </a:lnTo>
                  <a:lnTo>
                    <a:pt x="0" y="25"/>
                  </a:lnTo>
                  <a:lnTo>
                    <a:pt x="0" y="32"/>
                  </a:lnTo>
                  <a:lnTo>
                    <a:pt x="0" y="32"/>
                  </a:lnTo>
                  <a:lnTo>
                    <a:pt x="0" y="39"/>
                  </a:lnTo>
                  <a:lnTo>
                    <a:pt x="4" y="44"/>
                  </a:lnTo>
                  <a:lnTo>
                    <a:pt x="10" y="50"/>
                  </a:lnTo>
                  <a:lnTo>
                    <a:pt x="17" y="55"/>
                  </a:lnTo>
                  <a:lnTo>
                    <a:pt x="26" y="59"/>
                  </a:lnTo>
                  <a:lnTo>
                    <a:pt x="35" y="62"/>
                  </a:lnTo>
                  <a:lnTo>
                    <a:pt x="47" y="64"/>
                  </a:lnTo>
                  <a:lnTo>
                    <a:pt x="60" y="64"/>
                  </a:lnTo>
                  <a:lnTo>
                    <a:pt x="60" y="64"/>
                  </a:lnTo>
                  <a:lnTo>
                    <a:pt x="72" y="64"/>
                  </a:lnTo>
                  <a:lnTo>
                    <a:pt x="82" y="62"/>
                  </a:lnTo>
                  <a:lnTo>
                    <a:pt x="93" y="59"/>
                  </a:lnTo>
                  <a:lnTo>
                    <a:pt x="101" y="55"/>
                  </a:lnTo>
                  <a:lnTo>
                    <a:pt x="109" y="50"/>
                  </a:lnTo>
                  <a:lnTo>
                    <a:pt x="115" y="44"/>
                  </a:lnTo>
                  <a:lnTo>
                    <a:pt x="117" y="39"/>
                  </a:lnTo>
                  <a:lnTo>
                    <a:pt x="119" y="32"/>
                  </a:lnTo>
                  <a:lnTo>
                    <a:pt x="119" y="32"/>
                  </a:lnTo>
                  <a:lnTo>
                    <a:pt x="117" y="25"/>
                  </a:lnTo>
                  <a:lnTo>
                    <a:pt x="115" y="19"/>
                  </a:lnTo>
                  <a:lnTo>
                    <a:pt x="109" y="13"/>
                  </a:lnTo>
                  <a:lnTo>
                    <a:pt x="101" y="9"/>
                  </a:lnTo>
                  <a:lnTo>
                    <a:pt x="93" y="5"/>
                  </a:lnTo>
                  <a:lnTo>
                    <a:pt x="82" y="3"/>
                  </a:lnTo>
                  <a:lnTo>
                    <a:pt x="72" y="0"/>
                  </a:lnTo>
                  <a:lnTo>
                    <a:pt x="60" y="0"/>
                  </a:ln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grpSp>
    </p:spTree>
    <p:extLst>
      <p:ext uri="{BB962C8B-B14F-4D97-AF65-F5344CB8AC3E}">
        <p14:creationId xmlns:p14="http://schemas.microsoft.com/office/powerpoint/2010/main" val="202017046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AD2270-E335-4B25-9479-9641996328B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2"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39AD2270-E335-4B25-9479-9641996328B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0CF5878-E500-4DEF-AB4F-0DA9187B5E2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b="1"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8B22F353-239C-4F9C-9C2B-0006F1686AE6}"/>
              </a:ext>
            </a:extLst>
          </p:cNvPr>
          <p:cNvSpPr>
            <a:spLocks noGrp="1"/>
          </p:cNvSpPr>
          <p:nvPr>
            <p:ph type="title"/>
          </p:nvPr>
        </p:nvSpPr>
        <p:spPr/>
        <p:txBody>
          <a:bodyPr anchor="t"/>
          <a:lstStyle/>
          <a:p>
            <a:r>
              <a:rPr lang="en-US" b="1" dirty="0">
                <a:sym typeface="Gotham Book" charset="0"/>
              </a:rPr>
              <a:t>What are the benefits of crowdsourcing?</a:t>
            </a:r>
            <a:endParaRPr lang="en-US" dirty="0"/>
          </a:p>
        </p:txBody>
      </p:sp>
      <p:sp>
        <p:nvSpPr>
          <p:cNvPr id="5" name="Text Placeholder 4">
            <a:extLst>
              <a:ext uri="{FF2B5EF4-FFF2-40B4-BE49-F238E27FC236}">
                <a16:creationId xmlns:a16="http://schemas.microsoft.com/office/drawing/2014/main" id="{B2294478-9B67-4C23-A8E3-44794CC9E85F}"/>
              </a:ext>
            </a:extLst>
          </p:cNvPr>
          <p:cNvSpPr>
            <a:spLocks noGrp="1"/>
          </p:cNvSpPr>
          <p:nvPr>
            <p:ph type="body" sz="quarter" idx="14"/>
          </p:nvPr>
        </p:nvSpPr>
        <p:spPr/>
        <p:txBody>
          <a:bodyPr/>
          <a:lstStyle/>
          <a:p>
            <a:r>
              <a:rPr lang="en-US" dirty="0"/>
              <a:t>Subheader</a:t>
            </a:r>
          </a:p>
        </p:txBody>
      </p:sp>
      <p:sp>
        <p:nvSpPr>
          <p:cNvPr id="6" name="Text Placeholder 5">
            <a:extLst>
              <a:ext uri="{FF2B5EF4-FFF2-40B4-BE49-F238E27FC236}">
                <a16:creationId xmlns:a16="http://schemas.microsoft.com/office/drawing/2014/main" id="{1B61F355-BE66-4824-A1D9-EBE1FB72C19F}"/>
              </a:ext>
            </a:extLst>
          </p:cNvPr>
          <p:cNvSpPr>
            <a:spLocks noGrp="1"/>
          </p:cNvSpPr>
          <p:nvPr>
            <p:ph type="body" sz="quarter" idx="15"/>
          </p:nvPr>
        </p:nvSpPr>
        <p:spPr/>
        <p:txBody>
          <a:bodyPr/>
          <a:lstStyle/>
          <a:p>
            <a:r>
              <a:rPr lang="en-US" dirty="0"/>
              <a:t>text</a:t>
            </a:r>
          </a:p>
        </p:txBody>
      </p:sp>
      <p:sp>
        <p:nvSpPr>
          <p:cNvPr id="71" name="Rectangle 70">
            <a:extLst>
              <a:ext uri="{FF2B5EF4-FFF2-40B4-BE49-F238E27FC236}">
                <a16:creationId xmlns:a16="http://schemas.microsoft.com/office/drawing/2014/main" id="{91179820-E7F2-4C85-A213-45371D280723}"/>
              </a:ext>
            </a:extLst>
          </p:cNvPr>
          <p:cNvSpPr/>
          <p:nvPr/>
        </p:nvSpPr>
        <p:spPr bwMode="gray">
          <a:xfrm>
            <a:off x="383139" y="1719392"/>
            <a:ext cx="11425724" cy="2443580"/>
          </a:xfrm>
          <a:prstGeom prst="rect">
            <a:avLst/>
          </a:prstGeom>
          <a:solidFill>
            <a:srgbClr val="F2F2F2"/>
          </a:solidFill>
          <a:ln w="19050" algn="ctr">
            <a:noFill/>
            <a:miter lim="800000"/>
            <a:headEnd/>
            <a:tailEnd/>
          </a:ln>
        </p:spPr>
        <p:txBody>
          <a:bodyPr wrap="square" lIns="65303" tIns="65303" rIns="65303" bIns="65303" rtlCol="0" anchor="ctr"/>
          <a:lstStyle/>
          <a:p>
            <a:pPr algn="ctr" defTabSz="671718" fontAlgn="base">
              <a:lnSpc>
                <a:spcPct val="106000"/>
              </a:lnSpc>
              <a:spcBef>
                <a:spcPct val="0"/>
              </a:spcBef>
              <a:spcAft>
                <a:spcPct val="0"/>
              </a:spcAft>
              <a:defRPr/>
            </a:pPr>
            <a:endParaRPr lang="en-US" sz="1175" b="1" dirty="0">
              <a:solidFill>
                <a:prstClr val="white"/>
              </a:solidFill>
              <a:latin typeface="Gotham Book" charset="0"/>
              <a:ea typeface="ヒラギノ角ゴ ProN W3" charset="0"/>
              <a:sym typeface="Gotham Book" charset="0"/>
            </a:endParaRPr>
          </a:p>
        </p:txBody>
      </p:sp>
      <p:sp>
        <p:nvSpPr>
          <p:cNvPr id="72" name="AutoShape 12">
            <a:extLst>
              <a:ext uri="{FF2B5EF4-FFF2-40B4-BE49-F238E27FC236}">
                <a16:creationId xmlns:a16="http://schemas.microsoft.com/office/drawing/2014/main" id="{1EB6104C-9D38-4057-8FE4-F2D4DC3C1DD0}"/>
              </a:ext>
            </a:extLst>
          </p:cNvPr>
          <p:cNvSpPr>
            <a:spLocks noChangeArrowheads="1"/>
          </p:cNvSpPr>
          <p:nvPr/>
        </p:nvSpPr>
        <p:spPr bwMode="auto">
          <a:xfrm rot="5400000">
            <a:off x="4447403" y="-2267249"/>
            <a:ext cx="3297196" cy="11425726"/>
          </a:xfrm>
          <a:prstGeom prst="homePlate">
            <a:avLst>
              <a:gd name="adj" fmla="val 100000"/>
            </a:avLst>
          </a:prstGeom>
          <a:solidFill>
            <a:srgbClr val="F2F2F2"/>
          </a:solidFill>
          <a:ln w="6350" algn="ctr">
            <a:noFill/>
            <a:miter lim="800000"/>
            <a:headEnd/>
            <a:tailEnd/>
          </a:ln>
        </p:spPr>
        <p:txBody>
          <a:bodyPr wrap="square" lIns="65303" tIns="65303" rIns="65303" bIns="65303" anchor="ctr"/>
          <a:lstStyle/>
          <a:p>
            <a:pPr algn="ctr" defTabSz="671718" fontAlgn="base">
              <a:spcBef>
                <a:spcPct val="0"/>
              </a:spcBef>
              <a:spcAft>
                <a:spcPct val="0"/>
              </a:spcAft>
              <a:defRPr/>
            </a:pPr>
            <a:endParaRPr lang="en-US" sz="1028" dirty="0">
              <a:solidFill>
                <a:srgbClr val="343434"/>
              </a:solidFill>
              <a:latin typeface="Gotham Book" charset="0"/>
              <a:ea typeface="ヒラギノ角ゴ ProN W3" charset="0"/>
              <a:sym typeface="Gotham Book" charset="0"/>
            </a:endParaRPr>
          </a:p>
        </p:txBody>
      </p:sp>
      <p:grpSp>
        <p:nvGrpSpPr>
          <p:cNvPr id="74" name="Group 749">
            <a:extLst>
              <a:ext uri="{FF2B5EF4-FFF2-40B4-BE49-F238E27FC236}">
                <a16:creationId xmlns:a16="http://schemas.microsoft.com/office/drawing/2014/main" id="{8CD1C25B-CED0-4975-9637-63F92AE17077}"/>
              </a:ext>
            </a:extLst>
          </p:cNvPr>
          <p:cNvGrpSpPr>
            <a:grpSpLocks noChangeAspect="1"/>
          </p:cNvGrpSpPr>
          <p:nvPr/>
        </p:nvGrpSpPr>
        <p:grpSpPr bwMode="auto">
          <a:xfrm>
            <a:off x="1339959" y="1765644"/>
            <a:ext cx="988438" cy="988438"/>
            <a:chOff x="3520" y="2686"/>
            <a:chExt cx="340" cy="340"/>
          </a:xfrm>
          <a:solidFill>
            <a:sysClr val="windowText" lastClr="000000"/>
          </a:solidFill>
        </p:grpSpPr>
        <p:sp>
          <p:nvSpPr>
            <p:cNvPr id="77" name="Freeform 750">
              <a:extLst>
                <a:ext uri="{FF2B5EF4-FFF2-40B4-BE49-F238E27FC236}">
                  <a16:creationId xmlns:a16="http://schemas.microsoft.com/office/drawing/2014/main" id="{8B497147-BF6B-46D9-8B59-81D731B43BE7}"/>
                </a:ext>
              </a:extLst>
            </p:cNvPr>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defTabSz="1142609"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ea typeface="ヒラギノ角ゴ ProN W3" charset="0"/>
                <a:sym typeface="Gotham Book" charset="0"/>
              </a:endParaRPr>
            </a:p>
          </p:txBody>
        </p:sp>
        <p:sp>
          <p:nvSpPr>
            <p:cNvPr id="78" name="Freeform 751">
              <a:extLst>
                <a:ext uri="{FF2B5EF4-FFF2-40B4-BE49-F238E27FC236}">
                  <a16:creationId xmlns:a16="http://schemas.microsoft.com/office/drawing/2014/main" id="{7C61C07E-1B71-4F33-A57F-E4CE193FDC9E}"/>
                </a:ext>
              </a:extLst>
            </p:cNvPr>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defTabSz="1142609"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ea typeface="ヒラギノ角ゴ ProN W3" charset="0"/>
                <a:sym typeface="Gotham Book" charset="0"/>
              </a:endParaRPr>
            </a:p>
          </p:txBody>
        </p:sp>
        <p:sp>
          <p:nvSpPr>
            <p:cNvPr id="79" name="Freeform 752">
              <a:extLst>
                <a:ext uri="{FF2B5EF4-FFF2-40B4-BE49-F238E27FC236}">
                  <a16:creationId xmlns:a16="http://schemas.microsoft.com/office/drawing/2014/main" id="{05096D6C-EC48-4F2B-B5B9-25D5B9065927}"/>
                </a:ext>
              </a:extLst>
            </p:cNvPr>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defTabSz="1142609"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ea typeface="ヒラギノ角ゴ ProN W3" charset="0"/>
                <a:sym typeface="Gotham Book" charset="0"/>
              </a:endParaRPr>
            </a:p>
          </p:txBody>
        </p:sp>
      </p:grpSp>
      <p:sp>
        <p:nvSpPr>
          <p:cNvPr id="75" name="TextBox 74">
            <a:extLst>
              <a:ext uri="{FF2B5EF4-FFF2-40B4-BE49-F238E27FC236}">
                <a16:creationId xmlns:a16="http://schemas.microsoft.com/office/drawing/2014/main" id="{41B2F016-3973-4880-B91C-7978ADE650BD}"/>
              </a:ext>
            </a:extLst>
          </p:cNvPr>
          <p:cNvSpPr txBox="1"/>
          <p:nvPr/>
        </p:nvSpPr>
        <p:spPr>
          <a:xfrm>
            <a:off x="518529" y="2918253"/>
            <a:ext cx="2504231" cy="271293"/>
          </a:xfrm>
          <a:prstGeom prst="rect">
            <a:avLst/>
          </a:prstGeom>
          <a:noFill/>
        </p:spPr>
        <p:txBody>
          <a:bodyPr wrap="square" lIns="0" tIns="0" rIns="0" bIns="0" rtlCol="0">
            <a:spAutoFit/>
          </a:bodyPr>
          <a:lstStyle/>
          <a:p>
            <a:pPr marL="0" marR="0" lvl="0" indent="0" algn="ctr" defTabSz="1142609" eaLnBrk="1" fontAlgn="auto" latinLnBrk="0" hangingPunct="1">
              <a:lnSpc>
                <a:spcPct val="100000"/>
              </a:lnSpc>
              <a:spcBef>
                <a:spcPts val="562"/>
              </a:spcBef>
              <a:spcAft>
                <a:spcPts val="0"/>
              </a:spcAft>
              <a:buClrTx/>
              <a:buSzPct val="100000"/>
              <a:buFontTx/>
              <a:buNone/>
              <a:tabLst/>
              <a:defRPr/>
            </a:pPr>
            <a:r>
              <a:rPr kumimoji="0" lang="en-US" sz="1763" b="1" i="0" u="none" strike="noStrike" kern="0" cap="none" spc="0" normalizeH="0" baseline="0" noProof="0" dirty="0">
                <a:ln>
                  <a:noFill/>
                </a:ln>
                <a:solidFill>
                  <a:schemeClr val="accent6"/>
                </a:solidFill>
                <a:effectLst/>
                <a:uLnTx/>
                <a:uFillTx/>
                <a:ea typeface="ヒラギノ角ゴ ProN W3" charset="0"/>
                <a:sym typeface="Gotham Book" charset="0"/>
              </a:rPr>
              <a:t>ANYONE</a:t>
            </a:r>
          </a:p>
        </p:txBody>
      </p:sp>
      <p:sp>
        <p:nvSpPr>
          <p:cNvPr id="76" name="TextBox 75">
            <a:extLst>
              <a:ext uri="{FF2B5EF4-FFF2-40B4-BE49-F238E27FC236}">
                <a16:creationId xmlns:a16="http://schemas.microsoft.com/office/drawing/2014/main" id="{A809F52B-2AFC-44A7-9F41-0321DC1795CC}"/>
              </a:ext>
            </a:extLst>
          </p:cNvPr>
          <p:cNvSpPr txBox="1"/>
          <p:nvPr/>
        </p:nvSpPr>
        <p:spPr>
          <a:xfrm>
            <a:off x="645594" y="3267106"/>
            <a:ext cx="2377166" cy="403828"/>
          </a:xfrm>
          <a:prstGeom prst="rect">
            <a:avLst/>
          </a:prstGeom>
          <a:noFill/>
        </p:spPr>
        <p:txBody>
          <a:bodyPr wrap="square" lIns="0" tIns="0" rIns="0" bIns="0" rtlCol="0">
            <a:spAutoFit/>
          </a:bodyPr>
          <a:lstStyle/>
          <a:p>
            <a:pPr marL="0" marR="0" lvl="0" indent="0" algn="ctr" defTabSz="1142609" eaLnBrk="1" fontAlgn="auto" latinLnBrk="0" hangingPunct="1">
              <a:lnSpc>
                <a:spcPct val="100000"/>
              </a:lnSpc>
              <a:spcBef>
                <a:spcPts val="562"/>
              </a:spcBef>
              <a:spcAft>
                <a:spcPts val="0"/>
              </a:spcAft>
              <a:buClrTx/>
              <a:buSzPct val="100000"/>
              <a:buFontTx/>
              <a:buNone/>
              <a:tabLst/>
              <a:defRPr/>
            </a:pPr>
            <a:r>
              <a:rPr kumimoji="0" lang="en-US" sz="1312" b="0" i="1" u="none" strike="noStrike" kern="0" cap="none" spc="0" normalizeH="0" baseline="0" noProof="0" dirty="0">
                <a:ln>
                  <a:noFill/>
                </a:ln>
                <a:solidFill>
                  <a:prstClr val="white">
                    <a:lumMod val="50000"/>
                  </a:prstClr>
                </a:solidFill>
                <a:effectLst/>
                <a:uLnTx/>
                <a:uFillTx/>
                <a:ea typeface="ヒラギノ角ゴ ProN W3" charset="0"/>
                <a:sym typeface="Gotham Book" charset="0"/>
              </a:rPr>
              <a:t>Access to a variety of specialized resources</a:t>
            </a:r>
          </a:p>
        </p:txBody>
      </p:sp>
      <p:grpSp>
        <p:nvGrpSpPr>
          <p:cNvPr id="81" name="Group 40">
            <a:extLst>
              <a:ext uri="{FF2B5EF4-FFF2-40B4-BE49-F238E27FC236}">
                <a16:creationId xmlns:a16="http://schemas.microsoft.com/office/drawing/2014/main" id="{447C701D-43AB-466B-95EE-D636A283FA8C}"/>
              </a:ext>
            </a:extLst>
          </p:cNvPr>
          <p:cNvGrpSpPr>
            <a:grpSpLocks noChangeAspect="1"/>
          </p:cNvGrpSpPr>
          <p:nvPr/>
        </p:nvGrpSpPr>
        <p:grpSpPr bwMode="auto">
          <a:xfrm>
            <a:off x="4159461" y="1769720"/>
            <a:ext cx="984362" cy="984362"/>
            <a:chOff x="880" y="418"/>
            <a:chExt cx="3635" cy="3635"/>
          </a:xfrm>
          <a:solidFill>
            <a:sysClr val="windowText" lastClr="000000"/>
          </a:solidFill>
        </p:grpSpPr>
        <p:sp>
          <p:nvSpPr>
            <p:cNvPr id="84" name="Freeform 41">
              <a:extLst>
                <a:ext uri="{FF2B5EF4-FFF2-40B4-BE49-F238E27FC236}">
                  <a16:creationId xmlns:a16="http://schemas.microsoft.com/office/drawing/2014/main" id="{1465FBB6-46E4-4EBC-BD3A-16FB8B9E4B61}"/>
                </a:ext>
              </a:extLst>
            </p:cNvPr>
            <p:cNvSpPr>
              <a:spLocks noEditPoints="1"/>
            </p:cNvSpPr>
            <p:nvPr/>
          </p:nvSpPr>
          <p:spPr bwMode="auto">
            <a:xfrm>
              <a:off x="880" y="418"/>
              <a:ext cx="3635"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defTabSz="1142609"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ea typeface="ヒラギノ角ゴ ProN W3" charset="0"/>
                <a:sym typeface="Gotham Book" charset="0"/>
              </a:endParaRPr>
            </a:p>
          </p:txBody>
        </p:sp>
        <p:sp>
          <p:nvSpPr>
            <p:cNvPr id="85" name="Freeform 42">
              <a:extLst>
                <a:ext uri="{FF2B5EF4-FFF2-40B4-BE49-F238E27FC236}">
                  <a16:creationId xmlns:a16="http://schemas.microsoft.com/office/drawing/2014/main" id="{6D61BC63-BEBE-4777-B5F1-599928EF483F}"/>
                </a:ext>
              </a:extLst>
            </p:cNvPr>
            <p:cNvSpPr>
              <a:spLocks noEditPoints="1"/>
            </p:cNvSpPr>
            <p:nvPr/>
          </p:nvSpPr>
          <p:spPr bwMode="auto">
            <a:xfrm>
              <a:off x="1753" y="1270"/>
              <a:ext cx="1889" cy="2023"/>
            </a:xfrm>
            <a:custGeom>
              <a:avLst/>
              <a:gdLst>
                <a:gd name="T0" fmla="*/ 250 w 266"/>
                <a:gd name="T1" fmla="*/ 146 h 285"/>
                <a:gd name="T2" fmla="*/ 133 w 266"/>
                <a:gd name="T3" fmla="*/ 29 h 285"/>
                <a:gd name="T4" fmla="*/ 15 w 266"/>
                <a:gd name="T5" fmla="*/ 146 h 285"/>
                <a:gd name="T6" fmla="*/ 55 w 266"/>
                <a:gd name="T7" fmla="*/ 234 h 285"/>
                <a:gd name="T8" fmla="*/ 38 w 266"/>
                <a:gd name="T9" fmla="*/ 270 h 285"/>
                <a:gd name="T10" fmla="*/ 43 w 266"/>
                <a:gd name="T11" fmla="*/ 284 h 285"/>
                <a:gd name="T12" fmla="*/ 47 w 266"/>
                <a:gd name="T13" fmla="*/ 285 h 285"/>
                <a:gd name="T14" fmla="*/ 57 w 266"/>
                <a:gd name="T15" fmla="*/ 279 h 285"/>
                <a:gd name="T16" fmla="*/ 73 w 266"/>
                <a:gd name="T17" fmla="*/ 247 h 285"/>
                <a:gd name="T18" fmla="*/ 133 w 266"/>
                <a:gd name="T19" fmla="*/ 264 h 285"/>
                <a:gd name="T20" fmla="*/ 192 w 266"/>
                <a:gd name="T21" fmla="*/ 247 h 285"/>
                <a:gd name="T22" fmla="*/ 208 w 266"/>
                <a:gd name="T23" fmla="*/ 279 h 285"/>
                <a:gd name="T24" fmla="*/ 218 w 266"/>
                <a:gd name="T25" fmla="*/ 285 h 285"/>
                <a:gd name="T26" fmla="*/ 223 w 266"/>
                <a:gd name="T27" fmla="*/ 284 h 285"/>
                <a:gd name="T28" fmla="*/ 228 w 266"/>
                <a:gd name="T29" fmla="*/ 270 h 285"/>
                <a:gd name="T30" fmla="*/ 210 w 266"/>
                <a:gd name="T31" fmla="*/ 234 h 285"/>
                <a:gd name="T32" fmla="*/ 250 w 266"/>
                <a:gd name="T33" fmla="*/ 146 h 285"/>
                <a:gd name="T34" fmla="*/ 37 w 266"/>
                <a:gd name="T35" fmla="*/ 146 h 285"/>
                <a:gd name="T36" fmla="*/ 133 w 266"/>
                <a:gd name="T37" fmla="*/ 50 h 285"/>
                <a:gd name="T38" fmla="*/ 229 w 266"/>
                <a:gd name="T39" fmla="*/ 146 h 285"/>
                <a:gd name="T40" fmla="*/ 133 w 266"/>
                <a:gd name="T41" fmla="*/ 242 h 285"/>
                <a:gd name="T42" fmla="*/ 37 w 266"/>
                <a:gd name="T43" fmla="*/ 146 h 285"/>
                <a:gd name="T44" fmla="*/ 162 w 266"/>
                <a:gd name="T45" fmla="*/ 128 h 285"/>
                <a:gd name="T46" fmla="*/ 161 w 266"/>
                <a:gd name="T47" fmla="*/ 143 h 285"/>
                <a:gd name="T48" fmla="*/ 140 w 266"/>
                <a:gd name="T49" fmla="*/ 164 h 285"/>
                <a:gd name="T50" fmla="*/ 140 w 266"/>
                <a:gd name="T51" fmla="*/ 164 h 285"/>
                <a:gd name="T52" fmla="*/ 133 w 266"/>
                <a:gd name="T53" fmla="*/ 167 h 285"/>
                <a:gd name="T54" fmla="*/ 125 w 266"/>
                <a:gd name="T55" fmla="*/ 164 h 285"/>
                <a:gd name="T56" fmla="*/ 83 w 266"/>
                <a:gd name="T57" fmla="*/ 122 h 285"/>
                <a:gd name="T58" fmla="*/ 82 w 266"/>
                <a:gd name="T59" fmla="*/ 107 h 285"/>
                <a:gd name="T60" fmla="*/ 97 w 266"/>
                <a:gd name="T61" fmla="*/ 107 h 285"/>
                <a:gd name="T62" fmla="*/ 133 w 266"/>
                <a:gd name="T63" fmla="*/ 141 h 285"/>
                <a:gd name="T64" fmla="*/ 147 w 266"/>
                <a:gd name="T65" fmla="*/ 128 h 285"/>
                <a:gd name="T66" fmla="*/ 162 w 266"/>
                <a:gd name="T67" fmla="*/ 128 h 285"/>
                <a:gd name="T68" fmla="*/ 16 w 266"/>
                <a:gd name="T69" fmla="*/ 82 h 285"/>
                <a:gd name="T70" fmla="*/ 8 w 266"/>
                <a:gd name="T71" fmla="*/ 79 h 285"/>
                <a:gd name="T72" fmla="*/ 0 w 266"/>
                <a:gd name="T73" fmla="*/ 58 h 285"/>
                <a:gd name="T74" fmla="*/ 8 w 266"/>
                <a:gd name="T75" fmla="*/ 38 h 285"/>
                <a:gd name="T76" fmla="*/ 35 w 266"/>
                <a:gd name="T77" fmla="*/ 11 h 285"/>
                <a:gd name="T78" fmla="*/ 76 w 266"/>
                <a:gd name="T79" fmla="*/ 11 h 285"/>
                <a:gd name="T80" fmla="*/ 76 w 266"/>
                <a:gd name="T81" fmla="*/ 26 h 285"/>
                <a:gd name="T82" fmla="*/ 61 w 266"/>
                <a:gd name="T83" fmla="*/ 26 h 285"/>
                <a:gd name="T84" fmla="*/ 50 w 266"/>
                <a:gd name="T85" fmla="*/ 26 h 285"/>
                <a:gd name="T86" fmla="*/ 23 w 266"/>
                <a:gd name="T87" fmla="*/ 53 h 285"/>
                <a:gd name="T88" fmla="*/ 21 w 266"/>
                <a:gd name="T89" fmla="*/ 58 h 285"/>
                <a:gd name="T90" fmla="*/ 23 w 266"/>
                <a:gd name="T91" fmla="*/ 64 h 285"/>
                <a:gd name="T92" fmla="*/ 23 w 266"/>
                <a:gd name="T93" fmla="*/ 79 h 285"/>
                <a:gd name="T94" fmla="*/ 16 w 266"/>
                <a:gd name="T95" fmla="*/ 82 h 285"/>
                <a:gd name="T96" fmla="*/ 266 w 266"/>
                <a:gd name="T97" fmla="*/ 58 h 285"/>
                <a:gd name="T98" fmla="*/ 257 w 266"/>
                <a:gd name="T99" fmla="*/ 79 h 285"/>
                <a:gd name="T100" fmla="*/ 249 w 266"/>
                <a:gd name="T101" fmla="*/ 82 h 285"/>
                <a:gd name="T102" fmla="*/ 242 w 266"/>
                <a:gd name="T103" fmla="*/ 79 h 285"/>
                <a:gd name="T104" fmla="*/ 242 w 266"/>
                <a:gd name="T105" fmla="*/ 64 h 285"/>
                <a:gd name="T106" fmla="*/ 244 w 266"/>
                <a:gd name="T107" fmla="*/ 58 h 285"/>
                <a:gd name="T108" fmla="*/ 242 w 266"/>
                <a:gd name="T109" fmla="*/ 53 h 285"/>
                <a:gd name="T110" fmla="*/ 216 w 266"/>
                <a:gd name="T111" fmla="*/ 26 h 285"/>
                <a:gd name="T112" fmla="*/ 204 w 266"/>
                <a:gd name="T113" fmla="*/ 26 h 285"/>
                <a:gd name="T114" fmla="*/ 189 w 266"/>
                <a:gd name="T115" fmla="*/ 26 h 285"/>
                <a:gd name="T116" fmla="*/ 189 w 266"/>
                <a:gd name="T117" fmla="*/ 11 h 285"/>
                <a:gd name="T118" fmla="*/ 231 w 266"/>
                <a:gd name="T119" fmla="*/ 11 h 285"/>
                <a:gd name="T120" fmla="*/ 257 w 266"/>
                <a:gd name="T121" fmla="*/ 38 h 285"/>
                <a:gd name="T122" fmla="*/ 266 w 266"/>
                <a:gd name="T123" fmla="*/ 58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6" h="285">
                  <a:moveTo>
                    <a:pt x="250" y="146"/>
                  </a:moveTo>
                  <a:cubicBezTo>
                    <a:pt x="250" y="82"/>
                    <a:pt x="197" y="29"/>
                    <a:pt x="133" y="29"/>
                  </a:cubicBezTo>
                  <a:cubicBezTo>
                    <a:pt x="68" y="29"/>
                    <a:pt x="15" y="82"/>
                    <a:pt x="15" y="146"/>
                  </a:cubicBezTo>
                  <a:cubicBezTo>
                    <a:pt x="15" y="181"/>
                    <a:pt x="31" y="213"/>
                    <a:pt x="55" y="234"/>
                  </a:cubicBezTo>
                  <a:cubicBezTo>
                    <a:pt x="38" y="270"/>
                    <a:pt x="38" y="270"/>
                    <a:pt x="38" y="270"/>
                  </a:cubicBezTo>
                  <a:cubicBezTo>
                    <a:pt x="35" y="275"/>
                    <a:pt x="37" y="281"/>
                    <a:pt x="43" y="284"/>
                  </a:cubicBezTo>
                  <a:cubicBezTo>
                    <a:pt x="44" y="285"/>
                    <a:pt x="46" y="285"/>
                    <a:pt x="47" y="285"/>
                  </a:cubicBezTo>
                  <a:cubicBezTo>
                    <a:pt x="51" y="285"/>
                    <a:pt x="55" y="283"/>
                    <a:pt x="57" y="279"/>
                  </a:cubicBezTo>
                  <a:cubicBezTo>
                    <a:pt x="73" y="247"/>
                    <a:pt x="73" y="247"/>
                    <a:pt x="73" y="247"/>
                  </a:cubicBezTo>
                  <a:cubicBezTo>
                    <a:pt x="90" y="258"/>
                    <a:pt x="111" y="264"/>
                    <a:pt x="133" y="264"/>
                  </a:cubicBezTo>
                  <a:cubicBezTo>
                    <a:pt x="155" y="264"/>
                    <a:pt x="175" y="258"/>
                    <a:pt x="192" y="247"/>
                  </a:cubicBezTo>
                  <a:cubicBezTo>
                    <a:pt x="208" y="279"/>
                    <a:pt x="208" y="279"/>
                    <a:pt x="208" y="279"/>
                  </a:cubicBezTo>
                  <a:cubicBezTo>
                    <a:pt x="210" y="283"/>
                    <a:pt x="214" y="285"/>
                    <a:pt x="218" y="285"/>
                  </a:cubicBezTo>
                  <a:cubicBezTo>
                    <a:pt x="220" y="285"/>
                    <a:pt x="221" y="285"/>
                    <a:pt x="223" y="284"/>
                  </a:cubicBezTo>
                  <a:cubicBezTo>
                    <a:pt x="228" y="281"/>
                    <a:pt x="230" y="275"/>
                    <a:pt x="228" y="270"/>
                  </a:cubicBezTo>
                  <a:cubicBezTo>
                    <a:pt x="210" y="234"/>
                    <a:pt x="210" y="234"/>
                    <a:pt x="210" y="234"/>
                  </a:cubicBezTo>
                  <a:cubicBezTo>
                    <a:pt x="234" y="213"/>
                    <a:pt x="250" y="181"/>
                    <a:pt x="250" y="146"/>
                  </a:cubicBezTo>
                  <a:close/>
                  <a:moveTo>
                    <a:pt x="37" y="146"/>
                  </a:moveTo>
                  <a:cubicBezTo>
                    <a:pt x="37" y="93"/>
                    <a:pt x="80" y="50"/>
                    <a:pt x="133" y="50"/>
                  </a:cubicBezTo>
                  <a:cubicBezTo>
                    <a:pt x="186" y="50"/>
                    <a:pt x="229" y="93"/>
                    <a:pt x="229" y="146"/>
                  </a:cubicBezTo>
                  <a:cubicBezTo>
                    <a:pt x="229" y="199"/>
                    <a:pt x="186" y="242"/>
                    <a:pt x="133" y="242"/>
                  </a:cubicBezTo>
                  <a:cubicBezTo>
                    <a:pt x="80" y="242"/>
                    <a:pt x="37" y="199"/>
                    <a:pt x="37" y="146"/>
                  </a:cubicBezTo>
                  <a:close/>
                  <a:moveTo>
                    <a:pt x="162" y="128"/>
                  </a:moveTo>
                  <a:cubicBezTo>
                    <a:pt x="166" y="133"/>
                    <a:pt x="166" y="139"/>
                    <a:pt x="161" y="143"/>
                  </a:cubicBezTo>
                  <a:cubicBezTo>
                    <a:pt x="140" y="164"/>
                    <a:pt x="140" y="164"/>
                    <a:pt x="140" y="164"/>
                  </a:cubicBezTo>
                  <a:cubicBezTo>
                    <a:pt x="140" y="164"/>
                    <a:pt x="140" y="164"/>
                    <a:pt x="140" y="164"/>
                  </a:cubicBezTo>
                  <a:cubicBezTo>
                    <a:pt x="138" y="166"/>
                    <a:pt x="135" y="167"/>
                    <a:pt x="133" y="167"/>
                  </a:cubicBezTo>
                  <a:cubicBezTo>
                    <a:pt x="130" y="167"/>
                    <a:pt x="127" y="166"/>
                    <a:pt x="125" y="164"/>
                  </a:cubicBezTo>
                  <a:cubicBezTo>
                    <a:pt x="83" y="122"/>
                    <a:pt x="83" y="122"/>
                    <a:pt x="83" y="122"/>
                  </a:cubicBezTo>
                  <a:cubicBezTo>
                    <a:pt x="78" y="118"/>
                    <a:pt x="78" y="111"/>
                    <a:pt x="82" y="107"/>
                  </a:cubicBezTo>
                  <a:cubicBezTo>
                    <a:pt x="87" y="103"/>
                    <a:pt x="93" y="103"/>
                    <a:pt x="97" y="107"/>
                  </a:cubicBezTo>
                  <a:cubicBezTo>
                    <a:pt x="133" y="141"/>
                    <a:pt x="133" y="141"/>
                    <a:pt x="133" y="141"/>
                  </a:cubicBezTo>
                  <a:cubicBezTo>
                    <a:pt x="147" y="128"/>
                    <a:pt x="147" y="128"/>
                    <a:pt x="147" y="128"/>
                  </a:cubicBezTo>
                  <a:cubicBezTo>
                    <a:pt x="151" y="124"/>
                    <a:pt x="158" y="124"/>
                    <a:pt x="162" y="128"/>
                  </a:cubicBezTo>
                  <a:close/>
                  <a:moveTo>
                    <a:pt x="16" y="82"/>
                  </a:moveTo>
                  <a:cubicBezTo>
                    <a:pt x="13" y="82"/>
                    <a:pt x="10" y="81"/>
                    <a:pt x="8" y="79"/>
                  </a:cubicBezTo>
                  <a:cubicBezTo>
                    <a:pt x="3" y="74"/>
                    <a:pt x="0" y="66"/>
                    <a:pt x="0" y="58"/>
                  </a:cubicBezTo>
                  <a:cubicBezTo>
                    <a:pt x="0" y="51"/>
                    <a:pt x="3" y="43"/>
                    <a:pt x="8" y="38"/>
                  </a:cubicBezTo>
                  <a:cubicBezTo>
                    <a:pt x="35" y="11"/>
                    <a:pt x="35" y="11"/>
                    <a:pt x="35" y="11"/>
                  </a:cubicBezTo>
                  <a:cubicBezTo>
                    <a:pt x="46" y="0"/>
                    <a:pt x="65" y="0"/>
                    <a:pt x="76" y="11"/>
                  </a:cubicBezTo>
                  <a:cubicBezTo>
                    <a:pt x="80" y="15"/>
                    <a:pt x="80" y="22"/>
                    <a:pt x="76" y="26"/>
                  </a:cubicBezTo>
                  <a:cubicBezTo>
                    <a:pt x="72" y="31"/>
                    <a:pt x="65" y="31"/>
                    <a:pt x="61" y="26"/>
                  </a:cubicBezTo>
                  <a:cubicBezTo>
                    <a:pt x="58" y="23"/>
                    <a:pt x="53" y="23"/>
                    <a:pt x="50" y="26"/>
                  </a:cubicBezTo>
                  <a:cubicBezTo>
                    <a:pt x="23" y="53"/>
                    <a:pt x="23" y="53"/>
                    <a:pt x="23" y="53"/>
                  </a:cubicBezTo>
                  <a:cubicBezTo>
                    <a:pt x="22" y="54"/>
                    <a:pt x="21" y="56"/>
                    <a:pt x="21" y="58"/>
                  </a:cubicBezTo>
                  <a:cubicBezTo>
                    <a:pt x="21" y="61"/>
                    <a:pt x="22" y="63"/>
                    <a:pt x="23" y="64"/>
                  </a:cubicBezTo>
                  <a:cubicBezTo>
                    <a:pt x="28" y="68"/>
                    <a:pt x="28" y="75"/>
                    <a:pt x="23" y="79"/>
                  </a:cubicBezTo>
                  <a:cubicBezTo>
                    <a:pt x="21" y="81"/>
                    <a:pt x="19" y="82"/>
                    <a:pt x="16" y="82"/>
                  </a:cubicBezTo>
                  <a:close/>
                  <a:moveTo>
                    <a:pt x="266" y="58"/>
                  </a:moveTo>
                  <a:cubicBezTo>
                    <a:pt x="266" y="66"/>
                    <a:pt x="263" y="74"/>
                    <a:pt x="257" y="79"/>
                  </a:cubicBezTo>
                  <a:cubicBezTo>
                    <a:pt x="255" y="81"/>
                    <a:pt x="252" y="82"/>
                    <a:pt x="249" y="82"/>
                  </a:cubicBezTo>
                  <a:cubicBezTo>
                    <a:pt x="247" y="82"/>
                    <a:pt x="244" y="81"/>
                    <a:pt x="242" y="79"/>
                  </a:cubicBezTo>
                  <a:cubicBezTo>
                    <a:pt x="238" y="75"/>
                    <a:pt x="238" y="68"/>
                    <a:pt x="242" y="64"/>
                  </a:cubicBezTo>
                  <a:cubicBezTo>
                    <a:pt x="243" y="63"/>
                    <a:pt x="244" y="61"/>
                    <a:pt x="244" y="58"/>
                  </a:cubicBezTo>
                  <a:cubicBezTo>
                    <a:pt x="244" y="56"/>
                    <a:pt x="243" y="54"/>
                    <a:pt x="242" y="53"/>
                  </a:cubicBezTo>
                  <a:cubicBezTo>
                    <a:pt x="216" y="26"/>
                    <a:pt x="216" y="26"/>
                    <a:pt x="216" y="26"/>
                  </a:cubicBezTo>
                  <a:cubicBezTo>
                    <a:pt x="212" y="23"/>
                    <a:pt x="207" y="23"/>
                    <a:pt x="204" y="26"/>
                  </a:cubicBezTo>
                  <a:cubicBezTo>
                    <a:pt x="200" y="31"/>
                    <a:pt x="193" y="31"/>
                    <a:pt x="189" y="26"/>
                  </a:cubicBezTo>
                  <a:cubicBezTo>
                    <a:pt x="185" y="22"/>
                    <a:pt x="185" y="15"/>
                    <a:pt x="189" y="11"/>
                  </a:cubicBezTo>
                  <a:cubicBezTo>
                    <a:pt x="201" y="0"/>
                    <a:pt x="219" y="0"/>
                    <a:pt x="231" y="11"/>
                  </a:cubicBezTo>
                  <a:cubicBezTo>
                    <a:pt x="257" y="38"/>
                    <a:pt x="257" y="38"/>
                    <a:pt x="257" y="38"/>
                  </a:cubicBezTo>
                  <a:cubicBezTo>
                    <a:pt x="263" y="43"/>
                    <a:pt x="266" y="51"/>
                    <a:pt x="266" y="5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defTabSz="1142609"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ea typeface="ヒラギノ角ゴ ProN W3" charset="0"/>
                <a:sym typeface="Gotham Book" charset="0"/>
              </a:endParaRPr>
            </a:p>
          </p:txBody>
        </p:sp>
      </p:grpSp>
      <p:sp>
        <p:nvSpPr>
          <p:cNvPr id="82" name="TextBox 81">
            <a:extLst>
              <a:ext uri="{FF2B5EF4-FFF2-40B4-BE49-F238E27FC236}">
                <a16:creationId xmlns:a16="http://schemas.microsoft.com/office/drawing/2014/main" id="{3CE3B8CB-062A-41B2-91A7-EBD688EDA8FD}"/>
              </a:ext>
            </a:extLst>
          </p:cNvPr>
          <p:cNvSpPr txBox="1"/>
          <p:nvPr/>
        </p:nvSpPr>
        <p:spPr>
          <a:xfrm>
            <a:off x="3399526" y="2918253"/>
            <a:ext cx="2504231" cy="271293"/>
          </a:xfrm>
          <a:prstGeom prst="rect">
            <a:avLst/>
          </a:prstGeom>
          <a:noFill/>
        </p:spPr>
        <p:txBody>
          <a:bodyPr wrap="square" lIns="0" tIns="0" rIns="0" bIns="0" rtlCol="0">
            <a:spAutoFit/>
          </a:bodyPr>
          <a:lstStyle/>
          <a:p>
            <a:pPr marL="0" marR="0" lvl="0" indent="0" algn="ctr" defTabSz="1142609" eaLnBrk="1" fontAlgn="auto" latinLnBrk="0" hangingPunct="1">
              <a:lnSpc>
                <a:spcPct val="100000"/>
              </a:lnSpc>
              <a:spcBef>
                <a:spcPts val="562"/>
              </a:spcBef>
              <a:spcAft>
                <a:spcPts val="0"/>
              </a:spcAft>
              <a:buClrTx/>
              <a:buSzPct val="100000"/>
              <a:buFontTx/>
              <a:buNone/>
              <a:tabLst/>
              <a:defRPr/>
            </a:pPr>
            <a:r>
              <a:rPr kumimoji="0" lang="en-US" sz="1763" b="1" i="0" u="none" strike="noStrike" kern="0" cap="none" spc="0" normalizeH="0" baseline="0" noProof="0" dirty="0">
                <a:ln>
                  <a:noFill/>
                </a:ln>
                <a:solidFill>
                  <a:schemeClr val="accent6"/>
                </a:solidFill>
                <a:effectLst/>
                <a:uLnTx/>
                <a:uFillTx/>
                <a:ea typeface="ヒラギノ角ゴ ProN W3" charset="0"/>
                <a:sym typeface="Gotham Book" charset="0"/>
              </a:rPr>
              <a:t>ANY TIME</a:t>
            </a:r>
          </a:p>
        </p:txBody>
      </p:sp>
      <p:sp>
        <p:nvSpPr>
          <p:cNvPr id="83" name="TextBox 82">
            <a:extLst>
              <a:ext uri="{FF2B5EF4-FFF2-40B4-BE49-F238E27FC236}">
                <a16:creationId xmlns:a16="http://schemas.microsoft.com/office/drawing/2014/main" id="{5E17A09E-8B27-46D7-968E-315A75C036CE}"/>
              </a:ext>
            </a:extLst>
          </p:cNvPr>
          <p:cNvSpPr txBox="1"/>
          <p:nvPr/>
        </p:nvSpPr>
        <p:spPr>
          <a:xfrm>
            <a:off x="3463058" y="3267106"/>
            <a:ext cx="2377166" cy="605743"/>
          </a:xfrm>
          <a:prstGeom prst="rect">
            <a:avLst/>
          </a:prstGeom>
          <a:noFill/>
        </p:spPr>
        <p:txBody>
          <a:bodyPr wrap="square" lIns="0" tIns="0" rIns="0" bIns="0" rtlCol="0">
            <a:spAutoFit/>
          </a:bodyPr>
          <a:lstStyle/>
          <a:p>
            <a:pPr marL="0" marR="0" lvl="0" indent="0" algn="ctr" defTabSz="1142609" eaLnBrk="1" fontAlgn="auto" latinLnBrk="0" hangingPunct="1">
              <a:lnSpc>
                <a:spcPct val="100000"/>
              </a:lnSpc>
              <a:spcBef>
                <a:spcPts val="562"/>
              </a:spcBef>
              <a:spcAft>
                <a:spcPts val="0"/>
              </a:spcAft>
              <a:buClrTx/>
              <a:buSzPct val="100000"/>
              <a:buFontTx/>
              <a:buNone/>
              <a:tabLst/>
              <a:defRPr/>
            </a:pPr>
            <a:r>
              <a:rPr kumimoji="0" lang="en-US" sz="1312" b="0" i="1" u="none" strike="noStrike" kern="0" cap="none" spc="0" normalizeH="0" baseline="0" noProof="0" dirty="0">
                <a:ln>
                  <a:noFill/>
                </a:ln>
                <a:solidFill>
                  <a:prstClr val="white">
                    <a:lumMod val="50000"/>
                  </a:prstClr>
                </a:solidFill>
                <a:effectLst/>
                <a:uLnTx/>
                <a:uFillTx/>
                <a:ea typeface="ヒラギノ角ゴ ProN W3" charset="0"/>
                <a:sym typeface="Gotham Book" charset="0"/>
              </a:rPr>
              <a:t>On-demand, dynamic ramp up (or down) capabilities  based on workloads</a:t>
            </a:r>
          </a:p>
        </p:txBody>
      </p:sp>
      <p:grpSp>
        <p:nvGrpSpPr>
          <p:cNvPr id="87" name="Group 53">
            <a:extLst>
              <a:ext uri="{FF2B5EF4-FFF2-40B4-BE49-F238E27FC236}">
                <a16:creationId xmlns:a16="http://schemas.microsoft.com/office/drawing/2014/main" id="{7B3E4904-CFF6-424C-BCEB-6D898F0EB290}"/>
              </a:ext>
            </a:extLst>
          </p:cNvPr>
          <p:cNvGrpSpPr>
            <a:grpSpLocks noChangeAspect="1"/>
          </p:cNvGrpSpPr>
          <p:nvPr/>
        </p:nvGrpSpPr>
        <p:grpSpPr bwMode="auto">
          <a:xfrm>
            <a:off x="7041941" y="1765646"/>
            <a:ext cx="981395" cy="984281"/>
            <a:chOff x="5183" y="1046"/>
            <a:chExt cx="340" cy="341"/>
          </a:xfrm>
          <a:solidFill>
            <a:sysClr val="windowText" lastClr="000000"/>
          </a:solidFill>
        </p:grpSpPr>
        <p:sp>
          <p:nvSpPr>
            <p:cNvPr id="90" name="Freeform 54">
              <a:extLst>
                <a:ext uri="{FF2B5EF4-FFF2-40B4-BE49-F238E27FC236}">
                  <a16:creationId xmlns:a16="http://schemas.microsoft.com/office/drawing/2014/main" id="{0DAD9645-1F89-4C3D-9D33-ABC3A0832083}"/>
                </a:ext>
              </a:extLst>
            </p:cNvPr>
            <p:cNvSpPr>
              <a:spLocks noEditPoints="1"/>
            </p:cNvSpPr>
            <p:nvPr/>
          </p:nvSpPr>
          <p:spPr bwMode="auto">
            <a:xfrm>
              <a:off x="5247" y="1110"/>
              <a:ext cx="212" cy="213"/>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83 w 320"/>
                <a:gd name="T11" fmla="*/ 224 h 320"/>
                <a:gd name="T12" fmla="*/ 218 w 320"/>
                <a:gd name="T13" fmla="*/ 224 h 320"/>
                <a:gd name="T14" fmla="*/ 223 w 320"/>
                <a:gd name="T15" fmla="*/ 170 h 320"/>
                <a:gd name="T16" fmla="*/ 298 w 320"/>
                <a:gd name="T17" fmla="*/ 170 h 320"/>
                <a:gd name="T18" fmla="*/ 283 w 320"/>
                <a:gd name="T19" fmla="*/ 224 h 320"/>
                <a:gd name="T20" fmla="*/ 160 w 320"/>
                <a:gd name="T21" fmla="*/ 298 h 320"/>
                <a:gd name="T22" fmla="*/ 127 w 320"/>
                <a:gd name="T23" fmla="*/ 245 h 320"/>
                <a:gd name="T24" fmla="*/ 192 w 320"/>
                <a:gd name="T25" fmla="*/ 245 h 320"/>
                <a:gd name="T26" fmla="*/ 160 w 320"/>
                <a:gd name="T27" fmla="*/ 298 h 320"/>
                <a:gd name="T28" fmla="*/ 122 w 320"/>
                <a:gd name="T29" fmla="*/ 224 h 320"/>
                <a:gd name="T30" fmla="*/ 117 w 320"/>
                <a:gd name="T31" fmla="*/ 170 h 320"/>
                <a:gd name="T32" fmla="*/ 202 w 320"/>
                <a:gd name="T33" fmla="*/ 170 h 320"/>
                <a:gd name="T34" fmla="*/ 197 w 320"/>
                <a:gd name="T35" fmla="*/ 224 h 320"/>
                <a:gd name="T36" fmla="*/ 122 w 320"/>
                <a:gd name="T37" fmla="*/ 224 h 320"/>
                <a:gd name="T38" fmla="*/ 22 w 320"/>
                <a:gd name="T39" fmla="*/ 170 h 320"/>
                <a:gd name="T40" fmla="*/ 96 w 320"/>
                <a:gd name="T41" fmla="*/ 170 h 320"/>
                <a:gd name="T42" fmla="*/ 101 w 320"/>
                <a:gd name="T43" fmla="*/ 224 h 320"/>
                <a:gd name="T44" fmla="*/ 37 w 320"/>
                <a:gd name="T45" fmla="*/ 224 h 320"/>
                <a:gd name="T46" fmla="*/ 22 w 320"/>
                <a:gd name="T47" fmla="*/ 170 h 320"/>
                <a:gd name="T48" fmla="*/ 37 w 320"/>
                <a:gd name="T49" fmla="*/ 96 h 320"/>
                <a:gd name="T50" fmla="*/ 101 w 320"/>
                <a:gd name="T51" fmla="*/ 96 h 320"/>
                <a:gd name="T52" fmla="*/ 96 w 320"/>
                <a:gd name="T53" fmla="*/ 149 h 320"/>
                <a:gd name="T54" fmla="*/ 22 w 320"/>
                <a:gd name="T55" fmla="*/ 149 h 320"/>
                <a:gd name="T56" fmla="*/ 37 w 320"/>
                <a:gd name="T57" fmla="*/ 96 h 320"/>
                <a:gd name="T58" fmla="*/ 160 w 320"/>
                <a:gd name="T59" fmla="*/ 21 h 320"/>
                <a:gd name="T60" fmla="*/ 192 w 320"/>
                <a:gd name="T61" fmla="*/ 74 h 320"/>
                <a:gd name="T62" fmla="*/ 127 w 320"/>
                <a:gd name="T63" fmla="*/ 74 h 320"/>
                <a:gd name="T64" fmla="*/ 160 w 320"/>
                <a:gd name="T65" fmla="*/ 21 h 320"/>
                <a:gd name="T66" fmla="*/ 197 w 320"/>
                <a:gd name="T67" fmla="*/ 96 h 320"/>
                <a:gd name="T68" fmla="*/ 202 w 320"/>
                <a:gd name="T69" fmla="*/ 149 h 320"/>
                <a:gd name="T70" fmla="*/ 117 w 320"/>
                <a:gd name="T71" fmla="*/ 149 h 320"/>
                <a:gd name="T72" fmla="*/ 122 w 320"/>
                <a:gd name="T73" fmla="*/ 96 h 320"/>
                <a:gd name="T74" fmla="*/ 197 w 320"/>
                <a:gd name="T75" fmla="*/ 96 h 320"/>
                <a:gd name="T76" fmla="*/ 223 w 320"/>
                <a:gd name="T77" fmla="*/ 149 h 320"/>
                <a:gd name="T78" fmla="*/ 218 w 320"/>
                <a:gd name="T79" fmla="*/ 96 h 320"/>
                <a:gd name="T80" fmla="*/ 283 w 320"/>
                <a:gd name="T81" fmla="*/ 96 h 320"/>
                <a:gd name="T82" fmla="*/ 298 w 320"/>
                <a:gd name="T83" fmla="*/ 149 h 320"/>
                <a:gd name="T84" fmla="*/ 223 w 320"/>
                <a:gd name="T85" fmla="*/ 149 h 320"/>
                <a:gd name="T86" fmla="*/ 269 w 320"/>
                <a:gd name="T87" fmla="*/ 74 h 320"/>
                <a:gd name="T88" fmla="*/ 214 w 320"/>
                <a:gd name="T89" fmla="*/ 74 h 320"/>
                <a:gd name="T90" fmla="*/ 196 w 320"/>
                <a:gd name="T91" fmla="*/ 26 h 320"/>
                <a:gd name="T92" fmla="*/ 269 w 320"/>
                <a:gd name="T93" fmla="*/ 74 h 320"/>
                <a:gd name="T94" fmla="*/ 124 w 320"/>
                <a:gd name="T95" fmla="*/ 26 h 320"/>
                <a:gd name="T96" fmla="*/ 105 w 320"/>
                <a:gd name="T97" fmla="*/ 74 h 320"/>
                <a:gd name="T98" fmla="*/ 51 w 320"/>
                <a:gd name="T99" fmla="*/ 74 h 320"/>
                <a:gd name="T100" fmla="*/ 124 w 320"/>
                <a:gd name="T101" fmla="*/ 26 h 320"/>
                <a:gd name="T102" fmla="*/ 51 w 320"/>
                <a:gd name="T103" fmla="*/ 245 h 320"/>
                <a:gd name="T104" fmla="*/ 105 w 320"/>
                <a:gd name="T105" fmla="*/ 245 h 320"/>
                <a:gd name="T106" fmla="*/ 124 w 320"/>
                <a:gd name="T107" fmla="*/ 293 h 320"/>
                <a:gd name="T108" fmla="*/ 51 w 320"/>
                <a:gd name="T109" fmla="*/ 245 h 320"/>
                <a:gd name="T110" fmla="*/ 196 w 320"/>
                <a:gd name="T111" fmla="*/ 293 h 320"/>
                <a:gd name="T112" fmla="*/ 214 w 320"/>
                <a:gd name="T113" fmla="*/ 245 h 320"/>
                <a:gd name="T114" fmla="*/ 269 w 320"/>
                <a:gd name="T115" fmla="*/ 245 h 320"/>
                <a:gd name="T116" fmla="*/ 196 w 320"/>
                <a:gd name="T117" fmla="*/ 29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83" y="224"/>
                  </a:moveTo>
                  <a:cubicBezTo>
                    <a:pt x="218" y="224"/>
                    <a:pt x="218" y="224"/>
                    <a:pt x="218" y="224"/>
                  </a:cubicBezTo>
                  <a:cubicBezTo>
                    <a:pt x="221" y="207"/>
                    <a:pt x="223" y="188"/>
                    <a:pt x="223" y="170"/>
                  </a:cubicBezTo>
                  <a:cubicBezTo>
                    <a:pt x="298" y="170"/>
                    <a:pt x="298" y="170"/>
                    <a:pt x="298" y="170"/>
                  </a:cubicBezTo>
                  <a:cubicBezTo>
                    <a:pt x="296" y="189"/>
                    <a:pt x="291" y="207"/>
                    <a:pt x="283" y="224"/>
                  </a:cubicBezTo>
                  <a:close/>
                  <a:moveTo>
                    <a:pt x="160" y="298"/>
                  </a:moveTo>
                  <a:cubicBezTo>
                    <a:pt x="149" y="298"/>
                    <a:pt x="136" y="279"/>
                    <a:pt x="127" y="245"/>
                  </a:cubicBezTo>
                  <a:cubicBezTo>
                    <a:pt x="192" y="245"/>
                    <a:pt x="192" y="245"/>
                    <a:pt x="192" y="245"/>
                  </a:cubicBezTo>
                  <a:cubicBezTo>
                    <a:pt x="183" y="279"/>
                    <a:pt x="170" y="298"/>
                    <a:pt x="160" y="298"/>
                  </a:cubicBezTo>
                  <a:close/>
                  <a:moveTo>
                    <a:pt x="122" y="224"/>
                  </a:moveTo>
                  <a:cubicBezTo>
                    <a:pt x="120" y="208"/>
                    <a:pt x="118" y="190"/>
                    <a:pt x="117" y="170"/>
                  </a:cubicBezTo>
                  <a:cubicBezTo>
                    <a:pt x="202" y="170"/>
                    <a:pt x="202" y="170"/>
                    <a:pt x="202" y="170"/>
                  </a:cubicBezTo>
                  <a:cubicBezTo>
                    <a:pt x="202" y="190"/>
                    <a:pt x="200" y="208"/>
                    <a:pt x="197" y="224"/>
                  </a:cubicBezTo>
                  <a:lnTo>
                    <a:pt x="122" y="224"/>
                  </a:lnTo>
                  <a:close/>
                  <a:moveTo>
                    <a:pt x="22" y="170"/>
                  </a:moveTo>
                  <a:cubicBezTo>
                    <a:pt x="96" y="170"/>
                    <a:pt x="96" y="170"/>
                    <a:pt x="96" y="170"/>
                  </a:cubicBezTo>
                  <a:cubicBezTo>
                    <a:pt x="96" y="188"/>
                    <a:pt x="98" y="207"/>
                    <a:pt x="101" y="224"/>
                  </a:cubicBezTo>
                  <a:cubicBezTo>
                    <a:pt x="37" y="224"/>
                    <a:pt x="37" y="224"/>
                    <a:pt x="37" y="224"/>
                  </a:cubicBezTo>
                  <a:cubicBezTo>
                    <a:pt x="28" y="207"/>
                    <a:pt x="23" y="189"/>
                    <a:pt x="22" y="170"/>
                  </a:cubicBezTo>
                  <a:close/>
                  <a:moveTo>
                    <a:pt x="37" y="96"/>
                  </a:moveTo>
                  <a:cubicBezTo>
                    <a:pt x="101" y="96"/>
                    <a:pt x="101" y="96"/>
                    <a:pt x="101" y="96"/>
                  </a:cubicBezTo>
                  <a:cubicBezTo>
                    <a:pt x="98" y="113"/>
                    <a:pt x="96" y="131"/>
                    <a:pt x="96" y="149"/>
                  </a:cubicBezTo>
                  <a:cubicBezTo>
                    <a:pt x="22" y="149"/>
                    <a:pt x="22" y="149"/>
                    <a:pt x="22" y="149"/>
                  </a:cubicBezTo>
                  <a:cubicBezTo>
                    <a:pt x="23" y="130"/>
                    <a:pt x="28" y="112"/>
                    <a:pt x="37" y="96"/>
                  </a:cubicBezTo>
                  <a:close/>
                  <a:moveTo>
                    <a:pt x="160" y="21"/>
                  </a:moveTo>
                  <a:cubicBezTo>
                    <a:pt x="170" y="21"/>
                    <a:pt x="183" y="41"/>
                    <a:pt x="192" y="74"/>
                  </a:cubicBezTo>
                  <a:cubicBezTo>
                    <a:pt x="127" y="74"/>
                    <a:pt x="127" y="74"/>
                    <a:pt x="127" y="74"/>
                  </a:cubicBezTo>
                  <a:cubicBezTo>
                    <a:pt x="136" y="41"/>
                    <a:pt x="149" y="21"/>
                    <a:pt x="160" y="21"/>
                  </a:cubicBezTo>
                  <a:close/>
                  <a:moveTo>
                    <a:pt x="197" y="96"/>
                  </a:moveTo>
                  <a:cubicBezTo>
                    <a:pt x="200" y="111"/>
                    <a:pt x="202" y="129"/>
                    <a:pt x="202" y="149"/>
                  </a:cubicBezTo>
                  <a:cubicBezTo>
                    <a:pt x="117" y="149"/>
                    <a:pt x="117" y="149"/>
                    <a:pt x="117" y="149"/>
                  </a:cubicBezTo>
                  <a:cubicBezTo>
                    <a:pt x="118" y="129"/>
                    <a:pt x="120" y="111"/>
                    <a:pt x="122" y="96"/>
                  </a:cubicBezTo>
                  <a:lnTo>
                    <a:pt x="197" y="96"/>
                  </a:lnTo>
                  <a:close/>
                  <a:moveTo>
                    <a:pt x="223" y="149"/>
                  </a:moveTo>
                  <a:cubicBezTo>
                    <a:pt x="223" y="131"/>
                    <a:pt x="221" y="113"/>
                    <a:pt x="218" y="96"/>
                  </a:cubicBezTo>
                  <a:cubicBezTo>
                    <a:pt x="283" y="96"/>
                    <a:pt x="283" y="96"/>
                    <a:pt x="283" y="96"/>
                  </a:cubicBezTo>
                  <a:cubicBezTo>
                    <a:pt x="291" y="112"/>
                    <a:pt x="296" y="130"/>
                    <a:pt x="298" y="149"/>
                  </a:cubicBezTo>
                  <a:lnTo>
                    <a:pt x="223" y="149"/>
                  </a:lnTo>
                  <a:close/>
                  <a:moveTo>
                    <a:pt x="269" y="74"/>
                  </a:moveTo>
                  <a:cubicBezTo>
                    <a:pt x="214" y="74"/>
                    <a:pt x="214" y="74"/>
                    <a:pt x="214" y="74"/>
                  </a:cubicBezTo>
                  <a:cubicBezTo>
                    <a:pt x="210" y="55"/>
                    <a:pt x="203" y="39"/>
                    <a:pt x="196" y="26"/>
                  </a:cubicBezTo>
                  <a:cubicBezTo>
                    <a:pt x="225" y="34"/>
                    <a:pt x="251" y="51"/>
                    <a:pt x="269" y="74"/>
                  </a:cubicBezTo>
                  <a:close/>
                  <a:moveTo>
                    <a:pt x="124" y="26"/>
                  </a:moveTo>
                  <a:cubicBezTo>
                    <a:pt x="116" y="39"/>
                    <a:pt x="110" y="55"/>
                    <a:pt x="105" y="74"/>
                  </a:cubicBezTo>
                  <a:cubicBezTo>
                    <a:pt x="51" y="74"/>
                    <a:pt x="51" y="74"/>
                    <a:pt x="51" y="74"/>
                  </a:cubicBezTo>
                  <a:cubicBezTo>
                    <a:pt x="69" y="51"/>
                    <a:pt x="94" y="34"/>
                    <a:pt x="124" y="26"/>
                  </a:cubicBezTo>
                  <a:close/>
                  <a:moveTo>
                    <a:pt x="51" y="245"/>
                  </a:moveTo>
                  <a:cubicBezTo>
                    <a:pt x="105" y="245"/>
                    <a:pt x="105" y="245"/>
                    <a:pt x="105" y="245"/>
                  </a:cubicBezTo>
                  <a:cubicBezTo>
                    <a:pt x="110" y="264"/>
                    <a:pt x="116" y="281"/>
                    <a:pt x="124" y="293"/>
                  </a:cubicBezTo>
                  <a:cubicBezTo>
                    <a:pt x="94" y="285"/>
                    <a:pt x="69" y="268"/>
                    <a:pt x="51" y="245"/>
                  </a:cubicBezTo>
                  <a:close/>
                  <a:moveTo>
                    <a:pt x="196" y="293"/>
                  </a:moveTo>
                  <a:cubicBezTo>
                    <a:pt x="203" y="281"/>
                    <a:pt x="210" y="264"/>
                    <a:pt x="214" y="245"/>
                  </a:cubicBezTo>
                  <a:cubicBezTo>
                    <a:pt x="269" y="245"/>
                    <a:pt x="269" y="245"/>
                    <a:pt x="269" y="245"/>
                  </a:cubicBezTo>
                  <a:cubicBezTo>
                    <a:pt x="251" y="268"/>
                    <a:pt x="225" y="285"/>
                    <a:pt x="196" y="29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defTabSz="1142609"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ea typeface="ヒラギノ角ゴ ProN W3" charset="0"/>
                <a:sym typeface="Gotham Book" charset="0"/>
              </a:endParaRPr>
            </a:p>
          </p:txBody>
        </p:sp>
        <p:sp>
          <p:nvSpPr>
            <p:cNvPr id="91" name="Freeform 55">
              <a:extLst>
                <a:ext uri="{FF2B5EF4-FFF2-40B4-BE49-F238E27FC236}">
                  <a16:creationId xmlns:a16="http://schemas.microsoft.com/office/drawing/2014/main" id="{711C6CE9-4FF1-493D-98D9-8AB9E79BA4E6}"/>
                </a:ext>
              </a:extLst>
            </p:cNvPr>
            <p:cNvSpPr>
              <a:spLocks noEditPoints="1"/>
            </p:cNvSpPr>
            <p:nvPr/>
          </p:nvSpPr>
          <p:spPr bwMode="auto">
            <a:xfrm>
              <a:off x="5183" y="10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defTabSz="1142609"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ea typeface="ヒラギノ角ゴ ProN W3" charset="0"/>
                <a:sym typeface="Gotham Book" charset="0"/>
              </a:endParaRPr>
            </a:p>
          </p:txBody>
        </p:sp>
      </p:grpSp>
      <p:sp>
        <p:nvSpPr>
          <p:cNvPr id="88" name="TextBox 87">
            <a:extLst>
              <a:ext uri="{FF2B5EF4-FFF2-40B4-BE49-F238E27FC236}">
                <a16:creationId xmlns:a16="http://schemas.microsoft.com/office/drawing/2014/main" id="{74AA53EA-B607-4FBC-B116-F7170BF0F010}"/>
              </a:ext>
            </a:extLst>
          </p:cNvPr>
          <p:cNvSpPr txBox="1"/>
          <p:nvPr/>
        </p:nvSpPr>
        <p:spPr>
          <a:xfrm>
            <a:off x="6280522" y="2918256"/>
            <a:ext cx="2504231" cy="271293"/>
          </a:xfrm>
          <a:prstGeom prst="rect">
            <a:avLst/>
          </a:prstGeom>
          <a:noFill/>
        </p:spPr>
        <p:txBody>
          <a:bodyPr wrap="square" lIns="0" tIns="0" rIns="0" bIns="0" rtlCol="0">
            <a:spAutoFit/>
          </a:bodyPr>
          <a:lstStyle/>
          <a:p>
            <a:pPr marL="0" marR="0" lvl="0" indent="0" algn="ctr" defTabSz="1142609" eaLnBrk="1" fontAlgn="auto" latinLnBrk="0" hangingPunct="1">
              <a:lnSpc>
                <a:spcPct val="100000"/>
              </a:lnSpc>
              <a:spcBef>
                <a:spcPts val="562"/>
              </a:spcBef>
              <a:spcAft>
                <a:spcPts val="0"/>
              </a:spcAft>
              <a:buClrTx/>
              <a:buSzPct val="100000"/>
              <a:buFontTx/>
              <a:buNone/>
              <a:tabLst/>
              <a:defRPr/>
            </a:pPr>
            <a:r>
              <a:rPr kumimoji="0" lang="en-US" sz="1763" b="1" i="0" u="none" strike="noStrike" kern="0" cap="none" spc="0" normalizeH="0" baseline="0" noProof="0" dirty="0">
                <a:ln>
                  <a:noFill/>
                </a:ln>
                <a:solidFill>
                  <a:schemeClr val="accent6"/>
                </a:solidFill>
                <a:effectLst/>
                <a:uLnTx/>
                <a:uFillTx/>
                <a:ea typeface="ヒラギノ角ゴ ProN W3" charset="0"/>
                <a:sym typeface="Gotham Book" charset="0"/>
              </a:rPr>
              <a:t>ANYWHERE</a:t>
            </a:r>
          </a:p>
        </p:txBody>
      </p:sp>
      <p:sp>
        <p:nvSpPr>
          <p:cNvPr id="89" name="TextBox 88">
            <a:extLst>
              <a:ext uri="{FF2B5EF4-FFF2-40B4-BE49-F238E27FC236}">
                <a16:creationId xmlns:a16="http://schemas.microsoft.com/office/drawing/2014/main" id="{47277070-3008-4434-8AF7-8ACF0739F5E5}"/>
              </a:ext>
            </a:extLst>
          </p:cNvPr>
          <p:cNvSpPr txBox="1"/>
          <p:nvPr/>
        </p:nvSpPr>
        <p:spPr>
          <a:xfrm>
            <a:off x="6347575" y="3267108"/>
            <a:ext cx="2377166" cy="201915"/>
          </a:xfrm>
          <a:prstGeom prst="rect">
            <a:avLst/>
          </a:prstGeom>
          <a:noFill/>
        </p:spPr>
        <p:txBody>
          <a:bodyPr wrap="square" lIns="0" tIns="0" rIns="0" bIns="0" rtlCol="0">
            <a:spAutoFit/>
          </a:bodyPr>
          <a:lstStyle/>
          <a:p>
            <a:pPr marL="0" marR="0" lvl="0" indent="0" algn="ctr" defTabSz="1142609" eaLnBrk="1" fontAlgn="auto" latinLnBrk="0" hangingPunct="1">
              <a:lnSpc>
                <a:spcPct val="100000"/>
              </a:lnSpc>
              <a:spcBef>
                <a:spcPts val="562"/>
              </a:spcBef>
              <a:spcAft>
                <a:spcPts val="0"/>
              </a:spcAft>
              <a:buClrTx/>
              <a:buSzPct val="100000"/>
              <a:buFontTx/>
              <a:buNone/>
              <a:tabLst/>
              <a:defRPr/>
            </a:pPr>
            <a:r>
              <a:rPr kumimoji="0" lang="en-US" sz="1312" b="0" i="1" u="none" strike="noStrike" kern="0" cap="none" spc="0" normalizeH="0" baseline="0" noProof="0" dirty="0">
                <a:ln>
                  <a:noFill/>
                </a:ln>
                <a:solidFill>
                  <a:prstClr val="white">
                    <a:lumMod val="50000"/>
                  </a:prstClr>
                </a:solidFill>
                <a:effectLst/>
                <a:uLnTx/>
                <a:uFillTx/>
                <a:ea typeface="ヒラギノ角ゴ ProN W3" charset="0"/>
                <a:sym typeface="Gotham Book" charset="0"/>
              </a:rPr>
              <a:t>Global geographic coverage</a:t>
            </a:r>
          </a:p>
        </p:txBody>
      </p:sp>
      <p:cxnSp>
        <p:nvCxnSpPr>
          <p:cNvPr id="92" name="Straight Connector 91">
            <a:extLst>
              <a:ext uri="{FF2B5EF4-FFF2-40B4-BE49-F238E27FC236}">
                <a16:creationId xmlns:a16="http://schemas.microsoft.com/office/drawing/2014/main" id="{CF11CC7D-FFC0-4BF1-A5E8-C1618E72F2DC}"/>
              </a:ext>
            </a:extLst>
          </p:cNvPr>
          <p:cNvCxnSpPr/>
          <p:nvPr/>
        </p:nvCxnSpPr>
        <p:spPr>
          <a:xfrm>
            <a:off x="412097" y="2268617"/>
            <a:ext cx="906377" cy="0"/>
          </a:xfrm>
          <a:prstGeom prst="line">
            <a:avLst/>
          </a:prstGeom>
          <a:noFill/>
          <a:ln w="9525" cap="flat" cmpd="sng" algn="ctr">
            <a:solidFill>
              <a:srgbClr val="53565A"/>
            </a:solidFill>
            <a:prstDash val="dash"/>
          </a:ln>
          <a:effectLst/>
        </p:spPr>
      </p:cxnSp>
      <p:cxnSp>
        <p:nvCxnSpPr>
          <p:cNvPr id="93" name="Straight Connector 92">
            <a:extLst>
              <a:ext uri="{FF2B5EF4-FFF2-40B4-BE49-F238E27FC236}">
                <a16:creationId xmlns:a16="http://schemas.microsoft.com/office/drawing/2014/main" id="{8231BDE8-2A3F-488A-90E7-45BF40F7FFC2}"/>
              </a:ext>
            </a:extLst>
          </p:cNvPr>
          <p:cNvCxnSpPr/>
          <p:nvPr/>
        </p:nvCxnSpPr>
        <p:spPr>
          <a:xfrm>
            <a:off x="2368900" y="2268617"/>
            <a:ext cx="1766273" cy="0"/>
          </a:xfrm>
          <a:prstGeom prst="line">
            <a:avLst/>
          </a:prstGeom>
          <a:noFill/>
          <a:ln w="9525" cap="flat" cmpd="sng" algn="ctr">
            <a:solidFill>
              <a:srgbClr val="53565A"/>
            </a:solidFill>
            <a:prstDash val="dash"/>
          </a:ln>
          <a:effectLst/>
        </p:spPr>
      </p:cxnSp>
      <p:cxnSp>
        <p:nvCxnSpPr>
          <p:cNvPr id="94" name="Straight Connector 93">
            <a:extLst>
              <a:ext uri="{FF2B5EF4-FFF2-40B4-BE49-F238E27FC236}">
                <a16:creationId xmlns:a16="http://schemas.microsoft.com/office/drawing/2014/main" id="{427A404B-6875-4AA8-BC3A-D3C747A1615F}"/>
              </a:ext>
            </a:extLst>
          </p:cNvPr>
          <p:cNvCxnSpPr/>
          <p:nvPr/>
        </p:nvCxnSpPr>
        <p:spPr>
          <a:xfrm>
            <a:off x="8064140" y="2268617"/>
            <a:ext cx="1799551" cy="0"/>
          </a:xfrm>
          <a:prstGeom prst="line">
            <a:avLst/>
          </a:prstGeom>
          <a:noFill/>
          <a:ln w="9525" cap="flat" cmpd="sng" algn="ctr">
            <a:solidFill>
              <a:srgbClr val="53565A"/>
            </a:solidFill>
            <a:prstDash val="dash"/>
          </a:ln>
          <a:effectLst/>
        </p:spPr>
      </p:cxnSp>
      <p:cxnSp>
        <p:nvCxnSpPr>
          <p:cNvPr id="95" name="Straight Connector 94">
            <a:extLst>
              <a:ext uri="{FF2B5EF4-FFF2-40B4-BE49-F238E27FC236}">
                <a16:creationId xmlns:a16="http://schemas.microsoft.com/office/drawing/2014/main" id="{E1525D1A-C79C-4FE4-B9F6-BB666F4E4F88}"/>
              </a:ext>
            </a:extLst>
          </p:cNvPr>
          <p:cNvCxnSpPr/>
          <p:nvPr/>
        </p:nvCxnSpPr>
        <p:spPr>
          <a:xfrm>
            <a:off x="10958288" y="2268617"/>
            <a:ext cx="823979" cy="0"/>
          </a:xfrm>
          <a:prstGeom prst="line">
            <a:avLst/>
          </a:prstGeom>
          <a:noFill/>
          <a:ln w="9525" cap="flat" cmpd="sng" algn="ctr">
            <a:solidFill>
              <a:srgbClr val="53565A"/>
            </a:solidFill>
            <a:prstDash val="dash"/>
          </a:ln>
          <a:effectLst/>
        </p:spPr>
      </p:cxnSp>
      <p:grpSp>
        <p:nvGrpSpPr>
          <p:cNvPr id="97" name="Group 127">
            <a:extLst>
              <a:ext uri="{FF2B5EF4-FFF2-40B4-BE49-F238E27FC236}">
                <a16:creationId xmlns:a16="http://schemas.microsoft.com/office/drawing/2014/main" id="{261FBFC1-4B66-47A2-87E8-D1D45974AA33}"/>
              </a:ext>
            </a:extLst>
          </p:cNvPr>
          <p:cNvGrpSpPr>
            <a:grpSpLocks noChangeAspect="1"/>
          </p:cNvGrpSpPr>
          <p:nvPr/>
        </p:nvGrpSpPr>
        <p:grpSpPr bwMode="auto">
          <a:xfrm rot="10800000">
            <a:off x="9919416" y="1767017"/>
            <a:ext cx="988438" cy="988437"/>
            <a:chOff x="5048" y="380"/>
            <a:chExt cx="340" cy="340"/>
          </a:xfrm>
          <a:solidFill>
            <a:sysClr val="windowText" lastClr="000000"/>
          </a:solidFill>
        </p:grpSpPr>
        <p:sp>
          <p:nvSpPr>
            <p:cNvPr id="100" name="Freeform 128">
              <a:extLst>
                <a:ext uri="{FF2B5EF4-FFF2-40B4-BE49-F238E27FC236}">
                  <a16:creationId xmlns:a16="http://schemas.microsoft.com/office/drawing/2014/main" id="{D2760FED-58E6-472B-8A4B-3C7AAF4C57E3}"/>
                </a:ext>
              </a:extLst>
            </p:cNvPr>
            <p:cNvSpPr>
              <a:spLocks noEditPoints="1"/>
            </p:cNvSpPr>
            <p:nvPr/>
          </p:nvSpPr>
          <p:spPr bwMode="auto">
            <a:xfrm>
              <a:off x="5048" y="3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defTabSz="1142609"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dirty="0">
                <a:ln>
                  <a:noFill/>
                </a:ln>
                <a:solidFill>
                  <a:prstClr val="black"/>
                </a:solidFill>
                <a:effectLst/>
                <a:uLnTx/>
                <a:uFillTx/>
                <a:ea typeface="ヒラギノ角ゴ ProN W3" charset="0"/>
                <a:sym typeface="Gotham Book" charset="0"/>
              </a:endParaRPr>
            </a:p>
          </p:txBody>
        </p:sp>
        <p:sp>
          <p:nvSpPr>
            <p:cNvPr id="101" name="Freeform 129">
              <a:extLst>
                <a:ext uri="{FF2B5EF4-FFF2-40B4-BE49-F238E27FC236}">
                  <a16:creationId xmlns:a16="http://schemas.microsoft.com/office/drawing/2014/main" id="{435F4BB2-3931-466B-963D-812A09D86F16}"/>
                </a:ext>
              </a:extLst>
            </p:cNvPr>
            <p:cNvSpPr>
              <a:spLocks noEditPoints="1"/>
            </p:cNvSpPr>
            <p:nvPr/>
          </p:nvSpPr>
          <p:spPr bwMode="auto">
            <a:xfrm>
              <a:off x="5156" y="472"/>
              <a:ext cx="150" cy="156"/>
            </a:xfrm>
            <a:custGeom>
              <a:avLst/>
              <a:gdLst>
                <a:gd name="T0" fmla="*/ 74 w 226"/>
                <a:gd name="T1" fmla="*/ 189 h 235"/>
                <a:gd name="T2" fmla="*/ 74 w 226"/>
                <a:gd name="T3" fmla="*/ 204 h 235"/>
                <a:gd name="T4" fmla="*/ 47 w 226"/>
                <a:gd name="T5" fmla="*/ 232 h 235"/>
                <a:gd name="T6" fmla="*/ 43 w 226"/>
                <a:gd name="T7" fmla="*/ 234 h 235"/>
                <a:gd name="T8" fmla="*/ 39 w 226"/>
                <a:gd name="T9" fmla="*/ 235 h 235"/>
                <a:gd name="T10" fmla="*/ 35 w 226"/>
                <a:gd name="T11" fmla="*/ 234 h 235"/>
                <a:gd name="T12" fmla="*/ 32 w 226"/>
                <a:gd name="T13" fmla="*/ 232 h 235"/>
                <a:gd name="T14" fmla="*/ 4 w 226"/>
                <a:gd name="T15" fmla="*/ 204 h 235"/>
                <a:gd name="T16" fmla="*/ 4 w 226"/>
                <a:gd name="T17" fmla="*/ 189 h 235"/>
                <a:gd name="T18" fmla="*/ 19 w 226"/>
                <a:gd name="T19" fmla="*/ 189 h 235"/>
                <a:gd name="T20" fmla="*/ 29 w 226"/>
                <a:gd name="T21" fmla="*/ 199 h 235"/>
                <a:gd name="T22" fmla="*/ 29 w 226"/>
                <a:gd name="T23" fmla="*/ 11 h 235"/>
                <a:gd name="T24" fmla="*/ 39 w 226"/>
                <a:gd name="T25" fmla="*/ 0 h 235"/>
                <a:gd name="T26" fmla="*/ 50 w 226"/>
                <a:gd name="T27" fmla="*/ 11 h 235"/>
                <a:gd name="T28" fmla="*/ 50 w 226"/>
                <a:gd name="T29" fmla="*/ 199 h 235"/>
                <a:gd name="T30" fmla="*/ 59 w 226"/>
                <a:gd name="T31" fmla="*/ 189 h 235"/>
                <a:gd name="T32" fmla="*/ 74 w 226"/>
                <a:gd name="T33" fmla="*/ 189 h 235"/>
                <a:gd name="T34" fmla="*/ 215 w 226"/>
                <a:gd name="T35" fmla="*/ 214 h 235"/>
                <a:gd name="T36" fmla="*/ 103 w 226"/>
                <a:gd name="T37" fmla="*/ 214 h 235"/>
                <a:gd name="T38" fmla="*/ 93 w 226"/>
                <a:gd name="T39" fmla="*/ 224 h 235"/>
                <a:gd name="T40" fmla="*/ 103 w 226"/>
                <a:gd name="T41" fmla="*/ 235 h 235"/>
                <a:gd name="T42" fmla="*/ 215 w 226"/>
                <a:gd name="T43" fmla="*/ 235 h 235"/>
                <a:gd name="T44" fmla="*/ 226 w 226"/>
                <a:gd name="T45" fmla="*/ 224 h 235"/>
                <a:gd name="T46" fmla="*/ 215 w 226"/>
                <a:gd name="T47" fmla="*/ 214 h 235"/>
                <a:gd name="T48" fmla="*/ 103 w 226"/>
                <a:gd name="T49" fmla="*/ 192 h 235"/>
                <a:gd name="T50" fmla="*/ 199 w 226"/>
                <a:gd name="T51" fmla="*/ 192 h 235"/>
                <a:gd name="T52" fmla="*/ 210 w 226"/>
                <a:gd name="T53" fmla="*/ 182 h 235"/>
                <a:gd name="T54" fmla="*/ 199 w 226"/>
                <a:gd name="T55" fmla="*/ 171 h 235"/>
                <a:gd name="T56" fmla="*/ 103 w 226"/>
                <a:gd name="T57" fmla="*/ 171 h 235"/>
                <a:gd name="T58" fmla="*/ 93 w 226"/>
                <a:gd name="T59" fmla="*/ 182 h 235"/>
                <a:gd name="T60" fmla="*/ 103 w 226"/>
                <a:gd name="T61" fmla="*/ 192 h 235"/>
                <a:gd name="T62" fmla="*/ 103 w 226"/>
                <a:gd name="T63" fmla="*/ 150 h 235"/>
                <a:gd name="T64" fmla="*/ 178 w 226"/>
                <a:gd name="T65" fmla="*/ 150 h 235"/>
                <a:gd name="T66" fmla="*/ 189 w 226"/>
                <a:gd name="T67" fmla="*/ 139 h 235"/>
                <a:gd name="T68" fmla="*/ 178 w 226"/>
                <a:gd name="T69" fmla="*/ 128 h 235"/>
                <a:gd name="T70" fmla="*/ 103 w 226"/>
                <a:gd name="T71" fmla="*/ 128 h 235"/>
                <a:gd name="T72" fmla="*/ 93 w 226"/>
                <a:gd name="T73" fmla="*/ 139 h 235"/>
                <a:gd name="T74" fmla="*/ 103 w 226"/>
                <a:gd name="T75" fmla="*/ 150 h 235"/>
                <a:gd name="T76" fmla="*/ 103 w 226"/>
                <a:gd name="T77" fmla="*/ 107 h 235"/>
                <a:gd name="T78" fmla="*/ 157 w 226"/>
                <a:gd name="T79" fmla="*/ 107 h 235"/>
                <a:gd name="T80" fmla="*/ 167 w 226"/>
                <a:gd name="T81" fmla="*/ 96 h 235"/>
                <a:gd name="T82" fmla="*/ 157 w 226"/>
                <a:gd name="T83" fmla="*/ 86 h 235"/>
                <a:gd name="T84" fmla="*/ 103 w 226"/>
                <a:gd name="T85" fmla="*/ 86 h 235"/>
                <a:gd name="T86" fmla="*/ 93 w 226"/>
                <a:gd name="T87" fmla="*/ 96 h 235"/>
                <a:gd name="T88" fmla="*/ 103 w 226"/>
                <a:gd name="T89" fmla="*/ 107 h 235"/>
                <a:gd name="T90" fmla="*/ 103 w 226"/>
                <a:gd name="T91" fmla="*/ 64 h 235"/>
                <a:gd name="T92" fmla="*/ 135 w 226"/>
                <a:gd name="T93" fmla="*/ 64 h 235"/>
                <a:gd name="T94" fmla="*/ 146 w 226"/>
                <a:gd name="T95" fmla="*/ 54 h 235"/>
                <a:gd name="T96" fmla="*/ 135 w 226"/>
                <a:gd name="T97" fmla="*/ 43 h 235"/>
                <a:gd name="T98" fmla="*/ 103 w 226"/>
                <a:gd name="T99" fmla="*/ 43 h 235"/>
                <a:gd name="T100" fmla="*/ 93 w 226"/>
                <a:gd name="T101" fmla="*/ 54 h 235"/>
                <a:gd name="T102" fmla="*/ 103 w 226"/>
                <a:gd name="T103" fmla="*/ 64 h 235"/>
                <a:gd name="T104" fmla="*/ 103 w 226"/>
                <a:gd name="T105" fmla="*/ 22 h 235"/>
                <a:gd name="T106" fmla="*/ 114 w 226"/>
                <a:gd name="T107" fmla="*/ 22 h 235"/>
                <a:gd name="T108" fmla="*/ 125 w 226"/>
                <a:gd name="T109" fmla="*/ 11 h 235"/>
                <a:gd name="T110" fmla="*/ 114 w 226"/>
                <a:gd name="T111" fmla="*/ 0 h 235"/>
                <a:gd name="T112" fmla="*/ 103 w 226"/>
                <a:gd name="T113" fmla="*/ 0 h 235"/>
                <a:gd name="T114" fmla="*/ 93 w 226"/>
                <a:gd name="T115" fmla="*/ 11 h 235"/>
                <a:gd name="T116" fmla="*/ 103 w 226"/>
                <a:gd name="T117" fmla="*/ 2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6" h="235">
                  <a:moveTo>
                    <a:pt x="74" y="189"/>
                  </a:moveTo>
                  <a:cubicBezTo>
                    <a:pt x="79" y="193"/>
                    <a:pt x="79" y="200"/>
                    <a:pt x="74" y="204"/>
                  </a:cubicBezTo>
                  <a:cubicBezTo>
                    <a:pt x="47" y="232"/>
                    <a:pt x="47" y="232"/>
                    <a:pt x="47" y="232"/>
                  </a:cubicBezTo>
                  <a:cubicBezTo>
                    <a:pt x="46" y="233"/>
                    <a:pt x="45" y="234"/>
                    <a:pt x="43" y="234"/>
                  </a:cubicBezTo>
                  <a:cubicBezTo>
                    <a:pt x="42" y="235"/>
                    <a:pt x="41" y="235"/>
                    <a:pt x="39" y="235"/>
                  </a:cubicBezTo>
                  <a:cubicBezTo>
                    <a:pt x="38" y="235"/>
                    <a:pt x="37" y="235"/>
                    <a:pt x="35" y="234"/>
                  </a:cubicBezTo>
                  <a:cubicBezTo>
                    <a:pt x="34" y="234"/>
                    <a:pt x="33" y="233"/>
                    <a:pt x="32" y="232"/>
                  </a:cubicBezTo>
                  <a:cubicBezTo>
                    <a:pt x="4" y="204"/>
                    <a:pt x="4" y="204"/>
                    <a:pt x="4" y="204"/>
                  </a:cubicBezTo>
                  <a:cubicBezTo>
                    <a:pt x="0" y="200"/>
                    <a:pt x="0" y="193"/>
                    <a:pt x="4" y="189"/>
                  </a:cubicBezTo>
                  <a:cubicBezTo>
                    <a:pt x="8" y="185"/>
                    <a:pt x="15" y="185"/>
                    <a:pt x="19" y="189"/>
                  </a:cubicBezTo>
                  <a:cubicBezTo>
                    <a:pt x="29" y="199"/>
                    <a:pt x="29" y="199"/>
                    <a:pt x="29" y="199"/>
                  </a:cubicBezTo>
                  <a:cubicBezTo>
                    <a:pt x="29" y="11"/>
                    <a:pt x="29" y="11"/>
                    <a:pt x="29" y="11"/>
                  </a:cubicBezTo>
                  <a:cubicBezTo>
                    <a:pt x="29" y="5"/>
                    <a:pt x="33" y="0"/>
                    <a:pt x="39" y="0"/>
                  </a:cubicBezTo>
                  <a:cubicBezTo>
                    <a:pt x="45" y="0"/>
                    <a:pt x="50" y="5"/>
                    <a:pt x="50" y="11"/>
                  </a:cubicBezTo>
                  <a:cubicBezTo>
                    <a:pt x="50" y="199"/>
                    <a:pt x="50" y="199"/>
                    <a:pt x="50" y="199"/>
                  </a:cubicBezTo>
                  <a:cubicBezTo>
                    <a:pt x="59" y="189"/>
                    <a:pt x="59" y="189"/>
                    <a:pt x="59" y="189"/>
                  </a:cubicBezTo>
                  <a:cubicBezTo>
                    <a:pt x="64" y="185"/>
                    <a:pt x="70" y="185"/>
                    <a:pt x="74" y="189"/>
                  </a:cubicBezTo>
                  <a:close/>
                  <a:moveTo>
                    <a:pt x="215" y="214"/>
                  </a:moveTo>
                  <a:cubicBezTo>
                    <a:pt x="103" y="214"/>
                    <a:pt x="103" y="214"/>
                    <a:pt x="103" y="214"/>
                  </a:cubicBezTo>
                  <a:cubicBezTo>
                    <a:pt x="97" y="214"/>
                    <a:pt x="93" y="218"/>
                    <a:pt x="93" y="224"/>
                  </a:cubicBezTo>
                  <a:cubicBezTo>
                    <a:pt x="93" y="230"/>
                    <a:pt x="97" y="235"/>
                    <a:pt x="103" y="235"/>
                  </a:cubicBezTo>
                  <a:cubicBezTo>
                    <a:pt x="215" y="235"/>
                    <a:pt x="215" y="235"/>
                    <a:pt x="215" y="235"/>
                  </a:cubicBezTo>
                  <a:cubicBezTo>
                    <a:pt x="221" y="235"/>
                    <a:pt x="226" y="230"/>
                    <a:pt x="226" y="224"/>
                  </a:cubicBezTo>
                  <a:cubicBezTo>
                    <a:pt x="226" y="218"/>
                    <a:pt x="221" y="214"/>
                    <a:pt x="215" y="214"/>
                  </a:cubicBezTo>
                  <a:close/>
                  <a:moveTo>
                    <a:pt x="103" y="192"/>
                  </a:moveTo>
                  <a:cubicBezTo>
                    <a:pt x="199" y="192"/>
                    <a:pt x="199" y="192"/>
                    <a:pt x="199" y="192"/>
                  </a:cubicBezTo>
                  <a:cubicBezTo>
                    <a:pt x="205" y="192"/>
                    <a:pt x="210" y="188"/>
                    <a:pt x="210" y="182"/>
                  </a:cubicBezTo>
                  <a:cubicBezTo>
                    <a:pt x="210" y="176"/>
                    <a:pt x="205" y="171"/>
                    <a:pt x="199" y="171"/>
                  </a:cubicBezTo>
                  <a:cubicBezTo>
                    <a:pt x="103" y="171"/>
                    <a:pt x="103" y="171"/>
                    <a:pt x="103" y="171"/>
                  </a:cubicBezTo>
                  <a:cubicBezTo>
                    <a:pt x="97" y="171"/>
                    <a:pt x="93" y="176"/>
                    <a:pt x="93" y="182"/>
                  </a:cubicBezTo>
                  <a:cubicBezTo>
                    <a:pt x="93" y="188"/>
                    <a:pt x="97" y="192"/>
                    <a:pt x="103" y="192"/>
                  </a:cubicBezTo>
                  <a:close/>
                  <a:moveTo>
                    <a:pt x="103" y="150"/>
                  </a:moveTo>
                  <a:cubicBezTo>
                    <a:pt x="178" y="150"/>
                    <a:pt x="178" y="150"/>
                    <a:pt x="178" y="150"/>
                  </a:cubicBezTo>
                  <a:cubicBezTo>
                    <a:pt x="184" y="150"/>
                    <a:pt x="189" y="145"/>
                    <a:pt x="189" y="139"/>
                  </a:cubicBezTo>
                  <a:cubicBezTo>
                    <a:pt x="189" y="133"/>
                    <a:pt x="184" y="128"/>
                    <a:pt x="178" y="128"/>
                  </a:cubicBezTo>
                  <a:cubicBezTo>
                    <a:pt x="103" y="128"/>
                    <a:pt x="103" y="128"/>
                    <a:pt x="103" y="128"/>
                  </a:cubicBezTo>
                  <a:cubicBezTo>
                    <a:pt x="97" y="128"/>
                    <a:pt x="93" y="133"/>
                    <a:pt x="93" y="139"/>
                  </a:cubicBezTo>
                  <a:cubicBezTo>
                    <a:pt x="93" y="145"/>
                    <a:pt x="97" y="150"/>
                    <a:pt x="103" y="150"/>
                  </a:cubicBezTo>
                  <a:close/>
                  <a:moveTo>
                    <a:pt x="103" y="107"/>
                  </a:moveTo>
                  <a:cubicBezTo>
                    <a:pt x="157" y="107"/>
                    <a:pt x="157" y="107"/>
                    <a:pt x="157" y="107"/>
                  </a:cubicBezTo>
                  <a:cubicBezTo>
                    <a:pt x="163" y="107"/>
                    <a:pt x="167" y="102"/>
                    <a:pt x="167" y="96"/>
                  </a:cubicBezTo>
                  <a:cubicBezTo>
                    <a:pt x="167" y="90"/>
                    <a:pt x="163" y="86"/>
                    <a:pt x="157" y="86"/>
                  </a:cubicBezTo>
                  <a:cubicBezTo>
                    <a:pt x="103" y="86"/>
                    <a:pt x="103" y="86"/>
                    <a:pt x="103" y="86"/>
                  </a:cubicBezTo>
                  <a:cubicBezTo>
                    <a:pt x="97" y="86"/>
                    <a:pt x="93" y="90"/>
                    <a:pt x="93" y="96"/>
                  </a:cubicBezTo>
                  <a:cubicBezTo>
                    <a:pt x="93" y="102"/>
                    <a:pt x="97" y="107"/>
                    <a:pt x="103" y="107"/>
                  </a:cubicBezTo>
                  <a:close/>
                  <a:moveTo>
                    <a:pt x="103" y="64"/>
                  </a:moveTo>
                  <a:cubicBezTo>
                    <a:pt x="135" y="64"/>
                    <a:pt x="135" y="64"/>
                    <a:pt x="135" y="64"/>
                  </a:cubicBezTo>
                  <a:cubicBezTo>
                    <a:pt x="141" y="64"/>
                    <a:pt x="146" y="60"/>
                    <a:pt x="146" y="54"/>
                  </a:cubicBezTo>
                  <a:cubicBezTo>
                    <a:pt x="146" y="48"/>
                    <a:pt x="141" y="43"/>
                    <a:pt x="135" y="43"/>
                  </a:cubicBezTo>
                  <a:cubicBezTo>
                    <a:pt x="103" y="43"/>
                    <a:pt x="103" y="43"/>
                    <a:pt x="103" y="43"/>
                  </a:cubicBezTo>
                  <a:cubicBezTo>
                    <a:pt x="97" y="43"/>
                    <a:pt x="93" y="48"/>
                    <a:pt x="93" y="54"/>
                  </a:cubicBezTo>
                  <a:cubicBezTo>
                    <a:pt x="93" y="60"/>
                    <a:pt x="97" y="64"/>
                    <a:pt x="103" y="64"/>
                  </a:cubicBezTo>
                  <a:close/>
                  <a:moveTo>
                    <a:pt x="103" y="22"/>
                  </a:moveTo>
                  <a:cubicBezTo>
                    <a:pt x="114" y="22"/>
                    <a:pt x="114" y="22"/>
                    <a:pt x="114" y="22"/>
                  </a:cubicBezTo>
                  <a:cubicBezTo>
                    <a:pt x="120" y="22"/>
                    <a:pt x="125" y="17"/>
                    <a:pt x="125" y="11"/>
                  </a:cubicBezTo>
                  <a:cubicBezTo>
                    <a:pt x="125" y="5"/>
                    <a:pt x="120" y="0"/>
                    <a:pt x="114" y="0"/>
                  </a:cubicBezTo>
                  <a:cubicBezTo>
                    <a:pt x="103" y="0"/>
                    <a:pt x="103" y="0"/>
                    <a:pt x="103" y="0"/>
                  </a:cubicBezTo>
                  <a:cubicBezTo>
                    <a:pt x="97" y="0"/>
                    <a:pt x="93" y="5"/>
                    <a:pt x="93" y="11"/>
                  </a:cubicBezTo>
                  <a:cubicBezTo>
                    <a:pt x="93" y="17"/>
                    <a:pt x="97" y="22"/>
                    <a:pt x="103"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defTabSz="1142609"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dirty="0">
                <a:ln>
                  <a:noFill/>
                </a:ln>
                <a:solidFill>
                  <a:prstClr val="black"/>
                </a:solidFill>
                <a:effectLst/>
                <a:uLnTx/>
                <a:uFillTx/>
                <a:ea typeface="ヒラギノ角ゴ ProN W3" charset="0"/>
                <a:sym typeface="Gotham Book" charset="0"/>
              </a:endParaRPr>
            </a:p>
          </p:txBody>
        </p:sp>
      </p:grpSp>
      <p:sp>
        <p:nvSpPr>
          <p:cNvPr id="98" name="TextBox 97">
            <a:extLst>
              <a:ext uri="{FF2B5EF4-FFF2-40B4-BE49-F238E27FC236}">
                <a16:creationId xmlns:a16="http://schemas.microsoft.com/office/drawing/2014/main" id="{A29574C9-3943-4A79-97F4-DC431EB189BB}"/>
              </a:ext>
            </a:extLst>
          </p:cNvPr>
          <p:cNvSpPr txBox="1"/>
          <p:nvPr/>
        </p:nvSpPr>
        <p:spPr>
          <a:xfrm>
            <a:off x="9161520" y="2901872"/>
            <a:ext cx="2504231" cy="271293"/>
          </a:xfrm>
          <a:prstGeom prst="rect">
            <a:avLst/>
          </a:prstGeom>
          <a:noFill/>
        </p:spPr>
        <p:txBody>
          <a:bodyPr wrap="square" lIns="0" tIns="0" rIns="0" bIns="0" rtlCol="0">
            <a:spAutoFit/>
          </a:bodyPr>
          <a:lstStyle/>
          <a:p>
            <a:pPr marL="0" marR="0" lvl="0" indent="0" algn="ctr" defTabSz="1142609" eaLnBrk="1" fontAlgn="auto" latinLnBrk="0" hangingPunct="1">
              <a:lnSpc>
                <a:spcPct val="100000"/>
              </a:lnSpc>
              <a:spcBef>
                <a:spcPts val="562"/>
              </a:spcBef>
              <a:spcAft>
                <a:spcPts val="0"/>
              </a:spcAft>
              <a:buClrTx/>
              <a:buSzPct val="100000"/>
              <a:buFontTx/>
              <a:buNone/>
              <a:tabLst/>
              <a:defRPr/>
            </a:pPr>
            <a:r>
              <a:rPr kumimoji="0" lang="en-US" sz="1763" b="1" i="0" u="none" strike="noStrike" kern="0" cap="none" spc="0" normalizeH="0" baseline="0" noProof="0" dirty="0">
                <a:ln>
                  <a:noFill/>
                </a:ln>
                <a:solidFill>
                  <a:schemeClr val="accent6"/>
                </a:solidFill>
                <a:effectLst/>
                <a:uLnTx/>
                <a:uFillTx/>
                <a:ea typeface="ヒラギノ角ゴ ProN W3" charset="0"/>
                <a:sym typeface="Gotham Book" charset="0"/>
              </a:rPr>
              <a:t>AT SCALE</a:t>
            </a:r>
          </a:p>
        </p:txBody>
      </p:sp>
      <p:sp>
        <p:nvSpPr>
          <p:cNvPr id="99" name="TextBox 98">
            <a:extLst>
              <a:ext uri="{FF2B5EF4-FFF2-40B4-BE49-F238E27FC236}">
                <a16:creationId xmlns:a16="http://schemas.microsoft.com/office/drawing/2014/main" id="{8404D7E6-2A9D-4F49-A390-5A986B833120}"/>
              </a:ext>
            </a:extLst>
          </p:cNvPr>
          <p:cNvSpPr txBox="1"/>
          <p:nvPr/>
        </p:nvSpPr>
        <p:spPr>
          <a:xfrm>
            <a:off x="9225052" y="3250723"/>
            <a:ext cx="2377166" cy="807657"/>
          </a:xfrm>
          <a:prstGeom prst="rect">
            <a:avLst/>
          </a:prstGeom>
          <a:noFill/>
        </p:spPr>
        <p:txBody>
          <a:bodyPr wrap="square" lIns="0" tIns="0" rIns="0" bIns="0" rtlCol="0">
            <a:spAutoFit/>
          </a:bodyPr>
          <a:lstStyle/>
          <a:p>
            <a:pPr marL="0" marR="0" lvl="0" indent="0" algn="ctr" defTabSz="1142609" eaLnBrk="1" fontAlgn="auto" latinLnBrk="0" hangingPunct="1">
              <a:lnSpc>
                <a:spcPct val="100000"/>
              </a:lnSpc>
              <a:spcBef>
                <a:spcPts val="562"/>
              </a:spcBef>
              <a:spcAft>
                <a:spcPts val="0"/>
              </a:spcAft>
              <a:buClrTx/>
              <a:buSzPct val="100000"/>
              <a:buFontTx/>
              <a:buNone/>
              <a:tabLst/>
              <a:defRPr/>
            </a:pPr>
            <a:r>
              <a:rPr kumimoji="0" lang="en-US" sz="1312" b="0" i="1" u="none" strike="noStrike" kern="0" cap="none" spc="0" normalizeH="0" baseline="0" noProof="0" dirty="0">
                <a:ln>
                  <a:noFill/>
                </a:ln>
                <a:solidFill>
                  <a:prstClr val="white">
                    <a:lumMod val="50000"/>
                  </a:prstClr>
                </a:solidFill>
                <a:effectLst/>
                <a:uLnTx/>
                <a:uFillTx/>
                <a:ea typeface="ヒラギノ角ゴ ProN W3" charset="0"/>
                <a:sym typeface="Gotham Book" charset="0"/>
              </a:rPr>
              <a:t>Execute and deliver multiple projects in parallel without scaling dedicated resources proportionally </a:t>
            </a:r>
          </a:p>
        </p:txBody>
      </p:sp>
      <p:cxnSp>
        <p:nvCxnSpPr>
          <p:cNvPr id="102" name="Straight Connector 101">
            <a:extLst>
              <a:ext uri="{FF2B5EF4-FFF2-40B4-BE49-F238E27FC236}">
                <a16:creationId xmlns:a16="http://schemas.microsoft.com/office/drawing/2014/main" id="{6D1200C9-41D3-40A9-9028-0DE19FEC8607}"/>
              </a:ext>
            </a:extLst>
          </p:cNvPr>
          <p:cNvCxnSpPr/>
          <p:nvPr/>
        </p:nvCxnSpPr>
        <p:spPr>
          <a:xfrm>
            <a:off x="5194433" y="2268617"/>
            <a:ext cx="1766273" cy="0"/>
          </a:xfrm>
          <a:prstGeom prst="line">
            <a:avLst/>
          </a:prstGeom>
          <a:noFill/>
          <a:ln w="9525" cap="flat" cmpd="sng" algn="ctr">
            <a:solidFill>
              <a:srgbClr val="53565A"/>
            </a:solidFill>
            <a:prstDash val="dash"/>
          </a:ln>
          <a:effectLst/>
        </p:spPr>
      </p:cxnSp>
      <p:sp>
        <p:nvSpPr>
          <p:cNvPr id="103" name="Rectangle 102">
            <a:extLst>
              <a:ext uri="{FF2B5EF4-FFF2-40B4-BE49-F238E27FC236}">
                <a16:creationId xmlns:a16="http://schemas.microsoft.com/office/drawing/2014/main" id="{FC8694FA-A357-4788-A1BA-B564228DBA69}"/>
              </a:ext>
            </a:extLst>
          </p:cNvPr>
          <p:cNvSpPr/>
          <p:nvPr/>
        </p:nvSpPr>
        <p:spPr>
          <a:xfrm>
            <a:off x="5510324" y="5238162"/>
            <a:ext cx="1955953" cy="453877"/>
          </a:xfrm>
          <a:prstGeom prst="rect">
            <a:avLst/>
          </a:prstGeom>
          <a:solidFill>
            <a:schemeClr val="accent2"/>
          </a:solidFill>
          <a:ln w="12700" cap="flat" cmpd="sng" algn="ctr">
            <a:noFill/>
            <a:prstDash val="solid"/>
          </a:ln>
          <a:effectLst/>
        </p:spPr>
        <p:txBody>
          <a:bodyPr wrap="square" lIns="0" tIns="0" rIns="0" bIns="0" rtlCol="0" anchor="ctr">
            <a:noAutofit/>
          </a:bodyPr>
          <a:lstStyle/>
          <a:p>
            <a:pPr marL="147167" marR="0" lvl="0" indent="0" defTabSz="671718" eaLnBrk="1" fontAlgn="base" latinLnBrk="0" hangingPunct="1">
              <a:lnSpc>
                <a:spcPct val="100000"/>
              </a:lnSpc>
              <a:spcBef>
                <a:spcPct val="0"/>
              </a:spcBef>
              <a:spcAft>
                <a:spcPct val="0"/>
              </a:spcAft>
              <a:buClrTx/>
              <a:buSzTx/>
              <a:buFontTx/>
              <a:buNone/>
              <a:tabLst/>
              <a:defRPr/>
            </a:pPr>
            <a:r>
              <a:rPr kumimoji="0" lang="en-US" sz="2057" b="0" i="0" u="none" strike="noStrike" kern="0" cap="none" spc="0" normalizeH="0" baseline="0" noProof="0" dirty="0">
                <a:ln>
                  <a:noFill/>
                </a:ln>
                <a:solidFill>
                  <a:srgbClr val="FFFFFF"/>
                </a:solidFill>
                <a:effectLst/>
                <a:uLnTx/>
                <a:uFillTx/>
                <a:ea typeface="+mn-ea"/>
                <a:cs typeface="Segoe UI Light" panose="020B0502040204020203" pitchFamily="34" charset="0"/>
                <a:sym typeface="Gotham Book" charset="0"/>
              </a:rPr>
              <a:t>Faster</a:t>
            </a:r>
          </a:p>
        </p:txBody>
      </p:sp>
      <p:grpSp>
        <p:nvGrpSpPr>
          <p:cNvPr id="104" name="Group 103">
            <a:extLst>
              <a:ext uri="{FF2B5EF4-FFF2-40B4-BE49-F238E27FC236}">
                <a16:creationId xmlns:a16="http://schemas.microsoft.com/office/drawing/2014/main" id="{E3109D7B-8D0F-48B1-AB6A-EC4A20817F05}"/>
              </a:ext>
            </a:extLst>
          </p:cNvPr>
          <p:cNvGrpSpPr/>
          <p:nvPr/>
        </p:nvGrpSpPr>
        <p:grpSpPr>
          <a:xfrm>
            <a:off x="7247001" y="5001656"/>
            <a:ext cx="753143" cy="928094"/>
            <a:chOff x="4021476" y="4047257"/>
            <a:chExt cx="1025286" cy="1263453"/>
          </a:xfrm>
        </p:grpSpPr>
        <p:sp>
          <p:nvSpPr>
            <p:cNvPr id="105" name="Oval 104">
              <a:extLst>
                <a:ext uri="{FF2B5EF4-FFF2-40B4-BE49-F238E27FC236}">
                  <a16:creationId xmlns:a16="http://schemas.microsoft.com/office/drawing/2014/main" id="{597A1B8C-ECFE-4C8C-92FA-A49668DFBB03}"/>
                </a:ext>
              </a:extLst>
            </p:cNvPr>
            <p:cNvSpPr>
              <a:spLocks noChangeAspect="1"/>
            </p:cNvSpPr>
            <p:nvPr/>
          </p:nvSpPr>
          <p:spPr>
            <a:xfrm>
              <a:off x="4021476" y="4199455"/>
              <a:ext cx="1025286" cy="955941"/>
            </a:xfrm>
            <a:prstGeom prst="ellipse">
              <a:avLst/>
            </a:prstGeom>
            <a:solidFill>
              <a:schemeClr val="accent2">
                <a:alpha val="45000"/>
              </a:schemeClr>
            </a:solidFill>
            <a:ln w="12700" cap="flat" cmpd="sng" algn="ctr">
              <a:noFill/>
              <a:prstDash val="solid"/>
            </a:ln>
            <a:effectLst/>
          </p:spPr>
          <p:txBody>
            <a:bodyPr wrap="square" rtlCol="0" anchor="ctr">
              <a:spAutoFit/>
            </a:bodyPr>
            <a:lstStyle/>
            <a:p>
              <a:pPr marL="232149" marR="0" lvl="0" indent="-232149" defTabSz="671718"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645"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sp>
          <p:nvSpPr>
            <p:cNvPr id="106" name="Rectangle 105">
              <a:extLst>
                <a:ext uri="{FF2B5EF4-FFF2-40B4-BE49-F238E27FC236}">
                  <a16:creationId xmlns:a16="http://schemas.microsoft.com/office/drawing/2014/main" id="{922A694F-CF94-45C4-BAA9-2EB4B759863C}"/>
                </a:ext>
              </a:extLst>
            </p:cNvPr>
            <p:cNvSpPr/>
            <p:nvPr/>
          </p:nvSpPr>
          <p:spPr>
            <a:xfrm>
              <a:off x="4119859" y="4877230"/>
              <a:ext cx="914401" cy="433480"/>
            </a:xfrm>
            <a:prstGeom prst="rect">
              <a:avLst/>
            </a:prstGeom>
            <a:solidFill>
              <a:sysClr val="window" lastClr="FFFFFF"/>
            </a:solidFill>
            <a:ln w="12700" cap="flat" cmpd="sng" algn="ctr">
              <a:noFill/>
              <a:prstDash val="solid"/>
            </a:ln>
            <a:effectLst/>
          </p:spPr>
          <p:txBody>
            <a:bodyPr rtlCol="0" anchor="ctr">
              <a:spAutoFit/>
            </a:bodyPr>
            <a:lstStyle/>
            <a:p>
              <a:pPr marL="130612" marR="0" lvl="0" indent="-130612" defTabSz="671718"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69"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sp>
          <p:nvSpPr>
            <p:cNvPr id="107" name="Rectangle 106">
              <a:extLst>
                <a:ext uri="{FF2B5EF4-FFF2-40B4-BE49-F238E27FC236}">
                  <a16:creationId xmlns:a16="http://schemas.microsoft.com/office/drawing/2014/main" id="{4C03D79A-0107-4182-A56F-27DAD94E2526}"/>
                </a:ext>
              </a:extLst>
            </p:cNvPr>
            <p:cNvSpPr/>
            <p:nvPr/>
          </p:nvSpPr>
          <p:spPr>
            <a:xfrm>
              <a:off x="4099672" y="4047257"/>
              <a:ext cx="914401" cy="433480"/>
            </a:xfrm>
            <a:prstGeom prst="rect">
              <a:avLst/>
            </a:prstGeom>
            <a:solidFill>
              <a:sysClr val="window" lastClr="FFFFFF"/>
            </a:solidFill>
            <a:ln w="12700" cap="flat" cmpd="sng" algn="ctr">
              <a:noFill/>
              <a:prstDash val="solid"/>
            </a:ln>
            <a:effectLst/>
          </p:spPr>
          <p:txBody>
            <a:bodyPr rtlCol="0" anchor="ctr">
              <a:spAutoFit/>
            </a:bodyPr>
            <a:lstStyle/>
            <a:p>
              <a:pPr marL="130612" marR="0" lvl="0" indent="-130612" defTabSz="671718"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69"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grpSp>
      <p:sp>
        <p:nvSpPr>
          <p:cNvPr id="108" name="Rectangle 107">
            <a:extLst>
              <a:ext uri="{FF2B5EF4-FFF2-40B4-BE49-F238E27FC236}">
                <a16:creationId xmlns:a16="http://schemas.microsoft.com/office/drawing/2014/main" id="{E2502D9B-A7BA-4857-82C7-09872D077B02}"/>
              </a:ext>
            </a:extLst>
          </p:cNvPr>
          <p:cNvSpPr/>
          <p:nvPr/>
        </p:nvSpPr>
        <p:spPr>
          <a:xfrm>
            <a:off x="2894478" y="5240357"/>
            <a:ext cx="2058011" cy="449486"/>
          </a:xfrm>
          <a:prstGeom prst="rect">
            <a:avLst/>
          </a:prstGeom>
          <a:solidFill>
            <a:schemeClr val="accent1"/>
          </a:solidFill>
          <a:ln w="12700" cap="flat" cmpd="sng" algn="ctr">
            <a:noFill/>
            <a:prstDash val="solid"/>
          </a:ln>
          <a:effectLst/>
        </p:spPr>
        <p:txBody>
          <a:bodyPr wrap="square" lIns="0" tIns="0" rIns="0" bIns="0" rtlCol="0" anchor="ctr">
            <a:noAutofit/>
          </a:bodyPr>
          <a:lstStyle/>
          <a:p>
            <a:pPr marL="147167" marR="0" lvl="0" indent="0" defTabSz="671718" eaLnBrk="1" fontAlgn="base" latinLnBrk="0" hangingPunct="1">
              <a:lnSpc>
                <a:spcPct val="100000"/>
              </a:lnSpc>
              <a:spcBef>
                <a:spcPct val="0"/>
              </a:spcBef>
              <a:spcAft>
                <a:spcPct val="0"/>
              </a:spcAft>
              <a:buClrTx/>
              <a:buSzTx/>
              <a:buFontTx/>
              <a:buNone/>
              <a:tabLst/>
              <a:defRPr/>
            </a:pPr>
            <a:r>
              <a:rPr kumimoji="0" lang="en-US" sz="2057" b="0" i="0" u="none" strike="noStrike" kern="0" cap="none" spc="0" normalizeH="0" baseline="0" noProof="0" dirty="0">
                <a:ln>
                  <a:noFill/>
                </a:ln>
                <a:solidFill>
                  <a:prstClr val="white"/>
                </a:solidFill>
                <a:effectLst/>
                <a:uLnTx/>
                <a:uFillTx/>
                <a:ea typeface="+mn-ea"/>
                <a:cs typeface="Segoe UI Light" panose="020B0502040204020203" pitchFamily="34" charset="0"/>
                <a:sym typeface="Gotham Book" charset="0"/>
              </a:rPr>
              <a:t>Better</a:t>
            </a:r>
          </a:p>
        </p:txBody>
      </p:sp>
      <p:sp>
        <p:nvSpPr>
          <p:cNvPr id="110" name="Oval 109">
            <a:extLst>
              <a:ext uri="{FF2B5EF4-FFF2-40B4-BE49-F238E27FC236}">
                <a16:creationId xmlns:a16="http://schemas.microsoft.com/office/drawing/2014/main" id="{4A235EED-7B27-4903-8E63-429165393172}"/>
              </a:ext>
            </a:extLst>
          </p:cNvPr>
          <p:cNvSpPr>
            <a:spLocks noChangeAspect="1"/>
          </p:cNvSpPr>
          <p:nvPr/>
        </p:nvSpPr>
        <p:spPr>
          <a:xfrm>
            <a:off x="4759162" y="5113456"/>
            <a:ext cx="753143" cy="702205"/>
          </a:xfrm>
          <a:prstGeom prst="ellipse">
            <a:avLst/>
          </a:prstGeom>
          <a:solidFill>
            <a:schemeClr val="accent1"/>
          </a:solidFill>
          <a:ln w="12700" cap="flat" cmpd="sng" algn="ctr">
            <a:noFill/>
            <a:prstDash val="solid"/>
          </a:ln>
          <a:effectLst/>
        </p:spPr>
        <p:txBody>
          <a:bodyPr wrap="square" rtlCol="0" anchor="ctr">
            <a:spAutoFit/>
          </a:bodyPr>
          <a:lstStyle/>
          <a:p>
            <a:pPr marL="232149" marR="0" lvl="0" indent="-232149" defTabSz="671718"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645"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sp>
        <p:nvSpPr>
          <p:cNvPr id="111" name="Rectangle 110">
            <a:extLst>
              <a:ext uri="{FF2B5EF4-FFF2-40B4-BE49-F238E27FC236}">
                <a16:creationId xmlns:a16="http://schemas.microsoft.com/office/drawing/2014/main" id="{F5BC6ABB-7A10-4FD1-878F-1C7BE465C586}"/>
              </a:ext>
            </a:extLst>
          </p:cNvPr>
          <p:cNvSpPr/>
          <p:nvPr/>
        </p:nvSpPr>
        <p:spPr>
          <a:xfrm>
            <a:off x="4787283" y="5609300"/>
            <a:ext cx="671690" cy="318421"/>
          </a:xfrm>
          <a:prstGeom prst="rect">
            <a:avLst/>
          </a:prstGeom>
          <a:solidFill>
            <a:sysClr val="window" lastClr="FFFFFF"/>
          </a:solidFill>
          <a:ln w="12700" cap="flat" cmpd="sng" algn="ctr">
            <a:noFill/>
            <a:prstDash val="solid"/>
          </a:ln>
          <a:effectLst/>
        </p:spPr>
        <p:txBody>
          <a:bodyPr rtlCol="0" anchor="ctr">
            <a:spAutoFit/>
          </a:bodyPr>
          <a:lstStyle/>
          <a:p>
            <a:pPr marL="130612" marR="0" lvl="0" indent="-130612" defTabSz="671718"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69"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sp>
        <p:nvSpPr>
          <p:cNvPr id="112" name="Rectangle 111">
            <a:extLst>
              <a:ext uri="{FF2B5EF4-FFF2-40B4-BE49-F238E27FC236}">
                <a16:creationId xmlns:a16="http://schemas.microsoft.com/office/drawing/2014/main" id="{5532CD97-83AE-4831-AC10-2F0F4BB56063}"/>
              </a:ext>
            </a:extLst>
          </p:cNvPr>
          <p:cNvSpPr/>
          <p:nvPr/>
        </p:nvSpPr>
        <p:spPr>
          <a:xfrm>
            <a:off x="4772454" y="4997682"/>
            <a:ext cx="671690" cy="318421"/>
          </a:xfrm>
          <a:prstGeom prst="rect">
            <a:avLst/>
          </a:prstGeom>
          <a:solidFill>
            <a:sysClr val="window" lastClr="FFFFFF"/>
          </a:solidFill>
          <a:ln w="12700" cap="flat" cmpd="sng" algn="ctr">
            <a:solidFill>
              <a:sysClr val="window" lastClr="FFFFFF"/>
            </a:solidFill>
            <a:prstDash val="solid"/>
          </a:ln>
          <a:effectLst/>
        </p:spPr>
        <p:txBody>
          <a:bodyPr rtlCol="0" anchor="ctr">
            <a:spAutoFit/>
          </a:bodyPr>
          <a:lstStyle/>
          <a:p>
            <a:pPr marL="130612" marR="0" lvl="0" indent="-130612" defTabSz="671718"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69"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cxnSp>
        <p:nvCxnSpPr>
          <p:cNvPr id="113" name="Straight Connector 112">
            <a:extLst>
              <a:ext uri="{FF2B5EF4-FFF2-40B4-BE49-F238E27FC236}">
                <a16:creationId xmlns:a16="http://schemas.microsoft.com/office/drawing/2014/main" id="{8563189E-970C-449A-9019-8501DD904AD6}"/>
              </a:ext>
            </a:extLst>
          </p:cNvPr>
          <p:cNvCxnSpPr/>
          <p:nvPr/>
        </p:nvCxnSpPr>
        <p:spPr>
          <a:xfrm flipH="1">
            <a:off x="2582470" y="5731977"/>
            <a:ext cx="0" cy="652164"/>
          </a:xfrm>
          <a:prstGeom prst="line">
            <a:avLst/>
          </a:prstGeom>
          <a:noFill/>
          <a:ln w="19050" cap="flat" cmpd="sng" algn="ctr">
            <a:solidFill>
              <a:sysClr val="window" lastClr="FFFFFF">
                <a:lumMod val="75000"/>
              </a:sysClr>
            </a:solidFill>
            <a:prstDash val="dash"/>
          </a:ln>
          <a:effectLst/>
        </p:spPr>
      </p:cxnSp>
      <p:grpSp>
        <p:nvGrpSpPr>
          <p:cNvPr id="114" name="Group 113">
            <a:extLst>
              <a:ext uri="{FF2B5EF4-FFF2-40B4-BE49-F238E27FC236}">
                <a16:creationId xmlns:a16="http://schemas.microsoft.com/office/drawing/2014/main" id="{23A0A80A-62E8-49A4-A1CB-DE37CE679948}"/>
              </a:ext>
            </a:extLst>
          </p:cNvPr>
          <p:cNvGrpSpPr/>
          <p:nvPr/>
        </p:nvGrpSpPr>
        <p:grpSpPr>
          <a:xfrm>
            <a:off x="5198309" y="5819667"/>
            <a:ext cx="2529785" cy="652164"/>
            <a:chOff x="4679407" y="5233333"/>
            <a:chExt cx="3443904" cy="795771"/>
          </a:xfrm>
        </p:grpSpPr>
        <p:cxnSp>
          <p:nvCxnSpPr>
            <p:cNvPr id="115" name="Straight Connector 114">
              <a:extLst>
                <a:ext uri="{FF2B5EF4-FFF2-40B4-BE49-F238E27FC236}">
                  <a16:creationId xmlns:a16="http://schemas.microsoft.com/office/drawing/2014/main" id="{9FE1FD8D-4CB7-41E7-9D01-8F268C93E096}"/>
                </a:ext>
              </a:extLst>
            </p:cNvPr>
            <p:cNvCxnSpPr/>
            <p:nvPr/>
          </p:nvCxnSpPr>
          <p:spPr>
            <a:xfrm flipH="1">
              <a:off x="4679407" y="5233333"/>
              <a:ext cx="0" cy="795771"/>
            </a:xfrm>
            <a:prstGeom prst="line">
              <a:avLst/>
            </a:prstGeom>
            <a:noFill/>
            <a:ln w="19050" cap="flat" cmpd="sng" algn="ctr">
              <a:solidFill>
                <a:sysClr val="window" lastClr="FFFFFF">
                  <a:lumMod val="75000"/>
                </a:sysClr>
              </a:solidFill>
              <a:prstDash val="dash"/>
            </a:ln>
            <a:effectLst/>
          </p:spPr>
        </p:cxnSp>
        <p:cxnSp>
          <p:nvCxnSpPr>
            <p:cNvPr id="116" name="Straight Connector 115">
              <a:extLst>
                <a:ext uri="{FF2B5EF4-FFF2-40B4-BE49-F238E27FC236}">
                  <a16:creationId xmlns:a16="http://schemas.microsoft.com/office/drawing/2014/main" id="{61722F0B-6184-45A2-9632-B29D2BA28FC6}"/>
                </a:ext>
              </a:extLst>
            </p:cNvPr>
            <p:cNvCxnSpPr/>
            <p:nvPr/>
          </p:nvCxnSpPr>
          <p:spPr>
            <a:xfrm flipH="1">
              <a:off x="8123311" y="5233333"/>
              <a:ext cx="0" cy="795528"/>
            </a:xfrm>
            <a:prstGeom prst="line">
              <a:avLst/>
            </a:prstGeom>
            <a:noFill/>
            <a:ln w="19050" cap="flat" cmpd="sng" algn="ctr">
              <a:solidFill>
                <a:sysClr val="window" lastClr="FFFFFF">
                  <a:lumMod val="75000"/>
                </a:sysClr>
              </a:solidFill>
              <a:prstDash val="dash"/>
            </a:ln>
            <a:effectLst/>
          </p:spPr>
        </p:cxnSp>
      </p:grpSp>
      <p:sp>
        <p:nvSpPr>
          <p:cNvPr id="117" name="Rectangle 116">
            <a:extLst>
              <a:ext uri="{FF2B5EF4-FFF2-40B4-BE49-F238E27FC236}">
                <a16:creationId xmlns:a16="http://schemas.microsoft.com/office/drawing/2014/main" id="{E17B44A5-F22E-46C7-B803-1E3C47CEDEAC}"/>
              </a:ext>
            </a:extLst>
          </p:cNvPr>
          <p:cNvSpPr/>
          <p:nvPr/>
        </p:nvSpPr>
        <p:spPr>
          <a:xfrm>
            <a:off x="8011410" y="5238162"/>
            <a:ext cx="2307768" cy="453877"/>
          </a:xfrm>
          <a:prstGeom prst="rect">
            <a:avLst/>
          </a:prstGeom>
          <a:solidFill>
            <a:schemeClr val="accent3"/>
          </a:solidFill>
          <a:ln w="12700" cap="flat" cmpd="sng" algn="ctr">
            <a:solidFill>
              <a:schemeClr val="accent3"/>
            </a:solidFill>
            <a:prstDash val="solid"/>
          </a:ln>
          <a:effectLst/>
        </p:spPr>
        <p:txBody>
          <a:bodyPr wrap="square" lIns="0" tIns="0" rIns="0" bIns="0" rtlCol="0" anchor="ctr">
            <a:noAutofit/>
          </a:bodyPr>
          <a:lstStyle/>
          <a:p>
            <a:pPr marL="147167" marR="0" lvl="0" indent="0" defTabSz="671718" eaLnBrk="1" fontAlgn="base" latinLnBrk="0" hangingPunct="1">
              <a:lnSpc>
                <a:spcPct val="100000"/>
              </a:lnSpc>
              <a:spcBef>
                <a:spcPct val="0"/>
              </a:spcBef>
              <a:spcAft>
                <a:spcPct val="0"/>
              </a:spcAft>
              <a:buClrTx/>
              <a:buSzTx/>
              <a:buFontTx/>
              <a:buNone/>
              <a:tabLst/>
              <a:defRPr/>
            </a:pPr>
            <a:r>
              <a:rPr kumimoji="0" lang="en-US" sz="2057" b="0" i="0" u="none" strike="noStrike" kern="0" cap="none" spc="0" normalizeH="0" baseline="0" noProof="0" dirty="0">
                <a:ln>
                  <a:noFill/>
                </a:ln>
                <a:solidFill>
                  <a:srgbClr val="FFFFFF"/>
                </a:solidFill>
                <a:effectLst/>
                <a:uLnTx/>
                <a:uFillTx/>
                <a:ea typeface="+mn-ea"/>
                <a:cs typeface="Segoe UI Light" panose="020B0502040204020203" pitchFamily="34" charset="0"/>
                <a:sym typeface="Gotham Book" charset="0"/>
              </a:rPr>
              <a:t>Cheaper</a:t>
            </a:r>
          </a:p>
        </p:txBody>
      </p:sp>
      <p:sp>
        <p:nvSpPr>
          <p:cNvPr id="118" name="Oval 117">
            <a:extLst>
              <a:ext uri="{FF2B5EF4-FFF2-40B4-BE49-F238E27FC236}">
                <a16:creationId xmlns:a16="http://schemas.microsoft.com/office/drawing/2014/main" id="{0282A726-549E-40DD-8D29-60C55A4BCACD}"/>
              </a:ext>
            </a:extLst>
          </p:cNvPr>
          <p:cNvSpPr>
            <a:spLocks noChangeAspect="1"/>
          </p:cNvSpPr>
          <p:nvPr/>
        </p:nvSpPr>
        <p:spPr>
          <a:xfrm>
            <a:off x="7351611" y="5107778"/>
            <a:ext cx="753143" cy="702205"/>
          </a:xfrm>
          <a:prstGeom prst="ellipse">
            <a:avLst/>
          </a:prstGeom>
          <a:solidFill>
            <a:schemeClr val="accent3"/>
          </a:solidFill>
          <a:ln w="12700" cap="flat" cmpd="sng" algn="ctr">
            <a:solidFill>
              <a:schemeClr val="accent3"/>
            </a:solidFill>
            <a:prstDash val="solid"/>
          </a:ln>
          <a:effectLst/>
        </p:spPr>
        <p:txBody>
          <a:bodyPr wrap="square" rtlCol="0" anchor="ctr">
            <a:spAutoFit/>
          </a:bodyPr>
          <a:lstStyle/>
          <a:p>
            <a:pPr marL="232149" marR="0" lvl="0" indent="-232149" defTabSz="671718"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645"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sp>
        <p:nvSpPr>
          <p:cNvPr id="119" name="Oval 118">
            <a:extLst>
              <a:ext uri="{FF2B5EF4-FFF2-40B4-BE49-F238E27FC236}">
                <a16:creationId xmlns:a16="http://schemas.microsoft.com/office/drawing/2014/main" id="{BFC813F9-7E1F-4F2E-B3E8-F962254C6B21}"/>
              </a:ext>
            </a:extLst>
          </p:cNvPr>
          <p:cNvSpPr>
            <a:spLocks noChangeAspect="1"/>
          </p:cNvSpPr>
          <p:nvPr/>
        </p:nvSpPr>
        <p:spPr>
          <a:xfrm>
            <a:off x="2211070" y="5107778"/>
            <a:ext cx="753143" cy="702205"/>
          </a:xfrm>
          <a:prstGeom prst="ellipse">
            <a:avLst/>
          </a:prstGeom>
          <a:solidFill>
            <a:schemeClr val="accent1"/>
          </a:solidFill>
          <a:ln w="12700" cap="flat" cmpd="sng" algn="ctr">
            <a:solidFill>
              <a:srgbClr val="86BC25"/>
            </a:solidFill>
            <a:prstDash val="solid"/>
          </a:ln>
          <a:effectLst/>
        </p:spPr>
        <p:txBody>
          <a:bodyPr wrap="square" rtlCol="0" anchor="ctr">
            <a:spAutoFit/>
          </a:bodyPr>
          <a:lstStyle/>
          <a:p>
            <a:pPr marL="232149" marR="0" lvl="0" indent="-232149" defTabSz="671718"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645"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sp>
        <p:nvSpPr>
          <p:cNvPr id="120" name="Oval 119">
            <a:extLst>
              <a:ext uri="{FF2B5EF4-FFF2-40B4-BE49-F238E27FC236}">
                <a16:creationId xmlns:a16="http://schemas.microsoft.com/office/drawing/2014/main" id="{47307843-F5A1-4E3F-BCB7-5959BEBC990B}"/>
              </a:ext>
            </a:extLst>
          </p:cNvPr>
          <p:cNvSpPr>
            <a:spLocks noChangeAspect="1"/>
          </p:cNvSpPr>
          <p:nvPr/>
        </p:nvSpPr>
        <p:spPr>
          <a:xfrm>
            <a:off x="4847274" y="5101128"/>
            <a:ext cx="753143" cy="702205"/>
          </a:xfrm>
          <a:prstGeom prst="ellipse">
            <a:avLst/>
          </a:prstGeom>
          <a:solidFill>
            <a:schemeClr val="accent2"/>
          </a:solidFill>
          <a:ln w="12700" cap="flat" cmpd="sng" algn="ctr">
            <a:solidFill>
              <a:schemeClr val="accent2"/>
            </a:solidFill>
            <a:prstDash val="solid"/>
          </a:ln>
          <a:effectLst/>
        </p:spPr>
        <p:txBody>
          <a:bodyPr wrap="square" rtlCol="0" anchor="ctr">
            <a:spAutoFit/>
          </a:bodyPr>
          <a:lstStyle/>
          <a:p>
            <a:pPr marL="232149" marR="0" lvl="0" indent="-232149" defTabSz="671718"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645" b="0" i="0" u="none" strike="noStrike" kern="0" cap="none" spc="0" normalizeH="0" baseline="0" noProof="0" dirty="0">
              <a:ln>
                <a:noFill/>
              </a:ln>
              <a:solidFill>
                <a:prstClr val="black"/>
              </a:solidFill>
              <a:effectLst/>
              <a:uLnTx/>
              <a:uFillTx/>
              <a:latin typeface="Verdana"/>
              <a:ea typeface="+mn-ea"/>
              <a:cs typeface="+mn-cs"/>
              <a:sym typeface="Gotham Book" charset="0"/>
            </a:endParaRPr>
          </a:p>
        </p:txBody>
      </p:sp>
      <p:grpSp>
        <p:nvGrpSpPr>
          <p:cNvPr id="121" name="Group 325">
            <a:extLst>
              <a:ext uri="{FF2B5EF4-FFF2-40B4-BE49-F238E27FC236}">
                <a16:creationId xmlns:a16="http://schemas.microsoft.com/office/drawing/2014/main" id="{DF4105B4-47EC-4B65-81C4-B6749FC42BE9}"/>
              </a:ext>
            </a:extLst>
          </p:cNvPr>
          <p:cNvGrpSpPr>
            <a:grpSpLocks noChangeAspect="1"/>
          </p:cNvGrpSpPr>
          <p:nvPr/>
        </p:nvGrpSpPr>
        <p:grpSpPr bwMode="auto">
          <a:xfrm>
            <a:off x="4914592" y="5153950"/>
            <a:ext cx="602749" cy="604521"/>
            <a:chOff x="5044" y="1157"/>
            <a:chExt cx="340" cy="341"/>
          </a:xfrm>
          <a:solidFill>
            <a:sysClr val="window" lastClr="FFFFFF"/>
          </a:solidFill>
        </p:grpSpPr>
        <p:sp>
          <p:nvSpPr>
            <p:cNvPr id="122" name="Freeform 326">
              <a:extLst>
                <a:ext uri="{FF2B5EF4-FFF2-40B4-BE49-F238E27FC236}">
                  <a16:creationId xmlns:a16="http://schemas.microsoft.com/office/drawing/2014/main" id="{DA510357-AE49-4989-830D-B7345ACFA799}"/>
                </a:ext>
              </a:extLst>
            </p:cNvPr>
            <p:cNvSpPr>
              <a:spLocks noEditPoints="1"/>
            </p:cNvSpPr>
            <p:nvPr/>
          </p:nvSpPr>
          <p:spPr bwMode="auto">
            <a:xfrm>
              <a:off x="5044" y="1157"/>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sym typeface="Gotham Book" charset="0"/>
              </a:endParaRPr>
            </a:p>
          </p:txBody>
        </p:sp>
        <p:sp>
          <p:nvSpPr>
            <p:cNvPr id="123" name="Freeform 327">
              <a:extLst>
                <a:ext uri="{FF2B5EF4-FFF2-40B4-BE49-F238E27FC236}">
                  <a16:creationId xmlns:a16="http://schemas.microsoft.com/office/drawing/2014/main" id="{35BD31CD-B107-4A3F-8815-9E18AF7EA0CD}"/>
                </a:ext>
              </a:extLst>
            </p:cNvPr>
            <p:cNvSpPr>
              <a:spLocks noEditPoints="1"/>
            </p:cNvSpPr>
            <p:nvPr/>
          </p:nvSpPr>
          <p:spPr bwMode="auto">
            <a:xfrm>
              <a:off x="5122" y="1221"/>
              <a:ext cx="188" cy="213"/>
            </a:xfrm>
            <a:custGeom>
              <a:avLst/>
              <a:gdLst>
                <a:gd name="T0" fmla="*/ 149 w 284"/>
                <a:gd name="T1" fmla="*/ 106 h 320"/>
                <a:gd name="T2" fmla="*/ 149 w 284"/>
                <a:gd name="T3" fmla="*/ 181 h 320"/>
                <a:gd name="T4" fmla="*/ 139 w 284"/>
                <a:gd name="T5" fmla="*/ 192 h 320"/>
                <a:gd name="T6" fmla="*/ 128 w 284"/>
                <a:gd name="T7" fmla="*/ 181 h 320"/>
                <a:gd name="T8" fmla="*/ 128 w 284"/>
                <a:gd name="T9" fmla="*/ 106 h 320"/>
                <a:gd name="T10" fmla="*/ 139 w 284"/>
                <a:gd name="T11" fmla="*/ 96 h 320"/>
                <a:gd name="T12" fmla="*/ 149 w 284"/>
                <a:gd name="T13" fmla="*/ 106 h 320"/>
                <a:gd name="T14" fmla="*/ 280 w 284"/>
                <a:gd name="T15" fmla="*/ 64 h 320"/>
                <a:gd name="T16" fmla="*/ 280 w 284"/>
                <a:gd name="T17" fmla="*/ 79 h 320"/>
                <a:gd name="T18" fmla="*/ 272 w 284"/>
                <a:gd name="T19" fmla="*/ 82 h 320"/>
                <a:gd name="T20" fmla="*/ 265 w 284"/>
                <a:gd name="T21" fmla="*/ 79 h 320"/>
                <a:gd name="T22" fmla="*/ 250 w 284"/>
                <a:gd name="T23" fmla="*/ 64 h 320"/>
                <a:gd name="T24" fmla="*/ 233 w 284"/>
                <a:gd name="T25" fmla="*/ 80 h 320"/>
                <a:gd name="T26" fmla="*/ 277 w 284"/>
                <a:gd name="T27" fmla="*/ 181 h 320"/>
                <a:gd name="T28" fmla="*/ 139 w 284"/>
                <a:gd name="T29" fmla="*/ 320 h 320"/>
                <a:gd name="T30" fmla="*/ 0 w 284"/>
                <a:gd name="T31" fmla="*/ 181 h 320"/>
                <a:gd name="T32" fmla="*/ 128 w 284"/>
                <a:gd name="T33" fmla="*/ 43 h 320"/>
                <a:gd name="T34" fmla="*/ 128 w 284"/>
                <a:gd name="T35" fmla="*/ 21 h 320"/>
                <a:gd name="T36" fmla="*/ 107 w 284"/>
                <a:gd name="T37" fmla="*/ 21 h 320"/>
                <a:gd name="T38" fmla="*/ 96 w 284"/>
                <a:gd name="T39" fmla="*/ 10 h 320"/>
                <a:gd name="T40" fmla="*/ 107 w 284"/>
                <a:gd name="T41" fmla="*/ 0 h 320"/>
                <a:gd name="T42" fmla="*/ 171 w 284"/>
                <a:gd name="T43" fmla="*/ 0 h 320"/>
                <a:gd name="T44" fmla="*/ 181 w 284"/>
                <a:gd name="T45" fmla="*/ 10 h 320"/>
                <a:gd name="T46" fmla="*/ 171 w 284"/>
                <a:gd name="T47" fmla="*/ 21 h 320"/>
                <a:gd name="T48" fmla="*/ 149 w 284"/>
                <a:gd name="T49" fmla="*/ 21 h 320"/>
                <a:gd name="T50" fmla="*/ 149 w 284"/>
                <a:gd name="T51" fmla="*/ 43 h 320"/>
                <a:gd name="T52" fmla="*/ 217 w 284"/>
                <a:gd name="T53" fmla="*/ 67 h 320"/>
                <a:gd name="T54" fmla="*/ 235 w 284"/>
                <a:gd name="T55" fmla="*/ 49 h 320"/>
                <a:gd name="T56" fmla="*/ 220 w 284"/>
                <a:gd name="T57" fmla="*/ 33 h 320"/>
                <a:gd name="T58" fmla="*/ 220 w 284"/>
                <a:gd name="T59" fmla="*/ 18 h 320"/>
                <a:gd name="T60" fmla="*/ 235 w 284"/>
                <a:gd name="T61" fmla="*/ 18 h 320"/>
                <a:gd name="T62" fmla="*/ 280 w 284"/>
                <a:gd name="T63" fmla="*/ 64 h 320"/>
                <a:gd name="T64" fmla="*/ 139 w 284"/>
                <a:gd name="T65" fmla="*/ 64 h 320"/>
                <a:gd name="T66" fmla="*/ 21 w 284"/>
                <a:gd name="T67" fmla="*/ 181 h 320"/>
                <a:gd name="T68" fmla="*/ 139 w 284"/>
                <a:gd name="T69" fmla="*/ 298 h 320"/>
                <a:gd name="T70" fmla="*/ 256 w 284"/>
                <a:gd name="T71" fmla="*/ 181 h 320"/>
                <a:gd name="T72" fmla="*/ 139 w 284"/>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320">
                  <a:moveTo>
                    <a:pt x="149" y="106"/>
                  </a:moveTo>
                  <a:cubicBezTo>
                    <a:pt x="149" y="181"/>
                    <a:pt x="149" y="181"/>
                    <a:pt x="149" y="181"/>
                  </a:cubicBezTo>
                  <a:cubicBezTo>
                    <a:pt x="149" y="187"/>
                    <a:pt x="145" y="192"/>
                    <a:pt x="139" y="192"/>
                  </a:cubicBezTo>
                  <a:cubicBezTo>
                    <a:pt x="133" y="192"/>
                    <a:pt x="128" y="187"/>
                    <a:pt x="128" y="181"/>
                  </a:cubicBezTo>
                  <a:cubicBezTo>
                    <a:pt x="128" y="106"/>
                    <a:pt x="128" y="106"/>
                    <a:pt x="128" y="106"/>
                  </a:cubicBezTo>
                  <a:cubicBezTo>
                    <a:pt x="128" y="100"/>
                    <a:pt x="133" y="96"/>
                    <a:pt x="139" y="96"/>
                  </a:cubicBezTo>
                  <a:cubicBezTo>
                    <a:pt x="145" y="96"/>
                    <a:pt x="149" y="100"/>
                    <a:pt x="149" y="106"/>
                  </a:cubicBezTo>
                  <a:close/>
                  <a:moveTo>
                    <a:pt x="280" y="64"/>
                  </a:moveTo>
                  <a:cubicBezTo>
                    <a:pt x="284" y="68"/>
                    <a:pt x="284" y="75"/>
                    <a:pt x="280" y="79"/>
                  </a:cubicBezTo>
                  <a:cubicBezTo>
                    <a:pt x="278" y="81"/>
                    <a:pt x="275" y="82"/>
                    <a:pt x="272" y="82"/>
                  </a:cubicBezTo>
                  <a:cubicBezTo>
                    <a:pt x="270" y="82"/>
                    <a:pt x="267" y="81"/>
                    <a:pt x="265" y="79"/>
                  </a:cubicBezTo>
                  <a:cubicBezTo>
                    <a:pt x="250" y="64"/>
                    <a:pt x="250" y="64"/>
                    <a:pt x="250" y="64"/>
                  </a:cubicBezTo>
                  <a:cubicBezTo>
                    <a:pt x="233" y="80"/>
                    <a:pt x="233" y="80"/>
                    <a:pt x="233" y="80"/>
                  </a:cubicBezTo>
                  <a:cubicBezTo>
                    <a:pt x="260" y="105"/>
                    <a:pt x="277" y="141"/>
                    <a:pt x="277" y="181"/>
                  </a:cubicBezTo>
                  <a:cubicBezTo>
                    <a:pt x="277" y="257"/>
                    <a:pt x="215" y="320"/>
                    <a:pt x="139" y="320"/>
                  </a:cubicBezTo>
                  <a:cubicBezTo>
                    <a:pt x="62" y="320"/>
                    <a:pt x="0" y="257"/>
                    <a:pt x="0" y="181"/>
                  </a:cubicBezTo>
                  <a:cubicBezTo>
                    <a:pt x="0" y="108"/>
                    <a:pt x="57" y="48"/>
                    <a:pt x="128" y="43"/>
                  </a:cubicBezTo>
                  <a:cubicBezTo>
                    <a:pt x="128" y="21"/>
                    <a:pt x="128" y="21"/>
                    <a:pt x="128" y="21"/>
                  </a:cubicBezTo>
                  <a:cubicBezTo>
                    <a:pt x="107" y="21"/>
                    <a:pt x="107" y="21"/>
                    <a:pt x="107" y="21"/>
                  </a:cubicBezTo>
                  <a:cubicBezTo>
                    <a:pt x="101" y="21"/>
                    <a:pt x="96" y="16"/>
                    <a:pt x="96" y="10"/>
                  </a:cubicBezTo>
                  <a:cubicBezTo>
                    <a:pt x="96" y="4"/>
                    <a:pt x="101" y="0"/>
                    <a:pt x="107" y="0"/>
                  </a:cubicBezTo>
                  <a:cubicBezTo>
                    <a:pt x="171" y="0"/>
                    <a:pt x="171" y="0"/>
                    <a:pt x="171" y="0"/>
                  </a:cubicBezTo>
                  <a:cubicBezTo>
                    <a:pt x="177" y="0"/>
                    <a:pt x="181" y="4"/>
                    <a:pt x="181" y="10"/>
                  </a:cubicBezTo>
                  <a:cubicBezTo>
                    <a:pt x="181" y="16"/>
                    <a:pt x="177" y="21"/>
                    <a:pt x="171" y="21"/>
                  </a:cubicBezTo>
                  <a:cubicBezTo>
                    <a:pt x="149" y="21"/>
                    <a:pt x="149" y="21"/>
                    <a:pt x="149" y="21"/>
                  </a:cubicBezTo>
                  <a:cubicBezTo>
                    <a:pt x="149" y="43"/>
                    <a:pt x="149" y="43"/>
                    <a:pt x="149" y="43"/>
                  </a:cubicBezTo>
                  <a:cubicBezTo>
                    <a:pt x="174" y="45"/>
                    <a:pt x="197" y="53"/>
                    <a:pt x="217" y="67"/>
                  </a:cubicBezTo>
                  <a:cubicBezTo>
                    <a:pt x="235" y="49"/>
                    <a:pt x="235" y="49"/>
                    <a:pt x="235" y="49"/>
                  </a:cubicBezTo>
                  <a:cubicBezTo>
                    <a:pt x="220" y="33"/>
                    <a:pt x="220" y="33"/>
                    <a:pt x="220" y="33"/>
                  </a:cubicBezTo>
                  <a:cubicBezTo>
                    <a:pt x="215" y="29"/>
                    <a:pt x="215" y="23"/>
                    <a:pt x="220" y="18"/>
                  </a:cubicBezTo>
                  <a:cubicBezTo>
                    <a:pt x="224" y="14"/>
                    <a:pt x="231" y="14"/>
                    <a:pt x="235" y="18"/>
                  </a:cubicBezTo>
                  <a:lnTo>
                    <a:pt x="280" y="64"/>
                  </a:lnTo>
                  <a:close/>
                  <a:moveTo>
                    <a:pt x="139" y="64"/>
                  </a:moveTo>
                  <a:cubicBezTo>
                    <a:pt x="74" y="64"/>
                    <a:pt x="21" y="116"/>
                    <a:pt x="21" y="181"/>
                  </a:cubicBezTo>
                  <a:cubicBezTo>
                    <a:pt x="21" y="246"/>
                    <a:pt x="74" y="298"/>
                    <a:pt x="139" y="298"/>
                  </a:cubicBezTo>
                  <a:cubicBezTo>
                    <a:pt x="203" y="298"/>
                    <a:pt x="256" y="246"/>
                    <a:pt x="256" y="181"/>
                  </a:cubicBezTo>
                  <a:cubicBezTo>
                    <a:pt x="256" y="116"/>
                    <a:pt x="203" y="64"/>
                    <a:pt x="139"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sym typeface="Gotham Book" charset="0"/>
              </a:endParaRPr>
            </a:p>
          </p:txBody>
        </p:sp>
      </p:grpSp>
      <p:grpSp>
        <p:nvGrpSpPr>
          <p:cNvPr id="124" name="Group 48">
            <a:extLst>
              <a:ext uri="{FF2B5EF4-FFF2-40B4-BE49-F238E27FC236}">
                <a16:creationId xmlns:a16="http://schemas.microsoft.com/office/drawing/2014/main" id="{72B8628F-6B06-4562-9BB3-FB2D77A04C6A}"/>
              </a:ext>
            </a:extLst>
          </p:cNvPr>
          <p:cNvGrpSpPr>
            <a:grpSpLocks noChangeAspect="1"/>
          </p:cNvGrpSpPr>
          <p:nvPr/>
        </p:nvGrpSpPr>
        <p:grpSpPr bwMode="auto">
          <a:xfrm>
            <a:off x="7425554" y="5161652"/>
            <a:ext cx="604521" cy="604521"/>
            <a:chOff x="4277" y="1990"/>
            <a:chExt cx="340" cy="340"/>
          </a:xfrm>
          <a:solidFill>
            <a:sysClr val="window" lastClr="FFFFFF"/>
          </a:solidFill>
        </p:grpSpPr>
        <p:sp>
          <p:nvSpPr>
            <p:cNvPr id="125" name="Freeform 49">
              <a:extLst>
                <a:ext uri="{FF2B5EF4-FFF2-40B4-BE49-F238E27FC236}">
                  <a16:creationId xmlns:a16="http://schemas.microsoft.com/office/drawing/2014/main" id="{97ED4CE5-71D6-4B31-B37C-653305431C1D}"/>
                </a:ext>
              </a:extLst>
            </p:cNvPr>
            <p:cNvSpPr>
              <a:spLocks noEditPoints="1"/>
            </p:cNvSpPr>
            <p:nvPr/>
          </p:nvSpPr>
          <p:spPr bwMode="auto">
            <a:xfrm>
              <a:off x="4277"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sym typeface="Gotham Book" charset="0"/>
              </a:endParaRPr>
            </a:p>
          </p:txBody>
        </p:sp>
        <p:sp>
          <p:nvSpPr>
            <p:cNvPr id="126" name="Freeform 50">
              <a:extLst>
                <a:ext uri="{FF2B5EF4-FFF2-40B4-BE49-F238E27FC236}">
                  <a16:creationId xmlns:a16="http://schemas.microsoft.com/office/drawing/2014/main" id="{41471B96-6165-4D75-A799-09D0B33218E6}"/>
                </a:ext>
              </a:extLst>
            </p:cNvPr>
            <p:cNvSpPr>
              <a:spLocks noEditPoints="1"/>
            </p:cNvSpPr>
            <p:nvPr/>
          </p:nvSpPr>
          <p:spPr bwMode="auto">
            <a:xfrm>
              <a:off x="4355" y="2054"/>
              <a:ext cx="170" cy="212"/>
            </a:xfrm>
            <a:custGeom>
              <a:avLst/>
              <a:gdLst>
                <a:gd name="T0" fmla="*/ 235 w 256"/>
                <a:gd name="T1" fmla="*/ 256 h 320"/>
                <a:gd name="T2" fmla="*/ 224 w 256"/>
                <a:gd name="T3" fmla="*/ 213 h 320"/>
                <a:gd name="T4" fmla="*/ 245 w 256"/>
                <a:gd name="T5" fmla="*/ 117 h 320"/>
                <a:gd name="T6" fmla="*/ 11 w 256"/>
                <a:gd name="T7" fmla="*/ 117 h 320"/>
                <a:gd name="T8" fmla="*/ 11 w 256"/>
                <a:gd name="T9" fmla="*/ 213 h 320"/>
                <a:gd name="T10" fmla="*/ 0 w 256"/>
                <a:gd name="T11" fmla="*/ 266 h 320"/>
                <a:gd name="T12" fmla="*/ 21 w 256"/>
                <a:gd name="T13" fmla="*/ 277 h 320"/>
                <a:gd name="T14" fmla="*/ 32 w 256"/>
                <a:gd name="T15" fmla="*/ 320 h 320"/>
                <a:gd name="T16" fmla="*/ 256 w 256"/>
                <a:gd name="T17" fmla="*/ 309 h 320"/>
                <a:gd name="T18" fmla="*/ 245 w 256"/>
                <a:gd name="T19" fmla="*/ 256 h 320"/>
                <a:gd name="T20" fmla="*/ 192 w 256"/>
                <a:gd name="T21" fmla="*/ 256 h 320"/>
                <a:gd name="T22" fmla="*/ 213 w 256"/>
                <a:gd name="T23" fmla="*/ 234 h 320"/>
                <a:gd name="T24" fmla="*/ 64 w 256"/>
                <a:gd name="T25" fmla="*/ 256 h 320"/>
                <a:gd name="T26" fmla="*/ 85 w 256"/>
                <a:gd name="T27" fmla="*/ 234 h 320"/>
                <a:gd name="T28" fmla="*/ 64 w 256"/>
                <a:gd name="T29" fmla="*/ 256 h 320"/>
                <a:gd name="T30" fmla="*/ 107 w 256"/>
                <a:gd name="T31" fmla="*/ 234 h 320"/>
                <a:gd name="T32" fmla="*/ 128 w 256"/>
                <a:gd name="T33" fmla="*/ 256 h 320"/>
                <a:gd name="T34" fmla="*/ 149 w 256"/>
                <a:gd name="T35" fmla="*/ 234 h 320"/>
                <a:gd name="T36" fmla="*/ 171 w 256"/>
                <a:gd name="T37" fmla="*/ 256 h 320"/>
                <a:gd name="T38" fmla="*/ 149 w 256"/>
                <a:gd name="T39" fmla="*/ 234 h 320"/>
                <a:gd name="T40" fmla="*/ 192 w 256"/>
                <a:gd name="T41" fmla="*/ 298 h 320"/>
                <a:gd name="T42" fmla="*/ 171 w 256"/>
                <a:gd name="T43" fmla="*/ 277 h 320"/>
                <a:gd name="T44" fmla="*/ 32 w 256"/>
                <a:gd name="T45" fmla="*/ 117 h 320"/>
                <a:gd name="T46" fmla="*/ 224 w 256"/>
                <a:gd name="T47" fmla="*/ 117 h 320"/>
                <a:gd name="T48" fmla="*/ 32 w 256"/>
                <a:gd name="T49" fmla="*/ 117 h 320"/>
                <a:gd name="T50" fmla="*/ 43 w 256"/>
                <a:gd name="T51" fmla="*/ 234 h 320"/>
                <a:gd name="T52" fmla="*/ 32 w 256"/>
                <a:gd name="T53" fmla="*/ 256 h 320"/>
                <a:gd name="T54" fmla="*/ 21 w 256"/>
                <a:gd name="T55" fmla="*/ 234 h 320"/>
                <a:gd name="T56" fmla="*/ 64 w 256"/>
                <a:gd name="T57" fmla="*/ 277 h 320"/>
                <a:gd name="T58" fmla="*/ 43 w 256"/>
                <a:gd name="T59" fmla="*/ 298 h 320"/>
                <a:gd name="T60" fmla="*/ 85 w 256"/>
                <a:gd name="T61" fmla="*/ 298 h 320"/>
                <a:gd name="T62" fmla="*/ 107 w 256"/>
                <a:gd name="T63" fmla="*/ 277 h 320"/>
                <a:gd name="T64" fmla="*/ 85 w 256"/>
                <a:gd name="T65" fmla="*/ 298 h 320"/>
                <a:gd name="T66" fmla="*/ 149 w 256"/>
                <a:gd name="T67" fmla="*/ 277 h 320"/>
                <a:gd name="T68" fmla="*/ 128 w 256"/>
                <a:gd name="T69" fmla="*/ 298 h 320"/>
                <a:gd name="T70" fmla="*/ 235 w 256"/>
                <a:gd name="T71" fmla="*/ 298 h 320"/>
                <a:gd name="T72" fmla="*/ 213 w 256"/>
                <a:gd name="T73" fmla="*/ 277 h 320"/>
                <a:gd name="T74" fmla="*/ 235 w 256"/>
                <a:gd name="T75" fmla="*/ 277 h 320"/>
                <a:gd name="T76" fmla="*/ 128 w 256"/>
                <a:gd name="T77" fmla="*/ 168 h 320"/>
                <a:gd name="T78" fmla="*/ 96 w 256"/>
                <a:gd name="T79" fmla="*/ 162 h 320"/>
                <a:gd name="T80" fmla="*/ 113 w 256"/>
                <a:gd name="T81" fmla="*/ 149 h 320"/>
                <a:gd name="T82" fmla="*/ 136 w 256"/>
                <a:gd name="T83" fmla="*/ 148 h 320"/>
                <a:gd name="T84" fmla="*/ 138 w 256"/>
                <a:gd name="T85" fmla="*/ 135 h 320"/>
                <a:gd name="T86" fmla="*/ 121 w 256"/>
                <a:gd name="T87" fmla="*/ 124 h 320"/>
                <a:gd name="T88" fmla="*/ 100 w 256"/>
                <a:gd name="T89" fmla="*/ 107 h 320"/>
                <a:gd name="T90" fmla="*/ 108 w 256"/>
                <a:gd name="T91" fmla="*/ 75 h 320"/>
                <a:gd name="T92" fmla="*/ 128 w 256"/>
                <a:gd name="T93" fmla="*/ 53 h 320"/>
                <a:gd name="T94" fmla="*/ 139 w 256"/>
                <a:gd name="T95" fmla="*/ 67 h 320"/>
                <a:gd name="T96" fmla="*/ 160 w 256"/>
                <a:gd name="T97" fmla="*/ 74 h 320"/>
                <a:gd name="T98" fmla="*/ 140 w 256"/>
                <a:gd name="T99" fmla="*/ 86 h 320"/>
                <a:gd name="T100" fmla="*/ 121 w 256"/>
                <a:gd name="T101" fmla="*/ 87 h 320"/>
                <a:gd name="T102" fmla="*/ 119 w 256"/>
                <a:gd name="T103" fmla="*/ 99 h 320"/>
                <a:gd name="T104" fmla="*/ 136 w 256"/>
                <a:gd name="T105" fmla="*/ 110 h 320"/>
                <a:gd name="T106" fmla="*/ 161 w 256"/>
                <a:gd name="T107" fmla="*/ 140 h 320"/>
                <a:gd name="T108" fmla="*/ 139 w 256"/>
                <a:gd name="T109" fmla="*/ 167 h 320"/>
                <a:gd name="T110" fmla="*/ 128 w 256"/>
                <a:gd name="T111"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20">
                  <a:moveTo>
                    <a:pt x="245" y="256"/>
                  </a:moveTo>
                  <a:cubicBezTo>
                    <a:pt x="235" y="256"/>
                    <a:pt x="235" y="256"/>
                    <a:pt x="235" y="256"/>
                  </a:cubicBezTo>
                  <a:cubicBezTo>
                    <a:pt x="235" y="224"/>
                    <a:pt x="235" y="224"/>
                    <a:pt x="235" y="224"/>
                  </a:cubicBezTo>
                  <a:cubicBezTo>
                    <a:pt x="235" y="218"/>
                    <a:pt x="230" y="213"/>
                    <a:pt x="224" y="213"/>
                  </a:cubicBezTo>
                  <a:cubicBezTo>
                    <a:pt x="195" y="213"/>
                    <a:pt x="195" y="213"/>
                    <a:pt x="195" y="213"/>
                  </a:cubicBezTo>
                  <a:cubicBezTo>
                    <a:pt x="225" y="192"/>
                    <a:pt x="245" y="157"/>
                    <a:pt x="245" y="117"/>
                  </a:cubicBezTo>
                  <a:cubicBezTo>
                    <a:pt x="245" y="52"/>
                    <a:pt x="193" y="0"/>
                    <a:pt x="128" y="0"/>
                  </a:cubicBezTo>
                  <a:cubicBezTo>
                    <a:pt x="63" y="0"/>
                    <a:pt x="11" y="52"/>
                    <a:pt x="11" y="117"/>
                  </a:cubicBezTo>
                  <a:cubicBezTo>
                    <a:pt x="11" y="157"/>
                    <a:pt x="31" y="192"/>
                    <a:pt x="61" y="213"/>
                  </a:cubicBezTo>
                  <a:cubicBezTo>
                    <a:pt x="11" y="213"/>
                    <a:pt x="11" y="213"/>
                    <a:pt x="11" y="213"/>
                  </a:cubicBezTo>
                  <a:cubicBezTo>
                    <a:pt x="5" y="213"/>
                    <a:pt x="0" y="218"/>
                    <a:pt x="0" y="224"/>
                  </a:cubicBezTo>
                  <a:cubicBezTo>
                    <a:pt x="0" y="266"/>
                    <a:pt x="0" y="266"/>
                    <a:pt x="0" y="266"/>
                  </a:cubicBezTo>
                  <a:cubicBezTo>
                    <a:pt x="0" y="272"/>
                    <a:pt x="5" y="277"/>
                    <a:pt x="11" y="277"/>
                  </a:cubicBezTo>
                  <a:cubicBezTo>
                    <a:pt x="21" y="277"/>
                    <a:pt x="21" y="277"/>
                    <a:pt x="21" y="277"/>
                  </a:cubicBezTo>
                  <a:cubicBezTo>
                    <a:pt x="21" y="309"/>
                    <a:pt x="21" y="309"/>
                    <a:pt x="21" y="309"/>
                  </a:cubicBezTo>
                  <a:cubicBezTo>
                    <a:pt x="21" y="315"/>
                    <a:pt x="26" y="320"/>
                    <a:pt x="32" y="320"/>
                  </a:cubicBezTo>
                  <a:cubicBezTo>
                    <a:pt x="245" y="320"/>
                    <a:pt x="245" y="320"/>
                    <a:pt x="245" y="320"/>
                  </a:cubicBezTo>
                  <a:cubicBezTo>
                    <a:pt x="251" y="320"/>
                    <a:pt x="256" y="315"/>
                    <a:pt x="256" y="309"/>
                  </a:cubicBezTo>
                  <a:cubicBezTo>
                    <a:pt x="256" y="266"/>
                    <a:pt x="256" y="266"/>
                    <a:pt x="256" y="266"/>
                  </a:cubicBezTo>
                  <a:cubicBezTo>
                    <a:pt x="256" y="260"/>
                    <a:pt x="251" y="256"/>
                    <a:pt x="245" y="256"/>
                  </a:cubicBezTo>
                  <a:close/>
                  <a:moveTo>
                    <a:pt x="213" y="256"/>
                  </a:moveTo>
                  <a:cubicBezTo>
                    <a:pt x="192" y="256"/>
                    <a:pt x="192" y="256"/>
                    <a:pt x="192" y="256"/>
                  </a:cubicBezTo>
                  <a:cubicBezTo>
                    <a:pt x="192" y="234"/>
                    <a:pt x="192" y="234"/>
                    <a:pt x="192" y="234"/>
                  </a:cubicBezTo>
                  <a:cubicBezTo>
                    <a:pt x="213" y="234"/>
                    <a:pt x="213" y="234"/>
                    <a:pt x="213" y="234"/>
                  </a:cubicBezTo>
                  <a:lnTo>
                    <a:pt x="213" y="256"/>
                  </a:lnTo>
                  <a:close/>
                  <a:moveTo>
                    <a:pt x="64" y="256"/>
                  </a:moveTo>
                  <a:cubicBezTo>
                    <a:pt x="64" y="234"/>
                    <a:pt x="64" y="234"/>
                    <a:pt x="64" y="234"/>
                  </a:cubicBezTo>
                  <a:cubicBezTo>
                    <a:pt x="85" y="234"/>
                    <a:pt x="85" y="234"/>
                    <a:pt x="85" y="234"/>
                  </a:cubicBezTo>
                  <a:cubicBezTo>
                    <a:pt x="85" y="256"/>
                    <a:pt x="85" y="256"/>
                    <a:pt x="85" y="256"/>
                  </a:cubicBezTo>
                  <a:lnTo>
                    <a:pt x="64" y="256"/>
                  </a:lnTo>
                  <a:close/>
                  <a:moveTo>
                    <a:pt x="107" y="256"/>
                  </a:moveTo>
                  <a:cubicBezTo>
                    <a:pt x="107" y="234"/>
                    <a:pt x="107" y="234"/>
                    <a:pt x="107" y="234"/>
                  </a:cubicBezTo>
                  <a:cubicBezTo>
                    <a:pt x="128" y="234"/>
                    <a:pt x="128" y="234"/>
                    <a:pt x="128" y="234"/>
                  </a:cubicBezTo>
                  <a:cubicBezTo>
                    <a:pt x="128" y="256"/>
                    <a:pt x="128" y="256"/>
                    <a:pt x="128" y="256"/>
                  </a:cubicBezTo>
                  <a:lnTo>
                    <a:pt x="107" y="256"/>
                  </a:lnTo>
                  <a:close/>
                  <a:moveTo>
                    <a:pt x="149" y="234"/>
                  </a:moveTo>
                  <a:cubicBezTo>
                    <a:pt x="171" y="234"/>
                    <a:pt x="171" y="234"/>
                    <a:pt x="171" y="234"/>
                  </a:cubicBezTo>
                  <a:cubicBezTo>
                    <a:pt x="171" y="256"/>
                    <a:pt x="171" y="256"/>
                    <a:pt x="171" y="256"/>
                  </a:cubicBezTo>
                  <a:cubicBezTo>
                    <a:pt x="149" y="256"/>
                    <a:pt x="149" y="256"/>
                    <a:pt x="149" y="256"/>
                  </a:cubicBezTo>
                  <a:lnTo>
                    <a:pt x="149" y="234"/>
                  </a:lnTo>
                  <a:close/>
                  <a:moveTo>
                    <a:pt x="192" y="277"/>
                  </a:moveTo>
                  <a:cubicBezTo>
                    <a:pt x="192" y="298"/>
                    <a:pt x="192" y="298"/>
                    <a:pt x="192" y="298"/>
                  </a:cubicBezTo>
                  <a:cubicBezTo>
                    <a:pt x="171" y="298"/>
                    <a:pt x="171" y="298"/>
                    <a:pt x="171" y="298"/>
                  </a:cubicBezTo>
                  <a:cubicBezTo>
                    <a:pt x="171" y="277"/>
                    <a:pt x="171" y="277"/>
                    <a:pt x="171" y="277"/>
                  </a:cubicBezTo>
                  <a:lnTo>
                    <a:pt x="192" y="277"/>
                  </a:lnTo>
                  <a:close/>
                  <a:moveTo>
                    <a:pt x="32" y="117"/>
                  </a:moveTo>
                  <a:cubicBezTo>
                    <a:pt x="32" y="64"/>
                    <a:pt x="75" y="21"/>
                    <a:pt x="128" y="21"/>
                  </a:cubicBezTo>
                  <a:cubicBezTo>
                    <a:pt x="181" y="21"/>
                    <a:pt x="224" y="64"/>
                    <a:pt x="224" y="117"/>
                  </a:cubicBezTo>
                  <a:cubicBezTo>
                    <a:pt x="224" y="170"/>
                    <a:pt x="181" y="213"/>
                    <a:pt x="128" y="213"/>
                  </a:cubicBezTo>
                  <a:cubicBezTo>
                    <a:pt x="75" y="213"/>
                    <a:pt x="32" y="170"/>
                    <a:pt x="32" y="117"/>
                  </a:cubicBezTo>
                  <a:close/>
                  <a:moveTo>
                    <a:pt x="21" y="234"/>
                  </a:moveTo>
                  <a:cubicBezTo>
                    <a:pt x="43" y="234"/>
                    <a:pt x="43" y="234"/>
                    <a:pt x="43" y="234"/>
                  </a:cubicBezTo>
                  <a:cubicBezTo>
                    <a:pt x="43" y="256"/>
                    <a:pt x="43" y="256"/>
                    <a:pt x="43" y="256"/>
                  </a:cubicBezTo>
                  <a:cubicBezTo>
                    <a:pt x="32" y="256"/>
                    <a:pt x="32" y="256"/>
                    <a:pt x="32" y="256"/>
                  </a:cubicBezTo>
                  <a:cubicBezTo>
                    <a:pt x="21" y="256"/>
                    <a:pt x="21" y="256"/>
                    <a:pt x="21" y="256"/>
                  </a:cubicBezTo>
                  <a:lnTo>
                    <a:pt x="21" y="234"/>
                  </a:lnTo>
                  <a:close/>
                  <a:moveTo>
                    <a:pt x="43" y="277"/>
                  </a:moveTo>
                  <a:cubicBezTo>
                    <a:pt x="64" y="277"/>
                    <a:pt x="64" y="277"/>
                    <a:pt x="64" y="277"/>
                  </a:cubicBezTo>
                  <a:cubicBezTo>
                    <a:pt x="64" y="298"/>
                    <a:pt x="64" y="298"/>
                    <a:pt x="64" y="298"/>
                  </a:cubicBezTo>
                  <a:cubicBezTo>
                    <a:pt x="43" y="298"/>
                    <a:pt x="43" y="298"/>
                    <a:pt x="43" y="298"/>
                  </a:cubicBezTo>
                  <a:lnTo>
                    <a:pt x="43" y="277"/>
                  </a:lnTo>
                  <a:close/>
                  <a:moveTo>
                    <a:pt x="85" y="298"/>
                  </a:moveTo>
                  <a:cubicBezTo>
                    <a:pt x="85" y="277"/>
                    <a:pt x="85" y="277"/>
                    <a:pt x="85" y="277"/>
                  </a:cubicBezTo>
                  <a:cubicBezTo>
                    <a:pt x="107" y="277"/>
                    <a:pt x="107" y="277"/>
                    <a:pt x="107" y="277"/>
                  </a:cubicBezTo>
                  <a:cubicBezTo>
                    <a:pt x="107" y="298"/>
                    <a:pt x="107" y="298"/>
                    <a:pt x="107" y="298"/>
                  </a:cubicBezTo>
                  <a:lnTo>
                    <a:pt x="85" y="298"/>
                  </a:lnTo>
                  <a:close/>
                  <a:moveTo>
                    <a:pt x="128" y="277"/>
                  </a:moveTo>
                  <a:cubicBezTo>
                    <a:pt x="149" y="277"/>
                    <a:pt x="149" y="277"/>
                    <a:pt x="149" y="277"/>
                  </a:cubicBezTo>
                  <a:cubicBezTo>
                    <a:pt x="149" y="298"/>
                    <a:pt x="149" y="298"/>
                    <a:pt x="149" y="298"/>
                  </a:cubicBezTo>
                  <a:cubicBezTo>
                    <a:pt x="128" y="298"/>
                    <a:pt x="128" y="298"/>
                    <a:pt x="128" y="298"/>
                  </a:cubicBezTo>
                  <a:lnTo>
                    <a:pt x="128" y="277"/>
                  </a:lnTo>
                  <a:close/>
                  <a:moveTo>
                    <a:pt x="235" y="298"/>
                  </a:moveTo>
                  <a:cubicBezTo>
                    <a:pt x="213" y="298"/>
                    <a:pt x="213" y="298"/>
                    <a:pt x="213" y="298"/>
                  </a:cubicBezTo>
                  <a:cubicBezTo>
                    <a:pt x="213" y="277"/>
                    <a:pt x="213" y="277"/>
                    <a:pt x="213" y="277"/>
                  </a:cubicBezTo>
                  <a:cubicBezTo>
                    <a:pt x="224" y="277"/>
                    <a:pt x="224" y="277"/>
                    <a:pt x="224" y="277"/>
                  </a:cubicBezTo>
                  <a:cubicBezTo>
                    <a:pt x="235" y="277"/>
                    <a:pt x="235" y="277"/>
                    <a:pt x="235" y="277"/>
                  </a:cubicBezTo>
                  <a:lnTo>
                    <a:pt x="235" y="298"/>
                  </a:lnTo>
                  <a:close/>
                  <a:moveTo>
                    <a:pt x="128" y="168"/>
                  </a:moveTo>
                  <a:cubicBezTo>
                    <a:pt x="128" y="168"/>
                    <a:pt x="126" y="168"/>
                    <a:pt x="126" y="168"/>
                  </a:cubicBezTo>
                  <a:cubicBezTo>
                    <a:pt x="115" y="168"/>
                    <a:pt x="107" y="166"/>
                    <a:pt x="96" y="162"/>
                  </a:cubicBezTo>
                  <a:cubicBezTo>
                    <a:pt x="96" y="143"/>
                    <a:pt x="96" y="143"/>
                    <a:pt x="96" y="143"/>
                  </a:cubicBezTo>
                  <a:cubicBezTo>
                    <a:pt x="107" y="146"/>
                    <a:pt x="108" y="148"/>
                    <a:pt x="113" y="149"/>
                  </a:cubicBezTo>
                  <a:cubicBezTo>
                    <a:pt x="117" y="150"/>
                    <a:pt x="122" y="151"/>
                    <a:pt x="125" y="151"/>
                  </a:cubicBezTo>
                  <a:cubicBezTo>
                    <a:pt x="130" y="151"/>
                    <a:pt x="133" y="150"/>
                    <a:pt x="136" y="148"/>
                  </a:cubicBezTo>
                  <a:cubicBezTo>
                    <a:pt x="138" y="147"/>
                    <a:pt x="140" y="144"/>
                    <a:pt x="140" y="141"/>
                  </a:cubicBezTo>
                  <a:cubicBezTo>
                    <a:pt x="140" y="139"/>
                    <a:pt x="139" y="137"/>
                    <a:pt x="138" y="135"/>
                  </a:cubicBezTo>
                  <a:cubicBezTo>
                    <a:pt x="137" y="134"/>
                    <a:pt x="135" y="132"/>
                    <a:pt x="133" y="131"/>
                  </a:cubicBezTo>
                  <a:cubicBezTo>
                    <a:pt x="131" y="130"/>
                    <a:pt x="127" y="127"/>
                    <a:pt x="121" y="124"/>
                  </a:cubicBezTo>
                  <a:cubicBezTo>
                    <a:pt x="115" y="122"/>
                    <a:pt x="110" y="119"/>
                    <a:pt x="107" y="116"/>
                  </a:cubicBezTo>
                  <a:cubicBezTo>
                    <a:pt x="104" y="114"/>
                    <a:pt x="102" y="111"/>
                    <a:pt x="100" y="107"/>
                  </a:cubicBezTo>
                  <a:cubicBezTo>
                    <a:pt x="98" y="104"/>
                    <a:pt x="98" y="100"/>
                    <a:pt x="98" y="95"/>
                  </a:cubicBezTo>
                  <a:cubicBezTo>
                    <a:pt x="98" y="86"/>
                    <a:pt x="102" y="80"/>
                    <a:pt x="108" y="75"/>
                  </a:cubicBezTo>
                  <a:cubicBezTo>
                    <a:pt x="112" y="71"/>
                    <a:pt x="117" y="68"/>
                    <a:pt x="128" y="68"/>
                  </a:cubicBezTo>
                  <a:cubicBezTo>
                    <a:pt x="128" y="53"/>
                    <a:pt x="128" y="53"/>
                    <a:pt x="128" y="53"/>
                  </a:cubicBezTo>
                  <a:cubicBezTo>
                    <a:pt x="139" y="53"/>
                    <a:pt x="139" y="53"/>
                    <a:pt x="139" y="53"/>
                  </a:cubicBezTo>
                  <a:cubicBezTo>
                    <a:pt x="139" y="67"/>
                    <a:pt x="139" y="67"/>
                    <a:pt x="139" y="67"/>
                  </a:cubicBezTo>
                  <a:cubicBezTo>
                    <a:pt x="139" y="68"/>
                    <a:pt x="144" y="68"/>
                    <a:pt x="147" y="69"/>
                  </a:cubicBezTo>
                  <a:cubicBezTo>
                    <a:pt x="152" y="70"/>
                    <a:pt x="154" y="72"/>
                    <a:pt x="160" y="74"/>
                  </a:cubicBezTo>
                  <a:cubicBezTo>
                    <a:pt x="153" y="90"/>
                    <a:pt x="153" y="90"/>
                    <a:pt x="153" y="90"/>
                  </a:cubicBezTo>
                  <a:cubicBezTo>
                    <a:pt x="148" y="88"/>
                    <a:pt x="143" y="87"/>
                    <a:pt x="140" y="86"/>
                  </a:cubicBezTo>
                  <a:cubicBezTo>
                    <a:pt x="136" y="85"/>
                    <a:pt x="133" y="85"/>
                    <a:pt x="130" y="85"/>
                  </a:cubicBezTo>
                  <a:cubicBezTo>
                    <a:pt x="126" y="85"/>
                    <a:pt x="123" y="85"/>
                    <a:pt x="121" y="87"/>
                  </a:cubicBezTo>
                  <a:cubicBezTo>
                    <a:pt x="119" y="89"/>
                    <a:pt x="117" y="91"/>
                    <a:pt x="117" y="94"/>
                  </a:cubicBezTo>
                  <a:cubicBezTo>
                    <a:pt x="117" y="96"/>
                    <a:pt x="118" y="98"/>
                    <a:pt x="119" y="99"/>
                  </a:cubicBezTo>
                  <a:cubicBezTo>
                    <a:pt x="120" y="101"/>
                    <a:pt x="121" y="102"/>
                    <a:pt x="123" y="103"/>
                  </a:cubicBezTo>
                  <a:cubicBezTo>
                    <a:pt x="125" y="104"/>
                    <a:pt x="129" y="107"/>
                    <a:pt x="136" y="110"/>
                  </a:cubicBezTo>
                  <a:cubicBezTo>
                    <a:pt x="145" y="114"/>
                    <a:pt x="151" y="119"/>
                    <a:pt x="155" y="123"/>
                  </a:cubicBezTo>
                  <a:cubicBezTo>
                    <a:pt x="158" y="128"/>
                    <a:pt x="161" y="133"/>
                    <a:pt x="161" y="140"/>
                  </a:cubicBezTo>
                  <a:cubicBezTo>
                    <a:pt x="161" y="148"/>
                    <a:pt x="159" y="155"/>
                    <a:pt x="153" y="160"/>
                  </a:cubicBezTo>
                  <a:cubicBezTo>
                    <a:pt x="148" y="164"/>
                    <a:pt x="139" y="166"/>
                    <a:pt x="139" y="167"/>
                  </a:cubicBezTo>
                  <a:cubicBezTo>
                    <a:pt x="139" y="181"/>
                    <a:pt x="139" y="181"/>
                    <a:pt x="139" y="181"/>
                  </a:cubicBezTo>
                  <a:cubicBezTo>
                    <a:pt x="128" y="181"/>
                    <a:pt x="128" y="181"/>
                    <a:pt x="128" y="181"/>
                  </a:cubicBezTo>
                  <a:lnTo>
                    <a:pt x="128" y="1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sym typeface="Gotham Book" charset="0"/>
              </a:endParaRPr>
            </a:p>
          </p:txBody>
        </p:sp>
      </p:grpSp>
      <p:grpSp>
        <p:nvGrpSpPr>
          <p:cNvPr id="127" name="Group 675">
            <a:extLst>
              <a:ext uri="{FF2B5EF4-FFF2-40B4-BE49-F238E27FC236}">
                <a16:creationId xmlns:a16="http://schemas.microsoft.com/office/drawing/2014/main" id="{4F278884-AE62-4289-B304-17FCE228F5BC}"/>
              </a:ext>
            </a:extLst>
          </p:cNvPr>
          <p:cNvGrpSpPr>
            <a:grpSpLocks noChangeAspect="1"/>
          </p:cNvGrpSpPr>
          <p:nvPr/>
        </p:nvGrpSpPr>
        <p:grpSpPr bwMode="auto">
          <a:xfrm>
            <a:off x="2283307" y="5161959"/>
            <a:ext cx="604521" cy="604521"/>
            <a:chOff x="6583" y="2681"/>
            <a:chExt cx="340" cy="340"/>
          </a:xfrm>
          <a:solidFill>
            <a:sysClr val="window" lastClr="FFFFFF"/>
          </a:solidFill>
        </p:grpSpPr>
        <p:sp>
          <p:nvSpPr>
            <p:cNvPr id="128" name="Freeform 676">
              <a:extLst>
                <a:ext uri="{FF2B5EF4-FFF2-40B4-BE49-F238E27FC236}">
                  <a16:creationId xmlns:a16="http://schemas.microsoft.com/office/drawing/2014/main" id="{9367E915-3883-4B18-AC51-512564C1A379}"/>
                </a:ext>
              </a:extLst>
            </p:cNvPr>
            <p:cNvSpPr>
              <a:spLocks noEditPoints="1"/>
            </p:cNvSpPr>
            <p:nvPr/>
          </p:nvSpPr>
          <p:spPr bwMode="auto">
            <a:xfrm>
              <a:off x="6583" y="26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sym typeface="Gotham Book" charset="0"/>
              </a:endParaRPr>
            </a:p>
          </p:txBody>
        </p:sp>
        <p:sp>
          <p:nvSpPr>
            <p:cNvPr id="129" name="Freeform 677">
              <a:extLst>
                <a:ext uri="{FF2B5EF4-FFF2-40B4-BE49-F238E27FC236}">
                  <a16:creationId xmlns:a16="http://schemas.microsoft.com/office/drawing/2014/main" id="{0E7F3BFF-EE7E-4489-A9E0-32E46AA017DF}"/>
                </a:ext>
              </a:extLst>
            </p:cNvPr>
            <p:cNvSpPr>
              <a:spLocks noEditPoints="1"/>
            </p:cNvSpPr>
            <p:nvPr/>
          </p:nvSpPr>
          <p:spPr bwMode="auto">
            <a:xfrm>
              <a:off x="6672" y="2741"/>
              <a:ext cx="162" cy="224"/>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sym typeface="Gotham Book" charset="0"/>
              </a:endParaRPr>
            </a:p>
          </p:txBody>
        </p:sp>
        <p:sp>
          <p:nvSpPr>
            <p:cNvPr id="130" name="Freeform 678">
              <a:extLst>
                <a:ext uri="{FF2B5EF4-FFF2-40B4-BE49-F238E27FC236}">
                  <a16:creationId xmlns:a16="http://schemas.microsoft.com/office/drawing/2014/main" id="{FBA436D7-A0A3-45DA-B5E1-ED28AC4247D8}"/>
                </a:ext>
              </a:extLst>
            </p:cNvPr>
            <p:cNvSpPr>
              <a:spLocks noEditPoints="1"/>
            </p:cNvSpPr>
            <p:nvPr/>
          </p:nvSpPr>
          <p:spPr bwMode="auto">
            <a:xfrm>
              <a:off x="6717" y="2787"/>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7169" tIns="33584" rIns="67169" bIns="33584"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GB" sz="2791" b="0" i="0" u="none" strike="noStrike" kern="0" cap="none" spc="0" normalizeH="0" baseline="0" noProof="0">
                <a:ln>
                  <a:noFill/>
                </a:ln>
                <a:solidFill>
                  <a:srgbClr val="343434"/>
                </a:solidFill>
                <a:effectLst/>
                <a:uLnTx/>
                <a:uFillTx/>
                <a:latin typeface="Gotham Book" charset="0"/>
                <a:ea typeface="ヒラギノ角ゴ ProN W3" charset="0"/>
                <a:sym typeface="Gotham Book" charset="0"/>
              </a:endParaRPr>
            </a:p>
          </p:txBody>
        </p:sp>
      </p:grpSp>
      <p:sp>
        <p:nvSpPr>
          <p:cNvPr id="131" name="TextBox 130">
            <a:extLst>
              <a:ext uri="{FF2B5EF4-FFF2-40B4-BE49-F238E27FC236}">
                <a16:creationId xmlns:a16="http://schemas.microsoft.com/office/drawing/2014/main" id="{6C94040B-8C02-42EB-BBAB-4FFFE9EA0859}"/>
              </a:ext>
            </a:extLst>
          </p:cNvPr>
          <p:cNvSpPr txBox="1"/>
          <p:nvPr/>
        </p:nvSpPr>
        <p:spPr>
          <a:xfrm>
            <a:off x="2647798" y="5906950"/>
            <a:ext cx="2377166" cy="201915"/>
          </a:xfrm>
          <a:prstGeom prst="rect">
            <a:avLst/>
          </a:prstGeom>
          <a:noFill/>
        </p:spPr>
        <p:txBody>
          <a:bodyPr wrap="square" lIns="0" tIns="0" rIns="0" bIns="0" rtlCol="0">
            <a:spAutoFit/>
          </a:bodyPr>
          <a:lstStyle/>
          <a:p>
            <a:pPr algn="ctr" defTabSz="1142609">
              <a:spcBef>
                <a:spcPts val="562"/>
              </a:spcBef>
              <a:buSzPct val="100000"/>
              <a:defRPr/>
            </a:pPr>
            <a:r>
              <a:rPr lang="en-US" sz="1312" i="1" dirty="0">
                <a:solidFill>
                  <a:prstClr val="white">
                    <a:lumMod val="50000"/>
                  </a:prstClr>
                </a:solidFill>
                <a:ea typeface="ヒラギノ角ゴ ProN W3" charset="0"/>
                <a:sym typeface="Gotham Book" charset="0"/>
              </a:rPr>
              <a:t>Unique insights</a:t>
            </a:r>
          </a:p>
        </p:txBody>
      </p:sp>
      <p:sp>
        <p:nvSpPr>
          <p:cNvPr id="132" name="TextBox 131">
            <a:extLst>
              <a:ext uri="{FF2B5EF4-FFF2-40B4-BE49-F238E27FC236}">
                <a16:creationId xmlns:a16="http://schemas.microsoft.com/office/drawing/2014/main" id="{7972CED2-455D-4C09-9B67-A98948100A31}"/>
              </a:ext>
            </a:extLst>
          </p:cNvPr>
          <p:cNvSpPr txBox="1"/>
          <p:nvPr/>
        </p:nvSpPr>
        <p:spPr>
          <a:xfrm>
            <a:off x="5238586" y="5906950"/>
            <a:ext cx="2377166" cy="201915"/>
          </a:xfrm>
          <a:prstGeom prst="rect">
            <a:avLst/>
          </a:prstGeom>
          <a:noFill/>
        </p:spPr>
        <p:txBody>
          <a:bodyPr wrap="square" lIns="0" tIns="0" rIns="0" bIns="0" rtlCol="0">
            <a:spAutoFit/>
          </a:bodyPr>
          <a:lstStyle/>
          <a:p>
            <a:pPr algn="ctr" defTabSz="1142609">
              <a:spcBef>
                <a:spcPts val="562"/>
              </a:spcBef>
              <a:buSzPct val="100000"/>
              <a:defRPr/>
            </a:pPr>
            <a:r>
              <a:rPr lang="en-US" sz="1312" i="1" dirty="0">
                <a:solidFill>
                  <a:prstClr val="white">
                    <a:lumMod val="50000"/>
                  </a:prstClr>
                </a:solidFill>
                <a:ea typeface="ヒラギノ角ゴ ProN W3" charset="0"/>
                <a:sym typeface="Gotham Book" charset="0"/>
              </a:rPr>
              <a:t>Weeks, not months</a:t>
            </a:r>
          </a:p>
        </p:txBody>
      </p:sp>
      <p:sp>
        <p:nvSpPr>
          <p:cNvPr id="133" name="TextBox 132">
            <a:extLst>
              <a:ext uri="{FF2B5EF4-FFF2-40B4-BE49-F238E27FC236}">
                <a16:creationId xmlns:a16="http://schemas.microsoft.com/office/drawing/2014/main" id="{C4CAF656-9CCD-498D-90B6-DD3B925CDD3A}"/>
              </a:ext>
            </a:extLst>
          </p:cNvPr>
          <p:cNvSpPr txBox="1"/>
          <p:nvPr/>
        </p:nvSpPr>
        <p:spPr>
          <a:xfrm>
            <a:off x="7640286" y="5906950"/>
            <a:ext cx="2377166" cy="201915"/>
          </a:xfrm>
          <a:prstGeom prst="rect">
            <a:avLst/>
          </a:prstGeom>
          <a:noFill/>
        </p:spPr>
        <p:txBody>
          <a:bodyPr wrap="square" lIns="0" tIns="0" rIns="0" bIns="0" rtlCol="0">
            <a:spAutoFit/>
          </a:bodyPr>
          <a:lstStyle/>
          <a:p>
            <a:pPr algn="ctr" defTabSz="1142609">
              <a:spcBef>
                <a:spcPts val="562"/>
              </a:spcBef>
              <a:buSzPct val="100000"/>
              <a:defRPr/>
            </a:pPr>
            <a:r>
              <a:rPr lang="en-US" sz="1312" i="1" dirty="0">
                <a:solidFill>
                  <a:prstClr val="white">
                    <a:lumMod val="50000"/>
                  </a:prstClr>
                </a:solidFill>
                <a:ea typeface="ヒラギノ角ゴ ProN W3" charset="0"/>
                <a:sym typeface="Gotham Book" charset="0"/>
              </a:rPr>
              <a:t>Flexible resourcing</a:t>
            </a:r>
          </a:p>
        </p:txBody>
      </p:sp>
      <p:grpSp>
        <p:nvGrpSpPr>
          <p:cNvPr id="134" name="Group 133">
            <a:extLst>
              <a:ext uri="{FF2B5EF4-FFF2-40B4-BE49-F238E27FC236}">
                <a16:creationId xmlns:a16="http://schemas.microsoft.com/office/drawing/2014/main" id="{CE355AB3-9285-4620-8E87-4A46EA24CD00}"/>
              </a:ext>
            </a:extLst>
          </p:cNvPr>
          <p:cNvGrpSpPr/>
          <p:nvPr/>
        </p:nvGrpSpPr>
        <p:grpSpPr>
          <a:xfrm>
            <a:off x="4024702" y="1353244"/>
            <a:ext cx="4136956" cy="3284789"/>
            <a:chOff x="4896017" y="1519506"/>
            <a:chExt cx="5631815" cy="4122257"/>
          </a:xfrm>
        </p:grpSpPr>
        <p:sp>
          <p:nvSpPr>
            <p:cNvPr id="135" name="Rectangle 134">
              <a:extLst>
                <a:ext uri="{FF2B5EF4-FFF2-40B4-BE49-F238E27FC236}">
                  <a16:creationId xmlns:a16="http://schemas.microsoft.com/office/drawing/2014/main" id="{25096FF8-0078-4DFC-B7F6-B4E18DA25872}"/>
                </a:ext>
              </a:extLst>
            </p:cNvPr>
            <p:cNvSpPr/>
            <p:nvPr/>
          </p:nvSpPr>
          <p:spPr bwMode="gray">
            <a:xfrm>
              <a:off x="4955874" y="5178776"/>
              <a:ext cx="5571958" cy="462987"/>
            </a:xfrm>
            <a:prstGeom prst="rect">
              <a:avLst/>
            </a:prstGeom>
            <a:noFill/>
            <a:ln w="19050" algn="ctr">
              <a:noFill/>
              <a:miter lim="800000"/>
              <a:headEnd/>
              <a:tailEnd/>
            </a:ln>
          </p:spPr>
          <p:txBody>
            <a:bodyPr wrap="square" lIns="65303" tIns="65303" rIns="65303" bIns="65303" rtlCol="0" anchor="ctr"/>
            <a:lstStyle/>
            <a:p>
              <a:pPr algn="ctr" defTabSz="671718" fontAlgn="base">
                <a:lnSpc>
                  <a:spcPct val="106000"/>
                </a:lnSpc>
                <a:spcBef>
                  <a:spcPct val="0"/>
                </a:spcBef>
                <a:spcAft>
                  <a:spcPct val="0"/>
                </a:spcAft>
                <a:defRPr/>
              </a:pPr>
              <a:r>
                <a:rPr lang="en-US" sz="1175" b="1" i="1" dirty="0">
                  <a:solidFill>
                    <a:sysClr val="windowText" lastClr="000000"/>
                  </a:solidFill>
                  <a:ea typeface="ヒラギノ角ゴ ProN W3" charset="0"/>
                  <a:sym typeface="Gotham Book" charset="0"/>
                </a:rPr>
                <a:t>To get work done...</a:t>
              </a:r>
            </a:p>
          </p:txBody>
        </p:sp>
        <p:sp>
          <p:nvSpPr>
            <p:cNvPr id="136" name="Rectangle 135">
              <a:extLst>
                <a:ext uri="{FF2B5EF4-FFF2-40B4-BE49-F238E27FC236}">
                  <a16:creationId xmlns:a16="http://schemas.microsoft.com/office/drawing/2014/main" id="{73AE01F7-EF32-4788-9457-25E69FB68A9B}"/>
                </a:ext>
              </a:extLst>
            </p:cNvPr>
            <p:cNvSpPr/>
            <p:nvPr/>
          </p:nvSpPr>
          <p:spPr bwMode="gray">
            <a:xfrm>
              <a:off x="4896017" y="1519506"/>
              <a:ext cx="5571958" cy="462987"/>
            </a:xfrm>
            <a:prstGeom prst="rect">
              <a:avLst/>
            </a:prstGeom>
            <a:noFill/>
            <a:ln w="19050" algn="ctr">
              <a:noFill/>
              <a:miter lim="800000"/>
              <a:headEnd/>
              <a:tailEnd/>
            </a:ln>
          </p:spPr>
          <p:txBody>
            <a:bodyPr wrap="square" lIns="65303" tIns="65303" rIns="65303" bIns="65303" rtlCol="0" anchor="ctr"/>
            <a:lstStyle/>
            <a:p>
              <a:pPr algn="ctr" defTabSz="671718" fontAlgn="base">
                <a:lnSpc>
                  <a:spcPct val="106000"/>
                </a:lnSpc>
                <a:spcBef>
                  <a:spcPct val="0"/>
                </a:spcBef>
                <a:spcAft>
                  <a:spcPct val="0"/>
                </a:spcAft>
                <a:defRPr/>
              </a:pPr>
              <a:r>
                <a:rPr lang="en-US" sz="1175" b="1" i="1" dirty="0">
                  <a:solidFill>
                    <a:sysClr val="windowText" lastClr="000000"/>
                  </a:solidFill>
                  <a:ea typeface="ヒラギノ角ゴ ProN W3" charset="0"/>
                  <a:sym typeface="Gotham Book" charset="0"/>
                </a:rPr>
                <a:t>The ability to access…</a:t>
              </a:r>
            </a:p>
          </p:txBody>
        </p:sp>
      </p:grpSp>
    </p:spTree>
    <p:extLst>
      <p:ext uri="{BB962C8B-B14F-4D97-AF65-F5344CB8AC3E}">
        <p14:creationId xmlns:p14="http://schemas.microsoft.com/office/powerpoint/2010/main" val="90688954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B23A37-BBD7-4B42-8915-40C4F24EE46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6"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BBB23A37-BBD7-4B42-8915-40C4F24EE46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8D04572-830C-48BA-8F4B-E7AA10EF4BA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b="1"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E6D7DF75-5B6A-49A8-81CA-E7813C65AF58}"/>
              </a:ext>
            </a:extLst>
          </p:cNvPr>
          <p:cNvSpPr>
            <a:spLocks noGrp="1"/>
          </p:cNvSpPr>
          <p:nvPr>
            <p:ph type="title"/>
          </p:nvPr>
        </p:nvSpPr>
        <p:spPr/>
        <p:txBody>
          <a:bodyPr anchor="b"/>
          <a:lstStyle/>
          <a:p>
            <a:r>
              <a:rPr lang="en-US" b="1" dirty="0">
                <a:sym typeface="Gotham Book" charset="0"/>
              </a:rPr>
              <a:t>Understanding of crowdsourcing is improving</a:t>
            </a:r>
            <a:endParaRPr lang="en-US" dirty="0"/>
          </a:p>
        </p:txBody>
      </p:sp>
      <p:sp>
        <p:nvSpPr>
          <p:cNvPr id="24" name="Text Placeholder 23">
            <a:extLst>
              <a:ext uri="{FF2B5EF4-FFF2-40B4-BE49-F238E27FC236}">
                <a16:creationId xmlns:a16="http://schemas.microsoft.com/office/drawing/2014/main" id="{8C80253E-F0E8-4855-9DE5-FDB6F9FAC757}"/>
              </a:ext>
            </a:extLst>
          </p:cNvPr>
          <p:cNvSpPr>
            <a:spLocks noGrp="1"/>
          </p:cNvSpPr>
          <p:nvPr>
            <p:ph type="body" sz="quarter" idx="14"/>
          </p:nvPr>
        </p:nvSpPr>
        <p:spPr/>
        <p:txBody>
          <a:bodyPr/>
          <a:lstStyle/>
          <a:p>
            <a:r>
              <a:rPr lang="en-US" dirty="0"/>
              <a:t>Subheader</a:t>
            </a:r>
          </a:p>
        </p:txBody>
      </p:sp>
      <p:sp>
        <p:nvSpPr>
          <p:cNvPr id="25" name="Text Placeholder 24">
            <a:extLst>
              <a:ext uri="{FF2B5EF4-FFF2-40B4-BE49-F238E27FC236}">
                <a16:creationId xmlns:a16="http://schemas.microsoft.com/office/drawing/2014/main" id="{9432EEF6-987C-419E-98F0-3BF44312E0A3}"/>
              </a:ext>
            </a:extLst>
          </p:cNvPr>
          <p:cNvSpPr>
            <a:spLocks noGrp="1"/>
          </p:cNvSpPr>
          <p:nvPr>
            <p:ph type="body" sz="quarter" idx="15"/>
          </p:nvPr>
        </p:nvSpPr>
        <p:spPr/>
        <p:txBody>
          <a:bodyPr/>
          <a:lstStyle/>
          <a:p>
            <a:r>
              <a:rPr lang="en-US" dirty="0"/>
              <a:t>text</a:t>
            </a:r>
          </a:p>
        </p:txBody>
      </p:sp>
      <p:sp>
        <p:nvSpPr>
          <p:cNvPr id="5" name="Rectangle 4">
            <a:extLst>
              <a:ext uri="{FF2B5EF4-FFF2-40B4-BE49-F238E27FC236}">
                <a16:creationId xmlns:a16="http://schemas.microsoft.com/office/drawing/2014/main" id="{3C24C3E8-95EF-4315-A713-D462899E3BDA}"/>
              </a:ext>
            </a:extLst>
          </p:cNvPr>
          <p:cNvSpPr/>
          <p:nvPr/>
        </p:nvSpPr>
        <p:spPr bwMode="gray">
          <a:xfrm>
            <a:off x="383138" y="2134155"/>
            <a:ext cx="11425724" cy="2220628"/>
          </a:xfrm>
          <a:prstGeom prst="rect">
            <a:avLst/>
          </a:prstGeom>
          <a:solidFill>
            <a:schemeClr val="tx1"/>
          </a:solidFill>
          <a:ln w="19050" algn="ctr">
            <a:noFill/>
            <a:miter lim="800000"/>
            <a:headEnd/>
            <a:tailEnd/>
          </a:ln>
        </p:spPr>
        <p:txBody>
          <a:bodyPr wrap="square" lIns="514158" tIns="83313" rIns="514158" bIns="83313" rtlCol="0" anchor="ctr"/>
          <a:lstStyle/>
          <a:p>
            <a:pPr marL="0" marR="0" lvl="0" indent="0" algn="just" defTabSz="1142609" rtl="0" eaLnBrk="1" fontAlgn="auto" latinLnBrk="0" hangingPunct="1">
              <a:lnSpc>
                <a:spcPct val="106000"/>
              </a:lnSpc>
              <a:spcBef>
                <a:spcPts val="0"/>
              </a:spcBef>
              <a:spcAft>
                <a:spcPts val="0"/>
              </a:spcAft>
              <a:buClrTx/>
              <a:buSzTx/>
              <a:buFontTx/>
              <a:buNone/>
              <a:tabLst/>
              <a:defRPr/>
            </a:pPr>
            <a:endParaRPr kumimoji="0" lang="en-US" sz="1499" b="0" i="0" u="none" strike="noStrike" kern="1200" cap="none" spc="0" normalizeH="0" baseline="0" noProof="0" dirty="0">
              <a:ln>
                <a:noFill/>
              </a:ln>
              <a:solidFill>
                <a:prstClr val="white"/>
              </a:solidFill>
              <a:effectLst/>
              <a:uLnTx/>
              <a:uFillTx/>
              <a:ea typeface="ヒラギノ角ゴ ProN W3" charset="0"/>
              <a:cs typeface="+mn-cs"/>
              <a:sym typeface="Gotham Book" charset="0"/>
            </a:endParaRPr>
          </a:p>
        </p:txBody>
      </p:sp>
      <p:sp>
        <p:nvSpPr>
          <p:cNvPr id="6" name="TextBox 5">
            <a:extLst>
              <a:ext uri="{FF2B5EF4-FFF2-40B4-BE49-F238E27FC236}">
                <a16:creationId xmlns:a16="http://schemas.microsoft.com/office/drawing/2014/main" id="{7E497EAC-C3D1-4DC4-88E8-38A55456F807}"/>
              </a:ext>
            </a:extLst>
          </p:cNvPr>
          <p:cNvSpPr txBox="1"/>
          <p:nvPr/>
        </p:nvSpPr>
        <p:spPr>
          <a:xfrm>
            <a:off x="1131466" y="3290623"/>
            <a:ext cx="1970937" cy="692304"/>
          </a:xfrm>
          <a:prstGeom prst="rect">
            <a:avLst/>
          </a:prstGeom>
          <a:noFill/>
        </p:spPr>
        <p:txBody>
          <a:bodyPr vert="horz" wrap="square" lIns="0" tIns="85693" rIns="0" bIns="85693" rtlCol="0">
            <a:spAutoFit/>
          </a:bodyPr>
          <a:lstStyle/>
          <a:p>
            <a:pPr marL="0" marR="0" lvl="0" indent="0" algn="ctr" defTabSz="1142609" rtl="0" eaLnBrk="1" fontAlgn="auto" latinLnBrk="0" hangingPunct="1">
              <a:lnSpc>
                <a:spcPct val="100000"/>
              </a:lnSpc>
              <a:spcBef>
                <a:spcPts val="187"/>
              </a:spcBef>
              <a:spcAft>
                <a:spcPts val="0"/>
              </a:spcAft>
              <a:buClrTx/>
              <a:buSzPct val="100000"/>
              <a:buFontTx/>
              <a:buNone/>
              <a:tabLst/>
              <a:defRPr/>
            </a:pPr>
            <a:r>
              <a:rPr kumimoji="0" lang="en-US" sz="1687" b="1" i="0" u="none" strike="noStrike" kern="1200" cap="none" spc="0" normalizeH="0" baseline="0" noProof="0" dirty="0">
                <a:ln>
                  <a:noFill/>
                </a:ln>
                <a:solidFill>
                  <a:prstClr val="white"/>
                </a:solidFill>
                <a:effectLst/>
                <a:uLnTx/>
                <a:uFillTx/>
                <a:ea typeface="Open Sans Light" panose="020B0306030504020204" pitchFamily="34" charset="0"/>
                <a:cs typeface="Open Sans Light" panose="020B0306030504020204" pitchFamily="34" charset="0"/>
                <a:sym typeface="Gotham Book" charset="0"/>
              </a:rPr>
              <a:t>Idea </a:t>
            </a:r>
            <a:br>
              <a:rPr kumimoji="0" lang="en-US" sz="1687" b="1" i="0" u="none" strike="noStrike" kern="1200" cap="none" spc="0" normalizeH="0" baseline="0" noProof="0" dirty="0">
                <a:ln>
                  <a:noFill/>
                </a:ln>
                <a:solidFill>
                  <a:prstClr val="white"/>
                </a:solidFill>
                <a:effectLst/>
                <a:uLnTx/>
                <a:uFillTx/>
                <a:ea typeface="Open Sans Light" panose="020B0306030504020204" pitchFamily="34" charset="0"/>
                <a:cs typeface="Open Sans Light" panose="020B0306030504020204" pitchFamily="34" charset="0"/>
                <a:sym typeface="Gotham Book" charset="0"/>
              </a:rPr>
            </a:br>
            <a:r>
              <a:rPr kumimoji="0" lang="en-US" sz="1687" b="1" i="0" u="none" strike="noStrike" kern="1200" cap="none" spc="0" normalizeH="0" baseline="0" noProof="0" dirty="0">
                <a:ln>
                  <a:noFill/>
                </a:ln>
                <a:solidFill>
                  <a:prstClr val="white"/>
                </a:solidFill>
                <a:effectLst/>
                <a:uLnTx/>
                <a:uFillTx/>
                <a:ea typeface="Open Sans Light" panose="020B0306030504020204" pitchFamily="34" charset="0"/>
                <a:cs typeface="Open Sans Light" panose="020B0306030504020204" pitchFamily="34" charset="0"/>
                <a:sym typeface="Gotham Book" charset="0"/>
              </a:rPr>
              <a:t>generation!</a:t>
            </a:r>
          </a:p>
        </p:txBody>
      </p:sp>
      <p:cxnSp>
        <p:nvCxnSpPr>
          <p:cNvPr id="7" name="Straight Connector 6">
            <a:extLst>
              <a:ext uri="{FF2B5EF4-FFF2-40B4-BE49-F238E27FC236}">
                <a16:creationId xmlns:a16="http://schemas.microsoft.com/office/drawing/2014/main" id="{A3E358B3-76B1-4015-9E09-D026CEC359A8}"/>
              </a:ext>
            </a:extLst>
          </p:cNvPr>
          <p:cNvCxnSpPr>
            <a:stCxn id="6" idx="2"/>
            <a:endCxn id="8" idx="0"/>
          </p:cNvCxnSpPr>
          <p:nvPr/>
        </p:nvCxnSpPr>
        <p:spPr>
          <a:xfrm>
            <a:off x="2116935" y="3982927"/>
            <a:ext cx="0" cy="1167925"/>
          </a:xfrm>
          <a:prstGeom prst="line">
            <a:avLst/>
          </a:prstGeom>
          <a:ln>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AE50F761-7B5D-4788-9DF3-75318FB0EC6A}"/>
              </a:ext>
            </a:extLst>
          </p:cNvPr>
          <p:cNvSpPr txBox="1"/>
          <p:nvPr/>
        </p:nvSpPr>
        <p:spPr>
          <a:xfrm>
            <a:off x="1131466" y="5150852"/>
            <a:ext cx="1970937" cy="634468"/>
          </a:xfrm>
          <a:prstGeom prst="rect">
            <a:avLst/>
          </a:prstGeom>
          <a:noFill/>
        </p:spPr>
        <p:txBody>
          <a:bodyPr vert="horz" wrap="square" lIns="0" tIns="85693" rIns="0" bIns="85693" rtlCol="0">
            <a:spAutoFit/>
          </a:bodyPr>
          <a:lstStyle/>
          <a:p>
            <a:pPr marL="0" marR="0" lvl="0" indent="0" algn="ctr" defTabSz="1142609" rtl="0" eaLnBrk="1" fontAlgn="auto" latinLnBrk="0" hangingPunct="1">
              <a:lnSpc>
                <a:spcPct val="100000"/>
              </a:lnSpc>
              <a:spcBef>
                <a:spcPts val="187"/>
              </a:spcBef>
              <a:spcAft>
                <a:spcPts val="0"/>
              </a:spcAft>
              <a:buClrTx/>
              <a:buSzPct val="100000"/>
              <a:buFontTx/>
              <a:buNone/>
              <a:tabLst/>
              <a:defRPr/>
            </a:pPr>
            <a:r>
              <a:rPr kumimoji="0" lang="en-US" sz="1499" b="0" i="0" u="none" strike="noStrike" kern="1200" cap="none" spc="0" normalizeH="0" baseline="0" noProof="0" dirty="0">
                <a:ln>
                  <a:noFill/>
                </a:ln>
                <a:solidFill>
                  <a:srgbClr val="53565A"/>
                </a:solidFill>
                <a:effectLst/>
                <a:uLnTx/>
                <a:uFillTx/>
                <a:ea typeface="ヒラギノ角ゴ ProN W3" charset="0"/>
                <a:cs typeface="+mn-cs"/>
                <a:sym typeface="Gotham Book" charset="0"/>
              </a:rPr>
              <a:t>Yes, and </a:t>
            </a:r>
            <a:br>
              <a:rPr kumimoji="0" lang="en-US" sz="1499" b="0" i="0" u="none" strike="noStrike" kern="1200" cap="none" spc="0" normalizeH="0" baseline="0" noProof="0" dirty="0">
                <a:ln>
                  <a:noFill/>
                </a:ln>
                <a:solidFill>
                  <a:srgbClr val="53565A"/>
                </a:solidFill>
                <a:effectLst/>
                <a:uLnTx/>
                <a:uFillTx/>
                <a:ea typeface="ヒラギノ角ゴ ProN W3" charset="0"/>
                <a:cs typeface="+mn-cs"/>
                <a:sym typeface="Gotham Book" charset="0"/>
              </a:rPr>
            </a:br>
            <a:r>
              <a:rPr kumimoji="0" lang="en-US" sz="1499" b="0" i="0" u="none" strike="noStrike" kern="1200" cap="none" spc="0" normalizeH="0" baseline="0" noProof="0" dirty="0">
                <a:ln>
                  <a:noFill/>
                </a:ln>
                <a:solidFill>
                  <a:srgbClr val="53565A"/>
                </a:solidFill>
                <a:effectLst/>
                <a:uLnTx/>
                <a:uFillTx/>
                <a:ea typeface="ヒラギノ角ゴ ProN W3" charset="0"/>
                <a:cs typeface="+mn-cs"/>
                <a:sym typeface="Gotham Book" charset="0"/>
              </a:rPr>
              <a:t>much more</a:t>
            </a:r>
          </a:p>
        </p:txBody>
      </p:sp>
      <p:sp>
        <p:nvSpPr>
          <p:cNvPr id="9" name="Oval 8">
            <a:extLst>
              <a:ext uri="{FF2B5EF4-FFF2-40B4-BE49-F238E27FC236}">
                <a16:creationId xmlns:a16="http://schemas.microsoft.com/office/drawing/2014/main" id="{07F82813-B2C6-4037-8D6D-8B5182B1B719}"/>
              </a:ext>
            </a:extLst>
          </p:cNvPr>
          <p:cNvSpPr/>
          <p:nvPr/>
        </p:nvSpPr>
        <p:spPr bwMode="gray">
          <a:xfrm>
            <a:off x="1897347" y="2564513"/>
            <a:ext cx="428465" cy="428465"/>
          </a:xfrm>
          <a:prstGeom prst="ellipse">
            <a:avLst/>
          </a:prstGeom>
          <a:noFill/>
          <a:ln w="38100" algn="ctr">
            <a:solidFill>
              <a:schemeClr val="bg1"/>
            </a:solidFill>
            <a:miter lim="800000"/>
            <a:headEnd/>
            <a:tailEnd/>
          </a:ln>
        </p:spPr>
        <p:txBody>
          <a:bodyPr wrap="none" lIns="0" tIns="0" rIns="0" bIns="0" rtlCol="0" anchor="ctr"/>
          <a:lstStyle/>
          <a:p>
            <a:pPr marL="0" marR="0" lvl="0" indent="0" algn="ctr" defTabSz="1142609" rtl="0" eaLnBrk="1" fontAlgn="auto" latinLnBrk="0" hangingPunct="1">
              <a:lnSpc>
                <a:spcPct val="106000"/>
              </a:lnSpc>
              <a:spcBef>
                <a:spcPts val="0"/>
              </a:spcBef>
              <a:spcAft>
                <a:spcPts val="0"/>
              </a:spcAft>
              <a:buClrTx/>
              <a:buSzTx/>
              <a:buFontTx/>
              <a:buNone/>
              <a:tabLst/>
              <a:defRPr/>
            </a:pPr>
            <a:r>
              <a:rPr kumimoji="0" lang="en-US" sz="2249" b="1" i="0" u="none" strike="noStrike" kern="1200" cap="none" spc="0" normalizeH="0" baseline="0" noProof="0" dirty="0">
                <a:ln>
                  <a:noFill/>
                </a:ln>
                <a:solidFill>
                  <a:prstClr val="white"/>
                </a:solidFill>
                <a:effectLst/>
                <a:uLnTx/>
                <a:uFillTx/>
                <a:ea typeface="Open Sans Extrabold" panose="020B0906030804020204" pitchFamily="34" charset="0"/>
                <a:cs typeface="Open Sans Extrabold" panose="020B0906030804020204" pitchFamily="34" charset="0"/>
                <a:sym typeface="Gotham Book" charset="0"/>
              </a:rPr>
              <a:t>1</a:t>
            </a:r>
          </a:p>
        </p:txBody>
      </p:sp>
      <p:sp>
        <p:nvSpPr>
          <p:cNvPr id="10" name="TextBox 9">
            <a:extLst>
              <a:ext uri="{FF2B5EF4-FFF2-40B4-BE49-F238E27FC236}">
                <a16:creationId xmlns:a16="http://schemas.microsoft.com/office/drawing/2014/main" id="{886D3EB5-D697-4AF6-B737-01293DCCA5EA}"/>
              </a:ext>
            </a:extLst>
          </p:cNvPr>
          <p:cNvSpPr txBox="1"/>
          <p:nvPr/>
        </p:nvSpPr>
        <p:spPr>
          <a:xfrm>
            <a:off x="3784177" y="3290623"/>
            <a:ext cx="1970937" cy="692304"/>
          </a:xfrm>
          <a:prstGeom prst="rect">
            <a:avLst/>
          </a:prstGeom>
          <a:noFill/>
        </p:spPr>
        <p:txBody>
          <a:bodyPr vert="horz" wrap="square" lIns="0" tIns="85693" rIns="0" bIns="85693" rtlCol="0">
            <a:spAutoFit/>
          </a:bodyPr>
          <a:lstStyle/>
          <a:p>
            <a:pPr marL="0" marR="0" lvl="0" indent="0" algn="ctr" defTabSz="1142609" rtl="0" eaLnBrk="1" fontAlgn="auto" latinLnBrk="0" hangingPunct="1">
              <a:lnSpc>
                <a:spcPct val="100000"/>
              </a:lnSpc>
              <a:spcBef>
                <a:spcPts val="187"/>
              </a:spcBef>
              <a:spcAft>
                <a:spcPts val="0"/>
              </a:spcAft>
              <a:buClrTx/>
              <a:buSzPct val="100000"/>
              <a:buFontTx/>
              <a:buNone/>
              <a:tabLst/>
              <a:defRPr/>
            </a:pPr>
            <a:r>
              <a:rPr kumimoji="0" lang="en-US" sz="1687" b="1" i="0" u="none" strike="noStrike" kern="1200" cap="none" spc="0" normalizeH="0" baseline="0" noProof="0" dirty="0">
                <a:ln>
                  <a:noFill/>
                </a:ln>
                <a:solidFill>
                  <a:prstClr val="white"/>
                </a:solidFill>
                <a:effectLst/>
                <a:uLnTx/>
                <a:uFillTx/>
                <a:ea typeface="ヒラギノ角ゴ ProN W3" charset="0"/>
                <a:cs typeface="+mn-cs"/>
                <a:sym typeface="Gotham Book" charset="0"/>
              </a:rPr>
              <a:t>Crowdsourcing is magic</a:t>
            </a:r>
          </a:p>
        </p:txBody>
      </p:sp>
      <p:sp>
        <p:nvSpPr>
          <p:cNvPr id="11" name="TextBox 10">
            <a:extLst>
              <a:ext uri="{FF2B5EF4-FFF2-40B4-BE49-F238E27FC236}">
                <a16:creationId xmlns:a16="http://schemas.microsoft.com/office/drawing/2014/main" id="{17AF0B26-4784-4389-9237-8C60D9B0FF91}"/>
              </a:ext>
            </a:extLst>
          </p:cNvPr>
          <p:cNvSpPr txBox="1"/>
          <p:nvPr/>
        </p:nvSpPr>
        <p:spPr>
          <a:xfrm>
            <a:off x="3784177" y="5150852"/>
            <a:ext cx="1970937" cy="634468"/>
          </a:xfrm>
          <a:prstGeom prst="rect">
            <a:avLst/>
          </a:prstGeom>
          <a:noFill/>
        </p:spPr>
        <p:txBody>
          <a:bodyPr vert="horz" wrap="square" lIns="0" tIns="85693" rIns="0" bIns="85693" rtlCol="0">
            <a:spAutoFit/>
          </a:bodyPr>
          <a:lstStyle/>
          <a:p>
            <a:pPr marL="0" marR="0" lvl="0" indent="0" algn="ctr" defTabSz="1142609" rtl="0" eaLnBrk="1" fontAlgn="auto" latinLnBrk="0" hangingPunct="1">
              <a:lnSpc>
                <a:spcPct val="100000"/>
              </a:lnSpc>
              <a:spcBef>
                <a:spcPts val="187"/>
              </a:spcBef>
              <a:spcAft>
                <a:spcPts val="0"/>
              </a:spcAft>
              <a:buClrTx/>
              <a:buSzPct val="100000"/>
              <a:buFontTx/>
              <a:buNone/>
              <a:tabLst/>
              <a:defRPr/>
            </a:pPr>
            <a:r>
              <a:rPr kumimoji="0" lang="en-US" sz="1499" b="0" i="0" u="none" strike="noStrike" kern="1200" cap="none" spc="0" normalizeH="0" baseline="0" noProof="0" dirty="0">
                <a:ln>
                  <a:noFill/>
                </a:ln>
                <a:solidFill>
                  <a:srgbClr val="53565A"/>
                </a:solidFill>
                <a:effectLst/>
                <a:uLnTx/>
                <a:uFillTx/>
                <a:ea typeface="ヒラギノ角ゴ ProN W3" charset="0"/>
                <a:cs typeface="+mn-cs"/>
                <a:sym typeface="Gotham Book" charset="0"/>
              </a:rPr>
              <a:t>It requires management</a:t>
            </a:r>
          </a:p>
        </p:txBody>
      </p:sp>
      <p:cxnSp>
        <p:nvCxnSpPr>
          <p:cNvPr id="12" name="Straight Connector 11">
            <a:extLst>
              <a:ext uri="{FF2B5EF4-FFF2-40B4-BE49-F238E27FC236}">
                <a16:creationId xmlns:a16="http://schemas.microsoft.com/office/drawing/2014/main" id="{23BEF38E-5861-43A8-8405-239987EDCF73}"/>
              </a:ext>
            </a:extLst>
          </p:cNvPr>
          <p:cNvCxnSpPr>
            <a:stCxn id="10" idx="2"/>
            <a:endCxn id="11" idx="0"/>
          </p:cNvCxnSpPr>
          <p:nvPr/>
        </p:nvCxnSpPr>
        <p:spPr>
          <a:xfrm>
            <a:off x="4769646" y="3982927"/>
            <a:ext cx="0" cy="1167925"/>
          </a:xfrm>
          <a:prstGeom prst="line">
            <a:avLst/>
          </a:prstGeom>
          <a:ln>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5129A5E4-5E01-4F9A-B583-27C623664DB7}"/>
              </a:ext>
            </a:extLst>
          </p:cNvPr>
          <p:cNvSpPr/>
          <p:nvPr/>
        </p:nvSpPr>
        <p:spPr bwMode="gray">
          <a:xfrm>
            <a:off x="4555413" y="2564513"/>
            <a:ext cx="428465" cy="428465"/>
          </a:xfrm>
          <a:prstGeom prst="ellipse">
            <a:avLst/>
          </a:prstGeom>
          <a:noFill/>
          <a:ln w="38100" algn="ctr">
            <a:solidFill>
              <a:schemeClr val="bg1"/>
            </a:solidFill>
            <a:miter lim="800000"/>
            <a:headEnd/>
            <a:tailEnd/>
          </a:ln>
        </p:spPr>
        <p:txBody>
          <a:bodyPr wrap="square" lIns="0" tIns="0" rIns="0" bIns="0" rtlCol="0" anchor="ctr"/>
          <a:lstStyle/>
          <a:p>
            <a:pPr marL="0" marR="0" lvl="0" indent="0" algn="ctr" defTabSz="1142609" rtl="0" eaLnBrk="1" fontAlgn="auto" latinLnBrk="0" hangingPunct="1">
              <a:lnSpc>
                <a:spcPct val="106000"/>
              </a:lnSpc>
              <a:spcBef>
                <a:spcPts val="0"/>
              </a:spcBef>
              <a:spcAft>
                <a:spcPts val="0"/>
              </a:spcAft>
              <a:buClrTx/>
              <a:buSzTx/>
              <a:buFontTx/>
              <a:buNone/>
              <a:tabLst/>
              <a:defRPr/>
            </a:pPr>
            <a:r>
              <a:rPr kumimoji="0" lang="en-US" sz="2249" b="1" i="0" u="none" strike="noStrike" kern="1200" cap="none" spc="0" normalizeH="0" baseline="0" noProof="0" dirty="0">
                <a:ln>
                  <a:noFill/>
                </a:ln>
                <a:solidFill>
                  <a:prstClr val="white"/>
                </a:solidFill>
                <a:effectLst/>
                <a:uLnTx/>
                <a:uFillTx/>
                <a:ea typeface="Open Sans Extrabold" panose="020B0906030804020204" pitchFamily="34" charset="0"/>
                <a:cs typeface="Open Sans Extrabold" panose="020B0906030804020204" pitchFamily="34" charset="0"/>
                <a:sym typeface="Gotham Book" charset="0"/>
              </a:rPr>
              <a:t>2</a:t>
            </a:r>
          </a:p>
        </p:txBody>
      </p:sp>
      <p:sp>
        <p:nvSpPr>
          <p:cNvPr id="14" name="TextBox 13">
            <a:extLst>
              <a:ext uri="{FF2B5EF4-FFF2-40B4-BE49-F238E27FC236}">
                <a16:creationId xmlns:a16="http://schemas.microsoft.com/office/drawing/2014/main" id="{7FAA3669-466E-4C56-A537-A03EA0A4818C}"/>
              </a:ext>
            </a:extLst>
          </p:cNvPr>
          <p:cNvSpPr txBox="1"/>
          <p:nvPr/>
        </p:nvSpPr>
        <p:spPr>
          <a:xfrm>
            <a:off x="6436888" y="3290624"/>
            <a:ext cx="1970937" cy="692304"/>
          </a:xfrm>
          <a:prstGeom prst="rect">
            <a:avLst/>
          </a:prstGeom>
          <a:noFill/>
        </p:spPr>
        <p:txBody>
          <a:bodyPr vert="horz" wrap="square" lIns="0" tIns="85693" rIns="0" bIns="85693" rtlCol="0">
            <a:spAutoFit/>
          </a:bodyPr>
          <a:lstStyle/>
          <a:p>
            <a:pPr marL="0" marR="0" lvl="0" indent="0" algn="ctr" defTabSz="1142609" rtl="0" eaLnBrk="1" fontAlgn="auto" latinLnBrk="0" hangingPunct="1">
              <a:lnSpc>
                <a:spcPct val="100000"/>
              </a:lnSpc>
              <a:spcBef>
                <a:spcPts val="187"/>
              </a:spcBef>
              <a:spcAft>
                <a:spcPts val="0"/>
              </a:spcAft>
              <a:buClrTx/>
              <a:buSzPct val="100000"/>
              <a:buFontTx/>
              <a:buNone/>
              <a:tabLst/>
              <a:defRPr/>
            </a:pPr>
            <a:r>
              <a:rPr kumimoji="0" lang="en-US" sz="1687" b="1" i="0" u="none" strike="noStrike" kern="1200" cap="none" spc="0" normalizeH="0" baseline="0" noProof="0" dirty="0">
                <a:ln>
                  <a:noFill/>
                </a:ln>
                <a:solidFill>
                  <a:prstClr val="white"/>
                </a:solidFill>
                <a:effectLst/>
                <a:uLnTx/>
                <a:uFillTx/>
                <a:ea typeface="ヒラギノ角ゴ ProN W3" charset="0"/>
                <a:cs typeface="+mn-cs"/>
                <a:sym typeface="Gotham Book" charset="0"/>
              </a:rPr>
              <a:t>There are too many risks</a:t>
            </a:r>
          </a:p>
        </p:txBody>
      </p:sp>
      <p:sp>
        <p:nvSpPr>
          <p:cNvPr id="15" name="TextBox 14">
            <a:extLst>
              <a:ext uri="{FF2B5EF4-FFF2-40B4-BE49-F238E27FC236}">
                <a16:creationId xmlns:a16="http://schemas.microsoft.com/office/drawing/2014/main" id="{42AD4822-1C8A-4D7A-BBF6-B5C50BF05A8B}"/>
              </a:ext>
            </a:extLst>
          </p:cNvPr>
          <p:cNvSpPr txBox="1"/>
          <p:nvPr/>
        </p:nvSpPr>
        <p:spPr>
          <a:xfrm>
            <a:off x="6436888" y="5150852"/>
            <a:ext cx="1970937" cy="634468"/>
          </a:xfrm>
          <a:prstGeom prst="rect">
            <a:avLst/>
          </a:prstGeom>
          <a:noFill/>
        </p:spPr>
        <p:txBody>
          <a:bodyPr vert="horz" wrap="square" lIns="0" tIns="85693" rIns="0" bIns="85693" rtlCol="0">
            <a:spAutoFit/>
          </a:bodyPr>
          <a:lstStyle/>
          <a:p>
            <a:pPr marL="0" marR="0" lvl="0" indent="0" algn="ctr" defTabSz="1142609" rtl="0" eaLnBrk="1" fontAlgn="auto" latinLnBrk="0" hangingPunct="1">
              <a:lnSpc>
                <a:spcPct val="100000"/>
              </a:lnSpc>
              <a:spcBef>
                <a:spcPts val="187"/>
              </a:spcBef>
              <a:spcAft>
                <a:spcPts val="0"/>
              </a:spcAft>
              <a:buClrTx/>
              <a:buSzPct val="100000"/>
              <a:buFontTx/>
              <a:buNone/>
              <a:tabLst/>
              <a:defRPr/>
            </a:pPr>
            <a:r>
              <a:rPr kumimoji="0" lang="en-US" sz="1499" b="0" i="0" u="none" strike="noStrike" kern="1200" cap="none" spc="0" normalizeH="0" baseline="0" noProof="0" dirty="0">
                <a:ln>
                  <a:noFill/>
                </a:ln>
                <a:solidFill>
                  <a:srgbClr val="53565A"/>
                </a:solidFill>
                <a:effectLst/>
                <a:uLnTx/>
                <a:uFillTx/>
                <a:ea typeface="ヒラギノ角ゴ ProN W3" charset="0"/>
                <a:cs typeface="+mn-cs"/>
                <a:sym typeface="Gotham Book" charset="0"/>
              </a:rPr>
              <a:t>Not with the </a:t>
            </a:r>
            <a:br>
              <a:rPr kumimoji="0" lang="en-US" sz="1499" b="0" i="0" u="none" strike="noStrike" kern="1200" cap="none" spc="0" normalizeH="0" baseline="0" noProof="0" dirty="0">
                <a:ln>
                  <a:noFill/>
                </a:ln>
                <a:solidFill>
                  <a:srgbClr val="53565A"/>
                </a:solidFill>
                <a:effectLst/>
                <a:uLnTx/>
                <a:uFillTx/>
                <a:ea typeface="ヒラギノ角ゴ ProN W3" charset="0"/>
                <a:cs typeface="+mn-cs"/>
                <a:sym typeface="Gotham Book" charset="0"/>
              </a:rPr>
            </a:br>
            <a:r>
              <a:rPr kumimoji="0" lang="en-US" sz="1499" b="0" i="0" u="none" strike="noStrike" kern="1200" cap="none" spc="0" normalizeH="0" baseline="0" noProof="0" dirty="0">
                <a:ln>
                  <a:noFill/>
                </a:ln>
                <a:solidFill>
                  <a:srgbClr val="53565A"/>
                </a:solidFill>
                <a:effectLst/>
                <a:uLnTx/>
                <a:uFillTx/>
                <a:ea typeface="ヒラギノ角ゴ ProN W3" charset="0"/>
                <a:cs typeface="+mn-cs"/>
                <a:sym typeface="Gotham Book" charset="0"/>
              </a:rPr>
              <a:t>right processes</a:t>
            </a:r>
          </a:p>
        </p:txBody>
      </p:sp>
      <p:cxnSp>
        <p:nvCxnSpPr>
          <p:cNvPr id="16" name="Straight Connector 15">
            <a:extLst>
              <a:ext uri="{FF2B5EF4-FFF2-40B4-BE49-F238E27FC236}">
                <a16:creationId xmlns:a16="http://schemas.microsoft.com/office/drawing/2014/main" id="{C22F41E7-0100-4045-ADDA-8160B8AF7CC2}"/>
              </a:ext>
            </a:extLst>
          </p:cNvPr>
          <p:cNvCxnSpPr>
            <a:stCxn id="14" idx="2"/>
            <a:endCxn id="15" idx="0"/>
          </p:cNvCxnSpPr>
          <p:nvPr/>
        </p:nvCxnSpPr>
        <p:spPr>
          <a:xfrm>
            <a:off x="7422357" y="3982928"/>
            <a:ext cx="0" cy="1167924"/>
          </a:xfrm>
          <a:prstGeom prst="line">
            <a:avLst/>
          </a:prstGeom>
          <a:ln>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0C1F5DAF-5491-43C6-908A-0FC3712AB87E}"/>
              </a:ext>
            </a:extLst>
          </p:cNvPr>
          <p:cNvSpPr/>
          <p:nvPr/>
        </p:nvSpPr>
        <p:spPr bwMode="gray">
          <a:xfrm>
            <a:off x="7208124" y="2564513"/>
            <a:ext cx="428465" cy="428465"/>
          </a:xfrm>
          <a:prstGeom prst="ellipse">
            <a:avLst/>
          </a:prstGeom>
          <a:noFill/>
          <a:ln w="38100" algn="ctr">
            <a:solidFill>
              <a:schemeClr val="bg1"/>
            </a:solidFill>
            <a:miter lim="800000"/>
            <a:headEnd/>
            <a:tailEnd/>
          </a:ln>
        </p:spPr>
        <p:txBody>
          <a:bodyPr wrap="square" lIns="0" tIns="0" rIns="0" bIns="0" rtlCol="0" anchor="ctr"/>
          <a:lstStyle/>
          <a:p>
            <a:pPr marL="0" marR="0" lvl="0" indent="0" algn="ctr" defTabSz="1142609" rtl="0" eaLnBrk="1" fontAlgn="auto" latinLnBrk="0" hangingPunct="1">
              <a:lnSpc>
                <a:spcPct val="106000"/>
              </a:lnSpc>
              <a:spcBef>
                <a:spcPts val="0"/>
              </a:spcBef>
              <a:spcAft>
                <a:spcPts val="0"/>
              </a:spcAft>
              <a:buClrTx/>
              <a:buSzTx/>
              <a:buFontTx/>
              <a:buNone/>
              <a:tabLst/>
              <a:defRPr/>
            </a:pPr>
            <a:r>
              <a:rPr kumimoji="0" lang="en-US" sz="2249" b="1" i="0" u="none" strike="noStrike" kern="1200" cap="none" spc="0" normalizeH="0" baseline="0" noProof="0" dirty="0">
                <a:ln>
                  <a:noFill/>
                </a:ln>
                <a:solidFill>
                  <a:prstClr val="white"/>
                </a:solidFill>
                <a:effectLst/>
                <a:uLnTx/>
                <a:uFillTx/>
                <a:ea typeface="Open Sans Extrabold" panose="020B0906030804020204" pitchFamily="34" charset="0"/>
                <a:cs typeface="Open Sans Extrabold" panose="020B0906030804020204" pitchFamily="34" charset="0"/>
                <a:sym typeface="Gotham Book" charset="0"/>
              </a:rPr>
              <a:t>3</a:t>
            </a:r>
          </a:p>
        </p:txBody>
      </p:sp>
      <p:sp>
        <p:nvSpPr>
          <p:cNvPr id="18" name="TextBox 17">
            <a:extLst>
              <a:ext uri="{FF2B5EF4-FFF2-40B4-BE49-F238E27FC236}">
                <a16:creationId xmlns:a16="http://schemas.microsoft.com/office/drawing/2014/main" id="{552481B3-A64D-4B7D-812D-C812F4E0F9A9}"/>
              </a:ext>
            </a:extLst>
          </p:cNvPr>
          <p:cNvSpPr txBox="1"/>
          <p:nvPr/>
        </p:nvSpPr>
        <p:spPr>
          <a:xfrm>
            <a:off x="9089597" y="3290624"/>
            <a:ext cx="1970937" cy="692304"/>
          </a:xfrm>
          <a:prstGeom prst="rect">
            <a:avLst/>
          </a:prstGeom>
          <a:noFill/>
        </p:spPr>
        <p:txBody>
          <a:bodyPr vert="horz" wrap="square" lIns="0" tIns="85693" rIns="0" bIns="85693" rtlCol="0">
            <a:spAutoFit/>
          </a:bodyPr>
          <a:lstStyle/>
          <a:p>
            <a:pPr marL="0" marR="0" lvl="0" indent="0" algn="ctr" defTabSz="1142609" rtl="0" eaLnBrk="1" fontAlgn="auto" latinLnBrk="0" hangingPunct="1">
              <a:lnSpc>
                <a:spcPct val="100000"/>
              </a:lnSpc>
              <a:spcBef>
                <a:spcPts val="187"/>
              </a:spcBef>
              <a:spcAft>
                <a:spcPts val="0"/>
              </a:spcAft>
              <a:buClrTx/>
              <a:buSzPct val="100000"/>
              <a:buFontTx/>
              <a:buNone/>
              <a:tabLst/>
              <a:defRPr/>
            </a:pPr>
            <a:r>
              <a:rPr kumimoji="0" lang="en-US" sz="1687" b="1" i="0" u="none" strike="noStrike" kern="1200" cap="none" spc="0" normalizeH="0" baseline="0" noProof="0" dirty="0">
                <a:ln>
                  <a:noFill/>
                </a:ln>
                <a:solidFill>
                  <a:prstClr val="white"/>
                </a:solidFill>
                <a:effectLst/>
                <a:uLnTx/>
                <a:uFillTx/>
                <a:ea typeface="ヒラギノ角ゴ ProN W3" charset="0"/>
                <a:cs typeface="+mn-cs"/>
                <a:sym typeface="Gotham Book" charset="0"/>
              </a:rPr>
              <a:t>It’s not for the Enterprise</a:t>
            </a:r>
          </a:p>
        </p:txBody>
      </p:sp>
      <p:sp>
        <p:nvSpPr>
          <p:cNvPr id="19" name="TextBox 18">
            <a:extLst>
              <a:ext uri="{FF2B5EF4-FFF2-40B4-BE49-F238E27FC236}">
                <a16:creationId xmlns:a16="http://schemas.microsoft.com/office/drawing/2014/main" id="{3447C704-4CD0-48BD-9243-E6674772FDD3}"/>
              </a:ext>
            </a:extLst>
          </p:cNvPr>
          <p:cNvSpPr txBox="1"/>
          <p:nvPr/>
        </p:nvSpPr>
        <p:spPr>
          <a:xfrm>
            <a:off x="9089597" y="5150852"/>
            <a:ext cx="1970937" cy="634468"/>
          </a:xfrm>
          <a:prstGeom prst="rect">
            <a:avLst/>
          </a:prstGeom>
          <a:noFill/>
        </p:spPr>
        <p:txBody>
          <a:bodyPr vert="horz" wrap="square" lIns="0" tIns="85693" rIns="0" bIns="85693" rtlCol="0">
            <a:spAutoFit/>
          </a:bodyPr>
          <a:lstStyle/>
          <a:p>
            <a:pPr marL="0" marR="0" lvl="0" indent="0" algn="ctr" defTabSz="1142609" rtl="0" eaLnBrk="1" fontAlgn="auto" latinLnBrk="0" hangingPunct="1">
              <a:lnSpc>
                <a:spcPct val="100000"/>
              </a:lnSpc>
              <a:spcBef>
                <a:spcPts val="187"/>
              </a:spcBef>
              <a:spcAft>
                <a:spcPts val="0"/>
              </a:spcAft>
              <a:buClrTx/>
              <a:buSzPct val="100000"/>
              <a:buFontTx/>
              <a:buNone/>
              <a:tabLst/>
              <a:defRPr/>
            </a:pPr>
            <a:r>
              <a:rPr kumimoji="0" lang="en-US" sz="1499" b="0" i="0" u="none" strike="noStrike" kern="1200" cap="none" spc="0" normalizeH="0" baseline="0" noProof="0" dirty="0">
                <a:ln>
                  <a:noFill/>
                </a:ln>
                <a:solidFill>
                  <a:srgbClr val="53565A"/>
                </a:solidFill>
                <a:effectLst/>
                <a:uLnTx/>
                <a:uFillTx/>
                <a:ea typeface="ヒラギノ角ゴ ProN W3" charset="0"/>
                <a:cs typeface="+mn-cs"/>
                <a:sym typeface="Gotham Book" charset="0"/>
              </a:rPr>
              <a:t>Many already </a:t>
            </a:r>
            <a:br>
              <a:rPr kumimoji="0" lang="en-US" sz="1499" b="0" i="0" u="none" strike="noStrike" kern="1200" cap="none" spc="0" normalizeH="0" baseline="0" noProof="0" dirty="0">
                <a:ln>
                  <a:noFill/>
                </a:ln>
                <a:solidFill>
                  <a:srgbClr val="53565A"/>
                </a:solidFill>
                <a:effectLst/>
                <a:uLnTx/>
                <a:uFillTx/>
                <a:ea typeface="ヒラギノ角ゴ ProN W3" charset="0"/>
                <a:cs typeface="+mn-cs"/>
                <a:sym typeface="Gotham Book" charset="0"/>
              </a:rPr>
            </a:br>
            <a:r>
              <a:rPr kumimoji="0" lang="en-US" sz="1499" b="0" i="0" u="none" strike="noStrike" kern="1200" cap="none" spc="0" normalizeH="0" baseline="0" noProof="0" dirty="0">
                <a:ln>
                  <a:noFill/>
                </a:ln>
                <a:solidFill>
                  <a:srgbClr val="53565A"/>
                </a:solidFill>
                <a:effectLst/>
                <a:uLnTx/>
                <a:uFillTx/>
                <a:ea typeface="ヒラギノ角ゴ ProN W3" charset="0"/>
                <a:cs typeface="+mn-cs"/>
                <a:sym typeface="Gotham Book" charset="0"/>
              </a:rPr>
              <a:t>use it</a:t>
            </a:r>
          </a:p>
        </p:txBody>
      </p:sp>
      <p:cxnSp>
        <p:nvCxnSpPr>
          <p:cNvPr id="20" name="Straight Connector 19">
            <a:extLst>
              <a:ext uri="{FF2B5EF4-FFF2-40B4-BE49-F238E27FC236}">
                <a16:creationId xmlns:a16="http://schemas.microsoft.com/office/drawing/2014/main" id="{E9099A64-8334-4F70-8D1A-BB88AADBDE2D}"/>
              </a:ext>
            </a:extLst>
          </p:cNvPr>
          <p:cNvCxnSpPr>
            <a:stCxn id="18" idx="2"/>
            <a:endCxn id="19" idx="0"/>
          </p:cNvCxnSpPr>
          <p:nvPr/>
        </p:nvCxnSpPr>
        <p:spPr>
          <a:xfrm>
            <a:off x="10075066" y="3982928"/>
            <a:ext cx="0" cy="1167924"/>
          </a:xfrm>
          <a:prstGeom prst="line">
            <a:avLst/>
          </a:prstGeom>
          <a:ln>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5723035A-29A3-43E4-B9FA-B8F6D381C6E5}"/>
              </a:ext>
            </a:extLst>
          </p:cNvPr>
          <p:cNvSpPr/>
          <p:nvPr/>
        </p:nvSpPr>
        <p:spPr bwMode="gray">
          <a:xfrm>
            <a:off x="9860833" y="2564513"/>
            <a:ext cx="428465" cy="428465"/>
          </a:xfrm>
          <a:prstGeom prst="ellipse">
            <a:avLst/>
          </a:prstGeom>
          <a:noFill/>
          <a:ln w="38100" algn="ctr">
            <a:solidFill>
              <a:schemeClr val="bg1"/>
            </a:solidFill>
            <a:miter lim="800000"/>
            <a:headEnd/>
            <a:tailEnd/>
          </a:ln>
        </p:spPr>
        <p:txBody>
          <a:bodyPr wrap="square" lIns="0" tIns="0" rIns="0" bIns="0" rtlCol="0" anchor="ctr"/>
          <a:lstStyle/>
          <a:p>
            <a:pPr marL="0" marR="0" lvl="0" indent="0" algn="ctr" defTabSz="1142609" rtl="0" eaLnBrk="1" fontAlgn="auto" latinLnBrk="0" hangingPunct="1">
              <a:lnSpc>
                <a:spcPct val="106000"/>
              </a:lnSpc>
              <a:spcBef>
                <a:spcPts val="0"/>
              </a:spcBef>
              <a:spcAft>
                <a:spcPts val="0"/>
              </a:spcAft>
              <a:buClrTx/>
              <a:buSzTx/>
              <a:buFontTx/>
              <a:buNone/>
              <a:tabLst/>
              <a:defRPr/>
            </a:pPr>
            <a:r>
              <a:rPr kumimoji="0" lang="en-US" sz="2249" b="1" i="0" u="none" strike="noStrike" kern="1200" cap="none" spc="0" normalizeH="0" baseline="0" noProof="0" dirty="0">
                <a:ln>
                  <a:noFill/>
                </a:ln>
                <a:solidFill>
                  <a:prstClr val="white"/>
                </a:solidFill>
                <a:effectLst/>
                <a:uLnTx/>
                <a:uFillTx/>
                <a:ea typeface="Open Sans Extrabold" panose="020B0906030804020204" pitchFamily="34" charset="0"/>
                <a:cs typeface="Open Sans Extrabold" panose="020B0906030804020204" pitchFamily="34" charset="0"/>
                <a:sym typeface="Gotham Book" charset="0"/>
              </a:rPr>
              <a:t>4</a:t>
            </a:r>
          </a:p>
        </p:txBody>
      </p:sp>
    </p:spTree>
    <p:extLst>
      <p:ext uri="{BB962C8B-B14F-4D97-AF65-F5344CB8AC3E}">
        <p14:creationId xmlns:p14="http://schemas.microsoft.com/office/powerpoint/2010/main" val="283851007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D97002-9789-4C37-A9CC-6B11437C8FD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0" name="think-cell Slide" r:id="rId6" imgW="415" imgH="416" progId="TCLayout.ActiveDocument.1">
                  <p:embed/>
                </p:oleObj>
              </mc:Choice>
              <mc:Fallback>
                <p:oleObj name="think-cell Slide" r:id="rId6" imgW="415" imgH="416" progId="TCLayout.ActiveDocument.1">
                  <p:embed/>
                  <p:pic>
                    <p:nvPicPr>
                      <p:cNvPr id="5" name="Object 4" hidden="1">
                        <a:extLst>
                          <a:ext uri="{FF2B5EF4-FFF2-40B4-BE49-F238E27FC236}">
                            <a16:creationId xmlns:a16="http://schemas.microsoft.com/office/drawing/2014/main" id="{B6D97002-9789-4C37-A9CC-6B11437C8FD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BC3A2CE-2FB1-42EB-847E-7D463C580E7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20BAB8EF-6C62-445B-8017-FE6D3898359A}"/>
              </a:ext>
            </a:extLst>
          </p:cNvPr>
          <p:cNvSpPr>
            <a:spLocks noGrp="1"/>
          </p:cNvSpPr>
          <p:nvPr>
            <p:ph type="title"/>
          </p:nvPr>
        </p:nvSpPr>
        <p:spPr/>
        <p:txBody>
          <a:bodyPr anchor="b"/>
          <a:lstStyle/>
          <a:p>
            <a:r>
              <a:rPr lang="en-US" dirty="0"/>
              <a:t>Portfolio core principles:</a:t>
            </a:r>
          </a:p>
        </p:txBody>
      </p:sp>
      <p:sp>
        <p:nvSpPr>
          <p:cNvPr id="3" name="Text Placeholder 2">
            <a:extLst>
              <a:ext uri="{FF2B5EF4-FFF2-40B4-BE49-F238E27FC236}">
                <a16:creationId xmlns:a16="http://schemas.microsoft.com/office/drawing/2014/main" id="{71316657-D014-40BD-9AD8-6F9745FC225C}"/>
              </a:ext>
            </a:extLst>
          </p:cNvPr>
          <p:cNvSpPr>
            <a:spLocks noGrp="1"/>
          </p:cNvSpPr>
          <p:nvPr>
            <p:ph type="body" sz="quarter" idx="14"/>
          </p:nvPr>
        </p:nvSpPr>
        <p:spPr/>
        <p:txBody>
          <a:bodyPr/>
          <a:lstStyle/>
          <a:p>
            <a:r>
              <a:rPr lang="en-US" dirty="0"/>
              <a:t>Subheader</a:t>
            </a:r>
          </a:p>
        </p:txBody>
      </p:sp>
      <p:sp>
        <p:nvSpPr>
          <p:cNvPr id="6" name="Text Placeholder 5">
            <a:extLst>
              <a:ext uri="{FF2B5EF4-FFF2-40B4-BE49-F238E27FC236}">
                <a16:creationId xmlns:a16="http://schemas.microsoft.com/office/drawing/2014/main" id="{6AA88BCC-ED99-46EE-AA67-2707E10EFB1B}"/>
              </a:ext>
            </a:extLst>
          </p:cNvPr>
          <p:cNvSpPr>
            <a:spLocks noGrp="1"/>
          </p:cNvSpPr>
          <p:nvPr>
            <p:ph type="body" sz="quarter" idx="15"/>
          </p:nvPr>
        </p:nvSpPr>
        <p:spPr/>
        <p:txBody>
          <a:bodyPr/>
          <a:lstStyle/>
          <a:p>
            <a:r>
              <a:rPr lang="en-US" dirty="0"/>
              <a:t>text</a:t>
            </a:r>
          </a:p>
        </p:txBody>
      </p:sp>
      <p:sp>
        <p:nvSpPr>
          <p:cNvPr id="18" name="Rectangle 17">
            <a:extLst>
              <a:ext uri="{FF2B5EF4-FFF2-40B4-BE49-F238E27FC236}">
                <a16:creationId xmlns:a16="http://schemas.microsoft.com/office/drawing/2014/main" id="{D5075D41-56B7-4D71-AE73-F92D48FD22C0}"/>
              </a:ext>
            </a:extLst>
          </p:cNvPr>
          <p:cNvSpPr/>
          <p:nvPr/>
        </p:nvSpPr>
        <p:spPr>
          <a:xfrm>
            <a:off x="914400" y="2731801"/>
            <a:ext cx="2270633" cy="573490"/>
          </a:xfrm>
          <a:prstGeom prst="rect">
            <a:avLst/>
          </a:prstGeom>
          <a:noFill/>
        </p:spPr>
        <p:txBody>
          <a:bodyPr wrap="square" lIns="0" tIns="0" rIns="0" bIns="0">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mmitted Leadership</a:t>
            </a:r>
          </a:p>
        </p:txBody>
      </p:sp>
      <p:sp>
        <p:nvSpPr>
          <p:cNvPr id="19" name="Rectangle 18">
            <a:extLst>
              <a:ext uri="{FF2B5EF4-FFF2-40B4-BE49-F238E27FC236}">
                <a16:creationId xmlns:a16="http://schemas.microsoft.com/office/drawing/2014/main" id="{753DD34C-446A-4992-8CDF-A7596BC5962A}"/>
              </a:ext>
            </a:extLst>
          </p:cNvPr>
          <p:cNvSpPr/>
          <p:nvPr/>
        </p:nvSpPr>
        <p:spPr>
          <a:xfrm>
            <a:off x="4609978" y="2731802"/>
            <a:ext cx="2629021" cy="587212"/>
          </a:xfrm>
          <a:prstGeom prst="rect">
            <a:avLst/>
          </a:prstGeom>
          <a:noFill/>
        </p:spPr>
        <p:txBody>
          <a:bodyPr wrap="square" lIns="0" tIns="0" rIns="0" bIns="0">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arket Opportunity and Traction</a:t>
            </a:r>
          </a:p>
        </p:txBody>
      </p:sp>
      <p:sp>
        <p:nvSpPr>
          <p:cNvPr id="20" name="Rectangle 19">
            <a:extLst>
              <a:ext uri="{FF2B5EF4-FFF2-40B4-BE49-F238E27FC236}">
                <a16:creationId xmlns:a16="http://schemas.microsoft.com/office/drawing/2014/main" id="{B253DDA9-54F0-4267-A4D3-15EFD22BA2ED}"/>
              </a:ext>
            </a:extLst>
          </p:cNvPr>
          <p:cNvSpPr/>
          <p:nvPr/>
        </p:nvSpPr>
        <p:spPr>
          <a:xfrm>
            <a:off x="8336945" y="2731802"/>
            <a:ext cx="2077055" cy="587212"/>
          </a:xfrm>
          <a:prstGeom prst="rect">
            <a:avLst/>
          </a:prstGeom>
          <a:noFill/>
        </p:spPr>
        <p:txBody>
          <a:bodyPr wrap="square" lIns="0" tIns="0" rIns="0" bIns="0">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lear Path to Repeatable Value</a:t>
            </a:r>
          </a:p>
        </p:txBody>
      </p:sp>
      <p:cxnSp>
        <p:nvCxnSpPr>
          <p:cNvPr id="21" name="Straight Connector 20">
            <a:extLst>
              <a:ext uri="{FF2B5EF4-FFF2-40B4-BE49-F238E27FC236}">
                <a16:creationId xmlns:a16="http://schemas.microsoft.com/office/drawing/2014/main" id="{D0CA646C-AA7C-4E22-8176-E9042A98D376}"/>
              </a:ext>
            </a:extLst>
          </p:cNvPr>
          <p:cNvCxnSpPr/>
          <p:nvPr/>
        </p:nvCxnSpPr>
        <p:spPr>
          <a:xfrm>
            <a:off x="914400" y="3488521"/>
            <a:ext cx="3415029"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F2F3119B-5708-43DF-9051-A7E2EC8A22EE}"/>
              </a:ext>
            </a:extLst>
          </p:cNvPr>
          <p:cNvCxnSpPr/>
          <p:nvPr/>
        </p:nvCxnSpPr>
        <p:spPr>
          <a:xfrm>
            <a:off x="4609978" y="3488521"/>
            <a:ext cx="3415029"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Oval 22">
            <a:extLst>
              <a:ext uri="{FF2B5EF4-FFF2-40B4-BE49-F238E27FC236}">
                <a16:creationId xmlns:a16="http://schemas.microsoft.com/office/drawing/2014/main" id="{18B8F75C-DDC4-47A4-9B1B-3EE3B5E1D6CF}"/>
              </a:ext>
            </a:extLst>
          </p:cNvPr>
          <p:cNvSpPr/>
          <p:nvPr/>
        </p:nvSpPr>
        <p:spPr>
          <a:xfrm>
            <a:off x="927848" y="1798049"/>
            <a:ext cx="641433" cy="641433"/>
          </a:xfrm>
          <a:prstGeom prst="ellipse">
            <a:avLst/>
          </a:prstGeom>
          <a:solidFill>
            <a:schemeClr val="bg1"/>
          </a:solidFill>
          <a:ln w="349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0000"/>
                </a:solidFill>
                <a:effectLst/>
                <a:uLnTx/>
                <a:uFillTx/>
                <a:latin typeface="Chronicle Display Black"/>
                <a:ea typeface="+mn-ea"/>
                <a:cs typeface="Chronicle Text G4" pitchFamily="2" charset="0"/>
              </a:rPr>
              <a:t>1</a:t>
            </a:r>
          </a:p>
        </p:txBody>
      </p:sp>
      <p:sp>
        <p:nvSpPr>
          <p:cNvPr id="24" name="Oval 23">
            <a:extLst>
              <a:ext uri="{FF2B5EF4-FFF2-40B4-BE49-F238E27FC236}">
                <a16:creationId xmlns:a16="http://schemas.microsoft.com/office/drawing/2014/main" id="{1A7B57D5-794A-48B4-B44C-EED7C2F3E676}"/>
              </a:ext>
            </a:extLst>
          </p:cNvPr>
          <p:cNvSpPr/>
          <p:nvPr/>
        </p:nvSpPr>
        <p:spPr>
          <a:xfrm>
            <a:off x="4623426" y="1798049"/>
            <a:ext cx="641433" cy="641433"/>
          </a:xfrm>
          <a:prstGeom prst="ellipse">
            <a:avLst/>
          </a:prstGeom>
          <a:solidFill>
            <a:schemeClr val="bg1"/>
          </a:solidFill>
          <a:ln w="349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0000"/>
                </a:solidFill>
                <a:effectLst/>
                <a:uLnTx/>
                <a:uFillTx/>
                <a:latin typeface="Chronicle Display Black"/>
                <a:ea typeface="+mn-ea"/>
                <a:cs typeface="Chronicle Text G4" pitchFamily="2" charset="0"/>
              </a:rPr>
              <a:t>2</a:t>
            </a:r>
          </a:p>
        </p:txBody>
      </p:sp>
      <p:sp>
        <p:nvSpPr>
          <p:cNvPr id="25" name="Oval 24">
            <a:extLst>
              <a:ext uri="{FF2B5EF4-FFF2-40B4-BE49-F238E27FC236}">
                <a16:creationId xmlns:a16="http://schemas.microsoft.com/office/drawing/2014/main" id="{6AF8A8D1-BF6C-488D-AD28-EF855B8A9597}"/>
              </a:ext>
            </a:extLst>
          </p:cNvPr>
          <p:cNvSpPr/>
          <p:nvPr/>
        </p:nvSpPr>
        <p:spPr>
          <a:xfrm>
            <a:off x="8350393" y="1798049"/>
            <a:ext cx="641433" cy="641433"/>
          </a:xfrm>
          <a:prstGeom prst="ellipse">
            <a:avLst/>
          </a:prstGeom>
          <a:solidFill>
            <a:schemeClr val="bg1"/>
          </a:solidFill>
          <a:ln w="349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0000"/>
                </a:solidFill>
                <a:effectLst/>
                <a:uLnTx/>
                <a:uFillTx/>
                <a:latin typeface="Chronicle Display Black"/>
                <a:ea typeface="+mn-ea"/>
                <a:cs typeface="Chronicle Text G4" pitchFamily="2" charset="0"/>
              </a:rPr>
              <a:t>3</a:t>
            </a:r>
          </a:p>
        </p:txBody>
      </p:sp>
      <p:sp>
        <p:nvSpPr>
          <p:cNvPr id="26" name="Rectangle 25">
            <a:extLst>
              <a:ext uri="{FF2B5EF4-FFF2-40B4-BE49-F238E27FC236}">
                <a16:creationId xmlns:a16="http://schemas.microsoft.com/office/drawing/2014/main" id="{1059DBDF-962B-48D0-8AAA-AC8FE4EFEC46}"/>
              </a:ext>
            </a:extLst>
          </p:cNvPr>
          <p:cNvSpPr/>
          <p:nvPr/>
        </p:nvSpPr>
        <p:spPr>
          <a:xfrm>
            <a:off x="914400" y="3642051"/>
            <a:ext cx="3415029" cy="664797"/>
          </a:xfrm>
          <a:prstGeom prst="rect">
            <a:avLst/>
          </a:prstGeom>
        </p:spPr>
        <p:txBody>
          <a:bodyPr vert="horz" lIns="0" tIns="0" rIns="0" bIns="0" rtlCol="0">
            <a:noAutofit/>
          </a:bodyPr>
          <a:lstStyle/>
          <a:p>
            <a:pPr marL="0" marR="0" lvl="0" indent="0" algn="l" defTabSz="914400" rtl="0" eaLnBrk="1" fontAlgn="auto" latinLnBrk="0" hangingPunct="1">
              <a:lnSpc>
                <a:spcPct val="130000"/>
              </a:lnSpc>
              <a:spcBef>
                <a:spcPts val="1000"/>
              </a:spcBef>
              <a:spcAft>
                <a:spcPts val="0"/>
              </a:spcAft>
              <a:buClr>
                <a:srgbClr val="787878"/>
              </a:buClr>
              <a:buSzPct val="75000"/>
              <a:buFontTx/>
              <a:buNone/>
              <a:tabLst/>
              <a:defRPr/>
            </a:pPr>
            <a:r>
              <a:rPr kumimoji="0" lang="en-US" sz="1400" b="0" i="0" u="none" strike="noStrike" kern="1200" cap="none" spc="-30" normalizeH="0" baseline="0" noProof="0" dirty="0">
                <a:ln>
                  <a:noFill/>
                </a:ln>
                <a:solidFill>
                  <a:srgbClr val="000000"/>
                </a:solidFill>
                <a:effectLst/>
                <a:uLnTx/>
                <a:uFillTx/>
                <a:latin typeface="Open Sans"/>
                <a:ea typeface="Open Sans" charset="0"/>
                <a:cs typeface="Open Sans" charset="0"/>
              </a:rPr>
              <a:t>Successful XYZ’s require people who own buyer relationships in relevant markets who can create compelling and defensible IP that our clients are willing to pay for. Accountability for success must be owned by the </a:t>
            </a:r>
            <a:r>
              <a:rPr lang="en-US" sz="1400" spc="-30" dirty="0">
                <a:solidFill>
                  <a:srgbClr val="000000"/>
                </a:solidFill>
                <a:latin typeface="Open Sans"/>
                <a:ea typeface="Open Sans" charset="0"/>
                <a:cs typeface="Open Sans" charset="0"/>
              </a:rPr>
              <a:t>people </a:t>
            </a:r>
            <a:r>
              <a:rPr kumimoji="0" lang="en-US" sz="1400" b="0" i="0" u="none" strike="noStrike" kern="1200" cap="none" spc="-30" normalizeH="0" baseline="0" noProof="0" dirty="0">
                <a:ln>
                  <a:noFill/>
                </a:ln>
                <a:solidFill>
                  <a:srgbClr val="000000"/>
                </a:solidFill>
                <a:effectLst/>
                <a:uLnTx/>
                <a:uFillTx/>
                <a:latin typeface="Open Sans"/>
                <a:ea typeface="Open Sans" charset="0"/>
                <a:cs typeface="Open Sans" charset="0"/>
              </a:rPr>
              <a:t>and be supported by the industries and markets they serve</a:t>
            </a:r>
          </a:p>
        </p:txBody>
      </p:sp>
      <p:sp>
        <p:nvSpPr>
          <p:cNvPr id="27" name="Rectangle 26">
            <a:extLst>
              <a:ext uri="{FF2B5EF4-FFF2-40B4-BE49-F238E27FC236}">
                <a16:creationId xmlns:a16="http://schemas.microsoft.com/office/drawing/2014/main" id="{347D4AE4-AA18-4D80-A78F-C39C3A4F607B}"/>
              </a:ext>
            </a:extLst>
          </p:cNvPr>
          <p:cNvSpPr/>
          <p:nvPr/>
        </p:nvSpPr>
        <p:spPr>
          <a:xfrm>
            <a:off x="4609978" y="3642051"/>
            <a:ext cx="3415028" cy="664797"/>
          </a:xfrm>
          <a:prstGeom prst="rect">
            <a:avLst/>
          </a:prstGeom>
        </p:spPr>
        <p:txBody>
          <a:bodyPr vert="horz" lIns="0" tIns="0" rIns="0" bIns="0" rtlCol="0">
            <a:noAutofit/>
          </a:bodyPr>
          <a:lstStyle/>
          <a:p>
            <a:pPr marL="0" marR="0" lvl="0" indent="0" algn="l" defTabSz="914400" rtl="0" eaLnBrk="1" fontAlgn="auto" latinLnBrk="0" hangingPunct="1">
              <a:lnSpc>
                <a:spcPct val="130000"/>
              </a:lnSpc>
              <a:spcBef>
                <a:spcPts val="1000"/>
              </a:spcBef>
              <a:spcAft>
                <a:spcPts val="0"/>
              </a:spcAft>
              <a:buClr>
                <a:srgbClr val="787878"/>
              </a:buClr>
              <a:buSzPct val="75000"/>
              <a:buFontTx/>
              <a:buNone/>
              <a:tabLst/>
              <a:defRPr/>
            </a:pPr>
            <a:r>
              <a:rPr lang="en-US" sz="1400" spc="-30" dirty="0">
                <a:solidFill>
                  <a:srgbClr val="000000"/>
                </a:solidFill>
                <a:latin typeface="Open Sans"/>
                <a:ea typeface="Open Sans" charset="0"/>
                <a:cs typeface="Open Sans" charset="0"/>
              </a:rPr>
              <a:t>D</a:t>
            </a:r>
            <a:r>
              <a:rPr kumimoji="0" lang="en-US" sz="1400" b="0" i="0" u="none" strike="noStrike" kern="1200" cap="none" spc="-30" normalizeH="0" baseline="0" noProof="0" dirty="0" err="1">
                <a:ln>
                  <a:noFill/>
                </a:ln>
                <a:solidFill>
                  <a:srgbClr val="000000"/>
                </a:solidFill>
                <a:effectLst/>
                <a:uLnTx/>
                <a:uFillTx/>
                <a:latin typeface="Open Sans"/>
                <a:ea typeface="Open Sans" charset="0"/>
                <a:cs typeface="Open Sans" charset="0"/>
              </a:rPr>
              <a:t>evelopment</a:t>
            </a:r>
            <a:r>
              <a:rPr kumimoji="0" lang="en-US" sz="1400" b="0" i="0" u="none" strike="noStrike" kern="1200" cap="none" spc="-30" normalizeH="0" baseline="0" noProof="0" dirty="0">
                <a:ln>
                  <a:noFill/>
                </a:ln>
                <a:solidFill>
                  <a:srgbClr val="000000"/>
                </a:solidFill>
                <a:effectLst/>
                <a:uLnTx/>
                <a:uFillTx/>
                <a:latin typeface="Open Sans"/>
                <a:ea typeface="Open Sans" charset="0"/>
                <a:cs typeface="Open Sans" charset="0"/>
              </a:rPr>
              <a:t> requires a deep, market-driven understanding of operational use cases. The roadmap and investment required to mature from an idea to market-ready should be informed by a strong understanding of broad-based client demand and be paced according to demonstrated market traction and value</a:t>
            </a:r>
          </a:p>
        </p:txBody>
      </p:sp>
      <p:sp>
        <p:nvSpPr>
          <p:cNvPr id="28" name="Rectangle 27">
            <a:extLst>
              <a:ext uri="{FF2B5EF4-FFF2-40B4-BE49-F238E27FC236}">
                <a16:creationId xmlns:a16="http://schemas.microsoft.com/office/drawing/2014/main" id="{73E9173A-25C7-441F-8240-4F556D4EF40B}"/>
              </a:ext>
            </a:extLst>
          </p:cNvPr>
          <p:cNvSpPr/>
          <p:nvPr/>
        </p:nvSpPr>
        <p:spPr>
          <a:xfrm>
            <a:off x="8336945" y="3642051"/>
            <a:ext cx="3415029" cy="664797"/>
          </a:xfrm>
          <a:prstGeom prst="rect">
            <a:avLst/>
          </a:prstGeom>
        </p:spPr>
        <p:txBody>
          <a:bodyPr vert="horz" lIns="0" tIns="0" rIns="0" bIns="0" rtlCol="0">
            <a:noAutofit/>
          </a:bodyPr>
          <a:lstStyle/>
          <a:p>
            <a:pPr marL="0" marR="0" lvl="0" indent="0" algn="l" defTabSz="914400" rtl="0" eaLnBrk="1" fontAlgn="auto" latinLnBrk="0" hangingPunct="1">
              <a:lnSpc>
                <a:spcPct val="130000"/>
              </a:lnSpc>
              <a:spcBef>
                <a:spcPts val="1000"/>
              </a:spcBef>
              <a:spcAft>
                <a:spcPts val="0"/>
              </a:spcAft>
              <a:buClr>
                <a:srgbClr val="787878"/>
              </a:buClr>
              <a:buSzPct val="75000"/>
              <a:buFontTx/>
              <a:buNone/>
              <a:tabLst/>
              <a:defRPr/>
            </a:pPr>
            <a:r>
              <a:rPr lang="en-US" sz="1400" spc="-30" dirty="0">
                <a:solidFill>
                  <a:srgbClr val="000000"/>
                </a:solidFill>
                <a:latin typeface="Open Sans"/>
                <a:ea typeface="Open Sans" charset="0"/>
                <a:cs typeface="Open Sans" charset="0"/>
              </a:rPr>
              <a:t>C</a:t>
            </a:r>
            <a:r>
              <a:rPr kumimoji="0" lang="en-US" sz="1400" b="0" i="0" u="none" strike="noStrike" kern="1200" cap="none" spc="-30" normalizeH="0" baseline="0" noProof="0" dirty="0" err="1">
                <a:ln>
                  <a:noFill/>
                </a:ln>
                <a:solidFill>
                  <a:srgbClr val="000000"/>
                </a:solidFill>
                <a:effectLst/>
                <a:uLnTx/>
                <a:uFillTx/>
                <a:latin typeface="Open Sans"/>
                <a:ea typeface="Open Sans" charset="0"/>
                <a:cs typeface="Open Sans" charset="0"/>
              </a:rPr>
              <a:t>ommitments</a:t>
            </a:r>
            <a:r>
              <a:rPr kumimoji="0" lang="en-US" sz="1400" b="0" i="0" u="none" strike="noStrike" kern="1200" cap="none" spc="-30" normalizeH="0" baseline="0" noProof="0" dirty="0">
                <a:ln>
                  <a:noFill/>
                </a:ln>
                <a:solidFill>
                  <a:srgbClr val="000000"/>
                </a:solidFill>
                <a:effectLst/>
                <a:uLnTx/>
                <a:uFillTx/>
                <a:latin typeface="Open Sans"/>
                <a:ea typeface="Open Sans" charset="0"/>
                <a:cs typeface="Open Sans" charset="0"/>
              </a:rPr>
              <a:t> must balance client specificity with repeatability to avoid building point solutions. The literacy, sales, delivery, and sustainment models should be established up front to allow the network time to build a mature pipeline in the market place</a:t>
            </a:r>
          </a:p>
        </p:txBody>
      </p:sp>
      <p:cxnSp>
        <p:nvCxnSpPr>
          <p:cNvPr id="29" name="Straight Connector 28">
            <a:extLst>
              <a:ext uri="{FF2B5EF4-FFF2-40B4-BE49-F238E27FC236}">
                <a16:creationId xmlns:a16="http://schemas.microsoft.com/office/drawing/2014/main" id="{E028D02E-5568-4A58-8FA9-15343E87D26F}"/>
              </a:ext>
            </a:extLst>
          </p:cNvPr>
          <p:cNvCxnSpPr/>
          <p:nvPr/>
        </p:nvCxnSpPr>
        <p:spPr>
          <a:xfrm>
            <a:off x="8336945" y="3488521"/>
            <a:ext cx="3415029"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970171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19E923F-56A6-43D6-82B1-A7E84F0A017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8" name="think-cell Slide" r:id="rId6" imgW="415" imgH="416" progId="TCLayout.ActiveDocument.1">
                  <p:embed/>
                </p:oleObj>
              </mc:Choice>
              <mc:Fallback>
                <p:oleObj name="think-cell Slide" r:id="rId6" imgW="415" imgH="416" progId="TCLayout.ActiveDocument.1">
                  <p:embed/>
                  <p:pic>
                    <p:nvPicPr>
                      <p:cNvPr id="9" name="Object 8" hidden="1">
                        <a:extLst>
                          <a:ext uri="{FF2B5EF4-FFF2-40B4-BE49-F238E27FC236}">
                            <a16:creationId xmlns:a16="http://schemas.microsoft.com/office/drawing/2014/main" id="{419E923F-56A6-43D6-82B1-A7E84F0A017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5F74F831-B565-4735-ACA2-8BD94B5DB36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21B451E0-5C1A-4249-A0FF-D444B48DE1C2}"/>
              </a:ext>
            </a:extLst>
          </p:cNvPr>
          <p:cNvSpPr>
            <a:spLocks noGrp="1"/>
          </p:cNvSpPr>
          <p:nvPr>
            <p:ph type="title"/>
          </p:nvPr>
        </p:nvSpPr>
        <p:spPr/>
        <p:txBody>
          <a:bodyPr anchor="b"/>
          <a:lstStyle/>
          <a:p>
            <a:r>
              <a:rPr lang="en-US" dirty="0"/>
              <a:t>A music service and the future of mobility</a:t>
            </a:r>
          </a:p>
        </p:txBody>
      </p:sp>
      <p:sp>
        <p:nvSpPr>
          <p:cNvPr id="3" name="Text Placeholder 2">
            <a:extLst>
              <a:ext uri="{FF2B5EF4-FFF2-40B4-BE49-F238E27FC236}">
                <a16:creationId xmlns:a16="http://schemas.microsoft.com/office/drawing/2014/main" id="{8B801E3B-FF8F-46FA-89B0-9025398A64DB}"/>
              </a:ext>
            </a:extLst>
          </p:cNvPr>
          <p:cNvSpPr>
            <a:spLocks noGrp="1"/>
          </p:cNvSpPr>
          <p:nvPr>
            <p:ph type="body" sz="quarter" idx="14"/>
          </p:nvPr>
        </p:nvSpPr>
        <p:spPr/>
        <p:txBody>
          <a:bodyPr/>
          <a:lstStyle/>
          <a:p>
            <a:r>
              <a:rPr lang="en-US" spc="0" dirty="0">
                <a:solidFill>
                  <a:prstClr val="black"/>
                </a:solidFill>
              </a:rPr>
              <a:t>As the way we move through the world evolves, a music service must similarly transform its offerings to listeners and advertisers alike to maintain its position as a market leader</a:t>
            </a:r>
          </a:p>
        </p:txBody>
      </p:sp>
      <p:sp>
        <p:nvSpPr>
          <p:cNvPr id="4" name="Text Placeholder 3">
            <a:extLst>
              <a:ext uri="{FF2B5EF4-FFF2-40B4-BE49-F238E27FC236}">
                <a16:creationId xmlns:a16="http://schemas.microsoft.com/office/drawing/2014/main" id="{71B72D97-50C0-4FEC-9F0F-6C8FD03F9501}"/>
              </a:ext>
            </a:extLst>
          </p:cNvPr>
          <p:cNvSpPr>
            <a:spLocks noGrp="1"/>
          </p:cNvSpPr>
          <p:nvPr>
            <p:ph type="body" sz="quarter" idx="15"/>
          </p:nvPr>
        </p:nvSpPr>
        <p:spPr/>
        <p:txBody>
          <a:bodyPr/>
          <a:lstStyle/>
          <a:p>
            <a:r>
              <a:rPr lang="en-US" dirty="0"/>
              <a:t>text</a:t>
            </a:r>
          </a:p>
        </p:txBody>
      </p:sp>
      <p:sp>
        <p:nvSpPr>
          <p:cNvPr id="10" name="Rectangle 9">
            <a:extLst>
              <a:ext uri="{FF2B5EF4-FFF2-40B4-BE49-F238E27FC236}">
                <a16:creationId xmlns:a16="http://schemas.microsoft.com/office/drawing/2014/main" id="{51B76E80-5186-4836-9721-597898BB4C83}"/>
              </a:ext>
            </a:extLst>
          </p:cNvPr>
          <p:cNvSpPr/>
          <p:nvPr/>
        </p:nvSpPr>
        <p:spPr>
          <a:xfrm>
            <a:off x="503108" y="1959866"/>
            <a:ext cx="11159442" cy="2201371"/>
          </a:xfrm>
          <a:prstGeom prst="rect">
            <a:avLst/>
          </a:prstGeom>
          <a:noFill/>
          <a:ln w="9525" cap="sq" cmpd="sng" algn="ctr">
            <a:solidFill>
              <a:schemeClr val="accent1"/>
            </a:solidFill>
            <a:prstDash val="solid"/>
          </a:ln>
          <a:effectLst/>
        </p:spPr>
        <p:txBody>
          <a:bodyPr tIns="182832" rtlCol="0" anchor="t"/>
          <a:lstStyle/>
          <a:p>
            <a:pPr marL="171399" marR="0" lvl="0" indent="-171399" algn="l" defTabSz="914126"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000" b="0" i="0" u="none" strike="noStrike" kern="0" cap="none" spc="0" normalizeH="0" baseline="0" noProof="0" dirty="0">
              <a:ln>
                <a:noFill/>
              </a:ln>
              <a:solidFill>
                <a:prstClr val="black"/>
              </a:solidFill>
              <a:effectLst/>
              <a:uLnTx/>
              <a:uFillTx/>
              <a:ea typeface="Microsoft YaHei UI Light" panose="020B0502040204020203" pitchFamily="34" charset="-122"/>
              <a:cs typeface="Arial" panose="020B0604020202020204" pitchFamily="34" charset="0"/>
            </a:endParaRPr>
          </a:p>
        </p:txBody>
      </p:sp>
      <p:sp>
        <p:nvSpPr>
          <p:cNvPr id="11" name="Rectangle 10">
            <a:extLst>
              <a:ext uri="{FF2B5EF4-FFF2-40B4-BE49-F238E27FC236}">
                <a16:creationId xmlns:a16="http://schemas.microsoft.com/office/drawing/2014/main" id="{C8DB64AE-B85B-4338-A272-BE4BE1F7A821}"/>
              </a:ext>
            </a:extLst>
          </p:cNvPr>
          <p:cNvSpPr/>
          <p:nvPr/>
        </p:nvSpPr>
        <p:spPr>
          <a:xfrm>
            <a:off x="5299255" y="1872797"/>
            <a:ext cx="1551216" cy="184666"/>
          </a:xfrm>
          <a:prstGeom prst="rect">
            <a:avLst/>
          </a:prstGeom>
          <a:solidFill>
            <a:srgbClr val="FFFFFF"/>
          </a:solidFill>
          <a:ln w="9525" cap="sq" cmpd="sng" algn="ctr">
            <a:noFill/>
            <a:prstDash val="dash"/>
          </a:ln>
          <a:effectLst/>
        </p:spPr>
        <p:txBody>
          <a:bodyPr wrap="square" lIns="91416" tIns="0" rIns="91416" bIns="0" rtlCol="0" anchor="ctr">
            <a:spAutoFit/>
          </a:bodyPr>
          <a:lstStyle/>
          <a:p>
            <a:pPr algn="ctr" defTabSz="914126">
              <a:spcAft>
                <a:spcPts val="600"/>
              </a:spcAft>
              <a:defRPr/>
            </a:pPr>
            <a:r>
              <a:rPr kumimoji="0" lang="en-US" sz="1200" b="1" i="0" u="none" strike="noStrike" kern="0" cap="none" spc="0" normalizeH="0" baseline="0" noProof="0" dirty="0">
                <a:ln>
                  <a:noFill/>
                </a:ln>
                <a:solidFill>
                  <a:prstClr val="black"/>
                </a:solidFill>
                <a:effectLst/>
                <a:uLnTx/>
                <a:uFillTx/>
                <a:ea typeface="Microsoft YaHei UI Light" panose="020B0502040204020203" pitchFamily="34" charset="-122"/>
                <a:cs typeface="+mn-cs"/>
              </a:rPr>
              <a:t>Opportunities</a:t>
            </a:r>
          </a:p>
        </p:txBody>
      </p:sp>
      <p:sp>
        <p:nvSpPr>
          <p:cNvPr id="12" name="Rectangle 11">
            <a:extLst>
              <a:ext uri="{FF2B5EF4-FFF2-40B4-BE49-F238E27FC236}">
                <a16:creationId xmlns:a16="http://schemas.microsoft.com/office/drawing/2014/main" id="{838FE53D-680B-49A6-885E-B26F44B4F047}"/>
              </a:ext>
            </a:extLst>
          </p:cNvPr>
          <p:cNvSpPr/>
          <p:nvPr/>
        </p:nvSpPr>
        <p:spPr>
          <a:xfrm>
            <a:off x="922101" y="2776602"/>
            <a:ext cx="2193637" cy="830997"/>
          </a:xfrm>
          <a:prstGeom prst="rect">
            <a:avLst/>
          </a:prstGeom>
        </p:spPr>
        <p:txBody>
          <a:bodyPr wrap="square">
            <a:spAutoFit/>
          </a:bodyPr>
          <a:lstStyle/>
          <a:p>
            <a:pPr marL="0" marR="0" lvl="0" indent="0" algn="l" defTabSz="914126"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Incorporate additional data into song selection algorithm to enhance passenger experience</a:t>
            </a:r>
          </a:p>
        </p:txBody>
      </p:sp>
      <p:sp>
        <p:nvSpPr>
          <p:cNvPr id="13" name="Rectangle 12">
            <a:extLst>
              <a:ext uri="{FF2B5EF4-FFF2-40B4-BE49-F238E27FC236}">
                <a16:creationId xmlns:a16="http://schemas.microsoft.com/office/drawing/2014/main" id="{EE74F815-0CAC-46E6-A074-860F4D76A83C}"/>
              </a:ext>
            </a:extLst>
          </p:cNvPr>
          <p:cNvSpPr/>
          <p:nvPr/>
        </p:nvSpPr>
        <p:spPr>
          <a:xfrm>
            <a:off x="3699264" y="2776602"/>
            <a:ext cx="2193637" cy="1015663"/>
          </a:xfrm>
          <a:prstGeom prst="rect">
            <a:avLst/>
          </a:prstGeom>
        </p:spPr>
        <p:txBody>
          <a:bodyPr wrap="square" lIns="0" rIns="0">
            <a:spAutoFit/>
          </a:bodyPr>
          <a:lstStyle/>
          <a:p>
            <a:pPr marL="0" marR="0" lvl="0" indent="0" algn="l" defTabSz="914126"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Create different subscription models for users that would be recognized by car upon passenger entry in higher-end cars</a:t>
            </a:r>
          </a:p>
        </p:txBody>
      </p:sp>
      <p:sp>
        <p:nvSpPr>
          <p:cNvPr id="14" name="Rectangle 13">
            <a:extLst>
              <a:ext uri="{FF2B5EF4-FFF2-40B4-BE49-F238E27FC236}">
                <a16:creationId xmlns:a16="http://schemas.microsoft.com/office/drawing/2014/main" id="{E3C2B8A7-9097-4999-991E-E02B5D534E41}"/>
              </a:ext>
            </a:extLst>
          </p:cNvPr>
          <p:cNvSpPr/>
          <p:nvPr/>
        </p:nvSpPr>
        <p:spPr>
          <a:xfrm>
            <a:off x="6476427" y="2776602"/>
            <a:ext cx="2304924" cy="830997"/>
          </a:xfrm>
          <a:prstGeom prst="rect">
            <a:avLst/>
          </a:prstGeom>
        </p:spPr>
        <p:txBody>
          <a:bodyPr wrap="square" lIns="0" rIns="0">
            <a:spAutoFit/>
          </a:bodyPr>
          <a:lstStyle/>
          <a:p>
            <a:pPr marL="0" marR="0" lvl="0" indent="0" algn="l" defTabSz="914126"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Segment customers based on additional traits gathered from journey to determine ads played </a:t>
            </a:r>
          </a:p>
        </p:txBody>
      </p:sp>
      <p:sp>
        <p:nvSpPr>
          <p:cNvPr id="15" name="Rectangle 14">
            <a:extLst>
              <a:ext uri="{FF2B5EF4-FFF2-40B4-BE49-F238E27FC236}">
                <a16:creationId xmlns:a16="http://schemas.microsoft.com/office/drawing/2014/main" id="{06F275B9-FA1F-43A5-AE20-20FFDB4FF2C2}"/>
              </a:ext>
            </a:extLst>
          </p:cNvPr>
          <p:cNvSpPr/>
          <p:nvPr/>
        </p:nvSpPr>
        <p:spPr>
          <a:xfrm>
            <a:off x="9503903" y="2776602"/>
            <a:ext cx="1693012" cy="1200016"/>
          </a:xfrm>
          <a:prstGeom prst="rect">
            <a:avLst/>
          </a:prstGeom>
        </p:spPr>
        <p:txBody>
          <a:bodyPr wrap="square" lIns="0" rIns="0">
            <a:spAutoFit/>
          </a:bodyPr>
          <a:lstStyle/>
          <a:p>
            <a:pPr marL="0" marR="0" lvl="0" indent="0" algn="l" defTabSz="914126"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Utilize full A/V system to expand advertising possibilities and become sole content provider in partner vehicles</a:t>
            </a:r>
          </a:p>
        </p:txBody>
      </p:sp>
      <p:grpSp>
        <p:nvGrpSpPr>
          <p:cNvPr id="16" name="Group 15">
            <a:extLst>
              <a:ext uri="{FF2B5EF4-FFF2-40B4-BE49-F238E27FC236}">
                <a16:creationId xmlns:a16="http://schemas.microsoft.com/office/drawing/2014/main" id="{84572A2E-4191-4F53-A84D-DC0B154A6B41}"/>
              </a:ext>
            </a:extLst>
          </p:cNvPr>
          <p:cNvGrpSpPr/>
          <p:nvPr/>
        </p:nvGrpSpPr>
        <p:grpSpPr>
          <a:xfrm>
            <a:off x="1694360" y="2138176"/>
            <a:ext cx="484061" cy="571351"/>
            <a:chOff x="6145213" y="7040563"/>
            <a:chExt cx="484187" cy="571500"/>
          </a:xfrm>
          <a:solidFill>
            <a:schemeClr val="accent1"/>
          </a:solidFill>
        </p:grpSpPr>
        <p:sp>
          <p:nvSpPr>
            <p:cNvPr id="17" name="Freeform 365">
              <a:extLst>
                <a:ext uri="{FF2B5EF4-FFF2-40B4-BE49-F238E27FC236}">
                  <a16:creationId xmlns:a16="http://schemas.microsoft.com/office/drawing/2014/main" id="{EC4076F3-9AB4-4FE0-89EA-B0A319716679}"/>
                </a:ext>
              </a:extLst>
            </p:cNvPr>
            <p:cNvSpPr>
              <a:spLocks noEditPoints="1"/>
            </p:cNvSpPr>
            <p:nvPr/>
          </p:nvSpPr>
          <p:spPr bwMode="auto">
            <a:xfrm>
              <a:off x="6237288" y="7040563"/>
              <a:ext cx="371475" cy="571500"/>
            </a:xfrm>
            <a:custGeom>
              <a:avLst/>
              <a:gdLst>
                <a:gd name="T0" fmla="*/ 68 w 157"/>
                <a:gd name="T1" fmla="*/ 195 h 241"/>
                <a:gd name="T2" fmla="*/ 68 w 157"/>
                <a:gd name="T3" fmla="*/ 195 h 241"/>
                <a:gd name="T4" fmla="*/ 55 w 157"/>
                <a:gd name="T5" fmla="*/ 146 h 241"/>
                <a:gd name="T6" fmla="*/ 67 w 157"/>
                <a:gd name="T7" fmla="*/ 138 h 241"/>
                <a:gd name="T8" fmla="*/ 82 w 157"/>
                <a:gd name="T9" fmla="*/ 147 h 241"/>
                <a:gd name="T10" fmla="*/ 85 w 157"/>
                <a:gd name="T11" fmla="*/ 147 h 241"/>
                <a:gd name="T12" fmla="*/ 89 w 157"/>
                <a:gd name="T13" fmla="*/ 145 h 241"/>
                <a:gd name="T14" fmla="*/ 87 w 157"/>
                <a:gd name="T15" fmla="*/ 138 h 241"/>
                <a:gd name="T16" fmla="*/ 71 w 157"/>
                <a:gd name="T17" fmla="*/ 129 h 241"/>
                <a:gd name="T18" fmla="*/ 73 w 157"/>
                <a:gd name="T19" fmla="*/ 119 h 241"/>
                <a:gd name="T20" fmla="*/ 67 w 157"/>
                <a:gd name="T21" fmla="*/ 100 h 241"/>
                <a:gd name="T22" fmla="*/ 122 w 157"/>
                <a:gd name="T23" fmla="*/ 43 h 241"/>
                <a:gd name="T24" fmla="*/ 134 w 157"/>
                <a:gd name="T25" fmla="*/ 46 h 241"/>
                <a:gd name="T26" fmla="*/ 157 w 157"/>
                <a:gd name="T27" fmla="*/ 23 h 241"/>
                <a:gd name="T28" fmla="*/ 134 w 157"/>
                <a:gd name="T29" fmla="*/ 0 h 241"/>
                <a:gd name="T30" fmla="*/ 111 w 157"/>
                <a:gd name="T31" fmla="*/ 23 h 241"/>
                <a:gd name="T32" fmla="*/ 115 w 157"/>
                <a:gd name="T33" fmla="*/ 36 h 241"/>
                <a:gd name="T34" fmla="*/ 60 w 157"/>
                <a:gd name="T35" fmla="*/ 93 h 241"/>
                <a:gd name="T36" fmla="*/ 43 w 157"/>
                <a:gd name="T37" fmla="*/ 88 h 241"/>
                <a:gd name="T38" fmla="*/ 33 w 157"/>
                <a:gd name="T39" fmla="*/ 90 h 241"/>
                <a:gd name="T40" fmla="*/ 30 w 157"/>
                <a:gd name="T41" fmla="*/ 84 h 241"/>
                <a:gd name="T42" fmla="*/ 24 w 157"/>
                <a:gd name="T43" fmla="*/ 82 h 241"/>
                <a:gd name="T44" fmla="*/ 22 w 157"/>
                <a:gd name="T45" fmla="*/ 89 h 241"/>
                <a:gd name="T46" fmla="*/ 25 w 157"/>
                <a:gd name="T47" fmla="*/ 95 h 241"/>
                <a:gd name="T48" fmla="*/ 13 w 157"/>
                <a:gd name="T49" fmla="*/ 119 h 241"/>
                <a:gd name="T50" fmla="*/ 15 w 157"/>
                <a:gd name="T51" fmla="*/ 129 h 241"/>
                <a:gd name="T52" fmla="*/ 3 w 157"/>
                <a:gd name="T53" fmla="*/ 135 h 241"/>
                <a:gd name="T54" fmla="*/ 2 w 157"/>
                <a:gd name="T55" fmla="*/ 142 h 241"/>
                <a:gd name="T56" fmla="*/ 6 w 157"/>
                <a:gd name="T57" fmla="*/ 144 h 241"/>
                <a:gd name="T58" fmla="*/ 8 w 157"/>
                <a:gd name="T59" fmla="*/ 144 h 241"/>
                <a:gd name="T60" fmla="*/ 19 w 157"/>
                <a:gd name="T61" fmla="*/ 137 h 241"/>
                <a:gd name="T62" fmla="*/ 43 w 157"/>
                <a:gd name="T63" fmla="*/ 149 h 241"/>
                <a:gd name="T64" fmla="*/ 46 w 157"/>
                <a:gd name="T65" fmla="*/ 149 h 241"/>
                <a:gd name="T66" fmla="*/ 58 w 157"/>
                <a:gd name="T67" fmla="*/ 197 h 241"/>
                <a:gd name="T68" fmla="*/ 45 w 157"/>
                <a:gd name="T69" fmla="*/ 218 h 241"/>
                <a:gd name="T70" fmla="*/ 68 w 157"/>
                <a:gd name="T71" fmla="*/ 241 h 241"/>
                <a:gd name="T72" fmla="*/ 92 w 157"/>
                <a:gd name="T73" fmla="*/ 218 h 241"/>
                <a:gd name="T74" fmla="*/ 68 w 157"/>
                <a:gd name="T75" fmla="*/ 195 h 241"/>
                <a:gd name="T76" fmla="*/ 134 w 157"/>
                <a:gd name="T77" fmla="*/ 10 h 241"/>
                <a:gd name="T78" fmla="*/ 147 w 157"/>
                <a:gd name="T79" fmla="*/ 23 h 241"/>
                <a:gd name="T80" fmla="*/ 134 w 157"/>
                <a:gd name="T81" fmla="*/ 36 h 241"/>
                <a:gd name="T82" fmla="*/ 121 w 157"/>
                <a:gd name="T83" fmla="*/ 23 h 241"/>
                <a:gd name="T84" fmla="*/ 134 w 157"/>
                <a:gd name="T85" fmla="*/ 10 h 241"/>
                <a:gd name="T86" fmla="*/ 23 w 157"/>
                <a:gd name="T87" fmla="*/ 119 h 241"/>
                <a:gd name="T88" fmla="*/ 43 w 157"/>
                <a:gd name="T89" fmla="*/ 98 h 241"/>
                <a:gd name="T90" fmla="*/ 63 w 157"/>
                <a:gd name="T91" fmla="*/ 119 h 241"/>
                <a:gd name="T92" fmla="*/ 43 w 157"/>
                <a:gd name="T93" fmla="*/ 139 h 241"/>
                <a:gd name="T94" fmla="*/ 23 w 157"/>
                <a:gd name="T95" fmla="*/ 119 h 241"/>
                <a:gd name="T96" fmla="*/ 68 w 157"/>
                <a:gd name="T97" fmla="*/ 231 h 241"/>
                <a:gd name="T98" fmla="*/ 55 w 157"/>
                <a:gd name="T99" fmla="*/ 218 h 241"/>
                <a:gd name="T100" fmla="*/ 68 w 157"/>
                <a:gd name="T101" fmla="*/ 205 h 241"/>
                <a:gd name="T102" fmla="*/ 82 w 157"/>
                <a:gd name="T103" fmla="*/ 218 h 241"/>
                <a:gd name="T104" fmla="*/ 68 w 157"/>
                <a:gd name="T105" fmla="*/ 23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7" h="241">
                  <a:moveTo>
                    <a:pt x="68" y="195"/>
                  </a:moveTo>
                  <a:cubicBezTo>
                    <a:pt x="68" y="195"/>
                    <a:pt x="68" y="195"/>
                    <a:pt x="68" y="195"/>
                  </a:cubicBezTo>
                  <a:cubicBezTo>
                    <a:pt x="55" y="146"/>
                    <a:pt x="55" y="146"/>
                    <a:pt x="55" y="146"/>
                  </a:cubicBezTo>
                  <a:cubicBezTo>
                    <a:pt x="60" y="144"/>
                    <a:pt x="63" y="141"/>
                    <a:pt x="67" y="138"/>
                  </a:cubicBezTo>
                  <a:cubicBezTo>
                    <a:pt x="82" y="147"/>
                    <a:pt x="82" y="147"/>
                    <a:pt x="82" y="147"/>
                  </a:cubicBezTo>
                  <a:cubicBezTo>
                    <a:pt x="83" y="147"/>
                    <a:pt x="84" y="147"/>
                    <a:pt x="85" y="147"/>
                  </a:cubicBezTo>
                  <a:cubicBezTo>
                    <a:pt x="86" y="147"/>
                    <a:pt x="88" y="146"/>
                    <a:pt x="89" y="145"/>
                  </a:cubicBezTo>
                  <a:cubicBezTo>
                    <a:pt x="90" y="142"/>
                    <a:pt x="89" y="139"/>
                    <a:pt x="87" y="138"/>
                  </a:cubicBezTo>
                  <a:cubicBezTo>
                    <a:pt x="71" y="129"/>
                    <a:pt x="71" y="129"/>
                    <a:pt x="71" y="129"/>
                  </a:cubicBezTo>
                  <a:cubicBezTo>
                    <a:pt x="73" y="126"/>
                    <a:pt x="73" y="122"/>
                    <a:pt x="73" y="119"/>
                  </a:cubicBezTo>
                  <a:cubicBezTo>
                    <a:pt x="73" y="112"/>
                    <a:pt x="71" y="105"/>
                    <a:pt x="67" y="100"/>
                  </a:cubicBezTo>
                  <a:cubicBezTo>
                    <a:pt x="122" y="43"/>
                    <a:pt x="122" y="43"/>
                    <a:pt x="122" y="43"/>
                  </a:cubicBezTo>
                  <a:cubicBezTo>
                    <a:pt x="126" y="45"/>
                    <a:pt x="130" y="46"/>
                    <a:pt x="134" y="46"/>
                  </a:cubicBezTo>
                  <a:cubicBezTo>
                    <a:pt x="147" y="46"/>
                    <a:pt x="157" y="36"/>
                    <a:pt x="157" y="23"/>
                  </a:cubicBezTo>
                  <a:cubicBezTo>
                    <a:pt x="157" y="10"/>
                    <a:pt x="147" y="0"/>
                    <a:pt x="134" y="0"/>
                  </a:cubicBezTo>
                  <a:cubicBezTo>
                    <a:pt x="121" y="0"/>
                    <a:pt x="111" y="10"/>
                    <a:pt x="111" y="23"/>
                  </a:cubicBezTo>
                  <a:cubicBezTo>
                    <a:pt x="111" y="28"/>
                    <a:pt x="112" y="32"/>
                    <a:pt x="115" y="36"/>
                  </a:cubicBezTo>
                  <a:cubicBezTo>
                    <a:pt x="60" y="93"/>
                    <a:pt x="60" y="93"/>
                    <a:pt x="60" y="93"/>
                  </a:cubicBezTo>
                  <a:cubicBezTo>
                    <a:pt x="55" y="90"/>
                    <a:pt x="49" y="88"/>
                    <a:pt x="43" y="88"/>
                  </a:cubicBezTo>
                  <a:cubicBezTo>
                    <a:pt x="40" y="88"/>
                    <a:pt x="36" y="89"/>
                    <a:pt x="33" y="90"/>
                  </a:cubicBezTo>
                  <a:cubicBezTo>
                    <a:pt x="30" y="84"/>
                    <a:pt x="30" y="84"/>
                    <a:pt x="30" y="84"/>
                  </a:cubicBezTo>
                  <a:cubicBezTo>
                    <a:pt x="29" y="82"/>
                    <a:pt x="26" y="81"/>
                    <a:pt x="24" y="82"/>
                  </a:cubicBezTo>
                  <a:cubicBezTo>
                    <a:pt x="21" y="84"/>
                    <a:pt x="20" y="87"/>
                    <a:pt x="22" y="89"/>
                  </a:cubicBezTo>
                  <a:cubicBezTo>
                    <a:pt x="25" y="95"/>
                    <a:pt x="25" y="95"/>
                    <a:pt x="25" y="95"/>
                  </a:cubicBezTo>
                  <a:cubicBezTo>
                    <a:pt x="17" y="100"/>
                    <a:pt x="13" y="109"/>
                    <a:pt x="13" y="119"/>
                  </a:cubicBezTo>
                  <a:cubicBezTo>
                    <a:pt x="13" y="122"/>
                    <a:pt x="13" y="126"/>
                    <a:pt x="15" y="129"/>
                  </a:cubicBezTo>
                  <a:cubicBezTo>
                    <a:pt x="3" y="135"/>
                    <a:pt x="3" y="135"/>
                    <a:pt x="3" y="135"/>
                  </a:cubicBezTo>
                  <a:cubicBezTo>
                    <a:pt x="1" y="136"/>
                    <a:pt x="0" y="139"/>
                    <a:pt x="2" y="142"/>
                  </a:cubicBezTo>
                  <a:cubicBezTo>
                    <a:pt x="2" y="143"/>
                    <a:pt x="4" y="144"/>
                    <a:pt x="6" y="144"/>
                  </a:cubicBezTo>
                  <a:cubicBezTo>
                    <a:pt x="7" y="144"/>
                    <a:pt x="8" y="144"/>
                    <a:pt x="8" y="144"/>
                  </a:cubicBezTo>
                  <a:cubicBezTo>
                    <a:pt x="19" y="137"/>
                    <a:pt x="19" y="137"/>
                    <a:pt x="19" y="137"/>
                  </a:cubicBezTo>
                  <a:cubicBezTo>
                    <a:pt x="25" y="144"/>
                    <a:pt x="33" y="149"/>
                    <a:pt x="43" y="149"/>
                  </a:cubicBezTo>
                  <a:cubicBezTo>
                    <a:pt x="44" y="149"/>
                    <a:pt x="45" y="149"/>
                    <a:pt x="46" y="149"/>
                  </a:cubicBezTo>
                  <a:cubicBezTo>
                    <a:pt x="58" y="197"/>
                    <a:pt x="58" y="197"/>
                    <a:pt x="58" y="197"/>
                  </a:cubicBezTo>
                  <a:cubicBezTo>
                    <a:pt x="50" y="201"/>
                    <a:pt x="45" y="209"/>
                    <a:pt x="45" y="218"/>
                  </a:cubicBezTo>
                  <a:cubicBezTo>
                    <a:pt x="45" y="231"/>
                    <a:pt x="56" y="241"/>
                    <a:pt x="68" y="241"/>
                  </a:cubicBezTo>
                  <a:cubicBezTo>
                    <a:pt x="81" y="241"/>
                    <a:pt x="92" y="231"/>
                    <a:pt x="92" y="218"/>
                  </a:cubicBezTo>
                  <a:cubicBezTo>
                    <a:pt x="92" y="205"/>
                    <a:pt x="81" y="195"/>
                    <a:pt x="68" y="195"/>
                  </a:cubicBezTo>
                  <a:close/>
                  <a:moveTo>
                    <a:pt x="134" y="10"/>
                  </a:moveTo>
                  <a:cubicBezTo>
                    <a:pt x="141" y="10"/>
                    <a:pt x="147" y="16"/>
                    <a:pt x="147" y="23"/>
                  </a:cubicBezTo>
                  <a:cubicBezTo>
                    <a:pt x="147" y="30"/>
                    <a:pt x="141" y="36"/>
                    <a:pt x="134" y="36"/>
                  </a:cubicBezTo>
                  <a:cubicBezTo>
                    <a:pt x="127" y="36"/>
                    <a:pt x="121" y="30"/>
                    <a:pt x="121" y="23"/>
                  </a:cubicBezTo>
                  <a:cubicBezTo>
                    <a:pt x="121" y="16"/>
                    <a:pt x="127" y="10"/>
                    <a:pt x="134" y="10"/>
                  </a:cubicBezTo>
                  <a:close/>
                  <a:moveTo>
                    <a:pt x="23" y="119"/>
                  </a:moveTo>
                  <a:cubicBezTo>
                    <a:pt x="23" y="107"/>
                    <a:pt x="32" y="98"/>
                    <a:pt x="43" y="98"/>
                  </a:cubicBezTo>
                  <a:cubicBezTo>
                    <a:pt x="54" y="98"/>
                    <a:pt x="63" y="107"/>
                    <a:pt x="63" y="119"/>
                  </a:cubicBezTo>
                  <a:cubicBezTo>
                    <a:pt x="63" y="130"/>
                    <a:pt x="54" y="139"/>
                    <a:pt x="43" y="139"/>
                  </a:cubicBezTo>
                  <a:cubicBezTo>
                    <a:pt x="32" y="139"/>
                    <a:pt x="23" y="130"/>
                    <a:pt x="23" y="119"/>
                  </a:cubicBezTo>
                  <a:close/>
                  <a:moveTo>
                    <a:pt x="68" y="231"/>
                  </a:moveTo>
                  <a:cubicBezTo>
                    <a:pt x="61" y="231"/>
                    <a:pt x="55" y="225"/>
                    <a:pt x="55" y="218"/>
                  </a:cubicBezTo>
                  <a:cubicBezTo>
                    <a:pt x="55" y="211"/>
                    <a:pt x="61" y="205"/>
                    <a:pt x="68" y="205"/>
                  </a:cubicBezTo>
                  <a:cubicBezTo>
                    <a:pt x="76" y="205"/>
                    <a:pt x="82" y="211"/>
                    <a:pt x="82" y="218"/>
                  </a:cubicBezTo>
                  <a:cubicBezTo>
                    <a:pt x="82" y="225"/>
                    <a:pt x="76" y="231"/>
                    <a:pt x="68" y="23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18" name="Freeform 366">
              <a:extLst>
                <a:ext uri="{FF2B5EF4-FFF2-40B4-BE49-F238E27FC236}">
                  <a16:creationId xmlns:a16="http://schemas.microsoft.com/office/drawing/2014/main" id="{9925D2A5-05D7-44D3-8190-B1AB83A353FE}"/>
                </a:ext>
              </a:extLst>
            </p:cNvPr>
            <p:cNvSpPr>
              <a:spLocks/>
            </p:cNvSpPr>
            <p:nvPr/>
          </p:nvSpPr>
          <p:spPr bwMode="auto">
            <a:xfrm>
              <a:off x="6546850" y="7434263"/>
              <a:ext cx="82550" cy="66675"/>
            </a:xfrm>
            <a:custGeom>
              <a:avLst/>
              <a:gdLst>
                <a:gd name="T0" fmla="*/ 22 w 35"/>
                <a:gd name="T1" fmla="*/ 3 h 28"/>
                <a:gd name="T2" fmla="*/ 15 w 35"/>
                <a:gd name="T3" fmla="*/ 6 h 28"/>
                <a:gd name="T4" fmla="*/ 8 w 35"/>
                <a:gd name="T5" fmla="*/ 1 h 28"/>
                <a:gd name="T6" fmla="*/ 1 w 35"/>
                <a:gd name="T7" fmla="*/ 3 h 28"/>
                <a:gd name="T8" fmla="*/ 3 w 35"/>
                <a:gd name="T9" fmla="*/ 10 h 28"/>
                <a:gd name="T10" fmla="*/ 10 w 35"/>
                <a:gd name="T11" fmla="*/ 14 h 28"/>
                <a:gd name="T12" fmla="*/ 10 w 35"/>
                <a:gd name="T13" fmla="*/ 16 h 28"/>
                <a:gd name="T14" fmla="*/ 22 w 35"/>
                <a:gd name="T15" fmla="*/ 28 h 28"/>
                <a:gd name="T16" fmla="*/ 35 w 35"/>
                <a:gd name="T17" fmla="*/ 16 h 28"/>
                <a:gd name="T18" fmla="*/ 22 w 35"/>
                <a:gd name="T19" fmla="*/ 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28">
                  <a:moveTo>
                    <a:pt x="22" y="3"/>
                  </a:moveTo>
                  <a:cubicBezTo>
                    <a:pt x="20" y="3"/>
                    <a:pt x="17" y="4"/>
                    <a:pt x="15" y="6"/>
                  </a:cubicBezTo>
                  <a:cubicBezTo>
                    <a:pt x="8" y="1"/>
                    <a:pt x="8" y="1"/>
                    <a:pt x="8" y="1"/>
                  </a:cubicBezTo>
                  <a:cubicBezTo>
                    <a:pt x="5" y="0"/>
                    <a:pt x="2" y="1"/>
                    <a:pt x="1" y="3"/>
                  </a:cubicBezTo>
                  <a:cubicBezTo>
                    <a:pt x="0" y="6"/>
                    <a:pt x="0" y="9"/>
                    <a:pt x="3" y="10"/>
                  </a:cubicBezTo>
                  <a:cubicBezTo>
                    <a:pt x="10" y="14"/>
                    <a:pt x="10" y="14"/>
                    <a:pt x="10" y="14"/>
                  </a:cubicBezTo>
                  <a:cubicBezTo>
                    <a:pt x="10" y="15"/>
                    <a:pt x="10" y="15"/>
                    <a:pt x="10" y="16"/>
                  </a:cubicBezTo>
                  <a:cubicBezTo>
                    <a:pt x="10" y="22"/>
                    <a:pt x="16" y="28"/>
                    <a:pt x="22" y="28"/>
                  </a:cubicBezTo>
                  <a:cubicBezTo>
                    <a:pt x="29" y="28"/>
                    <a:pt x="35" y="22"/>
                    <a:pt x="35" y="16"/>
                  </a:cubicBezTo>
                  <a:cubicBezTo>
                    <a:pt x="35" y="9"/>
                    <a:pt x="29" y="3"/>
                    <a:pt x="22" y="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19" name="Freeform 367">
              <a:extLst>
                <a:ext uri="{FF2B5EF4-FFF2-40B4-BE49-F238E27FC236}">
                  <a16:creationId xmlns:a16="http://schemas.microsoft.com/office/drawing/2014/main" id="{1B165BCB-7B4B-4F28-9642-8BAF7501C45A}"/>
                </a:ext>
              </a:extLst>
            </p:cNvPr>
            <p:cNvSpPr>
              <a:spLocks/>
            </p:cNvSpPr>
            <p:nvPr/>
          </p:nvSpPr>
          <p:spPr bwMode="auto">
            <a:xfrm>
              <a:off x="6180138" y="7050088"/>
              <a:ext cx="63500" cy="82550"/>
            </a:xfrm>
            <a:custGeom>
              <a:avLst/>
              <a:gdLst>
                <a:gd name="T0" fmla="*/ 26 w 27"/>
                <a:gd name="T1" fmla="*/ 28 h 35"/>
                <a:gd name="T2" fmla="*/ 22 w 27"/>
                <a:gd name="T3" fmla="*/ 21 h 35"/>
                <a:gd name="T4" fmla="*/ 25 w 27"/>
                <a:gd name="T5" fmla="*/ 13 h 35"/>
                <a:gd name="T6" fmla="*/ 12 w 27"/>
                <a:gd name="T7" fmla="*/ 0 h 35"/>
                <a:gd name="T8" fmla="*/ 0 w 27"/>
                <a:gd name="T9" fmla="*/ 13 h 35"/>
                <a:gd name="T10" fmla="*/ 12 w 27"/>
                <a:gd name="T11" fmla="*/ 25 h 35"/>
                <a:gd name="T12" fmla="*/ 13 w 27"/>
                <a:gd name="T13" fmla="*/ 25 h 35"/>
                <a:gd name="T14" fmla="*/ 17 w 27"/>
                <a:gd name="T15" fmla="*/ 33 h 35"/>
                <a:gd name="T16" fmla="*/ 22 w 27"/>
                <a:gd name="T17" fmla="*/ 35 h 35"/>
                <a:gd name="T18" fmla="*/ 24 w 27"/>
                <a:gd name="T19" fmla="*/ 35 h 35"/>
                <a:gd name="T20" fmla="*/ 26 w 27"/>
                <a:gd name="T21" fmla="*/ 2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35">
                  <a:moveTo>
                    <a:pt x="26" y="28"/>
                  </a:moveTo>
                  <a:cubicBezTo>
                    <a:pt x="22" y="21"/>
                    <a:pt x="22" y="21"/>
                    <a:pt x="22" y="21"/>
                  </a:cubicBezTo>
                  <a:cubicBezTo>
                    <a:pt x="24" y="18"/>
                    <a:pt x="25" y="16"/>
                    <a:pt x="25" y="13"/>
                  </a:cubicBezTo>
                  <a:cubicBezTo>
                    <a:pt x="25" y="6"/>
                    <a:pt x="19" y="0"/>
                    <a:pt x="12" y="0"/>
                  </a:cubicBezTo>
                  <a:cubicBezTo>
                    <a:pt x="6" y="0"/>
                    <a:pt x="0" y="6"/>
                    <a:pt x="0" y="13"/>
                  </a:cubicBezTo>
                  <a:cubicBezTo>
                    <a:pt x="0" y="20"/>
                    <a:pt x="6" y="25"/>
                    <a:pt x="12" y="25"/>
                  </a:cubicBezTo>
                  <a:cubicBezTo>
                    <a:pt x="13" y="25"/>
                    <a:pt x="13" y="25"/>
                    <a:pt x="13" y="25"/>
                  </a:cubicBezTo>
                  <a:cubicBezTo>
                    <a:pt x="17" y="33"/>
                    <a:pt x="17" y="33"/>
                    <a:pt x="17" y="33"/>
                  </a:cubicBezTo>
                  <a:cubicBezTo>
                    <a:pt x="18" y="34"/>
                    <a:pt x="20" y="35"/>
                    <a:pt x="22" y="35"/>
                  </a:cubicBezTo>
                  <a:cubicBezTo>
                    <a:pt x="23" y="35"/>
                    <a:pt x="23" y="35"/>
                    <a:pt x="24" y="35"/>
                  </a:cubicBezTo>
                  <a:cubicBezTo>
                    <a:pt x="27" y="33"/>
                    <a:pt x="27" y="30"/>
                    <a:pt x="26" y="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20" name="Freeform 368">
              <a:extLst>
                <a:ext uri="{FF2B5EF4-FFF2-40B4-BE49-F238E27FC236}">
                  <a16:creationId xmlns:a16="http://schemas.microsoft.com/office/drawing/2014/main" id="{F36C29F0-3BD0-489B-9DE4-5B9F8F8C097F}"/>
                </a:ext>
              </a:extLst>
            </p:cNvPr>
            <p:cNvSpPr>
              <a:spLocks/>
            </p:cNvSpPr>
            <p:nvPr/>
          </p:nvSpPr>
          <p:spPr bwMode="auto">
            <a:xfrm>
              <a:off x="6242050" y="7150101"/>
              <a:ext cx="47625" cy="66675"/>
            </a:xfrm>
            <a:custGeom>
              <a:avLst/>
              <a:gdLst>
                <a:gd name="T0" fmla="*/ 1 w 20"/>
                <a:gd name="T1" fmla="*/ 8 h 28"/>
                <a:gd name="T2" fmla="*/ 10 w 20"/>
                <a:gd name="T3" fmla="*/ 26 h 28"/>
                <a:gd name="T4" fmla="*/ 15 w 20"/>
                <a:gd name="T5" fmla="*/ 28 h 28"/>
                <a:gd name="T6" fmla="*/ 17 w 20"/>
                <a:gd name="T7" fmla="*/ 28 h 28"/>
                <a:gd name="T8" fmla="*/ 19 w 20"/>
                <a:gd name="T9" fmla="*/ 21 h 28"/>
                <a:gd name="T10" fmla="*/ 10 w 20"/>
                <a:gd name="T11" fmla="*/ 3 h 28"/>
                <a:gd name="T12" fmla="*/ 3 w 20"/>
                <a:gd name="T13" fmla="*/ 1 h 28"/>
                <a:gd name="T14" fmla="*/ 1 w 20"/>
                <a:gd name="T15" fmla="*/ 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8">
                  <a:moveTo>
                    <a:pt x="1" y="8"/>
                  </a:moveTo>
                  <a:cubicBezTo>
                    <a:pt x="10" y="26"/>
                    <a:pt x="10" y="26"/>
                    <a:pt x="10" y="26"/>
                  </a:cubicBezTo>
                  <a:cubicBezTo>
                    <a:pt x="11" y="27"/>
                    <a:pt x="13" y="28"/>
                    <a:pt x="15" y="28"/>
                  </a:cubicBezTo>
                  <a:cubicBezTo>
                    <a:pt x="15" y="28"/>
                    <a:pt x="16" y="28"/>
                    <a:pt x="17" y="28"/>
                  </a:cubicBezTo>
                  <a:cubicBezTo>
                    <a:pt x="19" y="26"/>
                    <a:pt x="20" y="23"/>
                    <a:pt x="19" y="21"/>
                  </a:cubicBezTo>
                  <a:cubicBezTo>
                    <a:pt x="10" y="3"/>
                    <a:pt x="10" y="3"/>
                    <a:pt x="10" y="3"/>
                  </a:cubicBezTo>
                  <a:cubicBezTo>
                    <a:pt x="8" y="1"/>
                    <a:pt x="5" y="0"/>
                    <a:pt x="3" y="1"/>
                  </a:cubicBezTo>
                  <a:cubicBezTo>
                    <a:pt x="0" y="3"/>
                    <a:pt x="0" y="6"/>
                    <a:pt x="1"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21" name="Freeform 369">
              <a:extLst>
                <a:ext uri="{FF2B5EF4-FFF2-40B4-BE49-F238E27FC236}">
                  <a16:creationId xmlns:a16="http://schemas.microsoft.com/office/drawing/2014/main" id="{91BD2A05-53C9-4D22-8B48-4622C76D94B6}"/>
                </a:ext>
              </a:extLst>
            </p:cNvPr>
            <p:cNvSpPr>
              <a:spLocks/>
            </p:cNvSpPr>
            <p:nvPr/>
          </p:nvSpPr>
          <p:spPr bwMode="auto">
            <a:xfrm>
              <a:off x="6464300" y="7386638"/>
              <a:ext cx="68263" cy="49213"/>
            </a:xfrm>
            <a:custGeom>
              <a:avLst/>
              <a:gdLst>
                <a:gd name="T0" fmla="*/ 25 w 29"/>
                <a:gd name="T1" fmla="*/ 12 h 21"/>
                <a:gd name="T2" fmla="*/ 8 w 29"/>
                <a:gd name="T3" fmla="*/ 2 h 21"/>
                <a:gd name="T4" fmla="*/ 1 w 29"/>
                <a:gd name="T5" fmla="*/ 4 h 21"/>
                <a:gd name="T6" fmla="*/ 3 w 29"/>
                <a:gd name="T7" fmla="*/ 10 h 21"/>
                <a:gd name="T8" fmla="*/ 21 w 29"/>
                <a:gd name="T9" fmla="*/ 20 h 21"/>
                <a:gd name="T10" fmla="*/ 23 w 29"/>
                <a:gd name="T11" fmla="*/ 21 h 21"/>
                <a:gd name="T12" fmla="*/ 27 w 29"/>
                <a:gd name="T13" fmla="*/ 18 h 21"/>
                <a:gd name="T14" fmla="*/ 25 w 29"/>
                <a:gd name="T15" fmla="*/ 12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1">
                  <a:moveTo>
                    <a:pt x="25" y="12"/>
                  </a:moveTo>
                  <a:cubicBezTo>
                    <a:pt x="8" y="2"/>
                    <a:pt x="8" y="2"/>
                    <a:pt x="8" y="2"/>
                  </a:cubicBezTo>
                  <a:cubicBezTo>
                    <a:pt x="6" y="0"/>
                    <a:pt x="3" y="1"/>
                    <a:pt x="1" y="4"/>
                  </a:cubicBezTo>
                  <a:cubicBezTo>
                    <a:pt x="0" y="6"/>
                    <a:pt x="1" y="9"/>
                    <a:pt x="3" y="10"/>
                  </a:cubicBezTo>
                  <a:cubicBezTo>
                    <a:pt x="21" y="20"/>
                    <a:pt x="21" y="20"/>
                    <a:pt x="21" y="20"/>
                  </a:cubicBezTo>
                  <a:cubicBezTo>
                    <a:pt x="21" y="21"/>
                    <a:pt x="22" y="21"/>
                    <a:pt x="23" y="21"/>
                  </a:cubicBezTo>
                  <a:cubicBezTo>
                    <a:pt x="25" y="21"/>
                    <a:pt x="26" y="20"/>
                    <a:pt x="27" y="18"/>
                  </a:cubicBezTo>
                  <a:cubicBezTo>
                    <a:pt x="29" y="16"/>
                    <a:pt x="28" y="13"/>
                    <a:pt x="25" y="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22" name="Freeform 370">
              <a:extLst>
                <a:ext uri="{FF2B5EF4-FFF2-40B4-BE49-F238E27FC236}">
                  <a16:creationId xmlns:a16="http://schemas.microsoft.com/office/drawing/2014/main" id="{0F840004-116A-4D91-A7F7-244C30394455}"/>
                </a:ext>
              </a:extLst>
            </p:cNvPr>
            <p:cNvSpPr>
              <a:spLocks/>
            </p:cNvSpPr>
            <p:nvPr/>
          </p:nvSpPr>
          <p:spPr bwMode="auto">
            <a:xfrm>
              <a:off x="6145213" y="7380288"/>
              <a:ext cx="77788" cy="65088"/>
            </a:xfrm>
            <a:custGeom>
              <a:avLst/>
              <a:gdLst>
                <a:gd name="T0" fmla="*/ 25 w 33"/>
                <a:gd name="T1" fmla="*/ 2 h 28"/>
                <a:gd name="T2" fmla="*/ 19 w 33"/>
                <a:gd name="T3" fmla="*/ 5 h 28"/>
                <a:gd name="T4" fmla="*/ 13 w 33"/>
                <a:gd name="T5" fmla="*/ 3 h 28"/>
                <a:gd name="T6" fmla="*/ 0 w 33"/>
                <a:gd name="T7" fmla="*/ 16 h 28"/>
                <a:gd name="T8" fmla="*/ 13 w 33"/>
                <a:gd name="T9" fmla="*/ 28 h 28"/>
                <a:gd name="T10" fmla="*/ 25 w 33"/>
                <a:gd name="T11" fmla="*/ 16 h 28"/>
                <a:gd name="T12" fmla="*/ 25 w 33"/>
                <a:gd name="T13" fmla="*/ 13 h 28"/>
                <a:gd name="T14" fmla="*/ 30 w 33"/>
                <a:gd name="T15" fmla="*/ 10 h 28"/>
                <a:gd name="T16" fmla="*/ 32 w 33"/>
                <a:gd name="T17" fmla="*/ 4 h 28"/>
                <a:gd name="T18" fmla="*/ 25 w 33"/>
                <a:gd name="T19"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8">
                  <a:moveTo>
                    <a:pt x="25" y="2"/>
                  </a:moveTo>
                  <a:cubicBezTo>
                    <a:pt x="19" y="5"/>
                    <a:pt x="19" y="5"/>
                    <a:pt x="19" y="5"/>
                  </a:cubicBezTo>
                  <a:cubicBezTo>
                    <a:pt x="17" y="4"/>
                    <a:pt x="15" y="3"/>
                    <a:pt x="13" y="3"/>
                  </a:cubicBezTo>
                  <a:cubicBezTo>
                    <a:pt x="6" y="3"/>
                    <a:pt x="0" y="9"/>
                    <a:pt x="0" y="16"/>
                  </a:cubicBezTo>
                  <a:cubicBezTo>
                    <a:pt x="0" y="23"/>
                    <a:pt x="6" y="28"/>
                    <a:pt x="13" y="28"/>
                  </a:cubicBezTo>
                  <a:cubicBezTo>
                    <a:pt x="20" y="28"/>
                    <a:pt x="25" y="23"/>
                    <a:pt x="25" y="16"/>
                  </a:cubicBezTo>
                  <a:cubicBezTo>
                    <a:pt x="25" y="15"/>
                    <a:pt x="25" y="14"/>
                    <a:pt x="25" y="13"/>
                  </a:cubicBezTo>
                  <a:cubicBezTo>
                    <a:pt x="30" y="10"/>
                    <a:pt x="30" y="10"/>
                    <a:pt x="30" y="10"/>
                  </a:cubicBezTo>
                  <a:cubicBezTo>
                    <a:pt x="32" y="9"/>
                    <a:pt x="33" y="6"/>
                    <a:pt x="32" y="4"/>
                  </a:cubicBezTo>
                  <a:cubicBezTo>
                    <a:pt x="31" y="1"/>
                    <a:pt x="28" y="0"/>
                    <a:pt x="25"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grpSp>
      <p:grpSp>
        <p:nvGrpSpPr>
          <p:cNvPr id="23" name="Group 22">
            <a:extLst>
              <a:ext uri="{FF2B5EF4-FFF2-40B4-BE49-F238E27FC236}">
                <a16:creationId xmlns:a16="http://schemas.microsoft.com/office/drawing/2014/main" id="{1DBA1D9C-0192-42C3-88B9-CC2C68EF7CB7}"/>
              </a:ext>
            </a:extLst>
          </p:cNvPr>
          <p:cNvGrpSpPr/>
          <p:nvPr/>
        </p:nvGrpSpPr>
        <p:grpSpPr>
          <a:xfrm>
            <a:off x="4511200" y="2161727"/>
            <a:ext cx="569765" cy="571352"/>
            <a:chOff x="3265488" y="3613150"/>
            <a:chExt cx="569913" cy="571501"/>
          </a:xfrm>
          <a:solidFill>
            <a:schemeClr val="accent1"/>
          </a:solidFill>
        </p:grpSpPr>
        <p:sp>
          <p:nvSpPr>
            <p:cNvPr id="24" name="Freeform 245">
              <a:extLst>
                <a:ext uri="{FF2B5EF4-FFF2-40B4-BE49-F238E27FC236}">
                  <a16:creationId xmlns:a16="http://schemas.microsoft.com/office/drawing/2014/main" id="{18D996CB-5823-418F-9B56-AD0FC29F03FC}"/>
                </a:ext>
              </a:extLst>
            </p:cNvPr>
            <p:cNvSpPr>
              <a:spLocks noEditPoints="1"/>
            </p:cNvSpPr>
            <p:nvPr/>
          </p:nvSpPr>
          <p:spPr bwMode="auto">
            <a:xfrm>
              <a:off x="3275013" y="3625850"/>
              <a:ext cx="558800" cy="552450"/>
            </a:xfrm>
            <a:custGeom>
              <a:avLst/>
              <a:gdLst>
                <a:gd name="T0" fmla="*/ 209 w 229"/>
                <a:gd name="T1" fmla="*/ 116 h 227"/>
                <a:gd name="T2" fmla="*/ 209 w 229"/>
                <a:gd name="T3" fmla="*/ 116 h 227"/>
                <a:gd name="T4" fmla="*/ 104 w 229"/>
                <a:gd name="T5" fmla="*/ 12 h 227"/>
                <a:gd name="T6" fmla="*/ 104 w 229"/>
                <a:gd name="T7" fmla="*/ 12 h 227"/>
                <a:gd name="T8" fmla="*/ 99 w 229"/>
                <a:gd name="T9" fmla="*/ 7 h 227"/>
                <a:gd name="T10" fmla="*/ 83 w 229"/>
                <a:gd name="T11" fmla="*/ 0 h 227"/>
                <a:gd name="T12" fmla="*/ 66 w 229"/>
                <a:gd name="T13" fmla="*/ 7 h 227"/>
                <a:gd name="T14" fmla="*/ 9 w 229"/>
                <a:gd name="T15" fmla="*/ 65 h 227"/>
                <a:gd name="T16" fmla="*/ 9 w 229"/>
                <a:gd name="T17" fmla="*/ 98 h 227"/>
                <a:gd name="T18" fmla="*/ 13 w 229"/>
                <a:gd name="T19" fmla="*/ 102 h 227"/>
                <a:gd name="T20" fmla="*/ 13 w 229"/>
                <a:gd name="T21" fmla="*/ 103 h 227"/>
                <a:gd name="T22" fmla="*/ 118 w 229"/>
                <a:gd name="T23" fmla="*/ 207 h 227"/>
                <a:gd name="T24" fmla="*/ 118 w 229"/>
                <a:gd name="T25" fmla="*/ 207 h 227"/>
                <a:gd name="T26" fmla="*/ 131 w 229"/>
                <a:gd name="T27" fmla="*/ 221 h 227"/>
                <a:gd name="T28" fmla="*/ 148 w 229"/>
                <a:gd name="T29" fmla="*/ 227 h 227"/>
                <a:gd name="T30" fmla="*/ 164 w 229"/>
                <a:gd name="T31" fmla="*/ 221 h 227"/>
                <a:gd name="T32" fmla="*/ 222 w 229"/>
                <a:gd name="T33" fmla="*/ 163 h 227"/>
                <a:gd name="T34" fmla="*/ 229 w 229"/>
                <a:gd name="T35" fmla="*/ 146 h 227"/>
                <a:gd name="T36" fmla="*/ 222 w 229"/>
                <a:gd name="T37" fmla="*/ 130 h 227"/>
                <a:gd name="T38" fmla="*/ 209 w 229"/>
                <a:gd name="T39" fmla="*/ 116 h 227"/>
                <a:gd name="T40" fmla="*/ 27 w 229"/>
                <a:gd name="T41" fmla="*/ 102 h 227"/>
                <a:gd name="T42" fmla="*/ 104 w 229"/>
                <a:gd name="T43" fmla="*/ 25 h 227"/>
                <a:gd name="T44" fmla="*/ 195 w 229"/>
                <a:gd name="T45" fmla="*/ 116 h 227"/>
                <a:gd name="T46" fmla="*/ 118 w 229"/>
                <a:gd name="T47" fmla="*/ 194 h 227"/>
                <a:gd name="T48" fmla="*/ 27 w 229"/>
                <a:gd name="T49" fmla="*/ 102 h 227"/>
                <a:gd name="T50" fmla="*/ 15 w 229"/>
                <a:gd name="T51" fmla="*/ 91 h 227"/>
                <a:gd name="T52" fmla="*/ 15 w 229"/>
                <a:gd name="T53" fmla="*/ 72 h 227"/>
                <a:gd name="T54" fmla="*/ 73 w 229"/>
                <a:gd name="T55" fmla="*/ 14 h 227"/>
                <a:gd name="T56" fmla="*/ 83 w 229"/>
                <a:gd name="T57" fmla="*/ 10 h 227"/>
                <a:gd name="T58" fmla="*/ 93 w 229"/>
                <a:gd name="T59" fmla="*/ 14 h 227"/>
                <a:gd name="T60" fmla="*/ 97 w 229"/>
                <a:gd name="T61" fmla="*/ 18 h 227"/>
                <a:gd name="T62" fmla="*/ 20 w 229"/>
                <a:gd name="T63" fmla="*/ 96 h 227"/>
                <a:gd name="T64" fmla="*/ 15 w 229"/>
                <a:gd name="T65" fmla="*/ 91 h 227"/>
                <a:gd name="T66" fmla="*/ 215 w 229"/>
                <a:gd name="T67" fmla="*/ 156 h 227"/>
                <a:gd name="T68" fmla="*/ 158 w 229"/>
                <a:gd name="T69" fmla="*/ 214 h 227"/>
                <a:gd name="T70" fmla="*/ 138 w 229"/>
                <a:gd name="T71" fmla="*/ 214 h 227"/>
                <a:gd name="T72" fmla="*/ 125 w 229"/>
                <a:gd name="T73" fmla="*/ 200 h 227"/>
                <a:gd name="T74" fmla="*/ 202 w 229"/>
                <a:gd name="T75" fmla="*/ 123 h 227"/>
                <a:gd name="T76" fmla="*/ 215 w 229"/>
                <a:gd name="T77" fmla="*/ 136 h 227"/>
                <a:gd name="T78" fmla="*/ 219 w 229"/>
                <a:gd name="T79" fmla="*/ 146 h 227"/>
                <a:gd name="T80" fmla="*/ 215 w 229"/>
                <a:gd name="T81" fmla="*/ 156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9" h="227">
                  <a:moveTo>
                    <a:pt x="209" y="116"/>
                  </a:moveTo>
                  <a:cubicBezTo>
                    <a:pt x="209" y="116"/>
                    <a:pt x="209" y="116"/>
                    <a:pt x="209" y="116"/>
                  </a:cubicBezTo>
                  <a:cubicBezTo>
                    <a:pt x="104" y="12"/>
                    <a:pt x="104" y="12"/>
                    <a:pt x="104" y="12"/>
                  </a:cubicBezTo>
                  <a:cubicBezTo>
                    <a:pt x="104" y="12"/>
                    <a:pt x="104" y="12"/>
                    <a:pt x="104" y="12"/>
                  </a:cubicBezTo>
                  <a:cubicBezTo>
                    <a:pt x="99" y="7"/>
                    <a:pt x="99" y="7"/>
                    <a:pt x="99" y="7"/>
                  </a:cubicBezTo>
                  <a:cubicBezTo>
                    <a:pt x="95" y="3"/>
                    <a:pt x="89" y="0"/>
                    <a:pt x="83" y="0"/>
                  </a:cubicBezTo>
                  <a:cubicBezTo>
                    <a:pt x="77" y="0"/>
                    <a:pt x="71" y="3"/>
                    <a:pt x="66" y="7"/>
                  </a:cubicBezTo>
                  <a:cubicBezTo>
                    <a:pt x="9" y="65"/>
                    <a:pt x="9" y="65"/>
                    <a:pt x="9" y="65"/>
                  </a:cubicBezTo>
                  <a:cubicBezTo>
                    <a:pt x="0" y="74"/>
                    <a:pt x="0" y="89"/>
                    <a:pt x="9" y="98"/>
                  </a:cubicBezTo>
                  <a:cubicBezTo>
                    <a:pt x="13" y="102"/>
                    <a:pt x="13" y="102"/>
                    <a:pt x="13" y="102"/>
                  </a:cubicBezTo>
                  <a:cubicBezTo>
                    <a:pt x="13" y="103"/>
                    <a:pt x="13" y="103"/>
                    <a:pt x="13" y="103"/>
                  </a:cubicBezTo>
                  <a:cubicBezTo>
                    <a:pt x="118" y="207"/>
                    <a:pt x="118" y="207"/>
                    <a:pt x="118" y="207"/>
                  </a:cubicBezTo>
                  <a:cubicBezTo>
                    <a:pt x="118" y="207"/>
                    <a:pt x="118" y="207"/>
                    <a:pt x="118" y="207"/>
                  </a:cubicBezTo>
                  <a:cubicBezTo>
                    <a:pt x="131" y="221"/>
                    <a:pt x="131" y="221"/>
                    <a:pt x="131" y="221"/>
                  </a:cubicBezTo>
                  <a:cubicBezTo>
                    <a:pt x="136" y="225"/>
                    <a:pt x="142" y="227"/>
                    <a:pt x="148" y="227"/>
                  </a:cubicBezTo>
                  <a:cubicBezTo>
                    <a:pt x="154" y="227"/>
                    <a:pt x="160" y="225"/>
                    <a:pt x="164" y="221"/>
                  </a:cubicBezTo>
                  <a:cubicBezTo>
                    <a:pt x="222" y="163"/>
                    <a:pt x="222" y="163"/>
                    <a:pt x="222" y="163"/>
                  </a:cubicBezTo>
                  <a:cubicBezTo>
                    <a:pt x="227" y="158"/>
                    <a:pt x="229" y="152"/>
                    <a:pt x="229" y="146"/>
                  </a:cubicBezTo>
                  <a:cubicBezTo>
                    <a:pt x="229" y="140"/>
                    <a:pt x="227" y="134"/>
                    <a:pt x="222" y="130"/>
                  </a:cubicBezTo>
                  <a:lnTo>
                    <a:pt x="209" y="116"/>
                  </a:lnTo>
                  <a:close/>
                  <a:moveTo>
                    <a:pt x="27" y="102"/>
                  </a:moveTo>
                  <a:cubicBezTo>
                    <a:pt x="104" y="25"/>
                    <a:pt x="104" y="25"/>
                    <a:pt x="104" y="25"/>
                  </a:cubicBezTo>
                  <a:cubicBezTo>
                    <a:pt x="195" y="116"/>
                    <a:pt x="195" y="116"/>
                    <a:pt x="195" y="116"/>
                  </a:cubicBezTo>
                  <a:cubicBezTo>
                    <a:pt x="118" y="194"/>
                    <a:pt x="118" y="194"/>
                    <a:pt x="118" y="194"/>
                  </a:cubicBezTo>
                  <a:lnTo>
                    <a:pt x="27" y="102"/>
                  </a:lnTo>
                  <a:close/>
                  <a:moveTo>
                    <a:pt x="15" y="91"/>
                  </a:moveTo>
                  <a:cubicBezTo>
                    <a:pt x="10" y="86"/>
                    <a:pt x="10" y="77"/>
                    <a:pt x="15" y="72"/>
                  </a:cubicBezTo>
                  <a:cubicBezTo>
                    <a:pt x="73" y="14"/>
                    <a:pt x="73" y="14"/>
                    <a:pt x="73" y="14"/>
                  </a:cubicBezTo>
                  <a:cubicBezTo>
                    <a:pt x="76" y="11"/>
                    <a:pt x="79" y="10"/>
                    <a:pt x="83" y="10"/>
                  </a:cubicBezTo>
                  <a:cubicBezTo>
                    <a:pt x="87" y="10"/>
                    <a:pt x="90" y="11"/>
                    <a:pt x="93" y="14"/>
                  </a:cubicBezTo>
                  <a:cubicBezTo>
                    <a:pt x="97" y="18"/>
                    <a:pt x="97" y="18"/>
                    <a:pt x="97" y="18"/>
                  </a:cubicBezTo>
                  <a:cubicBezTo>
                    <a:pt x="20" y="96"/>
                    <a:pt x="20" y="96"/>
                    <a:pt x="20" y="96"/>
                  </a:cubicBezTo>
                  <a:lnTo>
                    <a:pt x="15" y="91"/>
                  </a:lnTo>
                  <a:close/>
                  <a:moveTo>
                    <a:pt x="215" y="156"/>
                  </a:moveTo>
                  <a:cubicBezTo>
                    <a:pt x="158" y="214"/>
                    <a:pt x="158" y="214"/>
                    <a:pt x="158" y="214"/>
                  </a:cubicBezTo>
                  <a:cubicBezTo>
                    <a:pt x="152" y="219"/>
                    <a:pt x="143" y="219"/>
                    <a:pt x="138" y="214"/>
                  </a:cubicBezTo>
                  <a:cubicBezTo>
                    <a:pt x="125" y="200"/>
                    <a:pt x="125" y="200"/>
                    <a:pt x="125" y="200"/>
                  </a:cubicBezTo>
                  <a:cubicBezTo>
                    <a:pt x="202" y="123"/>
                    <a:pt x="202" y="123"/>
                    <a:pt x="202" y="123"/>
                  </a:cubicBezTo>
                  <a:cubicBezTo>
                    <a:pt x="215" y="136"/>
                    <a:pt x="215" y="136"/>
                    <a:pt x="215" y="136"/>
                  </a:cubicBezTo>
                  <a:cubicBezTo>
                    <a:pt x="218" y="139"/>
                    <a:pt x="219" y="143"/>
                    <a:pt x="219" y="146"/>
                  </a:cubicBezTo>
                  <a:cubicBezTo>
                    <a:pt x="219" y="150"/>
                    <a:pt x="218" y="153"/>
                    <a:pt x="215" y="1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25" name="Freeform 246">
              <a:extLst>
                <a:ext uri="{FF2B5EF4-FFF2-40B4-BE49-F238E27FC236}">
                  <a16:creationId xmlns:a16="http://schemas.microsoft.com/office/drawing/2014/main" id="{467BCBE4-782E-4E15-BD38-E04D503C44C6}"/>
                </a:ext>
              </a:extLst>
            </p:cNvPr>
            <p:cNvSpPr>
              <a:spLocks noEditPoints="1"/>
            </p:cNvSpPr>
            <p:nvPr/>
          </p:nvSpPr>
          <p:spPr bwMode="auto">
            <a:xfrm>
              <a:off x="3670301" y="4021138"/>
              <a:ext cx="60325" cy="52388"/>
            </a:xfrm>
            <a:custGeom>
              <a:avLst/>
              <a:gdLst>
                <a:gd name="T0" fmla="*/ 13 w 25"/>
                <a:gd name="T1" fmla="*/ 0 h 22"/>
                <a:gd name="T2" fmla="*/ 5 w 25"/>
                <a:gd name="T3" fmla="*/ 3 h 22"/>
                <a:gd name="T4" fmla="*/ 5 w 25"/>
                <a:gd name="T5" fmla="*/ 19 h 22"/>
                <a:gd name="T6" fmla="*/ 13 w 25"/>
                <a:gd name="T7" fmla="*/ 22 h 22"/>
                <a:gd name="T8" fmla="*/ 20 w 25"/>
                <a:gd name="T9" fmla="*/ 19 h 22"/>
                <a:gd name="T10" fmla="*/ 20 w 25"/>
                <a:gd name="T11" fmla="*/ 3 h 22"/>
                <a:gd name="T12" fmla="*/ 13 w 25"/>
                <a:gd name="T13" fmla="*/ 0 h 22"/>
                <a:gd name="T14" fmla="*/ 14 w 25"/>
                <a:gd name="T15" fmla="*/ 12 h 22"/>
                <a:gd name="T16" fmla="*/ 13 w 25"/>
                <a:gd name="T17" fmla="*/ 13 h 22"/>
                <a:gd name="T18" fmla="*/ 11 w 25"/>
                <a:gd name="T19" fmla="*/ 12 h 22"/>
                <a:gd name="T20" fmla="*/ 11 w 25"/>
                <a:gd name="T21" fmla="*/ 10 h 22"/>
                <a:gd name="T22" fmla="*/ 13 w 25"/>
                <a:gd name="T23" fmla="*/ 9 h 22"/>
                <a:gd name="T24" fmla="*/ 14 w 25"/>
                <a:gd name="T25" fmla="*/ 10 h 22"/>
                <a:gd name="T26" fmla="*/ 14 w 25"/>
                <a:gd name="T27"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22">
                  <a:moveTo>
                    <a:pt x="13" y="0"/>
                  </a:moveTo>
                  <a:cubicBezTo>
                    <a:pt x="10" y="0"/>
                    <a:pt x="7" y="1"/>
                    <a:pt x="5" y="3"/>
                  </a:cubicBezTo>
                  <a:cubicBezTo>
                    <a:pt x="0" y="7"/>
                    <a:pt x="0" y="14"/>
                    <a:pt x="5" y="19"/>
                  </a:cubicBezTo>
                  <a:cubicBezTo>
                    <a:pt x="7" y="21"/>
                    <a:pt x="10" y="22"/>
                    <a:pt x="13" y="22"/>
                  </a:cubicBezTo>
                  <a:cubicBezTo>
                    <a:pt x="15" y="22"/>
                    <a:pt x="18" y="21"/>
                    <a:pt x="20" y="19"/>
                  </a:cubicBezTo>
                  <a:cubicBezTo>
                    <a:pt x="25" y="14"/>
                    <a:pt x="25" y="7"/>
                    <a:pt x="20" y="3"/>
                  </a:cubicBezTo>
                  <a:cubicBezTo>
                    <a:pt x="18" y="1"/>
                    <a:pt x="15" y="0"/>
                    <a:pt x="13" y="0"/>
                  </a:cubicBezTo>
                  <a:close/>
                  <a:moveTo>
                    <a:pt x="14" y="12"/>
                  </a:moveTo>
                  <a:cubicBezTo>
                    <a:pt x="13" y="12"/>
                    <a:pt x="13" y="13"/>
                    <a:pt x="13" y="13"/>
                  </a:cubicBezTo>
                  <a:cubicBezTo>
                    <a:pt x="12" y="13"/>
                    <a:pt x="12" y="12"/>
                    <a:pt x="11" y="12"/>
                  </a:cubicBezTo>
                  <a:cubicBezTo>
                    <a:pt x="11" y="11"/>
                    <a:pt x="11" y="10"/>
                    <a:pt x="11" y="10"/>
                  </a:cubicBezTo>
                  <a:cubicBezTo>
                    <a:pt x="12" y="9"/>
                    <a:pt x="12" y="9"/>
                    <a:pt x="13" y="9"/>
                  </a:cubicBezTo>
                  <a:cubicBezTo>
                    <a:pt x="13" y="9"/>
                    <a:pt x="13" y="9"/>
                    <a:pt x="14" y="10"/>
                  </a:cubicBezTo>
                  <a:cubicBezTo>
                    <a:pt x="14" y="10"/>
                    <a:pt x="14" y="11"/>
                    <a:pt x="14" y="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26" name="Freeform 247">
              <a:extLst>
                <a:ext uri="{FF2B5EF4-FFF2-40B4-BE49-F238E27FC236}">
                  <a16:creationId xmlns:a16="http://schemas.microsoft.com/office/drawing/2014/main" id="{29FC5EA9-D257-478C-828B-3EBE6D73F8A3}"/>
                </a:ext>
              </a:extLst>
            </p:cNvPr>
            <p:cNvSpPr>
              <a:spLocks/>
            </p:cNvSpPr>
            <p:nvPr/>
          </p:nvSpPr>
          <p:spPr bwMode="auto">
            <a:xfrm>
              <a:off x="3621088" y="3678238"/>
              <a:ext cx="146050" cy="149225"/>
            </a:xfrm>
            <a:custGeom>
              <a:avLst/>
              <a:gdLst>
                <a:gd name="T0" fmla="*/ 5 w 60"/>
                <a:gd name="T1" fmla="*/ 10 h 61"/>
                <a:gd name="T2" fmla="*/ 38 w 60"/>
                <a:gd name="T3" fmla="*/ 23 h 61"/>
                <a:gd name="T4" fmla="*/ 50 w 60"/>
                <a:gd name="T5" fmla="*/ 56 h 61"/>
                <a:gd name="T6" fmla="*/ 55 w 60"/>
                <a:gd name="T7" fmla="*/ 61 h 61"/>
                <a:gd name="T8" fmla="*/ 55 w 60"/>
                <a:gd name="T9" fmla="*/ 61 h 61"/>
                <a:gd name="T10" fmla="*/ 60 w 60"/>
                <a:gd name="T11" fmla="*/ 56 h 61"/>
                <a:gd name="T12" fmla="*/ 44 w 60"/>
                <a:gd name="T13" fmla="*/ 17 h 61"/>
                <a:gd name="T14" fmla="*/ 5 w 60"/>
                <a:gd name="T15" fmla="*/ 1 h 61"/>
                <a:gd name="T16" fmla="*/ 0 w 60"/>
                <a:gd name="T17" fmla="*/ 6 h 61"/>
                <a:gd name="T18" fmla="*/ 5 w 60"/>
                <a:gd name="T1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1">
                  <a:moveTo>
                    <a:pt x="5" y="10"/>
                  </a:moveTo>
                  <a:cubicBezTo>
                    <a:pt x="17" y="10"/>
                    <a:pt x="29" y="15"/>
                    <a:pt x="38" y="23"/>
                  </a:cubicBezTo>
                  <a:cubicBezTo>
                    <a:pt x="46" y="32"/>
                    <a:pt x="51" y="44"/>
                    <a:pt x="50" y="56"/>
                  </a:cubicBezTo>
                  <a:cubicBezTo>
                    <a:pt x="50" y="59"/>
                    <a:pt x="52" y="61"/>
                    <a:pt x="55" y="61"/>
                  </a:cubicBezTo>
                  <a:cubicBezTo>
                    <a:pt x="55" y="61"/>
                    <a:pt x="55" y="61"/>
                    <a:pt x="55" y="61"/>
                  </a:cubicBezTo>
                  <a:cubicBezTo>
                    <a:pt x="58" y="61"/>
                    <a:pt x="60" y="59"/>
                    <a:pt x="60" y="56"/>
                  </a:cubicBezTo>
                  <a:cubicBezTo>
                    <a:pt x="60" y="41"/>
                    <a:pt x="55" y="27"/>
                    <a:pt x="44" y="17"/>
                  </a:cubicBezTo>
                  <a:cubicBezTo>
                    <a:pt x="34" y="6"/>
                    <a:pt x="20" y="0"/>
                    <a:pt x="5" y="1"/>
                  </a:cubicBezTo>
                  <a:cubicBezTo>
                    <a:pt x="2" y="1"/>
                    <a:pt x="0" y="3"/>
                    <a:pt x="0" y="6"/>
                  </a:cubicBezTo>
                  <a:cubicBezTo>
                    <a:pt x="0" y="8"/>
                    <a:pt x="2" y="11"/>
                    <a:pt x="5" y="1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27" name="Freeform 248">
              <a:extLst>
                <a:ext uri="{FF2B5EF4-FFF2-40B4-BE49-F238E27FC236}">
                  <a16:creationId xmlns:a16="http://schemas.microsoft.com/office/drawing/2014/main" id="{4DCBBCA2-2454-47A5-B39B-0BFD72FF7729}"/>
                </a:ext>
              </a:extLst>
            </p:cNvPr>
            <p:cNvSpPr>
              <a:spLocks/>
            </p:cNvSpPr>
            <p:nvPr/>
          </p:nvSpPr>
          <p:spPr bwMode="auto">
            <a:xfrm>
              <a:off x="3629026" y="3613150"/>
              <a:ext cx="206375" cy="207963"/>
            </a:xfrm>
            <a:custGeom>
              <a:avLst/>
              <a:gdLst>
                <a:gd name="T0" fmla="*/ 5 w 85"/>
                <a:gd name="T1" fmla="*/ 10 h 85"/>
                <a:gd name="T2" fmla="*/ 55 w 85"/>
                <a:gd name="T3" fmla="*/ 30 h 85"/>
                <a:gd name="T4" fmla="*/ 75 w 85"/>
                <a:gd name="T5" fmla="*/ 80 h 85"/>
                <a:gd name="T6" fmla="*/ 80 w 85"/>
                <a:gd name="T7" fmla="*/ 85 h 85"/>
                <a:gd name="T8" fmla="*/ 80 w 85"/>
                <a:gd name="T9" fmla="*/ 85 h 85"/>
                <a:gd name="T10" fmla="*/ 84 w 85"/>
                <a:gd name="T11" fmla="*/ 80 h 85"/>
                <a:gd name="T12" fmla="*/ 62 w 85"/>
                <a:gd name="T13" fmla="*/ 23 h 85"/>
                <a:gd name="T14" fmla="*/ 5 w 85"/>
                <a:gd name="T15" fmla="*/ 0 h 85"/>
                <a:gd name="T16" fmla="*/ 0 w 85"/>
                <a:gd name="T17" fmla="*/ 5 h 85"/>
                <a:gd name="T18" fmla="*/ 5 w 85"/>
                <a:gd name="T19" fmla="*/ 1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85">
                  <a:moveTo>
                    <a:pt x="5" y="10"/>
                  </a:moveTo>
                  <a:cubicBezTo>
                    <a:pt x="24" y="9"/>
                    <a:pt x="41" y="17"/>
                    <a:pt x="55" y="30"/>
                  </a:cubicBezTo>
                  <a:cubicBezTo>
                    <a:pt x="68" y="43"/>
                    <a:pt x="75" y="61"/>
                    <a:pt x="75" y="80"/>
                  </a:cubicBezTo>
                  <a:cubicBezTo>
                    <a:pt x="75" y="83"/>
                    <a:pt x="77" y="85"/>
                    <a:pt x="80" y="85"/>
                  </a:cubicBezTo>
                  <a:cubicBezTo>
                    <a:pt x="80" y="85"/>
                    <a:pt x="80" y="85"/>
                    <a:pt x="80" y="85"/>
                  </a:cubicBezTo>
                  <a:cubicBezTo>
                    <a:pt x="82" y="85"/>
                    <a:pt x="84" y="83"/>
                    <a:pt x="84" y="80"/>
                  </a:cubicBezTo>
                  <a:cubicBezTo>
                    <a:pt x="85" y="59"/>
                    <a:pt x="77" y="38"/>
                    <a:pt x="62" y="23"/>
                  </a:cubicBezTo>
                  <a:cubicBezTo>
                    <a:pt x="46" y="8"/>
                    <a:pt x="26" y="0"/>
                    <a:pt x="5" y="0"/>
                  </a:cubicBezTo>
                  <a:cubicBezTo>
                    <a:pt x="2" y="1"/>
                    <a:pt x="0" y="3"/>
                    <a:pt x="0" y="5"/>
                  </a:cubicBezTo>
                  <a:cubicBezTo>
                    <a:pt x="0" y="8"/>
                    <a:pt x="2" y="10"/>
                    <a:pt x="5" y="1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28" name="Freeform 249">
              <a:extLst>
                <a:ext uri="{FF2B5EF4-FFF2-40B4-BE49-F238E27FC236}">
                  <a16:creationId xmlns:a16="http://schemas.microsoft.com/office/drawing/2014/main" id="{961C059C-0A78-450B-80E8-E117280863B4}"/>
                </a:ext>
              </a:extLst>
            </p:cNvPr>
            <p:cNvSpPr>
              <a:spLocks/>
            </p:cNvSpPr>
            <p:nvPr/>
          </p:nvSpPr>
          <p:spPr bwMode="auto">
            <a:xfrm>
              <a:off x="3330576" y="3968750"/>
              <a:ext cx="149225" cy="147638"/>
            </a:xfrm>
            <a:custGeom>
              <a:avLst/>
              <a:gdLst>
                <a:gd name="T0" fmla="*/ 56 w 61"/>
                <a:gd name="T1" fmla="*/ 51 h 60"/>
                <a:gd name="T2" fmla="*/ 23 w 61"/>
                <a:gd name="T3" fmla="*/ 38 h 60"/>
                <a:gd name="T4" fmla="*/ 10 w 61"/>
                <a:gd name="T5" fmla="*/ 5 h 60"/>
                <a:gd name="T6" fmla="*/ 6 w 61"/>
                <a:gd name="T7" fmla="*/ 0 h 60"/>
                <a:gd name="T8" fmla="*/ 1 w 61"/>
                <a:gd name="T9" fmla="*/ 5 h 60"/>
                <a:gd name="T10" fmla="*/ 16 w 61"/>
                <a:gd name="T11" fmla="*/ 45 h 60"/>
                <a:gd name="T12" fmla="*/ 54 w 61"/>
                <a:gd name="T13" fmla="*/ 60 h 60"/>
                <a:gd name="T14" fmla="*/ 56 w 61"/>
                <a:gd name="T15" fmla="*/ 60 h 60"/>
                <a:gd name="T16" fmla="*/ 61 w 61"/>
                <a:gd name="T17" fmla="*/ 55 h 60"/>
                <a:gd name="T18" fmla="*/ 56 w 61"/>
                <a:gd name="T19" fmla="*/ 5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0">
                  <a:moveTo>
                    <a:pt x="56" y="51"/>
                  </a:moveTo>
                  <a:cubicBezTo>
                    <a:pt x="43" y="51"/>
                    <a:pt x="32" y="47"/>
                    <a:pt x="23" y="38"/>
                  </a:cubicBezTo>
                  <a:cubicBezTo>
                    <a:pt x="14" y="29"/>
                    <a:pt x="10" y="18"/>
                    <a:pt x="10" y="5"/>
                  </a:cubicBezTo>
                  <a:cubicBezTo>
                    <a:pt x="10" y="2"/>
                    <a:pt x="8" y="0"/>
                    <a:pt x="6" y="0"/>
                  </a:cubicBezTo>
                  <a:cubicBezTo>
                    <a:pt x="3" y="0"/>
                    <a:pt x="1" y="2"/>
                    <a:pt x="1" y="5"/>
                  </a:cubicBezTo>
                  <a:cubicBezTo>
                    <a:pt x="0" y="20"/>
                    <a:pt x="6" y="34"/>
                    <a:pt x="16" y="45"/>
                  </a:cubicBezTo>
                  <a:cubicBezTo>
                    <a:pt x="26" y="55"/>
                    <a:pt x="40" y="60"/>
                    <a:pt x="54" y="60"/>
                  </a:cubicBezTo>
                  <a:cubicBezTo>
                    <a:pt x="55" y="60"/>
                    <a:pt x="55" y="60"/>
                    <a:pt x="56" y="60"/>
                  </a:cubicBezTo>
                  <a:cubicBezTo>
                    <a:pt x="59" y="60"/>
                    <a:pt x="61" y="58"/>
                    <a:pt x="61" y="55"/>
                  </a:cubicBezTo>
                  <a:cubicBezTo>
                    <a:pt x="61" y="53"/>
                    <a:pt x="58" y="50"/>
                    <a:pt x="56" y="5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29" name="Freeform 250">
              <a:extLst>
                <a:ext uri="{FF2B5EF4-FFF2-40B4-BE49-F238E27FC236}">
                  <a16:creationId xmlns:a16="http://schemas.microsoft.com/office/drawing/2014/main" id="{F88E8AC9-A5A7-4896-BE3C-694211CC36CE}"/>
                </a:ext>
              </a:extLst>
            </p:cNvPr>
            <p:cNvSpPr>
              <a:spLocks/>
            </p:cNvSpPr>
            <p:nvPr/>
          </p:nvSpPr>
          <p:spPr bwMode="auto">
            <a:xfrm>
              <a:off x="3265488" y="3976688"/>
              <a:ext cx="207963" cy="207963"/>
            </a:xfrm>
            <a:custGeom>
              <a:avLst/>
              <a:gdLst>
                <a:gd name="T0" fmla="*/ 80 w 85"/>
                <a:gd name="T1" fmla="*/ 75 h 85"/>
                <a:gd name="T2" fmla="*/ 30 w 85"/>
                <a:gd name="T3" fmla="*/ 55 h 85"/>
                <a:gd name="T4" fmla="*/ 10 w 85"/>
                <a:gd name="T5" fmla="*/ 5 h 85"/>
                <a:gd name="T6" fmla="*/ 5 w 85"/>
                <a:gd name="T7" fmla="*/ 0 h 85"/>
                <a:gd name="T8" fmla="*/ 0 w 85"/>
                <a:gd name="T9" fmla="*/ 5 h 85"/>
                <a:gd name="T10" fmla="*/ 23 w 85"/>
                <a:gd name="T11" fmla="*/ 62 h 85"/>
                <a:gd name="T12" fmla="*/ 78 w 85"/>
                <a:gd name="T13" fmla="*/ 85 h 85"/>
                <a:gd name="T14" fmla="*/ 80 w 85"/>
                <a:gd name="T15" fmla="*/ 85 h 85"/>
                <a:gd name="T16" fmla="*/ 85 w 85"/>
                <a:gd name="T17" fmla="*/ 80 h 85"/>
                <a:gd name="T18" fmla="*/ 80 w 85"/>
                <a:gd name="T19" fmla="*/ 7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85">
                  <a:moveTo>
                    <a:pt x="80" y="75"/>
                  </a:moveTo>
                  <a:cubicBezTo>
                    <a:pt x="61" y="76"/>
                    <a:pt x="43" y="68"/>
                    <a:pt x="30" y="55"/>
                  </a:cubicBezTo>
                  <a:cubicBezTo>
                    <a:pt x="16" y="42"/>
                    <a:pt x="9" y="24"/>
                    <a:pt x="10" y="5"/>
                  </a:cubicBezTo>
                  <a:cubicBezTo>
                    <a:pt x="10" y="2"/>
                    <a:pt x="8" y="0"/>
                    <a:pt x="5" y="0"/>
                  </a:cubicBezTo>
                  <a:cubicBezTo>
                    <a:pt x="2" y="0"/>
                    <a:pt x="0" y="2"/>
                    <a:pt x="0" y="5"/>
                  </a:cubicBezTo>
                  <a:cubicBezTo>
                    <a:pt x="0" y="26"/>
                    <a:pt x="8" y="47"/>
                    <a:pt x="23" y="62"/>
                  </a:cubicBezTo>
                  <a:cubicBezTo>
                    <a:pt x="38" y="77"/>
                    <a:pt x="57" y="85"/>
                    <a:pt x="78" y="85"/>
                  </a:cubicBezTo>
                  <a:cubicBezTo>
                    <a:pt x="79" y="85"/>
                    <a:pt x="79" y="85"/>
                    <a:pt x="80" y="85"/>
                  </a:cubicBezTo>
                  <a:cubicBezTo>
                    <a:pt x="83" y="85"/>
                    <a:pt x="85" y="82"/>
                    <a:pt x="85" y="80"/>
                  </a:cubicBezTo>
                  <a:cubicBezTo>
                    <a:pt x="85" y="77"/>
                    <a:pt x="82" y="75"/>
                    <a:pt x="80" y="7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30" name="Freeform 251">
              <a:extLst>
                <a:ext uri="{FF2B5EF4-FFF2-40B4-BE49-F238E27FC236}">
                  <a16:creationId xmlns:a16="http://schemas.microsoft.com/office/drawing/2014/main" id="{926B9D4E-3217-458E-8B60-3ACA32E8D990}"/>
                </a:ext>
              </a:extLst>
            </p:cNvPr>
            <p:cNvSpPr>
              <a:spLocks noEditPoints="1"/>
            </p:cNvSpPr>
            <p:nvPr/>
          </p:nvSpPr>
          <p:spPr bwMode="auto">
            <a:xfrm>
              <a:off x="3473451" y="3821113"/>
              <a:ext cx="147638" cy="146050"/>
            </a:xfrm>
            <a:custGeom>
              <a:avLst/>
              <a:gdLst>
                <a:gd name="T0" fmla="*/ 54 w 61"/>
                <a:gd name="T1" fmla="*/ 47 h 60"/>
                <a:gd name="T2" fmla="*/ 54 w 61"/>
                <a:gd name="T3" fmla="*/ 24 h 60"/>
                <a:gd name="T4" fmla="*/ 30 w 61"/>
                <a:gd name="T5" fmla="*/ 24 h 60"/>
                <a:gd name="T6" fmla="*/ 18 w 61"/>
                <a:gd name="T7" fmla="*/ 12 h 60"/>
                <a:gd name="T8" fmla="*/ 27 w 61"/>
                <a:gd name="T9" fmla="*/ 9 h 60"/>
                <a:gd name="T10" fmla="*/ 30 w 61"/>
                <a:gd name="T11" fmla="*/ 8 h 60"/>
                <a:gd name="T12" fmla="*/ 30 w 61"/>
                <a:gd name="T13" fmla="*/ 2 h 60"/>
                <a:gd name="T14" fmla="*/ 25 w 61"/>
                <a:gd name="T15" fmla="*/ 0 h 60"/>
                <a:gd name="T16" fmla="*/ 12 w 61"/>
                <a:gd name="T17" fmla="*/ 6 h 60"/>
                <a:gd name="T18" fmla="*/ 12 w 61"/>
                <a:gd name="T19" fmla="*/ 5 h 60"/>
                <a:gd name="T20" fmla="*/ 6 w 61"/>
                <a:gd name="T21" fmla="*/ 5 h 60"/>
                <a:gd name="T22" fmla="*/ 5 w 61"/>
                <a:gd name="T23" fmla="*/ 8 h 60"/>
                <a:gd name="T24" fmla="*/ 6 w 61"/>
                <a:gd name="T25" fmla="*/ 11 h 60"/>
                <a:gd name="T26" fmla="*/ 7 w 61"/>
                <a:gd name="T27" fmla="*/ 11 h 60"/>
                <a:gd name="T28" fmla="*/ 6 w 61"/>
                <a:gd name="T29" fmla="*/ 35 h 60"/>
                <a:gd name="T30" fmla="*/ 30 w 61"/>
                <a:gd name="T31" fmla="*/ 35 h 60"/>
                <a:gd name="T32" fmla="*/ 42 w 61"/>
                <a:gd name="T33" fmla="*/ 47 h 60"/>
                <a:gd name="T34" fmla="*/ 30 w 61"/>
                <a:gd name="T35" fmla="*/ 51 h 60"/>
                <a:gd name="T36" fmla="*/ 27 w 61"/>
                <a:gd name="T37" fmla="*/ 52 h 60"/>
                <a:gd name="T38" fmla="*/ 26 w 61"/>
                <a:gd name="T39" fmla="*/ 55 h 60"/>
                <a:gd name="T40" fmla="*/ 27 w 61"/>
                <a:gd name="T41" fmla="*/ 58 h 60"/>
                <a:gd name="T42" fmla="*/ 30 w 61"/>
                <a:gd name="T43" fmla="*/ 60 h 60"/>
                <a:gd name="T44" fmla="*/ 31 w 61"/>
                <a:gd name="T45" fmla="*/ 60 h 60"/>
                <a:gd name="T46" fmla="*/ 48 w 61"/>
                <a:gd name="T47" fmla="*/ 53 h 60"/>
                <a:gd name="T48" fmla="*/ 51 w 61"/>
                <a:gd name="T49" fmla="*/ 56 h 60"/>
                <a:gd name="T50" fmla="*/ 57 w 61"/>
                <a:gd name="T51" fmla="*/ 56 h 60"/>
                <a:gd name="T52" fmla="*/ 57 w 61"/>
                <a:gd name="T53" fmla="*/ 51 h 60"/>
                <a:gd name="T54" fmla="*/ 54 w 61"/>
                <a:gd name="T55" fmla="*/ 47 h 60"/>
                <a:gd name="T56" fmla="*/ 48 w 61"/>
                <a:gd name="T57" fmla="*/ 42 h 60"/>
                <a:gd name="T58" fmla="*/ 37 w 61"/>
                <a:gd name="T59" fmla="*/ 31 h 60"/>
                <a:gd name="T60" fmla="*/ 48 w 61"/>
                <a:gd name="T61" fmla="*/ 30 h 60"/>
                <a:gd name="T62" fmla="*/ 48 w 61"/>
                <a:gd name="T63" fmla="*/ 42 h 60"/>
                <a:gd name="T64" fmla="*/ 24 w 61"/>
                <a:gd name="T65" fmla="*/ 28 h 60"/>
                <a:gd name="T66" fmla="*/ 17 w 61"/>
                <a:gd name="T67" fmla="*/ 30 h 60"/>
                <a:gd name="T68" fmla="*/ 12 w 61"/>
                <a:gd name="T69" fmla="*/ 28 h 60"/>
                <a:gd name="T70" fmla="*/ 13 w 61"/>
                <a:gd name="T71" fmla="*/ 17 h 60"/>
                <a:gd name="T72" fmla="*/ 24 w 61"/>
                <a:gd name="T73" fmla="*/ 2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 h="60">
                  <a:moveTo>
                    <a:pt x="54" y="47"/>
                  </a:moveTo>
                  <a:cubicBezTo>
                    <a:pt x="60" y="39"/>
                    <a:pt x="61" y="30"/>
                    <a:pt x="54" y="24"/>
                  </a:cubicBezTo>
                  <a:cubicBezTo>
                    <a:pt x="48" y="17"/>
                    <a:pt x="41" y="18"/>
                    <a:pt x="30" y="24"/>
                  </a:cubicBezTo>
                  <a:cubicBezTo>
                    <a:pt x="18" y="12"/>
                    <a:pt x="18" y="12"/>
                    <a:pt x="18" y="12"/>
                  </a:cubicBezTo>
                  <a:cubicBezTo>
                    <a:pt x="21" y="11"/>
                    <a:pt x="24" y="10"/>
                    <a:pt x="27" y="9"/>
                  </a:cubicBezTo>
                  <a:cubicBezTo>
                    <a:pt x="28" y="9"/>
                    <a:pt x="29" y="8"/>
                    <a:pt x="30" y="8"/>
                  </a:cubicBezTo>
                  <a:cubicBezTo>
                    <a:pt x="31" y="6"/>
                    <a:pt x="31" y="3"/>
                    <a:pt x="30" y="2"/>
                  </a:cubicBezTo>
                  <a:cubicBezTo>
                    <a:pt x="29" y="0"/>
                    <a:pt x="27" y="0"/>
                    <a:pt x="25" y="0"/>
                  </a:cubicBezTo>
                  <a:cubicBezTo>
                    <a:pt x="20" y="1"/>
                    <a:pt x="16" y="3"/>
                    <a:pt x="12" y="6"/>
                  </a:cubicBezTo>
                  <a:cubicBezTo>
                    <a:pt x="12" y="5"/>
                    <a:pt x="12" y="5"/>
                    <a:pt x="12" y="5"/>
                  </a:cubicBezTo>
                  <a:cubicBezTo>
                    <a:pt x="10" y="3"/>
                    <a:pt x="7" y="3"/>
                    <a:pt x="6" y="5"/>
                  </a:cubicBezTo>
                  <a:cubicBezTo>
                    <a:pt x="5" y="6"/>
                    <a:pt x="5" y="7"/>
                    <a:pt x="5" y="8"/>
                  </a:cubicBezTo>
                  <a:cubicBezTo>
                    <a:pt x="5" y="9"/>
                    <a:pt x="5" y="10"/>
                    <a:pt x="6" y="11"/>
                  </a:cubicBezTo>
                  <a:cubicBezTo>
                    <a:pt x="7" y="11"/>
                    <a:pt x="7" y="11"/>
                    <a:pt x="7" y="11"/>
                  </a:cubicBezTo>
                  <a:cubicBezTo>
                    <a:pt x="0" y="19"/>
                    <a:pt x="0" y="29"/>
                    <a:pt x="6" y="35"/>
                  </a:cubicBezTo>
                  <a:cubicBezTo>
                    <a:pt x="12" y="41"/>
                    <a:pt x="19" y="41"/>
                    <a:pt x="30" y="35"/>
                  </a:cubicBezTo>
                  <a:cubicBezTo>
                    <a:pt x="42" y="47"/>
                    <a:pt x="42" y="47"/>
                    <a:pt x="42" y="47"/>
                  </a:cubicBezTo>
                  <a:cubicBezTo>
                    <a:pt x="39" y="49"/>
                    <a:pt x="35" y="51"/>
                    <a:pt x="30" y="51"/>
                  </a:cubicBezTo>
                  <a:cubicBezTo>
                    <a:pt x="29" y="51"/>
                    <a:pt x="28" y="51"/>
                    <a:pt x="27" y="52"/>
                  </a:cubicBezTo>
                  <a:cubicBezTo>
                    <a:pt x="26" y="53"/>
                    <a:pt x="26" y="54"/>
                    <a:pt x="26" y="55"/>
                  </a:cubicBezTo>
                  <a:cubicBezTo>
                    <a:pt x="26" y="57"/>
                    <a:pt x="26" y="58"/>
                    <a:pt x="27" y="58"/>
                  </a:cubicBezTo>
                  <a:cubicBezTo>
                    <a:pt x="28" y="59"/>
                    <a:pt x="29" y="60"/>
                    <a:pt x="30" y="60"/>
                  </a:cubicBezTo>
                  <a:cubicBezTo>
                    <a:pt x="31" y="60"/>
                    <a:pt x="31" y="60"/>
                    <a:pt x="31" y="60"/>
                  </a:cubicBezTo>
                  <a:cubicBezTo>
                    <a:pt x="38" y="59"/>
                    <a:pt x="43" y="57"/>
                    <a:pt x="48" y="53"/>
                  </a:cubicBezTo>
                  <a:cubicBezTo>
                    <a:pt x="51" y="56"/>
                    <a:pt x="51" y="56"/>
                    <a:pt x="51" y="56"/>
                  </a:cubicBezTo>
                  <a:cubicBezTo>
                    <a:pt x="53" y="58"/>
                    <a:pt x="56" y="58"/>
                    <a:pt x="57" y="56"/>
                  </a:cubicBezTo>
                  <a:cubicBezTo>
                    <a:pt x="59" y="55"/>
                    <a:pt x="59" y="52"/>
                    <a:pt x="57" y="51"/>
                  </a:cubicBezTo>
                  <a:lnTo>
                    <a:pt x="54" y="47"/>
                  </a:lnTo>
                  <a:close/>
                  <a:moveTo>
                    <a:pt x="48" y="42"/>
                  </a:moveTo>
                  <a:cubicBezTo>
                    <a:pt x="37" y="31"/>
                    <a:pt x="37" y="31"/>
                    <a:pt x="37" y="31"/>
                  </a:cubicBezTo>
                  <a:cubicBezTo>
                    <a:pt x="42" y="27"/>
                    <a:pt x="45" y="27"/>
                    <a:pt x="48" y="30"/>
                  </a:cubicBezTo>
                  <a:cubicBezTo>
                    <a:pt x="51" y="33"/>
                    <a:pt x="51" y="38"/>
                    <a:pt x="48" y="42"/>
                  </a:cubicBezTo>
                  <a:close/>
                  <a:moveTo>
                    <a:pt x="24" y="28"/>
                  </a:moveTo>
                  <a:cubicBezTo>
                    <a:pt x="21" y="30"/>
                    <a:pt x="19" y="30"/>
                    <a:pt x="17" y="30"/>
                  </a:cubicBezTo>
                  <a:cubicBezTo>
                    <a:pt x="15" y="30"/>
                    <a:pt x="14" y="30"/>
                    <a:pt x="12" y="28"/>
                  </a:cubicBezTo>
                  <a:cubicBezTo>
                    <a:pt x="9" y="25"/>
                    <a:pt x="10" y="21"/>
                    <a:pt x="13" y="17"/>
                  </a:cubicBezTo>
                  <a:lnTo>
                    <a:pt x="24" y="2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grpSp>
      <p:grpSp>
        <p:nvGrpSpPr>
          <p:cNvPr id="31" name="Group 30">
            <a:extLst>
              <a:ext uri="{FF2B5EF4-FFF2-40B4-BE49-F238E27FC236}">
                <a16:creationId xmlns:a16="http://schemas.microsoft.com/office/drawing/2014/main" id="{E4EAA38F-DA13-4FE8-995C-BC2B2207434B}"/>
              </a:ext>
            </a:extLst>
          </p:cNvPr>
          <p:cNvGrpSpPr/>
          <p:nvPr/>
        </p:nvGrpSpPr>
        <p:grpSpPr>
          <a:xfrm>
            <a:off x="7346388" y="2171250"/>
            <a:ext cx="565002" cy="542785"/>
            <a:chOff x="69851" y="7086600"/>
            <a:chExt cx="565149" cy="542926"/>
          </a:xfrm>
          <a:solidFill>
            <a:schemeClr val="accent1"/>
          </a:solidFill>
        </p:grpSpPr>
        <p:sp>
          <p:nvSpPr>
            <p:cNvPr id="32" name="Freeform 75">
              <a:extLst>
                <a:ext uri="{FF2B5EF4-FFF2-40B4-BE49-F238E27FC236}">
                  <a16:creationId xmlns:a16="http://schemas.microsoft.com/office/drawing/2014/main" id="{9164E715-1581-4BD0-8480-B83E0529BCFD}"/>
                </a:ext>
              </a:extLst>
            </p:cNvPr>
            <p:cNvSpPr>
              <a:spLocks noEditPoints="1"/>
            </p:cNvSpPr>
            <p:nvPr/>
          </p:nvSpPr>
          <p:spPr bwMode="auto">
            <a:xfrm>
              <a:off x="69851" y="7142163"/>
              <a:ext cx="515937" cy="487363"/>
            </a:xfrm>
            <a:custGeom>
              <a:avLst/>
              <a:gdLst>
                <a:gd name="T0" fmla="*/ 224 w 234"/>
                <a:gd name="T1" fmla="*/ 79 h 221"/>
                <a:gd name="T2" fmla="*/ 129 w 234"/>
                <a:gd name="T3" fmla="*/ 107 h 221"/>
                <a:gd name="T4" fmla="*/ 153 w 234"/>
                <a:gd name="T5" fmla="*/ 9 h 221"/>
                <a:gd name="T6" fmla="*/ 149 w 234"/>
                <a:gd name="T7" fmla="*/ 3 h 221"/>
                <a:gd name="T8" fmla="*/ 122 w 234"/>
                <a:gd name="T9" fmla="*/ 0 h 221"/>
                <a:gd name="T10" fmla="*/ 15 w 234"/>
                <a:gd name="T11" fmla="*/ 84 h 221"/>
                <a:gd name="T12" fmla="*/ 96 w 234"/>
                <a:gd name="T13" fmla="*/ 218 h 221"/>
                <a:gd name="T14" fmla="*/ 122 w 234"/>
                <a:gd name="T15" fmla="*/ 221 h 221"/>
                <a:gd name="T16" fmla="*/ 122 w 234"/>
                <a:gd name="T17" fmla="*/ 221 h 221"/>
                <a:gd name="T18" fmla="*/ 230 w 234"/>
                <a:gd name="T19" fmla="*/ 137 h 221"/>
                <a:gd name="T20" fmla="*/ 229 w 234"/>
                <a:gd name="T21" fmla="*/ 82 h 221"/>
                <a:gd name="T22" fmla="*/ 224 w 234"/>
                <a:gd name="T23" fmla="*/ 79 h 221"/>
                <a:gd name="T24" fmla="*/ 220 w 234"/>
                <a:gd name="T25" fmla="*/ 135 h 221"/>
                <a:gd name="T26" fmla="*/ 122 w 234"/>
                <a:gd name="T27" fmla="*/ 211 h 221"/>
                <a:gd name="T28" fmla="*/ 98 w 234"/>
                <a:gd name="T29" fmla="*/ 208 h 221"/>
                <a:gd name="T30" fmla="*/ 25 w 234"/>
                <a:gd name="T31" fmla="*/ 87 h 221"/>
                <a:gd name="T32" fmla="*/ 122 w 234"/>
                <a:gd name="T33" fmla="*/ 10 h 221"/>
                <a:gd name="T34" fmla="*/ 142 w 234"/>
                <a:gd name="T35" fmla="*/ 12 h 221"/>
                <a:gd name="T36" fmla="*/ 117 w 234"/>
                <a:gd name="T37" fmla="*/ 113 h 221"/>
                <a:gd name="T38" fmla="*/ 118 w 234"/>
                <a:gd name="T39" fmla="*/ 118 h 221"/>
                <a:gd name="T40" fmla="*/ 123 w 234"/>
                <a:gd name="T41" fmla="*/ 119 h 221"/>
                <a:gd name="T42" fmla="*/ 221 w 234"/>
                <a:gd name="T43" fmla="*/ 90 h 221"/>
                <a:gd name="T44" fmla="*/ 220 w 234"/>
                <a:gd name="T45" fmla="*/ 135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4" h="221">
                  <a:moveTo>
                    <a:pt x="224" y="79"/>
                  </a:moveTo>
                  <a:cubicBezTo>
                    <a:pt x="224" y="79"/>
                    <a:pt x="221" y="79"/>
                    <a:pt x="129" y="107"/>
                  </a:cubicBezTo>
                  <a:cubicBezTo>
                    <a:pt x="153" y="9"/>
                    <a:pt x="153" y="9"/>
                    <a:pt x="153" y="9"/>
                  </a:cubicBezTo>
                  <a:cubicBezTo>
                    <a:pt x="153" y="7"/>
                    <a:pt x="152" y="4"/>
                    <a:pt x="149" y="3"/>
                  </a:cubicBezTo>
                  <a:cubicBezTo>
                    <a:pt x="140" y="1"/>
                    <a:pt x="131" y="0"/>
                    <a:pt x="122" y="0"/>
                  </a:cubicBezTo>
                  <a:cubicBezTo>
                    <a:pt x="71" y="0"/>
                    <a:pt x="27" y="35"/>
                    <a:pt x="15" y="84"/>
                  </a:cubicBezTo>
                  <a:cubicBezTo>
                    <a:pt x="0" y="144"/>
                    <a:pt x="37" y="204"/>
                    <a:pt x="96" y="218"/>
                  </a:cubicBezTo>
                  <a:cubicBezTo>
                    <a:pt x="105" y="220"/>
                    <a:pt x="114" y="221"/>
                    <a:pt x="122" y="221"/>
                  </a:cubicBezTo>
                  <a:cubicBezTo>
                    <a:pt x="122" y="221"/>
                    <a:pt x="122" y="221"/>
                    <a:pt x="122" y="221"/>
                  </a:cubicBezTo>
                  <a:cubicBezTo>
                    <a:pt x="173" y="221"/>
                    <a:pt x="218" y="187"/>
                    <a:pt x="230" y="137"/>
                  </a:cubicBezTo>
                  <a:cubicBezTo>
                    <a:pt x="234" y="119"/>
                    <a:pt x="234" y="100"/>
                    <a:pt x="229" y="82"/>
                  </a:cubicBezTo>
                  <a:cubicBezTo>
                    <a:pt x="229" y="80"/>
                    <a:pt x="227" y="79"/>
                    <a:pt x="224" y="79"/>
                  </a:cubicBezTo>
                  <a:close/>
                  <a:moveTo>
                    <a:pt x="220" y="135"/>
                  </a:moveTo>
                  <a:cubicBezTo>
                    <a:pt x="209" y="180"/>
                    <a:pt x="169" y="211"/>
                    <a:pt x="122" y="211"/>
                  </a:cubicBezTo>
                  <a:cubicBezTo>
                    <a:pt x="114" y="211"/>
                    <a:pt x="106" y="210"/>
                    <a:pt x="98" y="208"/>
                  </a:cubicBezTo>
                  <a:cubicBezTo>
                    <a:pt x="44" y="195"/>
                    <a:pt x="11" y="141"/>
                    <a:pt x="25" y="87"/>
                  </a:cubicBezTo>
                  <a:cubicBezTo>
                    <a:pt x="36" y="42"/>
                    <a:pt x="76" y="10"/>
                    <a:pt x="122" y="10"/>
                  </a:cubicBezTo>
                  <a:cubicBezTo>
                    <a:pt x="129" y="10"/>
                    <a:pt x="135" y="11"/>
                    <a:pt x="142" y="12"/>
                  </a:cubicBezTo>
                  <a:cubicBezTo>
                    <a:pt x="117" y="113"/>
                    <a:pt x="117" y="113"/>
                    <a:pt x="117" y="113"/>
                  </a:cubicBezTo>
                  <a:cubicBezTo>
                    <a:pt x="116" y="115"/>
                    <a:pt x="117" y="117"/>
                    <a:pt x="118" y="118"/>
                  </a:cubicBezTo>
                  <a:cubicBezTo>
                    <a:pt x="119" y="119"/>
                    <a:pt x="121" y="119"/>
                    <a:pt x="123" y="119"/>
                  </a:cubicBezTo>
                  <a:cubicBezTo>
                    <a:pt x="157" y="109"/>
                    <a:pt x="206" y="94"/>
                    <a:pt x="221" y="90"/>
                  </a:cubicBezTo>
                  <a:cubicBezTo>
                    <a:pt x="224" y="105"/>
                    <a:pt x="224" y="120"/>
                    <a:pt x="220" y="13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33" name="Freeform 76">
              <a:extLst>
                <a:ext uri="{FF2B5EF4-FFF2-40B4-BE49-F238E27FC236}">
                  <a16:creationId xmlns:a16="http://schemas.microsoft.com/office/drawing/2014/main" id="{EE110C29-EE0C-47AD-BDC2-AB70A39A7665}"/>
                </a:ext>
              </a:extLst>
            </p:cNvPr>
            <p:cNvSpPr>
              <a:spLocks noEditPoints="1"/>
            </p:cNvSpPr>
            <p:nvPr/>
          </p:nvSpPr>
          <p:spPr bwMode="auto">
            <a:xfrm>
              <a:off x="420688" y="7086600"/>
              <a:ext cx="214312" cy="215900"/>
            </a:xfrm>
            <a:custGeom>
              <a:avLst/>
              <a:gdLst>
                <a:gd name="T0" fmla="*/ 97 w 98"/>
                <a:gd name="T1" fmla="*/ 67 h 98"/>
                <a:gd name="T2" fmla="*/ 29 w 98"/>
                <a:gd name="T3" fmla="*/ 1 h 98"/>
                <a:gd name="T4" fmla="*/ 23 w 98"/>
                <a:gd name="T5" fmla="*/ 4 h 98"/>
                <a:gd name="T6" fmla="*/ 1 w 98"/>
                <a:gd name="T7" fmla="*/ 92 h 98"/>
                <a:gd name="T8" fmla="*/ 2 w 98"/>
                <a:gd name="T9" fmla="*/ 97 h 98"/>
                <a:gd name="T10" fmla="*/ 6 w 98"/>
                <a:gd name="T11" fmla="*/ 98 h 98"/>
                <a:gd name="T12" fmla="*/ 7 w 98"/>
                <a:gd name="T13" fmla="*/ 98 h 98"/>
                <a:gd name="T14" fmla="*/ 94 w 98"/>
                <a:gd name="T15" fmla="*/ 73 h 98"/>
                <a:gd name="T16" fmla="*/ 97 w 98"/>
                <a:gd name="T17" fmla="*/ 71 h 98"/>
                <a:gd name="T18" fmla="*/ 97 w 98"/>
                <a:gd name="T19" fmla="*/ 67 h 98"/>
                <a:gd name="T20" fmla="*/ 13 w 98"/>
                <a:gd name="T21" fmla="*/ 86 h 98"/>
                <a:gd name="T22" fmla="*/ 31 w 98"/>
                <a:gd name="T23" fmla="*/ 12 h 98"/>
                <a:gd name="T24" fmla="*/ 86 w 98"/>
                <a:gd name="T25" fmla="*/ 65 h 98"/>
                <a:gd name="T26" fmla="*/ 13 w 98"/>
                <a:gd name="T27" fmla="*/ 8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 h="98">
                  <a:moveTo>
                    <a:pt x="97" y="67"/>
                  </a:moveTo>
                  <a:cubicBezTo>
                    <a:pt x="88" y="34"/>
                    <a:pt x="62" y="9"/>
                    <a:pt x="29" y="1"/>
                  </a:cubicBezTo>
                  <a:cubicBezTo>
                    <a:pt x="26" y="0"/>
                    <a:pt x="23" y="2"/>
                    <a:pt x="23" y="4"/>
                  </a:cubicBezTo>
                  <a:cubicBezTo>
                    <a:pt x="1" y="92"/>
                    <a:pt x="1" y="92"/>
                    <a:pt x="1" y="92"/>
                  </a:cubicBezTo>
                  <a:cubicBezTo>
                    <a:pt x="0" y="94"/>
                    <a:pt x="1" y="96"/>
                    <a:pt x="2" y="97"/>
                  </a:cubicBezTo>
                  <a:cubicBezTo>
                    <a:pt x="3" y="98"/>
                    <a:pt x="4" y="98"/>
                    <a:pt x="6" y="98"/>
                  </a:cubicBezTo>
                  <a:cubicBezTo>
                    <a:pt x="6" y="98"/>
                    <a:pt x="6" y="98"/>
                    <a:pt x="7" y="98"/>
                  </a:cubicBezTo>
                  <a:cubicBezTo>
                    <a:pt x="94" y="73"/>
                    <a:pt x="94" y="73"/>
                    <a:pt x="94" y="73"/>
                  </a:cubicBezTo>
                  <a:cubicBezTo>
                    <a:pt x="95" y="73"/>
                    <a:pt x="96" y="72"/>
                    <a:pt x="97" y="71"/>
                  </a:cubicBezTo>
                  <a:cubicBezTo>
                    <a:pt x="98" y="70"/>
                    <a:pt x="98" y="68"/>
                    <a:pt x="97" y="67"/>
                  </a:cubicBezTo>
                  <a:close/>
                  <a:moveTo>
                    <a:pt x="13" y="86"/>
                  </a:moveTo>
                  <a:cubicBezTo>
                    <a:pt x="31" y="12"/>
                    <a:pt x="31" y="12"/>
                    <a:pt x="31" y="12"/>
                  </a:cubicBezTo>
                  <a:cubicBezTo>
                    <a:pt x="57" y="20"/>
                    <a:pt x="77" y="39"/>
                    <a:pt x="86" y="65"/>
                  </a:cubicBezTo>
                  <a:lnTo>
                    <a:pt x="13" y="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grpSp>
      <p:grpSp>
        <p:nvGrpSpPr>
          <p:cNvPr id="34" name="Group 33">
            <a:extLst>
              <a:ext uri="{FF2B5EF4-FFF2-40B4-BE49-F238E27FC236}">
                <a16:creationId xmlns:a16="http://schemas.microsoft.com/office/drawing/2014/main" id="{F8EB414A-BD19-4CCD-8AD9-C68FCB7F6F6C}"/>
              </a:ext>
            </a:extLst>
          </p:cNvPr>
          <p:cNvGrpSpPr/>
          <p:nvPr/>
        </p:nvGrpSpPr>
        <p:grpSpPr>
          <a:xfrm>
            <a:off x="10079663" y="2193701"/>
            <a:ext cx="541490" cy="545112"/>
            <a:chOff x="9829800" y="1187450"/>
            <a:chExt cx="474663" cy="477838"/>
          </a:xfrm>
          <a:solidFill>
            <a:schemeClr val="accent1"/>
          </a:solidFill>
        </p:grpSpPr>
        <p:sp>
          <p:nvSpPr>
            <p:cNvPr id="35" name="Freeform 526">
              <a:extLst>
                <a:ext uri="{FF2B5EF4-FFF2-40B4-BE49-F238E27FC236}">
                  <a16:creationId xmlns:a16="http://schemas.microsoft.com/office/drawing/2014/main" id="{A9F639D6-FBC0-4CC6-901B-0D0A87A26A2A}"/>
                </a:ext>
              </a:extLst>
            </p:cNvPr>
            <p:cNvSpPr>
              <a:spLocks noEditPoints="1"/>
            </p:cNvSpPr>
            <p:nvPr/>
          </p:nvSpPr>
          <p:spPr bwMode="auto">
            <a:xfrm>
              <a:off x="9829800" y="1187450"/>
              <a:ext cx="474663" cy="477838"/>
            </a:xfrm>
            <a:custGeom>
              <a:avLst/>
              <a:gdLst>
                <a:gd name="T0" fmla="*/ 220 w 224"/>
                <a:gd name="T1" fmla="*/ 0 h 225"/>
                <a:gd name="T2" fmla="*/ 5 w 224"/>
                <a:gd name="T3" fmla="*/ 0 h 225"/>
                <a:gd name="T4" fmla="*/ 0 w 224"/>
                <a:gd name="T5" fmla="*/ 5 h 225"/>
                <a:gd name="T6" fmla="*/ 0 w 224"/>
                <a:gd name="T7" fmla="*/ 220 h 225"/>
                <a:gd name="T8" fmla="*/ 5 w 224"/>
                <a:gd name="T9" fmla="*/ 225 h 225"/>
                <a:gd name="T10" fmla="*/ 220 w 224"/>
                <a:gd name="T11" fmla="*/ 225 h 225"/>
                <a:gd name="T12" fmla="*/ 224 w 224"/>
                <a:gd name="T13" fmla="*/ 220 h 225"/>
                <a:gd name="T14" fmla="*/ 224 w 224"/>
                <a:gd name="T15" fmla="*/ 5 h 225"/>
                <a:gd name="T16" fmla="*/ 220 w 224"/>
                <a:gd name="T17" fmla="*/ 0 h 225"/>
                <a:gd name="T18" fmla="*/ 9 w 224"/>
                <a:gd name="T19" fmla="*/ 48 h 225"/>
                <a:gd name="T20" fmla="*/ 215 w 224"/>
                <a:gd name="T21" fmla="*/ 48 h 225"/>
                <a:gd name="T22" fmla="*/ 215 w 224"/>
                <a:gd name="T23" fmla="*/ 173 h 225"/>
                <a:gd name="T24" fmla="*/ 9 w 224"/>
                <a:gd name="T25" fmla="*/ 173 h 225"/>
                <a:gd name="T26" fmla="*/ 9 w 224"/>
                <a:gd name="T27" fmla="*/ 48 h 225"/>
                <a:gd name="T28" fmla="*/ 215 w 224"/>
                <a:gd name="T29" fmla="*/ 9 h 225"/>
                <a:gd name="T30" fmla="*/ 215 w 224"/>
                <a:gd name="T31" fmla="*/ 39 h 225"/>
                <a:gd name="T32" fmla="*/ 9 w 224"/>
                <a:gd name="T33" fmla="*/ 39 h 225"/>
                <a:gd name="T34" fmla="*/ 9 w 224"/>
                <a:gd name="T35" fmla="*/ 9 h 225"/>
                <a:gd name="T36" fmla="*/ 215 w 224"/>
                <a:gd name="T37" fmla="*/ 9 h 225"/>
                <a:gd name="T38" fmla="*/ 9 w 224"/>
                <a:gd name="T39" fmla="*/ 216 h 225"/>
                <a:gd name="T40" fmla="*/ 9 w 224"/>
                <a:gd name="T41" fmla="*/ 182 h 225"/>
                <a:gd name="T42" fmla="*/ 215 w 224"/>
                <a:gd name="T43" fmla="*/ 182 h 225"/>
                <a:gd name="T44" fmla="*/ 215 w 224"/>
                <a:gd name="T45" fmla="*/ 216 h 225"/>
                <a:gd name="T46" fmla="*/ 9 w 224"/>
                <a:gd name="T47" fmla="*/ 216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4" h="225">
                  <a:moveTo>
                    <a:pt x="220" y="0"/>
                  </a:moveTo>
                  <a:cubicBezTo>
                    <a:pt x="5" y="0"/>
                    <a:pt x="5" y="0"/>
                    <a:pt x="5" y="0"/>
                  </a:cubicBezTo>
                  <a:cubicBezTo>
                    <a:pt x="2" y="0"/>
                    <a:pt x="0" y="2"/>
                    <a:pt x="0" y="5"/>
                  </a:cubicBezTo>
                  <a:cubicBezTo>
                    <a:pt x="0" y="220"/>
                    <a:pt x="0" y="220"/>
                    <a:pt x="0" y="220"/>
                  </a:cubicBezTo>
                  <a:cubicBezTo>
                    <a:pt x="0" y="223"/>
                    <a:pt x="2" y="225"/>
                    <a:pt x="5" y="225"/>
                  </a:cubicBezTo>
                  <a:cubicBezTo>
                    <a:pt x="220" y="225"/>
                    <a:pt x="220" y="225"/>
                    <a:pt x="220" y="225"/>
                  </a:cubicBezTo>
                  <a:cubicBezTo>
                    <a:pt x="222" y="225"/>
                    <a:pt x="224" y="223"/>
                    <a:pt x="224" y="220"/>
                  </a:cubicBezTo>
                  <a:cubicBezTo>
                    <a:pt x="224" y="5"/>
                    <a:pt x="224" y="5"/>
                    <a:pt x="224" y="5"/>
                  </a:cubicBezTo>
                  <a:cubicBezTo>
                    <a:pt x="224" y="2"/>
                    <a:pt x="222" y="0"/>
                    <a:pt x="220" y="0"/>
                  </a:cubicBezTo>
                  <a:close/>
                  <a:moveTo>
                    <a:pt x="9" y="48"/>
                  </a:moveTo>
                  <a:cubicBezTo>
                    <a:pt x="215" y="48"/>
                    <a:pt x="215" y="48"/>
                    <a:pt x="215" y="48"/>
                  </a:cubicBezTo>
                  <a:cubicBezTo>
                    <a:pt x="215" y="173"/>
                    <a:pt x="215" y="173"/>
                    <a:pt x="215" y="173"/>
                  </a:cubicBezTo>
                  <a:cubicBezTo>
                    <a:pt x="9" y="173"/>
                    <a:pt x="9" y="173"/>
                    <a:pt x="9" y="173"/>
                  </a:cubicBezTo>
                  <a:lnTo>
                    <a:pt x="9" y="48"/>
                  </a:lnTo>
                  <a:close/>
                  <a:moveTo>
                    <a:pt x="215" y="9"/>
                  </a:moveTo>
                  <a:cubicBezTo>
                    <a:pt x="215" y="39"/>
                    <a:pt x="215" y="39"/>
                    <a:pt x="215" y="39"/>
                  </a:cubicBezTo>
                  <a:cubicBezTo>
                    <a:pt x="9" y="39"/>
                    <a:pt x="9" y="39"/>
                    <a:pt x="9" y="39"/>
                  </a:cubicBezTo>
                  <a:cubicBezTo>
                    <a:pt x="9" y="9"/>
                    <a:pt x="9" y="9"/>
                    <a:pt x="9" y="9"/>
                  </a:cubicBezTo>
                  <a:lnTo>
                    <a:pt x="215" y="9"/>
                  </a:lnTo>
                  <a:close/>
                  <a:moveTo>
                    <a:pt x="9" y="216"/>
                  </a:moveTo>
                  <a:cubicBezTo>
                    <a:pt x="9" y="182"/>
                    <a:pt x="9" y="182"/>
                    <a:pt x="9" y="182"/>
                  </a:cubicBezTo>
                  <a:cubicBezTo>
                    <a:pt x="215" y="182"/>
                    <a:pt x="215" y="182"/>
                    <a:pt x="215" y="182"/>
                  </a:cubicBezTo>
                  <a:cubicBezTo>
                    <a:pt x="215" y="216"/>
                    <a:pt x="215" y="216"/>
                    <a:pt x="215" y="216"/>
                  </a:cubicBezTo>
                  <a:lnTo>
                    <a:pt x="9" y="21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36" name="Freeform 527">
              <a:extLst>
                <a:ext uri="{FF2B5EF4-FFF2-40B4-BE49-F238E27FC236}">
                  <a16:creationId xmlns:a16="http://schemas.microsoft.com/office/drawing/2014/main" id="{1FC0DFBC-0CED-4310-9670-E481B401D02A}"/>
                </a:ext>
              </a:extLst>
            </p:cNvPr>
            <p:cNvSpPr>
              <a:spLocks/>
            </p:cNvSpPr>
            <p:nvPr/>
          </p:nvSpPr>
          <p:spPr bwMode="auto">
            <a:xfrm>
              <a:off x="9885363" y="1222375"/>
              <a:ext cx="31750" cy="31750"/>
            </a:xfrm>
            <a:custGeom>
              <a:avLst/>
              <a:gdLst>
                <a:gd name="T0" fmla="*/ 4 w 15"/>
                <a:gd name="T1" fmla="*/ 15 h 15"/>
                <a:gd name="T2" fmla="*/ 11 w 15"/>
                <a:gd name="T3" fmla="*/ 15 h 15"/>
                <a:gd name="T4" fmla="*/ 15 w 15"/>
                <a:gd name="T5" fmla="*/ 11 h 15"/>
                <a:gd name="T6" fmla="*/ 15 w 15"/>
                <a:gd name="T7" fmla="*/ 4 h 15"/>
                <a:gd name="T8" fmla="*/ 11 w 15"/>
                <a:gd name="T9" fmla="*/ 0 h 15"/>
                <a:gd name="T10" fmla="*/ 4 w 15"/>
                <a:gd name="T11" fmla="*/ 0 h 15"/>
                <a:gd name="T12" fmla="*/ 0 w 15"/>
                <a:gd name="T13" fmla="*/ 4 h 15"/>
                <a:gd name="T14" fmla="*/ 0 w 15"/>
                <a:gd name="T15" fmla="*/ 11 h 15"/>
                <a:gd name="T16" fmla="*/ 4 w 15"/>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4" y="15"/>
                  </a:moveTo>
                  <a:cubicBezTo>
                    <a:pt x="11" y="15"/>
                    <a:pt x="11" y="15"/>
                    <a:pt x="11" y="15"/>
                  </a:cubicBezTo>
                  <a:cubicBezTo>
                    <a:pt x="13" y="15"/>
                    <a:pt x="15" y="13"/>
                    <a:pt x="15" y="11"/>
                  </a:cubicBezTo>
                  <a:cubicBezTo>
                    <a:pt x="15" y="4"/>
                    <a:pt x="15" y="4"/>
                    <a:pt x="15" y="4"/>
                  </a:cubicBezTo>
                  <a:cubicBezTo>
                    <a:pt x="15" y="2"/>
                    <a:pt x="13" y="0"/>
                    <a:pt x="11" y="0"/>
                  </a:cubicBezTo>
                  <a:cubicBezTo>
                    <a:pt x="4" y="0"/>
                    <a:pt x="4" y="0"/>
                    <a:pt x="4" y="0"/>
                  </a:cubicBezTo>
                  <a:cubicBezTo>
                    <a:pt x="2" y="0"/>
                    <a:pt x="0" y="2"/>
                    <a:pt x="0" y="4"/>
                  </a:cubicBezTo>
                  <a:cubicBezTo>
                    <a:pt x="0" y="11"/>
                    <a:pt x="0" y="11"/>
                    <a:pt x="0" y="11"/>
                  </a:cubicBezTo>
                  <a:cubicBezTo>
                    <a:pt x="0" y="13"/>
                    <a:pt x="2" y="15"/>
                    <a:pt x="4" y="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37" name="Freeform 528">
              <a:extLst>
                <a:ext uri="{FF2B5EF4-FFF2-40B4-BE49-F238E27FC236}">
                  <a16:creationId xmlns:a16="http://schemas.microsoft.com/office/drawing/2014/main" id="{4AD67425-2479-40A1-9E1E-02EB90C541C7}"/>
                </a:ext>
              </a:extLst>
            </p:cNvPr>
            <p:cNvSpPr>
              <a:spLocks/>
            </p:cNvSpPr>
            <p:nvPr/>
          </p:nvSpPr>
          <p:spPr bwMode="auto">
            <a:xfrm>
              <a:off x="9967913" y="1222375"/>
              <a:ext cx="33338" cy="31750"/>
            </a:xfrm>
            <a:custGeom>
              <a:avLst/>
              <a:gdLst>
                <a:gd name="T0" fmla="*/ 5 w 16"/>
                <a:gd name="T1" fmla="*/ 15 h 15"/>
                <a:gd name="T2" fmla="*/ 11 w 16"/>
                <a:gd name="T3" fmla="*/ 15 h 15"/>
                <a:gd name="T4" fmla="*/ 16 w 16"/>
                <a:gd name="T5" fmla="*/ 11 h 15"/>
                <a:gd name="T6" fmla="*/ 16 w 16"/>
                <a:gd name="T7" fmla="*/ 4 h 15"/>
                <a:gd name="T8" fmla="*/ 11 w 16"/>
                <a:gd name="T9" fmla="*/ 0 h 15"/>
                <a:gd name="T10" fmla="*/ 5 w 16"/>
                <a:gd name="T11" fmla="*/ 0 h 15"/>
                <a:gd name="T12" fmla="*/ 0 w 16"/>
                <a:gd name="T13" fmla="*/ 4 h 15"/>
                <a:gd name="T14" fmla="*/ 0 w 16"/>
                <a:gd name="T15" fmla="*/ 11 h 15"/>
                <a:gd name="T16" fmla="*/ 5 w 16"/>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5">
                  <a:moveTo>
                    <a:pt x="5" y="15"/>
                  </a:moveTo>
                  <a:cubicBezTo>
                    <a:pt x="11" y="15"/>
                    <a:pt x="11" y="15"/>
                    <a:pt x="11" y="15"/>
                  </a:cubicBezTo>
                  <a:cubicBezTo>
                    <a:pt x="14" y="15"/>
                    <a:pt x="16" y="13"/>
                    <a:pt x="16" y="11"/>
                  </a:cubicBezTo>
                  <a:cubicBezTo>
                    <a:pt x="16" y="4"/>
                    <a:pt x="16" y="4"/>
                    <a:pt x="16" y="4"/>
                  </a:cubicBezTo>
                  <a:cubicBezTo>
                    <a:pt x="16" y="2"/>
                    <a:pt x="14" y="0"/>
                    <a:pt x="11" y="0"/>
                  </a:cubicBezTo>
                  <a:cubicBezTo>
                    <a:pt x="5" y="0"/>
                    <a:pt x="5" y="0"/>
                    <a:pt x="5" y="0"/>
                  </a:cubicBezTo>
                  <a:cubicBezTo>
                    <a:pt x="2" y="0"/>
                    <a:pt x="0" y="2"/>
                    <a:pt x="0" y="4"/>
                  </a:cubicBezTo>
                  <a:cubicBezTo>
                    <a:pt x="0" y="11"/>
                    <a:pt x="0" y="11"/>
                    <a:pt x="0" y="11"/>
                  </a:cubicBezTo>
                  <a:cubicBezTo>
                    <a:pt x="0" y="13"/>
                    <a:pt x="2" y="15"/>
                    <a:pt x="5" y="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38" name="Freeform 529">
              <a:extLst>
                <a:ext uri="{FF2B5EF4-FFF2-40B4-BE49-F238E27FC236}">
                  <a16:creationId xmlns:a16="http://schemas.microsoft.com/office/drawing/2014/main" id="{A187793C-642A-4064-B2CA-A9934E0250B6}"/>
                </a:ext>
              </a:extLst>
            </p:cNvPr>
            <p:cNvSpPr>
              <a:spLocks/>
            </p:cNvSpPr>
            <p:nvPr/>
          </p:nvSpPr>
          <p:spPr bwMode="auto">
            <a:xfrm>
              <a:off x="10050463" y="1222375"/>
              <a:ext cx="33338" cy="31750"/>
            </a:xfrm>
            <a:custGeom>
              <a:avLst/>
              <a:gdLst>
                <a:gd name="T0" fmla="*/ 5 w 16"/>
                <a:gd name="T1" fmla="*/ 15 h 15"/>
                <a:gd name="T2" fmla="*/ 11 w 16"/>
                <a:gd name="T3" fmla="*/ 15 h 15"/>
                <a:gd name="T4" fmla="*/ 16 w 16"/>
                <a:gd name="T5" fmla="*/ 11 h 15"/>
                <a:gd name="T6" fmla="*/ 16 w 16"/>
                <a:gd name="T7" fmla="*/ 4 h 15"/>
                <a:gd name="T8" fmla="*/ 11 w 16"/>
                <a:gd name="T9" fmla="*/ 0 h 15"/>
                <a:gd name="T10" fmla="*/ 5 w 16"/>
                <a:gd name="T11" fmla="*/ 0 h 15"/>
                <a:gd name="T12" fmla="*/ 0 w 16"/>
                <a:gd name="T13" fmla="*/ 4 h 15"/>
                <a:gd name="T14" fmla="*/ 0 w 16"/>
                <a:gd name="T15" fmla="*/ 11 h 15"/>
                <a:gd name="T16" fmla="*/ 5 w 16"/>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5">
                  <a:moveTo>
                    <a:pt x="5" y="15"/>
                  </a:moveTo>
                  <a:cubicBezTo>
                    <a:pt x="11" y="15"/>
                    <a:pt x="11" y="15"/>
                    <a:pt x="11" y="15"/>
                  </a:cubicBezTo>
                  <a:cubicBezTo>
                    <a:pt x="14" y="15"/>
                    <a:pt x="16" y="13"/>
                    <a:pt x="16" y="11"/>
                  </a:cubicBezTo>
                  <a:cubicBezTo>
                    <a:pt x="16" y="4"/>
                    <a:pt x="16" y="4"/>
                    <a:pt x="16" y="4"/>
                  </a:cubicBezTo>
                  <a:cubicBezTo>
                    <a:pt x="16" y="2"/>
                    <a:pt x="14" y="0"/>
                    <a:pt x="11" y="0"/>
                  </a:cubicBezTo>
                  <a:cubicBezTo>
                    <a:pt x="5" y="0"/>
                    <a:pt x="5" y="0"/>
                    <a:pt x="5" y="0"/>
                  </a:cubicBezTo>
                  <a:cubicBezTo>
                    <a:pt x="2" y="0"/>
                    <a:pt x="0" y="2"/>
                    <a:pt x="0" y="4"/>
                  </a:cubicBezTo>
                  <a:cubicBezTo>
                    <a:pt x="0" y="11"/>
                    <a:pt x="0" y="11"/>
                    <a:pt x="0" y="11"/>
                  </a:cubicBezTo>
                  <a:cubicBezTo>
                    <a:pt x="0" y="13"/>
                    <a:pt x="2" y="15"/>
                    <a:pt x="5" y="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39" name="Freeform 530">
              <a:extLst>
                <a:ext uri="{FF2B5EF4-FFF2-40B4-BE49-F238E27FC236}">
                  <a16:creationId xmlns:a16="http://schemas.microsoft.com/office/drawing/2014/main" id="{FA648127-F1B6-4F5E-8E18-01E8C994CCDC}"/>
                </a:ext>
              </a:extLst>
            </p:cNvPr>
            <p:cNvSpPr>
              <a:spLocks/>
            </p:cNvSpPr>
            <p:nvPr/>
          </p:nvSpPr>
          <p:spPr bwMode="auto">
            <a:xfrm>
              <a:off x="10134600" y="1222375"/>
              <a:ext cx="31750" cy="31750"/>
            </a:xfrm>
            <a:custGeom>
              <a:avLst/>
              <a:gdLst>
                <a:gd name="T0" fmla="*/ 4 w 15"/>
                <a:gd name="T1" fmla="*/ 15 h 15"/>
                <a:gd name="T2" fmla="*/ 11 w 15"/>
                <a:gd name="T3" fmla="*/ 15 h 15"/>
                <a:gd name="T4" fmla="*/ 15 w 15"/>
                <a:gd name="T5" fmla="*/ 11 h 15"/>
                <a:gd name="T6" fmla="*/ 15 w 15"/>
                <a:gd name="T7" fmla="*/ 4 h 15"/>
                <a:gd name="T8" fmla="*/ 11 w 15"/>
                <a:gd name="T9" fmla="*/ 0 h 15"/>
                <a:gd name="T10" fmla="*/ 4 w 15"/>
                <a:gd name="T11" fmla="*/ 0 h 15"/>
                <a:gd name="T12" fmla="*/ 0 w 15"/>
                <a:gd name="T13" fmla="*/ 4 h 15"/>
                <a:gd name="T14" fmla="*/ 0 w 15"/>
                <a:gd name="T15" fmla="*/ 11 h 15"/>
                <a:gd name="T16" fmla="*/ 4 w 15"/>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4" y="15"/>
                  </a:moveTo>
                  <a:cubicBezTo>
                    <a:pt x="11" y="15"/>
                    <a:pt x="11" y="15"/>
                    <a:pt x="11" y="15"/>
                  </a:cubicBezTo>
                  <a:cubicBezTo>
                    <a:pt x="13" y="15"/>
                    <a:pt x="15" y="13"/>
                    <a:pt x="15" y="11"/>
                  </a:cubicBezTo>
                  <a:cubicBezTo>
                    <a:pt x="15" y="4"/>
                    <a:pt x="15" y="4"/>
                    <a:pt x="15" y="4"/>
                  </a:cubicBezTo>
                  <a:cubicBezTo>
                    <a:pt x="15" y="2"/>
                    <a:pt x="13" y="0"/>
                    <a:pt x="11" y="0"/>
                  </a:cubicBezTo>
                  <a:cubicBezTo>
                    <a:pt x="4" y="0"/>
                    <a:pt x="4" y="0"/>
                    <a:pt x="4" y="0"/>
                  </a:cubicBezTo>
                  <a:cubicBezTo>
                    <a:pt x="2" y="0"/>
                    <a:pt x="0" y="2"/>
                    <a:pt x="0" y="4"/>
                  </a:cubicBezTo>
                  <a:cubicBezTo>
                    <a:pt x="0" y="11"/>
                    <a:pt x="0" y="11"/>
                    <a:pt x="0" y="11"/>
                  </a:cubicBezTo>
                  <a:cubicBezTo>
                    <a:pt x="0" y="13"/>
                    <a:pt x="2" y="15"/>
                    <a:pt x="4" y="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40" name="Freeform 531">
              <a:extLst>
                <a:ext uri="{FF2B5EF4-FFF2-40B4-BE49-F238E27FC236}">
                  <a16:creationId xmlns:a16="http://schemas.microsoft.com/office/drawing/2014/main" id="{9DED0B04-9FC9-4B98-9B37-F2B7D7CBCA86}"/>
                </a:ext>
              </a:extLst>
            </p:cNvPr>
            <p:cNvSpPr>
              <a:spLocks/>
            </p:cNvSpPr>
            <p:nvPr/>
          </p:nvSpPr>
          <p:spPr bwMode="auto">
            <a:xfrm>
              <a:off x="10218738" y="1222375"/>
              <a:ext cx="31750" cy="31750"/>
            </a:xfrm>
            <a:custGeom>
              <a:avLst/>
              <a:gdLst>
                <a:gd name="T0" fmla="*/ 4 w 15"/>
                <a:gd name="T1" fmla="*/ 15 h 15"/>
                <a:gd name="T2" fmla="*/ 11 w 15"/>
                <a:gd name="T3" fmla="*/ 15 h 15"/>
                <a:gd name="T4" fmla="*/ 15 w 15"/>
                <a:gd name="T5" fmla="*/ 11 h 15"/>
                <a:gd name="T6" fmla="*/ 15 w 15"/>
                <a:gd name="T7" fmla="*/ 4 h 15"/>
                <a:gd name="T8" fmla="*/ 11 w 15"/>
                <a:gd name="T9" fmla="*/ 0 h 15"/>
                <a:gd name="T10" fmla="*/ 4 w 15"/>
                <a:gd name="T11" fmla="*/ 0 h 15"/>
                <a:gd name="T12" fmla="*/ 0 w 15"/>
                <a:gd name="T13" fmla="*/ 4 h 15"/>
                <a:gd name="T14" fmla="*/ 0 w 15"/>
                <a:gd name="T15" fmla="*/ 11 h 15"/>
                <a:gd name="T16" fmla="*/ 4 w 15"/>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4" y="15"/>
                  </a:moveTo>
                  <a:cubicBezTo>
                    <a:pt x="11" y="15"/>
                    <a:pt x="11" y="15"/>
                    <a:pt x="11" y="15"/>
                  </a:cubicBezTo>
                  <a:cubicBezTo>
                    <a:pt x="13" y="15"/>
                    <a:pt x="15" y="13"/>
                    <a:pt x="15" y="11"/>
                  </a:cubicBezTo>
                  <a:cubicBezTo>
                    <a:pt x="15" y="4"/>
                    <a:pt x="15" y="4"/>
                    <a:pt x="15" y="4"/>
                  </a:cubicBezTo>
                  <a:cubicBezTo>
                    <a:pt x="15" y="2"/>
                    <a:pt x="13" y="0"/>
                    <a:pt x="11" y="0"/>
                  </a:cubicBezTo>
                  <a:cubicBezTo>
                    <a:pt x="4" y="0"/>
                    <a:pt x="4" y="0"/>
                    <a:pt x="4" y="0"/>
                  </a:cubicBezTo>
                  <a:cubicBezTo>
                    <a:pt x="2" y="0"/>
                    <a:pt x="0" y="2"/>
                    <a:pt x="0" y="4"/>
                  </a:cubicBezTo>
                  <a:cubicBezTo>
                    <a:pt x="0" y="11"/>
                    <a:pt x="0" y="11"/>
                    <a:pt x="0" y="11"/>
                  </a:cubicBezTo>
                  <a:cubicBezTo>
                    <a:pt x="0" y="13"/>
                    <a:pt x="2" y="15"/>
                    <a:pt x="4" y="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41" name="Freeform 532">
              <a:extLst>
                <a:ext uri="{FF2B5EF4-FFF2-40B4-BE49-F238E27FC236}">
                  <a16:creationId xmlns:a16="http://schemas.microsoft.com/office/drawing/2014/main" id="{225A97F4-0EE1-4F32-8E53-B1F955D5EB0E}"/>
                </a:ext>
              </a:extLst>
            </p:cNvPr>
            <p:cNvSpPr>
              <a:spLocks/>
            </p:cNvSpPr>
            <p:nvPr/>
          </p:nvSpPr>
          <p:spPr bwMode="auto">
            <a:xfrm>
              <a:off x="9885363" y="1595438"/>
              <a:ext cx="31750" cy="31750"/>
            </a:xfrm>
            <a:custGeom>
              <a:avLst/>
              <a:gdLst>
                <a:gd name="T0" fmla="*/ 11 w 15"/>
                <a:gd name="T1" fmla="*/ 0 h 15"/>
                <a:gd name="T2" fmla="*/ 4 w 15"/>
                <a:gd name="T3" fmla="*/ 0 h 15"/>
                <a:gd name="T4" fmla="*/ 0 w 15"/>
                <a:gd name="T5" fmla="*/ 4 h 15"/>
                <a:gd name="T6" fmla="*/ 0 w 15"/>
                <a:gd name="T7" fmla="*/ 11 h 15"/>
                <a:gd name="T8" fmla="*/ 4 w 15"/>
                <a:gd name="T9" fmla="*/ 15 h 15"/>
                <a:gd name="T10" fmla="*/ 11 w 15"/>
                <a:gd name="T11" fmla="*/ 15 h 15"/>
                <a:gd name="T12" fmla="*/ 15 w 15"/>
                <a:gd name="T13" fmla="*/ 11 h 15"/>
                <a:gd name="T14" fmla="*/ 15 w 15"/>
                <a:gd name="T15" fmla="*/ 4 h 15"/>
                <a:gd name="T16" fmla="*/ 11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11" y="0"/>
                  </a:moveTo>
                  <a:cubicBezTo>
                    <a:pt x="4" y="0"/>
                    <a:pt x="4" y="0"/>
                    <a:pt x="4" y="0"/>
                  </a:cubicBezTo>
                  <a:cubicBezTo>
                    <a:pt x="2" y="0"/>
                    <a:pt x="0" y="2"/>
                    <a:pt x="0" y="4"/>
                  </a:cubicBezTo>
                  <a:cubicBezTo>
                    <a:pt x="0" y="11"/>
                    <a:pt x="0" y="11"/>
                    <a:pt x="0" y="11"/>
                  </a:cubicBezTo>
                  <a:cubicBezTo>
                    <a:pt x="0" y="13"/>
                    <a:pt x="2" y="15"/>
                    <a:pt x="4" y="15"/>
                  </a:cubicBezTo>
                  <a:cubicBezTo>
                    <a:pt x="11" y="15"/>
                    <a:pt x="11" y="15"/>
                    <a:pt x="11" y="15"/>
                  </a:cubicBezTo>
                  <a:cubicBezTo>
                    <a:pt x="13" y="15"/>
                    <a:pt x="15" y="13"/>
                    <a:pt x="15" y="11"/>
                  </a:cubicBezTo>
                  <a:cubicBezTo>
                    <a:pt x="15" y="4"/>
                    <a:pt x="15" y="4"/>
                    <a:pt x="15" y="4"/>
                  </a:cubicBezTo>
                  <a:cubicBezTo>
                    <a:pt x="15" y="2"/>
                    <a:pt x="13" y="0"/>
                    <a:pt x="1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42" name="Freeform 533">
              <a:extLst>
                <a:ext uri="{FF2B5EF4-FFF2-40B4-BE49-F238E27FC236}">
                  <a16:creationId xmlns:a16="http://schemas.microsoft.com/office/drawing/2014/main" id="{55044FD2-78B1-4DB4-B216-395B0AAFF5C8}"/>
                </a:ext>
              </a:extLst>
            </p:cNvPr>
            <p:cNvSpPr>
              <a:spLocks/>
            </p:cNvSpPr>
            <p:nvPr/>
          </p:nvSpPr>
          <p:spPr bwMode="auto">
            <a:xfrm>
              <a:off x="9967913" y="1595438"/>
              <a:ext cx="33338" cy="31750"/>
            </a:xfrm>
            <a:custGeom>
              <a:avLst/>
              <a:gdLst>
                <a:gd name="T0" fmla="*/ 11 w 16"/>
                <a:gd name="T1" fmla="*/ 0 h 15"/>
                <a:gd name="T2" fmla="*/ 5 w 16"/>
                <a:gd name="T3" fmla="*/ 0 h 15"/>
                <a:gd name="T4" fmla="*/ 0 w 16"/>
                <a:gd name="T5" fmla="*/ 4 h 15"/>
                <a:gd name="T6" fmla="*/ 0 w 16"/>
                <a:gd name="T7" fmla="*/ 11 h 15"/>
                <a:gd name="T8" fmla="*/ 5 w 16"/>
                <a:gd name="T9" fmla="*/ 15 h 15"/>
                <a:gd name="T10" fmla="*/ 11 w 16"/>
                <a:gd name="T11" fmla="*/ 15 h 15"/>
                <a:gd name="T12" fmla="*/ 16 w 16"/>
                <a:gd name="T13" fmla="*/ 11 h 15"/>
                <a:gd name="T14" fmla="*/ 16 w 16"/>
                <a:gd name="T15" fmla="*/ 4 h 15"/>
                <a:gd name="T16" fmla="*/ 11 w 16"/>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5">
                  <a:moveTo>
                    <a:pt x="11" y="0"/>
                  </a:moveTo>
                  <a:cubicBezTo>
                    <a:pt x="5" y="0"/>
                    <a:pt x="5" y="0"/>
                    <a:pt x="5" y="0"/>
                  </a:cubicBezTo>
                  <a:cubicBezTo>
                    <a:pt x="2" y="0"/>
                    <a:pt x="0" y="2"/>
                    <a:pt x="0" y="4"/>
                  </a:cubicBezTo>
                  <a:cubicBezTo>
                    <a:pt x="0" y="11"/>
                    <a:pt x="0" y="11"/>
                    <a:pt x="0" y="11"/>
                  </a:cubicBezTo>
                  <a:cubicBezTo>
                    <a:pt x="0" y="13"/>
                    <a:pt x="2" y="15"/>
                    <a:pt x="5" y="15"/>
                  </a:cubicBezTo>
                  <a:cubicBezTo>
                    <a:pt x="11" y="15"/>
                    <a:pt x="11" y="15"/>
                    <a:pt x="11" y="15"/>
                  </a:cubicBezTo>
                  <a:cubicBezTo>
                    <a:pt x="14" y="15"/>
                    <a:pt x="16" y="13"/>
                    <a:pt x="16" y="11"/>
                  </a:cubicBezTo>
                  <a:cubicBezTo>
                    <a:pt x="16" y="4"/>
                    <a:pt x="16" y="4"/>
                    <a:pt x="16" y="4"/>
                  </a:cubicBezTo>
                  <a:cubicBezTo>
                    <a:pt x="16" y="2"/>
                    <a:pt x="14" y="0"/>
                    <a:pt x="1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43" name="Freeform 534">
              <a:extLst>
                <a:ext uri="{FF2B5EF4-FFF2-40B4-BE49-F238E27FC236}">
                  <a16:creationId xmlns:a16="http://schemas.microsoft.com/office/drawing/2014/main" id="{FF857687-8FFC-4C84-8701-C0F463FC4869}"/>
                </a:ext>
              </a:extLst>
            </p:cNvPr>
            <p:cNvSpPr>
              <a:spLocks/>
            </p:cNvSpPr>
            <p:nvPr/>
          </p:nvSpPr>
          <p:spPr bwMode="auto">
            <a:xfrm>
              <a:off x="10050463" y="1595438"/>
              <a:ext cx="33338" cy="31750"/>
            </a:xfrm>
            <a:custGeom>
              <a:avLst/>
              <a:gdLst>
                <a:gd name="T0" fmla="*/ 11 w 16"/>
                <a:gd name="T1" fmla="*/ 0 h 15"/>
                <a:gd name="T2" fmla="*/ 5 w 16"/>
                <a:gd name="T3" fmla="*/ 0 h 15"/>
                <a:gd name="T4" fmla="*/ 0 w 16"/>
                <a:gd name="T5" fmla="*/ 4 h 15"/>
                <a:gd name="T6" fmla="*/ 0 w 16"/>
                <a:gd name="T7" fmla="*/ 11 h 15"/>
                <a:gd name="T8" fmla="*/ 5 w 16"/>
                <a:gd name="T9" fmla="*/ 15 h 15"/>
                <a:gd name="T10" fmla="*/ 11 w 16"/>
                <a:gd name="T11" fmla="*/ 15 h 15"/>
                <a:gd name="T12" fmla="*/ 16 w 16"/>
                <a:gd name="T13" fmla="*/ 11 h 15"/>
                <a:gd name="T14" fmla="*/ 16 w 16"/>
                <a:gd name="T15" fmla="*/ 4 h 15"/>
                <a:gd name="T16" fmla="*/ 11 w 16"/>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5">
                  <a:moveTo>
                    <a:pt x="11" y="0"/>
                  </a:moveTo>
                  <a:cubicBezTo>
                    <a:pt x="5" y="0"/>
                    <a:pt x="5" y="0"/>
                    <a:pt x="5" y="0"/>
                  </a:cubicBezTo>
                  <a:cubicBezTo>
                    <a:pt x="2" y="0"/>
                    <a:pt x="0" y="2"/>
                    <a:pt x="0" y="4"/>
                  </a:cubicBezTo>
                  <a:cubicBezTo>
                    <a:pt x="0" y="11"/>
                    <a:pt x="0" y="11"/>
                    <a:pt x="0" y="11"/>
                  </a:cubicBezTo>
                  <a:cubicBezTo>
                    <a:pt x="0" y="13"/>
                    <a:pt x="2" y="15"/>
                    <a:pt x="5" y="15"/>
                  </a:cubicBezTo>
                  <a:cubicBezTo>
                    <a:pt x="11" y="15"/>
                    <a:pt x="11" y="15"/>
                    <a:pt x="11" y="15"/>
                  </a:cubicBezTo>
                  <a:cubicBezTo>
                    <a:pt x="14" y="15"/>
                    <a:pt x="16" y="13"/>
                    <a:pt x="16" y="11"/>
                  </a:cubicBezTo>
                  <a:cubicBezTo>
                    <a:pt x="16" y="4"/>
                    <a:pt x="16" y="4"/>
                    <a:pt x="16" y="4"/>
                  </a:cubicBezTo>
                  <a:cubicBezTo>
                    <a:pt x="16" y="2"/>
                    <a:pt x="14" y="0"/>
                    <a:pt x="1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44" name="Freeform 535">
              <a:extLst>
                <a:ext uri="{FF2B5EF4-FFF2-40B4-BE49-F238E27FC236}">
                  <a16:creationId xmlns:a16="http://schemas.microsoft.com/office/drawing/2014/main" id="{0527A866-7182-46D2-B8E2-ED35969C00CE}"/>
                </a:ext>
              </a:extLst>
            </p:cNvPr>
            <p:cNvSpPr>
              <a:spLocks/>
            </p:cNvSpPr>
            <p:nvPr/>
          </p:nvSpPr>
          <p:spPr bwMode="auto">
            <a:xfrm>
              <a:off x="10134600" y="1595438"/>
              <a:ext cx="31750" cy="31750"/>
            </a:xfrm>
            <a:custGeom>
              <a:avLst/>
              <a:gdLst>
                <a:gd name="T0" fmla="*/ 11 w 15"/>
                <a:gd name="T1" fmla="*/ 0 h 15"/>
                <a:gd name="T2" fmla="*/ 4 w 15"/>
                <a:gd name="T3" fmla="*/ 0 h 15"/>
                <a:gd name="T4" fmla="*/ 0 w 15"/>
                <a:gd name="T5" fmla="*/ 4 h 15"/>
                <a:gd name="T6" fmla="*/ 0 w 15"/>
                <a:gd name="T7" fmla="*/ 11 h 15"/>
                <a:gd name="T8" fmla="*/ 4 w 15"/>
                <a:gd name="T9" fmla="*/ 15 h 15"/>
                <a:gd name="T10" fmla="*/ 11 w 15"/>
                <a:gd name="T11" fmla="*/ 15 h 15"/>
                <a:gd name="T12" fmla="*/ 15 w 15"/>
                <a:gd name="T13" fmla="*/ 11 h 15"/>
                <a:gd name="T14" fmla="*/ 15 w 15"/>
                <a:gd name="T15" fmla="*/ 4 h 15"/>
                <a:gd name="T16" fmla="*/ 11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11" y="0"/>
                  </a:moveTo>
                  <a:cubicBezTo>
                    <a:pt x="4" y="0"/>
                    <a:pt x="4" y="0"/>
                    <a:pt x="4" y="0"/>
                  </a:cubicBezTo>
                  <a:cubicBezTo>
                    <a:pt x="2" y="0"/>
                    <a:pt x="0" y="2"/>
                    <a:pt x="0" y="4"/>
                  </a:cubicBezTo>
                  <a:cubicBezTo>
                    <a:pt x="0" y="11"/>
                    <a:pt x="0" y="11"/>
                    <a:pt x="0" y="11"/>
                  </a:cubicBezTo>
                  <a:cubicBezTo>
                    <a:pt x="0" y="13"/>
                    <a:pt x="2" y="15"/>
                    <a:pt x="4" y="15"/>
                  </a:cubicBezTo>
                  <a:cubicBezTo>
                    <a:pt x="11" y="15"/>
                    <a:pt x="11" y="15"/>
                    <a:pt x="11" y="15"/>
                  </a:cubicBezTo>
                  <a:cubicBezTo>
                    <a:pt x="13" y="15"/>
                    <a:pt x="15" y="13"/>
                    <a:pt x="15" y="11"/>
                  </a:cubicBezTo>
                  <a:cubicBezTo>
                    <a:pt x="15" y="4"/>
                    <a:pt x="15" y="4"/>
                    <a:pt x="15" y="4"/>
                  </a:cubicBezTo>
                  <a:cubicBezTo>
                    <a:pt x="15" y="2"/>
                    <a:pt x="13" y="0"/>
                    <a:pt x="1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45" name="Freeform 536">
              <a:extLst>
                <a:ext uri="{FF2B5EF4-FFF2-40B4-BE49-F238E27FC236}">
                  <a16:creationId xmlns:a16="http://schemas.microsoft.com/office/drawing/2014/main" id="{71F6F66B-6789-4538-881B-EFD98DB49E2C}"/>
                </a:ext>
              </a:extLst>
            </p:cNvPr>
            <p:cNvSpPr>
              <a:spLocks/>
            </p:cNvSpPr>
            <p:nvPr/>
          </p:nvSpPr>
          <p:spPr bwMode="auto">
            <a:xfrm>
              <a:off x="10218738" y="1595438"/>
              <a:ext cx="31750" cy="31750"/>
            </a:xfrm>
            <a:custGeom>
              <a:avLst/>
              <a:gdLst>
                <a:gd name="T0" fmla="*/ 11 w 15"/>
                <a:gd name="T1" fmla="*/ 0 h 15"/>
                <a:gd name="T2" fmla="*/ 4 w 15"/>
                <a:gd name="T3" fmla="*/ 0 h 15"/>
                <a:gd name="T4" fmla="*/ 0 w 15"/>
                <a:gd name="T5" fmla="*/ 4 h 15"/>
                <a:gd name="T6" fmla="*/ 0 w 15"/>
                <a:gd name="T7" fmla="*/ 11 h 15"/>
                <a:gd name="T8" fmla="*/ 4 w 15"/>
                <a:gd name="T9" fmla="*/ 15 h 15"/>
                <a:gd name="T10" fmla="*/ 11 w 15"/>
                <a:gd name="T11" fmla="*/ 15 h 15"/>
                <a:gd name="T12" fmla="*/ 15 w 15"/>
                <a:gd name="T13" fmla="*/ 11 h 15"/>
                <a:gd name="T14" fmla="*/ 15 w 15"/>
                <a:gd name="T15" fmla="*/ 4 h 15"/>
                <a:gd name="T16" fmla="*/ 11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11" y="0"/>
                  </a:moveTo>
                  <a:cubicBezTo>
                    <a:pt x="4" y="0"/>
                    <a:pt x="4" y="0"/>
                    <a:pt x="4" y="0"/>
                  </a:cubicBezTo>
                  <a:cubicBezTo>
                    <a:pt x="2" y="0"/>
                    <a:pt x="0" y="2"/>
                    <a:pt x="0" y="4"/>
                  </a:cubicBezTo>
                  <a:cubicBezTo>
                    <a:pt x="0" y="11"/>
                    <a:pt x="0" y="11"/>
                    <a:pt x="0" y="11"/>
                  </a:cubicBezTo>
                  <a:cubicBezTo>
                    <a:pt x="0" y="13"/>
                    <a:pt x="2" y="15"/>
                    <a:pt x="4" y="15"/>
                  </a:cubicBezTo>
                  <a:cubicBezTo>
                    <a:pt x="11" y="15"/>
                    <a:pt x="11" y="15"/>
                    <a:pt x="11" y="15"/>
                  </a:cubicBezTo>
                  <a:cubicBezTo>
                    <a:pt x="13" y="15"/>
                    <a:pt x="15" y="13"/>
                    <a:pt x="15" y="11"/>
                  </a:cubicBezTo>
                  <a:cubicBezTo>
                    <a:pt x="15" y="4"/>
                    <a:pt x="15" y="4"/>
                    <a:pt x="15" y="4"/>
                  </a:cubicBezTo>
                  <a:cubicBezTo>
                    <a:pt x="15" y="2"/>
                    <a:pt x="13" y="0"/>
                    <a:pt x="1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46" name="Freeform 537">
              <a:extLst>
                <a:ext uri="{FF2B5EF4-FFF2-40B4-BE49-F238E27FC236}">
                  <a16:creationId xmlns:a16="http://schemas.microsoft.com/office/drawing/2014/main" id="{A1288896-B1A4-44F4-97AE-85FEBB97511B}"/>
                </a:ext>
              </a:extLst>
            </p:cNvPr>
            <p:cNvSpPr>
              <a:spLocks noEditPoints="1"/>
            </p:cNvSpPr>
            <p:nvPr/>
          </p:nvSpPr>
          <p:spPr bwMode="auto">
            <a:xfrm>
              <a:off x="10017125" y="1328738"/>
              <a:ext cx="130175" cy="188913"/>
            </a:xfrm>
            <a:custGeom>
              <a:avLst/>
              <a:gdLst>
                <a:gd name="T0" fmla="*/ 59 w 62"/>
                <a:gd name="T1" fmla="*/ 37 h 89"/>
                <a:gd name="T2" fmla="*/ 14 w 62"/>
                <a:gd name="T3" fmla="*/ 2 h 89"/>
                <a:gd name="T4" fmla="*/ 8 w 62"/>
                <a:gd name="T5" fmla="*/ 0 h 89"/>
                <a:gd name="T6" fmla="*/ 0 w 62"/>
                <a:gd name="T7" fmla="*/ 7 h 89"/>
                <a:gd name="T8" fmla="*/ 0 w 62"/>
                <a:gd name="T9" fmla="*/ 10 h 89"/>
                <a:gd name="T10" fmla="*/ 0 w 62"/>
                <a:gd name="T11" fmla="*/ 81 h 89"/>
                <a:gd name="T12" fmla="*/ 1 w 62"/>
                <a:gd name="T13" fmla="*/ 85 h 89"/>
                <a:gd name="T14" fmla="*/ 8 w 62"/>
                <a:gd name="T15" fmla="*/ 89 h 89"/>
                <a:gd name="T16" fmla="*/ 8 w 62"/>
                <a:gd name="T17" fmla="*/ 89 h 89"/>
                <a:gd name="T18" fmla="*/ 8 w 62"/>
                <a:gd name="T19" fmla="*/ 89 h 89"/>
                <a:gd name="T20" fmla="*/ 15 w 62"/>
                <a:gd name="T21" fmla="*/ 86 h 89"/>
                <a:gd name="T22" fmla="*/ 15 w 62"/>
                <a:gd name="T23" fmla="*/ 86 h 89"/>
                <a:gd name="T24" fmla="*/ 59 w 62"/>
                <a:gd name="T25" fmla="*/ 52 h 89"/>
                <a:gd name="T26" fmla="*/ 62 w 62"/>
                <a:gd name="T27" fmla="*/ 45 h 89"/>
                <a:gd name="T28" fmla="*/ 59 w 62"/>
                <a:gd name="T29" fmla="*/ 37 h 89"/>
                <a:gd name="T30" fmla="*/ 53 w 62"/>
                <a:gd name="T31" fmla="*/ 45 h 89"/>
                <a:gd name="T32" fmla="*/ 10 w 62"/>
                <a:gd name="T33" fmla="*/ 79 h 89"/>
                <a:gd name="T34" fmla="*/ 9 w 62"/>
                <a:gd name="T35" fmla="*/ 79 h 89"/>
                <a:gd name="T36" fmla="*/ 9 w 62"/>
                <a:gd name="T37" fmla="*/ 10 h 89"/>
                <a:gd name="T38" fmla="*/ 9 w 62"/>
                <a:gd name="T39" fmla="*/ 10 h 89"/>
                <a:gd name="T40" fmla="*/ 52 w 62"/>
                <a:gd name="T41" fmla="*/ 44 h 89"/>
                <a:gd name="T42" fmla="*/ 53 w 62"/>
                <a:gd name="T43" fmla="*/ 44 h 89"/>
                <a:gd name="T44" fmla="*/ 53 w 62"/>
                <a:gd name="T45" fmla="*/ 4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 h="89">
                  <a:moveTo>
                    <a:pt x="59" y="37"/>
                  </a:moveTo>
                  <a:cubicBezTo>
                    <a:pt x="14" y="2"/>
                    <a:pt x="14" y="2"/>
                    <a:pt x="14" y="2"/>
                  </a:cubicBezTo>
                  <a:cubicBezTo>
                    <a:pt x="13" y="1"/>
                    <a:pt x="11" y="0"/>
                    <a:pt x="8" y="0"/>
                  </a:cubicBezTo>
                  <a:cubicBezTo>
                    <a:pt x="5" y="0"/>
                    <a:pt x="1" y="2"/>
                    <a:pt x="0" y="7"/>
                  </a:cubicBezTo>
                  <a:cubicBezTo>
                    <a:pt x="0" y="8"/>
                    <a:pt x="0" y="10"/>
                    <a:pt x="0" y="10"/>
                  </a:cubicBezTo>
                  <a:cubicBezTo>
                    <a:pt x="0" y="81"/>
                    <a:pt x="0" y="81"/>
                    <a:pt x="0" y="81"/>
                  </a:cubicBezTo>
                  <a:cubicBezTo>
                    <a:pt x="0" y="82"/>
                    <a:pt x="0" y="84"/>
                    <a:pt x="1" y="85"/>
                  </a:cubicBezTo>
                  <a:cubicBezTo>
                    <a:pt x="2" y="87"/>
                    <a:pt x="5" y="89"/>
                    <a:pt x="8" y="89"/>
                  </a:cubicBezTo>
                  <a:cubicBezTo>
                    <a:pt x="8" y="89"/>
                    <a:pt x="8" y="89"/>
                    <a:pt x="8" y="89"/>
                  </a:cubicBezTo>
                  <a:cubicBezTo>
                    <a:pt x="8" y="89"/>
                    <a:pt x="8" y="89"/>
                    <a:pt x="8" y="89"/>
                  </a:cubicBezTo>
                  <a:cubicBezTo>
                    <a:pt x="11" y="89"/>
                    <a:pt x="13" y="87"/>
                    <a:pt x="15" y="86"/>
                  </a:cubicBezTo>
                  <a:cubicBezTo>
                    <a:pt x="15" y="86"/>
                    <a:pt x="15" y="86"/>
                    <a:pt x="15" y="86"/>
                  </a:cubicBezTo>
                  <a:cubicBezTo>
                    <a:pt x="15" y="86"/>
                    <a:pt x="42" y="65"/>
                    <a:pt x="59" y="52"/>
                  </a:cubicBezTo>
                  <a:cubicBezTo>
                    <a:pt x="59" y="51"/>
                    <a:pt x="62" y="49"/>
                    <a:pt x="62" y="45"/>
                  </a:cubicBezTo>
                  <a:cubicBezTo>
                    <a:pt x="62" y="42"/>
                    <a:pt x="61" y="39"/>
                    <a:pt x="59" y="37"/>
                  </a:cubicBezTo>
                  <a:close/>
                  <a:moveTo>
                    <a:pt x="53" y="45"/>
                  </a:moveTo>
                  <a:cubicBezTo>
                    <a:pt x="36" y="58"/>
                    <a:pt x="10" y="79"/>
                    <a:pt x="10" y="79"/>
                  </a:cubicBezTo>
                  <a:cubicBezTo>
                    <a:pt x="9" y="79"/>
                    <a:pt x="9" y="79"/>
                    <a:pt x="9" y="79"/>
                  </a:cubicBezTo>
                  <a:cubicBezTo>
                    <a:pt x="9" y="10"/>
                    <a:pt x="9" y="10"/>
                    <a:pt x="9" y="10"/>
                  </a:cubicBezTo>
                  <a:cubicBezTo>
                    <a:pt x="9" y="10"/>
                    <a:pt x="9" y="10"/>
                    <a:pt x="9" y="10"/>
                  </a:cubicBezTo>
                  <a:cubicBezTo>
                    <a:pt x="52" y="44"/>
                    <a:pt x="52" y="44"/>
                    <a:pt x="52" y="44"/>
                  </a:cubicBezTo>
                  <a:cubicBezTo>
                    <a:pt x="53" y="44"/>
                    <a:pt x="53" y="44"/>
                    <a:pt x="53" y="44"/>
                  </a:cubicBezTo>
                  <a:cubicBezTo>
                    <a:pt x="53" y="45"/>
                    <a:pt x="53" y="45"/>
                    <a:pt x="53" y="4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grpSp>
      <p:sp>
        <p:nvSpPr>
          <p:cNvPr id="47" name="Rectangle 46">
            <a:extLst>
              <a:ext uri="{FF2B5EF4-FFF2-40B4-BE49-F238E27FC236}">
                <a16:creationId xmlns:a16="http://schemas.microsoft.com/office/drawing/2014/main" id="{65F4132D-AEEC-4599-A069-11DC4F489EBA}"/>
              </a:ext>
            </a:extLst>
          </p:cNvPr>
          <p:cNvSpPr/>
          <p:nvPr/>
        </p:nvSpPr>
        <p:spPr>
          <a:xfrm>
            <a:off x="503108" y="4628968"/>
            <a:ext cx="11159442" cy="2023617"/>
          </a:xfrm>
          <a:prstGeom prst="rect">
            <a:avLst/>
          </a:prstGeom>
          <a:noFill/>
          <a:ln w="9525" cap="sq" cmpd="sng" algn="ctr">
            <a:solidFill>
              <a:srgbClr val="FFFFFF">
                <a:lumMod val="85000"/>
              </a:srgbClr>
            </a:solidFill>
            <a:prstDash val="solid"/>
          </a:ln>
          <a:effectLst/>
        </p:spPr>
        <p:txBody>
          <a:bodyPr tIns="182832" rtlCol="0" anchor="t"/>
          <a:lstStyle/>
          <a:p>
            <a:pPr marL="171399" marR="0" lvl="0" indent="-171399" algn="l" defTabSz="914126"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000" b="0" i="0" u="none" strike="noStrike" kern="0" cap="none" spc="0" normalizeH="0" baseline="0" noProof="0" dirty="0">
              <a:ln>
                <a:noFill/>
              </a:ln>
              <a:solidFill>
                <a:prstClr val="black"/>
              </a:solidFill>
              <a:effectLst/>
              <a:uLnTx/>
              <a:uFillTx/>
              <a:ea typeface="Microsoft YaHei UI Light" panose="020B0502040204020203" pitchFamily="34" charset="-122"/>
              <a:cs typeface="Arial" panose="020B0604020202020204" pitchFamily="34" charset="0"/>
            </a:endParaRPr>
          </a:p>
        </p:txBody>
      </p:sp>
      <p:sp>
        <p:nvSpPr>
          <p:cNvPr id="48" name="Rectangle 47">
            <a:extLst>
              <a:ext uri="{FF2B5EF4-FFF2-40B4-BE49-F238E27FC236}">
                <a16:creationId xmlns:a16="http://schemas.microsoft.com/office/drawing/2014/main" id="{99C3B613-245A-409A-B85F-4860AB77726A}"/>
              </a:ext>
            </a:extLst>
          </p:cNvPr>
          <p:cNvSpPr/>
          <p:nvPr/>
        </p:nvSpPr>
        <p:spPr>
          <a:xfrm>
            <a:off x="5299255" y="4541899"/>
            <a:ext cx="1551216" cy="184666"/>
          </a:xfrm>
          <a:prstGeom prst="rect">
            <a:avLst/>
          </a:prstGeom>
          <a:solidFill>
            <a:srgbClr val="FFFFFF"/>
          </a:solidFill>
          <a:ln w="9525" cap="sq" cmpd="sng" algn="ctr">
            <a:noFill/>
            <a:prstDash val="dash"/>
          </a:ln>
          <a:effectLst/>
        </p:spPr>
        <p:txBody>
          <a:bodyPr wrap="square" lIns="91416" tIns="0" rIns="91416" bIns="0" rtlCol="0" anchor="ctr">
            <a:spAutoFit/>
          </a:bodyPr>
          <a:lstStyle/>
          <a:p>
            <a:pPr algn="ctr" defTabSz="914126">
              <a:spcAft>
                <a:spcPts val="600"/>
              </a:spcAft>
              <a:defRPr/>
            </a:pPr>
            <a:r>
              <a:rPr kumimoji="0" lang="en-US" sz="1200" b="1" i="0" u="none" strike="noStrike" kern="0" cap="none" spc="0" normalizeH="0" baseline="0" noProof="0" dirty="0">
                <a:ln>
                  <a:noFill/>
                </a:ln>
                <a:solidFill>
                  <a:prstClr val="black"/>
                </a:solidFill>
                <a:effectLst/>
                <a:uLnTx/>
                <a:uFillTx/>
                <a:ea typeface="Microsoft YaHei UI Light" panose="020B0502040204020203" pitchFamily="34" charset="-122"/>
                <a:cs typeface="+mn-cs"/>
              </a:rPr>
              <a:t>Challenges</a:t>
            </a:r>
          </a:p>
        </p:txBody>
      </p:sp>
      <p:sp>
        <p:nvSpPr>
          <p:cNvPr id="49" name="Rectangle 48">
            <a:extLst>
              <a:ext uri="{FF2B5EF4-FFF2-40B4-BE49-F238E27FC236}">
                <a16:creationId xmlns:a16="http://schemas.microsoft.com/office/drawing/2014/main" id="{97E88450-844B-496C-91C2-83CBC56981A3}"/>
              </a:ext>
            </a:extLst>
          </p:cNvPr>
          <p:cNvSpPr/>
          <p:nvPr/>
        </p:nvSpPr>
        <p:spPr>
          <a:xfrm>
            <a:off x="826875" y="5453843"/>
            <a:ext cx="2193637" cy="830997"/>
          </a:xfrm>
          <a:prstGeom prst="rect">
            <a:avLst/>
          </a:prstGeom>
        </p:spPr>
        <p:txBody>
          <a:bodyPr wrap="square">
            <a:spAutoFit/>
          </a:bodyPr>
          <a:lstStyle/>
          <a:p>
            <a:pPr marL="0" marR="0" lvl="0" indent="0" algn="l" defTabSz="914126"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Small number of auto manufacturers limits number of hardware-level partnerships</a:t>
            </a:r>
          </a:p>
        </p:txBody>
      </p:sp>
      <p:sp>
        <p:nvSpPr>
          <p:cNvPr id="50" name="Rectangle 49">
            <a:extLst>
              <a:ext uri="{FF2B5EF4-FFF2-40B4-BE49-F238E27FC236}">
                <a16:creationId xmlns:a16="http://schemas.microsoft.com/office/drawing/2014/main" id="{1410B0EE-7097-4666-A200-B8D04CCCF454}"/>
              </a:ext>
            </a:extLst>
          </p:cNvPr>
          <p:cNvSpPr/>
          <p:nvPr/>
        </p:nvSpPr>
        <p:spPr>
          <a:xfrm>
            <a:off x="3604039" y="5453843"/>
            <a:ext cx="2193637" cy="646331"/>
          </a:xfrm>
          <a:prstGeom prst="rect">
            <a:avLst/>
          </a:prstGeom>
        </p:spPr>
        <p:txBody>
          <a:bodyPr wrap="square" lIns="0" rIns="0">
            <a:spAutoFit/>
          </a:bodyPr>
          <a:lstStyle/>
          <a:p>
            <a:pPr marL="0" marR="0" lvl="0" indent="0" algn="l" defTabSz="914126"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Transportation providers may prefer multi-platform flexibility over simplicity of use</a:t>
            </a:r>
          </a:p>
        </p:txBody>
      </p:sp>
      <p:sp>
        <p:nvSpPr>
          <p:cNvPr id="51" name="Rectangle 50">
            <a:extLst>
              <a:ext uri="{FF2B5EF4-FFF2-40B4-BE49-F238E27FC236}">
                <a16:creationId xmlns:a16="http://schemas.microsoft.com/office/drawing/2014/main" id="{377ECF96-0838-4CFF-9F62-AC4365EC9B88}"/>
              </a:ext>
            </a:extLst>
          </p:cNvPr>
          <p:cNvSpPr/>
          <p:nvPr/>
        </p:nvSpPr>
        <p:spPr>
          <a:xfrm>
            <a:off x="6381202" y="5453843"/>
            <a:ext cx="2304924" cy="1015399"/>
          </a:xfrm>
          <a:prstGeom prst="rect">
            <a:avLst/>
          </a:prstGeom>
        </p:spPr>
        <p:txBody>
          <a:bodyPr wrap="square" lIns="0" rIns="0">
            <a:spAutoFit/>
          </a:bodyPr>
          <a:lstStyle/>
          <a:p>
            <a:pPr marL="0" marR="0" lvl="0" indent="0" algn="l" defTabSz="914126"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Isolated areas must have high-capacity, reliable access to communications networks to broadcast large quantities of data</a:t>
            </a:r>
          </a:p>
        </p:txBody>
      </p:sp>
      <p:sp>
        <p:nvSpPr>
          <p:cNvPr id="52" name="Rectangle 51">
            <a:extLst>
              <a:ext uri="{FF2B5EF4-FFF2-40B4-BE49-F238E27FC236}">
                <a16:creationId xmlns:a16="http://schemas.microsoft.com/office/drawing/2014/main" id="{A92DA1E6-B2A7-4032-8BAB-5CF5C6B71EAF}"/>
              </a:ext>
            </a:extLst>
          </p:cNvPr>
          <p:cNvSpPr/>
          <p:nvPr/>
        </p:nvSpPr>
        <p:spPr>
          <a:xfrm>
            <a:off x="9231884" y="5453843"/>
            <a:ext cx="2046597" cy="830781"/>
          </a:xfrm>
          <a:prstGeom prst="rect">
            <a:avLst/>
          </a:prstGeom>
        </p:spPr>
        <p:txBody>
          <a:bodyPr wrap="square" lIns="0" rIns="0">
            <a:spAutoFit/>
          </a:bodyPr>
          <a:lstStyle/>
          <a:p>
            <a:pPr marL="0" marR="0" lvl="0" indent="0" algn="l" defTabSz="914126"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Automation will jeopardize audio’s status as the default mode of in-car entertainment</a:t>
            </a:r>
          </a:p>
        </p:txBody>
      </p:sp>
      <p:grpSp>
        <p:nvGrpSpPr>
          <p:cNvPr id="53" name="Group 52">
            <a:extLst>
              <a:ext uri="{FF2B5EF4-FFF2-40B4-BE49-F238E27FC236}">
                <a16:creationId xmlns:a16="http://schemas.microsoft.com/office/drawing/2014/main" id="{AF0C526C-3811-4414-B062-04ED7AA3E436}"/>
              </a:ext>
            </a:extLst>
          </p:cNvPr>
          <p:cNvGrpSpPr/>
          <p:nvPr/>
        </p:nvGrpSpPr>
        <p:grpSpPr>
          <a:xfrm>
            <a:off x="1547697" y="4884835"/>
            <a:ext cx="523739" cy="457081"/>
            <a:chOff x="4386263" y="7131050"/>
            <a:chExt cx="523875" cy="457200"/>
          </a:xfrm>
          <a:solidFill>
            <a:schemeClr val="accent2"/>
          </a:solidFill>
        </p:grpSpPr>
        <p:sp>
          <p:nvSpPr>
            <p:cNvPr id="54" name="Freeform 227">
              <a:extLst>
                <a:ext uri="{FF2B5EF4-FFF2-40B4-BE49-F238E27FC236}">
                  <a16:creationId xmlns:a16="http://schemas.microsoft.com/office/drawing/2014/main" id="{F127663B-8593-49BA-88C8-9CBD7B35B0DF}"/>
                </a:ext>
              </a:extLst>
            </p:cNvPr>
            <p:cNvSpPr>
              <a:spLocks noEditPoints="1"/>
            </p:cNvSpPr>
            <p:nvPr/>
          </p:nvSpPr>
          <p:spPr bwMode="auto">
            <a:xfrm>
              <a:off x="4386263" y="7131050"/>
              <a:ext cx="523875" cy="457200"/>
            </a:xfrm>
            <a:custGeom>
              <a:avLst/>
              <a:gdLst>
                <a:gd name="T0" fmla="*/ 217 w 251"/>
                <a:gd name="T1" fmla="*/ 65 h 219"/>
                <a:gd name="T2" fmla="*/ 205 w 251"/>
                <a:gd name="T3" fmla="*/ 28 h 219"/>
                <a:gd name="T4" fmla="*/ 76 w 251"/>
                <a:gd name="T5" fmla="*/ 0 h 219"/>
                <a:gd name="T6" fmla="*/ 37 w 251"/>
                <a:gd name="T7" fmla="*/ 66 h 219"/>
                <a:gd name="T8" fmla="*/ 12 w 251"/>
                <a:gd name="T9" fmla="*/ 65 h 219"/>
                <a:gd name="T10" fmla="*/ 0 w 251"/>
                <a:gd name="T11" fmla="*/ 82 h 219"/>
                <a:gd name="T12" fmla="*/ 13 w 251"/>
                <a:gd name="T13" fmla="*/ 94 h 219"/>
                <a:gd name="T14" fmla="*/ 8 w 251"/>
                <a:gd name="T15" fmla="*/ 144 h 219"/>
                <a:gd name="T16" fmla="*/ 24 w 251"/>
                <a:gd name="T17" fmla="*/ 219 h 219"/>
                <a:gd name="T18" fmla="*/ 57 w 251"/>
                <a:gd name="T19" fmla="*/ 203 h 219"/>
                <a:gd name="T20" fmla="*/ 194 w 251"/>
                <a:gd name="T21" fmla="*/ 184 h 219"/>
                <a:gd name="T22" fmla="*/ 210 w 251"/>
                <a:gd name="T23" fmla="*/ 219 h 219"/>
                <a:gd name="T24" fmla="*/ 244 w 251"/>
                <a:gd name="T25" fmla="*/ 203 h 219"/>
                <a:gd name="T26" fmla="*/ 244 w 251"/>
                <a:gd name="T27" fmla="*/ 179 h 219"/>
                <a:gd name="T28" fmla="*/ 244 w 251"/>
                <a:gd name="T29" fmla="*/ 144 h 219"/>
                <a:gd name="T30" fmla="*/ 238 w 251"/>
                <a:gd name="T31" fmla="*/ 94 h 219"/>
                <a:gd name="T32" fmla="*/ 251 w 251"/>
                <a:gd name="T33" fmla="*/ 82 h 219"/>
                <a:gd name="T34" fmla="*/ 239 w 251"/>
                <a:gd name="T35" fmla="*/ 65 h 219"/>
                <a:gd name="T36" fmla="*/ 76 w 251"/>
                <a:gd name="T37" fmla="*/ 10 h 219"/>
                <a:gd name="T38" fmla="*/ 195 w 251"/>
                <a:gd name="T39" fmla="*/ 31 h 219"/>
                <a:gd name="T40" fmla="*/ 184 w 251"/>
                <a:gd name="T41" fmla="*/ 92 h 219"/>
                <a:gd name="T42" fmla="*/ 46 w 251"/>
                <a:gd name="T43" fmla="*/ 74 h 219"/>
                <a:gd name="T44" fmla="*/ 47 w 251"/>
                <a:gd name="T45" fmla="*/ 203 h 219"/>
                <a:gd name="T46" fmla="*/ 24 w 251"/>
                <a:gd name="T47" fmla="*/ 209 h 219"/>
                <a:gd name="T48" fmla="*/ 18 w 251"/>
                <a:gd name="T49" fmla="*/ 184 h 219"/>
                <a:gd name="T50" fmla="*/ 47 w 251"/>
                <a:gd name="T51" fmla="*/ 203 h 219"/>
                <a:gd name="T52" fmla="*/ 210 w 251"/>
                <a:gd name="T53" fmla="*/ 209 h 219"/>
                <a:gd name="T54" fmla="*/ 204 w 251"/>
                <a:gd name="T55" fmla="*/ 184 h 219"/>
                <a:gd name="T56" fmla="*/ 233 w 251"/>
                <a:gd name="T57" fmla="*/ 203 h 219"/>
                <a:gd name="T58" fmla="*/ 241 w 251"/>
                <a:gd name="T59" fmla="*/ 82 h 219"/>
                <a:gd name="T60" fmla="*/ 230 w 251"/>
                <a:gd name="T61" fmla="*/ 85 h 219"/>
                <a:gd name="T62" fmla="*/ 227 w 251"/>
                <a:gd name="T63" fmla="*/ 92 h 219"/>
                <a:gd name="T64" fmla="*/ 233 w 251"/>
                <a:gd name="T65" fmla="*/ 144 h 219"/>
                <a:gd name="T66" fmla="*/ 18 w 251"/>
                <a:gd name="T67" fmla="*/ 174 h 219"/>
                <a:gd name="T68" fmla="*/ 21 w 251"/>
                <a:gd name="T69" fmla="*/ 108 h 219"/>
                <a:gd name="T70" fmla="*/ 25 w 251"/>
                <a:gd name="T71" fmla="*/ 88 h 219"/>
                <a:gd name="T72" fmla="*/ 13 w 251"/>
                <a:gd name="T73" fmla="*/ 83 h 219"/>
                <a:gd name="T74" fmla="*/ 11 w 251"/>
                <a:gd name="T75" fmla="*/ 77 h 219"/>
                <a:gd name="T76" fmla="*/ 34 w 251"/>
                <a:gd name="T77" fmla="*/ 76 h 219"/>
                <a:gd name="T78" fmla="*/ 68 w 251"/>
                <a:gd name="T79" fmla="*/ 102 h 219"/>
                <a:gd name="T80" fmla="*/ 216 w 251"/>
                <a:gd name="T81" fmla="*/ 75 h 219"/>
                <a:gd name="T82" fmla="*/ 239 w 251"/>
                <a:gd name="T83" fmla="*/ 76 h 219"/>
                <a:gd name="T84" fmla="*/ 241 w 251"/>
                <a:gd name="T85" fmla="*/ 8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1" h="219">
                  <a:moveTo>
                    <a:pt x="239" y="65"/>
                  </a:moveTo>
                  <a:cubicBezTo>
                    <a:pt x="217" y="65"/>
                    <a:pt x="217" y="65"/>
                    <a:pt x="217" y="65"/>
                  </a:cubicBezTo>
                  <a:cubicBezTo>
                    <a:pt x="216" y="65"/>
                    <a:pt x="215" y="66"/>
                    <a:pt x="215" y="66"/>
                  </a:cubicBezTo>
                  <a:cubicBezTo>
                    <a:pt x="205" y="28"/>
                    <a:pt x="205" y="28"/>
                    <a:pt x="205" y="28"/>
                  </a:cubicBezTo>
                  <a:cubicBezTo>
                    <a:pt x="202" y="14"/>
                    <a:pt x="192" y="0"/>
                    <a:pt x="176" y="0"/>
                  </a:cubicBezTo>
                  <a:cubicBezTo>
                    <a:pt x="76" y="0"/>
                    <a:pt x="76" y="0"/>
                    <a:pt x="76" y="0"/>
                  </a:cubicBezTo>
                  <a:cubicBezTo>
                    <a:pt x="59" y="0"/>
                    <a:pt x="49" y="14"/>
                    <a:pt x="46" y="28"/>
                  </a:cubicBezTo>
                  <a:cubicBezTo>
                    <a:pt x="37" y="66"/>
                    <a:pt x="37" y="66"/>
                    <a:pt x="37" y="66"/>
                  </a:cubicBezTo>
                  <a:cubicBezTo>
                    <a:pt x="36" y="66"/>
                    <a:pt x="35" y="65"/>
                    <a:pt x="34" y="65"/>
                  </a:cubicBezTo>
                  <a:cubicBezTo>
                    <a:pt x="12" y="65"/>
                    <a:pt x="12" y="65"/>
                    <a:pt x="12" y="65"/>
                  </a:cubicBezTo>
                  <a:cubicBezTo>
                    <a:pt x="6" y="65"/>
                    <a:pt x="0" y="71"/>
                    <a:pt x="0" y="77"/>
                  </a:cubicBezTo>
                  <a:cubicBezTo>
                    <a:pt x="0" y="82"/>
                    <a:pt x="0" y="82"/>
                    <a:pt x="0" y="82"/>
                  </a:cubicBezTo>
                  <a:cubicBezTo>
                    <a:pt x="0" y="88"/>
                    <a:pt x="5" y="93"/>
                    <a:pt x="11" y="94"/>
                  </a:cubicBezTo>
                  <a:cubicBezTo>
                    <a:pt x="13" y="94"/>
                    <a:pt x="13" y="94"/>
                    <a:pt x="13" y="94"/>
                  </a:cubicBezTo>
                  <a:cubicBezTo>
                    <a:pt x="12" y="98"/>
                    <a:pt x="11" y="103"/>
                    <a:pt x="11" y="108"/>
                  </a:cubicBezTo>
                  <a:cubicBezTo>
                    <a:pt x="8" y="144"/>
                    <a:pt x="8" y="144"/>
                    <a:pt x="8" y="144"/>
                  </a:cubicBezTo>
                  <a:cubicBezTo>
                    <a:pt x="8" y="203"/>
                    <a:pt x="8" y="203"/>
                    <a:pt x="8" y="203"/>
                  </a:cubicBezTo>
                  <a:cubicBezTo>
                    <a:pt x="8" y="212"/>
                    <a:pt x="15" y="219"/>
                    <a:pt x="24" y="219"/>
                  </a:cubicBezTo>
                  <a:cubicBezTo>
                    <a:pt x="41" y="219"/>
                    <a:pt x="41" y="219"/>
                    <a:pt x="41" y="219"/>
                  </a:cubicBezTo>
                  <a:cubicBezTo>
                    <a:pt x="50" y="219"/>
                    <a:pt x="57" y="212"/>
                    <a:pt x="57" y="203"/>
                  </a:cubicBezTo>
                  <a:cubicBezTo>
                    <a:pt x="57" y="184"/>
                    <a:pt x="57" y="184"/>
                    <a:pt x="57" y="184"/>
                  </a:cubicBezTo>
                  <a:cubicBezTo>
                    <a:pt x="194" y="184"/>
                    <a:pt x="194" y="184"/>
                    <a:pt x="194" y="184"/>
                  </a:cubicBezTo>
                  <a:cubicBezTo>
                    <a:pt x="194" y="203"/>
                    <a:pt x="194" y="203"/>
                    <a:pt x="194" y="203"/>
                  </a:cubicBezTo>
                  <a:cubicBezTo>
                    <a:pt x="194" y="212"/>
                    <a:pt x="201" y="219"/>
                    <a:pt x="210" y="219"/>
                  </a:cubicBezTo>
                  <a:cubicBezTo>
                    <a:pt x="227" y="219"/>
                    <a:pt x="227" y="219"/>
                    <a:pt x="227" y="219"/>
                  </a:cubicBezTo>
                  <a:cubicBezTo>
                    <a:pt x="236" y="219"/>
                    <a:pt x="244" y="212"/>
                    <a:pt x="244" y="203"/>
                  </a:cubicBezTo>
                  <a:cubicBezTo>
                    <a:pt x="244" y="179"/>
                    <a:pt x="244" y="179"/>
                    <a:pt x="244" y="179"/>
                  </a:cubicBezTo>
                  <a:cubicBezTo>
                    <a:pt x="244" y="179"/>
                    <a:pt x="244" y="179"/>
                    <a:pt x="244" y="179"/>
                  </a:cubicBezTo>
                  <a:cubicBezTo>
                    <a:pt x="244" y="179"/>
                    <a:pt x="244" y="179"/>
                    <a:pt x="244" y="179"/>
                  </a:cubicBezTo>
                  <a:cubicBezTo>
                    <a:pt x="244" y="144"/>
                    <a:pt x="244" y="144"/>
                    <a:pt x="244" y="144"/>
                  </a:cubicBezTo>
                  <a:cubicBezTo>
                    <a:pt x="240" y="108"/>
                    <a:pt x="240" y="108"/>
                    <a:pt x="240" y="108"/>
                  </a:cubicBezTo>
                  <a:cubicBezTo>
                    <a:pt x="240" y="103"/>
                    <a:pt x="240" y="98"/>
                    <a:pt x="238" y="94"/>
                  </a:cubicBezTo>
                  <a:cubicBezTo>
                    <a:pt x="240" y="94"/>
                    <a:pt x="240" y="94"/>
                    <a:pt x="240" y="94"/>
                  </a:cubicBezTo>
                  <a:cubicBezTo>
                    <a:pt x="246" y="93"/>
                    <a:pt x="251" y="88"/>
                    <a:pt x="251" y="82"/>
                  </a:cubicBezTo>
                  <a:cubicBezTo>
                    <a:pt x="251" y="77"/>
                    <a:pt x="251" y="77"/>
                    <a:pt x="251" y="77"/>
                  </a:cubicBezTo>
                  <a:cubicBezTo>
                    <a:pt x="251" y="71"/>
                    <a:pt x="246" y="65"/>
                    <a:pt x="239" y="65"/>
                  </a:cubicBezTo>
                  <a:close/>
                  <a:moveTo>
                    <a:pt x="56" y="30"/>
                  </a:moveTo>
                  <a:cubicBezTo>
                    <a:pt x="58" y="20"/>
                    <a:pt x="65" y="10"/>
                    <a:pt x="76" y="10"/>
                  </a:cubicBezTo>
                  <a:cubicBezTo>
                    <a:pt x="176" y="10"/>
                    <a:pt x="176" y="10"/>
                    <a:pt x="176" y="10"/>
                  </a:cubicBezTo>
                  <a:cubicBezTo>
                    <a:pt x="187" y="10"/>
                    <a:pt x="193" y="21"/>
                    <a:pt x="195" y="31"/>
                  </a:cubicBezTo>
                  <a:cubicBezTo>
                    <a:pt x="206" y="74"/>
                    <a:pt x="206" y="74"/>
                    <a:pt x="206" y="74"/>
                  </a:cubicBezTo>
                  <a:cubicBezTo>
                    <a:pt x="205" y="84"/>
                    <a:pt x="194" y="92"/>
                    <a:pt x="184" y="92"/>
                  </a:cubicBezTo>
                  <a:cubicBezTo>
                    <a:pt x="68" y="92"/>
                    <a:pt x="68" y="92"/>
                    <a:pt x="68" y="92"/>
                  </a:cubicBezTo>
                  <a:cubicBezTo>
                    <a:pt x="58" y="92"/>
                    <a:pt x="46" y="84"/>
                    <a:pt x="46" y="74"/>
                  </a:cubicBezTo>
                  <a:lnTo>
                    <a:pt x="56" y="30"/>
                  </a:lnTo>
                  <a:close/>
                  <a:moveTo>
                    <a:pt x="47" y="203"/>
                  </a:moveTo>
                  <a:cubicBezTo>
                    <a:pt x="47" y="206"/>
                    <a:pt x="45" y="209"/>
                    <a:pt x="41" y="209"/>
                  </a:cubicBezTo>
                  <a:cubicBezTo>
                    <a:pt x="24" y="209"/>
                    <a:pt x="24" y="209"/>
                    <a:pt x="24" y="209"/>
                  </a:cubicBezTo>
                  <a:cubicBezTo>
                    <a:pt x="21" y="209"/>
                    <a:pt x="18" y="206"/>
                    <a:pt x="18" y="203"/>
                  </a:cubicBezTo>
                  <a:cubicBezTo>
                    <a:pt x="18" y="184"/>
                    <a:pt x="18" y="184"/>
                    <a:pt x="18" y="184"/>
                  </a:cubicBezTo>
                  <a:cubicBezTo>
                    <a:pt x="47" y="184"/>
                    <a:pt x="47" y="184"/>
                    <a:pt x="47" y="184"/>
                  </a:cubicBezTo>
                  <a:lnTo>
                    <a:pt x="47" y="203"/>
                  </a:lnTo>
                  <a:close/>
                  <a:moveTo>
                    <a:pt x="227" y="209"/>
                  </a:moveTo>
                  <a:cubicBezTo>
                    <a:pt x="210" y="209"/>
                    <a:pt x="210" y="209"/>
                    <a:pt x="210" y="209"/>
                  </a:cubicBezTo>
                  <a:cubicBezTo>
                    <a:pt x="207" y="209"/>
                    <a:pt x="204" y="206"/>
                    <a:pt x="204" y="203"/>
                  </a:cubicBezTo>
                  <a:cubicBezTo>
                    <a:pt x="204" y="184"/>
                    <a:pt x="204" y="184"/>
                    <a:pt x="204" y="184"/>
                  </a:cubicBezTo>
                  <a:cubicBezTo>
                    <a:pt x="233" y="184"/>
                    <a:pt x="233" y="184"/>
                    <a:pt x="233" y="184"/>
                  </a:cubicBezTo>
                  <a:cubicBezTo>
                    <a:pt x="233" y="203"/>
                    <a:pt x="233" y="203"/>
                    <a:pt x="233" y="203"/>
                  </a:cubicBezTo>
                  <a:cubicBezTo>
                    <a:pt x="233" y="206"/>
                    <a:pt x="231" y="209"/>
                    <a:pt x="227" y="209"/>
                  </a:cubicBezTo>
                  <a:close/>
                  <a:moveTo>
                    <a:pt x="241" y="82"/>
                  </a:moveTo>
                  <a:cubicBezTo>
                    <a:pt x="241" y="83"/>
                    <a:pt x="240" y="83"/>
                    <a:pt x="239" y="83"/>
                  </a:cubicBezTo>
                  <a:cubicBezTo>
                    <a:pt x="230" y="85"/>
                    <a:pt x="230" y="85"/>
                    <a:pt x="230" y="85"/>
                  </a:cubicBezTo>
                  <a:cubicBezTo>
                    <a:pt x="229" y="85"/>
                    <a:pt x="227" y="86"/>
                    <a:pt x="227" y="88"/>
                  </a:cubicBezTo>
                  <a:cubicBezTo>
                    <a:pt x="226" y="89"/>
                    <a:pt x="226" y="91"/>
                    <a:pt x="227" y="92"/>
                  </a:cubicBezTo>
                  <a:cubicBezTo>
                    <a:pt x="229" y="97"/>
                    <a:pt x="230" y="102"/>
                    <a:pt x="230" y="109"/>
                  </a:cubicBezTo>
                  <a:cubicBezTo>
                    <a:pt x="233" y="144"/>
                    <a:pt x="233" y="144"/>
                    <a:pt x="233" y="144"/>
                  </a:cubicBezTo>
                  <a:cubicBezTo>
                    <a:pt x="233" y="174"/>
                    <a:pt x="233" y="174"/>
                    <a:pt x="233" y="174"/>
                  </a:cubicBezTo>
                  <a:cubicBezTo>
                    <a:pt x="18" y="174"/>
                    <a:pt x="18" y="174"/>
                    <a:pt x="18" y="174"/>
                  </a:cubicBezTo>
                  <a:cubicBezTo>
                    <a:pt x="18" y="145"/>
                    <a:pt x="18" y="145"/>
                    <a:pt x="18" y="145"/>
                  </a:cubicBezTo>
                  <a:cubicBezTo>
                    <a:pt x="21" y="108"/>
                    <a:pt x="21" y="108"/>
                    <a:pt x="21" y="108"/>
                  </a:cubicBezTo>
                  <a:cubicBezTo>
                    <a:pt x="21" y="102"/>
                    <a:pt x="22" y="97"/>
                    <a:pt x="25" y="92"/>
                  </a:cubicBezTo>
                  <a:cubicBezTo>
                    <a:pt x="26" y="91"/>
                    <a:pt x="26" y="89"/>
                    <a:pt x="25" y="88"/>
                  </a:cubicBezTo>
                  <a:cubicBezTo>
                    <a:pt x="24" y="86"/>
                    <a:pt x="23" y="85"/>
                    <a:pt x="21" y="85"/>
                  </a:cubicBezTo>
                  <a:cubicBezTo>
                    <a:pt x="13" y="83"/>
                    <a:pt x="13" y="83"/>
                    <a:pt x="13" y="83"/>
                  </a:cubicBezTo>
                  <a:cubicBezTo>
                    <a:pt x="12" y="83"/>
                    <a:pt x="11" y="83"/>
                    <a:pt x="11" y="82"/>
                  </a:cubicBezTo>
                  <a:cubicBezTo>
                    <a:pt x="11" y="77"/>
                    <a:pt x="11" y="77"/>
                    <a:pt x="11" y="77"/>
                  </a:cubicBezTo>
                  <a:cubicBezTo>
                    <a:pt x="11" y="76"/>
                    <a:pt x="11" y="76"/>
                    <a:pt x="12" y="76"/>
                  </a:cubicBezTo>
                  <a:cubicBezTo>
                    <a:pt x="34" y="76"/>
                    <a:pt x="34" y="76"/>
                    <a:pt x="34" y="76"/>
                  </a:cubicBezTo>
                  <a:cubicBezTo>
                    <a:pt x="35" y="76"/>
                    <a:pt x="35" y="76"/>
                    <a:pt x="35" y="75"/>
                  </a:cubicBezTo>
                  <a:cubicBezTo>
                    <a:pt x="37" y="91"/>
                    <a:pt x="53" y="102"/>
                    <a:pt x="68" y="102"/>
                  </a:cubicBezTo>
                  <a:cubicBezTo>
                    <a:pt x="184" y="102"/>
                    <a:pt x="184" y="102"/>
                    <a:pt x="184" y="102"/>
                  </a:cubicBezTo>
                  <a:cubicBezTo>
                    <a:pt x="198" y="102"/>
                    <a:pt x="215" y="91"/>
                    <a:pt x="216" y="75"/>
                  </a:cubicBezTo>
                  <a:cubicBezTo>
                    <a:pt x="216" y="76"/>
                    <a:pt x="217" y="76"/>
                    <a:pt x="217" y="76"/>
                  </a:cubicBezTo>
                  <a:cubicBezTo>
                    <a:pt x="239" y="76"/>
                    <a:pt x="239" y="76"/>
                    <a:pt x="239" y="76"/>
                  </a:cubicBezTo>
                  <a:cubicBezTo>
                    <a:pt x="240" y="76"/>
                    <a:pt x="241" y="76"/>
                    <a:pt x="241" y="77"/>
                  </a:cubicBezTo>
                  <a:lnTo>
                    <a:pt x="241" y="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55" name="Freeform 228">
              <a:extLst>
                <a:ext uri="{FF2B5EF4-FFF2-40B4-BE49-F238E27FC236}">
                  <a16:creationId xmlns:a16="http://schemas.microsoft.com/office/drawing/2014/main" id="{2F815C1B-F307-43F6-95A8-B3CA9BDA29C7}"/>
                </a:ext>
              </a:extLst>
            </p:cNvPr>
            <p:cNvSpPr>
              <a:spLocks/>
            </p:cNvSpPr>
            <p:nvPr/>
          </p:nvSpPr>
          <p:spPr bwMode="auto">
            <a:xfrm>
              <a:off x="4579938" y="7394575"/>
              <a:ext cx="138113" cy="20638"/>
            </a:xfrm>
            <a:custGeom>
              <a:avLst/>
              <a:gdLst>
                <a:gd name="T0" fmla="*/ 61 w 66"/>
                <a:gd name="T1" fmla="*/ 0 h 10"/>
                <a:gd name="T2" fmla="*/ 5 w 66"/>
                <a:gd name="T3" fmla="*/ 0 h 10"/>
                <a:gd name="T4" fmla="*/ 0 w 66"/>
                <a:gd name="T5" fmla="*/ 5 h 10"/>
                <a:gd name="T6" fmla="*/ 5 w 66"/>
                <a:gd name="T7" fmla="*/ 10 h 10"/>
                <a:gd name="T8" fmla="*/ 61 w 66"/>
                <a:gd name="T9" fmla="*/ 10 h 10"/>
                <a:gd name="T10" fmla="*/ 66 w 66"/>
                <a:gd name="T11" fmla="*/ 5 h 10"/>
                <a:gd name="T12" fmla="*/ 61 w 6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66" h="10">
                  <a:moveTo>
                    <a:pt x="61" y="0"/>
                  </a:moveTo>
                  <a:cubicBezTo>
                    <a:pt x="5" y="0"/>
                    <a:pt x="5" y="0"/>
                    <a:pt x="5" y="0"/>
                  </a:cubicBezTo>
                  <a:cubicBezTo>
                    <a:pt x="2" y="0"/>
                    <a:pt x="0" y="2"/>
                    <a:pt x="0" y="5"/>
                  </a:cubicBezTo>
                  <a:cubicBezTo>
                    <a:pt x="0" y="8"/>
                    <a:pt x="2" y="10"/>
                    <a:pt x="5" y="10"/>
                  </a:cubicBezTo>
                  <a:cubicBezTo>
                    <a:pt x="61" y="10"/>
                    <a:pt x="61" y="10"/>
                    <a:pt x="61" y="10"/>
                  </a:cubicBezTo>
                  <a:cubicBezTo>
                    <a:pt x="63" y="10"/>
                    <a:pt x="66" y="8"/>
                    <a:pt x="66" y="5"/>
                  </a:cubicBezTo>
                  <a:cubicBezTo>
                    <a:pt x="66" y="2"/>
                    <a:pt x="63" y="0"/>
                    <a:pt x="6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56" name="Freeform 229">
              <a:extLst>
                <a:ext uri="{FF2B5EF4-FFF2-40B4-BE49-F238E27FC236}">
                  <a16:creationId xmlns:a16="http://schemas.microsoft.com/office/drawing/2014/main" id="{F520A727-14C9-461F-9F07-8E64AF88B461}"/>
                </a:ext>
              </a:extLst>
            </p:cNvPr>
            <p:cNvSpPr>
              <a:spLocks/>
            </p:cNvSpPr>
            <p:nvPr/>
          </p:nvSpPr>
          <p:spPr bwMode="auto">
            <a:xfrm>
              <a:off x="4579938" y="7440613"/>
              <a:ext cx="138113" cy="20638"/>
            </a:xfrm>
            <a:custGeom>
              <a:avLst/>
              <a:gdLst>
                <a:gd name="T0" fmla="*/ 61 w 66"/>
                <a:gd name="T1" fmla="*/ 0 h 10"/>
                <a:gd name="T2" fmla="*/ 5 w 66"/>
                <a:gd name="T3" fmla="*/ 0 h 10"/>
                <a:gd name="T4" fmla="*/ 0 w 66"/>
                <a:gd name="T5" fmla="*/ 5 h 10"/>
                <a:gd name="T6" fmla="*/ 5 w 66"/>
                <a:gd name="T7" fmla="*/ 10 h 10"/>
                <a:gd name="T8" fmla="*/ 61 w 66"/>
                <a:gd name="T9" fmla="*/ 10 h 10"/>
                <a:gd name="T10" fmla="*/ 66 w 66"/>
                <a:gd name="T11" fmla="*/ 5 h 10"/>
                <a:gd name="T12" fmla="*/ 61 w 6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66" h="10">
                  <a:moveTo>
                    <a:pt x="61" y="0"/>
                  </a:moveTo>
                  <a:cubicBezTo>
                    <a:pt x="5" y="0"/>
                    <a:pt x="5" y="0"/>
                    <a:pt x="5" y="0"/>
                  </a:cubicBezTo>
                  <a:cubicBezTo>
                    <a:pt x="2" y="0"/>
                    <a:pt x="0" y="2"/>
                    <a:pt x="0" y="5"/>
                  </a:cubicBezTo>
                  <a:cubicBezTo>
                    <a:pt x="0" y="8"/>
                    <a:pt x="2" y="10"/>
                    <a:pt x="5" y="10"/>
                  </a:cubicBezTo>
                  <a:cubicBezTo>
                    <a:pt x="61" y="10"/>
                    <a:pt x="61" y="10"/>
                    <a:pt x="61" y="10"/>
                  </a:cubicBezTo>
                  <a:cubicBezTo>
                    <a:pt x="63" y="10"/>
                    <a:pt x="66" y="8"/>
                    <a:pt x="66" y="5"/>
                  </a:cubicBezTo>
                  <a:cubicBezTo>
                    <a:pt x="66" y="2"/>
                    <a:pt x="63" y="0"/>
                    <a:pt x="6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57" name="Freeform 230">
              <a:extLst>
                <a:ext uri="{FF2B5EF4-FFF2-40B4-BE49-F238E27FC236}">
                  <a16:creationId xmlns:a16="http://schemas.microsoft.com/office/drawing/2014/main" id="{9EE6C16C-D4BD-4D5F-9970-8EF3D1A1D079}"/>
                </a:ext>
              </a:extLst>
            </p:cNvPr>
            <p:cNvSpPr>
              <a:spLocks noEditPoints="1"/>
            </p:cNvSpPr>
            <p:nvPr/>
          </p:nvSpPr>
          <p:spPr bwMode="auto">
            <a:xfrm>
              <a:off x="4465638" y="7380288"/>
              <a:ext cx="92075" cy="93663"/>
            </a:xfrm>
            <a:custGeom>
              <a:avLst/>
              <a:gdLst>
                <a:gd name="T0" fmla="*/ 22 w 44"/>
                <a:gd name="T1" fmla="*/ 0 h 45"/>
                <a:gd name="T2" fmla="*/ 0 w 44"/>
                <a:gd name="T3" fmla="*/ 22 h 45"/>
                <a:gd name="T4" fmla="*/ 22 w 44"/>
                <a:gd name="T5" fmla="*/ 45 h 45"/>
                <a:gd name="T6" fmla="*/ 44 w 44"/>
                <a:gd name="T7" fmla="*/ 22 h 45"/>
                <a:gd name="T8" fmla="*/ 22 w 44"/>
                <a:gd name="T9" fmla="*/ 0 h 45"/>
                <a:gd name="T10" fmla="*/ 22 w 44"/>
                <a:gd name="T11" fmla="*/ 34 h 45"/>
                <a:gd name="T12" fmla="*/ 10 w 44"/>
                <a:gd name="T13" fmla="*/ 22 h 45"/>
                <a:gd name="T14" fmla="*/ 22 w 44"/>
                <a:gd name="T15" fmla="*/ 11 h 45"/>
                <a:gd name="T16" fmla="*/ 34 w 44"/>
                <a:gd name="T17" fmla="*/ 22 h 45"/>
                <a:gd name="T18" fmla="*/ 22 w 44"/>
                <a:gd name="T19" fmla="*/ 3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45">
                  <a:moveTo>
                    <a:pt x="22" y="0"/>
                  </a:moveTo>
                  <a:cubicBezTo>
                    <a:pt x="10" y="0"/>
                    <a:pt x="0" y="10"/>
                    <a:pt x="0" y="22"/>
                  </a:cubicBezTo>
                  <a:cubicBezTo>
                    <a:pt x="0" y="35"/>
                    <a:pt x="10" y="45"/>
                    <a:pt x="22" y="45"/>
                  </a:cubicBezTo>
                  <a:cubicBezTo>
                    <a:pt x="34" y="45"/>
                    <a:pt x="44" y="35"/>
                    <a:pt x="44" y="22"/>
                  </a:cubicBezTo>
                  <a:cubicBezTo>
                    <a:pt x="44" y="10"/>
                    <a:pt x="34" y="0"/>
                    <a:pt x="22" y="0"/>
                  </a:cubicBezTo>
                  <a:close/>
                  <a:moveTo>
                    <a:pt x="22" y="34"/>
                  </a:moveTo>
                  <a:cubicBezTo>
                    <a:pt x="16" y="34"/>
                    <a:pt x="10" y="29"/>
                    <a:pt x="10" y="22"/>
                  </a:cubicBezTo>
                  <a:cubicBezTo>
                    <a:pt x="10" y="16"/>
                    <a:pt x="16" y="11"/>
                    <a:pt x="22" y="11"/>
                  </a:cubicBezTo>
                  <a:cubicBezTo>
                    <a:pt x="29" y="11"/>
                    <a:pt x="34" y="16"/>
                    <a:pt x="34" y="22"/>
                  </a:cubicBezTo>
                  <a:cubicBezTo>
                    <a:pt x="34" y="29"/>
                    <a:pt x="29" y="34"/>
                    <a:pt x="22" y="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58" name="Freeform 231">
              <a:extLst>
                <a:ext uri="{FF2B5EF4-FFF2-40B4-BE49-F238E27FC236}">
                  <a16:creationId xmlns:a16="http://schemas.microsoft.com/office/drawing/2014/main" id="{CD6BCC75-88D0-4345-8769-9D8E36B3F9F9}"/>
                </a:ext>
              </a:extLst>
            </p:cNvPr>
            <p:cNvSpPr>
              <a:spLocks noEditPoints="1"/>
            </p:cNvSpPr>
            <p:nvPr/>
          </p:nvSpPr>
          <p:spPr bwMode="auto">
            <a:xfrm>
              <a:off x="4738688" y="7380288"/>
              <a:ext cx="92075" cy="93663"/>
            </a:xfrm>
            <a:custGeom>
              <a:avLst/>
              <a:gdLst>
                <a:gd name="T0" fmla="*/ 22 w 44"/>
                <a:gd name="T1" fmla="*/ 0 h 45"/>
                <a:gd name="T2" fmla="*/ 0 w 44"/>
                <a:gd name="T3" fmla="*/ 22 h 45"/>
                <a:gd name="T4" fmla="*/ 22 w 44"/>
                <a:gd name="T5" fmla="*/ 45 h 45"/>
                <a:gd name="T6" fmla="*/ 44 w 44"/>
                <a:gd name="T7" fmla="*/ 22 h 45"/>
                <a:gd name="T8" fmla="*/ 22 w 44"/>
                <a:gd name="T9" fmla="*/ 0 h 45"/>
                <a:gd name="T10" fmla="*/ 22 w 44"/>
                <a:gd name="T11" fmla="*/ 34 h 45"/>
                <a:gd name="T12" fmla="*/ 10 w 44"/>
                <a:gd name="T13" fmla="*/ 22 h 45"/>
                <a:gd name="T14" fmla="*/ 22 w 44"/>
                <a:gd name="T15" fmla="*/ 11 h 45"/>
                <a:gd name="T16" fmla="*/ 34 w 44"/>
                <a:gd name="T17" fmla="*/ 22 h 45"/>
                <a:gd name="T18" fmla="*/ 22 w 44"/>
                <a:gd name="T19" fmla="*/ 3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45">
                  <a:moveTo>
                    <a:pt x="22" y="0"/>
                  </a:moveTo>
                  <a:cubicBezTo>
                    <a:pt x="10" y="0"/>
                    <a:pt x="0" y="10"/>
                    <a:pt x="0" y="22"/>
                  </a:cubicBezTo>
                  <a:cubicBezTo>
                    <a:pt x="0" y="35"/>
                    <a:pt x="10" y="45"/>
                    <a:pt x="22" y="45"/>
                  </a:cubicBezTo>
                  <a:cubicBezTo>
                    <a:pt x="34" y="45"/>
                    <a:pt x="44" y="35"/>
                    <a:pt x="44" y="22"/>
                  </a:cubicBezTo>
                  <a:cubicBezTo>
                    <a:pt x="44" y="10"/>
                    <a:pt x="34" y="0"/>
                    <a:pt x="22" y="0"/>
                  </a:cubicBezTo>
                  <a:close/>
                  <a:moveTo>
                    <a:pt x="22" y="34"/>
                  </a:moveTo>
                  <a:cubicBezTo>
                    <a:pt x="16" y="34"/>
                    <a:pt x="10" y="29"/>
                    <a:pt x="10" y="22"/>
                  </a:cubicBezTo>
                  <a:cubicBezTo>
                    <a:pt x="10" y="16"/>
                    <a:pt x="16" y="11"/>
                    <a:pt x="22" y="11"/>
                  </a:cubicBezTo>
                  <a:cubicBezTo>
                    <a:pt x="29" y="11"/>
                    <a:pt x="34" y="16"/>
                    <a:pt x="34" y="22"/>
                  </a:cubicBezTo>
                  <a:cubicBezTo>
                    <a:pt x="34" y="29"/>
                    <a:pt x="29" y="34"/>
                    <a:pt x="22" y="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59" name="Freeform 232">
              <a:extLst>
                <a:ext uri="{FF2B5EF4-FFF2-40B4-BE49-F238E27FC236}">
                  <a16:creationId xmlns:a16="http://schemas.microsoft.com/office/drawing/2014/main" id="{CBFC1E39-6840-415F-A4B6-21A416E00FEB}"/>
                </a:ext>
              </a:extLst>
            </p:cNvPr>
            <p:cNvSpPr>
              <a:spLocks/>
            </p:cNvSpPr>
            <p:nvPr/>
          </p:nvSpPr>
          <p:spPr bwMode="auto">
            <a:xfrm>
              <a:off x="4610101" y="7178675"/>
              <a:ext cx="79375" cy="22225"/>
            </a:xfrm>
            <a:custGeom>
              <a:avLst/>
              <a:gdLst>
                <a:gd name="T0" fmla="*/ 5 w 38"/>
                <a:gd name="T1" fmla="*/ 10 h 10"/>
                <a:gd name="T2" fmla="*/ 33 w 38"/>
                <a:gd name="T3" fmla="*/ 10 h 10"/>
                <a:gd name="T4" fmla="*/ 38 w 38"/>
                <a:gd name="T5" fmla="*/ 5 h 10"/>
                <a:gd name="T6" fmla="*/ 33 w 38"/>
                <a:gd name="T7" fmla="*/ 0 h 10"/>
                <a:gd name="T8" fmla="*/ 5 w 38"/>
                <a:gd name="T9" fmla="*/ 0 h 10"/>
                <a:gd name="T10" fmla="*/ 0 w 38"/>
                <a:gd name="T11" fmla="*/ 5 h 10"/>
                <a:gd name="T12" fmla="*/ 5 w 38"/>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38" h="10">
                  <a:moveTo>
                    <a:pt x="5" y="10"/>
                  </a:moveTo>
                  <a:cubicBezTo>
                    <a:pt x="33" y="10"/>
                    <a:pt x="33" y="10"/>
                    <a:pt x="33" y="10"/>
                  </a:cubicBezTo>
                  <a:cubicBezTo>
                    <a:pt x="35" y="10"/>
                    <a:pt x="38" y="8"/>
                    <a:pt x="38" y="5"/>
                  </a:cubicBezTo>
                  <a:cubicBezTo>
                    <a:pt x="38" y="2"/>
                    <a:pt x="35" y="0"/>
                    <a:pt x="33" y="0"/>
                  </a:cubicBezTo>
                  <a:cubicBezTo>
                    <a:pt x="5" y="0"/>
                    <a:pt x="5" y="0"/>
                    <a:pt x="5" y="0"/>
                  </a:cubicBezTo>
                  <a:cubicBezTo>
                    <a:pt x="2" y="0"/>
                    <a:pt x="0" y="2"/>
                    <a:pt x="0" y="5"/>
                  </a:cubicBezTo>
                  <a:cubicBezTo>
                    <a:pt x="0" y="8"/>
                    <a:pt x="2" y="10"/>
                    <a:pt x="5" y="1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grpSp>
      <p:sp>
        <p:nvSpPr>
          <p:cNvPr id="60" name="Freeform 371">
            <a:extLst>
              <a:ext uri="{FF2B5EF4-FFF2-40B4-BE49-F238E27FC236}">
                <a16:creationId xmlns:a16="http://schemas.microsoft.com/office/drawing/2014/main" id="{49AD6DAE-381B-40E5-98D8-B4AD3C53F39C}"/>
              </a:ext>
            </a:extLst>
          </p:cNvPr>
          <p:cNvSpPr>
            <a:spLocks noEditPoints="1"/>
          </p:cNvSpPr>
          <p:nvPr/>
        </p:nvSpPr>
        <p:spPr bwMode="auto">
          <a:xfrm>
            <a:off x="4296149" y="4830080"/>
            <a:ext cx="560242" cy="566590"/>
          </a:xfrm>
          <a:custGeom>
            <a:avLst/>
            <a:gdLst>
              <a:gd name="T0" fmla="*/ 207 w 237"/>
              <a:gd name="T1" fmla="*/ 180 h 239"/>
              <a:gd name="T2" fmla="*/ 191 w 237"/>
              <a:gd name="T3" fmla="*/ 185 h 239"/>
              <a:gd name="T4" fmla="*/ 121 w 237"/>
              <a:gd name="T5" fmla="*/ 106 h 239"/>
              <a:gd name="T6" fmla="*/ 121 w 237"/>
              <a:gd name="T7" fmla="*/ 59 h 239"/>
              <a:gd name="T8" fmla="*/ 146 w 237"/>
              <a:gd name="T9" fmla="*/ 29 h 239"/>
              <a:gd name="T10" fmla="*/ 116 w 237"/>
              <a:gd name="T11" fmla="*/ 0 h 239"/>
              <a:gd name="T12" fmla="*/ 87 w 237"/>
              <a:gd name="T13" fmla="*/ 29 h 239"/>
              <a:gd name="T14" fmla="*/ 111 w 237"/>
              <a:gd name="T15" fmla="*/ 59 h 239"/>
              <a:gd name="T16" fmla="*/ 111 w 237"/>
              <a:gd name="T17" fmla="*/ 106 h 239"/>
              <a:gd name="T18" fmla="*/ 45 w 237"/>
              <a:gd name="T19" fmla="*/ 184 h 239"/>
              <a:gd name="T20" fmla="*/ 30 w 237"/>
              <a:gd name="T21" fmla="*/ 180 h 239"/>
              <a:gd name="T22" fmla="*/ 0 w 237"/>
              <a:gd name="T23" fmla="*/ 210 h 239"/>
              <a:gd name="T24" fmla="*/ 30 w 237"/>
              <a:gd name="T25" fmla="*/ 239 h 239"/>
              <a:gd name="T26" fmla="*/ 59 w 237"/>
              <a:gd name="T27" fmla="*/ 210 h 239"/>
              <a:gd name="T28" fmla="*/ 52 w 237"/>
              <a:gd name="T29" fmla="*/ 191 h 239"/>
              <a:gd name="T30" fmla="*/ 111 w 237"/>
              <a:gd name="T31" fmla="*/ 121 h 239"/>
              <a:gd name="T32" fmla="*/ 111 w 237"/>
              <a:gd name="T33" fmla="*/ 181 h 239"/>
              <a:gd name="T34" fmla="*/ 87 w 237"/>
              <a:gd name="T35" fmla="*/ 210 h 239"/>
              <a:gd name="T36" fmla="*/ 116 w 237"/>
              <a:gd name="T37" fmla="*/ 239 h 239"/>
              <a:gd name="T38" fmla="*/ 146 w 237"/>
              <a:gd name="T39" fmla="*/ 210 h 239"/>
              <a:gd name="T40" fmla="*/ 121 w 237"/>
              <a:gd name="T41" fmla="*/ 181 h 239"/>
              <a:gd name="T42" fmla="*/ 121 w 237"/>
              <a:gd name="T43" fmla="*/ 121 h 239"/>
              <a:gd name="T44" fmla="*/ 184 w 237"/>
              <a:gd name="T45" fmla="*/ 191 h 239"/>
              <a:gd name="T46" fmla="*/ 177 w 237"/>
              <a:gd name="T47" fmla="*/ 210 h 239"/>
              <a:gd name="T48" fmla="*/ 207 w 237"/>
              <a:gd name="T49" fmla="*/ 239 h 239"/>
              <a:gd name="T50" fmla="*/ 237 w 237"/>
              <a:gd name="T51" fmla="*/ 210 h 239"/>
              <a:gd name="T52" fmla="*/ 207 w 237"/>
              <a:gd name="T53" fmla="*/ 180 h 239"/>
              <a:gd name="T54" fmla="*/ 30 w 237"/>
              <a:gd name="T55" fmla="*/ 229 h 239"/>
              <a:gd name="T56" fmla="*/ 10 w 237"/>
              <a:gd name="T57" fmla="*/ 210 h 239"/>
              <a:gd name="T58" fmla="*/ 30 w 237"/>
              <a:gd name="T59" fmla="*/ 190 h 239"/>
              <a:gd name="T60" fmla="*/ 50 w 237"/>
              <a:gd name="T61" fmla="*/ 210 h 239"/>
              <a:gd name="T62" fmla="*/ 30 w 237"/>
              <a:gd name="T63" fmla="*/ 229 h 239"/>
              <a:gd name="T64" fmla="*/ 136 w 237"/>
              <a:gd name="T65" fmla="*/ 210 h 239"/>
              <a:gd name="T66" fmla="*/ 116 w 237"/>
              <a:gd name="T67" fmla="*/ 229 h 239"/>
              <a:gd name="T68" fmla="*/ 97 w 237"/>
              <a:gd name="T69" fmla="*/ 210 h 239"/>
              <a:gd name="T70" fmla="*/ 116 w 237"/>
              <a:gd name="T71" fmla="*/ 190 h 239"/>
              <a:gd name="T72" fmla="*/ 136 w 237"/>
              <a:gd name="T73" fmla="*/ 210 h 239"/>
              <a:gd name="T74" fmla="*/ 116 w 237"/>
              <a:gd name="T75" fmla="*/ 49 h 239"/>
              <a:gd name="T76" fmla="*/ 97 w 237"/>
              <a:gd name="T77" fmla="*/ 29 h 239"/>
              <a:gd name="T78" fmla="*/ 116 w 237"/>
              <a:gd name="T79" fmla="*/ 10 h 239"/>
              <a:gd name="T80" fmla="*/ 136 w 237"/>
              <a:gd name="T81" fmla="*/ 29 h 239"/>
              <a:gd name="T82" fmla="*/ 116 w 237"/>
              <a:gd name="T83" fmla="*/ 49 h 239"/>
              <a:gd name="T84" fmla="*/ 207 w 237"/>
              <a:gd name="T85" fmla="*/ 229 h 239"/>
              <a:gd name="T86" fmla="*/ 187 w 237"/>
              <a:gd name="T87" fmla="*/ 210 h 239"/>
              <a:gd name="T88" fmla="*/ 207 w 237"/>
              <a:gd name="T89" fmla="*/ 190 h 239"/>
              <a:gd name="T90" fmla="*/ 227 w 237"/>
              <a:gd name="T91" fmla="*/ 210 h 239"/>
              <a:gd name="T92" fmla="*/ 207 w 237"/>
              <a:gd name="T93" fmla="*/ 22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7" h="239">
                <a:moveTo>
                  <a:pt x="207" y="180"/>
                </a:moveTo>
                <a:cubicBezTo>
                  <a:pt x="201" y="180"/>
                  <a:pt x="196" y="182"/>
                  <a:pt x="191" y="185"/>
                </a:cubicBezTo>
                <a:cubicBezTo>
                  <a:pt x="121" y="106"/>
                  <a:pt x="121" y="106"/>
                  <a:pt x="121" y="106"/>
                </a:cubicBezTo>
                <a:cubicBezTo>
                  <a:pt x="121" y="59"/>
                  <a:pt x="121" y="59"/>
                  <a:pt x="121" y="59"/>
                </a:cubicBezTo>
                <a:cubicBezTo>
                  <a:pt x="135" y="56"/>
                  <a:pt x="146" y="44"/>
                  <a:pt x="146" y="29"/>
                </a:cubicBezTo>
                <a:cubicBezTo>
                  <a:pt x="146" y="13"/>
                  <a:pt x="133" y="0"/>
                  <a:pt x="116" y="0"/>
                </a:cubicBezTo>
                <a:cubicBezTo>
                  <a:pt x="100" y="0"/>
                  <a:pt x="87" y="13"/>
                  <a:pt x="87" y="29"/>
                </a:cubicBezTo>
                <a:cubicBezTo>
                  <a:pt x="87" y="44"/>
                  <a:pt x="98" y="56"/>
                  <a:pt x="111" y="59"/>
                </a:cubicBezTo>
                <a:cubicBezTo>
                  <a:pt x="111" y="106"/>
                  <a:pt x="111" y="106"/>
                  <a:pt x="111" y="106"/>
                </a:cubicBezTo>
                <a:cubicBezTo>
                  <a:pt x="45" y="184"/>
                  <a:pt x="45" y="184"/>
                  <a:pt x="45" y="184"/>
                </a:cubicBezTo>
                <a:cubicBezTo>
                  <a:pt x="40" y="182"/>
                  <a:pt x="35" y="180"/>
                  <a:pt x="30" y="180"/>
                </a:cubicBezTo>
                <a:cubicBezTo>
                  <a:pt x="14" y="180"/>
                  <a:pt x="0" y="193"/>
                  <a:pt x="0" y="210"/>
                </a:cubicBezTo>
                <a:cubicBezTo>
                  <a:pt x="0" y="226"/>
                  <a:pt x="14" y="239"/>
                  <a:pt x="30" y="239"/>
                </a:cubicBezTo>
                <a:cubicBezTo>
                  <a:pt x="46" y="239"/>
                  <a:pt x="59" y="226"/>
                  <a:pt x="59" y="210"/>
                </a:cubicBezTo>
                <a:cubicBezTo>
                  <a:pt x="59" y="203"/>
                  <a:pt x="57" y="196"/>
                  <a:pt x="52" y="191"/>
                </a:cubicBezTo>
                <a:cubicBezTo>
                  <a:pt x="111" y="121"/>
                  <a:pt x="111" y="121"/>
                  <a:pt x="111" y="121"/>
                </a:cubicBezTo>
                <a:cubicBezTo>
                  <a:pt x="111" y="181"/>
                  <a:pt x="111" y="181"/>
                  <a:pt x="111" y="181"/>
                </a:cubicBezTo>
                <a:cubicBezTo>
                  <a:pt x="98" y="183"/>
                  <a:pt x="87" y="195"/>
                  <a:pt x="87" y="210"/>
                </a:cubicBezTo>
                <a:cubicBezTo>
                  <a:pt x="87" y="226"/>
                  <a:pt x="100" y="239"/>
                  <a:pt x="116" y="239"/>
                </a:cubicBezTo>
                <a:cubicBezTo>
                  <a:pt x="133" y="239"/>
                  <a:pt x="146" y="226"/>
                  <a:pt x="146" y="210"/>
                </a:cubicBezTo>
                <a:cubicBezTo>
                  <a:pt x="146" y="195"/>
                  <a:pt x="135" y="183"/>
                  <a:pt x="121" y="181"/>
                </a:cubicBezTo>
                <a:cubicBezTo>
                  <a:pt x="121" y="121"/>
                  <a:pt x="121" y="121"/>
                  <a:pt x="121" y="121"/>
                </a:cubicBezTo>
                <a:cubicBezTo>
                  <a:pt x="184" y="191"/>
                  <a:pt x="184" y="191"/>
                  <a:pt x="184" y="191"/>
                </a:cubicBezTo>
                <a:cubicBezTo>
                  <a:pt x="180" y="196"/>
                  <a:pt x="177" y="203"/>
                  <a:pt x="177" y="210"/>
                </a:cubicBezTo>
                <a:cubicBezTo>
                  <a:pt x="177" y="226"/>
                  <a:pt x="191" y="239"/>
                  <a:pt x="207" y="239"/>
                </a:cubicBezTo>
                <a:cubicBezTo>
                  <a:pt x="223" y="239"/>
                  <a:pt x="237" y="226"/>
                  <a:pt x="237" y="210"/>
                </a:cubicBezTo>
                <a:cubicBezTo>
                  <a:pt x="237" y="193"/>
                  <a:pt x="223" y="180"/>
                  <a:pt x="207" y="180"/>
                </a:cubicBezTo>
                <a:close/>
                <a:moveTo>
                  <a:pt x="30" y="229"/>
                </a:moveTo>
                <a:cubicBezTo>
                  <a:pt x="19" y="229"/>
                  <a:pt x="10" y="221"/>
                  <a:pt x="10" y="210"/>
                </a:cubicBezTo>
                <a:cubicBezTo>
                  <a:pt x="10" y="199"/>
                  <a:pt x="19" y="190"/>
                  <a:pt x="30" y="190"/>
                </a:cubicBezTo>
                <a:cubicBezTo>
                  <a:pt x="41" y="190"/>
                  <a:pt x="50" y="199"/>
                  <a:pt x="50" y="210"/>
                </a:cubicBezTo>
                <a:cubicBezTo>
                  <a:pt x="50" y="221"/>
                  <a:pt x="41" y="229"/>
                  <a:pt x="30" y="229"/>
                </a:cubicBezTo>
                <a:close/>
                <a:moveTo>
                  <a:pt x="136" y="210"/>
                </a:moveTo>
                <a:cubicBezTo>
                  <a:pt x="136" y="221"/>
                  <a:pt x="127" y="229"/>
                  <a:pt x="116" y="229"/>
                </a:cubicBezTo>
                <a:cubicBezTo>
                  <a:pt x="106" y="229"/>
                  <a:pt x="97" y="221"/>
                  <a:pt x="97" y="210"/>
                </a:cubicBezTo>
                <a:cubicBezTo>
                  <a:pt x="97" y="199"/>
                  <a:pt x="106" y="190"/>
                  <a:pt x="116" y="190"/>
                </a:cubicBezTo>
                <a:cubicBezTo>
                  <a:pt x="127" y="190"/>
                  <a:pt x="136" y="199"/>
                  <a:pt x="136" y="210"/>
                </a:cubicBezTo>
                <a:close/>
                <a:moveTo>
                  <a:pt x="116" y="49"/>
                </a:moveTo>
                <a:cubicBezTo>
                  <a:pt x="106" y="49"/>
                  <a:pt x="97" y="40"/>
                  <a:pt x="97" y="29"/>
                </a:cubicBezTo>
                <a:cubicBezTo>
                  <a:pt x="97" y="19"/>
                  <a:pt x="106" y="10"/>
                  <a:pt x="116" y="10"/>
                </a:cubicBezTo>
                <a:cubicBezTo>
                  <a:pt x="127" y="10"/>
                  <a:pt x="136" y="19"/>
                  <a:pt x="136" y="29"/>
                </a:cubicBezTo>
                <a:cubicBezTo>
                  <a:pt x="136" y="40"/>
                  <a:pt x="127" y="49"/>
                  <a:pt x="116" y="49"/>
                </a:cubicBezTo>
                <a:close/>
                <a:moveTo>
                  <a:pt x="207" y="229"/>
                </a:moveTo>
                <a:cubicBezTo>
                  <a:pt x="196" y="229"/>
                  <a:pt x="187" y="221"/>
                  <a:pt x="187" y="210"/>
                </a:cubicBezTo>
                <a:cubicBezTo>
                  <a:pt x="187" y="199"/>
                  <a:pt x="196" y="190"/>
                  <a:pt x="207" y="190"/>
                </a:cubicBezTo>
                <a:cubicBezTo>
                  <a:pt x="218" y="190"/>
                  <a:pt x="227" y="199"/>
                  <a:pt x="227" y="210"/>
                </a:cubicBezTo>
                <a:cubicBezTo>
                  <a:pt x="227" y="221"/>
                  <a:pt x="218" y="229"/>
                  <a:pt x="207" y="229"/>
                </a:cubicBez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grpSp>
        <p:nvGrpSpPr>
          <p:cNvPr id="61" name="Group 60">
            <a:extLst>
              <a:ext uri="{FF2B5EF4-FFF2-40B4-BE49-F238E27FC236}">
                <a16:creationId xmlns:a16="http://schemas.microsoft.com/office/drawing/2014/main" id="{D1184735-E23B-4220-82E3-A53D83756B83}"/>
              </a:ext>
            </a:extLst>
          </p:cNvPr>
          <p:cNvGrpSpPr/>
          <p:nvPr/>
        </p:nvGrpSpPr>
        <p:grpSpPr>
          <a:xfrm>
            <a:off x="7116003" y="4856547"/>
            <a:ext cx="570279" cy="513656"/>
            <a:chOff x="8104188" y="5395913"/>
            <a:chExt cx="447675" cy="403225"/>
          </a:xfrm>
          <a:solidFill>
            <a:schemeClr val="accent2"/>
          </a:solidFill>
        </p:grpSpPr>
        <p:sp>
          <p:nvSpPr>
            <p:cNvPr id="62" name="Freeform 503">
              <a:extLst>
                <a:ext uri="{FF2B5EF4-FFF2-40B4-BE49-F238E27FC236}">
                  <a16:creationId xmlns:a16="http://schemas.microsoft.com/office/drawing/2014/main" id="{5F97E507-8D35-4EBE-A44A-BE8B57EDAA13}"/>
                </a:ext>
              </a:extLst>
            </p:cNvPr>
            <p:cNvSpPr>
              <a:spLocks noEditPoints="1"/>
            </p:cNvSpPr>
            <p:nvPr/>
          </p:nvSpPr>
          <p:spPr bwMode="auto">
            <a:xfrm>
              <a:off x="8104188" y="5505450"/>
              <a:ext cx="447675" cy="293688"/>
            </a:xfrm>
            <a:custGeom>
              <a:avLst/>
              <a:gdLst>
                <a:gd name="T0" fmla="*/ 227 w 242"/>
                <a:gd name="T1" fmla="*/ 81 h 158"/>
                <a:gd name="T2" fmla="*/ 50 w 242"/>
                <a:gd name="T3" fmla="*/ 81 h 158"/>
                <a:gd name="T4" fmla="*/ 50 w 242"/>
                <a:gd name="T5" fmla="*/ 5 h 158"/>
                <a:gd name="T6" fmla="*/ 45 w 242"/>
                <a:gd name="T7" fmla="*/ 0 h 158"/>
                <a:gd name="T8" fmla="*/ 40 w 242"/>
                <a:gd name="T9" fmla="*/ 5 h 158"/>
                <a:gd name="T10" fmla="*/ 40 w 242"/>
                <a:gd name="T11" fmla="*/ 81 h 158"/>
                <a:gd name="T12" fmla="*/ 15 w 242"/>
                <a:gd name="T13" fmla="*/ 81 h 158"/>
                <a:gd name="T14" fmla="*/ 0 w 242"/>
                <a:gd name="T15" fmla="*/ 96 h 158"/>
                <a:gd name="T16" fmla="*/ 0 w 242"/>
                <a:gd name="T17" fmla="*/ 143 h 158"/>
                <a:gd name="T18" fmla="*/ 15 w 242"/>
                <a:gd name="T19" fmla="*/ 158 h 158"/>
                <a:gd name="T20" fmla="*/ 227 w 242"/>
                <a:gd name="T21" fmla="*/ 158 h 158"/>
                <a:gd name="T22" fmla="*/ 242 w 242"/>
                <a:gd name="T23" fmla="*/ 143 h 158"/>
                <a:gd name="T24" fmla="*/ 242 w 242"/>
                <a:gd name="T25" fmla="*/ 96 h 158"/>
                <a:gd name="T26" fmla="*/ 227 w 242"/>
                <a:gd name="T27" fmla="*/ 81 h 158"/>
                <a:gd name="T28" fmla="*/ 232 w 242"/>
                <a:gd name="T29" fmla="*/ 143 h 158"/>
                <a:gd name="T30" fmla="*/ 227 w 242"/>
                <a:gd name="T31" fmla="*/ 148 h 158"/>
                <a:gd name="T32" fmla="*/ 15 w 242"/>
                <a:gd name="T33" fmla="*/ 148 h 158"/>
                <a:gd name="T34" fmla="*/ 10 w 242"/>
                <a:gd name="T35" fmla="*/ 143 h 158"/>
                <a:gd name="T36" fmla="*/ 10 w 242"/>
                <a:gd name="T37" fmla="*/ 96 h 158"/>
                <a:gd name="T38" fmla="*/ 15 w 242"/>
                <a:gd name="T39" fmla="*/ 91 h 158"/>
                <a:gd name="T40" fmla="*/ 227 w 242"/>
                <a:gd name="T41" fmla="*/ 91 h 158"/>
                <a:gd name="T42" fmla="*/ 232 w 242"/>
                <a:gd name="T43" fmla="*/ 96 h 158"/>
                <a:gd name="T44" fmla="*/ 232 w 242"/>
                <a:gd name="T45" fmla="*/ 14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2" h="158">
                  <a:moveTo>
                    <a:pt x="227" y="81"/>
                  </a:moveTo>
                  <a:cubicBezTo>
                    <a:pt x="50" y="81"/>
                    <a:pt x="50" y="81"/>
                    <a:pt x="50" y="81"/>
                  </a:cubicBezTo>
                  <a:cubicBezTo>
                    <a:pt x="50" y="5"/>
                    <a:pt x="50" y="5"/>
                    <a:pt x="50" y="5"/>
                  </a:cubicBezTo>
                  <a:cubicBezTo>
                    <a:pt x="50" y="2"/>
                    <a:pt x="48" y="0"/>
                    <a:pt x="45" y="0"/>
                  </a:cubicBezTo>
                  <a:cubicBezTo>
                    <a:pt x="43" y="0"/>
                    <a:pt x="40" y="2"/>
                    <a:pt x="40" y="5"/>
                  </a:cubicBezTo>
                  <a:cubicBezTo>
                    <a:pt x="40" y="81"/>
                    <a:pt x="40" y="81"/>
                    <a:pt x="40" y="81"/>
                  </a:cubicBezTo>
                  <a:cubicBezTo>
                    <a:pt x="15" y="81"/>
                    <a:pt x="15" y="81"/>
                    <a:pt x="15" y="81"/>
                  </a:cubicBezTo>
                  <a:cubicBezTo>
                    <a:pt x="7" y="81"/>
                    <a:pt x="0" y="88"/>
                    <a:pt x="0" y="96"/>
                  </a:cubicBezTo>
                  <a:cubicBezTo>
                    <a:pt x="0" y="143"/>
                    <a:pt x="0" y="143"/>
                    <a:pt x="0" y="143"/>
                  </a:cubicBezTo>
                  <a:cubicBezTo>
                    <a:pt x="0" y="151"/>
                    <a:pt x="7" y="158"/>
                    <a:pt x="15" y="158"/>
                  </a:cubicBezTo>
                  <a:cubicBezTo>
                    <a:pt x="227" y="158"/>
                    <a:pt x="227" y="158"/>
                    <a:pt x="227" y="158"/>
                  </a:cubicBezTo>
                  <a:cubicBezTo>
                    <a:pt x="235" y="158"/>
                    <a:pt x="242" y="151"/>
                    <a:pt x="242" y="143"/>
                  </a:cubicBezTo>
                  <a:cubicBezTo>
                    <a:pt x="242" y="96"/>
                    <a:pt x="242" y="96"/>
                    <a:pt x="242" y="96"/>
                  </a:cubicBezTo>
                  <a:cubicBezTo>
                    <a:pt x="242" y="88"/>
                    <a:pt x="235" y="81"/>
                    <a:pt x="227" y="81"/>
                  </a:cubicBezTo>
                  <a:close/>
                  <a:moveTo>
                    <a:pt x="232" y="143"/>
                  </a:moveTo>
                  <a:cubicBezTo>
                    <a:pt x="232" y="146"/>
                    <a:pt x="229" y="148"/>
                    <a:pt x="227" y="148"/>
                  </a:cubicBezTo>
                  <a:cubicBezTo>
                    <a:pt x="15" y="148"/>
                    <a:pt x="15" y="148"/>
                    <a:pt x="15" y="148"/>
                  </a:cubicBezTo>
                  <a:cubicBezTo>
                    <a:pt x="13" y="148"/>
                    <a:pt x="10" y="146"/>
                    <a:pt x="10" y="143"/>
                  </a:cubicBezTo>
                  <a:cubicBezTo>
                    <a:pt x="10" y="96"/>
                    <a:pt x="10" y="96"/>
                    <a:pt x="10" y="96"/>
                  </a:cubicBezTo>
                  <a:cubicBezTo>
                    <a:pt x="10" y="93"/>
                    <a:pt x="13" y="91"/>
                    <a:pt x="15" y="91"/>
                  </a:cubicBezTo>
                  <a:cubicBezTo>
                    <a:pt x="227" y="91"/>
                    <a:pt x="227" y="91"/>
                    <a:pt x="227" y="91"/>
                  </a:cubicBezTo>
                  <a:cubicBezTo>
                    <a:pt x="229" y="91"/>
                    <a:pt x="232" y="93"/>
                    <a:pt x="232" y="96"/>
                  </a:cubicBezTo>
                  <a:lnTo>
                    <a:pt x="232" y="14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63" name="Freeform 504">
              <a:extLst>
                <a:ext uri="{FF2B5EF4-FFF2-40B4-BE49-F238E27FC236}">
                  <a16:creationId xmlns:a16="http://schemas.microsoft.com/office/drawing/2014/main" id="{4CD6E24E-DBC4-4FA2-B9F2-4363FD1094F2}"/>
                </a:ext>
              </a:extLst>
            </p:cNvPr>
            <p:cNvSpPr>
              <a:spLocks noEditPoints="1"/>
            </p:cNvSpPr>
            <p:nvPr/>
          </p:nvSpPr>
          <p:spPr bwMode="auto">
            <a:xfrm>
              <a:off x="8445501" y="5703888"/>
              <a:ext cx="44450" cy="46038"/>
            </a:xfrm>
            <a:custGeom>
              <a:avLst/>
              <a:gdLst>
                <a:gd name="T0" fmla="*/ 12 w 24"/>
                <a:gd name="T1" fmla="*/ 0 h 25"/>
                <a:gd name="T2" fmla="*/ 0 w 24"/>
                <a:gd name="T3" fmla="*/ 13 h 25"/>
                <a:gd name="T4" fmla="*/ 12 w 24"/>
                <a:gd name="T5" fmla="*/ 25 h 25"/>
                <a:gd name="T6" fmla="*/ 24 w 24"/>
                <a:gd name="T7" fmla="*/ 13 h 25"/>
                <a:gd name="T8" fmla="*/ 12 w 24"/>
                <a:gd name="T9" fmla="*/ 0 h 25"/>
                <a:gd name="T10" fmla="*/ 12 w 24"/>
                <a:gd name="T11" fmla="*/ 15 h 25"/>
                <a:gd name="T12" fmla="*/ 10 w 24"/>
                <a:gd name="T13" fmla="*/ 13 h 25"/>
                <a:gd name="T14" fmla="*/ 12 w 24"/>
                <a:gd name="T15" fmla="*/ 10 h 25"/>
                <a:gd name="T16" fmla="*/ 14 w 24"/>
                <a:gd name="T17" fmla="*/ 13 h 25"/>
                <a:gd name="T18" fmla="*/ 12 w 24"/>
                <a:gd name="T19"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5">
                  <a:moveTo>
                    <a:pt x="12" y="0"/>
                  </a:moveTo>
                  <a:cubicBezTo>
                    <a:pt x="5" y="0"/>
                    <a:pt x="0" y="6"/>
                    <a:pt x="0" y="13"/>
                  </a:cubicBezTo>
                  <a:cubicBezTo>
                    <a:pt x="0" y="19"/>
                    <a:pt x="5" y="25"/>
                    <a:pt x="12" y="25"/>
                  </a:cubicBezTo>
                  <a:cubicBezTo>
                    <a:pt x="18" y="25"/>
                    <a:pt x="24" y="19"/>
                    <a:pt x="24" y="13"/>
                  </a:cubicBezTo>
                  <a:cubicBezTo>
                    <a:pt x="24" y="6"/>
                    <a:pt x="18" y="0"/>
                    <a:pt x="12" y="0"/>
                  </a:cubicBezTo>
                  <a:close/>
                  <a:moveTo>
                    <a:pt x="12" y="15"/>
                  </a:moveTo>
                  <a:cubicBezTo>
                    <a:pt x="11" y="15"/>
                    <a:pt x="10" y="14"/>
                    <a:pt x="10" y="13"/>
                  </a:cubicBezTo>
                  <a:cubicBezTo>
                    <a:pt x="10" y="11"/>
                    <a:pt x="11" y="10"/>
                    <a:pt x="12" y="10"/>
                  </a:cubicBezTo>
                  <a:cubicBezTo>
                    <a:pt x="13" y="10"/>
                    <a:pt x="14" y="11"/>
                    <a:pt x="14" y="13"/>
                  </a:cubicBezTo>
                  <a:cubicBezTo>
                    <a:pt x="14" y="14"/>
                    <a:pt x="13" y="15"/>
                    <a:pt x="12" y="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64" name="Freeform 505">
              <a:extLst>
                <a:ext uri="{FF2B5EF4-FFF2-40B4-BE49-F238E27FC236}">
                  <a16:creationId xmlns:a16="http://schemas.microsoft.com/office/drawing/2014/main" id="{BAB0C7BF-486E-49E8-8EE8-DB0254ECE953}"/>
                </a:ext>
              </a:extLst>
            </p:cNvPr>
            <p:cNvSpPr>
              <a:spLocks/>
            </p:cNvSpPr>
            <p:nvPr/>
          </p:nvSpPr>
          <p:spPr bwMode="auto">
            <a:xfrm>
              <a:off x="8267701" y="5432425"/>
              <a:ext cx="49213" cy="165100"/>
            </a:xfrm>
            <a:custGeom>
              <a:avLst/>
              <a:gdLst>
                <a:gd name="T0" fmla="*/ 2 w 27"/>
                <a:gd name="T1" fmla="*/ 88 h 89"/>
                <a:gd name="T2" fmla="*/ 5 w 27"/>
                <a:gd name="T3" fmla="*/ 89 h 89"/>
                <a:gd name="T4" fmla="*/ 9 w 27"/>
                <a:gd name="T5" fmla="*/ 88 h 89"/>
                <a:gd name="T6" fmla="*/ 27 w 27"/>
                <a:gd name="T7" fmla="*/ 45 h 89"/>
                <a:gd name="T8" fmla="*/ 9 w 27"/>
                <a:gd name="T9" fmla="*/ 2 h 89"/>
                <a:gd name="T10" fmla="*/ 2 w 27"/>
                <a:gd name="T11" fmla="*/ 2 h 89"/>
                <a:gd name="T12" fmla="*/ 2 w 27"/>
                <a:gd name="T13" fmla="*/ 9 h 89"/>
                <a:gd name="T14" fmla="*/ 18 w 27"/>
                <a:gd name="T15" fmla="*/ 45 h 89"/>
                <a:gd name="T16" fmla="*/ 2 w 27"/>
                <a:gd name="T17" fmla="*/ 81 h 89"/>
                <a:gd name="T18" fmla="*/ 2 w 27"/>
                <a:gd name="T19" fmla="*/ 8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89">
                  <a:moveTo>
                    <a:pt x="2" y="88"/>
                  </a:moveTo>
                  <a:cubicBezTo>
                    <a:pt x="3" y="89"/>
                    <a:pt x="4" y="89"/>
                    <a:pt x="5" y="89"/>
                  </a:cubicBezTo>
                  <a:cubicBezTo>
                    <a:pt x="7" y="89"/>
                    <a:pt x="8" y="89"/>
                    <a:pt x="9" y="88"/>
                  </a:cubicBezTo>
                  <a:cubicBezTo>
                    <a:pt x="21" y="77"/>
                    <a:pt x="27" y="61"/>
                    <a:pt x="27" y="45"/>
                  </a:cubicBezTo>
                  <a:cubicBezTo>
                    <a:pt x="27" y="29"/>
                    <a:pt x="21" y="13"/>
                    <a:pt x="9" y="2"/>
                  </a:cubicBezTo>
                  <a:cubicBezTo>
                    <a:pt x="7" y="0"/>
                    <a:pt x="4" y="0"/>
                    <a:pt x="2" y="2"/>
                  </a:cubicBezTo>
                  <a:cubicBezTo>
                    <a:pt x="0" y="4"/>
                    <a:pt x="0" y="7"/>
                    <a:pt x="2" y="9"/>
                  </a:cubicBezTo>
                  <a:cubicBezTo>
                    <a:pt x="12" y="19"/>
                    <a:pt x="18" y="31"/>
                    <a:pt x="18" y="45"/>
                  </a:cubicBezTo>
                  <a:cubicBezTo>
                    <a:pt x="18" y="59"/>
                    <a:pt x="12" y="71"/>
                    <a:pt x="2" y="81"/>
                  </a:cubicBezTo>
                  <a:cubicBezTo>
                    <a:pt x="0" y="83"/>
                    <a:pt x="0" y="86"/>
                    <a:pt x="2" y="8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65" name="Freeform 506">
              <a:extLst>
                <a:ext uri="{FF2B5EF4-FFF2-40B4-BE49-F238E27FC236}">
                  <a16:creationId xmlns:a16="http://schemas.microsoft.com/office/drawing/2014/main" id="{3235305E-7617-4DF6-90A0-D12CF33E14DD}"/>
                </a:ext>
              </a:extLst>
            </p:cNvPr>
            <p:cNvSpPr>
              <a:spLocks/>
            </p:cNvSpPr>
            <p:nvPr/>
          </p:nvSpPr>
          <p:spPr bwMode="auto">
            <a:xfrm>
              <a:off x="8302626" y="5395913"/>
              <a:ext cx="65088" cy="236538"/>
            </a:xfrm>
            <a:custGeom>
              <a:avLst/>
              <a:gdLst>
                <a:gd name="T0" fmla="*/ 26 w 35"/>
                <a:gd name="T1" fmla="*/ 64 h 127"/>
                <a:gd name="T2" fmla="*/ 2 w 35"/>
                <a:gd name="T3" fmla="*/ 119 h 127"/>
                <a:gd name="T4" fmla="*/ 2 w 35"/>
                <a:gd name="T5" fmla="*/ 126 h 127"/>
                <a:gd name="T6" fmla="*/ 6 w 35"/>
                <a:gd name="T7" fmla="*/ 127 h 127"/>
                <a:gd name="T8" fmla="*/ 9 w 35"/>
                <a:gd name="T9" fmla="*/ 126 h 127"/>
                <a:gd name="T10" fmla="*/ 35 w 35"/>
                <a:gd name="T11" fmla="*/ 64 h 127"/>
                <a:gd name="T12" fmla="*/ 9 w 35"/>
                <a:gd name="T13" fmla="*/ 2 h 127"/>
                <a:gd name="T14" fmla="*/ 2 w 35"/>
                <a:gd name="T15" fmla="*/ 2 h 127"/>
                <a:gd name="T16" fmla="*/ 2 w 35"/>
                <a:gd name="T17" fmla="*/ 9 h 127"/>
                <a:gd name="T18" fmla="*/ 26 w 35"/>
                <a:gd name="T19"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127">
                  <a:moveTo>
                    <a:pt x="26" y="64"/>
                  </a:moveTo>
                  <a:cubicBezTo>
                    <a:pt x="26" y="85"/>
                    <a:pt x="17" y="104"/>
                    <a:pt x="2" y="119"/>
                  </a:cubicBezTo>
                  <a:cubicBezTo>
                    <a:pt x="0" y="121"/>
                    <a:pt x="0" y="124"/>
                    <a:pt x="2" y="126"/>
                  </a:cubicBezTo>
                  <a:cubicBezTo>
                    <a:pt x="3" y="127"/>
                    <a:pt x="4" y="127"/>
                    <a:pt x="6" y="127"/>
                  </a:cubicBezTo>
                  <a:cubicBezTo>
                    <a:pt x="7" y="127"/>
                    <a:pt x="8" y="127"/>
                    <a:pt x="9" y="126"/>
                  </a:cubicBezTo>
                  <a:cubicBezTo>
                    <a:pt x="26" y="110"/>
                    <a:pt x="35" y="88"/>
                    <a:pt x="35" y="64"/>
                  </a:cubicBezTo>
                  <a:cubicBezTo>
                    <a:pt x="35" y="40"/>
                    <a:pt x="26" y="18"/>
                    <a:pt x="9" y="2"/>
                  </a:cubicBezTo>
                  <a:cubicBezTo>
                    <a:pt x="7" y="0"/>
                    <a:pt x="4" y="0"/>
                    <a:pt x="2" y="2"/>
                  </a:cubicBezTo>
                  <a:cubicBezTo>
                    <a:pt x="0" y="4"/>
                    <a:pt x="0" y="7"/>
                    <a:pt x="2" y="9"/>
                  </a:cubicBezTo>
                  <a:cubicBezTo>
                    <a:pt x="17" y="24"/>
                    <a:pt x="26" y="43"/>
                    <a:pt x="26"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66" name="Freeform 507">
              <a:extLst>
                <a:ext uri="{FF2B5EF4-FFF2-40B4-BE49-F238E27FC236}">
                  <a16:creationId xmlns:a16="http://schemas.microsoft.com/office/drawing/2014/main" id="{1D9D87C1-FD35-44DC-911C-F3899130FB3F}"/>
                </a:ext>
              </a:extLst>
            </p:cNvPr>
            <p:cNvSpPr>
              <a:spLocks/>
            </p:cNvSpPr>
            <p:nvPr/>
          </p:nvSpPr>
          <p:spPr bwMode="auto">
            <a:xfrm>
              <a:off x="8231188" y="5467350"/>
              <a:ext cx="38100" cy="93663"/>
            </a:xfrm>
            <a:custGeom>
              <a:avLst/>
              <a:gdLst>
                <a:gd name="T0" fmla="*/ 2 w 20"/>
                <a:gd name="T1" fmla="*/ 49 h 51"/>
                <a:gd name="T2" fmla="*/ 5 w 20"/>
                <a:gd name="T3" fmla="*/ 51 h 51"/>
                <a:gd name="T4" fmla="*/ 9 w 20"/>
                <a:gd name="T5" fmla="*/ 50 h 51"/>
                <a:gd name="T6" fmla="*/ 20 w 20"/>
                <a:gd name="T7" fmla="*/ 26 h 51"/>
                <a:gd name="T8" fmla="*/ 9 w 20"/>
                <a:gd name="T9" fmla="*/ 2 h 51"/>
                <a:gd name="T10" fmla="*/ 2 w 20"/>
                <a:gd name="T11" fmla="*/ 2 h 51"/>
                <a:gd name="T12" fmla="*/ 2 w 20"/>
                <a:gd name="T13" fmla="*/ 9 h 51"/>
                <a:gd name="T14" fmla="*/ 10 w 20"/>
                <a:gd name="T15" fmla="*/ 26 h 51"/>
                <a:gd name="T16" fmla="*/ 2 w 20"/>
                <a:gd name="T17" fmla="*/ 43 h 51"/>
                <a:gd name="T18" fmla="*/ 2 w 20"/>
                <a:gd name="T19" fmla="*/ 4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51">
                  <a:moveTo>
                    <a:pt x="2" y="49"/>
                  </a:moveTo>
                  <a:cubicBezTo>
                    <a:pt x="3" y="51"/>
                    <a:pt x="4" y="51"/>
                    <a:pt x="5" y="51"/>
                  </a:cubicBezTo>
                  <a:cubicBezTo>
                    <a:pt x="7" y="51"/>
                    <a:pt x="8" y="51"/>
                    <a:pt x="9" y="50"/>
                  </a:cubicBezTo>
                  <a:cubicBezTo>
                    <a:pt x="16" y="44"/>
                    <a:pt x="20" y="35"/>
                    <a:pt x="20" y="26"/>
                  </a:cubicBezTo>
                  <a:cubicBezTo>
                    <a:pt x="20" y="17"/>
                    <a:pt x="16" y="8"/>
                    <a:pt x="9" y="2"/>
                  </a:cubicBezTo>
                  <a:cubicBezTo>
                    <a:pt x="7" y="0"/>
                    <a:pt x="3" y="0"/>
                    <a:pt x="2" y="2"/>
                  </a:cubicBezTo>
                  <a:cubicBezTo>
                    <a:pt x="0" y="5"/>
                    <a:pt x="0" y="8"/>
                    <a:pt x="2" y="9"/>
                  </a:cubicBezTo>
                  <a:cubicBezTo>
                    <a:pt x="7" y="14"/>
                    <a:pt x="10" y="20"/>
                    <a:pt x="10" y="26"/>
                  </a:cubicBezTo>
                  <a:cubicBezTo>
                    <a:pt x="10" y="32"/>
                    <a:pt x="7" y="38"/>
                    <a:pt x="2" y="43"/>
                  </a:cubicBezTo>
                  <a:cubicBezTo>
                    <a:pt x="0" y="44"/>
                    <a:pt x="0" y="47"/>
                    <a:pt x="2" y="4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grpSp>
      <p:grpSp>
        <p:nvGrpSpPr>
          <p:cNvPr id="67" name="Group 66">
            <a:extLst>
              <a:ext uri="{FF2B5EF4-FFF2-40B4-BE49-F238E27FC236}">
                <a16:creationId xmlns:a16="http://schemas.microsoft.com/office/drawing/2014/main" id="{BA89AB59-4773-4E75-B263-2264DF84FF92}"/>
              </a:ext>
            </a:extLst>
          </p:cNvPr>
          <p:cNvGrpSpPr/>
          <p:nvPr/>
        </p:nvGrpSpPr>
        <p:grpSpPr>
          <a:xfrm>
            <a:off x="9915900" y="4886234"/>
            <a:ext cx="564470" cy="454282"/>
            <a:chOff x="9648825" y="2890838"/>
            <a:chExt cx="463551" cy="373063"/>
          </a:xfrm>
          <a:solidFill>
            <a:schemeClr val="accent2"/>
          </a:solidFill>
        </p:grpSpPr>
        <p:sp>
          <p:nvSpPr>
            <p:cNvPr id="68" name="Freeform 551">
              <a:extLst>
                <a:ext uri="{FF2B5EF4-FFF2-40B4-BE49-F238E27FC236}">
                  <a16:creationId xmlns:a16="http://schemas.microsoft.com/office/drawing/2014/main" id="{8E4407A3-1D79-4F42-8A3C-E97B18F12BC3}"/>
                </a:ext>
              </a:extLst>
            </p:cNvPr>
            <p:cNvSpPr>
              <a:spLocks noEditPoints="1"/>
            </p:cNvSpPr>
            <p:nvPr/>
          </p:nvSpPr>
          <p:spPr bwMode="auto">
            <a:xfrm>
              <a:off x="9648825" y="2890838"/>
              <a:ext cx="254000" cy="373063"/>
            </a:xfrm>
            <a:custGeom>
              <a:avLst/>
              <a:gdLst>
                <a:gd name="T0" fmla="*/ 118 w 131"/>
                <a:gd name="T1" fmla="*/ 0 h 192"/>
                <a:gd name="T2" fmla="*/ 107 w 131"/>
                <a:gd name="T3" fmla="*/ 3 h 192"/>
                <a:gd name="T4" fmla="*/ 49 w 131"/>
                <a:gd name="T5" fmla="*/ 50 h 192"/>
                <a:gd name="T6" fmla="*/ 10 w 131"/>
                <a:gd name="T7" fmla="*/ 50 h 192"/>
                <a:gd name="T8" fmla="*/ 0 w 131"/>
                <a:gd name="T9" fmla="*/ 61 h 192"/>
                <a:gd name="T10" fmla="*/ 0 w 131"/>
                <a:gd name="T11" fmla="*/ 131 h 192"/>
                <a:gd name="T12" fmla="*/ 10 w 131"/>
                <a:gd name="T13" fmla="*/ 142 h 192"/>
                <a:gd name="T14" fmla="*/ 50 w 131"/>
                <a:gd name="T15" fmla="*/ 142 h 192"/>
                <a:gd name="T16" fmla="*/ 107 w 131"/>
                <a:gd name="T17" fmla="*/ 188 h 192"/>
                <a:gd name="T18" fmla="*/ 118 w 131"/>
                <a:gd name="T19" fmla="*/ 192 h 192"/>
                <a:gd name="T20" fmla="*/ 131 w 131"/>
                <a:gd name="T21" fmla="*/ 178 h 192"/>
                <a:gd name="T22" fmla="*/ 131 w 131"/>
                <a:gd name="T23" fmla="*/ 177 h 192"/>
                <a:gd name="T24" fmla="*/ 131 w 131"/>
                <a:gd name="T25" fmla="*/ 14 h 192"/>
                <a:gd name="T26" fmla="*/ 131 w 131"/>
                <a:gd name="T27" fmla="*/ 13 h 192"/>
                <a:gd name="T28" fmla="*/ 118 w 131"/>
                <a:gd name="T29" fmla="*/ 0 h 192"/>
                <a:gd name="T30" fmla="*/ 121 w 131"/>
                <a:gd name="T31" fmla="*/ 177 h 192"/>
                <a:gd name="T32" fmla="*/ 118 w 131"/>
                <a:gd name="T33" fmla="*/ 182 h 192"/>
                <a:gd name="T34" fmla="*/ 112 w 131"/>
                <a:gd name="T35" fmla="*/ 180 h 192"/>
                <a:gd name="T36" fmla="*/ 55 w 131"/>
                <a:gd name="T37" fmla="*/ 134 h 192"/>
                <a:gd name="T38" fmla="*/ 52 w 131"/>
                <a:gd name="T39" fmla="*/ 132 h 192"/>
                <a:gd name="T40" fmla="*/ 10 w 131"/>
                <a:gd name="T41" fmla="*/ 132 h 192"/>
                <a:gd name="T42" fmla="*/ 9 w 131"/>
                <a:gd name="T43" fmla="*/ 131 h 192"/>
                <a:gd name="T44" fmla="*/ 9 w 131"/>
                <a:gd name="T45" fmla="*/ 61 h 192"/>
                <a:gd name="T46" fmla="*/ 10 w 131"/>
                <a:gd name="T47" fmla="*/ 60 h 192"/>
                <a:gd name="T48" fmla="*/ 51 w 131"/>
                <a:gd name="T49" fmla="*/ 60 h 192"/>
                <a:gd name="T50" fmla="*/ 54 w 131"/>
                <a:gd name="T51" fmla="*/ 59 h 192"/>
                <a:gd name="T52" fmla="*/ 112 w 131"/>
                <a:gd name="T53" fmla="*/ 12 h 192"/>
                <a:gd name="T54" fmla="*/ 118 w 131"/>
                <a:gd name="T55" fmla="*/ 9 h 192"/>
                <a:gd name="T56" fmla="*/ 121 w 131"/>
                <a:gd name="T57" fmla="*/ 14 h 192"/>
                <a:gd name="T58" fmla="*/ 121 w 131"/>
                <a:gd name="T59" fmla="*/ 17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1" h="192">
                  <a:moveTo>
                    <a:pt x="118" y="0"/>
                  </a:moveTo>
                  <a:cubicBezTo>
                    <a:pt x="114" y="0"/>
                    <a:pt x="111" y="1"/>
                    <a:pt x="107" y="3"/>
                  </a:cubicBezTo>
                  <a:cubicBezTo>
                    <a:pt x="96" y="11"/>
                    <a:pt x="70" y="33"/>
                    <a:pt x="49" y="50"/>
                  </a:cubicBezTo>
                  <a:cubicBezTo>
                    <a:pt x="10" y="50"/>
                    <a:pt x="10" y="50"/>
                    <a:pt x="10" y="50"/>
                  </a:cubicBezTo>
                  <a:cubicBezTo>
                    <a:pt x="4" y="50"/>
                    <a:pt x="0" y="55"/>
                    <a:pt x="0" y="61"/>
                  </a:cubicBezTo>
                  <a:cubicBezTo>
                    <a:pt x="0" y="131"/>
                    <a:pt x="0" y="131"/>
                    <a:pt x="0" y="131"/>
                  </a:cubicBezTo>
                  <a:cubicBezTo>
                    <a:pt x="0" y="137"/>
                    <a:pt x="4" y="142"/>
                    <a:pt x="10" y="142"/>
                  </a:cubicBezTo>
                  <a:cubicBezTo>
                    <a:pt x="50" y="142"/>
                    <a:pt x="50" y="142"/>
                    <a:pt x="50" y="142"/>
                  </a:cubicBezTo>
                  <a:cubicBezTo>
                    <a:pt x="70" y="159"/>
                    <a:pt x="96" y="181"/>
                    <a:pt x="107" y="188"/>
                  </a:cubicBezTo>
                  <a:cubicBezTo>
                    <a:pt x="111" y="190"/>
                    <a:pt x="114" y="192"/>
                    <a:pt x="118" y="192"/>
                  </a:cubicBezTo>
                  <a:cubicBezTo>
                    <a:pt x="127" y="192"/>
                    <a:pt x="130" y="183"/>
                    <a:pt x="131" y="178"/>
                  </a:cubicBezTo>
                  <a:cubicBezTo>
                    <a:pt x="131" y="178"/>
                    <a:pt x="131" y="178"/>
                    <a:pt x="131" y="177"/>
                  </a:cubicBezTo>
                  <a:cubicBezTo>
                    <a:pt x="131" y="14"/>
                    <a:pt x="131" y="14"/>
                    <a:pt x="131" y="14"/>
                  </a:cubicBezTo>
                  <a:cubicBezTo>
                    <a:pt x="131" y="14"/>
                    <a:pt x="131" y="14"/>
                    <a:pt x="131" y="13"/>
                  </a:cubicBezTo>
                  <a:cubicBezTo>
                    <a:pt x="130" y="9"/>
                    <a:pt x="127" y="0"/>
                    <a:pt x="118" y="0"/>
                  </a:cubicBezTo>
                  <a:close/>
                  <a:moveTo>
                    <a:pt x="121" y="177"/>
                  </a:moveTo>
                  <a:cubicBezTo>
                    <a:pt x="121" y="178"/>
                    <a:pt x="120" y="182"/>
                    <a:pt x="118" y="182"/>
                  </a:cubicBezTo>
                  <a:cubicBezTo>
                    <a:pt x="117" y="182"/>
                    <a:pt x="115" y="182"/>
                    <a:pt x="112" y="180"/>
                  </a:cubicBezTo>
                  <a:cubicBezTo>
                    <a:pt x="101" y="173"/>
                    <a:pt x="72" y="148"/>
                    <a:pt x="55" y="134"/>
                  </a:cubicBezTo>
                  <a:cubicBezTo>
                    <a:pt x="54" y="133"/>
                    <a:pt x="53" y="132"/>
                    <a:pt x="52" y="132"/>
                  </a:cubicBezTo>
                  <a:cubicBezTo>
                    <a:pt x="10" y="132"/>
                    <a:pt x="10" y="132"/>
                    <a:pt x="10" y="132"/>
                  </a:cubicBezTo>
                  <a:cubicBezTo>
                    <a:pt x="10" y="132"/>
                    <a:pt x="9" y="132"/>
                    <a:pt x="9" y="131"/>
                  </a:cubicBezTo>
                  <a:cubicBezTo>
                    <a:pt x="9" y="61"/>
                    <a:pt x="9" y="61"/>
                    <a:pt x="9" y="61"/>
                  </a:cubicBezTo>
                  <a:cubicBezTo>
                    <a:pt x="9" y="60"/>
                    <a:pt x="10" y="60"/>
                    <a:pt x="10" y="60"/>
                  </a:cubicBezTo>
                  <a:cubicBezTo>
                    <a:pt x="51" y="60"/>
                    <a:pt x="51" y="60"/>
                    <a:pt x="51" y="60"/>
                  </a:cubicBezTo>
                  <a:cubicBezTo>
                    <a:pt x="52" y="60"/>
                    <a:pt x="53" y="60"/>
                    <a:pt x="54" y="59"/>
                  </a:cubicBezTo>
                  <a:cubicBezTo>
                    <a:pt x="83" y="34"/>
                    <a:pt x="104" y="17"/>
                    <a:pt x="112" y="12"/>
                  </a:cubicBezTo>
                  <a:cubicBezTo>
                    <a:pt x="115" y="10"/>
                    <a:pt x="117" y="9"/>
                    <a:pt x="118" y="9"/>
                  </a:cubicBezTo>
                  <a:cubicBezTo>
                    <a:pt x="120" y="9"/>
                    <a:pt x="121" y="13"/>
                    <a:pt x="121" y="14"/>
                  </a:cubicBezTo>
                  <a:lnTo>
                    <a:pt x="121" y="17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69" name="Freeform 552">
              <a:extLst>
                <a:ext uri="{FF2B5EF4-FFF2-40B4-BE49-F238E27FC236}">
                  <a16:creationId xmlns:a16="http://schemas.microsoft.com/office/drawing/2014/main" id="{CF7D5CB8-B9AC-4B86-A489-3472052D1F49}"/>
                </a:ext>
              </a:extLst>
            </p:cNvPr>
            <p:cNvSpPr>
              <a:spLocks/>
            </p:cNvSpPr>
            <p:nvPr/>
          </p:nvSpPr>
          <p:spPr bwMode="auto">
            <a:xfrm>
              <a:off x="9988550" y="2976563"/>
              <a:ext cx="58738" cy="200025"/>
            </a:xfrm>
            <a:custGeom>
              <a:avLst/>
              <a:gdLst>
                <a:gd name="T0" fmla="*/ 9 w 30"/>
                <a:gd name="T1" fmla="*/ 1 h 103"/>
                <a:gd name="T2" fmla="*/ 2 w 30"/>
                <a:gd name="T3" fmla="*/ 2 h 103"/>
                <a:gd name="T4" fmla="*/ 2 w 30"/>
                <a:gd name="T5" fmla="*/ 8 h 103"/>
                <a:gd name="T6" fmla="*/ 21 w 30"/>
                <a:gd name="T7" fmla="*/ 52 h 103"/>
                <a:gd name="T8" fmla="*/ 2 w 30"/>
                <a:gd name="T9" fmla="*/ 95 h 103"/>
                <a:gd name="T10" fmla="*/ 2 w 30"/>
                <a:gd name="T11" fmla="*/ 102 h 103"/>
                <a:gd name="T12" fmla="*/ 5 w 30"/>
                <a:gd name="T13" fmla="*/ 103 h 103"/>
                <a:gd name="T14" fmla="*/ 9 w 30"/>
                <a:gd name="T15" fmla="*/ 102 h 103"/>
                <a:gd name="T16" fmla="*/ 30 w 30"/>
                <a:gd name="T17" fmla="*/ 52 h 103"/>
                <a:gd name="T18" fmla="*/ 9 w 30"/>
                <a:gd name="T19" fmla="*/ 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103">
                  <a:moveTo>
                    <a:pt x="9" y="1"/>
                  </a:moveTo>
                  <a:cubicBezTo>
                    <a:pt x="7" y="0"/>
                    <a:pt x="4" y="0"/>
                    <a:pt x="2" y="2"/>
                  </a:cubicBezTo>
                  <a:cubicBezTo>
                    <a:pt x="0" y="3"/>
                    <a:pt x="0" y="7"/>
                    <a:pt x="2" y="8"/>
                  </a:cubicBezTo>
                  <a:cubicBezTo>
                    <a:pt x="14" y="20"/>
                    <a:pt x="21" y="35"/>
                    <a:pt x="21" y="52"/>
                  </a:cubicBezTo>
                  <a:cubicBezTo>
                    <a:pt x="21" y="68"/>
                    <a:pt x="14" y="84"/>
                    <a:pt x="2" y="95"/>
                  </a:cubicBezTo>
                  <a:cubicBezTo>
                    <a:pt x="0" y="97"/>
                    <a:pt x="0" y="100"/>
                    <a:pt x="2" y="102"/>
                  </a:cubicBezTo>
                  <a:cubicBezTo>
                    <a:pt x="3" y="103"/>
                    <a:pt x="4" y="103"/>
                    <a:pt x="5" y="103"/>
                  </a:cubicBezTo>
                  <a:cubicBezTo>
                    <a:pt x="6" y="103"/>
                    <a:pt x="8" y="103"/>
                    <a:pt x="9" y="102"/>
                  </a:cubicBezTo>
                  <a:cubicBezTo>
                    <a:pt x="23" y="89"/>
                    <a:pt x="30" y="71"/>
                    <a:pt x="30" y="52"/>
                  </a:cubicBezTo>
                  <a:cubicBezTo>
                    <a:pt x="30" y="32"/>
                    <a:pt x="23" y="15"/>
                    <a:pt x="9"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70" name="Freeform 553">
              <a:extLst>
                <a:ext uri="{FF2B5EF4-FFF2-40B4-BE49-F238E27FC236}">
                  <a16:creationId xmlns:a16="http://schemas.microsoft.com/office/drawing/2014/main" id="{B2D56C05-B194-4779-B7C7-3F0FA8FE9D38}"/>
                </a:ext>
              </a:extLst>
            </p:cNvPr>
            <p:cNvSpPr>
              <a:spLocks/>
            </p:cNvSpPr>
            <p:nvPr/>
          </p:nvSpPr>
          <p:spPr bwMode="auto">
            <a:xfrm>
              <a:off x="10034588" y="2932113"/>
              <a:ext cx="77788" cy="288925"/>
            </a:xfrm>
            <a:custGeom>
              <a:avLst/>
              <a:gdLst>
                <a:gd name="T0" fmla="*/ 8 w 40"/>
                <a:gd name="T1" fmla="*/ 2 h 149"/>
                <a:gd name="T2" fmla="*/ 1 w 40"/>
                <a:gd name="T3" fmla="*/ 2 h 149"/>
                <a:gd name="T4" fmla="*/ 2 w 40"/>
                <a:gd name="T5" fmla="*/ 9 h 149"/>
                <a:gd name="T6" fmla="*/ 30 w 40"/>
                <a:gd name="T7" fmla="*/ 75 h 149"/>
                <a:gd name="T8" fmla="*/ 2 w 40"/>
                <a:gd name="T9" fmla="*/ 141 h 149"/>
                <a:gd name="T10" fmla="*/ 1 w 40"/>
                <a:gd name="T11" fmla="*/ 147 h 149"/>
                <a:gd name="T12" fmla="*/ 5 w 40"/>
                <a:gd name="T13" fmla="*/ 149 h 149"/>
                <a:gd name="T14" fmla="*/ 8 w 40"/>
                <a:gd name="T15" fmla="*/ 148 h 149"/>
                <a:gd name="T16" fmla="*/ 40 w 40"/>
                <a:gd name="T17" fmla="*/ 75 h 149"/>
                <a:gd name="T18" fmla="*/ 8 w 40"/>
                <a:gd name="T19" fmla="*/ 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149">
                  <a:moveTo>
                    <a:pt x="8" y="2"/>
                  </a:moveTo>
                  <a:cubicBezTo>
                    <a:pt x="6" y="0"/>
                    <a:pt x="3" y="0"/>
                    <a:pt x="1" y="2"/>
                  </a:cubicBezTo>
                  <a:cubicBezTo>
                    <a:pt x="0" y="4"/>
                    <a:pt x="0" y="7"/>
                    <a:pt x="2" y="9"/>
                  </a:cubicBezTo>
                  <a:cubicBezTo>
                    <a:pt x="20" y="26"/>
                    <a:pt x="30" y="50"/>
                    <a:pt x="30" y="75"/>
                  </a:cubicBezTo>
                  <a:cubicBezTo>
                    <a:pt x="30" y="100"/>
                    <a:pt x="20" y="123"/>
                    <a:pt x="2" y="141"/>
                  </a:cubicBezTo>
                  <a:cubicBezTo>
                    <a:pt x="0" y="142"/>
                    <a:pt x="0" y="146"/>
                    <a:pt x="1" y="147"/>
                  </a:cubicBezTo>
                  <a:cubicBezTo>
                    <a:pt x="2" y="148"/>
                    <a:pt x="4" y="149"/>
                    <a:pt x="5" y="149"/>
                  </a:cubicBezTo>
                  <a:cubicBezTo>
                    <a:pt x="6" y="149"/>
                    <a:pt x="7" y="148"/>
                    <a:pt x="8" y="148"/>
                  </a:cubicBezTo>
                  <a:cubicBezTo>
                    <a:pt x="28" y="128"/>
                    <a:pt x="40" y="102"/>
                    <a:pt x="40" y="75"/>
                  </a:cubicBezTo>
                  <a:cubicBezTo>
                    <a:pt x="40" y="47"/>
                    <a:pt x="28" y="21"/>
                    <a:pt x="8"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71" name="Freeform 554">
              <a:extLst>
                <a:ext uri="{FF2B5EF4-FFF2-40B4-BE49-F238E27FC236}">
                  <a16:creationId xmlns:a16="http://schemas.microsoft.com/office/drawing/2014/main" id="{29FC638A-7835-4EB9-A277-85A1EFE14C92}"/>
                </a:ext>
              </a:extLst>
            </p:cNvPr>
            <p:cNvSpPr>
              <a:spLocks/>
            </p:cNvSpPr>
            <p:nvPr/>
          </p:nvSpPr>
          <p:spPr bwMode="auto">
            <a:xfrm>
              <a:off x="9944100" y="3019425"/>
              <a:ext cx="41275" cy="114300"/>
            </a:xfrm>
            <a:custGeom>
              <a:avLst/>
              <a:gdLst>
                <a:gd name="T0" fmla="*/ 9 w 21"/>
                <a:gd name="T1" fmla="*/ 2 h 59"/>
                <a:gd name="T2" fmla="*/ 2 w 21"/>
                <a:gd name="T3" fmla="*/ 2 h 59"/>
                <a:gd name="T4" fmla="*/ 2 w 21"/>
                <a:gd name="T5" fmla="*/ 9 h 59"/>
                <a:gd name="T6" fmla="*/ 12 w 21"/>
                <a:gd name="T7" fmla="*/ 30 h 59"/>
                <a:gd name="T8" fmla="*/ 2 w 21"/>
                <a:gd name="T9" fmla="*/ 50 h 59"/>
                <a:gd name="T10" fmla="*/ 2 w 21"/>
                <a:gd name="T11" fmla="*/ 57 h 59"/>
                <a:gd name="T12" fmla="*/ 6 w 21"/>
                <a:gd name="T13" fmla="*/ 59 h 59"/>
                <a:gd name="T14" fmla="*/ 9 w 21"/>
                <a:gd name="T15" fmla="*/ 57 h 59"/>
                <a:gd name="T16" fmla="*/ 21 w 21"/>
                <a:gd name="T17" fmla="*/ 30 h 59"/>
                <a:gd name="T18" fmla="*/ 9 w 21"/>
                <a:gd name="T19" fmla="*/ 2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59">
                  <a:moveTo>
                    <a:pt x="9" y="2"/>
                  </a:moveTo>
                  <a:cubicBezTo>
                    <a:pt x="7" y="0"/>
                    <a:pt x="4" y="0"/>
                    <a:pt x="2" y="2"/>
                  </a:cubicBezTo>
                  <a:cubicBezTo>
                    <a:pt x="0" y="4"/>
                    <a:pt x="0" y="7"/>
                    <a:pt x="2" y="9"/>
                  </a:cubicBezTo>
                  <a:cubicBezTo>
                    <a:pt x="8" y="14"/>
                    <a:pt x="12" y="22"/>
                    <a:pt x="12" y="30"/>
                  </a:cubicBezTo>
                  <a:cubicBezTo>
                    <a:pt x="12" y="37"/>
                    <a:pt x="8" y="45"/>
                    <a:pt x="2" y="50"/>
                  </a:cubicBezTo>
                  <a:cubicBezTo>
                    <a:pt x="0" y="52"/>
                    <a:pt x="0" y="55"/>
                    <a:pt x="2" y="57"/>
                  </a:cubicBezTo>
                  <a:cubicBezTo>
                    <a:pt x="3" y="58"/>
                    <a:pt x="4" y="59"/>
                    <a:pt x="6" y="59"/>
                  </a:cubicBezTo>
                  <a:cubicBezTo>
                    <a:pt x="7" y="59"/>
                    <a:pt x="8" y="58"/>
                    <a:pt x="9" y="57"/>
                  </a:cubicBezTo>
                  <a:cubicBezTo>
                    <a:pt x="17" y="50"/>
                    <a:pt x="21" y="40"/>
                    <a:pt x="21" y="30"/>
                  </a:cubicBezTo>
                  <a:cubicBezTo>
                    <a:pt x="21" y="19"/>
                    <a:pt x="17" y="9"/>
                    <a:pt x="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grpSp>
    </p:spTree>
    <p:extLst>
      <p:ext uri="{BB962C8B-B14F-4D97-AF65-F5344CB8AC3E}">
        <p14:creationId xmlns:p14="http://schemas.microsoft.com/office/powerpoint/2010/main" val="378902625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8C8D5-7296-43FA-AA8F-91A7D3ED8BB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2"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888C8D5-7296-43FA-AA8F-91A7D3ED8BB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F3E70F6-C92D-4957-A320-3379599CE14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4881A3AB-E0F5-4AEE-981B-84D6DD0D76B6}"/>
              </a:ext>
            </a:extLst>
          </p:cNvPr>
          <p:cNvSpPr>
            <a:spLocks noGrp="1"/>
          </p:cNvSpPr>
          <p:nvPr>
            <p:ph type="title"/>
          </p:nvPr>
        </p:nvSpPr>
        <p:spPr/>
        <p:txBody>
          <a:bodyPr/>
          <a:lstStyle/>
          <a:p>
            <a:r>
              <a:rPr lang="en-US" dirty="0"/>
              <a:t>The Rules of the Road throughout our session</a:t>
            </a:r>
          </a:p>
        </p:txBody>
      </p:sp>
      <p:sp>
        <p:nvSpPr>
          <p:cNvPr id="22" name="Text Placeholder 21">
            <a:extLst>
              <a:ext uri="{FF2B5EF4-FFF2-40B4-BE49-F238E27FC236}">
                <a16:creationId xmlns:a16="http://schemas.microsoft.com/office/drawing/2014/main" id="{AB1D4EB5-4D26-463F-8CBE-284EEF55EE75}"/>
              </a:ext>
            </a:extLst>
          </p:cNvPr>
          <p:cNvSpPr>
            <a:spLocks noGrp="1"/>
          </p:cNvSpPr>
          <p:nvPr>
            <p:ph type="body" sz="quarter" idx="14"/>
          </p:nvPr>
        </p:nvSpPr>
        <p:spPr/>
        <p:txBody>
          <a:bodyPr/>
          <a:lstStyle/>
          <a:p>
            <a:r>
              <a:rPr lang="en-US" dirty="0"/>
              <a:t>Subheader Placeholder</a:t>
            </a:r>
          </a:p>
        </p:txBody>
      </p:sp>
      <p:sp>
        <p:nvSpPr>
          <p:cNvPr id="23" name="Text Placeholder 22">
            <a:extLst>
              <a:ext uri="{FF2B5EF4-FFF2-40B4-BE49-F238E27FC236}">
                <a16:creationId xmlns:a16="http://schemas.microsoft.com/office/drawing/2014/main" id="{D1235178-3A52-4F5C-9DC2-0A4BFB629976}"/>
              </a:ext>
            </a:extLst>
          </p:cNvPr>
          <p:cNvSpPr>
            <a:spLocks noGrp="1"/>
          </p:cNvSpPr>
          <p:nvPr>
            <p:ph type="body" sz="quarter" idx="15"/>
          </p:nvPr>
        </p:nvSpPr>
        <p:spPr/>
        <p:txBody>
          <a:bodyPr/>
          <a:lstStyle/>
          <a:p>
            <a:r>
              <a:rPr lang="en-US" dirty="0"/>
              <a:t>text</a:t>
            </a:r>
          </a:p>
        </p:txBody>
      </p:sp>
      <p:cxnSp>
        <p:nvCxnSpPr>
          <p:cNvPr id="5" name="Straight Connector 4">
            <a:extLst>
              <a:ext uri="{FF2B5EF4-FFF2-40B4-BE49-F238E27FC236}">
                <a16:creationId xmlns:a16="http://schemas.microsoft.com/office/drawing/2014/main" id="{4B43EE10-364B-4645-84D5-1BFC37725AE8}"/>
              </a:ext>
            </a:extLst>
          </p:cNvPr>
          <p:cNvCxnSpPr>
            <a:cxnSpLocks/>
          </p:cNvCxnSpPr>
          <p:nvPr/>
        </p:nvCxnSpPr>
        <p:spPr>
          <a:xfrm flipV="1">
            <a:off x="800100" y="2484860"/>
            <a:ext cx="0" cy="2471541"/>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01F3321-9A8A-4704-9CBE-2A179749ADAB}"/>
              </a:ext>
            </a:extLst>
          </p:cNvPr>
          <p:cNvCxnSpPr>
            <a:cxnSpLocks/>
          </p:cNvCxnSpPr>
          <p:nvPr/>
        </p:nvCxnSpPr>
        <p:spPr>
          <a:xfrm flipV="1">
            <a:off x="9436917" y="3255638"/>
            <a:ext cx="0" cy="1773563"/>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6270CD74-DD85-4D95-82D1-03D16AE4A45E}"/>
              </a:ext>
            </a:extLst>
          </p:cNvPr>
          <p:cNvCxnSpPr>
            <a:cxnSpLocks/>
          </p:cNvCxnSpPr>
          <p:nvPr/>
        </p:nvCxnSpPr>
        <p:spPr>
          <a:xfrm flipV="1">
            <a:off x="6560072" y="2295785"/>
            <a:ext cx="0" cy="2669266"/>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8" name="Text Placeholder 9">
            <a:extLst>
              <a:ext uri="{FF2B5EF4-FFF2-40B4-BE49-F238E27FC236}">
                <a16:creationId xmlns:a16="http://schemas.microsoft.com/office/drawing/2014/main" id="{23814F36-0D86-41B8-B130-87AC9E66FC59}"/>
              </a:ext>
            </a:extLst>
          </p:cNvPr>
          <p:cNvSpPr txBox="1">
            <a:spLocks/>
          </p:cNvSpPr>
          <p:nvPr/>
        </p:nvSpPr>
        <p:spPr>
          <a:xfrm>
            <a:off x="3913188" y="3024675"/>
            <a:ext cx="2372496" cy="1365200"/>
          </a:xfrm>
          <a:prstGeom prst="rect">
            <a:avLst/>
          </a:prstGeom>
        </p:spPr>
        <p:txBody>
          <a:bodyPr vert="horz" lIns="91440" tIns="45720" rIns="91440" bIns="4572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400"/>
              </a:spcAft>
              <a:buClr>
                <a:srgbClr val="81BC00"/>
              </a:buClr>
              <a:buSzTx/>
              <a:buFont typeface="Arial" panose="020B0604020202020204" pitchFamily="34" charset="0"/>
              <a:buNone/>
              <a:tabLst/>
              <a:defRPr/>
            </a:pPr>
            <a:r>
              <a:rPr kumimoji="0" lang="en-US" sz="1800" b="1" i="0" u="none" strike="noStrike" kern="1200" cap="none" spc="0" normalizeH="0" baseline="0" noProof="0" dirty="0">
                <a:ln>
                  <a:noFill/>
                </a:ln>
                <a:effectLst/>
                <a:uLnTx/>
                <a:uFillTx/>
                <a:latin typeface="Open Sans"/>
                <a:ea typeface="Open Sans" panose="020B0606030504020204" pitchFamily="34" charset="0"/>
                <a:cs typeface="Open Sans" panose="020B0606030504020204" pitchFamily="34" charset="0"/>
              </a:rPr>
              <a:t>Be Engaged</a:t>
            </a:r>
          </a:p>
          <a:p>
            <a:pPr marL="0" marR="0" lvl="0" indent="0" algn="l" defTabSz="914400" rtl="0" eaLnBrk="1" fontAlgn="base" latinLnBrk="0" hangingPunct="1">
              <a:lnSpc>
                <a:spcPct val="100000"/>
              </a:lnSpc>
              <a:spcBef>
                <a:spcPts val="0"/>
              </a:spcBef>
              <a:spcAft>
                <a:spcPts val="400"/>
              </a:spcAft>
              <a:buClr>
                <a:srgbClr val="81BC00"/>
              </a:buClr>
              <a:buSzTx/>
              <a:buFont typeface="Arial" panose="020B0604020202020204" pitchFamily="34" charset="0"/>
              <a:buNone/>
              <a:tabLst/>
              <a:defRPr/>
            </a:pPr>
            <a:r>
              <a:rPr kumimoji="0" lang="en-US" sz="1400" b="0" i="0" u="none" strike="noStrike" kern="1200" cap="none" spc="0" normalizeH="0" baseline="0" noProof="0" dirty="0">
                <a:ln>
                  <a:noFill/>
                </a:ln>
                <a:effectLst/>
                <a:uLnTx/>
                <a:uFillTx/>
                <a:latin typeface="Open Sans"/>
                <a:ea typeface="Open Sans" panose="020B0606030504020204" pitchFamily="34" charset="0"/>
                <a:cs typeface="Open Sans" panose="020B0606030504020204" pitchFamily="34" charset="0"/>
              </a:rPr>
              <a:t>Actively participate in the discussion and ensure your opinion is stated and heard</a:t>
            </a:r>
          </a:p>
        </p:txBody>
      </p:sp>
      <p:sp>
        <p:nvSpPr>
          <p:cNvPr id="9" name="Oval 8">
            <a:extLst>
              <a:ext uri="{FF2B5EF4-FFF2-40B4-BE49-F238E27FC236}">
                <a16:creationId xmlns:a16="http://schemas.microsoft.com/office/drawing/2014/main" id="{68CE65C7-BA24-4DF5-B1AD-7B1D1332839F}"/>
              </a:ext>
            </a:extLst>
          </p:cNvPr>
          <p:cNvSpPr/>
          <p:nvPr/>
        </p:nvSpPr>
        <p:spPr>
          <a:xfrm>
            <a:off x="6445772" y="2244112"/>
            <a:ext cx="228600" cy="228600"/>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chemeClr val="accent3"/>
              </a:solidFill>
              <a:effectLst/>
              <a:uLnTx/>
              <a:uFillTx/>
              <a:latin typeface="Open Sans"/>
              <a:ea typeface="Microsoft YaHei"/>
              <a:cs typeface="+mn-cs"/>
            </a:endParaRPr>
          </a:p>
        </p:txBody>
      </p:sp>
      <p:cxnSp>
        <p:nvCxnSpPr>
          <p:cNvPr id="10" name="Straight Connector 9">
            <a:extLst>
              <a:ext uri="{FF2B5EF4-FFF2-40B4-BE49-F238E27FC236}">
                <a16:creationId xmlns:a16="http://schemas.microsoft.com/office/drawing/2014/main" id="{07780A01-565B-47FD-8960-95CB7922BA84}"/>
              </a:ext>
            </a:extLst>
          </p:cNvPr>
          <p:cNvCxnSpPr>
            <a:cxnSpLocks/>
          </p:cNvCxnSpPr>
          <p:nvPr/>
        </p:nvCxnSpPr>
        <p:spPr>
          <a:xfrm flipV="1">
            <a:off x="3678884" y="3068934"/>
            <a:ext cx="0" cy="2149845"/>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9F2D85F0-78E4-49B8-99A5-08FB3876EAC9}"/>
              </a:ext>
            </a:extLst>
          </p:cNvPr>
          <p:cNvSpPr/>
          <p:nvPr/>
        </p:nvSpPr>
        <p:spPr>
          <a:xfrm>
            <a:off x="3564584" y="3006112"/>
            <a:ext cx="228600" cy="228600"/>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chemeClr val="accent3"/>
              </a:solidFill>
              <a:effectLst/>
              <a:uLnTx/>
              <a:uFillTx/>
              <a:latin typeface="Open Sans"/>
              <a:ea typeface="Microsoft YaHei"/>
              <a:cs typeface="+mn-cs"/>
            </a:endParaRPr>
          </a:p>
        </p:txBody>
      </p:sp>
      <p:sp>
        <p:nvSpPr>
          <p:cNvPr id="12" name="Text Placeholder 9">
            <a:extLst>
              <a:ext uri="{FF2B5EF4-FFF2-40B4-BE49-F238E27FC236}">
                <a16:creationId xmlns:a16="http://schemas.microsoft.com/office/drawing/2014/main" id="{FD2EAC9A-48AC-4952-9087-86E232DB42FB}"/>
              </a:ext>
            </a:extLst>
          </p:cNvPr>
          <p:cNvSpPr txBox="1">
            <a:spLocks/>
          </p:cNvSpPr>
          <p:nvPr/>
        </p:nvSpPr>
        <p:spPr>
          <a:xfrm>
            <a:off x="6783388" y="2267761"/>
            <a:ext cx="2372496" cy="1365200"/>
          </a:xfrm>
          <a:prstGeom prst="rect">
            <a:avLst/>
          </a:prstGeom>
        </p:spPr>
        <p:txBody>
          <a:bodyPr vert="horz" lIns="91440" tIns="45720" rIns="91440" bIns="4572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400"/>
              </a:spcAft>
              <a:buClr>
                <a:srgbClr val="81BC00"/>
              </a:buClr>
              <a:buSzTx/>
              <a:buFont typeface="Arial" panose="020B0604020202020204" pitchFamily="34" charset="0"/>
              <a:buNone/>
              <a:tabLst/>
              <a:defRPr/>
            </a:pPr>
            <a:r>
              <a:rPr kumimoji="0" lang="en-US" sz="1800" b="1" i="0" u="none" strike="noStrike" kern="1200" cap="none" spc="0" normalizeH="0" baseline="0" noProof="0" dirty="0">
                <a:ln>
                  <a:noFill/>
                </a:ln>
                <a:effectLst/>
                <a:uLnTx/>
                <a:uFillTx/>
                <a:latin typeface="Open Sans"/>
                <a:ea typeface="Open Sans" panose="020B0606030504020204" pitchFamily="34" charset="0"/>
                <a:cs typeface="Open Sans" panose="020B0606030504020204" pitchFamily="34" charset="0"/>
              </a:rPr>
              <a:t>Be Candid and Transparent</a:t>
            </a:r>
          </a:p>
          <a:p>
            <a:pPr marL="0" marR="0" lvl="0" indent="0" algn="l" defTabSz="914400" rtl="0" eaLnBrk="1" fontAlgn="base" latinLnBrk="0" hangingPunct="1">
              <a:lnSpc>
                <a:spcPct val="100000"/>
              </a:lnSpc>
              <a:spcBef>
                <a:spcPts val="0"/>
              </a:spcBef>
              <a:spcAft>
                <a:spcPts val="400"/>
              </a:spcAft>
              <a:buClr>
                <a:srgbClr val="81BC00"/>
              </a:buClr>
              <a:buSzTx/>
              <a:buFont typeface="Arial" panose="020B0604020202020204" pitchFamily="34" charset="0"/>
              <a:buNone/>
              <a:tabLst/>
              <a:defRPr/>
            </a:pPr>
            <a:r>
              <a:rPr kumimoji="0" lang="en-US" sz="1400" b="0" i="0" u="none" strike="noStrike" kern="1200" cap="none" spc="0" normalizeH="0" baseline="0" noProof="0" dirty="0">
                <a:ln>
                  <a:noFill/>
                </a:ln>
                <a:effectLst/>
                <a:uLnTx/>
                <a:uFillTx/>
                <a:latin typeface="Open Sans"/>
                <a:ea typeface="Open Sans" panose="020B0606030504020204" pitchFamily="34" charset="0"/>
                <a:cs typeface="Open Sans" panose="020B0606030504020204" pitchFamily="34" charset="0"/>
              </a:rPr>
              <a:t>Speak open and honestly – raise instances of misalignment where they exist</a:t>
            </a:r>
          </a:p>
        </p:txBody>
      </p:sp>
      <p:pic>
        <p:nvPicPr>
          <p:cNvPr id="13" name="Picture 12">
            <a:extLst>
              <a:ext uri="{FF2B5EF4-FFF2-40B4-BE49-F238E27FC236}">
                <a16:creationId xmlns:a16="http://schemas.microsoft.com/office/drawing/2014/main" id="{CF36EFCE-DD3A-46B6-AA74-5AEBAE17C7B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589" y="4191000"/>
            <a:ext cx="12188825" cy="2158272"/>
          </a:xfrm>
          <a:prstGeom prst="rect">
            <a:avLst/>
          </a:prstGeom>
        </p:spPr>
      </p:pic>
      <p:sp>
        <p:nvSpPr>
          <p:cNvPr id="14" name="Oval 13">
            <a:extLst>
              <a:ext uri="{FF2B5EF4-FFF2-40B4-BE49-F238E27FC236}">
                <a16:creationId xmlns:a16="http://schemas.microsoft.com/office/drawing/2014/main" id="{51325BA5-88A7-4FBB-86C1-58172EE36CF4}"/>
              </a:ext>
            </a:extLst>
          </p:cNvPr>
          <p:cNvSpPr/>
          <p:nvPr/>
        </p:nvSpPr>
        <p:spPr>
          <a:xfrm>
            <a:off x="685800" y="2307906"/>
            <a:ext cx="228600" cy="228600"/>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chemeClr val="accent3"/>
              </a:solidFill>
              <a:effectLst/>
              <a:uLnTx/>
              <a:uFillTx/>
              <a:latin typeface="Open Sans"/>
              <a:ea typeface="Microsoft YaHei"/>
              <a:cs typeface="+mn-cs"/>
            </a:endParaRPr>
          </a:p>
        </p:txBody>
      </p:sp>
      <p:sp>
        <p:nvSpPr>
          <p:cNvPr id="15" name="Text Placeholder 9">
            <a:extLst>
              <a:ext uri="{FF2B5EF4-FFF2-40B4-BE49-F238E27FC236}">
                <a16:creationId xmlns:a16="http://schemas.microsoft.com/office/drawing/2014/main" id="{0BBEA81B-8F69-4FEF-A9D0-F78E39D1B6E6}"/>
              </a:ext>
            </a:extLst>
          </p:cNvPr>
          <p:cNvSpPr txBox="1">
            <a:spLocks/>
          </p:cNvSpPr>
          <p:nvPr/>
        </p:nvSpPr>
        <p:spPr>
          <a:xfrm>
            <a:off x="1028700" y="2335327"/>
            <a:ext cx="2372496" cy="1365200"/>
          </a:xfrm>
          <a:prstGeom prst="rect">
            <a:avLst/>
          </a:prstGeom>
        </p:spPr>
        <p:txBody>
          <a:bodyPr vert="horz" lIns="91440" tIns="45720" rIns="91440" bIns="4572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400"/>
              </a:spcAft>
              <a:buClr>
                <a:srgbClr val="81BC00"/>
              </a:buClr>
              <a:buSzTx/>
              <a:buFont typeface="Arial" panose="020B0604020202020204" pitchFamily="34" charset="0"/>
              <a:buNone/>
              <a:tabLst/>
              <a:defRPr/>
            </a:pPr>
            <a:r>
              <a:rPr kumimoji="0" lang="en-US" sz="1800" b="1" i="0" u="none" strike="noStrike" kern="1200" cap="none" spc="0" normalizeH="0" baseline="0" noProof="0" dirty="0">
                <a:ln>
                  <a:noFill/>
                </a:ln>
                <a:effectLst/>
                <a:uLnTx/>
                <a:uFillTx/>
                <a:latin typeface="Open Sans"/>
                <a:ea typeface="Open Sans" panose="020B0606030504020204" pitchFamily="34" charset="0"/>
                <a:cs typeface="Open Sans" panose="020B0606030504020204" pitchFamily="34" charset="0"/>
              </a:rPr>
              <a:t>Be Present</a:t>
            </a:r>
          </a:p>
          <a:p>
            <a:pPr marL="0" marR="0" lvl="0" indent="0" algn="l" defTabSz="914400" rtl="0" eaLnBrk="1" fontAlgn="base" latinLnBrk="0" hangingPunct="1">
              <a:lnSpc>
                <a:spcPct val="100000"/>
              </a:lnSpc>
              <a:spcBef>
                <a:spcPts val="0"/>
              </a:spcBef>
              <a:spcAft>
                <a:spcPts val="400"/>
              </a:spcAft>
              <a:buClr>
                <a:srgbClr val="81BC00"/>
              </a:buClr>
              <a:buSzTx/>
              <a:buFont typeface="Arial" panose="020B0604020202020204" pitchFamily="34" charset="0"/>
              <a:buNone/>
              <a:tabLst/>
              <a:defRPr/>
            </a:pPr>
            <a:r>
              <a:rPr kumimoji="0" lang="en-US" sz="1400" b="0" i="0" u="none" strike="noStrike" kern="1200" cap="none" spc="0" normalizeH="0" baseline="0" noProof="0" dirty="0">
                <a:ln>
                  <a:noFill/>
                </a:ln>
                <a:effectLst/>
                <a:uLnTx/>
                <a:uFillTx/>
                <a:latin typeface="Open Sans"/>
                <a:ea typeface="Open Sans" panose="020B0606030504020204" pitchFamily="34" charset="0"/>
                <a:cs typeface="Open Sans" panose="020B0606030504020204" pitchFamily="34" charset="0"/>
              </a:rPr>
              <a:t>Unplug, Turn off, Tune in – limit distractions by saving emails and phone calls for designated breaks</a:t>
            </a:r>
          </a:p>
        </p:txBody>
      </p:sp>
      <p:sp>
        <p:nvSpPr>
          <p:cNvPr id="16" name="Oval 15">
            <a:extLst>
              <a:ext uri="{FF2B5EF4-FFF2-40B4-BE49-F238E27FC236}">
                <a16:creationId xmlns:a16="http://schemas.microsoft.com/office/drawing/2014/main" id="{E9106BCC-95E8-4073-A59B-711A0CFF3D7E}"/>
              </a:ext>
            </a:extLst>
          </p:cNvPr>
          <p:cNvSpPr/>
          <p:nvPr/>
        </p:nvSpPr>
        <p:spPr>
          <a:xfrm>
            <a:off x="9322617" y="3085178"/>
            <a:ext cx="228600" cy="228600"/>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chemeClr val="accent3"/>
              </a:solidFill>
              <a:effectLst/>
              <a:uLnTx/>
              <a:uFillTx/>
              <a:latin typeface="Open Sans"/>
              <a:ea typeface="Microsoft YaHei"/>
              <a:cs typeface="+mn-cs"/>
            </a:endParaRPr>
          </a:p>
        </p:txBody>
      </p:sp>
      <p:sp>
        <p:nvSpPr>
          <p:cNvPr id="17" name="Text Placeholder 9">
            <a:extLst>
              <a:ext uri="{FF2B5EF4-FFF2-40B4-BE49-F238E27FC236}">
                <a16:creationId xmlns:a16="http://schemas.microsoft.com/office/drawing/2014/main" id="{6D0B57E6-5F6C-4D2E-BC98-9A19691CB381}"/>
              </a:ext>
            </a:extLst>
          </p:cNvPr>
          <p:cNvSpPr txBox="1">
            <a:spLocks/>
          </p:cNvSpPr>
          <p:nvPr/>
        </p:nvSpPr>
        <p:spPr>
          <a:xfrm>
            <a:off x="9665517" y="3135512"/>
            <a:ext cx="2372496" cy="1365200"/>
          </a:xfrm>
          <a:prstGeom prst="rect">
            <a:avLst/>
          </a:prstGeom>
        </p:spPr>
        <p:txBody>
          <a:bodyPr vert="horz" lIns="91440" tIns="45720" rIns="91440" bIns="4572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400"/>
              </a:spcAft>
              <a:buClr>
                <a:srgbClr val="81BC00"/>
              </a:buClr>
              <a:buSzTx/>
              <a:buFont typeface="Arial" panose="020B0604020202020204" pitchFamily="34" charset="0"/>
              <a:buNone/>
              <a:tabLst/>
              <a:defRPr/>
            </a:pPr>
            <a:r>
              <a:rPr kumimoji="0" lang="en-US" sz="1800" b="1" i="0" u="none" strike="noStrike" kern="1200" cap="none" spc="0" normalizeH="0" baseline="0" noProof="0" dirty="0">
                <a:ln>
                  <a:noFill/>
                </a:ln>
                <a:effectLst/>
                <a:uLnTx/>
                <a:uFillTx/>
                <a:latin typeface="Open Sans"/>
                <a:ea typeface="Open Sans" panose="020B0606030504020204" pitchFamily="34" charset="0"/>
                <a:cs typeface="Open Sans" panose="020B0606030504020204" pitchFamily="34" charset="0"/>
              </a:rPr>
              <a:t>Be Decisive</a:t>
            </a:r>
          </a:p>
          <a:p>
            <a:pPr marL="0" marR="0" lvl="0" indent="0" algn="l" defTabSz="914400" rtl="0" eaLnBrk="1" fontAlgn="base" latinLnBrk="0" hangingPunct="1">
              <a:lnSpc>
                <a:spcPct val="100000"/>
              </a:lnSpc>
              <a:spcBef>
                <a:spcPts val="0"/>
              </a:spcBef>
              <a:spcAft>
                <a:spcPts val="400"/>
              </a:spcAft>
              <a:buClr>
                <a:srgbClr val="81BC00"/>
              </a:buClr>
              <a:buSzTx/>
              <a:buFont typeface="Arial" panose="020B0604020202020204" pitchFamily="34" charset="0"/>
              <a:buNone/>
              <a:tabLst/>
              <a:defRPr/>
            </a:pPr>
            <a:r>
              <a:rPr kumimoji="0" lang="en-US" sz="1400" b="0" i="0" u="none" strike="noStrike" kern="1200" cap="none" spc="0" normalizeH="0" baseline="0" noProof="0" dirty="0">
                <a:ln>
                  <a:noFill/>
                </a:ln>
                <a:effectLst/>
                <a:uLnTx/>
                <a:uFillTx/>
                <a:latin typeface="Open Sans"/>
                <a:ea typeface="Open Sans" panose="020B0606030504020204" pitchFamily="34" charset="0"/>
                <a:cs typeface="Open Sans" panose="020B0606030504020204" pitchFamily="34" charset="0"/>
              </a:rPr>
              <a:t>Focus conversation on finalizing decisions around scope and vision </a:t>
            </a:r>
          </a:p>
        </p:txBody>
      </p:sp>
    </p:spTree>
    <p:extLst>
      <p:ext uri="{BB962C8B-B14F-4D97-AF65-F5344CB8AC3E}">
        <p14:creationId xmlns:p14="http://schemas.microsoft.com/office/powerpoint/2010/main" val="330838277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913F964-A1F9-4BEB-927D-76B1242E14C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6" name="think-cell Slide" r:id="rId6" imgW="415" imgH="416" progId="TCLayout.ActiveDocument.1">
                  <p:embed/>
                </p:oleObj>
              </mc:Choice>
              <mc:Fallback>
                <p:oleObj name="think-cell Slide" r:id="rId6" imgW="415" imgH="416" progId="TCLayout.ActiveDocument.1">
                  <p:embed/>
                  <p:pic>
                    <p:nvPicPr>
                      <p:cNvPr id="5" name="Object 4" hidden="1">
                        <a:extLst>
                          <a:ext uri="{FF2B5EF4-FFF2-40B4-BE49-F238E27FC236}">
                            <a16:creationId xmlns:a16="http://schemas.microsoft.com/office/drawing/2014/main" id="{F913F964-A1F9-4BEB-927D-76B1242E14C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B0A4BF0-1B09-4E7B-8068-603E713C730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D811B234-1648-4119-93DB-5121152A2354}"/>
              </a:ext>
            </a:extLst>
          </p:cNvPr>
          <p:cNvSpPr>
            <a:spLocks noGrp="1"/>
          </p:cNvSpPr>
          <p:nvPr>
            <p:ph type="title"/>
          </p:nvPr>
        </p:nvSpPr>
        <p:spPr/>
        <p:txBody>
          <a:bodyPr/>
          <a:lstStyle/>
          <a:p>
            <a:r>
              <a:rPr lang="en-US" dirty="0"/>
              <a:t>The Need for Digital Transformation</a:t>
            </a:r>
          </a:p>
        </p:txBody>
      </p:sp>
      <p:sp>
        <p:nvSpPr>
          <p:cNvPr id="3" name="Text Placeholder 2">
            <a:extLst>
              <a:ext uri="{FF2B5EF4-FFF2-40B4-BE49-F238E27FC236}">
                <a16:creationId xmlns:a16="http://schemas.microsoft.com/office/drawing/2014/main" id="{B2186533-16F4-4535-8E7C-964CF7B06C48}"/>
              </a:ext>
            </a:extLst>
          </p:cNvPr>
          <p:cNvSpPr>
            <a:spLocks noGrp="1"/>
          </p:cNvSpPr>
          <p:nvPr>
            <p:ph type="body" sz="quarter" idx="14"/>
          </p:nvPr>
        </p:nvSpPr>
        <p:spPr/>
        <p:txBody>
          <a:bodyPr/>
          <a:lstStyle/>
          <a:p>
            <a:r>
              <a:rPr lang="en-US" dirty="0"/>
              <a:t>Retailers need to adapt in an environment where consumer tastes constantly evolve, and need to continuously innovate to retain them</a:t>
            </a:r>
          </a:p>
          <a:p>
            <a:endParaRPr lang="en-US" dirty="0"/>
          </a:p>
        </p:txBody>
      </p:sp>
      <p:sp>
        <p:nvSpPr>
          <p:cNvPr id="29" name="Text Placeholder 28">
            <a:extLst>
              <a:ext uri="{FF2B5EF4-FFF2-40B4-BE49-F238E27FC236}">
                <a16:creationId xmlns:a16="http://schemas.microsoft.com/office/drawing/2014/main" id="{7081112B-D5CF-41FC-820F-581F32F96027}"/>
              </a:ext>
            </a:extLst>
          </p:cNvPr>
          <p:cNvSpPr>
            <a:spLocks noGrp="1"/>
          </p:cNvSpPr>
          <p:nvPr>
            <p:ph type="body" sz="quarter" idx="15"/>
          </p:nvPr>
        </p:nvSpPr>
        <p:spPr/>
        <p:txBody>
          <a:bodyPr/>
          <a:lstStyle/>
          <a:p>
            <a:r>
              <a:rPr lang="en-US" dirty="0"/>
              <a:t>text</a:t>
            </a:r>
          </a:p>
        </p:txBody>
      </p:sp>
      <p:sp>
        <p:nvSpPr>
          <p:cNvPr id="6" name="Rectangle 5">
            <a:extLst>
              <a:ext uri="{FF2B5EF4-FFF2-40B4-BE49-F238E27FC236}">
                <a16:creationId xmlns:a16="http://schemas.microsoft.com/office/drawing/2014/main" id="{AAF4DD6D-E354-490C-B0AB-85004AF1A6FE}"/>
              </a:ext>
            </a:extLst>
          </p:cNvPr>
          <p:cNvSpPr/>
          <p:nvPr/>
        </p:nvSpPr>
        <p:spPr>
          <a:xfrm>
            <a:off x="1603915" y="4071602"/>
            <a:ext cx="2743200" cy="1900314"/>
          </a:xfrm>
          <a:prstGeom prst="rect">
            <a:avLst/>
          </a:prstGeom>
        </p:spPr>
        <p:txBody>
          <a:bodyPr wrap="square" lIns="0" tIns="35712" rIns="71425" bIns="35712">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Omni-channel is already a given.  Consumers desire to shop anytime and anywhere and expect all retailers to be  omni-channel.  Brick and mortar stores developed online channels as a separate platform from it’s physical stores. As a result, they developed a separate distribution channel, organization structure, and product catalog</a:t>
            </a:r>
          </a:p>
        </p:txBody>
      </p:sp>
      <p:sp>
        <p:nvSpPr>
          <p:cNvPr id="7" name="Rectangle 3">
            <a:extLst>
              <a:ext uri="{FF2B5EF4-FFF2-40B4-BE49-F238E27FC236}">
                <a16:creationId xmlns:a16="http://schemas.microsoft.com/office/drawing/2014/main" id="{CC247E92-3B5A-4056-916E-CFA8DF3000E0}"/>
              </a:ext>
            </a:extLst>
          </p:cNvPr>
          <p:cNvSpPr>
            <a:spLocks/>
          </p:cNvSpPr>
          <p:nvPr/>
        </p:nvSpPr>
        <p:spPr bwMode="auto">
          <a:xfrm>
            <a:off x="7968130" y="3154460"/>
            <a:ext cx="2743200" cy="9171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accent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sym typeface="Frutiger Next Pro Medium" charset="0"/>
              </a:rPr>
              <a:t>Becoming Digital First</a:t>
            </a:r>
          </a:p>
        </p:txBody>
      </p:sp>
      <p:sp>
        <p:nvSpPr>
          <p:cNvPr id="8" name="Rectangle 7">
            <a:extLst>
              <a:ext uri="{FF2B5EF4-FFF2-40B4-BE49-F238E27FC236}">
                <a16:creationId xmlns:a16="http://schemas.microsoft.com/office/drawing/2014/main" id="{0AC45473-FD85-450B-9A3C-C6B85DC8B390}"/>
              </a:ext>
            </a:extLst>
          </p:cNvPr>
          <p:cNvSpPr/>
          <p:nvPr/>
        </p:nvSpPr>
        <p:spPr>
          <a:xfrm>
            <a:off x="7952370" y="4071603"/>
            <a:ext cx="2743200" cy="1290917"/>
          </a:xfrm>
          <a:prstGeom prst="rect">
            <a:avLst/>
          </a:prstGeom>
        </p:spPr>
        <p:txBody>
          <a:bodyPr wrap="square" lIns="0" tIns="35712" rIns="71425" bIns="35712">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sym typeface="Frutiger Next Pro Light" charset="0"/>
              </a:rPr>
              <a:t>Consumer shopping habits will continue to change as new technology emerges</a:t>
            </a: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Open Sans"/>
              <a:ea typeface="+mn-ea"/>
              <a:cs typeface="+mn-cs"/>
              <a:sym typeface="Frutiger Next Pro Light" charset="0"/>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sym typeface="Frutiger Next Pro Light" charset="0"/>
              </a:rPr>
              <a:t>Retailers need to adapt quickly and leverage new technology with a customer focused mindset</a:t>
            </a:r>
          </a:p>
        </p:txBody>
      </p:sp>
      <p:sp>
        <p:nvSpPr>
          <p:cNvPr id="9" name="Rectangle 3">
            <a:extLst>
              <a:ext uri="{FF2B5EF4-FFF2-40B4-BE49-F238E27FC236}">
                <a16:creationId xmlns:a16="http://schemas.microsoft.com/office/drawing/2014/main" id="{1E61D200-7D4B-4D76-A13F-FDBBFBBCC696}"/>
              </a:ext>
            </a:extLst>
          </p:cNvPr>
          <p:cNvSpPr>
            <a:spLocks/>
          </p:cNvSpPr>
          <p:nvPr/>
        </p:nvSpPr>
        <p:spPr bwMode="auto">
          <a:xfrm>
            <a:off x="1600725" y="3154460"/>
            <a:ext cx="2743200" cy="91714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accent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sym typeface="Frutiger Next Pro Medium" charset="0"/>
              </a:rPr>
              <a:t>Achiev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accent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sym typeface="Frutiger Next Pro Medium" charset="0"/>
              </a:rPr>
              <a:t>Omni-Channel is Expected</a:t>
            </a:r>
          </a:p>
        </p:txBody>
      </p:sp>
      <p:sp>
        <p:nvSpPr>
          <p:cNvPr id="10" name="Rectangle 3">
            <a:extLst>
              <a:ext uri="{FF2B5EF4-FFF2-40B4-BE49-F238E27FC236}">
                <a16:creationId xmlns:a16="http://schemas.microsoft.com/office/drawing/2014/main" id="{2CF9378D-0011-4490-9767-78F52AB31038}"/>
              </a:ext>
            </a:extLst>
          </p:cNvPr>
          <p:cNvSpPr>
            <a:spLocks/>
          </p:cNvSpPr>
          <p:nvPr/>
        </p:nvSpPr>
        <p:spPr bwMode="auto">
          <a:xfrm>
            <a:off x="4737933" y="3154460"/>
            <a:ext cx="2743200" cy="91714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accent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sym typeface="Frutiger Next Pro Medium" charset="0"/>
              </a:rPr>
              <a:t>Compet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accent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sym typeface="Frutiger Next Pro Medium" charset="0"/>
              </a:rPr>
              <a:t>Against Digital Native Competito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92D05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sym typeface="Frutiger Next Pro Medium"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92D05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sym typeface="Frutiger Next Pro Light" charset="0"/>
            </a:endParaRPr>
          </a:p>
        </p:txBody>
      </p:sp>
      <p:sp>
        <p:nvSpPr>
          <p:cNvPr id="11" name="Rectangle 10">
            <a:extLst>
              <a:ext uri="{FF2B5EF4-FFF2-40B4-BE49-F238E27FC236}">
                <a16:creationId xmlns:a16="http://schemas.microsoft.com/office/drawing/2014/main" id="{4D6C20C9-D96F-44A2-A2D7-A033E0BBA825}"/>
              </a:ext>
            </a:extLst>
          </p:cNvPr>
          <p:cNvSpPr/>
          <p:nvPr/>
        </p:nvSpPr>
        <p:spPr>
          <a:xfrm>
            <a:off x="4736326" y="4071603"/>
            <a:ext cx="2743200" cy="2103447"/>
          </a:xfrm>
          <a:prstGeom prst="rect">
            <a:avLst/>
          </a:prstGeom>
        </p:spPr>
        <p:txBody>
          <a:bodyPr wrap="square" lIns="0" tIns="35712" rIns="71425" bIns="35712">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sym typeface="Frutiger Next Pro Light" charset="0"/>
              </a:rPr>
              <a:t>Consumers have greater choices with the emergence of digital native competitors.  These companies have used digital channels since their inception and have formed deep connections with consumers</a:t>
            </a: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Open Sans"/>
              <a:ea typeface="+mn-ea"/>
              <a:cs typeface="+mn-cs"/>
              <a:sym typeface="Frutiger Next Pro Light" charset="0"/>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sym typeface="Frutiger Next Pro Light" charset="0"/>
              </a:rPr>
              <a:t>Traditional retailers must quickly adjust to compete in a world of increasing choices</a:t>
            </a:r>
          </a:p>
        </p:txBody>
      </p:sp>
      <p:sp>
        <p:nvSpPr>
          <p:cNvPr id="12" name="Freeform 55">
            <a:extLst>
              <a:ext uri="{FF2B5EF4-FFF2-40B4-BE49-F238E27FC236}">
                <a16:creationId xmlns:a16="http://schemas.microsoft.com/office/drawing/2014/main" id="{849915A6-81AB-44DC-995E-A9F603F94075}"/>
              </a:ext>
            </a:extLst>
          </p:cNvPr>
          <p:cNvSpPr>
            <a:spLocks/>
          </p:cNvSpPr>
          <p:nvPr/>
        </p:nvSpPr>
        <p:spPr bwMode="auto">
          <a:xfrm>
            <a:off x="914721" y="2052910"/>
            <a:ext cx="10362879" cy="721435"/>
          </a:xfrm>
          <a:custGeom>
            <a:avLst/>
            <a:gdLst>
              <a:gd name="T0" fmla="*/ 78 w 12526"/>
              <a:gd name="T1" fmla="*/ 1088 h 1212"/>
              <a:gd name="T2" fmla="*/ 223 w 12526"/>
              <a:gd name="T3" fmla="*/ 1065 h 1212"/>
              <a:gd name="T4" fmla="*/ 357 w 12526"/>
              <a:gd name="T5" fmla="*/ 1019 h 1212"/>
              <a:gd name="T6" fmla="*/ 481 w 12526"/>
              <a:gd name="T7" fmla="*/ 957 h 1212"/>
              <a:gd name="T8" fmla="*/ 601 w 12526"/>
              <a:gd name="T9" fmla="*/ 881 h 1212"/>
              <a:gd name="T10" fmla="*/ 903 w 12526"/>
              <a:gd name="T11" fmla="*/ 647 h 1212"/>
              <a:gd name="T12" fmla="*/ 1138 w 12526"/>
              <a:gd name="T13" fmla="*/ 469 h 1212"/>
              <a:gd name="T14" fmla="*/ 1291 w 12526"/>
              <a:gd name="T15" fmla="*/ 369 h 1212"/>
              <a:gd name="T16" fmla="*/ 1460 w 12526"/>
              <a:gd name="T17" fmla="*/ 275 h 1212"/>
              <a:gd name="T18" fmla="*/ 1649 w 12526"/>
              <a:gd name="T19" fmla="*/ 190 h 1212"/>
              <a:gd name="T20" fmla="*/ 1863 w 12526"/>
              <a:gd name="T21" fmla="*/ 116 h 1212"/>
              <a:gd name="T22" fmla="*/ 2105 w 12526"/>
              <a:gd name="T23" fmla="*/ 58 h 1212"/>
              <a:gd name="T24" fmla="*/ 2378 w 12526"/>
              <a:gd name="T25" fmla="*/ 19 h 1212"/>
              <a:gd name="T26" fmla="*/ 2684 w 12526"/>
              <a:gd name="T27" fmla="*/ 0 h 1212"/>
              <a:gd name="T28" fmla="*/ 2930 w 12526"/>
              <a:gd name="T29" fmla="*/ 3 h 1212"/>
              <a:gd name="T30" fmla="*/ 3227 w 12526"/>
              <a:gd name="T31" fmla="*/ 29 h 1212"/>
              <a:gd name="T32" fmla="*/ 3488 w 12526"/>
              <a:gd name="T33" fmla="*/ 79 h 1212"/>
              <a:gd name="T34" fmla="*/ 3720 w 12526"/>
              <a:gd name="T35" fmla="*/ 148 h 1212"/>
              <a:gd name="T36" fmla="*/ 3928 w 12526"/>
              <a:gd name="T37" fmla="*/ 233 h 1212"/>
              <a:gd name="T38" fmla="*/ 4117 w 12526"/>
              <a:gd name="T39" fmla="*/ 331 h 1212"/>
              <a:gd name="T40" fmla="*/ 4293 w 12526"/>
              <a:gd name="T41" fmla="*/ 437 h 1212"/>
              <a:gd name="T42" fmla="*/ 4623 w 12526"/>
              <a:gd name="T43" fmla="*/ 663 h 1212"/>
              <a:gd name="T44" fmla="*/ 4872 w 12526"/>
              <a:gd name="T45" fmla="*/ 828 h 1212"/>
              <a:gd name="T46" fmla="*/ 5050 w 12526"/>
              <a:gd name="T47" fmla="*/ 932 h 1212"/>
              <a:gd name="T48" fmla="*/ 5243 w 12526"/>
              <a:gd name="T49" fmla="*/ 1023 h 1212"/>
              <a:gd name="T50" fmla="*/ 5455 w 12526"/>
              <a:gd name="T51" fmla="*/ 1100 h 1212"/>
              <a:gd name="T52" fmla="*/ 5692 w 12526"/>
              <a:gd name="T53" fmla="*/ 1161 h 1212"/>
              <a:gd name="T54" fmla="*/ 5960 w 12526"/>
              <a:gd name="T55" fmla="*/ 1200 h 1212"/>
              <a:gd name="T56" fmla="*/ 6264 w 12526"/>
              <a:gd name="T57" fmla="*/ 1212 h 1212"/>
              <a:gd name="T58" fmla="*/ 6494 w 12526"/>
              <a:gd name="T59" fmla="*/ 1205 h 1212"/>
              <a:gd name="T60" fmla="*/ 6771 w 12526"/>
              <a:gd name="T61" fmla="*/ 1172 h 1212"/>
              <a:gd name="T62" fmla="*/ 7018 w 12526"/>
              <a:gd name="T63" fmla="*/ 1117 h 1212"/>
              <a:gd name="T64" fmla="*/ 7238 w 12526"/>
              <a:gd name="T65" fmla="*/ 1044 h 1212"/>
              <a:gd name="T66" fmla="*/ 7437 w 12526"/>
              <a:gd name="T67" fmla="*/ 955 h 1212"/>
              <a:gd name="T68" fmla="*/ 7620 w 12526"/>
              <a:gd name="T69" fmla="*/ 855 h 1212"/>
              <a:gd name="T70" fmla="*/ 7834 w 12526"/>
              <a:gd name="T71" fmla="*/ 719 h 1212"/>
              <a:gd name="T72" fmla="*/ 8166 w 12526"/>
              <a:gd name="T73" fmla="*/ 493 h 1212"/>
              <a:gd name="T74" fmla="*/ 8382 w 12526"/>
              <a:gd name="T75" fmla="*/ 357 h 1212"/>
              <a:gd name="T76" fmla="*/ 8567 w 12526"/>
              <a:gd name="T77" fmla="*/ 257 h 1212"/>
              <a:gd name="T78" fmla="*/ 8768 w 12526"/>
              <a:gd name="T79" fmla="*/ 168 h 1212"/>
              <a:gd name="T80" fmla="*/ 8992 w 12526"/>
              <a:gd name="T81" fmla="*/ 95 h 1212"/>
              <a:gd name="T82" fmla="*/ 9242 w 12526"/>
              <a:gd name="T83" fmla="*/ 40 h 1212"/>
              <a:gd name="T84" fmla="*/ 9523 w 12526"/>
              <a:gd name="T85" fmla="*/ 7 h 1212"/>
              <a:gd name="T86" fmla="*/ 9758 w 12526"/>
              <a:gd name="T87" fmla="*/ 0 h 1212"/>
              <a:gd name="T88" fmla="*/ 10069 w 12526"/>
              <a:gd name="T89" fmla="*/ 11 h 1212"/>
              <a:gd name="T90" fmla="*/ 10346 w 12526"/>
              <a:gd name="T91" fmla="*/ 46 h 1212"/>
              <a:gd name="T92" fmla="*/ 10595 w 12526"/>
              <a:gd name="T93" fmla="*/ 100 h 1212"/>
              <a:gd name="T94" fmla="*/ 10816 w 12526"/>
              <a:gd name="T95" fmla="*/ 170 h 1212"/>
              <a:gd name="T96" fmla="*/ 11013 w 12526"/>
              <a:gd name="T97" fmla="*/ 253 h 1212"/>
              <a:gd name="T98" fmla="*/ 11190 w 12526"/>
              <a:gd name="T99" fmla="*/ 345 h 1212"/>
              <a:gd name="T100" fmla="*/ 11350 w 12526"/>
              <a:gd name="T101" fmla="*/ 444 h 1212"/>
              <a:gd name="T102" fmla="*/ 11630 w 12526"/>
              <a:gd name="T103" fmla="*/ 647 h 1212"/>
              <a:gd name="T104" fmla="*/ 11939 w 12526"/>
              <a:gd name="T105" fmla="*/ 881 h 1212"/>
              <a:gd name="T106" fmla="*/ 12060 w 12526"/>
              <a:gd name="T107" fmla="*/ 957 h 1212"/>
              <a:gd name="T108" fmla="*/ 12183 w 12526"/>
              <a:gd name="T109" fmla="*/ 1019 h 1212"/>
              <a:gd name="T110" fmla="*/ 12314 w 12526"/>
              <a:gd name="T111" fmla="*/ 1065 h 1212"/>
              <a:gd name="T112" fmla="*/ 12453 w 12526"/>
              <a:gd name="T113" fmla="*/ 1088 h 1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526" h="1212">
                <a:moveTo>
                  <a:pt x="0" y="1091"/>
                </a:moveTo>
                <a:lnTo>
                  <a:pt x="0" y="1091"/>
                </a:lnTo>
                <a:lnTo>
                  <a:pt x="40" y="1091"/>
                </a:lnTo>
                <a:lnTo>
                  <a:pt x="78" y="1088"/>
                </a:lnTo>
                <a:lnTo>
                  <a:pt x="116" y="1085"/>
                </a:lnTo>
                <a:lnTo>
                  <a:pt x="152" y="1079"/>
                </a:lnTo>
                <a:lnTo>
                  <a:pt x="188" y="1072"/>
                </a:lnTo>
                <a:lnTo>
                  <a:pt x="223" y="1065"/>
                </a:lnTo>
                <a:lnTo>
                  <a:pt x="258" y="1055"/>
                </a:lnTo>
                <a:lnTo>
                  <a:pt x="291" y="1045"/>
                </a:lnTo>
                <a:lnTo>
                  <a:pt x="324" y="1033"/>
                </a:lnTo>
                <a:lnTo>
                  <a:pt x="357" y="1019"/>
                </a:lnTo>
                <a:lnTo>
                  <a:pt x="388" y="1006"/>
                </a:lnTo>
                <a:lnTo>
                  <a:pt x="420" y="991"/>
                </a:lnTo>
                <a:lnTo>
                  <a:pt x="450" y="975"/>
                </a:lnTo>
                <a:lnTo>
                  <a:pt x="481" y="957"/>
                </a:lnTo>
                <a:lnTo>
                  <a:pt x="512" y="939"/>
                </a:lnTo>
                <a:lnTo>
                  <a:pt x="542" y="921"/>
                </a:lnTo>
                <a:lnTo>
                  <a:pt x="572" y="901"/>
                </a:lnTo>
                <a:lnTo>
                  <a:pt x="601" y="881"/>
                </a:lnTo>
                <a:lnTo>
                  <a:pt x="661" y="838"/>
                </a:lnTo>
                <a:lnTo>
                  <a:pt x="720" y="793"/>
                </a:lnTo>
                <a:lnTo>
                  <a:pt x="780" y="746"/>
                </a:lnTo>
                <a:lnTo>
                  <a:pt x="903" y="647"/>
                </a:lnTo>
                <a:lnTo>
                  <a:pt x="968" y="597"/>
                </a:lnTo>
                <a:lnTo>
                  <a:pt x="1034" y="545"/>
                </a:lnTo>
                <a:lnTo>
                  <a:pt x="1102" y="494"/>
                </a:lnTo>
                <a:lnTo>
                  <a:pt x="1138" y="469"/>
                </a:lnTo>
                <a:lnTo>
                  <a:pt x="1175" y="444"/>
                </a:lnTo>
                <a:lnTo>
                  <a:pt x="1213" y="418"/>
                </a:lnTo>
                <a:lnTo>
                  <a:pt x="1251" y="393"/>
                </a:lnTo>
                <a:lnTo>
                  <a:pt x="1291" y="369"/>
                </a:lnTo>
                <a:lnTo>
                  <a:pt x="1331" y="345"/>
                </a:lnTo>
                <a:lnTo>
                  <a:pt x="1373" y="321"/>
                </a:lnTo>
                <a:lnTo>
                  <a:pt x="1415" y="298"/>
                </a:lnTo>
                <a:lnTo>
                  <a:pt x="1460" y="275"/>
                </a:lnTo>
                <a:lnTo>
                  <a:pt x="1505" y="253"/>
                </a:lnTo>
                <a:lnTo>
                  <a:pt x="1552" y="231"/>
                </a:lnTo>
                <a:lnTo>
                  <a:pt x="1600" y="210"/>
                </a:lnTo>
                <a:lnTo>
                  <a:pt x="1649" y="190"/>
                </a:lnTo>
                <a:lnTo>
                  <a:pt x="1701" y="170"/>
                </a:lnTo>
                <a:lnTo>
                  <a:pt x="1753" y="152"/>
                </a:lnTo>
                <a:lnTo>
                  <a:pt x="1807" y="134"/>
                </a:lnTo>
                <a:lnTo>
                  <a:pt x="1863" y="116"/>
                </a:lnTo>
                <a:lnTo>
                  <a:pt x="1921" y="100"/>
                </a:lnTo>
                <a:lnTo>
                  <a:pt x="1980" y="85"/>
                </a:lnTo>
                <a:lnTo>
                  <a:pt x="2042" y="70"/>
                </a:lnTo>
                <a:lnTo>
                  <a:pt x="2105" y="58"/>
                </a:lnTo>
                <a:lnTo>
                  <a:pt x="2169" y="46"/>
                </a:lnTo>
                <a:lnTo>
                  <a:pt x="2237" y="36"/>
                </a:lnTo>
                <a:lnTo>
                  <a:pt x="2306" y="26"/>
                </a:lnTo>
                <a:lnTo>
                  <a:pt x="2378" y="19"/>
                </a:lnTo>
                <a:lnTo>
                  <a:pt x="2451" y="11"/>
                </a:lnTo>
                <a:lnTo>
                  <a:pt x="2526" y="6"/>
                </a:lnTo>
                <a:lnTo>
                  <a:pt x="2604" y="3"/>
                </a:lnTo>
                <a:lnTo>
                  <a:pt x="2684" y="0"/>
                </a:lnTo>
                <a:lnTo>
                  <a:pt x="2768" y="0"/>
                </a:lnTo>
                <a:lnTo>
                  <a:pt x="2768" y="0"/>
                </a:lnTo>
                <a:lnTo>
                  <a:pt x="2850" y="0"/>
                </a:lnTo>
                <a:lnTo>
                  <a:pt x="2930" y="3"/>
                </a:lnTo>
                <a:lnTo>
                  <a:pt x="3008" y="7"/>
                </a:lnTo>
                <a:lnTo>
                  <a:pt x="3083" y="12"/>
                </a:lnTo>
                <a:lnTo>
                  <a:pt x="3156" y="21"/>
                </a:lnTo>
                <a:lnTo>
                  <a:pt x="3227" y="29"/>
                </a:lnTo>
                <a:lnTo>
                  <a:pt x="3294" y="40"/>
                </a:lnTo>
                <a:lnTo>
                  <a:pt x="3361" y="51"/>
                </a:lnTo>
                <a:lnTo>
                  <a:pt x="3426" y="64"/>
                </a:lnTo>
                <a:lnTo>
                  <a:pt x="3488" y="79"/>
                </a:lnTo>
                <a:lnTo>
                  <a:pt x="3548" y="95"/>
                </a:lnTo>
                <a:lnTo>
                  <a:pt x="3607" y="112"/>
                </a:lnTo>
                <a:lnTo>
                  <a:pt x="3665" y="129"/>
                </a:lnTo>
                <a:lnTo>
                  <a:pt x="3720" y="148"/>
                </a:lnTo>
                <a:lnTo>
                  <a:pt x="3775" y="168"/>
                </a:lnTo>
                <a:lnTo>
                  <a:pt x="3827" y="189"/>
                </a:lnTo>
                <a:lnTo>
                  <a:pt x="3878" y="211"/>
                </a:lnTo>
                <a:lnTo>
                  <a:pt x="3928" y="233"/>
                </a:lnTo>
                <a:lnTo>
                  <a:pt x="3977" y="257"/>
                </a:lnTo>
                <a:lnTo>
                  <a:pt x="4025" y="280"/>
                </a:lnTo>
                <a:lnTo>
                  <a:pt x="4072" y="306"/>
                </a:lnTo>
                <a:lnTo>
                  <a:pt x="4117" y="331"/>
                </a:lnTo>
                <a:lnTo>
                  <a:pt x="4162" y="357"/>
                </a:lnTo>
                <a:lnTo>
                  <a:pt x="4206" y="384"/>
                </a:lnTo>
                <a:lnTo>
                  <a:pt x="4250" y="410"/>
                </a:lnTo>
                <a:lnTo>
                  <a:pt x="4293" y="437"/>
                </a:lnTo>
                <a:lnTo>
                  <a:pt x="4377" y="493"/>
                </a:lnTo>
                <a:lnTo>
                  <a:pt x="4459" y="549"/>
                </a:lnTo>
                <a:lnTo>
                  <a:pt x="4541" y="606"/>
                </a:lnTo>
                <a:lnTo>
                  <a:pt x="4623" y="663"/>
                </a:lnTo>
                <a:lnTo>
                  <a:pt x="4705" y="719"/>
                </a:lnTo>
                <a:lnTo>
                  <a:pt x="4788" y="775"/>
                </a:lnTo>
                <a:lnTo>
                  <a:pt x="4830" y="802"/>
                </a:lnTo>
                <a:lnTo>
                  <a:pt x="4872" y="828"/>
                </a:lnTo>
                <a:lnTo>
                  <a:pt x="4916" y="855"/>
                </a:lnTo>
                <a:lnTo>
                  <a:pt x="4960" y="881"/>
                </a:lnTo>
                <a:lnTo>
                  <a:pt x="5005" y="906"/>
                </a:lnTo>
                <a:lnTo>
                  <a:pt x="5050" y="932"/>
                </a:lnTo>
                <a:lnTo>
                  <a:pt x="5096" y="955"/>
                </a:lnTo>
                <a:lnTo>
                  <a:pt x="5144" y="979"/>
                </a:lnTo>
                <a:lnTo>
                  <a:pt x="5192" y="1001"/>
                </a:lnTo>
                <a:lnTo>
                  <a:pt x="5243" y="1023"/>
                </a:lnTo>
                <a:lnTo>
                  <a:pt x="5293" y="1044"/>
                </a:lnTo>
                <a:lnTo>
                  <a:pt x="5346" y="1064"/>
                </a:lnTo>
                <a:lnTo>
                  <a:pt x="5400" y="1083"/>
                </a:lnTo>
                <a:lnTo>
                  <a:pt x="5455" y="1100"/>
                </a:lnTo>
                <a:lnTo>
                  <a:pt x="5511" y="1117"/>
                </a:lnTo>
                <a:lnTo>
                  <a:pt x="5569" y="1133"/>
                </a:lnTo>
                <a:lnTo>
                  <a:pt x="5631" y="1148"/>
                </a:lnTo>
                <a:lnTo>
                  <a:pt x="5692" y="1161"/>
                </a:lnTo>
                <a:lnTo>
                  <a:pt x="5756" y="1172"/>
                </a:lnTo>
                <a:lnTo>
                  <a:pt x="5822" y="1183"/>
                </a:lnTo>
                <a:lnTo>
                  <a:pt x="5890" y="1191"/>
                </a:lnTo>
                <a:lnTo>
                  <a:pt x="5960" y="1200"/>
                </a:lnTo>
                <a:lnTo>
                  <a:pt x="6032" y="1205"/>
                </a:lnTo>
                <a:lnTo>
                  <a:pt x="6107" y="1209"/>
                </a:lnTo>
                <a:lnTo>
                  <a:pt x="6183" y="1212"/>
                </a:lnTo>
                <a:lnTo>
                  <a:pt x="6264" y="1212"/>
                </a:lnTo>
                <a:lnTo>
                  <a:pt x="6264" y="1212"/>
                </a:lnTo>
                <a:lnTo>
                  <a:pt x="6343" y="1212"/>
                </a:lnTo>
                <a:lnTo>
                  <a:pt x="6419" y="1209"/>
                </a:lnTo>
                <a:lnTo>
                  <a:pt x="6494" y="1205"/>
                </a:lnTo>
                <a:lnTo>
                  <a:pt x="6567" y="1200"/>
                </a:lnTo>
                <a:lnTo>
                  <a:pt x="6637" y="1191"/>
                </a:lnTo>
                <a:lnTo>
                  <a:pt x="6705" y="1183"/>
                </a:lnTo>
                <a:lnTo>
                  <a:pt x="6771" y="1172"/>
                </a:lnTo>
                <a:lnTo>
                  <a:pt x="6835" y="1161"/>
                </a:lnTo>
                <a:lnTo>
                  <a:pt x="6898" y="1148"/>
                </a:lnTo>
                <a:lnTo>
                  <a:pt x="6959" y="1133"/>
                </a:lnTo>
                <a:lnTo>
                  <a:pt x="7018" y="1117"/>
                </a:lnTo>
                <a:lnTo>
                  <a:pt x="7075" y="1100"/>
                </a:lnTo>
                <a:lnTo>
                  <a:pt x="7130" y="1083"/>
                </a:lnTo>
                <a:lnTo>
                  <a:pt x="7185" y="1064"/>
                </a:lnTo>
                <a:lnTo>
                  <a:pt x="7238" y="1044"/>
                </a:lnTo>
                <a:lnTo>
                  <a:pt x="7289" y="1023"/>
                </a:lnTo>
                <a:lnTo>
                  <a:pt x="7340" y="1001"/>
                </a:lnTo>
                <a:lnTo>
                  <a:pt x="7388" y="979"/>
                </a:lnTo>
                <a:lnTo>
                  <a:pt x="7437" y="955"/>
                </a:lnTo>
                <a:lnTo>
                  <a:pt x="7484" y="932"/>
                </a:lnTo>
                <a:lnTo>
                  <a:pt x="7531" y="906"/>
                </a:lnTo>
                <a:lnTo>
                  <a:pt x="7576" y="881"/>
                </a:lnTo>
                <a:lnTo>
                  <a:pt x="7620" y="855"/>
                </a:lnTo>
                <a:lnTo>
                  <a:pt x="7664" y="828"/>
                </a:lnTo>
                <a:lnTo>
                  <a:pt x="7708" y="802"/>
                </a:lnTo>
                <a:lnTo>
                  <a:pt x="7750" y="775"/>
                </a:lnTo>
                <a:lnTo>
                  <a:pt x="7834" y="719"/>
                </a:lnTo>
                <a:lnTo>
                  <a:pt x="7917" y="663"/>
                </a:lnTo>
                <a:lnTo>
                  <a:pt x="8000" y="606"/>
                </a:lnTo>
                <a:lnTo>
                  <a:pt x="8083" y="549"/>
                </a:lnTo>
                <a:lnTo>
                  <a:pt x="8166" y="493"/>
                </a:lnTo>
                <a:lnTo>
                  <a:pt x="8251" y="437"/>
                </a:lnTo>
                <a:lnTo>
                  <a:pt x="8294" y="410"/>
                </a:lnTo>
                <a:lnTo>
                  <a:pt x="8337" y="384"/>
                </a:lnTo>
                <a:lnTo>
                  <a:pt x="8382" y="357"/>
                </a:lnTo>
                <a:lnTo>
                  <a:pt x="8427" y="331"/>
                </a:lnTo>
                <a:lnTo>
                  <a:pt x="8472" y="306"/>
                </a:lnTo>
                <a:lnTo>
                  <a:pt x="8519" y="280"/>
                </a:lnTo>
                <a:lnTo>
                  <a:pt x="8567" y="257"/>
                </a:lnTo>
                <a:lnTo>
                  <a:pt x="8615" y="233"/>
                </a:lnTo>
                <a:lnTo>
                  <a:pt x="8665" y="211"/>
                </a:lnTo>
                <a:lnTo>
                  <a:pt x="8717" y="189"/>
                </a:lnTo>
                <a:lnTo>
                  <a:pt x="8768" y="168"/>
                </a:lnTo>
                <a:lnTo>
                  <a:pt x="8822" y="148"/>
                </a:lnTo>
                <a:lnTo>
                  <a:pt x="8877" y="129"/>
                </a:lnTo>
                <a:lnTo>
                  <a:pt x="8934" y="112"/>
                </a:lnTo>
                <a:lnTo>
                  <a:pt x="8992" y="95"/>
                </a:lnTo>
                <a:lnTo>
                  <a:pt x="9052" y="79"/>
                </a:lnTo>
                <a:lnTo>
                  <a:pt x="9113" y="64"/>
                </a:lnTo>
                <a:lnTo>
                  <a:pt x="9177" y="51"/>
                </a:lnTo>
                <a:lnTo>
                  <a:pt x="9242" y="40"/>
                </a:lnTo>
                <a:lnTo>
                  <a:pt x="9309" y="29"/>
                </a:lnTo>
                <a:lnTo>
                  <a:pt x="9378" y="21"/>
                </a:lnTo>
                <a:lnTo>
                  <a:pt x="9450" y="12"/>
                </a:lnTo>
                <a:lnTo>
                  <a:pt x="9523" y="7"/>
                </a:lnTo>
                <a:lnTo>
                  <a:pt x="9599" y="3"/>
                </a:lnTo>
                <a:lnTo>
                  <a:pt x="9677" y="0"/>
                </a:lnTo>
                <a:lnTo>
                  <a:pt x="9758" y="0"/>
                </a:lnTo>
                <a:lnTo>
                  <a:pt x="9758" y="0"/>
                </a:lnTo>
                <a:lnTo>
                  <a:pt x="9839" y="0"/>
                </a:lnTo>
                <a:lnTo>
                  <a:pt x="9918" y="3"/>
                </a:lnTo>
                <a:lnTo>
                  <a:pt x="9994" y="6"/>
                </a:lnTo>
                <a:lnTo>
                  <a:pt x="10069" y="11"/>
                </a:lnTo>
                <a:lnTo>
                  <a:pt x="10142" y="19"/>
                </a:lnTo>
                <a:lnTo>
                  <a:pt x="10211" y="26"/>
                </a:lnTo>
                <a:lnTo>
                  <a:pt x="10280" y="36"/>
                </a:lnTo>
                <a:lnTo>
                  <a:pt x="10346" y="46"/>
                </a:lnTo>
                <a:lnTo>
                  <a:pt x="10411" y="58"/>
                </a:lnTo>
                <a:lnTo>
                  <a:pt x="10473" y="70"/>
                </a:lnTo>
                <a:lnTo>
                  <a:pt x="10535" y="85"/>
                </a:lnTo>
                <a:lnTo>
                  <a:pt x="10595" y="100"/>
                </a:lnTo>
                <a:lnTo>
                  <a:pt x="10651" y="116"/>
                </a:lnTo>
                <a:lnTo>
                  <a:pt x="10708" y="134"/>
                </a:lnTo>
                <a:lnTo>
                  <a:pt x="10762" y="152"/>
                </a:lnTo>
                <a:lnTo>
                  <a:pt x="10816" y="170"/>
                </a:lnTo>
                <a:lnTo>
                  <a:pt x="10866" y="190"/>
                </a:lnTo>
                <a:lnTo>
                  <a:pt x="10917" y="210"/>
                </a:lnTo>
                <a:lnTo>
                  <a:pt x="10965" y="231"/>
                </a:lnTo>
                <a:lnTo>
                  <a:pt x="11013" y="253"/>
                </a:lnTo>
                <a:lnTo>
                  <a:pt x="11059" y="275"/>
                </a:lnTo>
                <a:lnTo>
                  <a:pt x="11103" y="298"/>
                </a:lnTo>
                <a:lnTo>
                  <a:pt x="11148" y="321"/>
                </a:lnTo>
                <a:lnTo>
                  <a:pt x="11190" y="345"/>
                </a:lnTo>
                <a:lnTo>
                  <a:pt x="11232" y="369"/>
                </a:lnTo>
                <a:lnTo>
                  <a:pt x="11272" y="393"/>
                </a:lnTo>
                <a:lnTo>
                  <a:pt x="11311" y="418"/>
                </a:lnTo>
                <a:lnTo>
                  <a:pt x="11350" y="444"/>
                </a:lnTo>
                <a:lnTo>
                  <a:pt x="11425" y="494"/>
                </a:lnTo>
                <a:lnTo>
                  <a:pt x="11495" y="545"/>
                </a:lnTo>
                <a:lnTo>
                  <a:pt x="11564" y="597"/>
                </a:lnTo>
                <a:lnTo>
                  <a:pt x="11630" y="647"/>
                </a:lnTo>
                <a:lnTo>
                  <a:pt x="11756" y="746"/>
                </a:lnTo>
                <a:lnTo>
                  <a:pt x="11819" y="793"/>
                </a:lnTo>
                <a:lnTo>
                  <a:pt x="11879" y="838"/>
                </a:lnTo>
                <a:lnTo>
                  <a:pt x="11939" y="881"/>
                </a:lnTo>
                <a:lnTo>
                  <a:pt x="11969" y="901"/>
                </a:lnTo>
                <a:lnTo>
                  <a:pt x="11999" y="921"/>
                </a:lnTo>
                <a:lnTo>
                  <a:pt x="12029" y="939"/>
                </a:lnTo>
                <a:lnTo>
                  <a:pt x="12060" y="957"/>
                </a:lnTo>
                <a:lnTo>
                  <a:pt x="12090" y="975"/>
                </a:lnTo>
                <a:lnTo>
                  <a:pt x="12121" y="991"/>
                </a:lnTo>
                <a:lnTo>
                  <a:pt x="12151" y="1006"/>
                </a:lnTo>
                <a:lnTo>
                  <a:pt x="12183" y="1019"/>
                </a:lnTo>
                <a:lnTo>
                  <a:pt x="12215" y="1033"/>
                </a:lnTo>
                <a:lnTo>
                  <a:pt x="12247" y="1045"/>
                </a:lnTo>
                <a:lnTo>
                  <a:pt x="12280" y="1055"/>
                </a:lnTo>
                <a:lnTo>
                  <a:pt x="12314" y="1065"/>
                </a:lnTo>
                <a:lnTo>
                  <a:pt x="12347" y="1072"/>
                </a:lnTo>
                <a:lnTo>
                  <a:pt x="12381" y="1079"/>
                </a:lnTo>
                <a:lnTo>
                  <a:pt x="12417" y="1085"/>
                </a:lnTo>
                <a:lnTo>
                  <a:pt x="12453" y="1088"/>
                </a:lnTo>
                <a:lnTo>
                  <a:pt x="12488" y="1091"/>
                </a:lnTo>
                <a:lnTo>
                  <a:pt x="12526" y="1091"/>
                </a:lnTo>
              </a:path>
            </a:pathLst>
          </a:custGeom>
          <a:noFill/>
          <a:ln w="38100" cmpd="sng">
            <a:solidFill>
              <a:schemeClr val="accent5"/>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13" name="Group 12">
            <a:extLst>
              <a:ext uri="{FF2B5EF4-FFF2-40B4-BE49-F238E27FC236}">
                <a16:creationId xmlns:a16="http://schemas.microsoft.com/office/drawing/2014/main" id="{F147E1CF-154A-473D-B0C3-FB1F20C0E797}"/>
              </a:ext>
            </a:extLst>
          </p:cNvPr>
          <p:cNvGrpSpPr>
            <a:grpSpLocks noChangeAspect="1"/>
          </p:cNvGrpSpPr>
          <p:nvPr/>
        </p:nvGrpSpPr>
        <p:grpSpPr>
          <a:xfrm>
            <a:off x="2864323" y="2193688"/>
            <a:ext cx="372676" cy="439878"/>
            <a:chOff x="6145213" y="7040563"/>
            <a:chExt cx="484187" cy="571500"/>
          </a:xfrm>
          <a:solidFill>
            <a:schemeClr val="accent3"/>
          </a:solidFill>
        </p:grpSpPr>
        <p:sp>
          <p:nvSpPr>
            <p:cNvPr id="14" name="Freeform 365">
              <a:extLst>
                <a:ext uri="{FF2B5EF4-FFF2-40B4-BE49-F238E27FC236}">
                  <a16:creationId xmlns:a16="http://schemas.microsoft.com/office/drawing/2014/main" id="{8827960D-36A8-45C5-B6F5-49CF4321DDD4}"/>
                </a:ext>
              </a:extLst>
            </p:cNvPr>
            <p:cNvSpPr>
              <a:spLocks noEditPoints="1"/>
            </p:cNvSpPr>
            <p:nvPr/>
          </p:nvSpPr>
          <p:spPr bwMode="auto">
            <a:xfrm>
              <a:off x="6237288" y="7040563"/>
              <a:ext cx="371475" cy="571500"/>
            </a:xfrm>
            <a:custGeom>
              <a:avLst/>
              <a:gdLst>
                <a:gd name="T0" fmla="*/ 68 w 157"/>
                <a:gd name="T1" fmla="*/ 195 h 241"/>
                <a:gd name="T2" fmla="*/ 68 w 157"/>
                <a:gd name="T3" fmla="*/ 195 h 241"/>
                <a:gd name="T4" fmla="*/ 55 w 157"/>
                <a:gd name="T5" fmla="*/ 146 h 241"/>
                <a:gd name="T6" fmla="*/ 67 w 157"/>
                <a:gd name="T7" fmla="*/ 138 h 241"/>
                <a:gd name="T8" fmla="*/ 82 w 157"/>
                <a:gd name="T9" fmla="*/ 147 h 241"/>
                <a:gd name="T10" fmla="*/ 85 w 157"/>
                <a:gd name="T11" fmla="*/ 147 h 241"/>
                <a:gd name="T12" fmla="*/ 89 w 157"/>
                <a:gd name="T13" fmla="*/ 145 h 241"/>
                <a:gd name="T14" fmla="*/ 87 w 157"/>
                <a:gd name="T15" fmla="*/ 138 h 241"/>
                <a:gd name="T16" fmla="*/ 71 w 157"/>
                <a:gd name="T17" fmla="*/ 129 h 241"/>
                <a:gd name="T18" fmla="*/ 73 w 157"/>
                <a:gd name="T19" fmla="*/ 119 h 241"/>
                <a:gd name="T20" fmla="*/ 67 w 157"/>
                <a:gd name="T21" fmla="*/ 100 h 241"/>
                <a:gd name="T22" fmla="*/ 122 w 157"/>
                <a:gd name="T23" fmla="*/ 43 h 241"/>
                <a:gd name="T24" fmla="*/ 134 w 157"/>
                <a:gd name="T25" fmla="*/ 46 h 241"/>
                <a:gd name="T26" fmla="*/ 157 w 157"/>
                <a:gd name="T27" fmla="*/ 23 h 241"/>
                <a:gd name="T28" fmla="*/ 134 w 157"/>
                <a:gd name="T29" fmla="*/ 0 h 241"/>
                <a:gd name="T30" fmla="*/ 111 w 157"/>
                <a:gd name="T31" fmla="*/ 23 h 241"/>
                <a:gd name="T32" fmla="*/ 115 w 157"/>
                <a:gd name="T33" fmla="*/ 36 h 241"/>
                <a:gd name="T34" fmla="*/ 60 w 157"/>
                <a:gd name="T35" fmla="*/ 93 h 241"/>
                <a:gd name="T36" fmla="*/ 43 w 157"/>
                <a:gd name="T37" fmla="*/ 88 h 241"/>
                <a:gd name="T38" fmla="*/ 33 w 157"/>
                <a:gd name="T39" fmla="*/ 90 h 241"/>
                <a:gd name="T40" fmla="*/ 30 w 157"/>
                <a:gd name="T41" fmla="*/ 84 h 241"/>
                <a:gd name="T42" fmla="*/ 24 w 157"/>
                <a:gd name="T43" fmla="*/ 82 h 241"/>
                <a:gd name="T44" fmla="*/ 22 w 157"/>
                <a:gd name="T45" fmla="*/ 89 h 241"/>
                <a:gd name="T46" fmla="*/ 25 w 157"/>
                <a:gd name="T47" fmla="*/ 95 h 241"/>
                <a:gd name="T48" fmla="*/ 13 w 157"/>
                <a:gd name="T49" fmla="*/ 119 h 241"/>
                <a:gd name="T50" fmla="*/ 15 w 157"/>
                <a:gd name="T51" fmla="*/ 129 h 241"/>
                <a:gd name="T52" fmla="*/ 3 w 157"/>
                <a:gd name="T53" fmla="*/ 135 h 241"/>
                <a:gd name="T54" fmla="*/ 2 w 157"/>
                <a:gd name="T55" fmla="*/ 142 h 241"/>
                <a:gd name="T56" fmla="*/ 6 w 157"/>
                <a:gd name="T57" fmla="*/ 144 h 241"/>
                <a:gd name="T58" fmla="*/ 8 w 157"/>
                <a:gd name="T59" fmla="*/ 144 h 241"/>
                <a:gd name="T60" fmla="*/ 19 w 157"/>
                <a:gd name="T61" fmla="*/ 137 h 241"/>
                <a:gd name="T62" fmla="*/ 43 w 157"/>
                <a:gd name="T63" fmla="*/ 149 h 241"/>
                <a:gd name="T64" fmla="*/ 46 w 157"/>
                <a:gd name="T65" fmla="*/ 149 h 241"/>
                <a:gd name="T66" fmla="*/ 58 w 157"/>
                <a:gd name="T67" fmla="*/ 197 h 241"/>
                <a:gd name="T68" fmla="*/ 45 w 157"/>
                <a:gd name="T69" fmla="*/ 218 h 241"/>
                <a:gd name="T70" fmla="*/ 68 w 157"/>
                <a:gd name="T71" fmla="*/ 241 h 241"/>
                <a:gd name="T72" fmla="*/ 92 w 157"/>
                <a:gd name="T73" fmla="*/ 218 h 241"/>
                <a:gd name="T74" fmla="*/ 68 w 157"/>
                <a:gd name="T75" fmla="*/ 195 h 241"/>
                <a:gd name="T76" fmla="*/ 134 w 157"/>
                <a:gd name="T77" fmla="*/ 10 h 241"/>
                <a:gd name="T78" fmla="*/ 147 w 157"/>
                <a:gd name="T79" fmla="*/ 23 h 241"/>
                <a:gd name="T80" fmla="*/ 134 w 157"/>
                <a:gd name="T81" fmla="*/ 36 h 241"/>
                <a:gd name="T82" fmla="*/ 121 w 157"/>
                <a:gd name="T83" fmla="*/ 23 h 241"/>
                <a:gd name="T84" fmla="*/ 134 w 157"/>
                <a:gd name="T85" fmla="*/ 10 h 241"/>
                <a:gd name="T86" fmla="*/ 23 w 157"/>
                <a:gd name="T87" fmla="*/ 119 h 241"/>
                <a:gd name="T88" fmla="*/ 43 w 157"/>
                <a:gd name="T89" fmla="*/ 98 h 241"/>
                <a:gd name="T90" fmla="*/ 63 w 157"/>
                <a:gd name="T91" fmla="*/ 119 h 241"/>
                <a:gd name="T92" fmla="*/ 43 w 157"/>
                <a:gd name="T93" fmla="*/ 139 h 241"/>
                <a:gd name="T94" fmla="*/ 23 w 157"/>
                <a:gd name="T95" fmla="*/ 119 h 241"/>
                <a:gd name="T96" fmla="*/ 68 w 157"/>
                <a:gd name="T97" fmla="*/ 231 h 241"/>
                <a:gd name="T98" fmla="*/ 55 w 157"/>
                <a:gd name="T99" fmla="*/ 218 h 241"/>
                <a:gd name="T100" fmla="*/ 68 w 157"/>
                <a:gd name="T101" fmla="*/ 205 h 241"/>
                <a:gd name="T102" fmla="*/ 82 w 157"/>
                <a:gd name="T103" fmla="*/ 218 h 241"/>
                <a:gd name="T104" fmla="*/ 68 w 157"/>
                <a:gd name="T105" fmla="*/ 23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7" h="241">
                  <a:moveTo>
                    <a:pt x="68" y="195"/>
                  </a:moveTo>
                  <a:cubicBezTo>
                    <a:pt x="68" y="195"/>
                    <a:pt x="68" y="195"/>
                    <a:pt x="68" y="195"/>
                  </a:cubicBezTo>
                  <a:cubicBezTo>
                    <a:pt x="55" y="146"/>
                    <a:pt x="55" y="146"/>
                    <a:pt x="55" y="146"/>
                  </a:cubicBezTo>
                  <a:cubicBezTo>
                    <a:pt x="60" y="144"/>
                    <a:pt x="63" y="141"/>
                    <a:pt x="67" y="138"/>
                  </a:cubicBezTo>
                  <a:cubicBezTo>
                    <a:pt x="82" y="147"/>
                    <a:pt x="82" y="147"/>
                    <a:pt x="82" y="147"/>
                  </a:cubicBezTo>
                  <a:cubicBezTo>
                    <a:pt x="83" y="147"/>
                    <a:pt x="84" y="147"/>
                    <a:pt x="85" y="147"/>
                  </a:cubicBezTo>
                  <a:cubicBezTo>
                    <a:pt x="86" y="147"/>
                    <a:pt x="88" y="146"/>
                    <a:pt x="89" y="145"/>
                  </a:cubicBezTo>
                  <a:cubicBezTo>
                    <a:pt x="90" y="142"/>
                    <a:pt x="89" y="139"/>
                    <a:pt x="87" y="138"/>
                  </a:cubicBezTo>
                  <a:cubicBezTo>
                    <a:pt x="71" y="129"/>
                    <a:pt x="71" y="129"/>
                    <a:pt x="71" y="129"/>
                  </a:cubicBezTo>
                  <a:cubicBezTo>
                    <a:pt x="73" y="126"/>
                    <a:pt x="73" y="122"/>
                    <a:pt x="73" y="119"/>
                  </a:cubicBezTo>
                  <a:cubicBezTo>
                    <a:pt x="73" y="112"/>
                    <a:pt x="71" y="105"/>
                    <a:pt x="67" y="100"/>
                  </a:cubicBezTo>
                  <a:cubicBezTo>
                    <a:pt x="122" y="43"/>
                    <a:pt x="122" y="43"/>
                    <a:pt x="122" y="43"/>
                  </a:cubicBezTo>
                  <a:cubicBezTo>
                    <a:pt x="126" y="45"/>
                    <a:pt x="130" y="46"/>
                    <a:pt x="134" y="46"/>
                  </a:cubicBezTo>
                  <a:cubicBezTo>
                    <a:pt x="147" y="46"/>
                    <a:pt x="157" y="36"/>
                    <a:pt x="157" y="23"/>
                  </a:cubicBezTo>
                  <a:cubicBezTo>
                    <a:pt x="157" y="10"/>
                    <a:pt x="147" y="0"/>
                    <a:pt x="134" y="0"/>
                  </a:cubicBezTo>
                  <a:cubicBezTo>
                    <a:pt x="121" y="0"/>
                    <a:pt x="111" y="10"/>
                    <a:pt x="111" y="23"/>
                  </a:cubicBezTo>
                  <a:cubicBezTo>
                    <a:pt x="111" y="28"/>
                    <a:pt x="112" y="32"/>
                    <a:pt x="115" y="36"/>
                  </a:cubicBezTo>
                  <a:cubicBezTo>
                    <a:pt x="60" y="93"/>
                    <a:pt x="60" y="93"/>
                    <a:pt x="60" y="93"/>
                  </a:cubicBezTo>
                  <a:cubicBezTo>
                    <a:pt x="55" y="90"/>
                    <a:pt x="49" y="88"/>
                    <a:pt x="43" y="88"/>
                  </a:cubicBezTo>
                  <a:cubicBezTo>
                    <a:pt x="40" y="88"/>
                    <a:pt x="36" y="89"/>
                    <a:pt x="33" y="90"/>
                  </a:cubicBezTo>
                  <a:cubicBezTo>
                    <a:pt x="30" y="84"/>
                    <a:pt x="30" y="84"/>
                    <a:pt x="30" y="84"/>
                  </a:cubicBezTo>
                  <a:cubicBezTo>
                    <a:pt x="29" y="82"/>
                    <a:pt x="26" y="81"/>
                    <a:pt x="24" y="82"/>
                  </a:cubicBezTo>
                  <a:cubicBezTo>
                    <a:pt x="21" y="84"/>
                    <a:pt x="20" y="87"/>
                    <a:pt x="22" y="89"/>
                  </a:cubicBezTo>
                  <a:cubicBezTo>
                    <a:pt x="25" y="95"/>
                    <a:pt x="25" y="95"/>
                    <a:pt x="25" y="95"/>
                  </a:cubicBezTo>
                  <a:cubicBezTo>
                    <a:pt x="17" y="100"/>
                    <a:pt x="13" y="109"/>
                    <a:pt x="13" y="119"/>
                  </a:cubicBezTo>
                  <a:cubicBezTo>
                    <a:pt x="13" y="122"/>
                    <a:pt x="13" y="126"/>
                    <a:pt x="15" y="129"/>
                  </a:cubicBezTo>
                  <a:cubicBezTo>
                    <a:pt x="3" y="135"/>
                    <a:pt x="3" y="135"/>
                    <a:pt x="3" y="135"/>
                  </a:cubicBezTo>
                  <a:cubicBezTo>
                    <a:pt x="1" y="136"/>
                    <a:pt x="0" y="139"/>
                    <a:pt x="2" y="142"/>
                  </a:cubicBezTo>
                  <a:cubicBezTo>
                    <a:pt x="2" y="143"/>
                    <a:pt x="4" y="144"/>
                    <a:pt x="6" y="144"/>
                  </a:cubicBezTo>
                  <a:cubicBezTo>
                    <a:pt x="7" y="144"/>
                    <a:pt x="8" y="144"/>
                    <a:pt x="8" y="144"/>
                  </a:cubicBezTo>
                  <a:cubicBezTo>
                    <a:pt x="19" y="137"/>
                    <a:pt x="19" y="137"/>
                    <a:pt x="19" y="137"/>
                  </a:cubicBezTo>
                  <a:cubicBezTo>
                    <a:pt x="25" y="144"/>
                    <a:pt x="33" y="149"/>
                    <a:pt x="43" y="149"/>
                  </a:cubicBezTo>
                  <a:cubicBezTo>
                    <a:pt x="44" y="149"/>
                    <a:pt x="45" y="149"/>
                    <a:pt x="46" y="149"/>
                  </a:cubicBezTo>
                  <a:cubicBezTo>
                    <a:pt x="58" y="197"/>
                    <a:pt x="58" y="197"/>
                    <a:pt x="58" y="197"/>
                  </a:cubicBezTo>
                  <a:cubicBezTo>
                    <a:pt x="50" y="201"/>
                    <a:pt x="45" y="209"/>
                    <a:pt x="45" y="218"/>
                  </a:cubicBezTo>
                  <a:cubicBezTo>
                    <a:pt x="45" y="231"/>
                    <a:pt x="56" y="241"/>
                    <a:pt x="68" y="241"/>
                  </a:cubicBezTo>
                  <a:cubicBezTo>
                    <a:pt x="81" y="241"/>
                    <a:pt x="92" y="231"/>
                    <a:pt x="92" y="218"/>
                  </a:cubicBezTo>
                  <a:cubicBezTo>
                    <a:pt x="92" y="205"/>
                    <a:pt x="81" y="195"/>
                    <a:pt x="68" y="195"/>
                  </a:cubicBezTo>
                  <a:close/>
                  <a:moveTo>
                    <a:pt x="134" y="10"/>
                  </a:moveTo>
                  <a:cubicBezTo>
                    <a:pt x="141" y="10"/>
                    <a:pt x="147" y="16"/>
                    <a:pt x="147" y="23"/>
                  </a:cubicBezTo>
                  <a:cubicBezTo>
                    <a:pt x="147" y="30"/>
                    <a:pt x="141" y="36"/>
                    <a:pt x="134" y="36"/>
                  </a:cubicBezTo>
                  <a:cubicBezTo>
                    <a:pt x="127" y="36"/>
                    <a:pt x="121" y="30"/>
                    <a:pt x="121" y="23"/>
                  </a:cubicBezTo>
                  <a:cubicBezTo>
                    <a:pt x="121" y="16"/>
                    <a:pt x="127" y="10"/>
                    <a:pt x="134" y="10"/>
                  </a:cubicBezTo>
                  <a:close/>
                  <a:moveTo>
                    <a:pt x="23" y="119"/>
                  </a:moveTo>
                  <a:cubicBezTo>
                    <a:pt x="23" y="107"/>
                    <a:pt x="32" y="98"/>
                    <a:pt x="43" y="98"/>
                  </a:cubicBezTo>
                  <a:cubicBezTo>
                    <a:pt x="54" y="98"/>
                    <a:pt x="63" y="107"/>
                    <a:pt x="63" y="119"/>
                  </a:cubicBezTo>
                  <a:cubicBezTo>
                    <a:pt x="63" y="130"/>
                    <a:pt x="54" y="139"/>
                    <a:pt x="43" y="139"/>
                  </a:cubicBezTo>
                  <a:cubicBezTo>
                    <a:pt x="32" y="139"/>
                    <a:pt x="23" y="130"/>
                    <a:pt x="23" y="119"/>
                  </a:cubicBezTo>
                  <a:close/>
                  <a:moveTo>
                    <a:pt x="68" y="231"/>
                  </a:moveTo>
                  <a:cubicBezTo>
                    <a:pt x="61" y="231"/>
                    <a:pt x="55" y="225"/>
                    <a:pt x="55" y="218"/>
                  </a:cubicBezTo>
                  <a:cubicBezTo>
                    <a:pt x="55" y="211"/>
                    <a:pt x="61" y="205"/>
                    <a:pt x="68" y="205"/>
                  </a:cubicBezTo>
                  <a:cubicBezTo>
                    <a:pt x="76" y="205"/>
                    <a:pt x="82" y="211"/>
                    <a:pt x="82" y="218"/>
                  </a:cubicBezTo>
                  <a:cubicBezTo>
                    <a:pt x="82" y="225"/>
                    <a:pt x="76" y="231"/>
                    <a:pt x="68" y="231"/>
                  </a:cubicBez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5" name="Freeform 366">
              <a:extLst>
                <a:ext uri="{FF2B5EF4-FFF2-40B4-BE49-F238E27FC236}">
                  <a16:creationId xmlns:a16="http://schemas.microsoft.com/office/drawing/2014/main" id="{B5B752D4-EE02-4382-ABF0-EF69DB1AC6C6}"/>
                </a:ext>
              </a:extLst>
            </p:cNvPr>
            <p:cNvSpPr>
              <a:spLocks/>
            </p:cNvSpPr>
            <p:nvPr/>
          </p:nvSpPr>
          <p:spPr bwMode="auto">
            <a:xfrm>
              <a:off x="6546850" y="7434263"/>
              <a:ext cx="82550" cy="66675"/>
            </a:xfrm>
            <a:custGeom>
              <a:avLst/>
              <a:gdLst>
                <a:gd name="T0" fmla="*/ 22 w 35"/>
                <a:gd name="T1" fmla="*/ 3 h 28"/>
                <a:gd name="T2" fmla="*/ 15 w 35"/>
                <a:gd name="T3" fmla="*/ 6 h 28"/>
                <a:gd name="T4" fmla="*/ 8 w 35"/>
                <a:gd name="T5" fmla="*/ 1 h 28"/>
                <a:gd name="T6" fmla="*/ 1 w 35"/>
                <a:gd name="T7" fmla="*/ 3 h 28"/>
                <a:gd name="T8" fmla="*/ 3 w 35"/>
                <a:gd name="T9" fmla="*/ 10 h 28"/>
                <a:gd name="T10" fmla="*/ 10 w 35"/>
                <a:gd name="T11" fmla="*/ 14 h 28"/>
                <a:gd name="T12" fmla="*/ 10 w 35"/>
                <a:gd name="T13" fmla="*/ 16 h 28"/>
                <a:gd name="T14" fmla="*/ 22 w 35"/>
                <a:gd name="T15" fmla="*/ 28 h 28"/>
                <a:gd name="T16" fmla="*/ 35 w 35"/>
                <a:gd name="T17" fmla="*/ 16 h 28"/>
                <a:gd name="T18" fmla="*/ 22 w 35"/>
                <a:gd name="T19" fmla="*/ 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28">
                  <a:moveTo>
                    <a:pt x="22" y="3"/>
                  </a:moveTo>
                  <a:cubicBezTo>
                    <a:pt x="20" y="3"/>
                    <a:pt x="17" y="4"/>
                    <a:pt x="15" y="6"/>
                  </a:cubicBezTo>
                  <a:cubicBezTo>
                    <a:pt x="8" y="1"/>
                    <a:pt x="8" y="1"/>
                    <a:pt x="8" y="1"/>
                  </a:cubicBezTo>
                  <a:cubicBezTo>
                    <a:pt x="5" y="0"/>
                    <a:pt x="2" y="1"/>
                    <a:pt x="1" y="3"/>
                  </a:cubicBezTo>
                  <a:cubicBezTo>
                    <a:pt x="0" y="6"/>
                    <a:pt x="0" y="9"/>
                    <a:pt x="3" y="10"/>
                  </a:cubicBezTo>
                  <a:cubicBezTo>
                    <a:pt x="10" y="14"/>
                    <a:pt x="10" y="14"/>
                    <a:pt x="10" y="14"/>
                  </a:cubicBezTo>
                  <a:cubicBezTo>
                    <a:pt x="10" y="15"/>
                    <a:pt x="10" y="15"/>
                    <a:pt x="10" y="16"/>
                  </a:cubicBezTo>
                  <a:cubicBezTo>
                    <a:pt x="10" y="22"/>
                    <a:pt x="16" y="28"/>
                    <a:pt x="22" y="28"/>
                  </a:cubicBezTo>
                  <a:cubicBezTo>
                    <a:pt x="29" y="28"/>
                    <a:pt x="35" y="22"/>
                    <a:pt x="35" y="16"/>
                  </a:cubicBezTo>
                  <a:cubicBezTo>
                    <a:pt x="35" y="9"/>
                    <a:pt x="29" y="3"/>
                    <a:pt x="22" y="3"/>
                  </a:cubicBez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6" name="Freeform 367">
              <a:extLst>
                <a:ext uri="{FF2B5EF4-FFF2-40B4-BE49-F238E27FC236}">
                  <a16:creationId xmlns:a16="http://schemas.microsoft.com/office/drawing/2014/main" id="{AF8A587A-5CEF-4146-92CA-606122A5279F}"/>
                </a:ext>
              </a:extLst>
            </p:cNvPr>
            <p:cNvSpPr>
              <a:spLocks/>
            </p:cNvSpPr>
            <p:nvPr/>
          </p:nvSpPr>
          <p:spPr bwMode="auto">
            <a:xfrm>
              <a:off x="6180138" y="7050088"/>
              <a:ext cx="63500" cy="82550"/>
            </a:xfrm>
            <a:custGeom>
              <a:avLst/>
              <a:gdLst>
                <a:gd name="T0" fmla="*/ 26 w 27"/>
                <a:gd name="T1" fmla="*/ 28 h 35"/>
                <a:gd name="T2" fmla="*/ 22 w 27"/>
                <a:gd name="T3" fmla="*/ 21 h 35"/>
                <a:gd name="T4" fmla="*/ 25 w 27"/>
                <a:gd name="T5" fmla="*/ 13 h 35"/>
                <a:gd name="T6" fmla="*/ 12 w 27"/>
                <a:gd name="T7" fmla="*/ 0 h 35"/>
                <a:gd name="T8" fmla="*/ 0 w 27"/>
                <a:gd name="T9" fmla="*/ 13 h 35"/>
                <a:gd name="T10" fmla="*/ 12 w 27"/>
                <a:gd name="T11" fmla="*/ 25 h 35"/>
                <a:gd name="T12" fmla="*/ 13 w 27"/>
                <a:gd name="T13" fmla="*/ 25 h 35"/>
                <a:gd name="T14" fmla="*/ 17 w 27"/>
                <a:gd name="T15" fmla="*/ 33 h 35"/>
                <a:gd name="T16" fmla="*/ 22 w 27"/>
                <a:gd name="T17" fmla="*/ 35 h 35"/>
                <a:gd name="T18" fmla="*/ 24 w 27"/>
                <a:gd name="T19" fmla="*/ 35 h 35"/>
                <a:gd name="T20" fmla="*/ 26 w 27"/>
                <a:gd name="T21" fmla="*/ 2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35">
                  <a:moveTo>
                    <a:pt x="26" y="28"/>
                  </a:moveTo>
                  <a:cubicBezTo>
                    <a:pt x="22" y="21"/>
                    <a:pt x="22" y="21"/>
                    <a:pt x="22" y="21"/>
                  </a:cubicBezTo>
                  <a:cubicBezTo>
                    <a:pt x="24" y="18"/>
                    <a:pt x="25" y="16"/>
                    <a:pt x="25" y="13"/>
                  </a:cubicBezTo>
                  <a:cubicBezTo>
                    <a:pt x="25" y="6"/>
                    <a:pt x="19" y="0"/>
                    <a:pt x="12" y="0"/>
                  </a:cubicBezTo>
                  <a:cubicBezTo>
                    <a:pt x="6" y="0"/>
                    <a:pt x="0" y="6"/>
                    <a:pt x="0" y="13"/>
                  </a:cubicBezTo>
                  <a:cubicBezTo>
                    <a:pt x="0" y="20"/>
                    <a:pt x="6" y="25"/>
                    <a:pt x="12" y="25"/>
                  </a:cubicBezTo>
                  <a:cubicBezTo>
                    <a:pt x="13" y="25"/>
                    <a:pt x="13" y="25"/>
                    <a:pt x="13" y="25"/>
                  </a:cubicBezTo>
                  <a:cubicBezTo>
                    <a:pt x="17" y="33"/>
                    <a:pt x="17" y="33"/>
                    <a:pt x="17" y="33"/>
                  </a:cubicBezTo>
                  <a:cubicBezTo>
                    <a:pt x="18" y="34"/>
                    <a:pt x="20" y="35"/>
                    <a:pt x="22" y="35"/>
                  </a:cubicBezTo>
                  <a:cubicBezTo>
                    <a:pt x="23" y="35"/>
                    <a:pt x="23" y="35"/>
                    <a:pt x="24" y="35"/>
                  </a:cubicBezTo>
                  <a:cubicBezTo>
                    <a:pt x="27" y="33"/>
                    <a:pt x="27" y="30"/>
                    <a:pt x="26" y="28"/>
                  </a:cubicBez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 name="Freeform 368">
              <a:extLst>
                <a:ext uri="{FF2B5EF4-FFF2-40B4-BE49-F238E27FC236}">
                  <a16:creationId xmlns:a16="http://schemas.microsoft.com/office/drawing/2014/main" id="{7CF9E878-5AC0-4869-9037-4FDF232AD509}"/>
                </a:ext>
              </a:extLst>
            </p:cNvPr>
            <p:cNvSpPr>
              <a:spLocks/>
            </p:cNvSpPr>
            <p:nvPr/>
          </p:nvSpPr>
          <p:spPr bwMode="auto">
            <a:xfrm>
              <a:off x="6242050" y="7150101"/>
              <a:ext cx="47625" cy="66675"/>
            </a:xfrm>
            <a:custGeom>
              <a:avLst/>
              <a:gdLst>
                <a:gd name="T0" fmla="*/ 1 w 20"/>
                <a:gd name="T1" fmla="*/ 8 h 28"/>
                <a:gd name="T2" fmla="*/ 10 w 20"/>
                <a:gd name="T3" fmla="*/ 26 h 28"/>
                <a:gd name="T4" fmla="*/ 15 w 20"/>
                <a:gd name="T5" fmla="*/ 28 h 28"/>
                <a:gd name="T6" fmla="*/ 17 w 20"/>
                <a:gd name="T7" fmla="*/ 28 h 28"/>
                <a:gd name="T8" fmla="*/ 19 w 20"/>
                <a:gd name="T9" fmla="*/ 21 h 28"/>
                <a:gd name="T10" fmla="*/ 10 w 20"/>
                <a:gd name="T11" fmla="*/ 3 h 28"/>
                <a:gd name="T12" fmla="*/ 3 w 20"/>
                <a:gd name="T13" fmla="*/ 1 h 28"/>
                <a:gd name="T14" fmla="*/ 1 w 20"/>
                <a:gd name="T15" fmla="*/ 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8">
                  <a:moveTo>
                    <a:pt x="1" y="8"/>
                  </a:moveTo>
                  <a:cubicBezTo>
                    <a:pt x="10" y="26"/>
                    <a:pt x="10" y="26"/>
                    <a:pt x="10" y="26"/>
                  </a:cubicBezTo>
                  <a:cubicBezTo>
                    <a:pt x="11" y="27"/>
                    <a:pt x="13" y="28"/>
                    <a:pt x="15" y="28"/>
                  </a:cubicBezTo>
                  <a:cubicBezTo>
                    <a:pt x="15" y="28"/>
                    <a:pt x="16" y="28"/>
                    <a:pt x="17" y="28"/>
                  </a:cubicBezTo>
                  <a:cubicBezTo>
                    <a:pt x="19" y="26"/>
                    <a:pt x="20" y="23"/>
                    <a:pt x="19" y="21"/>
                  </a:cubicBezTo>
                  <a:cubicBezTo>
                    <a:pt x="10" y="3"/>
                    <a:pt x="10" y="3"/>
                    <a:pt x="10" y="3"/>
                  </a:cubicBezTo>
                  <a:cubicBezTo>
                    <a:pt x="8" y="1"/>
                    <a:pt x="5" y="0"/>
                    <a:pt x="3" y="1"/>
                  </a:cubicBezTo>
                  <a:cubicBezTo>
                    <a:pt x="0" y="3"/>
                    <a:pt x="0" y="6"/>
                    <a:pt x="1" y="8"/>
                  </a:cubicBez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8" name="Freeform 369">
              <a:extLst>
                <a:ext uri="{FF2B5EF4-FFF2-40B4-BE49-F238E27FC236}">
                  <a16:creationId xmlns:a16="http://schemas.microsoft.com/office/drawing/2014/main" id="{9E085EE9-7CDB-4A14-8728-DE1ACD0B55FC}"/>
                </a:ext>
              </a:extLst>
            </p:cNvPr>
            <p:cNvSpPr>
              <a:spLocks/>
            </p:cNvSpPr>
            <p:nvPr/>
          </p:nvSpPr>
          <p:spPr bwMode="auto">
            <a:xfrm>
              <a:off x="6464300" y="7386638"/>
              <a:ext cx="68263" cy="49213"/>
            </a:xfrm>
            <a:custGeom>
              <a:avLst/>
              <a:gdLst>
                <a:gd name="T0" fmla="*/ 25 w 29"/>
                <a:gd name="T1" fmla="*/ 12 h 21"/>
                <a:gd name="T2" fmla="*/ 8 w 29"/>
                <a:gd name="T3" fmla="*/ 2 h 21"/>
                <a:gd name="T4" fmla="*/ 1 w 29"/>
                <a:gd name="T5" fmla="*/ 4 h 21"/>
                <a:gd name="T6" fmla="*/ 3 w 29"/>
                <a:gd name="T7" fmla="*/ 10 h 21"/>
                <a:gd name="T8" fmla="*/ 21 w 29"/>
                <a:gd name="T9" fmla="*/ 20 h 21"/>
                <a:gd name="T10" fmla="*/ 23 w 29"/>
                <a:gd name="T11" fmla="*/ 21 h 21"/>
                <a:gd name="T12" fmla="*/ 27 w 29"/>
                <a:gd name="T13" fmla="*/ 18 h 21"/>
                <a:gd name="T14" fmla="*/ 25 w 29"/>
                <a:gd name="T15" fmla="*/ 12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1">
                  <a:moveTo>
                    <a:pt x="25" y="12"/>
                  </a:moveTo>
                  <a:cubicBezTo>
                    <a:pt x="8" y="2"/>
                    <a:pt x="8" y="2"/>
                    <a:pt x="8" y="2"/>
                  </a:cubicBezTo>
                  <a:cubicBezTo>
                    <a:pt x="6" y="0"/>
                    <a:pt x="3" y="1"/>
                    <a:pt x="1" y="4"/>
                  </a:cubicBezTo>
                  <a:cubicBezTo>
                    <a:pt x="0" y="6"/>
                    <a:pt x="1" y="9"/>
                    <a:pt x="3" y="10"/>
                  </a:cubicBezTo>
                  <a:cubicBezTo>
                    <a:pt x="21" y="20"/>
                    <a:pt x="21" y="20"/>
                    <a:pt x="21" y="20"/>
                  </a:cubicBezTo>
                  <a:cubicBezTo>
                    <a:pt x="21" y="21"/>
                    <a:pt x="22" y="21"/>
                    <a:pt x="23" y="21"/>
                  </a:cubicBezTo>
                  <a:cubicBezTo>
                    <a:pt x="25" y="21"/>
                    <a:pt x="26" y="20"/>
                    <a:pt x="27" y="18"/>
                  </a:cubicBezTo>
                  <a:cubicBezTo>
                    <a:pt x="29" y="16"/>
                    <a:pt x="28" y="13"/>
                    <a:pt x="25" y="12"/>
                  </a:cubicBez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9" name="Freeform 370">
              <a:extLst>
                <a:ext uri="{FF2B5EF4-FFF2-40B4-BE49-F238E27FC236}">
                  <a16:creationId xmlns:a16="http://schemas.microsoft.com/office/drawing/2014/main" id="{A05DB9AF-4F91-4AEE-9966-B4FE8DD10BEB}"/>
                </a:ext>
              </a:extLst>
            </p:cNvPr>
            <p:cNvSpPr>
              <a:spLocks/>
            </p:cNvSpPr>
            <p:nvPr/>
          </p:nvSpPr>
          <p:spPr bwMode="auto">
            <a:xfrm>
              <a:off x="6145213" y="7380288"/>
              <a:ext cx="77788" cy="65088"/>
            </a:xfrm>
            <a:custGeom>
              <a:avLst/>
              <a:gdLst>
                <a:gd name="T0" fmla="*/ 25 w 33"/>
                <a:gd name="T1" fmla="*/ 2 h 28"/>
                <a:gd name="T2" fmla="*/ 19 w 33"/>
                <a:gd name="T3" fmla="*/ 5 h 28"/>
                <a:gd name="T4" fmla="*/ 13 w 33"/>
                <a:gd name="T5" fmla="*/ 3 h 28"/>
                <a:gd name="T6" fmla="*/ 0 w 33"/>
                <a:gd name="T7" fmla="*/ 16 h 28"/>
                <a:gd name="T8" fmla="*/ 13 w 33"/>
                <a:gd name="T9" fmla="*/ 28 h 28"/>
                <a:gd name="T10" fmla="*/ 25 w 33"/>
                <a:gd name="T11" fmla="*/ 16 h 28"/>
                <a:gd name="T12" fmla="*/ 25 w 33"/>
                <a:gd name="T13" fmla="*/ 13 h 28"/>
                <a:gd name="T14" fmla="*/ 30 w 33"/>
                <a:gd name="T15" fmla="*/ 10 h 28"/>
                <a:gd name="T16" fmla="*/ 32 w 33"/>
                <a:gd name="T17" fmla="*/ 4 h 28"/>
                <a:gd name="T18" fmla="*/ 25 w 33"/>
                <a:gd name="T19"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8">
                  <a:moveTo>
                    <a:pt x="25" y="2"/>
                  </a:moveTo>
                  <a:cubicBezTo>
                    <a:pt x="19" y="5"/>
                    <a:pt x="19" y="5"/>
                    <a:pt x="19" y="5"/>
                  </a:cubicBezTo>
                  <a:cubicBezTo>
                    <a:pt x="17" y="4"/>
                    <a:pt x="15" y="3"/>
                    <a:pt x="13" y="3"/>
                  </a:cubicBezTo>
                  <a:cubicBezTo>
                    <a:pt x="6" y="3"/>
                    <a:pt x="0" y="9"/>
                    <a:pt x="0" y="16"/>
                  </a:cubicBezTo>
                  <a:cubicBezTo>
                    <a:pt x="0" y="23"/>
                    <a:pt x="6" y="28"/>
                    <a:pt x="13" y="28"/>
                  </a:cubicBezTo>
                  <a:cubicBezTo>
                    <a:pt x="20" y="28"/>
                    <a:pt x="25" y="23"/>
                    <a:pt x="25" y="16"/>
                  </a:cubicBezTo>
                  <a:cubicBezTo>
                    <a:pt x="25" y="15"/>
                    <a:pt x="25" y="14"/>
                    <a:pt x="25" y="13"/>
                  </a:cubicBezTo>
                  <a:cubicBezTo>
                    <a:pt x="30" y="10"/>
                    <a:pt x="30" y="10"/>
                    <a:pt x="30" y="10"/>
                  </a:cubicBezTo>
                  <a:cubicBezTo>
                    <a:pt x="32" y="9"/>
                    <a:pt x="33" y="6"/>
                    <a:pt x="32" y="4"/>
                  </a:cubicBezTo>
                  <a:cubicBezTo>
                    <a:pt x="31" y="1"/>
                    <a:pt x="28" y="0"/>
                    <a:pt x="25" y="2"/>
                  </a:cubicBez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0" name="Group 19">
            <a:extLst>
              <a:ext uri="{FF2B5EF4-FFF2-40B4-BE49-F238E27FC236}">
                <a16:creationId xmlns:a16="http://schemas.microsoft.com/office/drawing/2014/main" id="{A5E28677-284D-476B-BE04-07A6F795AFD3}"/>
              </a:ext>
            </a:extLst>
          </p:cNvPr>
          <p:cNvGrpSpPr>
            <a:grpSpLocks noChangeAspect="1"/>
          </p:cNvGrpSpPr>
          <p:nvPr/>
        </p:nvGrpSpPr>
        <p:grpSpPr>
          <a:xfrm>
            <a:off x="5768897" y="2146766"/>
            <a:ext cx="464458" cy="404658"/>
            <a:chOff x="8713788" y="1778000"/>
            <a:chExt cx="369888" cy="322263"/>
          </a:xfrm>
          <a:solidFill>
            <a:schemeClr val="accent3"/>
          </a:solidFill>
        </p:grpSpPr>
        <p:sp>
          <p:nvSpPr>
            <p:cNvPr id="21" name="Freeform 26">
              <a:extLst>
                <a:ext uri="{FF2B5EF4-FFF2-40B4-BE49-F238E27FC236}">
                  <a16:creationId xmlns:a16="http://schemas.microsoft.com/office/drawing/2014/main" id="{9296C59E-C5CA-4AB1-8915-ED4BD72F590E}"/>
                </a:ext>
              </a:extLst>
            </p:cNvPr>
            <p:cNvSpPr>
              <a:spLocks noEditPoints="1"/>
            </p:cNvSpPr>
            <p:nvPr/>
          </p:nvSpPr>
          <p:spPr bwMode="auto">
            <a:xfrm>
              <a:off x="8713788" y="1778000"/>
              <a:ext cx="369888" cy="241300"/>
            </a:xfrm>
            <a:custGeom>
              <a:avLst/>
              <a:gdLst>
                <a:gd name="T0" fmla="*/ 460 w 466"/>
                <a:gd name="T1" fmla="*/ 24 h 305"/>
                <a:gd name="T2" fmla="*/ 452 w 466"/>
                <a:gd name="T3" fmla="*/ 24 h 305"/>
                <a:gd name="T4" fmla="*/ 447 w 466"/>
                <a:gd name="T5" fmla="*/ 31 h 305"/>
                <a:gd name="T6" fmla="*/ 86 w 466"/>
                <a:gd name="T7" fmla="*/ 55 h 305"/>
                <a:gd name="T8" fmla="*/ 93 w 466"/>
                <a:gd name="T9" fmla="*/ 24 h 305"/>
                <a:gd name="T10" fmla="*/ 93 w 466"/>
                <a:gd name="T11" fmla="*/ 21 h 305"/>
                <a:gd name="T12" fmla="*/ 83 w 466"/>
                <a:gd name="T13" fmla="*/ 7 h 305"/>
                <a:gd name="T14" fmla="*/ 67 w 466"/>
                <a:gd name="T15" fmla="*/ 0 h 305"/>
                <a:gd name="T16" fmla="*/ 10 w 466"/>
                <a:gd name="T17" fmla="*/ 0 h 305"/>
                <a:gd name="T18" fmla="*/ 2 w 466"/>
                <a:gd name="T19" fmla="*/ 4 h 305"/>
                <a:gd name="T20" fmla="*/ 0 w 466"/>
                <a:gd name="T21" fmla="*/ 10 h 305"/>
                <a:gd name="T22" fmla="*/ 0 w 466"/>
                <a:gd name="T23" fmla="*/ 13 h 305"/>
                <a:gd name="T24" fmla="*/ 5 w 466"/>
                <a:gd name="T25" fmla="*/ 18 h 305"/>
                <a:gd name="T26" fmla="*/ 67 w 466"/>
                <a:gd name="T27" fmla="*/ 20 h 305"/>
                <a:gd name="T28" fmla="*/ 72 w 466"/>
                <a:gd name="T29" fmla="*/ 20 h 305"/>
                <a:gd name="T30" fmla="*/ 65 w 466"/>
                <a:gd name="T31" fmla="*/ 63 h 305"/>
                <a:gd name="T32" fmla="*/ 65 w 466"/>
                <a:gd name="T33" fmla="*/ 63 h 305"/>
                <a:gd name="T34" fmla="*/ 65 w 466"/>
                <a:gd name="T35" fmla="*/ 67 h 305"/>
                <a:gd name="T36" fmla="*/ 65 w 466"/>
                <a:gd name="T37" fmla="*/ 67 h 305"/>
                <a:gd name="T38" fmla="*/ 65 w 466"/>
                <a:gd name="T39" fmla="*/ 67 h 305"/>
                <a:gd name="T40" fmla="*/ 94 w 466"/>
                <a:gd name="T41" fmla="*/ 277 h 305"/>
                <a:gd name="T42" fmla="*/ 94 w 466"/>
                <a:gd name="T43" fmla="*/ 277 h 305"/>
                <a:gd name="T44" fmla="*/ 94 w 466"/>
                <a:gd name="T45" fmla="*/ 283 h 305"/>
                <a:gd name="T46" fmla="*/ 96 w 466"/>
                <a:gd name="T47" fmla="*/ 293 h 305"/>
                <a:gd name="T48" fmla="*/ 99 w 466"/>
                <a:gd name="T49" fmla="*/ 296 h 305"/>
                <a:gd name="T50" fmla="*/ 107 w 466"/>
                <a:gd name="T51" fmla="*/ 302 h 305"/>
                <a:gd name="T52" fmla="*/ 118 w 466"/>
                <a:gd name="T53" fmla="*/ 305 h 305"/>
                <a:gd name="T54" fmla="*/ 399 w 466"/>
                <a:gd name="T55" fmla="*/ 305 h 305"/>
                <a:gd name="T56" fmla="*/ 406 w 466"/>
                <a:gd name="T57" fmla="*/ 302 h 305"/>
                <a:gd name="T58" fmla="*/ 409 w 466"/>
                <a:gd name="T59" fmla="*/ 296 h 305"/>
                <a:gd name="T60" fmla="*/ 407 w 466"/>
                <a:gd name="T61" fmla="*/ 293 h 305"/>
                <a:gd name="T62" fmla="*/ 403 w 466"/>
                <a:gd name="T63" fmla="*/ 286 h 305"/>
                <a:gd name="T64" fmla="*/ 118 w 466"/>
                <a:gd name="T65" fmla="*/ 286 h 305"/>
                <a:gd name="T66" fmla="*/ 113 w 466"/>
                <a:gd name="T67" fmla="*/ 285 h 305"/>
                <a:gd name="T68" fmla="*/ 113 w 466"/>
                <a:gd name="T69" fmla="*/ 281 h 305"/>
                <a:gd name="T70" fmla="*/ 396 w 466"/>
                <a:gd name="T71" fmla="*/ 222 h 305"/>
                <a:gd name="T72" fmla="*/ 404 w 466"/>
                <a:gd name="T73" fmla="*/ 221 h 305"/>
                <a:gd name="T74" fmla="*/ 417 w 466"/>
                <a:gd name="T75" fmla="*/ 211 h 305"/>
                <a:gd name="T76" fmla="*/ 466 w 466"/>
                <a:gd name="T77" fmla="*/ 36 h 305"/>
                <a:gd name="T78" fmla="*/ 466 w 466"/>
                <a:gd name="T79" fmla="*/ 32 h 305"/>
                <a:gd name="T80" fmla="*/ 463 w 466"/>
                <a:gd name="T81" fmla="*/ 26 h 305"/>
                <a:gd name="T82" fmla="*/ 460 w 466"/>
                <a:gd name="T83" fmla="*/ 24 h 305"/>
                <a:gd name="T84" fmla="*/ 403 w 466"/>
                <a:gd name="T85" fmla="*/ 198 h 305"/>
                <a:gd name="T86" fmla="*/ 395 w 466"/>
                <a:gd name="T87" fmla="*/ 203 h 305"/>
                <a:gd name="T88" fmla="*/ 395 w 466"/>
                <a:gd name="T89" fmla="*/ 203 h 305"/>
                <a:gd name="T90" fmla="*/ 86 w 466"/>
                <a:gd name="T91" fmla="*/ 74 h 305"/>
                <a:gd name="T92" fmla="*/ 403 w 466"/>
                <a:gd name="T93" fmla="*/ 198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6" h="305">
                  <a:moveTo>
                    <a:pt x="460" y="24"/>
                  </a:moveTo>
                  <a:lnTo>
                    <a:pt x="460" y="24"/>
                  </a:lnTo>
                  <a:lnTo>
                    <a:pt x="455" y="24"/>
                  </a:lnTo>
                  <a:lnTo>
                    <a:pt x="452" y="24"/>
                  </a:lnTo>
                  <a:lnTo>
                    <a:pt x="449" y="28"/>
                  </a:lnTo>
                  <a:lnTo>
                    <a:pt x="447" y="31"/>
                  </a:lnTo>
                  <a:lnTo>
                    <a:pt x="441" y="55"/>
                  </a:lnTo>
                  <a:lnTo>
                    <a:pt x="86" y="55"/>
                  </a:lnTo>
                  <a:lnTo>
                    <a:pt x="93" y="24"/>
                  </a:lnTo>
                  <a:lnTo>
                    <a:pt x="93" y="24"/>
                  </a:lnTo>
                  <a:lnTo>
                    <a:pt x="93" y="21"/>
                  </a:lnTo>
                  <a:lnTo>
                    <a:pt x="93" y="21"/>
                  </a:lnTo>
                  <a:lnTo>
                    <a:pt x="89" y="13"/>
                  </a:lnTo>
                  <a:lnTo>
                    <a:pt x="83" y="7"/>
                  </a:lnTo>
                  <a:lnTo>
                    <a:pt x="77" y="2"/>
                  </a:lnTo>
                  <a:lnTo>
                    <a:pt x="67" y="0"/>
                  </a:lnTo>
                  <a:lnTo>
                    <a:pt x="10" y="0"/>
                  </a:lnTo>
                  <a:lnTo>
                    <a:pt x="10" y="0"/>
                  </a:lnTo>
                  <a:lnTo>
                    <a:pt x="5" y="0"/>
                  </a:lnTo>
                  <a:lnTo>
                    <a:pt x="2" y="4"/>
                  </a:lnTo>
                  <a:lnTo>
                    <a:pt x="0" y="5"/>
                  </a:lnTo>
                  <a:lnTo>
                    <a:pt x="0" y="10"/>
                  </a:lnTo>
                  <a:lnTo>
                    <a:pt x="0" y="10"/>
                  </a:lnTo>
                  <a:lnTo>
                    <a:pt x="0" y="13"/>
                  </a:lnTo>
                  <a:lnTo>
                    <a:pt x="2" y="16"/>
                  </a:lnTo>
                  <a:lnTo>
                    <a:pt x="5" y="18"/>
                  </a:lnTo>
                  <a:lnTo>
                    <a:pt x="10" y="20"/>
                  </a:lnTo>
                  <a:lnTo>
                    <a:pt x="67" y="20"/>
                  </a:lnTo>
                  <a:lnTo>
                    <a:pt x="67" y="20"/>
                  </a:lnTo>
                  <a:lnTo>
                    <a:pt x="72" y="20"/>
                  </a:lnTo>
                  <a:lnTo>
                    <a:pt x="73" y="23"/>
                  </a:lnTo>
                  <a:lnTo>
                    <a:pt x="65" y="63"/>
                  </a:lnTo>
                  <a:lnTo>
                    <a:pt x="65" y="63"/>
                  </a:lnTo>
                  <a:lnTo>
                    <a:pt x="65" y="63"/>
                  </a:lnTo>
                  <a:lnTo>
                    <a:pt x="65" y="63"/>
                  </a:lnTo>
                  <a:lnTo>
                    <a:pt x="65" y="67"/>
                  </a:lnTo>
                  <a:lnTo>
                    <a:pt x="65" y="67"/>
                  </a:lnTo>
                  <a:lnTo>
                    <a:pt x="65" y="67"/>
                  </a:lnTo>
                  <a:lnTo>
                    <a:pt x="65" y="67"/>
                  </a:lnTo>
                  <a:lnTo>
                    <a:pt x="65" y="67"/>
                  </a:lnTo>
                  <a:lnTo>
                    <a:pt x="105" y="243"/>
                  </a:lnTo>
                  <a:lnTo>
                    <a:pt x="94" y="277"/>
                  </a:lnTo>
                  <a:lnTo>
                    <a:pt x="94" y="277"/>
                  </a:lnTo>
                  <a:lnTo>
                    <a:pt x="94" y="277"/>
                  </a:lnTo>
                  <a:lnTo>
                    <a:pt x="94" y="277"/>
                  </a:lnTo>
                  <a:lnTo>
                    <a:pt x="94" y="283"/>
                  </a:lnTo>
                  <a:lnTo>
                    <a:pt x="94" y="288"/>
                  </a:lnTo>
                  <a:lnTo>
                    <a:pt x="96" y="293"/>
                  </a:lnTo>
                  <a:lnTo>
                    <a:pt x="99" y="296"/>
                  </a:lnTo>
                  <a:lnTo>
                    <a:pt x="99" y="296"/>
                  </a:lnTo>
                  <a:lnTo>
                    <a:pt x="104" y="301"/>
                  </a:lnTo>
                  <a:lnTo>
                    <a:pt x="107" y="302"/>
                  </a:lnTo>
                  <a:lnTo>
                    <a:pt x="112" y="304"/>
                  </a:lnTo>
                  <a:lnTo>
                    <a:pt x="118" y="305"/>
                  </a:lnTo>
                  <a:lnTo>
                    <a:pt x="399" y="305"/>
                  </a:lnTo>
                  <a:lnTo>
                    <a:pt x="399" y="305"/>
                  </a:lnTo>
                  <a:lnTo>
                    <a:pt x="403" y="304"/>
                  </a:lnTo>
                  <a:lnTo>
                    <a:pt x="406" y="302"/>
                  </a:lnTo>
                  <a:lnTo>
                    <a:pt x="407" y="299"/>
                  </a:lnTo>
                  <a:lnTo>
                    <a:pt x="409" y="296"/>
                  </a:lnTo>
                  <a:lnTo>
                    <a:pt x="409" y="296"/>
                  </a:lnTo>
                  <a:lnTo>
                    <a:pt x="407" y="293"/>
                  </a:lnTo>
                  <a:lnTo>
                    <a:pt x="406" y="289"/>
                  </a:lnTo>
                  <a:lnTo>
                    <a:pt x="403" y="286"/>
                  </a:lnTo>
                  <a:lnTo>
                    <a:pt x="399" y="286"/>
                  </a:lnTo>
                  <a:lnTo>
                    <a:pt x="118" y="286"/>
                  </a:lnTo>
                  <a:lnTo>
                    <a:pt x="118" y="286"/>
                  </a:lnTo>
                  <a:lnTo>
                    <a:pt x="113" y="285"/>
                  </a:lnTo>
                  <a:lnTo>
                    <a:pt x="113" y="285"/>
                  </a:lnTo>
                  <a:lnTo>
                    <a:pt x="113" y="281"/>
                  </a:lnTo>
                  <a:lnTo>
                    <a:pt x="121" y="253"/>
                  </a:lnTo>
                  <a:lnTo>
                    <a:pt x="396" y="222"/>
                  </a:lnTo>
                  <a:lnTo>
                    <a:pt x="396" y="222"/>
                  </a:lnTo>
                  <a:lnTo>
                    <a:pt x="404" y="221"/>
                  </a:lnTo>
                  <a:lnTo>
                    <a:pt x="412" y="218"/>
                  </a:lnTo>
                  <a:lnTo>
                    <a:pt x="417" y="211"/>
                  </a:lnTo>
                  <a:lnTo>
                    <a:pt x="420" y="203"/>
                  </a:lnTo>
                  <a:lnTo>
                    <a:pt x="466" y="36"/>
                  </a:lnTo>
                  <a:lnTo>
                    <a:pt x="466" y="36"/>
                  </a:lnTo>
                  <a:lnTo>
                    <a:pt x="466" y="32"/>
                  </a:lnTo>
                  <a:lnTo>
                    <a:pt x="465" y="29"/>
                  </a:lnTo>
                  <a:lnTo>
                    <a:pt x="463" y="26"/>
                  </a:lnTo>
                  <a:lnTo>
                    <a:pt x="460" y="24"/>
                  </a:lnTo>
                  <a:lnTo>
                    <a:pt x="460" y="24"/>
                  </a:lnTo>
                  <a:close/>
                  <a:moveTo>
                    <a:pt x="403" y="198"/>
                  </a:moveTo>
                  <a:lnTo>
                    <a:pt x="403" y="198"/>
                  </a:lnTo>
                  <a:lnTo>
                    <a:pt x="399" y="202"/>
                  </a:lnTo>
                  <a:lnTo>
                    <a:pt x="395" y="203"/>
                  </a:lnTo>
                  <a:lnTo>
                    <a:pt x="395" y="203"/>
                  </a:lnTo>
                  <a:lnTo>
                    <a:pt x="395" y="203"/>
                  </a:lnTo>
                  <a:lnTo>
                    <a:pt x="123" y="234"/>
                  </a:lnTo>
                  <a:lnTo>
                    <a:pt x="86" y="74"/>
                  </a:lnTo>
                  <a:lnTo>
                    <a:pt x="436" y="74"/>
                  </a:lnTo>
                  <a:lnTo>
                    <a:pt x="403" y="198"/>
                  </a:ln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Open Sans"/>
                <a:ea typeface="+mn-ea"/>
                <a:cs typeface="+mn-cs"/>
              </a:endParaRPr>
            </a:p>
          </p:txBody>
        </p:sp>
        <p:sp>
          <p:nvSpPr>
            <p:cNvPr id="22" name="Freeform 27">
              <a:extLst>
                <a:ext uri="{FF2B5EF4-FFF2-40B4-BE49-F238E27FC236}">
                  <a16:creationId xmlns:a16="http://schemas.microsoft.com/office/drawing/2014/main" id="{EF152E7B-FC63-4F92-9F42-B12AF32654D7}"/>
                </a:ext>
              </a:extLst>
            </p:cNvPr>
            <p:cNvSpPr>
              <a:spLocks noEditPoints="1"/>
            </p:cNvSpPr>
            <p:nvPr/>
          </p:nvSpPr>
          <p:spPr bwMode="auto">
            <a:xfrm>
              <a:off x="8789988" y="2038350"/>
              <a:ext cx="60325" cy="61913"/>
            </a:xfrm>
            <a:custGeom>
              <a:avLst/>
              <a:gdLst>
                <a:gd name="T0" fmla="*/ 38 w 77"/>
                <a:gd name="T1" fmla="*/ 0 h 77"/>
                <a:gd name="T2" fmla="*/ 38 w 77"/>
                <a:gd name="T3" fmla="*/ 0 h 77"/>
                <a:gd name="T4" fmla="*/ 30 w 77"/>
                <a:gd name="T5" fmla="*/ 0 h 77"/>
                <a:gd name="T6" fmla="*/ 22 w 77"/>
                <a:gd name="T7" fmla="*/ 4 h 77"/>
                <a:gd name="T8" fmla="*/ 16 w 77"/>
                <a:gd name="T9" fmla="*/ 7 h 77"/>
                <a:gd name="T10" fmla="*/ 11 w 77"/>
                <a:gd name="T11" fmla="*/ 12 h 77"/>
                <a:gd name="T12" fmla="*/ 6 w 77"/>
                <a:gd name="T13" fmla="*/ 16 h 77"/>
                <a:gd name="T14" fmla="*/ 3 w 77"/>
                <a:gd name="T15" fmla="*/ 23 h 77"/>
                <a:gd name="T16" fmla="*/ 0 w 77"/>
                <a:gd name="T17" fmla="*/ 31 h 77"/>
                <a:gd name="T18" fmla="*/ 0 w 77"/>
                <a:gd name="T19" fmla="*/ 39 h 77"/>
                <a:gd name="T20" fmla="*/ 0 w 77"/>
                <a:gd name="T21" fmla="*/ 39 h 77"/>
                <a:gd name="T22" fmla="*/ 0 w 77"/>
                <a:gd name="T23" fmla="*/ 45 h 77"/>
                <a:gd name="T24" fmla="*/ 3 w 77"/>
                <a:gd name="T25" fmla="*/ 53 h 77"/>
                <a:gd name="T26" fmla="*/ 6 w 77"/>
                <a:gd name="T27" fmla="*/ 59 h 77"/>
                <a:gd name="T28" fmla="*/ 11 w 77"/>
                <a:gd name="T29" fmla="*/ 64 h 77"/>
                <a:gd name="T30" fmla="*/ 16 w 77"/>
                <a:gd name="T31" fmla="*/ 69 h 77"/>
                <a:gd name="T32" fmla="*/ 22 w 77"/>
                <a:gd name="T33" fmla="*/ 74 h 77"/>
                <a:gd name="T34" fmla="*/ 30 w 77"/>
                <a:gd name="T35" fmla="*/ 75 h 77"/>
                <a:gd name="T36" fmla="*/ 38 w 77"/>
                <a:gd name="T37" fmla="*/ 77 h 77"/>
                <a:gd name="T38" fmla="*/ 38 w 77"/>
                <a:gd name="T39" fmla="*/ 77 h 77"/>
                <a:gd name="T40" fmla="*/ 45 w 77"/>
                <a:gd name="T41" fmla="*/ 75 h 77"/>
                <a:gd name="T42" fmla="*/ 53 w 77"/>
                <a:gd name="T43" fmla="*/ 74 h 77"/>
                <a:gd name="T44" fmla="*/ 59 w 77"/>
                <a:gd name="T45" fmla="*/ 69 h 77"/>
                <a:gd name="T46" fmla="*/ 65 w 77"/>
                <a:gd name="T47" fmla="*/ 64 h 77"/>
                <a:gd name="T48" fmla="*/ 69 w 77"/>
                <a:gd name="T49" fmla="*/ 59 h 77"/>
                <a:gd name="T50" fmla="*/ 73 w 77"/>
                <a:gd name="T51" fmla="*/ 53 h 77"/>
                <a:gd name="T52" fmla="*/ 75 w 77"/>
                <a:gd name="T53" fmla="*/ 45 h 77"/>
                <a:gd name="T54" fmla="*/ 77 w 77"/>
                <a:gd name="T55" fmla="*/ 39 h 77"/>
                <a:gd name="T56" fmla="*/ 77 w 77"/>
                <a:gd name="T57" fmla="*/ 39 h 77"/>
                <a:gd name="T58" fmla="*/ 75 w 77"/>
                <a:gd name="T59" fmla="*/ 31 h 77"/>
                <a:gd name="T60" fmla="*/ 73 w 77"/>
                <a:gd name="T61" fmla="*/ 23 h 77"/>
                <a:gd name="T62" fmla="*/ 69 w 77"/>
                <a:gd name="T63" fmla="*/ 16 h 77"/>
                <a:gd name="T64" fmla="*/ 65 w 77"/>
                <a:gd name="T65" fmla="*/ 12 h 77"/>
                <a:gd name="T66" fmla="*/ 59 w 77"/>
                <a:gd name="T67" fmla="*/ 7 h 77"/>
                <a:gd name="T68" fmla="*/ 53 w 77"/>
                <a:gd name="T69" fmla="*/ 4 h 77"/>
                <a:gd name="T70" fmla="*/ 45 w 77"/>
                <a:gd name="T71" fmla="*/ 0 h 77"/>
                <a:gd name="T72" fmla="*/ 38 w 77"/>
                <a:gd name="T73" fmla="*/ 0 h 77"/>
                <a:gd name="T74" fmla="*/ 38 w 77"/>
                <a:gd name="T75" fmla="*/ 0 h 77"/>
                <a:gd name="T76" fmla="*/ 38 w 77"/>
                <a:gd name="T77" fmla="*/ 58 h 77"/>
                <a:gd name="T78" fmla="*/ 38 w 77"/>
                <a:gd name="T79" fmla="*/ 58 h 77"/>
                <a:gd name="T80" fmla="*/ 30 w 77"/>
                <a:gd name="T81" fmla="*/ 56 h 77"/>
                <a:gd name="T82" fmla="*/ 24 w 77"/>
                <a:gd name="T83" fmla="*/ 52 h 77"/>
                <a:gd name="T84" fmla="*/ 21 w 77"/>
                <a:gd name="T85" fmla="*/ 45 h 77"/>
                <a:gd name="T86" fmla="*/ 19 w 77"/>
                <a:gd name="T87" fmla="*/ 39 h 77"/>
                <a:gd name="T88" fmla="*/ 19 w 77"/>
                <a:gd name="T89" fmla="*/ 39 h 77"/>
                <a:gd name="T90" fmla="*/ 21 w 77"/>
                <a:gd name="T91" fmla="*/ 31 h 77"/>
                <a:gd name="T92" fmla="*/ 24 w 77"/>
                <a:gd name="T93" fmla="*/ 24 h 77"/>
                <a:gd name="T94" fmla="*/ 30 w 77"/>
                <a:gd name="T95" fmla="*/ 20 h 77"/>
                <a:gd name="T96" fmla="*/ 38 w 77"/>
                <a:gd name="T97" fmla="*/ 20 h 77"/>
                <a:gd name="T98" fmla="*/ 38 w 77"/>
                <a:gd name="T99" fmla="*/ 20 h 77"/>
                <a:gd name="T100" fmla="*/ 45 w 77"/>
                <a:gd name="T101" fmla="*/ 20 h 77"/>
                <a:gd name="T102" fmla="*/ 51 w 77"/>
                <a:gd name="T103" fmla="*/ 24 h 77"/>
                <a:gd name="T104" fmla="*/ 56 w 77"/>
                <a:gd name="T105" fmla="*/ 31 h 77"/>
                <a:gd name="T106" fmla="*/ 57 w 77"/>
                <a:gd name="T107" fmla="*/ 39 h 77"/>
                <a:gd name="T108" fmla="*/ 57 w 77"/>
                <a:gd name="T109" fmla="*/ 39 h 77"/>
                <a:gd name="T110" fmla="*/ 56 w 77"/>
                <a:gd name="T111" fmla="*/ 45 h 77"/>
                <a:gd name="T112" fmla="*/ 51 w 77"/>
                <a:gd name="T113" fmla="*/ 52 h 77"/>
                <a:gd name="T114" fmla="*/ 45 w 77"/>
                <a:gd name="T115" fmla="*/ 56 h 77"/>
                <a:gd name="T116" fmla="*/ 38 w 77"/>
                <a:gd name="T117" fmla="*/ 58 h 77"/>
                <a:gd name="T118" fmla="*/ 38 w 77"/>
                <a:gd name="T119" fmla="*/ 5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7" h="77">
                  <a:moveTo>
                    <a:pt x="38" y="0"/>
                  </a:moveTo>
                  <a:lnTo>
                    <a:pt x="38" y="0"/>
                  </a:lnTo>
                  <a:lnTo>
                    <a:pt x="30" y="0"/>
                  </a:lnTo>
                  <a:lnTo>
                    <a:pt x="22" y="4"/>
                  </a:lnTo>
                  <a:lnTo>
                    <a:pt x="16" y="7"/>
                  </a:lnTo>
                  <a:lnTo>
                    <a:pt x="11" y="12"/>
                  </a:lnTo>
                  <a:lnTo>
                    <a:pt x="6" y="16"/>
                  </a:lnTo>
                  <a:lnTo>
                    <a:pt x="3" y="23"/>
                  </a:lnTo>
                  <a:lnTo>
                    <a:pt x="0" y="31"/>
                  </a:lnTo>
                  <a:lnTo>
                    <a:pt x="0" y="39"/>
                  </a:lnTo>
                  <a:lnTo>
                    <a:pt x="0" y="39"/>
                  </a:lnTo>
                  <a:lnTo>
                    <a:pt x="0" y="45"/>
                  </a:lnTo>
                  <a:lnTo>
                    <a:pt x="3" y="53"/>
                  </a:lnTo>
                  <a:lnTo>
                    <a:pt x="6" y="59"/>
                  </a:lnTo>
                  <a:lnTo>
                    <a:pt x="11" y="64"/>
                  </a:lnTo>
                  <a:lnTo>
                    <a:pt x="16" y="69"/>
                  </a:lnTo>
                  <a:lnTo>
                    <a:pt x="22" y="74"/>
                  </a:lnTo>
                  <a:lnTo>
                    <a:pt x="30" y="75"/>
                  </a:lnTo>
                  <a:lnTo>
                    <a:pt x="38" y="77"/>
                  </a:lnTo>
                  <a:lnTo>
                    <a:pt x="38" y="77"/>
                  </a:lnTo>
                  <a:lnTo>
                    <a:pt x="45" y="75"/>
                  </a:lnTo>
                  <a:lnTo>
                    <a:pt x="53" y="74"/>
                  </a:lnTo>
                  <a:lnTo>
                    <a:pt x="59" y="69"/>
                  </a:lnTo>
                  <a:lnTo>
                    <a:pt x="65" y="64"/>
                  </a:lnTo>
                  <a:lnTo>
                    <a:pt x="69" y="59"/>
                  </a:lnTo>
                  <a:lnTo>
                    <a:pt x="73" y="53"/>
                  </a:lnTo>
                  <a:lnTo>
                    <a:pt x="75" y="45"/>
                  </a:lnTo>
                  <a:lnTo>
                    <a:pt x="77" y="39"/>
                  </a:lnTo>
                  <a:lnTo>
                    <a:pt x="77" y="39"/>
                  </a:lnTo>
                  <a:lnTo>
                    <a:pt x="75" y="31"/>
                  </a:lnTo>
                  <a:lnTo>
                    <a:pt x="73" y="23"/>
                  </a:lnTo>
                  <a:lnTo>
                    <a:pt x="69" y="16"/>
                  </a:lnTo>
                  <a:lnTo>
                    <a:pt x="65" y="12"/>
                  </a:lnTo>
                  <a:lnTo>
                    <a:pt x="59" y="7"/>
                  </a:lnTo>
                  <a:lnTo>
                    <a:pt x="53" y="4"/>
                  </a:lnTo>
                  <a:lnTo>
                    <a:pt x="45" y="0"/>
                  </a:lnTo>
                  <a:lnTo>
                    <a:pt x="38" y="0"/>
                  </a:lnTo>
                  <a:lnTo>
                    <a:pt x="38" y="0"/>
                  </a:lnTo>
                  <a:close/>
                  <a:moveTo>
                    <a:pt x="38" y="58"/>
                  </a:moveTo>
                  <a:lnTo>
                    <a:pt x="38" y="58"/>
                  </a:lnTo>
                  <a:lnTo>
                    <a:pt x="30" y="56"/>
                  </a:lnTo>
                  <a:lnTo>
                    <a:pt x="24" y="52"/>
                  </a:lnTo>
                  <a:lnTo>
                    <a:pt x="21" y="45"/>
                  </a:lnTo>
                  <a:lnTo>
                    <a:pt x="19" y="39"/>
                  </a:lnTo>
                  <a:lnTo>
                    <a:pt x="19" y="39"/>
                  </a:lnTo>
                  <a:lnTo>
                    <a:pt x="21" y="31"/>
                  </a:lnTo>
                  <a:lnTo>
                    <a:pt x="24" y="24"/>
                  </a:lnTo>
                  <a:lnTo>
                    <a:pt x="30" y="20"/>
                  </a:lnTo>
                  <a:lnTo>
                    <a:pt x="38" y="20"/>
                  </a:lnTo>
                  <a:lnTo>
                    <a:pt x="38" y="20"/>
                  </a:lnTo>
                  <a:lnTo>
                    <a:pt x="45" y="20"/>
                  </a:lnTo>
                  <a:lnTo>
                    <a:pt x="51" y="24"/>
                  </a:lnTo>
                  <a:lnTo>
                    <a:pt x="56" y="31"/>
                  </a:lnTo>
                  <a:lnTo>
                    <a:pt x="57" y="39"/>
                  </a:lnTo>
                  <a:lnTo>
                    <a:pt x="57" y="39"/>
                  </a:lnTo>
                  <a:lnTo>
                    <a:pt x="56" y="45"/>
                  </a:lnTo>
                  <a:lnTo>
                    <a:pt x="51" y="52"/>
                  </a:lnTo>
                  <a:lnTo>
                    <a:pt x="45" y="56"/>
                  </a:lnTo>
                  <a:lnTo>
                    <a:pt x="38" y="58"/>
                  </a:lnTo>
                  <a:lnTo>
                    <a:pt x="38" y="58"/>
                  </a:ln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Open Sans"/>
                <a:ea typeface="+mn-ea"/>
                <a:cs typeface="+mn-cs"/>
              </a:endParaRPr>
            </a:p>
          </p:txBody>
        </p:sp>
        <p:sp>
          <p:nvSpPr>
            <p:cNvPr id="23" name="Freeform 28">
              <a:extLst>
                <a:ext uri="{FF2B5EF4-FFF2-40B4-BE49-F238E27FC236}">
                  <a16:creationId xmlns:a16="http://schemas.microsoft.com/office/drawing/2014/main" id="{D35BE88D-0D3B-4587-BD3F-8BD0ADA16613}"/>
                </a:ext>
              </a:extLst>
            </p:cNvPr>
            <p:cNvSpPr>
              <a:spLocks noEditPoints="1"/>
            </p:cNvSpPr>
            <p:nvPr/>
          </p:nvSpPr>
          <p:spPr bwMode="auto">
            <a:xfrm>
              <a:off x="8969376" y="2038350"/>
              <a:ext cx="60325" cy="61913"/>
            </a:xfrm>
            <a:custGeom>
              <a:avLst/>
              <a:gdLst>
                <a:gd name="T0" fmla="*/ 38 w 77"/>
                <a:gd name="T1" fmla="*/ 0 h 77"/>
                <a:gd name="T2" fmla="*/ 38 w 77"/>
                <a:gd name="T3" fmla="*/ 0 h 77"/>
                <a:gd name="T4" fmla="*/ 30 w 77"/>
                <a:gd name="T5" fmla="*/ 0 h 77"/>
                <a:gd name="T6" fmla="*/ 24 w 77"/>
                <a:gd name="T7" fmla="*/ 4 h 77"/>
                <a:gd name="T8" fmla="*/ 18 w 77"/>
                <a:gd name="T9" fmla="*/ 7 h 77"/>
                <a:gd name="T10" fmla="*/ 11 w 77"/>
                <a:gd name="T11" fmla="*/ 12 h 77"/>
                <a:gd name="T12" fmla="*/ 6 w 77"/>
                <a:gd name="T13" fmla="*/ 16 h 77"/>
                <a:gd name="T14" fmla="*/ 3 w 77"/>
                <a:gd name="T15" fmla="*/ 23 h 77"/>
                <a:gd name="T16" fmla="*/ 2 w 77"/>
                <a:gd name="T17" fmla="*/ 31 h 77"/>
                <a:gd name="T18" fmla="*/ 0 w 77"/>
                <a:gd name="T19" fmla="*/ 39 h 77"/>
                <a:gd name="T20" fmla="*/ 0 w 77"/>
                <a:gd name="T21" fmla="*/ 39 h 77"/>
                <a:gd name="T22" fmla="*/ 2 w 77"/>
                <a:gd name="T23" fmla="*/ 45 h 77"/>
                <a:gd name="T24" fmla="*/ 3 w 77"/>
                <a:gd name="T25" fmla="*/ 53 h 77"/>
                <a:gd name="T26" fmla="*/ 6 w 77"/>
                <a:gd name="T27" fmla="*/ 59 h 77"/>
                <a:gd name="T28" fmla="*/ 11 w 77"/>
                <a:gd name="T29" fmla="*/ 64 h 77"/>
                <a:gd name="T30" fmla="*/ 18 w 77"/>
                <a:gd name="T31" fmla="*/ 69 h 77"/>
                <a:gd name="T32" fmla="*/ 24 w 77"/>
                <a:gd name="T33" fmla="*/ 74 h 77"/>
                <a:gd name="T34" fmla="*/ 30 w 77"/>
                <a:gd name="T35" fmla="*/ 75 h 77"/>
                <a:gd name="T36" fmla="*/ 38 w 77"/>
                <a:gd name="T37" fmla="*/ 77 h 77"/>
                <a:gd name="T38" fmla="*/ 38 w 77"/>
                <a:gd name="T39" fmla="*/ 77 h 77"/>
                <a:gd name="T40" fmla="*/ 46 w 77"/>
                <a:gd name="T41" fmla="*/ 75 h 77"/>
                <a:gd name="T42" fmla="*/ 53 w 77"/>
                <a:gd name="T43" fmla="*/ 74 h 77"/>
                <a:gd name="T44" fmla="*/ 59 w 77"/>
                <a:gd name="T45" fmla="*/ 69 h 77"/>
                <a:gd name="T46" fmla="*/ 66 w 77"/>
                <a:gd name="T47" fmla="*/ 64 h 77"/>
                <a:gd name="T48" fmla="*/ 70 w 77"/>
                <a:gd name="T49" fmla="*/ 59 h 77"/>
                <a:gd name="T50" fmla="*/ 74 w 77"/>
                <a:gd name="T51" fmla="*/ 53 h 77"/>
                <a:gd name="T52" fmla="*/ 75 w 77"/>
                <a:gd name="T53" fmla="*/ 45 h 77"/>
                <a:gd name="T54" fmla="*/ 77 w 77"/>
                <a:gd name="T55" fmla="*/ 39 h 77"/>
                <a:gd name="T56" fmla="*/ 77 w 77"/>
                <a:gd name="T57" fmla="*/ 39 h 77"/>
                <a:gd name="T58" fmla="*/ 75 w 77"/>
                <a:gd name="T59" fmla="*/ 31 h 77"/>
                <a:gd name="T60" fmla="*/ 74 w 77"/>
                <a:gd name="T61" fmla="*/ 23 h 77"/>
                <a:gd name="T62" fmla="*/ 70 w 77"/>
                <a:gd name="T63" fmla="*/ 16 h 77"/>
                <a:gd name="T64" fmla="*/ 66 w 77"/>
                <a:gd name="T65" fmla="*/ 12 h 77"/>
                <a:gd name="T66" fmla="*/ 59 w 77"/>
                <a:gd name="T67" fmla="*/ 7 h 77"/>
                <a:gd name="T68" fmla="*/ 53 w 77"/>
                <a:gd name="T69" fmla="*/ 4 h 77"/>
                <a:gd name="T70" fmla="*/ 46 w 77"/>
                <a:gd name="T71" fmla="*/ 0 h 77"/>
                <a:gd name="T72" fmla="*/ 38 w 77"/>
                <a:gd name="T73" fmla="*/ 0 h 77"/>
                <a:gd name="T74" fmla="*/ 38 w 77"/>
                <a:gd name="T75" fmla="*/ 0 h 77"/>
                <a:gd name="T76" fmla="*/ 38 w 77"/>
                <a:gd name="T77" fmla="*/ 58 h 77"/>
                <a:gd name="T78" fmla="*/ 38 w 77"/>
                <a:gd name="T79" fmla="*/ 58 h 77"/>
                <a:gd name="T80" fmla="*/ 30 w 77"/>
                <a:gd name="T81" fmla="*/ 56 h 77"/>
                <a:gd name="T82" fmla="*/ 26 w 77"/>
                <a:gd name="T83" fmla="*/ 52 h 77"/>
                <a:gd name="T84" fmla="*/ 21 w 77"/>
                <a:gd name="T85" fmla="*/ 45 h 77"/>
                <a:gd name="T86" fmla="*/ 19 w 77"/>
                <a:gd name="T87" fmla="*/ 39 h 77"/>
                <a:gd name="T88" fmla="*/ 19 w 77"/>
                <a:gd name="T89" fmla="*/ 39 h 77"/>
                <a:gd name="T90" fmla="*/ 21 w 77"/>
                <a:gd name="T91" fmla="*/ 31 h 77"/>
                <a:gd name="T92" fmla="*/ 26 w 77"/>
                <a:gd name="T93" fmla="*/ 24 h 77"/>
                <a:gd name="T94" fmla="*/ 30 w 77"/>
                <a:gd name="T95" fmla="*/ 20 h 77"/>
                <a:gd name="T96" fmla="*/ 38 w 77"/>
                <a:gd name="T97" fmla="*/ 20 h 77"/>
                <a:gd name="T98" fmla="*/ 38 w 77"/>
                <a:gd name="T99" fmla="*/ 20 h 77"/>
                <a:gd name="T100" fmla="*/ 46 w 77"/>
                <a:gd name="T101" fmla="*/ 20 h 77"/>
                <a:gd name="T102" fmla="*/ 53 w 77"/>
                <a:gd name="T103" fmla="*/ 24 h 77"/>
                <a:gd name="T104" fmla="*/ 56 w 77"/>
                <a:gd name="T105" fmla="*/ 31 h 77"/>
                <a:gd name="T106" fmla="*/ 58 w 77"/>
                <a:gd name="T107" fmla="*/ 39 h 77"/>
                <a:gd name="T108" fmla="*/ 58 w 77"/>
                <a:gd name="T109" fmla="*/ 39 h 77"/>
                <a:gd name="T110" fmla="*/ 56 w 77"/>
                <a:gd name="T111" fmla="*/ 45 h 77"/>
                <a:gd name="T112" fmla="*/ 53 w 77"/>
                <a:gd name="T113" fmla="*/ 52 h 77"/>
                <a:gd name="T114" fmla="*/ 46 w 77"/>
                <a:gd name="T115" fmla="*/ 56 h 77"/>
                <a:gd name="T116" fmla="*/ 38 w 77"/>
                <a:gd name="T117" fmla="*/ 58 h 77"/>
                <a:gd name="T118" fmla="*/ 38 w 77"/>
                <a:gd name="T119" fmla="*/ 5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7" h="77">
                  <a:moveTo>
                    <a:pt x="38" y="0"/>
                  </a:moveTo>
                  <a:lnTo>
                    <a:pt x="38" y="0"/>
                  </a:lnTo>
                  <a:lnTo>
                    <a:pt x="30" y="0"/>
                  </a:lnTo>
                  <a:lnTo>
                    <a:pt x="24" y="4"/>
                  </a:lnTo>
                  <a:lnTo>
                    <a:pt x="18" y="7"/>
                  </a:lnTo>
                  <a:lnTo>
                    <a:pt x="11" y="12"/>
                  </a:lnTo>
                  <a:lnTo>
                    <a:pt x="6" y="16"/>
                  </a:lnTo>
                  <a:lnTo>
                    <a:pt x="3" y="23"/>
                  </a:lnTo>
                  <a:lnTo>
                    <a:pt x="2" y="31"/>
                  </a:lnTo>
                  <a:lnTo>
                    <a:pt x="0" y="39"/>
                  </a:lnTo>
                  <a:lnTo>
                    <a:pt x="0" y="39"/>
                  </a:lnTo>
                  <a:lnTo>
                    <a:pt x="2" y="45"/>
                  </a:lnTo>
                  <a:lnTo>
                    <a:pt x="3" y="53"/>
                  </a:lnTo>
                  <a:lnTo>
                    <a:pt x="6" y="59"/>
                  </a:lnTo>
                  <a:lnTo>
                    <a:pt x="11" y="64"/>
                  </a:lnTo>
                  <a:lnTo>
                    <a:pt x="18" y="69"/>
                  </a:lnTo>
                  <a:lnTo>
                    <a:pt x="24" y="74"/>
                  </a:lnTo>
                  <a:lnTo>
                    <a:pt x="30" y="75"/>
                  </a:lnTo>
                  <a:lnTo>
                    <a:pt x="38" y="77"/>
                  </a:lnTo>
                  <a:lnTo>
                    <a:pt x="38" y="77"/>
                  </a:lnTo>
                  <a:lnTo>
                    <a:pt x="46" y="75"/>
                  </a:lnTo>
                  <a:lnTo>
                    <a:pt x="53" y="74"/>
                  </a:lnTo>
                  <a:lnTo>
                    <a:pt x="59" y="69"/>
                  </a:lnTo>
                  <a:lnTo>
                    <a:pt x="66" y="64"/>
                  </a:lnTo>
                  <a:lnTo>
                    <a:pt x="70" y="59"/>
                  </a:lnTo>
                  <a:lnTo>
                    <a:pt x="74" y="53"/>
                  </a:lnTo>
                  <a:lnTo>
                    <a:pt x="75" y="45"/>
                  </a:lnTo>
                  <a:lnTo>
                    <a:pt x="77" y="39"/>
                  </a:lnTo>
                  <a:lnTo>
                    <a:pt x="77" y="39"/>
                  </a:lnTo>
                  <a:lnTo>
                    <a:pt x="75" y="31"/>
                  </a:lnTo>
                  <a:lnTo>
                    <a:pt x="74" y="23"/>
                  </a:lnTo>
                  <a:lnTo>
                    <a:pt x="70" y="16"/>
                  </a:lnTo>
                  <a:lnTo>
                    <a:pt x="66" y="12"/>
                  </a:lnTo>
                  <a:lnTo>
                    <a:pt x="59" y="7"/>
                  </a:lnTo>
                  <a:lnTo>
                    <a:pt x="53" y="4"/>
                  </a:lnTo>
                  <a:lnTo>
                    <a:pt x="46" y="0"/>
                  </a:lnTo>
                  <a:lnTo>
                    <a:pt x="38" y="0"/>
                  </a:lnTo>
                  <a:lnTo>
                    <a:pt x="38" y="0"/>
                  </a:lnTo>
                  <a:close/>
                  <a:moveTo>
                    <a:pt x="38" y="58"/>
                  </a:moveTo>
                  <a:lnTo>
                    <a:pt x="38" y="58"/>
                  </a:lnTo>
                  <a:lnTo>
                    <a:pt x="30" y="56"/>
                  </a:lnTo>
                  <a:lnTo>
                    <a:pt x="26" y="52"/>
                  </a:lnTo>
                  <a:lnTo>
                    <a:pt x="21" y="45"/>
                  </a:lnTo>
                  <a:lnTo>
                    <a:pt x="19" y="39"/>
                  </a:lnTo>
                  <a:lnTo>
                    <a:pt x="19" y="39"/>
                  </a:lnTo>
                  <a:lnTo>
                    <a:pt x="21" y="31"/>
                  </a:lnTo>
                  <a:lnTo>
                    <a:pt x="26" y="24"/>
                  </a:lnTo>
                  <a:lnTo>
                    <a:pt x="30" y="20"/>
                  </a:lnTo>
                  <a:lnTo>
                    <a:pt x="38" y="20"/>
                  </a:lnTo>
                  <a:lnTo>
                    <a:pt x="38" y="20"/>
                  </a:lnTo>
                  <a:lnTo>
                    <a:pt x="46" y="20"/>
                  </a:lnTo>
                  <a:lnTo>
                    <a:pt x="53" y="24"/>
                  </a:lnTo>
                  <a:lnTo>
                    <a:pt x="56" y="31"/>
                  </a:lnTo>
                  <a:lnTo>
                    <a:pt x="58" y="39"/>
                  </a:lnTo>
                  <a:lnTo>
                    <a:pt x="58" y="39"/>
                  </a:lnTo>
                  <a:lnTo>
                    <a:pt x="56" y="45"/>
                  </a:lnTo>
                  <a:lnTo>
                    <a:pt x="53" y="52"/>
                  </a:lnTo>
                  <a:lnTo>
                    <a:pt x="46" y="56"/>
                  </a:lnTo>
                  <a:lnTo>
                    <a:pt x="38" y="58"/>
                  </a:lnTo>
                  <a:lnTo>
                    <a:pt x="38" y="58"/>
                  </a:ln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Open Sans"/>
                <a:ea typeface="+mn-ea"/>
                <a:cs typeface="+mn-cs"/>
              </a:endParaRPr>
            </a:p>
          </p:txBody>
        </p:sp>
      </p:grpSp>
      <p:sp>
        <p:nvSpPr>
          <p:cNvPr id="24" name="Freeform 113">
            <a:extLst>
              <a:ext uri="{FF2B5EF4-FFF2-40B4-BE49-F238E27FC236}">
                <a16:creationId xmlns:a16="http://schemas.microsoft.com/office/drawing/2014/main" id="{A68E7D2F-7305-4B90-92A6-FF97805C5DFE}"/>
              </a:ext>
            </a:extLst>
          </p:cNvPr>
          <p:cNvSpPr>
            <a:spLocks noEditPoints="1"/>
          </p:cNvSpPr>
          <p:nvPr/>
        </p:nvSpPr>
        <p:spPr bwMode="auto">
          <a:xfrm>
            <a:off x="8979141" y="2232788"/>
            <a:ext cx="360589" cy="362644"/>
          </a:xfrm>
          <a:custGeom>
            <a:avLst/>
            <a:gdLst>
              <a:gd name="T0" fmla="*/ 124 w 246"/>
              <a:gd name="T1" fmla="*/ 0 h 247"/>
              <a:gd name="T2" fmla="*/ 124 w 246"/>
              <a:gd name="T3" fmla="*/ 0 h 247"/>
              <a:gd name="T4" fmla="*/ 123 w 246"/>
              <a:gd name="T5" fmla="*/ 0 h 247"/>
              <a:gd name="T6" fmla="*/ 122 w 246"/>
              <a:gd name="T7" fmla="*/ 0 h 247"/>
              <a:gd name="T8" fmla="*/ 122 w 246"/>
              <a:gd name="T9" fmla="*/ 247 h 247"/>
              <a:gd name="T10" fmla="*/ 123 w 246"/>
              <a:gd name="T11" fmla="*/ 247 h 247"/>
              <a:gd name="T12" fmla="*/ 124 w 246"/>
              <a:gd name="T13" fmla="*/ 247 h 247"/>
              <a:gd name="T14" fmla="*/ 124 w 246"/>
              <a:gd name="T15" fmla="*/ 247 h 247"/>
              <a:gd name="T16" fmla="*/ 10 w 246"/>
              <a:gd name="T17" fmla="*/ 129 h 247"/>
              <a:gd name="T18" fmla="*/ 64 w 246"/>
              <a:gd name="T19" fmla="*/ 174 h 247"/>
              <a:gd name="T20" fmla="*/ 10 w 246"/>
              <a:gd name="T21" fmla="*/ 129 h 247"/>
              <a:gd name="T22" fmla="*/ 188 w 246"/>
              <a:gd name="T23" fmla="*/ 119 h 247"/>
              <a:gd name="T24" fmla="*/ 225 w 246"/>
              <a:gd name="T25" fmla="*/ 74 h 247"/>
              <a:gd name="T26" fmla="*/ 178 w 246"/>
              <a:gd name="T27" fmla="*/ 119 h 247"/>
              <a:gd name="T28" fmla="*/ 128 w 246"/>
              <a:gd name="T29" fmla="*/ 74 h 247"/>
              <a:gd name="T30" fmla="*/ 178 w 246"/>
              <a:gd name="T31" fmla="*/ 119 h 247"/>
              <a:gd name="T32" fmla="*/ 128 w 246"/>
              <a:gd name="T33" fmla="*/ 11 h 247"/>
              <a:gd name="T34" fmla="*/ 128 w 246"/>
              <a:gd name="T35" fmla="*/ 64 h 247"/>
              <a:gd name="T36" fmla="*/ 118 w 246"/>
              <a:gd name="T37" fmla="*/ 64 h 247"/>
              <a:gd name="T38" fmla="*/ 118 w 246"/>
              <a:gd name="T39" fmla="*/ 11 h 247"/>
              <a:gd name="T40" fmla="*/ 118 w 246"/>
              <a:gd name="T41" fmla="*/ 119 h 247"/>
              <a:gd name="T42" fmla="*/ 74 w 246"/>
              <a:gd name="T43" fmla="*/ 74 h 247"/>
              <a:gd name="T44" fmla="*/ 59 w 246"/>
              <a:gd name="T45" fmla="*/ 119 h 247"/>
              <a:gd name="T46" fmla="*/ 21 w 246"/>
              <a:gd name="T47" fmla="*/ 74 h 247"/>
              <a:gd name="T48" fmla="*/ 59 w 246"/>
              <a:gd name="T49" fmla="*/ 119 h 247"/>
              <a:gd name="T50" fmla="*/ 118 w 246"/>
              <a:gd name="T51" fmla="*/ 129 h 247"/>
              <a:gd name="T52" fmla="*/ 74 w 246"/>
              <a:gd name="T53" fmla="*/ 174 h 247"/>
              <a:gd name="T54" fmla="*/ 118 w 246"/>
              <a:gd name="T55" fmla="*/ 184 h 247"/>
              <a:gd name="T56" fmla="*/ 77 w 246"/>
              <a:gd name="T57" fmla="*/ 184 h 247"/>
              <a:gd name="T58" fmla="*/ 128 w 246"/>
              <a:gd name="T59" fmla="*/ 237 h 247"/>
              <a:gd name="T60" fmla="*/ 169 w 246"/>
              <a:gd name="T61" fmla="*/ 184 h 247"/>
              <a:gd name="T62" fmla="*/ 128 w 246"/>
              <a:gd name="T63" fmla="*/ 174 h 247"/>
              <a:gd name="T64" fmla="*/ 178 w 246"/>
              <a:gd name="T65" fmla="*/ 129 h 247"/>
              <a:gd name="T66" fmla="*/ 128 w 246"/>
              <a:gd name="T67" fmla="*/ 174 h 247"/>
              <a:gd name="T68" fmla="*/ 236 w 246"/>
              <a:gd name="T69" fmla="*/ 129 h 247"/>
              <a:gd name="T70" fmla="*/ 183 w 246"/>
              <a:gd name="T71" fmla="*/ 174 h 247"/>
              <a:gd name="T72" fmla="*/ 220 w 246"/>
              <a:gd name="T73" fmla="*/ 64 h 247"/>
              <a:gd name="T74" fmla="*/ 154 w 246"/>
              <a:gd name="T75" fmla="*/ 15 h 247"/>
              <a:gd name="T76" fmla="*/ 92 w 246"/>
              <a:gd name="T77" fmla="*/ 14 h 247"/>
              <a:gd name="T78" fmla="*/ 26 w 246"/>
              <a:gd name="T79" fmla="*/ 64 h 247"/>
              <a:gd name="T80" fmla="*/ 27 w 246"/>
              <a:gd name="T81" fmla="*/ 184 h 247"/>
              <a:gd name="T82" fmla="*/ 92 w 246"/>
              <a:gd name="T83" fmla="*/ 233 h 247"/>
              <a:gd name="T84" fmla="*/ 154 w 246"/>
              <a:gd name="T85" fmla="*/ 233 h 247"/>
              <a:gd name="T86" fmla="*/ 219 w 246"/>
              <a:gd name="T87" fmla="*/ 184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6" h="247">
                <a:moveTo>
                  <a:pt x="246" y="124"/>
                </a:moveTo>
                <a:cubicBezTo>
                  <a:pt x="246" y="56"/>
                  <a:pt x="192" y="1"/>
                  <a:pt x="124" y="0"/>
                </a:cubicBezTo>
                <a:cubicBezTo>
                  <a:pt x="124" y="0"/>
                  <a:pt x="124" y="0"/>
                  <a:pt x="124" y="0"/>
                </a:cubicBezTo>
                <a:cubicBezTo>
                  <a:pt x="124" y="0"/>
                  <a:pt x="124" y="0"/>
                  <a:pt x="124" y="0"/>
                </a:cubicBezTo>
                <a:cubicBezTo>
                  <a:pt x="123" y="0"/>
                  <a:pt x="123" y="0"/>
                  <a:pt x="123" y="0"/>
                </a:cubicBezTo>
                <a:cubicBezTo>
                  <a:pt x="123" y="0"/>
                  <a:pt x="123" y="0"/>
                  <a:pt x="123" y="0"/>
                </a:cubicBezTo>
                <a:cubicBezTo>
                  <a:pt x="123" y="0"/>
                  <a:pt x="123" y="0"/>
                  <a:pt x="123" y="0"/>
                </a:cubicBezTo>
                <a:cubicBezTo>
                  <a:pt x="123" y="0"/>
                  <a:pt x="122" y="0"/>
                  <a:pt x="122" y="0"/>
                </a:cubicBezTo>
                <a:cubicBezTo>
                  <a:pt x="55" y="1"/>
                  <a:pt x="0" y="56"/>
                  <a:pt x="0" y="124"/>
                </a:cubicBezTo>
                <a:cubicBezTo>
                  <a:pt x="0" y="191"/>
                  <a:pt x="55" y="247"/>
                  <a:pt x="122" y="247"/>
                </a:cubicBezTo>
                <a:cubicBezTo>
                  <a:pt x="122" y="247"/>
                  <a:pt x="123" y="247"/>
                  <a:pt x="123" y="247"/>
                </a:cubicBezTo>
                <a:cubicBezTo>
                  <a:pt x="123" y="247"/>
                  <a:pt x="123" y="247"/>
                  <a:pt x="123" y="247"/>
                </a:cubicBezTo>
                <a:cubicBezTo>
                  <a:pt x="123" y="247"/>
                  <a:pt x="123" y="247"/>
                  <a:pt x="123" y="247"/>
                </a:cubicBezTo>
                <a:cubicBezTo>
                  <a:pt x="123" y="247"/>
                  <a:pt x="123" y="247"/>
                  <a:pt x="124" y="247"/>
                </a:cubicBezTo>
                <a:cubicBezTo>
                  <a:pt x="124" y="247"/>
                  <a:pt x="124" y="247"/>
                  <a:pt x="124" y="247"/>
                </a:cubicBezTo>
                <a:cubicBezTo>
                  <a:pt x="124" y="247"/>
                  <a:pt x="124" y="247"/>
                  <a:pt x="124" y="247"/>
                </a:cubicBezTo>
                <a:cubicBezTo>
                  <a:pt x="192" y="246"/>
                  <a:pt x="246" y="191"/>
                  <a:pt x="246" y="124"/>
                </a:cubicBezTo>
                <a:close/>
                <a:moveTo>
                  <a:pt x="10" y="129"/>
                </a:moveTo>
                <a:cubicBezTo>
                  <a:pt x="59" y="129"/>
                  <a:pt x="59" y="129"/>
                  <a:pt x="59" y="129"/>
                </a:cubicBezTo>
                <a:cubicBezTo>
                  <a:pt x="59" y="145"/>
                  <a:pt x="61" y="160"/>
                  <a:pt x="64" y="174"/>
                </a:cubicBezTo>
                <a:cubicBezTo>
                  <a:pt x="21" y="174"/>
                  <a:pt x="21" y="174"/>
                  <a:pt x="21" y="174"/>
                </a:cubicBezTo>
                <a:cubicBezTo>
                  <a:pt x="15" y="160"/>
                  <a:pt x="10" y="145"/>
                  <a:pt x="10" y="129"/>
                </a:cubicBezTo>
                <a:close/>
                <a:moveTo>
                  <a:pt x="236" y="119"/>
                </a:moveTo>
                <a:cubicBezTo>
                  <a:pt x="188" y="119"/>
                  <a:pt x="188" y="119"/>
                  <a:pt x="188" y="119"/>
                </a:cubicBezTo>
                <a:cubicBezTo>
                  <a:pt x="187" y="103"/>
                  <a:pt x="186" y="88"/>
                  <a:pt x="183" y="74"/>
                </a:cubicBezTo>
                <a:cubicBezTo>
                  <a:pt x="225" y="74"/>
                  <a:pt x="225" y="74"/>
                  <a:pt x="225" y="74"/>
                </a:cubicBezTo>
                <a:cubicBezTo>
                  <a:pt x="232" y="88"/>
                  <a:pt x="236" y="103"/>
                  <a:pt x="236" y="119"/>
                </a:cubicBezTo>
                <a:close/>
                <a:moveTo>
                  <a:pt x="178" y="119"/>
                </a:moveTo>
                <a:cubicBezTo>
                  <a:pt x="128" y="119"/>
                  <a:pt x="128" y="119"/>
                  <a:pt x="128" y="119"/>
                </a:cubicBezTo>
                <a:cubicBezTo>
                  <a:pt x="128" y="74"/>
                  <a:pt x="128" y="74"/>
                  <a:pt x="128" y="74"/>
                </a:cubicBezTo>
                <a:cubicBezTo>
                  <a:pt x="172" y="74"/>
                  <a:pt x="172" y="74"/>
                  <a:pt x="172" y="74"/>
                </a:cubicBezTo>
                <a:cubicBezTo>
                  <a:pt x="175" y="88"/>
                  <a:pt x="177" y="103"/>
                  <a:pt x="178" y="119"/>
                </a:cubicBezTo>
                <a:close/>
                <a:moveTo>
                  <a:pt x="128" y="64"/>
                </a:moveTo>
                <a:cubicBezTo>
                  <a:pt x="128" y="11"/>
                  <a:pt x="128" y="11"/>
                  <a:pt x="128" y="11"/>
                </a:cubicBezTo>
                <a:cubicBezTo>
                  <a:pt x="145" y="14"/>
                  <a:pt x="161" y="34"/>
                  <a:pt x="170" y="64"/>
                </a:cubicBezTo>
                <a:lnTo>
                  <a:pt x="128" y="64"/>
                </a:lnTo>
                <a:close/>
                <a:moveTo>
                  <a:pt x="118" y="11"/>
                </a:moveTo>
                <a:cubicBezTo>
                  <a:pt x="118" y="64"/>
                  <a:pt x="118" y="64"/>
                  <a:pt x="118" y="64"/>
                </a:cubicBezTo>
                <a:cubicBezTo>
                  <a:pt x="77" y="64"/>
                  <a:pt x="77" y="64"/>
                  <a:pt x="77" y="64"/>
                </a:cubicBezTo>
                <a:cubicBezTo>
                  <a:pt x="86" y="35"/>
                  <a:pt x="101" y="14"/>
                  <a:pt x="118" y="11"/>
                </a:cubicBezTo>
                <a:close/>
                <a:moveTo>
                  <a:pt x="118" y="74"/>
                </a:moveTo>
                <a:cubicBezTo>
                  <a:pt x="118" y="119"/>
                  <a:pt x="118" y="119"/>
                  <a:pt x="118" y="119"/>
                </a:cubicBezTo>
                <a:cubicBezTo>
                  <a:pt x="69" y="119"/>
                  <a:pt x="69" y="119"/>
                  <a:pt x="69" y="119"/>
                </a:cubicBezTo>
                <a:cubicBezTo>
                  <a:pt x="69" y="103"/>
                  <a:pt x="71" y="88"/>
                  <a:pt x="74" y="74"/>
                </a:cubicBezTo>
                <a:lnTo>
                  <a:pt x="118" y="74"/>
                </a:lnTo>
                <a:close/>
                <a:moveTo>
                  <a:pt x="59" y="119"/>
                </a:moveTo>
                <a:cubicBezTo>
                  <a:pt x="10" y="119"/>
                  <a:pt x="10" y="119"/>
                  <a:pt x="10" y="119"/>
                </a:cubicBezTo>
                <a:cubicBezTo>
                  <a:pt x="10" y="103"/>
                  <a:pt x="14" y="88"/>
                  <a:pt x="21" y="74"/>
                </a:cubicBezTo>
                <a:cubicBezTo>
                  <a:pt x="64" y="74"/>
                  <a:pt x="64" y="74"/>
                  <a:pt x="64" y="74"/>
                </a:cubicBezTo>
                <a:cubicBezTo>
                  <a:pt x="61" y="88"/>
                  <a:pt x="59" y="103"/>
                  <a:pt x="59" y="119"/>
                </a:cubicBezTo>
                <a:close/>
                <a:moveTo>
                  <a:pt x="69" y="129"/>
                </a:moveTo>
                <a:cubicBezTo>
                  <a:pt x="118" y="129"/>
                  <a:pt x="118" y="129"/>
                  <a:pt x="118" y="129"/>
                </a:cubicBezTo>
                <a:cubicBezTo>
                  <a:pt x="118" y="174"/>
                  <a:pt x="118" y="174"/>
                  <a:pt x="118" y="174"/>
                </a:cubicBezTo>
                <a:cubicBezTo>
                  <a:pt x="74" y="174"/>
                  <a:pt x="74" y="174"/>
                  <a:pt x="74" y="174"/>
                </a:cubicBezTo>
                <a:cubicBezTo>
                  <a:pt x="71" y="160"/>
                  <a:pt x="69" y="145"/>
                  <a:pt x="69" y="129"/>
                </a:cubicBezTo>
                <a:close/>
                <a:moveTo>
                  <a:pt x="118" y="184"/>
                </a:moveTo>
                <a:cubicBezTo>
                  <a:pt x="118" y="236"/>
                  <a:pt x="118" y="236"/>
                  <a:pt x="118" y="236"/>
                </a:cubicBezTo>
                <a:cubicBezTo>
                  <a:pt x="101" y="233"/>
                  <a:pt x="86" y="213"/>
                  <a:pt x="77" y="184"/>
                </a:cubicBezTo>
                <a:lnTo>
                  <a:pt x="118" y="184"/>
                </a:lnTo>
                <a:close/>
                <a:moveTo>
                  <a:pt x="128" y="237"/>
                </a:moveTo>
                <a:cubicBezTo>
                  <a:pt x="128" y="184"/>
                  <a:pt x="128" y="184"/>
                  <a:pt x="128" y="184"/>
                </a:cubicBezTo>
                <a:cubicBezTo>
                  <a:pt x="169" y="184"/>
                  <a:pt x="169" y="184"/>
                  <a:pt x="169" y="184"/>
                </a:cubicBezTo>
                <a:cubicBezTo>
                  <a:pt x="160" y="213"/>
                  <a:pt x="145" y="233"/>
                  <a:pt x="128" y="237"/>
                </a:cubicBezTo>
                <a:close/>
                <a:moveTo>
                  <a:pt x="128" y="174"/>
                </a:moveTo>
                <a:cubicBezTo>
                  <a:pt x="128" y="129"/>
                  <a:pt x="128" y="129"/>
                  <a:pt x="128" y="129"/>
                </a:cubicBezTo>
                <a:cubicBezTo>
                  <a:pt x="178" y="129"/>
                  <a:pt x="178" y="129"/>
                  <a:pt x="178" y="129"/>
                </a:cubicBezTo>
                <a:cubicBezTo>
                  <a:pt x="177" y="145"/>
                  <a:pt x="175" y="160"/>
                  <a:pt x="172" y="174"/>
                </a:cubicBezTo>
                <a:lnTo>
                  <a:pt x="128" y="174"/>
                </a:lnTo>
                <a:close/>
                <a:moveTo>
                  <a:pt x="188" y="129"/>
                </a:moveTo>
                <a:cubicBezTo>
                  <a:pt x="236" y="129"/>
                  <a:pt x="236" y="129"/>
                  <a:pt x="236" y="129"/>
                </a:cubicBezTo>
                <a:cubicBezTo>
                  <a:pt x="236" y="145"/>
                  <a:pt x="232" y="160"/>
                  <a:pt x="225" y="174"/>
                </a:cubicBezTo>
                <a:cubicBezTo>
                  <a:pt x="183" y="174"/>
                  <a:pt x="183" y="174"/>
                  <a:pt x="183" y="174"/>
                </a:cubicBezTo>
                <a:cubicBezTo>
                  <a:pt x="186" y="160"/>
                  <a:pt x="187" y="145"/>
                  <a:pt x="188" y="129"/>
                </a:cubicBezTo>
                <a:close/>
                <a:moveTo>
                  <a:pt x="220" y="64"/>
                </a:moveTo>
                <a:cubicBezTo>
                  <a:pt x="180" y="64"/>
                  <a:pt x="180" y="64"/>
                  <a:pt x="180" y="64"/>
                </a:cubicBezTo>
                <a:cubicBezTo>
                  <a:pt x="174" y="43"/>
                  <a:pt x="165" y="26"/>
                  <a:pt x="154" y="15"/>
                </a:cubicBezTo>
                <a:cubicBezTo>
                  <a:pt x="182" y="22"/>
                  <a:pt x="205" y="40"/>
                  <a:pt x="220" y="64"/>
                </a:cubicBezTo>
                <a:close/>
                <a:moveTo>
                  <a:pt x="92" y="14"/>
                </a:moveTo>
                <a:cubicBezTo>
                  <a:pt x="81" y="26"/>
                  <a:pt x="72" y="43"/>
                  <a:pt x="66" y="64"/>
                </a:cubicBezTo>
                <a:cubicBezTo>
                  <a:pt x="26" y="64"/>
                  <a:pt x="26" y="64"/>
                  <a:pt x="26" y="64"/>
                </a:cubicBezTo>
                <a:cubicBezTo>
                  <a:pt x="41" y="40"/>
                  <a:pt x="65" y="22"/>
                  <a:pt x="92" y="14"/>
                </a:cubicBezTo>
                <a:close/>
                <a:moveTo>
                  <a:pt x="27" y="184"/>
                </a:moveTo>
                <a:cubicBezTo>
                  <a:pt x="66" y="184"/>
                  <a:pt x="66" y="184"/>
                  <a:pt x="66" y="184"/>
                </a:cubicBezTo>
                <a:cubicBezTo>
                  <a:pt x="72" y="205"/>
                  <a:pt x="81" y="222"/>
                  <a:pt x="92" y="233"/>
                </a:cubicBezTo>
                <a:cubicBezTo>
                  <a:pt x="65" y="225"/>
                  <a:pt x="42" y="207"/>
                  <a:pt x="27" y="184"/>
                </a:cubicBezTo>
                <a:close/>
                <a:moveTo>
                  <a:pt x="154" y="233"/>
                </a:moveTo>
                <a:cubicBezTo>
                  <a:pt x="165" y="221"/>
                  <a:pt x="174" y="204"/>
                  <a:pt x="180" y="184"/>
                </a:cubicBezTo>
                <a:cubicBezTo>
                  <a:pt x="219" y="184"/>
                  <a:pt x="219" y="184"/>
                  <a:pt x="219" y="184"/>
                </a:cubicBezTo>
                <a:cubicBezTo>
                  <a:pt x="204" y="207"/>
                  <a:pt x="181" y="225"/>
                  <a:pt x="154" y="233"/>
                </a:cubicBezTo>
                <a:close/>
              </a:path>
            </a:pathLst>
          </a:custGeom>
          <a:solidFill>
            <a:schemeClr val="accent3"/>
          </a:solidFill>
          <a:ln>
            <a:solidFill>
              <a:schemeClr val="accent3"/>
            </a:solidFill>
          </a:ln>
        </p:spPr>
        <p:txBody>
          <a:bodyPr vert="horz" wrap="square" lIns="65314" tIns="32657" rIns="65314" bIns="32657" numCol="1" anchor="t" anchorCtr="0" compatLnSpc="1">
            <a:prstTxWarp prst="textNoShape">
              <a:avLst/>
            </a:prstTxWarp>
          </a:bodyPr>
          <a:lstStyle/>
          <a:p>
            <a:pPr marL="0" marR="0" lvl="0" indent="0" algn="l" defTabSz="839763" rtl="0" eaLnBrk="1" fontAlgn="auto" latinLnBrk="0" hangingPunct="1">
              <a:lnSpc>
                <a:spcPct val="100000"/>
              </a:lnSpc>
              <a:spcBef>
                <a:spcPts val="0"/>
              </a:spcBef>
              <a:spcAft>
                <a:spcPts val="0"/>
              </a:spcAft>
              <a:buClrTx/>
              <a:buSzTx/>
              <a:buFontTx/>
              <a:buNone/>
              <a:tabLst/>
              <a:defRPr/>
            </a:pPr>
            <a:endParaRPr kumimoji="0" lang="en-US" sz="1643" b="0" i="0" u="none" strike="noStrike" kern="1200" cap="none" spc="0" normalizeH="0" baseline="0" noProof="0" dirty="0">
              <a:ln>
                <a:noFill/>
              </a:ln>
              <a:solidFill>
                <a:prstClr val="black"/>
              </a:solidFill>
              <a:effectLst/>
              <a:uLnTx/>
              <a:uFillTx/>
              <a:latin typeface="Open Sans"/>
              <a:ea typeface="+mn-ea"/>
              <a:cs typeface="+mn-cs"/>
            </a:endParaRPr>
          </a:p>
        </p:txBody>
      </p:sp>
    </p:spTree>
    <p:extLst>
      <p:ext uri="{BB962C8B-B14F-4D97-AF65-F5344CB8AC3E}">
        <p14:creationId xmlns:p14="http://schemas.microsoft.com/office/powerpoint/2010/main" val="324570052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2B7AC2-8F97-4E5B-92C9-6ADE85140A6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8"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562B7AC2-8F97-4E5B-92C9-6ADE85140A6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388FCEE-22D8-44F9-BF29-CA0D6A75D67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35B02637-A3A2-4469-890E-F300AC4A9A60}"/>
              </a:ext>
            </a:extLst>
          </p:cNvPr>
          <p:cNvSpPr>
            <a:spLocks noGrp="1"/>
          </p:cNvSpPr>
          <p:nvPr>
            <p:ph type="title"/>
          </p:nvPr>
        </p:nvSpPr>
        <p:spPr/>
        <p:txBody>
          <a:bodyPr/>
          <a:lstStyle/>
          <a:p>
            <a:r>
              <a:rPr lang="en-US" dirty="0"/>
              <a:t>Digital DNA helps answer  three important questions</a:t>
            </a:r>
          </a:p>
        </p:txBody>
      </p:sp>
      <p:sp>
        <p:nvSpPr>
          <p:cNvPr id="27" name="Text Placeholder 26">
            <a:extLst>
              <a:ext uri="{FF2B5EF4-FFF2-40B4-BE49-F238E27FC236}">
                <a16:creationId xmlns:a16="http://schemas.microsoft.com/office/drawing/2014/main" id="{8F1DEBFA-B62D-4EC1-AFD4-4A40E957281E}"/>
              </a:ext>
            </a:extLst>
          </p:cNvPr>
          <p:cNvSpPr>
            <a:spLocks noGrp="1"/>
          </p:cNvSpPr>
          <p:nvPr>
            <p:ph type="body" sz="quarter" idx="14"/>
          </p:nvPr>
        </p:nvSpPr>
        <p:spPr/>
        <p:txBody>
          <a:bodyPr/>
          <a:lstStyle/>
          <a:p>
            <a:r>
              <a:rPr lang="en-US" dirty="0"/>
              <a:t>Subtitle</a:t>
            </a:r>
          </a:p>
        </p:txBody>
      </p:sp>
      <p:sp>
        <p:nvSpPr>
          <p:cNvPr id="28" name="Text Placeholder 27">
            <a:extLst>
              <a:ext uri="{FF2B5EF4-FFF2-40B4-BE49-F238E27FC236}">
                <a16:creationId xmlns:a16="http://schemas.microsoft.com/office/drawing/2014/main" id="{C630A753-842C-420F-9013-683F3828BD2F}"/>
              </a:ext>
            </a:extLst>
          </p:cNvPr>
          <p:cNvSpPr>
            <a:spLocks noGrp="1"/>
          </p:cNvSpPr>
          <p:nvPr>
            <p:ph type="body" sz="quarter" idx="15"/>
          </p:nvPr>
        </p:nvSpPr>
        <p:spPr/>
        <p:txBody>
          <a:bodyPr/>
          <a:lstStyle/>
          <a:p>
            <a:r>
              <a:rPr lang="en-US" dirty="0"/>
              <a:t>text</a:t>
            </a:r>
          </a:p>
        </p:txBody>
      </p:sp>
      <p:pic>
        <p:nvPicPr>
          <p:cNvPr id="34" name="Picture 33">
            <a:extLst>
              <a:ext uri="{FF2B5EF4-FFF2-40B4-BE49-F238E27FC236}">
                <a16:creationId xmlns:a16="http://schemas.microsoft.com/office/drawing/2014/main" id="{AF504DB9-01F7-4213-B84A-7CE35C24B86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48376" y="4036566"/>
            <a:ext cx="1697209" cy="972586"/>
          </a:xfrm>
          <a:prstGeom prst="rect">
            <a:avLst/>
          </a:prstGeom>
          <a:solidFill>
            <a:schemeClr val="bg1"/>
          </a:solidFill>
          <a:ln>
            <a:solidFill>
              <a:schemeClr val="tx1"/>
            </a:solidFill>
          </a:ln>
        </p:spPr>
      </p:pic>
      <p:sp>
        <p:nvSpPr>
          <p:cNvPr id="35" name="Oval 34">
            <a:extLst>
              <a:ext uri="{FF2B5EF4-FFF2-40B4-BE49-F238E27FC236}">
                <a16:creationId xmlns:a16="http://schemas.microsoft.com/office/drawing/2014/main" id="{D95EA331-57BC-4B41-B7F3-323445C64994}"/>
              </a:ext>
            </a:extLst>
          </p:cNvPr>
          <p:cNvSpPr>
            <a:spLocks noChangeAspect="1"/>
          </p:cNvSpPr>
          <p:nvPr/>
        </p:nvSpPr>
        <p:spPr>
          <a:xfrm>
            <a:off x="1957887" y="2024368"/>
            <a:ext cx="553212" cy="553212"/>
          </a:xfrm>
          <a:prstGeom prst="ellipse">
            <a:avLst/>
          </a:pr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00" i="0" u="none" strike="noStrike" kern="1200" cap="none" spc="0" normalizeH="0" baseline="0" noProof="0" dirty="0">
                <a:ln>
                  <a:noFill/>
                </a:ln>
                <a:solidFill>
                  <a:srgbClr val="FFFFFF">
                    <a:lumMod val="95000"/>
                  </a:srgbClr>
                </a:solidFill>
                <a:effectLst/>
                <a:uLnTx/>
                <a:uFillTx/>
                <a:latin typeface="Chronicle Display Black"/>
                <a:ea typeface="+mn-ea"/>
                <a:cs typeface="+mn-cs"/>
              </a:rPr>
              <a:t>1</a:t>
            </a:r>
          </a:p>
        </p:txBody>
      </p:sp>
      <p:sp>
        <p:nvSpPr>
          <p:cNvPr id="36" name="Oval 35">
            <a:extLst>
              <a:ext uri="{FF2B5EF4-FFF2-40B4-BE49-F238E27FC236}">
                <a16:creationId xmlns:a16="http://schemas.microsoft.com/office/drawing/2014/main" id="{C6D7FC74-B84C-47D3-A2C4-02DD56BFF6AA}"/>
              </a:ext>
            </a:extLst>
          </p:cNvPr>
          <p:cNvSpPr>
            <a:spLocks noChangeAspect="1"/>
          </p:cNvSpPr>
          <p:nvPr/>
        </p:nvSpPr>
        <p:spPr>
          <a:xfrm>
            <a:off x="5745723" y="2060771"/>
            <a:ext cx="553212" cy="553212"/>
          </a:xfrm>
          <a:prstGeom prst="ellipse">
            <a:avLst/>
          </a:pr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00" i="0" u="none" strike="noStrike" kern="1200" cap="none" spc="0" normalizeH="0" baseline="0" noProof="0" dirty="0">
                <a:ln>
                  <a:noFill/>
                </a:ln>
                <a:solidFill>
                  <a:srgbClr val="FFFFFF">
                    <a:lumMod val="95000"/>
                  </a:srgbClr>
                </a:solidFill>
                <a:effectLst/>
                <a:uLnTx/>
                <a:uFillTx/>
                <a:latin typeface="Chronicle Display Black"/>
                <a:ea typeface="+mn-ea"/>
                <a:cs typeface="+mn-cs"/>
              </a:rPr>
              <a:t>2</a:t>
            </a:r>
          </a:p>
        </p:txBody>
      </p:sp>
      <p:sp>
        <p:nvSpPr>
          <p:cNvPr id="37" name="Oval 36">
            <a:extLst>
              <a:ext uri="{FF2B5EF4-FFF2-40B4-BE49-F238E27FC236}">
                <a16:creationId xmlns:a16="http://schemas.microsoft.com/office/drawing/2014/main" id="{D86B88BE-C2F2-40F1-86D6-52A5C77DA1E3}"/>
              </a:ext>
            </a:extLst>
          </p:cNvPr>
          <p:cNvSpPr>
            <a:spLocks noChangeAspect="1"/>
          </p:cNvSpPr>
          <p:nvPr/>
        </p:nvSpPr>
        <p:spPr>
          <a:xfrm>
            <a:off x="9452011" y="2060771"/>
            <a:ext cx="553212" cy="553212"/>
          </a:xfrm>
          <a:prstGeom prst="ellipse">
            <a:avLst/>
          </a:pr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00" i="0" u="none" strike="noStrike" kern="1200" cap="none" spc="0" normalizeH="0" baseline="0" noProof="0" dirty="0">
                <a:ln>
                  <a:noFill/>
                </a:ln>
                <a:solidFill>
                  <a:srgbClr val="FFFFFF">
                    <a:lumMod val="95000"/>
                  </a:srgbClr>
                </a:solidFill>
                <a:effectLst/>
                <a:uLnTx/>
                <a:uFillTx/>
                <a:latin typeface="Chronicle Display Black"/>
                <a:ea typeface="+mn-ea"/>
                <a:cs typeface="+mn-cs"/>
              </a:rPr>
              <a:t>3</a:t>
            </a:r>
          </a:p>
        </p:txBody>
      </p:sp>
      <p:sp>
        <p:nvSpPr>
          <p:cNvPr id="38" name="Shape 175"/>
          <p:cNvSpPr/>
          <p:nvPr/>
        </p:nvSpPr>
        <p:spPr>
          <a:xfrm>
            <a:off x="1149395" y="1995197"/>
            <a:ext cx="2103120" cy="731520"/>
          </a:xfrm>
          <a:prstGeom prst="rect">
            <a:avLst/>
          </a:prstGeom>
          <a:noFill/>
          <a:ln>
            <a:noFill/>
          </a:ln>
        </p:spPr>
        <p:txBody>
          <a:bodyPr lIns="0" tIns="0" rIns="0" bIns="0" anchor="ctr" anchorCtr="0">
            <a:noAutofit/>
          </a:bodyPr>
          <a:lstStyle/>
          <a:p>
            <a:pPr marL="0" marR="0" lvl="0" indent="0" algn="ctr" defTabSz="914400" rtl="0" eaLnBrk="1" fontAlgn="auto" latinLnBrk="0" hangingPunct="1">
              <a:lnSpc>
                <a:spcPct val="100000"/>
              </a:lnSpc>
              <a:spcBef>
                <a:spcPts val="0"/>
              </a:spcBef>
              <a:spcAft>
                <a:spcPts val="1200"/>
              </a:spcAft>
              <a:buClr>
                <a:srgbClr val="FDD300"/>
              </a:buClr>
              <a:buSzPct val="25000"/>
              <a:buFontTx/>
              <a:buNone/>
              <a:tabLst/>
              <a:defRPr/>
            </a:pPr>
            <a:r>
              <a:rPr kumimoji="0" lang="en-US" sz="2400" b="0" i="0" u="none" strike="noStrike" kern="1200" cap="none" spc="-75" normalizeH="0" baseline="0" noProof="0" dirty="0">
                <a:ln>
                  <a:noFill/>
                </a:ln>
                <a:solidFill>
                  <a:srgbClr val="000000"/>
                </a:solidFill>
                <a:effectLst/>
                <a:uLnTx/>
                <a:uFillTx/>
                <a:ea typeface="Open Sans Light" panose="020B0306030504020204" pitchFamily="34" charset="0"/>
                <a:cs typeface="Open Sans Light" panose="020B0306030504020204" pitchFamily="34" charset="0"/>
                <a:sym typeface="Verdana"/>
              </a:rPr>
              <a:t>How digital are we today?</a:t>
            </a:r>
          </a:p>
        </p:txBody>
      </p:sp>
      <p:sp>
        <p:nvSpPr>
          <p:cNvPr id="39" name="Shape 176"/>
          <p:cNvSpPr/>
          <p:nvPr/>
        </p:nvSpPr>
        <p:spPr>
          <a:xfrm>
            <a:off x="4579088" y="1995197"/>
            <a:ext cx="2842875" cy="731520"/>
          </a:xfrm>
          <a:prstGeom prst="rect">
            <a:avLst/>
          </a:prstGeom>
          <a:noFill/>
          <a:ln>
            <a:noFill/>
          </a:ln>
        </p:spPr>
        <p:txBody>
          <a:bodyPr lIns="0" tIns="0" rIns="0" bIns="0" anchor="ctr" anchorCtr="0">
            <a:noAutofit/>
          </a:bodyPr>
          <a:lstStyle/>
          <a:p>
            <a:pPr marL="0" marR="0" lvl="0" indent="0" algn="ctr" defTabSz="914400" rtl="0" eaLnBrk="1" fontAlgn="auto" latinLnBrk="0" hangingPunct="1">
              <a:lnSpc>
                <a:spcPct val="100000"/>
              </a:lnSpc>
              <a:spcBef>
                <a:spcPts val="0"/>
              </a:spcBef>
              <a:spcAft>
                <a:spcPts val="1200"/>
              </a:spcAft>
              <a:buClr>
                <a:srgbClr val="FDD300"/>
              </a:buClr>
              <a:buSzPct val="25000"/>
              <a:buFontTx/>
              <a:buNone/>
              <a:tabLst/>
              <a:defRPr/>
            </a:pPr>
            <a:r>
              <a:rPr kumimoji="0" lang="en-US" sz="2400" b="0" i="0" u="none" strike="noStrike" kern="1200" cap="none" spc="-75" normalizeH="0" baseline="0" noProof="0" dirty="0">
                <a:ln>
                  <a:noFill/>
                </a:ln>
                <a:solidFill>
                  <a:srgbClr val="000000"/>
                </a:solidFill>
                <a:effectLst/>
                <a:uLnTx/>
                <a:uFillTx/>
                <a:ea typeface="Open Sans Light" panose="020B0306030504020204" pitchFamily="34" charset="0"/>
                <a:cs typeface="Open Sans Light" panose="020B0306030504020204" pitchFamily="34" charset="0"/>
                <a:sym typeface="Verdana"/>
              </a:rPr>
              <a:t>How digital do we need to become?</a:t>
            </a:r>
          </a:p>
        </p:txBody>
      </p:sp>
      <p:sp>
        <p:nvSpPr>
          <p:cNvPr id="40" name="Shape 177"/>
          <p:cNvSpPr/>
          <p:nvPr/>
        </p:nvSpPr>
        <p:spPr>
          <a:xfrm>
            <a:off x="8842049" y="1995197"/>
            <a:ext cx="1904599" cy="731520"/>
          </a:xfrm>
          <a:prstGeom prst="rect">
            <a:avLst/>
          </a:prstGeom>
          <a:noFill/>
          <a:ln>
            <a:noFill/>
          </a:ln>
        </p:spPr>
        <p:txBody>
          <a:bodyPr lIns="0" tIns="0" rIns="0" bIns="0" anchor="ctr" anchorCtr="0">
            <a:noAutofit/>
          </a:bodyPr>
          <a:lstStyle/>
          <a:p>
            <a:pPr marL="0" marR="0" lvl="0" indent="0" algn="ctr" defTabSz="914400" rtl="0" eaLnBrk="1" fontAlgn="auto" latinLnBrk="0" hangingPunct="1">
              <a:lnSpc>
                <a:spcPct val="100000"/>
              </a:lnSpc>
              <a:spcBef>
                <a:spcPts val="0"/>
              </a:spcBef>
              <a:spcAft>
                <a:spcPts val="1200"/>
              </a:spcAft>
              <a:buClr>
                <a:srgbClr val="FDD300"/>
              </a:buClr>
              <a:buSzPct val="25000"/>
              <a:buFontTx/>
              <a:buNone/>
              <a:tabLst/>
              <a:defRPr/>
            </a:pPr>
            <a:r>
              <a:rPr kumimoji="0" lang="en-US" sz="2400" b="0" i="0" u="none" strike="noStrike" kern="1200" cap="none" spc="-75" normalizeH="0" baseline="0" noProof="0" dirty="0">
                <a:ln>
                  <a:noFill/>
                </a:ln>
                <a:solidFill>
                  <a:srgbClr val="000000"/>
                </a:solidFill>
                <a:effectLst/>
                <a:uLnTx/>
                <a:uFillTx/>
                <a:ea typeface="Open Sans Light" panose="020B0306030504020204" pitchFamily="34" charset="0"/>
                <a:cs typeface="Open Sans Light" panose="020B0306030504020204" pitchFamily="34" charset="0"/>
                <a:sym typeface="Verdana"/>
              </a:rPr>
              <a:t>How do we get there?</a:t>
            </a:r>
          </a:p>
        </p:txBody>
      </p:sp>
      <p:cxnSp>
        <p:nvCxnSpPr>
          <p:cNvPr id="41" name="Straight Arrow Connector 40">
            <a:extLst>
              <a:ext uri="{FF2B5EF4-FFF2-40B4-BE49-F238E27FC236}">
                <a16:creationId xmlns:a16="http://schemas.microsoft.com/office/drawing/2014/main" id="{89FD498C-46EA-4CAA-9677-B06880A76934}"/>
              </a:ext>
            </a:extLst>
          </p:cNvPr>
          <p:cNvCxnSpPr>
            <a:cxnSpLocks/>
          </p:cNvCxnSpPr>
          <p:nvPr/>
        </p:nvCxnSpPr>
        <p:spPr>
          <a:xfrm>
            <a:off x="914400" y="3354856"/>
            <a:ext cx="10262027" cy="0"/>
          </a:xfrm>
          <a:prstGeom prst="straightConnector1">
            <a:avLst/>
          </a:prstGeom>
          <a:ln w="38100">
            <a:solidFill>
              <a:schemeClr val="tx1"/>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42" name="Shape 175">
            <a:extLst>
              <a:ext uri="{FF2B5EF4-FFF2-40B4-BE49-F238E27FC236}">
                <a16:creationId xmlns:a16="http://schemas.microsoft.com/office/drawing/2014/main" id="{B0F6F3AF-7FD0-40D7-AD0B-8553D677E8C2}"/>
              </a:ext>
            </a:extLst>
          </p:cNvPr>
          <p:cNvSpPr/>
          <p:nvPr/>
        </p:nvSpPr>
        <p:spPr>
          <a:xfrm>
            <a:off x="1149395" y="5363846"/>
            <a:ext cx="2533676" cy="938150"/>
          </a:xfrm>
          <a:prstGeom prst="rect">
            <a:avLst/>
          </a:prstGeom>
          <a:noFill/>
          <a:ln>
            <a:noFill/>
          </a:ln>
        </p:spPr>
        <p:txBody>
          <a:bodyPr lIns="0" tIns="0" rIns="0" bIns="0" anchor="t" anchorCtr="0">
            <a:noAutofit/>
          </a:bodyPr>
          <a:lstStyle/>
          <a:p>
            <a:pPr marL="0" marR="0" lvl="0" indent="0" algn="l" defTabSz="914400" rtl="0" eaLnBrk="1" fontAlgn="auto" latinLnBrk="0" hangingPunct="1">
              <a:lnSpc>
                <a:spcPct val="120000"/>
              </a:lnSpc>
              <a:spcBef>
                <a:spcPts val="0"/>
              </a:spcBef>
              <a:spcAft>
                <a:spcPts val="0"/>
              </a:spcAft>
              <a:buClr>
                <a:srgbClr val="FFFFFF"/>
              </a:buClr>
              <a:buSzPct val="25000"/>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Determine overall digital maturity </a:t>
            </a:r>
            <a:r>
              <a:rPr kumimoji="0" lang="en-US" sz="12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and how digital you are for each of the 23 Digital DNA traits</a:t>
            </a:r>
          </a:p>
        </p:txBody>
      </p:sp>
      <p:sp>
        <p:nvSpPr>
          <p:cNvPr id="43" name="Shape 176">
            <a:extLst>
              <a:ext uri="{FF2B5EF4-FFF2-40B4-BE49-F238E27FC236}">
                <a16:creationId xmlns:a16="http://schemas.microsoft.com/office/drawing/2014/main" id="{180FADAE-85B0-4115-A967-1895766E498D}"/>
              </a:ext>
            </a:extLst>
          </p:cNvPr>
          <p:cNvSpPr/>
          <p:nvPr/>
        </p:nvSpPr>
        <p:spPr>
          <a:xfrm>
            <a:off x="4732378" y="5363846"/>
            <a:ext cx="2799253" cy="1104225"/>
          </a:xfrm>
          <a:prstGeom prst="rect">
            <a:avLst/>
          </a:prstGeom>
          <a:noFill/>
          <a:ln>
            <a:noFill/>
          </a:ln>
        </p:spPr>
        <p:txBody>
          <a:bodyPr lIns="0" tIns="0" rIns="0" bIns="0" anchor="t" anchorCtr="0">
            <a:noAutofit/>
          </a:bodyPr>
          <a:lstStyle/>
          <a:p>
            <a:pPr marL="0" marR="0" lvl="0" indent="0" algn="l" defTabSz="914400" rtl="0" eaLnBrk="1" fontAlgn="auto" latinLnBrk="0" hangingPunct="1">
              <a:lnSpc>
                <a:spcPct val="120000"/>
              </a:lnSpc>
              <a:spcBef>
                <a:spcPts val="0"/>
              </a:spcBef>
              <a:spcAft>
                <a:spcPts val="0"/>
              </a:spcAft>
              <a:buClr>
                <a:srgbClr val="000000"/>
              </a:buClr>
              <a:buSzPct val="100000"/>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Verdana"/>
                <a:cs typeface="Verdana"/>
                <a:sym typeface="Verdana"/>
              </a:rPr>
              <a:t>Create a blueprint of the new DNA </a:t>
            </a:r>
            <a:r>
              <a:rPr kumimoji="0" lang="en-US" sz="1200" b="0" i="0" u="none" strike="noStrike" kern="1200" cap="none" spc="0" normalizeH="0" baseline="0" noProof="0" dirty="0">
                <a:ln>
                  <a:noFill/>
                </a:ln>
                <a:solidFill>
                  <a:srgbClr val="000000"/>
                </a:solidFill>
                <a:effectLst/>
                <a:uLnTx/>
                <a:uFillTx/>
                <a:latin typeface="Open Sans"/>
                <a:ea typeface="Verdana"/>
                <a:cs typeface="Verdana"/>
                <a:sym typeface="Verdana"/>
              </a:rPr>
              <a:t>needed to help the organization or function become more digital  </a:t>
            </a:r>
          </a:p>
          <a:p>
            <a:pPr marL="0" marR="0" lvl="0" indent="0" algn="l" defTabSz="914400" rtl="0" eaLnBrk="1" fontAlgn="auto" latinLnBrk="0" hangingPunct="1">
              <a:lnSpc>
                <a:spcPct val="100000"/>
              </a:lnSpc>
              <a:spcBef>
                <a:spcPts val="0"/>
              </a:spcBef>
              <a:spcAft>
                <a:spcPts val="0"/>
              </a:spcAft>
              <a:buClr>
                <a:srgbClr val="FFFFFF"/>
              </a:buClr>
              <a:buSzTx/>
              <a:buFontTx/>
              <a:buNone/>
              <a:tabLst/>
              <a:defRPr/>
            </a:pPr>
            <a:endParaRPr kumimoji="0" sz="1200" b="0" i="0" u="none" strike="noStrike" kern="1200" cap="none" spc="0" normalizeH="0" baseline="0" noProof="0" dirty="0">
              <a:ln>
                <a:noFill/>
              </a:ln>
              <a:solidFill>
                <a:srgbClr val="000000"/>
              </a:solidFill>
              <a:effectLst/>
              <a:uLnTx/>
              <a:uFillTx/>
              <a:latin typeface="Chronicle Display Black"/>
              <a:ea typeface="Verdana"/>
              <a:cs typeface="Verdana"/>
              <a:sym typeface="Verdana"/>
            </a:endParaRPr>
          </a:p>
        </p:txBody>
      </p:sp>
      <p:sp>
        <p:nvSpPr>
          <p:cNvPr id="44" name="Shape 177">
            <a:extLst>
              <a:ext uri="{FF2B5EF4-FFF2-40B4-BE49-F238E27FC236}">
                <a16:creationId xmlns:a16="http://schemas.microsoft.com/office/drawing/2014/main" id="{02D482AD-DFE5-4F9C-B949-6FBE60F0EE2E}"/>
              </a:ext>
            </a:extLst>
          </p:cNvPr>
          <p:cNvSpPr/>
          <p:nvPr/>
        </p:nvSpPr>
        <p:spPr>
          <a:xfrm>
            <a:off x="8480065" y="5363846"/>
            <a:ext cx="2799253" cy="1171427"/>
          </a:xfrm>
          <a:prstGeom prst="rect">
            <a:avLst/>
          </a:prstGeom>
          <a:noFill/>
          <a:ln>
            <a:noFill/>
          </a:ln>
        </p:spPr>
        <p:txBody>
          <a:bodyPr lIns="0" tIns="0" rIns="0" bIns="0" anchor="t" anchorCtr="0">
            <a:noAutofit/>
          </a:bodyPr>
          <a:lstStyle/>
          <a:p>
            <a:pPr marL="0" marR="0" lvl="0" indent="0" algn="l" defTabSz="914400" rtl="0" eaLnBrk="1" fontAlgn="auto" latinLnBrk="0" hangingPunct="1">
              <a:lnSpc>
                <a:spcPct val="120000"/>
              </a:lnSpc>
              <a:spcBef>
                <a:spcPts val="0"/>
              </a:spcBef>
              <a:spcAft>
                <a:spcPts val="0"/>
              </a:spcAft>
              <a:buClr>
                <a:srgbClr val="000000"/>
              </a:buClr>
              <a:buSzPct val="100000"/>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Verdana"/>
                <a:cs typeface="Verdana"/>
                <a:sym typeface="Verdana"/>
              </a:rPr>
              <a:t>Construct minimum viable changes (MVCs) </a:t>
            </a:r>
            <a:r>
              <a:rPr kumimoji="0" lang="en-US" sz="1200" b="0" i="0" u="none" strike="noStrike" kern="1200" cap="none" spc="0" normalizeH="0" baseline="0" noProof="0" dirty="0">
                <a:ln>
                  <a:noFill/>
                </a:ln>
                <a:solidFill>
                  <a:srgbClr val="000000"/>
                </a:solidFill>
                <a:effectLst/>
                <a:uLnTx/>
                <a:uFillTx/>
                <a:latin typeface="Open Sans"/>
                <a:ea typeface="Verdana"/>
                <a:cs typeface="Verdana"/>
                <a:sym typeface="Verdana"/>
              </a:rPr>
              <a:t>that help infuse needed Digital DNA into your organizational DNA</a:t>
            </a:r>
          </a:p>
        </p:txBody>
      </p:sp>
      <p:pic>
        <p:nvPicPr>
          <p:cNvPr id="45" name="Picture 44">
            <a:extLst>
              <a:ext uri="{FF2B5EF4-FFF2-40B4-BE49-F238E27FC236}">
                <a16:creationId xmlns:a16="http://schemas.microsoft.com/office/drawing/2014/main" id="{43E13685-B0CD-4937-9E5E-250527496BE4}"/>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096981" y="3714209"/>
            <a:ext cx="1231124" cy="1236842"/>
          </a:xfrm>
          <a:prstGeom prst="rect">
            <a:avLst/>
          </a:prstGeom>
          <a:ln>
            <a:solidFill>
              <a:schemeClr val="tx1"/>
            </a:solidFill>
          </a:ln>
          <a:effectLst/>
        </p:spPr>
      </p:pic>
      <p:pic>
        <p:nvPicPr>
          <p:cNvPr id="46" name="Picture 45">
            <a:extLst>
              <a:ext uri="{FF2B5EF4-FFF2-40B4-BE49-F238E27FC236}">
                <a16:creationId xmlns:a16="http://schemas.microsoft.com/office/drawing/2014/main" id="{115D9C8E-280F-423C-BBA6-35C8C0D2FBE0}"/>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1146829" y="3995968"/>
            <a:ext cx="1587808" cy="825975"/>
          </a:xfrm>
          <a:prstGeom prst="rect">
            <a:avLst/>
          </a:prstGeom>
          <a:ln>
            <a:solidFill>
              <a:schemeClr val="tx1">
                <a:alpha val="36000"/>
              </a:schemeClr>
            </a:solidFill>
          </a:ln>
          <a:effectLst/>
        </p:spPr>
      </p:pic>
      <p:pic>
        <p:nvPicPr>
          <p:cNvPr id="47" name="Picture 46">
            <a:extLst>
              <a:ext uri="{FF2B5EF4-FFF2-40B4-BE49-F238E27FC236}">
                <a16:creationId xmlns:a16="http://schemas.microsoft.com/office/drawing/2014/main" id="{819883A3-F45C-4729-94FB-0B86D62D482C}"/>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732378" y="3880637"/>
            <a:ext cx="1723356" cy="858818"/>
          </a:xfrm>
          <a:prstGeom prst="rect">
            <a:avLst/>
          </a:prstGeom>
          <a:solidFill>
            <a:schemeClr val="bg1"/>
          </a:solidFill>
          <a:ln>
            <a:solidFill>
              <a:schemeClr val="tx1"/>
            </a:solidFill>
          </a:ln>
          <a:effectLst/>
        </p:spPr>
      </p:pic>
      <p:pic>
        <p:nvPicPr>
          <p:cNvPr id="48" name="Picture 47">
            <a:extLst>
              <a:ext uri="{FF2B5EF4-FFF2-40B4-BE49-F238E27FC236}">
                <a16:creationId xmlns:a16="http://schemas.microsoft.com/office/drawing/2014/main" id="{E09BABB9-C256-40C3-ACC2-C438DD18CE8C}"/>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447570" y="3769354"/>
            <a:ext cx="1940063" cy="1124995"/>
          </a:xfrm>
          <a:prstGeom prst="rect">
            <a:avLst/>
          </a:prstGeom>
          <a:solidFill>
            <a:schemeClr val="bg1"/>
          </a:solidFill>
          <a:ln>
            <a:solidFill>
              <a:schemeClr val="tx1"/>
            </a:solidFill>
          </a:ln>
          <a:effectLst/>
        </p:spPr>
      </p:pic>
      <p:cxnSp>
        <p:nvCxnSpPr>
          <p:cNvPr id="49" name="Straight Connector 48">
            <a:extLst>
              <a:ext uri="{FF2B5EF4-FFF2-40B4-BE49-F238E27FC236}">
                <a16:creationId xmlns:a16="http://schemas.microsoft.com/office/drawing/2014/main" id="{38F64FBE-41D8-48ED-BB78-63FDB2E43AD9}"/>
              </a:ext>
            </a:extLst>
          </p:cNvPr>
          <p:cNvCxnSpPr/>
          <p:nvPr/>
        </p:nvCxnSpPr>
        <p:spPr>
          <a:xfrm>
            <a:off x="985633" y="1855295"/>
            <a:ext cx="2468341"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20BE7590-96E9-4054-B013-D3900A848628}"/>
              </a:ext>
            </a:extLst>
          </p:cNvPr>
          <p:cNvCxnSpPr/>
          <p:nvPr/>
        </p:nvCxnSpPr>
        <p:spPr>
          <a:xfrm>
            <a:off x="987785" y="2833069"/>
            <a:ext cx="2468341"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3045E8D9-CE21-4D8C-9592-87CB9CFBD18E}"/>
              </a:ext>
            </a:extLst>
          </p:cNvPr>
          <p:cNvCxnSpPr/>
          <p:nvPr/>
        </p:nvCxnSpPr>
        <p:spPr>
          <a:xfrm>
            <a:off x="4773778" y="1855295"/>
            <a:ext cx="2468341"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302AFF9E-E4E7-4A70-998B-707ECDC94D32}"/>
              </a:ext>
            </a:extLst>
          </p:cNvPr>
          <p:cNvCxnSpPr/>
          <p:nvPr/>
        </p:nvCxnSpPr>
        <p:spPr>
          <a:xfrm>
            <a:off x="4775930" y="2833069"/>
            <a:ext cx="2468341"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387FA88D-2953-4DAB-A30E-979DD2277097}"/>
              </a:ext>
            </a:extLst>
          </p:cNvPr>
          <p:cNvCxnSpPr/>
          <p:nvPr/>
        </p:nvCxnSpPr>
        <p:spPr>
          <a:xfrm>
            <a:off x="8560179" y="1855295"/>
            <a:ext cx="2468341"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840A1D22-3634-4979-ACF3-F2443A2D21D1}"/>
              </a:ext>
            </a:extLst>
          </p:cNvPr>
          <p:cNvCxnSpPr/>
          <p:nvPr/>
        </p:nvCxnSpPr>
        <p:spPr>
          <a:xfrm>
            <a:off x="8562331" y="2833069"/>
            <a:ext cx="2468341"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pic>
        <p:nvPicPr>
          <p:cNvPr id="55" name="Picture 54">
            <a:extLst>
              <a:ext uri="{FF2B5EF4-FFF2-40B4-BE49-F238E27FC236}">
                <a16:creationId xmlns:a16="http://schemas.microsoft.com/office/drawing/2014/main" id="{385B3031-D698-4AE5-8526-5792766AA0FD}"/>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a:stretch/>
        </p:blipFill>
        <p:spPr>
          <a:xfrm>
            <a:off x="4944542" y="4229865"/>
            <a:ext cx="1705578" cy="899921"/>
          </a:xfrm>
          <a:prstGeom prst="rect">
            <a:avLst/>
          </a:prstGeom>
          <a:ln>
            <a:solidFill>
              <a:schemeClr val="tx1"/>
            </a:solidFill>
          </a:ln>
        </p:spPr>
      </p:pic>
      <p:pic>
        <p:nvPicPr>
          <p:cNvPr id="56" name="Picture 55">
            <a:extLst>
              <a:ext uri="{FF2B5EF4-FFF2-40B4-BE49-F238E27FC236}">
                <a16:creationId xmlns:a16="http://schemas.microsoft.com/office/drawing/2014/main" id="{6BF7EE84-B3F9-44B5-BDD3-1EF45C4D5B9A}"/>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717978" y="3831292"/>
            <a:ext cx="1697209" cy="1000034"/>
          </a:xfrm>
          <a:prstGeom prst="rect">
            <a:avLst/>
          </a:prstGeom>
          <a:solidFill>
            <a:schemeClr val="bg1"/>
          </a:solidFill>
          <a:ln>
            <a:solidFill>
              <a:schemeClr val="tx1"/>
            </a:solidFill>
          </a:ln>
          <a:effectLst/>
        </p:spPr>
      </p:pic>
      <p:pic>
        <p:nvPicPr>
          <p:cNvPr id="57" name="Picture 56">
            <a:extLst>
              <a:ext uri="{FF2B5EF4-FFF2-40B4-BE49-F238E27FC236}">
                <a16:creationId xmlns:a16="http://schemas.microsoft.com/office/drawing/2014/main" id="{463F75D2-291D-4F32-95A0-C14E828EC217}"/>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912364" y="4213914"/>
            <a:ext cx="1697209" cy="972584"/>
          </a:xfrm>
          <a:prstGeom prst="rect">
            <a:avLst/>
          </a:prstGeom>
          <a:solidFill>
            <a:schemeClr val="bg1"/>
          </a:solidFill>
          <a:ln>
            <a:solidFill>
              <a:schemeClr val="tx1"/>
            </a:solidFill>
          </a:ln>
        </p:spPr>
      </p:pic>
    </p:spTree>
    <p:extLst>
      <p:ext uri="{BB962C8B-B14F-4D97-AF65-F5344CB8AC3E}">
        <p14:creationId xmlns:p14="http://schemas.microsoft.com/office/powerpoint/2010/main" val="57141482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E71EB3-7BBF-43D6-B49C-1845B1CAA2C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2"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93E71EB3-7BBF-43D6-B49C-1845B1CAA2C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A27AA34-EE27-4FAB-BAEB-E930A678CA6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EC23C67-BA01-496B-8ECF-71AEEE69FED0}"/>
              </a:ext>
            </a:extLst>
          </p:cNvPr>
          <p:cNvSpPr>
            <a:spLocks noGrp="1"/>
          </p:cNvSpPr>
          <p:nvPr>
            <p:ph type="title"/>
          </p:nvPr>
        </p:nvSpPr>
        <p:spPr/>
        <p:txBody>
          <a:bodyPr/>
          <a:lstStyle/>
          <a:p>
            <a:r>
              <a:rPr lang="en-US" dirty="0"/>
              <a:t>What disconnects are driving the struggle?</a:t>
            </a:r>
          </a:p>
        </p:txBody>
      </p:sp>
      <p:sp>
        <p:nvSpPr>
          <p:cNvPr id="19" name="Text Placeholder 18">
            <a:extLst>
              <a:ext uri="{FF2B5EF4-FFF2-40B4-BE49-F238E27FC236}">
                <a16:creationId xmlns:a16="http://schemas.microsoft.com/office/drawing/2014/main" id="{9496FB74-9701-4FD0-9227-06BF0ED77C1E}"/>
              </a:ext>
            </a:extLst>
          </p:cNvPr>
          <p:cNvSpPr>
            <a:spLocks noGrp="1"/>
          </p:cNvSpPr>
          <p:nvPr>
            <p:ph type="body" sz="quarter" idx="14"/>
          </p:nvPr>
        </p:nvSpPr>
        <p:spPr/>
        <p:txBody>
          <a:bodyPr/>
          <a:lstStyle/>
          <a:p>
            <a:r>
              <a:rPr lang="en-US" dirty="0"/>
              <a:t>Subheader example</a:t>
            </a:r>
          </a:p>
        </p:txBody>
      </p:sp>
      <p:sp>
        <p:nvSpPr>
          <p:cNvPr id="20" name="Text Placeholder 19">
            <a:extLst>
              <a:ext uri="{FF2B5EF4-FFF2-40B4-BE49-F238E27FC236}">
                <a16:creationId xmlns:a16="http://schemas.microsoft.com/office/drawing/2014/main" id="{67DAB13E-4766-4BF3-8F35-E11BD8B08AEB}"/>
              </a:ext>
            </a:extLst>
          </p:cNvPr>
          <p:cNvSpPr>
            <a:spLocks noGrp="1"/>
          </p:cNvSpPr>
          <p:nvPr>
            <p:ph type="body" sz="quarter" idx="15"/>
          </p:nvPr>
        </p:nvSpPr>
        <p:spPr/>
        <p:txBody>
          <a:bodyPr/>
          <a:lstStyle/>
          <a:p>
            <a:r>
              <a:rPr lang="en-US" dirty="0"/>
              <a:t>text</a:t>
            </a:r>
          </a:p>
        </p:txBody>
      </p:sp>
      <p:pic>
        <p:nvPicPr>
          <p:cNvPr id="5" name="Picture 4">
            <a:extLst>
              <a:ext uri="{FF2B5EF4-FFF2-40B4-BE49-F238E27FC236}">
                <a16:creationId xmlns:a16="http://schemas.microsoft.com/office/drawing/2014/main" id="{281143F3-B654-40C6-917F-23C64A7F851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0" y="2824162"/>
            <a:ext cx="1617594" cy="1624013"/>
          </a:xfrm>
          <a:prstGeom prst="rect">
            <a:avLst/>
          </a:prstGeom>
        </p:spPr>
      </p:pic>
      <p:pic>
        <p:nvPicPr>
          <p:cNvPr id="6" name="Picture 5">
            <a:extLst>
              <a:ext uri="{FF2B5EF4-FFF2-40B4-BE49-F238E27FC236}">
                <a16:creationId xmlns:a16="http://schemas.microsoft.com/office/drawing/2014/main" id="{DC57E69A-7AD1-44D3-98BD-40B148518BA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831603" y="2914649"/>
            <a:ext cx="1360397" cy="1443038"/>
          </a:xfrm>
          <a:prstGeom prst="rect">
            <a:avLst/>
          </a:prstGeom>
        </p:spPr>
      </p:pic>
      <p:sp>
        <p:nvSpPr>
          <p:cNvPr id="7" name="Rectangle 6">
            <a:extLst>
              <a:ext uri="{FF2B5EF4-FFF2-40B4-BE49-F238E27FC236}">
                <a16:creationId xmlns:a16="http://schemas.microsoft.com/office/drawing/2014/main" id="{9B53E49E-51FA-4A4A-BD37-6483FCFBE1D3}"/>
              </a:ext>
            </a:extLst>
          </p:cNvPr>
          <p:cNvSpPr/>
          <p:nvPr/>
        </p:nvSpPr>
        <p:spPr>
          <a:xfrm>
            <a:off x="1674744" y="2538441"/>
            <a:ext cx="1679553" cy="203132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br>
              <a:rPr kumimoji="0" lang="en-US"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br>
            <a:r>
              <a:rPr kumimoji="0" lang="en-US"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INTERN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Functional, regional, and category silos limit scale and exacerbate disconnects for consumers across their journey</a:t>
            </a: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 name="Rectangle 7">
            <a:extLst>
              <a:ext uri="{FF2B5EF4-FFF2-40B4-BE49-F238E27FC236}">
                <a16:creationId xmlns:a16="http://schemas.microsoft.com/office/drawing/2014/main" id="{9DD71E48-C6DA-45D5-B11C-DDCD08D8DB26}"/>
              </a:ext>
            </a:extLst>
          </p:cNvPr>
          <p:cNvSpPr/>
          <p:nvPr/>
        </p:nvSpPr>
        <p:spPr>
          <a:xfrm>
            <a:off x="3492823" y="2538441"/>
            <a:ext cx="1774562" cy="203132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br>
              <a:rPr kumimoji="0" lang="en-US"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br>
            <a:r>
              <a:rPr kumimoji="0" lang="en-US"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RO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CMOs are increasingly expected to play an enterprise-minded role, but many do not have the authority and responsibility to be effective</a:t>
            </a: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 name="Rectangle 8">
            <a:extLst>
              <a:ext uri="{FF2B5EF4-FFF2-40B4-BE49-F238E27FC236}">
                <a16:creationId xmlns:a16="http://schemas.microsoft.com/office/drawing/2014/main" id="{D394CD87-7219-46AD-B544-33BF4DC2D0E6}"/>
              </a:ext>
            </a:extLst>
          </p:cNvPr>
          <p:cNvSpPr/>
          <p:nvPr/>
        </p:nvSpPr>
        <p:spPr>
          <a:xfrm>
            <a:off x="5405911" y="2538441"/>
            <a:ext cx="1679553" cy="184665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br>
              <a:rPr kumimoji="0" lang="en-US"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br>
            <a:r>
              <a:rPr kumimoji="0" lang="en-US"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EXTERN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Increasing decentralization of engagement with key partners (e.g., retailers, agencies, tech, start-up) </a:t>
            </a:r>
          </a:p>
        </p:txBody>
      </p:sp>
      <p:sp>
        <p:nvSpPr>
          <p:cNvPr id="10" name="Rectangle 9">
            <a:extLst>
              <a:ext uri="{FF2B5EF4-FFF2-40B4-BE49-F238E27FC236}">
                <a16:creationId xmlns:a16="http://schemas.microsoft.com/office/drawing/2014/main" id="{C397A685-BD0B-4398-A726-4257BC42AC8D}"/>
              </a:ext>
            </a:extLst>
          </p:cNvPr>
          <p:cNvSpPr/>
          <p:nvPr/>
        </p:nvSpPr>
        <p:spPr>
          <a:xfrm>
            <a:off x="7223990" y="2538441"/>
            <a:ext cx="1679553" cy="166199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COMMERCIAL INVEST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Commercial spend across A&amp;P, Shopper Marketing, Trade are typically disconnected</a:t>
            </a:r>
          </a:p>
        </p:txBody>
      </p:sp>
      <p:sp>
        <p:nvSpPr>
          <p:cNvPr id="11" name="Rectangle 10">
            <a:extLst>
              <a:ext uri="{FF2B5EF4-FFF2-40B4-BE49-F238E27FC236}">
                <a16:creationId xmlns:a16="http://schemas.microsoft.com/office/drawing/2014/main" id="{E2DA8B39-C2EF-4719-B672-EBF85E194938}"/>
              </a:ext>
            </a:extLst>
          </p:cNvPr>
          <p:cNvSpPr/>
          <p:nvPr/>
        </p:nvSpPr>
        <p:spPr>
          <a:xfrm>
            <a:off x="9042071" y="2538440"/>
            <a:ext cx="1768804" cy="240065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CURRENT STRUC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The current structure was created to help CPGs maintain their competitive advantage by erecting barriers for new entrants; but these barriers are coming down now</a:t>
            </a:r>
          </a:p>
        </p:txBody>
      </p:sp>
      <p:cxnSp>
        <p:nvCxnSpPr>
          <p:cNvPr id="12" name="Straight Connector 11">
            <a:extLst>
              <a:ext uri="{FF2B5EF4-FFF2-40B4-BE49-F238E27FC236}">
                <a16:creationId xmlns:a16="http://schemas.microsoft.com/office/drawing/2014/main" id="{3E970843-8EB3-41AE-91ED-AEB9892FF8BB}"/>
              </a:ext>
            </a:extLst>
          </p:cNvPr>
          <p:cNvCxnSpPr/>
          <p:nvPr/>
        </p:nvCxnSpPr>
        <p:spPr>
          <a:xfrm>
            <a:off x="1752600" y="3105150"/>
            <a:ext cx="1371600" cy="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D72C5EE-9F47-4A85-BA87-2578E20FCCF1}"/>
              </a:ext>
            </a:extLst>
          </p:cNvPr>
          <p:cNvCxnSpPr/>
          <p:nvPr/>
        </p:nvCxnSpPr>
        <p:spPr>
          <a:xfrm>
            <a:off x="3585019" y="3105150"/>
            <a:ext cx="1371600"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E99CA38-C2B2-49D7-8A2C-C8AF19C15CE4}"/>
              </a:ext>
            </a:extLst>
          </p:cNvPr>
          <p:cNvCxnSpPr/>
          <p:nvPr/>
        </p:nvCxnSpPr>
        <p:spPr>
          <a:xfrm>
            <a:off x="5455538" y="3105150"/>
            <a:ext cx="1371600" cy="0"/>
          </a:xfrm>
          <a:prstGeom prst="line">
            <a:avLst/>
          </a:prstGeom>
          <a:ln w="571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3F68CC80-0BE8-4913-8179-71E7DF5D0399}"/>
              </a:ext>
            </a:extLst>
          </p:cNvPr>
          <p:cNvCxnSpPr/>
          <p:nvPr/>
        </p:nvCxnSpPr>
        <p:spPr>
          <a:xfrm>
            <a:off x="7307007" y="3105150"/>
            <a:ext cx="1371600"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4E9474B-E4E7-44D4-A2E0-1C042A200C96}"/>
              </a:ext>
            </a:extLst>
          </p:cNvPr>
          <p:cNvCxnSpPr/>
          <p:nvPr/>
        </p:nvCxnSpPr>
        <p:spPr>
          <a:xfrm>
            <a:off x="9139426" y="3105150"/>
            <a:ext cx="1371600" cy="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191894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0F59E37-27B9-4DC0-812D-7B5CF15C802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6" name="think-cell Slide" r:id="rId6" imgW="415" imgH="416" progId="TCLayout.ActiveDocument.1">
                  <p:embed/>
                </p:oleObj>
              </mc:Choice>
              <mc:Fallback>
                <p:oleObj name="think-cell Slide" r:id="rId6" imgW="415" imgH="416" progId="TCLayout.ActiveDocument.1">
                  <p:embed/>
                  <p:pic>
                    <p:nvPicPr>
                      <p:cNvPr id="9" name="Object 8" hidden="1">
                        <a:extLst>
                          <a:ext uri="{FF2B5EF4-FFF2-40B4-BE49-F238E27FC236}">
                            <a16:creationId xmlns:a16="http://schemas.microsoft.com/office/drawing/2014/main" id="{C0F59E37-27B9-4DC0-812D-7B5CF15C802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EDA008F-8A82-4213-8D76-6879991C59A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E68D60D8-D8E5-434C-9B82-49B2339A6AEC}"/>
              </a:ext>
            </a:extLst>
          </p:cNvPr>
          <p:cNvSpPr>
            <a:spLocks noGrp="1"/>
          </p:cNvSpPr>
          <p:nvPr>
            <p:ph type="title"/>
          </p:nvPr>
        </p:nvSpPr>
        <p:spPr/>
        <p:txBody>
          <a:bodyPr anchor="t"/>
          <a:lstStyle/>
          <a:p>
            <a:r>
              <a:rPr lang="en-US" dirty="0"/>
              <a:t>How does crowdsourcing work?</a:t>
            </a:r>
          </a:p>
        </p:txBody>
      </p:sp>
      <p:sp>
        <p:nvSpPr>
          <p:cNvPr id="3" name="Text Placeholder 2">
            <a:extLst>
              <a:ext uri="{FF2B5EF4-FFF2-40B4-BE49-F238E27FC236}">
                <a16:creationId xmlns:a16="http://schemas.microsoft.com/office/drawing/2014/main" id="{F147ED40-D004-402F-9FA5-7C216DD1B455}"/>
              </a:ext>
            </a:extLst>
          </p:cNvPr>
          <p:cNvSpPr>
            <a:spLocks noGrp="1"/>
          </p:cNvSpPr>
          <p:nvPr>
            <p:ph type="body" sz="quarter" idx="14"/>
          </p:nvPr>
        </p:nvSpPr>
        <p:spPr/>
        <p:txBody>
          <a:bodyPr/>
          <a:lstStyle/>
          <a:p>
            <a:r>
              <a:rPr lang="en-US" dirty="0"/>
              <a:t>Unlike traditional options, crowdsourcing uses more interactive and compelling engaging models to drive better results</a:t>
            </a:r>
          </a:p>
        </p:txBody>
      </p:sp>
      <p:sp>
        <p:nvSpPr>
          <p:cNvPr id="4" name="Text Placeholder 3">
            <a:extLst>
              <a:ext uri="{FF2B5EF4-FFF2-40B4-BE49-F238E27FC236}">
                <a16:creationId xmlns:a16="http://schemas.microsoft.com/office/drawing/2014/main" id="{65CDBAB9-E36D-46B0-B9EE-0B3489592D00}"/>
              </a:ext>
            </a:extLst>
          </p:cNvPr>
          <p:cNvSpPr>
            <a:spLocks noGrp="1"/>
          </p:cNvSpPr>
          <p:nvPr>
            <p:ph type="body" sz="quarter" idx="15"/>
          </p:nvPr>
        </p:nvSpPr>
        <p:spPr/>
        <p:txBody>
          <a:bodyPr/>
          <a:lstStyle/>
          <a:p>
            <a:r>
              <a:rPr lang="en-US" dirty="0"/>
              <a:t>text</a:t>
            </a:r>
          </a:p>
        </p:txBody>
      </p:sp>
      <p:sp>
        <p:nvSpPr>
          <p:cNvPr id="61" name="Rectangle 60">
            <a:extLst>
              <a:ext uri="{FF2B5EF4-FFF2-40B4-BE49-F238E27FC236}">
                <a16:creationId xmlns:a16="http://schemas.microsoft.com/office/drawing/2014/main" id="{16CB2590-66D0-4083-8683-3794B81E97C2}"/>
              </a:ext>
            </a:extLst>
          </p:cNvPr>
          <p:cNvSpPr/>
          <p:nvPr/>
        </p:nvSpPr>
        <p:spPr bwMode="gray">
          <a:xfrm>
            <a:off x="579096" y="1690671"/>
            <a:ext cx="3493063" cy="2422571"/>
          </a:xfrm>
          <a:prstGeom prst="rect">
            <a:avLst/>
          </a:prstGeom>
          <a:noFill/>
          <a:ln w="25400" cap="flat" cmpd="sng" algn="ctr">
            <a:noFill/>
            <a:prstDash val="solid"/>
            <a:headEnd/>
            <a:tailEnd/>
          </a:ln>
          <a:effectLst/>
        </p:spPr>
        <p:txBody>
          <a:bodyPr wrap="square" lIns="171386" tIns="85693" rIns="85693" bIns="0" rtlCol="0" anchor="t"/>
          <a:lstStyle/>
          <a:p>
            <a:pPr marL="0" marR="0" lvl="0" indent="0" algn="ctr" defTabSz="671718" eaLnBrk="1" fontAlgn="base" latinLnBrk="0" hangingPunct="1">
              <a:lnSpc>
                <a:spcPct val="106000"/>
              </a:lnSpc>
              <a:spcBef>
                <a:spcPct val="0"/>
              </a:spcBef>
              <a:spcAft>
                <a:spcPct val="0"/>
              </a:spcAft>
              <a:buClrTx/>
              <a:buSzTx/>
              <a:buFontTx/>
              <a:buNone/>
              <a:tabLst/>
              <a:defRPr/>
            </a:pPr>
            <a:r>
              <a:rPr kumimoji="0" lang="en-US" sz="2645" b="1" i="0" u="none" strike="noStrike" kern="0" cap="small" spc="0" normalizeH="0" baseline="0" noProof="0" dirty="0">
                <a:ln>
                  <a:noFill/>
                </a:ln>
                <a:solidFill>
                  <a:prstClr val="black"/>
                </a:solidFill>
                <a:effectLst/>
                <a:uLnTx/>
                <a:uFillTx/>
                <a:ea typeface="+mn-ea"/>
                <a:cs typeface="+mn-cs"/>
                <a:sym typeface="Gotham Book" charset="0"/>
              </a:rPr>
              <a:t>Collaborative</a:t>
            </a:r>
          </a:p>
          <a:p>
            <a:pPr marL="0" marR="0" lvl="0" indent="0" algn="ctr" defTabSz="671718" eaLnBrk="1" fontAlgn="base" latinLnBrk="0" hangingPunct="1">
              <a:lnSpc>
                <a:spcPct val="106000"/>
              </a:lnSpc>
              <a:spcBef>
                <a:spcPct val="0"/>
              </a:spcBef>
              <a:spcAft>
                <a:spcPct val="0"/>
              </a:spcAft>
              <a:buClrTx/>
              <a:buSzTx/>
              <a:buFontTx/>
              <a:buNone/>
              <a:tabLst/>
              <a:defRPr/>
            </a:pPr>
            <a:endParaRPr kumimoji="0" lang="en-US" sz="1312" b="0" i="0" u="none" strike="noStrike" kern="0" cap="small" spc="0" normalizeH="0" baseline="0" noProof="0" dirty="0">
              <a:ln>
                <a:noFill/>
              </a:ln>
              <a:solidFill>
                <a:prstClr val="black"/>
              </a:solidFill>
              <a:effectLst/>
              <a:uLnTx/>
              <a:uFillTx/>
              <a:ea typeface="+mn-ea"/>
              <a:cs typeface="+mn-cs"/>
              <a:sym typeface="Gotham Book" charset="0"/>
            </a:endParaRPr>
          </a:p>
          <a:p>
            <a:pPr marL="0" marR="0" lvl="0" indent="0" algn="ctr" defTabSz="671718" eaLnBrk="1" fontAlgn="base" latinLnBrk="0" hangingPunct="1">
              <a:lnSpc>
                <a:spcPct val="106000"/>
              </a:lnSpc>
              <a:spcBef>
                <a:spcPct val="0"/>
              </a:spcBef>
              <a:spcAft>
                <a:spcPct val="0"/>
              </a:spcAft>
              <a:buClrTx/>
              <a:buSzTx/>
              <a:buFontTx/>
              <a:buNone/>
              <a:tabLst/>
              <a:defRPr/>
            </a:pPr>
            <a:r>
              <a:rPr kumimoji="0" lang="en-US" sz="1312" b="0" i="0" u="none" strike="noStrike" kern="0" cap="none" spc="0" normalizeH="0" baseline="0" noProof="0" dirty="0">
                <a:ln>
                  <a:noFill/>
                </a:ln>
                <a:solidFill>
                  <a:prstClr val="black"/>
                </a:solidFill>
                <a:effectLst/>
                <a:uLnTx/>
                <a:uFillTx/>
                <a:ea typeface="+mn-ea"/>
                <a:cs typeface="+mn-cs"/>
                <a:sym typeface="Gotham Book" charset="0"/>
              </a:rPr>
              <a:t>A collaborative model encourages crowd participants to work together to come up with a solution. Dialogue between participants often brings up new perspectives that crowd members wouldn’t have thought of individually, allowing for a more holistic solution to a problem.</a:t>
            </a:r>
          </a:p>
        </p:txBody>
      </p:sp>
      <p:graphicFrame>
        <p:nvGraphicFramePr>
          <p:cNvPr id="62" name="Chart 61">
            <a:extLst>
              <a:ext uri="{FF2B5EF4-FFF2-40B4-BE49-F238E27FC236}">
                <a16:creationId xmlns:a16="http://schemas.microsoft.com/office/drawing/2014/main" id="{8530E2D4-6D89-4627-BFC0-A6F5A8319031}"/>
              </a:ext>
            </a:extLst>
          </p:cNvPr>
          <p:cNvGraphicFramePr/>
          <p:nvPr/>
        </p:nvGraphicFramePr>
        <p:xfrm>
          <a:off x="9047653" y="4082238"/>
          <a:ext cx="1463518" cy="1073072"/>
        </p:xfrm>
        <a:graphic>
          <a:graphicData uri="http://schemas.openxmlformats.org/drawingml/2006/chart">
            <c:chart xmlns:c="http://schemas.openxmlformats.org/drawingml/2006/chart" xmlns:r="http://schemas.openxmlformats.org/officeDocument/2006/relationships" r:id="rId8"/>
          </a:graphicData>
        </a:graphic>
      </p:graphicFrame>
      <p:sp>
        <p:nvSpPr>
          <p:cNvPr id="63" name="Rectangle 62">
            <a:extLst>
              <a:ext uri="{FF2B5EF4-FFF2-40B4-BE49-F238E27FC236}">
                <a16:creationId xmlns:a16="http://schemas.microsoft.com/office/drawing/2014/main" id="{0268573E-9B27-4A22-A5C4-2FE6009E979E}"/>
              </a:ext>
            </a:extLst>
          </p:cNvPr>
          <p:cNvSpPr/>
          <p:nvPr/>
        </p:nvSpPr>
        <p:spPr bwMode="gray">
          <a:xfrm>
            <a:off x="4253620" y="1690672"/>
            <a:ext cx="3493063" cy="2422571"/>
          </a:xfrm>
          <a:prstGeom prst="rect">
            <a:avLst/>
          </a:prstGeom>
          <a:noFill/>
          <a:ln w="25400" cap="flat" cmpd="sng" algn="ctr">
            <a:noFill/>
            <a:prstDash val="solid"/>
            <a:headEnd/>
            <a:tailEnd/>
          </a:ln>
          <a:effectLst/>
        </p:spPr>
        <p:txBody>
          <a:bodyPr wrap="square" lIns="171386" tIns="85693" rIns="85693" bIns="0" rtlCol="0" anchor="t"/>
          <a:lstStyle/>
          <a:p>
            <a:pPr marL="0" marR="0" lvl="0" indent="0" algn="ctr" defTabSz="671718" eaLnBrk="1" fontAlgn="base" latinLnBrk="0" hangingPunct="1">
              <a:lnSpc>
                <a:spcPct val="106000"/>
              </a:lnSpc>
              <a:spcBef>
                <a:spcPct val="0"/>
              </a:spcBef>
              <a:spcAft>
                <a:spcPct val="0"/>
              </a:spcAft>
              <a:buClrTx/>
              <a:buSzTx/>
              <a:buFontTx/>
              <a:buNone/>
              <a:tabLst/>
              <a:defRPr/>
            </a:pPr>
            <a:r>
              <a:rPr kumimoji="0" lang="en-US" sz="2645" b="1" i="0" u="none" strike="noStrike" kern="0" cap="small" spc="0" normalizeH="0" baseline="0" noProof="0" dirty="0">
                <a:ln>
                  <a:noFill/>
                </a:ln>
                <a:solidFill>
                  <a:prstClr val="black"/>
                </a:solidFill>
                <a:effectLst/>
                <a:uLnTx/>
                <a:uFillTx/>
                <a:ea typeface="+mn-ea"/>
                <a:cs typeface="+mn-cs"/>
                <a:sym typeface="Gotham Book" charset="0"/>
              </a:rPr>
              <a:t>Competitive</a:t>
            </a:r>
          </a:p>
          <a:p>
            <a:pPr marL="0" marR="0" lvl="0" indent="0" algn="ctr" defTabSz="671718" eaLnBrk="1" fontAlgn="base" latinLnBrk="0" hangingPunct="1">
              <a:lnSpc>
                <a:spcPct val="106000"/>
              </a:lnSpc>
              <a:spcBef>
                <a:spcPct val="0"/>
              </a:spcBef>
              <a:spcAft>
                <a:spcPct val="0"/>
              </a:spcAft>
              <a:buClrTx/>
              <a:buSzTx/>
              <a:buFontTx/>
              <a:buNone/>
              <a:tabLst/>
              <a:defRPr/>
            </a:pPr>
            <a:endParaRPr kumimoji="0" lang="en-US" sz="1312" b="1" i="0" u="none" strike="noStrike" kern="0" cap="small" spc="0" normalizeH="0" baseline="0" noProof="0" dirty="0">
              <a:ln>
                <a:noFill/>
              </a:ln>
              <a:solidFill>
                <a:prstClr val="black"/>
              </a:solidFill>
              <a:effectLst/>
              <a:uLnTx/>
              <a:uFillTx/>
              <a:ea typeface="+mn-ea"/>
              <a:cs typeface="+mn-cs"/>
              <a:sym typeface="Gotham Book" charset="0"/>
            </a:endParaRPr>
          </a:p>
          <a:p>
            <a:pPr marL="0" marR="0" lvl="0" indent="0" algn="ctr" defTabSz="671718" eaLnBrk="1" fontAlgn="base" latinLnBrk="0" hangingPunct="1">
              <a:lnSpc>
                <a:spcPct val="106000"/>
              </a:lnSpc>
              <a:spcBef>
                <a:spcPct val="0"/>
              </a:spcBef>
              <a:spcAft>
                <a:spcPct val="0"/>
              </a:spcAft>
              <a:buClrTx/>
              <a:buSzTx/>
              <a:buFontTx/>
              <a:buNone/>
              <a:tabLst/>
              <a:defRPr/>
            </a:pPr>
            <a:r>
              <a:rPr kumimoji="0" lang="en-US" sz="1312" b="0" i="0" u="none" strike="noStrike" kern="0" cap="none" spc="0" normalizeH="0" baseline="0" noProof="0" dirty="0">
                <a:ln>
                  <a:noFill/>
                </a:ln>
                <a:solidFill>
                  <a:prstClr val="black"/>
                </a:solidFill>
                <a:effectLst/>
                <a:uLnTx/>
                <a:uFillTx/>
                <a:ea typeface="+mn-ea"/>
                <a:cs typeface="+mn-cs"/>
                <a:sym typeface="Gotham Book" charset="0"/>
              </a:rPr>
              <a:t>A competitive model incentivizes crowd participants to develop creative and high quality outcomes in order to win prizes. This approach provides clients with a breadth of options to solve a problem or create an asset.</a:t>
            </a:r>
          </a:p>
        </p:txBody>
      </p:sp>
      <p:sp>
        <p:nvSpPr>
          <p:cNvPr id="64" name="Rectangle 63">
            <a:extLst>
              <a:ext uri="{FF2B5EF4-FFF2-40B4-BE49-F238E27FC236}">
                <a16:creationId xmlns:a16="http://schemas.microsoft.com/office/drawing/2014/main" id="{41A9318D-AD22-4CC5-8730-C7445EFBA17C}"/>
              </a:ext>
            </a:extLst>
          </p:cNvPr>
          <p:cNvSpPr/>
          <p:nvPr/>
        </p:nvSpPr>
        <p:spPr bwMode="gray">
          <a:xfrm>
            <a:off x="7928143" y="1686951"/>
            <a:ext cx="3493063" cy="2422571"/>
          </a:xfrm>
          <a:prstGeom prst="rect">
            <a:avLst/>
          </a:prstGeom>
          <a:noFill/>
          <a:ln w="25400" cap="flat" cmpd="sng" algn="ctr">
            <a:noFill/>
            <a:prstDash val="solid"/>
            <a:headEnd/>
            <a:tailEnd/>
          </a:ln>
          <a:effectLst/>
        </p:spPr>
        <p:txBody>
          <a:bodyPr wrap="square" lIns="171386" tIns="85693" rIns="85693" bIns="0" rtlCol="0" anchor="t"/>
          <a:lstStyle/>
          <a:p>
            <a:pPr marL="0" marR="0" lvl="0" indent="0" algn="ctr" defTabSz="671718" eaLnBrk="1" fontAlgn="base" latinLnBrk="0" hangingPunct="1">
              <a:lnSpc>
                <a:spcPct val="106000"/>
              </a:lnSpc>
              <a:spcBef>
                <a:spcPct val="0"/>
              </a:spcBef>
              <a:spcAft>
                <a:spcPct val="0"/>
              </a:spcAft>
              <a:buClrTx/>
              <a:buSzTx/>
              <a:buFontTx/>
              <a:buNone/>
              <a:tabLst/>
              <a:defRPr/>
            </a:pPr>
            <a:r>
              <a:rPr kumimoji="0" lang="en-US" sz="2645" b="1" i="0" u="none" strike="noStrike" kern="0" cap="small" spc="0" normalizeH="0" baseline="0" noProof="0" dirty="0">
                <a:ln>
                  <a:noFill/>
                </a:ln>
                <a:solidFill>
                  <a:prstClr val="black"/>
                </a:solidFill>
                <a:effectLst/>
                <a:uLnTx/>
                <a:uFillTx/>
                <a:ea typeface="+mn-ea"/>
                <a:cs typeface="+mn-cs"/>
                <a:sym typeface="Gotham Book" charset="0"/>
              </a:rPr>
              <a:t>Distributed</a:t>
            </a:r>
          </a:p>
          <a:p>
            <a:pPr marL="0" marR="0" lvl="0" indent="0" algn="ctr" defTabSz="671718" eaLnBrk="1" fontAlgn="base" latinLnBrk="0" hangingPunct="1">
              <a:lnSpc>
                <a:spcPct val="106000"/>
              </a:lnSpc>
              <a:spcBef>
                <a:spcPct val="0"/>
              </a:spcBef>
              <a:spcAft>
                <a:spcPct val="0"/>
              </a:spcAft>
              <a:buClrTx/>
              <a:buSzTx/>
              <a:buFontTx/>
              <a:buNone/>
              <a:tabLst/>
              <a:defRPr/>
            </a:pPr>
            <a:endParaRPr kumimoji="0" lang="en-US" sz="1312" b="1" i="0" u="none" strike="noStrike" kern="0" cap="small" spc="0" normalizeH="0" baseline="0" noProof="0" dirty="0">
              <a:ln>
                <a:noFill/>
              </a:ln>
              <a:solidFill>
                <a:prstClr val="black"/>
              </a:solidFill>
              <a:effectLst/>
              <a:uLnTx/>
              <a:uFillTx/>
              <a:ea typeface="+mn-ea"/>
              <a:cs typeface="+mn-cs"/>
              <a:sym typeface="Gotham Book" charset="0"/>
            </a:endParaRPr>
          </a:p>
          <a:p>
            <a:pPr marL="0" marR="0" lvl="0" indent="0" algn="ctr" defTabSz="671718" eaLnBrk="1" fontAlgn="base" latinLnBrk="0" hangingPunct="1">
              <a:lnSpc>
                <a:spcPct val="106000"/>
              </a:lnSpc>
              <a:spcBef>
                <a:spcPct val="0"/>
              </a:spcBef>
              <a:spcAft>
                <a:spcPct val="0"/>
              </a:spcAft>
              <a:buClrTx/>
              <a:buSzTx/>
              <a:buFontTx/>
              <a:buNone/>
              <a:tabLst/>
              <a:defRPr/>
            </a:pPr>
            <a:r>
              <a:rPr kumimoji="0" lang="en-US" sz="1312" b="0" i="0" u="none" strike="noStrike" kern="0" cap="none" spc="0" normalizeH="0" baseline="0" noProof="0" dirty="0">
                <a:ln>
                  <a:noFill/>
                </a:ln>
                <a:solidFill>
                  <a:prstClr val="black"/>
                </a:solidFill>
                <a:effectLst/>
                <a:uLnTx/>
                <a:uFillTx/>
                <a:ea typeface="+mn-ea"/>
                <a:cs typeface="+mn-cs"/>
                <a:sym typeface="Gotham Book" charset="0"/>
              </a:rPr>
              <a:t>A distributed model splits a piece of work into micro-tasks that can be distributed to a large and geographically diverse crowd, allowing for rapid global data collection and insight generation. </a:t>
            </a:r>
          </a:p>
        </p:txBody>
      </p:sp>
      <p:cxnSp>
        <p:nvCxnSpPr>
          <p:cNvPr id="65" name="Straight Connector 64">
            <a:extLst>
              <a:ext uri="{FF2B5EF4-FFF2-40B4-BE49-F238E27FC236}">
                <a16:creationId xmlns:a16="http://schemas.microsoft.com/office/drawing/2014/main" id="{4255B87F-D890-42C7-AE48-967B95D6DC29}"/>
              </a:ext>
            </a:extLst>
          </p:cNvPr>
          <p:cNvCxnSpPr/>
          <p:nvPr/>
        </p:nvCxnSpPr>
        <p:spPr>
          <a:xfrm>
            <a:off x="4181539" y="1686951"/>
            <a:ext cx="0" cy="4345779"/>
          </a:xfrm>
          <a:prstGeom prst="line">
            <a:avLst/>
          </a:prstGeom>
          <a:noFill/>
          <a:ln w="38100" cap="flat" cmpd="sng" algn="ctr">
            <a:solidFill>
              <a:schemeClr val="accent1"/>
            </a:solidFill>
            <a:prstDash val="solid"/>
          </a:ln>
          <a:effectLst/>
        </p:spPr>
      </p:cxnSp>
      <p:cxnSp>
        <p:nvCxnSpPr>
          <p:cNvPr id="66" name="Straight Connector 65">
            <a:extLst>
              <a:ext uri="{FF2B5EF4-FFF2-40B4-BE49-F238E27FC236}">
                <a16:creationId xmlns:a16="http://schemas.microsoft.com/office/drawing/2014/main" id="{EF79CAD3-6119-4073-A93E-4BEECB7A391A}"/>
              </a:ext>
            </a:extLst>
          </p:cNvPr>
          <p:cNvCxnSpPr/>
          <p:nvPr/>
        </p:nvCxnSpPr>
        <p:spPr>
          <a:xfrm>
            <a:off x="7883016" y="1686951"/>
            <a:ext cx="0" cy="4345779"/>
          </a:xfrm>
          <a:prstGeom prst="line">
            <a:avLst/>
          </a:prstGeom>
          <a:noFill/>
          <a:ln w="38100" cap="flat" cmpd="sng" algn="ctr">
            <a:solidFill>
              <a:schemeClr val="accent1"/>
            </a:solidFill>
            <a:prstDash val="solid"/>
          </a:ln>
          <a:effectLst/>
        </p:spPr>
      </p:cxnSp>
      <p:sp>
        <p:nvSpPr>
          <p:cNvPr id="68" name="Freeform 9">
            <a:extLst>
              <a:ext uri="{FF2B5EF4-FFF2-40B4-BE49-F238E27FC236}">
                <a16:creationId xmlns:a16="http://schemas.microsoft.com/office/drawing/2014/main" id="{00F16078-EE76-4CEB-B057-81C5E7FB7809}"/>
              </a:ext>
            </a:extLst>
          </p:cNvPr>
          <p:cNvSpPr>
            <a:spLocks noChangeAspect="1" noEditPoints="1"/>
          </p:cNvSpPr>
          <p:nvPr/>
        </p:nvSpPr>
        <p:spPr bwMode="auto">
          <a:xfrm>
            <a:off x="1307995" y="5561513"/>
            <a:ext cx="230624" cy="5271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1"/>
          </a:solidFill>
          <a:ln w="0">
            <a:solidFill>
              <a:schemeClr val="accent1"/>
            </a:solidFill>
            <a:prstDash val="solid"/>
            <a:round/>
            <a:headEnd/>
            <a:tailEnd/>
          </a:ln>
        </p:spPr>
        <p:txBody>
          <a:bodyPr vert="horz" wrap="square" lIns="85693" tIns="42847" rIns="85693" bIns="42847"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US" sz="1687" b="0" i="0" u="none" strike="noStrike" kern="0" cap="none" spc="0" normalizeH="0" baseline="0" noProof="0" dirty="0">
              <a:ln>
                <a:noFill/>
              </a:ln>
              <a:solidFill>
                <a:srgbClr val="343434"/>
              </a:solidFill>
              <a:effectLst/>
              <a:uLnTx/>
              <a:uFillTx/>
              <a:latin typeface="Gotham Book" charset="0"/>
              <a:ea typeface="ヒラギノ角ゴ ProN W3" charset="0"/>
              <a:sym typeface="Gotham Book" charset="0"/>
            </a:endParaRPr>
          </a:p>
        </p:txBody>
      </p:sp>
      <p:sp>
        <p:nvSpPr>
          <p:cNvPr id="69" name="Freeform 13">
            <a:extLst>
              <a:ext uri="{FF2B5EF4-FFF2-40B4-BE49-F238E27FC236}">
                <a16:creationId xmlns:a16="http://schemas.microsoft.com/office/drawing/2014/main" id="{76039945-EFC7-4482-8D51-7EE0F0B820B7}"/>
              </a:ext>
            </a:extLst>
          </p:cNvPr>
          <p:cNvSpPr>
            <a:spLocks noChangeAspect="1" noEditPoints="1"/>
          </p:cNvSpPr>
          <p:nvPr/>
        </p:nvSpPr>
        <p:spPr bwMode="auto">
          <a:xfrm>
            <a:off x="1737195" y="5581876"/>
            <a:ext cx="278031" cy="527168"/>
          </a:xfrm>
          <a:custGeom>
            <a:avLst/>
            <a:gdLst>
              <a:gd name="T0" fmla="*/ 319 w 324"/>
              <a:gd name="T1" fmla="*/ 352 h 706"/>
              <a:gd name="T2" fmla="*/ 319 w 324"/>
              <a:gd name="T3" fmla="*/ 352 h 706"/>
              <a:gd name="T4" fmla="*/ 276 w 324"/>
              <a:gd name="T5" fmla="*/ 200 h 706"/>
              <a:gd name="T6" fmla="*/ 205 w 324"/>
              <a:gd name="T7" fmla="*/ 140 h 706"/>
              <a:gd name="T8" fmla="*/ 161 w 324"/>
              <a:gd name="T9" fmla="*/ 140 h 706"/>
              <a:gd name="T10" fmla="*/ 118 w 324"/>
              <a:gd name="T11" fmla="*/ 140 h 706"/>
              <a:gd name="T12" fmla="*/ 48 w 324"/>
              <a:gd name="T13" fmla="*/ 200 h 706"/>
              <a:gd name="T14" fmla="*/ 3 w 324"/>
              <a:gd name="T15" fmla="*/ 352 h 706"/>
              <a:gd name="T16" fmla="*/ 14 w 324"/>
              <a:gd name="T17" fmla="*/ 385 h 706"/>
              <a:gd name="T18" fmla="*/ 41 w 324"/>
              <a:gd name="T19" fmla="*/ 367 h 706"/>
              <a:gd name="T20" fmla="*/ 84 w 324"/>
              <a:gd name="T21" fmla="*/ 219 h 706"/>
              <a:gd name="T22" fmla="*/ 112 w 324"/>
              <a:gd name="T23" fmla="*/ 219 h 706"/>
              <a:gd name="T24" fmla="*/ 37 w 324"/>
              <a:gd name="T25" fmla="*/ 484 h 706"/>
              <a:gd name="T26" fmla="*/ 100 w 324"/>
              <a:gd name="T27" fmla="*/ 484 h 706"/>
              <a:gd name="T28" fmla="*/ 100 w 324"/>
              <a:gd name="T29" fmla="*/ 484 h 706"/>
              <a:gd name="T30" fmla="*/ 100 w 324"/>
              <a:gd name="T31" fmla="*/ 683 h 706"/>
              <a:gd name="T32" fmla="*/ 125 w 324"/>
              <a:gd name="T33" fmla="*/ 706 h 706"/>
              <a:gd name="T34" fmla="*/ 148 w 324"/>
              <a:gd name="T35" fmla="*/ 681 h 706"/>
              <a:gd name="T36" fmla="*/ 148 w 324"/>
              <a:gd name="T37" fmla="*/ 484 h 706"/>
              <a:gd name="T38" fmla="*/ 175 w 324"/>
              <a:gd name="T39" fmla="*/ 484 h 706"/>
              <a:gd name="T40" fmla="*/ 175 w 324"/>
              <a:gd name="T41" fmla="*/ 681 h 706"/>
              <a:gd name="T42" fmla="*/ 199 w 324"/>
              <a:gd name="T43" fmla="*/ 706 h 706"/>
              <a:gd name="T44" fmla="*/ 223 w 324"/>
              <a:gd name="T45" fmla="*/ 683 h 706"/>
              <a:gd name="T46" fmla="*/ 223 w 324"/>
              <a:gd name="T47" fmla="*/ 484 h 706"/>
              <a:gd name="T48" fmla="*/ 223 w 324"/>
              <a:gd name="T49" fmla="*/ 484 h 706"/>
              <a:gd name="T50" fmla="*/ 285 w 324"/>
              <a:gd name="T51" fmla="*/ 484 h 706"/>
              <a:gd name="T52" fmla="*/ 209 w 324"/>
              <a:gd name="T53" fmla="*/ 219 h 706"/>
              <a:gd name="T54" fmla="*/ 238 w 324"/>
              <a:gd name="T55" fmla="*/ 219 h 706"/>
              <a:gd name="T56" fmla="*/ 280 w 324"/>
              <a:gd name="T57" fmla="*/ 367 h 706"/>
              <a:gd name="T58" fmla="*/ 307 w 324"/>
              <a:gd name="T59" fmla="*/ 386 h 706"/>
              <a:gd name="T60" fmla="*/ 319 w 324"/>
              <a:gd name="T61" fmla="*/ 352 h 706"/>
              <a:gd name="T62" fmla="*/ 104 w 324"/>
              <a:gd name="T63" fmla="*/ 56 h 706"/>
              <a:gd name="T64" fmla="*/ 104 w 324"/>
              <a:gd name="T65" fmla="*/ 56 h 706"/>
              <a:gd name="T66" fmla="*/ 162 w 324"/>
              <a:gd name="T67" fmla="*/ 0 h 706"/>
              <a:gd name="T68" fmla="*/ 219 w 324"/>
              <a:gd name="T69" fmla="*/ 56 h 706"/>
              <a:gd name="T70" fmla="*/ 162 w 324"/>
              <a:gd name="T71" fmla="*/ 112 h 706"/>
              <a:gd name="T72" fmla="*/ 104 w 324"/>
              <a:gd name="T73" fmla="*/ 5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4" h="706">
                <a:moveTo>
                  <a:pt x="319" y="352"/>
                </a:moveTo>
                <a:lnTo>
                  <a:pt x="319" y="352"/>
                </a:lnTo>
                <a:lnTo>
                  <a:pt x="276" y="200"/>
                </a:lnTo>
                <a:cubicBezTo>
                  <a:pt x="258" y="138"/>
                  <a:pt x="205" y="140"/>
                  <a:pt x="205" y="140"/>
                </a:cubicBezTo>
                <a:lnTo>
                  <a:pt x="161" y="140"/>
                </a:lnTo>
                <a:lnTo>
                  <a:pt x="118" y="140"/>
                </a:lnTo>
                <a:cubicBezTo>
                  <a:pt x="118" y="140"/>
                  <a:pt x="65" y="138"/>
                  <a:pt x="48" y="200"/>
                </a:cubicBezTo>
                <a:lnTo>
                  <a:pt x="3" y="352"/>
                </a:lnTo>
                <a:cubicBezTo>
                  <a:pt x="0" y="367"/>
                  <a:pt x="2" y="381"/>
                  <a:pt x="14" y="385"/>
                </a:cubicBezTo>
                <a:cubicBezTo>
                  <a:pt x="27" y="389"/>
                  <a:pt x="38" y="379"/>
                  <a:pt x="41" y="367"/>
                </a:cubicBezTo>
                <a:lnTo>
                  <a:pt x="84" y="219"/>
                </a:lnTo>
                <a:lnTo>
                  <a:pt x="112" y="219"/>
                </a:lnTo>
                <a:lnTo>
                  <a:pt x="37" y="484"/>
                </a:lnTo>
                <a:lnTo>
                  <a:pt x="100" y="484"/>
                </a:lnTo>
                <a:lnTo>
                  <a:pt x="100" y="484"/>
                </a:lnTo>
                <a:lnTo>
                  <a:pt x="100" y="683"/>
                </a:lnTo>
                <a:cubicBezTo>
                  <a:pt x="100" y="697"/>
                  <a:pt x="109" y="705"/>
                  <a:pt x="125" y="706"/>
                </a:cubicBezTo>
                <a:cubicBezTo>
                  <a:pt x="139" y="706"/>
                  <a:pt x="148" y="696"/>
                  <a:pt x="148" y="681"/>
                </a:cubicBezTo>
                <a:lnTo>
                  <a:pt x="148" y="484"/>
                </a:lnTo>
                <a:lnTo>
                  <a:pt x="175" y="484"/>
                </a:lnTo>
                <a:lnTo>
                  <a:pt x="175" y="681"/>
                </a:lnTo>
                <a:cubicBezTo>
                  <a:pt x="175" y="696"/>
                  <a:pt x="185" y="706"/>
                  <a:pt x="199" y="706"/>
                </a:cubicBezTo>
                <a:cubicBezTo>
                  <a:pt x="214" y="705"/>
                  <a:pt x="223" y="697"/>
                  <a:pt x="223" y="683"/>
                </a:cubicBezTo>
                <a:lnTo>
                  <a:pt x="223" y="484"/>
                </a:lnTo>
                <a:lnTo>
                  <a:pt x="223" y="484"/>
                </a:lnTo>
                <a:lnTo>
                  <a:pt x="285" y="484"/>
                </a:lnTo>
                <a:lnTo>
                  <a:pt x="209" y="219"/>
                </a:lnTo>
                <a:lnTo>
                  <a:pt x="238" y="219"/>
                </a:lnTo>
                <a:lnTo>
                  <a:pt x="280" y="367"/>
                </a:lnTo>
                <a:cubicBezTo>
                  <a:pt x="284" y="379"/>
                  <a:pt x="294" y="389"/>
                  <a:pt x="307" y="386"/>
                </a:cubicBezTo>
                <a:cubicBezTo>
                  <a:pt x="320" y="382"/>
                  <a:pt x="324" y="367"/>
                  <a:pt x="319" y="352"/>
                </a:cubicBezTo>
                <a:close/>
                <a:moveTo>
                  <a:pt x="104" y="56"/>
                </a:moveTo>
                <a:lnTo>
                  <a:pt x="104" y="56"/>
                </a:lnTo>
                <a:cubicBezTo>
                  <a:pt x="104" y="24"/>
                  <a:pt x="130" y="0"/>
                  <a:pt x="162" y="0"/>
                </a:cubicBezTo>
                <a:cubicBezTo>
                  <a:pt x="193" y="0"/>
                  <a:pt x="219" y="24"/>
                  <a:pt x="219" y="56"/>
                </a:cubicBezTo>
                <a:cubicBezTo>
                  <a:pt x="219" y="87"/>
                  <a:pt x="193" y="112"/>
                  <a:pt x="162" y="112"/>
                </a:cubicBezTo>
                <a:cubicBezTo>
                  <a:pt x="130" y="112"/>
                  <a:pt x="104" y="87"/>
                  <a:pt x="104" y="56"/>
                </a:cubicBezTo>
                <a:close/>
              </a:path>
            </a:pathLst>
          </a:custGeom>
          <a:solidFill>
            <a:schemeClr val="accent2"/>
          </a:solidFill>
          <a:ln w="0">
            <a:solidFill>
              <a:schemeClr val="accent2"/>
            </a:solidFill>
            <a:prstDash val="solid"/>
            <a:round/>
            <a:headEnd/>
            <a:tailEnd/>
          </a:ln>
        </p:spPr>
        <p:txBody>
          <a:bodyPr vert="horz" wrap="square" lIns="85693" tIns="42847" rIns="85693" bIns="42847"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US" sz="1687" b="0" i="0" u="none" strike="noStrike" kern="0" cap="none" spc="0" normalizeH="0" baseline="0" noProof="0" dirty="0">
              <a:ln>
                <a:noFill/>
              </a:ln>
              <a:solidFill>
                <a:srgbClr val="343434"/>
              </a:solidFill>
              <a:effectLst/>
              <a:uLnTx/>
              <a:uFillTx/>
              <a:latin typeface="Gotham Book" charset="0"/>
              <a:ea typeface="ヒラギノ角ゴ ProN W3" charset="0"/>
              <a:sym typeface="Gotham Book" charset="0"/>
            </a:endParaRPr>
          </a:p>
        </p:txBody>
      </p:sp>
      <p:sp>
        <p:nvSpPr>
          <p:cNvPr id="70" name="Freeform 9">
            <a:extLst>
              <a:ext uri="{FF2B5EF4-FFF2-40B4-BE49-F238E27FC236}">
                <a16:creationId xmlns:a16="http://schemas.microsoft.com/office/drawing/2014/main" id="{3583DC95-8FD8-492F-9A32-A5AB128C3849}"/>
              </a:ext>
            </a:extLst>
          </p:cNvPr>
          <p:cNvSpPr>
            <a:spLocks noChangeAspect="1" noEditPoints="1"/>
          </p:cNvSpPr>
          <p:nvPr/>
        </p:nvSpPr>
        <p:spPr bwMode="auto">
          <a:xfrm>
            <a:off x="2213803" y="5572454"/>
            <a:ext cx="230624" cy="5271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1"/>
          </a:solidFill>
          <a:ln w="0">
            <a:solidFill>
              <a:schemeClr val="accent1"/>
            </a:solidFill>
            <a:prstDash val="solid"/>
            <a:round/>
            <a:headEnd/>
            <a:tailEnd/>
          </a:ln>
        </p:spPr>
        <p:txBody>
          <a:bodyPr vert="horz" wrap="square" lIns="85693" tIns="42847" rIns="85693" bIns="42847"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US" sz="1687" b="0" i="0" u="none" strike="noStrike" kern="0" cap="none" spc="0" normalizeH="0" baseline="0" noProof="0" dirty="0">
              <a:ln>
                <a:noFill/>
              </a:ln>
              <a:solidFill>
                <a:srgbClr val="343434"/>
              </a:solidFill>
              <a:effectLst/>
              <a:uLnTx/>
              <a:uFillTx/>
              <a:latin typeface="Gotham Book" charset="0"/>
              <a:ea typeface="ヒラギノ角ゴ ProN W3" charset="0"/>
              <a:sym typeface="Gotham Book" charset="0"/>
            </a:endParaRPr>
          </a:p>
        </p:txBody>
      </p:sp>
      <p:sp>
        <p:nvSpPr>
          <p:cNvPr id="71" name="Freeform 9">
            <a:extLst>
              <a:ext uri="{FF2B5EF4-FFF2-40B4-BE49-F238E27FC236}">
                <a16:creationId xmlns:a16="http://schemas.microsoft.com/office/drawing/2014/main" id="{8E66522E-4FCC-407A-BB6D-93F424577089}"/>
              </a:ext>
            </a:extLst>
          </p:cNvPr>
          <p:cNvSpPr>
            <a:spLocks noChangeAspect="1" noEditPoints="1"/>
          </p:cNvSpPr>
          <p:nvPr/>
        </p:nvSpPr>
        <p:spPr bwMode="auto">
          <a:xfrm>
            <a:off x="3119612" y="5572454"/>
            <a:ext cx="230624" cy="5271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1"/>
          </a:solidFill>
          <a:ln w="0">
            <a:solidFill>
              <a:schemeClr val="accent1"/>
            </a:solidFill>
            <a:prstDash val="solid"/>
            <a:round/>
            <a:headEnd/>
            <a:tailEnd/>
          </a:ln>
        </p:spPr>
        <p:txBody>
          <a:bodyPr vert="horz" wrap="square" lIns="85693" tIns="42847" rIns="85693" bIns="42847"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US" sz="1687" b="0" i="0" u="none" strike="noStrike" kern="0" cap="none" spc="0" normalizeH="0" baseline="0" noProof="0" dirty="0">
              <a:ln>
                <a:noFill/>
              </a:ln>
              <a:solidFill>
                <a:srgbClr val="343434"/>
              </a:solidFill>
              <a:effectLst/>
              <a:uLnTx/>
              <a:uFillTx/>
              <a:latin typeface="Gotham Book" charset="0"/>
              <a:ea typeface="ヒラギノ角ゴ ProN W3" charset="0"/>
              <a:sym typeface="Gotham Book" charset="0"/>
            </a:endParaRPr>
          </a:p>
        </p:txBody>
      </p:sp>
      <p:sp>
        <p:nvSpPr>
          <p:cNvPr id="72" name="Freeform 13">
            <a:extLst>
              <a:ext uri="{FF2B5EF4-FFF2-40B4-BE49-F238E27FC236}">
                <a16:creationId xmlns:a16="http://schemas.microsoft.com/office/drawing/2014/main" id="{BA76B27B-D64C-4928-B240-250312CCD0F8}"/>
              </a:ext>
            </a:extLst>
          </p:cNvPr>
          <p:cNvSpPr>
            <a:spLocks noChangeAspect="1" noEditPoints="1"/>
          </p:cNvSpPr>
          <p:nvPr/>
        </p:nvSpPr>
        <p:spPr bwMode="auto">
          <a:xfrm>
            <a:off x="2643004" y="5590604"/>
            <a:ext cx="278031" cy="527168"/>
          </a:xfrm>
          <a:custGeom>
            <a:avLst/>
            <a:gdLst>
              <a:gd name="T0" fmla="*/ 319 w 324"/>
              <a:gd name="T1" fmla="*/ 352 h 706"/>
              <a:gd name="T2" fmla="*/ 319 w 324"/>
              <a:gd name="T3" fmla="*/ 352 h 706"/>
              <a:gd name="T4" fmla="*/ 276 w 324"/>
              <a:gd name="T5" fmla="*/ 200 h 706"/>
              <a:gd name="T6" fmla="*/ 205 w 324"/>
              <a:gd name="T7" fmla="*/ 140 h 706"/>
              <a:gd name="T8" fmla="*/ 161 w 324"/>
              <a:gd name="T9" fmla="*/ 140 h 706"/>
              <a:gd name="T10" fmla="*/ 118 w 324"/>
              <a:gd name="T11" fmla="*/ 140 h 706"/>
              <a:gd name="T12" fmla="*/ 48 w 324"/>
              <a:gd name="T13" fmla="*/ 200 h 706"/>
              <a:gd name="T14" fmla="*/ 3 w 324"/>
              <a:gd name="T15" fmla="*/ 352 h 706"/>
              <a:gd name="T16" fmla="*/ 14 w 324"/>
              <a:gd name="T17" fmla="*/ 385 h 706"/>
              <a:gd name="T18" fmla="*/ 41 w 324"/>
              <a:gd name="T19" fmla="*/ 367 h 706"/>
              <a:gd name="T20" fmla="*/ 84 w 324"/>
              <a:gd name="T21" fmla="*/ 219 h 706"/>
              <a:gd name="T22" fmla="*/ 112 w 324"/>
              <a:gd name="T23" fmla="*/ 219 h 706"/>
              <a:gd name="T24" fmla="*/ 37 w 324"/>
              <a:gd name="T25" fmla="*/ 484 h 706"/>
              <a:gd name="T26" fmla="*/ 100 w 324"/>
              <a:gd name="T27" fmla="*/ 484 h 706"/>
              <a:gd name="T28" fmla="*/ 100 w 324"/>
              <a:gd name="T29" fmla="*/ 484 h 706"/>
              <a:gd name="T30" fmla="*/ 100 w 324"/>
              <a:gd name="T31" fmla="*/ 683 h 706"/>
              <a:gd name="T32" fmla="*/ 125 w 324"/>
              <a:gd name="T33" fmla="*/ 706 h 706"/>
              <a:gd name="T34" fmla="*/ 148 w 324"/>
              <a:gd name="T35" fmla="*/ 681 h 706"/>
              <a:gd name="T36" fmla="*/ 148 w 324"/>
              <a:gd name="T37" fmla="*/ 484 h 706"/>
              <a:gd name="T38" fmla="*/ 175 w 324"/>
              <a:gd name="T39" fmla="*/ 484 h 706"/>
              <a:gd name="T40" fmla="*/ 175 w 324"/>
              <a:gd name="T41" fmla="*/ 681 h 706"/>
              <a:gd name="T42" fmla="*/ 199 w 324"/>
              <a:gd name="T43" fmla="*/ 706 h 706"/>
              <a:gd name="T44" fmla="*/ 223 w 324"/>
              <a:gd name="T45" fmla="*/ 683 h 706"/>
              <a:gd name="T46" fmla="*/ 223 w 324"/>
              <a:gd name="T47" fmla="*/ 484 h 706"/>
              <a:gd name="T48" fmla="*/ 223 w 324"/>
              <a:gd name="T49" fmla="*/ 484 h 706"/>
              <a:gd name="T50" fmla="*/ 285 w 324"/>
              <a:gd name="T51" fmla="*/ 484 h 706"/>
              <a:gd name="T52" fmla="*/ 209 w 324"/>
              <a:gd name="T53" fmla="*/ 219 h 706"/>
              <a:gd name="T54" fmla="*/ 238 w 324"/>
              <a:gd name="T55" fmla="*/ 219 h 706"/>
              <a:gd name="T56" fmla="*/ 280 w 324"/>
              <a:gd name="T57" fmla="*/ 367 h 706"/>
              <a:gd name="T58" fmla="*/ 307 w 324"/>
              <a:gd name="T59" fmla="*/ 386 h 706"/>
              <a:gd name="T60" fmla="*/ 319 w 324"/>
              <a:gd name="T61" fmla="*/ 352 h 706"/>
              <a:gd name="T62" fmla="*/ 104 w 324"/>
              <a:gd name="T63" fmla="*/ 56 h 706"/>
              <a:gd name="T64" fmla="*/ 104 w 324"/>
              <a:gd name="T65" fmla="*/ 56 h 706"/>
              <a:gd name="T66" fmla="*/ 162 w 324"/>
              <a:gd name="T67" fmla="*/ 0 h 706"/>
              <a:gd name="T68" fmla="*/ 219 w 324"/>
              <a:gd name="T69" fmla="*/ 56 h 706"/>
              <a:gd name="T70" fmla="*/ 162 w 324"/>
              <a:gd name="T71" fmla="*/ 112 h 706"/>
              <a:gd name="T72" fmla="*/ 104 w 324"/>
              <a:gd name="T73" fmla="*/ 5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4" h="706">
                <a:moveTo>
                  <a:pt x="319" y="352"/>
                </a:moveTo>
                <a:lnTo>
                  <a:pt x="319" y="352"/>
                </a:lnTo>
                <a:lnTo>
                  <a:pt x="276" y="200"/>
                </a:lnTo>
                <a:cubicBezTo>
                  <a:pt x="258" y="138"/>
                  <a:pt x="205" y="140"/>
                  <a:pt x="205" y="140"/>
                </a:cubicBezTo>
                <a:lnTo>
                  <a:pt x="161" y="140"/>
                </a:lnTo>
                <a:lnTo>
                  <a:pt x="118" y="140"/>
                </a:lnTo>
                <a:cubicBezTo>
                  <a:pt x="118" y="140"/>
                  <a:pt x="65" y="138"/>
                  <a:pt x="48" y="200"/>
                </a:cubicBezTo>
                <a:lnTo>
                  <a:pt x="3" y="352"/>
                </a:lnTo>
                <a:cubicBezTo>
                  <a:pt x="0" y="367"/>
                  <a:pt x="2" y="381"/>
                  <a:pt x="14" y="385"/>
                </a:cubicBezTo>
                <a:cubicBezTo>
                  <a:pt x="27" y="389"/>
                  <a:pt x="38" y="379"/>
                  <a:pt x="41" y="367"/>
                </a:cubicBezTo>
                <a:lnTo>
                  <a:pt x="84" y="219"/>
                </a:lnTo>
                <a:lnTo>
                  <a:pt x="112" y="219"/>
                </a:lnTo>
                <a:lnTo>
                  <a:pt x="37" y="484"/>
                </a:lnTo>
                <a:lnTo>
                  <a:pt x="100" y="484"/>
                </a:lnTo>
                <a:lnTo>
                  <a:pt x="100" y="484"/>
                </a:lnTo>
                <a:lnTo>
                  <a:pt x="100" y="683"/>
                </a:lnTo>
                <a:cubicBezTo>
                  <a:pt x="100" y="697"/>
                  <a:pt x="109" y="705"/>
                  <a:pt x="125" y="706"/>
                </a:cubicBezTo>
                <a:cubicBezTo>
                  <a:pt x="139" y="706"/>
                  <a:pt x="148" y="696"/>
                  <a:pt x="148" y="681"/>
                </a:cubicBezTo>
                <a:lnTo>
                  <a:pt x="148" y="484"/>
                </a:lnTo>
                <a:lnTo>
                  <a:pt x="175" y="484"/>
                </a:lnTo>
                <a:lnTo>
                  <a:pt x="175" y="681"/>
                </a:lnTo>
                <a:cubicBezTo>
                  <a:pt x="175" y="696"/>
                  <a:pt x="185" y="706"/>
                  <a:pt x="199" y="706"/>
                </a:cubicBezTo>
                <a:cubicBezTo>
                  <a:pt x="214" y="705"/>
                  <a:pt x="223" y="697"/>
                  <a:pt x="223" y="683"/>
                </a:cubicBezTo>
                <a:lnTo>
                  <a:pt x="223" y="484"/>
                </a:lnTo>
                <a:lnTo>
                  <a:pt x="223" y="484"/>
                </a:lnTo>
                <a:lnTo>
                  <a:pt x="285" y="484"/>
                </a:lnTo>
                <a:lnTo>
                  <a:pt x="209" y="219"/>
                </a:lnTo>
                <a:lnTo>
                  <a:pt x="238" y="219"/>
                </a:lnTo>
                <a:lnTo>
                  <a:pt x="280" y="367"/>
                </a:lnTo>
                <a:cubicBezTo>
                  <a:pt x="284" y="379"/>
                  <a:pt x="294" y="389"/>
                  <a:pt x="307" y="386"/>
                </a:cubicBezTo>
                <a:cubicBezTo>
                  <a:pt x="320" y="382"/>
                  <a:pt x="324" y="367"/>
                  <a:pt x="319" y="352"/>
                </a:cubicBezTo>
                <a:close/>
                <a:moveTo>
                  <a:pt x="104" y="56"/>
                </a:moveTo>
                <a:lnTo>
                  <a:pt x="104" y="56"/>
                </a:lnTo>
                <a:cubicBezTo>
                  <a:pt x="104" y="24"/>
                  <a:pt x="130" y="0"/>
                  <a:pt x="162" y="0"/>
                </a:cubicBezTo>
                <a:cubicBezTo>
                  <a:pt x="193" y="0"/>
                  <a:pt x="219" y="24"/>
                  <a:pt x="219" y="56"/>
                </a:cubicBezTo>
                <a:cubicBezTo>
                  <a:pt x="219" y="87"/>
                  <a:pt x="193" y="112"/>
                  <a:pt x="162" y="112"/>
                </a:cubicBezTo>
                <a:cubicBezTo>
                  <a:pt x="130" y="112"/>
                  <a:pt x="104" y="87"/>
                  <a:pt x="104" y="56"/>
                </a:cubicBezTo>
                <a:close/>
              </a:path>
            </a:pathLst>
          </a:custGeom>
          <a:solidFill>
            <a:schemeClr val="accent2"/>
          </a:solidFill>
          <a:ln w="0">
            <a:solidFill>
              <a:schemeClr val="accent2"/>
            </a:solidFill>
            <a:prstDash val="solid"/>
            <a:round/>
            <a:headEnd/>
            <a:tailEnd/>
          </a:ln>
        </p:spPr>
        <p:txBody>
          <a:bodyPr vert="horz" wrap="square" lIns="85693" tIns="42847" rIns="85693" bIns="42847"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US" sz="1687" b="0" i="0" u="none" strike="noStrike" kern="0" cap="none" spc="0" normalizeH="0" baseline="0" noProof="0" dirty="0">
              <a:ln>
                <a:noFill/>
              </a:ln>
              <a:solidFill>
                <a:srgbClr val="343434"/>
              </a:solidFill>
              <a:effectLst/>
              <a:uLnTx/>
              <a:uFillTx/>
              <a:latin typeface="Gotham Book" charset="0"/>
              <a:ea typeface="ヒラギノ角ゴ ProN W3" charset="0"/>
              <a:sym typeface="Gotham Book" charset="0"/>
            </a:endParaRPr>
          </a:p>
        </p:txBody>
      </p:sp>
      <p:grpSp>
        <p:nvGrpSpPr>
          <p:cNvPr id="73" name="Group 72">
            <a:extLst>
              <a:ext uri="{FF2B5EF4-FFF2-40B4-BE49-F238E27FC236}">
                <a16:creationId xmlns:a16="http://schemas.microsoft.com/office/drawing/2014/main" id="{92C11FFC-AD4B-4C80-980C-BF36D9393170}"/>
              </a:ext>
            </a:extLst>
          </p:cNvPr>
          <p:cNvGrpSpPr/>
          <p:nvPr/>
        </p:nvGrpSpPr>
        <p:grpSpPr>
          <a:xfrm>
            <a:off x="1353649" y="4317673"/>
            <a:ext cx="1779754" cy="1223507"/>
            <a:chOff x="1727511" y="5322740"/>
            <a:chExt cx="2310303" cy="1755812"/>
          </a:xfrm>
        </p:grpSpPr>
        <p:sp>
          <p:nvSpPr>
            <p:cNvPr id="74" name="Cloud Callout 67">
              <a:extLst>
                <a:ext uri="{FF2B5EF4-FFF2-40B4-BE49-F238E27FC236}">
                  <a16:creationId xmlns:a16="http://schemas.microsoft.com/office/drawing/2014/main" id="{2EA69B24-CDC8-4EA0-9017-23711121A285}"/>
                </a:ext>
              </a:extLst>
            </p:cNvPr>
            <p:cNvSpPr/>
            <p:nvPr/>
          </p:nvSpPr>
          <p:spPr bwMode="gray">
            <a:xfrm>
              <a:off x="1727511" y="5322740"/>
              <a:ext cx="2041936" cy="1333268"/>
            </a:xfrm>
            <a:prstGeom prst="cloudCallout">
              <a:avLst>
                <a:gd name="adj1" fmla="val -13682"/>
                <a:gd name="adj2" fmla="val 71018"/>
              </a:avLst>
            </a:prstGeom>
            <a:solidFill>
              <a:sysClr val="window" lastClr="FFFFFF"/>
            </a:solidFill>
            <a:ln w="25400" cap="flat" cmpd="sng" algn="ctr">
              <a:solidFill>
                <a:schemeClr val="accent1"/>
              </a:solidFill>
              <a:prstDash val="solid"/>
              <a:headEnd/>
              <a:tailEnd/>
            </a:ln>
            <a:effectLst/>
          </p:spPr>
          <p:txBody>
            <a:bodyPr wrap="square" lIns="83313" tIns="83313" rIns="83313" bIns="83313" rtlCol="0" anchor="ctr"/>
            <a:lstStyle/>
            <a:p>
              <a:pPr marL="0" marR="0" lvl="0" indent="0" algn="ctr" defTabSz="671718" eaLnBrk="1" fontAlgn="base" latinLnBrk="0" hangingPunct="1">
                <a:lnSpc>
                  <a:spcPct val="106000"/>
                </a:lnSpc>
                <a:spcBef>
                  <a:spcPct val="0"/>
                </a:spcBef>
                <a:spcAft>
                  <a:spcPct val="0"/>
                </a:spcAft>
                <a:buClrTx/>
                <a:buSzTx/>
                <a:buFontTx/>
                <a:buNone/>
                <a:tabLst/>
                <a:defRPr/>
              </a:pPr>
              <a:endParaRPr kumimoji="0" lang="en-US" sz="1125" b="1" i="0" u="none" strike="noStrike" kern="0" cap="none" spc="0" normalizeH="0" baseline="0" noProof="0" dirty="0">
                <a:ln>
                  <a:noFill/>
                </a:ln>
                <a:solidFill>
                  <a:prstClr val="white"/>
                </a:solidFill>
                <a:effectLst/>
                <a:uLnTx/>
                <a:uFillTx/>
                <a:latin typeface="Verdana"/>
                <a:ea typeface="+mn-ea"/>
                <a:cs typeface="+mn-cs"/>
                <a:sym typeface="Gotham Book" charset="0"/>
              </a:endParaRPr>
            </a:p>
          </p:txBody>
        </p:sp>
        <p:sp>
          <p:nvSpPr>
            <p:cNvPr id="75" name="Oval 74">
              <a:extLst>
                <a:ext uri="{FF2B5EF4-FFF2-40B4-BE49-F238E27FC236}">
                  <a16:creationId xmlns:a16="http://schemas.microsoft.com/office/drawing/2014/main" id="{E1062822-1E4C-4858-8861-E7D6FEF0362B}"/>
                </a:ext>
              </a:extLst>
            </p:cNvPr>
            <p:cNvSpPr/>
            <p:nvPr/>
          </p:nvSpPr>
          <p:spPr bwMode="gray">
            <a:xfrm>
              <a:off x="3435590" y="6543709"/>
              <a:ext cx="206300" cy="161550"/>
            </a:xfrm>
            <a:prstGeom prst="ellipse">
              <a:avLst/>
            </a:prstGeom>
            <a:solidFill>
              <a:sysClr val="window" lastClr="FFFFFF"/>
            </a:solidFill>
            <a:ln w="25400" cap="flat" cmpd="sng" algn="ctr">
              <a:solidFill>
                <a:schemeClr val="accent1"/>
              </a:solidFill>
              <a:prstDash val="solid"/>
              <a:headEnd/>
              <a:tailEnd/>
            </a:ln>
            <a:effectLst/>
          </p:spPr>
          <p:txBody>
            <a:bodyPr wrap="square" lIns="83313" tIns="83313" rIns="83313" bIns="83313" rtlCol="0" anchor="ctr"/>
            <a:lstStyle/>
            <a:p>
              <a:pPr marL="0" marR="0" lvl="0" indent="0" algn="ctr" defTabSz="671718" eaLnBrk="1" fontAlgn="base" latinLnBrk="0" hangingPunct="1">
                <a:lnSpc>
                  <a:spcPct val="106000"/>
                </a:lnSpc>
                <a:spcBef>
                  <a:spcPct val="0"/>
                </a:spcBef>
                <a:spcAft>
                  <a:spcPct val="0"/>
                </a:spcAft>
                <a:buClrTx/>
                <a:buSzTx/>
                <a:buFontTx/>
                <a:buNone/>
                <a:tabLst/>
                <a:defRPr/>
              </a:pPr>
              <a:endParaRPr kumimoji="0" lang="en-US" sz="1125" b="1" i="0" u="none" strike="noStrike" kern="0" cap="none" spc="0" normalizeH="0" baseline="0" noProof="0" dirty="0">
                <a:ln>
                  <a:noFill/>
                </a:ln>
                <a:solidFill>
                  <a:prstClr val="white"/>
                </a:solidFill>
                <a:effectLst/>
                <a:uLnTx/>
                <a:uFillTx/>
                <a:latin typeface="Verdana"/>
                <a:ea typeface="+mn-ea"/>
                <a:cs typeface="+mn-cs"/>
                <a:sym typeface="Gotham Book" charset="0"/>
              </a:endParaRPr>
            </a:p>
          </p:txBody>
        </p:sp>
        <p:sp>
          <p:nvSpPr>
            <p:cNvPr id="76" name="Oval 75">
              <a:extLst>
                <a:ext uri="{FF2B5EF4-FFF2-40B4-BE49-F238E27FC236}">
                  <a16:creationId xmlns:a16="http://schemas.microsoft.com/office/drawing/2014/main" id="{6DE55E3E-42F8-40C0-BA20-1FB2E6A08F2F}"/>
                </a:ext>
              </a:extLst>
            </p:cNvPr>
            <p:cNvSpPr/>
            <p:nvPr/>
          </p:nvSpPr>
          <p:spPr bwMode="gray">
            <a:xfrm>
              <a:off x="3726947" y="6820298"/>
              <a:ext cx="154995" cy="121375"/>
            </a:xfrm>
            <a:prstGeom prst="ellipse">
              <a:avLst/>
            </a:prstGeom>
            <a:solidFill>
              <a:sysClr val="window" lastClr="FFFFFF"/>
            </a:solidFill>
            <a:ln w="25400" cap="flat" cmpd="sng" algn="ctr">
              <a:solidFill>
                <a:schemeClr val="accent1"/>
              </a:solidFill>
              <a:prstDash val="solid"/>
              <a:headEnd/>
              <a:tailEnd/>
            </a:ln>
            <a:effectLst/>
          </p:spPr>
          <p:txBody>
            <a:bodyPr wrap="square" lIns="83313" tIns="83313" rIns="83313" bIns="83313" rtlCol="0" anchor="ctr"/>
            <a:lstStyle/>
            <a:p>
              <a:pPr marL="0" marR="0" lvl="0" indent="0" algn="ctr" defTabSz="671718" eaLnBrk="1" fontAlgn="base" latinLnBrk="0" hangingPunct="1">
                <a:lnSpc>
                  <a:spcPct val="106000"/>
                </a:lnSpc>
                <a:spcBef>
                  <a:spcPct val="0"/>
                </a:spcBef>
                <a:spcAft>
                  <a:spcPct val="0"/>
                </a:spcAft>
                <a:buClrTx/>
                <a:buSzTx/>
                <a:buFontTx/>
                <a:buNone/>
                <a:tabLst/>
                <a:defRPr/>
              </a:pPr>
              <a:endParaRPr kumimoji="0" lang="en-US" sz="1125" b="1" i="0" u="none" strike="noStrike" kern="0" cap="none" spc="0" normalizeH="0" baseline="0" noProof="0" dirty="0">
                <a:ln>
                  <a:noFill/>
                </a:ln>
                <a:solidFill>
                  <a:prstClr val="white"/>
                </a:solidFill>
                <a:effectLst/>
                <a:uLnTx/>
                <a:uFillTx/>
                <a:latin typeface="Verdana"/>
                <a:ea typeface="+mn-ea"/>
                <a:cs typeface="+mn-cs"/>
                <a:sym typeface="Gotham Book" charset="0"/>
              </a:endParaRPr>
            </a:p>
          </p:txBody>
        </p:sp>
        <p:sp>
          <p:nvSpPr>
            <p:cNvPr id="77" name="Oval 76">
              <a:extLst>
                <a:ext uri="{FF2B5EF4-FFF2-40B4-BE49-F238E27FC236}">
                  <a16:creationId xmlns:a16="http://schemas.microsoft.com/office/drawing/2014/main" id="{3DB27FD1-1B55-4F85-AF59-9D2046F4EFBC}"/>
                </a:ext>
              </a:extLst>
            </p:cNvPr>
            <p:cNvSpPr/>
            <p:nvPr/>
          </p:nvSpPr>
          <p:spPr bwMode="gray">
            <a:xfrm>
              <a:off x="3921364" y="6987361"/>
              <a:ext cx="116450" cy="91191"/>
            </a:xfrm>
            <a:prstGeom prst="ellipse">
              <a:avLst/>
            </a:prstGeom>
            <a:solidFill>
              <a:sysClr val="window" lastClr="FFFFFF"/>
            </a:solidFill>
            <a:ln w="25400" cap="flat" cmpd="sng" algn="ctr">
              <a:solidFill>
                <a:schemeClr val="accent1"/>
              </a:solidFill>
              <a:prstDash val="solid"/>
              <a:headEnd/>
              <a:tailEnd/>
            </a:ln>
            <a:effectLst/>
          </p:spPr>
          <p:txBody>
            <a:bodyPr wrap="square" lIns="83313" tIns="83313" rIns="83313" bIns="83313" rtlCol="0" anchor="ctr"/>
            <a:lstStyle/>
            <a:p>
              <a:pPr marL="0" marR="0" lvl="0" indent="0" algn="ctr" defTabSz="671718" eaLnBrk="1" fontAlgn="base" latinLnBrk="0" hangingPunct="1">
                <a:lnSpc>
                  <a:spcPct val="106000"/>
                </a:lnSpc>
                <a:spcBef>
                  <a:spcPct val="0"/>
                </a:spcBef>
                <a:spcAft>
                  <a:spcPct val="0"/>
                </a:spcAft>
                <a:buClrTx/>
                <a:buSzTx/>
                <a:buFontTx/>
                <a:buNone/>
                <a:tabLst/>
                <a:defRPr/>
              </a:pPr>
              <a:endParaRPr kumimoji="0" lang="en-US" sz="1125" b="1" i="0" u="none" strike="noStrike" kern="0" cap="none" spc="0" normalizeH="0" baseline="0" noProof="0" dirty="0">
                <a:ln>
                  <a:noFill/>
                </a:ln>
                <a:solidFill>
                  <a:prstClr val="white"/>
                </a:solidFill>
                <a:effectLst/>
                <a:uLnTx/>
                <a:uFillTx/>
                <a:latin typeface="Verdana"/>
                <a:ea typeface="+mn-ea"/>
                <a:cs typeface="+mn-cs"/>
                <a:sym typeface="Gotham Book" charset="0"/>
              </a:endParaRPr>
            </a:p>
          </p:txBody>
        </p:sp>
        <p:sp>
          <p:nvSpPr>
            <p:cNvPr id="78" name="Oval 77">
              <a:extLst>
                <a:ext uri="{FF2B5EF4-FFF2-40B4-BE49-F238E27FC236}">
                  <a16:creationId xmlns:a16="http://schemas.microsoft.com/office/drawing/2014/main" id="{036532D4-E659-4121-873A-AB53347A14B1}"/>
                </a:ext>
              </a:extLst>
            </p:cNvPr>
            <p:cNvSpPr/>
            <p:nvPr/>
          </p:nvSpPr>
          <p:spPr bwMode="gray">
            <a:xfrm>
              <a:off x="2928029" y="6759911"/>
              <a:ext cx="116450" cy="91191"/>
            </a:xfrm>
            <a:prstGeom prst="ellipse">
              <a:avLst/>
            </a:prstGeom>
            <a:solidFill>
              <a:sysClr val="window" lastClr="FFFFFF"/>
            </a:solidFill>
            <a:ln w="25400" cap="flat" cmpd="sng" algn="ctr">
              <a:solidFill>
                <a:schemeClr val="accent1"/>
              </a:solidFill>
              <a:prstDash val="solid"/>
              <a:headEnd/>
              <a:tailEnd/>
            </a:ln>
            <a:effectLst/>
          </p:spPr>
          <p:txBody>
            <a:bodyPr wrap="square" lIns="83313" tIns="83313" rIns="83313" bIns="83313" rtlCol="0" anchor="ctr"/>
            <a:lstStyle/>
            <a:p>
              <a:pPr marL="0" marR="0" lvl="0" indent="0" algn="ctr" defTabSz="671718" eaLnBrk="1" fontAlgn="base" latinLnBrk="0" hangingPunct="1">
                <a:lnSpc>
                  <a:spcPct val="106000"/>
                </a:lnSpc>
                <a:spcBef>
                  <a:spcPct val="0"/>
                </a:spcBef>
                <a:spcAft>
                  <a:spcPct val="0"/>
                </a:spcAft>
                <a:buClrTx/>
                <a:buSzTx/>
                <a:buFontTx/>
                <a:buNone/>
                <a:tabLst/>
                <a:defRPr/>
              </a:pPr>
              <a:endParaRPr kumimoji="0" lang="en-US" sz="1125" b="1" i="0" u="none" strike="noStrike" kern="0" cap="none" spc="0" normalizeH="0" baseline="0" noProof="0" dirty="0">
                <a:ln>
                  <a:noFill/>
                </a:ln>
                <a:solidFill>
                  <a:prstClr val="white"/>
                </a:solidFill>
                <a:effectLst/>
                <a:uLnTx/>
                <a:uFillTx/>
                <a:latin typeface="Verdana"/>
                <a:ea typeface="+mn-ea"/>
                <a:cs typeface="+mn-cs"/>
                <a:sym typeface="Gotham Book" charset="0"/>
              </a:endParaRPr>
            </a:p>
          </p:txBody>
        </p:sp>
        <p:sp>
          <p:nvSpPr>
            <p:cNvPr id="79" name="Oval 78">
              <a:extLst>
                <a:ext uri="{FF2B5EF4-FFF2-40B4-BE49-F238E27FC236}">
                  <a16:creationId xmlns:a16="http://schemas.microsoft.com/office/drawing/2014/main" id="{45DC5F95-39D1-434F-BB5D-F50024E24AE3}"/>
                </a:ext>
              </a:extLst>
            </p:cNvPr>
            <p:cNvSpPr/>
            <p:nvPr/>
          </p:nvSpPr>
          <p:spPr bwMode="gray">
            <a:xfrm>
              <a:off x="3044179" y="6908457"/>
              <a:ext cx="87768" cy="45719"/>
            </a:xfrm>
            <a:prstGeom prst="ellipse">
              <a:avLst/>
            </a:prstGeom>
            <a:solidFill>
              <a:sysClr val="window" lastClr="FFFFFF"/>
            </a:solidFill>
            <a:ln w="25400" cap="flat" cmpd="sng" algn="ctr">
              <a:solidFill>
                <a:schemeClr val="accent1"/>
              </a:solidFill>
              <a:prstDash val="solid"/>
              <a:headEnd/>
              <a:tailEnd/>
            </a:ln>
            <a:effectLst/>
          </p:spPr>
          <p:txBody>
            <a:bodyPr wrap="square" lIns="83313" tIns="83313" rIns="83313" bIns="83313" rtlCol="0" anchor="ctr"/>
            <a:lstStyle/>
            <a:p>
              <a:pPr marL="0" marR="0" lvl="0" indent="0" algn="ctr" defTabSz="671718" eaLnBrk="1" fontAlgn="base" latinLnBrk="0" hangingPunct="1">
                <a:lnSpc>
                  <a:spcPct val="106000"/>
                </a:lnSpc>
                <a:spcBef>
                  <a:spcPct val="0"/>
                </a:spcBef>
                <a:spcAft>
                  <a:spcPct val="0"/>
                </a:spcAft>
                <a:buClrTx/>
                <a:buSzTx/>
                <a:buFontTx/>
                <a:buNone/>
                <a:tabLst/>
                <a:defRPr/>
              </a:pPr>
              <a:endParaRPr kumimoji="0" lang="en-US" sz="1125" b="1" i="0" u="none" strike="noStrike" kern="0" cap="none" spc="0" normalizeH="0" baseline="0" noProof="0" dirty="0">
                <a:ln>
                  <a:noFill/>
                </a:ln>
                <a:solidFill>
                  <a:prstClr val="white"/>
                </a:solidFill>
                <a:effectLst/>
                <a:uLnTx/>
                <a:uFillTx/>
                <a:latin typeface="Verdana"/>
                <a:ea typeface="+mn-ea"/>
                <a:cs typeface="+mn-cs"/>
                <a:sym typeface="Gotham Book" charset="0"/>
              </a:endParaRPr>
            </a:p>
          </p:txBody>
        </p:sp>
        <p:sp>
          <p:nvSpPr>
            <p:cNvPr id="80" name="Oval 79">
              <a:extLst>
                <a:ext uri="{FF2B5EF4-FFF2-40B4-BE49-F238E27FC236}">
                  <a16:creationId xmlns:a16="http://schemas.microsoft.com/office/drawing/2014/main" id="{018B27DD-30B6-4FF1-AFBE-836C2A5F30C4}"/>
                </a:ext>
              </a:extLst>
            </p:cNvPr>
            <p:cNvSpPr/>
            <p:nvPr/>
          </p:nvSpPr>
          <p:spPr bwMode="gray">
            <a:xfrm>
              <a:off x="1856725" y="6692113"/>
              <a:ext cx="116450" cy="91191"/>
            </a:xfrm>
            <a:prstGeom prst="ellipse">
              <a:avLst/>
            </a:prstGeom>
            <a:solidFill>
              <a:sysClr val="window" lastClr="FFFFFF"/>
            </a:solidFill>
            <a:ln w="25400" cap="flat" cmpd="sng" algn="ctr">
              <a:solidFill>
                <a:schemeClr val="accent1"/>
              </a:solidFill>
              <a:prstDash val="solid"/>
              <a:headEnd/>
              <a:tailEnd/>
            </a:ln>
            <a:effectLst/>
          </p:spPr>
          <p:txBody>
            <a:bodyPr wrap="square" lIns="83313" tIns="83313" rIns="83313" bIns="83313" rtlCol="0" anchor="ctr"/>
            <a:lstStyle/>
            <a:p>
              <a:pPr marL="0" marR="0" lvl="0" indent="0" algn="ctr" defTabSz="671718" eaLnBrk="1" fontAlgn="base" latinLnBrk="0" hangingPunct="1">
                <a:lnSpc>
                  <a:spcPct val="106000"/>
                </a:lnSpc>
                <a:spcBef>
                  <a:spcPct val="0"/>
                </a:spcBef>
                <a:spcAft>
                  <a:spcPct val="0"/>
                </a:spcAft>
                <a:buClrTx/>
                <a:buSzTx/>
                <a:buFontTx/>
                <a:buNone/>
                <a:tabLst/>
                <a:defRPr/>
              </a:pPr>
              <a:endParaRPr kumimoji="0" lang="en-US" sz="1125" b="1" i="0" u="none" strike="noStrike" kern="0" cap="none" spc="0" normalizeH="0" baseline="0" noProof="0" dirty="0">
                <a:ln>
                  <a:noFill/>
                </a:ln>
                <a:solidFill>
                  <a:prstClr val="white"/>
                </a:solidFill>
                <a:effectLst/>
                <a:uLnTx/>
                <a:uFillTx/>
                <a:latin typeface="Verdana"/>
                <a:ea typeface="+mn-ea"/>
                <a:cs typeface="+mn-cs"/>
                <a:sym typeface="Gotham Book" charset="0"/>
              </a:endParaRPr>
            </a:p>
          </p:txBody>
        </p:sp>
        <p:sp>
          <p:nvSpPr>
            <p:cNvPr id="81" name="Oval 80">
              <a:extLst>
                <a:ext uri="{FF2B5EF4-FFF2-40B4-BE49-F238E27FC236}">
                  <a16:creationId xmlns:a16="http://schemas.microsoft.com/office/drawing/2014/main" id="{4AA8D158-64B5-4BA0-A267-1BBAA2F25B7D}"/>
                </a:ext>
              </a:extLst>
            </p:cNvPr>
            <p:cNvSpPr/>
            <p:nvPr/>
          </p:nvSpPr>
          <p:spPr bwMode="gray">
            <a:xfrm>
              <a:off x="1806582" y="6813488"/>
              <a:ext cx="96240" cy="75365"/>
            </a:xfrm>
            <a:prstGeom prst="ellipse">
              <a:avLst/>
            </a:prstGeom>
            <a:solidFill>
              <a:sysClr val="window" lastClr="FFFFFF"/>
            </a:solidFill>
            <a:ln w="25400" cap="flat" cmpd="sng" algn="ctr">
              <a:solidFill>
                <a:schemeClr val="accent1"/>
              </a:solidFill>
              <a:prstDash val="solid"/>
              <a:headEnd/>
              <a:tailEnd/>
            </a:ln>
            <a:effectLst/>
          </p:spPr>
          <p:txBody>
            <a:bodyPr wrap="square" lIns="83313" tIns="83313" rIns="83313" bIns="83313" rtlCol="0" anchor="ctr"/>
            <a:lstStyle/>
            <a:p>
              <a:pPr marL="0" marR="0" lvl="0" indent="0" algn="ctr" defTabSz="671718" eaLnBrk="1" fontAlgn="base" latinLnBrk="0" hangingPunct="1">
                <a:lnSpc>
                  <a:spcPct val="106000"/>
                </a:lnSpc>
                <a:spcBef>
                  <a:spcPct val="0"/>
                </a:spcBef>
                <a:spcAft>
                  <a:spcPct val="0"/>
                </a:spcAft>
                <a:buClrTx/>
                <a:buSzTx/>
                <a:buFontTx/>
                <a:buNone/>
                <a:tabLst/>
                <a:defRPr/>
              </a:pPr>
              <a:endParaRPr kumimoji="0" lang="en-US" sz="1125" b="1" i="0" u="none" strike="noStrike" kern="0" cap="none" spc="0" normalizeH="0" baseline="0" noProof="0" dirty="0">
                <a:ln>
                  <a:noFill/>
                </a:ln>
                <a:solidFill>
                  <a:prstClr val="white"/>
                </a:solidFill>
                <a:effectLst/>
                <a:uLnTx/>
                <a:uFillTx/>
                <a:latin typeface="Verdana"/>
                <a:ea typeface="+mn-ea"/>
                <a:cs typeface="+mn-cs"/>
                <a:sym typeface="Gotham Book" charset="0"/>
              </a:endParaRPr>
            </a:p>
          </p:txBody>
        </p:sp>
      </p:grpSp>
      <p:sp>
        <p:nvSpPr>
          <p:cNvPr id="82" name="Freeform 9">
            <a:extLst>
              <a:ext uri="{FF2B5EF4-FFF2-40B4-BE49-F238E27FC236}">
                <a16:creationId xmlns:a16="http://schemas.microsoft.com/office/drawing/2014/main" id="{98604187-1DF2-461E-A792-09830C3018B5}"/>
              </a:ext>
            </a:extLst>
          </p:cNvPr>
          <p:cNvSpPr>
            <a:spLocks noChangeAspect="1" noEditPoints="1"/>
          </p:cNvSpPr>
          <p:nvPr/>
        </p:nvSpPr>
        <p:spPr bwMode="auto">
          <a:xfrm>
            <a:off x="5024604" y="5579662"/>
            <a:ext cx="230624" cy="5271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1"/>
          </a:solidFill>
          <a:ln w="0">
            <a:solidFill>
              <a:schemeClr val="accent1"/>
            </a:solidFill>
            <a:prstDash val="solid"/>
            <a:round/>
            <a:headEnd/>
            <a:tailEnd/>
          </a:ln>
        </p:spPr>
        <p:txBody>
          <a:bodyPr vert="horz" wrap="square" lIns="85693" tIns="42847" rIns="85693" bIns="42847" numCol="1" anchor="t" anchorCtr="0" compatLnSpc="1">
            <a:prstTxWarp prst="textNoShape">
              <a:avLst/>
            </a:prstTxWarp>
          </a:bodyPr>
          <a:lstStyle/>
          <a:p>
            <a:pPr defTabSz="671718" fontAlgn="base">
              <a:spcBef>
                <a:spcPct val="0"/>
              </a:spcBef>
              <a:spcAft>
                <a:spcPct val="0"/>
              </a:spcAft>
              <a:defRPr/>
            </a:pPr>
            <a:endParaRPr lang="en-US" sz="1687" dirty="0">
              <a:solidFill>
                <a:srgbClr val="343434"/>
              </a:solidFill>
              <a:latin typeface="Gotham Book" charset="0"/>
              <a:ea typeface="ヒラギノ角ゴ ProN W3" charset="0"/>
              <a:sym typeface="Gotham Book" charset="0"/>
            </a:endParaRPr>
          </a:p>
        </p:txBody>
      </p:sp>
      <p:sp>
        <p:nvSpPr>
          <p:cNvPr id="83" name="Freeform 13">
            <a:extLst>
              <a:ext uri="{FF2B5EF4-FFF2-40B4-BE49-F238E27FC236}">
                <a16:creationId xmlns:a16="http://schemas.microsoft.com/office/drawing/2014/main" id="{D3BFF16D-2A32-43E3-A088-0B55B9E55AF0}"/>
              </a:ext>
            </a:extLst>
          </p:cNvPr>
          <p:cNvSpPr>
            <a:spLocks noChangeAspect="1" noEditPoints="1"/>
          </p:cNvSpPr>
          <p:nvPr/>
        </p:nvSpPr>
        <p:spPr bwMode="auto">
          <a:xfrm>
            <a:off x="5453805" y="5600025"/>
            <a:ext cx="278031" cy="527168"/>
          </a:xfrm>
          <a:custGeom>
            <a:avLst/>
            <a:gdLst>
              <a:gd name="T0" fmla="*/ 319 w 324"/>
              <a:gd name="T1" fmla="*/ 352 h 706"/>
              <a:gd name="T2" fmla="*/ 319 w 324"/>
              <a:gd name="T3" fmla="*/ 352 h 706"/>
              <a:gd name="T4" fmla="*/ 276 w 324"/>
              <a:gd name="T5" fmla="*/ 200 h 706"/>
              <a:gd name="T6" fmla="*/ 205 w 324"/>
              <a:gd name="T7" fmla="*/ 140 h 706"/>
              <a:gd name="T8" fmla="*/ 161 w 324"/>
              <a:gd name="T9" fmla="*/ 140 h 706"/>
              <a:gd name="T10" fmla="*/ 118 w 324"/>
              <a:gd name="T11" fmla="*/ 140 h 706"/>
              <a:gd name="T12" fmla="*/ 48 w 324"/>
              <a:gd name="T13" fmla="*/ 200 h 706"/>
              <a:gd name="T14" fmla="*/ 3 w 324"/>
              <a:gd name="T15" fmla="*/ 352 h 706"/>
              <a:gd name="T16" fmla="*/ 14 w 324"/>
              <a:gd name="T17" fmla="*/ 385 h 706"/>
              <a:gd name="T18" fmla="*/ 41 w 324"/>
              <a:gd name="T19" fmla="*/ 367 h 706"/>
              <a:gd name="T20" fmla="*/ 84 w 324"/>
              <a:gd name="T21" fmla="*/ 219 h 706"/>
              <a:gd name="T22" fmla="*/ 112 w 324"/>
              <a:gd name="T23" fmla="*/ 219 h 706"/>
              <a:gd name="T24" fmla="*/ 37 w 324"/>
              <a:gd name="T25" fmla="*/ 484 h 706"/>
              <a:gd name="T26" fmla="*/ 100 w 324"/>
              <a:gd name="T27" fmla="*/ 484 h 706"/>
              <a:gd name="T28" fmla="*/ 100 w 324"/>
              <a:gd name="T29" fmla="*/ 484 h 706"/>
              <a:gd name="T30" fmla="*/ 100 w 324"/>
              <a:gd name="T31" fmla="*/ 683 h 706"/>
              <a:gd name="T32" fmla="*/ 125 w 324"/>
              <a:gd name="T33" fmla="*/ 706 h 706"/>
              <a:gd name="T34" fmla="*/ 148 w 324"/>
              <a:gd name="T35" fmla="*/ 681 h 706"/>
              <a:gd name="T36" fmla="*/ 148 w 324"/>
              <a:gd name="T37" fmla="*/ 484 h 706"/>
              <a:gd name="T38" fmla="*/ 175 w 324"/>
              <a:gd name="T39" fmla="*/ 484 h 706"/>
              <a:gd name="T40" fmla="*/ 175 w 324"/>
              <a:gd name="T41" fmla="*/ 681 h 706"/>
              <a:gd name="T42" fmla="*/ 199 w 324"/>
              <a:gd name="T43" fmla="*/ 706 h 706"/>
              <a:gd name="T44" fmla="*/ 223 w 324"/>
              <a:gd name="T45" fmla="*/ 683 h 706"/>
              <a:gd name="T46" fmla="*/ 223 w 324"/>
              <a:gd name="T47" fmla="*/ 484 h 706"/>
              <a:gd name="T48" fmla="*/ 223 w 324"/>
              <a:gd name="T49" fmla="*/ 484 h 706"/>
              <a:gd name="T50" fmla="*/ 285 w 324"/>
              <a:gd name="T51" fmla="*/ 484 h 706"/>
              <a:gd name="T52" fmla="*/ 209 w 324"/>
              <a:gd name="T53" fmla="*/ 219 h 706"/>
              <a:gd name="T54" fmla="*/ 238 w 324"/>
              <a:gd name="T55" fmla="*/ 219 h 706"/>
              <a:gd name="T56" fmla="*/ 280 w 324"/>
              <a:gd name="T57" fmla="*/ 367 h 706"/>
              <a:gd name="T58" fmla="*/ 307 w 324"/>
              <a:gd name="T59" fmla="*/ 386 h 706"/>
              <a:gd name="T60" fmla="*/ 319 w 324"/>
              <a:gd name="T61" fmla="*/ 352 h 706"/>
              <a:gd name="T62" fmla="*/ 104 w 324"/>
              <a:gd name="T63" fmla="*/ 56 h 706"/>
              <a:gd name="T64" fmla="*/ 104 w 324"/>
              <a:gd name="T65" fmla="*/ 56 h 706"/>
              <a:gd name="T66" fmla="*/ 162 w 324"/>
              <a:gd name="T67" fmla="*/ 0 h 706"/>
              <a:gd name="T68" fmla="*/ 219 w 324"/>
              <a:gd name="T69" fmla="*/ 56 h 706"/>
              <a:gd name="T70" fmla="*/ 162 w 324"/>
              <a:gd name="T71" fmla="*/ 112 h 706"/>
              <a:gd name="T72" fmla="*/ 104 w 324"/>
              <a:gd name="T73" fmla="*/ 5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4" h="706">
                <a:moveTo>
                  <a:pt x="319" y="352"/>
                </a:moveTo>
                <a:lnTo>
                  <a:pt x="319" y="352"/>
                </a:lnTo>
                <a:lnTo>
                  <a:pt x="276" y="200"/>
                </a:lnTo>
                <a:cubicBezTo>
                  <a:pt x="258" y="138"/>
                  <a:pt x="205" y="140"/>
                  <a:pt x="205" y="140"/>
                </a:cubicBezTo>
                <a:lnTo>
                  <a:pt x="161" y="140"/>
                </a:lnTo>
                <a:lnTo>
                  <a:pt x="118" y="140"/>
                </a:lnTo>
                <a:cubicBezTo>
                  <a:pt x="118" y="140"/>
                  <a:pt x="65" y="138"/>
                  <a:pt x="48" y="200"/>
                </a:cubicBezTo>
                <a:lnTo>
                  <a:pt x="3" y="352"/>
                </a:lnTo>
                <a:cubicBezTo>
                  <a:pt x="0" y="367"/>
                  <a:pt x="2" y="381"/>
                  <a:pt x="14" y="385"/>
                </a:cubicBezTo>
                <a:cubicBezTo>
                  <a:pt x="27" y="389"/>
                  <a:pt x="38" y="379"/>
                  <a:pt x="41" y="367"/>
                </a:cubicBezTo>
                <a:lnTo>
                  <a:pt x="84" y="219"/>
                </a:lnTo>
                <a:lnTo>
                  <a:pt x="112" y="219"/>
                </a:lnTo>
                <a:lnTo>
                  <a:pt x="37" y="484"/>
                </a:lnTo>
                <a:lnTo>
                  <a:pt x="100" y="484"/>
                </a:lnTo>
                <a:lnTo>
                  <a:pt x="100" y="484"/>
                </a:lnTo>
                <a:lnTo>
                  <a:pt x="100" y="683"/>
                </a:lnTo>
                <a:cubicBezTo>
                  <a:pt x="100" y="697"/>
                  <a:pt x="109" y="705"/>
                  <a:pt x="125" y="706"/>
                </a:cubicBezTo>
                <a:cubicBezTo>
                  <a:pt x="139" y="706"/>
                  <a:pt x="148" y="696"/>
                  <a:pt x="148" y="681"/>
                </a:cubicBezTo>
                <a:lnTo>
                  <a:pt x="148" y="484"/>
                </a:lnTo>
                <a:lnTo>
                  <a:pt x="175" y="484"/>
                </a:lnTo>
                <a:lnTo>
                  <a:pt x="175" y="681"/>
                </a:lnTo>
                <a:cubicBezTo>
                  <a:pt x="175" y="696"/>
                  <a:pt x="185" y="706"/>
                  <a:pt x="199" y="706"/>
                </a:cubicBezTo>
                <a:cubicBezTo>
                  <a:pt x="214" y="705"/>
                  <a:pt x="223" y="697"/>
                  <a:pt x="223" y="683"/>
                </a:cubicBezTo>
                <a:lnTo>
                  <a:pt x="223" y="484"/>
                </a:lnTo>
                <a:lnTo>
                  <a:pt x="223" y="484"/>
                </a:lnTo>
                <a:lnTo>
                  <a:pt x="285" y="484"/>
                </a:lnTo>
                <a:lnTo>
                  <a:pt x="209" y="219"/>
                </a:lnTo>
                <a:lnTo>
                  <a:pt x="238" y="219"/>
                </a:lnTo>
                <a:lnTo>
                  <a:pt x="280" y="367"/>
                </a:lnTo>
                <a:cubicBezTo>
                  <a:pt x="284" y="379"/>
                  <a:pt x="294" y="389"/>
                  <a:pt x="307" y="386"/>
                </a:cubicBezTo>
                <a:cubicBezTo>
                  <a:pt x="320" y="382"/>
                  <a:pt x="324" y="367"/>
                  <a:pt x="319" y="352"/>
                </a:cubicBezTo>
                <a:close/>
                <a:moveTo>
                  <a:pt x="104" y="56"/>
                </a:moveTo>
                <a:lnTo>
                  <a:pt x="104" y="56"/>
                </a:lnTo>
                <a:cubicBezTo>
                  <a:pt x="104" y="24"/>
                  <a:pt x="130" y="0"/>
                  <a:pt x="162" y="0"/>
                </a:cubicBezTo>
                <a:cubicBezTo>
                  <a:pt x="193" y="0"/>
                  <a:pt x="219" y="24"/>
                  <a:pt x="219" y="56"/>
                </a:cubicBezTo>
                <a:cubicBezTo>
                  <a:pt x="219" y="87"/>
                  <a:pt x="193" y="112"/>
                  <a:pt x="162" y="112"/>
                </a:cubicBezTo>
                <a:cubicBezTo>
                  <a:pt x="130" y="112"/>
                  <a:pt x="104" y="87"/>
                  <a:pt x="104" y="56"/>
                </a:cubicBezTo>
                <a:close/>
              </a:path>
            </a:pathLst>
          </a:custGeom>
          <a:solidFill>
            <a:schemeClr val="accent2"/>
          </a:solidFill>
          <a:ln w="0">
            <a:solidFill>
              <a:schemeClr val="accent2"/>
            </a:solidFill>
            <a:prstDash val="solid"/>
            <a:round/>
            <a:headEnd/>
            <a:tailEnd/>
          </a:ln>
        </p:spPr>
        <p:txBody>
          <a:bodyPr vert="horz" wrap="square" lIns="85693" tIns="42847" rIns="85693" bIns="42847"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US" sz="1687" b="0" i="0" u="none" strike="noStrike" kern="0" cap="none" spc="0" normalizeH="0" baseline="0" noProof="0" dirty="0">
              <a:ln>
                <a:noFill/>
              </a:ln>
              <a:solidFill>
                <a:srgbClr val="343434"/>
              </a:solidFill>
              <a:effectLst/>
              <a:uLnTx/>
              <a:uFillTx/>
              <a:latin typeface="Gotham Book" charset="0"/>
              <a:ea typeface="ヒラギノ角ゴ ProN W3" charset="0"/>
              <a:sym typeface="Gotham Book" charset="0"/>
            </a:endParaRPr>
          </a:p>
        </p:txBody>
      </p:sp>
      <p:sp>
        <p:nvSpPr>
          <p:cNvPr id="84" name="Freeform 9">
            <a:extLst>
              <a:ext uri="{FF2B5EF4-FFF2-40B4-BE49-F238E27FC236}">
                <a16:creationId xmlns:a16="http://schemas.microsoft.com/office/drawing/2014/main" id="{61549213-CE43-4B48-A146-4614DF8AE373}"/>
              </a:ext>
            </a:extLst>
          </p:cNvPr>
          <p:cNvSpPr>
            <a:spLocks noChangeAspect="1" noEditPoints="1"/>
          </p:cNvSpPr>
          <p:nvPr/>
        </p:nvSpPr>
        <p:spPr bwMode="auto">
          <a:xfrm>
            <a:off x="5930412" y="5590604"/>
            <a:ext cx="230624" cy="5271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1"/>
          </a:solidFill>
          <a:ln w="0">
            <a:solidFill>
              <a:schemeClr val="accent1"/>
            </a:solidFill>
            <a:prstDash val="solid"/>
            <a:round/>
            <a:headEnd/>
            <a:tailEnd/>
          </a:ln>
        </p:spPr>
        <p:txBody>
          <a:bodyPr vert="horz" wrap="square" lIns="85693" tIns="42847" rIns="85693" bIns="42847" numCol="1" anchor="t" anchorCtr="0" compatLnSpc="1">
            <a:prstTxWarp prst="textNoShape">
              <a:avLst/>
            </a:prstTxWarp>
          </a:bodyPr>
          <a:lstStyle/>
          <a:p>
            <a:pPr defTabSz="671718" fontAlgn="base">
              <a:spcBef>
                <a:spcPct val="0"/>
              </a:spcBef>
              <a:spcAft>
                <a:spcPct val="0"/>
              </a:spcAft>
              <a:defRPr/>
            </a:pPr>
            <a:endParaRPr lang="en-US" sz="1687" dirty="0">
              <a:solidFill>
                <a:srgbClr val="343434"/>
              </a:solidFill>
              <a:latin typeface="Gotham Book" charset="0"/>
              <a:ea typeface="ヒラギノ角ゴ ProN W3" charset="0"/>
              <a:sym typeface="Gotham Book" charset="0"/>
            </a:endParaRPr>
          </a:p>
        </p:txBody>
      </p:sp>
      <p:sp>
        <p:nvSpPr>
          <p:cNvPr id="85" name="Freeform 9">
            <a:extLst>
              <a:ext uri="{FF2B5EF4-FFF2-40B4-BE49-F238E27FC236}">
                <a16:creationId xmlns:a16="http://schemas.microsoft.com/office/drawing/2014/main" id="{CDADB31C-1751-4698-847D-C30917D2F230}"/>
              </a:ext>
            </a:extLst>
          </p:cNvPr>
          <p:cNvSpPr>
            <a:spLocks noChangeAspect="1" noEditPoints="1"/>
          </p:cNvSpPr>
          <p:nvPr/>
        </p:nvSpPr>
        <p:spPr bwMode="auto">
          <a:xfrm>
            <a:off x="6836221" y="5590604"/>
            <a:ext cx="230624" cy="5271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1"/>
          </a:solidFill>
          <a:ln w="0">
            <a:solidFill>
              <a:schemeClr val="accent1"/>
            </a:solidFill>
            <a:prstDash val="solid"/>
            <a:round/>
            <a:headEnd/>
            <a:tailEnd/>
          </a:ln>
        </p:spPr>
        <p:txBody>
          <a:bodyPr vert="horz" wrap="square" lIns="85693" tIns="42847" rIns="85693" bIns="42847" numCol="1" anchor="t" anchorCtr="0" compatLnSpc="1">
            <a:prstTxWarp prst="textNoShape">
              <a:avLst/>
            </a:prstTxWarp>
          </a:bodyPr>
          <a:lstStyle/>
          <a:p>
            <a:pPr defTabSz="671718" fontAlgn="base">
              <a:spcBef>
                <a:spcPct val="0"/>
              </a:spcBef>
              <a:spcAft>
                <a:spcPct val="0"/>
              </a:spcAft>
              <a:defRPr/>
            </a:pPr>
            <a:endParaRPr lang="en-US" sz="1687" dirty="0">
              <a:solidFill>
                <a:srgbClr val="343434"/>
              </a:solidFill>
              <a:latin typeface="Gotham Book" charset="0"/>
              <a:ea typeface="ヒラギノ角ゴ ProN W3" charset="0"/>
              <a:sym typeface="Gotham Book" charset="0"/>
            </a:endParaRPr>
          </a:p>
        </p:txBody>
      </p:sp>
      <p:sp>
        <p:nvSpPr>
          <p:cNvPr id="86" name="Freeform 13">
            <a:extLst>
              <a:ext uri="{FF2B5EF4-FFF2-40B4-BE49-F238E27FC236}">
                <a16:creationId xmlns:a16="http://schemas.microsoft.com/office/drawing/2014/main" id="{E15CD33E-8AF9-4703-8FE2-2BEBF37F17E7}"/>
              </a:ext>
            </a:extLst>
          </p:cNvPr>
          <p:cNvSpPr>
            <a:spLocks noChangeAspect="1" noEditPoints="1"/>
          </p:cNvSpPr>
          <p:nvPr/>
        </p:nvSpPr>
        <p:spPr bwMode="auto">
          <a:xfrm>
            <a:off x="6359613" y="5608754"/>
            <a:ext cx="278031" cy="527168"/>
          </a:xfrm>
          <a:custGeom>
            <a:avLst/>
            <a:gdLst>
              <a:gd name="T0" fmla="*/ 319 w 324"/>
              <a:gd name="T1" fmla="*/ 352 h 706"/>
              <a:gd name="T2" fmla="*/ 319 w 324"/>
              <a:gd name="T3" fmla="*/ 352 h 706"/>
              <a:gd name="T4" fmla="*/ 276 w 324"/>
              <a:gd name="T5" fmla="*/ 200 h 706"/>
              <a:gd name="T6" fmla="*/ 205 w 324"/>
              <a:gd name="T7" fmla="*/ 140 h 706"/>
              <a:gd name="T8" fmla="*/ 161 w 324"/>
              <a:gd name="T9" fmla="*/ 140 h 706"/>
              <a:gd name="T10" fmla="*/ 118 w 324"/>
              <a:gd name="T11" fmla="*/ 140 h 706"/>
              <a:gd name="T12" fmla="*/ 48 w 324"/>
              <a:gd name="T13" fmla="*/ 200 h 706"/>
              <a:gd name="T14" fmla="*/ 3 w 324"/>
              <a:gd name="T15" fmla="*/ 352 h 706"/>
              <a:gd name="T16" fmla="*/ 14 w 324"/>
              <a:gd name="T17" fmla="*/ 385 h 706"/>
              <a:gd name="T18" fmla="*/ 41 w 324"/>
              <a:gd name="T19" fmla="*/ 367 h 706"/>
              <a:gd name="T20" fmla="*/ 84 w 324"/>
              <a:gd name="T21" fmla="*/ 219 h 706"/>
              <a:gd name="T22" fmla="*/ 112 w 324"/>
              <a:gd name="T23" fmla="*/ 219 h 706"/>
              <a:gd name="T24" fmla="*/ 37 w 324"/>
              <a:gd name="T25" fmla="*/ 484 h 706"/>
              <a:gd name="T26" fmla="*/ 100 w 324"/>
              <a:gd name="T27" fmla="*/ 484 h 706"/>
              <a:gd name="T28" fmla="*/ 100 w 324"/>
              <a:gd name="T29" fmla="*/ 484 h 706"/>
              <a:gd name="T30" fmla="*/ 100 w 324"/>
              <a:gd name="T31" fmla="*/ 683 h 706"/>
              <a:gd name="T32" fmla="*/ 125 w 324"/>
              <a:gd name="T33" fmla="*/ 706 h 706"/>
              <a:gd name="T34" fmla="*/ 148 w 324"/>
              <a:gd name="T35" fmla="*/ 681 h 706"/>
              <a:gd name="T36" fmla="*/ 148 w 324"/>
              <a:gd name="T37" fmla="*/ 484 h 706"/>
              <a:gd name="T38" fmla="*/ 175 w 324"/>
              <a:gd name="T39" fmla="*/ 484 h 706"/>
              <a:gd name="T40" fmla="*/ 175 w 324"/>
              <a:gd name="T41" fmla="*/ 681 h 706"/>
              <a:gd name="T42" fmla="*/ 199 w 324"/>
              <a:gd name="T43" fmla="*/ 706 h 706"/>
              <a:gd name="T44" fmla="*/ 223 w 324"/>
              <a:gd name="T45" fmla="*/ 683 h 706"/>
              <a:gd name="T46" fmla="*/ 223 w 324"/>
              <a:gd name="T47" fmla="*/ 484 h 706"/>
              <a:gd name="T48" fmla="*/ 223 w 324"/>
              <a:gd name="T49" fmla="*/ 484 h 706"/>
              <a:gd name="T50" fmla="*/ 285 w 324"/>
              <a:gd name="T51" fmla="*/ 484 h 706"/>
              <a:gd name="T52" fmla="*/ 209 w 324"/>
              <a:gd name="T53" fmla="*/ 219 h 706"/>
              <a:gd name="T54" fmla="*/ 238 w 324"/>
              <a:gd name="T55" fmla="*/ 219 h 706"/>
              <a:gd name="T56" fmla="*/ 280 w 324"/>
              <a:gd name="T57" fmla="*/ 367 h 706"/>
              <a:gd name="T58" fmla="*/ 307 w 324"/>
              <a:gd name="T59" fmla="*/ 386 h 706"/>
              <a:gd name="T60" fmla="*/ 319 w 324"/>
              <a:gd name="T61" fmla="*/ 352 h 706"/>
              <a:gd name="T62" fmla="*/ 104 w 324"/>
              <a:gd name="T63" fmla="*/ 56 h 706"/>
              <a:gd name="T64" fmla="*/ 104 w 324"/>
              <a:gd name="T65" fmla="*/ 56 h 706"/>
              <a:gd name="T66" fmla="*/ 162 w 324"/>
              <a:gd name="T67" fmla="*/ 0 h 706"/>
              <a:gd name="T68" fmla="*/ 219 w 324"/>
              <a:gd name="T69" fmla="*/ 56 h 706"/>
              <a:gd name="T70" fmla="*/ 162 w 324"/>
              <a:gd name="T71" fmla="*/ 112 h 706"/>
              <a:gd name="T72" fmla="*/ 104 w 324"/>
              <a:gd name="T73" fmla="*/ 5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4" h="706">
                <a:moveTo>
                  <a:pt x="319" y="352"/>
                </a:moveTo>
                <a:lnTo>
                  <a:pt x="319" y="352"/>
                </a:lnTo>
                <a:lnTo>
                  <a:pt x="276" y="200"/>
                </a:lnTo>
                <a:cubicBezTo>
                  <a:pt x="258" y="138"/>
                  <a:pt x="205" y="140"/>
                  <a:pt x="205" y="140"/>
                </a:cubicBezTo>
                <a:lnTo>
                  <a:pt x="161" y="140"/>
                </a:lnTo>
                <a:lnTo>
                  <a:pt x="118" y="140"/>
                </a:lnTo>
                <a:cubicBezTo>
                  <a:pt x="118" y="140"/>
                  <a:pt x="65" y="138"/>
                  <a:pt x="48" y="200"/>
                </a:cubicBezTo>
                <a:lnTo>
                  <a:pt x="3" y="352"/>
                </a:lnTo>
                <a:cubicBezTo>
                  <a:pt x="0" y="367"/>
                  <a:pt x="2" y="381"/>
                  <a:pt x="14" y="385"/>
                </a:cubicBezTo>
                <a:cubicBezTo>
                  <a:pt x="27" y="389"/>
                  <a:pt x="38" y="379"/>
                  <a:pt x="41" y="367"/>
                </a:cubicBezTo>
                <a:lnTo>
                  <a:pt x="84" y="219"/>
                </a:lnTo>
                <a:lnTo>
                  <a:pt x="112" y="219"/>
                </a:lnTo>
                <a:lnTo>
                  <a:pt x="37" y="484"/>
                </a:lnTo>
                <a:lnTo>
                  <a:pt x="100" y="484"/>
                </a:lnTo>
                <a:lnTo>
                  <a:pt x="100" y="484"/>
                </a:lnTo>
                <a:lnTo>
                  <a:pt x="100" y="683"/>
                </a:lnTo>
                <a:cubicBezTo>
                  <a:pt x="100" y="697"/>
                  <a:pt x="109" y="705"/>
                  <a:pt x="125" y="706"/>
                </a:cubicBezTo>
                <a:cubicBezTo>
                  <a:pt x="139" y="706"/>
                  <a:pt x="148" y="696"/>
                  <a:pt x="148" y="681"/>
                </a:cubicBezTo>
                <a:lnTo>
                  <a:pt x="148" y="484"/>
                </a:lnTo>
                <a:lnTo>
                  <a:pt x="175" y="484"/>
                </a:lnTo>
                <a:lnTo>
                  <a:pt x="175" y="681"/>
                </a:lnTo>
                <a:cubicBezTo>
                  <a:pt x="175" y="696"/>
                  <a:pt x="185" y="706"/>
                  <a:pt x="199" y="706"/>
                </a:cubicBezTo>
                <a:cubicBezTo>
                  <a:pt x="214" y="705"/>
                  <a:pt x="223" y="697"/>
                  <a:pt x="223" y="683"/>
                </a:cubicBezTo>
                <a:lnTo>
                  <a:pt x="223" y="484"/>
                </a:lnTo>
                <a:lnTo>
                  <a:pt x="223" y="484"/>
                </a:lnTo>
                <a:lnTo>
                  <a:pt x="285" y="484"/>
                </a:lnTo>
                <a:lnTo>
                  <a:pt x="209" y="219"/>
                </a:lnTo>
                <a:lnTo>
                  <a:pt x="238" y="219"/>
                </a:lnTo>
                <a:lnTo>
                  <a:pt x="280" y="367"/>
                </a:lnTo>
                <a:cubicBezTo>
                  <a:pt x="284" y="379"/>
                  <a:pt x="294" y="389"/>
                  <a:pt x="307" y="386"/>
                </a:cubicBezTo>
                <a:cubicBezTo>
                  <a:pt x="320" y="382"/>
                  <a:pt x="324" y="367"/>
                  <a:pt x="319" y="352"/>
                </a:cubicBezTo>
                <a:close/>
                <a:moveTo>
                  <a:pt x="104" y="56"/>
                </a:moveTo>
                <a:lnTo>
                  <a:pt x="104" y="56"/>
                </a:lnTo>
                <a:cubicBezTo>
                  <a:pt x="104" y="24"/>
                  <a:pt x="130" y="0"/>
                  <a:pt x="162" y="0"/>
                </a:cubicBezTo>
                <a:cubicBezTo>
                  <a:pt x="193" y="0"/>
                  <a:pt x="219" y="24"/>
                  <a:pt x="219" y="56"/>
                </a:cubicBezTo>
                <a:cubicBezTo>
                  <a:pt x="219" y="87"/>
                  <a:pt x="193" y="112"/>
                  <a:pt x="162" y="112"/>
                </a:cubicBezTo>
                <a:cubicBezTo>
                  <a:pt x="130" y="112"/>
                  <a:pt x="104" y="87"/>
                  <a:pt x="104" y="56"/>
                </a:cubicBezTo>
                <a:close/>
              </a:path>
            </a:pathLst>
          </a:custGeom>
          <a:solidFill>
            <a:schemeClr val="accent2"/>
          </a:solidFill>
          <a:ln w="0">
            <a:solidFill>
              <a:schemeClr val="accent2"/>
            </a:solidFill>
            <a:prstDash val="solid"/>
            <a:round/>
            <a:headEnd/>
            <a:tailEnd/>
          </a:ln>
        </p:spPr>
        <p:txBody>
          <a:bodyPr vert="horz" wrap="square" lIns="85693" tIns="42847" rIns="85693" bIns="42847"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US" sz="1687" b="0" i="0" u="none" strike="noStrike" kern="0" cap="none" spc="0" normalizeH="0" baseline="0" noProof="0" dirty="0">
              <a:ln>
                <a:noFill/>
              </a:ln>
              <a:solidFill>
                <a:srgbClr val="343434"/>
              </a:solidFill>
              <a:effectLst/>
              <a:uLnTx/>
              <a:uFillTx/>
              <a:latin typeface="Gotham Book" charset="0"/>
              <a:ea typeface="ヒラギノ角ゴ ProN W3" charset="0"/>
              <a:sym typeface="Gotham Book" charset="0"/>
            </a:endParaRPr>
          </a:p>
        </p:txBody>
      </p:sp>
      <p:grpSp>
        <p:nvGrpSpPr>
          <p:cNvPr id="87" name="Group 86">
            <a:extLst>
              <a:ext uri="{FF2B5EF4-FFF2-40B4-BE49-F238E27FC236}">
                <a16:creationId xmlns:a16="http://schemas.microsoft.com/office/drawing/2014/main" id="{E84BC7E0-E10D-4FE8-B22F-8E7ABCE4106C}"/>
              </a:ext>
            </a:extLst>
          </p:cNvPr>
          <p:cNvGrpSpPr/>
          <p:nvPr/>
        </p:nvGrpSpPr>
        <p:grpSpPr>
          <a:xfrm>
            <a:off x="5134172" y="5009562"/>
            <a:ext cx="1817360" cy="471492"/>
            <a:chOff x="6653034" y="6489522"/>
            <a:chExt cx="2359120" cy="676622"/>
          </a:xfrm>
        </p:grpSpPr>
        <p:cxnSp>
          <p:nvCxnSpPr>
            <p:cNvPr id="88" name="Straight Connector 87">
              <a:extLst>
                <a:ext uri="{FF2B5EF4-FFF2-40B4-BE49-F238E27FC236}">
                  <a16:creationId xmlns:a16="http://schemas.microsoft.com/office/drawing/2014/main" id="{46779752-603D-4D2F-A3BD-B1AEF9A70214}"/>
                </a:ext>
              </a:extLst>
            </p:cNvPr>
            <p:cNvCxnSpPr/>
            <p:nvPr/>
          </p:nvCxnSpPr>
          <p:spPr>
            <a:xfrm flipV="1">
              <a:off x="6653034" y="6825299"/>
              <a:ext cx="0" cy="340843"/>
            </a:xfrm>
            <a:prstGeom prst="line">
              <a:avLst/>
            </a:prstGeom>
            <a:noFill/>
            <a:ln w="9525" cap="flat" cmpd="sng" algn="ctr">
              <a:solidFill>
                <a:srgbClr val="D0D0CE"/>
              </a:solidFill>
              <a:prstDash val="solid"/>
            </a:ln>
            <a:effectLst/>
          </p:spPr>
        </p:cxnSp>
        <p:cxnSp>
          <p:nvCxnSpPr>
            <p:cNvPr id="89" name="Straight Connector 88">
              <a:extLst>
                <a:ext uri="{FF2B5EF4-FFF2-40B4-BE49-F238E27FC236}">
                  <a16:creationId xmlns:a16="http://schemas.microsoft.com/office/drawing/2014/main" id="{0342C1A4-C1BE-45E3-9E75-4550B38DE77A}"/>
                </a:ext>
              </a:extLst>
            </p:cNvPr>
            <p:cNvCxnSpPr/>
            <p:nvPr/>
          </p:nvCxnSpPr>
          <p:spPr>
            <a:xfrm flipV="1">
              <a:off x="9012154" y="6825299"/>
              <a:ext cx="0" cy="340843"/>
            </a:xfrm>
            <a:prstGeom prst="line">
              <a:avLst/>
            </a:prstGeom>
            <a:noFill/>
            <a:ln w="9525" cap="flat" cmpd="sng" algn="ctr">
              <a:solidFill>
                <a:srgbClr val="D0D0CE"/>
              </a:solidFill>
              <a:prstDash val="solid"/>
            </a:ln>
            <a:effectLst/>
          </p:spPr>
        </p:cxnSp>
        <p:cxnSp>
          <p:nvCxnSpPr>
            <p:cNvPr id="90" name="Straight Connector 89">
              <a:extLst>
                <a:ext uri="{FF2B5EF4-FFF2-40B4-BE49-F238E27FC236}">
                  <a16:creationId xmlns:a16="http://schemas.microsoft.com/office/drawing/2014/main" id="{04CF3377-E64F-4529-A042-E4E76E8C8969}"/>
                </a:ext>
              </a:extLst>
            </p:cNvPr>
            <p:cNvCxnSpPr/>
            <p:nvPr/>
          </p:nvCxnSpPr>
          <p:spPr>
            <a:xfrm flipV="1">
              <a:off x="7242814" y="6825299"/>
              <a:ext cx="0" cy="340843"/>
            </a:xfrm>
            <a:prstGeom prst="line">
              <a:avLst/>
            </a:prstGeom>
            <a:noFill/>
            <a:ln w="9525" cap="flat" cmpd="sng" algn="ctr">
              <a:solidFill>
                <a:srgbClr val="D0D0CE"/>
              </a:solidFill>
              <a:prstDash val="solid"/>
            </a:ln>
            <a:effectLst/>
          </p:spPr>
        </p:cxnSp>
        <p:cxnSp>
          <p:nvCxnSpPr>
            <p:cNvPr id="91" name="Straight Connector 90">
              <a:extLst>
                <a:ext uri="{FF2B5EF4-FFF2-40B4-BE49-F238E27FC236}">
                  <a16:creationId xmlns:a16="http://schemas.microsoft.com/office/drawing/2014/main" id="{0717FBC5-EC42-47F9-BE7B-EE4B0EF7F294}"/>
                </a:ext>
              </a:extLst>
            </p:cNvPr>
            <p:cNvCxnSpPr/>
            <p:nvPr/>
          </p:nvCxnSpPr>
          <p:spPr>
            <a:xfrm flipV="1">
              <a:off x="7832594" y="6489522"/>
              <a:ext cx="0" cy="676622"/>
            </a:xfrm>
            <a:prstGeom prst="line">
              <a:avLst/>
            </a:prstGeom>
            <a:noFill/>
            <a:ln w="9525" cap="flat" cmpd="sng" algn="ctr">
              <a:solidFill>
                <a:srgbClr val="D0D0CE"/>
              </a:solidFill>
              <a:prstDash val="solid"/>
            </a:ln>
            <a:effectLst/>
          </p:spPr>
        </p:cxnSp>
        <p:cxnSp>
          <p:nvCxnSpPr>
            <p:cNvPr id="92" name="Straight Connector 91">
              <a:extLst>
                <a:ext uri="{FF2B5EF4-FFF2-40B4-BE49-F238E27FC236}">
                  <a16:creationId xmlns:a16="http://schemas.microsoft.com/office/drawing/2014/main" id="{3A7997A0-9183-4842-A642-F117E67FA0E4}"/>
                </a:ext>
              </a:extLst>
            </p:cNvPr>
            <p:cNvCxnSpPr/>
            <p:nvPr/>
          </p:nvCxnSpPr>
          <p:spPr>
            <a:xfrm flipV="1">
              <a:off x="8422374" y="6825299"/>
              <a:ext cx="0" cy="340843"/>
            </a:xfrm>
            <a:prstGeom prst="line">
              <a:avLst/>
            </a:prstGeom>
            <a:noFill/>
            <a:ln w="9525" cap="flat" cmpd="sng" algn="ctr">
              <a:solidFill>
                <a:srgbClr val="D0D0CE"/>
              </a:solidFill>
              <a:prstDash val="solid"/>
            </a:ln>
            <a:effectLst/>
          </p:spPr>
        </p:cxnSp>
        <p:cxnSp>
          <p:nvCxnSpPr>
            <p:cNvPr id="93" name="Straight Connector 92">
              <a:extLst>
                <a:ext uri="{FF2B5EF4-FFF2-40B4-BE49-F238E27FC236}">
                  <a16:creationId xmlns:a16="http://schemas.microsoft.com/office/drawing/2014/main" id="{512B0223-CAE3-4F5A-8FEF-6A5782CA243F}"/>
                </a:ext>
              </a:extLst>
            </p:cNvPr>
            <p:cNvCxnSpPr/>
            <p:nvPr/>
          </p:nvCxnSpPr>
          <p:spPr>
            <a:xfrm>
              <a:off x="6653034" y="6825299"/>
              <a:ext cx="2359120" cy="0"/>
            </a:xfrm>
            <a:prstGeom prst="line">
              <a:avLst/>
            </a:prstGeom>
            <a:noFill/>
            <a:ln w="9525" cap="flat" cmpd="sng" algn="ctr">
              <a:solidFill>
                <a:srgbClr val="D0D0CE"/>
              </a:solidFill>
              <a:prstDash val="solid"/>
            </a:ln>
            <a:effectLst/>
          </p:spPr>
        </p:cxnSp>
      </p:grpSp>
      <p:sp>
        <p:nvSpPr>
          <p:cNvPr id="96" name="Oval 95">
            <a:extLst>
              <a:ext uri="{FF2B5EF4-FFF2-40B4-BE49-F238E27FC236}">
                <a16:creationId xmlns:a16="http://schemas.microsoft.com/office/drawing/2014/main" id="{610CCB6D-01F1-4822-8D84-9FB98066FD49}"/>
              </a:ext>
            </a:extLst>
          </p:cNvPr>
          <p:cNvSpPr/>
          <p:nvPr/>
        </p:nvSpPr>
        <p:spPr bwMode="gray">
          <a:xfrm>
            <a:off x="9031541" y="5430456"/>
            <a:ext cx="203686" cy="189338"/>
          </a:xfrm>
          <a:prstGeom prst="ellipse">
            <a:avLst/>
          </a:prstGeom>
          <a:solidFill>
            <a:schemeClr val="accent5">
              <a:lumMod val="20000"/>
              <a:lumOff val="80000"/>
            </a:schemeClr>
          </a:solidFill>
          <a:ln w="19050" algn="ctr">
            <a:noFill/>
            <a:miter lim="800000"/>
            <a:headEnd/>
            <a:tailEnd/>
          </a:ln>
        </p:spPr>
        <p:txBody>
          <a:bodyPr wrap="square" lIns="83313" tIns="83313" rIns="83313" bIns="83313" rtlCol="0" anchor="ctr"/>
          <a:lstStyle/>
          <a:p>
            <a:pPr marL="0" marR="0" lvl="0" indent="0" algn="ctr" defTabSz="671718" eaLnBrk="1" fontAlgn="base" latinLnBrk="0" hangingPunct="1">
              <a:lnSpc>
                <a:spcPct val="106000"/>
              </a:lnSpc>
              <a:spcBef>
                <a:spcPct val="0"/>
              </a:spcBef>
              <a:spcAft>
                <a:spcPct val="0"/>
              </a:spcAft>
              <a:buClrTx/>
              <a:buSzTx/>
              <a:buFontTx/>
              <a:buNone/>
              <a:tabLst/>
              <a:defRPr/>
            </a:pPr>
            <a:endParaRPr kumimoji="0" lang="en-US" sz="1125" b="1" i="0" u="none" strike="noStrike" kern="0" cap="none" spc="0" normalizeH="0" baseline="0" noProof="0" dirty="0">
              <a:ln>
                <a:noFill/>
              </a:ln>
              <a:solidFill>
                <a:prstClr val="white"/>
              </a:solidFill>
              <a:effectLst/>
              <a:uLnTx/>
              <a:uFillTx/>
              <a:latin typeface="Gotham Book" charset="0"/>
              <a:ea typeface="ヒラギノ角ゴ ProN W3" charset="0"/>
              <a:sym typeface="Gotham Book" charset="0"/>
            </a:endParaRPr>
          </a:p>
        </p:txBody>
      </p:sp>
      <p:sp>
        <p:nvSpPr>
          <p:cNvPr id="97" name="Oval 96">
            <a:extLst>
              <a:ext uri="{FF2B5EF4-FFF2-40B4-BE49-F238E27FC236}">
                <a16:creationId xmlns:a16="http://schemas.microsoft.com/office/drawing/2014/main" id="{F7BC8FFF-90CD-461A-97D2-4B86A5C2D2FC}"/>
              </a:ext>
            </a:extLst>
          </p:cNvPr>
          <p:cNvSpPr/>
          <p:nvPr/>
        </p:nvSpPr>
        <p:spPr bwMode="gray">
          <a:xfrm>
            <a:off x="9684865" y="5566162"/>
            <a:ext cx="203686" cy="189338"/>
          </a:xfrm>
          <a:prstGeom prst="ellipse">
            <a:avLst/>
          </a:prstGeom>
          <a:solidFill>
            <a:schemeClr val="accent5">
              <a:lumMod val="20000"/>
              <a:lumOff val="80000"/>
            </a:schemeClr>
          </a:solidFill>
          <a:ln w="19050" algn="ctr">
            <a:noFill/>
            <a:miter lim="800000"/>
            <a:headEnd/>
            <a:tailEnd/>
          </a:ln>
        </p:spPr>
        <p:txBody>
          <a:bodyPr wrap="square" lIns="83313" tIns="83313" rIns="83313" bIns="83313" rtlCol="0" anchor="ctr"/>
          <a:lstStyle/>
          <a:p>
            <a:pPr marL="0" marR="0" lvl="0" indent="0" algn="ctr" defTabSz="671718" eaLnBrk="1" fontAlgn="base" latinLnBrk="0" hangingPunct="1">
              <a:lnSpc>
                <a:spcPct val="106000"/>
              </a:lnSpc>
              <a:spcBef>
                <a:spcPct val="0"/>
              </a:spcBef>
              <a:spcAft>
                <a:spcPct val="0"/>
              </a:spcAft>
              <a:buClrTx/>
              <a:buSzTx/>
              <a:buFontTx/>
              <a:buNone/>
              <a:tabLst/>
              <a:defRPr/>
            </a:pPr>
            <a:endParaRPr kumimoji="0" lang="en-US" sz="1125" b="1" i="0" u="none" strike="noStrike" kern="0" cap="none" spc="0" normalizeH="0" baseline="0" noProof="0" dirty="0">
              <a:ln>
                <a:noFill/>
              </a:ln>
              <a:solidFill>
                <a:prstClr val="white"/>
              </a:solidFill>
              <a:effectLst/>
              <a:uLnTx/>
              <a:uFillTx/>
              <a:latin typeface="Gotham Book" charset="0"/>
              <a:ea typeface="ヒラギノ角ゴ ProN W3" charset="0"/>
              <a:sym typeface="Gotham Book" charset="0"/>
            </a:endParaRPr>
          </a:p>
        </p:txBody>
      </p:sp>
      <p:sp>
        <p:nvSpPr>
          <p:cNvPr id="98" name="Oval 97">
            <a:extLst>
              <a:ext uri="{FF2B5EF4-FFF2-40B4-BE49-F238E27FC236}">
                <a16:creationId xmlns:a16="http://schemas.microsoft.com/office/drawing/2014/main" id="{707B2592-471E-409D-A227-A716E8F41972}"/>
              </a:ext>
            </a:extLst>
          </p:cNvPr>
          <p:cNvSpPr/>
          <p:nvPr/>
        </p:nvSpPr>
        <p:spPr bwMode="gray">
          <a:xfrm>
            <a:off x="10271444" y="5432492"/>
            <a:ext cx="203686" cy="189338"/>
          </a:xfrm>
          <a:prstGeom prst="ellipse">
            <a:avLst/>
          </a:prstGeom>
          <a:solidFill>
            <a:schemeClr val="accent5">
              <a:lumMod val="20000"/>
              <a:lumOff val="80000"/>
            </a:schemeClr>
          </a:solidFill>
          <a:ln w="19050" algn="ctr">
            <a:noFill/>
            <a:miter lim="800000"/>
            <a:headEnd/>
            <a:tailEnd/>
          </a:ln>
        </p:spPr>
        <p:txBody>
          <a:bodyPr wrap="square" lIns="83313" tIns="83313" rIns="83313" bIns="83313" rtlCol="0" anchor="ctr"/>
          <a:lstStyle/>
          <a:p>
            <a:pPr marL="0" marR="0" lvl="0" indent="0" algn="ctr" defTabSz="671718" eaLnBrk="1" fontAlgn="base" latinLnBrk="0" hangingPunct="1">
              <a:lnSpc>
                <a:spcPct val="106000"/>
              </a:lnSpc>
              <a:spcBef>
                <a:spcPct val="0"/>
              </a:spcBef>
              <a:spcAft>
                <a:spcPct val="0"/>
              </a:spcAft>
              <a:buClrTx/>
              <a:buSzTx/>
              <a:buFontTx/>
              <a:buNone/>
              <a:tabLst/>
              <a:defRPr/>
            </a:pPr>
            <a:endParaRPr kumimoji="0" lang="en-US" sz="1125" b="1" i="0" u="none" strike="noStrike" kern="0" cap="none" spc="0" normalizeH="0" baseline="0" noProof="0" dirty="0">
              <a:ln>
                <a:noFill/>
              </a:ln>
              <a:solidFill>
                <a:prstClr val="white"/>
              </a:solidFill>
              <a:effectLst/>
              <a:uLnTx/>
              <a:uFillTx/>
              <a:latin typeface="Gotham Book" charset="0"/>
              <a:ea typeface="ヒラギノ角ゴ ProN W3" charset="0"/>
              <a:sym typeface="Gotham Book" charset="0"/>
            </a:endParaRPr>
          </a:p>
        </p:txBody>
      </p:sp>
      <p:sp>
        <p:nvSpPr>
          <p:cNvPr id="99" name="Oval 98">
            <a:extLst>
              <a:ext uri="{FF2B5EF4-FFF2-40B4-BE49-F238E27FC236}">
                <a16:creationId xmlns:a16="http://schemas.microsoft.com/office/drawing/2014/main" id="{5F2CF3A8-F53F-407F-A8CA-307DDE5F645C}"/>
              </a:ext>
            </a:extLst>
          </p:cNvPr>
          <p:cNvSpPr/>
          <p:nvPr/>
        </p:nvSpPr>
        <p:spPr bwMode="gray">
          <a:xfrm>
            <a:off x="10743539" y="5205896"/>
            <a:ext cx="203686" cy="189338"/>
          </a:xfrm>
          <a:prstGeom prst="ellipse">
            <a:avLst/>
          </a:prstGeom>
          <a:solidFill>
            <a:schemeClr val="accent5">
              <a:lumMod val="20000"/>
              <a:lumOff val="80000"/>
            </a:schemeClr>
          </a:solidFill>
          <a:ln w="19050" algn="ctr">
            <a:noFill/>
            <a:miter lim="800000"/>
            <a:headEnd/>
            <a:tailEnd/>
          </a:ln>
        </p:spPr>
        <p:txBody>
          <a:bodyPr wrap="square" lIns="83313" tIns="83313" rIns="83313" bIns="83313" rtlCol="0" anchor="ctr"/>
          <a:lstStyle/>
          <a:p>
            <a:pPr marL="0" marR="0" lvl="0" indent="0" algn="ctr" defTabSz="671718" eaLnBrk="1" fontAlgn="base" latinLnBrk="0" hangingPunct="1">
              <a:lnSpc>
                <a:spcPct val="106000"/>
              </a:lnSpc>
              <a:spcBef>
                <a:spcPct val="0"/>
              </a:spcBef>
              <a:spcAft>
                <a:spcPct val="0"/>
              </a:spcAft>
              <a:buClrTx/>
              <a:buSzTx/>
              <a:buFontTx/>
              <a:buNone/>
              <a:tabLst/>
              <a:defRPr/>
            </a:pPr>
            <a:endParaRPr kumimoji="0" lang="en-US" sz="1125" b="1" i="0" u="none" strike="noStrike" kern="0" cap="none" spc="0" normalizeH="0" baseline="0" noProof="0" dirty="0">
              <a:ln>
                <a:noFill/>
              </a:ln>
              <a:solidFill>
                <a:prstClr val="white"/>
              </a:solidFill>
              <a:effectLst/>
              <a:uLnTx/>
              <a:uFillTx/>
              <a:latin typeface="Gotham Book" charset="0"/>
              <a:ea typeface="ヒラギノ角ゴ ProN W3" charset="0"/>
              <a:sym typeface="Gotham Book" charset="0"/>
            </a:endParaRPr>
          </a:p>
        </p:txBody>
      </p:sp>
      <p:sp>
        <p:nvSpPr>
          <p:cNvPr id="100" name="Oval 99">
            <a:extLst>
              <a:ext uri="{FF2B5EF4-FFF2-40B4-BE49-F238E27FC236}">
                <a16:creationId xmlns:a16="http://schemas.microsoft.com/office/drawing/2014/main" id="{F439B003-0953-40C3-8135-2827FAB81100}"/>
              </a:ext>
            </a:extLst>
          </p:cNvPr>
          <p:cNvSpPr/>
          <p:nvPr/>
        </p:nvSpPr>
        <p:spPr bwMode="gray">
          <a:xfrm>
            <a:off x="8571748" y="5205896"/>
            <a:ext cx="203686" cy="189338"/>
          </a:xfrm>
          <a:prstGeom prst="ellipse">
            <a:avLst/>
          </a:prstGeom>
          <a:solidFill>
            <a:schemeClr val="accent5">
              <a:lumMod val="20000"/>
              <a:lumOff val="80000"/>
            </a:schemeClr>
          </a:solidFill>
          <a:ln w="19050" algn="ctr">
            <a:noFill/>
            <a:miter lim="800000"/>
            <a:headEnd/>
            <a:tailEnd/>
          </a:ln>
        </p:spPr>
        <p:txBody>
          <a:bodyPr wrap="square" lIns="83313" tIns="83313" rIns="83313" bIns="83313" rtlCol="0" anchor="ctr"/>
          <a:lstStyle/>
          <a:p>
            <a:pPr marL="0" marR="0" lvl="0" indent="0" algn="ctr" defTabSz="671718" eaLnBrk="1" fontAlgn="base" latinLnBrk="0" hangingPunct="1">
              <a:lnSpc>
                <a:spcPct val="106000"/>
              </a:lnSpc>
              <a:spcBef>
                <a:spcPct val="0"/>
              </a:spcBef>
              <a:spcAft>
                <a:spcPct val="0"/>
              </a:spcAft>
              <a:buClrTx/>
              <a:buSzTx/>
              <a:buFontTx/>
              <a:buNone/>
              <a:tabLst/>
              <a:defRPr/>
            </a:pPr>
            <a:endParaRPr kumimoji="0" lang="en-US" sz="1125" b="1" i="0" u="none" strike="noStrike" kern="0" cap="none" spc="0" normalizeH="0" baseline="0" noProof="0" dirty="0">
              <a:ln>
                <a:noFill/>
              </a:ln>
              <a:solidFill>
                <a:prstClr val="white"/>
              </a:solidFill>
              <a:effectLst/>
              <a:uLnTx/>
              <a:uFillTx/>
              <a:latin typeface="Gotham Book" charset="0"/>
              <a:ea typeface="ヒラギノ角ゴ ProN W3" charset="0"/>
              <a:sym typeface="Gotham Book" charset="0"/>
            </a:endParaRPr>
          </a:p>
        </p:txBody>
      </p:sp>
      <p:sp>
        <p:nvSpPr>
          <p:cNvPr id="101" name="Freeform 13">
            <a:extLst>
              <a:ext uri="{FF2B5EF4-FFF2-40B4-BE49-F238E27FC236}">
                <a16:creationId xmlns:a16="http://schemas.microsoft.com/office/drawing/2014/main" id="{020E5073-B556-467D-9940-B5FD2F2B651E}"/>
              </a:ext>
            </a:extLst>
          </p:cNvPr>
          <p:cNvSpPr>
            <a:spLocks noChangeAspect="1" noEditPoints="1"/>
          </p:cNvSpPr>
          <p:nvPr/>
        </p:nvSpPr>
        <p:spPr bwMode="auto">
          <a:xfrm>
            <a:off x="8350007" y="5391675"/>
            <a:ext cx="278031" cy="527168"/>
          </a:xfrm>
          <a:custGeom>
            <a:avLst/>
            <a:gdLst>
              <a:gd name="T0" fmla="*/ 319 w 324"/>
              <a:gd name="T1" fmla="*/ 352 h 706"/>
              <a:gd name="T2" fmla="*/ 319 w 324"/>
              <a:gd name="T3" fmla="*/ 352 h 706"/>
              <a:gd name="T4" fmla="*/ 276 w 324"/>
              <a:gd name="T5" fmla="*/ 200 h 706"/>
              <a:gd name="T6" fmla="*/ 205 w 324"/>
              <a:gd name="T7" fmla="*/ 140 h 706"/>
              <a:gd name="T8" fmla="*/ 161 w 324"/>
              <a:gd name="T9" fmla="*/ 140 h 706"/>
              <a:gd name="T10" fmla="*/ 118 w 324"/>
              <a:gd name="T11" fmla="*/ 140 h 706"/>
              <a:gd name="T12" fmla="*/ 48 w 324"/>
              <a:gd name="T13" fmla="*/ 200 h 706"/>
              <a:gd name="T14" fmla="*/ 3 w 324"/>
              <a:gd name="T15" fmla="*/ 352 h 706"/>
              <a:gd name="T16" fmla="*/ 14 w 324"/>
              <a:gd name="T17" fmla="*/ 385 h 706"/>
              <a:gd name="T18" fmla="*/ 41 w 324"/>
              <a:gd name="T19" fmla="*/ 367 h 706"/>
              <a:gd name="T20" fmla="*/ 84 w 324"/>
              <a:gd name="T21" fmla="*/ 219 h 706"/>
              <a:gd name="T22" fmla="*/ 112 w 324"/>
              <a:gd name="T23" fmla="*/ 219 h 706"/>
              <a:gd name="T24" fmla="*/ 37 w 324"/>
              <a:gd name="T25" fmla="*/ 484 h 706"/>
              <a:gd name="T26" fmla="*/ 100 w 324"/>
              <a:gd name="T27" fmla="*/ 484 h 706"/>
              <a:gd name="T28" fmla="*/ 100 w 324"/>
              <a:gd name="T29" fmla="*/ 484 h 706"/>
              <a:gd name="T30" fmla="*/ 100 w 324"/>
              <a:gd name="T31" fmla="*/ 683 h 706"/>
              <a:gd name="T32" fmla="*/ 125 w 324"/>
              <a:gd name="T33" fmla="*/ 706 h 706"/>
              <a:gd name="T34" fmla="*/ 148 w 324"/>
              <a:gd name="T35" fmla="*/ 681 h 706"/>
              <a:gd name="T36" fmla="*/ 148 w 324"/>
              <a:gd name="T37" fmla="*/ 484 h 706"/>
              <a:gd name="T38" fmla="*/ 175 w 324"/>
              <a:gd name="T39" fmla="*/ 484 h 706"/>
              <a:gd name="T40" fmla="*/ 175 w 324"/>
              <a:gd name="T41" fmla="*/ 681 h 706"/>
              <a:gd name="T42" fmla="*/ 199 w 324"/>
              <a:gd name="T43" fmla="*/ 706 h 706"/>
              <a:gd name="T44" fmla="*/ 223 w 324"/>
              <a:gd name="T45" fmla="*/ 683 h 706"/>
              <a:gd name="T46" fmla="*/ 223 w 324"/>
              <a:gd name="T47" fmla="*/ 484 h 706"/>
              <a:gd name="T48" fmla="*/ 223 w 324"/>
              <a:gd name="T49" fmla="*/ 484 h 706"/>
              <a:gd name="T50" fmla="*/ 285 w 324"/>
              <a:gd name="T51" fmla="*/ 484 h 706"/>
              <a:gd name="T52" fmla="*/ 209 w 324"/>
              <a:gd name="T53" fmla="*/ 219 h 706"/>
              <a:gd name="T54" fmla="*/ 238 w 324"/>
              <a:gd name="T55" fmla="*/ 219 h 706"/>
              <a:gd name="T56" fmla="*/ 280 w 324"/>
              <a:gd name="T57" fmla="*/ 367 h 706"/>
              <a:gd name="T58" fmla="*/ 307 w 324"/>
              <a:gd name="T59" fmla="*/ 386 h 706"/>
              <a:gd name="T60" fmla="*/ 319 w 324"/>
              <a:gd name="T61" fmla="*/ 352 h 706"/>
              <a:gd name="T62" fmla="*/ 104 w 324"/>
              <a:gd name="T63" fmla="*/ 56 h 706"/>
              <a:gd name="T64" fmla="*/ 104 w 324"/>
              <a:gd name="T65" fmla="*/ 56 h 706"/>
              <a:gd name="T66" fmla="*/ 162 w 324"/>
              <a:gd name="T67" fmla="*/ 0 h 706"/>
              <a:gd name="T68" fmla="*/ 219 w 324"/>
              <a:gd name="T69" fmla="*/ 56 h 706"/>
              <a:gd name="T70" fmla="*/ 162 w 324"/>
              <a:gd name="T71" fmla="*/ 112 h 706"/>
              <a:gd name="T72" fmla="*/ 104 w 324"/>
              <a:gd name="T73" fmla="*/ 5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4" h="706">
                <a:moveTo>
                  <a:pt x="319" y="352"/>
                </a:moveTo>
                <a:lnTo>
                  <a:pt x="319" y="352"/>
                </a:lnTo>
                <a:lnTo>
                  <a:pt x="276" y="200"/>
                </a:lnTo>
                <a:cubicBezTo>
                  <a:pt x="258" y="138"/>
                  <a:pt x="205" y="140"/>
                  <a:pt x="205" y="140"/>
                </a:cubicBezTo>
                <a:lnTo>
                  <a:pt x="161" y="140"/>
                </a:lnTo>
                <a:lnTo>
                  <a:pt x="118" y="140"/>
                </a:lnTo>
                <a:cubicBezTo>
                  <a:pt x="118" y="140"/>
                  <a:pt x="65" y="138"/>
                  <a:pt x="48" y="200"/>
                </a:cubicBezTo>
                <a:lnTo>
                  <a:pt x="3" y="352"/>
                </a:lnTo>
                <a:cubicBezTo>
                  <a:pt x="0" y="367"/>
                  <a:pt x="2" y="381"/>
                  <a:pt x="14" y="385"/>
                </a:cubicBezTo>
                <a:cubicBezTo>
                  <a:pt x="27" y="389"/>
                  <a:pt x="38" y="379"/>
                  <a:pt x="41" y="367"/>
                </a:cubicBezTo>
                <a:lnTo>
                  <a:pt x="84" y="219"/>
                </a:lnTo>
                <a:lnTo>
                  <a:pt x="112" y="219"/>
                </a:lnTo>
                <a:lnTo>
                  <a:pt x="37" y="484"/>
                </a:lnTo>
                <a:lnTo>
                  <a:pt x="100" y="484"/>
                </a:lnTo>
                <a:lnTo>
                  <a:pt x="100" y="484"/>
                </a:lnTo>
                <a:lnTo>
                  <a:pt x="100" y="683"/>
                </a:lnTo>
                <a:cubicBezTo>
                  <a:pt x="100" y="697"/>
                  <a:pt x="109" y="705"/>
                  <a:pt x="125" y="706"/>
                </a:cubicBezTo>
                <a:cubicBezTo>
                  <a:pt x="139" y="706"/>
                  <a:pt x="148" y="696"/>
                  <a:pt x="148" y="681"/>
                </a:cubicBezTo>
                <a:lnTo>
                  <a:pt x="148" y="484"/>
                </a:lnTo>
                <a:lnTo>
                  <a:pt x="175" y="484"/>
                </a:lnTo>
                <a:lnTo>
                  <a:pt x="175" y="681"/>
                </a:lnTo>
                <a:cubicBezTo>
                  <a:pt x="175" y="696"/>
                  <a:pt x="185" y="706"/>
                  <a:pt x="199" y="706"/>
                </a:cubicBezTo>
                <a:cubicBezTo>
                  <a:pt x="214" y="705"/>
                  <a:pt x="223" y="697"/>
                  <a:pt x="223" y="683"/>
                </a:cubicBezTo>
                <a:lnTo>
                  <a:pt x="223" y="484"/>
                </a:lnTo>
                <a:lnTo>
                  <a:pt x="223" y="484"/>
                </a:lnTo>
                <a:lnTo>
                  <a:pt x="285" y="484"/>
                </a:lnTo>
                <a:lnTo>
                  <a:pt x="209" y="219"/>
                </a:lnTo>
                <a:lnTo>
                  <a:pt x="238" y="219"/>
                </a:lnTo>
                <a:lnTo>
                  <a:pt x="280" y="367"/>
                </a:lnTo>
                <a:cubicBezTo>
                  <a:pt x="284" y="379"/>
                  <a:pt x="294" y="389"/>
                  <a:pt x="307" y="386"/>
                </a:cubicBezTo>
                <a:cubicBezTo>
                  <a:pt x="320" y="382"/>
                  <a:pt x="324" y="367"/>
                  <a:pt x="319" y="352"/>
                </a:cubicBezTo>
                <a:close/>
                <a:moveTo>
                  <a:pt x="104" y="56"/>
                </a:moveTo>
                <a:lnTo>
                  <a:pt x="104" y="56"/>
                </a:lnTo>
                <a:cubicBezTo>
                  <a:pt x="104" y="24"/>
                  <a:pt x="130" y="0"/>
                  <a:pt x="162" y="0"/>
                </a:cubicBezTo>
                <a:cubicBezTo>
                  <a:pt x="193" y="0"/>
                  <a:pt x="219" y="24"/>
                  <a:pt x="219" y="56"/>
                </a:cubicBezTo>
                <a:cubicBezTo>
                  <a:pt x="219" y="87"/>
                  <a:pt x="193" y="112"/>
                  <a:pt x="162" y="112"/>
                </a:cubicBezTo>
                <a:cubicBezTo>
                  <a:pt x="130" y="112"/>
                  <a:pt x="104" y="87"/>
                  <a:pt x="104" y="56"/>
                </a:cubicBezTo>
                <a:close/>
              </a:path>
            </a:pathLst>
          </a:custGeom>
          <a:solidFill>
            <a:schemeClr val="accent2"/>
          </a:solidFill>
          <a:ln w="0">
            <a:solidFill>
              <a:schemeClr val="accent2"/>
            </a:solidFill>
            <a:prstDash val="solid"/>
            <a:round/>
            <a:headEnd/>
            <a:tailEnd/>
          </a:ln>
        </p:spPr>
        <p:txBody>
          <a:bodyPr vert="horz" wrap="square" lIns="85693" tIns="42847" rIns="85693" bIns="42847"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US" sz="1687" b="0" i="0" u="none" strike="noStrike" kern="0" cap="none" spc="0" normalizeH="0" baseline="0" noProof="0" dirty="0">
              <a:ln>
                <a:noFill/>
              </a:ln>
              <a:solidFill>
                <a:srgbClr val="343434"/>
              </a:solidFill>
              <a:effectLst/>
              <a:uLnTx/>
              <a:uFillTx/>
              <a:latin typeface="Gotham Book" charset="0"/>
              <a:ea typeface="ヒラギノ角ゴ ProN W3" charset="0"/>
              <a:sym typeface="Gotham Book" charset="0"/>
            </a:endParaRPr>
          </a:p>
        </p:txBody>
      </p:sp>
      <p:sp>
        <p:nvSpPr>
          <p:cNvPr id="102" name="Freeform 9">
            <a:extLst>
              <a:ext uri="{FF2B5EF4-FFF2-40B4-BE49-F238E27FC236}">
                <a16:creationId xmlns:a16="http://schemas.microsoft.com/office/drawing/2014/main" id="{7C941258-8C8E-47A2-820B-B9148B829909}"/>
              </a:ext>
            </a:extLst>
          </p:cNvPr>
          <p:cNvSpPr>
            <a:spLocks noChangeAspect="1" noEditPoints="1"/>
          </p:cNvSpPr>
          <p:nvPr/>
        </p:nvSpPr>
        <p:spPr bwMode="auto">
          <a:xfrm>
            <a:off x="8997818" y="5712958"/>
            <a:ext cx="230623" cy="5271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1"/>
          </a:solidFill>
          <a:ln w="0">
            <a:solidFill>
              <a:schemeClr val="accent1"/>
            </a:solidFill>
            <a:prstDash val="solid"/>
            <a:round/>
            <a:headEnd/>
            <a:tailEnd/>
          </a:ln>
        </p:spPr>
        <p:txBody>
          <a:bodyPr vert="horz" wrap="square" lIns="85693" tIns="42847" rIns="85693" bIns="42847"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US" sz="1687" b="0" i="0" u="none" strike="noStrike" kern="0" cap="none" spc="0" normalizeH="0" baseline="0" noProof="0" dirty="0">
              <a:ln>
                <a:noFill/>
              </a:ln>
              <a:solidFill>
                <a:srgbClr val="343434"/>
              </a:solidFill>
              <a:effectLst/>
              <a:uLnTx/>
              <a:uFillTx/>
              <a:latin typeface="Gotham Book" charset="0"/>
              <a:ea typeface="ヒラギノ角ゴ ProN W3" charset="0"/>
              <a:sym typeface="Gotham Book" charset="0"/>
            </a:endParaRPr>
          </a:p>
        </p:txBody>
      </p:sp>
      <p:sp>
        <p:nvSpPr>
          <p:cNvPr id="103" name="Freeform 13">
            <a:extLst>
              <a:ext uri="{FF2B5EF4-FFF2-40B4-BE49-F238E27FC236}">
                <a16:creationId xmlns:a16="http://schemas.microsoft.com/office/drawing/2014/main" id="{D2C551F5-AF3C-4D7B-910F-4701B5C732D6}"/>
              </a:ext>
            </a:extLst>
          </p:cNvPr>
          <p:cNvSpPr>
            <a:spLocks noChangeAspect="1" noEditPoints="1"/>
          </p:cNvSpPr>
          <p:nvPr/>
        </p:nvSpPr>
        <p:spPr bwMode="auto">
          <a:xfrm>
            <a:off x="9642376" y="5829548"/>
            <a:ext cx="278031" cy="527168"/>
          </a:xfrm>
          <a:custGeom>
            <a:avLst/>
            <a:gdLst>
              <a:gd name="T0" fmla="*/ 319 w 324"/>
              <a:gd name="T1" fmla="*/ 352 h 706"/>
              <a:gd name="T2" fmla="*/ 319 w 324"/>
              <a:gd name="T3" fmla="*/ 352 h 706"/>
              <a:gd name="T4" fmla="*/ 276 w 324"/>
              <a:gd name="T5" fmla="*/ 200 h 706"/>
              <a:gd name="T6" fmla="*/ 205 w 324"/>
              <a:gd name="T7" fmla="*/ 140 h 706"/>
              <a:gd name="T8" fmla="*/ 161 w 324"/>
              <a:gd name="T9" fmla="*/ 140 h 706"/>
              <a:gd name="T10" fmla="*/ 118 w 324"/>
              <a:gd name="T11" fmla="*/ 140 h 706"/>
              <a:gd name="T12" fmla="*/ 48 w 324"/>
              <a:gd name="T13" fmla="*/ 200 h 706"/>
              <a:gd name="T14" fmla="*/ 3 w 324"/>
              <a:gd name="T15" fmla="*/ 352 h 706"/>
              <a:gd name="T16" fmla="*/ 14 w 324"/>
              <a:gd name="T17" fmla="*/ 385 h 706"/>
              <a:gd name="T18" fmla="*/ 41 w 324"/>
              <a:gd name="T19" fmla="*/ 367 h 706"/>
              <a:gd name="T20" fmla="*/ 84 w 324"/>
              <a:gd name="T21" fmla="*/ 219 h 706"/>
              <a:gd name="T22" fmla="*/ 112 w 324"/>
              <a:gd name="T23" fmla="*/ 219 h 706"/>
              <a:gd name="T24" fmla="*/ 37 w 324"/>
              <a:gd name="T25" fmla="*/ 484 h 706"/>
              <a:gd name="T26" fmla="*/ 100 w 324"/>
              <a:gd name="T27" fmla="*/ 484 h 706"/>
              <a:gd name="T28" fmla="*/ 100 w 324"/>
              <a:gd name="T29" fmla="*/ 484 h 706"/>
              <a:gd name="T30" fmla="*/ 100 w 324"/>
              <a:gd name="T31" fmla="*/ 683 h 706"/>
              <a:gd name="T32" fmla="*/ 125 w 324"/>
              <a:gd name="T33" fmla="*/ 706 h 706"/>
              <a:gd name="T34" fmla="*/ 148 w 324"/>
              <a:gd name="T35" fmla="*/ 681 h 706"/>
              <a:gd name="T36" fmla="*/ 148 w 324"/>
              <a:gd name="T37" fmla="*/ 484 h 706"/>
              <a:gd name="T38" fmla="*/ 175 w 324"/>
              <a:gd name="T39" fmla="*/ 484 h 706"/>
              <a:gd name="T40" fmla="*/ 175 w 324"/>
              <a:gd name="T41" fmla="*/ 681 h 706"/>
              <a:gd name="T42" fmla="*/ 199 w 324"/>
              <a:gd name="T43" fmla="*/ 706 h 706"/>
              <a:gd name="T44" fmla="*/ 223 w 324"/>
              <a:gd name="T45" fmla="*/ 683 h 706"/>
              <a:gd name="T46" fmla="*/ 223 w 324"/>
              <a:gd name="T47" fmla="*/ 484 h 706"/>
              <a:gd name="T48" fmla="*/ 223 w 324"/>
              <a:gd name="T49" fmla="*/ 484 h 706"/>
              <a:gd name="T50" fmla="*/ 285 w 324"/>
              <a:gd name="T51" fmla="*/ 484 h 706"/>
              <a:gd name="T52" fmla="*/ 209 w 324"/>
              <a:gd name="T53" fmla="*/ 219 h 706"/>
              <a:gd name="T54" fmla="*/ 238 w 324"/>
              <a:gd name="T55" fmla="*/ 219 h 706"/>
              <a:gd name="T56" fmla="*/ 280 w 324"/>
              <a:gd name="T57" fmla="*/ 367 h 706"/>
              <a:gd name="T58" fmla="*/ 307 w 324"/>
              <a:gd name="T59" fmla="*/ 386 h 706"/>
              <a:gd name="T60" fmla="*/ 319 w 324"/>
              <a:gd name="T61" fmla="*/ 352 h 706"/>
              <a:gd name="T62" fmla="*/ 104 w 324"/>
              <a:gd name="T63" fmla="*/ 56 h 706"/>
              <a:gd name="T64" fmla="*/ 104 w 324"/>
              <a:gd name="T65" fmla="*/ 56 h 706"/>
              <a:gd name="T66" fmla="*/ 162 w 324"/>
              <a:gd name="T67" fmla="*/ 0 h 706"/>
              <a:gd name="T68" fmla="*/ 219 w 324"/>
              <a:gd name="T69" fmla="*/ 56 h 706"/>
              <a:gd name="T70" fmla="*/ 162 w 324"/>
              <a:gd name="T71" fmla="*/ 112 h 706"/>
              <a:gd name="T72" fmla="*/ 104 w 324"/>
              <a:gd name="T73" fmla="*/ 5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4" h="706">
                <a:moveTo>
                  <a:pt x="319" y="352"/>
                </a:moveTo>
                <a:lnTo>
                  <a:pt x="319" y="352"/>
                </a:lnTo>
                <a:lnTo>
                  <a:pt x="276" y="200"/>
                </a:lnTo>
                <a:cubicBezTo>
                  <a:pt x="258" y="138"/>
                  <a:pt x="205" y="140"/>
                  <a:pt x="205" y="140"/>
                </a:cubicBezTo>
                <a:lnTo>
                  <a:pt x="161" y="140"/>
                </a:lnTo>
                <a:lnTo>
                  <a:pt x="118" y="140"/>
                </a:lnTo>
                <a:cubicBezTo>
                  <a:pt x="118" y="140"/>
                  <a:pt x="65" y="138"/>
                  <a:pt x="48" y="200"/>
                </a:cubicBezTo>
                <a:lnTo>
                  <a:pt x="3" y="352"/>
                </a:lnTo>
                <a:cubicBezTo>
                  <a:pt x="0" y="367"/>
                  <a:pt x="2" y="381"/>
                  <a:pt x="14" y="385"/>
                </a:cubicBezTo>
                <a:cubicBezTo>
                  <a:pt x="27" y="389"/>
                  <a:pt x="38" y="379"/>
                  <a:pt x="41" y="367"/>
                </a:cubicBezTo>
                <a:lnTo>
                  <a:pt x="84" y="219"/>
                </a:lnTo>
                <a:lnTo>
                  <a:pt x="112" y="219"/>
                </a:lnTo>
                <a:lnTo>
                  <a:pt x="37" y="484"/>
                </a:lnTo>
                <a:lnTo>
                  <a:pt x="100" y="484"/>
                </a:lnTo>
                <a:lnTo>
                  <a:pt x="100" y="484"/>
                </a:lnTo>
                <a:lnTo>
                  <a:pt x="100" y="683"/>
                </a:lnTo>
                <a:cubicBezTo>
                  <a:pt x="100" y="697"/>
                  <a:pt x="109" y="705"/>
                  <a:pt x="125" y="706"/>
                </a:cubicBezTo>
                <a:cubicBezTo>
                  <a:pt x="139" y="706"/>
                  <a:pt x="148" y="696"/>
                  <a:pt x="148" y="681"/>
                </a:cubicBezTo>
                <a:lnTo>
                  <a:pt x="148" y="484"/>
                </a:lnTo>
                <a:lnTo>
                  <a:pt x="175" y="484"/>
                </a:lnTo>
                <a:lnTo>
                  <a:pt x="175" y="681"/>
                </a:lnTo>
                <a:cubicBezTo>
                  <a:pt x="175" y="696"/>
                  <a:pt x="185" y="706"/>
                  <a:pt x="199" y="706"/>
                </a:cubicBezTo>
                <a:cubicBezTo>
                  <a:pt x="214" y="705"/>
                  <a:pt x="223" y="697"/>
                  <a:pt x="223" y="683"/>
                </a:cubicBezTo>
                <a:lnTo>
                  <a:pt x="223" y="484"/>
                </a:lnTo>
                <a:lnTo>
                  <a:pt x="223" y="484"/>
                </a:lnTo>
                <a:lnTo>
                  <a:pt x="285" y="484"/>
                </a:lnTo>
                <a:lnTo>
                  <a:pt x="209" y="219"/>
                </a:lnTo>
                <a:lnTo>
                  <a:pt x="238" y="219"/>
                </a:lnTo>
                <a:lnTo>
                  <a:pt x="280" y="367"/>
                </a:lnTo>
                <a:cubicBezTo>
                  <a:pt x="284" y="379"/>
                  <a:pt x="294" y="389"/>
                  <a:pt x="307" y="386"/>
                </a:cubicBezTo>
                <a:cubicBezTo>
                  <a:pt x="320" y="382"/>
                  <a:pt x="324" y="367"/>
                  <a:pt x="319" y="352"/>
                </a:cubicBezTo>
                <a:close/>
                <a:moveTo>
                  <a:pt x="104" y="56"/>
                </a:moveTo>
                <a:lnTo>
                  <a:pt x="104" y="56"/>
                </a:lnTo>
                <a:cubicBezTo>
                  <a:pt x="104" y="24"/>
                  <a:pt x="130" y="0"/>
                  <a:pt x="162" y="0"/>
                </a:cubicBezTo>
                <a:cubicBezTo>
                  <a:pt x="193" y="0"/>
                  <a:pt x="219" y="24"/>
                  <a:pt x="219" y="56"/>
                </a:cubicBezTo>
                <a:cubicBezTo>
                  <a:pt x="219" y="87"/>
                  <a:pt x="193" y="112"/>
                  <a:pt x="162" y="112"/>
                </a:cubicBezTo>
                <a:cubicBezTo>
                  <a:pt x="130" y="112"/>
                  <a:pt x="104" y="87"/>
                  <a:pt x="104" y="56"/>
                </a:cubicBezTo>
                <a:close/>
              </a:path>
            </a:pathLst>
          </a:custGeom>
          <a:solidFill>
            <a:schemeClr val="accent2"/>
          </a:solidFill>
          <a:ln w="0">
            <a:solidFill>
              <a:schemeClr val="accent2"/>
            </a:solidFill>
            <a:prstDash val="solid"/>
            <a:round/>
            <a:headEnd/>
            <a:tailEnd/>
          </a:ln>
        </p:spPr>
        <p:txBody>
          <a:bodyPr vert="horz" wrap="square" lIns="85693" tIns="42847" rIns="85693" bIns="42847"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US" sz="1687" b="0" i="0" u="none" strike="noStrike" kern="0" cap="none" spc="0" normalizeH="0" baseline="0" noProof="0" dirty="0">
              <a:ln>
                <a:noFill/>
              </a:ln>
              <a:solidFill>
                <a:srgbClr val="343434"/>
              </a:solidFill>
              <a:effectLst/>
              <a:uLnTx/>
              <a:uFillTx/>
              <a:latin typeface="Gotham Book" charset="0"/>
              <a:ea typeface="ヒラギノ角ゴ ProN W3" charset="0"/>
              <a:sym typeface="Gotham Book" charset="0"/>
            </a:endParaRPr>
          </a:p>
        </p:txBody>
      </p:sp>
      <p:sp>
        <p:nvSpPr>
          <p:cNvPr id="104" name="Freeform 9">
            <a:extLst>
              <a:ext uri="{FF2B5EF4-FFF2-40B4-BE49-F238E27FC236}">
                <a16:creationId xmlns:a16="http://schemas.microsoft.com/office/drawing/2014/main" id="{49CC8E4A-4770-46FE-9AB7-A121C1293920}"/>
              </a:ext>
            </a:extLst>
          </p:cNvPr>
          <p:cNvSpPr>
            <a:spLocks noChangeAspect="1" noEditPoints="1"/>
          </p:cNvSpPr>
          <p:nvPr/>
        </p:nvSpPr>
        <p:spPr bwMode="auto">
          <a:xfrm>
            <a:off x="10278227" y="5712958"/>
            <a:ext cx="230623" cy="527168"/>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1"/>
          </a:solidFill>
          <a:ln w="0">
            <a:solidFill>
              <a:schemeClr val="accent1"/>
            </a:solidFill>
            <a:prstDash val="solid"/>
            <a:round/>
            <a:headEnd/>
            <a:tailEnd/>
          </a:ln>
        </p:spPr>
        <p:txBody>
          <a:bodyPr vert="horz" wrap="square" lIns="85693" tIns="42847" rIns="85693" bIns="42847"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US" sz="1687" b="0" i="0" u="none" strike="noStrike" kern="0" cap="none" spc="0" normalizeH="0" baseline="0" noProof="0" dirty="0">
              <a:ln>
                <a:noFill/>
              </a:ln>
              <a:solidFill>
                <a:srgbClr val="343434"/>
              </a:solidFill>
              <a:effectLst/>
              <a:uLnTx/>
              <a:uFillTx/>
              <a:latin typeface="Gotham Book" charset="0"/>
              <a:ea typeface="ヒラギノ角ゴ ProN W3" charset="0"/>
              <a:sym typeface="Gotham Book" charset="0"/>
            </a:endParaRPr>
          </a:p>
        </p:txBody>
      </p:sp>
      <p:sp>
        <p:nvSpPr>
          <p:cNvPr id="105" name="Freeform 13">
            <a:extLst>
              <a:ext uri="{FF2B5EF4-FFF2-40B4-BE49-F238E27FC236}">
                <a16:creationId xmlns:a16="http://schemas.microsoft.com/office/drawing/2014/main" id="{7A2B5B87-BF54-408E-BB32-23E00E388A11}"/>
              </a:ext>
            </a:extLst>
          </p:cNvPr>
          <p:cNvSpPr>
            <a:spLocks noChangeAspect="1" noEditPoints="1"/>
          </p:cNvSpPr>
          <p:nvPr/>
        </p:nvSpPr>
        <p:spPr bwMode="auto">
          <a:xfrm>
            <a:off x="10850759" y="5392368"/>
            <a:ext cx="278031" cy="527168"/>
          </a:xfrm>
          <a:custGeom>
            <a:avLst/>
            <a:gdLst>
              <a:gd name="T0" fmla="*/ 319 w 324"/>
              <a:gd name="T1" fmla="*/ 352 h 706"/>
              <a:gd name="T2" fmla="*/ 319 w 324"/>
              <a:gd name="T3" fmla="*/ 352 h 706"/>
              <a:gd name="T4" fmla="*/ 276 w 324"/>
              <a:gd name="T5" fmla="*/ 200 h 706"/>
              <a:gd name="T6" fmla="*/ 205 w 324"/>
              <a:gd name="T7" fmla="*/ 140 h 706"/>
              <a:gd name="T8" fmla="*/ 161 w 324"/>
              <a:gd name="T9" fmla="*/ 140 h 706"/>
              <a:gd name="T10" fmla="*/ 118 w 324"/>
              <a:gd name="T11" fmla="*/ 140 h 706"/>
              <a:gd name="T12" fmla="*/ 48 w 324"/>
              <a:gd name="T13" fmla="*/ 200 h 706"/>
              <a:gd name="T14" fmla="*/ 3 w 324"/>
              <a:gd name="T15" fmla="*/ 352 h 706"/>
              <a:gd name="T16" fmla="*/ 14 w 324"/>
              <a:gd name="T17" fmla="*/ 385 h 706"/>
              <a:gd name="T18" fmla="*/ 41 w 324"/>
              <a:gd name="T19" fmla="*/ 367 h 706"/>
              <a:gd name="T20" fmla="*/ 84 w 324"/>
              <a:gd name="T21" fmla="*/ 219 h 706"/>
              <a:gd name="T22" fmla="*/ 112 w 324"/>
              <a:gd name="T23" fmla="*/ 219 h 706"/>
              <a:gd name="T24" fmla="*/ 37 w 324"/>
              <a:gd name="T25" fmla="*/ 484 h 706"/>
              <a:gd name="T26" fmla="*/ 100 w 324"/>
              <a:gd name="T27" fmla="*/ 484 h 706"/>
              <a:gd name="T28" fmla="*/ 100 w 324"/>
              <a:gd name="T29" fmla="*/ 484 h 706"/>
              <a:gd name="T30" fmla="*/ 100 w 324"/>
              <a:gd name="T31" fmla="*/ 683 h 706"/>
              <a:gd name="T32" fmla="*/ 125 w 324"/>
              <a:gd name="T33" fmla="*/ 706 h 706"/>
              <a:gd name="T34" fmla="*/ 148 w 324"/>
              <a:gd name="T35" fmla="*/ 681 h 706"/>
              <a:gd name="T36" fmla="*/ 148 w 324"/>
              <a:gd name="T37" fmla="*/ 484 h 706"/>
              <a:gd name="T38" fmla="*/ 175 w 324"/>
              <a:gd name="T39" fmla="*/ 484 h 706"/>
              <a:gd name="T40" fmla="*/ 175 w 324"/>
              <a:gd name="T41" fmla="*/ 681 h 706"/>
              <a:gd name="T42" fmla="*/ 199 w 324"/>
              <a:gd name="T43" fmla="*/ 706 h 706"/>
              <a:gd name="T44" fmla="*/ 223 w 324"/>
              <a:gd name="T45" fmla="*/ 683 h 706"/>
              <a:gd name="T46" fmla="*/ 223 w 324"/>
              <a:gd name="T47" fmla="*/ 484 h 706"/>
              <a:gd name="T48" fmla="*/ 223 w 324"/>
              <a:gd name="T49" fmla="*/ 484 h 706"/>
              <a:gd name="T50" fmla="*/ 285 w 324"/>
              <a:gd name="T51" fmla="*/ 484 h 706"/>
              <a:gd name="T52" fmla="*/ 209 w 324"/>
              <a:gd name="T53" fmla="*/ 219 h 706"/>
              <a:gd name="T54" fmla="*/ 238 w 324"/>
              <a:gd name="T55" fmla="*/ 219 h 706"/>
              <a:gd name="T56" fmla="*/ 280 w 324"/>
              <a:gd name="T57" fmla="*/ 367 h 706"/>
              <a:gd name="T58" fmla="*/ 307 w 324"/>
              <a:gd name="T59" fmla="*/ 386 h 706"/>
              <a:gd name="T60" fmla="*/ 319 w 324"/>
              <a:gd name="T61" fmla="*/ 352 h 706"/>
              <a:gd name="T62" fmla="*/ 104 w 324"/>
              <a:gd name="T63" fmla="*/ 56 h 706"/>
              <a:gd name="T64" fmla="*/ 104 w 324"/>
              <a:gd name="T65" fmla="*/ 56 h 706"/>
              <a:gd name="T66" fmla="*/ 162 w 324"/>
              <a:gd name="T67" fmla="*/ 0 h 706"/>
              <a:gd name="T68" fmla="*/ 219 w 324"/>
              <a:gd name="T69" fmla="*/ 56 h 706"/>
              <a:gd name="T70" fmla="*/ 162 w 324"/>
              <a:gd name="T71" fmla="*/ 112 h 706"/>
              <a:gd name="T72" fmla="*/ 104 w 324"/>
              <a:gd name="T73" fmla="*/ 5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4" h="706">
                <a:moveTo>
                  <a:pt x="319" y="352"/>
                </a:moveTo>
                <a:lnTo>
                  <a:pt x="319" y="352"/>
                </a:lnTo>
                <a:lnTo>
                  <a:pt x="276" y="200"/>
                </a:lnTo>
                <a:cubicBezTo>
                  <a:pt x="258" y="138"/>
                  <a:pt x="205" y="140"/>
                  <a:pt x="205" y="140"/>
                </a:cubicBezTo>
                <a:lnTo>
                  <a:pt x="161" y="140"/>
                </a:lnTo>
                <a:lnTo>
                  <a:pt x="118" y="140"/>
                </a:lnTo>
                <a:cubicBezTo>
                  <a:pt x="118" y="140"/>
                  <a:pt x="65" y="138"/>
                  <a:pt x="48" y="200"/>
                </a:cubicBezTo>
                <a:lnTo>
                  <a:pt x="3" y="352"/>
                </a:lnTo>
                <a:cubicBezTo>
                  <a:pt x="0" y="367"/>
                  <a:pt x="2" y="381"/>
                  <a:pt x="14" y="385"/>
                </a:cubicBezTo>
                <a:cubicBezTo>
                  <a:pt x="27" y="389"/>
                  <a:pt x="38" y="379"/>
                  <a:pt x="41" y="367"/>
                </a:cubicBezTo>
                <a:lnTo>
                  <a:pt x="84" y="219"/>
                </a:lnTo>
                <a:lnTo>
                  <a:pt x="112" y="219"/>
                </a:lnTo>
                <a:lnTo>
                  <a:pt x="37" y="484"/>
                </a:lnTo>
                <a:lnTo>
                  <a:pt x="100" y="484"/>
                </a:lnTo>
                <a:lnTo>
                  <a:pt x="100" y="484"/>
                </a:lnTo>
                <a:lnTo>
                  <a:pt x="100" y="683"/>
                </a:lnTo>
                <a:cubicBezTo>
                  <a:pt x="100" y="697"/>
                  <a:pt x="109" y="705"/>
                  <a:pt x="125" y="706"/>
                </a:cubicBezTo>
                <a:cubicBezTo>
                  <a:pt x="139" y="706"/>
                  <a:pt x="148" y="696"/>
                  <a:pt x="148" y="681"/>
                </a:cubicBezTo>
                <a:lnTo>
                  <a:pt x="148" y="484"/>
                </a:lnTo>
                <a:lnTo>
                  <a:pt x="175" y="484"/>
                </a:lnTo>
                <a:lnTo>
                  <a:pt x="175" y="681"/>
                </a:lnTo>
                <a:cubicBezTo>
                  <a:pt x="175" y="696"/>
                  <a:pt x="185" y="706"/>
                  <a:pt x="199" y="706"/>
                </a:cubicBezTo>
                <a:cubicBezTo>
                  <a:pt x="214" y="705"/>
                  <a:pt x="223" y="697"/>
                  <a:pt x="223" y="683"/>
                </a:cubicBezTo>
                <a:lnTo>
                  <a:pt x="223" y="484"/>
                </a:lnTo>
                <a:lnTo>
                  <a:pt x="223" y="484"/>
                </a:lnTo>
                <a:lnTo>
                  <a:pt x="285" y="484"/>
                </a:lnTo>
                <a:lnTo>
                  <a:pt x="209" y="219"/>
                </a:lnTo>
                <a:lnTo>
                  <a:pt x="238" y="219"/>
                </a:lnTo>
                <a:lnTo>
                  <a:pt x="280" y="367"/>
                </a:lnTo>
                <a:cubicBezTo>
                  <a:pt x="284" y="379"/>
                  <a:pt x="294" y="389"/>
                  <a:pt x="307" y="386"/>
                </a:cubicBezTo>
                <a:cubicBezTo>
                  <a:pt x="320" y="382"/>
                  <a:pt x="324" y="367"/>
                  <a:pt x="319" y="352"/>
                </a:cubicBezTo>
                <a:close/>
                <a:moveTo>
                  <a:pt x="104" y="56"/>
                </a:moveTo>
                <a:lnTo>
                  <a:pt x="104" y="56"/>
                </a:lnTo>
                <a:cubicBezTo>
                  <a:pt x="104" y="24"/>
                  <a:pt x="130" y="0"/>
                  <a:pt x="162" y="0"/>
                </a:cubicBezTo>
                <a:cubicBezTo>
                  <a:pt x="193" y="0"/>
                  <a:pt x="219" y="24"/>
                  <a:pt x="219" y="56"/>
                </a:cubicBezTo>
                <a:cubicBezTo>
                  <a:pt x="219" y="87"/>
                  <a:pt x="193" y="112"/>
                  <a:pt x="162" y="112"/>
                </a:cubicBezTo>
                <a:cubicBezTo>
                  <a:pt x="130" y="112"/>
                  <a:pt x="104" y="87"/>
                  <a:pt x="104" y="56"/>
                </a:cubicBezTo>
                <a:close/>
              </a:path>
            </a:pathLst>
          </a:custGeom>
          <a:solidFill>
            <a:schemeClr val="accent2"/>
          </a:solidFill>
          <a:ln w="0">
            <a:solidFill>
              <a:schemeClr val="accent2"/>
            </a:solidFill>
            <a:prstDash val="solid"/>
            <a:round/>
            <a:headEnd/>
            <a:tailEnd/>
          </a:ln>
        </p:spPr>
        <p:txBody>
          <a:bodyPr vert="horz" wrap="square" lIns="85693" tIns="42847" rIns="85693" bIns="42847" numCol="1" anchor="t" anchorCtr="0" compatLnSpc="1">
            <a:prstTxWarp prst="textNoShape">
              <a:avLst/>
            </a:prstTxWarp>
          </a:bodyPr>
          <a:lstStyle/>
          <a:p>
            <a:pPr marL="0" marR="0" lvl="0" indent="0" defTabSz="671718" eaLnBrk="1" fontAlgn="base" latinLnBrk="0" hangingPunct="1">
              <a:lnSpc>
                <a:spcPct val="100000"/>
              </a:lnSpc>
              <a:spcBef>
                <a:spcPct val="0"/>
              </a:spcBef>
              <a:spcAft>
                <a:spcPct val="0"/>
              </a:spcAft>
              <a:buClrTx/>
              <a:buSzTx/>
              <a:buFontTx/>
              <a:buNone/>
              <a:tabLst/>
              <a:defRPr/>
            </a:pPr>
            <a:endParaRPr kumimoji="0" lang="en-US" sz="1687" b="0" i="0" u="none" strike="noStrike" kern="0" cap="none" spc="0" normalizeH="0" baseline="0" noProof="0" dirty="0">
              <a:ln>
                <a:noFill/>
              </a:ln>
              <a:solidFill>
                <a:srgbClr val="343434"/>
              </a:solidFill>
              <a:effectLst/>
              <a:uLnTx/>
              <a:uFillTx/>
              <a:latin typeface="Gotham Book" charset="0"/>
              <a:ea typeface="ヒラギノ角ゴ ProN W3" charset="0"/>
              <a:sym typeface="Gotham Book" charset="0"/>
            </a:endParaRPr>
          </a:p>
        </p:txBody>
      </p:sp>
      <p:cxnSp>
        <p:nvCxnSpPr>
          <p:cNvPr id="106" name="Straight Arrow Connector 105">
            <a:extLst>
              <a:ext uri="{FF2B5EF4-FFF2-40B4-BE49-F238E27FC236}">
                <a16:creationId xmlns:a16="http://schemas.microsoft.com/office/drawing/2014/main" id="{3A13BF96-FAFF-44C2-9A66-D662FF5450B3}"/>
              </a:ext>
            </a:extLst>
          </p:cNvPr>
          <p:cNvCxnSpPr>
            <a:endCxn id="100" idx="7"/>
          </p:cNvCxnSpPr>
          <p:nvPr/>
        </p:nvCxnSpPr>
        <p:spPr>
          <a:xfrm flipH="1">
            <a:off x="8745605" y="4884760"/>
            <a:ext cx="603018" cy="348864"/>
          </a:xfrm>
          <a:prstGeom prst="straightConnector1">
            <a:avLst/>
          </a:prstGeom>
          <a:noFill/>
          <a:ln w="9525" cap="flat" cmpd="sng" algn="ctr">
            <a:solidFill>
              <a:srgbClr val="D0D0CE"/>
            </a:solidFill>
            <a:prstDash val="solid"/>
            <a:tailEnd type="triangle"/>
          </a:ln>
          <a:effectLst/>
        </p:spPr>
      </p:cxnSp>
      <p:cxnSp>
        <p:nvCxnSpPr>
          <p:cNvPr id="107" name="Straight Arrow Connector 106">
            <a:extLst>
              <a:ext uri="{FF2B5EF4-FFF2-40B4-BE49-F238E27FC236}">
                <a16:creationId xmlns:a16="http://schemas.microsoft.com/office/drawing/2014/main" id="{6B453382-F973-42BB-8899-AA8FF362FF8E}"/>
              </a:ext>
            </a:extLst>
          </p:cNvPr>
          <p:cNvCxnSpPr>
            <a:endCxn id="96" idx="0"/>
          </p:cNvCxnSpPr>
          <p:nvPr/>
        </p:nvCxnSpPr>
        <p:spPr>
          <a:xfrm flipH="1">
            <a:off x="9133384" y="4977923"/>
            <a:ext cx="372273" cy="452533"/>
          </a:xfrm>
          <a:prstGeom prst="straightConnector1">
            <a:avLst/>
          </a:prstGeom>
          <a:noFill/>
          <a:ln w="9525" cap="flat" cmpd="sng" algn="ctr">
            <a:solidFill>
              <a:srgbClr val="D0D0CE"/>
            </a:solidFill>
            <a:prstDash val="solid"/>
            <a:tailEnd type="triangle"/>
          </a:ln>
          <a:effectLst/>
        </p:spPr>
      </p:cxnSp>
      <p:cxnSp>
        <p:nvCxnSpPr>
          <p:cNvPr id="108" name="Straight Arrow Connector 107">
            <a:extLst>
              <a:ext uri="{FF2B5EF4-FFF2-40B4-BE49-F238E27FC236}">
                <a16:creationId xmlns:a16="http://schemas.microsoft.com/office/drawing/2014/main" id="{E597F789-700F-4D53-9B1C-FD8B0BAB6228}"/>
              </a:ext>
            </a:extLst>
          </p:cNvPr>
          <p:cNvCxnSpPr>
            <a:endCxn id="97" idx="0"/>
          </p:cNvCxnSpPr>
          <p:nvPr/>
        </p:nvCxnSpPr>
        <p:spPr>
          <a:xfrm>
            <a:off x="9770029" y="5181664"/>
            <a:ext cx="16679" cy="384498"/>
          </a:xfrm>
          <a:prstGeom prst="straightConnector1">
            <a:avLst/>
          </a:prstGeom>
          <a:noFill/>
          <a:ln w="9525" cap="flat" cmpd="sng" algn="ctr">
            <a:solidFill>
              <a:srgbClr val="D0D0CE"/>
            </a:solidFill>
            <a:prstDash val="solid"/>
            <a:tailEnd type="triangle"/>
          </a:ln>
          <a:effectLst/>
        </p:spPr>
      </p:cxnSp>
      <p:grpSp>
        <p:nvGrpSpPr>
          <p:cNvPr id="109" name="Group 108">
            <a:extLst>
              <a:ext uri="{FF2B5EF4-FFF2-40B4-BE49-F238E27FC236}">
                <a16:creationId xmlns:a16="http://schemas.microsoft.com/office/drawing/2014/main" id="{ED4726EE-C657-4327-B605-01667AD5790E}"/>
              </a:ext>
            </a:extLst>
          </p:cNvPr>
          <p:cNvGrpSpPr/>
          <p:nvPr/>
        </p:nvGrpSpPr>
        <p:grpSpPr>
          <a:xfrm rot="16200000">
            <a:off x="10117668" y="4776793"/>
            <a:ext cx="536594" cy="774807"/>
            <a:chOff x="13749431" y="4858597"/>
            <a:chExt cx="770047" cy="1005779"/>
          </a:xfrm>
        </p:grpSpPr>
        <p:cxnSp>
          <p:nvCxnSpPr>
            <p:cNvPr id="110" name="Straight Arrow Connector 109">
              <a:extLst>
                <a:ext uri="{FF2B5EF4-FFF2-40B4-BE49-F238E27FC236}">
                  <a16:creationId xmlns:a16="http://schemas.microsoft.com/office/drawing/2014/main" id="{3538B0AF-9441-49AF-90CE-31BAA7063078}"/>
                </a:ext>
              </a:extLst>
            </p:cNvPr>
            <p:cNvCxnSpPr>
              <a:endCxn id="98" idx="0"/>
            </p:cNvCxnSpPr>
            <p:nvPr/>
          </p:nvCxnSpPr>
          <p:spPr>
            <a:xfrm rot="5400000">
              <a:off x="13825850" y="4782178"/>
              <a:ext cx="486434" cy="639272"/>
            </a:xfrm>
            <a:prstGeom prst="straightConnector1">
              <a:avLst/>
            </a:prstGeom>
            <a:noFill/>
            <a:ln w="9525" cap="flat" cmpd="sng" algn="ctr">
              <a:solidFill>
                <a:srgbClr val="D0D0CE"/>
              </a:solidFill>
              <a:prstDash val="solid"/>
              <a:tailEnd type="triangle"/>
            </a:ln>
            <a:effectLst/>
          </p:spPr>
        </p:cxnSp>
        <p:cxnSp>
          <p:nvCxnSpPr>
            <p:cNvPr id="111" name="Straight Arrow Connector 110">
              <a:extLst>
                <a:ext uri="{FF2B5EF4-FFF2-40B4-BE49-F238E27FC236}">
                  <a16:creationId xmlns:a16="http://schemas.microsoft.com/office/drawing/2014/main" id="{92DEB428-AD60-4FA0-B15B-E10BBE3692D5}"/>
                </a:ext>
              </a:extLst>
            </p:cNvPr>
            <p:cNvCxnSpPr>
              <a:endCxn id="99" idx="1"/>
            </p:cNvCxnSpPr>
            <p:nvPr/>
          </p:nvCxnSpPr>
          <p:spPr>
            <a:xfrm rot="5400000">
              <a:off x="13899215" y="5244114"/>
              <a:ext cx="755869" cy="484656"/>
            </a:xfrm>
            <a:prstGeom prst="straightConnector1">
              <a:avLst/>
            </a:prstGeom>
            <a:noFill/>
            <a:ln w="9525" cap="flat" cmpd="sng" algn="ctr">
              <a:solidFill>
                <a:srgbClr val="D0D0CE"/>
              </a:solidFill>
              <a:prstDash val="solid"/>
              <a:tailEnd type="triangle"/>
            </a:ln>
            <a:effectLst/>
          </p:spPr>
        </p:cxnSp>
      </p:grpSp>
      <p:grpSp>
        <p:nvGrpSpPr>
          <p:cNvPr id="114" name="Group 113">
            <a:extLst>
              <a:ext uri="{FF2B5EF4-FFF2-40B4-BE49-F238E27FC236}">
                <a16:creationId xmlns:a16="http://schemas.microsoft.com/office/drawing/2014/main" id="{0B25C73C-505B-48C6-9BDF-EC0825B01812}"/>
              </a:ext>
            </a:extLst>
          </p:cNvPr>
          <p:cNvGrpSpPr/>
          <p:nvPr/>
        </p:nvGrpSpPr>
        <p:grpSpPr>
          <a:xfrm>
            <a:off x="5669311" y="4172769"/>
            <a:ext cx="747081" cy="793019"/>
            <a:chOff x="9632951" y="5213350"/>
            <a:chExt cx="490538" cy="520701"/>
          </a:xfrm>
          <a:solidFill>
            <a:schemeClr val="accent1"/>
          </a:solidFill>
        </p:grpSpPr>
        <p:sp>
          <p:nvSpPr>
            <p:cNvPr id="115" name="Freeform 441">
              <a:extLst>
                <a:ext uri="{FF2B5EF4-FFF2-40B4-BE49-F238E27FC236}">
                  <a16:creationId xmlns:a16="http://schemas.microsoft.com/office/drawing/2014/main" id="{FE3F47D0-DECF-4D7C-918F-6C8CD700796E}"/>
                </a:ext>
              </a:extLst>
            </p:cNvPr>
            <p:cNvSpPr>
              <a:spLocks noEditPoints="1"/>
            </p:cNvSpPr>
            <p:nvPr/>
          </p:nvSpPr>
          <p:spPr bwMode="auto">
            <a:xfrm>
              <a:off x="9783763" y="5586413"/>
              <a:ext cx="188913" cy="147638"/>
            </a:xfrm>
            <a:custGeom>
              <a:avLst/>
              <a:gdLst>
                <a:gd name="T0" fmla="*/ 81 w 88"/>
                <a:gd name="T1" fmla="*/ 40 h 69"/>
                <a:gd name="T2" fmla="*/ 76 w 88"/>
                <a:gd name="T3" fmla="*/ 36 h 69"/>
                <a:gd name="T4" fmla="*/ 59 w 88"/>
                <a:gd name="T5" fmla="*/ 36 h 69"/>
                <a:gd name="T6" fmla="*/ 59 w 88"/>
                <a:gd name="T7" fmla="*/ 5 h 69"/>
                <a:gd name="T8" fmla="*/ 54 w 88"/>
                <a:gd name="T9" fmla="*/ 0 h 69"/>
                <a:gd name="T10" fmla="*/ 49 w 88"/>
                <a:gd name="T11" fmla="*/ 5 h 69"/>
                <a:gd name="T12" fmla="*/ 49 w 88"/>
                <a:gd name="T13" fmla="*/ 36 h 69"/>
                <a:gd name="T14" fmla="*/ 39 w 88"/>
                <a:gd name="T15" fmla="*/ 36 h 69"/>
                <a:gd name="T16" fmla="*/ 39 w 88"/>
                <a:gd name="T17" fmla="*/ 5 h 69"/>
                <a:gd name="T18" fmla="*/ 34 w 88"/>
                <a:gd name="T19" fmla="*/ 0 h 69"/>
                <a:gd name="T20" fmla="*/ 29 w 88"/>
                <a:gd name="T21" fmla="*/ 5 h 69"/>
                <a:gd name="T22" fmla="*/ 29 w 88"/>
                <a:gd name="T23" fmla="*/ 36 h 69"/>
                <a:gd name="T24" fmla="*/ 11 w 88"/>
                <a:gd name="T25" fmla="*/ 36 h 69"/>
                <a:gd name="T26" fmla="*/ 7 w 88"/>
                <a:gd name="T27" fmla="*/ 40 h 69"/>
                <a:gd name="T28" fmla="*/ 0 w 88"/>
                <a:gd name="T29" fmla="*/ 63 h 69"/>
                <a:gd name="T30" fmla="*/ 1 w 88"/>
                <a:gd name="T31" fmla="*/ 67 h 69"/>
                <a:gd name="T32" fmla="*/ 5 w 88"/>
                <a:gd name="T33" fmla="*/ 69 h 69"/>
                <a:gd name="T34" fmla="*/ 83 w 88"/>
                <a:gd name="T35" fmla="*/ 69 h 69"/>
                <a:gd name="T36" fmla="*/ 83 w 88"/>
                <a:gd name="T37" fmla="*/ 69 h 69"/>
                <a:gd name="T38" fmla="*/ 88 w 88"/>
                <a:gd name="T39" fmla="*/ 64 h 69"/>
                <a:gd name="T40" fmla="*/ 87 w 88"/>
                <a:gd name="T41" fmla="*/ 62 h 69"/>
                <a:gd name="T42" fmla="*/ 81 w 88"/>
                <a:gd name="T43" fmla="*/ 40 h 69"/>
                <a:gd name="T44" fmla="*/ 11 w 88"/>
                <a:gd name="T45" fmla="*/ 59 h 69"/>
                <a:gd name="T46" fmla="*/ 15 w 88"/>
                <a:gd name="T47" fmla="*/ 46 h 69"/>
                <a:gd name="T48" fmla="*/ 73 w 88"/>
                <a:gd name="T49" fmla="*/ 46 h 69"/>
                <a:gd name="T50" fmla="*/ 76 w 88"/>
                <a:gd name="T51" fmla="*/ 59 h 69"/>
                <a:gd name="T52" fmla="*/ 11 w 88"/>
                <a:gd name="T53" fmla="*/ 5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8" h="69">
                  <a:moveTo>
                    <a:pt x="81" y="40"/>
                  </a:moveTo>
                  <a:cubicBezTo>
                    <a:pt x="80" y="38"/>
                    <a:pt x="79" y="36"/>
                    <a:pt x="76" y="36"/>
                  </a:cubicBezTo>
                  <a:cubicBezTo>
                    <a:pt x="59" y="36"/>
                    <a:pt x="59" y="36"/>
                    <a:pt x="59" y="36"/>
                  </a:cubicBezTo>
                  <a:cubicBezTo>
                    <a:pt x="59" y="5"/>
                    <a:pt x="59" y="5"/>
                    <a:pt x="59" y="5"/>
                  </a:cubicBezTo>
                  <a:cubicBezTo>
                    <a:pt x="59" y="3"/>
                    <a:pt x="56" y="0"/>
                    <a:pt x="54" y="0"/>
                  </a:cubicBezTo>
                  <a:cubicBezTo>
                    <a:pt x="51" y="0"/>
                    <a:pt x="49" y="3"/>
                    <a:pt x="49" y="5"/>
                  </a:cubicBezTo>
                  <a:cubicBezTo>
                    <a:pt x="49" y="36"/>
                    <a:pt x="49" y="36"/>
                    <a:pt x="49" y="36"/>
                  </a:cubicBezTo>
                  <a:cubicBezTo>
                    <a:pt x="39" y="36"/>
                    <a:pt x="39" y="36"/>
                    <a:pt x="39" y="36"/>
                  </a:cubicBezTo>
                  <a:cubicBezTo>
                    <a:pt x="39" y="5"/>
                    <a:pt x="39" y="5"/>
                    <a:pt x="39" y="5"/>
                  </a:cubicBezTo>
                  <a:cubicBezTo>
                    <a:pt x="39" y="3"/>
                    <a:pt x="37" y="0"/>
                    <a:pt x="34" y="0"/>
                  </a:cubicBezTo>
                  <a:cubicBezTo>
                    <a:pt x="31" y="0"/>
                    <a:pt x="29" y="3"/>
                    <a:pt x="29" y="5"/>
                  </a:cubicBezTo>
                  <a:cubicBezTo>
                    <a:pt x="29" y="36"/>
                    <a:pt x="29" y="36"/>
                    <a:pt x="29" y="36"/>
                  </a:cubicBezTo>
                  <a:cubicBezTo>
                    <a:pt x="11" y="36"/>
                    <a:pt x="11" y="36"/>
                    <a:pt x="11" y="36"/>
                  </a:cubicBezTo>
                  <a:cubicBezTo>
                    <a:pt x="9" y="36"/>
                    <a:pt x="7" y="38"/>
                    <a:pt x="7" y="40"/>
                  </a:cubicBezTo>
                  <a:cubicBezTo>
                    <a:pt x="0" y="63"/>
                    <a:pt x="0" y="63"/>
                    <a:pt x="0" y="63"/>
                  </a:cubicBezTo>
                  <a:cubicBezTo>
                    <a:pt x="0" y="65"/>
                    <a:pt x="0" y="66"/>
                    <a:pt x="1" y="67"/>
                  </a:cubicBezTo>
                  <a:cubicBezTo>
                    <a:pt x="2" y="69"/>
                    <a:pt x="3" y="69"/>
                    <a:pt x="5" y="69"/>
                  </a:cubicBezTo>
                  <a:cubicBezTo>
                    <a:pt x="83" y="69"/>
                    <a:pt x="83" y="69"/>
                    <a:pt x="83" y="69"/>
                  </a:cubicBezTo>
                  <a:cubicBezTo>
                    <a:pt x="83" y="69"/>
                    <a:pt x="83" y="69"/>
                    <a:pt x="83" y="69"/>
                  </a:cubicBezTo>
                  <a:cubicBezTo>
                    <a:pt x="86" y="69"/>
                    <a:pt x="88" y="67"/>
                    <a:pt x="88" y="64"/>
                  </a:cubicBezTo>
                  <a:cubicBezTo>
                    <a:pt x="88" y="64"/>
                    <a:pt x="88" y="63"/>
                    <a:pt x="87" y="62"/>
                  </a:cubicBezTo>
                  <a:lnTo>
                    <a:pt x="81" y="40"/>
                  </a:lnTo>
                  <a:close/>
                  <a:moveTo>
                    <a:pt x="11" y="59"/>
                  </a:moveTo>
                  <a:cubicBezTo>
                    <a:pt x="15" y="46"/>
                    <a:pt x="15" y="46"/>
                    <a:pt x="15" y="46"/>
                  </a:cubicBezTo>
                  <a:cubicBezTo>
                    <a:pt x="73" y="46"/>
                    <a:pt x="73" y="46"/>
                    <a:pt x="73" y="46"/>
                  </a:cubicBezTo>
                  <a:cubicBezTo>
                    <a:pt x="76" y="59"/>
                    <a:pt x="76" y="59"/>
                    <a:pt x="76" y="59"/>
                  </a:cubicBezTo>
                  <a:lnTo>
                    <a:pt x="11" y="5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 name="Freeform 442">
              <a:extLst>
                <a:ext uri="{FF2B5EF4-FFF2-40B4-BE49-F238E27FC236}">
                  <a16:creationId xmlns:a16="http://schemas.microsoft.com/office/drawing/2014/main" id="{C95059FD-AC58-48B2-8510-F74F25E9757F}"/>
                </a:ext>
              </a:extLst>
            </p:cNvPr>
            <p:cNvSpPr>
              <a:spLocks noEditPoints="1"/>
            </p:cNvSpPr>
            <p:nvPr/>
          </p:nvSpPr>
          <p:spPr bwMode="auto">
            <a:xfrm>
              <a:off x="9632951" y="5213350"/>
              <a:ext cx="490538" cy="357188"/>
            </a:xfrm>
            <a:custGeom>
              <a:avLst/>
              <a:gdLst>
                <a:gd name="T0" fmla="*/ 201 w 228"/>
                <a:gd name="T1" fmla="*/ 35 h 166"/>
                <a:gd name="T2" fmla="*/ 194 w 228"/>
                <a:gd name="T3" fmla="*/ 34 h 166"/>
                <a:gd name="T4" fmla="*/ 191 w 228"/>
                <a:gd name="T5" fmla="*/ 34 h 166"/>
                <a:gd name="T6" fmla="*/ 191 w 228"/>
                <a:gd name="T7" fmla="*/ 12 h 166"/>
                <a:gd name="T8" fmla="*/ 178 w 228"/>
                <a:gd name="T9" fmla="*/ 0 h 166"/>
                <a:gd name="T10" fmla="*/ 49 w 228"/>
                <a:gd name="T11" fmla="*/ 0 h 166"/>
                <a:gd name="T12" fmla="*/ 37 w 228"/>
                <a:gd name="T13" fmla="*/ 12 h 166"/>
                <a:gd name="T14" fmla="*/ 37 w 228"/>
                <a:gd name="T15" fmla="*/ 34 h 166"/>
                <a:gd name="T16" fmla="*/ 34 w 228"/>
                <a:gd name="T17" fmla="*/ 34 h 166"/>
                <a:gd name="T18" fmla="*/ 27 w 228"/>
                <a:gd name="T19" fmla="*/ 35 h 166"/>
                <a:gd name="T20" fmla="*/ 6 w 228"/>
                <a:gd name="T21" fmla="*/ 84 h 166"/>
                <a:gd name="T22" fmla="*/ 42 w 228"/>
                <a:gd name="T23" fmla="*/ 118 h 166"/>
                <a:gd name="T24" fmla="*/ 44 w 228"/>
                <a:gd name="T25" fmla="*/ 118 h 166"/>
                <a:gd name="T26" fmla="*/ 114 w 228"/>
                <a:gd name="T27" fmla="*/ 166 h 166"/>
                <a:gd name="T28" fmla="*/ 183 w 228"/>
                <a:gd name="T29" fmla="*/ 118 h 166"/>
                <a:gd name="T30" fmla="*/ 185 w 228"/>
                <a:gd name="T31" fmla="*/ 118 h 166"/>
                <a:gd name="T32" fmla="*/ 222 w 228"/>
                <a:gd name="T33" fmla="*/ 84 h 166"/>
                <a:gd name="T34" fmla="*/ 201 w 228"/>
                <a:gd name="T35" fmla="*/ 35 h 166"/>
                <a:gd name="T36" fmla="*/ 16 w 228"/>
                <a:gd name="T37" fmla="*/ 82 h 166"/>
                <a:gd name="T38" fmla="*/ 30 w 228"/>
                <a:gd name="T39" fmla="*/ 44 h 166"/>
                <a:gd name="T40" fmla="*/ 34 w 228"/>
                <a:gd name="T41" fmla="*/ 44 h 166"/>
                <a:gd name="T42" fmla="*/ 37 w 228"/>
                <a:gd name="T43" fmla="*/ 44 h 166"/>
                <a:gd name="T44" fmla="*/ 37 w 228"/>
                <a:gd name="T45" fmla="*/ 83 h 166"/>
                <a:gd name="T46" fmla="*/ 41 w 228"/>
                <a:gd name="T47" fmla="*/ 108 h 166"/>
                <a:gd name="T48" fmla="*/ 16 w 228"/>
                <a:gd name="T49" fmla="*/ 82 h 166"/>
                <a:gd name="T50" fmla="*/ 181 w 228"/>
                <a:gd name="T51" fmla="*/ 83 h 166"/>
                <a:gd name="T52" fmla="*/ 114 w 228"/>
                <a:gd name="T53" fmla="*/ 156 h 166"/>
                <a:gd name="T54" fmla="*/ 54 w 228"/>
                <a:gd name="T55" fmla="*/ 115 h 166"/>
                <a:gd name="T56" fmla="*/ 50 w 228"/>
                <a:gd name="T57" fmla="*/ 106 h 166"/>
                <a:gd name="T58" fmla="*/ 47 w 228"/>
                <a:gd name="T59" fmla="*/ 83 h 166"/>
                <a:gd name="T60" fmla="*/ 47 w 228"/>
                <a:gd name="T61" fmla="*/ 48 h 166"/>
                <a:gd name="T62" fmla="*/ 47 w 228"/>
                <a:gd name="T63" fmla="*/ 37 h 166"/>
                <a:gd name="T64" fmla="*/ 47 w 228"/>
                <a:gd name="T65" fmla="*/ 12 h 166"/>
                <a:gd name="T66" fmla="*/ 49 w 228"/>
                <a:gd name="T67" fmla="*/ 10 h 166"/>
                <a:gd name="T68" fmla="*/ 178 w 228"/>
                <a:gd name="T69" fmla="*/ 10 h 166"/>
                <a:gd name="T70" fmla="*/ 181 w 228"/>
                <a:gd name="T71" fmla="*/ 12 h 166"/>
                <a:gd name="T72" fmla="*/ 181 w 228"/>
                <a:gd name="T73" fmla="*/ 83 h 166"/>
                <a:gd name="T74" fmla="*/ 212 w 228"/>
                <a:gd name="T75" fmla="*/ 82 h 166"/>
                <a:gd name="T76" fmla="*/ 187 w 228"/>
                <a:gd name="T77" fmla="*/ 108 h 166"/>
                <a:gd name="T78" fmla="*/ 191 w 228"/>
                <a:gd name="T79" fmla="*/ 83 h 166"/>
                <a:gd name="T80" fmla="*/ 191 w 228"/>
                <a:gd name="T81" fmla="*/ 44 h 166"/>
                <a:gd name="T82" fmla="*/ 194 w 228"/>
                <a:gd name="T83" fmla="*/ 44 h 166"/>
                <a:gd name="T84" fmla="*/ 198 w 228"/>
                <a:gd name="T85" fmla="*/ 44 h 166"/>
                <a:gd name="T86" fmla="*/ 212 w 228"/>
                <a:gd name="T87" fmla="*/ 8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8" h="166">
                  <a:moveTo>
                    <a:pt x="201" y="35"/>
                  </a:moveTo>
                  <a:cubicBezTo>
                    <a:pt x="198" y="34"/>
                    <a:pt x="196" y="34"/>
                    <a:pt x="194" y="34"/>
                  </a:cubicBezTo>
                  <a:cubicBezTo>
                    <a:pt x="193" y="34"/>
                    <a:pt x="192" y="34"/>
                    <a:pt x="191" y="34"/>
                  </a:cubicBezTo>
                  <a:cubicBezTo>
                    <a:pt x="191" y="12"/>
                    <a:pt x="191" y="12"/>
                    <a:pt x="191" y="12"/>
                  </a:cubicBezTo>
                  <a:cubicBezTo>
                    <a:pt x="191" y="6"/>
                    <a:pt x="185" y="0"/>
                    <a:pt x="178" y="0"/>
                  </a:cubicBezTo>
                  <a:cubicBezTo>
                    <a:pt x="49" y="0"/>
                    <a:pt x="49" y="0"/>
                    <a:pt x="49" y="0"/>
                  </a:cubicBezTo>
                  <a:cubicBezTo>
                    <a:pt x="43" y="0"/>
                    <a:pt x="37" y="6"/>
                    <a:pt x="37" y="12"/>
                  </a:cubicBezTo>
                  <a:cubicBezTo>
                    <a:pt x="37" y="34"/>
                    <a:pt x="37" y="34"/>
                    <a:pt x="37" y="34"/>
                  </a:cubicBezTo>
                  <a:cubicBezTo>
                    <a:pt x="36" y="34"/>
                    <a:pt x="35" y="34"/>
                    <a:pt x="34" y="34"/>
                  </a:cubicBezTo>
                  <a:cubicBezTo>
                    <a:pt x="32" y="34"/>
                    <a:pt x="29" y="34"/>
                    <a:pt x="27" y="35"/>
                  </a:cubicBezTo>
                  <a:cubicBezTo>
                    <a:pt x="9" y="39"/>
                    <a:pt x="0" y="62"/>
                    <a:pt x="6" y="84"/>
                  </a:cubicBezTo>
                  <a:cubicBezTo>
                    <a:pt x="11" y="104"/>
                    <a:pt x="27" y="118"/>
                    <a:pt x="42" y="118"/>
                  </a:cubicBezTo>
                  <a:cubicBezTo>
                    <a:pt x="43" y="118"/>
                    <a:pt x="44" y="118"/>
                    <a:pt x="44" y="118"/>
                  </a:cubicBezTo>
                  <a:cubicBezTo>
                    <a:pt x="57" y="146"/>
                    <a:pt x="83" y="166"/>
                    <a:pt x="114" y="166"/>
                  </a:cubicBezTo>
                  <a:cubicBezTo>
                    <a:pt x="145" y="166"/>
                    <a:pt x="171" y="146"/>
                    <a:pt x="183" y="118"/>
                  </a:cubicBezTo>
                  <a:cubicBezTo>
                    <a:pt x="184" y="118"/>
                    <a:pt x="185" y="118"/>
                    <a:pt x="185" y="118"/>
                  </a:cubicBezTo>
                  <a:cubicBezTo>
                    <a:pt x="201" y="118"/>
                    <a:pt x="216" y="104"/>
                    <a:pt x="222" y="84"/>
                  </a:cubicBezTo>
                  <a:cubicBezTo>
                    <a:pt x="228" y="62"/>
                    <a:pt x="218" y="39"/>
                    <a:pt x="201" y="35"/>
                  </a:cubicBezTo>
                  <a:close/>
                  <a:moveTo>
                    <a:pt x="16" y="82"/>
                  </a:moveTo>
                  <a:cubicBezTo>
                    <a:pt x="11" y="65"/>
                    <a:pt x="17" y="47"/>
                    <a:pt x="30" y="44"/>
                  </a:cubicBezTo>
                  <a:cubicBezTo>
                    <a:pt x="31" y="44"/>
                    <a:pt x="32" y="44"/>
                    <a:pt x="34" y="44"/>
                  </a:cubicBezTo>
                  <a:cubicBezTo>
                    <a:pt x="35" y="44"/>
                    <a:pt x="36" y="44"/>
                    <a:pt x="37" y="44"/>
                  </a:cubicBezTo>
                  <a:cubicBezTo>
                    <a:pt x="37" y="83"/>
                    <a:pt x="37" y="83"/>
                    <a:pt x="37" y="83"/>
                  </a:cubicBezTo>
                  <a:cubicBezTo>
                    <a:pt x="37" y="92"/>
                    <a:pt x="38" y="100"/>
                    <a:pt x="41" y="108"/>
                  </a:cubicBezTo>
                  <a:cubicBezTo>
                    <a:pt x="30" y="107"/>
                    <a:pt x="19" y="96"/>
                    <a:pt x="16" y="82"/>
                  </a:cubicBezTo>
                  <a:close/>
                  <a:moveTo>
                    <a:pt x="181" y="83"/>
                  </a:moveTo>
                  <a:cubicBezTo>
                    <a:pt x="181" y="123"/>
                    <a:pt x="151" y="156"/>
                    <a:pt x="114" y="156"/>
                  </a:cubicBezTo>
                  <a:cubicBezTo>
                    <a:pt x="88" y="156"/>
                    <a:pt x="65" y="139"/>
                    <a:pt x="54" y="115"/>
                  </a:cubicBezTo>
                  <a:cubicBezTo>
                    <a:pt x="53" y="112"/>
                    <a:pt x="51" y="109"/>
                    <a:pt x="50" y="106"/>
                  </a:cubicBezTo>
                  <a:cubicBezTo>
                    <a:pt x="48" y="99"/>
                    <a:pt x="47" y="91"/>
                    <a:pt x="47" y="83"/>
                  </a:cubicBezTo>
                  <a:cubicBezTo>
                    <a:pt x="47" y="48"/>
                    <a:pt x="47" y="48"/>
                    <a:pt x="47" y="48"/>
                  </a:cubicBezTo>
                  <a:cubicBezTo>
                    <a:pt x="47" y="37"/>
                    <a:pt x="47" y="37"/>
                    <a:pt x="47" y="37"/>
                  </a:cubicBezTo>
                  <a:cubicBezTo>
                    <a:pt x="47" y="12"/>
                    <a:pt x="47" y="12"/>
                    <a:pt x="47" y="12"/>
                  </a:cubicBezTo>
                  <a:cubicBezTo>
                    <a:pt x="47" y="11"/>
                    <a:pt x="48" y="10"/>
                    <a:pt x="49" y="10"/>
                  </a:cubicBezTo>
                  <a:cubicBezTo>
                    <a:pt x="178" y="10"/>
                    <a:pt x="178" y="10"/>
                    <a:pt x="178" y="10"/>
                  </a:cubicBezTo>
                  <a:cubicBezTo>
                    <a:pt x="180" y="10"/>
                    <a:pt x="181" y="11"/>
                    <a:pt x="181" y="12"/>
                  </a:cubicBezTo>
                  <a:lnTo>
                    <a:pt x="181" y="83"/>
                  </a:lnTo>
                  <a:close/>
                  <a:moveTo>
                    <a:pt x="212" y="82"/>
                  </a:moveTo>
                  <a:cubicBezTo>
                    <a:pt x="208" y="96"/>
                    <a:pt x="198" y="107"/>
                    <a:pt x="187" y="108"/>
                  </a:cubicBezTo>
                  <a:cubicBezTo>
                    <a:pt x="189" y="100"/>
                    <a:pt x="191" y="92"/>
                    <a:pt x="191" y="83"/>
                  </a:cubicBezTo>
                  <a:cubicBezTo>
                    <a:pt x="191" y="44"/>
                    <a:pt x="191" y="44"/>
                    <a:pt x="191" y="44"/>
                  </a:cubicBezTo>
                  <a:cubicBezTo>
                    <a:pt x="192" y="44"/>
                    <a:pt x="193" y="44"/>
                    <a:pt x="194" y="44"/>
                  </a:cubicBezTo>
                  <a:cubicBezTo>
                    <a:pt x="195" y="44"/>
                    <a:pt x="197" y="44"/>
                    <a:pt x="198" y="44"/>
                  </a:cubicBezTo>
                  <a:cubicBezTo>
                    <a:pt x="210" y="47"/>
                    <a:pt x="217" y="65"/>
                    <a:pt x="212" y="8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 name="Freeform 443">
              <a:extLst>
                <a:ext uri="{FF2B5EF4-FFF2-40B4-BE49-F238E27FC236}">
                  <a16:creationId xmlns:a16="http://schemas.microsoft.com/office/drawing/2014/main" id="{68489CEA-787D-4244-8F64-79B2F104B42B}"/>
                </a:ext>
              </a:extLst>
            </p:cNvPr>
            <p:cNvSpPr>
              <a:spLocks noEditPoints="1"/>
            </p:cNvSpPr>
            <p:nvPr/>
          </p:nvSpPr>
          <p:spPr bwMode="auto">
            <a:xfrm>
              <a:off x="9785351" y="5284788"/>
              <a:ext cx="182563" cy="171450"/>
            </a:xfrm>
            <a:custGeom>
              <a:avLst/>
              <a:gdLst>
                <a:gd name="T0" fmla="*/ 78 w 85"/>
                <a:gd name="T1" fmla="*/ 25 h 80"/>
                <a:gd name="T2" fmla="*/ 57 w 85"/>
                <a:gd name="T3" fmla="*/ 25 h 80"/>
                <a:gd name="T4" fmla="*/ 50 w 85"/>
                <a:gd name="T5" fmla="*/ 5 h 80"/>
                <a:gd name="T6" fmla="*/ 43 w 85"/>
                <a:gd name="T7" fmla="*/ 0 h 80"/>
                <a:gd name="T8" fmla="*/ 36 w 85"/>
                <a:gd name="T9" fmla="*/ 5 h 80"/>
                <a:gd name="T10" fmla="*/ 29 w 85"/>
                <a:gd name="T11" fmla="*/ 25 h 80"/>
                <a:gd name="T12" fmla="*/ 8 w 85"/>
                <a:gd name="T13" fmla="*/ 25 h 80"/>
                <a:gd name="T14" fmla="*/ 1 w 85"/>
                <a:gd name="T15" fmla="*/ 30 h 80"/>
                <a:gd name="T16" fmla="*/ 4 w 85"/>
                <a:gd name="T17" fmla="*/ 38 h 80"/>
                <a:gd name="T18" fmla="*/ 21 w 85"/>
                <a:gd name="T19" fmla="*/ 50 h 80"/>
                <a:gd name="T20" fmla="*/ 15 w 85"/>
                <a:gd name="T21" fmla="*/ 71 h 80"/>
                <a:gd name="T22" fmla="*/ 17 w 85"/>
                <a:gd name="T23" fmla="*/ 78 h 80"/>
                <a:gd name="T24" fmla="*/ 21 w 85"/>
                <a:gd name="T25" fmla="*/ 80 h 80"/>
                <a:gd name="T26" fmla="*/ 25 w 85"/>
                <a:gd name="T27" fmla="*/ 78 h 80"/>
                <a:gd name="T28" fmla="*/ 43 w 85"/>
                <a:gd name="T29" fmla="*/ 66 h 80"/>
                <a:gd name="T30" fmla="*/ 60 w 85"/>
                <a:gd name="T31" fmla="*/ 78 h 80"/>
                <a:gd name="T32" fmla="*/ 69 w 85"/>
                <a:gd name="T33" fmla="*/ 78 h 80"/>
                <a:gd name="T34" fmla="*/ 71 w 85"/>
                <a:gd name="T35" fmla="*/ 71 h 80"/>
                <a:gd name="T36" fmla="*/ 65 w 85"/>
                <a:gd name="T37" fmla="*/ 50 h 80"/>
                <a:gd name="T38" fmla="*/ 82 w 85"/>
                <a:gd name="T39" fmla="*/ 38 h 80"/>
                <a:gd name="T40" fmla="*/ 84 w 85"/>
                <a:gd name="T41" fmla="*/ 30 h 80"/>
                <a:gd name="T42" fmla="*/ 78 w 85"/>
                <a:gd name="T43" fmla="*/ 25 h 80"/>
                <a:gd name="T44" fmla="*/ 56 w 85"/>
                <a:gd name="T45" fmla="*/ 45 h 80"/>
                <a:gd name="T46" fmla="*/ 55 w 85"/>
                <a:gd name="T47" fmla="*/ 50 h 80"/>
                <a:gd name="T48" fmla="*/ 60 w 85"/>
                <a:gd name="T49" fmla="*/ 66 h 80"/>
                <a:gd name="T50" fmla="*/ 46 w 85"/>
                <a:gd name="T51" fmla="*/ 56 h 80"/>
                <a:gd name="T52" fmla="*/ 40 w 85"/>
                <a:gd name="T53" fmla="*/ 56 h 80"/>
                <a:gd name="T54" fmla="*/ 26 w 85"/>
                <a:gd name="T55" fmla="*/ 66 h 80"/>
                <a:gd name="T56" fmla="*/ 31 w 85"/>
                <a:gd name="T57" fmla="*/ 50 h 80"/>
                <a:gd name="T58" fmla="*/ 29 w 85"/>
                <a:gd name="T59" fmla="*/ 45 h 80"/>
                <a:gd name="T60" fmla="*/ 16 w 85"/>
                <a:gd name="T61" fmla="*/ 35 h 80"/>
                <a:gd name="T62" fmla="*/ 33 w 85"/>
                <a:gd name="T63" fmla="*/ 34 h 80"/>
                <a:gd name="T64" fmla="*/ 37 w 85"/>
                <a:gd name="T65" fmla="*/ 31 h 80"/>
                <a:gd name="T66" fmla="*/ 43 w 85"/>
                <a:gd name="T67" fmla="*/ 15 h 80"/>
                <a:gd name="T68" fmla="*/ 48 w 85"/>
                <a:gd name="T69" fmla="*/ 31 h 80"/>
                <a:gd name="T70" fmla="*/ 53 w 85"/>
                <a:gd name="T71" fmla="*/ 34 h 80"/>
                <a:gd name="T72" fmla="*/ 70 w 85"/>
                <a:gd name="T73" fmla="*/ 35 h 80"/>
                <a:gd name="T74" fmla="*/ 56 w 85"/>
                <a:gd name="T75" fmla="*/ 4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 h="80">
                  <a:moveTo>
                    <a:pt x="78" y="25"/>
                  </a:moveTo>
                  <a:cubicBezTo>
                    <a:pt x="57" y="25"/>
                    <a:pt x="57" y="25"/>
                    <a:pt x="57" y="25"/>
                  </a:cubicBezTo>
                  <a:cubicBezTo>
                    <a:pt x="50" y="5"/>
                    <a:pt x="50" y="5"/>
                    <a:pt x="50" y="5"/>
                  </a:cubicBezTo>
                  <a:cubicBezTo>
                    <a:pt x="49" y="2"/>
                    <a:pt x="46" y="0"/>
                    <a:pt x="43" y="0"/>
                  </a:cubicBezTo>
                  <a:cubicBezTo>
                    <a:pt x="40" y="0"/>
                    <a:pt x="37" y="2"/>
                    <a:pt x="36" y="5"/>
                  </a:cubicBezTo>
                  <a:cubicBezTo>
                    <a:pt x="29" y="25"/>
                    <a:pt x="29" y="25"/>
                    <a:pt x="29" y="25"/>
                  </a:cubicBezTo>
                  <a:cubicBezTo>
                    <a:pt x="8" y="25"/>
                    <a:pt x="8" y="25"/>
                    <a:pt x="8" y="25"/>
                  </a:cubicBezTo>
                  <a:cubicBezTo>
                    <a:pt x="5" y="25"/>
                    <a:pt x="2" y="27"/>
                    <a:pt x="1" y="30"/>
                  </a:cubicBezTo>
                  <a:cubicBezTo>
                    <a:pt x="0" y="33"/>
                    <a:pt x="1" y="36"/>
                    <a:pt x="4" y="38"/>
                  </a:cubicBezTo>
                  <a:cubicBezTo>
                    <a:pt x="21" y="50"/>
                    <a:pt x="21" y="50"/>
                    <a:pt x="21" y="50"/>
                  </a:cubicBezTo>
                  <a:cubicBezTo>
                    <a:pt x="15" y="71"/>
                    <a:pt x="15" y="71"/>
                    <a:pt x="15" y="71"/>
                  </a:cubicBezTo>
                  <a:cubicBezTo>
                    <a:pt x="14" y="73"/>
                    <a:pt x="15" y="77"/>
                    <a:pt x="17" y="78"/>
                  </a:cubicBezTo>
                  <a:cubicBezTo>
                    <a:pt x="18" y="79"/>
                    <a:pt x="20" y="80"/>
                    <a:pt x="21" y="80"/>
                  </a:cubicBezTo>
                  <a:cubicBezTo>
                    <a:pt x="23" y="80"/>
                    <a:pt x="24" y="79"/>
                    <a:pt x="25" y="78"/>
                  </a:cubicBezTo>
                  <a:cubicBezTo>
                    <a:pt x="43" y="66"/>
                    <a:pt x="43" y="66"/>
                    <a:pt x="43" y="66"/>
                  </a:cubicBezTo>
                  <a:cubicBezTo>
                    <a:pt x="60" y="78"/>
                    <a:pt x="60" y="78"/>
                    <a:pt x="60" y="78"/>
                  </a:cubicBezTo>
                  <a:cubicBezTo>
                    <a:pt x="63" y="80"/>
                    <a:pt x="66" y="80"/>
                    <a:pt x="69" y="78"/>
                  </a:cubicBezTo>
                  <a:cubicBezTo>
                    <a:pt x="71" y="77"/>
                    <a:pt x="72" y="73"/>
                    <a:pt x="71" y="71"/>
                  </a:cubicBezTo>
                  <a:cubicBezTo>
                    <a:pt x="65" y="50"/>
                    <a:pt x="65" y="50"/>
                    <a:pt x="65" y="50"/>
                  </a:cubicBezTo>
                  <a:cubicBezTo>
                    <a:pt x="82" y="38"/>
                    <a:pt x="82" y="38"/>
                    <a:pt x="82" y="38"/>
                  </a:cubicBezTo>
                  <a:cubicBezTo>
                    <a:pt x="84" y="36"/>
                    <a:pt x="85" y="33"/>
                    <a:pt x="84" y="30"/>
                  </a:cubicBezTo>
                  <a:cubicBezTo>
                    <a:pt x="83" y="27"/>
                    <a:pt x="81" y="25"/>
                    <a:pt x="78" y="25"/>
                  </a:cubicBezTo>
                  <a:close/>
                  <a:moveTo>
                    <a:pt x="56" y="45"/>
                  </a:moveTo>
                  <a:cubicBezTo>
                    <a:pt x="55" y="46"/>
                    <a:pt x="54" y="48"/>
                    <a:pt x="55" y="50"/>
                  </a:cubicBezTo>
                  <a:cubicBezTo>
                    <a:pt x="60" y="66"/>
                    <a:pt x="60" y="66"/>
                    <a:pt x="60" y="66"/>
                  </a:cubicBezTo>
                  <a:cubicBezTo>
                    <a:pt x="46" y="56"/>
                    <a:pt x="46" y="56"/>
                    <a:pt x="46" y="56"/>
                  </a:cubicBezTo>
                  <a:cubicBezTo>
                    <a:pt x="44" y="55"/>
                    <a:pt x="42" y="55"/>
                    <a:pt x="40" y="56"/>
                  </a:cubicBezTo>
                  <a:cubicBezTo>
                    <a:pt x="26" y="66"/>
                    <a:pt x="26" y="66"/>
                    <a:pt x="26" y="66"/>
                  </a:cubicBezTo>
                  <a:cubicBezTo>
                    <a:pt x="31" y="50"/>
                    <a:pt x="31" y="50"/>
                    <a:pt x="31" y="50"/>
                  </a:cubicBezTo>
                  <a:cubicBezTo>
                    <a:pt x="32" y="48"/>
                    <a:pt x="31" y="46"/>
                    <a:pt x="29" y="45"/>
                  </a:cubicBezTo>
                  <a:cubicBezTo>
                    <a:pt x="16" y="35"/>
                    <a:pt x="16" y="35"/>
                    <a:pt x="16" y="35"/>
                  </a:cubicBezTo>
                  <a:cubicBezTo>
                    <a:pt x="33" y="34"/>
                    <a:pt x="33" y="34"/>
                    <a:pt x="33" y="34"/>
                  </a:cubicBezTo>
                  <a:cubicBezTo>
                    <a:pt x="35" y="34"/>
                    <a:pt x="37" y="33"/>
                    <a:pt x="37" y="31"/>
                  </a:cubicBezTo>
                  <a:cubicBezTo>
                    <a:pt x="43" y="15"/>
                    <a:pt x="43" y="15"/>
                    <a:pt x="43" y="15"/>
                  </a:cubicBezTo>
                  <a:cubicBezTo>
                    <a:pt x="48" y="31"/>
                    <a:pt x="48" y="31"/>
                    <a:pt x="48" y="31"/>
                  </a:cubicBezTo>
                  <a:cubicBezTo>
                    <a:pt x="49" y="33"/>
                    <a:pt x="51" y="34"/>
                    <a:pt x="53" y="34"/>
                  </a:cubicBezTo>
                  <a:cubicBezTo>
                    <a:pt x="70" y="35"/>
                    <a:pt x="70" y="35"/>
                    <a:pt x="70" y="35"/>
                  </a:cubicBezTo>
                  <a:lnTo>
                    <a:pt x="56" y="4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2579717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9A40CC-0AF1-40DF-BB56-4AA0794A2EA1}"/>
              </a:ext>
            </a:extLst>
          </p:cNvPr>
          <p:cNvSpPr>
            <a:spLocks noGrp="1"/>
          </p:cNvSpPr>
          <p:nvPr>
            <p:ph type="title"/>
          </p:nvPr>
        </p:nvSpPr>
        <p:spPr/>
        <p:txBody>
          <a:bodyPr/>
          <a:lstStyle/>
          <a:p>
            <a:endParaRPr lang="en-US"/>
          </a:p>
        </p:txBody>
      </p:sp>
      <p:pic>
        <p:nvPicPr>
          <p:cNvPr id="13" name="Picture 12">
            <a:extLst>
              <a:ext uri="{FF2B5EF4-FFF2-40B4-BE49-F238E27FC236}">
                <a16:creationId xmlns:a16="http://schemas.microsoft.com/office/drawing/2014/main" id="{6D5C5C42-1B92-4FE9-8475-3A68933B51B2}"/>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0" y="-1"/>
            <a:ext cx="12192000" cy="6857999"/>
          </a:xfrm>
          <a:prstGeom prst="rect">
            <a:avLst/>
          </a:prstGeom>
        </p:spPr>
      </p:pic>
      <p:sp>
        <p:nvSpPr>
          <p:cNvPr id="14" name="Title 7">
            <a:extLst>
              <a:ext uri="{FF2B5EF4-FFF2-40B4-BE49-F238E27FC236}">
                <a16:creationId xmlns:a16="http://schemas.microsoft.com/office/drawing/2014/main" id="{54D8DBFB-AFDB-48DB-84FF-990B21FC6F6F}"/>
              </a:ext>
            </a:extLst>
          </p:cNvPr>
          <p:cNvSpPr txBox="1">
            <a:spLocks/>
          </p:cNvSpPr>
          <p:nvPr/>
        </p:nvSpPr>
        <p:spPr>
          <a:xfrm>
            <a:off x="914400" y="4198810"/>
            <a:ext cx="4389120" cy="2659190"/>
          </a:xfrm>
          <a:prstGeom prst="rect">
            <a:avLst/>
          </a:prstGeom>
          <a:solidFill>
            <a:srgbClr val="FFFFFF"/>
          </a:solidFill>
        </p:spPr>
        <p:txBody>
          <a:bodyPr vert="horz" lIns="365760" tIns="365760" rIns="365760" bIns="1280160" rtlCol="0" anchor="b" anchorCtr="0">
            <a:spAutoFit/>
          </a:bodyPr>
          <a:lstStyle>
            <a:lvl1pPr algn="l" defTabSz="914400" rtl="0" eaLnBrk="1" latinLnBrk="0" hangingPunct="1">
              <a:lnSpc>
                <a:spcPct val="90000"/>
              </a:lnSpc>
              <a:spcBef>
                <a:spcPct val="0"/>
              </a:spcBef>
              <a:buNone/>
              <a:defRPr lang="en-US" sz="3600" b="1" i="0" kern="1200" cap="none" spc="-100" baseline="0" dirty="0">
                <a:solidFill>
                  <a:sysClr val="windowText" lastClr="000000"/>
                </a:solidFill>
                <a:latin typeface="+mn-lt"/>
                <a:ea typeface="Bebas Neue" charset="0"/>
                <a:cs typeface="Chronicle Display Black"/>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dirty="0">
                <a:latin typeface="Open Sans"/>
              </a:rPr>
              <a:t>Company</a:t>
            </a:r>
            <a:r>
              <a:rPr kumimoji="0" lang="en-US" sz="3600" b="1" i="0" u="none" strike="noStrike" kern="1200" cap="none" spc="-100" normalizeH="0" baseline="0" noProof="0" dirty="0">
                <a:ln>
                  <a:noFill/>
                </a:ln>
                <a:solidFill>
                  <a:sysClr val="windowText" lastClr="000000"/>
                </a:solidFill>
                <a:effectLst/>
                <a:uLnTx/>
                <a:uFillTx/>
                <a:latin typeface="Open Sans"/>
              </a:rPr>
              <a:t> Overview</a:t>
            </a:r>
          </a:p>
        </p:txBody>
      </p:sp>
    </p:spTree>
    <p:extLst>
      <p:ext uri="{BB962C8B-B14F-4D97-AF65-F5344CB8AC3E}">
        <p14:creationId xmlns:p14="http://schemas.microsoft.com/office/powerpoint/2010/main" val="91280735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DD90DAD-3E9C-4AAD-B7D4-E85963EF850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2" name="think-cell Slide" r:id="rId6" imgW="415" imgH="416" progId="TCLayout.ActiveDocument.1">
                  <p:embed/>
                </p:oleObj>
              </mc:Choice>
              <mc:Fallback>
                <p:oleObj name="think-cell Slide" r:id="rId6" imgW="415" imgH="416" progId="TCLayout.ActiveDocument.1">
                  <p:embed/>
                  <p:pic>
                    <p:nvPicPr>
                      <p:cNvPr id="6" name="Object 5" hidden="1">
                        <a:extLst>
                          <a:ext uri="{FF2B5EF4-FFF2-40B4-BE49-F238E27FC236}">
                            <a16:creationId xmlns:a16="http://schemas.microsoft.com/office/drawing/2014/main" id="{ADD90DAD-3E9C-4AAD-B7D4-E85963EF850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25C26BA-9820-4669-AE89-A88E8FAC574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83394DAE-4978-4479-AB97-D0B089A0B1A3}"/>
              </a:ext>
            </a:extLst>
          </p:cNvPr>
          <p:cNvSpPr>
            <a:spLocks noGrp="1"/>
          </p:cNvSpPr>
          <p:nvPr>
            <p:ph type="title"/>
          </p:nvPr>
        </p:nvSpPr>
        <p:spPr/>
        <p:txBody>
          <a:bodyPr anchor="b"/>
          <a:lstStyle/>
          <a:p>
            <a:r>
              <a:rPr lang="en-US" dirty="0"/>
              <a:t>Opportunity Areas For Collaboration Services</a:t>
            </a:r>
          </a:p>
        </p:txBody>
      </p:sp>
      <p:sp>
        <p:nvSpPr>
          <p:cNvPr id="3" name="Text Placeholder 2">
            <a:extLst>
              <a:ext uri="{FF2B5EF4-FFF2-40B4-BE49-F238E27FC236}">
                <a16:creationId xmlns:a16="http://schemas.microsoft.com/office/drawing/2014/main" id="{184EDFE5-4BE6-4C92-9DEE-14523AA1C6F7}"/>
              </a:ext>
            </a:extLst>
          </p:cNvPr>
          <p:cNvSpPr>
            <a:spLocks noGrp="1"/>
          </p:cNvSpPr>
          <p:nvPr>
            <p:ph type="body" sz="quarter" idx="14"/>
          </p:nvPr>
        </p:nvSpPr>
        <p:spPr/>
        <p:txBody>
          <a:bodyPr/>
          <a:lstStyle/>
          <a:p>
            <a:r>
              <a:rPr lang="en-US" dirty="0"/>
              <a:t>Subheader</a:t>
            </a:r>
          </a:p>
        </p:txBody>
      </p:sp>
      <p:sp>
        <p:nvSpPr>
          <p:cNvPr id="4" name="Text Placeholder 3">
            <a:extLst>
              <a:ext uri="{FF2B5EF4-FFF2-40B4-BE49-F238E27FC236}">
                <a16:creationId xmlns:a16="http://schemas.microsoft.com/office/drawing/2014/main" id="{5BF498C8-B06B-4DB4-BD53-57C13F14AA25}"/>
              </a:ext>
            </a:extLst>
          </p:cNvPr>
          <p:cNvSpPr>
            <a:spLocks noGrp="1"/>
          </p:cNvSpPr>
          <p:nvPr>
            <p:ph type="body" sz="quarter" idx="15"/>
          </p:nvPr>
        </p:nvSpPr>
        <p:spPr/>
        <p:txBody>
          <a:bodyPr/>
          <a:lstStyle/>
          <a:p>
            <a:r>
              <a:rPr lang="en-US" dirty="0"/>
              <a:t>text</a:t>
            </a:r>
          </a:p>
        </p:txBody>
      </p:sp>
      <p:sp>
        <p:nvSpPr>
          <p:cNvPr id="8" name="Rectangle 7">
            <a:extLst>
              <a:ext uri="{FF2B5EF4-FFF2-40B4-BE49-F238E27FC236}">
                <a16:creationId xmlns:a16="http://schemas.microsoft.com/office/drawing/2014/main" id="{E626675D-3532-4B65-893F-24F5AD359EC2}"/>
              </a:ext>
            </a:extLst>
          </p:cNvPr>
          <p:cNvSpPr/>
          <p:nvPr/>
        </p:nvSpPr>
        <p:spPr>
          <a:xfrm>
            <a:off x="1856554" y="1803208"/>
            <a:ext cx="1659713" cy="4531801"/>
          </a:xfrm>
          <a:prstGeom prst="rect">
            <a:avLst/>
          </a:prstGeom>
          <a:solidFill>
            <a:schemeClr val="accent4">
              <a:lumMod val="20000"/>
              <a:lumOff val="80000"/>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F2498332-A5BE-48BA-95DA-3DF09E7D8289}"/>
              </a:ext>
            </a:extLst>
          </p:cNvPr>
          <p:cNvSpPr/>
          <p:nvPr/>
        </p:nvSpPr>
        <p:spPr>
          <a:xfrm>
            <a:off x="6972693" y="1803208"/>
            <a:ext cx="1659713" cy="45318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F636E21B-CEA7-4216-8DAF-9DBF221040FE}"/>
              </a:ext>
            </a:extLst>
          </p:cNvPr>
          <p:cNvSpPr/>
          <p:nvPr/>
        </p:nvSpPr>
        <p:spPr>
          <a:xfrm>
            <a:off x="5264256" y="1803208"/>
            <a:ext cx="1659713" cy="453180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9338B4FB-04E5-4750-A7C6-6B41CB18A8DF}"/>
              </a:ext>
            </a:extLst>
          </p:cNvPr>
          <p:cNvSpPr/>
          <p:nvPr/>
        </p:nvSpPr>
        <p:spPr>
          <a:xfrm>
            <a:off x="3562755" y="1809049"/>
            <a:ext cx="1659713" cy="45318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6D8F5724-1BBE-40BA-B1AC-42A5BB8E58C1}"/>
              </a:ext>
            </a:extLst>
          </p:cNvPr>
          <p:cNvSpPr/>
          <p:nvPr/>
        </p:nvSpPr>
        <p:spPr>
          <a:xfrm>
            <a:off x="8671956" y="1809049"/>
            <a:ext cx="1659713" cy="4531801"/>
          </a:xfrm>
          <a:prstGeom prst="rect">
            <a:avLst/>
          </a:prstGeom>
          <a:solidFill>
            <a:schemeClr val="accent3">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8C57DE3D-3B70-475B-A04F-8B902E547CAE}"/>
              </a:ext>
            </a:extLst>
          </p:cNvPr>
          <p:cNvSpPr txBox="1"/>
          <p:nvPr/>
        </p:nvSpPr>
        <p:spPr>
          <a:xfrm>
            <a:off x="1987432" y="3320725"/>
            <a:ext cx="1491492" cy="613805"/>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Arial" charset="0"/>
                <a:cs typeface="Arial" charset="0"/>
              </a:rPr>
              <a:t>Building  Solutions Across the Ecosystem </a:t>
            </a:r>
          </a:p>
        </p:txBody>
      </p:sp>
      <p:sp>
        <p:nvSpPr>
          <p:cNvPr id="14" name="TextBox 13">
            <a:extLst>
              <a:ext uri="{FF2B5EF4-FFF2-40B4-BE49-F238E27FC236}">
                <a16:creationId xmlns:a16="http://schemas.microsoft.com/office/drawing/2014/main" id="{1081E5F0-95BC-4259-A105-A22AF5AC94B2}"/>
              </a:ext>
            </a:extLst>
          </p:cNvPr>
          <p:cNvSpPr txBox="1"/>
          <p:nvPr/>
        </p:nvSpPr>
        <p:spPr>
          <a:xfrm>
            <a:off x="3676970" y="3320725"/>
            <a:ext cx="1491492" cy="613805"/>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Arial" charset="0"/>
                <a:cs typeface="Arial" charset="0"/>
              </a:rPr>
              <a:t>Accessing Existing or New Technology </a:t>
            </a:r>
          </a:p>
        </p:txBody>
      </p:sp>
      <p:sp>
        <p:nvSpPr>
          <p:cNvPr id="15" name="TextBox 14">
            <a:extLst>
              <a:ext uri="{FF2B5EF4-FFF2-40B4-BE49-F238E27FC236}">
                <a16:creationId xmlns:a16="http://schemas.microsoft.com/office/drawing/2014/main" id="{9F72AE8F-0746-4F1F-8235-9F70266B72A1}"/>
              </a:ext>
            </a:extLst>
          </p:cNvPr>
          <p:cNvSpPr txBox="1"/>
          <p:nvPr/>
        </p:nvSpPr>
        <p:spPr>
          <a:xfrm>
            <a:off x="5366508" y="3320725"/>
            <a:ext cx="1491492" cy="613805"/>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Arial" charset="0"/>
                <a:cs typeface="Arial" charset="0"/>
              </a:rPr>
              <a:t>Engaging Breakthroughs </a:t>
            </a:r>
          </a:p>
        </p:txBody>
      </p:sp>
      <p:sp>
        <p:nvSpPr>
          <p:cNvPr id="16" name="TextBox 15">
            <a:extLst>
              <a:ext uri="{FF2B5EF4-FFF2-40B4-BE49-F238E27FC236}">
                <a16:creationId xmlns:a16="http://schemas.microsoft.com/office/drawing/2014/main" id="{57BD4274-ED07-4F57-B422-60A3169DB198}"/>
              </a:ext>
            </a:extLst>
          </p:cNvPr>
          <p:cNvSpPr txBox="1"/>
          <p:nvPr/>
        </p:nvSpPr>
        <p:spPr>
          <a:xfrm>
            <a:off x="7056046" y="3320725"/>
            <a:ext cx="1491492" cy="613805"/>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Arial" charset="0"/>
                <a:cs typeface="Arial" charset="0"/>
              </a:rPr>
              <a:t>Learning from Friends Like Me</a:t>
            </a:r>
          </a:p>
        </p:txBody>
      </p:sp>
      <p:sp>
        <p:nvSpPr>
          <p:cNvPr id="17" name="TextBox 16">
            <a:extLst>
              <a:ext uri="{FF2B5EF4-FFF2-40B4-BE49-F238E27FC236}">
                <a16:creationId xmlns:a16="http://schemas.microsoft.com/office/drawing/2014/main" id="{C0703AE9-8BEA-4997-8D13-FD179A824519}"/>
              </a:ext>
            </a:extLst>
          </p:cNvPr>
          <p:cNvSpPr txBox="1"/>
          <p:nvPr/>
        </p:nvSpPr>
        <p:spPr>
          <a:xfrm>
            <a:off x="8745584" y="3320725"/>
            <a:ext cx="1491492" cy="613805"/>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Arial" charset="0"/>
                <a:cs typeface="Arial" charset="0"/>
              </a:rPr>
              <a:t>Owning Value-Based Risk </a:t>
            </a:r>
          </a:p>
        </p:txBody>
      </p:sp>
      <p:sp>
        <p:nvSpPr>
          <p:cNvPr id="18" name="TextBox 17">
            <a:extLst>
              <a:ext uri="{FF2B5EF4-FFF2-40B4-BE49-F238E27FC236}">
                <a16:creationId xmlns:a16="http://schemas.microsoft.com/office/drawing/2014/main" id="{BA229B16-6EAA-4AED-A828-F300FBA655C5}"/>
              </a:ext>
            </a:extLst>
          </p:cNvPr>
          <p:cNvSpPr txBox="1"/>
          <p:nvPr/>
        </p:nvSpPr>
        <p:spPr>
          <a:xfrm>
            <a:off x="1981201" y="2700616"/>
            <a:ext cx="730469" cy="534497"/>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000000"/>
                </a:solidFill>
                <a:effectLst/>
                <a:uLnTx/>
                <a:uFillTx/>
                <a:ea typeface="Arial Hebrew Scholar" charset="-79"/>
                <a:cs typeface="Arial Hebrew Scholar" charset="-79"/>
              </a:rPr>
              <a:t>1</a:t>
            </a:r>
          </a:p>
        </p:txBody>
      </p:sp>
      <p:sp>
        <p:nvSpPr>
          <p:cNvPr id="19" name="TextBox 18">
            <a:extLst>
              <a:ext uri="{FF2B5EF4-FFF2-40B4-BE49-F238E27FC236}">
                <a16:creationId xmlns:a16="http://schemas.microsoft.com/office/drawing/2014/main" id="{2FA5AE98-4033-40FC-B00C-30460BE99EAD}"/>
              </a:ext>
            </a:extLst>
          </p:cNvPr>
          <p:cNvSpPr txBox="1"/>
          <p:nvPr/>
        </p:nvSpPr>
        <p:spPr>
          <a:xfrm>
            <a:off x="3641835" y="2700616"/>
            <a:ext cx="730469" cy="534497"/>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a:ln>
                  <a:noFill/>
                </a:ln>
                <a:solidFill>
                  <a:srgbClr val="000000"/>
                </a:solidFill>
                <a:effectLst/>
                <a:uLnTx/>
                <a:uFillTx/>
                <a:ea typeface="Arial Hebrew Scholar" charset="-79"/>
                <a:cs typeface="Arial Hebrew Scholar" charset="-79"/>
              </a:rPr>
              <a:t>2</a:t>
            </a:r>
          </a:p>
        </p:txBody>
      </p:sp>
      <p:sp>
        <p:nvSpPr>
          <p:cNvPr id="20" name="TextBox 19">
            <a:extLst>
              <a:ext uri="{FF2B5EF4-FFF2-40B4-BE49-F238E27FC236}">
                <a16:creationId xmlns:a16="http://schemas.microsoft.com/office/drawing/2014/main" id="{FE9CF524-10B8-4E76-983E-07E9FF5F7303}"/>
              </a:ext>
            </a:extLst>
          </p:cNvPr>
          <p:cNvSpPr txBox="1"/>
          <p:nvPr/>
        </p:nvSpPr>
        <p:spPr>
          <a:xfrm>
            <a:off x="5344511" y="2700616"/>
            <a:ext cx="730469" cy="534497"/>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a:ln>
                  <a:noFill/>
                </a:ln>
                <a:solidFill>
                  <a:srgbClr val="000000"/>
                </a:solidFill>
                <a:effectLst/>
                <a:uLnTx/>
                <a:uFillTx/>
                <a:ea typeface="Arial Hebrew Scholar" charset="-79"/>
                <a:cs typeface="Arial Hebrew Scholar" charset="-79"/>
              </a:rPr>
              <a:t>3</a:t>
            </a:r>
          </a:p>
        </p:txBody>
      </p:sp>
      <p:sp>
        <p:nvSpPr>
          <p:cNvPr id="21" name="TextBox 20">
            <a:extLst>
              <a:ext uri="{FF2B5EF4-FFF2-40B4-BE49-F238E27FC236}">
                <a16:creationId xmlns:a16="http://schemas.microsoft.com/office/drawing/2014/main" id="{63B26E03-4BA4-4E2B-AEB3-C6AF0A4A26F2}"/>
              </a:ext>
            </a:extLst>
          </p:cNvPr>
          <p:cNvSpPr txBox="1"/>
          <p:nvPr/>
        </p:nvSpPr>
        <p:spPr>
          <a:xfrm>
            <a:off x="7057698" y="2700616"/>
            <a:ext cx="730469" cy="534497"/>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a:ln>
                  <a:noFill/>
                </a:ln>
                <a:solidFill>
                  <a:srgbClr val="000000"/>
                </a:solidFill>
                <a:effectLst/>
                <a:uLnTx/>
                <a:uFillTx/>
                <a:ea typeface="Arial Hebrew Scholar" charset="-79"/>
                <a:cs typeface="Arial Hebrew Scholar" charset="-79"/>
              </a:rPr>
              <a:t>4</a:t>
            </a:r>
          </a:p>
        </p:txBody>
      </p:sp>
      <p:sp>
        <p:nvSpPr>
          <p:cNvPr id="22" name="TextBox 21">
            <a:extLst>
              <a:ext uri="{FF2B5EF4-FFF2-40B4-BE49-F238E27FC236}">
                <a16:creationId xmlns:a16="http://schemas.microsoft.com/office/drawing/2014/main" id="{8C3A9805-13EB-41BB-B241-C56674738B78}"/>
              </a:ext>
            </a:extLst>
          </p:cNvPr>
          <p:cNvSpPr txBox="1"/>
          <p:nvPr/>
        </p:nvSpPr>
        <p:spPr>
          <a:xfrm>
            <a:off x="8781394" y="2700616"/>
            <a:ext cx="730469" cy="534497"/>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000000"/>
                </a:solidFill>
                <a:effectLst/>
                <a:uLnTx/>
                <a:uFillTx/>
                <a:ea typeface="Arial Hebrew Scholar" charset="-79"/>
                <a:cs typeface="Arial Hebrew Scholar" charset="-79"/>
              </a:rPr>
              <a:t>5</a:t>
            </a:r>
          </a:p>
        </p:txBody>
      </p:sp>
      <p:sp>
        <p:nvSpPr>
          <p:cNvPr id="24" name="Rectangle 23">
            <a:extLst>
              <a:ext uri="{FF2B5EF4-FFF2-40B4-BE49-F238E27FC236}">
                <a16:creationId xmlns:a16="http://schemas.microsoft.com/office/drawing/2014/main" id="{7070277B-03C3-4619-91F1-3FD8FB70BDDB}"/>
              </a:ext>
            </a:extLst>
          </p:cNvPr>
          <p:cNvSpPr/>
          <p:nvPr/>
        </p:nvSpPr>
        <p:spPr>
          <a:xfrm>
            <a:off x="1857079" y="1797341"/>
            <a:ext cx="1659713" cy="260461"/>
          </a:xfrm>
          <a:prstGeom prst="rect">
            <a:avLst/>
          </a:prstGeom>
          <a:solidFill>
            <a:schemeClr val="accent4">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5" name="Rectangle 24">
            <a:extLst>
              <a:ext uri="{FF2B5EF4-FFF2-40B4-BE49-F238E27FC236}">
                <a16:creationId xmlns:a16="http://schemas.microsoft.com/office/drawing/2014/main" id="{2EE46494-F98F-4D4C-BFD6-295921FF6DC2}"/>
              </a:ext>
            </a:extLst>
          </p:cNvPr>
          <p:cNvSpPr/>
          <p:nvPr/>
        </p:nvSpPr>
        <p:spPr>
          <a:xfrm>
            <a:off x="6973218" y="1797341"/>
            <a:ext cx="1659713" cy="26046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accent5"/>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19CD1E32-8904-4206-A48E-635E4C9C9C5A}"/>
              </a:ext>
            </a:extLst>
          </p:cNvPr>
          <p:cNvSpPr/>
          <p:nvPr/>
        </p:nvSpPr>
        <p:spPr>
          <a:xfrm>
            <a:off x="5264781" y="1797341"/>
            <a:ext cx="1659713" cy="26046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AB066B59-40A5-4D7E-B44F-B7B3A2FAE24D}"/>
              </a:ext>
            </a:extLst>
          </p:cNvPr>
          <p:cNvSpPr/>
          <p:nvPr/>
        </p:nvSpPr>
        <p:spPr>
          <a:xfrm>
            <a:off x="3563280" y="1797341"/>
            <a:ext cx="1659713" cy="26046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7B60BA98-C452-4C9E-9952-70395263FD57}"/>
              </a:ext>
            </a:extLst>
          </p:cNvPr>
          <p:cNvSpPr/>
          <p:nvPr/>
        </p:nvSpPr>
        <p:spPr>
          <a:xfrm>
            <a:off x="8672481" y="1797341"/>
            <a:ext cx="1659713" cy="26046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2E2E8998-B8A4-4E26-9B27-2CDA46BBB5D1}"/>
              </a:ext>
            </a:extLst>
          </p:cNvPr>
          <p:cNvSpPr/>
          <p:nvPr/>
        </p:nvSpPr>
        <p:spPr>
          <a:xfrm>
            <a:off x="1857079" y="6306566"/>
            <a:ext cx="1659713" cy="72533"/>
          </a:xfrm>
          <a:prstGeom prst="rect">
            <a:avLst/>
          </a:prstGeom>
          <a:solidFill>
            <a:schemeClr val="accent4">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13208BB2-D413-4435-B441-73D8A5873417}"/>
              </a:ext>
            </a:extLst>
          </p:cNvPr>
          <p:cNvSpPr/>
          <p:nvPr/>
        </p:nvSpPr>
        <p:spPr>
          <a:xfrm>
            <a:off x="6973218" y="6306566"/>
            <a:ext cx="1659713" cy="7253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accent5"/>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D768C7BD-C1BB-478D-9C90-A0B178F18D26}"/>
              </a:ext>
            </a:extLst>
          </p:cNvPr>
          <p:cNvSpPr/>
          <p:nvPr/>
        </p:nvSpPr>
        <p:spPr>
          <a:xfrm>
            <a:off x="5264781" y="6306566"/>
            <a:ext cx="1659713" cy="725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3" name="Rectangle 32">
            <a:extLst>
              <a:ext uri="{FF2B5EF4-FFF2-40B4-BE49-F238E27FC236}">
                <a16:creationId xmlns:a16="http://schemas.microsoft.com/office/drawing/2014/main" id="{5E6824A9-28DB-4C34-BB79-B16D4F73B02A}"/>
              </a:ext>
            </a:extLst>
          </p:cNvPr>
          <p:cNvSpPr/>
          <p:nvPr/>
        </p:nvSpPr>
        <p:spPr>
          <a:xfrm>
            <a:off x="3563280" y="6306566"/>
            <a:ext cx="1659713" cy="7253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4" name="Rectangle 33">
            <a:extLst>
              <a:ext uri="{FF2B5EF4-FFF2-40B4-BE49-F238E27FC236}">
                <a16:creationId xmlns:a16="http://schemas.microsoft.com/office/drawing/2014/main" id="{45DE97C5-81BA-42D0-9C8D-E82F9FCA2FA2}"/>
              </a:ext>
            </a:extLst>
          </p:cNvPr>
          <p:cNvSpPr/>
          <p:nvPr/>
        </p:nvSpPr>
        <p:spPr>
          <a:xfrm>
            <a:off x="8672481" y="6306566"/>
            <a:ext cx="1659713" cy="725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5" name="TextBox 34">
            <a:extLst>
              <a:ext uri="{FF2B5EF4-FFF2-40B4-BE49-F238E27FC236}">
                <a16:creationId xmlns:a16="http://schemas.microsoft.com/office/drawing/2014/main" id="{ABBA2FA7-696B-4C69-BAE2-B5963991065D}"/>
              </a:ext>
            </a:extLst>
          </p:cNvPr>
          <p:cNvSpPr txBox="1"/>
          <p:nvPr/>
        </p:nvSpPr>
        <p:spPr>
          <a:xfrm>
            <a:off x="1981200" y="4015533"/>
            <a:ext cx="1422353" cy="1800493"/>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ea typeface="Arial" charset="0"/>
                <a:cs typeface="Arial" charset="0"/>
              </a:rPr>
              <a:t>Become the link that seamlessly matches and then supports ecosystem players (e.g. payers, providers, biotech/pharma, suppliers, government, employers) looking for mature collaborative solutions to systemic population health challenges</a:t>
            </a:r>
          </a:p>
        </p:txBody>
      </p:sp>
      <p:sp>
        <p:nvSpPr>
          <p:cNvPr id="36" name="TextBox 35">
            <a:extLst>
              <a:ext uri="{FF2B5EF4-FFF2-40B4-BE49-F238E27FC236}">
                <a16:creationId xmlns:a16="http://schemas.microsoft.com/office/drawing/2014/main" id="{360FD279-A8EF-4337-B91F-C9F27EB5E9BF}"/>
              </a:ext>
            </a:extLst>
          </p:cNvPr>
          <p:cNvSpPr txBox="1"/>
          <p:nvPr/>
        </p:nvSpPr>
        <p:spPr>
          <a:xfrm>
            <a:off x="3671711" y="4020141"/>
            <a:ext cx="1391555" cy="1661993"/>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ea typeface="Arial" charset="0"/>
                <a:cs typeface="Arial" charset="0"/>
              </a:rPr>
              <a:t>Maximize members’ scaled investments for existing and future technology through pooled change management expertise (people and process), development of common configuration needs and aggregation deals for access to enabling infrastructure</a:t>
            </a:r>
          </a:p>
        </p:txBody>
      </p:sp>
      <p:sp>
        <p:nvSpPr>
          <p:cNvPr id="37" name="TextBox 36">
            <a:extLst>
              <a:ext uri="{FF2B5EF4-FFF2-40B4-BE49-F238E27FC236}">
                <a16:creationId xmlns:a16="http://schemas.microsoft.com/office/drawing/2014/main" id="{F934AB8F-B45F-488E-8FC7-9343F6D3A765}"/>
              </a:ext>
            </a:extLst>
          </p:cNvPr>
          <p:cNvSpPr txBox="1"/>
          <p:nvPr/>
        </p:nvSpPr>
        <p:spPr>
          <a:xfrm>
            <a:off x="5362912" y="3819559"/>
            <a:ext cx="1097673" cy="1800493"/>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ea typeface="Arial" charset="0"/>
                <a:cs typeface="Arial" charset="0"/>
              </a:rPr>
              <a:t>Simplify the ability of members to tap into external innovation by jointly authoring and publicizing high value problems, vetting attractive candidates, and facilitating the investment and partnerships for pilot and scale.</a:t>
            </a:r>
          </a:p>
        </p:txBody>
      </p:sp>
      <p:sp>
        <p:nvSpPr>
          <p:cNvPr id="38" name="TextBox 37">
            <a:extLst>
              <a:ext uri="{FF2B5EF4-FFF2-40B4-BE49-F238E27FC236}">
                <a16:creationId xmlns:a16="http://schemas.microsoft.com/office/drawing/2014/main" id="{549F5D07-5D82-4FA1-8D81-E6D02C9EBD8B}"/>
              </a:ext>
            </a:extLst>
          </p:cNvPr>
          <p:cNvSpPr txBox="1"/>
          <p:nvPr/>
        </p:nvSpPr>
        <p:spPr>
          <a:xfrm>
            <a:off x="7055521" y="3861988"/>
            <a:ext cx="1492017" cy="1246495"/>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ea typeface="Arial" charset="0"/>
                <a:cs typeface="Arial" charset="0"/>
              </a:rPr>
              <a:t>Provide an advanced learning platform where healthcare providers get smart, relevant insights </a:t>
            </a:r>
            <a:br>
              <a:rPr kumimoji="0" lang="en-US" sz="900" b="0" i="0" u="none" strike="noStrike" kern="1200" cap="none" spc="0" normalizeH="0" baseline="0" noProof="0" dirty="0">
                <a:ln>
                  <a:noFill/>
                </a:ln>
                <a:solidFill>
                  <a:srgbClr val="000000"/>
                </a:solidFill>
                <a:effectLst/>
                <a:uLnTx/>
                <a:uFillTx/>
                <a:ea typeface="Arial" charset="0"/>
                <a:cs typeface="Arial" charset="0"/>
              </a:rPr>
            </a:br>
            <a:r>
              <a:rPr kumimoji="0" lang="en-US" sz="900" b="0" i="0" u="none" strike="noStrike" kern="1200" cap="none" spc="0" normalizeH="0" baseline="0" noProof="0" dirty="0">
                <a:ln>
                  <a:noFill/>
                </a:ln>
                <a:solidFill>
                  <a:srgbClr val="000000"/>
                </a:solidFill>
                <a:effectLst/>
                <a:uLnTx/>
                <a:uFillTx/>
                <a:ea typeface="Arial" charset="0"/>
                <a:cs typeface="Arial" charset="0"/>
              </a:rPr>
              <a:t>gleaned from their structured and unstructured data generated in collaborations and discussions</a:t>
            </a:r>
          </a:p>
        </p:txBody>
      </p:sp>
      <p:sp>
        <p:nvSpPr>
          <p:cNvPr id="39" name="TextBox 38">
            <a:extLst>
              <a:ext uri="{FF2B5EF4-FFF2-40B4-BE49-F238E27FC236}">
                <a16:creationId xmlns:a16="http://schemas.microsoft.com/office/drawing/2014/main" id="{72572A0A-41E3-4305-8865-806DD47FC500}"/>
              </a:ext>
            </a:extLst>
          </p:cNvPr>
          <p:cNvSpPr txBox="1"/>
          <p:nvPr/>
        </p:nvSpPr>
        <p:spPr>
          <a:xfrm>
            <a:off x="8745060" y="3819559"/>
            <a:ext cx="1465741" cy="1384995"/>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ea typeface="Arial" charset="0"/>
                <a:cs typeface="Arial" charset="0"/>
              </a:rPr>
              <a:t>Create easy-to-use tools and solutions (value-based models and measurements) for members that help them easily tie their revenue to patient outcomes, so they can confidently select, implement, and take on more risk.</a:t>
            </a:r>
          </a:p>
        </p:txBody>
      </p:sp>
    </p:spTree>
    <p:extLst>
      <p:ext uri="{BB962C8B-B14F-4D97-AF65-F5344CB8AC3E}">
        <p14:creationId xmlns:p14="http://schemas.microsoft.com/office/powerpoint/2010/main" val="211336235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A0EB98F-7DC3-4EC1-97C4-0FC146D2257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4" name="think-cell Slide" r:id="rId6" imgW="415" imgH="416" progId="TCLayout.ActiveDocument.1">
                  <p:embed/>
                </p:oleObj>
              </mc:Choice>
              <mc:Fallback>
                <p:oleObj name="think-cell Slide" r:id="rId6" imgW="415" imgH="416" progId="TCLayout.ActiveDocument.1">
                  <p:embed/>
                  <p:pic>
                    <p:nvPicPr>
                      <p:cNvPr id="5" name="Object 4" hidden="1">
                        <a:extLst>
                          <a:ext uri="{FF2B5EF4-FFF2-40B4-BE49-F238E27FC236}">
                            <a16:creationId xmlns:a16="http://schemas.microsoft.com/office/drawing/2014/main" id="{6A0EB98F-7DC3-4EC1-97C4-0FC146D2257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A71732-FAEF-4AC8-BAD0-F8EA5D4BDD9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C40EFB69-0E3D-48ED-8773-60E93D2D3CF1}"/>
              </a:ext>
            </a:extLst>
          </p:cNvPr>
          <p:cNvSpPr>
            <a:spLocks noGrp="1"/>
          </p:cNvSpPr>
          <p:nvPr>
            <p:ph type="title"/>
          </p:nvPr>
        </p:nvSpPr>
        <p:spPr/>
        <p:txBody>
          <a:bodyPr/>
          <a:lstStyle/>
          <a:p>
            <a:r>
              <a:rPr lang="en-US" dirty="0"/>
              <a:t>What you should do</a:t>
            </a:r>
          </a:p>
        </p:txBody>
      </p:sp>
      <p:sp>
        <p:nvSpPr>
          <p:cNvPr id="3" name="Text Placeholder 2">
            <a:extLst>
              <a:ext uri="{FF2B5EF4-FFF2-40B4-BE49-F238E27FC236}">
                <a16:creationId xmlns:a16="http://schemas.microsoft.com/office/drawing/2014/main" id="{1472C8B8-EB34-4C30-94D7-5BA800E5C04A}"/>
              </a:ext>
            </a:extLst>
          </p:cNvPr>
          <p:cNvSpPr>
            <a:spLocks noGrp="1"/>
          </p:cNvSpPr>
          <p:nvPr>
            <p:ph type="body" sz="quarter" idx="14"/>
          </p:nvPr>
        </p:nvSpPr>
        <p:spPr/>
        <p:txBody>
          <a:bodyPr/>
          <a:lstStyle/>
          <a:p>
            <a:r>
              <a:rPr lang="en-US"/>
              <a:t>Subheader</a:t>
            </a:r>
            <a:endParaRPr lang="en-US" dirty="0"/>
          </a:p>
        </p:txBody>
      </p:sp>
      <p:sp>
        <p:nvSpPr>
          <p:cNvPr id="58" name="Text Placeholder 57">
            <a:extLst>
              <a:ext uri="{FF2B5EF4-FFF2-40B4-BE49-F238E27FC236}">
                <a16:creationId xmlns:a16="http://schemas.microsoft.com/office/drawing/2014/main" id="{20989242-5EF5-4CE8-8F59-9B92970F132E}"/>
              </a:ext>
            </a:extLst>
          </p:cNvPr>
          <p:cNvSpPr>
            <a:spLocks noGrp="1"/>
          </p:cNvSpPr>
          <p:nvPr>
            <p:ph type="body" sz="quarter" idx="15"/>
          </p:nvPr>
        </p:nvSpPr>
        <p:spPr/>
        <p:txBody>
          <a:bodyPr/>
          <a:lstStyle/>
          <a:p>
            <a:r>
              <a:rPr lang="en-US" dirty="0"/>
              <a:t>text</a:t>
            </a:r>
          </a:p>
        </p:txBody>
      </p:sp>
      <p:grpSp>
        <p:nvGrpSpPr>
          <p:cNvPr id="6" name="Group 5">
            <a:extLst>
              <a:ext uri="{FF2B5EF4-FFF2-40B4-BE49-F238E27FC236}">
                <a16:creationId xmlns:a16="http://schemas.microsoft.com/office/drawing/2014/main" id="{4362623F-5DDC-4AC0-BE44-55BB820D185A}"/>
              </a:ext>
            </a:extLst>
          </p:cNvPr>
          <p:cNvGrpSpPr/>
          <p:nvPr/>
        </p:nvGrpSpPr>
        <p:grpSpPr>
          <a:xfrm>
            <a:off x="4775200" y="2532959"/>
            <a:ext cx="2768562" cy="2111489"/>
            <a:chOff x="544242" y="2674041"/>
            <a:chExt cx="2768562" cy="2111489"/>
          </a:xfrm>
        </p:grpSpPr>
        <p:sp>
          <p:nvSpPr>
            <p:cNvPr id="7" name="Rectangle 6">
              <a:extLst>
                <a:ext uri="{FF2B5EF4-FFF2-40B4-BE49-F238E27FC236}">
                  <a16:creationId xmlns:a16="http://schemas.microsoft.com/office/drawing/2014/main" id="{61BA4941-1AD7-41BB-B364-DC896F1D5B1C}"/>
                </a:ext>
              </a:extLst>
            </p:cNvPr>
            <p:cNvSpPr/>
            <p:nvPr/>
          </p:nvSpPr>
          <p:spPr>
            <a:xfrm>
              <a:off x="544242" y="2913343"/>
              <a:ext cx="2768562" cy="1872187"/>
            </a:xfrm>
            <a:prstGeom prst="rect">
              <a:avLst/>
            </a:prstGeom>
            <a:solidFill>
              <a:schemeClr val="bg1">
                <a:lumMod val="95000"/>
                <a:alpha val="10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8" name="TextBox 7">
              <a:extLst>
                <a:ext uri="{FF2B5EF4-FFF2-40B4-BE49-F238E27FC236}">
                  <a16:creationId xmlns:a16="http://schemas.microsoft.com/office/drawing/2014/main" id="{A078E02F-3673-4E6C-9480-6ED4F5D85DC5}"/>
                </a:ext>
              </a:extLst>
            </p:cNvPr>
            <p:cNvSpPr txBox="1"/>
            <p:nvPr/>
          </p:nvSpPr>
          <p:spPr>
            <a:xfrm>
              <a:off x="561679" y="3625458"/>
              <a:ext cx="268660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Open Sans"/>
                  <a:ea typeface="+mn-ea"/>
                  <a:cs typeface="+mn-cs"/>
                </a:rPr>
                <a:t>March 17</a:t>
              </a:r>
              <a:r>
                <a:rPr kumimoji="0" lang="en-US" sz="1800" b="0" i="0" u="none" strike="noStrike" kern="1200" cap="none" spc="0" normalizeH="0" baseline="30000" noProof="0" dirty="0">
                  <a:ln>
                    <a:noFill/>
                  </a:ln>
                  <a:solidFill>
                    <a:srgbClr val="000000"/>
                  </a:solidFill>
                  <a:effectLst/>
                  <a:uLnTx/>
                  <a:uFillTx/>
                  <a:latin typeface="Open Sans"/>
                  <a:ea typeface="+mn-ea"/>
                  <a:cs typeface="+mn-cs"/>
                </a:rPr>
                <a:t>th</a:t>
              </a:r>
              <a:r>
                <a:rPr kumimoji="0" lang="en-US" sz="1800" b="0" i="0" u="none" strike="noStrike" kern="1200" cap="none" spc="0" normalizeH="0" baseline="0" noProof="0" dirty="0">
                  <a:ln>
                    <a:noFill/>
                  </a:ln>
                  <a:solidFill>
                    <a:srgbClr val="000000"/>
                  </a:solidFill>
                  <a:effectLst/>
                  <a:uLnTx/>
                  <a:uFillTx/>
                  <a:latin typeface="Open Sans"/>
                  <a:ea typeface="+mn-ea"/>
                  <a:cs typeface="+mn-cs"/>
                </a:rPr>
                <a:t> </a:t>
              </a:r>
            </a:p>
          </p:txBody>
        </p:sp>
        <p:sp>
          <p:nvSpPr>
            <p:cNvPr id="9" name="TextBox 8">
              <a:extLst>
                <a:ext uri="{FF2B5EF4-FFF2-40B4-BE49-F238E27FC236}">
                  <a16:creationId xmlns:a16="http://schemas.microsoft.com/office/drawing/2014/main" id="{94C13047-23CA-4163-BE45-51D449292EE1}"/>
                </a:ext>
              </a:extLst>
            </p:cNvPr>
            <p:cNvSpPr txBox="1"/>
            <p:nvPr/>
          </p:nvSpPr>
          <p:spPr>
            <a:xfrm>
              <a:off x="561679" y="3162071"/>
              <a:ext cx="268660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mn-cs"/>
                </a:rPr>
                <a:t>Saint Patrick’s Day</a:t>
              </a:r>
            </a:p>
          </p:txBody>
        </p:sp>
        <p:sp>
          <p:nvSpPr>
            <p:cNvPr id="10" name="TextBox 9">
              <a:extLst>
                <a:ext uri="{FF2B5EF4-FFF2-40B4-BE49-F238E27FC236}">
                  <a16:creationId xmlns:a16="http://schemas.microsoft.com/office/drawing/2014/main" id="{7C375A07-FDE6-4776-8095-F6FEC01A7BDE}"/>
                </a:ext>
              </a:extLst>
            </p:cNvPr>
            <p:cNvSpPr txBox="1"/>
            <p:nvPr/>
          </p:nvSpPr>
          <p:spPr>
            <a:xfrm>
              <a:off x="561679" y="4208824"/>
              <a:ext cx="268660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sng" strike="noStrike" kern="1200" cap="none" spc="0" normalizeH="0" baseline="0" noProof="0" dirty="0">
                  <a:ln>
                    <a:noFill/>
                  </a:ln>
                  <a:solidFill>
                    <a:srgbClr val="000000"/>
                  </a:solidFill>
                  <a:effectLst/>
                  <a:uLnTx/>
                  <a:uFillTx/>
                  <a:latin typeface="Open Sans"/>
                  <a:ea typeface="+mn-ea"/>
                  <a:cs typeface="+mn-cs"/>
                </a:rPr>
                <a:t>Location</a:t>
              </a:r>
              <a:r>
                <a:rPr kumimoji="0" lang="en-US" sz="1400" b="0" i="0" u="none" strike="noStrike" kern="1200" cap="none" spc="0" normalizeH="0" baseline="0" noProof="0" dirty="0">
                  <a:ln>
                    <a:noFill/>
                  </a:ln>
                  <a:solidFill>
                    <a:srgbClr val="000000"/>
                  </a:solidFill>
                  <a:effectLst/>
                  <a:uLnTx/>
                  <a:uFillTx/>
                  <a:latin typeface="Open Sans"/>
                  <a:ea typeface="+mn-ea"/>
                  <a:cs typeface="+mn-cs"/>
                </a:rPr>
                <a:t>: </a:t>
              </a:r>
              <a:r>
                <a:rPr kumimoji="0" lang="en-US" sz="1400" b="0" i="0" u="none" strike="noStrike" kern="1200" cap="none" spc="0" normalizeH="0" baseline="0" noProof="0" dirty="0" err="1">
                  <a:ln>
                    <a:noFill/>
                  </a:ln>
                  <a:solidFill>
                    <a:srgbClr val="000000"/>
                  </a:solidFill>
                  <a:effectLst/>
                  <a:uLnTx/>
                  <a:uFillTx/>
                  <a:latin typeface="Open Sans"/>
                  <a:ea typeface="+mn-ea"/>
                  <a:cs typeface="+mn-cs"/>
                </a:rPr>
                <a:t>Hopsmith</a:t>
              </a: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 name="Freeform 88">
              <a:extLst>
                <a:ext uri="{FF2B5EF4-FFF2-40B4-BE49-F238E27FC236}">
                  <a16:creationId xmlns:a16="http://schemas.microsoft.com/office/drawing/2014/main" id="{B461FDCB-001C-4734-9150-0F0215C5D41A}"/>
                </a:ext>
              </a:extLst>
            </p:cNvPr>
            <p:cNvSpPr>
              <a:spLocks noEditPoints="1"/>
            </p:cNvSpPr>
            <p:nvPr/>
          </p:nvSpPr>
          <p:spPr bwMode="auto">
            <a:xfrm>
              <a:off x="1928523" y="2674041"/>
              <a:ext cx="351623" cy="353243"/>
            </a:xfrm>
            <a:custGeom>
              <a:avLst/>
              <a:gdLst>
                <a:gd name="T0" fmla="*/ 91 w 92"/>
                <a:gd name="T1" fmla="*/ 24 h 92"/>
                <a:gd name="T2" fmla="*/ 68 w 92"/>
                <a:gd name="T3" fmla="*/ 1 h 92"/>
                <a:gd name="T4" fmla="*/ 63 w 92"/>
                <a:gd name="T5" fmla="*/ 1 h 92"/>
                <a:gd name="T6" fmla="*/ 63 w 92"/>
                <a:gd name="T7" fmla="*/ 7 h 92"/>
                <a:gd name="T8" fmla="*/ 65 w 92"/>
                <a:gd name="T9" fmla="*/ 10 h 92"/>
                <a:gd name="T10" fmla="*/ 46 w 92"/>
                <a:gd name="T11" fmla="*/ 29 h 92"/>
                <a:gd name="T12" fmla="*/ 20 w 92"/>
                <a:gd name="T13" fmla="*/ 32 h 92"/>
                <a:gd name="T14" fmla="*/ 37 w 92"/>
                <a:gd name="T15" fmla="*/ 49 h 92"/>
                <a:gd name="T16" fmla="*/ 3 w 92"/>
                <a:gd name="T17" fmla="*/ 83 h 92"/>
                <a:gd name="T18" fmla="*/ 0 w 92"/>
                <a:gd name="T19" fmla="*/ 92 h 92"/>
                <a:gd name="T20" fmla="*/ 9 w 92"/>
                <a:gd name="T21" fmla="*/ 89 h 92"/>
                <a:gd name="T22" fmla="*/ 43 w 92"/>
                <a:gd name="T23" fmla="*/ 55 h 92"/>
                <a:gd name="T24" fmla="*/ 60 w 92"/>
                <a:gd name="T25" fmla="*/ 72 h 92"/>
                <a:gd name="T26" fmla="*/ 63 w 92"/>
                <a:gd name="T27" fmla="*/ 46 h 92"/>
                <a:gd name="T28" fmla="*/ 82 w 92"/>
                <a:gd name="T29" fmla="*/ 27 h 92"/>
                <a:gd name="T30" fmla="*/ 85 w 92"/>
                <a:gd name="T31" fmla="*/ 29 h 92"/>
                <a:gd name="T32" fmla="*/ 91 w 92"/>
                <a:gd name="T33" fmla="*/ 29 h 92"/>
                <a:gd name="T34" fmla="*/ 91 w 92"/>
                <a:gd name="T35" fmla="*/ 24 h 92"/>
                <a:gd name="T36" fmla="*/ 46 w 92"/>
                <a:gd name="T37" fmla="*/ 36 h 92"/>
                <a:gd name="T38" fmla="*/ 45 w 92"/>
                <a:gd name="T39" fmla="*/ 36 h 92"/>
                <a:gd name="T40" fmla="*/ 39 w 92"/>
                <a:gd name="T41" fmla="*/ 34 h 92"/>
                <a:gd name="T42" fmla="*/ 31 w 92"/>
                <a:gd name="T43" fmla="*/ 37 h 92"/>
                <a:gd name="T44" fmla="*/ 30 w 92"/>
                <a:gd name="T45" fmla="*/ 38 h 92"/>
                <a:gd name="T46" fmla="*/ 25 w 92"/>
                <a:gd name="T47" fmla="*/ 32 h 92"/>
                <a:gd name="T48" fmla="*/ 26 w 92"/>
                <a:gd name="T49" fmla="*/ 32 h 92"/>
                <a:gd name="T50" fmla="*/ 35 w 92"/>
                <a:gd name="T51" fmla="*/ 28 h 92"/>
                <a:gd name="T52" fmla="*/ 43 w 92"/>
                <a:gd name="T53" fmla="*/ 32 h 92"/>
                <a:gd name="T54" fmla="*/ 47 w 92"/>
                <a:gd name="T55" fmla="*/ 35 h 92"/>
                <a:gd name="T56" fmla="*/ 46 w 92"/>
                <a:gd name="T57" fmla="*/ 36 h 92"/>
                <a:gd name="T58" fmla="*/ 51 w 92"/>
                <a:gd name="T59" fmla="*/ 36 h 92"/>
                <a:gd name="T60" fmla="*/ 47 w 92"/>
                <a:gd name="T61" fmla="*/ 32 h 92"/>
                <a:gd name="T62" fmla="*/ 68 w 92"/>
                <a:gd name="T63" fmla="*/ 11 h 92"/>
                <a:gd name="T64" fmla="*/ 72 w 92"/>
                <a:gd name="T65" fmla="*/ 15 h 92"/>
                <a:gd name="T66" fmla="*/ 51 w 92"/>
                <a:gd name="T67" fmla="*/ 3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2" h="92">
                  <a:moveTo>
                    <a:pt x="91" y="24"/>
                  </a:moveTo>
                  <a:cubicBezTo>
                    <a:pt x="68" y="1"/>
                    <a:pt x="68" y="1"/>
                    <a:pt x="68" y="1"/>
                  </a:cubicBezTo>
                  <a:cubicBezTo>
                    <a:pt x="67" y="0"/>
                    <a:pt x="64" y="0"/>
                    <a:pt x="63" y="1"/>
                  </a:cubicBezTo>
                  <a:cubicBezTo>
                    <a:pt x="61" y="3"/>
                    <a:pt x="61" y="5"/>
                    <a:pt x="63" y="7"/>
                  </a:cubicBezTo>
                  <a:cubicBezTo>
                    <a:pt x="65" y="10"/>
                    <a:pt x="65" y="10"/>
                    <a:pt x="65" y="10"/>
                  </a:cubicBezTo>
                  <a:cubicBezTo>
                    <a:pt x="46" y="29"/>
                    <a:pt x="46" y="29"/>
                    <a:pt x="46" y="29"/>
                  </a:cubicBezTo>
                  <a:cubicBezTo>
                    <a:pt x="39" y="23"/>
                    <a:pt x="29" y="24"/>
                    <a:pt x="20" y="32"/>
                  </a:cubicBezTo>
                  <a:cubicBezTo>
                    <a:pt x="37" y="49"/>
                    <a:pt x="37" y="49"/>
                    <a:pt x="37" y="49"/>
                  </a:cubicBezTo>
                  <a:cubicBezTo>
                    <a:pt x="3" y="83"/>
                    <a:pt x="3" y="83"/>
                    <a:pt x="3" y="83"/>
                  </a:cubicBezTo>
                  <a:cubicBezTo>
                    <a:pt x="0" y="92"/>
                    <a:pt x="0" y="92"/>
                    <a:pt x="0" y="92"/>
                  </a:cubicBezTo>
                  <a:cubicBezTo>
                    <a:pt x="9" y="89"/>
                    <a:pt x="9" y="89"/>
                    <a:pt x="9" y="89"/>
                  </a:cubicBezTo>
                  <a:cubicBezTo>
                    <a:pt x="43" y="55"/>
                    <a:pt x="43" y="55"/>
                    <a:pt x="43" y="55"/>
                  </a:cubicBezTo>
                  <a:cubicBezTo>
                    <a:pt x="60" y="72"/>
                    <a:pt x="60" y="72"/>
                    <a:pt x="60" y="72"/>
                  </a:cubicBezTo>
                  <a:cubicBezTo>
                    <a:pt x="68" y="63"/>
                    <a:pt x="69" y="53"/>
                    <a:pt x="63" y="46"/>
                  </a:cubicBezTo>
                  <a:cubicBezTo>
                    <a:pt x="82" y="27"/>
                    <a:pt x="82" y="27"/>
                    <a:pt x="82" y="27"/>
                  </a:cubicBezTo>
                  <a:cubicBezTo>
                    <a:pt x="85" y="29"/>
                    <a:pt x="85" y="29"/>
                    <a:pt x="85" y="29"/>
                  </a:cubicBezTo>
                  <a:cubicBezTo>
                    <a:pt x="87" y="31"/>
                    <a:pt x="89" y="31"/>
                    <a:pt x="91" y="29"/>
                  </a:cubicBezTo>
                  <a:cubicBezTo>
                    <a:pt x="92" y="28"/>
                    <a:pt x="92" y="25"/>
                    <a:pt x="91" y="24"/>
                  </a:cubicBezTo>
                  <a:moveTo>
                    <a:pt x="46" y="36"/>
                  </a:moveTo>
                  <a:cubicBezTo>
                    <a:pt x="45" y="36"/>
                    <a:pt x="45" y="36"/>
                    <a:pt x="45" y="36"/>
                  </a:cubicBezTo>
                  <a:cubicBezTo>
                    <a:pt x="43" y="35"/>
                    <a:pt x="42" y="34"/>
                    <a:pt x="39" y="34"/>
                  </a:cubicBezTo>
                  <a:cubicBezTo>
                    <a:pt x="37" y="34"/>
                    <a:pt x="34" y="35"/>
                    <a:pt x="31" y="37"/>
                  </a:cubicBezTo>
                  <a:cubicBezTo>
                    <a:pt x="30" y="38"/>
                    <a:pt x="30" y="38"/>
                    <a:pt x="30" y="38"/>
                  </a:cubicBezTo>
                  <a:cubicBezTo>
                    <a:pt x="25" y="32"/>
                    <a:pt x="25" y="32"/>
                    <a:pt x="25" y="32"/>
                  </a:cubicBezTo>
                  <a:cubicBezTo>
                    <a:pt x="26" y="32"/>
                    <a:pt x="26" y="32"/>
                    <a:pt x="26" y="32"/>
                  </a:cubicBezTo>
                  <a:cubicBezTo>
                    <a:pt x="29" y="30"/>
                    <a:pt x="32" y="28"/>
                    <a:pt x="35" y="28"/>
                  </a:cubicBezTo>
                  <a:cubicBezTo>
                    <a:pt x="38" y="28"/>
                    <a:pt x="41" y="30"/>
                    <a:pt x="43" y="32"/>
                  </a:cubicBezTo>
                  <a:cubicBezTo>
                    <a:pt x="47" y="35"/>
                    <a:pt x="47" y="35"/>
                    <a:pt x="47" y="35"/>
                  </a:cubicBezTo>
                  <a:cubicBezTo>
                    <a:pt x="46" y="36"/>
                    <a:pt x="46" y="36"/>
                    <a:pt x="46" y="36"/>
                  </a:cubicBezTo>
                  <a:moveTo>
                    <a:pt x="51" y="36"/>
                  </a:moveTo>
                  <a:cubicBezTo>
                    <a:pt x="47" y="32"/>
                    <a:pt x="47" y="32"/>
                    <a:pt x="47" y="32"/>
                  </a:cubicBezTo>
                  <a:cubicBezTo>
                    <a:pt x="68" y="11"/>
                    <a:pt x="68" y="11"/>
                    <a:pt x="68" y="11"/>
                  </a:cubicBezTo>
                  <a:cubicBezTo>
                    <a:pt x="72" y="15"/>
                    <a:pt x="72" y="15"/>
                    <a:pt x="72" y="15"/>
                  </a:cubicBezTo>
                  <a:cubicBezTo>
                    <a:pt x="51" y="36"/>
                    <a:pt x="51" y="36"/>
                    <a:pt x="51" y="36"/>
                  </a:cubicBezTo>
                </a:path>
              </a:pathLst>
            </a:custGeom>
            <a:solidFill>
              <a:srgbClr val="8B8B9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2" name="Group 11">
            <a:extLst>
              <a:ext uri="{FF2B5EF4-FFF2-40B4-BE49-F238E27FC236}">
                <a16:creationId xmlns:a16="http://schemas.microsoft.com/office/drawing/2014/main" id="{12614C3F-ECEC-41DA-B76F-97708B8C7E2D}"/>
              </a:ext>
            </a:extLst>
          </p:cNvPr>
          <p:cNvGrpSpPr/>
          <p:nvPr/>
        </p:nvGrpSpPr>
        <p:grpSpPr>
          <a:xfrm>
            <a:off x="1536700" y="2532959"/>
            <a:ext cx="2768562" cy="2111489"/>
            <a:chOff x="544242" y="2674041"/>
            <a:chExt cx="2768562" cy="2111489"/>
          </a:xfrm>
        </p:grpSpPr>
        <p:sp>
          <p:nvSpPr>
            <p:cNvPr id="13" name="Rectangle 12">
              <a:extLst>
                <a:ext uri="{FF2B5EF4-FFF2-40B4-BE49-F238E27FC236}">
                  <a16:creationId xmlns:a16="http://schemas.microsoft.com/office/drawing/2014/main" id="{EF288128-2E94-408F-9B0F-94A7E0A6468E}"/>
                </a:ext>
              </a:extLst>
            </p:cNvPr>
            <p:cNvSpPr/>
            <p:nvPr/>
          </p:nvSpPr>
          <p:spPr>
            <a:xfrm>
              <a:off x="544242" y="2913343"/>
              <a:ext cx="2768562" cy="1872187"/>
            </a:xfrm>
            <a:prstGeom prst="rect">
              <a:avLst/>
            </a:prstGeom>
            <a:solidFill>
              <a:schemeClr val="bg1">
                <a:lumMod val="95000"/>
                <a:alpha val="10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4" name="TextBox 13">
              <a:extLst>
                <a:ext uri="{FF2B5EF4-FFF2-40B4-BE49-F238E27FC236}">
                  <a16:creationId xmlns:a16="http://schemas.microsoft.com/office/drawing/2014/main" id="{35DA08BE-1EF0-4DBB-A92C-58FE1F0E0C2D}"/>
                </a:ext>
              </a:extLst>
            </p:cNvPr>
            <p:cNvSpPr txBox="1"/>
            <p:nvPr/>
          </p:nvSpPr>
          <p:spPr>
            <a:xfrm>
              <a:off x="561679" y="3625458"/>
              <a:ext cx="268660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Open Sans"/>
                  <a:ea typeface="+mn-ea"/>
                  <a:cs typeface="+mn-cs"/>
                </a:rPr>
                <a:t>Tonight</a:t>
              </a:r>
            </a:p>
          </p:txBody>
        </p:sp>
        <p:sp>
          <p:nvSpPr>
            <p:cNvPr id="15" name="TextBox 14">
              <a:extLst>
                <a:ext uri="{FF2B5EF4-FFF2-40B4-BE49-F238E27FC236}">
                  <a16:creationId xmlns:a16="http://schemas.microsoft.com/office/drawing/2014/main" id="{A24B331E-BBDE-4DD5-8B80-83C0B17BD6CE}"/>
                </a:ext>
              </a:extLst>
            </p:cNvPr>
            <p:cNvSpPr txBox="1"/>
            <p:nvPr/>
          </p:nvSpPr>
          <p:spPr>
            <a:xfrm>
              <a:off x="561679" y="3162071"/>
              <a:ext cx="268660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mn-cs"/>
                </a:rPr>
                <a:t>2019 S&amp;O Soiree </a:t>
              </a:r>
            </a:p>
          </p:txBody>
        </p:sp>
        <p:sp>
          <p:nvSpPr>
            <p:cNvPr id="16" name="TextBox 15">
              <a:extLst>
                <a:ext uri="{FF2B5EF4-FFF2-40B4-BE49-F238E27FC236}">
                  <a16:creationId xmlns:a16="http://schemas.microsoft.com/office/drawing/2014/main" id="{249225B2-3294-4D7C-A3FF-1770986E32ED}"/>
                </a:ext>
              </a:extLst>
            </p:cNvPr>
            <p:cNvSpPr txBox="1"/>
            <p:nvPr/>
          </p:nvSpPr>
          <p:spPr>
            <a:xfrm>
              <a:off x="561679" y="4208824"/>
              <a:ext cx="268660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sng" strike="noStrike" kern="1200" cap="none" spc="0" normalizeH="0" baseline="0" noProof="0" dirty="0">
                  <a:ln>
                    <a:noFill/>
                  </a:ln>
                  <a:solidFill>
                    <a:srgbClr val="000000"/>
                  </a:solidFill>
                  <a:effectLst/>
                  <a:uLnTx/>
                  <a:uFillTx/>
                  <a:latin typeface="Open Sans"/>
                  <a:ea typeface="+mn-ea"/>
                  <a:cs typeface="+mn-cs"/>
                </a:rPr>
                <a:t>Location</a:t>
              </a:r>
              <a:r>
                <a:rPr kumimoji="0" lang="en-US" sz="1400" b="0" i="0" u="none" strike="noStrike" kern="1200" cap="none" spc="0" normalizeH="0" baseline="0" noProof="0" dirty="0">
                  <a:ln>
                    <a:noFill/>
                  </a:ln>
                  <a:solidFill>
                    <a:srgbClr val="000000"/>
                  </a:solidFill>
                  <a:effectLst/>
                  <a:uLnTx/>
                  <a:uFillTx/>
                  <a:latin typeface="Open Sans"/>
                  <a:ea typeface="+mn-ea"/>
                  <a:cs typeface="+mn-cs"/>
                </a:rPr>
                <a:t>: Morgan MFG</a:t>
              </a: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 name="Freeform 88">
              <a:extLst>
                <a:ext uri="{FF2B5EF4-FFF2-40B4-BE49-F238E27FC236}">
                  <a16:creationId xmlns:a16="http://schemas.microsoft.com/office/drawing/2014/main" id="{10A7A805-FAC3-4CD4-AFC1-FCECE192869A}"/>
                </a:ext>
              </a:extLst>
            </p:cNvPr>
            <p:cNvSpPr>
              <a:spLocks noEditPoints="1"/>
            </p:cNvSpPr>
            <p:nvPr/>
          </p:nvSpPr>
          <p:spPr bwMode="auto">
            <a:xfrm>
              <a:off x="1928523" y="2674041"/>
              <a:ext cx="351623" cy="353243"/>
            </a:xfrm>
            <a:custGeom>
              <a:avLst/>
              <a:gdLst>
                <a:gd name="T0" fmla="*/ 91 w 92"/>
                <a:gd name="T1" fmla="*/ 24 h 92"/>
                <a:gd name="T2" fmla="*/ 68 w 92"/>
                <a:gd name="T3" fmla="*/ 1 h 92"/>
                <a:gd name="T4" fmla="*/ 63 w 92"/>
                <a:gd name="T5" fmla="*/ 1 h 92"/>
                <a:gd name="T6" fmla="*/ 63 w 92"/>
                <a:gd name="T7" fmla="*/ 7 h 92"/>
                <a:gd name="T8" fmla="*/ 65 w 92"/>
                <a:gd name="T9" fmla="*/ 10 h 92"/>
                <a:gd name="T10" fmla="*/ 46 w 92"/>
                <a:gd name="T11" fmla="*/ 29 h 92"/>
                <a:gd name="T12" fmla="*/ 20 w 92"/>
                <a:gd name="T13" fmla="*/ 32 h 92"/>
                <a:gd name="T14" fmla="*/ 37 w 92"/>
                <a:gd name="T15" fmla="*/ 49 h 92"/>
                <a:gd name="T16" fmla="*/ 3 w 92"/>
                <a:gd name="T17" fmla="*/ 83 h 92"/>
                <a:gd name="T18" fmla="*/ 0 w 92"/>
                <a:gd name="T19" fmla="*/ 92 h 92"/>
                <a:gd name="T20" fmla="*/ 9 w 92"/>
                <a:gd name="T21" fmla="*/ 89 h 92"/>
                <a:gd name="T22" fmla="*/ 43 w 92"/>
                <a:gd name="T23" fmla="*/ 55 h 92"/>
                <a:gd name="T24" fmla="*/ 60 w 92"/>
                <a:gd name="T25" fmla="*/ 72 h 92"/>
                <a:gd name="T26" fmla="*/ 63 w 92"/>
                <a:gd name="T27" fmla="*/ 46 h 92"/>
                <a:gd name="T28" fmla="*/ 82 w 92"/>
                <a:gd name="T29" fmla="*/ 27 h 92"/>
                <a:gd name="T30" fmla="*/ 85 w 92"/>
                <a:gd name="T31" fmla="*/ 29 h 92"/>
                <a:gd name="T32" fmla="*/ 91 w 92"/>
                <a:gd name="T33" fmla="*/ 29 h 92"/>
                <a:gd name="T34" fmla="*/ 91 w 92"/>
                <a:gd name="T35" fmla="*/ 24 h 92"/>
                <a:gd name="T36" fmla="*/ 46 w 92"/>
                <a:gd name="T37" fmla="*/ 36 h 92"/>
                <a:gd name="T38" fmla="*/ 45 w 92"/>
                <a:gd name="T39" fmla="*/ 36 h 92"/>
                <a:gd name="T40" fmla="*/ 39 w 92"/>
                <a:gd name="T41" fmla="*/ 34 h 92"/>
                <a:gd name="T42" fmla="*/ 31 w 92"/>
                <a:gd name="T43" fmla="*/ 37 h 92"/>
                <a:gd name="T44" fmla="*/ 30 w 92"/>
                <a:gd name="T45" fmla="*/ 38 h 92"/>
                <a:gd name="T46" fmla="*/ 25 w 92"/>
                <a:gd name="T47" fmla="*/ 32 h 92"/>
                <a:gd name="T48" fmla="*/ 26 w 92"/>
                <a:gd name="T49" fmla="*/ 32 h 92"/>
                <a:gd name="T50" fmla="*/ 35 w 92"/>
                <a:gd name="T51" fmla="*/ 28 h 92"/>
                <a:gd name="T52" fmla="*/ 43 w 92"/>
                <a:gd name="T53" fmla="*/ 32 h 92"/>
                <a:gd name="T54" fmla="*/ 47 w 92"/>
                <a:gd name="T55" fmla="*/ 35 h 92"/>
                <a:gd name="T56" fmla="*/ 46 w 92"/>
                <a:gd name="T57" fmla="*/ 36 h 92"/>
                <a:gd name="T58" fmla="*/ 51 w 92"/>
                <a:gd name="T59" fmla="*/ 36 h 92"/>
                <a:gd name="T60" fmla="*/ 47 w 92"/>
                <a:gd name="T61" fmla="*/ 32 h 92"/>
                <a:gd name="T62" fmla="*/ 68 w 92"/>
                <a:gd name="T63" fmla="*/ 11 h 92"/>
                <a:gd name="T64" fmla="*/ 72 w 92"/>
                <a:gd name="T65" fmla="*/ 15 h 92"/>
                <a:gd name="T66" fmla="*/ 51 w 92"/>
                <a:gd name="T67" fmla="*/ 3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2" h="92">
                  <a:moveTo>
                    <a:pt x="91" y="24"/>
                  </a:moveTo>
                  <a:cubicBezTo>
                    <a:pt x="68" y="1"/>
                    <a:pt x="68" y="1"/>
                    <a:pt x="68" y="1"/>
                  </a:cubicBezTo>
                  <a:cubicBezTo>
                    <a:pt x="67" y="0"/>
                    <a:pt x="64" y="0"/>
                    <a:pt x="63" y="1"/>
                  </a:cubicBezTo>
                  <a:cubicBezTo>
                    <a:pt x="61" y="3"/>
                    <a:pt x="61" y="5"/>
                    <a:pt x="63" y="7"/>
                  </a:cubicBezTo>
                  <a:cubicBezTo>
                    <a:pt x="65" y="10"/>
                    <a:pt x="65" y="10"/>
                    <a:pt x="65" y="10"/>
                  </a:cubicBezTo>
                  <a:cubicBezTo>
                    <a:pt x="46" y="29"/>
                    <a:pt x="46" y="29"/>
                    <a:pt x="46" y="29"/>
                  </a:cubicBezTo>
                  <a:cubicBezTo>
                    <a:pt x="39" y="23"/>
                    <a:pt x="29" y="24"/>
                    <a:pt x="20" y="32"/>
                  </a:cubicBezTo>
                  <a:cubicBezTo>
                    <a:pt x="37" y="49"/>
                    <a:pt x="37" y="49"/>
                    <a:pt x="37" y="49"/>
                  </a:cubicBezTo>
                  <a:cubicBezTo>
                    <a:pt x="3" y="83"/>
                    <a:pt x="3" y="83"/>
                    <a:pt x="3" y="83"/>
                  </a:cubicBezTo>
                  <a:cubicBezTo>
                    <a:pt x="0" y="92"/>
                    <a:pt x="0" y="92"/>
                    <a:pt x="0" y="92"/>
                  </a:cubicBezTo>
                  <a:cubicBezTo>
                    <a:pt x="9" y="89"/>
                    <a:pt x="9" y="89"/>
                    <a:pt x="9" y="89"/>
                  </a:cubicBezTo>
                  <a:cubicBezTo>
                    <a:pt x="43" y="55"/>
                    <a:pt x="43" y="55"/>
                    <a:pt x="43" y="55"/>
                  </a:cubicBezTo>
                  <a:cubicBezTo>
                    <a:pt x="60" y="72"/>
                    <a:pt x="60" y="72"/>
                    <a:pt x="60" y="72"/>
                  </a:cubicBezTo>
                  <a:cubicBezTo>
                    <a:pt x="68" y="63"/>
                    <a:pt x="69" y="53"/>
                    <a:pt x="63" y="46"/>
                  </a:cubicBezTo>
                  <a:cubicBezTo>
                    <a:pt x="82" y="27"/>
                    <a:pt x="82" y="27"/>
                    <a:pt x="82" y="27"/>
                  </a:cubicBezTo>
                  <a:cubicBezTo>
                    <a:pt x="85" y="29"/>
                    <a:pt x="85" y="29"/>
                    <a:pt x="85" y="29"/>
                  </a:cubicBezTo>
                  <a:cubicBezTo>
                    <a:pt x="87" y="31"/>
                    <a:pt x="89" y="31"/>
                    <a:pt x="91" y="29"/>
                  </a:cubicBezTo>
                  <a:cubicBezTo>
                    <a:pt x="92" y="28"/>
                    <a:pt x="92" y="25"/>
                    <a:pt x="91" y="24"/>
                  </a:cubicBezTo>
                  <a:moveTo>
                    <a:pt x="46" y="36"/>
                  </a:moveTo>
                  <a:cubicBezTo>
                    <a:pt x="45" y="36"/>
                    <a:pt x="45" y="36"/>
                    <a:pt x="45" y="36"/>
                  </a:cubicBezTo>
                  <a:cubicBezTo>
                    <a:pt x="43" y="35"/>
                    <a:pt x="42" y="34"/>
                    <a:pt x="39" y="34"/>
                  </a:cubicBezTo>
                  <a:cubicBezTo>
                    <a:pt x="37" y="34"/>
                    <a:pt x="34" y="35"/>
                    <a:pt x="31" y="37"/>
                  </a:cubicBezTo>
                  <a:cubicBezTo>
                    <a:pt x="30" y="38"/>
                    <a:pt x="30" y="38"/>
                    <a:pt x="30" y="38"/>
                  </a:cubicBezTo>
                  <a:cubicBezTo>
                    <a:pt x="25" y="32"/>
                    <a:pt x="25" y="32"/>
                    <a:pt x="25" y="32"/>
                  </a:cubicBezTo>
                  <a:cubicBezTo>
                    <a:pt x="26" y="32"/>
                    <a:pt x="26" y="32"/>
                    <a:pt x="26" y="32"/>
                  </a:cubicBezTo>
                  <a:cubicBezTo>
                    <a:pt x="29" y="30"/>
                    <a:pt x="32" y="28"/>
                    <a:pt x="35" y="28"/>
                  </a:cubicBezTo>
                  <a:cubicBezTo>
                    <a:pt x="38" y="28"/>
                    <a:pt x="41" y="30"/>
                    <a:pt x="43" y="32"/>
                  </a:cubicBezTo>
                  <a:cubicBezTo>
                    <a:pt x="47" y="35"/>
                    <a:pt x="47" y="35"/>
                    <a:pt x="47" y="35"/>
                  </a:cubicBezTo>
                  <a:cubicBezTo>
                    <a:pt x="46" y="36"/>
                    <a:pt x="46" y="36"/>
                    <a:pt x="46" y="36"/>
                  </a:cubicBezTo>
                  <a:moveTo>
                    <a:pt x="51" y="36"/>
                  </a:moveTo>
                  <a:cubicBezTo>
                    <a:pt x="47" y="32"/>
                    <a:pt x="47" y="32"/>
                    <a:pt x="47" y="32"/>
                  </a:cubicBezTo>
                  <a:cubicBezTo>
                    <a:pt x="68" y="11"/>
                    <a:pt x="68" y="11"/>
                    <a:pt x="68" y="11"/>
                  </a:cubicBezTo>
                  <a:cubicBezTo>
                    <a:pt x="72" y="15"/>
                    <a:pt x="72" y="15"/>
                    <a:pt x="72" y="15"/>
                  </a:cubicBezTo>
                  <a:cubicBezTo>
                    <a:pt x="51" y="36"/>
                    <a:pt x="51" y="36"/>
                    <a:pt x="51" y="36"/>
                  </a:cubicBezTo>
                </a:path>
              </a:pathLst>
            </a:custGeom>
            <a:solidFill>
              <a:srgbClr val="8B8B9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8" name="Group 17">
            <a:extLst>
              <a:ext uri="{FF2B5EF4-FFF2-40B4-BE49-F238E27FC236}">
                <a16:creationId xmlns:a16="http://schemas.microsoft.com/office/drawing/2014/main" id="{40F7913E-372E-4D78-9A90-B8847D04303D}"/>
              </a:ext>
            </a:extLst>
          </p:cNvPr>
          <p:cNvGrpSpPr/>
          <p:nvPr/>
        </p:nvGrpSpPr>
        <p:grpSpPr>
          <a:xfrm>
            <a:off x="7891328" y="2538508"/>
            <a:ext cx="2768562" cy="2111489"/>
            <a:chOff x="544242" y="2674041"/>
            <a:chExt cx="2768562" cy="2111489"/>
          </a:xfrm>
        </p:grpSpPr>
        <p:sp>
          <p:nvSpPr>
            <p:cNvPr id="19" name="Rectangle 18">
              <a:extLst>
                <a:ext uri="{FF2B5EF4-FFF2-40B4-BE49-F238E27FC236}">
                  <a16:creationId xmlns:a16="http://schemas.microsoft.com/office/drawing/2014/main" id="{2738EB80-F468-48A5-9751-A6DF96451E08}"/>
                </a:ext>
              </a:extLst>
            </p:cNvPr>
            <p:cNvSpPr/>
            <p:nvPr/>
          </p:nvSpPr>
          <p:spPr>
            <a:xfrm>
              <a:off x="544242" y="2913343"/>
              <a:ext cx="2768562" cy="1872187"/>
            </a:xfrm>
            <a:prstGeom prst="rect">
              <a:avLst/>
            </a:prstGeom>
            <a:solidFill>
              <a:schemeClr val="bg1">
                <a:lumMod val="95000"/>
                <a:alpha val="10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20" name="TextBox 19">
              <a:extLst>
                <a:ext uri="{FF2B5EF4-FFF2-40B4-BE49-F238E27FC236}">
                  <a16:creationId xmlns:a16="http://schemas.microsoft.com/office/drawing/2014/main" id="{5FC003C1-B65E-42C7-91B3-1674F3CCC223}"/>
                </a:ext>
              </a:extLst>
            </p:cNvPr>
            <p:cNvSpPr txBox="1"/>
            <p:nvPr/>
          </p:nvSpPr>
          <p:spPr>
            <a:xfrm>
              <a:off x="561679" y="3625458"/>
              <a:ext cx="268660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Open Sans"/>
                  <a:ea typeface="+mn-ea"/>
                  <a:cs typeface="+mn-cs"/>
                </a:rPr>
                <a:t>March 29</a:t>
              </a:r>
              <a:r>
                <a:rPr kumimoji="0" lang="en-US" sz="1800" b="0" i="0" u="none" strike="noStrike" kern="1200" cap="none" spc="0" normalizeH="0" baseline="30000" noProof="0" dirty="0">
                  <a:ln>
                    <a:noFill/>
                  </a:ln>
                  <a:solidFill>
                    <a:srgbClr val="000000"/>
                  </a:solidFill>
                  <a:effectLst/>
                  <a:uLnTx/>
                  <a:uFillTx/>
                  <a:latin typeface="Open Sans"/>
                  <a:ea typeface="+mn-ea"/>
                  <a:cs typeface="+mn-cs"/>
                </a:rPr>
                <a:t>th</a:t>
              </a:r>
              <a:r>
                <a:rPr kumimoji="0" lang="en-US" sz="1800" b="0" i="0" u="none" strike="noStrike" kern="1200" cap="none" spc="0" normalizeH="0" baseline="0" noProof="0" dirty="0">
                  <a:ln>
                    <a:noFill/>
                  </a:ln>
                  <a:solidFill>
                    <a:srgbClr val="000000"/>
                  </a:solidFill>
                  <a:effectLst/>
                  <a:uLnTx/>
                  <a:uFillTx/>
                  <a:latin typeface="Open Sans"/>
                  <a:ea typeface="+mn-ea"/>
                  <a:cs typeface="+mn-cs"/>
                </a:rPr>
                <a:t> </a:t>
              </a:r>
            </a:p>
          </p:txBody>
        </p:sp>
        <p:sp>
          <p:nvSpPr>
            <p:cNvPr id="21" name="TextBox 20">
              <a:extLst>
                <a:ext uri="{FF2B5EF4-FFF2-40B4-BE49-F238E27FC236}">
                  <a16:creationId xmlns:a16="http://schemas.microsoft.com/office/drawing/2014/main" id="{DBC51501-1989-4299-8136-56893E6C614B}"/>
                </a:ext>
              </a:extLst>
            </p:cNvPr>
            <p:cNvSpPr txBox="1"/>
            <p:nvPr/>
          </p:nvSpPr>
          <p:spPr>
            <a:xfrm>
              <a:off x="561679" y="3162071"/>
              <a:ext cx="268660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mn-cs"/>
                </a:rPr>
                <a:t>GSAP Roast &amp; Toast</a:t>
              </a:r>
            </a:p>
          </p:txBody>
        </p:sp>
        <p:sp>
          <p:nvSpPr>
            <p:cNvPr id="22" name="TextBox 21">
              <a:extLst>
                <a:ext uri="{FF2B5EF4-FFF2-40B4-BE49-F238E27FC236}">
                  <a16:creationId xmlns:a16="http://schemas.microsoft.com/office/drawing/2014/main" id="{D662ED1F-84A6-4D5F-8DA4-9377D476B001}"/>
                </a:ext>
              </a:extLst>
            </p:cNvPr>
            <p:cNvSpPr txBox="1"/>
            <p:nvPr/>
          </p:nvSpPr>
          <p:spPr>
            <a:xfrm>
              <a:off x="561679" y="4208824"/>
              <a:ext cx="268660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sng" strike="noStrike" kern="1200" cap="none" spc="0" normalizeH="0" baseline="0" noProof="0" dirty="0">
                  <a:ln>
                    <a:noFill/>
                  </a:ln>
                  <a:solidFill>
                    <a:srgbClr val="000000"/>
                  </a:solidFill>
                  <a:effectLst/>
                  <a:uLnTx/>
                  <a:uFillTx/>
                  <a:latin typeface="Open Sans"/>
                  <a:ea typeface="+mn-ea"/>
                  <a:cs typeface="+mn-cs"/>
                </a:rPr>
                <a:t>Location</a:t>
              </a:r>
              <a:r>
                <a:rPr kumimoji="0" lang="en-US" sz="1400" b="0" i="0" u="none" strike="noStrike" kern="1200" cap="none" spc="0" normalizeH="0" baseline="0" noProof="0" dirty="0">
                  <a:ln>
                    <a:noFill/>
                  </a:ln>
                  <a:solidFill>
                    <a:srgbClr val="000000"/>
                  </a:solidFill>
                  <a:effectLst/>
                  <a:uLnTx/>
                  <a:uFillTx/>
                  <a:latin typeface="Open Sans"/>
                  <a:ea typeface="+mn-ea"/>
                  <a:cs typeface="+mn-cs"/>
                </a:rPr>
                <a:t>: </a:t>
              </a:r>
              <a:r>
                <a:rPr kumimoji="0" lang="en-US" sz="1400" b="0" i="0" u="none" strike="noStrike" kern="1200" cap="none" spc="0" normalizeH="0" baseline="0" noProof="0" dirty="0" err="1">
                  <a:ln>
                    <a:noFill/>
                  </a:ln>
                  <a:solidFill>
                    <a:srgbClr val="000000"/>
                  </a:solidFill>
                  <a:effectLst/>
                  <a:uLnTx/>
                  <a:uFillTx/>
                  <a:latin typeface="Open Sans"/>
                  <a:ea typeface="+mn-ea"/>
                  <a:cs typeface="+mn-cs"/>
                </a:rPr>
                <a:t>Formento’s</a:t>
              </a:r>
              <a:endParaRPr kumimoji="0" lang="en-US" sz="1200" b="0" i="0" u="none" strike="noStrike" kern="1200" cap="none" spc="0" normalizeH="0" baseline="30000" noProof="0" dirty="0">
                <a:ln>
                  <a:noFill/>
                </a:ln>
                <a:solidFill>
                  <a:srgbClr val="000000"/>
                </a:solidFill>
                <a:effectLst/>
                <a:uLnTx/>
                <a:uFillTx/>
                <a:latin typeface="Open Sans"/>
                <a:ea typeface="+mn-ea"/>
                <a:cs typeface="+mn-cs"/>
              </a:endParaRPr>
            </a:p>
          </p:txBody>
        </p:sp>
        <p:sp>
          <p:nvSpPr>
            <p:cNvPr id="23" name="Freeform 88">
              <a:extLst>
                <a:ext uri="{FF2B5EF4-FFF2-40B4-BE49-F238E27FC236}">
                  <a16:creationId xmlns:a16="http://schemas.microsoft.com/office/drawing/2014/main" id="{A5DE6DAB-2383-4704-B7FC-BF16661B918C}"/>
                </a:ext>
              </a:extLst>
            </p:cNvPr>
            <p:cNvSpPr>
              <a:spLocks noEditPoints="1"/>
            </p:cNvSpPr>
            <p:nvPr/>
          </p:nvSpPr>
          <p:spPr bwMode="auto">
            <a:xfrm>
              <a:off x="1928523" y="2674041"/>
              <a:ext cx="351623" cy="353243"/>
            </a:xfrm>
            <a:custGeom>
              <a:avLst/>
              <a:gdLst>
                <a:gd name="T0" fmla="*/ 91 w 92"/>
                <a:gd name="T1" fmla="*/ 24 h 92"/>
                <a:gd name="T2" fmla="*/ 68 w 92"/>
                <a:gd name="T3" fmla="*/ 1 h 92"/>
                <a:gd name="T4" fmla="*/ 63 w 92"/>
                <a:gd name="T5" fmla="*/ 1 h 92"/>
                <a:gd name="T6" fmla="*/ 63 w 92"/>
                <a:gd name="T7" fmla="*/ 7 h 92"/>
                <a:gd name="T8" fmla="*/ 65 w 92"/>
                <a:gd name="T9" fmla="*/ 10 h 92"/>
                <a:gd name="T10" fmla="*/ 46 w 92"/>
                <a:gd name="T11" fmla="*/ 29 h 92"/>
                <a:gd name="T12" fmla="*/ 20 w 92"/>
                <a:gd name="T13" fmla="*/ 32 h 92"/>
                <a:gd name="T14" fmla="*/ 37 w 92"/>
                <a:gd name="T15" fmla="*/ 49 h 92"/>
                <a:gd name="T16" fmla="*/ 3 w 92"/>
                <a:gd name="T17" fmla="*/ 83 h 92"/>
                <a:gd name="T18" fmla="*/ 0 w 92"/>
                <a:gd name="T19" fmla="*/ 92 h 92"/>
                <a:gd name="T20" fmla="*/ 9 w 92"/>
                <a:gd name="T21" fmla="*/ 89 h 92"/>
                <a:gd name="T22" fmla="*/ 43 w 92"/>
                <a:gd name="T23" fmla="*/ 55 h 92"/>
                <a:gd name="T24" fmla="*/ 60 w 92"/>
                <a:gd name="T25" fmla="*/ 72 h 92"/>
                <a:gd name="T26" fmla="*/ 63 w 92"/>
                <a:gd name="T27" fmla="*/ 46 h 92"/>
                <a:gd name="T28" fmla="*/ 82 w 92"/>
                <a:gd name="T29" fmla="*/ 27 h 92"/>
                <a:gd name="T30" fmla="*/ 85 w 92"/>
                <a:gd name="T31" fmla="*/ 29 h 92"/>
                <a:gd name="T32" fmla="*/ 91 w 92"/>
                <a:gd name="T33" fmla="*/ 29 h 92"/>
                <a:gd name="T34" fmla="*/ 91 w 92"/>
                <a:gd name="T35" fmla="*/ 24 h 92"/>
                <a:gd name="T36" fmla="*/ 46 w 92"/>
                <a:gd name="T37" fmla="*/ 36 h 92"/>
                <a:gd name="T38" fmla="*/ 45 w 92"/>
                <a:gd name="T39" fmla="*/ 36 h 92"/>
                <a:gd name="T40" fmla="*/ 39 w 92"/>
                <a:gd name="T41" fmla="*/ 34 h 92"/>
                <a:gd name="T42" fmla="*/ 31 w 92"/>
                <a:gd name="T43" fmla="*/ 37 h 92"/>
                <a:gd name="T44" fmla="*/ 30 w 92"/>
                <a:gd name="T45" fmla="*/ 38 h 92"/>
                <a:gd name="T46" fmla="*/ 25 w 92"/>
                <a:gd name="T47" fmla="*/ 32 h 92"/>
                <a:gd name="T48" fmla="*/ 26 w 92"/>
                <a:gd name="T49" fmla="*/ 32 h 92"/>
                <a:gd name="T50" fmla="*/ 35 w 92"/>
                <a:gd name="T51" fmla="*/ 28 h 92"/>
                <a:gd name="T52" fmla="*/ 43 w 92"/>
                <a:gd name="T53" fmla="*/ 32 h 92"/>
                <a:gd name="T54" fmla="*/ 47 w 92"/>
                <a:gd name="T55" fmla="*/ 35 h 92"/>
                <a:gd name="T56" fmla="*/ 46 w 92"/>
                <a:gd name="T57" fmla="*/ 36 h 92"/>
                <a:gd name="T58" fmla="*/ 51 w 92"/>
                <a:gd name="T59" fmla="*/ 36 h 92"/>
                <a:gd name="T60" fmla="*/ 47 w 92"/>
                <a:gd name="T61" fmla="*/ 32 h 92"/>
                <a:gd name="T62" fmla="*/ 68 w 92"/>
                <a:gd name="T63" fmla="*/ 11 h 92"/>
                <a:gd name="T64" fmla="*/ 72 w 92"/>
                <a:gd name="T65" fmla="*/ 15 h 92"/>
                <a:gd name="T66" fmla="*/ 51 w 92"/>
                <a:gd name="T67" fmla="*/ 3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2" h="92">
                  <a:moveTo>
                    <a:pt x="91" y="24"/>
                  </a:moveTo>
                  <a:cubicBezTo>
                    <a:pt x="68" y="1"/>
                    <a:pt x="68" y="1"/>
                    <a:pt x="68" y="1"/>
                  </a:cubicBezTo>
                  <a:cubicBezTo>
                    <a:pt x="67" y="0"/>
                    <a:pt x="64" y="0"/>
                    <a:pt x="63" y="1"/>
                  </a:cubicBezTo>
                  <a:cubicBezTo>
                    <a:pt x="61" y="3"/>
                    <a:pt x="61" y="5"/>
                    <a:pt x="63" y="7"/>
                  </a:cubicBezTo>
                  <a:cubicBezTo>
                    <a:pt x="65" y="10"/>
                    <a:pt x="65" y="10"/>
                    <a:pt x="65" y="10"/>
                  </a:cubicBezTo>
                  <a:cubicBezTo>
                    <a:pt x="46" y="29"/>
                    <a:pt x="46" y="29"/>
                    <a:pt x="46" y="29"/>
                  </a:cubicBezTo>
                  <a:cubicBezTo>
                    <a:pt x="39" y="23"/>
                    <a:pt x="29" y="24"/>
                    <a:pt x="20" y="32"/>
                  </a:cubicBezTo>
                  <a:cubicBezTo>
                    <a:pt x="37" y="49"/>
                    <a:pt x="37" y="49"/>
                    <a:pt x="37" y="49"/>
                  </a:cubicBezTo>
                  <a:cubicBezTo>
                    <a:pt x="3" y="83"/>
                    <a:pt x="3" y="83"/>
                    <a:pt x="3" y="83"/>
                  </a:cubicBezTo>
                  <a:cubicBezTo>
                    <a:pt x="0" y="92"/>
                    <a:pt x="0" y="92"/>
                    <a:pt x="0" y="92"/>
                  </a:cubicBezTo>
                  <a:cubicBezTo>
                    <a:pt x="9" y="89"/>
                    <a:pt x="9" y="89"/>
                    <a:pt x="9" y="89"/>
                  </a:cubicBezTo>
                  <a:cubicBezTo>
                    <a:pt x="43" y="55"/>
                    <a:pt x="43" y="55"/>
                    <a:pt x="43" y="55"/>
                  </a:cubicBezTo>
                  <a:cubicBezTo>
                    <a:pt x="60" y="72"/>
                    <a:pt x="60" y="72"/>
                    <a:pt x="60" y="72"/>
                  </a:cubicBezTo>
                  <a:cubicBezTo>
                    <a:pt x="68" y="63"/>
                    <a:pt x="69" y="53"/>
                    <a:pt x="63" y="46"/>
                  </a:cubicBezTo>
                  <a:cubicBezTo>
                    <a:pt x="82" y="27"/>
                    <a:pt x="82" y="27"/>
                    <a:pt x="82" y="27"/>
                  </a:cubicBezTo>
                  <a:cubicBezTo>
                    <a:pt x="85" y="29"/>
                    <a:pt x="85" y="29"/>
                    <a:pt x="85" y="29"/>
                  </a:cubicBezTo>
                  <a:cubicBezTo>
                    <a:pt x="87" y="31"/>
                    <a:pt x="89" y="31"/>
                    <a:pt x="91" y="29"/>
                  </a:cubicBezTo>
                  <a:cubicBezTo>
                    <a:pt x="92" y="28"/>
                    <a:pt x="92" y="25"/>
                    <a:pt x="91" y="24"/>
                  </a:cubicBezTo>
                  <a:moveTo>
                    <a:pt x="46" y="36"/>
                  </a:moveTo>
                  <a:cubicBezTo>
                    <a:pt x="45" y="36"/>
                    <a:pt x="45" y="36"/>
                    <a:pt x="45" y="36"/>
                  </a:cubicBezTo>
                  <a:cubicBezTo>
                    <a:pt x="43" y="35"/>
                    <a:pt x="42" y="34"/>
                    <a:pt x="39" y="34"/>
                  </a:cubicBezTo>
                  <a:cubicBezTo>
                    <a:pt x="37" y="34"/>
                    <a:pt x="34" y="35"/>
                    <a:pt x="31" y="37"/>
                  </a:cubicBezTo>
                  <a:cubicBezTo>
                    <a:pt x="30" y="38"/>
                    <a:pt x="30" y="38"/>
                    <a:pt x="30" y="38"/>
                  </a:cubicBezTo>
                  <a:cubicBezTo>
                    <a:pt x="25" y="32"/>
                    <a:pt x="25" y="32"/>
                    <a:pt x="25" y="32"/>
                  </a:cubicBezTo>
                  <a:cubicBezTo>
                    <a:pt x="26" y="32"/>
                    <a:pt x="26" y="32"/>
                    <a:pt x="26" y="32"/>
                  </a:cubicBezTo>
                  <a:cubicBezTo>
                    <a:pt x="29" y="30"/>
                    <a:pt x="32" y="28"/>
                    <a:pt x="35" y="28"/>
                  </a:cubicBezTo>
                  <a:cubicBezTo>
                    <a:pt x="38" y="28"/>
                    <a:pt x="41" y="30"/>
                    <a:pt x="43" y="32"/>
                  </a:cubicBezTo>
                  <a:cubicBezTo>
                    <a:pt x="47" y="35"/>
                    <a:pt x="47" y="35"/>
                    <a:pt x="47" y="35"/>
                  </a:cubicBezTo>
                  <a:cubicBezTo>
                    <a:pt x="46" y="36"/>
                    <a:pt x="46" y="36"/>
                    <a:pt x="46" y="36"/>
                  </a:cubicBezTo>
                  <a:moveTo>
                    <a:pt x="51" y="36"/>
                  </a:moveTo>
                  <a:cubicBezTo>
                    <a:pt x="47" y="32"/>
                    <a:pt x="47" y="32"/>
                    <a:pt x="47" y="32"/>
                  </a:cubicBezTo>
                  <a:cubicBezTo>
                    <a:pt x="68" y="11"/>
                    <a:pt x="68" y="11"/>
                    <a:pt x="68" y="11"/>
                  </a:cubicBezTo>
                  <a:cubicBezTo>
                    <a:pt x="72" y="15"/>
                    <a:pt x="72" y="15"/>
                    <a:pt x="72" y="15"/>
                  </a:cubicBezTo>
                  <a:cubicBezTo>
                    <a:pt x="51" y="36"/>
                    <a:pt x="51" y="36"/>
                    <a:pt x="51" y="36"/>
                  </a:cubicBezTo>
                </a:path>
              </a:pathLst>
            </a:custGeom>
            <a:solidFill>
              <a:srgbClr val="8B8B9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4" name="Group 23">
            <a:extLst>
              <a:ext uri="{FF2B5EF4-FFF2-40B4-BE49-F238E27FC236}">
                <a16:creationId xmlns:a16="http://schemas.microsoft.com/office/drawing/2014/main" id="{7765FA90-9E71-4940-BDA1-AEDE5A8708D6}"/>
              </a:ext>
            </a:extLst>
          </p:cNvPr>
          <p:cNvGrpSpPr>
            <a:grpSpLocks noChangeAspect="1"/>
          </p:cNvGrpSpPr>
          <p:nvPr/>
        </p:nvGrpSpPr>
        <p:grpSpPr>
          <a:xfrm>
            <a:off x="10219052" y="211669"/>
            <a:ext cx="1318085" cy="1255182"/>
            <a:chOff x="4763" y="993776"/>
            <a:chExt cx="1174750" cy="1284287"/>
          </a:xfrm>
          <a:solidFill>
            <a:schemeClr val="bg1">
              <a:lumMod val="50000"/>
            </a:schemeClr>
          </a:solidFill>
        </p:grpSpPr>
        <p:sp>
          <p:nvSpPr>
            <p:cNvPr id="25" name="Freeform 7">
              <a:extLst>
                <a:ext uri="{FF2B5EF4-FFF2-40B4-BE49-F238E27FC236}">
                  <a16:creationId xmlns:a16="http://schemas.microsoft.com/office/drawing/2014/main" id="{5DC42E83-95EC-4C21-881F-9F42EF67664B}"/>
                </a:ext>
              </a:extLst>
            </p:cNvPr>
            <p:cNvSpPr>
              <a:spLocks/>
            </p:cNvSpPr>
            <p:nvPr/>
          </p:nvSpPr>
          <p:spPr bwMode="auto">
            <a:xfrm>
              <a:off x="1027113" y="2101851"/>
              <a:ext cx="0" cy="4763"/>
            </a:xfrm>
            <a:custGeom>
              <a:avLst/>
              <a:gdLst>
                <a:gd name="T0" fmla="*/ 3 h 3"/>
                <a:gd name="T1" fmla="*/ 3 h 3"/>
                <a:gd name="T2" fmla="*/ 0 h 3"/>
                <a:gd name="T3" fmla="*/ 3 h 3"/>
              </a:gdLst>
              <a:ahLst/>
              <a:cxnLst>
                <a:cxn ang="0">
                  <a:pos x="0" y="T0"/>
                </a:cxn>
                <a:cxn ang="0">
                  <a:pos x="0" y="T1"/>
                </a:cxn>
                <a:cxn ang="0">
                  <a:pos x="0" y="T2"/>
                </a:cxn>
                <a:cxn ang="0">
                  <a:pos x="0" y="T3"/>
                </a:cxn>
              </a:cxnLst>
              <a:rect l="0" t="0" r="r" b="b"/>
              <a:pathLst>
                <a:path h="3">
                  <a:moveTo>
                    <a:pt x="0" y="3"/>
                  </a:moveTo>
                  <a:lnTo>
                    <a:pt x="0" y="3"/>
                  </a:lnTo>
                  <a:lnTo>
                    <a:pt x="0" y="0"/>
                  </a:lnTo>
                  <a:lnTo>
                    <a:pt x="0" y="3"/>
                  </a:ln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8">
              <a:extLst>
                <a:ext uri="{FF2B5EF4-FFF2-40B4-BE49-F238E27FC236}">
                  <a16:creationId xmlns:a16="http://schemas.microsoft.com/office/drawing/2014/main" id="{DE02BC7C-A6C3-46FF-8446-68D4BB9F6227}"/>
                </a:ext>
              </a:extLst>
            </p:cNvPr>
            <p:cNvSpPr>
              <a:spLocks/>
            </p:cNvSpPr>
            <p:nvPr/>
          </p:nvSpPr>
          <p:spPr bwMode="auto">
            <a:xfrm>
              <a:off x="1022350" y="2078038"/>
              <a:ext cx="9525" cy="19050"/>
            </a:xfrm>
            <a:custGeom>
              <a:avLst/>
              <a:gdLst>
                <a:gd name="T0" fmla="*/ 1 w 2"/>
                <a:gd name="T1" fmla="*/ 0 h 4"/>
                <a:gd name="T2" fmla="*/ 1 w 2"/>
                <a:gd name="T3" fmla="*/ 1 h 4"/>
                <a:gd name="T4" fmla="*/ 1 w 2"/>
                <a:gd name="T5" fmla="*/ 4 h 4"/>
                <a:gd name="T6" fmla="*/ 1 w 2"/>
                <a:gd name="T7" fmla="*/ 0 h 4"/>
              </a:gdLst>
              <a:ahLst/>
              <a:cxnLst>
                <a:cxn ang="0">
                  <a:pos x="T0" y="T1"/>
                </a:cxn>
                <a:cxn ang="0">
                  <a:pos x="T2" y="T3"/>
                </a:cxn>
                <a:cxn ang="0">
                  <a:pos x="T4" y="T5"/>
                </a:cxn>
                <a:cxn ang="0">
                  <a:pos x="T6" y="T7"/>
                </a:cxn>
              </a:cxnLst>
              <a:rect l="0" t="0" r="r" b="b"/>
              <a:pathLst>
                <a:path w="2" h="4">
                  <a:moveTo>
                    <a:pt x="1" y="0"/>
                  </a:moveTo>
                  <a:cubicBezTo>
                    <a:pt x="1" y="1"/>
                    <a:pt x="1" y="0"/>
                    <a:pt x="1" y="1"/>
                  </a:cubicBezTo>
                  <a:cubicBezTo>
                    <a:pt x="1" y="4"/>
                    <a:pt x="1" y="4"/>
                    <a:pt x="1" y="4"/>
                  </a:cubicBezTo>
                  <a:cubicBezTo>
                    <a:pt x="2" y="3"/>
                    <a:pt x="0" y="1"/>
                    <a:pt x="1" y="0"/>
                  </a:cubicBez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9">
              <a:extLst>
                <a:ext uri="{FF2B5EF4-FFF2-40B4-BE49-F238E27FC236}">
                  <a16:creationId xmlns:a16="http://schemas.microsoft.com/office/drawing/2014/main" id="{65ABBE31-A193-4D42-B2EE-5A528DC450E3}"/>
                </a:ext>
              </a:extLst>
            </p:cNvPr>
            <p:cNvSpPr>
              <a:spLocks/>
            </p:cNvSpPr>
            <p:nvPr/>
          </p:nvSpPr>
          <p:spPr bwMode="auto">
            <a:xfrm>
              <a:off x="1022350" y="2063751"/>
              <a:ext cx="4763" cy="14288"/>
            </a:xfrm>
            <a:custGeom>
              <a:avLst/>
              <a:gdLst>
                <a:gd name="T0" fmla="*/ 1 w 1"/>
                <a:gd name="T1" fmla="*/ 2 h 3"/>
                <a:gd name="T2" fmla="*/ 1 w 1"/>
                <a:gd name="T3" fmla="*/ 0 h 3"/>
                <a:gd name="T4" fmla="*/ 1 w 1"/>
                <a:gd name="T5" fmla="*/ 2 h 3"/>
              </a:gdLst>
              <a:ahLst/>
              <a:cxnLst>
                <a:cxn ang="0">
                  <a:pos x="T0" y="T1"/>
                </a:cxn>
                <a:cxn ang="0">
                  <a:pos x="T2" y="T3"/>
                </a:cxn>
                <a:cxn ang="0">
                  <a:pos x="T4" y="T5"/>
                </a:cxn>
              </a:cxnLst>
              <a:rect l="0" t="0" r="r" b="b"/>
              <a:pathLst>
                <a:path w="1" h="3">
                  <a:moveTo>
                    <a:pt x="1" y="2"/>
                  </a:moveTo>
                  <a:cubicBezTo>
                    <a:pt x="1" y="1"/>
                    <a:pt x="1" y="1"/>
                    <a:pt x="1" y="0"/>
                  </a:cubicBezTo>
                  <a:cubicBezTo>
                    <a:pt x="1" y="1"/>
                    <a:pt x="0" y="3"/>
                    <a:pt x="1" y="2"/>
                  </a:cubicBez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10">
              <a:extLst>
                <a:ext uri="{FF2B5EF4-FFF2-40B4-BE49-F238E27FC236}">
                  <a16:creationId xmlns:a16="http://schemas.microsoft.com/office/drawing/2014/main" id="{EDED1A9F-ECE1-4BE4-9C97-12F53D7DC4EF}"/>
                </a:ext>
              </a:extLst>
            </p:cNvPr>
            <p:cNvSpPr>
              <a:spLocks/>
            </p:cNvSpPr>
            <p:nvPr/>
          </p:nvSpPr>
          <p:spPr bwMode="auto">
            <a:xfrm>
              <a:off x="1027113" y="152400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11">
              <a:extLst>
                <a:ext uri="{FF2B5EF4-FFF2-40B4-BE49-F238E27FC236}">
                  <a16:creationId xmlns:a16="http://schemas.microsoft.com/office/drawing/2014/main" id="{0BC33DA1-BB3A-47CB-9773-E4C8F8C023D8}"/>
                </a:ext>
              </a:extLst>
            </p:cNvPr>
            <p:cNvSpPr>
              <a:spLocks/>
            </p:cNvSpPr>
            <p:nvPr/>
          </p:nvSpPr>
          <p:spPr bwMode="auto">
            <a:xfrm>
              <a:off x="160338" y="1244601"/>
              <a:ext cx="866775" cy="866775"/>
            </a:xfrm>
            <a:custGeom>
              <a:avLst/>
              <a:gdLst>
                <a:gd name="T0" fmla="*/ 181 w 183"/>
                <a:gd name="T1" fmla="*/ 46 h 183"/>
                <a:gd name="T2" fmla="*/ 182 w 183"/>
                <a:gd name="T3" fmla="*/ 90 h 183"/>
                <a:gd name="T4" fmla="*/ 182 w 183"/>
                <a:gd name="T5" fmla="*/ 103 h 183"/>
                <a:gd name="T6" fmla="*/ 182 w 183"/>
                <a:gd name="T7" fmla="*/ 141 h 183"/>
                <a:gd name="T8" fmla="*/ 183 w 183"/>
                <a:gd name="T9" fmla="*/ 163 h 183"/>
                <a:gd name="T10" fmla="*/ 183 w 183"/>
                <a:gd name="T11" fmla="*/ 160 h 183"/>
                <a:gd name="T12" fmla="*/ 183 w 183"/>
                <a:gd name="T13" fmla="*/ 136 h 183"/>
                <a:gd name="T14" fmla="*/ 183 w 183"/>
                <a:gd name="T15" fmla="*/ 59 h 183"/>
                <a:gd name="T16" fmla="*/ 183 w 183"/>
                <a:gd name="T17" fmla="*/ 23 h 183"/>
                <a:gd name="T18" fmla="*/ 157 w 183"/>
                <a:gd name="T19" fmla="*/ 1 h 183"/>
                <a:gd name="T20" fmla="*/ 64 w 183"/>
                <a:gd name="T21" fmla="*/ 1 h 183"/>
                <a:gd name="T22" fmla="*/ 1 w 183"/>
                <a:gd name="T23" fmla="*/ 2 h 183"/>
                <a:gd name="T24" fmla="*/ 1 w 183"/>
                <a:gd name="T25" fmla="*/ 53 h 183"/>
                <a:gd name="T26" fmla="*/ 1 w 183"/>
                <a:gd name="T27" fmla="*/ 168 h 183"/>
                <a:gd name="T28" fmla="*/ 2 w 183"/>
                <a:gd name="T29" fmla="*/ 182 h 183"/>
                <a:gd name="T30" fmla="*/ 8 w 183"/>
                <a:gd name="T31" fmla="*/ 182 h 183"/>
                <a:gd name="T32" fmla="*/ 154 w 183"/>
                <a:gd name="T33" fmla="*/ 183 h 183"/>
                <a:gd name="T34" fmla="*/ 163 w 183"/>
                <a:gd name="T35" fmla="*/ 183 h 183"/>
                <a:gd name="T36" fmla="*/ 171 w 183"/>
                <a:gd name="T37" fmla="*/ 182 h 183"/>
                <a:gd name="T38" fmla="*/ 177 w 183"/>
                <a:gd name="T39" fmla="*/ 183 h 183"/>
                <a:gd name="T40" fmla="*/ 181 w 183"/>
                <a:gd name="T41" fmla="*/ 182 h 183"/>
                <a:gd name="T42" fmla="*/ 174 w 183"/>
                <a:gd name="T43" fmla="*/ 181 h 183"/>
                <a:gd name="T44" fmla="*/ 167 w 183"/>
                <a:gd name="T45" fmla="*/ 181 h 183"/>
                <a:gd name="T46" fmla="*/ 135 w 183"/>
                <a:gd name="T47" fmla="*/ 181 h 183"/>
                <a:gd name="T48" fmla="*/ 119 w 183"/>
                <a:gd name="T49" fmla="*/ 181 h 183"/>
                <a:gd name="T50" fmla="*/ 87 w 183"/>
                <a:gd name="T51" fmla="*/ 181 h 183"/>
                <a:gd name="T52" fmla="*/ 60 w 183"/>
                <a:gd name="T53" fmla="*/ 181 h 183"/>
                <a:gd name="T54" fmla="*/ 35 w 183"/>
                <a:gd name="T55" fmla="*/ 181 h 183"/>
                <a:gd name="T56" fmla="*/ 6 w 183"/>
                <a:gd name="T57" fmla="*/ 181 h 183"/>
                <a:gd name="T58" fmla="*/ 3 w 183"/>
                <a:gd name="T59" fmla="*/ 181 h 183"/>
                <a:gd name="T60" fmla="*/ 3 w 183"/>
                <a:gd name="T61" fmla="*/ 169 h 183"/>
                <a:gd name="T62" fmla="*/ 2 w 183"/>
                <a:gd name="T63" fmla="*/ 163 h 183"/>
                <a:gd name="T64" fmla="*/ 2 w 183"/>
                <a:gd name="T65" fmla="*/ 147 h 183"/>
                <a:gd name="T66" fmla="*/ 3 w 183"/>
                <a:gd name="T67" fmla="*/ 146 h 183"/>
                <a:gd name="T68" fmla="*/ 2 w 183"/>
                <a:gd name="T69" fmla="*/ 70 h 183"/>
                <a:gd name="T70" fmla="*/ 2 w 183"/>
                <a:gd name="T71" fmla="*/ 52 h 183"/>
                <a:gd name="T72" fmla="*/ 2 w 183"/>
                <a:gd name="T73" fmla="*/ 7 h 183"/>
                <a:gd name="T74" fmla="*/ 5 w 183"/>
                <a:gd name="T75" fmla="*/ 2 h 183"/>
                <a:gd name="T76" fmla="*/ 28 w 183"/>
                <a:gd name="T77" fmla="*/ 2 h 183"/>
                <a:gd name="T78" fmla="*/ 86 w 183"/>
                <a:gd name="T79" fmla="*/ 2 h 183"/>
                <a:gd name="T80" fmla="*/ 117 w 183"/>
                <a:gd name="T81" fmla="*/ 2 h 183"/>
                <a:gd name="T82" fmla="*/ 145 w 183"/>
                <a:gd name="T83" fmla="*/ 2 h 183"/>
                <a:gd name="T84" fmla="*/ 151 w 183"/>
                <a:gd name="T85" fmla="*/ 2 h 183"/>
                <a:gd name="T86" fmla="*/ 177 w 183"/>
                <a:gd name="T87" fmla="*/ 2 h 183"/>
                <a:gd name="T88" fmla="*/ 181 w 183"/>
                <a:gd name="T89" fmla="*/ 8 h 183"/>
                <a:gd name="T90" fmla="*/ 181 w 183"/>
                <a:gd name="T91" fmla="*/ 1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3" h="183">
                  <a:moveTo>
                    <a:pt x="181" y="28"/>
                  </a:moveTo>
                  <a:cubicBezTo>
                    <a:pt x="181" y="28"/>
                    <a:pt x="181" y="28"/>
                    <a:pt x="181" y="28"/>
                  </a:cubicBezTo>
                  <a:cubicBezTo>
                    <a:pt x="182" y="34"/>
                    <a:pt x="181" y="40"/>
                    <a:pt x="181" y="46"/>
                  </a:cubicBezTo>
                  <a:cubicBezTo>
                    <a:pt x="181" y="46"/>
                    <a:pt x="181" y="46"/>
                    <a:pt x="181" y="46"/>
                  </a:cubicBezTo>
                  <a:cubicBezTo>
                    <a:pt x="181" y="61"/>
                    <a:pt x="182" y="75"/>
                    <a:pt x="182" y="90"/>
                  </a:cubicBezTo>
                  <a:cubicBezTo>
                    <a:pt x="182" y="90"/>
                    <a:pt x="182" y="90"/>
                    <a:pt x="182" y="90"/>
                  </a:cubicBezTo>
                  <a:cubicBezTo>
                    <a:pt x="182" y="90"/>
                    <a:pt x="182" y="91"/>
                    <a:pt x="182" y="92"/>
                  </a:cubicBezTo>
                  <a:cubicBezTo>
                    <a:pt x="182" y="92"/>
                    <a:pt x="182" y="92"/>
                    <a:pt x="182" y="91"/>
                  </a:cubicBezTo>
                  <a:cubicBezTo>
                    <a:pt x="181" y="95"/>
                    <a:pt x="182" y="101"/>
                    <a:pt x="182" y="103"/>
                  </a:cubicBezTo>
                  <a:cubicBezTo>
                    <a:pt x="182" y="104"/>
                    <a:pt x="182" y="104"/>
                    <a:pt x="182" y="104"/>
                  </a:cubicBezTo>
                  <a:cubicBezTo>
                    <a:pt x="182" y="115"/>
                    <a:pt x="182" y="128"/>
                    <a:pt x="183" y="140"/>
                  </a:cubicBezTo>
                  <a:cubicBezTo>
                    <a:pt x="183" y="141"/>
                    <a:pt x="183" y="141"/>
                    <a:pt x="182" y="141"/>
                  </a:cubicBezTo>
                  <a:cubicBezTo>
                    <a:pt x="183" y="151"/>
                    <a:pt x="183" y="162"/>
                    <a:pt x="183" y="172"/>
                  </a:cubicBezTo>
                  <a:cubicBezTo>
                    <a:pt x="183" y="173"/>
                    <a:pt x="183" y="171"/>
                    <a:pt x="183" y="172"/>
                  </a:cubicBezTo>
                  <a:cubicBezTo>
                    <a:pt x="183" y="169"/>
                    <a:pt x="183" y="166"/>
                    <a:pt x="183" y="163"/>
                  </a:cubicBezTo>
                  <a:cubicBezTo>
                    <a:pt x="183" y="163"/>
                    <a:pt x="183" y="163"/>
                    <a:pt x="183" y="163"/>
                  </a:cubicBezTo>
                  <a:cubicBezTo>
                    <a:pt x="183" y="161"/>
                    <a:pt x="183" y="163"/>
                    <a:pt x="183" y="161"/>
                  </a:cubicBezTo>
                  <a:cubicBezTo>
                    <a:pt x="183" y="160"/>
                    <a:pt x="183" y="161"/>
                    <a:pt x="183" y="160"/>
                  </a:cubicBezTo>
                  <a:cubicBezTo>
                    <a:pt x="183" y="156"/>
                    <a:pt x="183" y="151"/>
                    <a:pt x="183" y="146"/>
                  </a:cubicBezTo>
                  <a:cubicBezTo>
                    <a:pt x="183" y="145"/>
                    <a:pt x="183" y="141"/>
                    <a:pt x="183" y="139"/>
                  </a:cubicBezTo>
                  <a:cubicBezTo>
                    <a:pt x="183" y="138"/>
                    <a:pt x="183" y="137"/>
                    <a:pt x="183" y="136"/>
                  </a:cubicBezTo>
                  <a:cubicBezTo>
                    <a:pt x="183" y="120"/>
                    <a:pt x="183" y="103"/>
                    <a:pt x="183" y="86"/>
                  </a:cubicBezTo>
                  <a:cubicBezTo>
                    <a:pt x="182" y="78"/>
                    <a:pt x="183" y="68"/>
                    <a:pt x="183" y="59"/>
                  </a:cubicBezTo>
                  <a:cubicBezTo>
                    <a:pt x="183" y="59"/>
                    <a:pt x="183" y="59"/>
                    <a:pt x="183" y="59"/>
                  </a:cubicBezTo>
                  <a:cubicBezTo>
                    <a:pt x="182" y="56"/>
                    <a:pt x="182" y="51"/>
                    <a:pt x="182" y="48"/>
                  </a:cubicBezTo>
                  <a:cubicBezTo>
                    <a:pt x="182" y="44"/>
                    <a:pt x="182" y="44"/>
                    <a:pt x="182" y="44"/>
                  </a:cubicBezTo>
                  <a:cubicBezTo>
                    <a:pt x="182" y="37"/>
                    <a:pt x="182" y="30"/>
                    <a:pt x="183" y="23"/>
                  </a:cubicBezTo>
                  <a:cubicBezTo>
                    <a:pt x="183" y="16"/>
                    <a:pt x="183" y="8"/>
                    <a:pt x="183" y="1"/>
                  </a:cubicBezTo>
                  <a:cubicBezTo>
                    <a:pt x="178" y="1"/>
                    <a:pt x="174" y="1"/>
                    <a:pt x="169" y="1"/>
                  </a:cubicBezTo>
                  <a:cubicBezTo>
                    <a:pt x="165" y="1"/>
                    <a:pt x="161" y="1"/>
                    <a:pt x="157" y="1"/>
                  </a:cubicBezTo>
                  <a:cubicBezTo>
                    <a:pt x="131" y="1"/>
                    <a:pt x="109" y="0"/>
                    <a:pt x="84" y="1"/>
                  </a:cubicBezTo>
                  <a:cubicBezTo>
                    <a:pt x="84" y="1"/>
                    <a:pt x="84" y="1"/>
                    <a:pt x="85" y="1"/>
                  </a:cubicBezTo>
                  <a:cubicBezTo>
                    <a:pt x="77" y="1"/>
                    <a:pt x="71" y="1"/>
                    <a:pt x="64" y="1"/>
                  </a:cubicBezTo>
                  <a:cubicBezTo>
                    <a:pt x="64" y="1"/>
                    <a:pt x="64" y="1"/>
                    <a:pt x="64" y="1"/>
                  </a:cubicBezTo>
                  <a:cubicBezTo>
                    <a:pt x="47" y="2"/>
                    <a:pt x="29" y="1"/>
                    <a:pt x="13" y="2"/>
                  </a:cubicBezTo>
                  <a:cubicBezTo>
                    <a:pt x="9" y="2"/>
                    <a:pt x="5" y="2"/>
                    <a:pt x="1" y="2"/>
                  </a:cubicBezTo>
                  <a:cubicBezTo>
                    <a:pt x="1" y="10"/>
                    <a:pt x="1" y="18"/>
                    <a:pt x="1" y="27"/>
                  </a:cubicBezTo>
                  <a:cubicBezTo>
                    <a:pt x="1" y="36"/>
                    <a:pt x="1" y="44"/>
                    <a:pt x="1" y="53"/>
                  </a:cubicBezTo>
                  <a:cubicBezTo>
                    <a:pt x="1" y="53"/>
                    <a:pt x="1" y="53"/>
                    <a:pt x="1" y="53"/>
                  </a:cubicBezTo>
                  <a:cubicBezTo>
                    <a:pt x="1" y="69"/>
                    <a:pt x="0" y="86"/>
                    <a:pt x="1" y="102"/>
                  </a:cubicBezTo>
                  <a:cubicBezTo>
                    <a:pt x="0" y="119"/>
                    <a:pt x="2" y="137"/>
                    <a:pt x="1" y="155"/>
                  </a:cubicBezTo>
                  <a:cubicBezTo>
                    <a:pt x="1" y="159"/>
                    <a:pt x="1" y="163"/>
                    <a:pt x="1" y="168"/>
                  </a:cubicBezTo>
                  <a:cubicBezTo>
                    <a:pt x="1" y="171"/>
                    <a:pt x="1" y="173"/>
                    <a:pt x="1" y="175"/>
                  </a:cubicBezTo>
                  <a:cubicBezTo>
                    <a:pt x="1" y="176"/>
                    <a:pt x="1" y="178"/>
                    <a:pt x="1" y="179"/>
                  </a:cubicBezTo>
                  <a:cubicBezTo>
                    <a:pt x="1" y="180"/>
                    <a:pt x="1" y="181"/>
                    <a:pt x="2" y="182"/>
                  </a:cubicBezTo>
                  <a:cubicBezTo>
                    <a:pt x="2" y="182"/>
                    <a:pt x="3" y="182"/>
                    <a:pt x="3" y="182"/>
                  </a:cubicBezTo>
                  <a:cubicBezTo>
                    <a:pt x="4" y="182"/>
                    <a:pt x="4" y="182"/>
                    <a:pt x="5" y="182"/>
                  </a:cubicBezTo>
                  <a:cubicBezTo>
                    <a:pt x="6" y="182"/>
                    <a:pt x="7" y="182"/>
                    <a:pt x="8" y="182"/>
                  </a:cubicBezTo>
                  <a:cubicBezTo>
                    <a:pt x="29" y="183"/>
                    <a:pt x="49" y="183"/>
                    <a:pt x="70" y="182"/>
                  </a:cubicBezTo>
                  <a:cubicBezTo>
                    <a:pt x="89" y="182"/>
                    <a:pt x="108" y="181"/>
                    <a:pt x="126" y="182"/>
                  </a:cubicBezTo>
                  <a:cubicBezTo>
                    <a:pt x="135" y="181"/>
                    <a:pt x="144" y="183"/>
                    <a:pt x="154" y="183"/>
                  </a:cubicBezTo>
                  <a:cubicBezTo>
                    <a:pt x="154" y="182"/>
                    <a:pt x="154" y="182"/>
                    <a:pt x="154" y="182"/>
                  </a:cubicBezTo>
                  <a:cubicBezTo>
                    <a:pt x="157" y="183"/>
                    <a:pt x="162" y="182"/>
                    <a:pt x="164" y="182"/>
                  </a:cubicBezTo>
                  <a:cubicBezTo>
                    <a:pt x="163" y="183"/>
                    <a:pt x="163" y="183"/>
                    <a:pt x="163" y="183"/>
                  </a:cubicBezTo>
                  <a:cubicBezTo>
                    <a:pt x="165" y="183"/>
                    <a:pt x="168" y="181"/>
                    <a:pt x="169" y="182"/>
                  </a:cubicBezTo>
                  <a:cubicBezTo>
                    <a:pt x="169" y="182"/>
                    <a:pt x="169" y="182"/>
                    <a:pt x="169" y="182"/>
                  </a:cubicBezTo>
                  <a:cubicBezTo>
                    <a:pt x="171" y="182"/>
                    <a:pt x="169" y="182"/>
                    <a:pt x="171" y="182"/>
                  </a:cubicBezTo>
                  <a:cubicBezTo>
                    <a:pt x="172" y="182"/>
                    <a:pt x="171" y="182"/>
                    <a:pt x="173" y="182"/>
                  </a:cubicBezTo>
                  <a:cubicBezTo>
                    <a:pt x="173" y="183"/>
                    <a:pt x="178" y="182"/>
                    <a:pt x="178" y="183"/>
                  </a:cubicBezTo>
                  <a:cubicBezTo>
                    <a:pt x="177" y="183"/>
                    <a:pt x="180" y="183"/>
                    <a:pt x="177" y="183"/>
                  </a:cubicBezTo>
                  <a:cubicBezTo>
                    <a:pt x="178" y="183"/>
                    <a:pt x="182" y="183"/>
                    <a:pt x="182" y="183"/>
                  </a:cubicBezTo>
                  <a:cubicBezTo>
                    <a:pt x="182" y="182"/>
                    <a:pt x="183" y="182"/>
                    <a:pt x="181" y="182"/>
                  </a:cubicBezTo>
                  <a:cubicBezTo>
                    <a:pt x="181" y="182"/>
                    <a:pt x="181" y="182"/>
                    <a:pt x="181" y="182"/>
                  </a:cubicBezTo>
                  <a:cubicBezTo>
                    <a:pt x="180" y="182"/>
                    <a:pt x="180" y="182"/>
                    <a:pt x="180" y="182"/>
                  </a:cubicBezTo>
                  <a:cubicBezTo>
                    <a:pt x="177" y="181"/>
                    <a:pt x="176" y="181"/>
                    <a:pt x="174" y="181"/>
                  </a:cubicBezTo>
                  <a:cubicBezTo>
                    <a:pt x="174" y="181"/>
                    <a:pt x="174" y="181"/>
                    <a:pt x="174" y="181"/>
                  </a:cubicBezTo>
                  <a:cubicBezTo>
                    <a:pt x="173" y="181"/>
                    <a:pt x="171" y="181"/>
                    <a:pt x="170" y="181"/>
                  </a:cubicBezTo>
                  <a:cubicBezTo>
                    <a:pt x="169" y="181"/>
                    <a:pt x="169" y="181"/>
                    <a:pt x="169" y="181"/>
                  </a:cubicBezTo>
                  <a:cubicBezTo>
                    <a:pt x="169" y="180"/>
                    <a:pt x="166" y="182"/>
                    <a:pt x="167" y="181"/>
                  </a:cubicBezTo>
                  <a:cubicBezTo>
                    <a:pt x="161" y="181"/>
                    <a:pt x="154" y="181"/>
                    <a:pt x="147" y="181"/>
                  </a:cubicBezTo>
                  <a:cubicBezTo>
                    <a:pt x="146" y="181"/>
                    <a:pt x="142" y="181"/>
                    <a:pt x="143" y="181"/>
                  </a:cubicBezTo>
                  <a:cubicBezTo>
                    <a:pt x="142" y="181"/>
                    <a:pt x="137" y="181"/>
                    <a:pt x="135" y="181"/>
                  </a:cubicBezTo>
                  <a:cubicBezTo>
                    <a:pt x="135" y="181"/>
                    <a:pt x="135" y="181"/>
                    <a:pt x="135" y="181"/>
                  </a:cubicBezTo>
                  <a:cubicBezTo>
                    <a:pt x="132" y="180"/>
                    <a:pt x="131" y="181"/>
                    <a:pt x="128" y="180"/>
                  </a:cubicBezTo>
                  <a:cubicBezTo>
                    <a:pt x="127" y="181"/>
                    <a:pt x="121" y="180"/>
                    <a:pt x="119" y="181"/>
                  </a:cubicBezTo>
                  <a:cubicBezTo>
                    <a:pt x="119" y="181"/>
                    <a:pt x="119" y="181"/>
                    <a:pt x="119" y="181"/>
                  </a:cubicBezTo>
                  <a:cubicBezTo>
                    <a:pt x="113" y="181"/>
                    <a:pt x="106" y="180"/>
                    <a:pt x="101" y="180"/>
                  </a:cubicBezTo>
                  <a:cubicBezTo>
                    <a:pt x="97" y="181"/>
                    <a:pt x="90" y="180"/>
                    <a:pt x="87" y="181"/>
                  </a:cubicBezTo>
                  <a:cubicBezTo>
                    <a:pt x="83" y="181"/>
                    <a:pt x="78" y="180"/>
                    <a:pt x="74" y="181"/>
                  </a:cubicBezTo>
                  <a:cubicBezTo>
                    <a:pt x="74" y="181"/>
                    <a:pt x="74" y="181"/>
                    <a:pt x="74" y="181"/>
                  </a:cubicBezTo>
                  <a:cubicBezTo>
                    <a:pt x="69" y="181"/>
                    <a:pt x="63" y="181"/>
                    <a:pt x="60" y="181"/>
                  </a:cubicBezTo>
                  <a:cubicBezTo>
                    <a:pt x="58" y="180"/>
                    <a:pt x="56" y="181"/>
                    <a:pt x="54" y="180"/>
                  </a:cubicBezTo>
                  <a:cubicBezTo>
                    <a:pt x="51" y="181"/>
                    <a:pt x="44" y="181"/>
                    <a:pt x="39" y="181"/>
                  </a:cubicBezTo>
                  <a:cubicBezTo>
                    <a:pt x="38" y="181"/>
                    <a:pt x="35" y="181"/>
                    <a:pt x="35" y="181"/>
                  </a:cubicBezTo>
                  <a:cubicBezTo>
                    <a:pt x="30" y="181"/>
                    <a:pt x="24" y="181"/>
                    <a:pt x="18" y="181"/>
                  </a:cubicBezTo>
                  <a:cubicBezTo>
                    <a:pt x="16" y="181"/>
                    <a:pt x="13" y="181"/>
                    <a:pt x="10" y="181"/>
                  </a:cubicBezTo>
                  <a:cubicBezTo>
                    <a:pt x="6" y="181"/>
                    <a:pt x="6" y="181"/>
                    <a:pt x="6" y="181"/>
                  </a:cubicBezTo>
                  <a:cubicBezTo>
                    <a:pt x="3" y="181"/>
                    <a:pt x="3" y="181"/>
                    <a:pt x="3" y="181"/>
                  </a:cubicBezTo>
                  <a:cubicBezTo>
                    <a:pt x="3" y="181"/>
                    <a:pt x="3" y="181"/>
                    <a:pt x="3" y="181"/>
                  </a:cubicBezTo>
                  <a:cubicBezTo>
                    <a:pt x="3" y="181"/>
                    <a:pt x="3" y="181"/>
                    <a:pt x="3" y="181"/>
                  </a:cubicBezTo>
                  <a:cubicBezTo>
                    <a:pt x="3" y="181"/>
                    <a:pt x="3" y="181"/>
                    <a:pt x="3" y="181"/>
                  </a:cubicBezTo>
                  <a:cubicBezTo>
                    <a:pt x="2" y="181"/>
                    <a:pt x="2" y="181"/>
                    <a:pt x="2" y="181"/>
                  </a:cubicBezTo>
                  <a:cubicBezTo>
                    <a:pt x="3" y="177"/>
                    <a:pt x="3" y="173"/>
                    <a:pt x="3" y="169"/>
                  </a:cubicBezTo>
                  <a:cubicBezTo>
                    <a:pt x="3" y="169"/>
                    <a:pt x="3" y="169"/>
                    <a:pt x="3" y="169"/>
                  </a:cubicBezTo>
                  <a:cubicBezTo>
                    <a:pt x="3" y="167"/>
                    <a:pt x="2" y="165"/>
                    <a:pt x="2" y="163"/>
                  </a:cubicBezTo>
                  <a:cubicBezTo>
                    <a:pt x="2" y="163"/>
                    <a:pt x="2" y="163"/>
                    <a:pt x="2" y="163"/>
                  </a:cubicBezTo>
                  <a:cubicBezTo>
                    <a:pt x="2" y="160"/>
                    <a:pt x="2" y="158"/>
                    <a:pt x="2" y="155"/>
                  </a:cubicBezTo>
                  <a:cubicBezTo>
                    <a:pt x="2" y="155"/>
                    <a:pt x="2" y="155"/>
                    <a:pt x="2" y="155"/>
                  </a:cubicBezTo>
                  <a:cubicBezTo>
                    <a:pt x="2" y="153"/>
                    <a:pt x="3" y="150"/>
                    <a:pt x="2" y="147"/>
                  </a:cubicBezTo>
                  <a:cubicBezTo>
                    <a:pt x="3" y="147"/>
                    <a:pt x="3" y="147"/>
                    <a:pt x="3" y="147"/>
                  </a:cubicBezTo>
                  <a:cubicBezTo>
                    <a:pt x="2" y="145"/>
                    <a:pt x="2" y="145"/>
                    <a:pt x="2" y="145"/>
                  </a:cubicBezTo>
                  <a:cubicBezTo>
                    <a:pt x="3" y="145"/>
                    <a:pt x="3" y="145"/>
                    <a:pt x="3" y="146"/>
                  </a:cubicBezTo>
                  <a:cubicBezTo>
                    <a:pt x="3" y="122"/>
                    <a:pt x="2" y="98"/>
                    <a:pt x="2" y="74"/>
                  </a:cubicBezTo>
                  <a:cubicBezTo>
                    <a:pt x="2" y="75"/>
                    <a:pt x="2" y="75"/>
                    <a:pt x="2" y="75"/>
                  </a:cubicBezTo>
                  <a:cubicBezTo>
                    <a:pt x="2" y="70"/>
                    <a:pt x="2" y="70"/>
                    <a:pt x="2" y="70"/>
                  </a:cubicBezTo>
                  <a:cubicBezTo>
                    <a:pt x="2" y="70"/>
                    <a:pt x="2" y="70"/>
                    <a:pt x="2" y="70"/>
                  </a:cubicBezTo>
                  <a:cubicBezTo>
                    <a:pt x="2" y="64"/>
                    <a:pt x="2" y="58"/>
                    <a:pt x="2" y="52"/>
                  </a:cubicBezTo>
                  <a:cubicBezTo>
                    <a:pt x="2" y="52"/>
                    <a:pt x="2" y="53"/>
                    <a:pt x="2" y="52"/>
                  </a:cubicBezTo>
                  <a:cubicBezTo>
                    <a:pt x="2" y="48"/>
                    <a:pt x="3" y="45"/>
                    <a:pt x="2" y="43"/>
                  </a:cubicBezTo>
                  <a:cubicBezTo>
                    <a:pt x="2" y="43"/>
                    <a:pt x="2" y="43"/>
                    <a:pt x="2" y="43"/>
                  </a:cubicBezTo>
                  <a:cubicBezTo>
                    <a:pt x="2" y="31"/>
                    <a:pt x="2" y="19"/>
                    <a:pt x="2" y="7"/>
                  </a:cubicBezTo>
                  <a:cubicBezTo>
                    <a:pt x="2" y="5"/>
                    <a:pt x="2" y="4"/>
                    <a:pt x="2" y="2"/>
                  </a:cubicBezTo>
                  <a:cubicBezTo>
                    <a:pt x="3" y="2"/>
                    <a:pt x="3" y="2"/>
                    <a:pt x="3" y="2"/>
                  </a:cubicBezTo>
                  <a:cubicBezTo>
                    <a:pt x="5" y="2"/>
                    <a:pt x="5" y="2"/>
                    <a:pt x="5" y="2"/>
                  </a:cubicBezTo>
                  <a:cubicBezTo>
                    <a:pt x="6" y="2"/>
                    <a:pt x="7" y="2"/>
                    <a:pt x="8" y="2"/>
                  </a:cubicBezTo>
                  <a:cubicBezTo>
                    <a:pt x="10" y="2"/>
                    <a:pt x="12" y="2"/>
                    <a:pt x="15" y="2"/>
                  </a:cubicBezTo>
                  <a:cubicBezTo>
                    <a:pt x="19" y="2"/>
                    <a:pt x="24" y="2"/>
                    <a:pt x="28" y="2"/>
                  </a:cubicBezTo>
                  <a:cubicBezTo>
                    <a:pt x="28" y="2"/>
                    <a:pt x="28" y="2"/>
                    <a:pt x="28" y="2"/>
                  </a:cubicBezTo>
                  <a:cubicBezTo>
                    <a:pt x="42" y="2"/>
                    <a:pt x="56" y="2"/>
                    <a:pt x="70" y="2"/>
                  </a:cubicBezTo>
                  <a:cubicBezTo>
                    <a:pt x="76" y="2"/>
                    <a:pt x="80" y="2"/>
                    <a:pt x="86" y="2"/>
                  </a:cubicBezTo>
                  <a:cubicBezTo>
                    <a:pt x="86" y="2"/>
                    <a:pt x="86" y="2"/>
                    <a:pt x="86" y="2"/>
                  </a:cubicBezTo>
                  <a:cubicBezTo>
                    <a:pt x="96" y="1"/>
                    <a:pt x="107" y="3"/>
                    <a:pt x="117" y="2"/>
                  </a:cubicBezTo>
                  <a:cubicBezTo>
                    <a:pt x="117" y="2"/>
                    <a:pt x="117" y="2"/>
                    <a:pt x="117" y="2"/>
                  </a:cubicBezTo>
                  <a:cubicBezTo>
                    <a:pt x="118" y="2"/>
                    <a:pt x="123" y="2"/>
                    <a:pt x="122" y="2"/>
                  </a:cubicBezTo>
                  <a:cubicBezTo>
                    <a:pt x="124" y="2"/>
                    <a:pt x="124" y="2"/>
                    <a:pt x="124" y="2"/>
                  </a:cubicBezTo>
                  <a:cubicBezTo>
                    <a:pt x="131" y="1"/>
                    <a:pt x="137" y="2"/>
                    <a:pt x="145" y="2"/>
                  </a:cubicBezTo>
                  <a:cubicBezTo>
                    <a:pt x="145" y="2"/>
                    <a:pt x="145" y="2"/>
                    <a:pt x="145" y="2"/>
                  </a:cubicBezTo>
                  <a:cubicBezTo>
                    <a:pt x="147" y="2"/>
                    <a:pt x="150" y="2"/>
                    <a:pt x="152" y="2"/>
                  </a:cubicBezTo>
                  <a:cubicBezTo>
                    <a:pt x="151" y="2"/>
                    <a:pt x="151" y="2"/>
                    <a:pt x="151" y="2"/>
                  </a:cubicBezTo>
                  <a:cubicBezTo>
                    <a:pt x="158" y="3"/>
                    <a:pt x="166" y="2"/>
                    <a:pt x="174" y="2"/>
                  </a:cubicBezTo>
                  <a:cubicBezTo>
                    <a:pt x="173" y="2"/>
                    <a:pt x="173" y="2"/>
                    <a:pt x="173" y="2"/>
                  </a:cubicBezTo>
                  <a:cubicBezTo>
                    <a:pt x="174" y="2"/>
                    <a:pt x="175" y="2"/>
                    <a:pt x="177" y="2"/>
                  </a:cubicBezTo>
                  <a:cubicBezTo>
                    <a:pt x="178" y="2"/>
                    <a:pt x="180" y="2"/>
                    <a:pt x="181" y="2"/>
                  </a:cubicBezTo>
                  <a:cubicBezTo>
                    <a:pt x="181" y="3"/>
                    <a:pt x="181" y="4"/>
                    <a:pt x="181" y="5"/>
                  </a:cubicBezTo>
                  <a:cubicBezTo>
                    <a:pt x="181" y="6"/>
                    <a:pt x="181" y="7"/>
                    <a:pt x="181" y="8"/>
                  </a:cubicBezTo>
                  <a:cubicBezTo>
                    <a:pt x="181" y="8"/>
                    <a:pt x="181" y="8"/>
                    <a:pt x="181" y="8"/>
                  </a:cubicBezTo>
                  <a:cubicBezTo>
                    <a:pt x="181" y="10"/>
                    <a:pt x="181" y="10"/>
                    <a:pt x="181" y="10"/>
                  </a:cubicBezTo>
                  <a:cubicBezTo>
                    <a:pt x="181" y="10"/>
                    <a:pt x="181" y="10"/>
                    <a:pt x="181" y="10"/>
                  </a:cubicBezTo>
                  <a:cubicBezTo>
                    <a:pt x="181" y="16"/>
                    <a:pt x="181" y="22"/>
                    <a:pt x="181" y="28"/>
                  </a:cubicBezTo>
                  <a:close/>
                </a:path>
              </a:pathLst>
            </a:custGeom>
            <a:grpFill/>
            <a:ln w="317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0" name="Freeform 12">
              <a:extLst>
                <a:ext uri="{FF2B5EF4-FFF2-40B4-BE49-F238E27FC236}">
                  <a16:creationId xmlns:a16="http://schemas.microsoft.com/office/drawing/2014/main" id="{30D6DF31-1311-41E3-8586-E82B47834F9E}"/>
                </a:ext>
              </a:extLst>
            </p:cNvPr>
            <p:cNvSpPr>
              <a:spLocks/>
            </p:cNvSpPr>
            <p:nvPr/>
          </p:nvSpPr>
          <p:spPr bwMode="auto">
            <a:xfrm>
              <a:off x="1022350" y="167640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13">
              <a:extLst>
                <a:ext uri="{FF2B5EF4-FFF2-40B4-BE49-F238E27FC236}">
                  <a16:creationId xmlns:a16="http://schemas.microsoft.com/office/drawing/2014/main" id="{FEDCCFE7-FAAC-48C0-BFDF-B33F14D580B0}"/>
                </a:ext>
              </a:extLst>
            </p:cNvPr>
            <p:cNvSpPr>
              <a:spLocks/>
            </p:cNvSpPr>
            <p:nvPr/>
          </p:nvSpPr>
          <p:spPr bwMode="auto">
            <a:xfrm>
              <a:off x="984250" y="210185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14">
              <a:extLst>
                <a:ext uri="{FF2B5EF4-FFF2-40B4-BE49-F238E27FC236}">
                  <a16:creationId xmlns:a16="http://schemas.microsoft.com/office/drawing/2014/main" id="{A44EC4E4-6B35-4401-B422-DFE07D70922D}"/>
                </a:ext>
              </a:extLst>
            </p:cNvPr>
            <p:cNvSpPr>
              <a:spLocks/>
            </p:cNvSpPr>
            <p:nvPr/>
          </p:nvSpPr>
          <p:spPr bwMode="auto">
            <a:xfrm>
              <a:off x="1169988" y="2003426"/>
              <a:ext cx="4763" cy="4763"/>
            </a:xfrm>
            <a:custGeom>
              <a:avLst/>
              <a:gdLst>
                <a:gd name="T0" fmla="*/ 3 w 3"/>
                <a:gd name="T1" fmla="*/ 3 h 3"/>
                <a:gd name="T2" fmla="*/ 3 w 3"/>
                <a:gd name="T3" fmla="*/ 3 h 3"/>
                <a:gd name="T4" fmla="*/ 0 w 3"/>
                <a:gd name="T5" fmla="*/ 0 h 3"/>
                <a:gd name="T6" fmla="*/ 3 w 3"/>
                <a:gd name="T7" fmla="*/ 3 h 3"/>
              </a:gdLst>
              <a:ahLst/>
              <a:cxnLst>
                <a:cxn ang="0">
                  <a:pos x="T0" y="T1"/>
                </a:cxn>
                <a:cxn ang="0">
                  <a:pos x="T2" y="T3"/>
                </a:cxn>
                <a:cxn ang="0">
                  <a:pos x="T4" y="T5"/>
                </a:cxn>
                <a:cxn ang="0">
                  <a:pos x="T6" y="T7"/>
                </a:cxn>
              </a:cxnLst>
              <a:rect l="0" t="0" r="r" b="b"/>
              <a:pathLst>
                <a:path w="3" h="3">
                  <a:moveTo>
                    <a:pt x="3" y="3"/>
                  </a:moveTo>
                  <a:lnTo>
                    <a:pt x="3" y="3"/>
                  </a:lnTo>
                  <a:lnTo>
                    <a:pt x="0" y="0"/>
                  </a:lnTo>
                  <a:lnTo>
                    <a:pt x="3" y="3"/>
                  </a:ln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15">
              <a:extLst>
                <a:ext uri="{FF2B5EF4-FFF2-40B4-BE49-F238E27FC236}">
                  <a16:creationId xmlns:a16="http://schemas.microsoft.com/office/drawing/2014/main" id="{CEBAFC32-9B9B-4083-A8AE-3E51A3CE63B4}"/>
                </a:ext>
              </a:extLst>
            </p:cNvPr>
            <p:cNvSpPr>
              <a:spLocks/>
            </p:cNvSpPr>
            <p:nvPr/>
          </p:nvSpPr>
          <p:spPr bwMode="auto">
            <a:xfrm>
              <a:off x="1160463" y="1974851"/>
              <a:ext cx="19050" cy="23813"/>
            </a:xfrm>
            <a:custGeom>
              <a:avLst/>
              <a:gdLst>
                <a:gd name="T0" fmla="*/ 1 w 4"/>
                <a:gd name="T1" fmla="*/ 0 h 5"/>
                <a:gd name="T2" fmla="*/ 1 w 4"/>
                <a:gd name="T3" fmla="*/ 0 h 5"/>
                <a:gd name="T4" fmla="*/ 3 w 4"/>
                <a:gd name="T5" fmla="*/ 5 h 5"/>
                <a:gd name="T6" fmla="*/ 1 w 4"/>
                <a:gd name="T7" fmla="*/ 0 h 5"/>
              </a:gdLst>
              <a:ahLst/>
              <a:cxnLst>
                <a:cxn ang="0">
                  <a:pos x="T0" y="T1"/>
                </a:cxn>
                <a:cxn ang="0">
                  <a:pos x="T2" y="T3"/>
                </a:cxn>
                <a:cxn ang="0">
                  <a:pos x="T4" y="T5"/>
                </a:cxn>
                <a:cxn ang="0">
                  <a:pos x="T6" y="T7"/>
                </a:cxn>
              </a:cxnLst>
              <a:rect l="0" t="0" r="r" b="b"/>
              <a:pathLst>
                <a:path w="4" h="5">
                  <a:moveTo>
                    <a:pt x="1" y="0"/>
                  </a:moveTo>
                  <a:cubicBezTo>
                    <a:pt x="1" y="0"/>
                    <a:pt x="1" y="0"/>
                    <a:pt x="1" y="0"/>
                  </a:cubicBezTo>
                  <a:cubicBezTo>
                    <a:pt x="3" y="5"/>
                    <a:pt x="3" y="5"/>
                    <a:pt x="3" y="5"/>
                  </a:cubicBezTo>
                  <a:cubicBezTo>
                    <a:pt x="4" y="3"/>
                    <a:pt x="0" y="1"/>
                    <a:pt x="1" y="0"/>
                  </a:cubicBez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16">
              <a:extLst>
                <a:ext uri="{FF2B5EF4-FFF2-40B4-BE49-F238E27FC236}">
                  <a16:creationId xmlns:a16="http://schemas.microsoft.com/office/drawing/2014/main" id="{FD24CBC9-8B41-41FC-B510-0309CE071F19}"/>
                </a:ext>
              </a:extLst>
            </p:cNvPr>
            <p:cNvSpPr>
              <a:spLocks/>
            </p:cNvSpPr>
            <p:nvPr/>
          </p:nvSpPr>
          <p:spPr bwMode="auto">
            <a:xfrm>
              <a:off x="1160463" y="1955801"/>
              <a:ext cx="9525" cy="14288"/>
            </a:xfrm>
            <a:custGeom>
              <a:avLst/>
              <a:gdLst>
                <a:gd name="T0" fmla="*/ 1 w 2"/>
                <a:gd name="T1" fmla="*/ 3 h 3"/>
                <a:gd name="T2" fmla="*/ 1 w 2"/>
                <a:gd name="T3" fmla="*/ 0 h 3"/>
                <a:gd name="T4" fmla="*/ 1 w 2"/>
                <a:gd name="T5" fmla="*/ 3 h 3"/>
              </a:gdLst>
              <a:ahLst/>
              <a:cxnLst>
                <a:cxn ang="0">
                  <a:pos x="T0" y="T1"/>
                </a:cxn>
                <a:cxn ang="0">
                  <a:pos x="T2" y="T3"/>
                </a:cxn>
                <a:cxn ang="0">
                  <a:pos x="T4" y="T5"/>
                </a:cxn>
              </a:cxnLst>
              <a:rect l="0" t="0" r="r" b="b"/>
              <a:pathLst>
                <a:path w="2" h="3">
                  <a:moveTo>
                    <a:pt x="1" y="3"/>
                  </a:moveTo>
                  <a:cubicBezTo>
                    <a:pt x="2" y="1"/>
                    <a:pt x="1" y="0"/>
                    <a:pt x="1" y="0"/>
                  </a:cubicBezTo>
                  <a:cubicBezTo>
                    <a:pt x="1" y="0"/>
                    <a:pt x="0" y="3"/>
                    <a:pt x="1" y="3"/>
                  </a:cubicBez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17">
              <a:extLst>
                <a:ext uri="{FF2B5EF4-FFF2-40B4-BE49-F238E27FC236}">
                  <a16:creationId xmlns:a16="http://schemas.microsoft.com/office/drawing/2014/main" id="{47896340-FC71-4D57-AFFE-CF9C4FF03DCC}"/>
                </a:ext>
              </a:extLst>
            </p:cNvPr>
            <p:cNvSpPr>
              <a:spLocks/>
            </p:cNvSpPr>
            <p:nvPr/>
          </p:nvSpPr>
          <p:spPr bwMode="auto">
            <a:xfrm>
              <a:off x="1165225" y="126365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18">
              <a:extLst>
                <a:ext uri="{FF2B5EF4-FFF2-40B4-BE49-F238E27FC236}">
                  <a16:creationId xmlns:a16="http://schemas.microsoft.com/office/drawing/2014/main" id="{9F4A6708-DDBC-407C-949E-362A49129826}"/>
                </a:ext>
              </a:extLst>
            </p:cNvPr>
            <p:cNvSpPr>
              <a:spLocks/>
            </p:cNvSpPr>
            <p:nvPr/>
          </p:nvSpPr>
          <p:spPr bwMode="auto">
            <a:xfrm>
              <a:off x="4763" y="1112838"/>
              <a:ext cx="1169988" cy="1165225"/>
            </a:xfrm>
            <a:custGeom>
              <a:avLst/>
              <a:gdLst>
                <a:gd name="T0" fmla="*/ 225 w 247"/>
                <a:gd name="T1" fmla="*/ 6 h 246"/>
                <a:gd name="T2" fmla="*/ 237 w 247"/>
                <a:gd name="T3" fmla="*/ 16 h 246"/>
                <a:gd name="T4" fmla="*/ 243 w 247"/>
                <a:gd name="T5" fmla="*/ 72 h 246"/>
                <a:gd name="T6" fmla="*/ 243 w 247"/>
                <a:gd name="T7" fmla="*/ 73 h 246"/>
                <a:gd name="T8" fmla="*/ 245 w 247"/>
                <a:gd name="T9" fmla="*/ 136 h 246"/>
                <a:gd name="T10" fmla="*/ 246 w 247"/>
                <a:gd name="T11" fmla="*/ 177 h 246"/>
                <a:gd name="T12" fmla="*/ 246 w 247"/>
                <a:gd name="T13" fmla="*/ 162 h 246"/>
                <a:gd name="T14" fmla="*/ 246 w 247"/>
                <a:gd name="T15" fmla="*/ 135 h 246"/>
                <a:gd name="T16" fmla="*/ 244 w 247"/>
                <a:gd name="T17" fmla="*/ 50 h 246"/>
                <a:gd name="T18" fmla="*/ 241 w 247"/>
                <a:gd name="T19" fmla="*/ 17 h 246"/>
                <a:gd name="T20" fmla="*/ 238 w 247"/>
                <a:gd name="T21" fmla="*/ 14 h 246"/>
                <a:gd name="T22" fmla="*/ 209 w 247"/>
                <a:gd name="T23" fmla="*/ 2 h 246"/>
                <a:gd name="T24" fmla="*/ 62 w 247"/>
                <a:gd name="T25" fmla="*/ 3 h 246"/>
                <a:gd name="T26" fmla="*/ 36 w 247"/>
                <a:gd name="T27" fmla="*/ 2 h 246"/>
                <a:gd name="T28" fmla="*/ 20 w 247"/>
                <a:gd name="T29" fmla="*/ 3 h 246"/>
                <a:gd name="T30" fmla="*/ 2 w 247"/>
                <a:gd name="T31" fmla="*/ 21 h 246"/>
                <a:gd name="T32" fmla="*/ 2 w 247"/>
                <a:gd name="T33" fmla="*/ 64 h 246"/>
                <a:gd name="T34" fmla="*/ 2 w 247"/>
                <a:gd name="T35" fmla="*/ 125 h 246"/>
                <a:gd name="T36" fmla="*/ 2 w 247"/>
                <a:gd name="T37" fmla="*/ 222 h 246"/>
                <a:gd name="T38" fmla="*/ 15 w 247"/>
                <a:gd name="T39" fmla="*/ 242 h 246"/>
                <a:gd name="T40" fmla="*/ 46 w 247"/>
                <a:gd name="T41" fmla="*/ 243 h 246"/>
                <a:gd name="T42" fmla="*/ 218 w 247"/>
                <a:gd name="T43" fmla="*/ 243 h 246"/>
                <a:gd name="T44" fmla="*/ 241 w 247"/>
                <a:gd name="T45" fmla="*/ 234 h 246"/>
                <a:gd name="T46" fmla="*/ 243 w 247"/>
                <a:gd name="T47" fmla="*/ 218 h 246"/>
                <a:gd name="T48" fmla="*/ 242 w 247"/>
                <a:gd name="T49" fmla="*/ 206 h 246"/>
                <a:gd name="T50" fmla="*/ 241 w 247"/>
                <a:gd name="T51" fmla="*/ 201 h 246"/>
                <a:gd name="T52" fmla="*/ 244 w 247"/>
                <a:gd name="T53" fmla="*/ 189 h 246"/>
                <a:gd name="T54" fmla="*/ 241 w 247"/>
                <a:gd name="T55" fmla="*/ 192 h 246"/>
                <a:gd name="T56" fmla="*/ 239 w 247"/>
                <a:gd name="T57" fmla="*/ 205 h 246"/>
                <a:gd name="T58" fmla="*/ 240 w 247"/>
                <a:gd name="T59" fmla="*/ 220 h 246"/>
                <a:gd name="T60" fmla="*/ 236 w 247"/>
                <a:gd name="T61" fmla="*/ 236 h 246"/>
                <a:gd name="T62" fmla="*/ 228 w 247"/>
                <a:gd name="T63" fmla="*/ 239 h 246"/>
                <a:gd name="T64" fmla="*/ 219 w 247"/>
                <a:gd name="T65" fmla="*/ 239 h 246"/>
                <a:gd name="T66" fmla="*/ 186 w 247"/>
                <a:gd name="T67" fmla="*/ 239 h 246"/>
                <a:gd name="T68" fmla="*/ 152 w 247"/>
                <a:gd name="T69" fmla="*/ 239 h 246"/>
                <a:gd name="T70" fmla="*/ 106 w 247"/>
                <a:gd name="T71" fmla="*/ 240 h 246"/>
                <a:gd name="T72" fmla="*/ 41 w 247"/>
                <a:gd name="T73" fmla="*/ 239 h 246"/>
                <a:gd name="T74" fmla="*/ 24 w 247"/>
                <a:gd name="T75" fmla="*/ 241 h 246"/>
                <a:gd name="T76" fmla="*/ 20 w 247"/>
                <a:gd name="T77" fmla="*/ 240 h 246"/>
                <a:gd name="T78" fmla="*/ 14 w 247"/>
                <a:gd name="T79" fmla="*/ 238 h 246"/>
                <a:gd name="T80" fmla="*/ 13 w 247"/>
                <a:gd name="T81" fmla="*/ 238 h 246"/>
                <a:gd name="T82" fmla="*/ 6 w 247"/>
                <a:gd name="T83" fmla="*/ 221 h 246"/>
                <a:gd name="T84" fmla="*/ 5 w 247"/>
                <a:gd name="T85" fmla="*/ 152 h 246"/>
                <a:gd name="T86" fmla="*/ 5 w 247"/>
                <a:gd name="T87" fmla="*/ 147 h 246"/>
                <a:gd name="T88" fmla="*/ 4 w 247"/>
                <a:gd name="T89" fmla="*/ 113 h 246"/>
                <a:gd name="T90" fmla="*/ 4 w 247"/>
                <a:gd name="T91" fmla="*/ 56 h 246"/>
                <a:gd name="T92" fmla="*/ 3 w 247"/>
                <a:gd name="T93" fmla="*/ 26 h 246"/>
                <a:gd name="T94" fmla="*/ 17 w 247"/>
                <a:gd name="T95" fmla="*/ 6 h 246"/>
                <a:gd name="T96" fmla="*/ 44 w 247"/>
                <a:gd name="T97" fmla="*/ 5 h 246"/>
                <a:gd name="T98" fmla="*/ 104 w 247"/>
                <a:gd name="T99" fmla="*/ 5 h 246"/>
                <a:gd name="T100" fmla="*/ 113 w 247"/>
                <a:gd name="T101" fmla="*/ 5 h 246"/>
                <a:gd name="T102" fmla="*/ 148 w 247"/>
                <a:gd name="T103" fmla="*/ 5 h 246"/>
                <a:gd name="T104" fmla="*/ 175 w 247"/>
                <a:gd name="T105" fmla="*/ 6 h 246"/>
                <a:gd name="T106" fmla="*/ 197 w 247"/>
                <a:gd name="T107" fmla="*/ 5 h 246"/>
                <a:gd name="T108" fmla="*/ 220 w 247"/>
                <a:gd name="T109" fmla="*/ 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7" h="246">
                  <a:moveTo>
                    <a:pt x="220" y="5"/>
                  </a:moveTo>
                  <a:cubicBezTo>
                    <a:pt x="220" y="6"/>
                    <a:pt x="220" y="6"/>
                    <a:pt x="220" y="6"/>
                  </a:cubicBezTo>
                  <a:cubicBezTo>
                    <a:pt x="221" y="6"/>
                    <a:pt x="223" y="6"/>
                    <a:pt x="225" y="6"/>
                  </a:cubicBezTo>
                  <a:cubicBezTo>
                    <a:pt x="227" y="7"/>
                    <a:pt x="229" y="7"/>
                    <a:pt x="230" y="8"/>
                  </a:cubicBezTo>
                  <a:cubicBezTo>
                    <a:pt x="234" y="10"/>
                    <a:pt x="236" y="13"/>
                    <a:pt x="238" y="16"/>
                  </a:cubicBezTo>
                  <a:cubicBezTo>
                    <a:pt x="237" y="16"/>
                    <a:pt x="237" y="16"/>
                    <a:pt x="237" y="16"/>
                  </a:cubicBezTo>
                  <a:cubicBezTo>
                    <a:pt x="239" y="20"/>
                    <a:pt x="240" y="25"/>
                    <a:pt x="241" y="30"/>
                  </a:cubicBezTo>
                  <a:cubicBezTo>
                    <a:pt x="241" y="34"/>
                    <a:pt x="242" y="39"/>
                    <a:pt x="242" y="43"/>
                  </a:cubicBezTo>
                  <a:cubicBezTo>
                    <a:pt x="242" y="53"/>
                    <a:pt x="242" y="62"/>
                    <a:pt x="243" y="72"/>
                  </a:cubicBezTo>
                  <a:cubicBezTo>
                    <a:pt x="243" y="71"/>
                    <a:pt x="242" y="71"/>
                    <a:pt x="242" y="71"/>
                  </a:cubicBezTo>
                  <a:cubicBezTo>
                    <a:pt x="243" y="72"/>
                    <a:pt x="243" y="73"/>
                    <a:pt x="243" y="74"/>
                  </a:cubicBezTo>
                  <a:cubicBezTo>
                    <a:pt x="243" y="74"/>
                    <a:pt x="243" y="74"/>
                    <a:pt x="243" y="73"/>
                  </a:cubicBezTo>
                  <a:cubicBezTo>
                    <a:pt x="241" y="78"/>
                    <a:pt x="243" y="85"/>
                    <a:pt x="242" y="88"/>
                  </a:cubicBezTo>
                  <a:cubicBezTo>
                    <a:pt x="243" y="89"/>
                    <a:pt x="243" y="90"/>
                    <a:pt x="243" y="89"/>
                  </a:cubicBezTo>
                  <a:cubicBezTo>
                    <a:pt x="244" y="104"/>
                    <a:pt x="244" y="120"/>
                    <a:pt x="245" y="136"/>
                  </a:cubicBezTo>
                  <a:cubicBezTo>
                    <a:pt x="245" y="136"/>
                    <a:pt x="244" y="136"/>
                    <a:pt x="244" y="136"/>
                  </a:cubicBezTo>
                  <a:cubicBezTo>
                    <a:pt x="246" y="149"/>
                    <a:pt x="245" y="163"/>
                    <a:pt x="245" y="177"/>
                  </a:cubicBezTo>
                  <a:cubicBezTo>
                    <a:pt x="245" y="177"/>
                    <a:pt x="245" y="175"/>
                    <a:pt x="246" y="177"/>
                  </a:cubicBezTo>
                  <a:cubicBezTo>
                    <a:pt x="247" y="172"/>
                    <a:pt x="245" y="169"/>
                    <a:pt x="246" y="165"/>
                  </a:cubicBezTo>
                  <a:cubicBezTo>
                    <a:pt x="246" y="165"/>
                    <a:pt x="246" y="165"/>
                    <a:pt x="246" y="165"/>
                  </a:cubicBezTo>
                  <a:cubicBezTo>
                    <a:pt x="247" y="162"/>
                    <a:pt x="245" y="165"/>
                    <a:pt x="246" y="162"/>
                  </a:cubicBezTo>
                  <a:cubicBezTo>
                    <a:pt x="246" y="161"/>
                    <a:pt x="246" y="162"/>
                    <a:pt x="246" y="161"/>
                  </a:cubicBezTo>
                  <a:cubicBezTo>
                    <a:pt x="246" y="155"/>
                    <a:pt x="246" y="149"/>
                    <a:pt x="245" y="143"/>
                  </a:cubicBezTo>
                  <a:cubicBezTo>
                    <a:pt x="246" y="142"/>
                    <a:pt x="245" y="137"/>
                    <a:pt x="246" y="135"/>
                  </a:cubicBezTo>
                  <a:cubicBezTo>
                    <a:pt x="246" y="133"/>
                    <a:pt x="246" y="131"/>
                    <a:pt x="245" y="131"/>
                  </a:cubicBezTo>
                  <a:cubicBezTo>
                    <a:pt x="246" y="110"/>
                    <a:pt x="245" y="88"/>
                    <a:pt x="245" y="66"/>
                  </a:cubicBezTo>
                  <a:cubicBezTo>
                    <a:pt x="244" y="61"/>
                    <a:pt x="244" y="56"/>
                    <a:pt x="244" y="50"/>
                  </a:cubicBezTo>
                  <a:cubicBezTo>
                    <a:pt x="245" y="44"/>
                    <a:pt x="245" y="38"/>
                    <a:pt x="244" y="32"/>
                  </a:cubicBezTo>
                  <a:cubicBezTo>
                    <a:pt x="244" y="32"/>
                    <a:pt x="245" y="32"/>
                    <a:pt x="245" y="32"/>
                  </a:cubicBezTo>
                  <a:cubicBezTo>
                    <a:pt x="244" y="28"/>
                    <a:pt x="243" y="22"/>
                    <a:pt x="241" y="17"/>
                  </a:cubicBezTo>
                  <a:cubicBezTo>
                    <a:pt x="241" y="17"/>
                    <a:pt x="241" y="16"/>
                    <a:pt x="240" y="15"/>
                  </a:cubicBezTo>
                  <a:cubicBezTo>
                    <a:pt x="240" y="15"/>
                    <a:pt x="239" y="14"/>
                    <a:pt x="239" y="14"/>
                  </a:cubicBezTo>
                  <a:cubicBezTo>
                    <a:pt x="239" y="14"/>
                    <a:pt x="238" y="14"/>
                    <a:pt x="238" y="14"/>
                  </a:cubicBezTo>
                  <a:cubicBezTo>
                    <a:pt x="237" y="10"/>
                    <a:pt x="234" y="7"/>
                    <a:pt x="230" y="6"/>
                  </a:cubicBezTo>
                  <a:cubicBezTo>
                    <a:pt x="227" y="4"/>
                    <a:pt x="223" y="3"/>
                    <a:pt x="219" y="3"/>
                  </a:cubicBezTo>
                  <a:cubicBezTo>
                    <a:pt x="216" y="2"/>
                    <a:pt x="212" y="2"/>
                    <a:pt x="209" y="2"/>
                  </a:cubicBezTo>
                  <a:cubicBezTo>
                    <a:pt x="205" y="2"/>
                    <a:pt x="201" y="2"/>
                    <a:pt x="198" y="2"/>
                  </a:cubicBezTo>
                  <a:cubicBezTo>
                    <a:pt x="183" y="2"/>
                    <a:pt x="169" y="2"/>
                    <a:pt x="155" y="2"/>
                  </a:cubicBezTo>
                  <a:cubicBezTo>
                    <a:pt x="122" y="1"/>
                    <a:pt x="93" y="0"/>
                    <a:pt x="62" y="3"/>
                  </a:cubicBezTo>
                  <a:cubicBezTo>
                    <a:pt x="62" y="3"/>
                    <a:pt x="62" y="2"/>
                    <a:pt x="62" y="2"/>
                  </a:cubicBezTo>
                  <a:cubicBezTo>
                    <a:pt x="53" y="3"/>
                    <a:pt x="45" y="2"/>
                    <a:pt x="36" y="2"/>
                  </a:cubicBezTo>
                  <a:cubicBezTo>
                    <a:pt x="36" y="2"/>
                    <a:pt x="36" y="2"/>
                    <a:pt x="36" y="2"/>
                  </a:cubicBezTo>
                  <a:cubicBezTo>
                    <a:pt x="34" y="2"/>
                    <a:pt x="31" y="3"/>
                    <a:pt x="28" y="3"/>
                  </a:cubicBezTo>
                  <a:cubicBezTo>
                    <a:pt x="27" y="3"/>
                    <a:pt x="25" y="3"/>
                    <a:pt x="24" y="3"/>
                  </a:cubicBezTo>
                  <a:cubicBezTo>
                    <a:pt x="22" y="3"/>
                    <a:pt x="21" y="3"/>
                    <a:pt x="20" y="3"/>
                  </a:cubicBezTo>
                  <a:cubicBezTo>
                    <a:pt x="17" y="4"/>
                    <a:pt x="14" y="5"/>
                    <a:pt x="11" y="6"/>
                  </a:cubicBezTo>
                  <a:cubicBezTo>
                    <a:pt x="9" y="8"/>
                    <a:pt x="6" y="10"/>
                    <a:pt x="5" y="12"/>
                  </a:cubicBezTo>
                  <a:cubicBezTo>
                    <a:pt x="3" y="15"/>
                    <a:pt x="2" y="18"/>
                    <a:pt x="2" y="21"/>
                  </a:cubicBezTo>
                  <a:cubicBezTo>
                    <a:pt x="1" y="23"/>
                    <a:pt x="1" y="26"/>
                    <a:pt x="1" y="29"/>
                  </a:cubicBezTo>
                  <a:cubicBezTo>
                    <a:pt x="0" y="34"/>
                    <a:pt x="1" y="40"/>
                    <a:pt x="1" y="45"/>
                  </a:cubicBezTo>
                  <a:cubicBezTo>
                    <a:pt x="2" y="51"/>
                    <a:pt x="2" y="58"/>
                    <a:pt x="2" y="64"/>
                  </a:cubicBezTo>
                  <a:cubicBezTo>
                    <a:pt x="2" y="71"/>
                    <a:pt x="2" y="78"/>
                    <a:pt x="2" y="84"/>
                  </a:cubicBezTo>
                  <a:cubicBezTo>
                    <a:pt x="2" y="98"/>
                    <a:pt x="2" y="112"/>
                    <a:pt x="2" y="125"/>
                  </a:cubicBezTo>
                  <a:cubicBezTo>
                    <a:pt x="2" y="125"/>
                    <a:pt x="2" y="125"/>
                    <a:pt x="2" y="125"/>
                  </a:cubicBezTo>
                  <a:cubicBezTo>
                    <a:pt x="3" y="146"/>
                    <a:pt x="0" y="167"/>
                    <a:pt x="1" y="188"/>
                  </a:cubicBezTo>
                  <a:cubicBezTo>
                    <a:pt x="1" y="194"/>
                    <a:pt x="1" y="199"/>
                    <a:pt x="1" y="205"/>
                  </a:cubicBezTo>
                  <a:cubicBezTo>
                    <a:pt x="1" y="210"/>
                    <a:pt x="1" y="216"/>
                    <a:pt x="2" y="222"/>
                  </a:cubicBezTo>
                  <a:cubicBezTo>
                    <a:pt x="2" y="224"/>
                    <a:pt x="3" y="227"/>
                    <a:pt x="4" y="230"/>
                  </a:cubicBezTo>
                  <a:cubicBezTo>
                    <a:pt x="5" y="233"/>
                    <a:pt x="6" y="235"/>
                    <a:pt x="8" y="237"/>
                  </a:cubicBezTo>
                  <a:cubicBezTo>
                    <a:pt x="10" y="239"/>
                    <a:pt x="12" y="241"/>
                    <a:pt x="15" y="242"/>
                  </a:cubicBezTo>
                  <a:cubicBezTo>
                    <a:pt x="18" y="242"/>
                    <a:pt x="20" y="243"/>
                    <a:pt x="23" y="243"/>
                  </a:cubicBezTo>
                  <a:cubicBezTo>
                    <a:pt x="27" y="244"/>
                    <a:pt x="30" y="244"/>
                    <a:pt x="34" y="244"/>
                  </a:cubicBezTo>
                  <a:cubicBezTo>
                    <a:pt x="38" y="244"/>
                    <a:pt x="42" y="244"/>
                    <a:pt x="46" y="243"/>
                  </a:cubicBezTo>
                  <a:cubicBezTo>
                    <a:pt x="53" y="243"/>
                    <a:pt x="61" y="242"/>
                    <a:pt x="67" y="243"/>
                  </a:cubicBezTo>
                  <a:cubicBezTo>
                    <a:pt x="94" y="246"/>
                    <a:pt x="119" y="244"/>
                    <a:pt x="146" y="242"/>
                  </a:cubicBezTo>
                  <a:cubicBezTo>
                    <a:pt x="170" y="244"/>
                    <a:pt x="194" y="241"/>
                    <a:pt x="218" y="243"/>
                  </a:cubicBezTo>
                  <a:cubicBezTo>
                    <a:pt x="220" y="243"/>
                    <a:pt x="223" y="243"/>
                    <a:pt x="226" y="242"/>
                  </a:cubicBezTo>
                  <a:cubicBezTo>
                    <a:pt x="229" y="242"/>
                    <a:pt x="232" y="241"/>
                    <a:pt x="235" y="240"/>
                  </a:cubicBezTo>
                  <a:cubicBezTo>
                    <a:pt x="237" y="239"/>
                    <a:pt x="240" y="236"/>
                    <a:pt x="241" y="234"/>
                  </a:cubicBezTo>
                  <a:cubicBezTo>
                    <a:pt x="243" y="231"/>
                    <a:pt x="243" y="228"/>
                    <a:pt x="244" y="224"/>
                  </a:cubicBezTo>
                  <a:cubicBezTo>
                    <a:pt x="243" y="225"/>
                    <a:pt x="243" y="225"/>
                    <a:pt x="243" y="225"/>
                  </a:cubicBezTo>
                  <a:cubicBezTo>
                    <a:pt x="244" y="223"/>
                    <a:pt x="244" y="220"/>
                    <a:pt x="243" y="218"/>
                  </a:cubicBezTo>
                  <a:cubicBezTo>
                    <a:pt x="243" y="216"/>
                    <a:pt x="242" y="214"/>
                    <a:pt x="244" y="212"/>
                  </a:cubicBezTo>
                  <a:cubicBezTo>
                    <a:pt x="244" y="213"/>
                    <a:pt x="244" y="213"/>
                    <a:pt x="244" y="213"/>
                  </a:cubicBezTo>
                  <a:cubicBezTo>
                    <a:pt x="245" y="210"/>
                    <a:pt x="241" y="207"/>
                    <a:pt x="242" y="206"/>
                  </a:cubicBezTo>
                  <a:cubicBezTo>
                    <a:pt x="241" y="205"/>
                    <a:pt x="241" y="205"/>
                    <a:pt x="241" y="205"/>
                  </a:cubicBezTo>
                  <a:cubicBezTo>
                    <a:pt x="241" y="203"/>
                    <a:pt x="242" y="205"/>
                    <a:pt x="242" y="203"/>
                  </a:cubicBezTo>
                  <a:cubicBezTo>
                    <a:pt x="242" y="202"/>
                    <a:pt x="241" y="203"/>
                    <a:pt x="241" y="201"/>
                  </a:cubicBezTo>
                  <a:cubicBezTo>
                    <a:pt x="244" y="200"/>
                    <a:pt x="241" y="194"/>
                    <a:pt x="243" y="194"/>
                  </a:cubicBezTo>
                  <a:cubicBezTo>
                    <a:pt x="243" y="195"/>
                    <a:pt x="244" y="191"/>
                    <a:pt x="245" y="195"/>
                  </a:cubicBezTo>
                  <a:cubicBezTo>
                    <a:pt x="245" y="194"/>
                    <a:pt x="245" y="189"/>
                    <a:pt x="244" y="189"/>
                  </a:cubicBezTo>
                  <a:cubicBezTo>
                    <a:pt x="243" y="189"/>
                    <a:pt x="242" y="187"/>
                    <a:pt x="241" y="190"/>
                  </a:cubicBezTo>
                  <a:cubicBezTo>
                    <a:pt x="242" y="190"/>
                    <a:pt x="242" y="190"/>
                    <a:pt x="242" y="190"/>
                  </a:cubicBezTo>
                  <a:cubicBezTo>
                    <a:pt x="241" y="191"/>
                    <a:pt x="241" y="191"/>
                    <a:pt x="241" y="192"/>
                  </a:cubicBezTo>
                  <a:cubicBezTo>
                    <a:pt x="240" y="195"/>
                    <a:pt x="239" y="196"/>
                    <a:pt x="239" y="199"/>
                  </a:cubicBezTo>
                  <a:cubicBezTo>
                    <a:pt x="239" y="199"/>
                    <a:pt x="239" y="199"/>
                    <a:pt x="239" y="199"/>
                  </a:cubicBezTo>
                  <a:cubicBezTo>
                    <a:pt x="240" y="201"/>
                    <a:pt x="239" y="203"/>
                    <a:pt x="239" y="205"/>
                  </a:cubicBezTo>
                  <a:cubicBezTo>
                    <a:pt x="239" y="205"/>
                    <a:pt x="239" y="205"/>
                    <a:pt x="239" y="205"/>
                  </a:cubicBezTo>
                  <a:cubicBezTo>
                    <a:pt x="238" y="206"/>
                    <a:pt x="241" y="209"/>
                    <a:pt x="239" y="208"/>
                  </a:cubicBezTo>
                  <a:cubicBezTo>
                    <a:pt x="240" y="212"/>
                    <a:pt x="240" y="216"/>
                    <a:pt x="240" y="220"/>
                  </a:cubicBezTo>
                  <a:cubicBezTo>
                    <a:pt x="240" y="224"/>
                    <a:pt x="239" y="229"/>
                    <a:pt x="238" y="232"/>
                  </a:cubicBezTo>
                  <a:cubicBezTo>
                    <a:pt x="238" y="232"/>
                    <a:pt x="237" y="234"/>
                    <a:pt x="237" y="235"/>
                  </a:cubicBezTo>
                  <a:cubicBezTo>
                    <a:pt x="236" y="235"/>
                    <a:pt x="236" y="235"/>
                    <a:pt x="236" y="236"/>
                  </a:cubicBezTo>
                  <a:cubicBezTo>
                    <a:pt x="236" y="236"/>
                    <a:pt x="236" y="236"/>
                    <a:pt x="237" y="236"/>
                  </a:cubicBezTo>
                  <a:cubicBezTo>
                    <a:pt x="235" y="236"/>
                    <a:pt x="234" y="237"/>
                    <a:pt x="232" y="238"/>
                  </a:cubicBezTo>
                  <a:cubicBezTo>
                    <a:pt x="231" y="238"/>
                    <a:pt x="229" y="239"/>
                    <a:pt x="228" y="239"/>
                  </a:cubicBezTo>
                  <a:cubicBezTo>
                    <a:pt x="228" y="239"/>
                    <a:pt x="228" y="239"/>
                    <a:pt x="228" y="239"/>
                  </a:cubicBezTo>
                  <a:cubicBezTo>
                    <a:pt x="226" y="238"/>
                    <a:pt x="225" y="239"/>
                    <a:pt x="224" y="239"/>
                  </a:cubicBezTo>
                  <a:cubicBezTo>
                    <a:pt x="223" y="240"/>
                    <a:pt x="222" y="240"/>
                    <a:pt x="219" y="239"/>
                  </a:cubicBezTo>
                  <a:cubicBezTo>
                    <a:pt x="219" y="241"/>
                    <a:pt x="212" y="238"/>
                    <a:pt x="209" y="240"/>
                  </a:cubicBezTo>
                  <a:cubicBezTo>
                    <a:pt x="209" y="240"/>
                    <a:pt x="208" y="240"/>
                    <a:pt x="209" y="239"/>
                  </a:cubicBezTo>
                  <a:cubicBezTo>
                    <a:pt x="201" y="239"/>
                    <a:pt x="192" y="239"/>
                    <a:pt x="186" y="239"/>
                  </a:cubicBezTo>
                  <a:cubicBezTo>
                    <a:pt x="180" y="240"/>
                    <a:pt x="172" y="238"/>
                    <a:pt x="167" y="240"/>
                  </a:cubicBezTo>
                  <a:cubicBezTo>
                    <a:pt x="163" y="240"/>
                    <a:pt x="157" y="239"/>
                    <a:pt x="151" y="240"/>
                  </a:cubicBezTo>
                  <a:cubicBezTo>
                    <a:pt x="152" y="239"/>
                    <a:pt x="152" y="239"/>
                    <a:pt x="152" y="239"/>
                  </a:cubicBezTo>
                  <a:cubicBezTo>
                    <a:pt x="145" y="239"/>
                    <a:pt x="137" y="240"/>
                    <a:pt x="133" y="241"/>
                  </a:cubicBezTo>
                  <a:cubicBezTo>
                    <a:pt x="131" y="239"/>
                    <a:pt x="128" y="239"/>
                    <a:pt x="126" y="239"/>
                  </a:cubicBezTo>
                  <a:cubicBezTo>
                    <a:pt x="121" y="240"/>
                    <a:pt x="113" y="239"/>
                    <a:pt x="106" y="240"/>
                  </a:cubicBezTo>
                  <a:cubicBezTo>
                    <a:pt x="105" y="239"/>
                    <a:pt x="101" y="240"/>
                    <a:pt x="101" y="239"/>
                  </a:cubicBezTo>
                  <a:cubicBezTo>
                    <a:pt x="83" y="242"/>
                    <a:pt x="60" y="241"/>
                    <a:pt x="41" y="239"/>
                  </a:cubicBezTo>
                  <a:cubicBezTo>
                    <a:pt x="41" y="239"/>
                    <a:pt x="41" y="239"/>
                    <a:pt x="41" y="239"/>
                  </a:cubicBezTo>
                  <a:cubicBezTo>
                    <a:pt x="39" y="240"/>
                    <a:pt x="36" y="241"/>
                    <a:pt x="34" y="242"/>
                  </a:cubicBezTo>
                  <a:cubicBezTo>
                    <a:pt x="33" y="242"/>
                    <a:pt x="33" y="242"/>
                    <a:pt x="34" y="242"/>
                  </a:cubicBezTo>
                  <a:cubicBezTo>
                    <a:pt x="30" y="242"/>
                    <a:pt x="27" y="241"/>
                    <a:pt x="24" y="241"/>
                  </a:cubicBezTo>
                  <a:cubicBezTo>
                    <a:pt x="24" y="241"/>
                    <a:pt x="24" y="241"/>
                    <a:pt x="24" y="240"/>
                  </a:cubicBezTo>
                  <a:cubicBezTo>
                    <a:pt x="23" y="241"/>
                    <a:pt x="23" y="240"/>
                    <a:pt x="22" y="240"/>
                  </a:cubicBezTo>
                  <a:cubicBezTo>
                    <a:pt x="21" y="240"/>
                    <a:pt x="20" y="240"/>
                    <a:pt x="20" y="240"/>
                  </a:cubicBezTo>
                  <a:cubicBezTo>
                    <a:pt x="18" y="239"/>
                    <a:pt x="17" y="239"/>
                    <a:pt x="15" y="238"/>
                  </a:cubicBezTo>
                  <a:cubicBezTo>
                    <a:pt x="15" y="238"/>
                    <a:pt x="15" y="238"/>
                    <a:pt x="15" y="238"/>
                  </a:cubicBezTo>
                  <a:cubicBezTo>
                    <a:pt x="15" y="238"/>
                    <a:pt x="15" y="238"/>
                    <a:pt x="14" y="238"/>
                  </a:cubicBezTo>
                  <a:cubicBezTo>
                    <a:pt x="14" y="238"/>
                    <a:pt x="14" y="238"/>
                    <a:pt x="14" y="238"/>
                  </a:cubicBezTo>
                  <a:cubicBezTo>
                    <a:pt x="14" y="238"/>
                    <a:pt x="13" y="238"/>
                    <a:pt x="13" y="238"/>
                  </a:cubicBezTo>
                  <a:cubicBezTo>
                    <a:pt x="13" y="238"/>
                    <a:pt x="13" y="238"/>
                    <a:pt x="13" y="238"/>
                  </a:cubicBezTo>
                  <a:cubicBezTo>
                    <a:pt x="13" y="237"/>
                    <a:pt x="13" y="237"/>
                    <a:pt x="14" y="237"/>
                  </a:cubicBezTo>
                  <a:cubicBezTo>
                    <a:pt x="12" y="236"/>
                    <a:pt x="10" y="234"/>
                    <a:pt x="8" y="231"/>
                  </a:cubicBezTo>
                  <a:cubicBezTo>
                    <a:pt x="7" y="228"/>
                    <a:pt x="6" y="225"/>
                    <a:pt x="6" y="221"/>
                  </a:cubicBezTo>
                  <a:cubicBezTo>
                    <a:pt x="5" y="214"/>
                    <a:pt x="5" y="206"/>
                    <a:pt x="5" y="198"/>
                  </a:cubicBezTo>
                  <a:cubicBezTo>
                    <a:pt x="5" y="191"/>
                    <a:pt x="5" y="183"/>
                    <a:pt x="5" y="175"/>
                  </a:cubicBezTo>
                  <a:cubicBezTo>
                    <a:pt x="5" y="167"/>
                    <a:pt x="5" y="160"/>
                    <a:pt x="5" y="152"/>
                  </a:cubicBezTo>
                  <a:cubicBezTo>
                    <a:pt x="5" y="153"/>
                    <a:pt x="5" y="153"/>
                    <a:pt x="5" y="153"/>
                  </a:cubicBezTo>
                  <a:cubicBezTo>
                    <a:pt x="4" y="147"/>
                    <a:pt x="4" y="147"/>
                    <a:pt x="4" y="147"/>
                  </a:cubicBezTo>
                  <a:cubicBezTo>
                    <a:pt x="5" y="147"/>
                    <a:pt x="5" y="147"/>
                    <a:pt x="5" y="147"/>
                  </a:cubicBezTo>
                  <a:cubicBezTo>
                    <a:pt x="5" y="140"/>
                    <a:pt x="4" y="132"/>
                    <a:pt x="4" y="124"/>
                  </a:cubicBezTo>
                  <a:cubicBezTo>
                    <a:pt x="5" y="124"/>
                    <a:pt x="5" y="126"/>
                    <a:pt x="5" y="124"/>
                  </a:cubicBezTo>
                  <a:cubicBezTo>
                    <a:pt x="4" y="119"/>
                    <a:pt x="7" y="116"/>
                    <a:pt x="4" y="113"/>
                  </a:cubicBezTo>
                  <a:cubicBezTo>
                    <a:pt x="4" y="113"/>
                    <a:pt x="5" y="112"/>
                    <a:pt x="5" y="113"/>
                  </a:cubicBezTo>
                  <a:cubicBezTo>
                    <a:pt x="4" y="98"/>
                    <a:pt x="4" y="82"/>
                    <a:pt x="5" y="66"/>
                  </a:cubicBezTo>
                  <a:cubicBezTo>
                    <a:pt x="4" y="63"/>
                    <a:pt x="4" y="60"/>
                    <a:pt x="4" y="56"/>
                  </a:cubicBezTo>
                  <a:cubicBezTo>
                    <a:pt x="4" y="53"/>
                    <a:pt x="4" y="50"/>
                    <a:pt x="3" y="46"/>
                  </a:cubicBezTo>
                  <a:cubicBezTo>
                    <a:pt x="3" y="39"/>
                    <a:pt x="3" y="32"/>
                    <a:pt x="3" y="26"/>
                  </a:cubicBezTo>
                  <a:cubicBezTo>
                    <a:pt x="3" y="26"/>
                    <a:pt x="3" y="26"/>
                    <a:pt x="3" y="26"/>
                  </a:cubicBezTo>
                  <a:cubicBezTo>
                    <a:pt x="3" y="21"/>
                    <a:pt x="4" y="17"/>
                    <a:pt x="7" y="13"/>
                  </a:cubicBezTo>
                  <a:cubicBezTo>
                    <a:pt x="8" y="11"/>
                    <a:pt x="9" y="10"/>
                    <a:pt x="11" y="9"/>
                  </a:cubicBezTo>
                  <a:cubicBezTo>
                    <a:pt x="13" y="7"/>
                    <a:pt x="15" y="7"/>
                    <a:pt x="17" y="6"/>
                  </a:cubicBezTo>
                  <a:cubicBezTo>
                    <a:pt x="19" y="6"/>
                    <a:pt x="22" y="5"/>
                    <a:pt x="24" y="5"/>
                  </a:cubicBezTo>
                  <a:cubicBezTo>
                    <a:pt x="26" y="5"/>
                    <a:pt x="28" y="5"/>
                    <a:pt x="30" y="5"/>
                  </a:cubicBezTo>
                  <a:cubicBezTo>
                    <a:pt x="35" y="5"/>
                    <a:pt x="40" y="5"/>
                    <a:pt x="44" y="5"/>
                  </a:cubicBezTo>
                  <a:cubicBezTo>
                    <a:pt x="52" y="5"/>
                    <a:pt x="57" y="5"/>
                    <a:pt x="64" y="5"/>
                  </a:cubicBezTo>
                  <a:cubicBezTo>
                    <a:pt x="64" y="5"/>
                    <a:pt x="64" y="5"/>
                    <a:pt x="64" y="5"/>
                  </a:cubicBezTo>
                  <a:cubicBezTo>
                    <a:pt x="77" y="3"/>
                    <a:pt x="91" y="7"/>
                    <a:pt x="104" y="5"/>
                  </a:cubicBezTo>
                  <a:cubicBezTo>
                    <a:pt x="103" y="6"/>
                    <a:pt x="103" y="6"/>
                    <a:pt x="103" y="6"/>
                  </a:cubicBezTo>
                  <a:cubicBezTo>
                    <a:pt x="105" y="5"/>
                    <a:pt x="111" y="6"/>
                    <a:pt x="110" y="4"/>
                  </a:cubicBezTo>
                  <a:cubicBezTo>
                    <a:pt x="113" y="5"/>
                    <a:pt x="113" y="5"/>
                    <a:pt x="113" y="5"/>
                  </a:cubicBezTo>
                  <a:cubicBezTo>
                    <a:pt x="122" y="2"/>
                    <a:pt x="129" y="6"/>
                    <a:pt x="140" y="4"/>
                  </a:cubicBezTo>
                  <a:cubicBezTo>
                    <a:pt x="139" y="5"/>
                    <a:pt x="139" y="5"/>
                    <a:pt x="139" y="5"/>
                  </a:cubicBezTo>
                  <a:cubicBezTo>
                    <a:pt x="142" y="4"/>
                    <a:pt x="146" y="4"/>
                    <a:pt x="148" y="5"/>
                  </a:cubicBezTo>
                  <a:cubicBezTo>
                    <a:pt x="147" y="5"/>
                    <a:pt x="148" y="5"/>
                    <a:pt x="147" y="5"/>
                  </a:cubicBezTo>
                  <a:cubicBezTo>
                    <a:pt x="156" y="7"/>
                    <a:pt x="166" y="5"/>
                    <a:pt x="176" y="5"/>
                  </a:cubicBezTo>
                  <a:cubicBezTo>
                    <a:pt x="175" y="6"/>
                    <a:pt x="175" y="6"/>
                    <a:pt x="175" y="6"/>
                  </a:cubicBezTo>
                  <a:cubicBezTo>
                    <a:pt x="179" y="5"/>
                    <a:pt x="188" y="6"/>
                    <a:pt x="194" y="5"/>
                  </a:cubicBezTo>
                  <a:cubicBezTo>
                    <a:pt x="194" y="6"/>
                    <a:pt x="194" y="6"/>
                    <a:pt x="194" y="6"/>
                  </a:cubicBezTo>
                  <a:cubicBezTo>
                    <a:pt x="197" y="5"/>
                    <a:pt x="197" y="5"/>
                    <a:pt x="197" y="5"/>
                  </a:cubicBezTo>
                  <a:cubicBezTo>
                    <a:pt x="197" y="6"/>
                    <a:pt x="197" y="6"/>
                    <a:pt x="197" y="6"/>
                  </a:cubicBezTo>
                  <a:cubicBezTo>
                    <a:pt x="201" y="6"/>
                    <a:pt x="205" y="6"/>
                    <a:pt x="209" y="5"/>
                  </a:cubicBezTo>
                  <a:cubicBezTo>
                    <a:pt x="212" y="5"/>
                    <a:pt x="216" y="5"/>
                    <a:pt x="220" y="5"/>
                  </a:cubicBez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19">
              <a:extLst>
                <a:ext uri="{FF2B5EF4-FFF2-40B4-BE49-F238E27FC236}">
                  <a16:creationId xmlns:a16="http://schemas.microsoft.com/office/drawing/2014/main" id="{20918E63-E6E0-49D0-943A-F9C89E8168D6}"/>
                </a:ext>
              </a:extLst>
            </p:cNvPr>
            <p:cNvSpPr>
              <a:spLocks/>
            </p:cNvSpPr>
            <p:nvPr/>
          </p:nvSpPr>
          <p:spPr bwMode="auto">
            <a:xfrm>
              <a:off x="1155700" y="145732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0">
              <a:extLst>
                <a:ext uri="{FF2B5EF4-FFF2-40B4-BE49-F238E27FC236}">
                  <a16:creationId xmlns:a16="http://schemas.microsoft.com/office/drawing/2014/main" id="{A39B7DA0-7539-4AED-8B37-CD6C2D1D9C32}"/>
                </a:ext>
              </a:extLst>
            </p:cNvPr>
            <p:cNvSpPr>
              <a:spLocks/>
            </p:cNvSpPr>
            <p:nvPr/>
          </p:nvSpPr>
          <p:spPr bwMode="auto">
            <a:xfrm>
              <a:off x="1136650" y="2054226"/>
              <a:ext cx="0" cy="4763"/>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1">
              <a:extLst>
                <a:ext uri="{FF2B5EF4-FFF2-40B4-BE49-F238E27FC236}">
                  <a16:creationId xmlns:a16="http://schemas.microsoft.com/office/drawing/2014/main" id="{9E5D1B6A-D6C0-4239-8898-6619D5C115F2}"/>
                </a:ext>
              </a:extLst>
            </p:cNvPr>
            <p:cNvSpPr>
              <a:spLocks/>
            </p:cNvSpPr>
            <p:nvPr/>
          </p:nvSpPr>
          <p:spPr bwMode="auto">
            <a:xfrm>
              <a:off x="312738" y="998538"/>
              <a:ext cx="71438" cy="331788"/>
            </a:xfrm>
            <a:custGeom>
              <a:avLst/>
              <a:gdLst>
                <a:gd name="T0" fmla="*/ 15 w 15"/>
                <a:gd name="T1" fmla="*/ 62 h 70"/>
                <a:gd name="T2" fmla="*/ 7 w 15"/>
                <a:gd name="T3" fmla="*/ 70 h 70"/>
                <a:gd name="T4" fmla="*/ 7 w 15"/>
                <a:gd name="T5" fmla="*/ 70 h 70"/>
                <a:gd name="T6" fmla="*/ 0 w 15"/>
                <a:gd name="T7" fmla="*/ 62 h 70"/>
                <a:gd name="T8" fmla="*/ 0 w 15"/>
                <a:gd name="T9" fmla="*/ 8 h 70"/>
                <a:gd name="T10" fmla="*/ 7 w 15"/>
                <a:gd name="T11" fmla="*/ 0 h 70"/>
                <a:gd name="T12" fmla="*/ 7 w 15"/>
                <a:gd name="T13" fmla="*/ 0 h 70"/>
                <a:gd name="T14" fmla="*/ 15 w 15"/>
                <a:gd name="T15" fmla="*/ 8 h 70"/>
                <a:gd name="T16" fmla="*/ 15 w 15"/>
                <a:gd name="T17" fmla="*/ 6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70">
                  <a:moveTo>
                    <a:pt x="15" y="62"/>
                  </a:moveTo>
                  <a:cubicBezTo>
                    <a:pt x="15" y="66"/>
                    <a:pt x="12" y="70"/>
                    <a:pt x="7" y="70"/>
                  </a:cubicBezTo>
                  <a:cubicBezTo>
                    <a:pt x="7" y="70"/>
                    <a:pt x="7" y="70"/>
                    <a:pt x="7" y="70"/>
                  </a:cubicBezTo>
                  <a:cubicBezTo>
                    <a:pt x="3" y="70"/>
                    <a:pt x="0" y="66"/>
                    <a:pt x="0" y="62"/>
                  </a:cubicBezTo>
                  <a:cubicBezTo>
                    <a:pt x="0" y="8"/>
                    <a:pt x="0" y="8"/>
                    <a:pt x="0" y="8"/>
                  </a:cubicBezTo>
                  <a:cubicBezTo>
                    <a:pt x="0" y="3"/>
                    <a:pt x="3" y="0"/>
                    <a:pt x="7" y="0"/>
                  </a:cubicBezTo>
                  <a:cubicBezTo>
                    <a:pt x="7" y="0"/>
                    <a:pt x="7" y="0"/>
                    <a:pt x="7" y="0"/>
                  </a:cubicBezTo>
                  <a:cubicBezTo>
                    <a:pt x="12" y="0"/>
                    <a:pt x="15" y="3"/>
                    <a:pt x="15" y="8"/>
                  </a:cubicBezTo>
                  <a:lnTo>
                    <a:pt x="15" y="62"/>
                  </a:ln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2">
              <a:extLst>
                <a:ext uri="{FF2B5EF4-FFF2-40B4-BE49-F238E27FC236}">
                  <a16:creationId xmlns:a16="http://schemas.microsoft.com/office/drawing/2014/main" id="{EDCE3E0E-A676-43F0-923D-F3591FF14652}"/>
                </a:ext>
              </a:extLst>
            </p:cNvPr>
            <p:cNvSpPr>
              <a:spLocks/>
            </p:cNvSpPr>
            <p:nvPr/>
          </p:nvSpPr>
          <p:spPr bwMode="auto">
            <a:xfrm>
              <a:off x="393700" y="1292226"/>
              <a:ext cx="4763" cy="0"/>
            </a:xfrm>
            <a:custGeom>
              <a:avLst/>
              <a:gdLst>
                <a:gd name="T0" fmla="*/ 3 w 3"/>
                <a:gd name="T1" fmla="*/ 3 w 3"/>
                <a:gd name="T2" fmla="*/ 0 w 3"/>
                <a:gd name="T3" fmla="*/ 3 w 3"/>
              </a:gdLst>
              <a:ahLst/>
              <a:cxnLst>
                <a:cxn ang="0">
                  <a:pos x="T0" y="0"/>
                </a:cxn>
                <a:cxn ang="0">
                  <a:pos x="T1" y="0"/>
                </a:cxn>
                <a:cxn ang="0">
                  <a:pos x="T2" y="0"/>
                </a:cxn>
                <a:cxn ang="0">
                  <a:pos x="T3" y="0"/>
                </a:cxn>
              </a:cxnLst>
              <a:rect l="0" t="0" r="r" b="b"/>
              <a:pathLst>
                <a:path w="3">
                  <a:moveTo>
                    <a:pt x="3" y="0"/>
                  </a:moveTo>
                  <a:lnTo>
                    <a:pt x="3" y="0"/>
                  </a:lnTo>
                  <a:lnTo>
                    <a:pt x="0" y="0"/>
                  </a:lnTo>
                  <a:lnTo>
                    <a:pt x="3" y="0"/>
                  </a:ln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3">
              <a:extLst>
                <a:ext uri="{FF2B5EF4-FFF2-40B4-BE49-F238E27FC236}">
                  <a16:creationId xmlns:a16="http://schemas.microsoft.com/office/drawing/2014/main" id="{D71BAF6A-56D0-493C-AA51-2FED57D230C0}"/>
                </a:ext>
              </a:extLst>
            </p:cNvPr>
            <p:cNvSpPr>
              <a:spLocks/>
            </p:cNvSpPr>
            <p:nvPr/>
          </p:nvSpPr>
          <p:spPr bwMode="auto">
            <a:xfrm>
              <a:off x="388938" y="1287463"/>
              <a:ext cx="9525" cy="4763"/>
            </a:xfrm>
            <a:custGeom>
              <a:avLst/>
              <a:gdLst>
                <a:gd name="T0" fmla="*/ 1 w 2"/>
                <a:gd name="T1" fmla="*/ 0 h 1"/>
                <a:gd name="T2" fmla="*/ 0 w 2"/>
                <a:gd name="T3" fmla="*/ 0 h 1"/>
                <a:gd name="T4" fmla="*/ 2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1" y="0"/>
                    <a:pt x="1" y="0"/>
                    <a:pt x="0" y="0"/>
                  </a:cubicBezTo>
                  <a:cubicBezTo>
                    <a:pt x="2" y="1"/>
                    <a:pt x="2" y="1"/>
                    <a:pt x="2" y="1"/>
                  </a:cubicBezTo>
                  <a:cubicBezTo>
                    <a:pt x="2" y="0"/>
                    <a:pt x="0" y="0"/>
                    <a:pt x="1" y="0"/>
                  </a:cubicBez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4">
              <a:extLst>
                <a:ext uri="{FF2B5EF4-FFF2-40B4-BE49-F238E27FC236}">
                  <a16:creationId xmlns:a16="http://schemas.microsoft.com/office/drawing/2014/main" id="{79591297-C3AA-41A6-98D2-CAA5A21D6A28}"/>
                </a:ext>
              </a:extLst>
            </p:cNvPr>
            <p:cNvSpPr>
              <a:spLocks/>
            </p:cNvSpPr>
            <p:nvPr/>
          </p:nvSpPr>
          <p:spPr bwMode="auto">
            <a:xfrm>
              <a:off x="388938" y="1282701"/>
              <a:ext cx="4763" cy="4763"/>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0"/>
                    <a:pt x="1" y="0"/>
                    <a:pt x="0" y="0"/>
                  </a:cubicBezTo>
                  <a:cubicBezTo>
                    <a:pt x="1" y="0"/>
                    <a:pt x="0" y="1"/>
                    <a:pt x="1" y="1"/>
                  </a:cubicBez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5">
              <a:extLst>
                <a:ext uri="{FF2B5EF4-FFF2-40B4-BE49-F238E27FC236}">
                  <a16:creationId xmlns:a16="http://schemas.microsoft.com/office/drawing/2014/main" id="{794F0880-42A0-4BD5-80E0-FA0B8CF7746D}"/>
                </a:ext>
              </a:extLst>
            </p:cNvPr>
            <p:cNvSpPr>
              <a:spLocks/>
            </p:cNvSpPr>
            <p:nvPr/>
          </p:nvSpPr>
          <p:spPr bwMode="auto">
            <a:xfrm>
              <a:off x="393700" y="116363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
              <a:extLst>
                <a:ext uri="{FF2B5EF4-FFF2-40B4-BE49-F238E27FC236}">
                  <a16:creationId xmlns:a16="http://schemas.microsoft.com/office/drawing/2014/main" id="{CB3527D2-78CA-4E5B-B3BD-688FF2836995}"/>
                </a:ext>
              </a:extLst>
            </p:cNvPr>
            <p:cNvSpPr>
              <a:spLocks/>
            </p:cNvSpPr>
            <p:nvPr/>
          </p:nvSpPr>
          <p:spPr bwMode="auto">
            <a:xfrm>
              <a:off x="303213" y="993776"/>
              <a:ext cx="95250" cy="336550"/>
            </a:xfrm>
            <a:custGeom>
              <a:avLst/>
              <a:gdLst>
                <a:gd name="T0" fmla="*/ 17 w 20"/>
                <a:gd name="T1" fmla="*/ 34 h 71"/>
                <a:gd name="T2" fmla="*/ 17 w 20"/>
                <a:gd name="T3" fmla="*/ 43 h 71"/>
                <a:gd name="T4" fmla="*/ 17 w 20"/>
                <a:gd name="T5" fmla="*/ 46 h 71"/>
                <a:gd name="T6" fmla="*/ 18 w 20"/>
                <a:gd name="T7" fmla="*/ 54 h 71"/>
                <a:gd name="T8" fmla="*/ 19 w 20"/>
                <a:gd name="T9" fmla="*/ 59 h 71"/>
                <a:gd name="T10" fmla="*/ 19 w 20"/>
                <a:gd name="T11" fmla="*/ 58 h 71"/>
                <a:gd name="T12" fmla="*/ 19 w 20"/>
                <a:gd name="T13" fmla="*/ 53 h 71"/>
                <a:gd name="T14" fmla="*/ 19 w 20"/>
                <a:gd name="T15" fmla="*/ 36 h 71"/>
                <a:gd name="T16" fmla="*/ 19 w 20"/>
                <a:gd name="T17" fmla="*/ 19 h 71"/>
                <a:gd name="T18" fmla="*/ 19 w 20"/>
                <a:gd name="T19" fmla="*/ 6 h 71"/>
                <a:gd name="T20" fmla="*/ 16 w 20"/>
                <a:gd name="T21" fmla="*/ 3 h 71"/>
                <a:gd name="T22" fmla="*/ 14 w 20"/>
                <a:gd name="T23" fmla="*/ 1 h 71"/>
                <a:gd name="T24" fmla="*/ 11 w 20"/>
                <a:gd name="T25" fmla="*/ 0 h 71"/>
                <a:gd name="T26" fmla="*/ 2 w 20"/>
                <a:gd name="T27" fmla="*/ 6 h 71"/>
                <a:gd name="T28" fmla="*/ 1 w 20"/>
                <a:gd name="T29" fmla="*/ 13 h 71"/>
                <a:gd name="T30" fmla="*/ 1 w 20"/>
                <a:gd name="T31" fmla="*/ 30 h 71"/>
                <a:gd name="T32" fmla="*/ 2 w 20"/>
                <a:gd name="T33" fmla="*/ 63 h 71"/>
                <a:gd name="T34" fmla="*/ 11 w 20"/>
                <a:gd name="T35" fmla="*/ 70 h 71"/>
                <a:gd name="T36" fmla="*/ 15 w 20"/>
                <a:gd name="T37" fmla="*/ 69 h 71"/>
                <a:gd name="T38" fmla="*/ 16 w 20"/>
                <a:gd name="T39" fmla="*/ 67 h 71"/>
                <a:gd name="T40" fmla="*/ 16 w 20"/>
                <a:gd name="T41" fmla="*/ 66 h 71"/>
                <a:gd name="T42" fmla="*/ 16 w 20"/>
                <a:gd name="T43" fmla="*/ 65 h 71"/>
                <a:gd name="T44" fmla="*/ 19 w 20"/>
                <a:gd name="T45" fmla="*/ 64 h 71"/>
                <a:gd name="T46" fmla="*/ 17 w 20"/>
                <a:gd name="T47" fmla="*/ 63 h 71"/>
                <a:gd name="T48" fmla="*/ 15 w 20"/>
                <a:gd name="T49" fmla="*/ 64 h 71"/>
                <a:gd name="T50" fmla="*/ 14 w 20"/>
                <a:gd name="T51" fmla="*/ 65 h 71"/>
                <a:gd name="T52" fmla="*/ 11 w 20"/>
                <a:gd name="T53" fmla="*/ 69 h 71"/>
                <a:gd name="T54" fmla="*/ 9 w 20"/>
                <a:gd name="T55" fmla="*/ 68 h 71"/>
                <a:gd name="T56" fmla="*/ 8 w 20"/>
                <a:gd name="T57" fmla="*/ 68 h 71"/>
                <a:gd name="T58" fmla="*/ 4 w 20"/>
                <a:gd name="T59" fmla="*/ 66 h 71"/>
                <a:gd name="T60" fmla="*/ 4 w 20"/>
                <a:gd name="T61" fmla="*/ 62 h 71"/>
                <a:gd name="T62" fmla="*/ 4 w 20"/>
                <a:gd name="T63" fmla="*/ 56 h 71"/>
                <a:gd name="T64" fmla="*/ 4 w 20"/>
                <a:gd name="T65" fmla="*/ 45 h 71"/>
                <a:gd name="T66" fmla="*/ 3 w 20"/>
                <a:gd name="T67" fmla="*/ 42 h 71"/>
                <a:gd name="T68" fmla="*/ 4 w 20"/>
                <a:gd name="T69" fmla="*/ 40 h 71"/>
                <a:gd name="T70" fmla="*/ 3 w 20"/>
                <a:gd name="T71" fmla="*/ 24 h 71"/>
                <a:gd name="T72" fmla="*/ 3 w 20"/>
                <a:gd name="T73" fmla="*/ 24 h 71"/>
                <a:gd name="T74" fmla="*/ 3 w 20"/>
                <a:gd name="T75" fmla="*/ 18 h 71"/>
                <a:gd name="T76" fmla="*/ 3 w 20"/>
                <a:gd name="T77" fmla="*/ 8 h 71"/>
                <a:gd name="T78" fmla="*/ 4 w 20"/>
                <a:gd name="T79" fmla="*/ 4 h 71"/>
                <a:gd name="T80" fmla="*/ 12 w 20"/>
                <a:gd name="T81" fmla="*/ 2 h 71"/>
                <a:gd name="T82" fmla="*/ 15 w 20"/>
                <a:gd name="T83" fmla="*/ 5 h 71"/>
                <a:gd name="T84" fmla="*/ 16 w 20"/>
                <a:gd name="T85" fmla="*/ 7 h 71"/>
                <a:gd name="T86" fmla="*/ 17 w 20"/>
                <a:gd name="T87" fmla="*/ 11 h 71"/>
                <a:gd name="T88" fmla="*/ 17 w 20"/>
                <a:gd name="T89" fmla="*/ 16 h 71"/>
                <a:gd name="T90" fmla="*/ 17 w 20"/>
                <a:gd name="T91" fmla="*/ 22 h 71"/>
                <a:gd name="T92" fmla="*/ 16 w 20"/>
                <a:gd name="T93" fmla="*/ 25 h 71"/>
                <a:gd name="T94" fmla="*/ 17 w 20"/>
                <a:gd name="T95" fmla="*/ 3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 h="71">
                  <a:moveTo>
                    <a:pt x="17" y="30"/>
                  </a:moveTo>
                  <a:cubicBezTo>
                    <a:pt x="16" y="30"/>
                    <a:pt x="16" y="30"/>
                    <a:pt x="16" y="30"/>
                  </a:cubicBezTo>
                  <a:cubicBezTo>
                    <a:pt x="17" y="31"/>
                    <a:pt x="16" y="32"/>
                    <a:pt x="17" y="34"/>
                  </a:cubicBezTo>
                  <a:cubicBezTo>
                    <a:pt x="16" y="34"/>
                    <a:pt x="16" y="34"/>
                    <a:pt x="16" y="34"/>
                  </a:cubicBezTo>
                  <a:cubicBezTo>
                    <a:pt x="16" y="37"/>
                    <a:pt x="17" y="40"/>
                    <a:pt x="17" y="43"/>
                  </a:cubicBezTo>
                  <a:cubicBezTo>
                    <a:pt x="17" y="43"/>
                    <a:pt x="17" y="43"/>
                    <a:pt x="17" y="43"/>
                  </a:cubicBezTo>
                  <a:cubicBezTo>
                    <a:pt x="17" y="43"/>
                    <a:pt x="18" y="43"/>
                    <a:pt x="17" y="44"/>
                  </a:cubicBezTo>
                  <a:cubicBezTo>
                    <a:pt x="17" y="44"/>
                    <a:pt x="17" y="44"/>
                    <a:pt x="17" y="43"/>
                  </a:cubicBezTo>
                  <a:cubicBezTo>
                    <a:pt x="16" y="44"/>
                    <a:pt x="18" y="46"/>
                    <a:pt x="17" y="46"/>
                  </a:cubicBezTo>
                  <a:cubicBezTo>
                    <a:pt x="17" y="46"/>
                    <a:pt x="18" y="46"/>
                    <a:pt x="18" y="46"/>
                  </a:cubicBezTo>
                  <a:cubicBezTo>
                    <a:pt x="18" y="49"/>
                    <a:pt x="18" y="51"/>
                    <a:pt x="19" y="54"/>
                  </a:cubicBezTo>
                  <a:cubicBezTo>
                    <a:pt x="19" y="54"/>
                    <a:pt x="18" y="54"/>
                    <a:pt x="18" y="54"/>
                  </a:cubicBezTo>
                  <a:cubicBezTo>
                    <a:pt x="19" y="56"/>
                    <a:pt x="19" y="59"/>
                    <a:pt x="19" y="61"/>
                  </a:cubicBezTo>
                  <a:cubicBezTo>
                    <a:pt x="19" y="61"/>
                    <a:pt x="19" y="61"/>
                    <a:pt x="19" y="61"/>
                  </a:cubicBezTo>
                  <a:cubicBezTo>
                    <a:pt x="20" y="60"/>
                    <a:pt x="19" y="60"/>
                    <a:pt x="19" y="59"/>
                  </a:cubicBezTo>
                  <a:cubicBezTo>
                    <a:pt x="19" y="59"/>
                    <a:pt x="19" y="59"/>
                    <a:pt x="19" y="59"/>
                  </a:cubicBezTo>
                  <a:cubicBezTo>
                    <a:pt x="20" y="59"/>
                    <a:pt x="19" y="59"/>
                    <a:pt x="19" y="59"/>
                  </a:cubicBezTo>
                  <a:cubicBezTo>
                    <a:pt x="19" y="58"/>
                    <a:pt x="19" y="59"/>
                    <a:pt x="19" y="58"/>
                  </a:cubicBezTo>
                  <a:cubicBezTo>
                    <a:pt x="19" y="57"/>
                    <a:pt x="20" y="56"/>
                    <a:pt x="19" y="55"/>
                  </a:cubicBezTo>
                  <a:cubicBezTo>
                    <a:pt x="19" y="55"/>
                    <a:pt x="19" y="54"/>
                    <a:pt x="19" y="54"/>
                  </a:cubicBezTo>
                  <a:cubicBezTo>
                    <a:pt x="19" y="54"/>
                    <a:pt x="19" y="53"/>
                    <a:pt x="19" y="53"/>
                  </a:cubicBezTo>
                  <a:cubicBezTo>
                    <a:pt x="19" y="50"/>
                    <a:pt x="19" y="46"/>
                    <a:pt x="19" y="42"/>
                  </a:cubicBezTo>
                  <a:cubicBezTo>
                    <a:pt x="17" y="41"/>
                    <a:pt x="19" y="38"/>
                    <a:pt x="18" y="36"/>
                  </a:cubicBezTo>
                  <a:cubicBezTo>
                    <a:pt x="18" y="36"/>
                    <a:pt x="19" y="36"/>
                    <a:pt x="19" y="36"/>
                  </a:cubicBezTo>
                  <a:cubicBezTo>
                    <a:pt x="18" y="36"/>
                    <a:pt x="18" y="35"/>
                    <a:pt x="18" y="34"/>
                  </a:cubicBezTo>
                  <a:cubicBezTo>
                    <a:pt x="18" y="33"/>
                    <a:pt x="18" y="33"/>
                    <a:pt x="18" y="33"/>
                  </a:cubicBezTo>
                  <a:cubicBezTo>
                    <a:pt x="19" y="28"/>
                    <a:pt x="18" y="24"/>
                    <a:pt x="19" y="19"/>
                  </a:cubicBezTo>
                  <a:cubicBezTo>
                    <a:pt x="19" y="16"/>
                    <a:pt x="19" y="13"/>
                    <a:pt x="19" y="11"/>
                  </a:cubicBezTo>
                  <a:cubicBezTo>
                    <a:pt x="19" y="10"/>
                    <a:pt x="19" y="9"/>
                    <a:pt x="19" y="9"/>
                  </a:cubicBezTo>
                  <a:cubicBezTo>
                    <a:pt x="19" y="8"/>
                    <a:pt x="19" y="7"/>
                    <a:pt x="19" y="6"/>
                  </a:cubicBezTo>
                  <a:cubicBezTo>
                    <a:pt x="18" y="6"/>
                    <a:pt x="18" y="6"/>
                    <a:pt x="18" y="5"/>
                  </a:cubicBezTo>
                  <a:cubicBezTo>
                    <a:pt x="18" y="5"/>
                    <a:pt x="18" y="5"/>
                    <a:pt x="17" y="4"/>
                  </a:cubicBezTo>
                  <a:cubicBezTo>
                    <a:pt x="17" y="4"/>
                    <a:pt x="16" y="3"/>
                    <a:pt x="16" y="3"/>
                  </a:cubicBezTo>
                  <a:cubicBezTo>
                    <a:pt x="16" y="3"/>
                    <a:pt x="16" y="2"/>
                    <a:pt x="16" y="3"/>
                  </a:cubicBezTo>
                  <a:cubicBezTo>
                    <a:pt x="16" y="2"/>
                    <a:pt x="15" y="2"/>
                    <a:pt x="15" y="2"/>
                  </a:cubicBezTo>
                  <a:cubicBezTo>
                    <a:pt x="14" y="1"/>
                    <a:pt x="14" y="1"/>
                    <a:pt x="14" y="1"/>
                  </a:cubicBezTo>
                  <a:cubicBezTo>
                    <a:pt x="14" y="1"/>
                    <a:pt x="14" y="1"/>
                    <a:pt x="14" y="1"/>
                  </a:cubicBezTo>
                  <a:cubicBezTo>
                    <a:pt x="13" y="1"/>
                    <a:pt x="13" y="0"/>
                    <a:pt x="13" y="0"/>
                  </a:cubicBezTo>
                  <a:cubicBezTo>
                    <a:pt x="12" y="0"/>
                    <a:pt x="12" y="0"/>
                    <a:pt x="11" y="0"/>
                  </a:cubicBezTo>
                  <a:cubicBezTo>
                    <a:pt x="11" y="0"/>
                    <a:pt x="11" y="0"/>
                    <a:pt x="11" y="0"/>
                  </a:cubicBezTo>
                  <a:cubicBezTo>
                    <a:pt x="9" y="0"/>
                    <a:pt x="7" y="0"/>
                    <a:pt x="5" y="1"/>
                  </a:cubicBezTo>
                  <a:cubicBezTo>
                    <a:pt x="3" y="2"/>
                    <a:pt x="2" y="4"/>
                    <a:pt x="2" y="6"/>
                  </a:cubicBezTo>
                  <a:cubicBezTo>
                    <a:pt x="2" y="7"/>
                    <a:pt x="1" y="7"/>
                    <a:pt x="1" y="8"/>
                  </a:cubicBezTo>
                  <a:cubicBezTo>
                    <a:pt x="1" y="8"/>
                    <a:pt x="1" y="9"/>
                    <a:pt x="1" y="9"/>
                  </a:cubicBezTo>
                  <a:cubicBezTo>
                    <a:pt x="1" y="11"/>
                    <a:pt x="1" y="12"/>
                    <a:pt x="1" y="13"/>
                  </a:cubicBezTo>
                  <a:cubicBezTo>
                    <a:pt x="1" y="15"/>
                    <a:pt x="1" y="17"/>
                    <a:pt x="2" y="20"/>
                  </a:cubicBezTo>
                  <a:cubicBezTo>
                    <a:pt x="1" y="20"/>
                    <a:pt x="1" y="20"/>
                    <a:pt x="1" y="20"/>
                  </a:cubicBezTo>
                  <a:cubicBezTo>
                    <a:pt x="2" y="23"/>
                    <a:pt x="1" y="27"/>
                    <a:pt x="1" y="30"/>
                  </a:cubicBezTo>
                  <a:cubicBezTo>
                    <a:pt x="0" y="34"/>
                    <a:pt x="2" y="38"/>
                    <a:pt x="2" y="42"/>
                  </a:cubicBezTo>
                  <a:cubicBezTo>
                    <a:pt x="0" y="44"/>
                    <a:pt x="3" y="47"/>
                    <a:pt x="2" y="49"/>
                  </a:cubicBezTo>
                  <a:cubicBezTo>
                    <a:pt x="0" y="54"/>
                    <a:pt x="1" y="58"/>
                    <a:pt x="2" y="63"/>
                  </a:cubicBezTo>
                  <a:cubicBezTo>
                    <a:pt x="2" y="65"/>
                    <a:pt x="3" y="67"/>
                    <a:pt x="4" y="68"/>
                  </a:cubicBezTo>
                  <a:cubicBezTo>
                    <a:pt x="6" y="69"/>
                    <a:pt x="7" y="70"/>
                    <a:pt x="9" y="71"/>
                  </a:cubicBezTo>
                  <a:cubicBezTo>
                    <a:pt x="10" y="70"/>
                    <a:pt x="10" y="70"/>
                    <a:pt x="11" y="70"/>
                  </a:cubicBezTo>
                  <a:cubicBezTo>
                    <a:pt x="11" y="70"/>
                    <a:pt x="12" y="70"/>
                    <a:pt x="12" y="70"/>
                  </a:cubicBezTo>
                  <a:cubicBezTo>
                    <a:pt x="13" y="70"/>
                    <a:pt x="13" y="70"/>
                    <a:pt x="14" y="70"/>
                  </a:cubicBezTo>
                  <a:cubicBezTo>
                    <a:pt x="14" y="70"/>
                    <a:pt x="15" y="69"/>
                    <a:pt x="15" y="69"/>
                  </a:cubicBezTo>
                  <a:cubicBezTo>
                    <a:pt x="15" y="69"/>
                    <a:pt x="15" y="69"/>
                    <a:pt x="15" y="69"/>
                  </a:cubicBezTo>
                  <a:cubicBezTo>
                    <a:pt x="16" y="69"/>
                    <a:pt x="16" y="68"/>
                    <a:pt x="16" y="68"/>
                  </a:cubicBezTo>
                  <a:cubicBezTo>
                    <a:pt x="16" y="67"/>
                    <a:pt x="16" y="67"/>
                    <a:pt x="16" y="67"/>
                  </a:cubicBezTo>
                  <a:cubicBezTo>
                    <a:pt x="16" y="67"/>
                    <a:pt x="16" y="67"/>
                    <a:pt x="16" y="67"/>
                  </a:cubicBezTo>
                  <a:cubicBezTo>
                    <a:pt x="17" y="67"/>
                    <a:pt x="17" y="67"/>
                    <a:pt x="16" y="66"/>
                  </a:cubicBezTo>
                  <a:cubicBezTo>
                    <a:pt x="16" y="66"/>
                    <a:pt x="16" y="66"/>
                    <a:pt x="16" y="66"/>
                  </a:cubicBezTo>
                  <a:cubicBezTo>
                    <a:pt x="16" y="66"/>
                    <a:pt x="16" y="66"/>
                    <a:pt x="16" y="66"/>
                  </a:cubicBezTo>
                  <a:cubicBezTo>
                    <a:pt x="16" y="65"/>
                    <a:pt x="16" y="66"/>
                    <a:pt x="16" y="65"/>
                  </a:cubicBezTo>
                  <a:cubicBezTo>
                    <a:pt x="16" y="65"/>
                    <a:pt x="16" y="65"/>
                    <a:pt x="16" y="65"/>
                  </a:cubicBezTo>
                  <a:cubicBezTo>
                    <a:pt x="17" y="65"/>
                    <a:pt x="17" y="65"/>
                    <a:pt x="17" y="65"/>
                  </a:cubicBezTo>
                  <a:cubicBezTo>
                    <a:pt x="17" y="64"/>
                    <a:pt x="17" y="64"/>
                    <a:pt x="18" y="64"/>
                  </a:cubicBezTo>
                  <a:cubicBezTo>
                    <a:pt x="18" y="64"/>
                    <a:pt x="18" y="64"/>
                    <a:pt x="19" y="64"/>
                  </a:cubicBezTo>
                  <a:cubicBezTo>
                    <a:pt x="19" y="64"/>
                    <a:pt x="19" y="63"/>
                    <a:pt x="18" y="63"/>
                  </a:cubicBezTo>
                  <a:cubicBezTo>
                    <a:pt x="17" y="63"/>
                    <a:pt x="17" y="63"/>
                    <a:pt x="16" y="63"/>
                  </a:cubicBezTo>
                  <a:cubicBezTo>
                    <a:pt x="17" y="63"/>
                    <a:pt x="17" y="63"/>
                    <a:pt x="17" y="63"/>
                  </a:cubicBezTo>
                  <a:cubicBezTo>
                    <a:pt x="16" y="64"/>
                    <a:pt x="16" y="64"/>
                    <a:pt x="16" y="64"/>
                  </a:cubicBezTo>
                  <a:cubicBezTo>
                    <a:pt x="16" y="64"/>
                    <a:pt x="15" y="64"/>
                    <a:pt x="15" y="64"/>
                  </a:cubicBezTo>
                  <a:cubicBezTo>
                    <a:pt x="15" y="64"/>
                    <a:pt x="15" y="64"/>
                    <a:pt x="15" y="64"/>
                  </a:cubicBezTo>
                  <a:cubicBezTo>
                    <a:pt x="15" y="65"/>
                    <a:pt x="15" y="65"/>
                    <a:pt x="15" y="65"/>
                  </a:cubicBezTo>
                  <a:cubicBezTo>
                    <a:pt x="14" y="65"/>
                    <a:pt x="14" y="65"/>
                    <a:pt x="14" y="65"/>
                  </a:cubicBezTo>
                  <a:cubicBezTo>
                    <a:pt x="14" y="65"/>
                    <a:pt x="15" y="66"/>
                    <a:pt x="14" y="65"/>
                  </a:cubicBezTo>
                  <a:cubicBezTo>
                    <a:pt x="14" y="66"/>
                    <a:pt x="13" y="67"/>
                    <a:pt x="13" y="68"/>
                  </a:cubicBezTo>
                  <a:cubicBezTo>
                    <a:pt x="13" y="68"/>
                    <a:pt x="12" y="68"/>
                    <a:pt x="12" y="69"/>
                  </a:cubicBezTo>
                  <a:cubicBezTo>
                    <a:pt x="12" y="68"/>
                    <a:pt x="11" y="68"/>
                    <a:pt x="11" y="69"/>
                  </a:cubicBezTo>
                  <a:cubicBezTo>
                    <a:pt x="11" y="68"/>
                    <a:pt x="11" y="68"/>
                    <a:pt x="11" y="68"/>
                  </a:cubicBezTo>
                  <a:cubicBezTo>
                    <a:pt x="10" y="68"/>
                    <a:pt x="10" y="68"/>
                    <a:pt x="10" y="68"/>
                  </a:cubicBezTo>
                  <a:cubicBezTo>
                    <a:pt x="10" y="69"/>
                    <a:pt x="10" y="69"/>
                    <a:pt x="9" y="68"/>
                  </a:cubicBezTo>
                  <a:cubicBezTo>
                    <a:pt x="9" y="69"/>
                    <a:pt x="9" y="69"/>
                    <a:pt x="9" y="68"/>
                  </a:cubicBezTo>
                  <a:cubicBezTo>
                    <a:pt x="9" y="68"/>
                    <a:pt x="8" y="68"/>
                    <a:pt x="8" y="69"/>
                  </a:cubicBezTo>
                  <a:cubicBezTo>
                    <a:pt x="8" y="69"/>
                    <a:pt x="8" y="68"/>
                    <a:pt x="8" y="68"/>
                  </a:cubicBezTo>
                  <a:cubicBezTo>
                    <a:pt x="7" y="68"/>
                    <a:pt x="7" y="67"/>
                    <a:pt x="6" y="67"/>
                  </a:cubicBezTo>
                  <a:cubicBezTo>
                    <a:pt x="6" y="67"/>
                    <a:pt x="5" y="66"/>
                    <a:pt x="5" y="66"/>
                  </a:cubicBezTo>
                  <a:cubicBezTo>
                    <a:pt x="5" y="66"/>
                    <a:pt x="5" y="66"/>
                    <a:pt x="4" y="66"/>
                  </a:cubicBezTo>
                  <a:cubicBezTo>
                    <a:pt x="4" y="65"/>
                    <a:pt x="5" y="64"/>
                    <a:pt x="4" y="64"/>
                  </a:cubicBezTo>
                  <a:cubicBezTo>
                    <a:pt x="4" y="64"/>
                    <a:pt x="4" y="64"/>
                    <a:pt x="4" y="64"/>
                  </a:cubicBezTo>
                  <a:cubicBezTo>
                    <a:pt x="4" y="63"/>
                    <a:pt x="4" y="63"/>
                    <a:pt x="4" y="62"/>
                  </a:cubicBezTo>
                  <a:cubicBezTo>
                    <a:pt x="4" y="61"/>
                    <a:pt x="4" y="61"/>
                    <a:pt x="3" y="61"/>
                  </a:cubicBezTo>
                  <a:cubicBezTo>
                    <a:pt x="4" y="60"/>
                    <a:pt x="4" y="60"/>
                    <a:pt x="5" y="59"/>
                  </a:cubicBezTo>
                  <a:cubicBezTo>
                    <a:pt x="4" y="59"/>
                    <a:pt x="4" y="57"/>
                    <a:pt x="4" y="56"/>
                  </a:cubicBezTo>
                  <a:cubicBezTo>
                    <a:pt x="4" y="56"/>
                    <a:pt x="3" y="55"/>
                    <a:pt x="4" y="55"/>
                  </a:cubicBezTo>
                  <a:cubicBezTo>
                    <a:pt x="3" y="52"/>
                    <a:pt x="3" y="48"/>
                    <a:pt x="4" y="45"/>
                  </a:cubicBezTo>
                  <a:cubicBezTo>
                    <a:pt x="4" y="45"/>
                    <a:pt x="4" y="45"/>
                    <a:pt x="4" y="45"/>
                  </a:cubicBezTo>
                  <a:cubicBezTo>
                    <a:pt x="4" y="45"/>
                    <a:pt x="3" y="44"/>
                    <a:pt x="3" y="44"/>
                  </a:cubicBezTo>
                  <a:cubicBezTo>
                    <a:pt x="3" y="44"/>
                    <a:pt x="3" y="44"/>
                    <a:pt x="3" y="44"/>
                  </a:cubicBezTo>
                  <a:cubicBezTo>
                    <a:pt x="3" y="43"/>
                    <a:pt x="3" y="43"/>
                    <a:pt x="3" y="42"/>
                  </a:cubicBezTo>
                  <a:cubicBezTo>
                    <a:pt x="3" y="42"/>
                    <a:pt x="3" y="42"/>
                    <a:pt x="3" y="42"/>
                  </a:cubicBezTo>
                  <a:cubicBezTo>
                    <a:pt x="3" y="42"/>
                    <a:pt x="4" y="41"/>
                    <a:pt x="3" y="40"/>
                  </a:cubicBezTo>
                  <a:cubicBezTo>
                    <a:pt x="4" y="40"/>
                    <a:pt x="4" y="40"/>
                    <a:pt x="4" y="40"/>
                  </a:cubicBezTo>
                  <a:cubicBezTo>
                    <a:pt x="3" y="40"/>
                    <a:pt x="3" y="40"/>
                    <a:pt x="3" y="40"/>
                  </a:cubicBezTo>
                  <a:cubicBezTo>
                    <a:pt x="4" y="40"/>
                    <a:pt x="4" y="40"/>
                    <a:pt x="4" y="40"/>
                  </a:cubicBezTo>
                  <a:cubicBezTo>
                    <a:pt x="4" y="35"/>
                    <a:pt x="3" y="30"/>
                    <a:pt x="3" y="24"/>
                  </a:cubicBezTo>
                  <a:cubicBezTo>
                    <a:pt x="3" y="24"/>
                    <a:pt x="3" y="24"/>
                    <a:pt x="3" y="24"/>
                  </a:cubicBezTo>
                  <a:cubicBezTo>
                    <a:pt x="3" y="23"/>
                    <a:pt x="3" y="23"/>
                    <a:pt x="3" y="23"/>
                  </a:cubicBezTo>
                  <a:cubicBezTo>
                    <a:pt x="3" y="23"/>
                    <a:pt x="3" y="24"/>
                    <a:pt x="3" y="24"/>
                  </a:cubicBezTo>
                  <a:cubicBezTo>
                    <a:pt x="4" y="22"/>
                    <a:pt x="3" y="21"/>
                    <a:pt x="3" y="20"/>
                  </a:cubicBezTo>
                  <a:cubicBezTo>
                    <a:pt x="3" y="20"/>
                    <a:pt x="3" y="20"/>
                    <a:pt x="3" y="20"/>
                  </a:cubicBezTo>
                  <a:cubicBezTo>
                    <a:pt x="3" y="19"/>
                    <a:pt x="4" y="18"/>
                    <a:pt x="3" y="18"/>
                  </a:cubicBezTo>
                  <a:cubicBezTo>
                    <a:pt x="3" y="18"/>
                    <a:pt x="3" y="18"/>
                    <a:pt x="3" y="18"/>
                  </a:cubicBezTo>
                  <a:cubicBezTo>
                    <a:pt x="3" y="15"/>
                    <a:pt x="3" y="12"/>
                    <a:pt x="3" y="10"/>
                  </a:cubicBezTo>
                  <a:cubicBezTo>
                    <a:pt x="3" y="9"/>
                    <a:pt x="3" y="9"/>
                    <a:pt x="3" y="8"/>
                  </a:cubicBezTo>
                  <a:cubicBezTo>
                    <a:pt x="3" y="8"/>
                    <a:pt x="3" y="8"/>
                    <a:pt x="3" y="7"/>
                  </a:cubicBezTo>
                  <a:cubicBezTo>
                    <a:pt x="3" y="7"/>
                    <a:pt x="3" y="7"/>
                    <a:pt x="3" y="7"/>
                  </a:cubicBezTo>
                  <a:cubicBezTo>
                    <a:pt x="3" y="6"/>
                    <a:pt x="4" y="5"/>
                    <a:pt x="4" y="4"/>
                  </a:cubicBezTo>
                  <a:cubicBezTo>
                    <a:pt x="4" y="4"/>
                    <a:pt x="4" y="4"/>
                    <a:pt x="4" y="4"/>
                  </a:cubicBezTo>
                  <a:cubicBezTo>
                    <a:pt x="5" y="2"/>
                    <a:pt x="6" y="2"/>
                    <a:pt x="8" y="1"/>
                  </a:cubicBezTo>
                  <a:cubicBezTo>
                    <a:pt x="9" y="1"/>
                    <a:pt x="11" y="2"/>
                    <a:pt x="12" y="2"/>
                  </a:cubicBezTo>
                  <a:cubicBezTo>
                    <a:pt x="13" y="3"/>
                    <a:pt x="14" y="3"/>
                    <a:pt x="15" y="4"/>
                  </a:cubicBezTo>
                  <a:cubicBezTo>
                    <a:pt x="15" y="4"/>
                    <a:pt x="15" y="4"/>
                    <a:pt x="15" y="4"/>
                  </a:cubicBezTo>
                  <a:cubicBezTo>
                    <a:pt x="15" y="4"/>
                    <a:pt x="15" y="4"/>
                    <a:pt x="15" y="5"/>
                  </a:cubicBezTo>
                  <a:cubicBezTo>
                    <a:pt x="16" y="5"/>
                    <a:pt x="16" y="5"/>
                    <a:pt x="16" y="5"/>
                  </a:cubicBezTo>
                  <a:cubicBezTo>
                    <a:pt x="16" y="5"/>
                    <a:pt x="16" y="6"/>
                    <a:pt x="16" y="6"/>
                  </a:cubicBezTo>
                  <a:cubicBezTo>
                    <a:pt x="16" y="7"/>
                    <a:pt x="16" y="7"/>
                    <a:pt x="16" y="7"/>
                  </a:cubicBezTo>
                  <a:cubicBezTo>
                    <a:pt x="16" y="8"/>
                    <a:pt x="16" y="9"/>
                    <a:pt x="17" y="10"/>
                  </a:cubicBezTo>
                  <a:cubicBezTo>
                    <a:pt x="16" y="10"/>
                    <a:pt x="16" y="10"/>
                    <a:pt x="16" y="10"/>
                  </a:cubicBezTo>
                  <a:cubicBezTo>
                    <a:pt x="17" y="10"/>
                    <a:pt x="16" y="11"/>
                    <a:pt x="17" y="11"/>
                  </a:cubicBezTo>
                  <a:cubicBezTo>
                    <a:pt x="17" y="12"/>
                    <a:pt x="17" y="12"/>
                    <a:pt x="17" y="12"/>
                  </a:cubicBezTo>
                  <a:cubicBezTo>
                    <a:pt x="18" y="13"/>
                    <a:pt x="16" y="14"/>
                    <a:pt x="17" y="16"/>
                  </a:cubicBezTo>
                  <a:cubicBezTo>
                    <a:pt x="17" y="16"/>
                    <a:pt x="17" y="16"/>
                    <a:pt x="17" y="16"/>
                  </a:cubicBezTo>
                  <a:cubicBezTo>
                    <a:pt x="17" y="17"/>
                    <a:pt x="17" y="17"/>
                    <a:pt x="17" y="17"/>
                  </a:cubicBezTo>
                  <a:cubicBezTo>
                    <a:pt x="17" y="17"/>
                    <a:pt x="17" y="17"/>
                    <a:pt x="17" y="17"/>
                  </a:cubicBezTo>
                  <a:cubicBezTo>
                    <a:pt x="16" y="19"/>
                    <a:pt x="17" y="21"/>
                    <a:pt x="17" y="22"/>
                  </a:cubicBezTo>
                  <a:cubicBezTo>
                    <a:pt x="16" y="22"/>
                    <a:pt x="16" y="22"/>
                    <a:pt x="16" y="22"/>
                  </a:cubicBezTo>
                  <a:cubicBezTo>
                    <a:pt x="17" y="23"/>
                    <a:pt x="16" y="24"/>
                    <a:pt x="17" y="25"/>
                  </a:cubicBezTo>
                  <a:cubicBezTo>
                    <a:pt x="16" y="25"/>
                    <a:pt x="16" y="25"/>
                    <a:pt x="16" y="25"/>
                  </a:cubicBezTo>
                  <a:cubicBezTo>
                    <a:pt x="17" y="26"/>
                    <a:pt x="17" y="26"/>
                    <a:pt x="17" y="26"/>
                  </a:cubicBezTo>
                  <a:cubicBezTo>
                    <a:pt x="16" y="26"/>
                    <a:pt x="16" y="26"/>
                    <a:pt x="16" y="26"/>
                  </a:cubicBezTo>
                  <a:cubicBezTo>
                    <a:pt x="16" y="27"/>
                    <a:pt x="17" y="28"/>
                    <a:pt x="17" y="30"/>
                  </a:cubicBez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7">
              <a:extLst>
                <a:ext uri="{FF2B5EF4-FFF2-40B4-BE49-F238E27FC236}">
                  <a16:creationId xmlns:a16="http://schemas.microsoft.com/office/drawing/2014/main" id="{7828D049-B2A0-40F5-A13F-8116F46EA676}"/>
                </a:ext>
              </a:extLst>
            </p:cNvPr>
            <p:cNvSpPr>
              <a:spLocks/>
            </p:cNvSpPr>
            <p:nvPr/>
          </p:nvSpPr>
          <p:spPr bwMode="auto">
            <a:xfrm>
              <a:off x="384175" y="119697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8">
              <a:extLst>
                <a:ext uri="{FF2B5EF4-FFF2-40B4-BE49-F238E27FC236}">
                  <a16:creationId xmlns:a16="http://schemas.microsoft.com/office/drawing/2014/main" id="{DD6096BE-B1F0-4797-B114-43AB84AAC869}"/>
                </a:ext>
              </a:extLst>
            </p:cNvPr>
            <p:cNvSpPr>
              <a:spLocks/>
            </p:cNvSpPr>
            <p:nvPr/>
          </p:nvSpPr>
          <p:spPr bwMode="auto">
            <a:xfrm>
              <a:off x="374650" y="129698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9">
              <a:extLst>
                <a:ext uri="{FF2B5EF4-FFF2-40B4-BE49-F238E27FC236}">
                  <a16:creationId xmlns:a16="http://schemas.microsoft.com/office/drawing/2014/main" id="{C2EEC3A4-C3CA-42C2-8E14-24ABFD39CAE3}"/>
                </a:ext>
              </a:extLst>
            </p:cNvPr>
            <p:cNvSpPr>
              <a:spLocks/>
            </p:cNvSpPr>
            <p:nvPr/>
          </p:nvSpPr>
          <p:spPr bwMode="auto">
            <a:xfrm>
              <a:off x="762000" y="998538"/>
              <a:ext cx="71438" cy="331788"/>
            </a:xfrm>
            <a:custGeom>
              <a:avLst/>
              <a:gdLst>
                <a:gd name="T0" fmla="*/ 15 w 15"/>
                <a:gd name="T1" fmla="*/ 62 h 70"/>
                <a:gd name="T2" fmla="*/ 7 w 15"/>
                <a:gd name="T3" fmla="*/ 70 h 70"/>
                <a:gd name="T4" fmla="*/ 7 w 15"/>
                <a:gd name="T5" fmla="*/ 70 h 70"/>
                <a:gd name="T6" fmla="*/ 0 w 15"/>
                <a:gd name="T7" fmla="*/ 62 h 70"/>
                <a:gd name="T8" fmla="*/ 0 w 15"/>
                <a:gd name="T9" fmla="*/ 8 h 70"/>
                <a:gd name="T10" fmla="*/ 7 w 15"/>
                <a:gd name="T11" fmla="*/ 0 h 70"/>
                <a:gd name="T12" fmla="*/ 7 w 15"/>
                <a:gd name="T13" fmla="*/ 0 h 70"/>
                <a:gd name="T14" fmla="*/ 15 w 15"/>
                <a:gd name="T15" fmla="*/ 8 h 70"/>
                <a:gd name="T16" fmla="*/ 15 w 15"/>
                <a:gd name="T17" fmla="*/ 6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70">
                  <a:moveTo>
                    <a:pt x="15" y="62"/>
                  </a:moveTo>
                  <a:cubicBezTo>
                    <a:pt x="15" y="66"/>
                    <a:pt x="12" y="70"/>
                    <a:pt x="7" y="70"/>
                  </a:cubicBezTo>
                  <a:cubicBezTo>
                    <a:pt x="7" y="70"/>
                    <a:pt x="7" y="70"/>
                    <a:pt x="7" y="70"/>
                  </a:cubicBezTo>
                  <a:cubicBezTo>
                    <a:pt x="3" y="70"/>
                    <a:pt x="0" y="66"/>
                    <a:pt x="0" y="62"/>
                  </a:cubicBezTo>
                  <a:cubicBezTo>
                    <a:pt x="0" y="8"/>
                    <a:pt x="0" y="8"/>
                    <a:pt x="0" y="8"/>
                  </a:cubicBezTo>
                  <a:cubicBezTo>
                    <a:pt x="0" y="3"/>
                    <a:pt x="3" y="0"/>
                    <a:pt x="7" y="0"/>
                  </a:cubicBezTo>
                  <a:cubicBezTo>
                    <a:pt x="7" y="0"/>
                    <a:pt x="7" y="0"/>
                    <a:pt x="7" y="0"/>
                  </a:cubicBezTo>
                  <a:cubicBezTo>
                    <a:pt x="12" y="0"/>
                    <a:pt x="15" y="3"/>
                    <a:pt x="15" y="8"/>
                  </a:cubicBezTo>
                  <a:lnTo>
                    <a:pt x="15" y="62"/>
                  </a:ln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30">
              <a:extLst>
                <a:ext uri="{FF2B5EF4-FFF2-40B4-BE49-F238E27FC236}">
                  <a16:creationId xmlns:a16="http://schemas.microsoft.com/office/drawing/2014/main" id="{CFD333EE-D692-443E-8EA0-E63B02BB4199}"/>
                </a:ext>
              </a:extLst>
            </p:cNvPr>
            <p:cNvSpPr>
              <a:spLocks/>
            </p:cNvSpPr>
            <p:nvPr/>
          </p:nvSpPr>
          <p:spPr bwMode="auto">
            <a:xfrm>
              <a:off x="842963" y="1292226"/>
              <a:ext cx="4763" cy="0"/>
            </a:xfrm>
            <a:custGeom>
              <a:avLst/>
              <a:gdLst>
                <a:gd name="T0" fmla="*/ 3 w 3"/>
                <a:gd name="T1" fmla="*/ 3 w 3"/>
                <a:gd name="T2" fmla="*/ 0 w 3"/>
                <a:gd name="T3" fmla="*/ 3 w 3"/>
              </a:gdLst>
              <a:ahLst/>
              <a:cxnLst>
                <a:cxn ang="0">
                  <a:pos x="T0" y="0"/>
                </a:cxn>
                <a:cxn ang="0">
                  <a:pos x="T1" y="0"/>
                </a:cxn>
                <a:cxn ang="0">
                  <a:pos x="T2" y="0"/>
                </a:cxn>
                <a:cxn ang="0">
                  <a:pos x="T3" y="0"/>
                </a:cxn>
              </a:cxnLst>
              <a:rect l="0" t="0" r="r" b="b"/>
              <a:pathLst>
                <a:path w="3">
                  <a:moveTo>
                    <a:pt x="3" y="0"/>
                  </a:moveTo>
                  <a:lnTo>
                    <a:pt x="3" y="0"/>
                  </a:lnTo>
                  <a:lnTo>
                    <a:pt x="0" y="0"/>
                  </a:lnTo>
                  <a:lnTo>
                    <a:pt x="3" y="0"/>
                  </a:ln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31">
              <a:extLst>
                <a:ext uri="{FF2B5EF4-FFF2-40B4-BE49-F238E27FC236}">
                  <a16:creationId xmlns:a16="http://schemas.microsoft.com/office/drawing/2014/main" id="{7B6D8741-3CC8-4761-B1AB-C931011234A3}"/>
                </a:ext>
              </a:extLst>
            </p:cNvPr>
            <p:cNvSpPr>
              <a:spLocks/>
            </p:cNvSpPr>
            <p:nvPr/>
          </p:nvSpPr>
          <p:spPr bwMode="auto">
            <a:xfrm>
              <a:off x="838200" y="1287463"/>
              <a:ext cx="9525" cy="4763"/>
            </a:xfrm>
            <a:custGeom>
              <a:avLst/>
              <a:gdLst>
                <a:gd name="T0" fmla="*/ 1 w 2"/>
                <a:gd name="T1" fmla="*/ 0 h 1"/>
                <a:gd name="T2" fmla="*/ 1 w 2"/>
                <a:gd name="T3" fmla="*/ 0 h 1"/>
                <a:gd name="T4" fmla="*/ 2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1" y="0"/>
                    <a:pt x="1" y="0"/>
                    <a:pt x="1" y="0"/>
                  </a:cubicBezTo>
                  <a:cubicBezTo>
                    <a:pt x="2" y="1"/>
                    <a:pt x="2" y="1"/>
                    <a:pt x="2" y="1"/>
                  </a:cubicBezTo>
                  <a:cubicBezTo>
                    <a:pt x="2" y="0"/>
                    <a:pt x="0" y="0"/>
                    <a:pt x="1" y="0"/>
                  </a:cubicBez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32">
              <a:extLst>
                <a:ext uri="{FF2B5EF4-FFF2-40B4-BE49-F238E27FC236}">
                  <a16:creationId xmlns:a16="http://schemas.microsoft.com/office/drawing/2014/main" id="{43E2D26D-0ADF-49D6-B27B-3CD7A141F080}"/>
                </a:ext>
              </a:extLst>
            </p:cNvPr>
            <p:cNvSpPr>
              <a:spLocks/>
            </p:cNvSpPr>
            <p:nvPr/>
          </p:nvSpPr>
          <p:spPr bwMode="auto">
            <a:xfrm>
              <a:off x="838200" y="1282701"/>
              <a:ext cx="4763" cy="4763"/>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0"/>
                    <a:pt x="1" y="0"/>
                    <a:pt x="0" y="0"/>
                  </a:cubicBezTo>
                  <a:cubicBezTo>
                    <a:pt x="1" y="0"/>
                    <a:pt x="0" y="1"/>
                    <a:pt x="1" y="1"/>
                  </a:cubicBez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33">
              <a:extLst>
                <a:ext uri="{FF2B5EF4-FFF2-40B4-BE49-F238E27FC236}">
                  <a16:creationId xmlns:a16="http://schemas.microsoft.com/office/drawing/2014/main" id="{ECAC86E1-6447-45A8-B958-4F5D4FC6AC3E}"/>
                </a:ext>
              </a:extLst>
            </p:cNvPr>
            <p:cNvSpPr>
              <a:spLocks/>
            </p:cNvSpPr>
            <p:nvPr/>
          </p:nvSpPr>
          <p:spPr bwMode="auto">
            <a:xfrm>
              <a:off x="842963" y="116363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34">
              <a:extLst>
                <a:ext uri="{FF2B5EF4-FFF2-40B4-BE49-F238E27FC236}">
                  <a16:creationId xmlns:a16="http://schemas.microsoft.com/office/drawing/2014/main" id="{AC00251A-309F-4507-AB5C-E13609D4B1BC}"/>
                </a:ext>
              </a:extLst>
            </p:cNvPr>
            <p:cNvSpPr>
              <a:spLocks/>
            </p:cNvSpPr>
            <p:nvPr/>
          </p:nvSpPr>
          <p:spPr bwMode="auto">
            <a:xfrm>
              <a:off x="752475" y="993776"/>
              <a:ext cx="95250" cy="336550"/>
            </a:xfrm>
            <a:custGeom>
              <a:avLst/>
              <a:gdLst>
                <a:gd name="T0" fmla="*/ 17 w 20"/>
                <a:gd name="T1" fmla="*/ 34 h 71"/>
                <a:gd name="T2" fmla="*/ 17 w 20"/>
                <a:gd name="T3" fmla="*/ 43 h 71"/>
                <a:gd name="T4" fmla="*/ 17 w 20"/>
                <a:gd name="T5" fmla="*/ 46 h 71"/>
                <a:gd name="T6" fmla="*/ 18 w 20"/>
                <a:gd name="T7" fmla="*/ 54 h 71"/>
                <a:gd name="T8" fmla="*/ 19 w 20"/>
                <a:gd name="T9" fmla="*/ 59 h 71"/>
                <a:gd name="T10" fmla="*/ 20 w 20"/>
                <a:gd name="T11" fmla="*/ 58 h 71"/>
                <a:gd name="T12" fmla="*/ 19 w 20"/>
                <a:gd name="T13" fmla="*/ 53 h 71"/>
                <a:gd name="T14" fmla="*/ 19 w 20"/>
                <a:gd name="T15" fmla="*/ 36 h 71"/>
                <a:gd name="T16" fmla="*/ 19 w 20"/>
                <a:gd name="T17" fmla="*/ 19 h 71"/>
                <a:gd name="T18" fmla="*/ 19 w 20"/>
                <a:gd name="T19" fmla="*/ 6 h 71"/>
                <a:gd name="T20" fmla="*/ 16 w 20"/>
                <a:gd name="T21" fmla="*/ 3 h 71"/>
                <a:gd name="T22" fmla="*/ 14 w 20"/>
                <a:gd name="T23" fmla="*/ 1 h 71"/>
                <a:gd name="T24" fmla="*/ 11 w 20"/>
                <a:gd name="T25" fmla="*/ 0 h 71"/>
                <a:gd name="T26" fmla="*/ 2 w 20"/>
                <a:gd name="T27" fmla="*/ 6 h 71"/>
                <a:gd name="T28" fmla="*/ 1 w 20"/>
                <a:gd name="T29" fmla="*/ 13 h 71"/>
                <a:gd name="T30" fmla="*/ 1 w 20"/>
                <a:gd name="T31" fmla="*/ 30 h 71"/>
                <a:gd name="T32" fmla="*/ 2 w 20"/>
                <a:gd name="T33" fmla="*/ 63 h 71"/>
                <a:gd name="T34" fmla="*/ 11 w 20"/>
                <a:gd name="T35" fmla="*/ 70 h 71"/>
                <a:gd name="T36" fmla="*/ 15 w 20"/>
                <a:gd name="T37" fmla="*/ 69 h 71"/>
                <a:gd name="T38" fmla="*/ 16 w 20"/>
                <a:gd name="T39" fmla="*/ 67 h 71"/>
                <a:gd name="T40" fmla="*/ 16 w 20"/>
                <a:gd name="T41" fmla="*/ 66 h 71"/>
                <a:gd name="T42" fmla="*/ 16 w 20"/>
                <a:gd name="T43" fmla="*/ 65 h 71"/>
                <a:gd name="T44" fmla="*/ 19 w 20"/>
                <a:gd name="T45" fmla="*/ 64 h 71"/>
                <a:gd name="T46" fmla="*/ 17 w 20"/>
                <a:gd name="T47" fmla="*/ 63 h 71"/>
                <a:gd name="T48" fmla="*/ 15 w 20"/>
                <a:gd name="T49" fmla="*/ 64 h 71"/>
                <a:gd name="T50" fmla="*/ 14 w 20"/>
                <a:gd name="T51" fmla="*/ 65 h 71"/>
                <a:gd name="T52" fmla="*/ 11 w 20"/>
                <a:gd name="T53" fmla="*/ 69 h 71"/>
                <a:gd name="T54" fmla="*/ 10 w 20"/>
                <a:gd name="T55" fmla="*/ 68 h 71"/>
                <a:gd name="T56" fmla="*/ 8 w 20"/>
                <a:gd name="T57" fmla="*/ 68 h 71"/>
                <a:gd name="T58" fmla="*/ 4 w 20"/>
                <a:gd name="T59" fmla="*/ 66 h 71"/>
                <a:gd name="T60" fmla="*/ 4 w 20"/>
                <a:gd name="T61" fmla="*/ 62 h 71"/>
                <a:gd name="T62" fmla="*/ 4 w 20"/>
                <a:gd name="T63" fmla="*/ 56 h 71"/>
                <a:gd name="T64" fmla="*/ 5 w 20"/>
                <a:gd name="T65" fmla="*/ 45 h 71"/>
                <a:gd name="T66" fmla="*/ 3 w 20"/>
                <a:gd name="T67" fmla="*/ 42 h 71"/>
                <a:gd name="T68" fmla="*/ 4 w 20"/>
                <a:gd name="T69" fmla="*/ 40 h 71"/>
                <a:gd name="T70" fmla="*/ 3 w 20"/>
                <a:gd name="T71" fmla="*/ 24 h 71"/>
                <a:gd name="T72" fmla="*/ 3 w 20"/>
                <a:gd name="T73" fmla="*/ 24 h 71"/>
                <a:gd name="T74" fmla="*/ 3 w 20"/>
                <a:gd name="T75" fmla="*/ 18 h 71"/>
                <a:gd name="T76" fmla="*/ 3 w 20"/>
                <a:gd name="T77" fmla="*/ 8 h 71"/>
                <a:gd name="T78" fmla="*/ 4 w 20"/>
                <a:gd name="T79" fmla="*/ 4 h 71"/>
                <a:gd name="T80" fmla="*/ 12 w 20"/>
                <a:gd name="T81" fmla="*/ 2 h 71"/>
                <a:gd name="T82" fmla="*/ 16 w 20"/>
                <a:gd name="T83" fmla="*/ 5 h 71"/>
                <a:gd name="T84" fmla="*/ 16 w 20"/>
                <a:gd name="T85" fmla="*/ 7 h 71"/>
                <a:gd name="T86" fmla="*/ 17 w 20"/>
                <a:gd name="T87" fmla="*/ 11 h 71"/>
                <a:gd name="T88" fmla="*/ 17 w 20"/>
                <a:gd name="T89" fmla="*/ 16 h 71"/>
                <a:gd name="T90" fmla="*/ 17 w 20"/>
                <a:gd name="T91" fmla="*/ 22 h 71"/>
                <a:gd name="T92" fmla="*/ 16 w 20"/>
                <a:gd name="T93" fmla="*/ 25 h 71"/>
                <a:gd name="T94" fmla="*/ 17 w 20"/>
                <a:gd name="T95" fmla="*/ 3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 h="71">
                  <a:moveTo>
                    <a:pt x="17" y="30"/>
                  </a:moveTo>
                  <a:cubicBezTo>
                    <a:pt x="16" y="30"/>
                    <a:pt x="16" y="30"/>
                    <a:pt x="16" y="30"/>
                  </a:cubicBezTo>
                  <a:cubicBezTo>
                    <a:pt x="17" y="31"/>
                    <a:pt x="16" y="32"/>
                    <a:pt x="17" y="34"/>
                  </a:cubicBezTo>
                  <a:cubicBezTo>
                    <a:pt x="17" y="34"/>
                    <a:pt x="17" y="34"/>
                    <a:pt x="17" y="34"/>
                  </a:cubicBezTo>
                  <a:cubicBezTo>
                    <a:pt x="16" y="37"/>
                    <a:pt x="17" y="40"/>
                    <a:pt x="17" y="43"/>
                  </a:cubicBezTo>
                  <a:cubicBezTo>
                    <a:pt x="17" y="43"/>
                    <a:pt x="17" y="43"/>
                    <a:pt x="17" y="43"/>
                  </a:cubicBezTo>
                  <a:cubicBezTo>
                    <a:pt x="17" y="43"/>
                    <a:pt x="18" y="43"/>
                    <a:pt x="18" y="44"/>
                  </a:cubicBezTo>
                  <a:cubicBezTo>
                    <a:pt x="17" y="44"/>
                    <a:pt x="17" y="44"/>
                    <a:pt x="17" y="43"/>
                  </a:cubicBezTo>
                  <a:cubicBezTo>
                    <a:pt x="17" y="44"/>
                    <a:pt x="18" y="46"/>
                    <a:pt x="17" y="46"/>
                  </a:cubicBezTo>
                  <a:cubicBezTo>
                    <a:pt x="17" y="46"/>
                    <a:pt x="18" y="46"/>
                    <a:pt x="18" y="46"/>
                  </a:cubicBezTo>
                  <a:cubicBezTo>
                    <a:pt x="18" y="49"/>
                    <a:pt x="18" y="51"/>
                    <a:pt x="19" y="54"/>
                  </a:cubicBezTo>
                  <a:cubicBezTo>
                    <a:pt x="19" y="54"/>
                    <a:pt x="18" y="54"/>
                    <a:pt x="18" y="54"/>
                  </a:cubicBezTo>
                  <a:cubicBezTo>
                    <a:pt x="19" y="56"/>
                    <a:pt x="19" y="59"/>
                    <a:pt x="19" y="61"/>
                  </a:cubicBezTo>
                  <a:cubicBezTo>
                    <a:pt x="19" y="61"/>
                    <a:pt x="19" y="61"/>
                    <a:pt x="19" y="61"/>
                  </a:cubicBezTo>
                  <a:cubicBezTo>
                    <a:pt x="20" y="60"/>
                    <a:pt x="19" y="60"/>
                    <a:pt x="19" y="59"/>
                  </a:cubicBezTo>
                  <a:cubicBezTo>
                    <a:pt x="19" y="59"/>
                    <a:pt x="19" y="59"/>
                    <a:pt x="19" y="59"/>
                  </a:cubicBezTo>
                  <a:cubicBezTo>
                    <a:pt x="20" y="59"/>
                    <a:pt x="19" y="59"/>
                    <a:pt x="19" y="59"/>
                  </a:cubicBezTo>
                  <a:cubicBezTo>
                    <a:pt x="19" y="58"/>
                    <a:pt x="20" y="59"/>
                    <a:pt x="20" y="58"/>
                  </a:cubicBezTo>
                  <a:cubicBezTo>
                    <a:pt x="19" y="57"/>
                    <a:pt x="20" y="56"/>
                    <a:pt x="19" y="55"/>
                  </a:cubicBezTo>
                  <a:cubicBezTo>
                    <a:pt x="20" y="55"/>
                    <a:pt x="19" y="54"/>
                    <a:pt x="20" y="54"/>
                  </a:cubicBezTo>
                  <a:cubicBezTo>
                    <a:pt x="19" y="54"/>
                    <a:pt x="19" y="53"/>
                    <a:pt x="19" y="53"/>
                  </a:cubicBezTo>
                  <a:cubicBezTo>
                    <a:pt x="19" y="50"/>
                    <a:pt x="19" y="46"/>
                    <a:pt x="19" y="42"/>
                  </a:cubicBezTo>
                  <a:cubicBezTo>
                    <a:pt x="17" y="41"/>
                    <a:pt x="19" y="38"/>
                    <a:pt x="19" y="36"/>
                  </a:cubicBezTo>
                  <a:cubicBezTo>
                    <a:pt x="19" y="36"/>
                    <a:pt x="19" y="36"/>
                    <a:pt x="19" y="36"/>
                  </a:cubicBezTo>
                  <a:cubicBezTo>
                    <a:pt x="18" y="36"/>
                    <a:pt x="18" y="35"/>
                    <a:pt x="18" y="34"/>
                  </a:cubicBezTo>
                  <a:cubicBezTo>
                    <a:pt x="18" y="33"/>
                    <a:pt x="18" y="33"/>
                    <a:pt x="18" y="33"/>
                  </a:cubicBezTo>
                  <a:cubicBezTo>
                    <a:pt x="19" y="28"/>
                    <a:pt x="18" y="24"/>
                    <a:pt x="19" y="19"/>
                  </a:cubicBezTo>
                  <a:cubicBezTo>
                    <a:pt x="19" y="16"/>
                    <a:pt x="19" y="13"/>
                    <a:pt x="19" y="11"/>
                  </a:cubicBezTo>
                  <a:cubicBezTo>
                    <a:pt x="19" y="10"/>
                    <a:pt x="19" y="9"/>
                    <a:pt x="19" y="9"/>
                  </a:cubicBezTo>
                  <a:cubicBezTo>
                    <a:pt x="19" y="8"/>
                    <a:pt x="19" y="7"/>
                    <a:pt x="19" y="6"/>
                  </a:cubicBezTo>
                  <a:cubicBezTo>
                    <a:pt x="19" y="6"/>
                    <a:pt x="18" y="6"/>
                    <a:pt x="18" y="5"/>
                  </a:cubicBezTo>
                  <a:cubicBezTo>
                    <a:pt x="18" y="5"/>
                    <a:pt x="18" y="5"/>
                    <a:pt x="18" y="4"/>
                  </a:cubicBezTo>
                  <a:cubicBezTo>
                    <a:pt x="17" y="4"/>
                    <a:pt x="16" y="3"/>
                    <a:pt x="16" y="3"/>
                  </a:cubicBezTo>
                  <a:cubicBezTo>
                    <a:pt x="16" y="3"/>
                    <a:pt x="16" y="2"/>
                    <a:pt x="16" y="3"/>
                  </a:cubicBezTo>
                  <a:cubicBezTo>
                    <a:pt x="16" y="2"/>
                    <a:pt x="15" y="2"/>
                    <a:pt x="15" y="2"/>
                  </a:cubicBezTo>
                  <a:cubicBezTo>
                    <a:pt x="14" y="1"/>
                    <a:pt x="14" y="1"/>
                    <a:pt x="14" y="1"/>
                  </a:cubicBezTo>
                  <a:cubicBezTo>
                    <a:pt x="14" y="1"/>
                    <a:pt x="14" y="1"/>
                    <a:pt x="14" y="1"/>
                  </a:cubicBezTo>
                  <a:cubicBezTo>
                    <a:pt x="13" y="1"/>
                    <a:pt x="13" y="0"/>
                    <a:pt x="13" y="0"/>
                  </a:cubicBezTo>
                  <a:cubicBezTo>
                    <a:pt x="12" y="0"/>
                    <a:pt x="12" y="0"/>
                    <a:pt x="11" y="0"/>
                  </a:cubicBezTo>
                  <a:cubicBezTo>
                    <a:pt x="12" y="0"/>
                    <a:pt x="12" y="0"/>
                    <a:pt x="12" y="0"/>
                  </a:cubicBezTo>
                  <a:cubicBezTo>
                    <a:pt x="9" y="0"/>
                    <a:pt x="7" y="0"/>
                    <a:pt x="5" y="1"/>
                  </a:cubicBezTo>
                  <a:cubicBezTo>
                    <a:pt x="3" y="2"/>
                    <a:pt x="2" y="4"/>
                    <a:pt x="2" y="6"/>
                  </a:cubicBezTo>
                  <a:cubicBezTo>
                    <a:pt x="2" y="7"/>
                    <a:pt x="2" y="7"/>
                    <a:pt x="2" y="8"/>
                  </a:cubicBezTo>
                  <a:cubicBezTo>
                    <a:pt x="1" y="8"/>
                    <a:pt x="1" y="9"/>
                    <a:pt x="1" y="9"/>
                  </a:cubicBezTo>
                  <a:cubicBezTo>
                    <a:pt x="1" y="11"/>
                    <a:pt x="1" y="12"/>
                    <a:pt x="1" y="13"/>
                  </a:cubicBezTo>
                  <a:cubicBezTo>
                    <a:pt x="1" y="15"/>
                    <a:pt x="2" y="17"/>
                    <a:pt x="2" y="20"/>
                  </a:cubicBezTo>
                  <a:cubicBezTo>
                    <a:pt x="2" y="20"/>
                    <a:pt x="2" y="20"/>
                    <a:pt x="2" y="20"/>
                  </a:cubicBezTo>
                  <a:cubicBezTo>
                    <a:pt x="2" y="23"/>
                    <a:pt x="1" y="27"/>
                    <a:pt x="1" y="30"/>
                  </a:cubicBezTo>
                  <a:cubicBezTo>
                    <a:pt x="1" y="34"/>
                    <a:pt x="3" y="38"/>
                    <a:pt x="2" y="42"/>
                  </a:cubicBezTo>
                  <a:cubicBezTo>
                    <a:pt x="1" y="44"/>
                    <a:pt x="3" y="47"/>
                    <a:pt x="2" y="49"/>
                  </a:cubicBezTo>
                  <a:cubicBezTo>
                    <a:pt x="0" y="54"/>
                    <a:pt x="1" y="58"/>
                    <a:pt x="2" y="63"/>
                  </a:cubicBezTo>
                  <a:cubicBezTo>
                    <a:pt x="2" y="65"/>
                    <a:pt x="3" y="67"/>
                    <a:pt x="4" y="68"/>
                  </a:cubicBezTo>
                  <a:cubicBezTo>
                    <a:pt x="6" y="69"/>
                    <a:pt x="7" y="70"/>
                    <a:pt x="9" y="71"/>
                  </a:cubicBezTo>
                  <a:cubicBezTo>
                    <a:pt x="10" y="70"/>
                    <a:pt x="10" y="70"/>
                    <a:pt x="11" y="70"/>
                  </a:cubicBezTo>
                  <a:cubicBezTo>
                    <a:pt x="11" y="70"/>
                    <a:pt x="12" y="70"/>
                    <a:pt x="12" y="70"/>
                  </a:cubicBezTo>
                  <a:cubicBezTo>
                    <a:pt x="13" y="70"/>
                    <a:pt x="13" y="70"/>
                    <a:pt x="14" y="70"/>
                  </a:cubicBezTo>
                  <a:cubicBezTo>
                    <a:pt x="14" y="70"/>
                    <a:pt x="15" y="69"/>
                    <a:pt x="15" y="69"/>
                  </a:cubicBezTo>
                  <a:cubicBezTo>
                    <a:pt x="15" y="69"/>
                    <a:pt x="15" y="69"/>
                    <a:pt x="15" y="69"/>
                  </a:cubicBezTo>
                  <a:cubicBezTo>
                    <a:pt x="16" y="69"/>
                    <a:pt x="16" y="68"/>
                    <a:pt x="16" y="68"/>
                  </a:cubicBezTo>
                  <a:cubicBezTo>
                    <a:pt x="16" y="67"/>
                    <a:pt x="16" y="67"/>
                    <a:pt x="16" y="67"/>
                  </a:cubicBezTo>
                  <a:cubicBezTo>
                    <a:pt x="16" y="67"/>
                    <a:pt x="16" y="67"/>
                    <a:pt x="16" y="67"/>
                  </a:cubicBezTo>
                  <a:cubicBezTo>
                    <a:pt x="17" y="67"/>
                    <a:pt x="17" y="67"/>
                    <a:pt x="16" y="66"/>
                  </a:cubicBezTo>
                  <a:cubicBezTo>
                    <a:pt x="16" y="66"/>
                    <a:pt x="16" y="66"/>
                    <a:pt x="16" y="66"/>
                  </a:cubicBezTo>
                  <a:cubicBezTo>
                    <a:pt x="16" y="66"/>
                    <a:pt x="16" y="66"/>
                    <a:pt x="16" y="66"/>
                  </a:cubicBezTo>
                  <a:cubicBezTo>
                    <a:pt x="16" y="65"/>
                    <a:pt x="16" y="66"/>
                    <a:pt x="17" y="65"/>
                  </a:cubicBezTo>
                  <a:cubicBezTo>
                    <a:pt x="17" y="65"/>
                    <a:pt x="16" y="65"/>
                    <a:pt x="16" y="65"/>
                  </a:cubicBezTo>
                  <a:cubicBezTo>
                    <a:pt x="17" y="65"/>
                    <a:pt x="17" y="65"/>
                    <a:pt x="17" y="65"/>
                  </a:cubicBezTo>
                  <a:cubicBezTo>
                    <a:pt x="17" y="64"/>
                    <a:pt x="17" y="64"/>
                    <a:pt x="18" y="64"/>
                  </a:cubicBezTo>
                  <a:cubicBezTo>
                    <a:pt x="18" y="64"/>
                    <a:pt x="18" y="64"/>
                    <a:pt x="19" y="64"/>
                  </a:cubicBezTo>
                  <a:cubicBezTo>
                    <a:pt x="19" y="64"/>
                    <a:pt x="19" y="63"/>
                    <a:pt x="18" y="63"/>
                  </a:cubicBezTo>
                  <a:cubicBezTo>
                    <a:pt x="17" y="63"/>
                    <a:pt x="17" y="63"/>
                    <a:pt x="16" y="63"/>
                  </a:cubicBezTo>
                  <a:cubicBezTo>
                    <a:pt x="17" y="63"/>
                    <a:pt x="17" y="63"/>
                    <a:pt x="17" y="63"/>
                  </a:cubicBezTo>
                  <a:cubicBezTo>
                    <a:pt x="16" y="64"/>
                    <a:pt x="16" y="64"/>
                    <a:pt x="16" y="64"/>
                  </a:cubicBezTo>
                  <a:cubicBezTo>
                    <a:pt x="16" y="64"/>
                    <a:pt x="15" y="64"/>
                    <a:pt x="15" y="64"/>
                  </a:cubicBezTo>
                  <a:cubicBezTo>
                    <a:pt x="15" y="64"/>
                    <a:pt x="15" y="64"/>
                    <a:pt x="15" y="64"/>
                  </a:cubicBezTo>
                  <a:cubicBezTo>
                    <a:pt x="15" y="65"/>
                    <a:pt x="15" y="65"/>
                    <a:pt x="15" y="65"/>
                  </a:cubicBezTo>
                  <a:cubicBezTo>
                    <a:pt x="14" y="65"/>
                    <a:pt x="14" y="65"/>
                    <a:pt x="14" y="65"/>
                  </a:cubicBezTo>
                  <a:cubicBezTo>
                    <a:pt x="14" y="65"/>
                    <a:pt x="15" y="66"/>
                    <a:pt x="14" y="65"/>
                  </a:cubicBezTo>
                  <a:cubicBezTo>
                    <a:pt x="14" y="66"/>
                    <a:pt x="14" y="67"/>
                    <a:pt x="13" y="68"/>
                  </a:cubicBezTo>
                  <a:cubicBezTo>
                    <a:pt x="13" y="68"/>
                    <a:pt x="12" y="68"/>
                    <a:pt x="12" y="69"/>
                  </a:cubicBezTo>
                  <a:cubicBezTo>
                    <a:pt x="12" y="68"/>
                    <a:pt x="11" y="68"/>
                    <a:pt x="11" y="69"/>
                  </a:cubicBezTo>
                  <a:cubicBezTo>
                    <a:pt x="11" y="68"/>
                    <a:pt x="11" y="68"/>
                    <a:pt x="11" y="68"/>
                  </a:cubicBezTo>
                  <a:cubicBezTo>
                    <a:pt x="10" y="68"/>
                    <a:pt x="10" y="68"/>
                    <a:pt x="10" y="68"/>
                  </a:cubicBezTo>
                  <a:cubicBezTo>
                    <a:pt x="10" y="69"/>
                    <a:pt x="10" y="69"/>
                    <a:pt x="10" y="68"/>
                  </a:cubicBezTo>
                  <a:cubicBezTo>
                    <a:pt x="10" y="69"/>
                    <a:pt x="9" y="69"/>
                    <a:pt x="9" y="68"/>
                  </a:cubicBezTo>
                  <a:cubicBezTo>
                    <a:pt x="9" y="68"/>
                    <a:pt x="9" y="68"/>
                    <a:pt x="8" y="69"/>
                  </a:cubicBezTo>
                  <a:cubicBezTo>
                    <a:pt x="8" y="69"/>
                    <a:pt x="8" y="68"/>
                    <a:pt x="8" y="68"/>
                  </a:cubicBezTo>
                  <a:cubicBezTo>
                    <a:pt x="7" y="68"/>
                    <a:pt x="7" y="67"/>
                    <a:pt x="6" y="67"/>
                  </a:cubicBezTo>
                  <a:cubicBezTo>
                    <a:pt x="6" y="67"/>
                    <a:pt x="6" y="66"/>
                    <a:pt x="5" y="66"/>
                  </a:cubicBezTo>
                  <a:cubicBezTo>
                    <a:pt x="5" y="66"/>
                    <a:pt x="5" y="66"/>
                    <a:pt x="4" y="66"/>
                  </a:cubicBezTo>
                  <a:cubicBezTo>
                    <a:pt x="4" y="65"/>
                    <a:pt x="5" y="64"/>
                    <a:pt x="4" y="64"/>
                  </a:cubicBezTo>
                  <a:cubicBezTo>
                    <a:pt x="4" y="64"/>
                    <a:pt x="4" y="64"/>
                    <a:pt x="4" y="64"/>
                  </a:cubicBezTo>
                  <a:cubicBezTo>
                    <a:pt x="4" y="63"/>
                    <a:pt x="4" y="63"/>
                    <a:pt x="4" y="62"/>
                  </a:cubicBezTo>
                  <a:cubicBezTo>
                    <a:pt x="4" y="61"/>
                    <a:pt x="4" y="61"/>
                    <a:pt x="3" y="61"/>
                  </a:cubicBezTo>
                  <a:cubicBezTo>
                    <a:pt x="5" y="60"/>
                    <a:pt x="4" y="60"/>
                    <a:pt x="5" y="59"/>
                  </a:cubicBezTo>
                  <a:cubicBezTo>
                    <a:pt x="4" y="59"/>
                    <a:pt x="4" y="57"/>
                    <a:pt x="4" y="56"/>
                  </a:cubicBezTo>
                  <a:cubicBezTo>
                    <a:pt x="4" y="56"/>
                    <a:pt x="4" y="55"/>
                    <a:pt x="4" y="55"/>
                  </a:cubicBezTo>
                  <a:cubicBezTo>
                    <a:pt x="3" y="52"/>
                    <a:pt x="3" y="48"/>
                    <a:pt x="5" y="45"/>
                  </a:cubicBezTo>
                  <a:cubicBezTo>
                    <a:pt x="5" y="45"/>
                    <a:pt x="5" y="45"/>
                    <a:pt x="5" y="45"/>
                  </a:cubicBezTo>
                  <a:cubicBezTo>
                    <a:pt x="4" y="45"/>
                    <a:pt x="3" y="44"/>
                    <a:pt x="3" y="44"/>
                  </a:cubicBezTo>
                  <a:cubicBezTo>
                    <a:pt x="3" y="44"/>
                    <a:pt x="3" y="44"/>
                    <a:pt x="3" y="44"/>
                  </a:cubicBezTo>
                  <a:cubicBezTo>
                    <a:pt x="3" y="43"/>
                    <a:pt x="3" y="43"/>
                    <a:pt x="3" y="42"/>
                  </a:cubicBezTo>
                  <a:cubicBezTo>
                    <a:pt x="3" y="42"/>
                    <a:pt x="3" y="42"/>
                    <a:pt x="4" y="42"/>
                  </a:cubicBezTo>
                  <a:cubicBezTo>
                    <a:pt x="3" y="42"/>
                    <a:pt x="4" y="41"/>
                    <a:pt x="4" y="40"/>
                  </a:cubicBezTo>
                  <a:cubicBezTo>
                    <a:pt x="4" y="40"/>
                    <a:pt x="4" y="40"/>
                    <a:pt x="4" y="40"/>
                  </a:cubicBezTo>
                  <a:cubicBezTo>
                    <a:pt x="4" y="40"/>
                    <a:pt x="4" y="40"/>
                    <a:pt x="4" y="40"/>
                  </a:cubicBezTo>
                  <a:cubicBezTo>
                    <a:pt x="4" y="40"/>
                    <a:pt x="4" y="40"/>
                    <a:pt x="4" y="40"/>
                  </a:cubicBezTo>
                  <a:cubicBezTo>
                    <a:pt x="4" y="35"/>
                    <a:pt x="3" y="30"/>
                    <a:pt x="3" y="24"/>
                  </a:cubicBezTo>
                  <a:cubicBezTo>
                    <a:pt x="3" y="24"/>
                    <a:pt x="3" y="24"/>
                    <a:pt x="3" y="24"/>
                  </a:cubicBezTo>
                  <a:cubicBezTo>
                    <a:pt x="3" y="23"/>
                    <a:pt x="3" y="23"/>
                    <a:pt x="3" y="23"/>
                  </a:cubicBezTo>
                  <a:cubicBezTo>
                    <a:pt x="3" y="23"/>
                    <a:pt x="3" y="24"/>
                    <a:pt x="3" y="24"/>
                  </a:cubicBezTo>
                  <a:cubicBezTo>
                    <a:pt x="4" y="22"/>
                    <a:pt x="3" y="21"/>
                    <a:pt x="3" y="20"/>
                  </a:cubicBezTo>
                  <a:cubicBezTo>
                    <a:pt x="3" y="20"/>
                    <a:pt x="3" y="20"/>
                    <a:pt x="4" y="20"/>
                  </a:cubicBezTo>
                  <a:cubicBezTo>
                    <a:pt x="3" y="19"/>
                    <a:pt x="4" y="18"/>
                    <a:pt x="3" y="18"/>
                  </a:cubicBezTo>
                  <a:cubicBezTo>
                    <a:pt x="3" y="18"/>
                    <a:pt x="3" y="18"/>
                    <a:pt x="4" y="18"/>
                  </a:cubicBezTo>
                  <a:cubicBezTo>
                    <a:pt x="3" y="15"/>
                    <a:pt x="3" y="12"/>
                    <a:pt x="3" y="10"/>
                  </a:cubicBezTo>
                  <a:cubicBezTo>
                    <a:pt x="3" y="9"/>
                    <a:pt x="3" y="9"/>
                    <a:pt x="3" y="8"/>
                  </a:cubicBezTo>
                  <a:cubicBezTo>
                    <a:pt x="3" y="8"/>
                    <a:pt x="3" y="8"/>
                    <a:pt x="3" y="7"/>
                  </a:cubicBezTo>
                  <a:cubicBezTo>
                    <a:pt x="3" y="7"/>
                    <a:pt x="3" y="7"/>
                    <a:pt x="3" y="7"/>
                  </a:cubicBezTo>
                  <a:cubicBezTo>
                    <a:pt x="3" y="6"/>
                    <a:pt x="4" y="5"/>
                    <a:pt x="4" y="4"/>
                  </a:cubicBezTo>
                  <a:cubicBezTo>
                    <a:pt x="4" y="4"/>
                    <a:pt x="4" y="4"/>
                    <a:pt x="4" y="4"/>
                  </a:cubicBezTo>
                  <a:cubicBezTo>
                    <a:pt x="5" y="2"/>
                    <a:pt x="7" y="2"/>
                    <a:pt x="8" y="1"/>
                  </a:cubicBezTo>
                  <a:cubicBezTo>
                    <a:pt x="10" y="1"/>
                    <a:pt x="11" y="2"/>
                    <a:pt x="12" y="2"/>
                  </a:cubicBezTo>
                  <a:cubicBezTo>
                    <a:pt x="13" y="3"/>
                    <a:pt x="14" y="3"/>
                    <a:pt x="15" y="4"/>
                  </a:cubicBezTo>
                  <a:cubicBezTo>
                    <a:pt x="15" y="4"/>
                    <a:pt x="15" y="4"/>
                    <a:pt x="15" y="4"/>
                  </a:cubicBezTo>
                  <a:cubicBezTo>
                    <a:pt x="15" y="4"/>
                    <a:pt x="15" y="4"/>
                    <a:pt x="16" y="5"/>
                  </a:cubicBezTo>
                  <a:cubicBezTo>
                    <a:pt x="16" y="5"/>
                    <a:pt x="16" y="5"/>
                    <a:pt x="16" y="5"/>
                  </a:cubicBezTo>
                  <a:cubicBezTo>
                    <a:pt x="16" y="5"/>
                    <a:pt x="16" y="6"/>
                    <a:pt x="16" y="6"/>
                  </a:cubicBezTo>
                  <a:cubicBezTo>
                    <a:pt x="16" y="7"/>
                    <a:pt x="16" y="7"/>
                    <a:pt x="16" y="7"/>
                  </a:cubicBezTo>
                  <a:cubicBezTo>
                    <a:pt x="16" y="8"/>
                    <a:pt x="16" y="9"/>
                    <a:pt x="17" y="10"/>
                  </a:cubicBezTo>
                  <a:cubicBezTo>
                    <a:pt x="16" y="10"/>
                    <a:pt x="16" y="10"/>
                    <a:pt x="16" y="10"/>
                  </a:cubicBezTo>
                  <a:cubicBezTo>
                    <a:pt x="17" y="10"/>
                    <a:pt x="16" y="11"/>
                    <a:pt x="17" y="11"/>
                  </a:cubicBezTo>
                  <a:cubicBezTo>
                    <a:pt x="17" y="12"/>
                    <a:pt x="17" y="12"/>
                    <a:pt x="17" y="12"/>
                  </a:cubicBezTo>
                  <a:cubicBezTo>
                    <a:pt x="18" y="13"/>
                    <a:pt x="16" y="14"/>
                    <a:pt x="17" y="16"/>
                  </a:cubicBezTo>
                  <a:cubicBezTo>
                    <a:pt x="17" y="16"/>
                    <a:pt x="17" y="16"/>
                    <a:pt x="17" y="16"/>
                  </a:cubicBezTo>
                  <a:cubicBezTo>
                    <a:pt x="17" y="17"/>
                    <a:pt x="17" y="17"/>
                    <a:pt x="17" y="17"/>
                  </a:cubicBezTo>
                  <a:cubicBezTo>
                    <a:pt x="17" y="17"/>
                    <a:pt x="17" y="17"/>
                    <a:pt x="17" y="17"/>
                  </a:cubicBezTo>
                  <a:cubicBezTo>
                    <a:pt x="16" y="19"/>
                    <a:pt x="17" y="21"/>
                    <a:pt x="17" y="22"/>
                  </a:cubicBezTo>
                  <a:cubicBezTo>
                    <a:pt x="16" y="22"/>
                    <a:pt x="16" y="22"/>
                    <a:pt x="16" y="22"/>
                  </a:cubicBezTo>
                  <a:cubicBezTo>
                    <a:pt x="17" y="23"/>
                    <a:pt x="16" y="24"/>
                    <a:pt x="17" y="25"/>
                  </a:cubicBezTo>
                  <a:cubicBezTo>
                    <a:pt x="16" y="25"/>
                    <a:pt x="16" y="25"/>
                    <a:pt x="16" y="25"/>
                  </a:cubicBezTo>
                  <a:cubicBezTo>
                    <a:pt x="17" y="26"/>
                    <a:pt x="17" y="26"/>
                    <a:pt x="17" y="26"/>
                  </a:cubicBezTo>
                  <a:cubicBezTo>
                    <a:pt x="16" y="26"/>
                    <a:pt x="16" y="26"/>
                    <a:pt x="16" y="26"/>
                  </a:cubicBezTo>
                  <a:cubicBezTo>
                    <a:pt x="16" y="27"/>
                    <a:pt x="17" y="28"/>
                    <a:pt x="17" y="30"/>
                  </a:cubicBez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35">
              <a:extLst>
                <a:ext uri="{FF2B5EF4-FFF2-40B4-BE49-F238E27FC236}">
                  <a16:creationId xmlns:a16="http://schemas.microsoft.com/office/drawing/2014/main" id="{2C49C995-1FCA-4C89-83CC-D8C1B8E6AD57}"/>
                </a:ext>
              </a:extLst>
            </p:cNvPr>
            <p:cNvSpPr>
              <a:spLocks/>
            </p:cNvSpPr>
            <p:nvPr/>
          </p:nvSpPr>
          <p:spPr bwMode="auto">
            <a:xfrm>
              <a:off x="833438" y="119697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36">
              <a:extLst>
                <a:ext uri="{FF2B5EF4-FFF2-40B4-BE49-F238E27FC236}">
                  <a16:creationId xmlns:a16="http://schemas.microsoft.com/office/drawing/2014/main" id="{76BEE353-C137-4CE5-96EB-6F1238640383}"/>
                </a:ext>
              </a:extLst>
            </p:cNvPr>
            <p:cNvSpPr>
              <a:spLocks/>
            </p:cNvSpPr>
            <p:nvPr/>
          </p:nvSpPr>
          <p:spPr bwMode="auto">
            <a:xfrm>
              <a:off x="823913" y="129698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55" name="Rectangle 54">
            <a:extLst>
              <a:ext uri="{FF2B5EF4-FFF2-40B4-BE49-F238E27FC236}">
                <a16:creationId xmlns:a16="http://schemas.microsoft.com/office/drawing/2014/main" id="{D44D1897-816F-4A69-AA29-25B298ABAEFA}"/>
              </a:ext>
            </a:extLst>
          </p:cNvPr>
          <p:cNvSpPr/>
          <p:nvPr/>
        </p:nvSpPr>
        <p:spPr>
          <a:xfrm>
            <a:off x="10388265" y="602966"/>
            <a:ext cx="961780" cy="572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lumMod val="50000"/>
                  </a:srgbClr>
                </a:solidFill>
                <a:effectLst/>
                <a:uLnTx/>
                <a:uFillTx/>
                <a:latin typeface="Open Sans"/>
                <a:ea typeface="+mn-ea"/>
                <a:cs typeface="+mn-cs"/>
              </a:rPr>
              <a:t>FE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lumMod val="50000"/>
                  </a:srgbClr>
                </a:solidFill>
                <a:effectLst/>
                <a:uLnTx/>
                <a:uFillTx/>
                <a:latin typeface="Open Sans"/>
                <a:ea typeface="+mn-ea"/>
                <a:cs typeface="+mn-cs"/>
              </a:rPr>
              <a:t>MAR</a:t>
            </a:r>
          </a:p>
        </p:txBody>
      </p:sp>
    </p:spTree>
    <p:extLst>
      <p:ext uri="{BB962C8B-B14F-4D97-AF65-F5344CB8AC3E}">
        <p14:creationId xmlns:p14="http://schemas.microsoft.com/office/powerpoint/2010/main" val="223135618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EAF35D-6B6D-4D23-A773-8BEBC1C362C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6"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CEAF35D-6B6D-4D23-A773-8BEBC1C362C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48AF123-C2F3-4A45-8CB2-D97B15CF119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F28E3737-77C7-4018-A2D7-DD4D7FB32C56}"/>
              </a:ext>
            </a:extLst>
          </p:cNvPr>
          <p:cNvSpPr>
            <a:spLocks noGrp="1"/>
          </p:cNvSpPr>
          <p:nvPr>
            <p:ph type="title"/>
          </p:nvPr>
        </p:nvSpPr>
        <p:spPr/>
        <p:txBody>
          <a:bodyPr/>
          <a:lstStyle/>
          <a:p>
            <a:r>
              <a:rPr lang="en-US" dirty="0">
                <a:latin typeface="Chronicle Display Light" pitchFamily="50" charset="0"/>
                <a:ea typeface="Chronicle Display Light" charset="0"/>
                <a:cs typeface="Chronicle Display Light" charset="0"/>
              </a:rPr>
              <a:t>XSP empowers clients with </a:t>
            </a:r>
            <a:r>
              <a:rPr lang="en-US" dirty="0">
                <a:ea typeface="Chronicle Display Light" charset="0"/>
                <a:cs typeface="Chronicle Display Light" charset="0"/>
              </a:rPr>
              <a:t>leading CX data</a:t>
            </a:r>
            <a:endParaRPr lang="en-US" dirty="0"/>
          </a:p>
        </p:txBody>
      </p:sp>
      <p:sp>
        <p:nvSpPr>
          <p:cNvPr id="77" name="Text Placeholder 76">
            <a:extLst>
              <a:ext uri="{FF2B5EF4-FFF2-40B4-BE49-F238E27FC236}">
                <a16:creationId xmlns:a16="http://schemas.microsoft.com/office/drawing/2014/main" id="{66F21BFB-68CA-4104-B690-82F665689E10}"/>
              </a:ext>
            </a:extLst>
          </p:cNvPr>
          <p:cNvSpPr>
            <a:spLocks noGrp="1"/>
          </p:cNvSpPr>
          <p:nvPr>
            <p:ph type="body" sz="quarter" idx="14"/>
          </p:nvPr>
        </p:nvSpPr>
        <p:spPr/>
        <p:txBody>
          <a:bodyPr/>
          <a:lstStyle/>
          <a:p>
            <a:r>
              <a:rPr lang="en-US" dirty="0"/>
              <a:t>Subheader</a:t>
            </a:r>
          </a:p>
        </p:txBody>
      </p:sp>
      <p:sp>
        <p:nvSpPr>
          <p:cNvPr id="78" name="Text Placeholder 77">
            <a:extLst>
              <a:ext uri="{FF2B5EF4-FFF2-40B4-BE49-F238E27FC236}">
                <a16:creationId xmlns:a16="http://schemas.microsoft.com/office/drawing/2014/main" id="{1E906DC6-E92D-48B2-B43B-E4F5C4AED758}"/>
              </a:ext>
            </a:extLst>
          </p:cNvPr>
          <p:cNvSpPr>
            <a:spLocks noGrp="1"/>
          </p:cNvSpPr>
          <p:nvPr>
            <p:ph type="body" sz="quarter" idx="15"/>
          </p:nvPr>
        </p:nvSpPr>
        <p:spPr/>
        <p:txBody>
          <a:bodyPr/>
          <a:lstStyle/>
          <a:p>
            <a:r>
              <a:rPr lang="en-US" dirty="0"/>
              <a:t>text</a:t>
            </a:r>
          </a:p>
        </p:txBody>
      </p:sp>
      <p:sp>
        <p:nvSpPr>
          <p:cNvPr id="5" name="TextBox 4">
            <a:extLst>
              <a:ext uri="{FF2B5EF4-FFF2-40B4-BE49-F238E27FC236}">
                <a16:creationId xmlns:a16="http://schemas.microsoft.com/office/drawing/2014/main" id="{EE9B8AA5-179D-4F87-99C0-57FFCF3D5749}"/>
              </a:ext>
            </a:extLst>
          </p:cNvPr>
          <p:cNvSpPr txBox="1"/>
          <p:nvPr/>
        </p:nvSpPr>
        <p:spPr>
          <a:xfrm>
            <a:off x="823746" y="1921897"/>
            <a:ext cx="5649406" cy="338554"/>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hronicle Display Black"/>
                <a:ea typeface="+mn-ea"/>
                <a:cs typeface="+mn-cs"/>
              </a:rPr>
              <a:t>Helping clients address these prevalent CX issues…</a:t>
            </a:r>
            <a:endParaRPr kumimoji="0" lang="en-US" sz="1600" b="1" i="1" u="none" strike="noStrike" kern="1200" cap="none" spc="0" normalizeH="0" baseline="0" noProof="0" dirty="0">
              <a:ln>
                <a:noFill/>
              </a:ln>
              <a:solidFill>
                <a:srgbClr val="000000"/>
              </a:solidFill>
              <a:effectLst/>
              <a:uLnTx/>
              <a:uFillTx/>
              <a:latin typeface="Chronicle Display Black"/>
              <a:ea typeface="+mn-ea"/>
              <a:cs typeface="+mn-cs"/>
            </a:endParaRPr>
          </a:p>
        </p:txBody>
      </p:sp>
      <p:sp>
        <p:nvSpPr>
          <p:cNvPr id="6" name="TextBox 5">
            <a:extLst>
              <a:ext uri="{FF2B5EF4-FFF2-40B4-BE49-F238E27FC236}">
                <a16:creationId xmlns:a16="http://schemas.microsoft.com/office/drawing/2014/main" id="{0A69CD35-0BAB-4492-8A95-E8945E82F531}"/>
              </a:ext>
            </a:extLst>
          </p:cNvPr>
          <p:cNvSpPr txBox="1"/>
          <p:nvPr/>
        </p:nvSpPr>
        <p:spPr>
          <a:xfrm>
            <a:off x="6660716" y="1921897"/>
            <a:ext cx="3487301" cy="338554"/>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hronicle Display Black"/>
                <a:ea typeface="+mn-ea"/>
                <a:cs typeface="+mn-cs"/>
              </a:rPr>
              <a:t>And attain leading CX operations</a:t>
            </a:r>
          </a:p>
        </p:txBody>
      </p:sp>
      <p:sp>
        <p:nvSpPr>
          <p:cNvPr id="7" name="Rectangle 6">
            <a:extLst>
              <a:ext uri="{FF2B5EF4-FFF2-40B4-BE49-F238E27FC236}">
                <a16:creationId xmlns:a16="http://schemas.microsoft.com/office/drawing/2014/main" id="{831C1442-F04F-4FD1-9E21-492AD7574A45}"/>
              </a:ext>
            </a:extLst>
          </p:cNvPr>
          <p:cNvSpPr/>
          <p:nvPr/>
        </p:nvSpPr>
        <p:spPr>
          <a:xfrm>
            <a:off x="1884324" y="3234369"/>
            <a:ext cx="3447990" cy="516101"/>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Arial" charset="0"/>
                <a:cs typeface="Arial" charset="0"/>
              </a:rPr>
              <a:t>Data co-located in DBs/tools that are processed mostly in batch</a:t>
            </a:r>
          </a:p>
        </p:txBody>
      </p:sp>
      <p:sp>
        <p:nvSpPr>
          <p:cNvPr id="8" name="Rectangle 7">
            <a:extLst>
              <a:ext uri="{FF2B5EF4-FFF2-40B4-BE49-F238E27FC236}">
                <a16:creationId xmlns:a16="http://schemas.microsoft.com/office/drawing/2014/main" id="{940781AF-5E95-4E23-9E4A-55D1BD7A9FCB}"/>
              </a:ext>
            </a:extLst>
          </p:cNvPr>
          <p:cNvSpPr/>
          <p:nvPr/>
        </p:nvSpPr>
        <p:spPr>
          <a:xfrm>
            <a:off x="1884324" y="2372840"/>
            <a:ext cx="3632220" cy="591834"/>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Arial" charset="0"/>
                <a:cs typeface="Arial" charset="0"/>
              </a:rPr>
              <a:t>Audience and Customer Data on two/multiple platforms</a:t>
            </a:r>
          </a:p>
        </p:txBody>
      </p:sp>
      <p:sp>
        <p:nvSpPr>
          <p:cNvPr id="9" name="Rectangle 8">
            <a:extLst>
              <a:ext uri="{FF2B5EF4-FFF2-40B4-BE49-F238E27FC236}">
                <a16:creationId xmlns:a16="http://schemas.microsoft.com/office/drawing/2014/main" id="{4B8B8F5B-7E77-4E30-844E-F934CCB1588E}"/>
              </a:ext>
            </a:extLst>
          </p:cNvPr>
          <p:cNvSpPr/>
          <p:nvPr/>
        </p:nvSpPr>
        <p:spPr>
          <a:xfrm>
            <a:off x="1884324" y="4009746"/>
            <a:ext cx="3447990" cy="553883"/>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Arial" charset="0"/>
                <a:cs typeface="Arial" charset="0"/>
              </a:rPr>
              <a:t>Decisioning is mostly multiple sets of usually conflicting business rules</a:t>
            </a:r>
          </a:p>
        </p:txBody>
      </p:sp>
      <p:sp>
        <p:nvSpPr>
          <p:cNvPr id="10" name="Rectangle 9">
            <a:extLst>
              <a:ext uri="{FF2B5EF4-FFF2-40B4-BE49-F238E27FC236}">
                <a16:creationId xmlns:a16="http://schemas.microsoft.com/office/drawing/2014/main" id="{A5408EBD-E03E-4821-B21C-4E08E4211670}"/>
              </a:ext>
            </a:extLst>
          </p:cNvPr>
          <p:cNvSpPr/>
          <p:nvPr/>
        </p:nvSpPr>
        <p:spPr>
          <a:xfrm>
            <a:off x="1884325" y="5636063"/>
            <a:ext cx="3344668" cy="591834"/>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Arial" charset="0"/>
                <a:cs typeface="Arial" charset="0"/>
              </a:rPr>
              <a:t>Message delivery is usually batch driven</a:t>
            </a:r>
          </a:p>
        </p:txBody>
      </p:sp>
      <p:sp>
        <p:nvSpPr>
          <p:cNvPr id="11" name="Rectangle 10">
            <a:extLst>
              <a:ext uri="{FF2B5EF4-FFF2-40B4-BE49-F238E27FC236}">
                <a16:creationId xmlns:a16="http://schemas.microsoft.com/office/drawing/2014/main" id="{EE3380B5-065C-40EA-A2EB-6C9C47FC1176}"/>
              </a:ext>
            </a:extLst>
          </p:cNvPr>
          <p:cNvSpPr/>
          <p:nvPr/>
        </p:nvSpPr>
        <p:spPr>
          <a:xfrm>
            <a:off x="1861062" y="4822905"/>
            <a:ext cx="3447990" cy="553883"/>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Arial" charset="0"/>
                <a:cs typeface="Arial" charset="0"/>
              </a:rPr>
              <a:t>Media and creative is planned and delivered by each channel</a:t>
            </a:r>
          </a:p>
        </p:txBody>
      </p:sp>
      <p:sp>
        <p:nvSpPr>
          <p:cNvPr id="13" name="Rectangle 12">
            <a:extLst>
              <a:ext uri="{FF2B5EF4-FFF2-40B4-BE49-F238E27FC236}">
                <a16:creationId xmlns:a16="http://schemas.microsoft.com/office/drawing/2014/main" id="{41985EED-178B-4817-BDA1-09F4EBA371FC}"/>
              </a:ext>
            </a:extLst>
          </p:cNvPr>
          <p:cNvSpPr/>
          <p:nvPr/>
        </p:nvSpPr>
        <p:spPr>
          <a:xfrm>
            <a:off x="7595383" y="3234369"/>
            <a:ext cx="3829449" cy="516101"/>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Arial" charset="0"/>
                <a:cs typeface="Arial" charset="0"/>
              </a:rPr>
              <a:t>Single view of the customer, real time data lake hosted in the client’s cloud</a:t>
            </a:r>
          </a:p>
        </p:txBody>
      </p:sp>
      <p:sp>
        <p:nvSpPr>
          <p:cNvPr id="14" name="Rectangle 13">
            <a:extLst>
              <a:ext uri="{FF2B5EF4-FFF2-40B4-BE49-F238E27FC236}">
                <a16:creationId xmlns:a16="http://schemas.microsoft.com/office/drawing/2014/main" id="{CFA22ED7-911F-4592-9591-BB8F966EF640}"/>
              </a:ext>
            </a:extLst>
          </p:cNvPr>
          <p:cNvSpPr/>
          <p:nvPr/>
        </p:nvSpPr>
        <p:spPr>
          <a:xfrm>
            <a:off x="7595383" y="2372840"/>
            <a:ext cx="3810915" cy="591834"/>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Arial" charset="0"/>
                <a:cs typeface="Arial" charset="0"/>
              </a:rPr>
              <a:t>Full funnel capabilities from audience to advocate across Marketing, Sales, and Service</a:t>
            </a:r>
          </a:p>
        </p:txBody>
      </p:sp>
      <p:sp>
        <p:nvSpPr>
          <p:cNvPr id="15" name="Rectangle 14">
            <a:extLst>
              <a:ext uri="{FF2B5EF4-FFF2-40B4-BE49-F238E27FC236}">
                <a16:creationId xmlns:a16="http://schemas.microsoft.com/office/drawing/2014/main" id="{08516790-3AC3-477C-AE39-C3AECB378241}"/>
              </a:ext>
            </a:extLst>
          </p:cNvPr>
          <p:cNvSpPr/>
          <p:nvPr/>
        </p:nvSpPr>
        <p:spPr>
          <a:xfrm>
            <a:off x="7595383" y="4009746"/>
            <a:ext cx="3829449" cy="553883"/>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Arial" charset="0"/>
                <a:cs typeface="Arial" charset="0"/>
              </a:rPr>
              <a:t>Ubiquitous decision engine (machine learning enabled) feeding all touchpoints</a:t>
            </a:r>
          </a:p>
        </p:txBody>
      </p:sp>
      <p:sp>
        <p:nvSpPr>
          <p:cNvPr id="16" name="Rectangle 15">
            <a:extLst>
              <a:ext uri="{FF2B5EF4-FFF2-40B4-BE49-F238E27FC236}">
                <a16:creationId xmlns:a16="http://schemas.microsoft.com/office/drawing/2014/main" id="{D534187C-A3ED-4D38-B4D2-97CE50882764}"/>
              </a:ext>
            </a:extLst>
          </p:cNvPr>
          <p:cNvSpPr/>
          <p:nvPr/>
        </p:nvSpPr>
        <p:spPr>
          <a:xfrm>
            <a:off x="7595382" y="5636063"/>
            <a:ext cx="3714697" cy="591834"/>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Arial" charset="0"/>
                <a:cs typeface="Arial" charset="0"/>
              </a:rPr>
              <a:t>Journey based campaigns where most touchpoints are managed with one UI</a:t>
            </a:r>
          </a:p>
        </p:txBody>
      </p:sp>
      <p:sp>
        <p:nvSpPr>
          <p:cNvPr id="17" name="Rectangle 16">
            <a:extLst>
              <a:ext uri="{FF2B5EF4-FFF2-40B4-BE49-F238E27FC236}">
                <a16:creationId xmlns:a16="http://schemas.microsoft.com/office/drawing/2014/main" id="{A95B345A-72ED-4D31-9F49-27693162C3A0}"/>
              </a:ext>
            </a:extLst>
          </p:cNvPr>
          <p:cNvSpPr/>
          <p:nvPr/>
        </p:nvSpPr>
        <p:spPr>
          <a:xfrm>
            <a:off x="7572122" y="4822905"/>
            <a:ext cx="3643248" cy="553883"/>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Arial" charset="0"/>
                <a:cs typeface="Arial" charset="0"/>
              </a:rPr>
              <a:t>Automated digital media (paid, earned, owned) strategy complimented with personalized content</a:t>
            </a:r>
          </a:p>
        </p:txBody>
      </p:sp>
      <p:sp>
        <p:nvSpPr>
          <p:cNvPr id="19" name="Freeform 86">
            <a:extLst>
              <a:ext uri="{FF2B5EF4-FFF2-40B4-BE49-F238E27FC236}">
                <a16:creationId xmlns:a16="http://schemas.microsoft.com/office/drawing/2014/main" id="{8BCB7E24-1A90-41DB-A80B-3FB65696D495}"/>
              </a:ext>
            </a:extLst>
          </p:cNvPr>
          <p:cNvSpPr>
            <a:spLocks noEditPoints="1"/>
          </p:cNvSpPr>
          <p:nvPr/>
        </p:nvSpPr>
        <p:spPr bwMode="auto">
          <a:xfrm>
            <a:off x="998275" y="3133929"/>
            <a:ext cx="731520" cy="720410"/>
          </a:xfrm>
          <a:custGeom>
            <a:avLst/>
            <a:gdLst>
              <a:gd name="T0" fmla="*/ 312 w 659"/>
              <a:gd name="T1" fmla="*/ 657 h 657"/>
              <a:gd name="T2" fmla="*/ 264 w 659"/>
              <a:gd name="T3" fmla="*/ 650 h 657"/>
              <a:gd name="T4" fmla="*/ 202 w 659"/>
              <a:gd name="T5" fmla="*/ 631 h 657"/>
              <a:gd name="T6" fmla="*/ 120 w 659"/>
              <a:gd name="T7" fmla="*/ 582 h 657"/>
              <a:gd name="T8" fmla="*/ 57 w 659"/>
              <a:gd name="T9" fmla="*/ 512 h 657"/>
              <a:gd name="T10" fmla="*/ 15 w 659"/>
              <a:gd name="T11" fmla="*/ 426 h 657"/>
              <a:gd name="T12" fmla="*/ 4 w 659"/>
              <a:gd name="T13" fmla="*/ 379 h 657"/>
              <a:gd name="T14" fmla="*/ 0 w 659"/>
              <a:gd name="T15" fmla="*/ 328 h 657"/>
              <a:gd name="T16" fmla="*/ 3 w 659"/>
              <a:gd name="T17" fmla="*/ 294 h 657"/>
              <a:gd name="T18" fmla="*/ 11 w 659"/>
              <a:gd name="T19" fmla="*/ 246 h 657"/>
              <a:gd name="T20" fmla="*/ 41 w 659"/>
              <a:gd name="T21" fmla="*/ 172 h 657"/>
              <a:gd name="T22" fmla="*/ 97 w 659"/>
              <a:gd name="T23" fmla="*/ 95 h 657"/>
              <a:gd name="T24" fmla="*/ 172 w 659"/>
              <a:gd name="T25" fmla="*/ 39 h 657"/>
              <a:gd name="T26" fmla="*/ 248 w 659"/>
              <a:gd name="T27" fmla="*/ 9 h 657"/>
              <a:gd name="T28" fmla="*/ 296 w 659"/>
              <a:gd name="T29" fmla="*/ 1 h 657"/>
              <a:gd name="T30" fmla="*/ 330 w 659"/>
              <a:gd name="T31" fmla="*/ 0 h 657"/>
              <a:gd name="T32" fmla="*/ 379 w 659"/>
              <a:gd name="T33" fmla="*/ 2 h 657"/>
              <a:gd name="T34" fmla="*/ 428 w 659"/>
              <a:gd name="T35" fmla="*/ 15 h 657"/>
              <a:gd name="T36" fmla="*/ 514 w 659"/>
              <a:gd name="T37" fmla="*/ 55 h 657"/>
              <a:gd name="T38" fmla="*/ 583 w 659"/>
              <a:gd name="T39" fmla="*/ 119 h 657"/>
              <a:gd name="T40" fmla="*/ 633 w 659"/>
              <a:gd name="T41" fmla="*/ 200 h 657"/>
              <a:gd name="T42" fmla="*/ 652 w 659"/>
              <a:gd name="T43" fmla="*/ 262 h 657"/>
              <a:gd name="T44" fmla="*/ 657 w 659"/>
              <a:gd name="T45" fmla="*/ 311 h 657"/>
              <a:gd name="T46" fmla="*/ 657 w 659"/>
              <a:gd name="T47" fmla="*/ 345 h 657"/>
              <a:gd name="T48" fmla="*/ 652 w 659"/>
              <a:gd name="T49" fmla="*/ 395 h 657"/>
              <a:gd name="T50" fmla="*/ 633 w 659"/>
              <a:gd name="T51" fmla="*/ 457 h 657"/>
              <a:gd name="T52" fmla="*/ 583 w 659"/>
              <a:gd name="T53" fmla="*/ 537 h 657"/>
              <a:gd name="T54" fmla="*/ 514 w 659"/>
              <a:gd name="T55" fmla="*/ 600 h 657"/>
              <a:gd name="T56" fmla="*/ 428 w 659"/>
              <a:gd name="T57" fmla="*/ 642 h 657"/>
              <a:gd name="T58" fmla="*/ 379 w 659"/>
              <a:gd name="T59" fmla="*/ 653 h 657"/>
              <a:gd name="T60" fmla="*/ 330 w 659"/>
              <a:gd name="T61" fmla="*/ 657 h 657"/>
              <a:gd name="T62" fmla="*/ 330 w 659"/>
              <a:gd name="T63" fmla="*/ 37 h 657"/>
              <a:gd name="T64" fmla="*/ 244 w 659"/>
              <a:gd name="T65" fmla="*/ 49 h 657"/>
              <a:gd name="T66" fmla="*/ 167 w 659"/>
              <a:gd name="T67" fmla="*/ 87 h 657"/>
              <a:gd name="T68" fmla="*/ 105 w 659"/>
              <a:gd name="T69" fmla="*/ 144 h 657"/>
              <a:gd name="T70" fmla="*/ 61 w 659"/>
              <a:gd name="T71" fmla="*/ 215 h 657"/>
              <a:gd name="T72" fmla="*/ 39 w 659"/>
              <a:gd name="T73" fmla="*/ 298 h 657"/>
              <a:gd name="T74" fmla="*/ 39 w 659"/>
              <a:gd name="T75" fmla="*/ 357 h 657"/>
              <a:gd name="T76" fmla="*/ 61 w 659"/>
              <a:gd name="T77" fmla="*/ 442 h 657"/>
              <a:gd name="T78" fmla="*/ 105 w 659"/>
              <a:gd name="T79" fmla="*/ 513 h 657"/>
              <a:gd name="T80" fmla="*/ 167 w 659"/>
              <a:gd name="T81" fmla="*/ 569 h 657"/>
              <a:gd name="T82" fmla="*/ 244 w 659"/>
              <a:gd name="T83" fmla="*/ 606 h 657"/>
              <a:gd name="T84" fmla="*/ 330 w 659"/>
              <a:gd name="T85" fmla="*/ 619 h 657"/>
              <a:gd name="T86" fmla="*/ 389 w 659"/>
              <a:gd name="T87" fmla="*/ 614 h 657"/>
              <a:gd name="T88" fmla="*/ 468 w 659"/>
              <a:gd name="T89" fmla="*/ 584 h 657"/>
              <a:gd name="T90" fmla="*/ 535 w 659"/>
              <a:gd name="T91" fmla="*/ 535 h 657"/>
              <a:gd name="T92" fmla="*/ 586 w 659"/>
              <a:gd name="T93" fmla="*/ 467 h 657"/>
              <a:gd name="T94" fmla="*/ 614 w 659"/>
              <a:gd name="T95" fmla="*/ 387 h 657"/>
              <a:gd name="T96" fmla="*/ 621 w 659"/>
              <a:gd name="T97" fmla="*/ 328 h 657"/>
              <a:gd name="T98" fmla="*/ 608 w 659"/>
              <a:gd name="T99" fmla="*/ 242 h 657"/>
              <a:gd name="T100" fmla="*/ 571 w 659"/>
              <a:gd name="T101" fmla="*/ 165 h 657"/>
              <a:gd name="T102" fmla="*/ 515 w 659"/>
              <a:gd name="T103" fmla="*/ 103 h 657"/>
              <a:gd name="T104" fmla="*/ 442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5"/>
                </a:lnTo>
                <a:lnTo>
                  <a:pt x="280" y="653"/>
                </a:lnTo>
                <a:lnTo>
                  <a:pt x="264" y="650"/>
                </a:lnTo>
                <a:lnTo>
                  <a:pt x="248" y="646"/>
                </a:lnTo>
                <a:lnTo>
                  <a:pt x="231" y="642"/>
                </a:lnTo>
                <a:lnTo>
                  <a:pt x="202" y="631"/>
                </a:lnTo>
                <a:lnTo>
                  <a:pt x="172" y="618"/>
                </a:lnTo>
                <a:lnTo>
                  <a:pt x="145" y="600"/>
                </a:lnTo>
                <a:lnTo>
                  <a:pt x="120" y="582"/>
                </a:lnTo>
                <a:lnTo>
                  <a:pt x="97" y="560"/>
                </a:lnTo>
                <a:lnTo>
                  <a:pt x="76" y="537"/>
                </a:lnTo>
                <a:lnTo>
                  <a:pt x="57" y="512"/>
                </a:lnTo>
                <a:lnTo>
                  <a:pt x="41" y="485"/>
                </a:lnTo>
                <a:lnTo>
                  <a:pt x="27" y="457"/>
                </a:lnTo>
                <a:lnTo>
                  <a:pt x="15" y="426"/>
                </a:lnTo>
                <a:lnTo>
                  <a:pt x="11" y="410"/>
                </a:lnTo>
                <a:lnTo>
                  <a:pt x="7" y="395"/>
                </a:lnTo>
                <a:lnTo>
                  <a:pt x="4" y="379"/>
                </a:lnTo>
                <a:lnTo>
                  <a:pt x="3" y="361"/>
                </a:lnTo>
                <a:lnTo>
                  <a:pt x="2" y="345"/>
                </a:lnTo>
                <a:lnTo>
                  <a:pt x="0" y="328"/>
                </a:lnTo>
                <a:lnTo>
                  <a:pt x="0" y="328"/>
                </a:lnTo>
                <a:lnTo>
                  <a:pt x="2" y="311"/>
                </a:lnTo>
                <a:lnTo>
                  <a:pt x="3" y="294"/>
                </a:lnTo>
                <a:lnTo>
                  <a:pt x="4" y="278"/>
                </a:lnTo>
                <a:lnTo>
                  <a:pt x="7" y="262"/>
                </a:lnTo>
                <a:lnTo>
                  <a:pt x="11" y="246"/>
                </a:lnTo>
                <a:lnTo>
                  <a:pt x="15" y="231"/>
                </a:lnTo>
                <a:lnTo>
                  <a:pt x="27" y="200"/>
                </a:lnTo>
                <a:lnTo>
                  <a:pt x="41" y="172"/>
                </a:lnTo>
                <a:lnTo>
                  <a:pt x="57" y="145"/>
                </a:lnTo>
                <a:lnTo>
                  <a:pt x="76" y="119"/>
                </a:lnTo>
                <a:lnTo>
                  <a:pt x="97" y="95"/>
                </a:lnTo>
                <a:lnTo>
                  <a:pt x="120" y="75"/>
                </a:lnTo>
                <a:lnTo>
                  <a:pt x="145" y="55"/>
                </a:lnTo>
                <a:lnTo>
                  <a:pt x="172" y="39"/>
                </a:lnTo>
                <a:lnTo>
                  <a:pt x="202" y="25"/>
                </a:lnTo>
                <a:lnTo>
                  <a:pt x="231" y="15"/>
                </a:lnTo>
                <a:lnTo>
                  <a:pt x="248" y="9"/>
                </a:lnTo>
                <a:lnTo>
                  <a:pt x="264" y="6"/>
                </a:lnTo>
                <a:lnTo>
                  <a:pt x="280" y="2"/>
                </a:lnTo>
                <a:lnTo>
                  <a:pt x="296" y="1"/>
                </a:lnTo>
                <a:lnTo>
                  <a:pt x="312" y="0"/>
                </a:lnTo>
                <a:lnTo>
                  <a:pt x="330" y="0"/>
                </a:lnTo>
                <a:lnTo>
                  <a:pt x="330" y="0"/>
                </a:lnTo>
                <a:lnTo>
                  <a:pt x="347" y="0"/>
                </a:lnTo>
                <a:lnTo>
                  <a:pt x="363" y="1"/>
                </a:lnTo>
                <a:lnTo>
                  <a:pt x="379" y="2"/>
                </a:lnTo>
                <a:lnTo>
                  <a:pt x="395" y="6"/>
                </a:lnTo>
                <a:lnTo>
                  <a:pt x="411" y="9"/>
                </a:lnTo>
                <a:lnTo>
                  <a:pt x="428" y="15"/>
                </a:lnTo>
                <a:lnTo>
                  <a:pt x="457" y="25"/>
                </a:lnTo>
                <a:lnTo>
                  <a:pt x="487" y="39"/>
                </a:lnTo>
                <a:lnTo>
                  <a:pt x="514" y="55"/>
                </a:lnTo>
                <a:lnTo>
                  <a:pt x="539" y="75"/>
                </a:lnTo>
                <a:lnTo>
                  <a:pt x="562" y="95"/>
                </a:lnTo>
                <a:lnTo>
                  <a:pt x="583" y="119"/>
                </a:lnTo>
                <a:lnTo>
                  <a:pt x="602" y="145"/>
                </a:lnTo>
                <a:lnTo>
                  <a:pt x="618" y="172"/>
                </a:lnTo>
                <a:lnTo>
                  <a:pt x="633" y="200"/>
                </a:lnTo>
                <a:lnTo>
                  <a:pt x="644" y="231"/>
                </a:lnTo>
                <a:lnTo>
                  <a:pt x="648" y="246"/>
                </a:lnTo>
                <a:lnTo>
                  <a:pt x="652" y="262"/>
                </a:lnTo>
                <a:lnTo>
                  <a:pt x="655" y="278"/>
                </a:lnTo>
                <a:lnTo>
                  <a:pt x="657" y="294"/>
                </a:lnTo>
                <a:lnTo>
                  <a:pt x="657" y="311"/>
                </a:lnTo>
                <a:lnTo>
                  <a:pt x="659" y="328"/>
                </a:lnTo>
                <a:lnTo>
                  <a:pt x="659" y="328"/>
                </a:lnTo>
                <a:lnTo>
                  <a:pt x="657" y="345"/>
                </a:lnTo>
                <a:lnTo>
                  <a:pt x="657" y="361"/>
                </a:lnTo>
                <a:lnTo>
                  <a:pt x="655" y="379"/>
                </a:lnTo>
                <a:lnTo>
                  <a:pt x="652" y="395"/>
                </a:lnTo>
                <a:lnTo>
                  <a:pt x="648" y="410"/>
                </a:lnTo>
                <a:lnTo>
                  <a:pt x="644" y="426"/>
                </a:lnTo>
                <a:lnTo>
                  <a:pt x="633" y="457"/>
                </a:lnTo>
                <a:lnTo>
                  <a:pt x="618" y="485"/>
                </a:lnTo>
                <a:lnTo>
                  <a:pt x="602" y="512"/>
                </a:lnTo>
                <a:lnTo>
                  <a:pt x="583" y="537"/>
                </a:lnTo>
                <a:lnTo>
                  <a:pt x="562" y="560"/>
                </a:lnTo>
                <a:lnTo>
                  <a:pt x="539" y="582"/>
                </a:lnTo>
                <a:lnTo>
                  <a:pt x="514" y="600"/>
                </a:lnTo>
                <a:lnTo>
                  <a:pt x="487" y="618"/>
                </a:lnTo>
                <a:lnTo>
                  <a:pt x="457" y="631"/>
                </a:lnTo>
                <a:lnTo>
                  <a:pt x="428" y="642"/>
                </a:lnTo>
                <a:lnTo>
                  <a:pt x="411" y="646"/>
                </a:lnTo>
                <a:lnTo>
                  <a:pt x="395" y="650"/>
                </a:lnTo>
                <a:lnTo>
                  <a:pt x="379" y="653"/>
                </a:lnTo>
                <a:lnTo>
                  <a:pt x="363" y="655"/>
                </a:lnTo>
                <a:lnTo>
                  <a:pt x="347" y="657"/>
                </a:lnTo>
                <a:lnTo>
                  <a:pt x="330" y="657"/>
                </a:lnTo>
                <a:lnTo>
                  <a:pt x="330" y="657"/>
                </a:lnTo>
                <a:close/>
                <a:moveTo>
                  <a:pt x="330" y="37"/>
                </a:moveTo>
                <a:lnTo>
                  <a:pt x="330" y="37"/>
                </a:lnTo>
                <a:lnTo>
                  <a:pt x="300" y="39"/>
                </a:lnTo>
                <a:lnTo>
                  <a:pt x="270" y="43"/>
                </a:lnTo>
                <a:lnTo>
                  <a:pt x="244" y="49"/>
                </a:lnTo>
                <a:lnTo>
                  <a:pt x="217" y="60"/>
                </a:lnTo>
                <a:lnTo>
                  <a:pt x="191" y="72"/>
                </a:lnTo>
                <a:lnTo>
                  <a:pt x="167" y="87"/>
                </a:lnTo>
                <a:lnTo>
                  <a:pt x="144" y="103"/>
                </a:lnTo>
                <a:lnTo>
                  <a:pt x="124" y="122"/>
                </a:lnTo>
                <a:lnTo>
                  <a:pt x="105" y="144"/>
                </a:lnTo>
                <a:lnTo>
                  <a:pt x="88" y="165"/>
                </a:lnTo>
                <a:lnTo>
                  <a:pt x="73" y="189"/>
                </a:lnTo>
                <a:lnTo>
                  <a:pt x="61" y="215"/>
                </a:lnTo>
                <a:lnTo>
                  <a:pt x="51" y="242"/>
                </a:lnTo>
                <a:lnTo>
                  <a:pt x="45" y="270"/>
                </a:lnTo>
                <a:lnTo>
                  <a:pt x="39" y="298"/>
                </a:lnTo>
                <a:lnTo>
                  <a:pt x="38" y="328"/>
                </a:lnTo>
                <a:lnTo>
                  <a:pt x="38" y="328"/>
                </a:lnTo>
                <a:lnTo>
                  <a:pt x="39" y="357"/>
                </a:lnTo>
                <a:lnTo>
                  <a:pt x="45" y="387"/>
                </a:lnTo>
                <a:lnTo>
                  <a:pt x="51" y="415"/>
                </a:lnTo>
                <a:lnTo>
                  <a:pt x="61" y="442"/>
                </a:lnTo>
                <a:lnTo>
                  <a:pt x="73" y="467"/>
                </a:lnTo>
                <a:lnTo>
                  <a:pt x="88" y="490"/>
                </a:lnTo>
                <a:lnTo>
                  <a:pt x="105" y="513"/>
                </a:lnTo>
                <a:lnTo>
                  <a:pt x="124" y="535"/>
                </a:lnTo>
                <a:lnTo>
                  <a:pt x="144" y="553"/>
                </a:lnTo>
                <a:lnTo>
                  <a:pt x="167" y="569"/>
                </a:lnTo>
                <a:lnTo>
                  <a:pt x="191" y="584"/>
                </a:lnTo>
                <a:lnTo>
                  <a:pt x="217" y="596"/>
                </a:lnTo>
                <a:lnTo>
                  <a:pt x="244" y="606"/>
                </a:lnTo>
                <a:lnTo>
                  <a:pt x="270" y="614"/>
                </a:lnTo>
                <a:lnTo>
                  <a:pt x="300" y="618"/>
                </a:lnTo>
                <a:lnTo>
                  <a:pt x="330" y="619"/>
                </a:lnTo>
                <a:lnTo>
                  <a:pt x="330" y="619"/>
                </a:lnTo>
                <a:lnTo>
                  <a:pt x="359" y="618"/>
                </a:lnTo>
                <a:lnTo>
                  <a:pt x="389" y="614"/>
                </a:lnTo>
                <a:lnTo>
                  <a:pt x="415" y="606"/>
                </a:lnTo>
                <a:lnTo>
                  <a:pt x="442" y="596"/>
                </a:lnTo>
                <a:lnTo>
                  <a:pt x="468" y="584"/>
                </a:lnTo>
                <a:lnTo>
                  <a:pt x="492" y="569"/>
                </a:lnTo>
                <a:lnTo>
                  <a:pt x="515" y="553"/>
                </a:lnTo>
                <a:lnTo>
                  <a:pt x="535" y="535"/>
                </a:lnTo>
                <a:lnTo>
                  <a:pt x="554" y="513"/>
                </a:lnTo>
                <a:lnTo>
                  <a:pt x="571" y="490"/>
                </a:lnTo>
                <a:lnTo>
                  <a:pt x="586" y="467"/>
                </a:lnTo>
                <a:lnTo>
                  <a:pt x="598" y="442"/>
                </a:lnTo>
                <a:lnTo>
                  <a:pt x="608" y="415"/>
                </a:lnTo>
                <a:lnTo>
                  <a:pt x="614" y="387"/>
                </a:lnTo>
                <a:lnTo>
                  <a:pt x="620" y="357"/>
                </a:lnTo>
                <a:lnTo>
                  <a:pt x="621" y="328"/>
                </a:lnTo>
                <a:lnTo>
                  <a:pt x="621" y="328"/>
                </a:lnTo>
                <a:lnTo>
                  <a:pt x="620" y="298"/>
                </a:lnTo>
                <a:lnTo>
                  <a:pt x="614" y="270"/>
                </a:lnTo>
                <a:lnTo>
                  <a:pt x="608" y="242"/>
                </a:lnTo>
                <a:lnTo>
                  <a:pt x="598" y="215"/>
                </a:lnTo>
                <a:lnTo>
                  <a:pt x="586" y="189"/>
                </a:lnTo>
                <a:lnTo>
                  <a:pt x="571" y="165"/>
                </a:lnTo>
                <a:lnTo>
                  <a:pt x="554" y="144"/>
                </a:lnTo>
                <a:lnTo>
                  <a:pt x="535" y="122"/>
                </a:lnTo>
                <a:lnTo>
                  <a:pt x="515" y="103"/>
                </a:lnTo>
                <a:lnTo>
                  <a:pt x="492" y="87"/>
                </a:lnTo>
                <a:lnTo>
                  <a:pt x="468" y="72"/>
                </a:lnTo>
                <a:lnTo>
                  <a:pt x="442" y="60"/>
                </a:lnTo>
                <a:lnTo>
                  <a:pt x="415" y="49"/>
                </a:lnTo>
                <a:lnTo>
                  <a:pt x="389" y="43"/>
                </a:lnTo>
                <a:lnTo>
                  <a:pt x="359" y="39"/>
                </a:lnTo>
                <a:lnTo>
                  <a:pt x="330" y="37"/>
                </a:lnTo>
                <a:lnTo>
                  <a:pt x="330" y="37"/>
                </a:lnTo>
                <a:close/>
              </a:path>
            </a:pathLst>
          </a:custGeom>
          <a:solidFill>
            <a:schemeClr val="accent5"/>
          </a:solidFill>
          <a:ln w="9525">
            <a:solidFill>
              <a:schemeClr val="accent5"/>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0" name="Freeform 87">
            <a:extLst>
              <a:ext uri="{FF2B5EF4-FFF2-40B4-BE49-F238E27FC236}">
                <a16:creationId xmlns:a16="http://schemas.microsoft.com/office/drawing/2014/main" id="{2D9100B9-520F-4D28-B96C-76767489E681}"/>
              </a:ext>
            </a:extLst>
          </p:cNvPr>
          <p:cNvSpPr>
            <a:spLocks noEditPoints="1"/>
          </p:cNvSpPr>
          <p:nvPr/>
        </p:nvSpPr>
        <p:spPr bwMode="auto">
          <a:xfrm>
            <a:off x="975036" y="3931418"/>
            <a:ext cx="731520" cy="729296"/>
          </a:xfrm>
          <a:custGeom>
            <a:avLst/>
            <a:gdLst>
              <a:gd name="T0" fmla="*/ 312 w 657"/>
              <a:gd name="T1" fmla="*/ 657 h 657"/>
              <a:gd name="T2" fmla="*/ 262 w 657"/>
              <a:gd name="T3" fmla="*/ 650 h 657"/>
              <a:gd name="T4" fmla="*/ 200 w 657"/>
              <a:gd name="T5" fmla="*/ 631 h 657"/>
              <a:gd name="T6" fmla="*/ 120 w 657"/>
              <a:gd name="T7" fmla="*/ 581 h 657"/>
              <a:gd name="T8" fmla="*/ 55 w 657"/>
              <a:gd name="T9" fmla="*/ 511 h 657"/>
              <a:gd name="T10" fmla="*/ 15 w 657"/>
              <a:gd name="T11" fmla="*/ 425 h 657"/>
              <a:gd name="T12" fmla="*/ 3 w 657"/>
              <a:gd name="T13" fmla="*/ 378 h 657"/>
              <a:gd name="T14" fmla="*/ 0 w 657"/>
              <a:gd name="T15" fmla="*/ 327 h 657"/>
              <a:gd name="T16" fmla="*/ 1 w 657"/>
              <a:gd name="T17" fmla="*/ 294 h 657"/>
              <a:gd name="T18" fmla="*/ 10 w 657"/>
              <a:gd name="T19" fmla="*/ 245 h 657"/>
              <a:gd name="T20" fmla="*/ 39 w 657"/>
              <a:gd name="T21" fmla="*/ 172 h 657"/>
              <a:gd name="T22" fmla="*/ 96 w 657"/>
              <a:gd name="T23" fmla="*/ 95 h 657"/>
              <a:gd name="T24" fmla="*/ 172 w 657"/>
              <a:gd name="T25" fmla="*/ 39 h 657"/>
              <a:gd name="T26" fmla="*/ 246 w 657"/>
              <a:gd name="T27" fmla="*/ 9 h 657"/>
              <a:gd name="T28" fmla="*/ 294 w 657"/>
              <a:gd name="T29" fmla="*/ 1 h 657"/>
              <a:gd name="T30" fmla="*/ 328 w 657"/>
              <a:gd name="T31" fmla="*/ 0 h 657"/>
              <a:gd name="T32" fmla="*/ 379 w 657"/>
              <a:gd name="T33" fmla="*/ 2 h 657"/>
              <a:gd name="T34" fmla="*/ 426 w 657"/>
              <a:gd name="T35" fmla="*/ 14 h 657"/>
              <a:gd name="T36" fmla="*/ 512 w 657"/>
              <a:gd name="T37" fmla="*/ 55 h 657"/>
              <a:gd name="T38" fmla="*/ 582 w 657"/>
              <a:gd name="T39" fmla="*/ 119 h 657"/>
              <a:gd name="T40" fmla="*/ 632 w 657"/>
              <a:gd name="T41" fmla="*/ 200 h 657"/>
              <a:gd name="T42" fmla="*/ 650 w 657"/>
              <a:gd name="T43" fmla="*/ 262 h 657"/>
              <a:gd name="T44" fmla="*/ 657 w 657"/>
              <a:gd name="T45" fmla="*/ 311 h 657"/>
              <a:gd name="T46" fmla="*/ 657 w 657"/>
              <a:gd name="T47" fmla="*/ 345 h 657"/>
              <a:gd name="T48" fmla="*/ 650 w 657"/>
              <a:gd name="T49" fmla="*/ 395 h 657"/>
              <a:gd name="T50" fmla="*/ 632 w 657"/>
              <a:gd name="T51" fmla="*/ 456 h 657"/>
              <a:gd name="T52" fmla="*/ 582 w 657"/>
              <a:gd name="T53" fmla="*/ 537 h 657"/>
              <a:gd name="T54" fmla="*/ 512 w 657"/>
              <a:gd name="T55" fmla="*/ 600 h 657"/>
              <a:gd name="T56" fmla="*/ 426 w 657"/>
              <a:gd name="T57" fmla="*/ 642 h 657"/>
              <a:gd name="T58" fmla="*/ 379 w 657"/>
              <a:gd name="T59" fmla="*/ 653 h 657"/>
              <a:gd name="T60" fmla="*/ 328 w 657"/>
              <a:gd name="T61" fmla="*/ 657 h 657"/>
              <a:gd name="T62" fmla="*/ 328 w 657"/>
              <a:gd name="T63" fmla="*/ 37 h 657"/>
              <a:gd name="T64" fmla="*/ 242 w 657"/>
              <a:gd name="T65" fmla="*/ 49 h 657"/>
              <a:gd name="T66" fmla="*/ 165 w 657"/>
              <a:gd name="T67" fmla="*/ 87 h 657"/>
              <a:gd name="T68" fmla="*/ 104 w 657"/>
              <a:gd name="T69" fmla="*/ 143 h 657"/>
              <a:gd name="T70" fmla="*/ 61 w 657"/>
              <a:gd name="T71" fmla="*/ 215 h 657"/>
              <a:gd name="T72" fmla="*/ 39 w 657"/>
              <a:gd name="T73" fmla="*/ 298 h 657"/>
              <a:gd name="T74" fmla="*/ 39 w 657"/>
              <a:gd name="T75" fmla="*/ 357 h 657"/>
              <a:gd name="T76" fmla="*/ 61 w 657"/>
              <a:gd name="T77" fmla="*/ 442 h 657"/>
              <a:gd name="T78" fmla="*/ 104 w 657"/>
              <a:gd name="T79" fmla="*/ 513 h 657"/>
              <a:gd name="T80" fmla="*/ 165 w 657"/>
              <a:gd name="T81" fmla="*/ 569 h 657"/>
              <a:gd name="T82" fmla="*/ 242 w 657"/>
              <a:gd name="T83" fmla="*/ 606 h 657"/>
              <a:gd name="T84" fmla="*/ 328 w 657"/>
              <a:gd name="T85" fmla="*/ 619 h 657"/>
              <a:gd name="T86" fmla="*/ 387 w 657"/>
              <a:gd name="T87" fmla="*/ 614 h 657"/>
              <a:gd name="T88" fmla="*/ 468 w 657"/>
              <a:gd name="T89" fmla="*/ 584 h 657"/>
              <a:gd name="T90" fmla="*/ 533 w 657"/>
              <a:gd name="T91" fmla="*/ 534 h 657"/>
              <a:gd name="T92" fmla="*/ 584 w 657"/>
              <a:gd name="T93" fmla="*/ 467 h 657"/>
              <a:gd name="T94" fmla="*/ 614 w 657"/>
              <a:gd name="T95" fmla="*/ 387 h 657"/>
              <a:gd name="T96" fmla="*/ 619 w 657"/>
              <a:gd name="T97" fmla="*/ 327 h 657"/>
              <a:gd name="T98" fmla="*/ 606 w 657"/>
              <a:gd name="T99" fmla="*/ 241 h 657"/>
              <a:gd name="T100" fmla="*/ 570 w 657"/>
              <a:gd name="T101" fmla="*/ 165 h 657"/>
              <a:gd name="T102" fmla="*/ 513 w 657"/>
              <a:gd name="T103" fmla="*/ 103 h 657"/>
              <a:gd name="T104" fmla="*/ 442 w 657"/>
              <a:gd name="T105" fmla="*/ 60 h 657"/>
              <a:gd name="T106" fmla="*/ 357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4" y="655"/>
                </a:lnTo>
                <a:lnTo>
                  <a:pt x="278" y="653"/>
                </a:lnTo>
                <a:lnTo>
                  <a:pt x="262" y="650"/>
                </a:lnTo>
                <a:lnTo>
                  <a:pt x="246" y="646"/>
                </a:lnTo>
                <a:lnTo>
                  <a:pt x="231" y="642"/>
                </a:lnTo>
                <a:lnTo>
                  <a:pt x="200" y="631"/>
                </a:lnTo>
                <a:lnTo>
                  <a:pt x="172" y="618"/>
                </a:lnTo>
                <a:lnTo>
                  <a:pt x="145" y="600"/>
                </a:lnTo>
                <a:lnTo>
                  <a:pt x="120" y="581"/>
                </a:lnTo>
                <a:lnTo>
                  <a:pt x="96" y="560"/>
                </a:lnTo>
                <a:lnTo>
                  <a:pt x="74" y="537"/>
                </a:lnTo>
                <a:lnTo>
                  <a:pt x="55" y="511"/>
                </a:lnTo>
                <a:lnTo>
                  <a:pt x="39" y="485"/>
                </a:lnTo>
                <a:lnTo>
                  <a:pt x="26" y="456"/>
                </a:lnTo>
                <a:lnTo>
                  <a:pt x="15" y="425"/>
                </a:lnTo>
                <a:lnTo>
                  <a:pt x="10" y="409"/>
                </a:lnTo>
                <a:lnTo>
                  <a:pt x="6" y="395"/>
                </a:lnTo>
                <a:lnTo>
                  <a:pt x="3" y="378"/>
                </a:lnTo>
                <a:lnTo>
                  <a:pt x="1" y="361"/>
                </a:lnTo>
                <a:lnTo>
                  <a:pt x="0" y="345"/>
                </a:lnTo>
                <a:lnTo>
                  <a:pt x="0" y="327"/>
                </a:lnTo>
                <a:lnTo>
                  <a:pt x="0" y="327"/>
                </a:lnTo>
                <a:lnTo>
                  <a:pt x="0" y="311"/>
                </a:lnTo>
                <a:lnTo>
                  <a:pt x="1" y="294"/>
                </a:lnTo>
                <a:lnTo>
                  <a:pt x="3" y="278"/>
                </a:lnTo>
                <a:lnTo>
                  <a:pt x="6" y="262"/>
                </a:lnTo>
                <a:lnTo>
                  <a:pt x="10" y="245"/>
                </a:lnTo>
                <a:lnTo>
                  <a:pt x="15" y="231"/>
                </a:lnTo>
                <a:lnTo>
                  <a:pt x="26" y="200"/>
                </a:lnTo>
                <a:lnTo>
                  <a:pt x="39" y="172"/>
                </a:lnTo>
                <a:lnTo>
                  <a:pt x="55" y="145"/>
                </a:lnTo>
                <a:lnTo>
                  <a:pt x="74" y="119"/>
                </a:lnTo>
                <a:lnTo>
                  <a:pt x="96" y="95"/>
                </a:lnTo>
                <a:lnTo>
                  <a:pt x="120" y="75"/>
                </a:lnTo>
                <a:lnTo>
                  <a:pt x="145" y="55"/>
                </a:lnTo>
                <a:lnTo>
                  <a:pt x="172" y="39"/>
                </a:lnTo>
                <a:lnTo>
                  <a:pt x="200" y="25"/>
                </a:lnTo>
                <a:lnTo>
                  <a:pt x="231" y="14"/>
                </a:lnTo>
                <a:lnTo>
                  <a:pt x="246" y="9"/>
                </a:lnTo>
                <a:lnTo>
                  <a:pt x="262" y="6"/>
                </a:lnTo>
                <a:lnTo>
                  <a:pt x="278" y="2"/>
                </a:lnTo>
                <a:lnTo>
                  <a:pt x="294" y="1"/>
                </a:lnTo>
                <a:lnTo>
                  <a:pt x="312" y="0"/>
                </a:lnTo>
                <a:lnTo>
                  <a:pt x="328" y="0"/>
                </a:lnTo>
                <a:lnTo>
                  <a:pt x="328" y="0"/>
                </a:lnTo>
                <a:lnTo>
                  <a:pt x="345" y="0"/>
                </a:lnTo>
                <a:lnTo>
                  <a:pt x="361" y="1"/>
                </a:lnTo>
                <a:lnTo>
                  <a:pt x="379" y="2"/>
                </a:lnTo>
                <a:lnTo>
                  <a:pt x="395" y="6"/>
                </a:lnTo>
                <a:lnTo>
                  <a:pt x="410" y="9"/>
                </a:lnTo>
                <a:lnTo>
                  <a:pt x="426" y="14"/>
                </a:lnTo>
                <a:lnTo>
                  <a:pt x="456" y="25"/>
                </a:lnTo>
                <a:lnTo>
                  <a:pt x="485" y="39"/>
                </a:lnTo>
                <a:lnTo>
                  <a:pt x="512" y="55"/>
                </a:lnTo>
                <a:lnTo>
                  <a:pt x="537" y="75"/>
                </a:lnTo>
                <a:lnTo>
                  <a:pt x="560" y="95"/>
                </a:lnTo>
                <a:lnTo>
                  <a:pt x="582" y="119"/>
                </a:lnTo>
                <a:lnTo>
                  <a:pt x="601" y="145"/>
                </a:lnTo>
                <a:lnTo>
                  <a:pt x="617" y="172"/>
                </a:lnTo>
                <a:lnTo>
                  <a:pt x="632" y="200"/>
                </a:lnTo>
                <a:lnTo>
                  <a:pt x="642" y="231"/>
                </a:lnTo>
                <a:lnTo>
                  <a:pt x="646" y="245"/>
                </a:lnTo>
                <a:lnTo>
                  <a:pt x="650" y="262"/>
                </a:lnTo>
                <a:lnTo>
                  <a:pt x="653" y="278"/>
                </a:lnTo>
                <a:lnTo>
                  <a:pt x="656" y="294"/>
                </a:lnTo>
                <a:lnTo>
                  <a:pt x="657" y="311"/>
                </a:lnTo>
                <a:lnTo>
                  <a:pt x="657" y="327"/>
                </a:lnTo>
                <a:lnTo>
                  <a:pt x="657" y="327"/>
                </a:lnTo>
                <a:lnTo>
                  <a:pt x="657" y="345"/>
                </a:lnTo>
                <a:lnTo>
                  <a:pt x="656" y="361"/>
                </a:lnTo>
                <a:lnTo>
                  <a:pt x="653" y="378"/>
                </a:lnTo>
                <a:lnTo>
                  <a:pt x="650" y="395"/>
                </a:lnTo>
                <a:lnTo>
                  <a:pt x="646" y="409"/>
                </a:lnTo>
                <a:lnTo>
                  <a:pt x="642" y="425"/>
                </a:lnTo>
                <a:lnTo>
                  <a:pt x="632" y="456"/>
                </a:lnTo>
                <a:lnTo>
                  <a:pt x="617" y="485"/>
                </a:lnTo>
                <a:lnTo>
                  <a:pt x="601" y="511"/>
                </a:lnTo>
                <a:lnTo>
                  <a:pt x="582" y="537"/>
                </a:lnTo>
                <a:lnTo>
                  <a:pt x="560" y="560"/>
                </a:lnTo>
                <a:lnTo>
                  <a:pt x="537" y="581"/>
                </a:lnTo>
                <a:lnTo>
                  <a:pt x="512" y="600"/>
                </a:lnTo>
                <a:lnTo>
                  <a:pt x="485" y="618"/>
                </a:lnTo>
                <a:lnTo>
                  <a:pt x="456" y="631"/>
                </a:lnTo>
                <a:lnTo>
                  <a:pt x="426" y="642"/>
                </a:lnTo>
                <a:lnTo>
                  <a:pt x="410" y="646"/>
                </a:lnTo>
                <a:lnTo>
                  <a:pt x="395" y="650"/>
                </a:lnTo>
                <a:lnTo>
                  <a:pt x="379" y="653"/>
                </a:lnTo>
                <a:lnTo>
                  <a:pt x="361" y="655"/>
                </a:lnTo>
                <a:lnTo>
                  <a:pt x="345" y="657"/>
                </a:lnTo>
                <a:lnTo>
                  <a:pt x="328" y="657"/>
                </a:lnTo>
                <a:lnTo>
                  <a:pt x="328" y="657"/>
                </a:lnTo>
                <a:close/>
                <a:moveTo>
                  <a:pt x="328" y="37"/>
                </a:moveTo>
                <a:lnTo>
                  <a:pt x="328" y="37"/>
                </a:lnTo>
                <a:lnTo>
                  <a:pt x="298" y="39"/>
                </a:lnTo>
                <a:lnTo>
                  <a:pt x="270" y="43"/>
                </a:lnTo>
                <a:lnTo>
                  <a:pt x="242" y="49"/>
                </a:lnTo>
                <a:lnTo>
                  <a:pt x="215" y="60"/>
                </a:lnTo>
                <a:lnTo>
                  <a:pt x="190" y="72"/>
                </a:lnTo>
                <a:lnTo>
                  <a:pt x="165" y="87"/>
                </a:lnTo>
                <a:lnTo>
                  <a:pt x="143" y="103"/>
                </a:lnTo>
                <a:lnTo>
                  <a:pt x="122" y="122"/>
                </a:lnTo>
                <a:lnTo>
                  <a:pt x="104" y="143"/>
                </a:lnTo>
                <a:lnTo>
                  <a:pt x="87" y="165"/>
                </a:lnTo>
                <a:lnTo>
                  <a:pt x="73" y="189"/>
                </a:lnTo>
                <a:lnTo>
                  <a:pt x="61" y="215"/>
                </a:lnTo>
                <a:lnTo>
                  <a:pt x="50" y="241"/>
                </a:lnTo>
                <a:lnTo>
                  <a:pt x="43" y="270"/>
                </a:lnTo>
                <a:lnTo>
                  <a:pt x="39" y="298"/>
                </a:lnTo>
                <a:lnTo>
                  <a:pt x="38" y="327"/>
                </a:lnTo>
                <a:lnTo>
                  <a:pt x="38" y="327"/>
                </a:lnTo>
                <a:lnTo>
                  <a:pt x="39" y="357"/>
                </a:lnTo>
                <a:lnTo>
                  <a:pt x="43" y="387"/>
                </a:lnTo>
                <a:lnTo>
                  <a:pt x="50" y="415"/>
                </a:lnTo>
                <a:lnTo>
                  <a:pt x="61" y="442"/>
                </a:lnTo>
                <a:lnTo>
                  <a:pt x="73" y="467"/>
                </a:lnTo>
                <a:lnTo>
                  <a:pt x="87" y="490"/>
                </a:lnTo>
                <a:lnTo>
                  <a:pt x="104" y="513"/>
                </a:lnTo>
                <a:lnTo>
                  <a:pt x="122" y="534"/>
                </a:lnTo>
                <a:lnTo>
                  <a:pt x="143" y="553"/>
                </a:lnTo>
                <a:lnTo>
                  <a:pt x="165" y="569"/>
                </a:lnTo>
                <a:lnTo>
                  <a:pt x="190" y="584"/>
                </a:lnTo>
                <a:lnTo>
                  <a:pt x="215" y="596"/>
                </a:lnTo>
                <a:lnTo>
                  <a:pt x="242" y="606"/>
                </a:lnTo>
                <a:lnTo>
                  <a:pt x="270" y="614"/>
                </a:lnTo>
                <a:lnTo>
                  <a:pt x="298" y="618"/>
                </a:lnTo>
                <a:lnTo>
                  <a:pt x="328" y="619"/>
                </a:lnTo>
                <a:lnTo>
                  <a:pt x="328" y="619"/>
                </a:lnTo>
                <a:lnTo>
                  <a:pt x="357" y="618"/>
                </a:lnTo>
                <a:lnTo>
                  <a:pt x="387" y="614"/>
                </a:lnTo>
                <a:lnTo>
                  <a:pt x="415" y="606"/>
                </a:lnTo>
                <a:lnTo>
                  <a:pt x="442" y="596"/>
                </a:lnTo>
                <a:lnTo>
                  <a:pt x="468" y="584"/>
                </a:lnTo>
                <a:lnTo>
                  <a:pt x="490" y="569"/>
                </a:lnTo>
                <a:lnTo>
                  <a:pt x="513" y="553"/>
                </a:lnTo>
                <a:lnTo>
                  <a:pt x="533" y="534"/>
                </a:lnTo>
                <a:lnTo>
                  <a:pt x="552" y="513"/>
                </a:lnTo>
                <a:lnTo>
                  <a:pt x="570" y="490"/>
                </a:lnTo>
                <a:lnTo>
                  <a:pt x="584" y="467"/>
                </a:lnTo>
                <a:lnTo>
                  <a:pt x="597" y="442"/>
                </a:lnTo>
                <a:lnTo>
                  <a:pt x="606" y="415"/>
                </a:lnTo>
                <a:lnTo>
                  <a:pt x="614" y="387"/>
                </a:lnTo>
                <a:lnTo>
                  <a:pt x="618" y="357"/>
                </a:lnTo>
                <a:lnTo>
                  <a:pt x="619" y="327"/>
                </a:lnTo>
                <a:lnTo>
                  <a:pt x="619" y="327"/>
                </a:lnTo>
                <a:lnTo>
                  <a:pt x="618" y="298"/>
                </a:lnTo>
                <a:lnTo>
                  <a:pt x="614" y="270"/>
                </a:lnTo>
                <a:lnTo>
                  <a:pt x="606" y="241"/>
                </a:lnTo>
                <a:lnTo>
                  <a:pt x="597" y="215"/>
                </a:lnTo>
                <a:lnTo>
                  <a:pt x="584" y="189"/>
                </a:lnTo>
                <a:lnTo>
                  <a:pt x="570" y="165"/>
                </a:lnTo>
                <a:lnTo>
                  <a:pt x="552" y="143"/>
                </a:lnTo>
                <a:lnTo>
                  <a:pt x="533" y="122"/>
                </a:lnTo>
                <a:lnTo>
                  <a:pt x="513" y="103"/>
                </a:lnTo>
                <a:lnTo>
                  <a:pt x="490" y="87"/>
                </a:lnTo>
                <a:lnTo>
                  <a:pt x="468" y="72"/>
                </a:lnTo>
                <a:lnTo>
                  <a:pt x="442" y="60"/>
                </a:lnTo>
                <a:lnTo>
                  <a:pt x="415" y="49"/>
                </a:lnTo>
                <a:lnTo>
                  <a:pt x="387" y="43"/>
                </a:lnTo>
                <a:lnTo>
                  <a:pt x="357" y="39"/>
                </a:lnTo>
                <a:lnTo>
                  <a:pt x="328" y="37"/>
                </a:lnTo>
                <a:lnTo>
                  <a:pt x="328" y="37"/>
                </a:lnTo>
                <a:close/>
              </a:path>
            </a:pathLst>
          </a:custGeom>
          <a:solidFill>
            <a:schemeClr val="accent5"/>
          </a:solidFill>
          <a:ln w="9525">
            <a:solidFill>
              <a:schemeClr val="accent5"/>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1" name="Freeform 88">
            <a:extLst>
              <a:ext uri="{FF2B5EF4-FFF2-40B4-BE49-F238E27FC236}">
                <a16:creationId xmlns:a16="http://schemas.microsoft.com/office/drawing/2014/main" id="{5FE20828-DB31-4A7B-892F-D97FFC919111}"/>
              </a:ext>
            </a:extLst>
          </p:cNvPr>
          <p:cNvSpPr>
            <a:spLocks noEditPoints="1"/>
          </p:cNvSpPr>
          <p:nvPr/>
        </p:nvSpPr>
        <p:spPr bwMode="auto">
          <a:xfrm>
            <a:off x="1172923" y="4101969"/>
            <a:ext cx="342413" cy="351307"/>
          </a:xfrm>
          <a:custGeom>
            <a:avLst/>
            <a:gdLst>
              <a:gd name="T0" fmla="*/ 307 w 308"/>
              <a:gd name="T1" fmla="*/ 1 h 316"/>
              <a:gd name="T2" fmla="*/ 303 w 308"/>
              <a:gd name="T3" fmla="*/ 0 h 316"/>
              <a:gd name="T4" fmla="*/ 299 w 308"/>
              <a:gd name="T5" fmla="*/ 1 h 316"/>
              <a:gd name="T6" fmla="*/ 108 w 308"/>
              <a:gd name="T7" fmla="*/ 192 h 316"/>
              <a:gd name="T8" fmla="*/ 86 w 308"/>
              <a:gd name="T9" fmla="*/ 181 h 316"/>
              <a:gd name="T10" fmla="*/ 65 w 308"/>
              <a:gd name="T11" fmla="*/ 177 h 316"/>
              <a:gd name="T12" fmla="*/ 42 w 308"/>
              <a:gd name="T13" fmla="*/ 183 h 316"/>
              <a:gd name="T14" fmla="*/ 22 w 308"/>
              <a:gd name="T15" fmla="*/ 196 h 316"/>
              <a:gd name="T16" fmla="*/ 21 w 308"/>
              <a:gd name="T17" fmla="*/ 198 h 316"/>
              <a:gd name="T18" fmla="*/ 21 w 308"/>
              <a:gd name="T19" fmla="*/ 202 h 316"/>
              <a:gd name="T20" fmla="*/ 60 w 308"/>
              <a:gd name="T21" fmla="*/ 241 h 316"/>
              <a:gd name="T22" fmla="*/ 2 w 308"/>
              <a:gd name="T23" fmla="*/ 298 h 316"/>
              <a:gd name="T24" fmla="*/ 0 w 308"/>
              <a:gd name="T25" fmla="*/ 302 h 316"/>
              <a:gd name="T26" fmla="*/ 0 w 308"/>
              <a:gd name="T27" fmla="*/ 305 h 316"/>
              <a:gd name="T28" fmla="*/ 3 w 308"/>
              <a:gd name="T29" fmla="*/ 306 h 316"/>
              <a:gd name="T30" fmla="*/ 22 w 308"/>
              <a:gd name="T31" fmla="*/ 314 h 316"/>
              <a:gd name="T32" fmla="*/ 34 w 308"/>
              <a:gd name="T33" fmla="*/ 316 h 316"/>
              <a:gd name="T34" fmla="*/ 47 w 308"/>
              <a:gd name="T35" fmla="*/ 313 h 316"/>
              <a:gd name="T36" fmla="*/ 60 w 308"/>
              <a:gd name="T37" fmla="*/ 306 h 316"/>
              <a:gd name="T38" fmla="*/ 65 w 308"/>
              <a:gd name="T39" fmla="*/ 301 h 316"/>
              <a:gd name="T40" fmla="*/ 72 w 308"/>
              <a:gd name="T41" fmla="*/ 289 h 316"/>
              <a:gd name="T42" fmla="*/ 74 w 308"/>
              <a:gd name="T43" fmla="*/ 269 h 316"/>
              <a:gd name="T44" fmla="*/ 104 w 308"/>
              <a:gd name="T45" fmla="*/ 285 h 316"/>
              <a:gd name="T46" fmla="*/ 105 w 308"/>
              <a:gd name="T47" fmla="*/ 286 h 316"/>
              <a:gd name="T48" fmla="*/ 108 w 308"/>
              <a:gd name="T49" fmla="*/ 288 h 316"/>
              <a:gd name="T50" fmla="*/ 112 w 308"/>
              <a:gd name="T51" fmla="*/ 285 h 316"/>
              <a:gd name="T52" fmla="*/ 119 w 308"/>
              <a:gd name="T53" fmla="*/ 275 h 316"/>
              <a:gd name="T54" fmla="*/ 128 w 308"/>
              <a:gd name="T55" fmla="*/ 254 h 316"/>
              <a:gd name="T56" fmla="*/ 129 w 308"/>
              <a:gd name="T57" fmla="*/ 231 h 316"/>
              <a:gd name="T58" fmla="*/ 121 w 308"/>
              <a:gd name="T59" fmla="*/ 210 h 316"/>
              <a:gd name="T60" fmla="*/ 307 w 308"/>
              <a:gd name="T61" fmla="*/ 8 h 316"/>
              <a:gd name="T62" fmla="*/ 308 w 308"/>
              <a:gd name="T63" fmla="*/ 7 h 316"/>
              <a:gd name="T64" fmla="*/ 308 w 308"/>
              <a:gd name="T65" fmla="*/ 3 h 316"/>
              <a:gd name="T66" fmla="*/ 307 w 308"/>
              <a:gd name="T67" fmla="*/ 1 h 316"/>
              <a:gd name="T68" fmla="*/ 53 w 308"/>
              <a:gd name="T69" fmla="*/ 298 h 316"/>
              <a:gd name="T70" fmla="*/ 43 w 308"/>
              <a:gd name="T71" fmla="*/ 304 h 316"/>
              <a:gd name="T72" fmla="*/ 33 w 308"/>
              <a:gd name="T73" fmla="*/ 305 h 316"/>
              <a:gd name="T74" fmla="*/ 14 w 308"/>
              <a:gd name="T75" fmla="*/ 301 h 316"/>
              <a:gd name="T76" fmla="*/ 64 w 308"/>
              <a:gd name="T77" fmla="*/ 251 h 316"/>
              <a:gd name="T78" fmla="*/ 64 w 308"/>
              <a:gd name="T79" fmla="*/ 275 h 316"/>
              <a:gd name="T80" fmla="*/ 61 w 308"/>
              <a:gd name="T81" fmla="*/ 289 h 316"/>
              <a:gd name="T82" fmla="*/ 53 w 308"/>
              <a:gd name="T83" fmla="*/ 298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8" h="316">
                <a:moveTo>
                  <a:pt x="307" y="1"/>
                </a:moveTo>
                <a:lnTo>
                  <a:pt x="307" y="1"/>
                </a:lnTo>
                <a:lnTo>
                  <a:pt x="304" y="0"/>
                </a:lnTo>
                <a:lnTo>
                  <a:pt x="303" y="0"/>
                </a:lnTo>
                <a:lnTo>
                  <a:pt x="301" y="0"/>
                </a:lnTo>
                <a:lnTo>
                  <a:pt x="299" y="1"/>
                </a:lnTo>
                <a:lnTo>
                  <a:pt x="108" y="192"/>
                </a:lnTo>
                <a:lnTo>
                  <a:pt x="108" y="192"/>
                </a:lnTo>
                <a:lnTo>
                  <a:pt x="97" y="185"/>
                </a:lnTo>
                <a:lnTo>
                  <a:pt x="86" y="181"/>
                </a:lnTo>
                <a:lnTo>
                  <a:pt x="76" y="179"/>
                </a:lnTo>
                <a:lnTo>
                  <a:pt x="65" y="177"/>
                </a:lnTo>
                <a:lnTo>
                  <a:pt x="53" y="179"/>
                </a:lnTo>
                <a:lnTo>
                  <a:pt x="42" y="183"/>
                </a:lnTo>
                <a:lnTo>
                  <a:pt x="31" y="188"/>
                </a:lnTo>
                <a:lnTo>
                  <a:pt x="22" y="196"/>
                </a:lnTo>
                <a:lnTo>
                  <a:pt x="22" y="196"/>
                </a:lnTo>
                <a:lnTo>
                  <a:pt x="21" y="198"/>
                </a:lnTo>
                <a:lnTo>
                  <a:pt x="21" y="200"/>
                </a:lnTo>
                <a:lnTo>
                  <a:pt x="21" y="202"/>
                </a:lnTo>
                <a:lnTo>
                  <a:pt x="22" y="203"/>
                </a:lnTo>
                <a:lnTo>
                  <a:pt x="60" y="241"/>
                </a:lnTo>
                <a:lnTo>
                  <a:pt x="2" y="298"/>
                </a:lnTo>
                <a:lnTo>
                  <a:pt x="2" y="298"/>
                </a:lnTo>
                <a:lnTo>
                  <a:pt x="0" y="301"/>
                </a:lnTo>
                <a:lnTo>
                  <a:pt x="0" y="302"/>
                </a:lnTo>
                <a:lnTo>
                  <a:pt x="0" y="302"/>
                </a:lnTo>
                <a:lnTo>
                  <a:pt x="0" y="305"/>
                </a:lnTo>
                <a:lnTo>
                  <a:pt x="3" y="306"/>
                </a:lnTo>
                <a:lnTo>
                  <a:pt x="3" y="306"/>
                </a:lnTo>
                <a:lnTo>
                  <a:pt x="13" y="312"/>
                </a:lnTo>
                <a:lnTo>
                  <a:pt x="22" y="314"/>
                </a:lnTo>
                <a:lnTo>
                  <a:pt x="34" y="316"/>
                </a:lnTo>
                <a:lnTo>
                  <a:pt x="34" y="316"/>
                </a:lnTo>
                <a:lnTo>
                  <a:pt x="41" y="314"/>
                </a:lnTo>
                <a:lnTo>
                  <a:pt x="47" y="313"/>
                </a:lnTo>
                <a:lnTo>
                  <a:pt x="54" y="310"/>
                </a:lnTo>
                <a:lnTo>
                  <a:pt x="60" y="306"/>
                </a:lnTo>
                <a:lnTo>
                  <a:pt x="60" y="306"/>
                </a:lnTo>
                <a:lnTo>
                  <a:pt x="65" y="301"/>
                </a:lnTo>
                <a:lnTo>
                  <a:pt x="69" y="296"/>
                </a:lnTo>
                <a:lnTo>
                  <a:pt x="72" y="289"/>
                </a:lnTo>
                <a:lnTo>
                  <a:pt x="73" y="282"/>
                </a:lnTo>
                <a:lnTo>
                  <a:pt x="74" y="269"/>
                </a:lnTo>
                <a:lnTo>
                  <a:pt x="74" y="255"/>
                </a:lnTo>
                <a:lnTo>
                  <a:pt x="104" y="285"/>
                </a:lnTo>
                <a:lnTo>
                  <a:pt x="104" y="285"/>
                </a:lnTo>
                <a:lnTo>
                  <a:pt x="105" y="286"/>
                </a:lnTo>
                <a:lnTo>
                  <a:pt x="108" y="288"/>
                </a:lnTo>
                <a:lnTo>
                  <a:pt x="108" y="288"/>
                </a:lnTo>
                <a:lnTo>
                  <a:pt x="109" y="286"/>
                </a:lnTo>
                <a:lnTo>
                  <a:pt x="112" y="285"/>
                </a:lnTo>
                <a:lnTo>
                  <a:pt x="112" y="285"/>
                </a:lnTo>
                <a:lnTo>
                  <a:pt x="119" y="275"/>
                </a:lnTo>
                <a:lnTo>
                  <a:pt x="125" y="266"/>
                </a:lnTo>
                <a:lnTo>
                  <a:pt x="128" y="254"/>
                </a:lnTo>
                <a:lnTo>
                  <a:pt x="129" y="243"/>
                </a:lnTo>
                <a:lnTo>
                  <a:pt x="129" y="231"/>
                </a:lnTo>
                <a:lnTo>
                  <a:pt x="127" y="220"/>
                </a:lnTo>
                <a:lnTo>
                  <a:pt x="121" y="210"/>
                </a:lnTo>
                <a:lnTo>
                  <a:pt x="115" y="200"/>
                </a:lnTo>
                <a:lnTo>
                  <a:pt x="307" y="8"/>
                </a:lnTo>
                <a:lnTo>
                  <a:pt x="307" y="8"/>
                </a:lnTo>
                <a:lnTo>
                  <a:pt x="308" y="7"/>
                </a:lnTo>
                <a:lnTo>
                  <a:pt x="308" y="4"/>
                </a:lnTo>
                <a:lnTo>
                  <a:pt x="308" y="3"/>
                </a:lnTo>
                <a:lnTo>
                  <a:pt x="307" y="1"/>
                </a:lnTo>
                <a:lnTo>
                  <a:pt x="307" y="1"/>
                </a:lnTo>
                <a:close/>
                <a:moveTo>
                  <a:pt x="53" y="298"/>
                </a:moveTo>
                <a:lnTo>
                  <a:pt x="53" y="298"/>
                </a:lnTo>
                <a:lnTo>
                  <a:pt x="49" y="302"/>
                </a:lnTo>
                <a:lnTo>
                  <a:pt x="43" y="304"/>
                </a:lnTo>
                <a:lnTo>
                  <a:pt x="38" y="305"/>
                </a:lnTo>
                <a:lnTo>
                  <a:pt x="33" y="305"/>
                </a:lnTo>
                <a:lnTo>
                  <a:pt x="22" y="304"/>
                </a:lnTo>
                <a:lnTo>
                  <a:pt x="14" y="301"/>
                </a:lnTo>
                <a:lnTo>
                  <a:pt x="64" y="251"/>
                </a:lnTo>
                <a:lnTo>
                  <a:pt x="64" y="251"/>
                </a:lnTo>
                <a:lnTo>
                  <a:pt x="65" y="262"/>
                </a:lnTo>
                <a:lnTo>
                  <a:pt x="64" y="275"/>
                </a:lnTo>
                <a:lnTo>
                  <a:pt x="62" y="282"/>
                </a:lnTo>
                <a:lnTo>
                  <a:pt x="61" y="289"/>
                </a:lnTo>
                <a:lnTo>
                  <a:pt x="57" y="294"/>
                </a:lnTo>
                <a:lnTo>
                  <a:pt x="53" y="298"/>
                </a:lnTo>
                <a:lnTo>
                  <a:pt x="53" y="29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2" name="Freeform 95">
            <a:extLst>
              <a:ext uri="{FF2B5EF4-FFF2-40B4-BE49-F238E27FC236}">
                <a16:creationId xmlns:a16="http://schemas.microsoft.com/office/drawing/2014/main" id="{F86FB96B-043D-41C8-A8C3-AC9BA06DF131}"/>
              </a:ext>
            </a:extLst>
          </p:cNvPr>
          <p:cNvSpPr>
            <a:spLocks noEditPoints="1"/>
          </p:cNvSpPr>
          <p:nvPr/>
        </p:nvSpPr>
        <p:spPr bwMode="auto">
          <a:xfrm>
            <a:off x="1346353" y="4346476"/>
            <a:ext cx="155642" cy="166761"/>
          </a:xfrm>
          <a:custGeom>
            <a:avLst/>
            <a:gdLst>
              <a:gd name="T0" fmla="*/ 120 w 141"/>
              <a:gd name="T1" fmla="*/ 38 h 151"/>
              <a:gd name="T2" fmla="*/ 121 w 141"/>
              <a:gd name="T3" fmla="*/ 37 h 151"/>
              <a:gd name="T4" fmla="*/ 121 w 141"/>
              <a:gd name="T5" fmla="*/ 33 h 151"/>
              <a:gd name="T6" fmla="*/ 120 w 141"/>
              <a:gd name="T7" fmla="*/ 31 h 151"/>
              <a:gd name="T8" fmla="*/ 100 w 141"/>
              <a:gd name="T9" fmla="*/ 18 h 151"/>
              <a:gd name="T10" fmla="*/ 77 w 141"/>
              <a:gd name="T11" fmla="*/ 12 h 151"/>
              <a:gd name="T12" fmla="*/ 54 w 141"/>
              <a:gd name="T13" fmla="*/ 16 h 151"/>
              <a:gd name="T14" fmla="*/ 34 w 141"/>
              <a:gd name="T15" fmla="*/ 27 h 151"/>
              <a:gd name="T16" fmla="*/ 0 w 141"/>
              <a:gd name="T17" fmla="*/ 8 h 151"/>
              <a:gd name="T18" fmla="*/ 27 w 141"/>
              <a:gd name="T19" fmla="*/ 35 h 151"/>
              <a:gd name="T20" fmla="*/ 15 w 141"/>
              <a:gd name="T21" fmla="*/ 55 h 151"/>
              <a:gd name="T22" fmla="*/ 12 w 141"/>
              <a:gd name="T23" fmla="*/ 78 h 151"/>
              <a:gd name="T24" fmla="*/ 16 w 141"/>
              <a:gd name="T25" fmla="*/ 101 h 151"/>
              <a:gd name="T26" fmla="*/ 30 w 141"/>
              <a:gd name="T27" fmla="*/ 120 h 151"/>
              <a:gd name="T28" fmla="*/ 33 w 141"/>
              <a:gd name="T29" fmla="*/ 121 h 151"/>
              <a:gd name="T30" fmla="*/ 34 w 141"/>
              <a:gd name="T31" fmla="*/ 123 h 151"/>
              <a:gd name="T32" fmla="*/ 38 w 141"/>
              <a:gd name="T33" fmla="*/ 120 h 151"/>
              <a:gd name="T34" fmla="*/ 67 w 141"/>
              <a:gd name="T35" fmla="*/ 90 h 151"/>
              <a:gd name="T36" fmla="*/ 69 w 141"/>
              <a:gd name="T37" fmla="*/ 117 h 151"/>
              <a:gd name="T38" fmla="*/ 73 w 141"/>
              <a:gd name="T39" fmla="*/ 131 h 151"/>
              <a:gd name="T40" fmla="*/ 82 w 141"/>
              <a:gd name="T41" fmla="*/ 141 h 151"/>
              <a:gd name="T42" fmla="*/ 88 w 141"/>
              <a:gd name="T43" fmla="*/ 145 h 151"/>
              <a:gd name="T44" fmla="*/ 101 w 141"/>
              <a:gd name="T45" fmla="*/ 149 h 151"/>
              <a:gd name="T46" fmla="*/ 108 w 141"/>
              <a:gd name="T47" fmla="*/ 151 h 151"/>
              <a:gd name="T48" fmla="*/ 129 w 141"/>
              <a:gd name="T49" fmla="*/ 147 h 151"/>
              <a:gd name="T50" fmla="*/ 139 w 141"/>
              <a:gd name="T51" fmla="*/ 141 h 151"/>
              <a:gd name="T52" fmla="*/ 141 w 141"/>
              <a:gd name="T53" fmla="*/ 137 h 151"/>
              <a:gd name="T54" fmla="*/ 141 w 141"/>
              <a:gd name="T55" fmla="*/ 136 h 151"/>
              <a:gd name="T56" fmla="*/ 82 w 141"/>
              <a:gd name="T57" fmla="*/ 76 h 151"/>
              <a:gd name="T58" fmla="*/ 89 w 141"/>
              <a:gd name="T59" fmla="*/ 133 h 151"/>
              <a:gd name="T60" fmla="*/ 81 w 141"/>
              <a:gd name="T61" fmla="*/ 124 h 151"/>
              <a:gd name="T62" fmla="*/ 78 w 141"/>
              <a:gd name="T63" fmla="*/ 110 h 151"/>
              <a:gd name="T64" fmla="*/ 78 w 141"/>
              <a:gd name="T65" fmla="*/ 86 h 151"/>
              <a:gd name="T66" fmla="*/ 128 w 141"/>
              <a:gd name="T67" fmla="*/ 136 h 151"/>
              <a:gd name="T68" fmla="*/ 109 w 141"/>
              <a:gd name="T69" fmla="*/ 140 h 151"/>
              <a:gd name="T70" fmla="*/ 98 w 141"/>
              <a:gd name="T71" fmla="*/ 139 h 151"/>
              <a:gd name="T72" fmla="*/ 89 w 141"/>
              <a:gd name="T73" fmla="*/ 13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1" h="151">
                <a:moveTo>
                  <a:pt x="82" y="76"/>
                </a:moveTo>
                <a:lnTo>
                  <a:pt x="120" y="38"/>
                </a:lnTo>
                <a:lnTo>
                  <a:pt x="120" y="38"/>
                </a:lnTo>
                <a:lnTo>
                  <a:pt x="121" y="37"/>
                </a:lnTo>
                <a:lnTo>
                  <a:pt x="121" y="35"/>
                </a:lnTo>
                <a:lnTo>
                  <a:pt x="121" y="33"/>
                </a:lnTo>
                <a:lnTo>
                  <a:pt x="120" y="31"/>
                </a:lnTo>
                <a:lnTo>
                  <a:pt x="120" y="31"/>
                </a:lnTo>
                <a:lnTo>
                  <a:pt x="110" y="23"/>
                </a:lnTo>
                <a:lnTo>
                  <a:pt x="100" y="18"/>
                </a:lnTo>
                <a:lnTo>
                  <a:pt x="89" y="14"/>
                </a:lnTo>
                <a:lnTo>
                  <a:pt x="77" y="12"/>
                </a:lnTo>
                <a:lnTo>
                  <a:pt x="66" y="14"/>
                </a:lnTo>
                <a:lnTo>
                  <a:pt x="54" y="16"/>
                </a:lnTo>
                <a:lnTo>
                  <a:pt x="43" y="20"/>
                </a:lnTo>
                <a:lnTo>
                  <a:pt x="34" y="27"/>
                </a:lnTo>
                <a:lnTo>
                  <a:pt x="7" y="0"/>
                </a:lnTo>
                <a:lnTo>
                  <a:pt x="0" y="8"/>
                </a:lnTo>
                <a:lnTo>
                  <a:pt x="27" y="35"/>
                </a:lnTo>
                <a:lnTo>
                  <a:pt x="27" y="35"/>
                </a:lnTo>
                <a:lnTo>
                  <a:pt x="20" y="45"/>
                </a:lnTo>
                <a:lnTo>
                  <a:pt x="15" y="55"/>
                </a:lnTo>
                <a:lnTo>
                  <a:pt x="12" y="66"/>
                </a:lnTo>
                <a:lnTo>
                  <a:pt x="12" y="78"/>
                </a:lnTo>
                <a:lnTo>
                  <a:pt x="14" y="89"/>
                </a:lnTo>
                <a:lnTo>
                  <a:pt x="16" y="101"/>
                </a:lnTo>
                <a:lnTo>
                  <a:pt x="23" y="110"/>
                </a:lnTo>
                <a:lnTo>
                  <a:pt x="30" y="120"/>
                </a:lnTo>
                <a:lnTo>
                  <a:pt x="30" y="120"/>
                </a:lnTo>
                <a:lnTo>
                  <a:pt x="33" y="121"/>
                </a:lnTo>
                <a:lnTo>
                  <a:pt x="34" y="123"/>
                </a:lnTo>
                <a:lnTo>
                  <a:pt x="34" y="123"/>
                </a:lnTo>
                <a:lnTo>
                  <a:pt x="35" y="121"/>
                </a:lnTo>
                <a:lnTo>
                  <a:pt x="38" y="120"/>
                </a:lnTo>
                <a:lnTo>
                  <a:pt x="67" y="90"/>
                </a:lnTo>
                <a:lnTo>
                  <a:pt x="67" y="90"/>
                </a:lnTo>
                <a:lnTo>
                  <a:pt x="67" y="104"/>
                </a:lnTo>
                <a:lnTo>
                  <a:pt x="69" y="117"/>
                </a:lnTo>
                <a:lnTo>
                  <a:pt x="70" y="124"/>
                </a:lnTo>
                <a:lnTo>
                  <a:pt x="73" y="131"/>
                </a:lnTo>
                <a:lnTo>
                  <a:pt x="77" y="136"/>
                </a:lnTo>
                <a:lnTo>
                  <a:pt x="82" y="141"/>
                </a:lnTo>
                <a:lnTo>
                  <a:pt x="82" y="141"/>
                </a:lnTo>
                <a:lnTo>
                  <a:pt x="88" y="145"/>
                </a:lnTo>
                <a:lnTo>
                  <a:pt x="94" y="148"/>
                </a:lnTo>
                <a:lnTo>
                  <a:pt x="101" y="149"/>
                </a:lnTo>
                <a:lnTo>
                  <a:pt x="108" y="151"/>
                </a:lnTo>
                <a:lnTo>
                  <a:pt x="108" y="151"/>
                </a:lnTo>
                <a:lnTo>
                  <a:pt x="120" y="149"/>
                </a:lnTo>
                <a:lnTo>
                  <a:pt x="129" y="147"/>
                </a:lnTo>
                <a:lnTo>
                  <a:pt x="139" y="141"/>
                </a:lnTo>
                <a:lnTo>
                  <a:pt x="139" y="141"/>
                </a:lnTo>
                <a:lnTo>
                  <a:pt x="141" y="140"/>
                </a:lnTo>
                <a:lnTo>
                  <a:pt x="141" y="137"/>
                </a:lnTo>
                <a:lnTo>
                  <a:pt x="141" y="137"/>
                </a:lnTo>
                <a:lnTo>
                  <a:pt x="141" y="136"/>
                </a:lnTo>
                <a:lnTo>
                  <a:pt x="140" y="133"/>
                </a:lnTo>
                <a:lnTo>
                  <a:pt x="82" y="76"/>
                </a:lnTo>
                <a:close/>
                <a:moveTo>
                  <a:pt x="89" y="133"/>
                </a:moveTo>
                <a:lnTo>
                  <a:pt x="89" y="133"/>
                </a:lnTo>
                <a:lnTo>
                  <a:pt x="85" y="129"/>
                </a:lnTo>
                <a:lnTo>
                  <a:pt x="81" y="124"/>
                </a:lnTo>
                <a:lnTo>
                  <a:pt x="80" y="117"/>
                </a:lnTo>
                <a:lnTo>
                  <a:pt x="78" y="110"/>
                </a:lnTo>
                <a:lnTo>
                  <a:pt x="77" y="97"/>
                </a:lnTo>
                <a:lnTo>
                  <a:pt x="78" y="86"/>
                </a:lnTo>
                <a:lnTo>
                  <a:pt x="128" y="136"/>
                </a:lnTo>
                <a:lnTo>
                  <a:pt x="128" y="136"/>
                </a:lnTo>
                <a:lnTo>
                  <a:pt x="120" y="139"/>
                </a:lnTo>
                <a:lnTo>
                  <a:pt x="109" y="140"/>
                </a:lnTo>
                <a:lnTo>
                  <a:pt x="104" y="140"/>
                </a:lnTo>
                <a:lnTo>
                  <a:pt x="98" y="139"/>
                </a:lnTo>
                <a:lnTo>
                  <a:pt x="93" y="137"/>
                </a:lnTo>
                <a:lnTo>
                  <a:pt x="89" y="133"/>
                </a:lnTo>
                <a:lnTo>
                  <a:pt x="89" y="1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3" name="Freeform 96">
            <a:extLst>
              <a:ext uri="{FF2B5EF4-FFF2-40B4-BE49-F238E27FC236}">
                <a16:creationId xmlns:a16="http://schemas.microsoft.com/office/drawing/2014/main" id="{421EE565-196D-494D-8B76-A56F7230F703}"/>
              </a:ext>
            </a:extLst>
          </p:cNvPr>
          <p:cNvSpPr>
            <a:spLocks/>
          </p:cNvSpPr>
          <p:nvPr/>
        </p:nvSpPr>
        <p:spPr bwMode="auto">
          <a:xfrm>
            <a:off x="1159582" y="4161929"/>
            <a:ext cx="168983" cy="168983"/>
          </a:xfrm>
          <a:custGeom>
            <a:avLst/>
            <a:gdLst>
              <a:gd name="T0" fmla="*/ 145 w 152"/>
              <a:gd name="T1" fmla="*/ 152 h 152"/>
              <a:gd name="T2" fmla="*/ 152 w 152"/>
              <a:gd name="T3" fmla="*/ 144 h 152"/>
              <a:gd name="T4" fmla="*/ 9 w 152"/>
              <a:gd name="T5" fmla="*/ 1 h 152"/>
              <a:gd name="T6" fmla="*/ 9 w 152"/>
              <a:gd name="T7" fmla="*/ 1 h 152"/>
              <a:gd name="T8" fmla="*/ 6 w 152"/>
              <a:gd name="T9" fmla="*/ 0 h 152"/>
              <a:gd name="T10" fmla="*/ 5 w 152"/>
              <a:gd name="T11" fmla="*/ 0 h 152"/>
              <a:gd name="T12" fmla="*/ 2 w 152"/>
              <a:gd name="T13" fmla="*/ 0 h 152"/>
              <a:gd name="T14" fmla="*/ 1 w 152"/>
              <a:gd name="T15" fmla="*/ 1 h 152"/>
              <a:gd name="T16" fmla="*/ 1 w 152"/>
              <a:gd name="T17" fmla="*/ 1 h 152"/>
              <a:gd name="T18" fmla="*/ 0 w 152"/>
              <a:gd name="T19" fmla="*/ 3 h 152"/>
              <a:gd name="T20" fmla="*/ 0 w 152"/>
              <a:gd name="T21" fmla="*/ 4 h 152"/>
              <a:gd name="T22" fmla="*/ 0 w 152"/>
              <a:gd name="T23" fmla="*/ 7 h 152"/>
              <a:gd name="T24" fmla="*/ 1 w 152"/>
              <a:gd name="T25" fmla="*/ 8 h 152"/>
              <a:gd name="T26" fmla="*/ 145 w 152"/>
              <a:gd name="T27"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2" h="152">
                <a:moveTo>
                  <a:pt x="145" y="152"/>
                </a:moveTo>
                <a:lnTo>
                  <a:pt x="152" y="144"/>
                </a:lnTo>
                <a:lnTo>
                  <a:pt x="9" y="1"/>
                </a:lnTo>
                <a:lnTo>
                  <a:pt x="9" y="1"/>
                </a:lnTo>
                <a:lnTo>
                  <a:pt x="6" y="0"/>
                </a:lnTo>
                <a:lnTo>
                  <a:pt x="5" y="0"/>
                </a:lnTo>
                <a:lnTo>
                  <a:pt x="2" y="0"/>
                </a:lnTo>
                <a:lnTo>
                  <a:pt x="1" y="1"/>
                </a:lnTo>
                <a:lnTo>
                  <a:pt x="1" y="1"/>
                </a:lnTo>
                <a:lnTo>
                  <a:pt x="0" y="3"/>
                </a:lnTo>
                <a:lnTo>
                  <a:pt x="0" y="4"/>
                </a:lnTo>
                <a:lnTo>
                  <a:pt x="0" y="7"/>
                </a:lnTo>
                <a:lnTo>
                  <a:pt x="1" y="8"/>
                </a:lnTo>
                <a:lnTo>
                  <a:pt x="145" y="1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4" name="Freeform 97">
            <a:extLst>
              <a:ext uri="{FF2B5EF4-FFF2-40B4-BE49-F238E27FC236}">
                <a16:creationId xmlns:a16="http://schemas.microsoft.com/office/drawing/2014/main" id="{23D9F9DE-44EC-4390-B49D-17EDE81C1708}"/>
              </a:ext>
            </a:extLst>
          </p:cNvPr>
          <p:cNvSpPr>
            <a:spLocks noEditPoints="1"/>
          </p:cNvSpPr>
          <p:nvPr/>
        </p:nvSpPr>
        <p:spPr bwMode="auto">
          <a:xfrm>
            <a:off x="962692" y="4737793"/>
            <a:ext cx="731520" cy="729296"/>
          </a:xfrm>
          <a:custGeom>
            <a:avLst/>
            <a:gdLst>
              <a:gd name="T0" fmla="*/ 312 w 657"/>
              <a:gd name="T1" fmla="*/ 657 h 657"/>
              <a:gd name="T2" fmla="*/ 262 w 657"/>
              <a:gd name="T3" fmla="*/ 650 h 657"/>
              <a:gd name="T4" fmla="*/ 200 w 657"/>
              <a:gd name="T5" fmla="*/ 631 h 657"/>
              <a:gd name="T6" fmla="*/ 120 w 657"/>
              <a:gd name="T7" fmla="*/ 581 h 657"/>
              <a:gd name="T8" fmla="*/ 55 w 657"/>
              <a:gd name="T9" fmla="*/ 511 h 657"/>
              <a:gd name="T10" fmla="*/ 15 w 657"/>
              <a:gd name="T11" fmla="*/ 425 h 657"/>
              <a:gd name="T12" fmla="*/ 3 w 657"/>
              <a:gd name="T13" fmla="*/ 378 h 657"/>
              <a:gd name="T14" fmla="*/ 0 w 657"/>
              <a:gd name="T15" fmla="*/ 327 h 657"/>
              <a:gd name="T16" fmla="*/ 1 w 657"/>
              <a:gd name="T17" fmla="*/ 294 h 657"/>
              <a:gd name="T18" fmla="*/ 10 w 657"/>
              <a:gd name="T19" fmla="*/ 245 h 657"/>
              <a:gd name="T20" fmla="*/ 39 w 657"/>
              <a:gd name="T21" fmla="*/ 172 h 657"/>
              <a:gd name="T22" fmla="*/ 96 w 657"/>
              <a:gd name="T23" fmla="*/ 95 h 657"/>
              <a:gd name="T24" fmla="*/ 172 w 657"/>
              <a:gd name="T25" fmla="*/ 39 h 657"/>
              <a:gd name="T26" fmla="*/ 246 w 657"/>
              <a:gd name="T27" fmla="*/ 9 h 657"/>
              <a:gd name="T28" fmla="*/ 294 w 657"/>
              <a:gd name="T29" fmla="*/ 1 h 657"/>
              <a:gd name="T30" fmla="*/ 328 w 657"/>
              <a:gd name="T31" fmla="*/ 0 h 657"/>
              <a:gd name="T32" fmla="*/ 379 w 657"/>
              <a:gd name="T33" fmla="*/ 2 h 657"/>
              <a:gd name="T34" fmla="*/ 426 w 657"/>
              <a:gd name="T35" fmla="*/ 14 h 657"/>
              <a:gd name="T36" fmla="*/ 512 w 657"/>
              <a:gd name="T37" fmla="*/ 55 h 657"/>
              <a:gd name="T38" fmla="*/ 582 w 657"/>
              <a:gd name="T39" fmla="*/ 119 h 657"/>
              <a:gd name="T40" fmla="*/ 632 w 657"/>
              <a:gd name="T41" fmla="*/ 200 h 657"/>
              <a:gd name="T42" fmla="*/ 650 w 657"/>
              <a:gd name="T43" fmla="*/ 262 h 657"/>
              <a:gd name="T44" fmla="*/ 657 w 657"/>
              <a:gd name="T45" fmla="*/ 311 h 657"/>
              <a:gd name="T46" fmla="*/ 657 w 657"/>
              <a:gd name="T47" fmla="*/ 345 h 657"/>
              <a:gd name="T48" fmla="*/ 650 w 657"/>
              <a:gd name="T49" fmla="*/ 395 h 657"/>
              <a:gd name="T50" fmla="*/ 632 w 657"/>
              <a:gd name="T51" fmla="*/ 456 h 657"/>
              <a:gd name="T52" fmla="*/ 582 w 657"/>
              <a:gd name="T53" fmla="*/ 537 h 657"/>
              <a:gd name="T54" fmla="*/ 512 w 657"/>
              <a:gd name="T55" fmla="*/ 600 h 657"/>
              <a:gd name="T56" fmla="*/ 426 w 657"/>
              <a:gd name="T57" fmla="*/ 642 h 657"/>
              <a:gd name="T58" fmla="*/ 379 w 657"/>
              <a:gd name="T59" fmla="*/ 653 h 657"/>
              <a:gd name="T60" fmla="*/ 328 w 657"/>
              <a:gd name="T61" fmla="*/ 657 h 657"/>
              <a:gd name="T62" fmla="*/ 328 w 657"/>
              <a:gd name="T63" fmla="*/ 37 h 657"/>
              <a:gd name="T64" fmla="*/ 242 w 657"/>
              <a:gd name="T65" fmla="*/ 49 h 657"/>
              <a:gd name="T66" fmla="*/ 165 w 657"/>
              <a:gd name="T67" fmla="*/ 87 h 657"/>
              <a:gd name="T68" fmla="*/ 104 w 657"/>
              <a:gd name="T69" fmla="*/ 143 h 657"/>
              <a:gd name="T70" fmla="*/ 61 w 657"/>
              <a:gd name="T71" fmla="*/ 215 h 657"/>
              <a:gd name="T72" fmla="*/ 39 w 657"/>
              <a:gd name="T73" fmla="*/ 298 h 657"/>
              <a:gd name="T74" fmla="*/ 39 w 657"/>
              <a:gd name="T75" fmla="*/ 357 h 657"/>
              <a:gd name="T76" fmla="*/ 61 w 657"/>
              <a:gd name="T77" fmla="*/ 442 h 657"/>
              <a:gd name="T78" fmla="*/ 104 w 657"/>
              <a:gd name="T79" fmla="*/ 513 h 657"/>
              <a:gd name="T80" fmla="*/ 165 w 657"/>
              <a:gd name="T81" fmla="*/ 569 h 657"/>
              <a:gd name="T82" fmla="*/ 242 w 657"/>
              <a:gd name="T83" fmla="*/ 606 h 657"/>
              <a:gd name="T84" fmla="*/ 328 w 657"/>
              <a:gd name="T85" fmla="*/ 619 h 657"/>
              <a:gd name="T86" fmla="*/ 387 w 657"/>
              <a:gd name="T87" fmla="*/ 614 h 657"/>
              <a:gd name="T88" fmla="*/ 468 w 657"/>
              <a:gd name="T89" fmla="*/ 584 h 657"/>
              <a:gd name="T90" fmla="*/ 533 w 657"/>
              <a:gd name="T91" fmla="*/ 534 h 657"/>
              <a:gd name="T92" fmla="*/ 584 w 657"/>
              <a:gd name="T93" fmla="*/ 467 h 657"/>
              <a:gd name="T94" fmla="*/ 614 w 657"/>
              <a:gd name="T95" fmla="*/ 387 h 657"/>
              <a:gd name="T96" fmla="*/ 619 w 657"/>
              <a:gd name="T97" fmla="*/ 327 h 657"/>
              <a:gd name="T98" fmla="*/ 606 w 657"/>
              <a:gd name="T99" fmla="*/ 241 h 657"/>
              <a:gd name="T100" fmla="*/ 570 w 657"/>
              <a:gd name="T101" fmla="*/ 165 h 657"/>
              <a:gd name="T102" fmla="*/ 513 w 657"/>
              <a:gd name="T103" fmla="*/ 103 h 657"/>
              <a:gd name="T104" fmla="*/ 442 w 657"/>
              <a:gd name="T105" fmla="*/ 60 h 657"/>
              <a:gd name="T106" fmla="*/ 357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4" y="655"/>
                </a:lnTo>
                <a:lnTo>
                  <a:pt x="278" y="653"/>
                </a:lnTo>
                <a:lnTo>
                  <a:pt x="262" y="650"/>
                </a:lnTo>
                <a:lnTo>
                  <a:pt x="246" y="646"/>
                </a:lnTo>
                <a:lnTo>
                  <a:pt x="231" y="642"/>
                </a:lnTo>
                <a:lnTo>
                  <a:pt x="200" y="631"/>
                </a:lnTo>
                <a:lnTo>
                  <a:pt x="172" y="618"/>
                </a:lnTo>
                <a:lnTo>
                  <a:pt x="145" y="600"/>
                </a:lnTo>
                <a:lnTo>
                  <a:pt x="120" y="581"/>
                </a:lnTo>
                <a:lnTo>
                  <a:pt x="96" y="560"/>
                </a:lnTo>
                <a:lnTo>
                  <a:pt x="74" y="537"/>
                </a:lnTo>
                <a:lnTo>
                  <a:pt x="55" y="511"/>
                </a:lnTo>
                <a:lnTo>
                  <a:pt x="39" y="485"/>
                </a:lnTo>
                <a:lnTo>
                  <a:pt x="26" y="456"/>
                </a:lnTo>
                <a:lnTo>
                  <a:pt x="15" y="425"/>
                </a:lnTo>
                <a:lnTo>
                  <a:pt x="10" y="409"/>
                </a:lnTo>
                <a:lnTo>
                  <a:pt x="6" y="395"/>
                </a:lnTo>
                <a:lnTo>
                  <a:pt x="3" y="378"/>
                </a:lnTo>
                <a:lnTo>
                  <a:pt x="1" y="361"/>
                </a:lnTo>
                <a:lnTo>
                  <a:pt x="0" y="345"/>
                </a:lnTo>
                <a:lnTo>
                  <a:pt x="0" y="327"/>
                </a:lnTo>
                <a:lnTo>
                  <a:pt x="0" y="327"/>
                </a:lnTo>
                <a:lnTo>
                  <a:pt x="0" y="311"/>
                </a:lnTo>
                <a:lnTo>
                  <a:pt x="1" y="294"/>
                </a:lnTo>
                <a:lnTo>
                  <a:pt x="3" y="278"/>
                </a:lnTo>
                <a:lnTo>
                  <a:pt x="6" y="262"/>
                </a:lnTo>
                <a:lnTo>
                  <a:pt x="10" y="245"/>
                </a:lnTo>
                <a:lnTo>
                  <a:pt x="15" y="231"/>
                </a:lnTo>
                <a:lnTo>
                  <a:pt x="26" y="200"/>
                </a:lnTo>
                <a:lnTo>
                  <a:pt x="39" y="172"/>
                </a:lnTo>
                <a:lnTo>
                  <a:pt x="55" y="145"/>
                </a:lnTo>
                <a:lnTo>
                  <a:pt x="74" y="119"/>
                </a:lnTo>
                <a:lnTo>
                  <a:pt x="96" y="95"/>
                </a:lnTo>
                <a:lnTo>
                  <a:pt x="120" y="75"/>
                </a:lnTo>
                <a:lnTo>
                  <a:pt x="145" y="55"/>
                </a:lnTo>
                <a:lnTo>
                  <a:pt x="172" y="39"/>
                </a:lnTo>
                <a:lnTo>
                  <a:pt x="200" y="25"/>
                </a:lnTo>
                <a:lnTo>
                  <a:pt x="231" y="14"/>
                </a:lnTo>
                <a:lnTo>
                  <a:pt x="246" y="9"/>
                </a:lnTo>
                <a:lnTo>
                  <a:pt x="262" y="6"/>
                </a:lnTo>
                <a:lnTo>
                  <a:pt x="278" y="2"/>
                </a:lnTo>
                <a:lnTo>
                  <a:pt x="294" y="1"/>
                </a:lnTo>
                <a:lnTo>
                  <a:pt x="312" y="0"/>
                </a:lnTo>
                <a:lnTo>
                  <a:pt x="328" y="0"/>
                </a:lnTo>
                <a:lnTo>
                  <a:pt x="328" y="0"/>
                </a:lnTo>
                <a:lnTo>
                  <a:pt x="345" y="0"/>
                </a:lnTo>
                <a:lnTo>
                  <a:pt x="361" y="1"/>
                </a:lnTo>
                <a:lnTo>
                  <a:pt x="379" y="2"/>
                </a:lnTo>
                <a:lnTo>
                  <a:pt x="395" y="6"/>
                </a:lnTo>
                <a:lnTo>
                  <a:pt x="410" y="9"/>
                </a:lnTo>
                <a:lnTo>
                  <a:pt x="426" y="14"/>
                </a:lnTo>
                <a:lnTo>
                  <a:pt x="456" y="25"/>
                </a:lnTo>
                <a:lnTo>
                  <a:pt x="485" y="39"/>
                </a:lnTo>
                <a:lnTo>
                  <a:pt x="512" y="55"/>
                </a:lnTo>
                <a:lnTo>
                  <a:pt x="537" y="75"/>
                </a:lnTo>
                <a:lnTo>
                  <a:pt x="560" y="95"/>
                </a:lnTo>
                <a:lnTo>
                  <a:pt x="582" y="119"/>
                </a:lnTo>
                <a:lnTo>
                  <a:pt x="601" y="145"/>
                </a:lnTo>
                <a:lnTo>
                  <a:pt x="617" y="172"/>
                </a:lnTo>
                <a:lnTo>
                  <a:pt x="632" y="200"/>
                </a:lnTo>
                <a:lnTo>
                  <a:pt x="642" y="231"/>
                </a:lnTo>
                <a:lnTo>
                  <a:pt x="646" y="245"/>
                </a:lnTo>
                <a:lnTo>
                  <a:pt x="650" y="262"/>
                </a:lnTo>
                <a:lnTo>
                  <a:pt x="653" y="278"/>
                </a:lnTo>
                <a:lnTo>
                  <a:pt x="656" y="294"/>
                </a:lnTo>
                <a:lnTo>
                  <a:pt x="657" y="311"/>
                </a:lnTo>
                <a:lnTo>
                  <a:pt x="657" y="327"/>
                </a:lnTo>
                <a:lnTo>
                  <a:pt x="657" y="327"/>
                </a:lnTo>
                <a:lnTo>
                  <a:pt x="657" y="345"/>
                </a:lnTo>
                <a:lnTo>
                  <a:pt x="656" y="361"/>
                </a:lnTo>
                <a:lnTo>
                  <a:pt x="653" y="378"/>
                </a:lnTo>
                <a:lnTo>
                  <a:pt x="650" y="395"/>
                </a:lnTo>
                <a:lnTo>
                  <a:pt x="646" y="409"/>
                </a:lnTo>
                <a:lnTo>
                  <a:pt x="642" y="425"/>
                </a:lnTo>
                <a:lnTo>
                  <a:pt x="632" y="456"/>
                </a:lnTo>
                <a:lnTo>
                  <a:pt x="617" y="485"/>
                </a:lnTo>
                <a:lnTo>
                  <a:pt x="601" y="511"/>
                </a:lnTo>
                <a:lnTo>
                  <a:pt x="582" y="537"/>
                </a:lnTo>
                <a:lnTo>
                  <a:pt x="560" y="560"/>
                </a:lnTo>
                <a:lnTo>
                  <a:pt x="537" y="581"/>
                </a:lnTo>
                <a:lnTo>
                  <a:pt x="512" y="600"/>
                </a:lnTo>
                <a:lnTo>
                  <a:pt x="485" y="618"/>
                </a:lnTo>
                <a:lnTo>
                  <a:pt x="456" y="631"/>
                </a:lnTo>
                <a:lnTo>
                  <a:pt x="426" y="642"/>
                </a:lnTo>
                <a:lnTo>
                  <a:pt x="410" y="646"/>
                </a:lnTo>
                <a:lnTo>
                  <a:pt x="395" y="650"/>
                </a:lnTo>
                <a:lnTo>
                  <a:pt x="379" y="653"/>
                </a:lnTo>
                <a:lnTo>
                  <a:pt x="361" y="655"/>
                </a:lnTo>
                <a:lnTo>
                  <a:pt x="345" y="657"/>
                </a:lnTo>
                <a:lnTo>
                  <a:pt x="328" y="657"/>
                </a:lnTo>
                <a:lnTo>
                  <a:pt x="328" y="657"/>
                </a:lnTo>
                <a:close/>
                <a:moveTo>
                  <a:pt x="328" y="37"/>
                </a:moveTo>
                <a:lnTo>
                  <a:pt x="328" y="37"/>
                </a:lnTo>
                <a:lnTo>
                  <a:pt x="298" y="39"/>
                </a:lnTo>
                <a:lnTo>
                  <a:pt x="270" y="43"/>
                </a:lnTo>
                <a:lnTo>
                  <a:pt x="242" y="49"/>
                </a:lnTo>
                <a:lnTo>
                  <a:pt x="215" y="60"/>
                </a:lnTo>
                <a:lnTo>
                  <a:pt x="190" y="72"/>
                </a:lnTo>
                <a:lnTo>
                  <a:pt x="165" y="87"/>
                </a:lnTo>
                <a:lnTo>
                  <a:pt x="143" y="103"/>
                </a:lnTo>
                <a:lnTo>
                  <a:pt x="122" y="122"/>
                </a:lnTo>
                <a:lnTo>
                  <a:pt x="104" y="143"/>
                </a:lnTo>
                <a:lnTo>
                  <a:pt x="87" y="165"/>
                </a:lnTo>
                <a:lnTo>
                  <a:pt x="73" y="189"/>
                </a:lnTo>
                <a:lnTo>
                  <a:pt x="61" y="215"/>
                </a:lnTo>
                <a:lnTo>
                  <a:pt x="50" y="241"/>
                </a:lnTo>
                <a:lnTo>
                  <a:pt x="43" y="270"/>
                </a:lnTo>
                <a:lnTo>
                  <a:pt x="39" y="298"/>
                </a:lnTo>
                <a:lnTo>
                  <a:pt x="38" y="327"/>
                </a:lnTo>
                <a:lnTo>
                  <a:pt x="38" y="327"/>
                </a:lnTo>
                <a:lnTo>
                  <a:pt x="39" y="357"/>
                </a:lnTo>
                <a:lnTo>
                  <a:pt x="43" y="387"/>
                </a:lnTo>
                <a:lnTo>
                  <a:pt x="50" y="415"/>
                </a:lnTo>
                <a:lnTo>
                  <a:pt x="61" y="442"/>
                </a:lnTo>
                <a:lnTo>
                  <a:pt x="73" y="467"/>
                </a:lnTo>
                <a:lnTo>
                  <a:pt x="87" y="490"/>
                </a:lnTo>
                <a:lnTo>
                  <a:pt x="104" y="513"/>
                </a:lnTo>
                <a:lnTo>
                  <a:pt x="122" y="534"/>
                </a:lnTo>
                <a:lnTo>
                  <a:pt x="143" y="553"/>
                </a:lnTo>
                <a:lnTo>
                  <a:pt x="165" y="569"/>
                </a:lnTo>
                <a:lnTo>
                  <a:pt x="190" y="584"/>
                </a:lnTo>
                <a:lnTo>
                  <a:pt x="215" y="596"/>
                </a:lnTo>
                <a:lnTo>
                  <a:pt x="242" y="606"/>
                </a:lnTo>
                <a:lnTo>
                  <a:pt x="270" y="614"/>
                </a:lnTo>
                <a:lnTo>
                  <a:pt x="298" y="618"/>
                </a:lnTo>
                <a:lnTo>
                  <a:pt x="328" y="619"/>
                </a:lnTo>
                <a:lnTo>
                  <a:pt x="328" y="619"/>
                </a:lnTo>
                <a:lnTo>
                  <a:pt x="357" y="618"/>
                </a:lnTo>
                <a:lnTo>
                  <a:pt x="387" y="614"/>
                </a:lnTo>
                <a:lnTo>
                  <a:pt x="415" y="606"/>
                </a:lnTo>
                <a:lnTo>
                  <a:pt x="442" y="596"/>
                </a:lnTo>
                <a:lnTo>
                  <a:pt x="468" y="584"/>
                </a:lnTo>
                <a:lnTo>
                  <a:pt x="490" y="569"/>
                </a:lnTo>
                <a:lnTo>
                  <a:pt x="513" y="553"/>
                </a:lnTo>
                <a:lnTo>
                  <a:pt x="533" y="534"/>
                </a:lnTo>
                <a:lnTo>
                  <a:pt x="552" y="513"/>
                </a:lnTo>
                <a:lnTo>
                  <a:pt x="570" y="490"/>
                </a:lnTo>
                <a:lnTo>
                  <a:pt x="584" y="467"/>
                </a:lnTo>
                <a:lnTo>
                  <a:pt x="597" y="442"/>
                </a:lnTo>
                <a:lnTo>
                  <a:pt x="606" y="415"/>
                </a:lnTo>
                <a:lnTo>
                  <a:pt x="614" y="387"/>
                </a:lnTo>
                <a:lnTo>
                  <a:pt x="618" y="357"/>
                </a:lnTo>
                <a:lnTo>
                  <a:pt x="619" y="327"/>
                </a:lnTo>
                <a:lnTo>
                  <a:pt x="619" y="327"/>
                </a:lnTo>
                <a:lnTo>
                  <a:pt x="618" y="298"/>
                </a:lnTo>
                <a:lnTo>
                  <a:pt x="614" y="270"/>
                </a:lnTo>
                <a:lnTo>
                  <a:pt x="606" y="241"/>
                </a:lnTo>
                <a:lnTo>
                  <a:pt x="597" y="215"/>
                </a:lnTo>
                <a:lnTo>
                  <a:pt x="584" y="189"/>
                </a:lnTo>
                <a:lnTo>
                  <a:pt x="570" y="165"/>
                </a:lnTo>
                <a:lnTo>
                  <a:pt x="552" y="143"/>
                </a:lnTo>
                <a:lnTo>
                  <a:pt x="533" y="122"/>
                </a:lnTo>
                <a:lnTo>
                  <a:pt x="513" y="103"/>
                </a:lnTo>
                <a:lnTo>
                  <a:pt x="490" y="87"/>
                </a:lnTo>
                <a:lnTo>
                  <a:pt x="468" y="72"/>
                </a:lnTo>
                <a:lnTo>
                  <a:pt x="442" y="60"/>
                </a:lnTo>
                <a:lnTo>
                  <a:pt x="415" y="49"/>
                </a:lnTo>
                <a:lnTo>
                  <a:pt x="387" y="43"/>
                </a:lnTo>
                <a:lnTo>
                  <a:pt x="357" y="39"/>
                </a:lnTo>
                <a:lnTo>
                  <a:pt x="328" y="37"/>
                </a:lnTo>
                <a:lnTo>
                  <a:pt x="328" y="37"/>
                </a:lnTo>
                <a:close/>
              </a:path>
            </a:pathLst>
          </a:custGeom>
          <a:solidFill>
            <a:schemeClr val="accent5"/>
          </a:solidFill>
          <a:ln w="9525">
            <a:solidFill>
              <a:schemeClr val="accent5"/>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26" name="Group 25">
            <a:extLst>
              <a:ext uri="{FF2B5EF4-FFF2-40B4-BE49-F238E27FC236}">
                <a16:creationId xmlns:a16="http://schemas.microsoft.com/office/drawing/2014/main" id="{6CE7EEDE-8148-402D-B7C9-42D8C00A35D0}"/>
              </a:ext>
            </a:extLst>
          </p:cNvPr>
          <p:cNvGrpSpPr>
            <a:grpSpLocks noChangeAspect="1"/>
          </p:cNvGrpSpPr>
          <p:nvPr/>
        </p:nvGrpSpPr>
        <p:grpSpPr>
          <a:xfrm>
            <a:off x="975043" y="5544168"/>
            <a:ext cx="731520" cy="731520"/>
            <a:chOff x="6711951" y="5853113"/>
            <a:chExt cx="522288" cy="522288"/>
          </a:xfrm>
          <a:solidFill>
            <a:schemeClr val="accent5"/>
          </a:solidFill>
        </p:grpSpPr>
        <p:sp>
          <p:nvSpPr>
            <p:cNvPr id="27" name="Freeform 90">
              <a:extLst>
                <a:ext uri="{FF2B5EF4-FFF2-40B4-BE49-F238E27FC236}">
                  <a16:creationId xmlns:a16="http://schemas.microsoft.com/office/drawing/2014/main" id="{219886D4-11E8-4B8A-83E2-CC4FEFCE81C3}"/>
                </a:ext>
              </a:extLst>
            </p:cNvPr>
            <p:cNvSpPr>
              <a:spLocks noEditPoints="1"/>
            </p:cNvSpPr>
            <p:nvPr/>
          </p:nvSpPr>
          <p:spPr bwMode="auto">
            <a:xfrm>
              <a:off x="6711951" y="5853113"/>
              <a:ext cx="522288" cy="522288"/>
            </a:xfrm>
            <a:custGeom>
              <a:avLst/>
              <a:gdLst>
                <a:gd name="T0" fmla="*/ 313 w 658"/>
                <a:gd name="T1" fmla="*/ 657 h 657"/>
                <a:gd name="T2" fmla="*/ 263 w 658"/>
                <a:gd name="T3" fmla="*/ 651 h 657"/>
                <a:gd name="T4" fmla="*/ 202 w 658"/>
                <a:gd name="T5" fmla="*/ 632 h 657"/>
                <a:gd name="T6" fmla="*/ 121 w 658"/>
                <a:gd name="T7" fmla="*/ 582 h 657"/>
                <a:gd name="T8" fmla="*/ 56 w 658"/>
                <a:gd name="T9" fmla="*/ 512 h 657"/>
                <a:gd name="T10" fmla="*/ 15 w 658"/>
                <a:gd name="T11" fmla="*/ 426 h 657"/>
                <a:gd name="T12" fmla="*/ 4 w 658"/>
                <a:gd name="T13" fmla="*/ 379 h 657"/>
                <a:gd name="T14" fmla="*/ 0 w 658"/>
                <a:gd name="T15" fmla="*/ 330 h 657"/>
                <a:gd name="T16" fmla="*/ 3 w 658"/>
                <a:gd name="T17" fmla="*/ 296 h 657"/>
                <a:gd name="T18" fmla="*/ 11 w 658"/>
                <a:gd name="T19" fmla="*/ 246 h 657"/>
                <a:gd name="T20" fmla="*/ 40 w 658"/>
                <a:gd name="T21" fmla="*/ 172 h 657"/>
                <a:gd name="T22" fmla="*/ 97 w 658"/>
                <a:gd name="T23" fmla="*/ 97 h 657"/>
                <a:gd name="T24" fmla="*/ 173 w 658"/>
                <a:gd name="T25" fmla="*/ 39 h 657"/>
                <a:gd name="T26" fmla="*/ 247 w 658"/>
                <a:gd name="T27" fmla="*/ 11 h 657"/>
                <a:gd name="T28" fmla="*/ 296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3 w 658"/>
                <a:gd name="T41" fmla="*/ 201 h 657"/>
                <a:gd name="T42" fmla="*/ 651 w 658"/>
                <a:gd name="T43" fmla="*/ 262 h 657"/>
                <a:gd name="T44" fmla="*/ 658 w 658"/>
                <a:gd name="T45" fmla="*/ 312 h 657"/>
                <a:gd name="T46" fmla="*/ 658 w 658"/>
                <a:gd name="T47" fmla="*/ 346 h 657"/>
                <a:gd name="T48" fmla="*/ 651 w 658"/>
                <a:gd name="T49" fmla="*/ 395 h 657"/>
                <a:gd name="T50" fmla="*/ 633 w 658"/>
                <a:gd name="T51" fmla="*/ 457 h 657"/>
                <a:gd name="T52" fmla="*/ 583 w 658"/>
                <a:gd name="T53" fmla="*/ 538 h 657"/>
                <a:gd name="T54" fmla="*/ 513 w 658"/>
                <a:gd name="T55" fmla="*/ 601 h 657"/>
                <a:gd name="T56" fmla="*/ 427 w 658"/>
                <a:gd name="T57" fmla="*/ 643 h 657"/>
                <a:gd name="T58" fmla="*/ 379 w 658"/>
                <a:gd name="T59" fmla="*/ 655 h 657"/>
                <a:gd name="T60" fmla="*/ 329 w 658"/>
                <a:gd name="T61" fmla="*/ 657 h 657"/>
                <a:gd name="T62" fmla="*/ 329 w 658"/>
                <a:gd name="T63" fmla="*/ 38 h 657"/>
                <a:gd name="T64" fmla="*/ 243 w 658"/>
                <a:gd name="T65" fmla="*/ 52 h 657"/>
                <a:gd name="T66" fmla="*/ 167 w 658"/>
                <a:gd name="T67" fmla="*/ 88 h 657"/>
                <a:gd name="T68" fmla="*/ 105 w 658"/>
                <a:gd name="T69" fmla="*/ 144 h 657"/>
                <a:gd name="T70" fmla="*/ 62 w 658"/>
                <a:gd name="T71" fmla="*/ 215 h 657"/>
                <a:gd name="T72" fmla="*/ 40 w 658"/>
                <a:gd name="T73" fmla="*/ 299 h 657"/>
                <a:gd name="T74" fmla="*/ 40 w 658"/>
                <a:gd name="T75" fmla="*/ 359 h 657"/>
                <a:gd name="T76" fmla="*/ 62 w 658"/>
                <a:gd name="T77" fmla="*/ 442 h 657"/>
                <a:gd name="T78" fmla="*/ 105 w 658"/>
                <a:gd name="T79" fmla="*/ 514 h 657"/>
                <a:gd name="T80" fmla="*/ 167 w 658"/>
                <a:gd name="T81" fmla="*/ 570 h 657"/>
                <a:gd name="T82" fmla="*/ 243 w 658"/>
                <a:gd name="T83" fmla="*/ 608 h 657"/>
                <a:gd name="T84" fmla="*/ 329 w 658"/>
                <a:gd name="T85" fmla="*/ 620 h 657"/>
                <a:gd name="T86" fmla="*/ 388 w 658"/>
                <a:gd name="T87" fmla="*/ 614 h 657"/>
                <a:gd name="T88" fmla="*/ 467 w 658"/>
                <a:gd name="T89" fmla="*/ 585 h 657"/>
                <a:gd name="T90" fmla="*/ 535 w 658"/>
                <a:gd name="T91" fmla="*/ 535 h 657"/>
                <a:gd name="T92" fmla="*/ 586 w 658"/>
                <a:gd name="T93" fmla="*/ 468 h 657"/>
                <a:gd name="T94" fmla="*/ 615 w 658"/>
                <a:gd name="T95" fmla="*/ 387 h 657"/>
                <a:gd name="T96" fmla="*/ 621 w 658"/>
                <a:gd name="T97" fmla="*/ 330 h 657"/>
                <a:gd name="T98" fmla="*/ 607 w 658"/>
                <a:gd name="T99" fmla="*/ 242 h 657"/>
                <a:gd name="T100" fmla="*/ 571 w 658"/>
                <a:gd name="T101" fmla="*/ 166 h 657"/>
                <a:gd name="T102" fmla="*/ 514 w 658"/>
                <a:gd name="T103" fmla="*/ 104 h 657"/>
                <a:gd name="T104" fmla="*/ 443 w 658"/>
                <a:gd name="T105" fmla="*/ 61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6"/>
                  </a:lnTo>
                  <a:lnTo>
                    <a:pt x="279" y="655"/>
                  </a:lnTo>
                  <a:lnTo>
                    <a:pt x="263" y="651"/>
                  </a:lnTo>
                  <a:lnTo>
                    <a:pt x="247" y="648"/>
                  </a:lnTo>
                  <a:lnTo>
                    <a:pt x="232" y="643"/>
                  </a:lnTo>
                  <a:lnTo>
                    <a:pt x="202" y="632"/>
                  </a:lnTo>
                  <a:lnTo>
                    <a:pt x="173" y="618"/>
                  </a:lnTo>
                  <a:lnTo>
                    <a:pt x="145" y="601"/>
                  </a:lnTo>
                  <a:lnTo>
                    <a:pt x="121" y="582"/>
                  </a:lnTo>
                  <a:lnTo>
                    <a:pt x="97" y="562"/>
                  </a:lnTo>
                  <a:lnTo>
                    <a:pt x="75" y="538"/>
                  </a:lnTo>
                  <a:lnTo>
                    <a:pt x="56" y="512"/>
                  </a:lnTo>
                  <a:lnTo>
                    <a:pt x="40" y="485"/>
                  </a:lnTo>
                  <a:lnTo>
                    <a:pt x="27" y="457"/>
                  </a:lnTo>
                  <a:lnTo>
                    <a:pt x="15" y="426"/>
                  </a:lnTo>
                  <a:lnTo>
                    <a:pt x="11" y="411"/>
                  </a:lnTo>
                  <a:lnTo>
                    <a:pt x="7" y="395"/>
                  </a:lnTo>
                  <a:lnTo>
                    <a:pt x="4" y="379"/>
                  </a:lnTo>
                  <a:lnTo>
                    <a:pt x="3" y="363"/>
                  </a:lnTo>
                  <a:lnTo>
                    <a:pt x="1" y="346"/>
                  </a:lnTo>
                  <a:lnTo>
                    <a:pt x="0" y="330"/>
                  </a:lnTo>
                  <a:lnTo>
                    <a:pt x="0" y="330"/>
                  </a:lnTo>
                  <a:lnTo>
                    <a:pt x="1" y="312"/>
                  </a:lnTo>
                  <a:lnTo>
                    <a:pt x="3" y="296"/>
                  </a:lnTo>
                  <a:lnTo>
                    <a:pt x="4" y="279"/>
                  </a:lnTo>
                  <a:lnTo>
                    <a:pt x="7" y="262"/>
                  </a:lnTo>
                  <a:lnTo>
                    <a:pt x="11" y="246"/>
                  </a:lnTo>
                  <a:lnTo>
                    <a:pt x="15" y="231"/>
                  </a:lnTo>
                  <a:lnTo>
                    <a:pt x="27" y="201"/>
                  </a:lnTo>
                  <a:lnTo>
                    <a:pt x="40" y="172"/>
                  </a:lnTo>
                  <a:lnTo>
                    <a:pt x="56" y="146"/>
                  </a:lnTo>
                  <a:lnTo>
                    <a:pt x="75" y="120"/>
                  </a:lnTo>
                  <a:lnTo>
                    <a:pt x="97" y="97"/>
                  </a:lnTo>
                  <a:lnTo>
                    <a:pt x="121" y="76"/>
                  </a:lnTo>
                  <a:lnTo>
                    <a:pt x="145" y="57"/>
                  </a:lnTo>
                  <a:lnTo>
                    <a:pt x="173" y="39"/>
                  </a:lnTo>
                  <a:lnTo>
                    <a:pt x="202" y="26"/>
                  </a:lnTo>
                  <a:lnTo>
                    <a:pt x="232" y="15"/>
                  </a:lnTo>
                  <a:lnTo>
                    <a:pt x="247" y="11"/>
                  </a:lnTo>
                  <a:lnTo>
                    <a:pt x="263" y="7"/>
                  </a:lnTo>
                  <a:lnTo>
                    <a:pt x="279" y="4"/>
                  </a:lnTo>
                  <a:lnTo>
                    <a:pt x="296" y="2"/>
                  </a:lnTo>
                  <a:lnTo>
                    <a:pt x="313" y="0"/>
                  </a:lnTo>
                  <a:lnTo>
                    <a:pt x="329" y="0"/>
                  </a:lnTo>
                  <a:lnTo>
                    <a:pt x="329" y="0"/>
                  </a:lnTo>
                  <a:lnTo>
                    <a:pt x="347" y="0"/>
                  </a:lnTo>
                  <a:lnTo>
                    <a:pt x="363" y="2"/>
                  </a:lnTo>
                  <a:lnTo>
                    <a:pt x="379" y="4"/>
                  </a:lnTo>
                  <a:lnTo>
                    <a:pt x="396" y="7"/>
                  </a:lnTo>
                  <a:lnTo>
                    <a:pt x="411" y="11"/>
                  </a:lnTo>
                  <a:lnTo>
                    <a:pt x="427" y="15"/>
                  </a:lnTo>
                  <a:lnTo>
                    <a:pt x="457" y="26"/>
                  </a:lnTo>
                  <a:lnTo>
                    <a:pt x="486" y="39"/>
                  </a:lnTo>
                  <a:lnTo>
                    <a:pt x="513" y="57"/>
                  </a:lnTo>
                  <a:lnTo>
                    <a:pt x="539" y="76"/>
                  </a:lnTo>
                  <a:lnTo>
                    <a:pt x="561" y="97"/>
                  </a:lnTo>
                  <a:lnTo>
                    <a:pt x="583" y="120"/>
                  </a:lnTo>
                  <a:lnTo>
                    <a:pt x="602" y="146"/>
                  </a:lnTo>
                  <a:lnTo>
                    <a:pt x="618" y="172"/>
                  </a:lnTo>
                  <a:lnTo>
                    <a:pt x="633" y="201"/>
                  </a:lnTo>
                  <a:lnTo>
                    <a:pt x="643" y="231"/>
                  </a:lnTo>
                  <a:lnTo>
                    <a:pt x="647" y="246"/>
                  </a:lnTo>
                  <a:lnTo>
                    <a:pt x="651" y="262"/>
                  </a:lnTo>
                  <a:lnTo>
                    <a:pt x="654" y="279"/>
                  </a:lnTo>
                  <a:lnTo>
                    <a:pt x="657" y="296"/>
                  </a:lnTo>
                  <a:lnTo>
                    <a:pt x="658" y="312"/>
                  </a:lnTo>
                  <a:lnTo>
                    <a:pt x="658" y="330"/>
                  </a:lnTo>
                  <a:lnTo>
                    <a:pt x="658" y="330"/>
                  </a:lnTo>
                  <a:lnTo>
                    <a:pt x="658" y="346"/>
                  </a:lnTo>
                  <a:lnTo>
                    <a:pt x="657" y="363"/>
                  </a:lnTo>
                  <a:lnTo>
                    <a:pt x="654" y="379"/>
                  </a:lnTo>
                  <a:lnTo>
                    <a:pt x="651" y="395"/>
                  </a:lnTo>
                  <a:lnTo>
                    <a:pt x="647" y="411"/>
                  </a:lnTo>
                  <a:lnTo>
                    <a:pt x="643" y="426"/>
                  </a:lnTo>
                  <a:lnTo>
                    <a:pt x="633" y="457"/>
                  </a:lnTo>
                  <a:lnTo>
                    <a:pt x="618" y="485"/>
                  </a:lnTo>
                  <a:lnTo>
                    <a:pt x="602" y="512"/>
                  </a:lnTo>
                  <a:lnTo>
                    <a:pt x="583" y="538"/>
                  </a:lnTo>
                  <a:lnTo>
                    <a:pt x="561" y="562"/>
                  </a:lnTo>
                  <a:lnTo>
                    <a:pt x="539" y="582"/>
                  </a:lnTo>
                  <a:lnTo>
                    <a:pt x="513" y="601"/>
                  </a:lnTo>
                  <a:lnTo>
                    <a:pt x="486" y="618"/>
                  </a:lnTo>
                  <a:lnTo>
                    <a:pt x="457" y="632"/>
                  </a:lnTo>
                  <a:lnTo>
                    <a:pt x="427" y="643"/>
                  </a:lnTo>
                  <a:lnTo>
                    <a:pt x="411" y="648"/>
                  </a:lnTo>
                  <a:lnTo>
                    <a:pt x="396" y="651"/>
                  </a:lnTo>
                  <a:lnTo>
                    <a:pt x="379" y="655"/>
                  </a:lnTo>
                  <a:lnTo>
                    <a:pt x="363" y="656"/>
                  </a:lnTo>
                  <a:lnTo>
                    <a:pt x="347" y="657"/>
                  </a:lnTo>
                  <a:lnTo>
                    <a:pt x="329" y="657"/>
                  </a:lnTo>
                  <a:lnTo>
                    <a:pt x="329" y="657"/>
                  </a:lnTo>
                  <a:close/>
                  <a:moveTo>
                    <a:pt x="329" y="38"/>
                  </a:moveTo>
                  <a:lnTo>
                    <a:pt x="329" y="38"/>
                  </a:lnTo>
                  <a:lnTo>
                    <a:pt x="300" y="39"/>
                  </a:lnTo>
                  <a:lnTo>
                    <a:pt x="271" y="43"/>
                  </a:lnTo>
                  <a:lnTo>
                    <a:pt x="243" y="52"/>
                  </a:lnTo>
                  <a:lnTo>
                    <a:pt x="216" y="61"/>
                  </a:lnTo>
                  <a:lnTo>
                    <a:pt x="191" y="73"/>
                  </a:lnTo>
                  <a:lnTo>
                    <a:pt x="167" y="88"/>
                  </a:lnTo>
                  <a:lnTo>
                    <a:pt x="144" y="104"/>
                  </a:lnTo>
                  <a:lnTo>
                    <a:pt x="124" y="123"/>
                  </a:lnTo>
                  <a:lnTo>
                    <a:pt x="105" y="144"/>
                  </a:lnTo>
                  <a:lnTo>
                    <a:pt x="89" y="166"/>
                  </a:lnTo>
                  <a:lnTo>
                    <a:pt x="74" y="190"/>
                  </a:lnTo>
                  <a:lnTo>
                    <a:pt x="62" y="215"/>
                  </a:lnTo>
                  <a:lnTo>
                    <a:pt x="51" y="242"/>
                  </a:lnTo>
                  <a:lnTo>
                    <a:pt x="44" y="270"/>
                  </a:lnTo>
                  <a:lnTo>
                    <a:pt x="40" y="299"/>
                  </a:lnTo>
                  <a:lnTo>
                    <a:pt x="38" y="330"/>
                  </a:lnTo>
                  <a:lnTo>
                    <a:pt x="38" y="330"/>
                  </a:lnTo>
                  <a:lnTo>
                    <a:pt x="40" y="359"/>
                  </a:lnTo>
                  <a:lnTo>
                    <a:pt x="44" y="387"/>
                  </a:lnTo>
                  <a:lnTo>
                    <a:pt x="51" y="416"/>
                  </a:lnTo>
                  <a:lnTo>
                    <a:pt x="62" y="442"/>
                  </a:lnTo>
                  <a:lnTo>
                    <a:pt x="74" y="468"/>
                  </a:lnTo>
                  <a:lnTo>
                    <a:pt x="89" y="492"/>
                  </a:lnTo>
                  <a:lnTo>
                    <a:pt x="105" y="514"/>
                  </a:lnTo>
                  <a:lnTo>
                    <a:pt x="124" y="535"/>
                  </a:lnTo>
                  <a:lnTo>
                    <a:pt x="144" y="554"/>
                  </a:lnTo>
                  <a:lnTo>
                    <a:pt x="167" y="570"/>
                  </a:lnTo>
                  <a:lnTo>
                    <a:pt x="191" y="585"/>
                  </a:lnTo>
                  <a:lnTo>
                    <a:pt x="216" y="597"/>
                  </a:lnTo>
                  <a:lnTo>
                    <a:pt x="243" y="608"/>
                  </a:lnTo>
                  <a:lnTo>
                    <a:pt x="271" y="614"/>
                  </a:lnTo>
                  <a:lnTo>
                    <a:pt x="300" y="618"/>
                  </a:lnTo>
                  <a:lnTo>
                    <a:pt x="329" y="620"/>
                  </a:lnTo>
                  <a:lnTo>
                    <a:pt x="329" y="620"/>
                  </a:lnTo>
                  <a:lnTo>
                    <a:pt x="359" y="618"/>
                  </a:lnTo>
                  <a:lnTo>
                    <a:pt x="388" y="614"/>
                  </a:lnTo>
                  <a:lnTo>
                    <a:pt x="416" y="608"/>
                  </a:lnTo>
                  <a:lnTo>
                    <a:pt x="443" y="597"/>
                  </a:lnTo>
                  <a:lnTo>
                    <a:pt x="467" y="585"/>
                  </a:lnTo>
                  <a:lnTo>
                    <a:pt x="492" y="570"/>
                  </a:lnTo>
                  <a:lnTo>
                    <a:pt x="514" y="554"/>
                  </a:lnTo>
                  <a:lnTo>
                    <a:pt x="535" y="535"/>
                  </a:lnTo>
                  <a:lnTo>
                    <a:pt x="553" y="514"/>
                  </a:lnTo>
                  <a:lnTo>
                    <a:pt x="571" y="492"/>
                  </a:lnTo>
                  <a:lnTo>
                    <a:pt x="586" y="468"/>
                  </a:lnTo>
                  <a:lnTo>
                    <a:pt x="598" y="442"/>
                  </a:lnTo>
                  <a:lnTo>
                    <a:pt x="607" y="416"/>
                  </a:lnTo>
                  <a:lnTo>
                    <a:pt x="615" y="387"/>
                  </a:lnTo>
                  <a:lnTo>
                    <a:pt x="619" y="359"/>
                  </a:lnTo>
                  <a:lnTo>
                    <a:pt x="621" y="330"/>
                  </a:lnTo>
                  <a:lnTo>
                    <a:pt x="621" y="330"/>
                  </a:lnTo>
                  <a:lnTo>
                    <a:pt x="619" y="299"/>
                  </a:lnTo>
                  <a:lnTo>
                    <a:pt x="615" y="270"/>
                  </a:lnTo>
                  <a:lnTo>
                    <a:pt x="607" y="242"/>
                  </a:lnTo>
                  <a:lnTo>
                    <a:pt x="598" y="215"/>
                  </a:lnTo>
                  <a:lnTo>
                    <a:pt x="586" y="190"/>
                  </a:lnTo>
                  <a:lnTo>
                    <a:pt x="571" y="166"/>
                  </a:lnTo>
                  <a:lnTo>
                    <a:pt x="553" y="144"/>
                  </a:lnTo>
                  <a:lnTo>
                    <a:pt x="535" y="123"/>
                  </a:lnTo>
                  <a:lnTo>
                    <a:pt x="514" y="104"/>
                  </a:lnTo>
                  <a:lnTo>
                    <a:pt x="492" y="88"/>
                  </a:lnTo>
                  <a:lnTo>
                    <a:pt x="467" y="73"/>
                  </a:lnTo>
                  <a:lnTo>
                    <a:pt x="443" y="61"/>
                  </a:lnTo>
                  <a:lnTo>
                    <a:pt x="416" y="52"/>
                  </a:lnTo>
                  <a:lnTo>
                    <a:pt x="388" y="43"/>
                  </a:lnTo>
                  <a:lnTo>
                    <a:pt x="359" y="39"/>
                  </a:lnTo>
                  <a:lnTo>
                    <a:pt x="329" y="38"/>
                  </a:lnTo>
                  <a:lnTo>
                    <a:pt x="329" y="38"/>
                  </a:lnTo>
                  <a:close/>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8" name="Freeform 331">
              <a:extLst>
                <a:ext uri="{FF2B5EF4-FFF2-40B4-BE49-F238E27FC236}">
                  <a16:creationId xmlns:a16="http://schemas.microsoft.com/office/drawing/2014/main" id="{0F441329-88EC-4C52-B7CC-F37FD22AC461}"/>
                </a:ext>
              </a:extLst>
            </p:cNvPr>
            <p:cNvSpPr>
              <a:spLocks noEditPoints="1"/>
            </p:cNvSpPr>
            <p:nvPr/>
          </p:nvSpPr>
          <p:spPr bwMode="auto">
            <a:xfrm>
              <a:off x="6821488" y="6011863"/>
              <a:ext cx="301625" cy="204788"/>
            </a:xfrm>
            <a:custGeom>
              <a:avLst/>
              <a:gdLst>
                <a:gd name="T0" fmla="*/ 342 w 380"/>
                <a:gd name="T1" fmla="*/ 67 h 256"/>
                <a:gd name="T2" fmla="*/ 341 w 380"/>
                <a:gd name="T3" fmla="*/ 63 h 256"/>
                <a:gd name="T4" fmla="*/ 232 w 380"/>
                <a:gd name="T5" fmla="*/ 60 h 256"/>
                <a:gd name="T6" fmla="*/ 232 w 380"/>
                <a:gd name="T7" fmla="*/ 2 h 256"/>
                <a:gd name="T8" fmla="*/ 227 w 380"/>
                <a:gd name="T9" fmla="*/ 0 h 256"/>
                <a:gd name="T10" fmla="*/ 4 w 380"/>
                <a:gd name="T11" fmla="*/ 0 h 256"/>
                <a:gd name="T12" fmla="*/ 0 w 380"/>
                <a:gd name="T13" fmla="*/ 5 h 256"/>
                <a:gd name="T14" fmla="*/ 0 w 380"/>
                <a:gd name="T15" fmla="*/ 216 h 256"/>
                <a:gd name="T16" fmla="*/ 5 w 380"/>
                <a:gd name="T17" fmla="*/ 220 h 256"/>
                <a:gd name="T18" fmla="*/ 63 w 380"/>
                <a:gd name="T19" fmla="*/ 228 h 256"/>
                <a:gd name="T20" fmla="*/ 76 w 380"/>
                <a:gd name="T21" fmla="*/ 247 h 256"/>
                <a:gd name="T22" fmla="*/ 96 w 380"/>
                <a:gd name="T23" fmla="*/ 256 h 256"/>
                <a:gd name="T24" fmla="*/ 111 w 380"/>
                <a:gd name="T25" fmla="*/ 256 h 256"/>
                <a:gd name="T26" fmla="*/ 131 w 380"/>
                <a:gd name="T27" fmla="*/ 247 h 256"/>
                <a:gd name="T28" fmla="*/ 143 w 380"/>
                <a:gd name="T29" fmla="*/ 228 h 256"/>
                <a:gd name="T30" fmla="*/ 256 w 380"/>
                <a:gd name="T31" fmla="*/ 220 h 256"/>
                <a:gd name="T32" fmla="*/ 260 w 380"/>
                <a:gd name="T33" fmla="*/ 235 h 256"/>
                <a:gd name="T34" fmla="*/ 274 w 380"/>
                <a:gd name="T35" fmla="*/ 251 h 256"/>
                <a:gd name="T36" fmla="*/ 294 w 380"/>
                <a:gd name="T37" fmla="*/ 256 h 256"/>
                <a:gd name="T38" fmla="*/ 307 w 380"/>
                <a:gd name="T39" fmla="*/ 253 h 256"/>
                <a:gd name="T40" fmla="*/ 323 w 380"/>
                <a:gd name="T41" fmla="*/ 240 h 256"/>
                <a:gd name="T42" fmla="*/ 330 w 380"/>
                <a:gd name="T43" fmla="*/ 220 h 256"/>
                <a:gd name="T44" fmla="*/ 376 w 380"/>
                <a:gd name="T45" fmla="*/ 220 h 256"/>
                <a:gd name="T46" fmla="*/ 380 w 380"/>
                <a:gd name="T47" fmla="*/ 213 h 256"/>
                <a:gd name="T48" fmla="*/ 379 w 380"/>
                <a:gd name="T49" fmla="*/ 137 h 256"/>
                <a:gd name="T50" fmla="*/ 103 w 380"/>
                <a:gd name="T51" fmla="*/ 244 h 256"/>
                <a:gd name="T52" fmla="*/ 91 w 380"/>
                <a:gd name="T53" fmla="*/ 241 h 256"/>
                <a:gd name="T54" fmla="*/ 78 w 380"/>
                <a:gd name="T55" fmla="*/ 231 h 256"/>
                <a:gd name="T56" fmla="*/ 74 w 380"/>
                <a:gd name="T57" fmla="*/ 213 h 256"/>
                <a:gd name="T58" fmla="*/ 75 w 380"/>
                <a:gd name="T59" fmla="*/ 201 h 256"/>
                <a:gd name="T60" fmla="*/ 87 w 380"/>
                <a:gd name="T61" fmla="*/ 188 h 256"/>
                <a:gd name="T62" fmla="*/ 103 w 380"/>
                <a:gd name="T63" fmla="*/ 184 h 256"/>
                <a:gd name="T64" fmla="*/ 115 w 380"/>
                <a:gd name="T65" fmla="*/ 185 h 256"/>
                <a:gd name="T66" fmla="*/ 129 w 380"/>
                <a:gd name="T67" fmla="*/ 197 h 256"/>
                <a:gd name="T68" fmla="*/ 134 w 380"/>
                <a:gd name="T69" fmla="*/ 213 h 256"/>
                <a:gd name="T70" fmla="*/ 131 w 380"/>
                <a:gd name="T71" fmla="*/ 225 h 256"/>
                <a:gd name="T72" fmla="*/ 121 w 380"/>
                <a:gd name="T73" fmla="*/ 239 h 256"/>
                <a:gd name="T74" fmla="*/ 103 w 380"/>
                <a:gd name="T75" fmla="*/ 244 h 256"/>
                <a:gd name="T76" fmla="*/ 294 w 380"/>
                <a:gd name="T77" fmla="*/ 244 h 256"/>
                <a:gd name="T78" fmla="*/ 280 w 380"/>
                <a:gd name="T79" fmla="*/ 240 h 256"/>
                <a:gd name="T80" fmla="*/ 271 w 380"/>
                <a:gd name="T81" fmla="*/ 229 h 256"/>
                <a:gd name="T82" fmla="*/ 270 w 380"/>
                <a:gd name="T83" fmla="*/ 220 h 256"/>
                <a:gd name="T84" fmla="*/ 274 w 380"/>
                <a:gd name="T85" fmla="*/ 206 h 256"/>
                <a:gd name="T86" fmla="*/ 284 w 380"/>
                <a:gd name="T87" fmla="*/ 197 h 256"/>
                <a:gd name="T88" fmla="*/ 294 w 380"/>
                <a:gd name="T89" fmla="*/ 196 h 256"/>
                <a:gd name="T90" fmla="*/ 307 w 380"/>
                <a:gd name="T91" fmla="*/ 200 h 256"/>
                <a:gd name="T92" fmla="*/ 317 w 380"/>
                <a:gd name="T93" fmla="*/ 210 h 256"/>
                <a:gd name="T94" fmla="*/ 318 w 380"/>
                <a:gd name="T95" fmla="*/ 220 h 256"/>
                <a:gd name="T96" fmla="*/ 314 w 380"/>
                <a:gd name="T97" fmla="*/ 233 h 256"/>
                <a:gd name="T98" fmla="*/ 303 w 380"/>
                <a:gd name="T99" fmla="*/ 243 h 256"/>
                <a:gd name="T100" fmla="*/ 294 w 380"/>
                <a:gd name="T101" fmla="*/ 244 h 256"/>
                <a:gd name="T102" fmla="*/ 327 w 380"/>
                <a:gd name="T103" fmla="*/ 208 h 256"/>
                <a:gd name="T104" fmla="*/ 319 w 380"/>
                <a:gd name="T105" fmla="*/ 194 h 256"/>
                <a:gd name="T106" fmla="*/ 305 w 380"/>
                <a:gd name="T107" fmla="*/ 185 h 256"/>
                <a:gd name="T108" fmla="*/ 294 w 380"/>
                <a:gd name="T109" fmla="*/ 184 h 256"/>
                <a:gd name="T110" fmla="*/ 276 w 380"/>
                <a:gd name="T111" fmla="*/ 188 h 256"/>
                <a:gd name="T112" fmla="*/ 264 w 380"/>
                <a:gd name="T113" fmla="*/ 198 h 256"/>
                <a:gd name="T114" fmla="*/ 232 w 380"/>
                <a:gd name="T115" fmla="*/ 208 h 256"/>
                <a:gd name="T116" fmla="*/ 330 w 380"/>
                <a:gd name="T117" fmla="*/ 129 h 256"/>
                <a:gd name="T118" fmla="*/ 334 w 380"/>
                <a:gd name="T119" fmla="*/ 13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0" h="256">
                  <a:moveTo>
                    <a:pt x="374" y="135"/>
                  </a:moveTo>
                  <a:lnTo>
                    <a:pt x="342" y="123"/>
                  </a:lnTo>
                  <a:lnTo>
                    <a:pt x="342" y="67"/>
                  </a:lnTo>
                  <a:lnTo>
                    <a:pt x="342" y="67"/>
                  </a:lnTo>
                  <a:lnTo>
                    <a:pt x="342" y="64"/>
                  </a:lnTo>
                  <a:lnTo>
                    <a:pt x="341" y="63"/>
                  </a:lnTo>
                  <a:lnTo>
                    <a:pt x="340" y="61"/>
                  </a:lnTo>
                  <a:lnTo>
                    <a:pt x="337" y="60"/>
                  </a:lnTo>
                  <a:lnTo>
                    <a:pt x="232" y="60"/>
                  </a:lnTo>
                  <a:lnTo>
                    <a:pt x="232" y="5"/>
                  </a:lnTo>
                  <a:lnTo>
                    <a:pt x="232" y="5"/>
                  </a:lnTo>
                  <a:lnTo>
                    <a:pt x="232" y="2"/>
                  </a:lnTo>
                  <a:lnTo>
                    <a:pt x="231" y="1"/>
                  </a:lnTo>
                  <a:lnTo>
                    <a:pt x="228" y="0"/>
                  </a:lnTo>
                  <a:lnTo>
                    <a:pt x="227" y="0"/>
                  </a:lnTo>
                  <a:lnTo>
                    <a:pt x="5" y="0"/>
                  </a:lnTo>
                  <a:lnTo>
                    <a:pt x="5" y="0"/>
                  </a:lnTo>
                  <a:lnTo>
                    <a:pt x="4" y="0"/>
                  </a:lnTo>
                  <a:lnTo>
                    <a:pt x="1" y="1"/>
                  </a:lnTo>
                  <a:lnTo>
                    <a:pt x="0" y="2"/>
                  </a:lnTo>
                  <a:lnTo>
                    <a:pt x="0" y="5"/>
                  </a:lnTo>
                  <a:lnTo>
                    <a:pt x="0" y="213"/>
                  </a:lnTo>
                  <a:lnTo>
                    <a:pt x="0" y="213"/>
                  </a:lnTo>
                  <a:lnTo>
                    <a:pt x="0" y="216"/>
                  </a:lnTo>
                  <a:lnTo>
                    <a:pt x="1" y="219"/>
                  </a:lnTo>
                  <a:lnTo>
                    <a:pt x="4" y="220"/>
                  </a:lnTo>
                  <a:lnTo>
                    <a:pt x="5" y="220"/>
                  </a:lnTo>
                  <a:lnTo>
                    <a:pt x="62" y="220"/>
                  </a:lnTo>
                  <a:lnTo>
                    <a:pt x="62" y="220"/>
                  </a:lnTo>
                  <a:lnTo>
                    <a:pt x="63" y="228"/>
                  </a:lnTo>
                  <a:lnTo>
                    <a:pt x="67" y="235"/>
                  </a:lnTo>
                  <a:lnTo>
                    <a:pt x="71" y="240"/>
                  </a:lnTo>
                  <a:lnTo>
                    <a:pt x="76" y="247"/>
                  </a:lnTo>
                  <a:lnTo>
                    <a:pt x="82" y="251"/>
                  </a:lnTo>
                  <a:lnTo>
                    <a:pt x="88" y="253"/>
                  </a:lnTo>
                  <a:lnTo>
                    <a:pt x="96" y="256"/>
                  </a:lnTo>
                  <a:lnTo>
                    <a:pt x="103" y="256"/>
                  </a:lnTo>
                  <a:lnTo>
                    <a:pt x="103" y="256"/>
                  </a:lnTo>
                  <a:lnTo>
                    <a:pt x="111" y="256"/>
                  </a:lnTo>
                  <a:lnTo>
                    <a:pt x="119" y="253"/>
                  </a:lnTo>
                  <a:lnTo>
                    <a:pt x="126" y="251"/>
                  </a:lnTo>
                  <a:lnTo>
                    <a:pt x="131" y="247"/>
                  </a:lnTo>
                  <a:lnTo>
                    <a:pt x="137" y="240"/>
                  </a:lnTo>
                  <a:lnTo>
                    <a:pt x="141" y="235"/>
                  </a:lnTo>
                  <a:lnTo>
                    <a:pt x="143" y="228"/>
                  </a:lnTo>
                  <a:lnTo>
                    <a:pt x="146" y="220"/>
                  </a:lnTo>
                  <a:lnTo>
                    <a:pt x="227" y="220"/>
                  </a:lnTo>
                  <a:lnTo>
                    <a:pt x="256" y="220"/>
                  </a:lnTo>
                  <a:lnTo>
                    <a:pt x="256" y="220"/>
                  </a:lnTo>
                  <a:lnTo>
                    <a:pt x="258" y="228"/>
                  </a:lnTo>
                  <a:lnTo>
                    <a:pt x="260" y="235"/>
                  </a:lnTo>
                  <a:lnTo>
                    <a:pt x="263" y="240"/>
                  </a:lnTo>
                  <a:lnTo>
                    <a:pt x="267" y="245"/>
                  </a:lnTo>
                  <a:lnTo>
                    <a:pt x="274" y="251"/>
                  </a:lnTo>
                  <a:lnTo>
                    <a:pt x="279" y="253"/>
                  </a:lnTo>
                  <a:lnTo>
                    <a:pt x="286" y="256"/>
                  </a:lnTo>
                  <a:lnTo>
                    <a:pt x="294" y="256"/>
                  </a:lnTo>
                  <a:lnTo>
                    <a:pt x="294" y="256"/>
                  </a:lnTo>
                  <a:lnTo>
                    <a:pt x="301" y="256"/>
                  </a:lnTo>
                  <a:lnTo>
                    <a:pt x="307" y="253"/>
                  </a:lnTo>
                  <a:lnTo>
                    <a:pt x="314" y="251"/>
                  </a:lnTo>
                  <a:lnTo>
                    <a:pt x="319" y="245"/>
                  </a:lnTo>
                  <a:lnTo>
                    <a:pt x="323" y="240"/>
                  </a:lnTo>
                  <a:lnTo>
                    <a:pt x="327" y="235"/>
                  </a:lnTo>
                  <a:lnTo>
                    <a:pt x="330" y="228"/>
                  </a:lnTo>
                  <a:lnTo>
                    <a:pt x="330" y="220"/>
                  </a:lnTo>
                  <a:lnTo>
                    <a:pt x="373" y="220"/>
                  </a:lnTo>
                  <a:lnTo>
                    <a:pt x="373" y="220"/>
                  </a:lnTo>
                  <a:lnTo>
                    <a:pt x="376" y="220"/>
                  </a:lnTo>
                  <a:lnTo>
                    <a:pt x="377" y="219"/>
                  </a:lnTo>
                  <a:lnTo>
                    <a:pt x="379" y="216"/>
                  </a:lnTo>
                  <a:lnTo>
                    <a:pt x="380" y="213"/>
                  </a:lnTo>
                  <a:lnTo>
                    <a:pt x="380" y="141"/>
                  </a:lnTo>
                  <a:lnTo>
                    <a:pt x="380" y="141"/>
                  </a:lnTo>
                  <a:lnTo>
                    <a:pt x="379" y="137"/>
                  </a:lnTo>
                  <a:lnTo>
                    <a:pt x="374" y="135"/>
                  </a:lnTo>
                  <a:lnTo>
                    <a:pt x="374" y="135"/>
                  </a:lnTo>
                  <a:close/>
                  <a:moveTo>
                    <a:pt x="103" y="244"/>
                  </a:moveTo>
                  <a:lnTo>
                    <a:pt x="103" y="244"/>
                  </a:lnTo>
                  <a:lnTo>
                    <a:pt x="98" y="244"/>
                  </a:lnTo>
                  <a:lnTo>
                    <a:pt x="91" y="241"/>
                  </a:lnTo>
                  <a:lnTo>
                    <a:pt x="87" y="239"/>
                  </a:lnTo>
                  <a:lnTo>
                    <a:pt x="82" y="236"/>
                  </a:lnTo>
                  <a:lnTo>
                    <a:pt x="78" y="231"/>
                  </a:lnTo>
                  <a:lnTo>
                    <a:pt x="75" y="225"/>
                  </a:lnTo>
                  <a:lnTo>
                    <a:pt x="74" y="220"/>
                  </a:lnTo>
                  <a:lnTo>
                    <a:pt x="74" y="213"/>
                  </a:lnTo>
                  <a:lnTo>
                    <a:pt x="74" y="213"/>
                  </a:lnTo>
                  <a:lnTo>
                    <a:pt x="74" y="208"/>
                  </a:lnTo>
                  <a:lnTo>
                    <a:pt x="75" y="201"/>
                  </a:lnTo>
                  <a:lnTo>
                    <a:pt x="78" y="197"/>
                  </a:lnTo>
                  <a:lnTo>
                    <a:pt x="82" y="192"/>
                  </a:lnTo>
                  <a:lnTo>
                    <a:pt x="87" y="188"/>
                  </a:lnTo>
                  <a:lnTo>
                    <a:pt x="91" y="185"/>
                  </a:lnTo>
                  <a:lnTo>
                    <a:pt x="98" y="184"/>
                  </a:lnTo>
                  <a:lnTo>
                    <a:pt x="103" y="184"/>
                  </a:lnTo>
                  <a:lnTo>
                    <a:pt x="103" y="184"/>
                  </a:lnTo>
                  <a:lnTo>
                    <a:pt x="110" y="184"/>
                  </a:lnTo>
                  <a:lnTo>
                    <a:pt x="115" y="185"/>
                  </a:lnTo>
                  <a:lnTo>
                    <a:pt x="121" y="188"/>
                  </a:lnTo>
                  <a:lnTo>
                    <a:pt x="126" y="192"/>
                  </a:lnTo>
                  <a:lnTo>
                    <a:pt x="129" y="197"/>
                  </a:lnTo>
                  <a:lnTo>
                    <a:pt x="131" y="201"/>
                  </a:lnTo>
                  <a:lnTo>
                    <a:pt x="134" y="208"/>
                  </a:lnTo>
                  <a:lnTo>
                    <a:pt x="134" y="213"/>
                  </a:lnTo>
                  <a:lnTo>
                    <a:pt x="134" y="213"/>
                  </a:lnTo>
                  <a:lnTo>
                    <a:pt x="134" y="220"/>
                  </a:lnTo>
                  <a:lnTo>
                    <a:pt x="131" y="225"/>
                  </a:lnTo>
                  <a:lnTo>
                    <a:pt x="129" y="231"/>
                  </a:lnTo>
                  <a:lnTo>
                    <a:pt x="126" y="236"/>
                  </a:lnTo>
                  <a:lnTo>
                    <a:pt x="121" y="239"/>
                  </a:lnTo>
                  <a:lnTo>
                    <a:pt x="115" y="241"/>
                  </a:lnTo>
                  <a:lnTo>
                    <a:pt x="110" y="244"/>
                  </a:lnTo>
                  <a:lnTo>
                    <a:pt x="103" y="244"/>
                  </a:lnTo>
                  <a:lnTo>
                    <a:pt x="103" y="244"/>
                  </a:lnTo>
                  <a:close/>
                  <a:moveTo>
                    <a:pt x="294" y="244"/>
                  </a:moveTo>
                  <a:lnTo>
                    <a:pt x="294" y="244"/>
                  </a:lnTo>
                  <a:lnTo>
                    <a:pt x="289" y="244"/>
                  </a:lnTo>
                  <a:lnTo>
                    <a:pt x="284" y="243"/>
                  </a:lnTo>
                  <a:lnTo>
                    <a:pt x="280" y="240"/>
                  </a:lnTo>
                  <a:lnTo>
                    <a:pt x="276" y="237"/>
                  </a:lnTo>
                  <a:lnTo>
                    <a:pt x="274" y="233"/>
                  </a:lnTo>
                  <a:lnTo>
                    <a:pt x="271" y="229"/>
                  </a:lnTo>
                  <a:lnTo>
                    <a:pt x="270" y="225"/>
                  </a:lnTo>
                  <a:lnTo>
                    <a:pt x="270" y="220"/>
                  </a:lnTo>
                  <a:lnTo>
                    <a:pt x="270" y="220"/>
                  </a:lnTo>
                  <a:lnTo>
                    <a:pt x="270" y="215"/>
                  </a:lnTo>
                  <a:lnTo>
                    <a:pt x="271" y="210"/>
                  </a:lnTo>
                  <a:lnTo>
                    <a:pt x="274" y="206"/>
                  </a:lnTo>
                  <a:lnTo>
                    <a:pt x="276" y="202"/>
                  </a:lnTo>
                  <a:lnTo>
                    <a:pt x="280" y="200"/>
                  </a:lnTo>
                  <a:lnTo>
                    <a:pt x="284" y="197"/>
                  </a:lnTo>
                  <a:lnTo>
                    <a:pt x="289" y="196"/>
                  </a:lnTo>
                  <a:lnTo>
                    <a:pt x="294" y="196"/>
                  </a:lnTo>
                  <a:lnTo>
                    <a:pt x="294" y="196"/>
                  </a:lnTo>
                  <a:lnTo>
                    <a:pt x="298" y="196"/>
                  </a:lnTo>
                  <a:lnTo>
                    <a:pt x="303" y="197"/>
                  </a:lnTo>
                  <a:lnTo>
                    <a:pt x="307" y="200"/>
                  </a:lnTo>
                  <a:lnTo>
                    <a:pt x="311" y="202"/>
                  </a:lnTo>
                  <a:lnTo>
                    <a:pt x="314" y="206"/>
                  </a:lnTo>
                  <a:lnTo>
                    <a:pt x="317" y="210"/>
                  </a:lnTo>
                  <a:lnTo>
                    <a:pt x="318" y="215"/>
                  </a:lnTo>
                  <a:lnTo>
                    <a:pt x="318" y="220"/>
                  </a:lnTo>
                  <a:lnTo>
                    <a:pt x="318" y="220"/>
                  </a:lnTo>
                  <a:lnTo>
                    <a:pt x="318" y="225"/>
                  </a:lnTo>
                  <a:lnTo>
                    <a:pt x="317" y="229"/>
                  </a:lnTo>
                  <a:lnTo>
                    <a:pt x="314" y="233"/>
                  </a:lnTo>
                  <a:lnTo>
                    <a:pt x="311" y="237"/>
                  </a:lnTo>
                  <a:lnTo>
                    <a:pt x="307" y="240"/>
                  </a:lnTo>
                  <a:lnTo>
                    <a:pt x="303" y="243"/>
                  </a:lnTo>
                  <a:lnTo>
                    <a:pt x="298" y="244"/>
                  </a:lnTo>
                  <a:lnTo>
                    <a:pt x="294" y="244"/>
                  </a:lnTo>
                  <a:lnTo>
                    <a:pt x="294" y="244"/>
                  </a:lnTo>
                  <a:close/>
                  <a:moveTo>
                    <a:pt x="368" y="208"/>
                  </a:moveTo>
                  <a:lnTo>
                    <a:pt x="327" y="208"/>
                  </a:lnTo>
                  <a:lnTo>
                    <a:pt x="327" y="208"/>
                  </a:lnTo>
                  <a:lnTo>
                    <a:pt x="326" y="202"/>
                  </a:lnTo>
                  <a:lnTo>
                    <a:pt x="322" y="198"/>
                  </a:lnTo>
                  <a:lnTo>
                    <a:pt x="319" y="194"/>
                  </a:lnTo>
                  <a:lnTo>
                    <a:pt x="315" y="190"/>
                  </a:lnTo>
                  <a:lnTo>
                    <a:pt x="310" y="188"/>
                  </a:lnTo>
                  <a:lnTo>
                    <a:pt x="305" y="185"/>
                  </a:lnTo>
                  <a:lnTo>
                    <a:pt x="299" y="184"/>
                  </a:lnTo>
                  <a:lnTo>
                    <a:pt x="294" y="184"/>
                  </a:lnTo>
                  <a:lnTo>
                    <a:pt x="294" y="184"/>
                  </a:lnTo>
                  <a:lnTo>
                    <a:pt x="287" y="184"/>
                  </a:lnTo>
                  <a:lnTo>
                    <a:pt x="282" y="185"/>
                  </a:lnTo>
                  <a:lnTo>
                    <a:pt x="276" y="188"/>
                  </a:lnTo>
                  <a:lnTo>
                    <a:pt x="272" y="190"/>
                  </a:lnTo>
                  <a:lnTo>
                    <a:pt x="268" y="194"/>
                  </a:lnTo>
                  <a:lnTo>
                    <a:pt x="264" y="198"/>
                  </a:lnTo>
                  <a:lnTo>
                    <a:pt x="262" y="202"/>
                  </a:lnTo>
                  <a:lnTo>
                    <a:pt x="259" y="208"/>
                  </a:lnTo>
                  <a:lnTo>
                    <a:pt x="232" y="208"/>
                  </a:lnTo>
                  <a:lnTo>
                    <a:pt x="232" y="73"/>
                  </a:lnTo>
                  <a:lnTo>
                    <a:pt x="330" y="73"/>
                  </a:lnTo>
                  <a:lnTo>
                    <a:pt x="330" y="129"/>
                  </a:lnTo>
                  <a:lnTo>
                    <a:pt x="330" y="129"/>
                  </a:lnTo>
                  <a:lnTo>
                    <a:pt x="331" y="131"/>
                  </a:lnTo>
                  <a:lnTo>
                    <a:pt x="334" y="134"/>
                  </a:lnTo>
                  <a:lnTo>
                    <a:pt x="368" y="145"/>
                  </a:lnTo>
                  <a:lnTo>
                    <a:pt x="368" y="208"/>
                  </a:lnTo>
                  <a:close/>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9" name="Freeform 332">
              <a:extLst>
                <a:ext uri="{FF2B5EF4-FFF2-40B4-BE49-F238E27FC236}">
                  <a16:creationId xmlns:a16="http://schemas.microsoft.com/office/drawing/2014/main" id="{D00D832F-104D-4BB2-B0F4-48E61AC56A47}"/>
                </a:ext>
              </a:extLst>
            </p:cNvPr>
            <p:cNvSpPr>
              <a:spLocks/>
            </p:cNvSpPr>
            <p:nvPr/>
          </p:nvSpPr>
          <p:spPr bwMode="auto">
            <a:xfrm>
              <a:off x="7035801" y="6089650"/>
              <a:ext cx="28575" cy="28575"/>
            </a:xfrm>
            <a:custGeom>
              <a:avLst/>
              <a:gdLst>
                <a:gd name="T0" fmla="*/ 29 w 36"/>
                <a:gd name="T1" fmla="*/ 24 h 36"/>
                <a:gd name="T2" fmla="*/ 12 w 36"/>
                <a:gd name="T3" fmla="*/ 24 h 36"/>
                <a:gd name="T4" fmla="*/ 12 w 36"/>
                <a:gd name="T5" fmla="*/ 5 h 36"/>
                <a:gd name="T6" fmla="*/ 12 w 36"/>
                <a:gd name="T7" fmla="*/ 5 h 36"/>
                <a:gd name="T8" fmla="*/ 10 w 36"/>
                <a:gd name="T9" fmla="*/ 2 h 36"/>
                <a:gd name="T10" fmla="*/ 9 w 36"/>
                <a:gd name="T11" fmla="*/ 1 h 36"/>
                <a:gd name="T12" fmla="*/ 8 w 36"/>
                <a:gd name="T13" fmla="*/ 0 h 36"/>
                <a:gd name="T14" fmla="*/ 5 w 36"/>
                <a:gd name="T15" fmla="*/ 0 h 36"/>
                <a:gd name="T16" fmla="*/ 5 w 36"/>
                <a:gd name="T17" fmla="*/ 0 h 36"/>
                <a:gd name="T18" fmla="*/ 2 w 36"/>
                <a:gd name="T19" fmla="*/ 0 h 36"/>
                <a:gd name="T20" fmla="*/ 1 w 36"/>
                <a:gd name="T21" fmla="*/ 1 h 36"/>
                <a:gd name="T22" fmla="*/ 0 w 36"/>
                <a:gd name="T23" fmla="*/ 2 h 36"/>
                <a:gd name="T24" fmla="*/ 0 w 36"/>
                <a:gd name="T25" fmla="*/ 5 h 36"/>
                <a:gd name="T26" fmla="*/ 0 w 36"/>
                <a:gd name="T27" fmla="*/ 31 h 36"/>
                <a:gd name="T28" fmla="*/ 0 w 36"/>
                <a:gd name="T29" fmla="*/ 31 h 36"/>
                <a:gd name="T30" fmla="*/ 0 w 36"/>
                <a:gd name="T31" fmla="*/ 32 h 36"/>
                <a:gd name="T32" fmla="*/ 1 w 36"/>
                <a:gd name="T33" fmla="*/ 35 h 36"/>
                <a:gd name="T34" fmla="*/ 2 w 36"/>
                <a:gd name="T35" fmla="*/ 36 h 36"/>
                <a:gd name="T36" fmla="*/ 5 w 36"/>
                <a:gd name="T37" fmla="*/ 36 h 36"/>
                <a:gd name="T38" fmla="*/ 29 w 36"/>
                <a:gd name="T39" fmla="*/ 36 h 36"/>
                <a:gd name="T40" fmla="*/ 29 w 36"/>
                <a:gd name="T41" fmla="*/ 36 h 36"/>
                <a:gd name="T42" fmla="*/ 32 w 36"/>
                <a:gd name="T43" fmla="*/ 36 h 36"/>
                <a:gd name="T44" fmla="*/ 35 w 36"/>
                <a:gd name="T45" fmla="*/ 35 h 36"/>
                <a:gd name="T46" fmla="*/ 36 w 36"/>
                <a:gd name="T47" fmla="*/ 32 h 36"/>
                <a:gd name="T48" fmla="*/ 36 w 36"/>
                <a:gd name="T49" fmla="*/ 31 h 36"/>
                <a:gd name="T50" fmla="*/ 36 w 36"/>
                <a:gd name="T51" fmla="*/ 31 h 36"/>
                <a:gd name="T52" fmla="*/ 36 w 36"/>
                <a:gd name="T53" fmla="*/ 28 h 36"/>
                <a:gd name="T54" fmla="*/ 35 w 36"/>
                <a:gd name="T55" fmla="*/ 25 h 36"/>
                <a:gd name="T56" fmla="*/ 32 w 36"/>
                <a:gd name="T57" fmla="*/ 24 h 36"/>
                <a:gd name="T58" fmla="*/ 29 w 36"/>
                <a:gd name="T59" fmla="*/ 24 h 36"/>
                <a:gd name="T60" fmla="*/ 29 w 36"/>
                <a:gd name="T61"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6" h="36">
                  <a:moveTo>
                    <a:pt x="29" y="24"/>
                  </a:moveTo>
                  <a:lnTo>
                    <a:pt x="12" y="24"/>
                  </a:lnTo>
                  <a:lnTo>
                    <a:pt x="12" y="5"/>
                  </a:lnTo>
                  <a:lnTo>
                    <a:pt x="12" y="5"/>
                  </a:lnTo>
                  <a:lnTo>
                    <a:pt x="10" y="2"/>
                  </a:lnTo>
                  <a:lnTo>
                    <a:pt x="9" y="1"/>
                  </a:lnTo>
                  <a:lnTo>
                    <a:pt x="8" y="0"/>
                  </a:lnTo>
                  <a:lnTo>
                    <a:pt x="5" y="0"/>
                  </a:lnTo>
                  <a:lnTo>
                    <a:pt x="5" y="0"/>
                  </a:lnTo>
                  <a:lnTo>
                    <a:pt x="2" y="0"/>
                  </a:lnTo>
                  <a:lnTo>
                    <a:pt x="1" y="1"/>
                  </a:lnTo>
                  <a:lnTo>
                    <a:pt x="0" y="2"/>
                  </a:lnTo>
                  <a:lnTo>
                    <a:pt x="0" y="5"/>
                  </a:lnTo>
                  <a:lnTo>
                    <a:pt x="0" y="31"/>
                  </a:lnTo>
                  <a:lnTo>
                    <a:pt x="0" y="31"/>
                  </a:lnTo>
                  <a:lnTo>
                    <a:pt x="0" y="32"/>
                  </a:lnTo>
                  <a:lnTo>
                    <a:pt x="1" y="35"/>
                  </a:lnTo>
                  <a:lnTo>
                    <a:pt x="2" y="36"/>
                  </a:lnTo>
                  <a:lnTo>
                    <a:pt x="5" y="36"/>
                  </a:lnTo>
                  <a:lnTo>
                    <a:pt x="29" y="36"/>
                  </a:lnTo>
                  <a:lnTo>
                    <a:pt x="29" y="36"/>
                  </a:lnTo>
                  <a:lnTo>
                    <a:pt x="32" y="36"/>
                  </a:lnTo>
                  <a:lnTo>
                    <a:pt x="35" y="35"/>
                  </a:lnTo>
                  <a:lnTo>
                    <a:pt x="36" y="32"/>
                  </a:lnTo>
                  <a:lnTo>
                    <a:pt x="36" y="31"/>
                  </a:lnTo>
                  <a:lnTo>
                    <a:pt x="36" y="31"/>
                  </a:lnTo>
                  <a:lnTo>
                    <a:pt x="36" y="28"/>
                  </a:lnTo>
                  <a:lnTo>
                    <a:pt x="35" y="25"/>
                  </a:lnTo>
                  <a:lnTo>
                    <a:pt x="32" y="24"/>
                  </a:lnTo>
                  <a:lnTo>
                    <a:pt x="29" y="24"/>
                  </a:lnTo>
                  <a:lnTo>
                    <a:pt x="29" y="24"/>
                  </a:lnTo>
                  <a:close/>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30" name="Freeform 14">
            <a:extLst>
              <a:ext uri="{FF2B5EF4-FFF2-40B4-BE49-F238E27FC236}">
                <a16:creationId xmlns:a16="http://schemas.microsoft.com/office/drawing/2014/main" id="{4385B283-2D2B-4434-B2F8-1316EA3DCB50}"/>
              </a:ext>
            </a:extLst>
          </p:cNvPr>
          <p:cNvSpPr>
            <a:spLocks noEditPoints="1"/>
          </p:cNvSpPr>
          <p:nvPr/>
        </p:nvSpPr>
        <p:spPr bwMode="auto">
          <a:xfrm>
            <a:off x="998275" y="2320372"/>
            <a:ext cx="731520" cy="733742"/>
          </a:xfrm>
          <a:custGeom>
            <a:avLst/>
            <a:gdLst>
              <a:gd name="T0" fmla="*/ 312 w 659"/>
              <a:gd name="T1" fmla="*/ 658 h 658"/>
              <a:gd name="T2" fmla="*/ 262 w 659"/>
              <a:gd name="T3" fmla="*/ 652 h 658"/>
              <a:gd name="T4" fmla="*/ 202 w 659"/>
              <a:gd name="T5" fmla="*/ 633 h 658"/>
              <a:gd name="T6" fmla="*/ 120 w 659"/>
              <a:gd name="T7" fmla="*/ 583 h 658"/>
              <a:gd name="T8" fmla="*/ 57 w 659"/>
              <a:gd name="T9" fmla="*/ 513 h 658"/>
              <a:gd name="T10" fmla="*/ 15 w 659"/>
              <a:gd name="T11" fmla="*/ 427 h 658"/>
              <a:gd name="T12" fmla="*/ 4 w 659"/>
              <a:gd name="T13" fmla="*/ 379 h 658"/>
              <a:gd name="T14" fmla="*/ 0 w 659"/>
              <a:gd name="T15" fmla="*/ 329 h 658"/>
              <a:gd name="T16" fmla="*/ 2 w 659"/>
              <a:gd name="T17" fmla="*/ 295 h 658"/>
              <a:gd name="T18" fmla="*/ 11 w 659"/>
              <a:gd name="T19" fmla="*/ 247 h 658"/>
              <a:gd name="T20" fmla="*/ 41 w 659"/>
              <a:gd name="T21" fmla="*/ 173 h 658"/>
              <a:gd name="T22" fmla="*/ 97 w 659"/>
              <a:gd name="T23" fmla="*/ 96 h 658"/>
              <a:gd name="T24" fmla="*/ 172 w 659"/>
              <a:gd name="T25" fmla="*/ 40 h 658"/>
              <a:gd name="T26" fmla="*/ 248 w 659"/>
              <a:gd name="T27" fmla="*/ 10 h 658"/>
              <a:gd name="T28" fmla="*/ 296 w 659"/>
              <a:gd name="T29" fmla="*/ 2 h 658"/>
              <a:gd name="T30" fmla="*/ 330 w 659"/>
              <a:gd name="T31" fmla="*/ 0 h 658"/>
              <a:gd name="T32" fmla="*/ 379 w 659"/>
              <a:gd name="T33" fmla="*/ 4 h 658"/>
              <a:gd name="T34" fmla="*/ 426 w 659"/>
              <a:gd name="T35" fmla="*/ 16 h 658"/>
              <a:gd name="T36" fmla="*/ 514 w 659"/>
              <a:gd name="T37" fmla="*/ 56 h 658"/>
              <a:gd name="T38" fmla="*/ 584 w 659"/>
              <a:gd name="T39" fmla="*/ 121 h 658"/>
              <a:gd name="T40" fmla="*/ 632 w 659"/>
              <a:gd name="T41" fmla="*/ 201 h 658"/>
              <a:gd name="T42" fmla="*/ 652 w 659"/>
              <a:gd name="T43" fmla="*/ 263 h 658"/>
              <a:gd name="T44" fmla="*/ 658 w 659"/>
              <a:gd name="T45" fmla="*/ 313 h 658"/>
              <a:gd name="T46" fmla="*/ 658 w 659"/>
              <a:gd name="T47" fmla="*/ 346 h 658"/>
              <a:gd name="T48" fmla="*/ 652 w 659"/>
              <a:gd name="T49" fmla="*/ 396 h 658"/>
              <a:gd name="T50" fmla="*/ 632 w 659"/>
              <a:gd name="T51" fmla="*/ 457 h 658"/>
              <a:gd name="T52" fmla="*/ 584 w 659"/>
              <a:gd name="T53" fmla="*/ 539 h 658"/>
              <a:gd name="T54" fmla="*/ 514 w 659"/>
              <a:gd name="T55" fmla="*/ 602 h 658"/>
              <a:gd name="T56" fmla="*/ 426 w 659"/>
              <a:gd name="T57" fmla="*/ 644 h 658"/>
              <a:gd name="T58" fmla="*/ 379 w 659"/>
              <a:gd name="T59" fmla="*/ 654 h 658"/>
              <a:gd name="T60" fmla="*/ 330 w 659"/>
              <a:gd name="T61" fmla="*/ 658 h 658"/>
              <a:gd name="T62" fmla="*/ 330 w 659"/>
              <a:gd name="T63" fmla="*/ 37 h 658"/>
              <a:gd name="T64" fmla="*/ 242 w 659"/>
              <a:gd name="T65" fmla="*/ 51 h 658"/>
              <a:gd name="T66" fmla="*/ 167 w 659"/>
              <a:gd name="T67" fmla="*/ 88 h 658"/>
              <a:gd name="T68" fmla="*/ 105 w 659"/>
              <a:gd name="T69" fmla="*/ 144 h 658"/>
              <a:gd name="T70" fmla="*/ 61 w 659"/>
              <a:gd name="T71" fmla="*/ 216 h 658"/>
              <a:gd name="T72" fmla="*/ 39 w 659"/>
              <a:gd name="T73" fmla="*/ 299 h 658"/>
              <a:gd name="T74" fmla="*/ 39 w 659"/>
              <a:gd name="T75" fmla="*/ 359 h 658"/>
              <a:gd name="T76" fmla="*/ 61 w 659"/>
              <a:gd name="T77" fmla="*/ 443 h 658"/>
              <a:gd name="T78" fmla="*/ 105 w 659"/>
              <a:gd name="T79" fmla="*/ 514 h 658"/>
              <a:gd name="T80" fmla="*/ 167 w 659"/>
              <a:gd name="T81" fmla="*/ 571 h 658"/>
              <a:gd name="T82" fmla="*/ 242 w 659"/>
              <a:gd name="T83" fmla="*/ 607 h 658"/>
              <a:gd name="T84" fmla="*/ 330 w 659"/>
              <a:gd name="T85" fmla="*/ 621 h 658"/>
              <a:gd name="T86" fmla="*/ 387 w 659"/>
              <a:gd name="T87" fmla="*/ 615 h 658"/>
              <a:gd name="T88" fmla="*/ 468 w 659"/>
              <a:gd name="T89" fmla="*/ 586 h 658"/>
              <a:gd name="T90" fmla="*/ 535 w 659"/>
              <a:gd name="T91" fmla="*/ 535 h 658"/>
              <a:gd name="T92" fmla="*/ 585 w 659"/>
              <a:gd name="T93" fmla="*/ 467 h 658"/>
              <a:gd name="T94" fmla="*/ 614 w 659"/>
              <a:gd name="T95" fmla="*/ 388 h 658"/>
              <a:gd name="T96" fmla="*/ 621 w 659"/>
              <a:gd name="T97" fmla="*/ 329 h 658"/>
              <a:gd name="T98" fmla="*/ 608 w 659"/>
              <a:gd name="T99" fmla="*/ 243 h 658"/>
              <a:gd name="T100" fmla="*/ 570 w 659"/>
              <a:gd name="T101" fmla="*/ 166 h 658"/>
              <a:gd name="T102" fmla="*/ 515 w 659"/>
              <a:gd name="T103" fmla="*/ 105 h 658"/>
              <a:gd name="T104" fmla="*/ 442 w 659"/>
              <a:gd name="T105" fmla="*/ 62 h 658"/>
              <a:gd name="T106" fmla="*/ 359 w 659"/>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30" y="658"/>
                </a:moveTo>
                <a:lnTo>
                  <a:pt x="330" y="658"/>
                </a:lnTo>
                <a:lnTo>
                  <a:pt x="312" y="658"/>
                </a:lnTo>
                <a:lnTo>
                  <a:pt x="296" y="657"/>
                </a:lnTo>
                <a:lnTo>
                  <a:pt x="280" y="654"/>
                </a:lnTo>
                <a:lnTo>
                  <a:pt x="262" y="652"/>
                </a:lnTo>
                <a:lnTo>
                  <a:pt x="248" y="648"/>
                </a:lnTo>
                <a:lnTo>
                  <a:pt x="231" y="644"/>
                </a:lnTo>
                <a:lnTo>
                  <a:pt x="202" y="633"/>
                </a:lnTo>
                <a:lnTo>
                  <a:pt x="172" y="618"/>
                </a:lnTo>
                <a:lnTo>
                  <a:pt x="145" y="602"/>
                </a:lnTo>
                <a:lnTo>
                  <a:pt x="120" y="583"/>
                </a:lnTo>
                <a:lnTo>
                  <a:pt x="97" y="562"/>
                </a:lnTo>
                <a:lnTo>
                  <a:pt x="76" y="539"/>
                </a:lnTo>
                <a:lnTo>
                  <a:pt x="57" y="513"/>
                </a:lnTo>
                <a:lnTo>
                  <a:pt x="41" y="486"/>
                </a:lnTo>
                <a:lnTo>
                  <a:pt x="26" y="457"/>
                </a:lnTo>
                <a:lnTo>
                  <a:pt x="15" y="427"/>
                </a:lnTo>
                <a:lnTo>
                  <a:pt x="11" y="411"/>
                </a:lnTo>
                <a:lnTo>
                  <a:pt x="7" y="396"/>
                </a:lnTo>
                <a:lnTo>
                  <a:pt x="4" y="379"/>
                </a:lnTo>
                <a:lnTo>
                  <a:pt x="2" y="363"/>
                </a:lnTo>
                <a:lnTo>
                  <a:pt x="0" y="346"/>
                </a:lnTo>
                <a:lnTo>
                  <a:pt x="0" y="329"/>
                </a:lnTo>
                <a:lnTo>
                  <a:pt x="0" y="329"/>
                </a:lnTo>
                <a:lnTo>
                  <a:pt x="0" y="313"/>
                </a:lnTo>
                <a:lnTo>
                  <a:pt x="2" y="295"/>
                </a:lnTo>
                <a:lnTo>
                  <a:pt x="4" y="279"/>
                </a:lnTo>
                <a:lnTo>
                  <a:pt x="7" y="263"/>
                </a:lnTo>
                <a:lnTo>
                  <a:pt x="11" y="247"/>
                </a:lnTo>
                <a:lnTo>
                  <a:pt x="15" y="232"/>
                </a:lnTo>
                <a:lnTo>
                  <a:pt x="26" y="201"/>
                </a:lnTo>
                <a:lnTo>
                  <a:pt x="41" y="173"/>
                </a:lnTo>
                <a:lnTo>
                  <a:pt x="57" y="145"/>
                </a:lnTo>
                <a:lnTo>
                  <a:pt x="76" y="121"/>
                </a:lnTo>
                <a:lnTo>
                  <a:pt x="97" y="96"/>
                </a:lnTo>
                <a:lnTo>
                  <a:pt x="120" y="75"/>
                </a:lnTo>
                <a:lnTo>
                  <a:pt x="145" y="56"/>
                </a:lnTo>
                <a:lnTo>
                  <a:pt x="172" y="40"/>
                </a:lnTo>
                <a:lnTo>
                  <a:pt x="202" y="27"/>
                </a:lnTo>
                <a:lnTo>
                  <a:pt x="231" y="16"/>
                </a:lnTo>
                <a:lnTo>
                  <a:pt x="248" y="10"/>
                </a:lnTo>
                <a:lnTo>
                  <a:pt x="262" y="6"/>
                </a:lnTo>
                <a:lnTo>
                  <a:pt x="280" y="4"/>
                </a:lnTo>
                <a:lnTo>
                  <a:pt x="296" y="2"/>
                </a:lnTo>
                <a:lnTo>
                  <a:pt x="312" y="1"/>
                </a:lnTo>
                <a:lnTo>
                  <a:pt x="330" y="0"/>
                </a:lnTo>
                <a:lnTo>
                  <a:pt x="330" y="0"/>
                </a:lnTo>
                <a:lnTo>
                  <a:pt x="346" y="1"/>
                </a:lnTo>
                <a:lnTo>
                  <a:pt x="363" y="2"/>
                </a:lnTo>
                <a:lnTo>
                  <a:pt x="379" y="4"/>
                </a:lnTo>
                <a:lnTo>
                  <a:pt x="395" y="6"/>
                </a:lnTo>
                <a:lnTo>
                  <a:pt x="412" y="10"/>
                </a:lnTo>
                <a:lnTo>
                  <a:pt x="426" y="16"/>
                </a:lnTo>
                <a:lnTo>
                  <a:pt x="457" y="27"/>
                </a:lnTo>
                <a:lnTo>
                  <a:pt x="485" y="40"/>
                </a:lnTo>
                <a:lnTo>
                  <a:pt x="514" y="56"/>
                </a:lnTo>
                <a:lnTo>
                  <a:pt x="538" y="75"/>
                </a:lnTo>
                <a:lnTo>
                  <a:pt x="562" y="96"/>
                </a:lnTo>
                <a:lnTo>
                  <a:pt x="584" y="121"/>
                </a:lnTo>
                <a:lnTo>
                  <a:pt x="602" y="145"/>
                </a:lnTo>
                <a:lnTo>
                  <a:pt x="619" y="173"/>
                </a:lnTo>
                <a:lnTo>
                  <a:pt x="632" y="201"/>
                </a:lnTo>
                <a:lnTo>
                  <a:pt x="644" y="232"/>
                </a:lnTo>
                <a:lnTo>
                  <a:pt x="648" y="247"/>
                </a:lnTo>
                <a:lnTo>
                  <a:pt x="652" y="263"/>
                </a:lnTo>
                <a:lnTo>
                  <a:pt x="655" y="279"/>
                </a:lnTo>
                <a:lnTo>
                  <a:pt x="656" y="295"/>
                </a:lnTo>
                <a:lnTo>
                  <a:pt x="658" y="313"/>
                </a:lnTo>
                <a:lnTo>
                  <a:pt x="659" y="329"/>
                </a:lnTo>
                <a:lnTo>
                  <a:pt x="659" y="329"/>
                </a:lnTo>
                <a:lnTo>
                  <a:pt x="658" y="346"/>
                </a:lnTo>
                <a:lnTo>
                  <a:pt x="656" y="363"/>
                </a:lnTo>
                <a:lnTo>
                  <a:pt x="655" y="379"/>
                </a:lnTo>
                <a:lnTo>
                  <a:pt x="652" y="396"/>
                </a:lnTo>
                <a:lnTo>
                  <a:pt x="648" y="411"/>
                </a:lnTo>
                <a:lnTo>
                  <a:pt x="644" y="427"/>
                </a:lnTo>
                <a:lnTo>
                  <a:pt x="632" y="457"/>
                </a:lnTo>
                <a:lnTo>
                  <a:pt x="619" y="486"/>
                </a:lnTo>
                <a:lnTo>
                  <a:pt x="602" y="513"/>
                </a:lnTo>
                <a:lnTo>
                  <a:pt x="584" y="539"/>
                </a:lnTo>
                <a:lnTo>
                  <a:pt x="562" y="562"/>
                </a:lnTo>
                <a:lnTo>
                  <a:pt x="538" y="583"/>
                </a:lnTo>
                <a:lnTo>
                  <a:pt x="514" y="602"/>
                </a:lnTo>
                <a:lnTo>
                  <a:pt x="485" y="618"/>
                </a:lnTo>
                <a:lnTo>
                  <a:pt x="457" y="633"/>
                </a:lnTo>
                <a:lnTo>
                  <a:pt x="426" y="644"/>
                </a:lnTo>
                <a:lnTo>
                  <a:pt x="412" y="648"/>
                </a:lnTo>
                <a:lnTo>
                  <a:pt x="395" y="652"/>
                </a:lnTo>
                <a:lnTo>
                  <a:pt x="379" y="654"/>
                </a:lnTo>
                <a:lnTo>
                  <a:pt x="363" y="657"/>
                </a:lnTo>
                <a:lnTo>
                  <a:pt x="346" y="658"/>
                </a:lnTo>
                <a:lnTo>
                  <a:pt x="330" y="658"/>
                </a:lnTo>
                <a:lnTo>
                  <a:pt x="330" y="658"/>
                </a:lnTo>
                <a:close/>
                <a:moveTo>
                  <a:pt x="330" y="37"/>
                </a:moveTo>
                <a:lnTo>
                  <a:pt x="330" y="37"/>
                </a:lnTo>
                <a:lnTo>
                  <a:pt x="300" y="40"/>
                </a:lnTo>
                <a:lnTo>
                  <a:pt x="270" y="44"/>
                </a:lnTo>
                <a:lnTo>
                  <a:pt x="242" y="51"/>
                </a:lnTo>
                <a:lnTo>
                  <a:pt x="215" y="62"/>
                </a:lnTo>
                <a:lnTo>
                  <a:pt x="191" y="74"/>
                </a:lnTo>
                <a:lnTo>
                  <a:pt x="167" y="88"/>
                </a:lnTo>
                <a:lnTo>
                  <a:pt x="144" y="105"/>
                </a:lnTo>
                <a:lnTo>
                  <a:pt x="124" y="123"/>
                </a:lnTo>
                <a:lnTo>
                  <a:pt x="105" y="144"/>
                </a:lnTo>
                <a:lnTo>
                  <a:pt x="88" y="166"/>
                </a:lnTo>
                <a:lnTo>
                  <a:pt x="73" y="191"/>
                </a:lnTo>
                <a:lnTo>
                  <a:pt x="61" y="216"/>
                </a:lnTo>
                <a:lnTo>
                  <a:pt x="51" y="243"/>
                </a:lnTo>
                <a:lnTo>
                  <a:pt x="43" y="271"/>
                </a:lnTo>
                <a:lnTo>
                  <a:pt x="39" y="299"/>
                </a:lnTo>
                <a:lnTo>
                  <a:pt x="38" y="329"/>
                </a:lnTo>
                <a:lnTo>
                  <a:pt x="38" y="329"/>
                </a:lnTo>
                <a:lnTo>
                  <a:pt x="39" y="359"/>
                </a:lnTo>
                <a:lnTo>
                  <a:pt x="43" y="388"/>
                </a:lnTo>
                <a:lnTo>
                  <a:pt x="51" y="416"/>
                </a:lnTo>
                <a:lnTo>
                  <a:pt x="61" y="443"/>
                </a:lnTo>
                <a:lnTo>
                  <a:pt x="73" y="467"/>
                </a:lnTo>
                <a:lnTo>
                  <a:pt x="88" y="492"/>
                </a:lnTo>
                <a:lnTo>
                  <a:pt x="105" y="514"/>
                </a:lnTo>
                <a:lnTo>
                  <a:pt x="124" y="535"/>
                </a:lnTo>
                <a:lnTo>
                  <a:pt x="144" y="553"/>
                </a:lnTo>
                <a:lnTo>
                  <a:pt x="167" y="571"/>
                </a:lnTo>
                <a:lnTo>
                  <a:pt x="191" y="586"/>
                </a:lnTo>
                <a:lnTo>
                  <a:pt x="215" y="598"/>
                </a:lnTo>
                <a:lnTo>
                  <a:pt x="242" y="607"/>
                </a:lnTo>
                <a:lnTo>
                  <a:pt x="270" y="615"/>
                </a:lnTo>
                <a:lnTo>
                  <a:pt x="300" y="619"/>
                </a:lnTo>
                <a:lnTo>
                  <a:pt x="330" y="621"/>
                </a:lnTo>
                <a:lnTo>
                  <a:pt x="330" y="621"/>
                </a:lnTo>
                <a:lnTo>
                  <a:pt x="359" y="619"/>
                </a:lnTo>
                <a:lnTo>
                  <a:pt x="387" y="615"/>
                </a:lnTo>
                <a:lnTo>
                  <a:pt x="416" y="607"/>
                </a:lnTo>
                <a:lnTo>
                  <a:pt x="442" y="598"/>
                </a:lnTo>
                <a:lnTo>
                  <a:pt x="468" y="586"/>
                </a:lnTo>
                <a:lnTo>
                  <a:pt x="492" y="571"/>
                </a:lnTo>
                <a:lnTo>
                  <a:pt x="515" y="553"/>
                </a:lnTo>
                <a:lnTo>
                  <a:pt x="535" y="535"/>
                </a:lnTo>
                <a:lnTo>
                  <a:pt x="554" y="514"/>
                </a:lnTo>
                <a:lnTo>
                  <a:pt x="570" y="492"/>
                </a:lnTo>
                <a:lnTo>
                  <a:pt x="585" y="467"/>
                </a:lnTo>
                <a:lnTo>
                  <a:pt x="597" y="443"/>
                </a:lnTo>
                <a:lnTo>
                  <a:pt x="608" y="416"/>
                </a:lnTo>
                <a:lnTo>
                  <a:pt x="614" y="388"/>
                </a:lnTo>
                <a:lnTo>
                  <a:pt x="619" y="359"/>
                </a:lnTo>
                <a:lnTo>
                  <a:pt x="621" y="329"/>
                </a:lnTo>
                <a:lnTo>
                  <a:pt x="621" y="329"/>
                </a:lnTo>
                <a:lnTo>
                  <a:pt x="619" y="299"/>
                </a:lnTo>
                <a:lnTo>
                  <a:pt x="614" y="271"/>
                </a:lnTo>
                <a:lnTo>
                  <a:pt x="608" y="243"/>
                </a:lnTo>
                <a:lnTo>
                  <a:pt x="597" y="216"/>
                </a:lnTo>
                <a:lnTo>
                  <a:pt x="585" y="191"/>
                </a:lnTo>
                <a:lnTo>
                  <a:pt x="570" y="166"/>
                </a:lnTo>
                <a:lnTo>
                  <a:pt x="554" y="144"/>
                </a:lnTo>
                <a:lnTo>
                  <a:pt x="535" y="123"/>
                </a:lnTo>
                <a:lnTo>
                  <a:pt x="515" y="105"/>
                </a:lnTo>
                <a:lnTo>
                  <a:pt x="492" y="88"/>
                </a:lnTo>
                <a:lnTo>
                  <a:pt x="468" y="74"/>
                </a:lnTo>
                <a:lnTo>
                  <a:pt x="442" y="62"/>
                </a:lnTo>
                <a:lnTo>
                  <a:pt x="416" y="51"/>
                </a:lnTo>
                <a:lnTo>
                  <a:pt x="387" y="44"/>
                </a:lnTo>
                <a:lnTo>
                  <a:pt x="359" y="40"/>
                </a:lnTo>
                <a:lnTo>
                  <a:pt x="330" y="37"/>
                </a:lnTo>
                <a:lnTo>
                  <a:pt x="330" y="37"/>
                </a:lnTo>
                <a:close/>
              </a:path>
            </a:pathLst>
          </a:custGeom>
          <a:solidFill>
            <a:schemeClr val="accent5"/>
          </a:solidFill>
          <a:ln w="9525">
            <a:solidFill>
              <a:schemeClr val="accent5"/>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1" name="Freeform 122">
            <a:extLst>
              <a:ext uri="{FF2B5EF4-FFF2-40B4-BE49-F238E27FC236}">
                <a16:creationId xmlns:a16="http://schemas.microsoft.com/office/drawing/2014/main" id="{F67F31CD-F449-4CF5-BF31-4448A7DA26CE}"/>
              </a:ext>
            </a:extLst>
          </p:cNvPr>
          <p:cNvSpPr>
            <a:spLocks/>
          </p:cNvSpPr>
          <p:nvPr/>
        </p:nvSpPr>
        <p:spPr bwMode="auto">
          <a:xfrm>
            <a:off x="1120565" y="2683309"/>
            <a:ext cx="415788" cy="175654"/>
          </a:xfrm>
          <a:custGeom>
            <a:avLst/>
            <a:gdLst>
              <a:gd name="T0" fmla="*/ 363 w 375"/>
              <a:gd name="T1" fmla="*/ 39 h 157"/>
              <a:gd name="T2" fmla="*/ 355 w 375"/>
              <a:gd name="T3" fmla="*/ 43 h 157"/>
              <a:gd name="T4" fmla="*/ 352 w 375"/>
              <a:gd name="T5" fmla="*/ 47 h 157"/>
              <a:gd name="T6" fmla="*/ 351 w 375"/>
              <a:gd name="T7" fmla="*/ 115 h 157"/>
              <a:gd name="T8" fmla="*/ 348 w 375"/>
              <a:gd name="T9" fmla="*/ 118 h 157"/>
              <a:gd name="T10" fmla="*/ 346 w 375"/>
              <a:gd name="T11" fmla="*/ 110 h 157"/>
              <a:gd name="T12" fmla="*/ 222 w 375"/>
              <a:gd name="T13" fmla="*/ 2 h 157"/>
              <a:gd name="T14" fmla="*/ 214 w 375"/>
              <a:gd name="T15" fmla="*/ 0 h 157"/>
              <a:gd name="T16" fmla="*/ 124 w 375"/>
              <a:gd name="T17" fmla="*/ 0 h 157"/>
              <a:gd name="T18" fmla="*/ 12 w 375"/>
              <a:gd name="T19" fmla="*/ 0 h 157"/>
              <a:gd name="T20" fmla="*/ 4 w 375"/>
              <a:gd name="T21" fmla="*/ 2 h 157"/>
              <a:gd name="T22" fmla="*/ 2 w 375"/>
              <a:gd name="T23" fmla="*/ 6 h 157"/>
              <a:gd name="T24" fmla="*/ 0 w 375"/>
              <a:gd name="T25" fmla="*/ 12 h 157"/>
              <a:gd name="T26" fmla="*/ 4 w 375"/>
              <a:gd name="T27" fmla="*/ 20 h 157"/>
              <a:gd name="T28" fmla="*/ 8 w 375"/>
              <a:gd name="T29" fmla="*/ 22 h 157"/>
              <a:gd name="T30" fmla="*/ 124 w 375"/>
              <a:gd name="T31" fmla="*/ 22 h 157"/>
              <a:gd name="T32" fmla="*/ 210 w 375"/>
              <a:gd name="T33" fmla="*/ 22 h 157"/>
              <a:gd name="T34" fmla="*/ 329 w 375"/>
              <a:gd name="T35" fmla="*/ 127 h 157"/>
              <a:gd name="T36" fmla="*/ 336 w 375"/>
              <a:gd name="T37" fmla="*/ 131 h 157"/>
              <a:gd name="T38" fmla="*/ 264 w 375"/>
              <a:gd name="T39" fmla="*/ 133 h 157"/>
              <a:gd name="T40" fmla="*/ 258 w 375"/>
              <a:gd name="T41" fmla="*/ 134 h 157"/>
              <a:gd name="T42" fmla="*/ 256 w 375"/>
              <a:gd name="T43" fmla="*/ 137 h 157"/>
              <a:gd name="T44" fmla="*/ 251 w 375"/>
              <a:gd name="T45" fmla="*/ 145 h 157"/>
              <a:gd name="T46" fmla="*/ 253 w 375"/>
              <a:gd name="T47" fmla="*/ 149 h 157"/>
              <a:gd name="T48" fmla="*/ 256 w 375"/>
              <a:gd name="T49" fmla="*/ 153 h 157"/>
              <a:gd name="T50" fmla="*/ 264 w 375"/>
              <a:gd name="T51" fmla="*/ 157 h 157"/>
              <a:gd name="T52" fmla="*/ 363 w 375"/>
              <a:gd name="T53" fmla="*/ 157 h 157"/>
              <a:gd name="T54" fmla="*/ 371 w 375"/>
              <a:gd name="T55" fmla="*/ 153 h 157"/>
              <a:gd name="T56" fmla="*/ 374 w 375"/>
              <a:gd name="T57" fmla="*/ 149 h 157"/>
              <a:gd name="T58" fmla="*/ 375 w 375"/>
              <a:gd name="T59" fmla="*/ 51 h 157"/>
              <a:gd name="T60" fmla="*/ 374 w 375"/>
              <a:gd name="T61" fmla="*/ 47 h 157"/>
              <a:gd name="T62" fmla="*/ 367 w 375"/>
              <a:gd name="T63" fmla="*/ 40 h 157"/>
              <a:gd name="T64" fmla="*/ 363 w 375"/>
              <a:gd name="T65"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5" h="157">
                <a:moveTo>
                  <a:pt x="363" y="39"/>
                </a:moveTo>
                <a:lnTo>
                  <a:pt x="363" y="39"/>
                </a:lnTo>
                <a:lnTo>
                  <a:pt x="358" y="40"/>
                </a:lnTo>
                <a:lnTo>
                  <a:pt x="355" y="43"/>
                </a:lnTo>
                <a:lnTo>
                  <a:pt x="355" y="43"/>
                </a:lnTo>
                <a:lnTo>
                  <a:pt x="352" y="47"/>
                </a:lnTo>
                <a:lnTo>
                  <a:pt x="351" y="51"/>
                </a:lnTo>
                <a:lnTo>
                  <a:pt x="351" y="115"/>
                </a:lnTo>
                <a:lnTo>
                  <a:pt x="348" y="118"/>
                </a:lnTo>
                <a:lnTo>
                  <a:pt x="348" y="118"/>
                </a:lnTo>
                <a:lnTo>
                  <a:pt x="348" y="114"/>
                </a:lnTo>
                <a:lnTo>
                  <a:pt x="346" y="110"/>
                </a:lnTo>
                <a:lnTo>
                  <a:pt x="222" y="2"/>
                </a:lnTo>
                <a:lnTo>
                  <a:pt x="222" y="2"/>
                </a:lnTo>
                <a:lnTo>
                  <a:pt x="219" y="0"/>
                </a:lnTo>
                <a:lnTo>
                  <a:pt x="214" y="0"/>
                </a:lnTo>
                <a:lnTo>
                  <a:pt x="153" y="0"/>
                </a:lnTo>
                <a:lnTo>
                  <a:pt x="124" y="0"/>
                </a:lnTo>
                <a:lnTo>
                  <a:pt x="12" y="0"/>
                </a:lnTo>
                <a:lnTo>
                  <a:pt x="12" y="0"/>
                </a:lnTo>
                <a:lnTo>
                  <a:pt x="8" y="0"/>
                </a:lnTo>
                <a:lnTo>
                  <a:pt x="4" y="2"/>
                </a:lnTo>
                <a:lnTo>
                  <a:pt x="4" y="2"/>
                </a:lnTo>
                <a:lnTo>
                  <a:pt x="2" y="6"/>
                </a:lnTo>
                <a:lnTo>
                  <a:pt x="0" y="12"/>
                </a:lnTo>
                <a:lnTo>
                  <a:pt x="0" y="12"/>
                </a:lnTo>
                <a:lnTo>
                  <a:pt x="2" y="16"/>
                </a:lnTo>
                <a:lnTo>
                  <a:pt x="4" y="20"/>
                </a:lnTo>
                <a:lnTo>
                  <a:pt x="4" y="20"/>
                </a:lnTo>
                <a:lnTo>
                  <a:pt x="8" y="22"/>
                </a:lnTo>
                <a:lnTo>
                  <a:pt x="12" y="22"/>
                </a:lnTo>
                <a:lnTo>
                  <a:pt x="124" y="22"/>
                </a:lnTo>
                <a:lnTo>
                  <a:pt x="124" y="22"/>
                </a:lnTo>
                <a:lnTo>
                  <a:pt x="210" y="22"/>
                </a:lnTo>
                <a:lnTo>
                  <a:pt x="329" y="127"/>
                </a:lnTo>
                <a:lnTo>
                  <a:pt x="329" y="127"/>
                </a:lnTo>
                <a:lnTo>
                  <a:pt x="332" y="130"/>
                </a:lnTo>
                <a:lnTo>
                  <a:pt x="336" y="131"/>
                </a:lnTo>
                <a:lnTo>
                  <a:pt x="333" y="133"/>
                </a:lnTo>
                <a:lnTo>
                  <a:pt x="264" y="133"/>
                </a:lnTo>
                <a:lnTo>
                  <a:pt x="264" y="133"/>
                </a:lnTo>
                <a:lnTo>
                  <a:pt x="258" y="134"/>
                </a:lnTo>
                <a:lnTo>
                  <a:pt x="256" y="137"/>
                </a:lnTo>
                <a:lnTo>
                  <a:pt x="256" y="137"/>
                </a:lnTo>
                <a:lnTo>
                  <a:pt x="253" y="139"/>
                </a:lnTo>
                <a:lnTo>
                  <a:pt x="251" y="145"/>
                </a:lnTo>
                <a:lnTo>
                  <a:pt x="251" y="145"/>
                </a:lnTo>
                <a:lnTo>
                  <a:pt x="253" y="149"/>
                </a:lnTo>
                <a:lnTo>
                  <a:pt x="256" y="153"/>
                </a:lnTo>
                <a:lnTo>
                  <a:pt x="256" y="153"/>
                </a:lnTo>
                <a:lnTo>
                  <a:pt x="258" y="156"/>
                </a:lnTo>
                <a:lnTo>
                  <a:pt x="264" y="157"/>
                </a:lnTo>
                <a:lnTo>
                  <a:pt x="363" y="157"/>
                </a:lnTo>
                <a:lnTo>
                  <a:pt x="363" y="157"/>
                </a:lnTo>
                <a:lnTo>
                  <a:pt x="367" y="156"/>
                </a:lnTo>
                <a:lnTo>
                  <a:pt x="371" y="153"/>
                </a:lnTo>
                <a:lnTo>
                  <a:pt x="371" y="153"/>
                </a:lnTo>
                <a:lnTo>
                  <a:pt x="374" y="149"/>
                </a:lnTo>
                <a:lnTo>
                  <a:pt x="375" y="145"/>
                </a:lnTo>
                <a:lnTo>
                  <a:pt x="375" y="51"/>
                </a:lnTo>
                <a:lnTo>
                  <a:pt x="375" y="51"/>
                </a:lnTo>
                <a:lnTo>
                  <a:pt x="374" y="47"/>
                </a:lnTo>
                <a:lnTo>
                  <a:pt x="371" y="43"/>
                </a:lnTo>
                <a:lnTo>
                  <a:pt x="367" y="40"/>
                </a:lnTo>
                <a:lnTo>
                  <a:pt x="363" y="39"/>
                </a:lnTo>
                <a:lnTo>
                  <a:pt x="363" y="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2" name="Freeform 123">
            <a:extLst>
              <a:ext uri="{FF2B5EF4-FFF2-40B4-BE49-F238E27FC236}">
                <a16:creationId xmlns:a16="http://schemas.microsoft.com/office/drawing/2014/main" id="{15A394A7-E908-4F87-B5FE-8BF1FDE2D2AF}"/>
              </a:ext>
            </a:extLst>
          </p:cNvPr>
          <p:cNvSpPr>
            <a:spLocks/>
          </p:cNvSpPr>
          <p:nvPr/>
        </p:nvSpPr>
        <p:spPr bwMode="auto">
          <a:xfrm>
            <a:off x="1380711" y="2514326"/>
            <a:ext cx="160089" cy="160089"/>
          </a:xfrm>
          <a:custGeom>
            <a:avLst/>
            <a:gdLst>
              <a:gd name="T0" fmla="*/ 144 w 144"/>
              <a:gd name="T1" fmla="*/ 12 h 144"/>
              <a:gd name="T2" fmla="*/ 144 w 144"/>
              <a:gd name="T3" fmla="*/ 12 h 144"/>
              <a:gd name="T4" fmla="*/ 143 w 144"/>
              <a:gd name="T5" fmla="*/ 7 h 144"/>
              <a:gd name="T6" fmla="*/ 141 w 144"/>
              <a:gd name="T7" fmla="*/ 4 h 144"/>
              <a:gd name="T8" fmla="*/ 141 w 144"/>
              <a:gd name="T9" fmla="*/ 4 h 144"/>
              <a:gd name="T10" fmla="*/ 137 w 144"/>
              <a:gd name="T11" fmla="*/ 2 h 144"/>
              <a:gd name="T12" fmla="*/ 132 w 144"/>
              <a:gd name="T13" fmla="*/ 0 h 144"/>
              <a:gd name="T14" fmla="*/ 33 w 144"/>
              <a:gd name="T15" fmla="*/ 0 h 144"/>
              <a:gd name="T16" fmla="*/ 33 w 144"/>
              <a:gd name="T17" fmla="*/ 0 h 144"/>
              <a:gd name="T18" fmla="*/ 29 w 144"/>
              <a:gd name="T19" fmla="*/ 2 h 144"/>
              <a:gd name="T20" fmla="*/ 25 w 144"/>
              <a:gd name="T21" fmla="*/ 4 h 144"/>
              <a:gd name="T22" fmla="*/ 22 w 144"/>
              <a:gd name="T23" fmla="*/ 8 h 144"/>
              <a:gd name="T24" fmla="*/ 21 w 144"/>
              <a:gd name="T25" fmla="*/ 12 h 144"/>
              <a:gd name="T26" fmla="*/ 21 w 144"/>
              <a:gd name="T27" fmla="*/ 12 h 144"/>
              <a:gd name="T28" fmla="*/ 22 w 144"/>
              <a:gd name="T29" fmla="*/ 17 h 144"/>
              <a:gd name="T30" fmla="*/ 25 w 144"/>
              <a:gd name="T31" fmla="*/ 21 h 144"/>
              <a:gd name="T32" fmla="*/ 25 w 144"/>
              <a:gd name="T33" fmla="*/ 21 h 144"/>
              <a:gd name="T34" fmla="*/ 29 w 144"/>
              <a:gd name="T35" fmla="*/ 23 h 144"/>
              <a:gd name="T36" fmla="*/ 33 w 144"/>
              <a:gd name="T37" fmla="*/ 25 h 144"/>
              <a:gd name="T38" fmla="*/ 104 w 144"/>
              <a:gd name="T39" fmla="*/ 25 h 144"/>
              <a:gd name="T40" fmla="*/ 105 w 144"/>
              <a:gd name="T41" fmla="*/ 25 h 144"/>
              <a:gd name="T42" fmla="*/ 105 w 144"/>
              <a:gd name="T43" fmla="*/ 25 h 144"/>
              <a:gd name="T44" fmla="*/ 103 w 144"/>
              <a:gd name="T45" fmla="*/ 26 h 144"/>
              <a:gd name="T46" fmla="*/ 100 w 144"/>
              <a:gd name="T47" fmla="*/ 29 h 144"/>
              <a:gd name="T48" fmla="*/ 0 w 144"/>
              <a:gd name="T49" fmla="*/ 127 h 144"/>
              <a:gd name="T50" fmla="*/ 16 w 144"/>
              <a:gd name="T51" fmla="*/ 144 h 144"/>
              <a:gd name="T52" fmla="*/ 116 w 144"/>
              <a:gd name="T53" fmla="*/ 45 h 144"/>
              <a:gd name="T54" fmla="*/ 116 w 144"/>
              <a:gd name="T55" fmla="*/ 45 h 144"/>
              <a:gd name="T56" fmla="*/ 120 w 144"/>
              <a:gd name="T57" fmla="*/ 39 h 144"/>
              <a:gd name="T58" fmla="*/ 120 w 144"/>
              <a:gd name="T59" fmla="*/ 41 h 144"/>
              <a:gd name="T60" fmla="*/ 120 w 144"/>
              <a:gd name="T61" fmla="*/ 105 h 144"/>
              <a:gd name="T62" fmla="*/ 120 w 144"/>
              <a:gd name="T63" fmla="*/ 105 h 144"/>
              <a:gd name="T64" fmla="*/ 121 w 144"/>
              <a:gd name="T65" fmla="*/ 111 h 144"/>
              <a:gd name="T66" fmla="*/ 124 w 144"/>
              <a:gd name="T67" fmla="*/ 115 h 144"/>
              <a:gd name="T68" fmla="*/ 124 w 144"/>
              <a:gd name="T69" fmla="*/ 115 h 144"/>
              <a:gd name="T70" fmla="*/ 128 w 144"/>
              <a:gd name="T71" fmla="*/ 117 h 144"/>
              <a:gd name="T72" fmla="*/ 132 w 144"/>
              <a:gd name="T73" fmla="*/ 117 h 144"/>
              <a:gd name="T74" fmla="*/ 132 w 144"/>
              <a:gd name="T75" fmla="*/ 117 h 144"/>
              <a:gd name="T76" fmla="*/ 137 w 144"/>
              <a:gd name="T77" fmla="*/ 117 h 144"/>
              <a:gd name="T78" fmla="*/ 141 w 144"/>
              <a:gd name="T79" fmla="*/ 115 h 144"/>
              <a:gd name="T80" fmla="*/ 141 w 144"/>
              <a:gd name="T81" fmla="*/ 115 h 144"/>
              <a:gd name="T82" fmla="*/ 144 w 144"/>
              <a:gd name="T83" fmla="*/ 111 h 144"/>
              <a:gd name="T84" fmla="*/ 144 w 144"/>
              <a:gd name="T85" fmla="*/ 105 h 144"/>
              <a:gd name="T86" fmla="*/ 144 w 144"/>
              <a:gd name="T87"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4" h="144">
                <a:moveTo>
                  <a:pt x="144" y="12"/>
                </a:moveTo>
                <a:lnTo>
                  <a:pt x="144" y="12"/>
                </a:lnTo>
                <a:lnTo>
                  <a:pt x="143" y="7"/>
                </a:lnTo>
                <a:lnTo>
                  <a:pt x="141" y="4"/>
                </a:lnTo>
                <a:lnTo>
                  <a:pt x="141" y="4"/>
                </a:lnTo>
                <a:lnTo>
                  <a:pt x="137" y="2"/>
                </a:lnTo>
                <a:lnTo>
                  <a:pt x="132" y="0"/>
                </a:lnTo>
                <a:lnTo>
                  <a:pt x="33" y="0"/>
                </a:lnTo>
                <a:lnTo>
                  <a:pt x="33" y="0"/>
                </a:lnTo>
                <a:lnTo>
                  <a:pt x="29" y="2"/>
                </a:lnTo>
                <a:lnTo>
                  <a:pt x="25" y="4"/>
                </a:lnTo>
                <a:lnTo>
                  <a:pt x="22" y="8"/>
                </a:lnTo>
                <a:lnTo>
                  <a:pt x="21" y="12"/>
                </a:lnTo>
                <a:lnTo>
                  <a:pt x="21" y="12"/>
                </a:lnTo>
                <a:lnTo>
                  <a:pt x="22" y="17"/>
                </a:lnTo>
                <a:lnTo>
                  <a:pt x="25" y="21"/>
                </a:lnTo>
                <a:lnTo>
                  <a:pt x="25" y="21"/>
                </a:lnTo>
                <a:lnTo>
                  <a:pt x="29" y="23"/>
                </a:lnTo>
                <a:lnTo>
                  <a:pt x="33" y="25"/>
                </a:lnTo>
                <a:lnTo>
                  <a:pt x="104" y="25"/>
                </a:lnTo>
                <a:lnTo>
                  <a:pt x="105" y="25"/>
                </a:lnTo>
                <a:lnTo>
                  <a:pt x="105" y="25"/>
                </a:lnTo>
                <a:lnTo>
                  <a:pt x="103" y="26"/>
                </a:lnTo>
                <a:lnTo>
                  <a:pt x="100" y="29"/>
                </a:lnTo>
                <a:lnTo>
                  <a:pt x="0" y="127"/>
                </a:lnTo>
                <a:lnTo>
                  <a:pt x="16" y="144"/>
                </a:lnTo>
                <a:lnTo>
                  <a:pt x="116" y="45"/>
                </a:lnTo>
                <a:lnTo>
                  <a:pt x="116" y="45"/>
                </a:lnTo>
                <a:lnTo>
                  <a:pt x="120" y="39"/>
                </a:lnTo>
                <a:lnTo>
                  <a:pt x="120" y="41"/>
                </a:lnTo>
                <a:lnTo>
                  <a:pt x="120" y="105"/>
                </a:lnTo>
                <a:lnTo>
                  <a:pt x="120" y="105"/>
                </a:lnTo>
                <a:lnTo>
                  <a:pt x="121" y="111"/>
                </a:lnTo>
                <a:lnTo>
                  <a:pt x="124" y="115"/>
                </a:lnTo>
                <a:lnTo>
                  <a:pt x="124" y="115"/>
                </a:lnTo>
                <a:lnTo>
                  <a:pt x="128" y="117"/>
                </a:lnTo>
                <a:lnTo>
                  <a:pt x="132" y="117"/>
                </a:lnTo>
                <a:lnTo>
                  <a:pt x="132" y="117"/>
                </a:lnTo>
                <a:lnTo>
                  <a:pt x="137" y="117"/>
                </a:lnTo>
                <a:lnTo>
                  <a:pt x="141" y="115"/>
                </a:lnTo>
                <a:lnTo>
                  <a:pt x="141" y="115"/>
                </a:lnTo>
                <a:lnTo>
                  <a:pt x="144" y="111"/>
                </a:lnTo>
                <a:lnTo>
                  <a:pt x="144" y="105"/>
                </a:lnTo>
                <a:lnTo>
                  <a:pt x="144"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0" name="Freeform 97">
            <a:extLst>
              <a:ext uri="{FF2B5EF4-FFF2-40B4-BE49-F238E27FC236}">
                <a16:creationId xmlns:a16="http://schemas.microsoft.com/office/drawing/2014/main" id="{9CEE5629-3D72-45C3-9813-BA60F2B4A01A}"/>
              </a:ext>
            </a:extLst>
          </p:cNvPr>
          <p:cNvSpPr>
            <a:spLocks noChangeAspect="1" noEditPoints="1"/>
          </p:cNvSpPr>
          <p:nvPr/>
        </p:nvSpPr>
        <p:spPr bwMode="auto">
          <a:xfrm>
            <a:off x="1169805" y="3314358"/>
            <a:ext cx="402627" cy="369021"/>
          </a:xfrm>
          <a:custGeom>
            <a:avLst/>
            <a:gdLst>
              <a:gd name="T0" fmla="*/ 298 w 512"/>
              <a:gd name="T1" fmla="*/ 298 h 512"/>
              <a:gd name="T2" fmla="*/ 373 w 512"/>
              <a:gd name="T3" fmla="*/ 298 h 512"/>
              <a:gd name="T4" fmla="*/ 373 w 512"/>
              <a:gd name="T5" fmla="*/ 373 h 512"/>
              <a:gd name="T6" fmla="*/ 298 w 512"/>
              <a:gd name="T7" fmla="*/ 373 h 512"/>
              <a:gd name="T8" fmla="*/ 298 w 512"/>
              <a:gd name="T9" fmla="*/ 298 h 512"/>
              <a:gd name="T10" fmla="*/ 138 w 512"/>
              <a:gd name="T11" fmla="*/ 213 h 512"/>
              <a:gd name="T12" fmla="*/ 213 w 512"/>
              <a:gd name="T13" fmla="*/ 213 h 512"/>
              <a:gd name="T14" fmla="*/ 213 w 512"/>
              <a:gd name="T15" fmla="*/ 138 h 512"/>
              <a:gd name="T16" fmla="*/ 138 w 512"/>
              <a:gd name="T17" fmla="*/ 138 h 512"/>
              <a:gd name="T18" fmla="*/ 138 w 512"/>
              <a:gd name="T19" fmla="*/ 213 h 512"/>
              <a:gd name="T20" fmla="*/ 138 w 512"/>
              <a:gd name="T21" fmla="*/ 373 h 512"/>
              <a:gd name="T22" fmla="*/ 213 w 512"/>
              <a:gd name="T23" fmla="*/ 373 h 512"/>
              <a:gd name="T24" fmla="*/ 213 w 512"/>
              <a:gd name="T25" fmla="*/ 298 h 512"/>
              <a:gd name="T26" fmla="*/ 138 w 512"/>
              <a:gd name="T27" fmla="*/ 298 h 512"/>
              <a:gd name="T28" fmla="*/ 138 w 512"/>
              <a:gd name="T29" fmla="*/ 373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234 w 512"/>
              <a:gd name="T41" fmla="*/ 288 h 512"/>
              <a:gd name="T42" fmla="*/ 224 w 512"/>
              <a:gd name="T43" fmla="*/ 277 h 512"/>
              <a:gd name="T44" fmla="*/ 128 w 512"/>
              <a:gd name="T45" fmla="*/ 277 h 512"/>
              <a:gd name="T46" fmla="*/ 117 w 512"/>
              <a:gd name="T47" fmla="*/ 288 h 512"/>
              <a:gd name="T48" fmla="*/ 117 w 512"/>
              <a:gd name="T49" fmla="*/ 384 h 512"/>
              <a:gd name="T50" fmla="*/ 128 w 512"/>
              <a:gd name="T51" fmla="*/ 394 h 512"/>
              <a:gd name="T52" fmla="*/ 224 w 512"/>
              <a:gd name="T53" fmla="*/ 394 h 512"/>
              <a:gd name="T54" fmla="*/ 234 w 512"/>
              <a:gd name="T55" fmla="*/ 384 h 512"/>
              <a:gd name="T56" fmla="*/ 234 w 512"/>
              <a:gd name="T57" fmla="*/ 288 h 512"/>
              <a:gd name="T58" fmla="*/ 234 w 512"/>
              <a:gd name="T59" fmla="*/ 128 h 512"/>
              <a:gd name="T60" fmla="*/ 224 w 512"/>
              <a:gd name="T61" fmla="*/ 117 h 512"/>
              <a:gd name="T62" fmla="*/ 128 w 512"/>
              <a:gd name="T63" fmla="*/ 117 h 512"/>
              <a:gd name="T64" fmla="*/ 117 w 512"/>
              <a:gd name="T65" fmla="*/ 128 h 512"/>
              <a:gd name="T66" fmla="*/ 117 w 512"/>
              <a:gd name="T67" fmla="*/ 224 h 512"/>
              <a:gd name="T68" fmla="*/ 128 w 512"/>
              <a:gd name="T69" fmla="*/ 234 h 512"/>
              <a:gd name="T70" fmla="*/ 224 w 512"/>
              <a:gd name="T71" fmla="*/ 234 h 512"/>
              <a:gd name="T72" fmla="*/ 234 w 512"/>
              <a:gd name="T73" fmla="*/ 224 h 512"/>
              <a:gd name="T74" fmla="*/ 234 w 512"/>
              <a:gd name="T75" fmla="*/ 128 h 512"/>
              <a:gd name="T76" fmla="*/ 394 w 512"/>
              <a:gd name="T77" fmla="*/ 288 h 512"/>
              <a:gd name="T78" fmla="*/ 384 w 512"/>
              <a:gd name="T79" fmla="*/ 277 h 512"/>
              <a:gd name="T80" fmla="*/ 288 w 512"/>
              <a:gd name="T81" fmla="*/ 277 h 512"/>
              <a:gd name="T82" fmla="*/ 277 w 512"/>
              <a:gd name="T83" fmla="*/ 288 h 512"/>
              <a:gd name="T84" fmla="*/ 277 w 512"/>
              <a:gd name="T85" fmla="*/ 384 h 512"/>
              <a:gd name="T86" fmla="*/ 288 w 512"/>
              <a:gd name="T87" fmla="*/ 394 h 512"/>
              <a:gd name="T88" fmla="*/ 384 w 512"/>
              <a:gd name="T89" fmla="*/ 394 h 512"/>
              <a:gd name="T90" fmla="*/ 394 w 512"/>
              <a:gd name="T91" fmla="*/ 384 h 512"/>
              <a:gd name="T92" fmla="*/ 394 w 512"/>
              <a:gd name="T93" fmla="*/ 288 h 512"/>
              <a:gd name="T94" fmla="*/ 394 w 512"/>
              <a:gd name="T95" fmla="*/ 128 h 512"/>
              <a:gd name="T96" fmla="*/ 384 w 512"/>
              <a:gd name="T97" fmla="*/ 117 h 512"/>
              <a:gd name="T98" fmla="*/ 288 w 512"/>
              <a:gd name="T99" fmla="*/ 117 h 512"/>
              <a:gd name="T100" fmla="*/ 277 w 512"/>
              <a:gd name="T101" fmla="*/ 128 h 512"/>
              <a:gd name="T102" fmla="*/ 277 w 512"/>
              <a:gd name="T103" fmla="*/ 224 h 512"/>
              <a:gd name="T104" fmla="*/ 288 w 512"/>
              <a:gd name="T105" fmla="*/ 234 h 512"/>
              <a:gd name="T106" fmla="*/ 384 w 512"/>
              <a:gd name="T107" fmla="*/ 234 h 512"/>
              <a:gd name="T108" fmla="*/ 394 w 512"/>
              <a:gd name="T109" fmla="*/ 224 h 512"/>
              <a:gd name="T110" fmla="*/ 394 w 512"/>
              <a:gd name="T111" fmla="*/ 128 h 512"/>
              <a:gd name="T112" fmla="*/ 298 w 512"/>
              <a:gd name="T113" fmla="*/ 213 h 512"/>
              <a:gd name="T114" fmla="*/ 373 w 512"/>
              <a:gd name="T115" fmla="*/ 213 h 512"/>
              <a:gd name="T116" fmla="*/ 373 w 512"/>
              <a:gd name="T117" fmla="*/ 138 h 512"/>
              <a:gd name="T118" fmla="*/ 298 w 512"/>
              <a:gd name="T119" fmla="*/ 138 h 512"/>
              <a:gd name="T120" fmla="*/ 298 w 512"/>
              <a:gd name="T121"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8" y="298"/>
                </a:moveTo>
                <a:cubicBezTo>
                  <a:pt x="373" y="298"/>
                  <a:pt x="373" y="298"/>
                  <a:pt x="373" y="298"/>
                </a:cubicBezTo>
                <a:cubicBezTo>
                  <a:pt x="373" y="373"/>
                  <a:pt x="373" y="373"/>
                  <a:pt x="373" y="373"/>
                </a:cubicBezTo>
                <a:cubicBezTo>
                  <a:pt x="298" y="373"/>
                  <a:pt x="298" y="373"/>
                  <a:pt x="298" y="373"/>
                </a:cubicBezTo>
                <a:lnTo>
                  <a:pt x="298" y="298"/>
                </a:lnTo>
                <a:close/>
                <a:moveTo>
                  <a:pt x="138" y="213"/>
                </a:moveTo>
                <a:cubicBezTo>
                  <a:pt x="213" y="213"/>
                  <a:pt x="213" y="213"/>
                  <a:pt x="213" y="213"/>
                </a:cubicBezTo>
                <a:cubicBezTo>
                  <a:pt x="213" y="138"/>
                  <a:pt x="213" y="138"/>
                  <a:pt x="213" y="138"/>
                </a:cubicBezTo>
                <a:cubicBezTo>
                  <a:pt x="138" y="138"/>
                  <a:pt x="138" y="138"/>
                  <a:pt x="138" y="138"/>
                </a:cubicBezTo>
                <a:lnTo>
                  <a:pt x="138" y="213"/>
                </a:lnTo>
                <a:close/>
                <a:moveTo>
                  <a:pt x="138" y="373"/>
                </a:moveTo>
                <a:cubicBezTo>
                  <a:pt x="213" y="373"/>
                  <a:pt x="213" y="373"/>
                  <a:pt x="213" y="373"/>
                </a:cubicBezTo>
                <a:cubicBezTo>
                  <a:pt x="213" y="298"/>
                  <a:pt x="213" y="298"/>
                  <a:pt x="213" y="298"/>
                </a:cubicBezTo>
                <a:cubicBezTo>
                  <a:pt x="138" y="298"/>
                  <a:pt x="138" y="298"/>
                  <a:pt x="138" y="298"/>
                </a:cubicBezTo>
                <a:lnTo>
                  <a:pt x="138" y="37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4" y="288"/>
                </a:moveTo>
                <a:cubicBezTo>
                  <a:pt x="234" y="282"/>
                  <a:pt x="230" y="277"/>
                  <a:pt x="224" y="277"/>
                </a:cubicBezTo>
                <a:cubicBezTo>
                  <a:pt x="128" y="277"/>
                  <a:pt x="128" y="277"/>
                  <a:pt x="128" y="277"/>
                </a:cubicBezTo>
                <a:cubicBezTo>
                  <a:pt x="122" y="277"/>
                  <a:pt x="117" y="282"/>
                  <a:pt x="117" y="288"/>
                </a:cubicBezTo>
                <a:cubicBezTo>
                  <a:pt x="117" y="384"/>
                  <a:pt x="117" y="384"/>
                  <a:pt x="117" y="384"/>
                </a:cubicBezTo>
                <a:cubicBezTo>
                  <a:pt x="117" y="390"/>
                  <a:pt x="122" y="394"/>
                  <a:pt x="128" y="394"/>
                </a:cubicBezTo>
                <a:cubicBezTo>
                  <a:pt x="224" y="394"/>
                  <a:pt x="224" y="394"/>
                  <a:pt x="224" y="394"/>
                </a:cubicBezTo>
                <a:cubicBezTo>
                  <a:pt x="230" y="394"/>
                  <a:pt x="234" y="390"/>
                  <a:pt x="234" y="384"/>
                </a:cubicBezTo>
                <a:lnTo>
                  <a:pt x="234" y="288"/>
                </a:lnTo>
                <a:close/>
                <a:moveTo>
                  <a:pt x="234" y="128"/>
                </a:moveTo>
                <a:cubicBezTo>
                  <a:pt x="234" y="122"/>
                  <a:pt x="230" y="117"/>
                  <a:pt x="224" y="117"/>
                </a:cubicBezTo>
                <a:cubicBezTo>
                  <a:pt x="128" y="117"/>
                  <a:pt x="128" y="117"/>
                  <a:pt x="128" y="117"/>
                </a:cubicBezTo>
                <a:cubicBezTo>
                  <a:pt x="122" y="117"/>
                  <a:pt x="117" y="122"/>
                  <a:pt x="117" y="128"/>
                </a:cubicBezTo>
                <a:cubicBezTo>
                  <a:pt x="117" y="224"/>
                  <a:pt x="117" y="224"/>
                  <a:pt x="117" y="224"/>
                </a:cubicBezTo>
                <a:cubicBezTo>
                  <a:pt x="117" y="230"/>
                  <a:pt x="122" y="234"/>
                  <a:pt x="128" y="234"/>
                </a:cubicBezTo>
                <a:cubicBezTo>
                  <a:pt x="224" y="234"/>
                  <a:pt x="224" y="234"/>
                  <a:pt x="224" y="234"/>
                </a:cubicBezTo>
                <a:cubicBezTo>
                  <a:pt x="230" y="234"/>
                  <a:pt x="234" y="230"/>
                  <a:pt x="234" y="224"/>
                </a:cubicBezTo>
                <a:lnTo>
                  <a:pt x="234" y="128"/>
                </a:lnTo>
                <a:close/>
                <a:moveTo>
                  <a:pt x="394" y="288"/>
                </a:moveTo>
                <a:cubicBezTo>
                  <a:pt x="394" y="282"/>
                  <a:pt x="390" y="277"/>
                  <a:pt x="384" y="277"/>
                </a:cubicBezTo>
                <a:cubicBezTo>
                  <a:pt x="288" y="277"/>
                  <a:pt x="288" y="277"/>
                  <a:pt x="288" y="277"/>
                </a:cubicBezTo>
                <a:cubicBezTo>
                  <a:pt x="282" y="277"/>
                  <a:pt x="277" y="282"/>
                  <a:pt x="277" y="288"/>
                </a:cubicBezTo>
                <a:cubicBezTo>
                  <a:pt x="277" y="384"/>
                  <a:pt x="277" y="384"/>
                  <a:pt x="277" y="384"/>
                </a:cubicBezTo>
                <a:cubicBezTo>
                  <a:pt x="277" y="390"/>
                  <a:pt x="282" y="394"/>
                  <a:pt x="288" y="394"/>
                </a:cubicBezTo>
                <a:cubicBezTo>
                  <a:pt x="384" y="394"/>
                  <a:pt x="384" y="394"/>
                  <a:pt x="384" y="394"/>
                </a:cubicBezTo>
                <a:cubicBezTo>
                  <a:pt x="390" y="394"/>
                  <a:pt x="394" y="390"/>
                  <a:pt x="394" y="384"/>
                </a:cubicBezTo>
                <a:lnTo>
                  <a:pt x="394" y="288"/>
                </a:lnTo>
                <a:close/>
                <a:moveTo>
                  <a:pt x="394" y="128"/>
                </a:moveTo>
                <a:cubicBezTo>
                  <a:pt x="394" y="122"/>
                  <a:pt x="390" y="117"/>
                  <a:pt x="384" y="117"/>
                </a:cubicBezTo>
                <a:cubicBezTo>
                  <a:pt x="288" y="117"/>
                  <a:pt x="288" y="117"/>
                  <a:pt x="288" y="117"/>
                </a:cubicBezTo>
                <a:cubicBezTo>
                  <a:pt x="282" y="117"/>
                  <a:pt x="277" y="122"/>
                  <a:pt x="277" y="128"/>
                </a:cubicBezTo>
                <a:cubicBezTo>
                  <a:pt x="277" y="224"/>
                  <a:pt x="277" y="224"/>
                  <a:pt x="277" y="224"/>
                </a:cubicBezTo>
                <a:cubicBezTo>
                  <a:pt x="277" y="230"/>
                  <a:pt x="282" y="234"/>
                  <a:pt x="288" y="234"/>
                </a:cubicBezTo>
                <a:cubicBezTo>
                  <a:pt x="384" y="234"/>
                  <a:pt x="384" y="234"/>
                  <a:pt x="384" y="234"/>
                </a:cubicBezTo>
                <a:cubicBezTo>
                  <a:pt x="390" y="234"/>
                  <a:pt x="394" y="230"/>
                  <a:pt x="394" y="224"/>
                </a:cubicBezTo>
                <a:lnTo>
                  <a:pt x="394" y="128"/>
                </a:lnTo>
                <a:close/>
                <a:moveTo>
                  <a:pt x="298" y="213"/>
                </a:moveTo>
                <a:cubicBezTo>
                  <a:pt x="373" y="213"/>
                  <a:pt x="373" y="213"/>
                  <a:pt x="373" y="213"/>
                </a:cubicBezTo>
                <a:cubicBezTo>
                  <a:pt x="373" y="138"/>
                  <a:pt x="373" y="138"/>
                  <a:pt x="373" y="138"/>
                </a:cubicBezTo>
                <a:cubicBezTo>
                  <a:pt x="298" y="138"/>
                  <a:pt x="298" y="138"/>
                  <a:pt x="298" y="138"/>
                </a:cubicBezTo>
                <a:lnTo>
                  <a:pt x="298" y="21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1" name="Flowchart: Magnetic Disk 40">
            <a:extLst>
              <a:ext uri="{FF2B5EF4-FFF2-40B4-BE49-F238E27FC236}">
                <a16:creationId xmlns:a16="http://schemas.microsoft.com/office/drawing/2014/main" id="{4FE51754-64F4-464D-8583-8162FF8A95B4}"/>
              </a:ext>
            </a:extLst>
          </p:cNvPr>
          <p:cNvSpPr/>
          <p:nvPr/>
        </p:nvSpPr>
        <p:spPr>
          <a:xfrm>
            <a:off x="1097987" y="4950920"/>
            <a:ext cx="208008" cy="288224"/>
          </a:xfrm>
          <a:prstGeom prst="flowChartMagneticDisk">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2" name="Flowchart: Magnetic Disk 41">
            <a:extLst>
              <a:ext uri="{FF2B5EF4-FFF2-40B4-BE49-F238E27FC236}">
                <a16:creationId xmlns:a16="http://schemas.microsoft.com/office/drawing/2014/main" id="{05407BCE-512A-45F1-B167-B51A51811C11}"/>
              </a:ext>
            </a:extLst>
          </p:cNvPr>
          <p:cNvSpPr/>
          <p:nvPr/>
        </p:nvSpPr>
        <p:spPr>
          <a:xfrm>
            <a:off x="1367536" y="4956620"/>
            <a:ext cx="208008" cy="288224"/>
          </a:xfrm>
          <a:prstGeom prst="flowChartMagneticDisk">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9" name="Freeform 15">
            <a:extLst>
              <a:ext uri="{FF2B5EF4-FFF2-40B4-BE49-F238E27FC236}">
                <a16:creationId xmlns:a16="http://schemas.microsoft.com/office/drawing/2014/main" id="{D58C4F7E-D28D-4B8E-B6F9-BA33D9FBC62A}"/>
              </a:ext>
            </a:extLst>
          </p:cNvPr>
          <p:cNvSpPr>
            <a:spLocks noEditPoints="1"/>
          </p:cNvSpPr>
          <p:nvPr/>
        </p:nvSpPr>
        <p:spPr bwMode="auto">
          <a:xfrm>
            <a:off x="6668822" y="3931418"/>
            <a:ext cx="693122" cy="695236"/>
          </a:xfrm>
          <a:custGeom>
            <a:avLst/>
            <a:gdLst>
              <a:gd name="T0" fmla="*/ 312 w 657"/>
              <a:gd name="T1" fmla="*/ 657 h 658"/>
              <a:gd name="T2" fmla="*/ 262 w 657"/>
              <a:gd name="T3" fmla="*/ 651 h 658"/>
              <a:gd name="T4" fmla="*/ 201 w 657"/>
              <a:gd name="T5" fmla="*/ 631 h 658"/>
              <a:gd name="T6" fmla="*/ 120 w 657"/>
              <a:gd name="T7" fmla="*/ 583 h 658"/>
              <a:gd name="T8" fmla="*/ 56 w 657"/>
              <a:gd name="T9" fmla="*/ 513 h 658"/>
              <a:gd name="T10" fmla="*/ 15 w 657"/>
              <a:gd name="T11" fmla="*/ 427 h 658"/>
              <a:gd name="T12" fmla="*/ 4 w 657"/>
              <a:gd name="T13" fmla="*/ 378 h 658"/>
              <a:gd name="T14" fmla="*/ 0 w 657"/>
              <a:gd name="T15" fmla="*/ 329 h 658"/>
              <a:gd name="T16" fmla="*/ 1 w 657"/>
              <a:gd name="T17" fmla="*/ 295 h 658"/>
              <a:gd name="T18" fmla="*/ 11 w 657"/>
              <a:gd name="T19" fmla="*/ 247 h 658"/>
              <a:gd name="T20" fmla="*/ 40 w 657"/>
              <a:gd name="T21" fmla="*/ 172 h 658"/>
              <a:gd name="T22" fmla="*/ 97 w 657"/>
              <a:gd name="T23" fmla="*/ 96 h 658"/>
              <a:gd name="T24" fmla="*/ 172 w 657"/>
              <a:gd name="T25" fmla="*/ 40 h 658"/>
              <a:gd name="T26" fmla="*/ 247 w 657"/>
              <a:gd name="T27" fmla="*/ 10 h 658"/>
              <a:gd name="T28" fmla="*/ 295 w 657"/>
              <a:gd name="T29" fmla="*/ 1 h 658"/>
              <a:gd name="T30" fmla="*/ 329 w 657"/>
              <a:gd name="T31" fmla="*/ 0 h 658"/>
              <a:gd name="T32" fmla="*/ 379 w 657"/>
              <a:gd name="T33" fmla="*/ 4 h 658"/>
              <a:gd name="T34" fmla="*/ 426 w 657"/>
              <a:gd name="T35" fmla="*/ 14 h 658"/>
              <a:gd name="T36" fmla="*/ 512 w 657"/>
              <a:gd name="T37" fmla="*/ 56 h 658"/>
              <a:gd name="T38" fmla="*/ 582 w 657"/>
              <a:gd name="T39" fmla="*/ 119 h 658"/>
              <a:gd name="T40" fmla="*/ 631 w 657"/>
              <a:gd name="T41" fmla="*/ 201 h 658"/>
              <a:gd name="T42" fmla="*/ 650 w 657"/>
              <a:gd name="T43" fmla="*/ 263 h 658"/>
              <a:gd name="T44" fmla="*/ 657 w 657"/>
              <a:gd name="T45" fmla="*/ 311 h 658"/>
              <a:gd name="T46" fmla="*/ 657 w 657"/>
              <a:gd name="T47" fmla="*/ 346 h 658"/>
              <a:gd name="T48" fmla="*/ 650 w 657"/>
              <a:gd name="T49" fmla="*/ 395 h 658"/>
              <a:gd name="T50" fmla="*/ 631 w 657"/>
              <a:gd name="T51" fmla="*/ 456 h 658"/>
              <a:gd name="T52" fmla="*/ 582 w 657"/>
              <a:gd name="T53" fmla="*/ 538 h 658"/>
              <a:gd name="T54" fmla="*/ 512 w 657"/>
              <a:gd name="T55" fmla="*/ 601 h 658"/>
              <a:gd name="T56" fmla="*/ 426 w 657"/>
              <a:gd name="T57" fmla="*/ 643 h 658"/>
              <a:gd name="T58" fmla="*/ 379 w 657"/>
              <a:gd name="T59" fmla="*/ 654 h 658"/>
              <a:gd name="T60" fmla="*/ 329 w 657"/>
              <a:gd name="T61" fmla="*/ 658 h 658"/>
              <a:gd name="T62" fmla="*/ 329 w 657"/>
              <a:gd name="T63" fmla="*/ 37 h 658"/>
              <a:gd name="T64" fmla="*/ 242 w 657"/>
              <a:gd name="T65" fmla="*/ 51 h 658"/>
              <a:gd name="T66" fmla="*/ 167 w 657"/>
              <a:gd name="T67" fmla="*/ 87 h 658"/>
              <a:gd name="T68" fmla="*/ 103 w 657"/>
              <a:gd name="T69" fmla="*/ 143 h 658"/>
              <a:gd name="T70" fmla="*/ 60 w 657"/>
              <a:gd name="T71" fmla="*/ 216 h 658"/>
              <a:gd name="T72" fmla="*/ 39 w 657"/>
              <a:gd name="T73" fmla="*/ 299 h 658"/>
              <a:gd name="T74" fmla="*/ 39 w 657"/>
              <a:gd name="T75" fmla="*/ 358 h 658"/>
              <a:gd name="T76" fmla="*/ 60 w 657"/>
              <a:gd name="T77" fmla="*/ 442 h 658"/>
              <a:gd name="T78" fmla="*/ 103 w 657"/>
              <a:gd name="T79" fmla="*/ 514 h 658"/>
              <a:gd name="T80" fmla="*/ 167 w 657"/>
              <a:gd name="T81" fmla="*/ 571 h 658"/>
              <a:gd name="T82" fmla="*/ 242 w 657"/>
              <a:gd name="T83" fmla="*/ 607 h 658"/>
              <a:gd name="T84" fmla="*/ 329 w 657"/>
              <a:gd name="T85" fmla="*/ 620 h 658"/>
              <a:gd name="T86" fmla="*/ 387 w 657"/>
              <a:gd name="T87" fmla="*/ 614 h 658"/>
              <a:gd name="T88" fmla="*/ 467 w 657"/>
              <a:gd name="T89" fmla="*/ 584 h 658"/>
              <a:gd name="T90" fmla="*/ 535 w 657"/>
              <a:gd name="T91" fmla="*/ 534 h 658"/>
              <a:gd name="T92" fmla="*/ 584 w 657"/>
              <a:gd name="T93" fmla="*/ 467 h 658"/>
              <a:gd name="T94" fmla="*/ 614 w 657"/>
              <a:gd name="T95" fmla="*/ 388 h 658"/>
              <a:gd name="T96" fmla="*/ 619 w 657"/>
              <a:gd name="T97" fmla="*/ 329 h 658"/>
              <a:gd name="T98" fmla="*/ 607 w 657"/>
              <a:gd name="T99" fmla="*/ 243 h 658"/>
              <a:gd name="T100" fmla="*/ 570 w 657"/>
              <a:gd name="T101" fmla="*/ 166 h 658"/>
              <a:gd name="T102" fmla="*/ 513 w 657"/>
              <a:gd name="T103" fmla="*/ 104 h 658"/>
              <a:gd name="T104" fmla="*/ 442 w 657"/>
              <a:gd name="T105" fmla="*/ 60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7"/>
                </a:lnTo>
                <a:lnTo>
                  <a:pt x="295" y="655"/>
                </a:lnTo>
                <a:lnTo>
                  <a:pt x="278" y="654"/>
                </a:lnTo>
                <a:lnTo>
                  <a:pt x="262" y="651"/>
                </a:lnTo>
                <a:lnTo>
                  <a:pt x="247" y="647"/>
                </a:lnTo>
                <a:lnTo>
                  <a:pt x="231" y="643"/>
                </a:lnTo>
                <a:lnTo>
                  <a:pt x="201" y="631"/>
                </a:lnTo>
                <a:lnTo>
                  <a:pt x="172" y="618"/>
                </a:lnTo>
                <a:lnTo>
                  <a:pt x="145" y="601"/>
                </a:lnTo>
                <a:lnTo>
                  <a:pt x="120" y="583"/>
                </a:lnTo>
                <a:lnTo>
                  <a:pt x="97" y="561"/>
                </a:lnTo>
                <a:lnTo>
                  <a:pt x="75" y="538"/>
                </a:lnTo>
                <a:lnTo>
                  <a:pt x="56" y="513"/>
                </a:lnTo>
                <a:lnTo>
                  <a:pt x="40" y="486"/>
                </a:lnTo>
                <a:lnTo>
                  <a:pt x="26" y="456"/>
                </a:lnTo>
                <a:lnTo>
                  <a:pt x="15" y="427"/>
                </a:lnTo>
                <a:lnTo>
                  <a:pt x="11" y="411"/>
                </a:lnTo>
                <a:lnTo>
                  <a:pt x="7" y="395"/>
                </a:lnTo>
                <a:lnTo>
                  <a:pt x="4" y="378"/>
                </a:lnTo>
                <a:lnTo>
                  <a:pt x="1" y="362"/>
                </a:lnTo>
                <a:lnTo>
                  <a:pt x="0" y="346"/>
                </a:lnTo>
                <a:lnTo>
                  <a:pt x="0" y="329"/>
                </a:lnTo>
                <a:lnTo>
                  <a:pt x="0" y="329"/>
                </a:lnTo>
                <a:lnTo>
                  <a:pt x="0" y="311"/>
                </a:lnTo>
                <a:lnTo>
                  <a:pt x="1" y="295"/>
                </a:lnTo>
                <a:lnTo>
                  <a:pt x="4" y="279"/>
                </a:lnTo>
                <a:lnTo>
                  <a:pt x="7" y="263"/>
                </a:lnTo>
                <a:lnTo>
                  <a:pt x="11" y="247"/>
                </a:lnTo>
                <a:lnTo>
                  <a:pt x="15" y="231"/>
                </a:lnTo>
                <a:lnTo>
                  <a:pt x="26" y="201"/>
                </a:lnTo>
                <a:lnTo>
                  <a:pt x="40" y="172"/>
                </a:lnTo>
                <a:lnTo>
                  <a:pt x="56" y="145"/>
                </a:lnTo>
                <a:lnTo>
                  <a:pt x="75" y="119"/>
                </a:lnTo>
                <a:lnTo>
                  <a:pt x="97" y="96"/>
                </a:lnTo>
                <a:lnTo>
                  <a:pt x="120" y="75"/>
                </a:lnTo>
                <a:lnTo>
                  <a:pt x="145" y="56"/>
                </a:lnTo>
                <a:lnTo>
                  <a:pt x="172" y="40"/>
                </a:lnTo>
                <a:lnTo>
                  <a:pt x="201" y="25"/>
                </a:lnTo>
                <a:lnTo>
                  <a:pt x="231" y="14"/>
                </a:lnTo>
                <a:lnTo>
                  <a:pt x="247" y="10"/>
                </a:lnTo>
                <a:lnTo>
                  <a:pt x="262" y="6"/>
                </a:lnTo>
                <a:lnTo>
                  <a:pt x="278" y="4"/>
                </a:lnTo>
                <a:lnTo>
                  <a:pt x="295" y="1"/>
                </a:lnTo>
                <a:lnTo>
                  <a:pt x="312" y="0"/>
                </a:lnTo>
                <a:lnTo>
                  <a:pt x="329" y="0"/>
                </a:lnTo>
                <a:lnTo>
                  <a:pt x="329" y="0"/>
                </a:lnTo>
                <a:lnTo>
                  <a:pt x="345" y="0"/>
                </a:lnTo>
                <a:lnTo>
                  <a:pt x="363" y="1"/>
                </a:lnTo>
                <a:lnTo>
                  <a:pt x="379" y="4"/>
                </a:lnTo>
                <a:lnTo>
                  <a:pt x="395" y="6"/>
                </a:lnTo>
                <a:lnTo>
                  <a:pt x="411" y="10"/>
                </a:lnTo>
                <a:lnTo>
                  <a:pt x="426" y="14"/>
                </a:lnTo>
                <a:lnTo>
                  <a:pt x="457" y="25"/>
                </a:lnTo>
                <a:lnTo>
                  <a:pt x="485" y="40"/>
                </a:lnTo>
                <a:lnTo>
                  <a:pt x="512" y="56"/>
                </a:lnTo>
                <a:lnTo>
                  <a:pt x="537" y="75"/>
                </a:lnTo>
                <a:lnTo>
                  <a:pt x="561" y="96"/>
                </a:lnTo>
                <a:lnTo>
                  <a:pt x="582" y="119"/>
                </a:lnTo>
                <a:lnTo>
                  <a:pt x="602" y="145"/>
                </a:lnTo>
                <a:lnTo>
                  <a:pt x="618" y="172"/>
                </a:lnTo>
                <a:lnTo>
                  <a:pt x="631" y="201"/>
                </a:lnTo>
                <a:lnTo>
                  <a:pt x="642" y="231"/>
                </a:lnTo>
                <a:lnTo>
                  <a:pt x="647" y="247"/>
                </a:lnTo>
                <a:lnTo>
                  <a:pt x="650" y="263"/>
                </a:lnTo>
                <a:lnTo>
                  <a:pt x="654" y="279"/>
                </a:lnTo>
                <a:lnTo>
                  <a:pt x="655" y="295"/>
                </a:lnTo>
                <a:lnTo>
                  <a:pt x="657" y="311"/>
                </a:lnTo>
                <a:lnTo>
                  <a:pt x="657" y="329"/>
                </a:lnTo>
                <a:lnTo>
                  <a:pt x="657" y="329"/>
                </a:lnTo>
                <a:lnTo>
                  <a:pt x="657" y="346"/>
                </a:lnTo>
                <a:lnTo>
                  <a:pt x="655" y="362"/>
                </a:lnTo>
                <a:lnTo>
                  <a:pt x="654" y="378"/>
                </a:lnTo>
                <a:lnTo>
                  <a:pt x="650" y="395"/>
                </a:lnTo>
                <a:lnTo>
                  <a:pt x="647" y="411"/>
                </a:lnTo>
                <a:lnTo>
                  <a:pt x="642" y="427"/>
                </a:lnTo>
                <a:lnTo>
                  <a:pt x="631" y="456"/>
                </a:lnTo>
                <a:lnTo>
                  <a:pt x="618" y="486"/>
                </a:lnTo>
                <a:lnTo>
                  <a:pt x="602" y="513"/>
                </a:lnTo>
                <a:lnTo>
                  <a:pt x="582" y="538"/>
                </a:lnTo>
                <a:lnTo>
                  <a:pt x="561" y="561"/>
                </a:lnTo>
                <a:lnTo>
                  <a:pt x="537" y="583"/>
                </a:lnTo>
                <a:lnTo>
                  <a:pt x="512" y="601"/>
                </a:lnTo>
                <a:lnTo>
                  <a:pt x="485" y="618"/>
                </a:lnTo>
                <a:lnTo>
                  <a:pt x="457" y="631"/>
                </a:lnTo>
                <a:lnTo>
                  <a:pt x="426" y="643"/>
                </a:lnTo>
                <a:lnTo>
                  <a:pt x="411" y="647"/>
                </a:lnTo>
                <a:lnTo>
                  <a:pt x="395" y="651"/>
                </a:lnTo>
                <a:lnTo>
                  <a:pt x="379" y="654"/>
                </a:lnTo>
                <a:lnTo>
                  <a:pt x="363" y="655"/>
                </a:lnTo>
                <a:lnTo>
                  <a:pt x="345" y="657"/>
                </a:lnTo>
                <a:lnTo>
                  <a:pt x="329" y="658"/>
                </a:lnTo>
                <a:lnTo>
                  <a:pt x="329" y="658"/>
                </a:lnTo>
                <a:close/>
                <a:moveTo>
                  <a:pt x="329" y="37"/>
                </a:moveTo>
                <a:lnTo>
                  <a:pt x="329" y="37"/>
                </a:lnTo>
                <a:lnTo>
                  <a:pt x="300" y="39"/>
                </a:lnTo>
                <a:lnTo>
                  <a:pt x="270" y="44"/>
                </a:lnTo>
                <a:lnTo>
                  <a:pt x="242" y="51"/>
                </a:lnTo>
                <a:lnTo>
                  <a:pt x="215" y="60"/>
                </a:lnTo>
                <a:lnTo>
                  <a:pt x="189" y="72"/>
                </a:lnTo>
                <a:lnTo>
                  <a:pt x="167" y="87"/>
                </a:lnTo>
                <a:lnTo>
                  <a:pt x="144" y="104"/>
                </a:lnTo>
                <a:lnTo>
                  <a:pt x="122" y="123"/>
                </a:lnTo>
                <a:lnTo>
                  <a:pt x="103" y="143"/>
                </a:lnTo>
                <a:lnTo>
                  <a:pt x="87" y="166"/>
                </a:lnTo>
                <a:lnTo>
                  <a:pt x="73" y="190"/>
                </a:lnTo>
                <a:lnTo>
                  <a:pt x="60" y="216"/>
                </a:lnTo>
                <a:lnTo>
                  <a:pt x="51" y="243"/>
                </a:lnTo>
                <a:lnTo>
                  <a:pt x="43" y="270"/>
                </a:lnTo>
                <a:lnTo>
                  <a:pt x="39" y="299"/>
                </a:lnTo>
                <a:lnTo>
                  <a:pt x="38" y="329"/>
                </a:lnTo>
                <a:lnTo>
                  <a:pt x="38" y="329"/>
                </a:lnTo>
                <a:lnTo>
                  <a:pt x="39" y="358"/>
                </a:lnTo>
                <a:lnTo>
                  <a:pt x="43" y="388"/>
                </a:lnTo>
                <a:lnTo>
                  <a:pt x="51" y="415"/>
                </a:lnTo>
                <a:lnTo>
                  <a:pt x="60" y="442"/>
                </a:lnTo>
                <a:lnTo>
                  <a:pt x="73" y="467"/>
                </a:lnTo>
                <a:lnTo>
                  <a:pt x="87" y="491"/>
                </a:lnTo>
                <a:lnTo>
                  <a:pt x="103" y="514"/>
                </a:lnTo>
                <a:lnTo>
                  <a:pt x="122" y="534"/>
                </a:lnTo>
                <a:lnTo>
                  <a:pt x="144" y="553"/>
                </a:lnTo>
                <a:lnTo>
                  <a:pt x="167" y="571"/>
                </a:lnTo>
                <a:lnTo>
                  <a:pt x="189" y="584"/>
                </a:lnTo>
                <a:lnTo>
                  <a:pt x="215" y="597"/>
                </a:lnTo>
                <a:lnTo>
                  <a:pt x="242" y="607"/>
                </a:lnTo>
                <a:lnTo>
                  <a:pt x="270" y="614"/>
                </a:lnTo>
                <a:lnTo>
                  <a:pt x="300" y="619"/>
                </a:lnTo>
                <a:lnTo>
                  <a:pt x="329" y="620"/>
                </a:lnTo>
                <a:lnTo>
                  <a:pt x="329" y="620"/>
                </a:lnTo>
                <a:lnTo>
                  <a:pt x="359" y="619"/>
                </a:lnTo>
                <a:lnTo>
                  <a:pt x="387" y="614"/>
                </a:lnTo>
                <a:lnTo>
                  <a:pt x="415" y="607"/>
                </a:lnTo>
                <a:lnTo>
                  <a:pt x="442" y="597"/>
                </a:lnTo>
                <a:lnTo>
                  <a:pt x="467" y="584"/>
                </a:lnTo>
                <a:lnTo>
                  <a:pt x="492" y="571"/>
                </a:lnTo>
                <a:lnTo>
                  <a:pt x="513" y="553"/>
                </a:lnTo>
                <a:lnTo>
                  <a:pt x="535" y="534"/>
                </a:lnTo>
                <a:lnTo>
                  <a:pt x="553" y="514"/>
                </a:lnTo>
                <a:lnTo>
                  <a:pt x="570" y="491"/>
                </a:lnTo>
                <a:lnTo>
                  <a:pt x="584" y="467"/>
                </a:lnTo>
                <a:lnTo>
                  <a:pt x="596" y="442"/>
                </a:lnTo>
                <a:lnTo>
                  <a:pt x="607" y="415"/>
                </a:lnTo>
                <a:lnTo>
                  <a:pt x="614" y="388"/>
                </a:lnTo>
                <a:lnTo>
                  <a:pt x="618" y="358"/>
                </a:lnTo>
                <a:lnTo>
                  <a:pt x="619" y="329"/>
                </a:lnTo>
                <a:lnTo>
                  <a:pt x="619" y="329"/>
                </a:lnTo>
                <a:lnTo>
                  <a:pt x="618" y="299"/>
                </a:lnTo>
                <a:lnTo>
                  <a:pt x="614" y="270"/>
                </a:lnTo>
                <a:lnTo>
                  <a:pt x="607" y="243"/>
                </a:lnTo>
                <a:lnTo>
                  <a:pt x="596" y="216"/>
                </a:lnTo>
                <a:lnTo>
                  <a:pt x="584" y="190"/>
                </a:lnTo>
                <a:lnTo>
                  <a:pt x="570" y="166"/>
                </a:lnTo>
                <a:lnTo>
                  <a:pt x="553" y="143"/>
                </a:lnTo>
                <a:lnTo>
                  <a:pt x="535" y="123"/>
                </a:lnTo>
                <a:lnTo>
                  <a:pt x="513" y="104"/>
                </a:lnTo>
                <a:lnTo>
                  <a:pt x="492" y="87"/>
                </a:lnTo>
                <a:lnTo>
                  <a:pt x="467" y="72"/>
                </a:lnTo>
                <a:lnTo>
                  <a:pt x="442" y="60"/>
                </a:lnTo>
                <a:lnTo>
                  <a:pt x="415" y="51"/>
                </a:lnTo>
                <a:lnTo>
                  <a:pt x="387" y="44"/>
                </a:lnTo>
                <a:lnTo>
                  <a:pt x="359" y="39"/>
                </a:lnTo>
                <a:lnTo>
                  <a:pt x="329" y="37"/>
                </a:lnTo>
                <a:lnTo>
                  <a:pt x="329" y="37"/>
                </a:lnTo>
                <a:close/>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30">
            <a:extLst>
              <a:ext uri="{FF2B5EF4-FFF2-40B4-BE49-F238E27FC236}">
                <a16:creationId xmlns:a16="http://schemas.microsoft.com/office/drawing/2014/main" id="{D871F1E4-903E-4443-8AA2-7C35E77A8C4D}"/>
              </a:ext>
            </a:extLst>
          </p:cNvPr>
          <p:cNvSpPr>
            <a:spLocks noEditPoints="1"/>
          </p:cNvSpPr>
          <p:nvPr/>
        </p:nvSpPr>
        <p:spPr bwMode="auto">
          <a:xfrm>
            <a:off x="6669500" y="3133929"/>
            <a:ext cx="695236" cy="695236"/>
          </a:xfrm>
          <a:custGeom>
            <a:avLst/>
            <a:gdLst>
              <a:gd name="T0" fmla="*/ 313 w 658"/>
              <a:gd name="T1" fmla="*/ 657 h 658"/>
              <a:gd name="T2" fmla="*/ 263 w 658"/>
              <a:gd name="T3" fmla="*/ 651 h 658"/>
              <a:gd name="T4" fmla="*/ 202 w 658"/>
              <a:gd name="T5" fmla="*/ 631 h 658"/>
              <a:gd name="T6" fmla="*/ 121 w 658"/>
              <a:gd name="T7" fmla="*/ 583 h 658"/>
              <a:gd name="T8" fmla="*/ 56 w 658"/>
              <a:gd name="T9" fmla="*/ 513 h 658"/>
              <a:gd name="T10" fmla="*/ 15 w 658"/>
              <a:gd name="T11" fmla="*/ 427 h 658"/>
              <a:gd name="T12" fmla="*/ 4 w 658"/>
              <a:gd name="T13" fmla="*/ 379 h 658"/>
              <a:gd name="T14" fmla="*/ 0 w 658"/>
              <a:gd name="T15" fmla="*/ 329 h 658"/>
              <a:gd name="T16" fmla="*/ 3 w 658"/>
              <a:gd name="T17" fmla="*/ 295 h 658"/>
              <a:gd name="T18" fmla="*/ 11 w 658"/>
              <a:gd name="T19" fmla="*/ 247 h 658"/>
              <a:gd name="T20" fmla="*/ 40 w 658"/>
              <a:gd name="T21" fmla="*/ 172 h 658"/>
              <a:gd name="T22" fmla="*/ 97 w 658"/>
              <a:gd name="T23" fmla="*/ 96 h 658"/>
              <a:gd name="T24" fmla="*/ 173 w 658"/>
              <a:gd name="T25" fmla="*/ 40 h 658"/>
              <a:gd name="T26" fmla="*/ 247 w 658"/>
              <a:gd name="T27" fmla="*/ 11 h 658"/>
              <a:gd name="T28" fmla="*/ 296 w 658"/>
              <a:gd name="T29" fmla="*/ 1 h 658"/>
              <a:gd name="T30" fmla="*/ 329 w 658"/>
              <a:gd name="T31" fmla="*/ 0 h 658"/>
              <a:gd name="T32" fmla="*/ 379 w 658"/>
              <a:gd name="T33" fmla="*/ 4 h 658"/>
              <a:gd name="T34" fmla="*/ 427 w 658"/>
              <a:gd name="T35" fmla="*/ 15 h 658"/>
              <a:gd name="T36" fmla="*/ 513 w 658"/>
              <a:gd name="T37" fmla="*/ 56 h 658"/>
              <a:gd name="T38" fmla="*/ 583 w 658"/>
              <a:gd name="T39" fmla="*/ 119 h 658"/>
              <a:gd name="T40" fmla="*/ 633 w 658"/>
              <a:gd name="T41" fmla="*/ 201 h 658"/>
              <a:gd name="T42" fmla="*/ 651 w 658"/>
              <a:gd name="T43" fmla="*/ 263 h 658"/>
              <a:gd name="T44" fmla="*/ 658 w 658"/>
              <a:gd name="T45" fmla="*/ 311 h 658"/>
              <a:gd name="T46" fmla="*/ 658 w 658"/>
              <a:gd name="T47" fmla="*/ 346 h 658"/>
              <a:gd name="T48" fmla="*/ 651 w 658"/>
              <a:gd name="T49" fmla="*/ 395 h 658"/>
              <a:gd name="T50" fmla="*/ 633 w 658"/>
              <a:gd name="T51" fmla="*/ 456 h 658"/>
              <a:gd name="T52" fmla="*/ 583 w 658"/>
              <a:gd name="T53" fmla="*/ 538 h 658"/>
              <a:gd name="T54" fmla="*/ 513 w 658"/>
              <a:gd name="T55" fmla="*/ 602 h 658"/>
              <a:gd name="T56" fmla="*/ 427 w 658"/>
              <a:gd name="T57" fmla="*/ 643 h 658"/>
              <a:gd name="T58" fmla="*/ 379 w 658"/>
              <a:gd name="T59" fmla="*/ 654 h 658"/>
              <a:gd name="T60" fmla="*/ 329 w 658"/>
              <a:gd name="T61" fmla="*/ 658 h 658"/>
              <a:gd name="T62" fmla="*/ 329 w 658"/>
              <a:gd name="T63" fmla="*/ 37 h 658"/>
              <a:gd name="T64" fmla="*/ 243 w 658"/>
              <a:gd name="T65" fmla="*/ 51 h 658"/>
              <a:gd name="T66" fmla="*/ 167 w 658"/>
              <a:gd name="T67" fmla="*/ 87 h 658"/>
              <a:gd name="T68" fmla="*/ 105 w 658"/>
              <a:gd name="T69" fmla="*/ 143 h 658"/>
              <a:gd name="T70" fmla="*/ 62 w 658"/>
              <a:gd name="T71" fmla="*/ 216 h 658"/>
              <a:gd name="T72" fmla="*/ 40 w 658"/>
              <a:gd name="T73" fmla="*/ 299 h 658"/>
              <a:gd name="T74" fmla="*/ 40 w 658"/>
              <a:gd name="T75" fmla="*/ 358 h 658"/>
              <a:gd name="T76" fmla="*/ 62 w 658"/>
              <a:gd name="T77" fmla="*/ 442 h 658"/>
              <a:gd name="T78" fmla="*/ 105 w 658"/>
              <a:gd name="T79" fmla="*/ 514 h 658"/>
              <a:gd name="T80" fmla="*/ 167 w 658"/>
              <a:gd name="T81" fmla="*/ 571 h 658"/>
              <a:gd name="T82" fmla="*/ 243 w 658"/>
              <a:gd name="T83" fmla="*/ 607 h 658"/>
              <a:gd name="T84" fmla="*/ 329 w 658"/>
              <a:gd name="T85" fmla="*/ 620 h 658"/>
              <a:gd name="T86" fmla="*/ 388 w 658"/>
              <a:gd name="T87" fmla="*/ 614 h 658"/>
              <a:gd name="T88" fmla="*/ 467 w 658"/>
              <a:gd name="T89" fmla="*/ 585 h 658"/>
              <a:gd name="T90" fmla="*/ 535 w 658"/>
              <a:gd name="T91" fmla="*/ 534 h 658"/>
              <a:gd name="T92" fmla="*/ 586 w 658"/>
              <a:gd name="T93" fmla="*/ 467 h 658"/>
              <a:gd name="T94" fmla="*/ 615 w 658"/>
              <a:gd name="T95" fmla="*/ 388 h 658"/>
              <a:gd name="T96" fmla="*/ 621 w 658"/>
              <a:gd name="T97" fmla="*/ 329 h 658"/>
              <a:gd name="T98" fmla="*/ 607 w 658"/>
              <a:gd name="T99" fmla="*/ 243 h 658"/>
              <a:gd name="T100" fmla="*/ 571 w 658"/>
              <a:gd name="T101" fmla="*/ 166 h 658"/>
              <a:gd name="T102" fmla="*/ 514 w 658"/>
              <a:gd name="T103" fmla="*/ 105 h 658"/>
              <a:gd name="T104" fmla="*/ 443 w 658"/>
              <a:gd name="T105" fmla="*/ 60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7"/>
                </a:lnTo>
                <a:lnTo>
                  <a:pt x="296" y="655"/>
                </a:lnTo>
                <a:lnTo>
                  <a:pt x="279" y="654"/>
                </a:lnTo>
                <a:lnTo>
                  <a:pt x="263" y="651"/>
                </a:lnTo>
                <a:lnTo>
                  <a:pt x="247" y="647"/>
                </a:lnTo>
                <a:lnTo>
                  <a:pt x="232" y="643"/>
                </a:lnTo>
                <a:lnTo>
                  <a:pt x="202" y="631"/>
                </a:lnTo>
                <a:lnTo>
                  <a:pt x="173" y="618"/>
                </a:lnTo>
                <a:lnTo>
                  <a:pt x="145" y="602"/>
                </a:lnTo>
                <a:lnTo>
                  <a:pt x="121" y="583"/>
                </a:lnTo>
                <a:lnTo>
                  <a:pt x="97" y="561"/>
                </a:lnTo>
                <a:lnTo>
                  <a:pt x="75" y="538"/>
                </a:lnTo>
                <a:lnTo>
                  <a:pt x="56" y="513"/>
                </a:lnTo>
                <a:lnTo>
                  <a:pt x="40" y="486"/>
                </a:lnTo>
                <a:lnTo>
                  <a:pt x="27" y="456"/>
                </a:lnTo>
                <a:lnTo>
                  <a:pt x="15" y="427"/>
                </a:lnTo>
                <a:lnTo>
                  <a:pt x="11" y="411"/>
                </a:lnTo>
                <a:lnTo>
                  <a:pt x="7" y="395"/>
                </a:lnTo>
                <a:lnTo>
                  <a:pt x="4" y="379"/>
                </a:lnTo>
                <a:lnTo>
                  <a:pt x="3" y="362"/>
                </a:lnTo>
                <a:lnTo>
                  <a:pt x="1" y="346"/>
                </a:lnTo>
                <a:lnTo>
                  <a:pt x="0" y="329"/>
                </a:lnTo>
                <a:lnTo>
                  <a:pt x="0" y="329"/>
                </a:lnTo>
                <a:lnTo>
                  <a:pt x="1" y="311"/>
                </a:lnTo>
                <a:lnTo>
                  <a:pt x="3" y="295"/>
                </a:lnTo>
                <a:lnTo>
                  <a:pt x="4" y="279"/>
                </a:lnTo>
                <a:lnTo>
                  <a:pt x="7" y="263"/>
                </a:lnTo>
                <a:lnTo>
                  <a:pt x="11" y="247"/>
                </a:lnTo>
                <a:lnTo>
                  <a:pt x="15" y="231"/>
                </a:lnTo>
                <a:lnTo>
                  <a:pt x="27" y="201"/>
                </a:lnTo>
                <a:lnTo>
                  <a:pt x="40" y="172"/>
                </a:lnTo>
                <a:lnTo>
                  <a:pt x="56" y="145"/>
                </a:lnTo>
                <a:lnTo>
                  <a:pt x="75" y="119"/>
                </a:lnTo>
                <a:lnTo>
                  <a:pt x="97" y="96"/>
                </a:lnTo>
                <a:lnTo>
                  <a:pt x="121" y="75"/>
                </a:lnTo>
                <a:lnTo>
                  <a:pt x="145" y="56"/>
                </a:lnTo>
                <a:lnTo>
                  <a:pt x="173" y="40"/>
                </a:lnTo>
                <a:lnTo>
                  <a:pt x="202" y="25"/>
                </a:lnTo>
                <a:lnTo>
                  <a:pt x="232" y="15"/>
                </a:lnTo>
                <a:lnTo>
                  <a:pt x="247" y="11"/>
                </a:lnTo>
                <a:lnTo>
                  <a:pt x="263" y="6"/>
                </a:lnTo>
                <a:lnTo>
                  <a:pt x="279" y="4"/>
                </a:lnTo>
                <a:lnTo>
                  <a:pt x="296" y="1"/>
                </a:lnTo>
                <a:lnTo>
                  <a:pt x="313" y="1"/>
                </a:lnTo>
                <a:lnTo>
                  <a:pt x="329" y="0"/>
                </a:lnTo>
                <a:lnTo>
                  <a:pt x="329" y="0"/>
                </a:lnTo>
                <a:lnTo>
                  <a:pt x="347" y="1"/>
                </a:lnTo>
                <a:lnTo>
                  <a:pt x="363" y="1"/>
                </a:lnTo>
                <a:lnTo>
                  <a:pt x="379" y="4"/>
                </a:lnTo>
                <a:lnTo>
                  <a:pt x="396" y="6"/>
                </a:lnTo>
                <a:lnTo>
                  <a:pt x="411" y="11"/>
                </a:lnTo>
                <a:lnTo>
                  <a:pt x="427" y="15"/>
                </a:lnTo>
                <a:lnTo>
                  <a:pt x="457" y="25"/>
                </a:lnTo>
                <a:lnTo>
                  <a:pt x="486" y="40"/>
                </a:lnTo>
                <a:lnTo>
                  <a:pt x="513" y="56"/>
                </a:lnTo>
                <a:lnTo>
                  <a:pt x="539" y="75"/>
                </a:lnTo>
                <a:lnTo>
                  <a:pt x="561" y="96"/>
                </a:lnTo>
                <a:lnTo>
                  <a:pt x="583" y="119"/>
                </a:lnTo>
                <a:lnTo>
                  <a:pt x="602" y="145"/>
                </a:lnTo>
                <a:lnTo>
                  <a:pt x="618" y="172"/>
                </a:lnTo>
                <a:lnTo>
                  <a:pt x="633" y="201"/>
                </a:lnTo>
                <a:lnTo>
                  <a:pt x="643" y="231"/>
                </a:lnTo>
                <a:lnTo>
                  <a:pt x="647" y="247"/>
                </a:lnTo>
                <a:lnTo>
                  <a:pt x="651" y="263"/>
                </a:lnTo>
                <a:lnTo>
                  <a:pt x="654" y="279"/>
                </a:lnTo>
                <a:lnTo>
                  <a:pt x="657" y="295"/>
                </a:lnTo>
                <a:lnTo>
                  <a:pt x="658" y="311"/>
                </a:lnTo>
                <a:lnTo>
                  <a:pt x="658" y="329"/>
                </a:lnTo>
                <a:lnTo>
                  <a:pt x="658" y="329"/>
                </a:lnTo>
                <a:lnTo>
                  <a:pt x="658" y="346"/>
                </a:lnTo>
                <a:lnTo>
                  <a:pt x="657" y="362"/>
                </a:lnTo>
                <a:lnTo>
                  <a:pt x="654" y="379"/>
                </a:lnTo>
                <a:lnTo>
                  <a:pt x="651" y="395"/>
                </a:lnTo>
                <a:lnTo>
                  <a:pt x="647" y="411"/>
                </a:lnTo>
                <a:lnTo>
                  <a:pt x="643" y="427"/>
                </a:lnTo>
                <a:lnTo>
                  <a:pt x="633" y="456"/>
                </a:lnTo>
                <a:lnTo>
                  <a:pt x="618" y="486"/>
                </a:lnTo>
                <a:lnTo>
                  <a:pt x="602" y="513"/>
                </a:lnTo>
                <a:lnTo>
                  <a:pt x="583" y="538"/>
                </a:lnTo>
                <a:lnTo>
                  <a:pt x="561" y="561"/>
                </a:lnTo>
                <a:lnTo>
                  <a:pt x="539" y="583"/>
                </a:lnTo>
                <a:lnTo>
                  <a:pt x="513" y="602"/>
                </a:lnTo>
                <a:lnTo>
                  <a:pt x="486" y="618"/>
                </a:lnTo>
                <a:lnTo>
                  <a:pt x="457" y="631"/>
                </a:lnTo>
                <a:lnTo>
                  <a:pt x="427" y="643"/>
                </a:lnTo>
                <a:lnTo>
                  <a:pt x="411" y="647"/>
                </a:lnTo>
                <a:lnTo>
                  <a:pt x="396" y="651"/>
                </a:lnTo>
                <a:lnTo>
                  <a:pt x="379" y="654"/>
                </a:lnTo>
                <a:lnTo>
                  <a:pt x="363" y="655"/>
                </a:lnTo>
                <a:lnTo>
                  <a:pt x="347" y="657"/>
                </a:lnTo>
                <a:lnTo>
                  <a:pt x="329" y="658"/>
                </a:lnTo>
                <a:lnTo>
                  <a:pt x="329" y="658"/>
                </a:lnTo>
                <a:close/>
                <a:moveTo>
                  <a:pt x="329" y="37"/>
                </a:moveTo>
                <a:lnTo>
                  <a:pt x="329" y="37"/>
                </a:lnTo>
                <a:lnTo>
                  <a:pt x="300" y="39"/>
                </a:lnTo>
                <a:lnTo>
                  <a:pt x="271" y="44"/>
                </a:lnTo>
                <a:lnTo>
                  <a:pt x="243" y="51"/>
                </a:lnTo>
                <a:lnTo>
                  <a:pt x="216" y="60"/>
                </a:lnTo>
                <a:lnTo>
                  <a:pt x="191" y="72"/>
                </a:lnTo>
                <a:lnTo>
                  <a:pt x="167" y="87"/>
                </a:lnTo>
                <a:lnTo>
                  <a:pt x="144" y="105"/>
                </a:lnTo>
                <a:lnTo>
                  <a:pt x="124" y="123"/>
                </a:lnTo>
                <a:lnTo>
                  <a:pt x="105" y="143"/>
                </a:lnTo>
                <a:lnTo>
                  <a:pt x="89" y="166"/>
                </a:lnTo>
                <a:lnTo>
                  <a:pt x="74" y="191"/>
                </a:lnTo>
                <a:lnTo>
                  <a:pt x="62" y="216"/>
                </a:lnTo>
                <a:lnTo>
                  <a:pt x="51" y="243"/>
                </a:lnTo>
                <a:lnTo>
                  <a:pt x="44" y="270"/>
                </a:lnTo>
                <a:lnTo>
                  <a:pt x="40" y="299"/>
                </a:lnTo>
                <a:lnTo>
                  <a:pt x="38" y="329"/>
                </a:lnTo>
                <a:lnTo>
                  <a:pt x="38" y="329"/>
                </a:lnTo>
                <a:lnTo>
                  <a:pt x="40" y="358"/>
                </a:lnTo>
                <a:lnTo>
                  <a:pt x="44" y="388"/>
                </a:lnTo>
                <a:lnTo>
                  <a:pt x="51" y="415"/>
                </a:lnTo>
                <a:lnTo>
                  <a:pt x="62" y="442"/>
                </a:lnTo>
                <a:lnTo>
                  <a:pt x="74" y="467"/>
                </a:lnTo>
                <a:lnTo>
                  <a:pt x="89" y="491"/>
                </a:lnTo>
                <a:lnTo>
                  <a:pt x="105" y="514"/>
                </a:lnTo>
                <a:lnTo>
                  <a:pt x="124" y="534"/>
                </a:lnTo>
                <a:lnTo>
                  <a:pt x="144" y="553"/>
                </a:lnTo>
                <a:lnTo>
                  <a:pt x="167" y="571"/>
                </a:lnTo>
                <a:lnTo>
                  <a:pt x="191" y="585"/>
                </a:lnTo>
                <a:lnTo>
                  <a:pt x="216" y="597"/>
                </a:lnTo>
                <a:lnTo>
                  <a:pt x="243" y="607"/>
                </a:lnTo>
                <a:lnTo>
                  <a:pt x="271" y="614"/>
                </a:lnTo>
                <a:lnTo>
                  <a:pt x="300" y="619"/>
                </a:lnTo>
                <a:lnTo>
                  <a:pt x="329" y="620"/>
                </a:lnTo>
                <a:lnTo>
                  <a:pt x="329" y="620"/>
                </a:lnTo>
                <a:lnTo>
                  <a:pt x="359" y="619"/>
                </a:lnTo>
                <a:lnTo>
                  <a:pt x="388" y="614"/>
                </a:lnTo>
                <a:lnTo>
                  <a:pt x="416" y="607"/>
                </a:lnTo>
                <a:lnTo>
                  <a:pt x="443" y="597"/>
                </a:lnTo>
                <a:lnTo>
                  <a:pt x="467" y="585"/>
                </a:lnTo>
                <a:lnTo>
                  <a:pt x="492" y="571"/>
                </a:lnTo>
                <a:lnTo>
                  <a:pt x="514" y="553"/>
                </a:lnTo>
                <a:lnTo>
                  <a:pt x="535" y="534"/>
                </a:lnTo>
                <a:lnTo>
                  <a:pt x="553" y="514"/>
                </a:lnTo>
                <a:lnTo>
                  <a:pt x="571" y="491"/>
                </a:lnTo>
                <a:lnTo>
                  <a:pt x="586" y="467"/>
                </a:lnTo>
                <a:lnTo>
                  <a:pt x="598" y="442"/>
                </a:lnTo>
                <a:lnTo>
                  <a:pt x="607" y="415"/>
                </a:lnTo>
                <a:lnTo>
                  <a:pt x="615" y="388"/>
                </a:lnTo>
                <a:lnTo>
                  <a:pt x="619" y="358"/>
                </a:lnTo>
                <a:lnTo>
                  <a:pt x="621" y="329"/>
                </a:lnTo>
                <a:lnTo>
                  <a:pt x="621" y="329"/>
                </a:lnTo>
                <a:lnTo>
                  <a:pt x="619" y="299"/>
                </a:lnTo>
                <a:lnTo>
                  <a:pt x="615" y="270"/>
                </a:lnTo>
                <a:lnTo>
                  <a:pt x="607" y="243"/>
                </a:lnTo>
                <a:lnTo>
                  <a:pt x="598" y="216"/>
                </a:lnTo>
                <a:lnTo>
                  <a:pt x="586" y="191"/>
                </a:lnTo>
                <a:lnTo>
                  <a:pt x="571" y="166"/>
                </a:lnTo>
                <a:lnTo>
                  <a:pt x="553" y="143"/>
                </a:lnTo>
                <a:lnTo>
                  <a:pt x="535" y="123"/>
                </a:lnTo>
                <a:lnTo>
                  <a:pt x="514" y="105"/>
                </a:lnTo>
                <a:lnTo>
                  <a:pt x="492" y="87"/>
                </a:lnTo>
                <a:lnTo>
                  <a:pt x="467" y="72"/>
                </a:lnTo>
                <a:lnTo>
                  <a:pt x="443" y="60"/>
                </a:lnTo>
                <a:lnTo>
                  <a:pt x="416" y="51"/>
                </a:lnTo>
                <a:lnTo>
                  <a:pt x="388" y="44"/>
                </a:lnTo>
                <a:lnTo>
                  <a:pt x="359" y="39"/>
                </a:lnTo>
                <a:lnTo>
                  <a:pt x="329" y="37"/>
                </a:lnTo>
                <a:lnTo>
                  <a:pt x="329" y="37"/>
                </a:lnTo>
                <a:close/>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125">
            <a:extLst>
              <a:ext uri="{FF2B5EF4-FFF2-40B4-BE49-F238E27FC236}">
                <a16:creationId xmlns:a16="http://schemas.microsoft.com/office/drawing/2014/main" id="{B4CD5B37-A2BB-4258-B5D4-04B72CE6D100}"/>
              </a:ext>
            </a:extLst>
          </p:cNvPr>
          <p:cNvSpPr>
            <a:spLocks noEditPoints="1"/>
          </p:cNvSpPr>
          <p:nvPr/>
        </p:nvSpPr>
        <p:spPr bwMode="auto">
          <a:xfrm>
            <a:off x="6664616" y="4737793"/>
            <a:ext cx="693122" cy="693122"/>
          </a:xfrm>
          <a:custGeom>
            <a:avLst/>
            <a:gdLst>
              <a:gd name="T0" fmla="*/ 311 w 656"/>
              <a:gd name="T1" fmla="*/ 656 h 656"/>
              <a:gd name="T2" fmla="*/ 262 w 656"/>
              <a:gd name="T3" fmla="*/ 649 h 656"/>
              <a:gd name="T4" fmla="*/ 200 w 656"/>
              <a:gd name="T5" fmla="*/ 631 h 656"/>
              <a:gd name="T6" fmla="*/ 119 w 656"/>
              <a:gd name="T7" fmla="*/ 581 h 656"/>
              <a:gd name="T8" fmla="*/ 56 w 656"/>
              <a:gd name="T9" fmla="*/ 511 h 656"/>
              <a:gd name="T10" fmla="*/ 15 w 656"/>
              <a:gd name="T11" fmla="*/ 425 h 656"/>
              <a:gd name="T12" fmla="*/ 4 w 656"/>
              <a:gd name="T13" fmla="*/ 378 h 656"/>
              <a:gd name="T14" fmla="*/ 0 w 656"/>
              <a:gd name="T15" fmla="*/ 327 h 656"/>
              <a:gd name="T16" fmla="*/ 1 w 656"/>
              <a:gd name="T17" fmla="*/ 294 h 656"/>
              <a:gd name="T18" fmla="*/ 9 w 656"/>
              <a:gd name="T19" fmla="*/ 245 h 656"/>
              <a:gd name="T20" fmla="*/ 39 w 656"/>
              <a:gd name="T21" fmla="*/ 172 h 656"/>
              <a:gd name="T22" fmla="*/ 97 w 656"/>
              <a:gd name="T23" fmla="*/ 95 h 656"/>
              <a:gd name="T24" fmla="*/ 172 w 656"/>
              <a:gd name="T25" fmla="*/ 39 h 656"/>
              <a:gd name="T26" fmla="*/ 245 w 656"/>
              <a:gd name="T27" fmla="*/ 9 h 656"/>
              <a:gd name="T28" fmla="*/ 295 w 656"/>
              <a:gd name="T29" fmla="*/ 1 h 656"/>
              <a:gd name="T30" fmla="*/ 329 w 656"/>
              <a:gd name="T31" fmla="*/ 0 h 656"/>
              <a:gd name="T32" fmla="*/ 378 w 656"/>
              <a:gd name="T33" fmla="*/ 3 h 656"/>
              <a:gd name="T34" fmla="*/ 425 w 656"/>
              <a:gd name="T35" fmla="*/ 15 h 656"/>
              <a:gd name="T36" fmla="*/ 511 w 656"/>
              <a:gd name="T37" fmla="*/ 55 h 656"/>
              <a:gd name="T38" fmla="*/ 581 w 656"/>
              <a:gd name="T39" fmla="*/ 119 h 656"/>
              <a:gd name="T40" fmla="*/ 631 w 656"/>
              <a:gd name="T41" fmla="*/ 200 h 656"/>
              <a:gd name="T42" fmla="*/ 649 w 656"/>
              <a:gd name="T43" fmla="*/ 262 h 656"/>
              <a:gd name="T44" fmla="*/ 656 w 656"/>
              <a:gd name="T45" fmla="*/ 311 h 656"/>
              <a:gd name="T46" fmla="*/ 656 w 656"/>
              <a:gd name="T47" fmla="*/ 345 h 656"/>
              <a:gd name="T48" fmla="*/ 649 w 656"/>
              <a:gd name="T49" fmla="*/ 394 h 656"/>
              <a:gd name="T50" fmla="*/ 631 w 656"/>
              <a:gd name="T51" fmla="*/ 455 h 656"/>
              <a:gd name="T52" fmla="*/ 581 w 656"/>
              <a:gd name="T53" fmla="*/ 537 h 656"/>
              <a:gd name="T54" fmla="*/ 511 w 656"/>
              <a:gd name="T55" fmla="*/ 600 h 656"/>
              <a:gd name="T56" fmla="*/ 425 w 656"/>
              <a:gd name="T57" fmla="*/ 641 h 656"/>
              <a:gd name="T58" fmla="*/ 378 w 656"/>
              <a:gd name="T59" fmla="*/ 652 h 656"/>
              <a:gd name="T60" fmla="*/ 329 w 656"/>
              <a:gd name="T61" fmla="*/ 656 h 656"/>
              <a:gd name="T62" fmla="*/ 329 w 656"/>
              <a:gd name="T63" fmla="*/ 38 h 656"/>
              <a:gd name="T64" fmla="*/ 241 w 656"/>
              <a:gd name="T65" fmla="*/ 50 h 656"/>
              <a:gd name="T66" fmla="*/ 165 w 656"/>
              <a:gd name="T67" fmla="*/ 87 h 656"/>
              <a:gd name="T68" fmla="*/ 103 w 656"/>
              <a:gd name="T69" fmla="*/ 144 h 656"/>
              <a:gd name="T70" fmla="*/ 60 w 656"/>
              <a:gd name="T71" fmla="*/ 215 h 656"/>
              <a:gd name="T72" fmla="*/ 39 w 656"/>
              <a:gd name="T73" fmla="*/ 298 h 656"/>
              <a:gd name="T74" fmla="*/ 39 w 656"/>
              <a:gd name="T75" fmla="*/ 357 h 656"/>
              <a:gd name="T76" fmla="*/ 60 w 656"/>
              <a:gd name="T77" fmla="*/ 441 h 656"/>
              <a:gd name="T78" fmla="*/ 103 w 656"/>
              <a:gd name="T79" fmla="*/ 512 h 656"/>
              <a:gd name="T80" fmla="*/ 165 w 656"/>
              <a:gd name="T81" fmla="*/ 569 h 656"/>
              <a:gd name="T82" fmla="*/ 241 w 656"/>
              <a:gd name="T83" fmla="*/ 605 h 656"/>
              <a:gd name="T84" fmla="*/ 329 w 656"/>
              <a:gd name="T85" fmla="*/ 618 h 656"/>
              <a:gd name="T86" fmla="*/ 386 w 656"/>
              <a:gd name="T87" fmla="*/ 613 h 656"/>
              <a:gd name="T88" fmla="*/ 467 w 656"/>
              <a:gd name="T89" fmla="*/ 584 h 656"/>
              <a:gd name="T90" fmla="*/ 534 w 656"/>
              <a:gd name="T91" fmla="*/ 534 h 656"/>
              <a:gd name="T92" fmla="*/ 584 w 656"/>
              <a:gd name="T93" fmla="*/ 467 h 656"/>
              <a:gd name="T94" fmla="*/ 613 w 656"/>
              <a:gd name="T95" fmla="*/ 386 h 656"/>
              <a:gd name="T96" fmla="*/ 618 w 656"/>
              <a:gd name="T97" fmla="*/ 327 h 656"/>
              <a:gd name="T98" fmla="*/ 606 w 656"/>
              <a:gd name="T99" fmla="*/ 241 h 656"/>
              <a:gd name="T100" fmla="*/ 569 w 656"/>
              <a:gd name="T101" fmla="*/ 165 h 656"/>
              <a:gd name="T102" fmla="*/ 512 w 656"/>
              <a:gd name="T103" fmla="*/ 103 h 656"/>
              <a:gd name="T104" fmla="*/ 441 w 656"/>
              <a:gd name="T105" fmla="*/ 60 h 656"/>
              <a:gd name="T106" fmla="*/ 358 w 656"/>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6" h="656">
                <a:moveTo>
                  <a:pt x="329" y="656"/>
                </a:moveTo>
                <a:lnTo>
                  <a:pt x="329" y="656"/>
                </a:lnTo>
                <a:lnTo>
                  <a:pt x="311" y="656"/>
                </a:lnTo>
                <a:lnTo>
                  <a:pt x="295" y="655"/>
                </a:lnTo>
                <a:lnTo>
                  <a:pt x="278" y="652"/>
                </a:lnTo>
                <a:lnTo>
                  <a:pt x="262" y="649"/>
                </a:lnTo>
                <a:lnTo>
                  <a:pt x="245" y="645"/>
                </a:lnTo>
                <a:lnTo>
                  <a:pt x="231" y="641"/>
                </a:lnTo>
                <a:lnTo>
                  <a:pt x="200" y="631"/>
                </a:lnTo>
                <a:lnTo>
                  <a:pt x="172" y="616"/>
                </a:lnTo>
                <a:lnTo>
                  <a:pt x="145" y="600"/>
                </a:lnTo>
                <a:lnTo>
                  <a:pt x="119" y="581"/>
                </a:lnTo>
                <a:lnTo>
                  <a:pt x="97" y="559"/>
                </a:lnTo>
                <a:lnTo>
                  <a:pt x="75" y="537"/>
                </a:lnTo>
                <a:lnTo>
                  <a:pt x="56" y="511"/>
                </a:lnTo>
                <a:lnTo>
                  <a:pt x="39" y="484"/>
                </a:lnTo>
                <a:lnTo>
                  <a:pt x="25" y="455"/>
                </a:lnTo>
                <a:lnTo>
                  <a:pt x="15" y="425"/>
                </a:lnTo>
                <a:lnTo>
                  <a:pt x="9" y="409"/>
                </a:lnTo>
                <a:lnTo>
                  <a:pt x="7" y="394"/>
                </a:lnTo>
                <a:lnTo>
                  <a:pt x="4" y="378"/>
                </a:lnTo>
                <a:lnTo>
                  <a:pt x="1" y="361"/>
                </a:lnTo>
                <a:lnTo>
                  <a:pt x="0" y="345"/>
                </a:lnTo>
                <a:lnTo>
                  <a:pt x="0" y="327"/>
                </a:lnTo>
                <a:lnTo>
                  <a:pt x="0" y="327"/>
                </a:lnTo>
                <a:lnTo>
                  <a:pt x="0" y="311"/>
                </a:lnTo>
                <a:lnTo>
                  <a:pt x="1" y="294"/>
                </a:lnTo>
                <a:lnTo>
                  <a:pt x="4" y="278"/>
                </a:lnTo>
                <a:lnTo>
                  <a:pt x="7" y="262"/>
                </a:lnTo>
                <a:lnTo>
                  <a:pt x="9" y="245"/>
                </a:lnTo>
                <a:lnTo>
                  <a:pt x="15" y="231"/>
                </a:lnTo>
                <a:lnTo>
                  <a:pt x="25" y="200"/>
                </a:lnTo>
                <a:lnTo>
                  <a:pt x="39" y="172"/>
                </a:lnTo>
                <a:lnTo>
                  <a:pt x="56" y="145"/>
                </a:lnTo>
                <a:lnTo>
                  <a:pt x="75" y="119"/>
                </a:lnTo>
                <a:lnTo>
                  <a:pt x="97" y="95"/>
                </a:lnTo>
                <a:lnTo>
                  <a:pt x="119" y="75"/>
                </a:lnTo>
                <a:lnTo>
                  <a:pt x="145" y="55"/>
                </a:lnTo>
                <a:lnTo>
                  <a:pt x="172" y="39"/>
                </a:lnTo>
                <a:lnTo>
                  <a:pt x="200" y="25"/>
                </a:lnTo>
                <a:lnTo>
                  <a:pt x="231" y="15"/>
                </a:lnTo>
                <a:lnTo>
                  <a:pt x="245" y="9"/>
                </a:lnTo>
                <a:lnTo>
                  <a:pt x="262" y="7"/>
                </a:lnTo>
                <a:lnTo>
                  <a:pt x="278" y="3"/>
                </a:lnTo>
                <a:lnTo>
                  <a:pt x="295" y="1"/>
                </a:lnTo>
                <a:lnTo>
                  <a:pt x="311" y="0"/>
                </a:lnTo>
                <a:lnTo>
                  <a:pt x="329" y="0"/>
                </a:lnTo>
                <a:lnTo>
                  <a:pt x="329" y="0"/>
                </a:lnTo>
                <a:lnTo>
                  <a:pt x="345" y="0"/>
                </a:lnTo>
                <a:lnTo>
                  <a:pt x="362" y="1"/>
                </a:lnTo>
                <a:lnTo>
                  <a:pt x="378" y="3"/>
                </a:lnTo>
                <a:lnTo>
                  <a:pt x="394" y="7"/>
                </a:lnTo>
                <a:lnTo>
                  <a:pt x="411" y="9"/>
                </a:lnTo>
                <a:lnTo>
                  <a:pt x="425" y="15"/>
                </a:lnTo>
                <a:lnTo>
                  <a:pt x="456" y="25"/>
                </a:lnTo>
                <a:lnTo>
                  <a:pt x="484" y="39"/>
                </a:lnTo>
                <a:lnTo>
                  <a:pt x="511" y="55"/>
                </a:lnTo>
                <a:lnTo>
                  <a:pt x="537" y="75"/>
                </a:lnTo>
                <a:lnTo>
                  <a:pt x="561" y="95"/>
                </a:lnTo>
                <a:lnTo>
                  <a:pt x="581" y="119"/>
                </a:lnTo>
                <a:lnTo>
                  <a:pt x="600" y="145"/>
                </a:lnTo>
                <a:lnTo>
                  <a:pt x="617" y="172"/>
                </a:lnTo>
                <a:lnTo>
                  <a:pt x="631" y="200"/>
                </a:lnTo>
                <a:lnTo>
                  <a:pt x="641" y="231"/>
                </a:lnTo>
                <a:lnTo>
                  <a:pt x="647" y="245"/>
                </a:lnTo>
                <a:lnTo>
                  <a:pt x="649" y="262"/>
                </a:lnTo>
                <a:lnTo>
                  <a:pt x="652" y="278"/>
                </a:lnTo>
                <a:lnTo>
                  <a:pt x="655" y="294"/>
                </a:lnTo>
                <a:lnTo>
                  <a:pt x="656" y="311"/>
                </a:lnTo>
                <a:lnTo>
                  <a:pt x="656" y="327"/>
                </a:lnTo>
                <a:lnTo>
                  <a:pt x="656" y="327"/>
                </a:lnTo>
                <a:lnTo>
                  <a:pt x="656" y="345"/>
                </a:lnTo>
                <a:lnTo>
                  <a:pt x="655" y="361"/>
                </a:lnTo>
                <a:lnTo>
                  <a:pt x="652" y="378"/>
                </a:lnTo>
                <a:lnTo>
                  <a:pt x="649" y="394"/>
                </a:lnTo>
                <a:lnTo>
                  <a:pt x="647" y="409"/>
                </a:lnTo>
                <a:lnTo>
                  <a:pt x="641" y="425"/>
                </a:lnTo>
                <a:lnTo>
                  <a:pt x="631" y="455"/>
                </a:lnTo>
                <a:lnTo>
                  <a:pt x="617" y="484"/>
                </a:lnTo>
                <a:lnTo>
                  <a:pt x="600" y="511"/>
                </a:lnTo>
                <a:lnTo>
                  <a:pt x="581" y="537"/>
                </a:lnTo>
                <a:lnTo>
                  <a:pt x="561" y="559"/>
                </a:lnTo>
                <a:lnTo>
                  <a:pt x="537" y="581"/>
                </a:lnTo>
                <a:lnTo>
                  <a:pt x="511" y="600"/>
                </a:lnTo>
                <a:lnTo>
                  <a:pt x="484" y="616"/>
                </a:lnTo>
                <a:lnTo>
                  <a:pt x="456" y="631"/>
                </a:lnTo>
                <a:lnTo>
                  <a:pt x="425" y="641"/>
                </a:lnTo>
                <a:lnTo>
                  <a:pt x="411" y="645"/>
                </a:lnTo>
                <a:lnTo>
                  <a:pt x="394" y="649"/>
                </a:lnTo>
                <a:lnTo>
                  <a:pt x="378" y="652"/>
                </a:lnTo>
                <a:lnTo>
                  <a:pt x="362" y="655"/>
                </a:lnTo>
                <a:lnTo>
                  <a:pt x="345" y="656"/>
                </a:lnTo>
                <a:lnTo>
                  <a:pt x="329" y="656"/>
                </a:lnTo>
                <a:lnTo>
                  <a:pt x="329" y="656"/>
                </a:lnTo>
                <a:close/>
                <a:moveTo>
                  <a:pt x="329" y="38"/>
                </a:moveTo>
                <a:lnTo>
                  <a:pt x="329" y="38"/>
                </a:lnTo>
                <a:lnTo>
                  <a:pt x="298" y="39"/>
                </a:lnTo>
                <a:lnTo>
                  <a:pt x="270" y="43"/>
                </a:lnTo>
                <a:lnTo>
                  <a:pt x="241" y="50"/>
                </a:lnTo>
                <a:lnTo>
                  <a:pt x="215" y="60"/>
                </a:lnTo>
                <a:lnTo>
                  <a:pt x="189" y="72"/>
                </a:lnTo>
                <a:lnTo>
                  <a:pt x="165" y="87"/>
                </a:lnTo>
                <a:lnTo>
                  <a:pt x="144" y="103"/>
                </a:lnTo>
                <a:lnTo>
                  <a:pt x="122" y="122"/>
                </a:lnTo>
                <a:lnTo>
                  <a:pt x="103" y="144"/>
                </a:lnTo>
                <a:lnTo>
                  <a:pt x="87" y="165"/>
                </a:lnTo>
                <a:lnTo>
                  <a:pt x="72" y="189"/>
                </a:lnTo>
                <a:lnTo>
                  <a:pt x="60" y="215"/>
                </a:lnTo>
                <a:lnTo>
                  <a:pt x="51" y="241"/>
                </a:lnTo>
                <a:lnTo>
                  <a:pt x="43" y="270"/>
                </a:lnTo>
                <a:lnTo>
                  <a:pt x="39" y="298"/>
                </a:lnTo>
                <a:lnTo>
                  <a:pt x="38" y="327"/>
                </a:lnTo>
                <a:lnTo>
                  <a:pt x="38" y="327"/>
                </a:lnTo>
                <a:lnTo>
                  <a:pt x="39" y="357"/>
                </a:lnTo>
                <a:lnTo>
                  <a:pt x="43" y="386"/>
                </a:lnTo>
                <a:lnTo>
                  <a:pt x="51" y="415"/>
                </a:lnTo>
                <a:lnTo>
                  <a:pt x="60" y="441"/>
                </a:lnTo>
                <a:lnTo>
                  <a:pt x="72" y="467"/>
                </a:lnTo>
                <a:lnTo>
                  <a:pt x="87" y="490"/>
                </a:lnTo>
                <a:lnTo>
                  <a:pt x="103" y="512"/>
                </a:lnTo>
                <a:lnTo>
                  <a:pt x="122" y="534"/>
                </a:lnTo>
                <a:lnTo>
                  <a:pt x="144" y="553"/>
                </a:lnTo>
                <a:lnTo>
                  <a:pt x="165" y="569"/>
                </a:lnTo>
                <a:lnTo>
                  <a:pt x="189" y="584"/>
                </a:lnTo>
                <a:lnTo>
                  <a:pt x="215" y="596"/>
                </a:lnTo>
                <a:lnTo>
                  <a:pt x="241" y="605"/>
                </a:lnTo>
                <a:lnTo>
                  <a:pt x="270" y="613"/>
                </a:lnTo>
                <a:lnTo>
                  <a:pt x="298" y="617"/>
                </a:lnTo>
                <a:lnTo>
                  <a:pt x="329" y="618"/>
                </a:lnTo>
                <a:lnTo>
                  <a:pt x="329" y="618"/>
                </a:lnTo>
                <a:lnTo>
                  <a:pt x="358" y="617"/>
                </a:lnTo>
                <a:lnTo>
                  <a:pt x="386" y="613"/>
                </a:lnTo>
                <a:lnTo>
                  <a:pt x="415" y="605"/>
                </a:lnTo>
                <a:lnTo>
                  <a:pt x="441" y="596"/>
                </a:lnTo>
                <a:lnTo>
                  <a:pt x="467" y="584"/>
                </a:lnTo>
                <a:lnTo>
                  <a:pt x="491" y="569"/>
                </a:lnTo>
                <a:lnTo>
                  <a:pt x="512" y="553"/>
                </a:lnTo>
                <a:lnTo>
                  <a:pt x="534" y="534"/>
                </a:lnTo>
                <a:lnTo>
                  <a:pt x="553" y="512"/>
                </a:lnTo>
                <a:lnTo>
                  <a:pt x="569" y="490"/>
                </a:lnTo>
                <a:lnTo>
                  <a:pt x="584" y="467"/>
                </a:lnTo>
                <a:lnTo>
                  <a:pt x="596" y="441"/>
                </a:lnTo>
                <a:lnTo>
                  <a:pt x="606" y="415"/>
                </a:lnTo>
                <a:lnTo>
                  <a:pt x="613" y="386"/>
                </a:lnTo>
                <a:lnTo>
                  <a:pt x="617" y="357"/>
                </a:lnTo>
                <a:lnTo>
                  <a:pt x="618" y="327"/>
                </a:lnTo>
                <a:lnTo>
                  <a:pt x="618" y="327"/>
                </a:lnTo>
                <a:lnTo>
                  <a:pt x="617" y="298"/>
                </a:lnTo>
                <a:lnTo>
                  <a:pt x="613" y="270"/>
                </a:lnTo>
                <a:lnTo>
                  <a:pt x="606" y="241"/>
                </a:lnTo>
                <a:lnTo>
                  <a:pt x="596" y="215"/>
                </a:lnTo>
                <a:lnTo>
                  <a:pt x="584" y="189"/>
                </a:lnTo>
                <a:lnTo>
                  <a:pt x="569" y="165"/>
                </a:lnTo>
                <a:lnTo>
                  <a:pt x="553" y="144"/>
                </a:lnTo>
                <a:lnTo>
                  <a:pt x="534" y="122"/>
                </a:lnTo>
                <a:lnTo>
                  <a:pt x="512" y="103"/>
                </a:lnTo>
                <a:lnTo>
                  <a:pt x="491" y="87"/>
                </a:lnTo>
                <a:lnTo>
                  <a:pt x="467" y="72"/>
                </a:lnTo>
                <a:lnTo>
                  <a:pt x="441" y="60"/>
                </a:lnTo>
                <a:lnTo>
                  <a:pt x="415" y="50"/>
                </a:lnTo>
                <a:lnTo>
                  <a:pt x="386" y="43"/>
                </a:lnTo>
                <a:lnTo>
                  <a:pt x="358" y="39"/>
                </a:lnTo>
                <a:lnTo>
                  <a:pt x="329" y="38"/>
                </a:lnTo>
                <a:lnTo>
                  <a:pt x="329" y="38"/>
                </a:lnTo>
                <a:close/>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41">
            <a:extLst>
              <a:ext uri="{FF2B5EF4-FFF2-40B4-BE49-F238E27FC236}">
                <a16:creationId xmlns:a16="http://schemas.microsoft.com/office/drawing/2014/main" id="{9DC5EFCD-BD3C-499F-8AD5-E3A0CD3D2BA3}"/>
              </a:ext>
            </a:extLst>
          </p:cNvPr>
          <p:cNvSpPr>
            <a:spLocks noEditPoints="1"/>
          </p:cNvSpPr>
          <p:nvPr/>
        </p:nvSpPr>
        <p:spPr bwMode="auto">
          <a:xfrm>
            <a:off x="6671614" y="5544168"/>
            <a:ext cx="693122" cy="695236"/>
          </a:xfrm>
          <a:custGeom>
            <a:avLst/>
            <a:gdLst>
              <a:gd name="T0" fmla="*/ 312 w 657"/>
              <a:gd name="T1" fmla="*/ 656 h 656"/>
              <a:gd name="T2" fmla="*/ 262 w 657"/>
              <a:gd name="T3" fmla="*/ 650 h 656"/>
              <a:gd name="T4" fmla="*/ 200 w 657"/>
              <a:gd name="T5" fmla="*/ 631 h 656"/>
              <a:gd name="T6" fmla="*/ 120 w 657"/>
              <a:gd name="T7" fmla="*/ 581 h 656"/>
              <a:gd name="T8" fmla="*/ 56 w 657"/>
              <a:gd name="T9" fmla="*/ 511 h 656"/>
              <a:gd name="T10" fmla="*/ 15 w 657"/>
              <a:gd name="T11" fmla="*/ 425 h 656"/>
              <a:gd name="T12" fmla="*/ 4 w 657"/>
              <a:gd name="T13" fmla="*/ 378 h 656"/>
              <a:gd name="T14" fmla="*/ 0 w 657"/>
              <a:gd name="T15" fmla="*/ 329 h 656"/>
              <a:gd name="T16" fmla="*/ 1 w 657"/>
              <a:gd name="T17" fmla="*/ 295 h 656"/>
              <a:gd name="T18" fmla="*/ 9 w 657"/>
              <a:gd name="T19" fmla="*/ 247 h 656"/>
              <a:gd name="T20" fmla="*/ 39 w 657"/>
              <a:gd name="T21" fmla="*/ 172 h 656"/>
              <a:gd name="T22" fmla="*/ 95 w 657"/>
              <a:gd name="T23" fmla="*/ 96 h 656"/>
              <a:gd name="T24" fmla="*/ 172 w 657"/>
              <a:gd name="T25" fmla="*/ 39 h 656"/>
              <a:gd name="T26" fmla="*/ 246 w 657"/>
              <a:gd name="T27" fmla="*/ 10 h 656"/>
              <a:gd name="T28" fmla="*/ 294 w 657"/>
              <a:gd name="T29" fmla="*/ 1 h 656"/>
              <a:gd name="T30" fmla="*/ 328 w 657"/>
              <a:gd name="T31" fmla="*/ 0 h 656"/>
              <a:gd name="T32" fmla="*/ 379 w 657"/>
              <a:gd name="T33" fmla="*/ 4 h 656"/>
              <a:gd name="T34" fmla="*/ 426 w 657"/>
              <a:gd name="T35" fmla="*/ 14 h 656"/>
              <a:gd name="T36" fmla="*/ 512 w 657"/>
              <a:gd name="T37" fmla="*/ 56 h 656"/>
              <a:gd name="T38" fmla="*/ 582 w 657"/>
              <a:gd name="T39" fmla="*/ 119 h 656"/>
              <a:gd name="T40" fmla="*/ 631 w 657"/>
              <a:gd name="T41" fmla="*/ 200 h 656"/>
              <a:gd name="T42" fmla="*/ 650 w 657"/>
              <a:gd name="T43" fmla="*/ 262 h 656"/>
              <a:gd name="T44" fmla="*/ 657 w 657"/>
              <a:gd name="T45" fmla="*/ 311 h 656"/>
              <a:gd name="T46" fmla="*/ 657 w 657"/>
              <a:gd name="T47" fmla="*/ 345 h 656"/>
              <a:gd name="T48" fmla="*/ 650 w 657"/>
              <a:gd name="T49" fmla="*/ 394 h 656"/>
              <a:gd name="T50" fmla="*/ 631 w 657"/>
              <a:gd name="T51" fmla="*/ 456 h 656"/>
              <a:gd name="T52" fmla="*/ 582 w 657"/>
              <a:gd name="T53" fmla="*/ 537 h 656"/>
              <a:gd name="T54" fmla="*/ 512 w 657"/>
              <a:gd name="T55" fmla="*/ 601 h 656"/>
              <a:gd name="T56" fmla="*/ 426 w 657"/>
              <a:gd name="T57" fmla="*/ 642 h 656"/>
              <a:gd name="T58" fmla="*/ 379 w 657"/>
              <a:gd name="T59" fmla="*/ 654 h 656"/>
              <a:gd name="T60" fmla="*/ 328 w 657"/>
              <a:gd name="T61" fmla="*/ 656 h 656"/>
              <a:gd name="T62" fmla="*/ 328 w 657"/>
              <a:gd name="T63" fmla="*/ 37 h 656"/>
              <a:gd name="T64" fmla="*/ 242 w 657"/>
              <a:gd name="T65" fmla="*/ 51 h 656"/>
              <a:gd name="T66" fmla="*/ 165 w 657"/>
              <a:gd name="T67" fmla="*/ 87 h 656"/>
              <a:gd name="T68" fmla="*/ 103 w 657"/>
              <a:gd name="T69" fmla="*/ 143 h 656"/>
              <a:gd name="T70" fmla="*/ 61 w 657"/>
              <a:gd name="T71" fmla="*/ 215 h 656"/>
              <a:gd name="T72" fmla="*/ 39 w 657"/>
              <a:gd name="T73" fmla="*/ 298 h 656"/>
              <a:gd name="T74" fmla="*/ 39 w 657"/>
              <a:gd name="T75" fmla="*/ 358 h 656"/>
              <a:gd name="T76" fmla="*/ 61 w 657"/>
              <a:gd name="T77" fmla="*/ 441 h 656"/>
              <a:gd name="T78" fmla="*/ 103 w 657"/>
              <a:gd name="T79" fmla="*/ 513 h 656"/>
              <a:gd name="T80" fmla="*/ 165 w 657"/>
              <a:gd name="T81" fmla="*/ 569 h 656"/>
              <a:gd name="T82" fmla="*/ 242 w 657"/>
              <a:gd name="T83" fmla="*/ 607 h 656"/>
              <a:gd name="T84" fmla="*/ 328 w 657"/>
              <a:gd name="T85" fmla="*/ 619 h 656"/>
              <a:gd name="T86" fmla="*/ 387 w 657"/>
              <a:gd name="T87" fmla="*/ 613 h 656"/>
              <a:gd name="T88" fmla="*/ 468 w 657"/>
              <a:gd name="T89" fmla="*/ 584 h 656"/>
              <a:gd name="T90" fmla="*/ 535 w 657"/>
              <a:gd name="T91" fmla="*/ 534 h 656"/>
              <a:gd name="T92" fmla="*/ 584 w 657"/>
              <a:gd name="T93" fmla="*/ 467 h 656"/>
              <a:gd name="T94" fmla="*/ 614 w 657"/>
              <a:gd name="T95" fmla="*/ 386 h 656"/>
              <a:gd name="T96" fmla="*/ 619 w 657"/>
              <a:gd name="T97" fmla="*/ 329 h 656"/>
              <a:gd name="T98" fmla="*/ 606 w 657"/>
              <a:gd name="T99" fmla="*/ 241 h 656"/>
              <a:gd name="T100" fmla="*/ 570 w 657"/>
              <a:gd name="T101" fmla="*/ 165 h 656"/>
              <a:gd name="T102" fmla="*/ 513 w 657"/>
              <a:gd name="T103" fmla="*/ 103 h 656"/>
              <a:gd name="T104" fmla="*/ 442 w 657"/>
              <a:gd name="T105" fmla="*/ 60 h 656"/>
              <a:gd name="T106" fmla="*/ 359 w 657"/>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6">
                <a:moveTo>
                  <a:pt x="328" y="656"/>
                </a:moveTo>
                <a:lnTo>
                  <a:pt x="328" y="656"/>
                </a:lnTo>
                <a:lnTo>
                  <a:pt x="312" y="656"/>
                </a:lnTo>
                <a:lnTo>
                  <a:pt x="294" y="655"/>
                </a:lnTo>
                <a:lnTo>
                  <a:pt x="278" y="654"/>
                </a:lnTo>
                <a:lnTo>
                  <a:pt x="262" y="650"/>
                </a:lnTo>
                <a:lnTo>
                  <a:pt x="246" y="647"/>
                </a:lnTo>
                <a:lnTo>
                  <a:pt x="231" y="642"/>
                </a:lnTo>
                <a:lnTo>
                  <a:pt x="200" y="631"/>
                </a:lnTo>
                <a:lnTo>
                  <a:pt x="172" y="617"/>
                </a:lnTo>
                <a:lnTo>
                  <a:pt x="145" y="601"/>
                </a:lnTo>
                <a:lnTo>
                  <a:pt x="120" y="581"/>
                </a:lnTo>
                <a:lnTo>
                  <a:pt x="95" y="561"/>
                </a:lnTo>
                <a:lnTo>
                  <a:pt x="75" y="537"/>
                </a:lnTo>
                <a:lnTo>
                  <a:pt x="56" y="511"/>
                </a:lnTo>
                <a:lnTo>
                  <a:pt x="39" y="484"/>
                </a:lnTo>
                <a:lnTo>
                  <a:pt x="26" y="456"/>
                </a:lnTo>
                <a:lnTo>
                  <a:pt x="15" y="425"/>
                </a:lnTo>
                <a:lnTo>
                  <a:pt x="9" y="411"/>
                </a:lnTo>
                <a:lnTo>
                  <a:pt x="7" y="394"/>
                </a:lnTo>
                <a:lnTo>
                  <a:pt x="4" y="378"/>
                </a:lnTo>
                <a:lnTo>
                  <a:pt x="1" y="362"/>
                </a:lnTo>
                <a:lnTo>
                  <a:pt x="0" y="345"/>
                </a:lnTo>
                <a:lnTo>
                  <a:pt x="0" y="329"/>
                </a:lnTo>
                <a:lnTo>
                  <a:pt x="0" y="329"/>
                </a:lnTo>
                <a:lnTo>
                  <a:pt x="0" y="311"/>
                </a:lnTo>
                <a:lnTo>
                  <a:pt x="1" y="295"/>
                </a:lnTo>
                <a:lnTo>
                  <a:pt x="4" y="278"/>
                </a:lnTo>
                <a:lnTo>
                  <a:pt x="7" y="262"/>
                </a:lnTo>
                <a:lnTo>
                  <a:pt x="9" y="247"/>
                </a:lnTo>
                <a:lnTo>
                  <a:pt x="15" y="231"/>
                </a:lnTo>
                <a:lnTo>
                  <a:pt x="26" y="200"/>
                </a:lnTo>
                <a:lnTo>
                  <a:pt x="39" y="172"/>
                </a:lnTo>
                <a:lnTo>
                  <a:pt x="56" y="145"/>
                </a:lnTo>
                <a:lnTo>
                  <a:pt x="75" y="119"/>
                </a:lnTo>
                <a:lnTo>
                  <a:pt x="95" y="96"/>
                </a:lnTo>
                <a:lnTo>
                  <a:pt x="120" y="75"/>
                </a:lnTo>
                <a:lnTo>
                  <a:pt x="145" y="56"/>
                </a:lnTo>
                <a:lnTo>
                  <a:pt x="172" y="39"/>
                </a:lnTo>
                <a:lnTo>
                  <a:pt x="200" y="25"/>
                </a:lnTo>
                <a:lnTo>
                  <a:pt x="231" y="14"/>
                </a:lnTo>
                <a:lnTo>
                  <a:pt x="246" y="10"/>
                </a:lnTo>
                <a:lnTo>
                  <a:pt x="262" y="6"/>
                </a:lnTo>
                <a:lnTo>
                  <a:pt x="278" y="4"/>
                </a:lnTo>
                <a:lnTo>
                  <a:pt x="294" y="1"/>
                </a:lnTo>
                <a:lnTo>
                  <a:pt x="312" y="0"/>
                </a:lnTo>
                <a:lnTo>
                  <a:pt x="328" y="0"/>
                </a:lnTo>
                <a:lnTo>
                  <a:pt x="328" y="0"/>
                </a:lnTo>
                <a:lnTo>
                  <a:pt x="345" y="0"/>
                </a:lnTo>
                <a:lnTo>
                  <a:pt x="361" y="1"/>
                </a:lnTo>
                <a:lnTo>
                  <a:pt x="379" y="4"/>
                </a:lnTo>
                <a:lnTo>
                  <a:pt x="395" y="6"/>
                </a:lnTo>
                <a:lnTo>
                  <a:pt x="411" y="10"/>
                </a:lnTo>
                <a:lnTo>
                  <a:pt x="426" y="14"/>
                </a:lnTo>
                <a:lnTo>
                  <a:pt x="457" y="25"/>
                </a:lnTo>
                <a:lnTo>
                  <a:pt x="485" y="39"/>
                </a:lnTo>
                <a:lnTo>
                  <a:pt x="512" y="56"/>
                </a:lnTo>
                <a:lnTo>
                  <a:pt x="537" y="75"/>
                </a:lnTo>
                <a:lnTo>
                  <a:pt x="560" y="96"/>
                </a:lnTo>
                <a:lnTo>
                  <a:pt x="582" y="119"/>
                </a:lnTo>
                <a:lnTo>
                  <a:pt x="600" y="145"/>
                </a:lnTo>
                <a:lnTo>
                  <a:pt x="618" y="172"/>
                </a:lnTo>
                <a:lnTo>
                  <a:pt x="631" y="200"/>
                </a:lnTo>
                <a:lnTo>
                  <a:pt x="642" y="231"/>
                </a:lnTo>
                <a:lnTo>
                  <a:pt x="647" y="247"/>
                </a:lnTo>
                <a:lnTo>
                  <a:pt x="650" y="262"/>
                </a:lnTo>
                <a:lnTo>
                  <a:pt x="653" y="278"/>
                </a:lnTo>
                <a:lnTo>
                  <a:pt x="656" y="295"/>
                </a:lnTo>
                <a:lnTo>
                  <a:pt x="657" y="311"/>
                </a:lnTo>
                <a:lnTo>
                  <a:pt x="657" y="329"/>
                </a:lnTo>
                <a:lnTo>
                  <a:pt x="657" y="329"/>
                </a:lnTo>
                <a:lnTo>
                  <a:pt x="657" y="345"/>
                </a:lnTo>
                <a:lnTo>
                  <a:pt x="656" y="362"/>
                </a:lnTo>
                <a:lnTo>
                  <a:pt x="653" y="378"/>
                </a:lnTo>
                <a:lnTo>
                  <a:pt x="650" y="394"/>
                </a:lnTo>
                <a:lnTo>
                  <a:pt x="647" y="411"/>
                </a:lnTo>
                <a:lnTo>
                  <a:pt x="642" y="425"/>
                </a:lnTo>
                <a:lnTo>
                  <a:pt x="631" y="456"/>
                </a:lnTo>
                <a:lnTo>
                  <a:pt x="618" y="484"/>
                </a:lnTo>
                <a:lnTo>
                  <a:pt x="600" y="511"/>
                </a:lnTo>
                <a:lnTo>
                  <a:pt x="582" y="537"/>
                </a:lnTo>
                <a:lnTo>
                  <a:pt x="560" y="561"/>
                </a:lnTo>
                <a:lnTo>
                  <a:pt x="537" y="581"/>
                </a:lnTo>
                <a:lnTo>
                  <a:pt x="512" y="601"/>
                </a:lnTo>
                <a:lnTo>
                  <a:pt x="485" y="617"/>
                </a:lnTo>
                <a:lnTo>
                  <a:pt x="457" y="631"/>
                </a:lnTo>
                <a:lnTo>
                  <a:pt x="426" y="642"/>
                </a:lnTo>
                <a:lnTo>
                  <a:pt x="411" y="647"/>
                </a:lnTo>
                <a:lnTo>
                  <a:pt x="395" y="650"/>
                </a:lnTo>
                <a:lnTo>
                  <a:pt x="379" y="654"/>
                </a:lnTo>
                <a:lnTo>
                  <a:pt x="361" y="655"/>
                </a:lnTo>
                <a:lnTo>
                  <a:pt x="345" y="656"/>
                </a:lnTo>
                <a:lnTo>
                  <a:pt x="328" y="656"/>
                </a:lnTo>
                <a:lnTo>
                  <a:pt x="328" y="656"/>
                </a:lnTo>
                <a:close/>
                <a:moveTo>
                  <a:pt x="328" y="37"/>
                </a:moveTo>
                <a:lnTo>
                  <a:pt x="328" y="37"/>
                </a:lnTo>
                <a:lnTo>
                  <a:pt x="298" y="39"/>
                </a:lnTo>
                <a:lnTo>
                  <a:pt x="270" y="43"/>
                </a:lnTo>
                <a:lnTo>
                  <a:pt x="242" y="51"/>
                </a:lnTo>
                <a:lnTo>
                  <a:pt x="215" y="60"/>
                </a:lnTo>
                <a:lnTo>
                  <a:pt x="189" y="72"/>
                </a:lnTo>
                <a:lnTo>
                  <a:pt x="165" y="87"/>
                </a:lnTo>
                <a:lnTo>
                  <a:pt x="144" y="103"/>
                </a:lnTo>
                <a:lnTo>
                  <a:pt x="122" y="122"/>
                </a:lnTo>
                <a:lnTo>
                  <a:pt x="103" y="143"/>
                </a:lnTo>
                <a:lnTo>
                  <a:pt x="87" y="165"/>
                </a:lnTo>
                <a:lnTo>
                  <a:pt x="73" y="189"/>
                </a:lnTo>
                <a:lnTo>
                  <a:pt x="61" y="215"/>
                </a:lnTo>
                <a:lnTo>
                  <a:pt x="50" y="241"/>
                </a:lnTo>
                <a:lnTo>
                  <a:pt x="43" y="270"/>
                </a:lnTo>
                <a:lnTo>
                  <a:pt x="39" y="298"/>
                </a:lnTo>
                <a:lnTo>
                  <a:pt x="38" y="329"/>
                </a:lnTo>
                <a:lnTo>
                  <a:pt x="38" y="329"/>
                </a:lnTo>
                <a:lnTo>
                  <a:pt x="39" y="358"/>
                </a:lnTo>
                <a:lnTo>
                  <a:pt x="43" y="386"/>
                </a:lnTo>
                <a:lnTo>
                  <a:pt x="50" y="415"/>
                </a:lnTo>
                <a:lnTo>
                  <a:pt x="61" y="441"/>
                </a:lnTo>
                <a:lnTo>
                  <a:pt x="73" y="467"/>
                </a:lnTo>
                <a:lnTo>
                  <a:pt x="87" y="491"/>
                </a:lnTo>
                <a:lnTo>
                  <a:pt x="103" y="513"/>
                </a:lnTo>
                <a:lnTo>
                  <a:pt x="122" y="534"/>
                </a:lnTo>
                <a:lnTo>
                  <a:pt x="144" y="553"/>
                </a:lnTo>
                <a:lnTo>
                  <a:pt x="165" y="569"/>
                </a:lnTo>
                <a:lnTo>
                  <a:pt x="189" y="584"/>
                </a:lnTo>
                <a:lnTo>
                  <a:pt x="215" y="596"/>
                </a:lnTo>
                <a:lnTo>
                  <a:pt x="242" y="607"/>
                </a:lnTo>
                <a:lnTo>
                  <a:pt x="270" y="613"/>
                </a:lnTo>
                <a:lnTo>
                  <a:pt x="298" y="617"/>
                </a:lnTo>
                <a:lnTo>
                  <a:pt x="328" y="619"/>
                </a:lnTo>
                <a:lnTo>
                  <a:pt x="328" y="619"/>
                </a:lnTo>
                <a:lnTo>
                  <a:pt x="359" y="617"/>
                </a:lnTo>
                <a:lnTo>
                  <a:pt x="387" y="613"/>
                </a:lnTo>
                <a:lnTo>
                  <a:pt x="415" y="607"/>
                </a:lnTo>
                <a:lnTo>
                  <a:pt x="442" y="596"/>
                </a:lnTo>
                <a:lnTo>
                  <a:pt x="468" y="584"/>
                </a:lnTo>
                <a:lnTo>
                  <a:pt x="492" y="569"/>
                </a:lnTo>
                <a:lnTo>
                  <a:pt x="513" y="553"/>
                </a:lnTo>
                <a:lnTo>
                  <a:pt x="535" y="534"/>
                </a:lnTo>
                <a:lnTo>
                  <a:pt x="553" y="513"/>
                </a:lnTo>
                <a:lnTo>
                  <a:pt x="570" y="491"/>
                </a:lnTo>
                <a:lnTo>
                  <a:pt x="584" y="467"/>
                </a:lnTo>
                <a:lnTo>
                  <a:pt x="596" y="441"/>
                </a:lnTo>
                <a:lnTo>
                  <a:pt x="606" y="415"/>
                </a:lnTo>
                <a:lnTo>
                  <a:pt x="614" y="386"/>
                </a:lnTo>
                <a:lnTo>
                  <a:pt x="618" y="358"/>
                </a:lnTo>
                <a:lnTo>
                  <a:pt x="619" y="329"/>
                </a:lnTo>
                <a:lnTo>
                  <a:pt x="619" y="329"/>
                </a:lnTo>
                <a:lnTo>
                  <a:pt x="618" y="298"/>
                </a:lnTo>
                <a:lnTo>
                  <a:pt x="614" y="270"/>
                </a:lnTo>
                <a:lnTo>
                  <a:pt x="606" y="241"/>
                </a:lnTo>
                <a:lnTo>
                  <a:pt x="596" y="215"/>
                </a:lnTo>
                <a:lnTo>
                  <a:pt x="584" y="189"/>
                </a:lnTo>
                <a:lnTo>
                  <a:pt x="570" y="165"/>
                </a:lnTo>
                <a:lnTo>
                  <a:pt x="553" y="143"/>
                </a:lnTo>
                <a:lnTo>
                  <a:pt x="535" y="122"/>
                </a:lnTo>
                <a:lnTo>
                  <a:pt x="513" y="103"/>
                </a:lnTo>
                <a:lnTo>
                  <a:pt x="492" y="87"/>
                </a:lnTo>
                <a:lnTo>
                  <a:pt x="468" y="72"/>
                </a:lnTo>
                <a:lnTo>
                  <a:pt x="442" y="60"/>
                </a:lnTo>
                <a:lnTo>
                  <a:pt x="415" y="51"/>
                </a:lnTo>
                <a:lnTo>
                  <a:pt x="387" y="43"/>
                </a:lnTo>
                <a:lnTo>
                  <a:pt x="359" y="39"/>
                </a:lnTo>
                <a:lnTo>
                  <a:pt x="328" y="37"/>
                </a:lnTo>
                <a:lnTo>
                  <a:pt x="328" y="37"/>
                </a:lnTo>
                <a:close/>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8">
            <a:extLst>
              <a:ext uri="{FF2B5EF4-FFF2-40B4-BE49-F238E27FC236}">
                <a16:creationId xmlns:a16="http://schemas.microsoft.com/office/drawing/2014/main" id="{BF75479D-010E-477D-8A34-C6F5672D5BFF}"/>
              </a:ext>
            </a:extLst>
          </p:cNvPr>
          <p:cNvSpPr>
            <a:spLocks noEditPoints="1"/>
          </p:cNvSpPr>
          <p:nvPr/>
        </p:nvSpPr>
        <p:spPr bwMode="auto">
          <a:xfrm>
            <a:off x="6669500" y="2320372"/>
            <a:ext cx="695236" cy="693122"/>
          </a:xfrm>
          <a:custGeom>
            <a:avLst/>
            <a:gdLst>
              <a:gd name="T0" fmla="*/ 313 w 658"/>
              <a:gd name="T1" fmla="*/ 657 h 657"/>
              <a:gd name="T2" fmla="*/ 264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1 w 658"/>
              <a:gd name="T21" fmla="*/ 172 h 657"/>
              <a:gd name="T22" fmla="*/ 97 w 658"/>
              <a:gd name="T23" fmla="*/ 97 h 657"/>
              <a:gd name="T24" fmla="*/ 174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1 w 658"/>
              <a:gd name="T73" fmla="*/ 298 h 657"/>
              <a:gd name="T74" fmla="*/ 41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4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4" y="650"/>
                </a:lnTo>
                <a:lnTo>
                  <a:pt x="247" y="647"/>
                </a:lnTo>
                <a:lnTo>
                  <a:pt x="233" y="642"/>
                </a:lnTo>
                <a:lnTo>
                  <a:pt x="202" y="631"/>
                </a:lnTo>
                <a:lnTo>
                  <a:pt x="174" y="618"/>
                </a:lnTo>
                <a:lnTo>
                  <a:pt x="145" y="600"/>
                </a:lnTo>
                <a:lnTo>
                  <a:pt x="121" y="582"/>
                </a:lnTo>
                <a:lnTo>
                  <a:pt x="97" y="561"/>
                </a:lnTo>
                <a:lnTo>
                  <a:pt x="76" y="537"/>
                </a:lnTo>
                <a:lnTo>
                  <a:pt x="57" y="512"/>
                </a:lnTo>
                <a:lnTo>
                  <a:pt x="41" y="485"/>
                </a:lnTo>
                <a:lnTo>
                  <a:pt x="27" y="457"/>
                </a:lnTo>
                <a:lnTo>
                  <a:pt x="15" y="426"/>
                </a:lnTo>
                <a:lnTo>
                  <a:pt x="11" y="411"/>
                </a:lnTo>
                <a:lnTo>
                  <a:pt x="7" y="395"/>
                </a:lnTo>
                <a:lnTo>
                  <a:pt x="4" y="379"/>
                </a:lnTo>
                <a:lnTo>
                  <a:pt x="3" y="363"/>
                </a:lnTo>
                <a:lnTo>
                  <a:pt x="2" y="345"/>
                </a:lnTo>
                <a:lnTo>
                  <a:pt x="0" y="329"/>
                </a:lnTo>
                <a:lnTo>
                  <a:pt x="0" y="329"/>
                </a:lnTo>
                <a:lnTo>
                  <a:pt x="2" y="312"/>
                </a:lnTo>
                <a:lnTo>
                  <a:pt x="3" y="295"/>
                </a:lnTo>
                <a:lnTo>
                  <a:pt x="4" y="278"/>
                </a:lnTo>
                <a:lnTo>
                  <a:pt x="7" y="262"/>
                </a:lnTo>
                <a:lnTo>
                  <a:pt x="11" y="246"/>
                </a:lnTo>
                <a:lnTo>
                  <a:pt x="15" y="231"/>
                </a:lnTo>
                <a:lnTo>
                  <a:pt x="27" y="200"/>
                </a:lnTo>
                <a:lnTo>
                  <a:pt x="41" y="172"/>
                </a:lnTo>
                <a:lnTo>
                  <a:pt x="57" y="145"/>
                </a:lnTo>
                <a:lnTo>
                  <a:pt x="76" y="120"/>
                </a:lnTo>
                <a:lnTo>
                  <a:pt x="97" y="97"/>
                </a:lnTo>
                <a:lnTo>
                  <a:pt x="121" y="75"/>
                </a:lnTo>
                <a:lnTo>
                  <a:pt x="145" y="56"/>
                </a:lnTo>
                <a:lnTo>
                  <a:pt x="174" y="39"/>
                </a:lnTo>
                <a:lnTo>
                  <a:pt x="202" y="26"/>
                </a:lnTo>
                <a:lnTo>
                  <a:pt x="233" y="15"/>
                </a:lnTo>
                <a:lnTo>
                  <a:pt x="247" y="9"/>
                </a:lnTo>
                <a:lnTo>
                  <a:pt x="264" y="7"/>
                </a:lnTo>
                <a:lnTo>
                  <a:pt x="280" y="4"/>
                </a:lnTo>
                <a:lnTo>
                  <a:pt x="296" y="1"/>
                </a:lnTo>
                <a:lnTo>
                  <a:pt x="313" y="0"/>
                </a:lnTo>
                <a:lnTo>
                  <a:pt x="329" y="0"/>
                </a:lnTo>
                <a:lnTo>
                  <a:pt x="329" y="0"/>
                </a:lnTo>
                <a:lnTo>
                  <a:pt x="347" y="0"/>
                </a:lnTo>
                <a:lnTo>
                  <a:pt x="363" y="1"/>
                </a:lnTo>
                <a:lnTo>
                  <a:pt x="379" y="4"/>
                </a:lnTo>
                <a:lnTo>
                  <a:pt x="397" y="7"/>
                </a:lnTo>
                <a:lnTo>
                  <a:pt x="411" y="9"/>
                </a:lnTo>
                <a:lnTo>
                  <a:pt x="427" y="15"/>
                </a:lnTo>
                <a:lnTo>
                  <a:pt x="457" y="26"/>
                </a:lnTo>
                <a:lnTo>
                  <a:pt x="487"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7" y="618"/>
                </a:lnTo>
                <a:lnTo>
                  <a:pt x="457" y="631"/>
                </a:lnTo>
                <a:lnTo>
                  <a:pt x="427" y="642"/>
                </a:lnTo>
                <a:lnTo>
                  <a:pt x="411" y="647"/>
                </a:lnTo>
                <a:lnTo>
                  <a:pt x="397" y="650"/>
                </a:lnTo>
                <a:lnTo>
                  <a:pt x="379" y="653"/>
                </a:lnTo>
                <a:lnTo>
                  <a:pt x="363" y="655"/>
                </a:lnTo>
                <a:lnTo>
                  <a:pt x="347" y="657"/>
                </a:lnTo>
                <a:lnTo>
                  <a:pt x="329" y="657"/>
                </a:lnTo>
                <a:lnTo>
                  <a:pt x="329" y="657"/>
                </a:lnTo>
                <a:close/>
                <a:moveTo>
                  <a:pt x="329" y="38"/>
                </a:moveTo>
                <a:lnTo>
                  <a:pt x="329" y="38"/>
                </a:lnTo>
                <a:lnTo>
                  <a:pt x="300" y="39"/>
                </a:lnTo>
                <a:lnTo>
                  <a:pt x="272" y="43"/>
                </a:lnTo>
                <a:lnTo>
                  <a:pt x="243" y="51"/>
                </a:lnTo>
                <a:lnTo>
                  <a:pt x="217" y="60"/>
                </a:lnTo>
                <a:lnTo>
                  <a:pt x="191" y="73"/>
                </a:lnTo>
                <a:lnTo>
                  <a:pt x="167" y="87"/>
                </a:lnTo>
                <a:lnTo>
                  <a:pt x="144" y="103"/>
                </a:lnTo>
                <a:lnTo>
                  <a:pt x="124" y="122"/>
                </a:lnTo>
                <a:lnTo>
                  <a:pt x="105" y="144"/>
                </a:lnTo>
                <a:lnTo>
                  <a:pt x="89" y="165"/>
                </a:lnTo>
                <a:lnTo>
                  <a:pt x="74" y="189"/>
                </a:lnTo>
                <a:lnTo>
                  <a:pt x="62" y="215"/>
                </a:lnTo>
                <a:lnTo>
                  <a:pt x="51" y="242"/>
                </a:lnTo>
                <a:lnTo>
                  <a:pt x="45" y="270"/>
                </a:lnTo>
                <a:lnTo>
                  <a:pt x="41" y="298"/>
                </a:lnTo>
                <a:lnTo>
                  <a:pt x="38" y="329"/>
                </a:lnTo>
                <a:lnTo>
                  <a:pt x="38" y="329"/>
                </a:lnTo>
                <a:lnTo>
                  <a:pt x="41" y="359"/>
                </a:lnTo>
                <a:lnTo>
                  <a:pt x="45" y="387"/>
                </a:lnTo>
                <a:lnTo>
                  <a:pt x="51" y="415"/>
                </a:lnTo>
                <a:lnTo>
                  <a:pt x="62" y="442"/>
                </a:lnTo>
                <a:lnTo>
                  <a:pt x="74" y="467"/>
                </a:lnTo>
                <a:lnTo>
                  <a:pt x="89" y="492"/>
                </a:lnTo>
                <a:lnTo>
                  <a:pt x="105" y="513"/>
                </a:lnTo>
                <a:lnTo>
                  <a:pt x="124" y="535"/>
                </a:lnTo>
                <a:lnTo>
                  <a:pt x="144" y="553"/>
                </a:lnTo>
                <a:lnTo>
                  <a:pt x="167" y="570"/>
                </a:lnTo>
                <a:lnTo>
                  <a:pt x="191" y="584"/>
                </a:lnTo>
                <a:lnTo>
                  <a:pt x="217" y="596"/>
                </a:lnTo>
                <a:lnTo>
                  <a:pt x="243" y="607"/>
                </a:lnTo>
                <a:lnTo>
                  <a:pt x="272" y="614"/>
                </a:lnTo>
                <a:lnTo>
                  <a:pt x="300" y="618"/>
                </a:lnTo>
                <a:lnTo>
                  <a:pt x="329" y="619"/>
                </a:lnTo>
                <a:lnTo>
                  <a:pt x="329" y="619"/>
                </a:lnTo>
                <a:lnTo>
                  <a:pt x="359" y="618"/>
                </a:lnTo>
                <a:lnTo>
                  <a:pt x="388" y="614"/>
                </a:lnTo>
                <a:lnTo>
                  <a:pt x="417" y="607"/>
                </a:lnTo>
                <a:lnTo>
                  <a:pt x="444"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20" y="359"/>
                </a:lnTo>
                <a:lnTo>
                  <a:pt x="621" y="329"/>
                </a:lnTo>
                <a:lnTo>
                  <a:pt x="621" y="329"/>
                </a:lnTo>
                <a:lnTo>
                  <a:pt x="620"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4" y="60"/>
                </a:lnTo>
                <a:lnTo>
                  <a:pt x="417" y="51"/>
                </a:lnTo>
                <a:lnTo>
                  <a:pt x="388" y="43"/>
                </a:lnTo>
                <a:lnTo>
                  <a:pt x="359" y="39"/>
                </a:lnTo>
                <a:lnTo>
                  <a:pt x="329" y="38"/>
                </a:lnTo>
                <a:lnTo>
                  <a:pt x="329" y="38"/>
                </a:lnTo>
                <a:close/>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54" name="Group 53">
            <a:extLst>
              <a:ext uri="{FF2B5EF4-FFF2-40B4-BE49-F238E27FC236}">
                <a16:creationId xmlns:a16="http://schemas.microsoft.com/office/drawing/2014/main" id="{360FD7E5-2D6C-4AE5-A5B8-CB65B965BF63}"/>
              </a:ext>
            </a:extLst>
          </p:cNvPr>
          <p:cNvGrpSpPr>
            <a:grpSpLocks noChangeAspect="1"/>
          </p:cNvGrpSpPr>
          <p:nvPr/>
        </p:nvGrpSpPr>
        <p:grpSpPr>
          <a:xfrm>
            <a:off x="6858762" y="2517166"/>
            <a:ext cx="333088" cy="333088"/>
            <a:chOff x="1909763" y="1947863"/>
            <a:chExt cx="527050" cy="527050"/>
          </a:xfrm>
          <a:solidFill>
            <a:schemeClr val="tx2"/>
          </a:solidFill>
        </p:grpSpPr>
        <p:sp>
          <p:nvSpPr>
            <p:cNvPr id="55" name="Freeform 145">
              <a:extLst>
                <a:ext uri="{FF2B5EF4-FFF2-40B4-BE49-F238E27FC236}">
                  <a16:creationId xmlns:a16="http://schemas.microsoft.com/office/drawing/2014/main" id="{082D3874-31F9-4956-A66A-26F9A2EBB8C1}"/>
                </a:ext>
              </a:extLst>
            </p:cNvPr>
            <p:cNvSpPr>
              <a:spLocks/>
            </p:cNvSpPr>
            <p:nvPr/>
          </p:nvSpPr>
          <p:spPr bwMode="auto">
            <a:xfrm>
              <a:off x="2079625" y="2066925"/>
              <a:ext cx="187325" cy="238125"/>
            </a:xfrm>
            <a:custGeom>
              <a:avLst/>
              <a:gdLst>
                <a:gd name="T0" fmla="*/ 236 w 471"/>
                <a:gd name="T1" fmla="*/ 599 h 599"/>
                <a:gd name="T2" fmla="*/ 283 w 471"/>
                <a:gd name="T3" fmla="*/ 595 h 599"/>
                <a:gd name="T4" fmla="*/ 328 w 471"/>
                <a:gd name="T5" fmla="*/ 581 h 599"/>
                <a:gd name="T6" fmla="*/ 367 w 471"/>
                <a:gd name="T7" fmla="*/ 559 h 599"/>
                <a:gd name="T8" fmla="*/ 402 w 471"/>
                <a:gd name="T9" fmla="*/ 530 h 599"/>
                <a:gd name="T10" fmla="*/ 431 w 471"/>
                <a:gd name="T11" fmla="*/ 496 h 599"/>
                <a:gd name="T12" fmla="*/ 453 w 471"/>
                <a:gd name="T13" fmla="*/ 456 h 599"/>
                <a:gd name="T14" fmla="*/ 467 w 471"/>
                <a:gd name="T15" fmla="*/ 411 h 599"/>
                <a:gd name="T16" fmla="*/ 471 w 471"/>
                <a:gd name="T17" fmla="*/ 364 h 599"/>
                <a:gd name="T18" fmla="*/ 471 w 471"/>
                <a:gd name="T19" fmla="*/ 235 h 599"/>
                <a:gd name="T20" fmla="*/ 467 w 471"/>
                <a:gd name="T21" fmla="*/ 188 h 599"/>
                <a:gd name="T22" fmla="*/ 453 w 471"/>
                <a:gd name="T23" fmla="*/ 143 h 599"/>
                <a:gd name="T24" fmla="*/ 431 w 471"/>
                <a:gd name="T25" fmla="*/ 103 h 599"/>
                <a:gd name="T26" fmla="*/ 402 w 471"/>
                <a:gd name="T27" fmla="*/ 69 h 599"/>
                <a:gd name="T28" fmla="*/ 367 w 471"/>
                <a:gd name="T29" fmla="*/ 40 h 599"/>
                <a:gd name="T30" fmla="*/ 328 w 471"/>
                <a:gd name="T31" fmla="*/ 18 h 599"/>
                <a:gd name="T32" fmla="*/ 283 w 471"/>
                <a:gd name="T33" fmla="*/ 4 h 599"/>
                <a:gd name="T34" fmla="*/ 236 w 471"/>
                <a:gd name="T35" fmla="*/ 0 h 599"/>
                <a:gd name="T36" fmla="*/ 212 w 471"/>
                <a:gd name="T37" fmla="*/ 1 h 599"/>
                <a:gd name="T38" fmla="*/ 166 w 471"/>
                <a:gd name="T39" fmla="*/ 9 h 599"/>
                <a:gd name="T40" fmla="*/ 123 w 471"/>
                <a:gd name="T41" fmla="*/ 28 h 599"/>
                <a:gd name="T42" fmla="*/ 86 w 471"/>
                <a:gd name="T43" fmla="*/ 54 h 599"/>
                <a:gd name="T44" fmla="*/ 54 w 471"/>
                <a:gd name="T45" fmla="*/ 85 h 599"/>
                <a:gd name="T46" fmla="*/ 28 w 471"/>
                <a:gd name="T47" fmla="*/ 123 h 599"/>
                <a:gd name="T48" fmla="*/ 11 w 471"/>
                <a:gd name="T49" fmla="*/ 165 h 599"/>
                <a:gd name="T50" fmla="*/ 1 w 471"/>
                <a:gd name="T51" fmla="*/ 211 h 599"/>
                <a:gd name="T52" fmla="*/ 0 w 471"/>
                <a:gd name="T53" fmla="*/ 364 h 599"/>
                <a:gd name="T54" fmla="*/ 1 w 471"/>
                <a:gd name="T55" fmla="*/ 388 h 599"/>
                <a:gd name="T56" fmla="*/ 11 w 471"/>
                <a:gd name="T57" fmla="*/ 434 h 599"/>
                <a:gd name="T58" fmla="*/ 28 w 471"/>
                <a:gd name="T59" fmla="*/ 476 h 599"/>
                <a:gd name="T60" fmla="*/ 54 w 471"/>
                <a:gd name="T61" fmla="*/ 514 h 599"/>
                <a:gd name="T62" fmla="*/ 86 w 471"/>
                <a:gd name="T63" fmla="*/ 545 h 599"/>
                <a:gd name="T64" fmla="*/ 123 w 471"/>
                <a:gd name="T65" fmla="*/ 571 h 599"/>
                <a:gd name="T66" fmla="*/ 166 w 471"/>
                <a:gd name="T67" fmla="*/ 588 h 599"/>
                <a:gd name="T68" fmla="*/ 212 w 471"/>
                <a:gd name="T69" fmla="*/ 598 h 599"/>
                <a:gd name="T70" fmla="*/ 236 w 471"/>
                <a:gd name="T71" fmla="*/ 599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1" h="599">
                  <a:moveTo>
                    <a:pt x="236" y="599"/>
                  </a:moveTo>
                  <a:lnTo>
                    <a:pt x="236" y="599"/>
                  </a:lnTo>
                  <a:lnTo>
                    <a:pt x="259" y="598"/>
                  </a:lnTo>
                  <a:lnTo>
                    <a:pt x="283" y="595"/>
                  </a:lnTo>
                  <a:lnTo>
                    <a:pt x="306" y="588"/>
                  </a:lnTo>
                  <a:lnTo>
                    <a:pt x="328" y="581"/>
                  </a:lnTo>
                  <a:lnTo>
                    <a:pt x="348" y="571"/>
                  </a:lnTo>
                  <a:lnTo>
                    <a:pt x="367" y="559"/>
                  </a:lnTo>
                  <a:lnTo>
                    <a:pt x="386" y="545"/>
                  </a:lnTo>
                  <a:lnTo>
                    <a:pt x="402" y="530"/>
                  </a:lnTo>
                  <a:lnTo>
                    <a:pt x="417" y="514"/>
                  </a:lnTo>
                  <a:lnTo>
                    <a:pt x="431" y="496"/>
                  </a:lnTo>
                  <a:lnTo>
                    <a:pt x="443" y="476"/>
                  </a:lnTo>
                  <a:lnTo>
                    <a:pt x="453" y="456"/>
                  </a:lnTo>
                  <a:lnTo>
                    <a:pt x="461" y="434"/>
                  </a:lnTo>
                  <a:lnTo>
                    <a:pt x="467" y="411"/>
                  </a:lnTo>
                  <a:lnTo>
                    <a:pt x="470" y="388"/>
                  </a:lnTo>
                  <a:lnTo>
                    <a:pt x="471" y="364"/>
                  </a:lnTo>
                  <a:lnTo>
                    <a:pt x="471" y="235"/>
                  </a:lnTo>
                  <a:lnTo>
                    <a:pt x="471" y="235"/>
                  </a:lnTo>
                  <a:lnTo>
                    <a:pt x="470" y="211"/>
                  </a:lnTo>
                  <a:lnTo>
                    <a:pt x="467" y="188"/>
                  </a:lnTo>
                  <a:lnTo>
                    <a:pt x="461" y="165"/>
                  </a:lnTo>
                  <a:lnTo>
                    <a:pt x="453" y="143"/>
                  </a:lnTo>
                  <a:lnTo>
                    <a:pt x="443" y="123"/>
                  </a:lnTo>
                  <a:lnTo>
                    <a:pt x="431" y="103"/>
                  </a:lnTo>
                  <a:lnTo>
                    <a:pt x="417" y="85"/>
                  </a:lnTo>
                  <a:lnTo>
                    <a:pt x="402" y="69"/>
                  </a:lnTo>
                  <a:lnTo>
                    <a:pt x="386" y="54"/>
                  </a:lnTo>
                  <a:lnTo>
                    <a:pt x="367" y="40"/>
                  </a:lnTo>
                  <a:lnTo>
                    <a:pt x="348" y="28"/>
                  </a:lnTo>
                  <a:lnTo>
                    <a:pt x="328" y="18"/>
                  </a:lnTo>
                  <a:lnTo>
                    <a:pt x="306" y="9"/>
                  </a:lnTo>
                  <a:lnTo>
                    <a:pt x="283" y="4"/>
                  </a:lnTo>
                  <a:lnTo>
                    <a:pt x="259" y="1"/>
                  </a:lnTo>
                  <a:lnTo>
                    <a:pt x="236" y="0"/>
                  </a:lnTo>
                  <a:lnTo>
                    <a:pt x="236" y="0"/>
                  </a:lnTo>
                  <a:lnTo>
                    <a:pt x="212" y="1"/>
                  </a:lnTo>
                  <a:lnTo>
                    <a:pt x="188" y="4"/>
                  </a:lnTo>
                  <a:lnTo>
                    <a:pt x="166" y="9"/>
                  </a:lnTo>
                  <a:lnTo>
                    <a:pt x="144" y="18"/>
                  </a:lnTo>
                  <a:lnTo>
                    <a:pt x="123" y="28"/>
                  </a:lnTo>
                  <a:lnTo>
                    <a:pt x="104" y="40"/>
                  </a:lnTo>
                  <a:lnTo>
                    <a:pt x="86" y="54"/>
                  </a:lnTo>
                  <a:lnTo>
                    <a:pt x="69" y="69"/>
                  </a:lnTo>
                  <a:lnTo>
                    <a:pt x="54" y="85"/>
                  </a:lnTo>
                  <a:lnTo>
                    <a:pt x="40" y="103"/>
                  </a:lnTo>
                  <a:lnTo>
                    <a:pt x="28" y="123"/>
                  </a:lnTo>
                  <a:lnTo>
                    <a:pt x="19" y="143"/>
                  </a:lnTo>
                  <a:lnTo>
                    <a:pt x="11" y="165"/>
                  </a:lnTo>
                  <a:lnTo>
                    <a:pt x="5" y="188"/>
                  </a:lnTo>
                  <a:lnTo>
                    <a:pt x="1" y="211"/>
                  </a:lnTo>
                  <a:lnTo>
                    <a:pt x="0" y="235"/>
                  </a:lnTo>
                  <a:lnTo>
                    <a:pt x="0" y="364"/>
                  </a:lnTo>
                  <a:lnTo>
                    <a:pt x="0" y="364"/>
                  </a:lnTo>
                  <a:lnTo>
                    <a:pt x="1" y="388"/>
                  </a:lnTo>
                  <a:lnTo>
                    <a:pt x="5" y="411"/>
                  </a:lnTo>
                  <a:lnTo>
                    <a:pt x="11" y="434"/>
                  </a:lnTo>
                  <a:lnTo>
                    <a:pt x="19" y="456"/>
                  </a:lnTo>
                  <a:lnTo>
                    <a:pt x="28" y="476"/>
                  </a:lnTo>
                  <a:lnTo>
                    <a:pt x="40" y="496"/>
                  </a:lnTo>
                  <a:lnTo>
                    <a:pt x="54" y="514"/>
                  </a:lnTo>
                  <a:lnTo>
                    <a:pt x="69" y="530"/>
                  </a:lnTo>
                  <a:lnTo>
                    <a:pt x="86" y="545"/>
                  </a:lnTo>
                  <a:lnTo>
                    <a:pt x="104" y="559"/>
                  </a:lnTo>
                  <a:lnTo>
                    <a:pt x="123" y="571"/>
                  </a:lnTo>
                  <a:lnTo>
                    <a:pt x="144" y="581"/>
                  </a:lnTo>
                  <a:lnTo>
                    <a:pt x="166" y="588"/>
                  </a:lnTo>
                  <a:lnTo>
                    <a:pt x="188" y="595"/>
                  </a:lnTo>
                  <a:lnTo>
                    <a:pt x="212" y="598"/>
                  </a:lnTo>
                  <a:lnTo>
                    <a:pt x="236" y="599"/>
                  </a:lnTo>
                  <a:lnTo>
                    <a:pt x="236" y="599"/>
                  </a:lnTo>
                  <a:close/>
                </a:path>
              </a:pathLst>
            </a:custGeom>
            <a:grp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6" name="Freeform 164">
              <a:extLst>
                <a:ext uri="{FF2B5EF4-FFF2-40B4-BE49-F238E27FC236}">
                  <a16:creationId xmlns:a16="http://schemas.microsoft.com/office/drawing/2014/main" id="{8662C49C-1841-44A1-9CFB-923778958029}"/>
                </a:ext>
              </a:extLst>
            </p:cNvPr>
            <p:cNvSpPr>
              <a:spLocks noEditPoints="1"/>
            </p:cNvSpPr>
            <p:nvPr/>
          </p:nvSpPr>
          <p:spPr bwMode="auto">
            <a:xfrm>
              <a:off x="1909763" y="1947863"/>
              <a:ext cx="527050" cy="527050"/>
            </a:xfrm>
            <a:custGeom>
              <a:avLst/>
              <a:gdLst>
                <a:gd name="T0" fmla="*/ 21 w 1328"/>
                <a:gd name="T1" fmla="*/ 0 h 1329"/>
                <a:gd name="T2" fmla="*/ 17 w 1328"/>
                <a:gd name="T3" fmla="*/ 0 h 1329"/>
                <a:gd name="T4" fmla="*/ 9 w 1328"/>
                <a:gd name="T5" fmla="*/ 4 h 1329"/>
                <a:gd name="T6" fmla="*/ 4 w 1328"/>
                <a:gd name="T7" fmla="*/ 10 h 1329"/>
                <a:gd name="T8" fmla="*/ 1 w 1328"/>
                <a:gd name="T9" fmla="*/ 18 h 1329"/>
                <a:gd name="T10" fmla="*/ 0 w 1328"/>
                <a:gd name="T11" fmla="*/ 1307 h 1329"/>
                <a:gd name="T12" fmla="*/ 1 w 1328"/>
                <a:gd name="T13" fmla="*/ 1312 h 1329"/>
                <a:gd name="T14" fmla="*/ 4 w 1328"/>
                <a:gd name="T15" fmla="*/ 1319 h 1329"/>
                <a:gd name="T16" fmla="*/ 9 w 1328"/>
                <a:gd name="T17" fmla="*/ 1325 h 1329"/>
                <a:gd name="T18" fmla="*/ 17 w 1328"/>
                <a:gd name="T19" fmla="*/ 1328 h 1329"/>
                <a:gd name="T20" fmla="*/ 1306 w 1328"/>
                <a:gd name="T21" fmla="*/ 1329 h 1329"/>
                <a:gd name="T22" fmla="*/ 1311 w 1328"/>
                <a:gd name="T23" fmla="*/ 1328 h 1329"/>
                <a:gd name="T24" fmla="*/ 1318 w 1328"/>
                <a:gd name="T25" fmla="*/ 1325 h 1329"/>
                <a:gd name="T26" fmla="*/ 1325 w 1328"/>
                <a:gd name="T27" fmla="*/ 1319 h 1329"/>
                <a:gd name="T28" fmla="*/ 1328 w 1328"/>
                <a:gd name="T29" fmla="*/ 1312 h 1329"/>
                <a:gd name="T30" fmla="*/ 1328 w 1328"/>
                <a:gd name="T31" fmla="*/ 22 h 1329"/>
                <a:gd name="T32" fmla="*/ 1328 w 1328"/>
                <a:gd name="T33" fmla="*/ 18 h 1329"/>
                <a:gd name="T34" fmla="*/ 1325 w 1328"/>
                <a:gd name="T35" fmla="*/ 10 h 1329"/>
                <a:gd name="T36" fmla="*/ 1318 w 1328"/>
                <a:gd name="T37" fmla="*/ 4 h 1329"/>
                <a:gd name="T38" fmla="*/ 1311 w 1328"/>
                <a:gd name="T39" fmla="*/ 0 h 1329"/>
                <a:gd name="T40" fmla="*/ 1306 w 1328"/>
                <a:gd name="T41" fmla="*/ 0 h 1329"/>
                <a:gd name="T42" fmla="*/ 1155 w 1328"/>
                <a:gd name="T43" fmla="*/ 1286 h 1329"/>
                <a:gd name="T44" fmla="*/ 1152 w 1328"/>
                <a:gd name="T45" fmla="*/ 1260 h 1329"/>
                <a:gd name="T46" fmla="*/ 1139 w 1328"/>
                <a:gd name="T47" fmla="*/ 1209 h 1329"/>
                <a:gd name="T48" fmla="*/ 1116 w 1328"/>
                <a:gd name="T49" fmla="*/ 1163 h 1329"/>
                <a:gd name="T50" fmla="*/ 1085 w 1328"/>
                <a:gd name="T51" fmla="*/ 1122 h 1329"/>
                <a:gd name="T52" fmla="*/ 1048 w 1328"/>
                <a:gd name="T53" fmla="*/ 1087 h 1329"/>
                <a:gd name="T54" fmla="*/ 1005 w 1328"/>
                <a:gd name="T55" fmla="*/ 1060 h 1329"/>
                <a:gd name="T56" fmla="*/ 957 w 1328"/>
                <a:gd name="T57" fmla="*/ 1041 h 1329"/>
                <a:gd name="T58" fmla="*/ 906 w 1328"/>
                <a:gd name="T59" fmla="*/ 1030 h 1329"/>
                <a:gd name="T60" fmla="*/ 879 w 1328"/>
                <a:gd name="T61" fmla="*/ 1029 h 1329"/>
                <a:gd name="T62" fmla="*/ 450 w 1328"/>
                <a:gd name="T63" fmla="*/ 1029 h 1329"/>
                <a:gd name="T64" fmla="*/ 423 w 1328"/>
                <a:gd name="T65" fmla="*/ 1030 h 1329"/>
                <a:gd name="T66" fmla="*/ 371 w 1328"/>
                <a:gd name="T67" fmla="*/ 1041 h 1329"/>
                <a:gd name="T68" fmla="*/ 322 w 1328"/>
                <a:gd name="T69" fmla="*/ 1060 h 1329"/>
                <a:gd name="T70" fmla="*/ 279 w 1328"/>
                <a:gd name="T71" fmla="*/ 1087 h 1329"/>
                <a:gd name="T72" fmla="*/ 243 w 1328"/>
                <a:gd name="T73" fmla="*/ 1122 h 1329"/>
                <a:gd name="T74" fmla="*/ 212 w 1328"/>
                <a:gd name="T75" fmla="*/ 1163 h 1329"/>
                <a:gd name="T76" fmla="*/ 190 w 1328"/>
                <a:gd name="T77" fmla="*/ 1209 h 1329"/>
                <a:gd name="T78" fmla="*/ 176 w 1328"/>
                <a:gd name="T79" fmla="*/ 1260 h 1329"/>
                <a:gd name="T80" fmla="*/ 43 w 1328"/>
                <a:gd name="T81" fmla="*/ 1286 h 1329"/>
                <a:gd name="T82" fmla="*/ 1285 w 1328"/>
                <a:gd name="T83" fmla="*/ 44 h 1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28" h="1329">
                  <a:moveTo>
                    <a:pt x="1306" y="0"/>
                  </a:moveTo>
                  <a:lnTo>
                    <a:pt x="21" y="0"/>
                  </a:lnTo>
                  <a:lnTo>
                    <a:pt x="21" y="0"/>
                  </a:lnTo>
                  <a:lnTo>
                    <a:pt x="17" y="0"/>
                  </a:lnTo>
                  <a:lnTo>
                    <a:pt x="13" y="2"/>
                  </a:lnTo>
                  <a:lnTo>
                    <a:pt x="9" y="4"/>
                  </a:lnTo>
                  <a:lnTo>
                    <a:pt x="6" y="7"/>
                  </a:lnTo>
                  <a:lnTo>
                    <a:pt x="4" y="10"/>
                  </a:lnTo>
                  <a:lnTo>
                    <a:pt x="2" y="13"/>
                  </a:lnTo>
                  <a:lnTo>
                    <a:pt x="1" y="18"/>
                  </a:lnTo>
                  <a:lnTo>
                    <a:pt x="0" y="22"/>
                  </a:lnTo>
                  <a:lnTo>
                    <a:pt x="0" y="1307"/>
                  </a:lnTo>
                  <a:lnTo>
                    <a:pt x="0" y="1307"/>
                  </a:lnTo>
                  <a:lnTo>
                    <a:pt x="1" y="1312"/>
                  </a:lnTo>
                  <a:lnTo>
                    <a:pt x="2" y="1316"/>
                  </a:lnTo>
                  <a:lnTo>
                    <a:pt x="4" y="1319"/>
                  </a:lnTo>
                  <a:lnTo>
                    <a:pt x="6" y="1323"/>
                  </a:lnTo>
                  <a:lnTo>
                    <a:pt x="9" y="1325"/>
                  </a:lnTo>
                  <a:lnTo>
                    <a:pt x="13" y="1327"/>
                  </a:lnTo>
                  <a:lnTo>
                    <a:pt x="17" y="1328"/>
                  </a:lnTo>
                  <a:lnTo>
                    <a:pt x="21" y="1329"/>
                  </a:lnTo>
                  <a:lnTo>
                    <a:pt x="1306" y="1329"/>
                  </a:lnTo>
                  <a:lnTo>
                    <a:pt x="1306" y="1329"/>
                  </a:lnTo>
                  <a:lnTo>
                    <a:pt x="1311" y="1328"/>
                  </a:lnTo>
                  <a:lnTo>
                    <a:pt x="1315" y="1327"/>
                  </a:lnTo>
                  <a:lnTo>
                    <a:pt x="1318" y="1325"/>
                  </a:lnTo>
                  <a:lnTo>
                    <a:pt x="1321" y="1323"/>
                  </a:lnTo>
                  <a:lnTo>
                    <a:pt x="1325" y="1319"/>
                  </a:lnTo>
                  <a:lnTo>
                    <a:pt x="1327" y="1316"/>
                  </a:lnTo>
                  <a:lnTo>
                    <a:pt x="1328" y="1312"/>
                  </a:lnTo>
                  <a:lnTo>
                    <a:pt x="1328" y="1307"/>
                  </a:lnTo>
                  <a:lnTo>
                    <a:pt x="1328" y="22"/>
                  </a:lnTo>
                  <a:lnTo>
                    <a:pt x="1328" y="22"/>
                  </a:lnTo>
                  <a:lnTo>
                    <a:pt x="1328" y="18"/>
                  </a:lnTo>
                  <a:lnTo>
                    <a:pt x="1327" y="13"/>
                  </a:lnTo>
                  <a:lnTo>
                    <a:pt x="1325" y="10"/>
                  </a:lnTo>
                  <a:lnTo>
                    <a:pt x="1321" y="7"/>
                  </a:lnTo>
                  <a:lnTo>
                    <a:pt x="1318" y="4"/>
                  </a:lnTo>
                  <a:lnTo>
                    <a:pt x="1315" y="2"/>
                  </a:lnTo>
                  <a:lnTo>
                    <a:pt x="1311" y="0"/>
                  </a:lnTo>
                  <a:lnTo>
                    <a:pt x="1306" y="0"/>
                  </a:lnTo>
                  <a:lnTo>
                    <a:pt x="1306" y="0"/>
                  </a:lnTo>
                  <a:close/>
                  <a:moveTo>
                    <a:pt x="1285" y="1286"/>
                  </a:moveTo>
                  <a:lnTo>
                    <a:pt x="1155" y="1286"/>
                  </a:lnTo>
                  <a:lnTo>
                    <a:pt x="1155" y="1286"/>
                  </a:lnTo>
                  <a:lnTo>
                    <a:pt x="1152" y="1260"/>
                  </a:lnTo>
                  <a:lnTo>
                    <a:pt x="1146" y="1234"/>
                  </a:lnTo>
                  <a:lnTo>
                    <a:pt x="1139" y="1209"/>
                  </a:lnTo>
                  <a:lnTo>
                    <a:pt x="1128" y="1185"/>
                  </a:lnTo>
                  <a:lnTo>
                    <a:pt x="1116" y="1163"/>
                  </a:lnTo>
                  <a:lnTo>
                    <a:pt x="1101" y="1141"/>
                  </a:lnTo>
                  <a:lnTo>
                    <a:pt x="1085" y="1122"/>
                  </a:lnTo>
                  <a:lnTo>
                    <a:pt x="1068" y="1103"/>
                  </a:lnTo>
                  <a:lnTo>
                    <a:pt x="1048" y="1087"/>
                  </a:lnTo>
                  <a:lnTo>
                    <a:pt x="1028" y="1072"/>
                  </a:lnTo>
                  <a:lnTo>
                    <a:pt x="1005" y="1060"/>
                  </a:lnTo>
                  <a:lnTo>
                    <a:pt x="981" y="1049"/>
                  </a:lnTo>
                  <a:lnTo>
                    <a:pt x="957" y="1041"/>
                  </a:lnTo>
                  <a:lnTo>
                    <a:pt x="932" y="1034"/>
                  </a:lnTo>
                  <a:lnTo>
                    <a:pt x="906" y="1030"/>
                  </a:lnTo>
                  <a:lnTo>
                    <a:pt x="892" y="1029"/>
                  </a:lnTo>
                  <a:lnTo>
                    <a:pt x="879" y="1029"/>
                  </a:lnTo>
                  <a:lnTo>
                    <a:pt x="450" y="1029"/>
                  </a:lnTo>
                  <a:lnTo>
                    <a:pt x="450" y="1029"/>
                  </a:lnTo>
                  <a:lnTo>
                    <a:pt x="436" y="1029"/>
                  </a:lnTo>
                  <a:lnTo>
                    <a:pt x="423" y="1030"/>
                  </a:lnTo>
                  <a:lnTo>
                    <a:pt x="396" y="1034"/>
                  </a:lnTo>
                  <a:lnTo>
                    <a:pt x="371" y="1041"/>
                  </a:lnTo>
                  <a:lnTo>
                    <a:pt x="346" y="1049"/>
                  </a:lnTo>
                  <a:lnTo>
                    <a:pt x="322" y="1060"/>
                  </a:lnTo>
                  <a:lnTo>
                    <a:pt x="301" y="1072"/>
                  </a:lnTo>
                  <a:lnTo>
                    <a:pt x="279" y="1087"/>
                  </a:lnTo>
                  <a:lnTo>
                    <a:pt x="260" y="1103"/>
                  </a:lnTo>
                  <a:lnTo>
                    <a:pt x="243" y="1122"/>
                  </a:lnTo>
                  <a:lnTo>
                    <a:pt x="226" y="1141"/>
                  </a:lnTo>
                  <a:lnTo>
                    <a:pt x="212" y="1163"/>
                  </a:lnTo>
                  <a:lnTo>
                    <a:pt x="199" y="1185"/>
                  </a:lnTo>
                  <a:lnTo>
                    <a:pt x="190" y="1209"/>
                  </a:lnTo>
                  <a:lnTo>
                    <a:pt x="181" y="1234"/>
                  </a:lnTo>
                  <a:lnTo>
                    <a:pt x="176" y="1260"/>
                  </a:lnTo>
                  <a:lnTo>
                    <a:pt x="172" y="1286"/>
                  </a:lnTo>
                  <a:lnTo>
                    <a:pt x="43" y="1286"/>
                  </a:lnTo>
                  <a:lnTo>
                    <a:pt x="43" y="44"/>
                  </a:lnTo>
                  <a:lnTo>
                    <a:pt x="1285" y="44"/>
                  </a:lnTo>
                  <a:lnTo>
                    <a:pt x="1285" y="1286"/>
                  </a:lnTo>
                  <a:close/>
                </a:path>
              </a:pathLst>
            </a:custGeom>
            <a:grp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57" name="Group 56">
            <a:extLst>
              <a:ext uri="{FF2B5EF4-FFF2-40B4-BE49-F238E27FC236}">
                <a16:creationId xmlns:a16="http://schemas.microsoft.com/office/drawing/2014/main" id="{6AF70558-9579-43B7-B82F-E124177830A9}"/>
              </a:ext>
            </a:extLst>
          </p:cNvPr>
          <p:cNvGrpSpPr>
            <a:grpSpLocks noChangeAspect="1"/>
          </p:cNvGrpSpPr>
          <p:nvPr/>
        </p:nvGrpSpPr>
        <p:grpSpPr>
          <a:xfrm>
            <a:off x="6831579" y="3293209"/>
            <a:ext cx="387451" cy="413613"/>
            <a:chOff x="5440363" y="200025"/>
            <a:chExt cx="493713" cy="527050"/>
          </a:xfrm>
          <a:solidFill>
            <a:schemeClr val="tx2"/>
          </a:solidFill>
        </p:grpSpPr>
        <p:sp>
          <p:nvSpPr>
            <p:cNvPr id="58" name="Freeform 166">
              <a:extLst>
                <a:ext uri="{FF2B5EF4-FFF2-40B4-BE49-F238E27FC236}">
                  <a16:creationId xmlns:a16="http://schemas.microsoft.com/office/drawing/2014/main" id="{AA198659-2E02-4C68-9448-8C9ECBA9AC06}"/>
                </a:ext>
              </a:extLst>
            </p:cNvPr>
            <p:cNvSpPr>
              <a:spLocks/>
            </p:cNvSpPr>
            <p:nvPr/>
          </p:nvSpPr>
          <p:spPr bwMode="auto">
            <a:xfrm>
              <a:off x="5576888" y="387350"/>
              <a:ext cx="220663" cy="271463"/>
            </a:xfrm>
            <a:custGeom>
              <a:avLst/>
              <a:gdLst>
                <a:gd name="T0" fmla="*/ 129 w 557"/>
                <a:gd name="T1" fmla="*/ 330 h 686"/>
                <a:gd name="T2" fmla="*/ 129 w 557"/>
                <a:gd name="T3" fmla="*/ 664 h 686"/>
                <a:gd name="T4" fmla="*/ 129 w 557"/>
                <a:gd name="T5" fmla="*/ 664 h 686"/>
                <a:gd name="T6" fmla="*/ 129 w 557"/>
                <a:gd name="T7" fmla="*/ 668 h 686"/>
                <a:gd name="T8" fmla="*/ 131 w 557"/>
                <a:gd name="T9" fmla="*/ 673 h 686"/>
                <a:gd name="T10" fmla="*/ 132 w 557"/>
                <a:gd name="T11" fmla="*/ 676 h 686"/>
                <a:gd name="T12" fmla="*/ 135 w 557"/>
                <a:gd name="T13" fmla="*/ 679 h 686"/>
                <a:gd name="T14" fmla="*/ 138 w 557"/>
                <a:gd name="T15" fmla="*/ 683 h 686"/>
                <a:gd name="T16" fmla="*/ 142 w 557"/>
                <a:gd name="T17" fmla="*/ 684 h 686"/>
                <a:gd name="T18" fmla="*/ 146 w 557"/>
                <a:gd name="T19" fmla="*/ 686 h 686"/>
                <a:gd name="T20" fmla="*/ 150 w 557"/>
                <a:gd name="T21" fmla="*/ 686 h 686"/>
                <a:gd name="T22" fmla="*/ 407 w 557"/>
                <a:gd name="T23" fmla="*/ 686 h 686"/>
                <a:gd name="T24" fmla="*/ 407 w 557"/>
                <a:gd name="T25" fmla="*/ 686 h 686"/>
                <a:gd name="T26" fmla="*/ 412 w 557"/>
                <a:gd name="T27" fmla="*/ 686 h 686"/>
                <a:gd name="T28" fmla="*/ 416 w 557"/>
                <a:gd name="T29" fmla="*/ 684 h 686"/>
                <a:gd name="T30" fmla="*/ 419 w 557"/>
                <a:gd name="T31" fmla="*/ 683 h 686"/>
                <a:gd name="T32" fmla="*/ 422 w 557"/>
                <a:gd name="T33" fmla="*/ 679 h 686"/>
                <a:gd name="T34" fmla="*/ 425 w 557"/>
                <a:gd name="T35" fmla="*/ 676 h 686"/>
                <a:gd name="T36" fmla="*/ 427 w 557"/>
                <a:gd name="T37" fmla="*/ 673 h 686"/>
                <a:gd name="T38" fmla="*/ 428 w 557"/>
                <a:gd name="T39" fmla="*/ 668 h 686"/>
                <a:gd name="T40" fmla="*/ 429 w 557"/>
                <a:gd name="T41" fmla="*/ 664 h 686"/>
                <a:gd name="T42" fmla="*/ 429 w 557"/>
                <a:gd name="T43" fmla="*/ 330 h 686"/>
                <a:gd name="T44" fmla="*/ 551 w 557"/>
                <a:gd name="T45" fmla="*/ 208 h 686"/>
                <a:gd name="T46" fmla="*/ 551 w 557"/>
                <a:gd name="T47" fmla="*/ 208 h 686"/>
                <a:gd name="T48" fmla="*/ 553 w 557"/>
                <a:gd name="T49" fmla="*/ 205 h 686"/>
                <a:gd name="T50" fmla="*/ 555 w 557"/>
                <a:gd name="T51" fmla="*/ 201 h 686"/>
                <a:gd name="T52" fmla="*/ 556 w 557"/>
                <a:gd name="T53" fmla="*/ 198 h 686"/>
                <a:gd name="T54" fmla="*/ 557 w 557"/>
                <a:gd name="T55" fmla="*/ 193 h 686"/>
                <a:gd name="T56" fmla="*/ 557 w 557"/>
                <a:gd name="T57" fmla="*/ 22 h 686"/>
                <a:gd name="T58" fmla="*/ 557 w 557"/>
                <a:gd name="T59" fmla="*/ 22 h 686"/>
                <a:gd name="T60" fmla="*/ 556 w 557"/>
                <a:gd name="T61" fmla="*/ 17 h 686"/>
                <a:gd name="T62" fmla="*/ 555 w 557"/>
                <a:gd name="T63" fmla="*/ 13 h 686"/>
                <a:gd name="T64" fmla="*/ 553 w 557"/>
                <a:gd name="T65" fmla="*/ 10 h 686"/>
                <a:gd name="T66" fmla="*/ 551 w 557"/>
                <a:gd name="T67" fmla="*/ 6 h 686"/>
                <a:gd name="T68" fmla="*/ 548 w 557"/>
                <a:gd name="T69" fmla="*/ 4 h 686"/>
                <a:gd name="T70" fmla="*/ 545 w 557"/>
                <a:gd name="T71" fmla="*/ 2 h 686"/>
                <a:gd name="T72" fmla="*/ 540 w 557"/>
                <a:gd name="T73" fmla="*/ 1 h 686"/>
                <a:gd name="T74" fmla="*/ 536 w 557"/>
                <a:gd name="T75" fmla="*/ 0 h 686"/>
                <a:gd name="T76" fmla="*/ 22 w 557"/>
                <a:gd name="T77" fmla="*/ 0 h 686"/>
                <a:gd name="T78" fmla="*/ 22 w 557"/>
                <a:gd name="T79" fmla="*/ 0 h 686"/>
                <a:gd name="T80" fmla="*/ 18 w 557"/>
                <a:gd name="T81" fmla="*/ 1 h 686"/>
                <a:gd name="T82" fmla="*/ 13 w 557"/>
                <a:gd name="T83" fmla="*/ 2 h 686"/>
                <a:gd name="T84" fmla="*/ 10 w 557"/>
                <a:gd name="T85" fmla="*/ 4 h 686"/>
                <a:gd name="T86" fmla="*/ 7 w 557"/>
                <a:gd name="T87" fmla="*/ 6 h 686"/>
                <a:gd name="T88" fmla="*/ 3 w 557"/>
                <a:gd name="T89" fmla="*/ 10 h 686"/>
                <a:gd name="T90" fmla="*/ 2 w 557"/>
                <a:gd name="T91" fmla="*/ 13 h 686"/>
                <a:gd name="T92" fmla="*/ 0 w 557"/>
                <a:gd name="T93" fmla="*/ 17 h 686"/>
                <a:gd name="T94" fmla="*/ 0 w 557"/>
                <a:gd name="T95" fmla="*/ 22 h 686"/>
                <a:gd name="T96" fmla="*/ 0 w 557"/>
                <a:gd name="T97" fmla="*/ 193 h 686"/>
                <a:gd name="T98" fmla="*/ 0 w 557"/>
                <a:gd name="T99" fmla="*/ 193 h 686"/>
                <a:gd name="T100" fmla="*/ 0 w 557"/>
                <a:gd name="T101" fmla="*/ 198 h 686"/>
                <a:gd name="T102" fmla="*/ 2 w 557"/>
                <a:gd name="T103" fmla="*/ 201 h 686"/>
                <a:gd name="T104" fmla="*/ 3 w 557"/>
                <a:gd name="T105" fmla="*/ 205 h 686"/>
                <a:gd name="T106" fmla="*/ 7 w 557"/>
                <a:gd name="T107" fmla="*/ 208 h 686"/>
                <a:gd name="T108" fmla="*/ 129 w 557"/>
                <a:gd name="T109" fmla="*/ 33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57" h="686">
                  <a:moveTo>
                    <a:pt x="129" y="330"/>
                  </a:moveTo>
                  <a:lnTo>
                    <a:pt x="129" y="664"/>
                  </a:lnTo>
                  <a:lnTo>
                    <a:pt x="129" y="664"/>
                  </a:lnTo>
                  <a:lnTo>
                    <a:pt x="129" y="668"/>
                  </a:lnTo>
                  <a:lnTo>
                    <a:pt x="131" y="673"/>
                  </a:lnTo>
                  <a:lnTo>
                    <a:pt x="132" y="676"/>
                  </a:lnTo>
                  <a:lnTo>
                    <a:pt x="135" y="679"/>
                  </a:lnTo>
                  <a:lnTo>
                    <a:pt x="138" y="683"/>
                  </a:lnTo>
                  <a:lnTo>
                    <a:pt x="142" y="684"/>
                  </a:lnTo>
                  <a:lnTo>
                    <a:pt x="146" y="686"/>
                  </a:lnTo>
                  <a:lnTo>
                    <a:pt x="150" y="686"/>
                  </a:lnTo>
                  <a:lnTo>
                    <a:pt x="407" y="686"/>
                  </a:lnTo>
                  <a:lnTo>
                    <a:pt x="407" y="686"/>
                  </a:lnTo>
                  <a:lnTo>
                    <a:pt x="412" y="686"/>
                  </a:lnTo>
                  <a:lnTo>
                    <a:pt x="416" y="684"/>
                  </a:lnTo>
                  <a:lnTo>
                    <a:pt x="419" y="683"/>
                  </a:lnTo>
                  <a:lnTo>
                    <a:pt x="422" y="679"/>
                  </a:lnTo>
                  <a:lnTo>
                    <a:pt x="425" y="676"/>
                  </a:lnTo>
                  <a:lnTo>
                    <a:pt x="427" y="673"/>
                  </a:lnTo>
                  <a:lnTo>
                    <a:pt x="428" y="668"/>
                  </a:lnTo>
                  <a:lnTo>
                    <a:pt x="429" y="664"/>
                  </a:lnTo>
                  <a:lnTo>
                    <a:pt x="429" y="330"/>
                  </a:lnTo>
                  <a:lnTo>
                    <a:pt x="551" y="208"/>
                  </a:lnTo>
                  <a:lnTo>
                    <a:pt x="551" y="208"/>
                  </a:lnTo>
                  <a:lnTo>
                    <a:pt x="553" y="205"/>
                  </a:lnTo>
                  <a:lnTo>
                    <a:pt x="555" y="201"/>
                  </a:lnTo>
                  <a:lnTo>
                    <a:pt x="556" y="198"/>
                  </a:lnTo>
                  <a:lnTo>
                    <a:pt x="557" y="193"/>
                  </a:lnTo>
                  <a:lnTo>
                    <a:pt x="557" y="22"/>
                  </a:lnTo>
                  <a:lnTo>
                    <a:pt x="557" y="22"/>
                  </a:lnTo>
                  <a:lnTo>
                    <a:pt x="556" y="17"/>
                  </a:lnTo>
                  <a:lnTo>
                    <a:pt x="555" y="13"/>
                  </a:lnTo>
                  <a:lnTo>
                    <a:pt x="553" y="10"/>
                  </a:lnTo>
                  <a:lnTo>
                    <a:pt x="551" y="6"/>
                  </a:lnTo>
                  <a:lnTo>
                    <a:pt x="548" y="4"/>
                  </a:lnTo>
                  <a:lnTo>
                    <a:pt x="545" y="2"/>
                  </a:lnTo>
                  <a:lnTo>
                    <a:pt x="540" y="1"/>
                  </a:lnTo>
                  <a:lnTo>
                    <a:pt x="536" y="0"/>
                  </a:lnTo>
                  <a:lnTo>
                    <a:pt x="22" y="0"/>
                  </a:lnTo>
                  <a:lnTo>
                    <a:pt x="22" y="0"/>
                  </a:lnTo>
                  <a:lnTo>
                    <a:pt x="18" y="1"/>
                  </a:lnTo>
                  <a:lnTo>
                    <a:pt x="13" y="2"/>
                  </a:lnTo>
                  <a:lnTo>
                    <a:pt x="10" y="4"/>
                  </a:lnTo>
                  <a:lnTo>
                    <a:pt x="7" y="6"/>
                  </a:lnTo>
                  <a:lnTo>
                    <a:pt x="3" y="10"/>
                  </a:lnTo>
                  <a:lnTo>
                    <a:pt x="2" y="13"/>
                  </a:lnTo>
                  <a:lnTo>
                    <a:pt x="0" y="17"/>
                  </a:lnTo>
                  <a:lnTo>
                    <a:pt x="0" y="22"/>
                  </a:lnTo>
                  <a:lnTo>
                    <a:pt x="0" y="193"/>
                  </a:lnTo>
                  <a:lnTo>
                    <a:pt x="0" y="193"/>
                  </a:lnTo>
                  <a:lnTo>
                    <a:pt x="0" y="198"/>
                  </a:lnTo>
                  <a:lnTo>
                    <a:pt x="2" y="201"/>
                  </a:lnTo>
                  <a:lnTo>
                    <a:pt x="3" y="205"/>
                  </a:lnTo>
                  <a:lnTo>
                    <a:pt x="7" y="208"/>
                  </a:lnTo>
                  <a:lnTo>
                    <a:pt x="129" y="33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9" name="Freeform 167">
              <a:extLst>
                <a:ext uri="{FF2B5EF4-FFF2-40B4-BE49-F238E27FC236}">
                  <a16:creationId xmlns:a16="http://schemas.microsoft.com/office/drawing/2014/main" id="{37D38D07-7D03-4CA4-932A-2E77B713AFC8}"/>
                </a:ext>
              </a:extLst>
            </p:cNvPr>
            <p:cNvSpPr>
              <a:spLocks/>
            </p:cNvSpPr>
            <p:nvPr/>
          </p:nvSpPr>
          <p:spPr bwMode="auto">
            <a:xfrm>
              <a:off x="5610225" y="200025"/>
              <a:ext cx="153988" cy="152400"/>
            </a:xfrm>
            <a:custGeom>
              <a:avLst/>
              <a:gdLst>
                <a:gd name="T0" fmla="*/ 193 w 385"/>
                <a:gd name="T1" fmla="*/ 386 h 386"/>
                <a:gd name="T2" fmla="*/ 232 w 385"/>
                <a:gd name="T3" fmla="*/ 381 h 386"/>
                <a:gd name="T4" fmla="*/ 267 w 385"/>
                <a:gd name="T5" fmla="*/ 370 h 386"/>
                <a:gd name="T6" fmla="*/ 301 w 385"/>
                <a:gd name="T7" fmla="*/ 352 h 386"/>
                <a:gd name="T8" fmla="*/ 329 w 385"/>
                <a:gd name="T9" fmla="*/ 328 h 386"/>
                <a:gd name="T10" fmla="*/ 353 w 385"/>
                <a:gd name="T11" fmla="*/ 300 h 386"/>
                <a:gd name="T12" fmla="*/ 370 w 385"/>
                <a:gd name="T13" fmla="*/ 268 h 386"/>
                <a:gd name="T14" fmla="*/ 382 w 385"/>
                <a:gd name="T15" fmla="*/ 231 h 386"/>
                <a:gd name="T16" fmla="*/ 385 w 385"/>
                <a:gd name="T17" fmla="*/ 192 h 386"/>
                <a:gd name="T18" fmla="*/ 385 w 385"/>
                <a:gd name="T19" fmla="*/ 173 h 386"/>
                <a:gd name="T20" fmla="*/ 376 w 385"/>
                <a:gd name="T21" fmla="*/ 135 h 386"/>
                <a:gd name="T22" fmla="*/ 362 w 385"/>
                <a:gd name="T23" fmla="*/ 100 h 386"/>
                <a:gd name="T24" fmla="*/ 342 w 385"/>
                <a:gd name="T25" fmla="*/ 70 h 386"/>
                <a:gd name="T26" fmla="*/ 315 w 385"/>
                <a:gd name="T27" fmla="*/ 43 h 386"/>
                <a:gd name="T28" fmla="*/ 285 w 385"/>
                <a:gd name="T29" fmla="*/ 23 h 386"/>
                <a:gd name="T30" fmla="*/ 250 w 385"/>
                <a:gd name="T31" fmla="*/ 9 h 386"/>
                <a:gd name="T32" fmla="*/ 212 w 385"/>
                <a:gd name="T33" fmla="*/ 1 h 386"/>
                <a:gd name="T34" fmla="*/ 193 w 385"/>
                <a:gd name="T35" fmla="*/ 0 h 386"/>
                <a:gd name="T36" fmla="*/ 154 w 385"/>
                <a:gd name="T37" fmla="*/ 3 h 386"/>
                <a:gd name="T38" fmla="*/ 117 w 385"/>
                <a:gd name="T39" fmla="*/ 15 h 386"/>
                <a:gd name="T40" fmla="*/ 85 w 385"/>
                <a:gd name="T41" fmla="*/ 32 h 386"/>
                <a:gd name="T42" fmla="*/ 57 w 385"/>
                <a:gd name="T43" fmla="*/ 56 h 386"/>
                <a:gd name="T44" fmla="*/ 33 w 385"/>
                <a:gd name="T45" fmla="*/ 84 h 386"/>
                <a:gd name="T46" fmla="*/ 15 w 385"/>
                <a:gd name="T47" fmla="*/ 118 h 386"/>
                <a:gd name="T48" fmla="*/ 4 w 385"/>
                <a:gd name="T49" fmla="*/ 153 h 386"/>
                <a:gd name="T50" fmla="*/ 0 w 385"/>
                <a:gd name="T51" fmla="*/ 192 h 386"/>
                <a:gd name="T52" fmla="*/ 1 w 385"/>
                <a:gd name="T53" fmla="*/ 212 h 386"/>
                <a:gd name="T54" fmla="*/ 8 w 385"/>
                <a:gd name="T55" fmla="*/ 249 h 386"/>
                <a:gd name="T56" fmla="*/ 23 w 385"/>
                <a:gd name="T57" fmla="*/ 284 h 386"/>
                <a:gd name="T58" fmla="*/ 44 w 385"/>
                <a:gd name="T59" fmla="*/ 315 h 386"/>
                <a:gd name="T60" fmla="*/ 70 w 385"/>
                <a:gd name="T61" fmla="*/ 341 h 386"/>
                <a:gd name="T62" fmla="*/ 101 w 385"/>
                <a:gd name="T63" fmla="*/ 362 h 386"/>
                <a:gd name="T64" fmla="*/ 136 w 385"/>
                <a:gd name="T65" fmla="*/ 377 h 386"/>
                <a:gd name="T66" fmla="*/ 173 w 385"/>
                <a:gd name="T67" fmla="*/ 385 h 386"/>
                <a:gd name="T68" fmla="*/ 193 w 385"/>
                <a:gd name="T69" fmla="*/ 38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5" h="386">
                  <a:moveTo>
                    <a:pt x="193" y="386"/>
                  </a:moveTo>
                  <a:lnTo>
                    <a:pt x="193" y="386"/>
                  </a:lnTo>
                  <a:lnTo>
                    <a:pt x="212" y="385"/>
                  </a:lnTo>
                  <a:lnTo>
                    <a:pt x="232" y="381"/>
                  </a:lnTo>
                  <a:lnTo>
                    <a:pt x="250" y="377"/>
                  </a:lnTo>
                  <a:lnTo>
                    <a:pt x="267" y="370"/>
                  </a:lnTo>
                  <a:lnTo>
                    <a:pt x="285" y="362"/>
                  </a:lnTo>
                  <a:lnTo>
                    <a:pt x="301" y="352"/>
                  </a:lnTo>
                  <a:lnTo>
                    <a:pt x="315" y="341"/>
                  </a:lnTo>
                  <a:lnTo>
                    <a:pt x="329" y="328"/>
                  </a:lnTo>
                  <a:lnTo>
                    <a:pt x="342" y="315"/>
                  </a:lnTo>
                  <a:lnTo>
                    <a:pt x="353" y="300"/>
                  </a:lnTo>
                  <a:lnTo>
                    <a:pt x="362" y="284"/>
                  </a:lnTo>
                  <a:lnTo>
                    <a:pt x="370" y="268"/>
                  </a:lnTo>
                  <a:lnTo>
                    <a:pt x="376" y="249"/>
                  </a:lnTo>
                  <a:lnTo>
                    <a:pt x="382" y="231"/>
                  </a:lnTo>
                  <a:lnTo>
                    <a:pt x="385" y="212"/>
                  </a:lnTo>
                  <a:lnTo>
                    <a:pt x="385" y="192"/>
                  </a:lnTo>
                  <a:lnTo>
                    <a:pt x="385" y="192"/>
                  </a:lnTo>
                  <a:lnTo>
                    <a:pt x="385" y="173"/>
                  </a:lnTo>
                  <a:lnTo>
                    <a:pt x="382" y="153"/>
                  </a:lnTo>
                  <a:lnTo>
                    <a:pt x="376" y="135"/>
                  </a:lnTo>
                  <a:lnTo>
                    <a:pt x="370" y="118"/>
                  </a:lnTo>
                  <a:lnTo>
                    <a:pt x="362" y="100"/>
                  </a:lnTo>
                  <a:lnTo>
                    <a:pt x="353" y="84"/>
                  </a:lnTo>
                  <a:lnTo>
                    <a:pt x="342" y="70"/>
                  </a:lnTo>
                  <a:lnTo>
                    <a:pt x="329" y="56"/>
                  </a:lnTo>
                  <a:lnTo>
                    <a:pt x="315" y="43"/>
                  </a:lnTo>
                  <a:lnTo>
                    <a:pt x="301" y="32"/>
                  </a:lnTo>
                  <a:lnTo>
                    <a:pt x="285" y="23"/>
                  </a:lnTo>
                  <a:lnTo>
                    <a:pt x="267" y="15"/>
                  </a:lnTo>
                  <a:lnTo>
                    <a:pt x="250" y="9"/>
                  </a:lnTo>
                  <a:lnTo>
                    <a:pt x="232" y="3"/>
                  </a:lnTo>
                  <a:lnTo>
                    <a:pt x="212" y="1"/>
                  </a:lnTo>
                  <a:lnTo>
                    <a:pt x="193" y="0"/>
                  </a:lnTo>
                  <a:lnTo>
                    <a:pt x="193" y="0"/>
                  </a:lnTo>
                  <a:lnTo>
                    <a:pt x="173" y="1"/>
                  </a:lnTo>
                  <a:lnTo>
                    <a:pt x="154" y="3"/>
                  </a:lnTo>
                  <a:lnTo>
                    <a:pt x="136" y="9"/>
                  </a:lnTo>
                  <a:lnTo>
                    <a:pt x="117" y="15"/>
                  </a:lnTo>
                  <a:lnTo>
                    <a:pt x="101" y="23"/>
                  </a:lnTo>
                  <a:lnTo>
                    <a:pt x="85" y="32"/>
                  </a:lnTo>
                  <a:lnTo>
                    <a:pt x="70" y="43"/>
                  </a:lnTo>
                  <a:lnTo>
                    <a:pt x="57" y="56"/>
                  </a:lnTo>
                  <a:lnTo>
                    <a:pt x="44" y="70"/>
                  </a:lnTo>
                  <a:lnTo>
                    <a:pt x="33" y="84"/>
                  </a:lnTo>
                  <a:lnTo>
                    <a:pt x="23" y="100"/>
                  </a:lnTo>
                  <a:lnTo>
                    <a:pt x="15" y="118"/>
                  </a:lnTo>
                  <a:lnTo>
                    <a:pt x="8" y="135"/>
                  </a:lnTo>
                  <a:lnTo>
                    <a:pt x="4" y="153"/>
                  </a:lnTo>
                  <a:lnTo>
                    <a:pt x="1" y="173"/>
                  </a:lnTo>
                  <a:lnTo>
                    <a:pt x="0" y="192"/>
                  </a:lnTo>
                  <a:lnTo>
                    <a:pt x="0" y="192"/>
                  </a:lnTo>
                  <a:lnTo>
                    <a:pt x="1" y="212"/>
                  </a:lnTo>
                  <a:lnTo>
                    <a:pt x="4" y="231"/>
                  </a:lnTo>
                  <a:lnTo>
                    <a:pt x="8" y="249"/>
                  </a:lnTo>
                  <a:lnTo>
                    <a:pt x="15" y="268"/>
                  </a:lnTo>
                  <a:lnTo>
                    <a:pt x="23" y="284"/>
                  </a:lnTo>
                  <a:lnTo>
                    <a:pt x="33" y="300"/>
                  </a:lnTo>
                  <a:lnTo>
                    <a:pt x="44" y="315"/>
                  </a:lnTo>
                  <a:lnTo>
                    <a:pt x="57" y="328"/>
                  </a:lnTo>
                  <a:lnTo>
                    <a:pt x="70" y="341"/>
                  </a:lnTo>
                  <a:lnTo>
                    <a:pt x="85" y="352"/>
                  </a:lnTo>
                  <a:lnTo>
                    <a:pt x="101" y="362"/>
                  </a:lnTo>
                  <a:lnTo>
                    <a:pt x="117" y="370"/>
                  </a:lnTo>
                  <a:lnTo>
                    <a:pt x="136" y="377"/>
                  </a:lnTo>
                  <a:lnTo>
                    <a:pt x="154" y="381"/>
                  </a:lnTo>
                  <a:lnTo>
                    <a:pt x="173" y="385"/>
                  </a:lnTo>
                  <a:lnTo>
                    <a:pt x="193" y="386"/>
                  </a:lnTo>
                  <a:lnTo>
                    <a:pt x="193" y="38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0" name="Freeform 168">
              <a:extLst>
                <a:ext uri="{FF2B5EF4-FFF2-40B4-BE49-F238E27FC236}">
                  <a16:creationId xmlns:a16="http://schemas.microsoft.com/office/drawing/2014/main" id="{14D0256F-808E-4FF8-B619-725A769D3C3F}"/>
                </a:ext>
              </a:extLst>
            </p:cNvPr>
            <p:cNvSpPr>
              <a:spLocks/>
            </p:cNvSpPr>
            <p:nvPr/>
          </p:nvSpPr>
          <p:spPr bwMode="auto">
            <a:xfrm>
              <a:off x="5440363" y="593725"/>
              <a:ext cx="493713" cy="133350"/>
            </a:xfrm>
            <a:custGeom>
              <a:avLst/>
              <a:gdLst>
                <a:gd name="T0" fmla="*/ 678 w 1242"/>
                <a:gd name="T1" fmla="*/ 333 h 335"/>
                <a:gd name="T2" fmla="*/ 848 w 1242"/>
                <a:gd name="T3" fmla="*/ 323 h 335"/>
                <a:gd name="T4" fmla="*/ 1002 w 1242"/>
                <a:gd name="T5" fmla="*/ 301 h 335"/>
                <a:gd name="T6" fmla="*/ 1109 w 1242"/>
                <a:gd name="T7" fmla="*/ 273 h 335"/>
                <a:gd name="T8" fmla="*/ 1160 w 1242"/>
                <a:gd name="T9" fmla="*/ 252 h 335"/>
                <a:gd name="T10" fmla="*/ 1201 w 1242"/>
                <a:gd name="T11" fmla="*/ 229 h 335"/>
                <a:gd name="T12" fmla="*/ 1228 w 1242"/>
                <a:gd name="T13" fmla="*/ 203 h 335"/>
                <a:gd name="T14" fmla="*/ 1241 w 1242"/>
                <a:gd name="T15" fmla="*/ 174 h 335"/>
                <a:gd name="T16" fmla="*/ 1242 w 1242"/>
                <a:gd name="T17" fmla="*/ 154 h 335"/>
                <a:gd name="T18" fmla="*/ 1232 w 1242"/>
                <a:gd name="T19" fmla="*/ 129 h 335"/>
                <a:gd name="T20" fmla="*/ 1213 w 1242"/>
                <a:gd name="T21" fmla="*/ 107 h 335"/>
                <a:gd name="T22" fmla="*/ 1185 w 1242"/>
                <a:gd name="T23" fmla="*/ 86 h 335"/>
                <a:gd name="T24" fmla="*/ 1107 w 1242"/>
                <a:gd name="T25" fmla="*/ 53 h 335"/>
                <a:gd name="T26" fmla="*/ 1006 w 1242"/>
                <a:gd name="T27" fmla="*/ 26 h 335"/>
                <a:gd name="T28" fmla="*/ 892 w 1242"/>
                <a:gd name="T29" fmla="*/ 7 h 335"/>
                <a:gd name="T30" fmla="*/ 813 w 1242"/>
                <a:gd name="T31" fmla="*/ 42 h 335"/>
                <a:gd name="T32" fmla="*/ 906 w 1242"/>
                <a:gd name="T33" fmla="*/ 53 h 335"/>
                <a:gd name="T34" fmla="*/ 1019 w 1242"/>
                <a:gd name="T35" fmla="*/ 72 h 335"/>
                <a:gd name="T36" fmla="*/ 1105 w 1242"/>
                <a:gd name="T37" fmla="*/ 97 h 335"/>
                <a:gd name="T38" fmla="*/ 1163 w 1242"/>
                <a:gd name="T39" fmla="*/ 123 h 335"/>
                <a:gd name="T40" fmla="*/ 1193 w 1242"/>
                <a:gd name="T41" fmla="*/ 148 h 335"/>
                <a:gd name="T42" fmla="*/ 1200 w 1242"/>
                <a:gd name="T43" fmla="*/ 163 h 335"/>
                <a:gd name="T44" fmla="*/ 1196 w 1242"/>
                <a:gd name="T45" fmla="*/ 172 h 335"/>
                <a:gd name="T46" fmla="*/ 1183 w 1242"/>
                <a:gd name="T47" fmla="*/ 189 h 335"/>
                <a:gd name="T48" fmla="*/ 1137 w 1242"/>
                <a:gd name="T49" fmla="*/ 217 h 335"/>
                <a:gd name="T50" fmla="*/ 1044 w 1242"/>
                <a:gd name="T51" fmla="*/ 247 h 335"/>
                <a:gd name="T52" fmla="*/ 914 w 1242"/>
                <a:gd name="T53" fmla="*/ 272 h 335"/>
                <a:gd name="T54" fmla="*/ 748 w 1242"/>
                <a:gd name="T55" fmla="*/ 288 h 335"/>
                <a:gd name="T56" fmla="*/ 621 w 1242"/>
                <a:gd name="T57" fmla="*/ 291 h 335"/>
                <a:gd name="T58" fmla="*/ 434 w 1242"/>
                <a:gd name="T59" fmla="*/ 284 h 335"/>
                <a:gd name="T60" fmla="*/ 281 w 1242"/>
                <a:gd name="T61" fmla="*/ 264 h 335"/>
                <a:gd name="T62" fmla="*/ 162 w 1242"/>
                <a:gd name="T63" fmla="*/ 237 h 335"/>
                <a:gd name="T64" fmla="*/ 82 w 1242"/>
                <a:gd name="T65" fmla="*/ 205 h 335"/>
                <a:gd name="T66" fmla="*/ 53 w 1242"/>
                <a:gd name="T67" fmla="*/ 183 h 335"/>
                <a:gd name="T68" fmla="*/ 43 w 1242"/>
                <a:gd name="T69" fmla="*/ 168 h 335"/>
                <a:gd name="T70" fmla="*/ 43 w 1242"/>
                <a:gd name="T71" fmla="*/ 160 h 335"/>
                <a:gd name="T72" fmla="*/ 55 w 1242"/>
                <a:gd name="T73" fmla="*/ 139 h 335"/>
                <a:gd name="T74" fmla="*/ 95 w 1242"/>
                <a:gd name="T75" fmla="*/ 114 h 335"/>
                <a:gd name="T76" fmla="*/ 162 w 1242"/>
                <a:gd name="T77" fmla="*/ 88 h 335"/>
                <a:gd name="T78" fmla="*/ 257 w 1242"/>
                <a:gd name="T79" fmla="*/ 66 h 335"/>
                <a:gd name="T80" fmla="*/ 380 w 1242"/>
                <a:gd name="T81" fmla="*/ 47 h 335"/>
                <a:gd name="T82" fmla="*/ 428 w 1242"/>
                <a:gd name="T83" fmla="*/ 0 h 335"/>
                <a:gd name="T84" fmla="*/ 311 w 1242"/>
                <a:gd name="T85" fmla="*/ 13 h 335"/>
                <a:gd name="T86" fmla="*/ 200 w 1242"/>
                <a:gd name="T87" fmla="*/ 34 h 335"/>
                <a:gd name="T88" fmla="*/ 106 w 1242"/>
                <a:gd name="T89" fmla="*/ 62 h 335"/>
                <a:gd name="T90" fmla="*/ 46 w 1242"/>
                <a:gd name="T91" fmla="*/ 93 h 335"/>
                <a:gd name="T92" fmla="*/ 22 w 1242"/>
                <a:gd name="T93" fmla="*/ 114 h 335"/>
                <a:gd name="T94" fmla="*/ 5 w 1242"/>
                <a:gd name="T95" fmla="*/ 137 h 335"/>
                <a:gd name="T96" fmla="*/ 0 w 1242"/>
                <a:gd name="T97" fmla="*/ 163 h 335"/>
                <a:gd name="T98" fmla="*/ 3 w 1242"/>
                <a:gd name="T99" fmla="*/ 183 h 335"/>
                <a:gd name="T100" fmla="*/ 22 w 1242"/>
                <a:gd name="T101" fmla="*/ 211 h 335"/>
                <a:gd name="T102" fmla="*/ 53 w 1242"/>
                <a:gd name="T103" fmla="*/ 237 h 335"/>
                <a:gd name="T104" fmla="*/ 97 w 1242"/>
                <a:gd name="T105" fmla="*/ 260 h 335"/>
                <a:gd name="T106" fmla="*/ 152 w 1242"/>
                <a:gd name="T107" fmla="*/ 279 h 335"/>
                <a:gd name="T108" fmla="*/ 288 w 1242"/>
                <a:gd name="T109" fmla="*/ 310 h 335"/>
                <a:gd name="T110" fmla="*/ 449 w 1242"/>
                <a:gd name="T111" fmla="*/ 328 h 335"/>
                <a:gd name="T112" fmla="*/ 621 w 1242"/>
                <a:gd name="T113" fmla="*/ 335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42" h="335">
                  <a:moveTo>
                    <a:pt x="621" y="335"/>
                  </a:moveTo>
                  <a:lnTo>
                    <a:pt x="621" y="335"/>
                  </a:lnTo>
                  <a:lnTo>
                    <a:pt x="678" y="333"/>
                  </a:lnTo>
                  <a:lnTo>
                    <a:pt x="736" y="331"/>
                  </a:lnTo>
                  <a:lnTo>
                    <a:pt x="793" y="328"/>
                  </a:lnTo>
                  <a:lnTo>
                    <a:pt x="848" y="323"/>
                  </a:lnTo>
                  <a:lnTo>
                    <a:pt x="902" y="317"/>
                  </a:lnTo>
                  <a:lnTo>
                    <a:pt x="953" y="310"/>
                  </a:lnTo>
                  <a:lnTo>
                    <a:pt x="1002" y="301"/>
                  </a:lnTo>
                  <a:lnTo>
                    <a:pt x="1047" y="290"/>
                  </a:lnTo>
                  <a:lnTo>
                    <a:pt x="1090" y="279"/>
                  </a:lnTo>
                  <a:lnTo>
                    <a:pt x="1109" y="273"/>
                  </a:lnTo>
                  <a:lnTo>
                    <a:pt x="1127" y="266"/>
                  </a:lnTo>
                  <a:lnTo>
                    <a:pt x="1144" y="260"/>
                  </a:lnTo>
                  <a:lnTo>
                    <a:pt x="1160" y="252"/>
                  </a:lnTo>
                  <a:lnTo>
                    <a:pt x="1175" y="245"/>
                  </a:lnTo>
                  <a:lnTo>
                    <a:pt x="1189" y="237"/>
                  </a:lnTo>
                  <a:lnTo>
                    <a:pt x="1201" y="229"/>
                  </a:lnTo>
                  <a:lnTo>
                    <a:pt x="1212" y="220"/>
                  </a:lnTo>
                  <a:lnTo>
                    <a:pt x="1220" y="211"/>
                  </a:lnTo>
                  <a:lnTo>
                    <a:pt x="1228" y="203"/>
                  </a:lnTo>
                  <a:lnTo>
                    <a:pt x="1234" y="193"/>
                  </a:lnTo>
                  <a:lnTo>
                    <a:pt x="1239" y="183"/>
                  </a:lnTo>
                  <a:lnTo>
                    <a:pt x="1241" y="174"/>
                  </a:lnTo>
                  <a:lnTo>
                    <a:pt x="1242" y="163"/>
                  </a:lnTo>
                  <a:lnTo>
                    <a:pt x="1242" y="163"/>
                  </a:lnTo>
                  <a:lnTo>
                    <a:pt x="1242" y="154"/>
                  </a:lnTo>
                  <a:lnTo>
                    <a:pt x="1240" y="145"/>
                  </a:lnTo>
                  <a:lnTo>
                    <a:pt x="1236" y="137"/>
                  </a:lnTo>
                  <a:lnTo>
                    <a:pt x="1232" y="129"/>
                  </a:lnTo>
                  <a:lnTo>
                    <a:pt x="1227" y="122"/>
                  </a:lnTo>
                  <a:lnTo>
                    <a:pt x="1220" y="114"/>
                  </a:lnTo>
                  <a:lnTo>
                    <a:pt x="1213" y="107"/>
                  </a:lnTo>
                  <a:lnTo>
                    <a:pt x="1205" y="100"/>
                  </a:lnTo>
                  <a:lnTo>
                    <a:pt x="1195" y="93"/>
                  </a:lnTo>
                  <a:lnTo>
                    <a:pt x="1185" y="86"/>
                  </a:lnTo>
                  <a:lnTo>
                    <a:pt x="1162" y="74"/>
                  </a:lnTo>
                  <a:lnTo>
                    <a:pt x="1136" y="62"/>
                  </a:lnTo>
                  <a:lnTo>
                    <a:pt x="1107" y="53"/>
                  </a:lnTo>
                  <a:lnTo>
                    <a:pt x="1075" y="43"/>
                  </a:lnTo>
                  <a:lnTo>
                    <a:pt x="1041" y="34"/>
                  </a:lnTo>
                  <a:lnTo>
                    <a:pt x="1006" y="26"/>
                  </a:lnTo>
                  <a:lnTo>
                    <a:pt x="969" y="19"/>
                  </a:lnTo>
                  <a:lnTo>
                    <a:pt x="931" y="13"/>
                  </a:lnTo>
                  <a:lnTo>
                    <a:pt x="892" y="7"/>
                  </a:lnTo>
                  <a:lnTo>
                    <a:pt x="853" y="3"/>
                  </a:lnTo>
                  <a:lnTo>
                    <a:pt x="813" y="0"/>
                  </a:lnTo>
                  <a:lnTo>
                    <a:pt x="813" y="42"/>
                  </a:lnTo>
                  <a:lnTo>
                    <a:pt x="813" y="42"/>
                  </a:lnTo>
                  <a:lnTo>
                    <a:pt x="861" y="47"/>
                  </a:lnTo>
                  <a:lnTo>
                    <a:pt x="906" y="53"/>
                  </a:lnTo>
                  <a:lnTo>
                    <a:pt x="947" y="58"/>
                  </a:lnTo>
                  <a:lnTo>
                    <a:pt x="985" y="66"/>
                  </a:lnTo>
                  <a:lnTo>
                    <a:pt x="1019" y="72"/>
                  </a:lnTo>
                  <a:lnTo>
                    <a:pt x="1051" y="81"/>
                  </a:lnTo>
                  <a:lnTo>
                    <a:pt x="1080" y="88"/>
                  </a:lnTo>
                  <a:lnTo>
                    <a:pt x="1105" y="97"/>
                  </a:lnTo>
                  <a:lnTo>
                    <a:pt x="1127" y="106"/>
                  </a:lnTo>
                  <a:lnTo>
                    <a:pt x="1147" y="114"/>
                  </a:lnTo>
                  <a:lnTo>
                    <a:pt x="1163" y="123"/>
                  </a:lnTo>
                  <a:lnTo>
                    <a:pt x="1176" y="131"/>
                  </a:lnTo>
                  <a:lnTo>
                    <a:pt x="1186" y="139"/>
                  </a:lnTo>
                  <a:lnTo>
                    <a:pt x="1193" y="148"/>
                  </a:lnTo>
                  <a:lnTo>
                    <a:pt x="1198" y="155"/>
                  </a:lnTo>
                  <a:lnTo>
                    <a:pt x="1199" y="160"/>
                  </a:lnTo>
                  <a:lnTo>
                    <a:pt x="1200" y="163"/>
                  </a:lnTo>
                  <a:lnTo>
                    <a:pt x="1200" y="163"/>
                  </a:lnTo>
                  <a:lnTo>
                    <a:pt x="1199" y="168"/>
                  </a:lnTo>
                  <a:lnTo>
                    <a:pt x="1196" y="172"/>
                  </a:lnTo>
                  <a:lnTo>
                    <a:pt x="1193" y="178"/>
                  </a:lnTo>
                  <a:lnTo>
                    <a:pt x="1189" y="183"/>
                  </a:lnTo>
                  <a:lnTo>
                    <a:pt x="1183" y="189"/>
                  </a:lnTo>
                  <a:lnTo>
                    <a:pt x="1177" y="194"/>
                  </a:lnTo>
                  <a:lnTo>
                    <a:pt x="1159" y="205"/>
                  </a:lnTo>
                  <a:lnTo>
                    <a:pt x="1137" y="217"/>
                  </a:lnTo>
                  <a:lnTo>
                    <a:pt x="1111" y="226"/>
                  </a:lnTo>
                  <a:lnTo>
                    <a:pt x="1080" y="237"/>
                  </a:lnTo>
                  <a:lnTo>
                    <a:pt x="1044" y="247"/>
                  </a:lnTo>
                  <a:lnTo>
                    <a:pt x="1005" y="257"/>
                  </a:lnTo>
                  <a:lnTo>
                    <a:pt x="961" y="264"/>
                  </a:lnTo>
                  <a:lnTo>
                    <a:pt x="914" y="272"/>
                  </a:lnTo>
                  <a:lnTo>
                    <a:pt x="863" y="278"/>
                  </a:lnTo>
                  <a:lnTo>
                    <a:pt x="808" y="284"/>
                  </a:lnTo>
                  <a:lnTo>
                    <a:pt x="748" y="288"/>
                  </a:lnTo>
                  <a:lnTo>
                    <a:pt x="687" y="290"/>
                  </a:lnTo>
                  <a:lnTo>
                    <a:pt x="621" y="291"/>
                  </a:lnTo>
                  <a:lnTo>
                    <a:pt x="621" y="291"/>
                  </a:lnTo>
                  <a:lnTo>
                    <a:pt x="555" y="290"/>
                  </a:lnTo>
                  <a:lnTo>
                    <a:pt x="493" y="288"/>
                  </a:lnTo>
                  <a:lnTo>
                    <a:pt x="434" y="284"/>
                  </a:lnTo>
                  <a:lnTo>
                    <a:pt x="379" y="278"/>
                  </a:lnTo>
                  <a:lnTo>
                    <a:pt x="328" y="272"/>
                  </a:lnTo>
                  <a:lnTo>
                    <a:pt x="281" y="264"/>
                  </a:lnTo>
                  <a:lnTo>
                    <a:pt x="236" y="257"/>
                  </a:lnTo>
                  <a:lnTo>
                    <a:pt x="198" y="247"/>
                  </a:lnTo>
                  <a:lnTo>
                    <a:pt x="162" y="237"/>
                  </a:lnTo>
                  <a:lnTo>
                    <a:pt x="131" y="226"/>
                  </a:lnTo>
                  <a:lnTo>
                    <a:pt x="105" y="217"/>
                  </a:lnTo>
                  <a:lnTo>
                    <a:pt x="82" y="205"/>
                  </a:lnTo>
                  <a:lnTo>
                    <a:pt x="65" y="194"/>
                  </a:lnTo>
                  <a:lnTo>
                    <a:pt x="58" y="189"/>
                  </a:lnTo>
                  <a:lnTo>
                    <a:pt x="53" y="183"/>
                  </a:lnTo>
                  <a:lnTo>
                    <a:pt x="49" y="178"/>
                  </a:lnTo>
                  <a:lnTo>
                    <a:pt x="45" y="172"/>
                  </a:lnTo>
                  <a:lnTo>
                    <a:pt x="43" y="168"/>
                  </a:lnTo>
                  <a:lnTo>
                    <a:pt x="42" y="163"/>
                  </a:lnTo>
                  <a:lnTo>
                    <a:pt x="42" y="163"/>
                  </a:lnTo>
                  <a:lnTo>
                    <a:pt x="43" y="160"/>
                  </a:lnTo>
                  <a:lnTo>
                    <a:pt x="44" y="155"/>
                  </a:lnTo>
                  <a:lnTo>
                    <a:pt x="49" y="148"/>
                  </a:lnTo>
                  <a:lnTo>
                    <a:pt x="55" y="139"/>
                  </a:lnTo>
                  <a:lnTo>
                    <a:pt x="66" y="131"/>
                  </a:lnTo>
                  <a:lnTo>
                    <a:pt x="79" y="123"/>
                  </a:lnTo>
                  <a:lnTo>
                    <a:pt x="95" y="114"/>
                  </a:lnTo>
                  <a:lnTo>
                    <a:pt x="114" y="106"/>
                  </a:lnTo>
                  <a:lnTo>
                    <a:pt x="137" y="97"/>
                  </a:lnTo>
                  <a:lnTo>
                    <a:pt x="162" y="88"/>
                  </a:lnTo>
                  <a:lnTo>
                    <a:pt x="191" y="81"/>
                  </a:lnTo>
                  <a:lnTo>
                    <a:pt x="222" y="72"/>
                  </a:lnTo>
                  <a:lnTo>
                    <a:pt x="257" y="66"/>
                  </a:lnTo>
                  <a:lnTo>
                    <a:pt x="295" y="58"/>
                  </a:lnTo>
                  <a:lnTo>
                    <a:pt x="336" y="53"/>
                  </a:lnTo>
                  <a:lnTo>
                    <a:pt x="380" y="47"/>
                  </a:lnTo>
                  <a:lnTo>
                    <a:pt x="428" y="42"/>
                  </a:lnTo>
                  <a:lnTo>
                    <a:pt x="428" y="0"/>
                  </a:lnTo>
                  <a:lnTo>
                    <a:pt x="428" y="0"/>
                  </a:lnTo>
                  <a:lnTo>
                    <a:pt x="389" y="3"/>
                  </a:lnTo>
                  <a:lnTo>
                    <a:pt x="349" y="7"/>
                  </a:lnTo>
                  <a:lnTo>
                    <a:pt x="311" y="13"/>
                  </a:lnTo>
                  <a:lnTo>
                    <a:pt x="272" y="19"/>
                  </a:lnTo>
                  <a:lnTo>
                    <a:pt x="235" y="26"/>
                  </a:lnTo>
                  <a:lnTo>
                    <a:pt x="200" y="34"/>
                  </a:lnTo>
                  <a:lnTo>
                    <a:pt x="166" y="43"/>
                  </a:lnTo>
                  <a:lnTo>
                    <a:pt x="135" y="53"/>
                  </a:lnTo>
                  <a:lnTo>
                    <a:pt x="106" y="62"/>
                  </a:lnTo>
                  <a:lnTo>
                    <a:pt x="80" y="74"/>
                  </a:lnTo>
                  <a:lnTo>
                    <a:pt x="56" y="86"/>
                  </a:lnTo>
                  <a:lnTo>
                    <a:pt x="46" y="93"/>
                  </a:lnTo>
                  <a:lnTo>
                    <a:pt x="37" y="100"/>
                  </a:lnTo>
                  <a:lnTo>
                    <a:pt x="28" y="107"/>
                  </a:lnTo>
                  <a:lnTo>
                    <a:pt x="22" y="114"/>
                  </a:lnTo>
                  <a:lnTo>
                    <a:pt x="15" y="122"/>
                  </a:lnTo>
                  <a:lnTo>
                    <a:pt x="10" y="129"/>
                  </a:lnTo>
                  <a:lnTo>
                    <a:pt x="5" y="137"/>
                  </a:lnTo>
                  <a:lnTo>
                    <a:pt x="2" y="145"/>
                  </a:lnTo>
                  <a:lnTo>
                    <a:pt x="0" y="154"/>
                  </a:lnTo>
                  <a:lnTo>
                    <a:pt x="0" y="163"/>
                  </a:lnTo>
                  <a:lnTo>
                    <a:pt x="0" y="163"/>
                  </a:lnTo>
                  <a:lnTo>
                    <a:pt x="0" y="174"/>
                  </a:lnTo>
                  <a:lnTo>
                    <a:pt x="3" y="183"/>
                  </a:lnTo>
                  <a:lnTo>
                    <a:pt x="7" y="193"/>
                  </a:lnTo>
                  <a:lnTo>
                    <a:pt x="14" y="203"/>
                  </a:lnTo>
                  <a:lnTo>
                    <a:pt x="22" y="211"/>
                  </a:lnTo>
                  <a:lnTo>
                    <a:pt x="30" y="220"/>
                  </a:lnTo>
                  <a:lnTo>
                    <a:pt x="41" y="229"/>
                  </a:lnTo>
                  <a:lnTo>
                    <a:pt x="53" y="237"/>
                  </a:lnTo>
                  <a:lnTo>
                    <a:pt x="67" y="245"/>
                  </a:lnTo>
                  <a:lnTo>
                    <a:pt x="81" y="252"/>
                  </a:lnTo>
                  <a:lnTo>
                    <a:pt x="97" y="260"/>
                  </a:lnTo>
                  <a:lnTo>
                    <a:pt x="114" y="266"/>
                  </a:lnTo>
                  <a:lnTo>
                    <a:pt x="133" y="273"/>
                  </a:lnTo>
                  <a:lnTo>
                    <a:pt x="152" y="279"/>
                  </a:lnTo>
                  <a:lnTo>
                    <a:pt x="194" y="290"/>
                  </a:lnTo>
                  <a:lnTo>
                    <a:pt x="240" y="301"/>
                  </a:lnTo>
                  <a:lnTo>
                    <a:pt x="288" y="310"/>
                  </a:lnTo>
                  <a:lnTo>
                    <a:pt x="340" y="317"/>
                  </a:lnTo>
                  <a:lnTo>
                    <a:pt x="393" y="323"/>
                  </a:lnTo>
                  <a:lnTo>
                    <a:pt x="449" y="328"/>
                  </a:lnTo>
                  <a:lnTo>
                    <a:pt x="505" y="331"/>
                  </a:lnTo>
                  <a:lnTo>
                    <a:pt x="563" y="333"/>
                  </a:lnTo>
                  <a:lnTo>
                    <a:pt x="621" y="335"/>
                  </a:lnTo>
                  <a:lnTo>
                    <a:pt x="621" y="3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61" name="Group 60">
            <a:extLst>
              <a:ext uri="{FF2B5EF4-FFF2-40B4-BE49-F238E27FC236}">
                <a16:creationId xmlns:a16="http://schemas.microsoft.com/office/drawing/2014/main" id="{6D873691-4B31-48C0-A97A-649216B82889}"/>
              </a:ext>
            </a:extLst>
          </p:cNvPr>
          <p:cNvGrpSpPr>
            <a:grpSpLocks noChangeAspect="1"/>
          </p:cNvGrpSpPr>
          <p:nvPr/>
        </p:nvGrpSpPr>
        <p:grpSpPr>
          <a:xfrm>
            <a:off x="6885394" y="5776237"/>
            <a:ext cx="345281" cy="264639"/>
            <a:chOff x="9769475" y="2017713"/>
            <a:chExt cx="482600" cy="369887"/>
          </a:xfrm>
          <a:solidFill>
            <a:schemeClr val="tx2"/>
          </a:solidFill>
        </p:grpSpPr>
        <p:sp>
          <p:nvSpPr>
            <p:cNvPr id="62" name="Freeform 299">
              <a:extLst>
                <a:ext uri="{FF2B5EF4-FFF2-40B4-BE49-F238E27FC236}">
                  <a16:creationId xmlns:a16="http://schemas.microsoft.com/office/drawing/2014/main" id="{B3B6A77A-D876-41CD-B218-DB0CF6953567}"/>
                </a:ext>
              </a:extLst>
            </p:cNvPr>
            <p:cNvSpPr>
              <a:spLocks/>
            </p:cNvSpPr>
            <p:nvPr/>
          </p:nvSpPr>
          <p:spPr bwMode="auto">
            <a:xfrm>
              <a:off x="9769475" y="2371725"/>
              <a:ext cx="282575" cy="15875"/>
            </a:xfrm>
            <a:custGeom>
              <a:avLst/>
              <a:gdLst>
                <a:gd name="T0" fmla="*/ 689 w 710"/>
                <a:gd name="T1" fmla="*/ 40 h 40"/>
                <a:gd name="T2" fmla="*/ 20 w 710"/>
                <a:gd name="T3" fmla="*/ 40 h 40"/>
                <a:gd name="T4" fmla="*/ 20 w 710"/>
                <a:gd name="T5" fmla="*/ 40 h 40"/>
                <a:gd name="T6" fmla="*/ 16 w 710"/>
                <a:gd name="T7" fmla="*/ 40 h 40"/>
                <a:gd name="T8" fmla="*/ 13 w 710"/>
                <a:gd name="T9" fmla="*/ 38 h 40"/>
                <a:gd name="T10" fmla="*/ 9 w 710"/>
                <a:gd name="T11" fmla="*/ 37 h 40"/>
                <a:gd name="T12" fmla="*/ 6 w 710"/>
                <a:gd name="T13" fmla="*/ 34 h 40"/>
                <a:gd name="T14" fmla="*/ 3 w 710"/>
                <a:gd name="T15" fmla="*/ 32 h 40"/>
                <a:gd name="T16" fmla="*/ 2 w 710"/>
                <a:gd name="T17" fmla="*/ 28 h 40"/>
                <a:gd name="T18" fmla="*/ 1 w 710"/>
                <a:gd name="T19" fmla="*/ 24 h 40"/>
                <a:gd name="T20" fmla="*/ 0 w 710"/>
                <a:gd name="T21" fmla="*/ 20 h 40"/>
                <a:gd name="T22" fmla="*/ 0 w 710"/>
                <a:gd name="T23" fmla="*/ 20 h 40"/>
                <a:gd name="T24" fmla="*/ 1 w 710"/>
                <a:gd name="T25" fmla="*/ 16 h 40"/>
                <a:gd name="T26" fmla="*/ 2 w 710"/>
                <a:gd name="T27" fmla="*/ 13 h 40"/>
                <a:gd name="T28" fmla="*/ 3 w 710"/>
                <a:gd name="T29" fmla="*/ 8 h 40"/>
                <a:gd name="T30" fmla="*/ 6 w 710"/>
                <a:gd name="T31" fmla="*/ 6 h 40"/>
                <a:gd name="T32" fmla="*/ 9 w 710"/>
                <a:gd name="T33" fmla="*/ 3 h 40"/>
                <a:gd name="T34" fmla="*/ 13 w 710"/>
                <a:gd name="T35" fmla="*/ 2 h 40"/>
                <a:gd name="T36" fmla="*/ 16 w 710"/>
                <a:gd name="T37" fmla="*/ 0 h 40"/>
                <a:gd name="T38" fmla="*/ 20 w 710"/>
                <a:gd name="T39" fmla="*/ 0 h 40"/>
                <a:gd name="T40" fmla="*/ 689 w 710"/>
                <a:gd name="T41" fmla="*/ 0 h 40"/>
                <a:gd name="T42" fmla="*/ 689 w 710"/>
                <a:gd name="T43" fmla="*/ 0 h 40"/>
                <a:gd name="T44" fmla="*/ 693 w 710"/>
                <a:gd name="T45" fmla="*/ 0 h 40"/>
                <a:gd name="T46" fmla="*/ 697 w 710"/>
                <a:gd name="T47" fmla="*/ 2 h 40"/>
                <a:gd name="T48" fmla="*/ 700 w 710"/>
                <a:gd name="T49" fmla="*/ 3 h 40"/>
                <a:gd name="T50" fmla="*/ 703 w 710"/>
                <a:gd name="T51" fmla="*/ 6 h 40"/>
                <a:gd name="T52" fmla="*/ 705 w 710"/>
                <a:gd name="T53" fmla="*/ 8 h 40"/>
                <a:gd name="T54" fmla="*/ 707 w 710"/>
                <a:gd name="T55" fmla="*/ 13 h 40"/>
                <a:gd name="T56" fmla="*/ 708 w 710"/>
                <a:gd name="T57" fmla="*/ 16 h 40"/>
                <a:gd name="T58" fmla="*/ 710 w 710"/>
                <a:gd name="T59" fmla="*/ 20 h 40"/>
                <a:gd name="T60" fmla="*/ 710 w 710"/>
                <a:gd name="T61" fmla="*/ 20 h 40"/>
                <a:gd name="T62" fmla="*/ 708 w 710"/>
                <a:gd name="T63" fmla="*/ 24 h 40"/>
                <a:gd name="T64" fmla="*/ 707 w 710"/>
                <a:gd name="T65" fmla="*/ 28 h 40"/>
                <a:gd name="T66" fmla="*/ 705 w 710"/>
                <a:gd name="T67" fmla="*/ 32 h 40"/>
                <a:gd name="T68" fmla="*/ 703 w 710"/>
                <a:gd name="T69" fmla="*/ 34 h 40"/>
                <a:gd name="T70" fmla="*/ 700 w 710"/>
                <a:gd name="T71" fmla="*/ 37 h 40"/>
                <a:gd name="T72" fmla="*/ 697 w 710"/>
                <a:gd name="T73" fmla="*/ 38 h 40"/>
                <a:gd name="T74" fmla="*/ 693 w 710"/>
                <a:gd name="T75" fmla="*/ 40 h 40"/>
                <a:gd name="T76" fmla="*/ 689 w 710"/>
                <a:gd name="T77" fmla="*/ 40 h 40"/>
                <a:gd name="T78" fmla="*/ 689 w 710"/>
                <a:gd name="T7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0" h="40">
                  <a:moveTo>
                    <a:pt x="689" y="40"/>
                  </a:moveTo>
                  <a:lnTo>
                    <a:pt x="20" y="40"/>
                  </a:lnTo>
                  <a:lnTo>
                    <a:pt x="20" y="40"/>
                  </a:lnTo>
                  <a:lnTo>
                    <a:pt x="16" y="40"/>
                  </a:lnTo>
                  <a:lnTo>
                    <a:pt x="13" y="38"/>
                  </a:lnTo>
                  <a:lnTo>
                    <a:pt x="9" y="37"/>
                  </a:lnTo>
                  <a:lnTo>
                    <a:pt x="6" y="34"/>
                  </a:lnTo>
                  <a:lnTo>
                    <a:pt x="3" y="32"/>
                  </a:lnTo>
                  <a:lnTo>
                    <a:pt x="2" y="28"/>
                  </a:lnTo>
                  <a:lnTo>
                    <a:pt x="1" y="24"/>
                  </a:lnTo>
                  <a:lnTo>
                    <a:pt x="0" y="20"/>
                  </a:lnTo>
                  <a:lnTo>
                    <a:pt x="0" y="20"/>
                  </a:lnTo>
                  <a:lnTo>
                    <a:pt x="1" y="16"/>
                  </a:lnTo>
                  <a:lnTo>
                    <a:pt x="2" y="13"/>
                  </a:lnTo>
                  <a:lnTo>
                    <a:pt x="3" y="8"/>
                  </a:lnTo>
                  <a:lnTo>
                    <a:pt x="6" y="6"/>
                  </a:lnTo>
                  <a:lnTo>
                    <a:pt x="9" y="3"/>
                  </a:lnTo>
                  <a:lnTo>
                    <a:pt x="13" y="2"/>
                  </a:lnTo>
                  <a:lnTo>
                    <a:pt x="16" y="0"/>
                  </a:lnTo>
                  <a:lnTo>
                    <a:pt x="20" y="0"/>
                  </a:lnTo>
                  <a:lnTo>
                    <a:pt x="689" y="0"/>
                  </a:lnTo>
                  <a:lnTo>
                    <a:pt x="689" y="0"/>
                  </a:lnTo>
                  <a:lnTo>
                    <a:pt x="693" y="0"/>
                  </a:lnTo>
                  <a:lnTo>
                    <a:pt x="697" y="2"/>
                  </a:lnTo>
                  <a:lnTo>
                    <a:pt x="700" y="3"/>
                  </a:lnTo>
                  <a:lnTo>
                    <a:pt x="703" y="6"/>
                  </a:lnTo>
                  <a:lnTo>
                    <a:pt x="705" y="8"/>
                  </a:lnTo>
                  <a:lnTo>
                    <a:pt x="707" y="13"/>
                  </a:lnTo>
                  <a:lnTo>
                    <a:pt x="708" y="16"/>
                  </a:lnTo>
                  <a:lnTo>
                    <a:pt x="710" y="20"/>
                  </a:lnTo>
                  <a:lnTo>
                    <a:pt x="710" y="20"/>
                  </a:lnTo>
                  <a:lnTo>
                    <a:pt x="708" y="24"/>
                  </a:lnTo>
                  <a:lnTo>
                    <a:pt x="707" y="28"/>
                  </a:lnTo>
                  <a:lnTo>
                    <a:pt x="705" y="32"/>
                  </a:lnTo>
                  <a:lnTo>
                    <a:pt x="703" y="34"/>
                  </a:lnTo>
                  <a:lnTo>
                    <a:pt x="700" y="37"/>
                  </a:lnTo>
                  <a:lnTo>
                    <a:pt x="697" y="38"/>
                  </a:lnTo>
                  <a:lnTo>
                    <a:pt x="693" y="40"/>
                  </a:lnTo>
                  <a:lnTo>
                    <a:pt x="689" y="40"/>
                  </a:lnTo>
                  <a:lnTo>
                    <a:pt x="689" y="4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3" name="Freeform 300">
              <a:extLst>
                <a:ext uri="{FF2B5EF4-FFF2-40B4-BE49-F238E27FC236}">
                  <a16:creationId xmlns:a16="http://schemas.microsoft.com/office/drawing/2014/main" id="{67DFC486-2000-40F4-9F0C-71A8AC70BB83}"/>
                </a:ext>
              </a:extLst>
            </p:cNvPr>
            <p:cNvSpPr>
              <a:spLocks/>
            </p:cNvSpPr>
            <p:nvPr/>
          </p:nvSpPr>
          <p:spPr bwMode="auto">
            <a:xfrm>
              <a:off x="9769475" y="2017713"/>
              <a:ext cx="282575" cy="15875"/>
            </a:xfrm>
            <a:custGeom>
              <a:avLst/>
              <a:gdLst>
                <a:gd name="T0" fmla="*/ 689 w 710"/>
                <a:gd name="T1" fmla="*/ 41 h 41"/>
                <a:gd name="T2" fmla="*/ 20 w 710"/>
                <a:gd name="T3" fmla="*/ 41 h 41"/>
                <a:gd name="T4" fmla="*/ 20 w 710"/>
                <a:gd name="T5" fmla="*/ 41 h 41"/>
                <a:gd name="T6" fmla="*/ 16 w 710"/>
                <a:gd name="T7" fmla="*/ 41 h 41"/>
                <a:gd name="T8" fmla="*/ 13 w 710"/>
                <a:gd name="T9" fmla="*/ 40 h 41"/>
                <a:gd name="T10" fmla="*/ 9 w 710"/>
                <a:gd name="T11" fmla="*/ 37 h 41"/>
                <a:gd name="T12" fmla="*/ 6 w 710"/>
                <a:gd name="T13" fmla="*/ 35 h 41"/>
                <a:gd name="T14" fmla="*/ 3 w 710"/>
                <a:gd name="T15" fmla="*/ 32 h 41"/>
                <a:gd name="T16" fmla="*/ 2 w 710"/>
                <a:gd name="T17" fmla="*/ 29 h 41"/>
                <a:gd name="T18" fmla="*/ 1 w 710"/>
                <a:gd name="T19" fmla="*/ 25 h 41"/>
                <a:gd name="T20" fmla="*/ 0 w 710"/>
                <a:gd name="T21" fmla="*/ 20 h 41"/>
                <a:gd name="T22" fmla="*/ 0 w 710"/>
                <a:gd name="T23" fmla="*/ 20 h 41"/>
                <a:gd name="T24" fmla="*/ 1 w 710"/>
                <a:gd name="T25" fmla="*/ 16 h 41"/>
                <a:gd name="T26" fmla="*/ 2 w 710"/>
                <a:gd name="T27" fmla="*/ 13 h 41"/>
                <a:gd name="T28" fmla="*/ 3 w 710"/>
                <a:gd name="T29" fmla="*/ 10 h 41"/>
                <a:gd name="T30" fmla="*/ 6 w 710"/>
                <a:gd name="T31" fmla="*/ 6 h 41"/>
                <a:gd name="T32" fmla="*/ 9 w 710"/>
                <a:gd name="T33" fmla="*/ 3 h 41"/>
                <a:gd name="T34" fmla="*/ 13 w 710"/>
                <a:gd name="T35" fmla="*/ 2 h 41"/>
                <a:gd name="T36" fmla="*/ 16 w 710"/>
                <a:gd name="T37" fmla="*/ 1 h 41"/>
                <a:gd name="T38" fmla="*/ 20 w 710"/>
                <a:gd name="T39" fmla="*/ 0 h 41"/>
                <a:gd name="T40" fmla="*/ 689 w 710"/>
                <a:gd name="T41" fmla="*/ 0 h 41"/>
                <a:gd name="T42" fmla="*/ 689 w 710"/>
                <a:gd name="T43" fmla="*/ 0 h 41"/>
                <a:gd name="T44" fmla="*/ 693 w 710"/>
                <a:gd name="T45" fmla="*/ 1 h 41"/>
                <a:gd name="T46" fmla="*/ 697 w 710"/>
                <a:gd name="T47" fmla="*/ 2 h 41"/>
                <a:gd name="T48" fmla="*/ 700 w 710"/>
                <a:gd name="T49" fmla="*/ 3 h 41"/>
                <a:gd name="T50" fmla="*/ 703 w 710"/>
                <a:gd name="T51" fmla="*/ 6 h 41"/>
                <a:gd name="T52" fmla="*/ 705 w 710"/>
                <a:gd name="T53" fmla="*/ 10 h 41"/>
                <a:gd name="T54" fmla="*/ 707 w 710"/>
                <a:gd name="T55" fmla="*/ 13 h 41"/>
                <a:gd name="T56" fmla="*/ 708 w 710"/>
                <a:gd name="T57" fmla="*/ 16 h 41"/>
                <a:gd name="T58" fmla="*/ 710 w 710"/>
                <a:gd name="T59" fmla="*/ 20 h 41"/>
                <a:gd name="T60" fmla="*/ 710 w 710"/>
                <a:gd name="T61" fmla="*/ 20 h 41"/>
                <a:gd name="T62" fmla="*/ 708 w 710"/>
                <a:gd name="T63" fmla="*/ 25 h 41"/>
                <a:gd name="T64" fmla="*/ 707 w 710"/>
                <a:gd name="T65" fmla="*/ 29 h 41"/>
                <a:gd name="T66" fmla="*/ 705 w 710"/>
                <a:gd name="T67" fmla="*/ 32 h 41"/>
                <a:gd name="T68" fmla="*/ 703 w 710"/>
                <a:gd name="T69" fmla="*/ 35 h 41"/>
                <a:gd name="T70" fmla="*/ 700 w 710"/>
                <a:gd name="T71" fmla="*/ 37 h 41"/>
                <a:gd name="T72" fmla="*/ 697 w 710"/>
                <a:gd name="T73" fmla="*/ 40 h 41"/>
                <a:gd name="T74" fmla="*/ 693 w 710"/>
                <a:gd name="T75" fmla="*/ 41 h 41"/>
                <a:gd name="T76" fmla="*/ 689 w 710"/>
                <a:gd name="T77" fmla="*/ 41 h 41"/>
                <a:gd name="T78" fmla="*/ 689 w 710"/>
                <a:gd name="T7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0" h="41">
                  <a:moveTo>
                    <a:pt x="689" y="41"/>
                  </a:moveTo>
                  <a:lnTo>
                    <a:pt x="20" y="41"/>
                  </a:lnTo>
                  <a:lnTo>
                    <a:pt x="20" y="41"/>
                  </a:lnTo>
                  <a:lnTo>
                    <a:pt x="16" y="41"/>
                  </a:lnTo>
                  <a:lnTo>
                    <a:pt x="13" y="40"/>
                  </a:lnTo>
                  <a:lnTo>
                    <a:pt x="9" y="37"/>
                  </a:lnTo>
                  <a:lnTo>
                    <a:pt x="6" y="35"/>
                  </a:lnTo>
                  <a:lnTo>
                    <a:pt x="3" y="32"/>
                  </a:lnTo>
                  <a:lnTo>
                    <a:pt x="2" y="29"/>
                  </a:lnTo>
                  <a:lnTo>
                    <a:pt x="1" y="25"/>
                  </a:lnTo>
                  <a:lnTo>
                    <a:pt x="0" y="20"/>
                  </a:lnTo>
                  <a:lnTo>
                    <a:pt x="0" y="20"/>
                  </a:lnTo>
                  <a:lnTo>
                    <a:pt x="1" y="16"/>
                  </a:lnTo>
                  <a:lnTo>
                    <a:pt x="2" y="13"/>
                  </a:lnTo>
                  <a:lnTo>
                    <a:pt x="3" y="10"/>
                  </a:lnTo>
                  <a:lnTo>
                    <a:pt x="6" y="6"/>
                  </a:lnTo>
                  <a:lnTo>
                    <a:pt x="9" y="3"/>
                  </a:lnTo>
                  <a:lnTo>
                    <a:pt x="13" y="2"/>
                  </a:lnTo>
                  <a:lnTo>
                    <a:pt x="16" y="1"/>
                  </a:lnTo>
                  <a:lnTo>
                    <a:pt x="20" y="0"/>
                  </a:lnTo>
                  <a:lnTo>
                    <a:pt x="689" y="0"/>
                  </a:lnTo>
                  <a:lnTo>
                    <a:pt x="689" y="0"/>
                  </a:lnTo>
                  <a:lnTo>
                    <a:pt x="693" y="1"/>
                  </a:lnTo>
                  <a:lnTo>
                    <a:pt x="697" y="2"/>
                  </a:lnTo>
                  <a:lnTo>
                    <a:pt x="700" y="3"/>
                  </a:lnTo>
                  <a:lnTo>
                    <a:pt x="703" y="6"/>
                  </a:lnTo>
                  <a:lnTo>
                    <a:pt x="705" y="10"/>
                  </a:lnTo>
                  <a:lnTo>
                    <a:pt x="707" y="13"/>
                  </a:lnTo>
                  <a:lnTo>
                    <a:pt x="708" y="16"/>
                  </a:lnTo>
                  <a:lnTo>
                    <a:pt x="710" y="20"/>
                  </a:lnTo>
                  <a:lnTo>
                    <a:pt x="710" y="20"/>
                  </a:lnTo>
                  <a:lnTo>
                    <a:pt x="708" y="25"/>
                  </a:lnTo>
                  <a:lnTo>
                    <a:pt x="707" y="29"/>
                  </a:lnTo>
                  <a:lnTo>
                    <a:pt x="705" y="32"/>
                  </a:lnTo>
                  <a:lnTo>
                    <a:pt x="703" y="35"/>
                  </a:lnTo>
                  <a:lnTo>
                    <a:pt x="700" y="37"/>
                  </a:lnTo>
                  <a:lnTo>
                    <a:pt x="697" y="40"/>
                  </a:lnTo>
                  <a:lnTo>
                    <a:pt x="693" y="41"/>
                  </a:lnTo>
                  <a:lnTo>
                    <a:pt x="689" y="41"/>
                  </a:lnTo>
                  <a:lnTo>
                    <a:pt x="689" y="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4" name="Freeform 301">
              <a:extLst>
                <a:ext uri="{FF2B5EF4-FFF2-40B4-BE49-F238E27FC236}">
                  <a16:creationId xmlns:a16="http://schemas.microsoft.com/office/drawing/2014/main" id="{A0665FD7-C11C-4254-B615-56DB40741CBB}"/>
                </a:ext>
              </a:extLst>
            </p:cNvPr>
            <p:cNvSpPr>
              <a:spLocks/>
            </p:cNvSpPr>
            <p:nvPr/>
          </p:nvSpPr>
          <p:spPr bwMode="auto">
            <a:xfrm>
              <a:off x="9769475" y="2098675"/>
              <a:ext cx="482600" cy="209550"/>
            </a:xfrm>
            <a:custGeom>
              <a:avLst/>
              <a:gdLst>
                <a:gd name="T0" fmla="*/ 1208 w 1216"/>
                <a:gd name="T1" fmla="*/ 248 h 527"/>
                <a:gd name="T2" fmla="*/ 925 w 1216"/>
                <a:gd name="T3" fmla="*/ 5 h 527"/>
                <a:gd name="T4" fmla="*/ 925 w 1216"/>
                <a:gd name="T5" fmla="*/ 5 h 527"/>
                <a:gd name="T6" fmla="*/ 920 w 1216"/>
                <a:gd name="T7" fmla="*/ 1 h 527"/>
                <a:gd name="T8" fmla="*/ 915 w 1216"/>
                <a:gd name="T9" fmla="*/ 0 h 527"/>
                <a:gd name="T10" fmla="*/ 909 w 1216"/>
                <a:gd name="T11" fmla="*/ 0 h 527"/>
                <a:gd name="T12" fmla="*/ 903 w 1216"/>
                <a:gd name="T13" fmla="*/ 1 h 527"/>
                <a:gd name="T14" fmla="*/ 903 w 1216"/>
                <a:gd name="T15" fmla="*/ 1 h 527"/>
                <a:gd name="T16" fmla="*/ 899 w 1216"/>
                <a:gd name="T17" fmla="*/ 5 h 527"/>
                <a:gd name="T18" fmla="*/ 895 w 1216"/>
                <a:gd name="T19" fmla="*/ 9 h 527"/>
                <a:gd name="T20" fmla="*/ 893 w 1216"/>
                <a:gd name="T21" fmla="*/ 14 h 527"/>
                <a:gd name="T22" fmla="*/ 891 w 1216"/>
                <a:gd name="T23" fmla="*/ 20 h 527"/>
                <a:gd name="T24" fmla="*/ 891 w 1216"/>
                <a:gd name="T25" fmla="*/ 223 h 527"/>
                <a:gd name="T26" fmla="*/ 20 w 1216"/>
                <a:gd name="T27" fmla="*/ 223 h 527"/>
                <a:gd name="T28" fmla="*/ 20 w 1216"/>
                <a:gd name="T29" fmla="*/ 223 h 527"/>
                <a:gd name="T30" fmla="*/ 16 w 1216"/>
                <a:gd name="T31" fmla="*/ 223 h 527"/>
                <a:gd name="T32" fmla="*/ 13 w 1216"/>
                <a:gd name="T33" fmla="*/ 224 h 527"/>
                <a:gd name="T34" fmla="*/ 9 w 1216"/>
                <a:gd name="T35" fmla="*/ 226 h 527"/>
                <a:gd name="T36" fmla="*/ 6 w 1216"/>
                <a:gd name="T37" fmla="*/ 228 h 527"/>
                <a:gd name="T38" fmla="*/ 3 w 1216"/>
                <a:gd name="T39" fmla="*/ 232 h 527"/>
                <a:gd name="T40" fmla="*/ 2 w 1216"/>
                <a:gd name="T41" fmla="*/ 235 h 527"/>
                <a:gd name="T42" fmla="*/ 1 w 1216"/>
                <a:gd name="T43" fmla="*/ 239 h 527"/>
                <a:gd name="T44" fmla="*/ 0 w 1216"/>
                <a:gd name="T45" fmla="*/ 243 h 527"/>
                <a:gd name="T46" fmla="*/ 0 w 1216"/>
                <a:gd name="T47" fmla="*/ 284 h 527"/>
                <a:gd name="T48" fmla="*/ 0 w 1216"/>
                <a:gd name="T49" fmla="*/ 284 h 527"/>
                <a:gd name="T50" fmla="*/ 1 w 1216"/>
                <a:gd name="T51" fmla="*/ 287 h 527"/>
                <a:gd name="T52" fmla="*/ 2 w 1216"/>
                <a:gd name="T53" fmla="*/ 292 h 527"/>
                <a:gd name="T54" fmla="*/ 3 w 1216"/>
                <a:gd name="T55" fmla="*/ 295 h 527"/>
                <a:gd name="T56" fmla="*/ 6 w 1216"/>
                <a:gd name="T57" fmla="*/ 298 h 527"/>
                <a:gd name="T58" fmla="*/ 9 w 1216"/>
                <a:gd name="T59" fmla="*/ 300 h 527"/>
                <a:gd name="T60" fmla="*/ 13 w 1216"/>
                <a:gd name="T61" fmla="*/ 302 h 527"/>
                <a:gd name="T62" fmla="*/ 16 w 1216"/>
                <a:gd name="T63" fmla="*/ 303 h 527"/>
                <a:gd name="T64" fmla="*/ 20 w 1216"/>
                <a:gd name="T65" fmla="*/ 303 h 527"/>
                <a:gd name="T66" fmla="*/ 891 w 1216"/>
                <a:gd name="T67" fmla="*/ 303 h 527"/>
                <a:gd name="T68" fmla="*/ 891 w 1216"/>
                <a:gd name="T69" fmla="*/ 507 h 527"/>
                <a:gd name="T70" fmla="*/ 891 w 1216"/>
                <a:gd name="T71" fmla="*/ 507 h 527"/>
                <a:gd name="T72" fmla="*/ 893 w 1216"/>
                <a:gd name="T73" fmla="*/ 512 h 527"/>
                <a:gd name="T74" fmla="*/ 895 w 1216"/>
                <a:gd name="T75" fmla="*/ 517 h 527"/>
                <a:gd name="T76" fmla="*/ 899 w 1216"/>
                <a:gd name="T77" fmla="*/ 522 h 527"/>
                <a:gd name="T78" fmla="*/ 903 w 1216"/>
                <a:gd name="T79" fmla="*/ 525 h 527"/>
                <a:gd name="T80" fmla="*/ 903 w 1216"/>
                <a:gd name="T81" fmla="*/ 525 h 527"/>
                <a:gd name="T82" fmla="*/ 908 w 1216"/>
                <a:gd name="T83" fmla="*/ 526 h 527"/>
                <a:gd name="T84" fmla="*/ 912 w 1216"/>
                <a:gd name="T85" fmla="*/ 527 h 527"/>
                <a:gd name="T86" fmla="*/ 912 w 1216"/>
                <a:gd name="T87" fmla="*/ 527 h 527"/>
                <a:gd name="T88" fmla="*/ 918 w 1216"/>
                <a:gd name="T89" fmla="*/ 526 h 527"/>
                <a:gd name="T90" fmla="*/ 923 w 1216"/>
                <a:gd name="T91" fmla="*/ 524 h 527"/>
                <a:gd name="T92" fmla="*/ 925 w 1216"/>
                <a:gd name="T93" fmla="*/ 522 h 527"/>
                <a:gd name="T94" fmla="*/ 1208 w 1216"/>
                <a:gd name="T95" fmla="*/ 279 h 527"/>
                <a:gd name="T96" fmla="*/ 1208 w 1216"/>
                <a:gd name="T97" fmla="*/ 279 h 527"/>
                <a:gd name="T98" fmla="*/ 1212 w 1216"/>
                <a:gd name="T99" fmla="*/ 275 h 527"/>
                <a:gd name="T100" fmla="*/ 1214 w 1216"/>
                <a:gd name="T101" fmla="*/ 271 h 527"/>
                <a:gd name="T102" fmla="*/ 1215 w 1216"/>
                <a:gd name="T103" fmla="*/ 268 h 527"/>
                <a:gd name="T104" fmla="*/ 1216 w 1216"/>
                <a:gd name="T105" fmla="*/ 264 h 527"/>
                <a:gd name="T106" fmla="*/ 1216 w 1216"/>
                <a:gd name="T107" fmla="*/ 264 h 527"/>
                <a:gd name="T108" fmla="*/ 1215 w 1216"/>
                <a:gd name="T109" fmla="*/ 259 h 527"/>
                <a:gd name="T110" fmla="*/ 1214 w 1216"/>
                <a:gd name="T111" fmla="*/ 255 h 527"/>
                <a:gd name="T112" fmla="*/ 1212 w 1216"/>
                <a:gd name="T113" fmla="*/ 251 h 527"/>
                <a:gd name="T114" fmla="*/ 1208 w 1216"/>
                <a:gd name="T115" fmla="*/ 248 h 527"/>
                <a:gd name="T116" fmla="*/ 1208 w 1216"/>
                <a:gd name="T117" fmla="*/ 248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16" h="527">
                  <a:moveTo>
                    <a:pt x="1208" y="248"/>
                  </a:moveTo>
                  <a:lnTo>
                    <a:pt x="925" y="5"/>
                  </a:lnTo>
                  <a:lnTo>
                    <a:pt x="925" y="5"/>
                  </a:lnTo>
                  <a:lnTo>
                    <a:pt x="920" y="1"/>
                  </a:lnTo>
                  <a:lnTo>
                    <a:pt x="915" y="0"/>
                  </a:lnTo>
                  <a:lnTo>
                    <a:pt x="909" y="0"/>
                  </a:lnTo>
                  <a:lnTo>
                    <a:pt x="903" y="1"/>
                  </a:lnTo>
                  <a:lnTo>
                    <a:pt x="903" y="1"/>
                  </a:lnTo>
                  <a:lnTo>
                    <a:pt x="899" y="5"/>
                  </a:lnTo>
                  <a:lnTo>
                    <a:pt x="895" y="9"/>
                  </a:lnTo>
                  <a:lnTo>
                    <a:pt x="893" y="14"/>
                  </a:lnTo>
                  <a:lnTo>
                    <a:pt x="891" y="20"/>
                  </a:lnTo>
                  <a:lnTo>
                    <a:pt x="891" y="223"/>
                  </a:lnTo>
                  <a:lnTo>
                    <a:pt x="20" y="223"/>
                  </a:lnTo>
                  <a:lnTo>
                    <a:pt x="20" y="223"/>
                  </a:lnTo>
                  <a:lnTo>
                    <a:pt x="16" y="223"/>
                  </a:lnTo>
                  <a:lnTo>
                    <a:pt x="13" y="224"/>
                  </a:lnTo>
                  <a:lnTo>
                    <a:pt x="9" y="226"/>
                  </a:lnTo>
                  <a:lnTo>
                    <a:pt x="6" y="228"/>
                  </a:lnTo>
                  <a:lnTo>
                    <a:pt x="3" y="232"/>
                  </a:lnTo>
                  <a:lnTo>
                    <a:pt x="2" y="235"/>
                  </a:lnTo>
                  <a:lnTo>
                    <a:pt x="1" y="239"/>
                  </a:lnTo>
                  <a:lnTo>
                    <a:pt x="0" y="243"/>
                  </a:lnTo>
                  <a:lnTo>
                    <a:pt x="0" y="284"/>
                  </a:lnTo>
                  <a:lnTo>
                    <a:pt x="0" y="284"/>
                  </a:lnTo>
                  <a:lnTo>
                    <a:pt x="1" y="287"/>
                  </a:lnTo>
                  <a:lnTo>
                    <a:pt x="2" y="292"/>
                  </a:lnTo>
                  <a:lnTo>
                    <a:pt x="3" y="295"/>
                  </a:lnTo>
                  <a:lnTo>
                    <a:pt x="6" y="298"/>
                  </a:lnTo>
                  <a:lnTo>
                    <a:pt x="9" y="300"/>
                  </a:lnTo>
                  <a:lnTo>
                    <a:pt x="13" y="302"/>
                  </a:lnTo>
                  <a:lnTo>
                    <a:pt x="16" y="303"/>
                  </a:lnTo>
                  <a:lnTo>
                    <a:pt x="20" y="303"/>
                  </a:lnTo>
                  <a:lnTo>
                    <a:pt x="891" y="303"/>
                  </a:lnTo>
                  <a:lnTo>
                    <a:pt x="891" y="507"/>
                  </a:lnTo>
                  <a:lnTo>
                    <a:pt x="891" y="507"/>
                  </a:lnTo>
                  <a:lnTo>
                    <a:pt x="893" y="512"/>
                  </a:lnTo>
                  <a:lnTo>
                    <a:pt x="895" y="517"/>
                  </a:lnTo>
                  <a:lnTo>
                    <a:pt x="899" y="522"/>
                  </a:lnTo>
                  <a:lnTo>
                    <a:pt x="903" y="525"/>
                  </a:lnTo>
                  <a:lnTo>
                    <a:pt x="903" y="525"/>
                  </a:lnTo>
                  <a:lnTo>
                    <a:pt x="908" y="526"/>
                  </a:lnTo>
                  <a:lnTo>
                    <a:pt x="912" y="527"/>
                  </a:lnTo>
                  <a:lnTo>
                    <a:pt x="912" y="527"/>
                  </a:lnTo>
                  <a:lnTo>
                    <a:pt x="918" y="526"/>
                  </a:lnTo>
                  <a:lnTo>
                    <a:pt x="923" y="524"/>
                  </a:lnTo>
                  <a:lnTo>
                    <a:pt x="925" y="522"/>
                  </a:lnTo>
                  <a:lnTo>
                    <a:pt x="1208" y="279"/>
                  </a:lnTo>
                  <a:lnTo>
                    <a:pt x="1208" y="279"/>
                  </a:lnTo>
                  <a:lnTo>
                    <a:pt x="1212" y="275"/>
                  </a:lnTo>
                  <a:lnTo>
                    <a:pt x="1214" y="271"/>
                  </a:lnTo>
                  <a:lnTo>
                    <a:pt x="1215" y="268"/>
                  </a:lnTo>
                  <a:lnTo>
                    <a:pt x="1216" y="264"/>
                  </a:lnTo>
                  <a:lnTo>
                    <a:pt x="1216" y="264"/>
                  </a:lnTo>
                  <a:lnTo>
                    <a:pt x="1215" y="259"/>
                  </a:lnTo>
                  <a:lnTo>
                    <a:pt x="1214" y="255"/>
                  </a:lnTo>
                  <a:lnTo>
                    <a:pt x="1212" y="251"/>
                  </a:lnTo>
                  <a:lnTo>
                    <a:pt x="1208" y="248"/>
                  </a:lnTo>
                  <a:lnTo>
                    <a:pt x="1208" y="24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65" name="Group 64">
            <a:extLst>
              <a:ext uri="{FF2B5EF4-FFF2-40B4-BE49-F238E27FC236}">
                <a16:creationId xmlns:a16="http://schemas.microsoft.com/office/drawing/2014/main" id="{A080B2FE-ABA4-483F-8598-364C51531A7D}"/>
              </a:ext>
            </a:extLst>
          </p:cNvPr>
          <p:cNvGrpSpPr>
            <a:grpSpLocks noChangeAspect="1"/>
          </p:cNvGrpSpPr>
          <p:nvPr/>
        </p:nvGrpSpPr>
        <p:grpSpPr>
          <a:xfrm>
            <a:off x="6884637" y="4148986"/>
            <a:ext cx="288926" cy="288925"/>
            <a:chOff x="4173538" y="3455988"/>
            <a:chExt cx="288926" cy="288925"/>
          </a:xfrm>
        </p:grpSpPr>
        <p:sp>
          <p:nvSpPr>
            <p:cNvPr id="66" name="Freeform 174">
              <a:extLst>
                <a:ext uri="{FF2B5EF4-FFF2-40B4-BE49-F238E27FC236}">
                  <a16:creationId xmlns:a16="http://schemas.microsoft.com/office/drawing/2014/main" id="{21D1D0D7-5FE9-4A95-BC85-F98F068389E1}"/>
                </a:ext>
              </a:extLst>
            </p:cNvPr>
            <p:cNvSpPr>
              <a:spLocks/>
            </p:cNvSpPr>
            <p:nvPr/>
          </p:nvSpPr>
          <p:spPr bwMode="auto">
            <a:xfrm>
              <a:off x="4173538" y="3503613"/>
              <a:ext cx="241300" cy="241300"/>
            </a:xfrm>
            <a:custGeom>
              <a:avLst/>
              <a:gdLst>
                <a:gd name="T0" fmla="*/ 168 w 304"/>
                <a:gd name="T1" fmla="*/ 302 h 304"/>
                <a:gd name="T2" fmla="*/ 211 w 304"/>
                <a:gd name="T3" fmla="*/ 292 h 304"/>
                <a:gd name="T4" fmla="*/ 249 w 304"/>
                <a:gd name="T5" fmla="*/ 269 h 304"/>
                <a:gd name="T6" fmla="*/ 278 w 304"/>
                <a:gd name="T7" fmla="*/ 236 h 304"/>
                <a:gd name="T8" fmla="*/ 297 w 304"/>
                <a:gd name="T9" fmla="*/ 196 h 304"/>
                <a:gd name="T10" fmla="*/ 304 w 304"/>
                <a:gd name="T11" fmla="*/ 152 h 304"/>
                <a:gd name="T12" fmla="*/ 302 w 304"/>
                <a:gd name="T13" fmla="*/ 126 h 304"/>
                <a:gd name="T14" fmla="*/ 290 w 304"/>
                <a:gd name="T15" fmla="*/ 90 h 304"/>
                <a:gd name="T16" fmla="*/ 272 w 304"/>
                <a:gd name="T17" fmla="*/ 58 h 304"/>
                <a:gd name="T18" fmla="*/ 235 w 304"/>
                <a:gd name="T19" fmla="*/ 113 h 304"/>
                <a:gd name="T20" fmla="*/ 243 w 304"/>
                <a:gd name="T21" fmla="*/ 152 h 304"/>
                <a:gd name="T22" fmla="*/ 242 w 304"/>
                <a:gd name="T23" fmla="*/ 171 h 304"/>
                <a:gd name="T24" fmla="*/ 233 w 304"/>
                <a:gd name="T25" fmla="*/ 195 h 304"/>
                <a:gd name="T26" fmla="*/ 216 w 304"/>
                <a:gd name="T27" fmla="*/ 216 h 304"/>
                <a:gd name="T28" fmla="*/ 196 w 304"/>
                <a:gd name="T29" fmla="*/ 232 h 304"/>
                <a:gd name="T30" fmla="*/ 171 w 304"/>
                <a:gd name="T31" fmla="*/ 241 h 304"/>
                <a:gd name="T32" fmla="*/ 152 w 304"/>
                <a:gd name="T33" fmla="*/ 243 h 304"/>
                <a:gd name="T34" fmla="*/ 125 w 304"/>
                <a:gd name="T35" fmla="*/ 239 h 304"/>
                <a:gd name="T36" fmla="*/ 101 w 304"/>
                <a:gd name="T37" fmla="*/ 227 h 304"/>
                <a:gd name="T38" fmla="*/ 82 w 304"/>
                <a:gd name="T39" fmla="*/ 210 h 304"/>
                <a:gd name="T40" fmla="*/ 69 w 304"/>
                <a:gd name="T41" fmla="*/ 187 h 304"/>
                <a:gd name="T42" fmla="*/ 62 w 304"/>
                <a:gd name="T43" fmla="*/ 161 h 304"/>
                <a:gd name="T44" fmla="*/ 62 w 304"/>
                <a:gd name="T45" fmla="*/ 142 h 304"/>
                <a:gd name="T46" fmla="*/ 69 w 304"/>
                <a:gd name="T47" fmla="*/ 117 h 304"/>
                <a:gd name="T48" fmla="*/ 82 w 304"/>
                <a:gd name="T49" fmla="*/ 94 h 304"/>
                <a:gd name="T50" fmla="*/ 101 w 304"/>
                <a:gd name="T51" fmla="*/ 77 h 304"/>
                <a:gd name="T52" fmla="*/ 125 w 304"/>
                <a:gd name="T53" fmla="*/ 65 h 304"/>
                <a:gd name="T54" fmla="*/ 152 w 304"/>
                <a:gd name="T55" fmla="*/ 61 h 304"/>
                <a:gd name="T56" fmla="*/ 179 w 304"/>
                <a:gd name="T57" fmla="*/ 65 h 304"/>
                <a:gd name="T58" fmla="*/ 246 w 304"/>
                <a:gd name="T59" fmla="*/ 32 h 304"/>
                <a:gd name="T60" fmla="*/ 226 w 304"/>
                <a:gd name="T61" fmla="*/ 19 h 304"/>
                <a:gd name="T62" fmla="*/ 191 w 304"/>
                <a:gd name="T63" fmla="*/ 5 h 304"/>
                <a:gd name="T64" fmla="*/ 152 w 304"/>
                <a:gd name="T65" fmla="*/ 0 h 304"/>
                <a:gd name="T66" fmla="*/ 122 w 304"/>
                <a:gd name="T67" fmla="*/ 3 h 304"/>
                <a:gd name="T68" fmla="*/ 81 w 304"/>
                <a:gd name="T69" fmla="*/ 19 h 304"/>
                <a:gd name="T70" fmla="*/ 46 w 304"/>
                <a:gd name="T71" fmla="*/ 44 h 304"/>
                <a:gd name="T72" fmla="*/ 19 w 304"/>
                <a:gd name="T73" fmla="*/ 79 h 304"/>
                <a:gd name="T74" fmla="*/ 4 w 304"/>
                <a:gd name="T75" fmla="*/ 121 h 304"/>
                <a:gd name="T76" fmla="*/ 0 w 304"/>
                <a:gd name="T77" fmla="*/ 152 h 304"/>
                <a:gd name="T78" fmla="*/ 8 w 304"/>
                <a:gd name="T79" fmla="*/ 196 h 304"/>
                <a:gd name="T80" fmla="*/ 27 w 304"/>
                <a:gd name="T81" fmla="*/ 236 h 304"/>
                <a:gd name="T82" fmla="*/ 57 w 304"/>
                <a:gd name="T83" fmla="*/ 269 h 304"/>
                <a:gd name="T84" fmla="*/ 93 w 304"/>
                <a:gd name="T85" fmla="*/ 292 h 304"/>
                <a:gd name="T86" fmla="*/ 137 w 304"/>
                <a:gd name="T87" fmla="*/ 302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4" h="304">
                  <a:moveTo>
                    <a:pt x="152" y="304"/>
                  </a:moveTo>
                  <a:lnTo>
                    <a:pt x="152" y="304"/>
                  </a:lnTo>
                  <a:lnTo>
                    <a:pt x="168" y="302"/>
                  </a:lnTo>
                  <a:lnTo>
                    <a:pt x="183" y="301"/>
                  </a:lnTo>
                  <a:lnTo>
                    <a:pt x="198" y="297"/>
                  </a:lnTo>
                  <a:lnTo>
                    <a:pt x="211" y="292"/>
                  </a:lnTo>
                  <a:lnTo>
                    <a:pt x="225" y="285"/>
                  </a:lnTo>
                  <a:lnTo>
                    <a:pt x="237" y="278"/>
                  </a:lnTo>
                  <a:lnTo>
                    <a:pt x="249" y="269"/>
                  </a:lnTo>
                  <a:lnTo>
                    <a:pt x="259" y="259"/>
                  </a:lnTo>
                  <a:lnTo>
                    <a:pt x="269" y="249"/>
                  </a:lnTo>
                  <a:lnTo>
                    <a:pt x="278" y="236"/>
                  </a:lnTo>
                  <a:lnTo>
                    <a:pt x="286" y="224"/>
                  </a:lnTo>
                  <a:lnTo>
                    <a:pt x="292" y="211"/>
                  </a:lnTo>
                  <a:lnTo>
                    <a:pt x="297" y="196"/>
                  </a:lnTo>
                  <a:lnTo>
                    <a:pt x="301" y="183"/>
                  </a:lnTo>
                  <a:lnTo>
                    <a:pt x="304" y="167"/>
                  </a:lnTo>
                  <a:lnTo>
                    <a:pt x="304" y="152"/>
                  </a:lnTo>
                  <a:lnTo>
                    <a:pt x="304" y="152"/>
                  </a:lnTo>
                  <a:lnTo>
                    <a:pt x="304" y="138"/>
                  </a:lnTo>
                  <a:lnTo>
                    <a:pt x="302" y="126"/>
                  </a:lnTo>
                  <a:lnTo>
                    <a:pt x="300" y="113"/>
                  </a:lnTo>
                  <a:lnTo>
                    <a:pt x="296" y="101"/>
                  </a:lnTo>
                  <a:lnTo>
                    <a:pt x="290" y="90"/>
                  </a:lnTo>
                  <a:lnTo>
                    <a:pt x="285" y="79"/>
                  </a:lnTo>
                  <a:lnTo>
                    <a:pt x="280" y="69"/>
                  </a:lnTo>
                  <a:lnTo>
                    <a:pt x="272" y="58"/>
                  </a:lnTo>
                  <a:lnTo>
                    <a:pt x="229" y="102"/>
                  </a:lnTo>
                  <a:lnTo>
                    <a:pt x="229" y="102"/>
                  </a:lnTo>
                  <a:lnTo>
                    <a:pt x="235" y="113"/>
                  </a:lnTo>
                  <a:lnTo>
                    <a:pt x="239" y="125"/>
                  </a:lnTo>
                  <a:lnTo>
                    <a:pt x="242" y="138"/>
                  </a:lnTo>
                  <a:lnTo>
                    <a:pt x="243" y="152"/>
                  </a:lnTo>
                  <a:lnTo>
                    <a:pt x="243" y="152"/>
                  </a:lnTo>
                  <a:lnTo>
                    <a:pt x="243" y="161"/>
                  </a:lnTo>
                  <a:lnTo>
                    <a:pt x="242" y="171"/>
                  </a:lnTo>
                  <a:lnTo>
                    <a:pt x="239" y="179"/>
                  </a:lnTo>
                  <a:lnTo>
                    <a:pt x="237" y="187"/>
                  </a:lnTo>
                  <a:lnTo>
                    <a:pt x="233" y="195"/>
                  </a:lnTo>
                  <a:lnTo>
                    <a:pt x="229" y="203"/>
                  </a:lnTo>
                  <a:lnTo>
                    <a:pt x="223" y="210"/>
                  </a:lnTo>
                  <a:lnTo>
                    <a:pt x="216" y="216"/>
                  </a:lnTo>
                  <a:lnTo>
                    <a:pt x="210" y="222"/>
                  </a:lnTo>
                  <a:lnTo>
                    <a:pt x="203" y="227"/>
                  </a:lnTo>
                  <a:lnTo>
                    <a:pt x="196" y="232"/>
                  </a:lnTo>
                  <a:lnTo>
                    <a:pt x="188" y="235"/>
                  </a:lnTo>
                  <a:lnTo>
                    <a:pt x="179" y="239"/>
                  </a:lnTo>
                  <a:lnTo>
                    <a:pt x="171" y="241"/>
                  </a:lnTo>
                  <a:lnTo>
                    <a:pt x="161" y="242"/>
                  </a:lnTo>
                  <a:lnTo>
                    <a:pt x="152" y="243"/>
                  </a:lnTo>
                  <a:lnTo>
                    <a:pt x="152" y="243"/>
                  </a:lnTo>
                  <a:lnTo>
                    <a:pt x="143" y="242"/>
                  </a:lnTo>
                  <a:lnTo>
                    <a:pt x="135" y="241"/>
                  </a:lnTo>
                  <a:lnTo>
                    <a:pt x="125" y="239"/>
                  </a:lnTo>
                  <a:lnTo>
                    <a:pt x="117" y="235"/>
                  </a:lnTo>
                  <a:lnTo>
                    <a:pt x="109" y="232"/>
                  </a:lnTo>
                  <a:lnTo>
                    <a:pt x="101" y="227"/>
                  </a:lnTo>
                  <a:lnTo>
                    <a:pt x="94" y="222"/>
                  </a:lnTo>
                  <a:lnTo>
                    <a:pt x="88" y="216"/>
                  </a:lnTo>
                  <a:lnTo>
                    <a:pt x="82" y="210"/>
                  </a:lnTo>
                  <a:lnTo>
                    <a:pt x="77" y="203"/>
                  </a:lnTo>
                  <a:lnTo>
                    <a:pt x="73" y="195"/>
                  </a:lnTo>
                  <a:lnTo>
                    <a:pt x="69" y="187"/>
                  </a:lnTo>
                  <a:lnTo>
                    <a:pt x="66" y="179"/>
                  </a:lnTo>
                  <a:lnTo>
                    <a:pt x="63" y="171"/>
                  </a:lnTo>
                  <a:lnTo>
                    <a:pt x="62" y="161"/>
                  </a:lnTo>
                  <a:lnTo>
                    <a:pt x="62" y="152"/>
                  </a:lnTo>
                  <a:lnTo>
                    <a:pt x="62" y="152"/>
                  </a:lnTo>
                  <a:lnTo>
                    <a:pt x="62" y="142"/>
                  </a:lnTo>
                  <a:lnTo>
                    <a:pt x="63" y="133"/>
                  </a:lnTo>
                  <a:lnTo>
                    <a:pt x="66" y="125"/>
                  </a:lnTo>
                  <a:lnTo>
                    <a:pt x="69" y="117"/>
                  </a:lnTo>
                  <a:lnTo>
                    <a:pt x="73" y="109"/>
                  </a:lnTo>
                  <a:lnTo>
                    <a:pt x="77" y="101"/>
                  </a:lnTo>
                  <a:lnTo>
                    <a:pt x="82" y="94"/>
                  </a:lnTo>
                  <a:lnTo>
                    <a:pt x="88" y="87"/>
                  </a:lnTo>
                  <a:lnTo>
                    <a:pt x="94" y="82"/>
                  </a:lnTo>
                  <a:lnTo>
                    <a:pt x="101" y="77"/>
                  </a:lnTo>
                  <a:lnTo>
                    <a:pt x="109" y="71"/>
                  </a:lnTo>
                  <a:lnTo>
                    <a:pt x="117" y="69"/>
                  </a:lnTo>
                  <a:lnTo>
                    <a:pt x="125" y="65"/>
                  </a:lnTo>
                  <a:lnTo>
                    <a:pt x="135" y="63"/>
                  </a:lnTo>
                  <a:lnTo>
                    <a:pt x="143" y="62"/>
                  </a:lnTo>
                  <a:lnTo>
                    <a:pt x="152" y="61"/>
                  </a:lnTo>
                  <a:lnTo>
                    <a:pt x="152" y="61"/>
                  </a:lnTo>
                  <a:lnTo>
                    <a:pt x="165" y="62"/>
                  </a:lnTo>
                  <a:lnTo>
                    <a:pt x="179" y="65"/>
                  </a:lnTo>
                  <a:lnTo>
                    <a:pt x="191" y="70"/>
                  </a:lnTo>
                  <a:lnTo>
                    <a:pt x="203" y="75"/>
                  </a:lnTo>
                  <a:lnTo>
                    <a:pt x="246" y="32"/>
                  </a:lnTo>
                  <a:lnTo>
                    <a:pt x="246" y="32"/>
                  </a:lnTo>
                  <a:lnTo>
                    <a:pt x="237" y="26"/>
                  </a:lnTo>
                  <a:lnTo>
                    <a:pt x="226" y="19"/>
                  </a:lnTo>
                  <a:lnTo>
                    <a:pt x="214" y="14"/>
                  </a:lnTo>
                  <a:lnTo>
                    <a:pt x="203" y="8"/>
                  </a:lnTo>
                  <a:lnTo>
                    <a:pt x="191" y="5"/>
                  </a:lnTo>
                  <a:lnTo>
                    <a:pt x="179" y="3"/>
                  </a:lnTo>
                  <a:lnTo>
                    <a:pt x="165" y="0"/>
                  </a:lnTo>
                  <a:lnTo>
                    <a:pt x="152" y="0"/>
                  </a:lnTo>
                  <a:lnTo>
                    <a:pt x="152" y="0"/>
                  </a:lnTo>
                  <a:lnTo>
                    <a:pt x="137" y="1"/>
                  </a:lnTo>
                  <a:lnTo>
                    <a:pt x="122" y="3"/>
                  </a:lnTo>
                  <a:lnTo>
                    <a:pt x="108" y="7"/>
                  </a:lnTo>
                  <a:lnTo>
                    <a:pt x="93" y="12"/>
                  </a:lnTo>
                  <a:lnTo>
                    <a:pt x="81" y="19"/>
                  </a:lnTo>
                  <a:lnTo>
                    <a:pt x="67" y="26"/>
                  </a:lnTo>
                  <a:lnTo>
                    <a:pt x="57" y="35"/>
                  </a:lnTo>
                  <a:lnTo>
                    <a:pt x="46" y="44"/>
                  </a:lnTo>
                  <a:lnTo>
                    <a:pt x="35" y="55"/>
                  </a:lnTo>
                  <a:lnTo>
                    <a:pt x="27" y="67"/>
                  </a:lnTo>
                  <a:lnTo>
                    <a:pt x="19" y="79"/>
                  </a:lnTo>
                  <a:lnTo>
                    <a:pt x="12" y="93"/>
                  </a:lnTo>
                  <a:lnTo>
                    <a:pt x="8" y="106"/>
                  </a:lnTo>
                  <a:lnTo>
                    <a:pt x="4" y="121"/>
                  </a:lnTo>
                  <a:lnTo>
                    <a:pt x="2" y="136"/>
                  </a:lnTo>
                  <a:lnTo>
                    <a:pt x="0" y="152"/>
                  </a:lnTo>
                  <a:lnTo>
                    <a:pt x="0" y="152"/>
                  </a:lnTo>
                  <a:lnTo>
                    <a:pt x="2" y="167"/>
                  </a:lnTo>
                  <a:lnTo>
                    <a:pt x="4" y="183"/>
                  </a:lnTo>
                  <a:lnTo>
                    <a:pt x="8" y="196"/>
                  </a:lnTo>
                  <a:lnTo>
                    <a:pt x="12" y="211"/>
                  </a:lnTo>
                  <a:lnTo>
                    <a:pt x="19" y="224"/>
                  </a:lnTo>
                  <a:lnTo>
                    <a:pt x="27" y="236"/>
                  </a:lnTo>
                  <a:lnTo>
                    <a:pt x="35" y="249"/>
                  </a:lnTo>
                  <a:lnTo>
                    <a:pt x="46" y="259"/>
                  </a:lnTo>
                  <a:lnTo>
                    <a:pt x="57" y="269"/>
                  </a:lnTo>
                  <a:lnTo>
                    <a:pt x="67" y="278"/>
                  </a:lnTo>
                  <a:lnTo>
                    <a:pt x="81" y="285"/>
                  </a:lnTo>
                  <a:lnTo>
                    <a:pt x="93" y="292"/>
                  </a:lnTo>
                  <a:lnTo>
                    <a:pt x="108" y="297"/>
                  </a:lnTo>
                  <a:lnTo>
                    <a:pt x="122" y="301"/>
                  </a:lnTo>
                  <a:lnTo>
                    <a:pt x="137" y="302"/>
                  </a:lnTo>
                  <a:lnTo>
                    <a:pt x="152" y="304"/>
                  </a:lnTo>
                  <a:lnTo>
                    <a:pt x="152" y="30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7" name="Freeform 175">
              <a:extLst>
                <a:ext uri="{FF2B5EF4-FFF2-40B4-BE49-F238E27FC236}">
                  <a16:creationId xmlns:a16="http://schemas.microsoft.com/office/drawing/2014/main" id="{02CDB33C-8A83-47AA-9F88-1A13123E4025}"/>
                </a:ext>
              </a:extLst>
            </p:cNvPr>
            <p:cNvSpPr>
              <a:spLocks/>
            </p:cNvSpPr>
            <p:nvPr/>
          </p:nvSpPr>
          <p:spPr bwMode="auto">
            <a:xfrm>
              <a:off x="4270376" y="3455988"/>
              <a:ext cx="192088" cy="192088"/>
            </a:xfrm>
            <a:custGeom>
              <a:avLst/>
              <a:gdLst>
                <a:gd name="T0" fmla="*/ 229 w 242"/>
                <a:gd name="T1" fmla="*/ 13 h 243"/>
                <a:gd name="T2" fmla="*/ 225 w 242"/>
                <a:gd name="T3" fmla="*/ 12 h 243"/>
                <a:gd name="T4" fmla="*/ 221 w 242"/>
                <a:gd name="T5" fmla="*/ 13 h 243"/>
                <a:gd name="T6" fmla="*/ 194 w 242"/>
                <a:gd name="T7" fmla="*/ 4 h 243"/>
                <a:gd name="T8" fmla="*/ 193 w 242"/>
                <a:gd name="T9" fmla="*/ 1 h 243"/>
                <a:gd name="T10" fmla="*/ 190 w 242"/>
                <a:gd name="T11" fmla="*/ 0 h 243"/>
                <a:gd name="T12" fmla="*/ 184 w 242"/>
                <a:gd name="T13" fmla="*/ 1 h 243"/>
                <a:gd name="T14" fmla="*/ 147 w 242"/>
                <a:gd name="T15" fmla="*/ 37 h 243"/>
                <a:gd name="T16" fmla="*/ 145 w 242"/>
                <a:gd name="T17" fmla="*/ 44 h 243"/>
                <a:gd name="T18" fmla="*/ 47 w 242"/>
                <a:gd name="T19" fmla="*/ 186 h 243"/>
                <a:gd name="T20" fmla="*/ 39 w 242"/>
                <a:gd name="T21" fmla="*/ 182 h 243"/>
                <a:gd name="T22" fmla="*/ 30 w 242"/>
                <a:gd name="T23" fmla="*/ 181 h 243"/>
                <a:gd name="T24" fmla="*/ 19 w 242"/>
                <a:gd name="T25" fmla="*/ 184 h 243"/>
                <a:gd name="T26" fmla="*/ 8 w 242"/>
                <a:gd name="T27" fmla="*/ 190 h 243"/>
                <a:gd name="T28" fmla="*/ 3 w 242"/>
                <a:gd name="T29" fmla="*/ 200 h 243"/>
                <a:gd name="T30" fmla="*/ 0 w 242"/>
                <a:gd name="T31" fmla="*/ 212 h 243"/>
                <a:gd name="T32" fmla="*/ 0 w 242"/>
                <a:gd name="T33" fmla="*/ 219 h 243"/>
                <a:gd name="T34" fmla="*/ 6 w 242"/>
                <a:gd name="T35" fmla="*/ 229 h 243"/>
                <a:gd name="T36" fmla="*/ 14 w 242"/>
                <a:gd name="T37" fmla="*/ 237 h 243"/>
                <a:gd name="T38" fmla="*/ 25 w 242"/>
                <a:gd name="T39" fmla="*/ 241 h 243"/>
                <a:gd name="T40" fmla="*/ 30 w 242"/>
                <a:gd name="T41" fmla="*/ 243 h 243"/>
                <a:gd name="T42" fmla="*/ 42 w 242"/>
                <a:gd name="T43" fmla="*/ 240 h 243"/>
                <a:gd name="T44" fmla="*/ 51 w 242"/>
                <a:gd name="T45" fmla="*/ 233 h 243"/>
                <a:gd name="T46" fmla="*/ 58 w 242"/>
                <a:gd name="T47" fmla="*/ 224 h 243"/>
                <a:gd name="T48" fmla="*/ 61 w 242"/>
                <a:gd name="T49" fmla="*/ 212 h 243"/>
                <a:gd name="T50" fmla="*/ 60 w 242"/>
                <a:gd name="T51" fmla="*/ 202 h 243"/>
                <a:gd name="T52" fmla="*/ 166 w 242"/>
                <a:gd name="T53" fmla="*/ 86 h 243"/>
                <a:gd name="T54" fmla="*/ 198 w 242"/>
                <a:gd name="T55" fmla="*/ 96 h 243"/>
                <a:gd name="T56" fmla="*/ 201 w 242"/>
                <a:gd name="T57" fmla="*/ 96 h 243"/>
                <a:gd name="T58" fmla="*/ 205 w 242"/>
                <a:gd name="T59" fmla="*/ 95 h 243"/>
                <a:gd name="T60" fmla="*/ 241 w 242"/>
                <a:gd name="T61" fmla="*/ 59 h 243"/>
                <a:gd name="T62" fmla="*/ 242 w 242"/>
                <a:gd name="T63" fmla="*/ 52 h 243"/>
                <a:gd name="T64" fmla="*/ 241 w 242"/>
                <a:gd name="T65" fmla="*/ 49 h 243"/>
                <a:gd name="T66" fmla="*/ 211 w 242"/>
                <a:gd name="T67" fmla="*/ 40 h 243"/>
                <a:gd name="T68" fmla="*/ 229 w 242"/>
                <a:gd name="T69" fmla="*/ 22 h 243"/>
                <a:gd name="T70" fmla="*/ 230 w 242"/>
                <a:gd name="T71" fmla="*/ 17 h 243"/>
                <a:gd name="T72" fmla="*/ 229 w 242"/>
                <a:gd name="T73" fmla="*/ 1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2" h="243">
                  <a:moveTo>
                    <a:pt x="229" y="13"/>
                  </a:moveTo>
                  <a:lnTo>
                    <a:pt x="229" y="13"/>
                  </a:lnTo>
                  <a:lnTo>
                    <a:pt x="227" y="12"/>
                  </a:lnTo>
                  <a:lnTo>
                    <a:pt x="225" y="12"/>
                  </a:lnTo>
                  <a:lnTo>
                    <a:pt x="222" y="12"/>
                  </a:lnTo>
                  <a:lnTo>
                    <a:pt x="221" y="13"/>
                  </a:lnTo>
                  <a:lnTo>
                    <a:pt x="203" y="31"/>
                  </a:lnTo>
                  <a:lnTo>
                    <a:pt x="194" y="4"/>
                  </a:lnTo>
                  <a:lnTo>
                    <a:pt x="194" y="4"/>
                  </a:lnTo>
                  <a:lnTo>
                    <a:pt x="193" y="1"/>
                  </a:lnTo>
                  <a:lnTo>
                    <a:pt x="190" y="0"/>
                  </a:lnTo>
                  <a:lnTo>
                    <a:pt x="190" y="0"/>
                  </a:lnTo>
                  <a:lnTo>
                    <a:pt x="187" y="0"/>
                  </a:lnTo>
                  <a:lnTo>
                    <a:pt x="184" y="1"/>
                  </a:lnTo>
                  <a:lnTo>
                    <a:pt x="147" y="37"/>
                  </a:lnTo>
                  <a:lnTo>
                    <a:pt x="147" y="37"/>
                  </a:lnTo>
                  <a:lnTo>
                    <a:pt x="145" y="40"/>
                  </a:lnTo>
                  <a:lnTo>
                    <a:pt x="145" y="44"/>
                  </a:lnTo>
                  <a:lnTo>
                    <a:pt x="158" y="76"/>
                  </a:lnTo>
                  <a:lnTo>
                    <a:pt x="47" y="186"/>
                  </a:lnTo>
                  <a:lnTo>
                    <a:pt x="47" y="186"/>
                  </a:lnTo>
                  <a:lnTo>
                    <a:pt x="39" y="182"/>
                  </a:lnTo>
                  <a:lnTo>
                    <a:pt x="30" y="181"/>
                  </a:lnTo>
                  <a:lnTo>
                    <a:pt x="30" y="181"/>
                  </a:lnTo>
                  <a:lnTo>
                    <a:pt x="25" y="182"/>
                  </a:lnTo>
                  <a:lnTo>
                    <a:pt x="19" y="184"/>
                  </a:lnTo>
                  <a:lnTo>
                    <a:pt x="14" y="186"/>
                  </a:lnTo>
                  <a:lnTo>
                    <a:pt x="8" y="190"/>
                  </a:lnTo>
                  <a:lnTo>
                    <a:pt x="6" y="194"/>
                  </a:lnTo>
                  <a:lnTo>
                    <a:pt x="3" y="200"/>
                  </a:lnTo>
                  <a:lnTo>
                    <a:pt x="0" y="205"/>
                  </a:lnTo>
                  <a:lnTo>
                    <a:pt x="0" y="212"/>
                  </a:lnTo>
                  <a:lnTo>
                    <a:pt x="0" y="212"/>
                  </a:lnTo>
                  <a:lnTo>
                    <a:pt x="0" y="219"/>
                  </a:lnTo>
                  <a:lnTo>
                    <a:pt x="3" y="224"/>
                  </a:lnTo>
                  <a:lnTo>
                    <a:pt x="6" y="229"/>
                  </a:lnTo>
                  <a:lnTo>
                    <a:pt x="8" y="233"/>
                  </a:lnTo>
                  <a:lnTo>
                    <a:pt x="14" y="237"/>
                  </a:lnTo>
                  <a:lnTo>
                    <a:pt x="19" y="240"/>
                  </a:lnTo>
                  <a:lnTo>
                    <a:pt x="25" y="241"/>
                  </a:lnTo>
                  <a:lnTo>
                    <a:pt x="30" y="243"/>
                  </a:lnTo>
                  <a:lnTo>
                    <a:pt x="30" y="243"/>
                  </a:lnTo>
                  <a:lnTo>
                    <a:pt x="37" y="241"/>
                  </a:lnTo>
                  <a:lnTo>
                    <a:pt x="42" y="240"/>
                  </a:lnTo>
                  <a:lnTo>
                    <a:pt x="47" y="237"/>
                  </a:lnTo>
                  <a:lnTo>
                    <a:pt x="51" y="233"/>
                  </a:lnTo>
                  <a:lnTo>
                    <a:pt x="55" y="229"/>
                  </a:lnTo>
                  <a:lnTo>
                    <a:pt x="58" y="224"/>
                  </a:lnTo>
                  <a:lnTo>
                    <a:pt x="60" y="219"/>
                  </a:lnTo>
                  <a:lnTo>
                    <a:pt x="61" y="212"/>
                  </a:lnTo>
                  <a:lnTo>
                    <a:pt x="61" y="212"/>
                  </a:lnTo>
                  <a:lnTo>
                    <a:pt x="60" y="202"/>
                  </a:lnTo>
                  <a:lnTo>
                    <a:pt x="55" y="196"/>
                  </a:lnTo>
                  <a:lnTo>
                    <a:pt x="166" y="86"/>
                  </a:lnTo>
                  <a:lnTo>
                    <a:pt x="198" y="96"/>
                  </a:lnTo>
                  <a:lnTo>
                    <a:pt x="198" y="96"/>
                  </a:lnTo>
                  <a:lnTo>
                    <a:pt x="201" y="96"/>
                  </a:lnTo>
                  <a:lnTo>
                    <a:pt x="201" y="96"/>
                  </a:lnTo>
                  <a:lnTo>
                    <a:pt x="203" y="96"/>
                  </a:lnTo>
                  <a:lnTo>
                    <a:pt x="205" y="95"/>
                  </a:lnTo>
                  <a:lnTo>
                    <a:pt x="241" y="59"/>
                  </a:lnTo>
                  <a:lnTo>
                    <a:pt x="241" y="59"/>
                  </a:lnTo>
                  <a:lnTo>
                    <a:pt x="242" y="56"/>
                  </a:lnTo>
                  <a:lnTo>
                    <a:pt x="242" y="52"/>
                  </a:lnTo>
                  <a:lnTo>
                    <a:pt x="242" y="52"/>
                  </a:lnTo>
                  <a:lnTo>
                    <a:pt x="241" y="49"/>
                  </a:lnTo>
                  <a:lnTo>
                    <a:pt x="238" y="48"/>
                  </a:lnTo>
                  <a:lnTo>
                    <a:pt x="211" y="40"/>
                  </a:lnTo>
                  <a:lnTo>
                    <a:pt x="229" y="22"/>
                  </a:lnTo>
                  <a:lnTo>
                    <a:pt x="229" y="22"/>
                  </a:lnTo>
                  <a:lnTo>
                    <a:pt x="230" y="20"/>
                  </a:lnTo>
                  <a:lnTo>
                    <a:pt x="230" y="17"/>
                  </a:lnTo>
                  <a:lnTo>
                    <a:pt x="230" y="16"/>
                  </a:lnTo>
                  <a:lnTo>
                    <a:pt x="229" y="13"/>
                  </a:lnTo>
                  <a:lnTo>
                    <a:pt x="229"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68" name="Freeform 264">
            <a:extLst>
              <a:ext uri="{FF2B5EF4-FFF2-40B4-BE49-F238E27FC236}">
                <a16:creationId xmlns:a16="http://schemas.microsoft.com/office/drawing/2014/main" id="{38329640-1BD1-48A7-AC0F-AD522A142E60}"/>
              </a:ext>
            </a:extLst>
          </p:cNvPr>
          <p:cNvSpPr>
            <a:spLocks noEditPoints="1"/>
          </p:cNvSpPr>
          <p:nvPr/>
        </p:nvSpPr>
        <p:spPr bwMode="auto">
          <a:xfrm>
            <a:off x="6892908" y="4956775"/>
            <a:ext cx="236538" cy="236538"/>
          </a:xfrm>
          <a:custGeom>
            <a:avLst/>
            <a:gdLst>
              <a:gd name="T0" fmla="*/ 247 w 299"/>
              <a:gd name="T1" fmla="*/ 10 h 299"/>
              <a:gd name="T2" fmla="*/ 243 w 299"/>
              <a:gd name="T3" fmla="*/ 6 h 299"/>
              <a:gd name="T4" fmla="*/ 231 w 299"/>
              <a:gd name="T5" fmla="*/ 2 h 299"/>
              <a:gd name="T6" fmla="*/ 225 w 299"/>
              <a:gd name="T7" fmla="*/ 0 h 299"/>
              <a:gd name="T8" fmla="*/ 213 w 299"/>
              <a:gd name="T9" fmla="*/ 3 h 299"/>
              <a:gd name="T10" fmla="*/ 203 w 299"/>
              <a:gd name="T11" fmla="*/ 10 h 299"/>
              <a:gd name="T12" fmla="*/ 13 w 299"/>
              <a:gd name="T13" fmla="*/ 199 h 299"/>
              <a:gd name="T14" fmla="*/ 11 w 299"/>
              <a:gd name="T15" fmla="*/ 203 h 299"/>
              <a:gd name="T16" fmla="*/ 10 w 299"/>
              <a:gd name="T17" fmla="*/ 205 h 299"/>
              <a:gd name="T18" fmla="*/ 0 w 299"/>
              <a:gd name="T19" fmla="*/ 284 h 299"/>
              <a:gd name="T20" fmla="*/ 0 w 299"/>
              <a:gd name="T21" fmla="*/ 291 h 299"/>
              <a:gd name="T22" fmla="*/ 3 w 299"/>
              <a:gd name="T23" fmla="*/ 295 h 299"/>
              <a:gd name="T24" fmla="*/ 13 w 299"/>
              <a:gd name="T25" fmla="*/ 299 h 299"/>
              <a:gd name="T26" fmla="*/ 14 w 299"/>
              <a:gd name="T27" fmla="*/ 299 h 299"/>
              <a:gd name="T28" fmla="*/ 92 w 299"/>
              <a:gd name="T29" fmla="*/ 289 h 299"/>
              <a:gd name="T30" fmla="*/ 96 w 299"/>
              <a:gd name="T31" fmla="*/ 288 h 299"/>
              <a:gd name="T32" fmla="*/ 98 w 299"/>
              <a:gd name="T33" fmla="*/ 285 h 299"/>
              <a:gd name="T34" fmla="*/ 288 w 299"/>
              <a:gd name="T35" fmla="*/ 96 h 299"/>
              <a:gd name="T36" fmla="*/ 296 w 299"/>
              <a:gd name="T37" fmla="*/ 85 h 299"/>
              <a:gd name="T38" fmla="*/ 299 w 299"/>
              <a:gd name="T39" fmla="*/ 73 h 299"/>
              <a:gd name="T40" fmla="*/ 297 w 299"/>
              <a:gd name="T41" fmla="*/ 66 h 299"/>
              <a:gd name="T42" fmla="*/ 293 w 299"/>
              <a:gd name="T43" fmla="*/ 56 h 299"/>
              <a:gd name="T44" fmla="*/ 288 w 299"/>
              <a:gd name="T45" fmla="*/ 50 h 299"/>
              <a:gd name="T46" fmla="*/ 22 w 299"/>
              <a:gd name="T47" fmla="*/ 253 h 299"/>
              <a:gd name="T48" fmla="*/ 80 w 299"/>
              <a:gd name="T49" fmla="*/ 272 h 299"/>
              <a:gd name="T50" fmla="*/ 192 w 299"/>
              <a:gd name="T51" fmla="*/ 116 h 299"/>
              <a:gd name="T52" fmla="*/ 73 w 299"/>
              <a:gd name="T53" fmla="*/ 235 h 299"/>
              <a:gd name="T54" fmla="*/ 68 w 299"/>
              <a:gd name="T55" fmla="*/ 238 h 299"/>
              <a:gd name="T56" fmla="*/ 64 w 299"/>
              <a:gd name="T57" fmla="*/ 237 h 299"/>
              <a:gd name="T58" fmla="*/ 61 w 299"/>
              <a:gd name="T59" fmla="*/ 235 h 299"/>
              <a:gd name="T60" fmla="*/ 60 w 299"/>
              <a:gd name="T61" fmla="*/ 230 h 299"/>
              <a:gd name="T62" fmla="*/ 61 w 299"/>
              <a:gd name="T63" fmla="*/ 225 h 299"/>
              <a:gd name="T64" fmla="*/ 180 w 299"/>
              <a:gd name="T65" fmla="*/ 105 h 299"/>
              <a:gd name="T66" fmla="*/ 187 w 299"/>
              <a:gd name="T67" fmla="*/ 103 h 299"/>
              <a:gd name="T68" fmla="*/ 192 w 299"/>
              <a:gd name="T69" fmla="*/ 105 h 299"/>
              <a:gd name="T70" fmla="*/ 194 w 299"/>
              <a:gd name="T71" fmla="*/ 108 h 299"/>
              <a:gd name="T72" fmla="*/ 194 w 299"/>
              <a:gd name="T73" fmla="*/ 113 h 299"/>
              <a:gd name="T74" fmla="*/ 192 w 299"/>
              <a:gd name="T75" fmla="*/ 116 h 299"/>
              <a:gd name="T76" fmla="*/ 174 w 299"/>
              <a:gd name="T77" fmla="*/ 62 h 299"/>
              <a:gd name="T78" fmla="*/ 257 w 299"/>
              <a:gd name="T79" fmla="*/ 10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9" h="299">
                <a:moveTo>
                  <a:pt x="288" y="50"/>
                </a:moveTo>
                <a:lnTo>
                  <a:pt x="247" y="10"/>
                </a:lnTo>
                <a:lnTo>
                  <a:pt x="247" y="10"/>
                </a:lnTo>
                <a:lnTo>
                  <a:pt x="243" y="6"/>
                </a:lnTo>
                <a:lnTo>
                  <a:pt x="238" y="3"/>
                </a:lnTo>
                <a:lnTo>
                  <a:pt x="231" y="2"/>
                </a:lnTo>
                <a:lnTo>
                  <a:pt x="225" y="0"/>
                </a:lnTo>
                <a:lnTo>
                  <a:pt x="225" y="0"/>
                </a:lnTo>
                <a:lnTo>
                  <a:pt x="219" y="2"/>
                </a:lnTo>
                <a:lnTo>
                  <a:pt x="213" y="3"/>
                </a:lnTo>
                <a:lnTo>
                  <a:pt x="207" y="6"/>
                </a:lnTo>
                <a:lnTo>
                  <a:pt x="203" y="10"/>
                </a:lnTo>
                <a:lnTo>
                  <a:pt x="13" y="199"/>
                </a:lnTo>
                <a:lnTo>
                  <a:pt x="13" y="199"/>
                </a:lnTo>
                <a:lnTo>
                  <a:pt x="11" y="203"/>
                </a:lnTo>
                <a:lnTo>
                  <a:pt x="11" y="203"/>
                </a:lnTo>
                <a:lnTo>
                  <a:pt x="10" y="205"/>
                </a:lnTo>
                <a:lnTo>
                  <a:pt x="10" y="205"/>
                </a:lnTo>
                <a:lnTo>
                  <a:pt x="10" y="207"/>
                </a:lnTo>
                <a:lnTo>
                  <a:pt x="0" y="284"/>
                </a:lnTo>
                <a:lnTo>
                  <a:pt x="0" y="284"/>
                </a:lnTo>
                <a:lnTo>
                  <a:pt x="0" y="291"/>
                </a:lnTo>
                <a:lnTo>
                  <a:pt x="3" y="295"/>
                </a:lnTo>
                <a:lnTo>
                  <a:pt x="3" y="295"/>
                </a:lnTo>
                <a:lnTo>
                  <a:pt x="7" y="297"/>
                </a:lnTo>
                <a:lnTo>
                  <a:pt x="13" y="299"/>
                </a:lnTo>
                <a:lnTo>
                  <a:pt x="13" y="299"/>
                </a:lnTo>
                <a:lnTo>
                  <a:pt x="14" y="299"/>
                </a:lnTo>
                <a:lnTo>
                  <a:pt x="92" y="289"/>
                </a:lnTo>
                <a:lnTo>
                  <a:pt x="92" y="289"/>
                </a:lnTo>
                <a:lnTo>
                  <a:pt x="93" y="289"/>
                </a:lnTo>
                <a:lnTo>
                  <a:pt x="96" y="288"/>
                </a:lnTo>
                <a:lnTo>
                  <a:pt x="96" y="288"/>
                </a:lnTo>
                <a:lnTo>
                  <a:pt x="98" y="285"/>
                </a:lnTo>
                <a:lnTo>
                  <a:pt x="288" y="96"/>
                </a:lnTo>
                <a:lnTo>
                  <a:pt x="288" y="96"/>
                </a:lnTo>
                <a:lnTo>
                  <a:pt x="293" y="90"/>
                </a:lnTo>
                <a:lnTo>
                  <a:pt x="296" y="85"/>
                </a:lnTo>
                <a:lnTo>
                  <a:pt x="297" y="80"/>
                </a:lnTo>
                <a:lnTo>
                  <a:pt x="299" y="73"/>
                </a:lnTo>
                <a:lnTo>
                  <a:pt x="299" y="73"/>
                </a:lnTo>
                <a:lnTo>
                  <a:pt x="297" y="66"/>
                </a:lnTo>
                <a:lnTo>
                  <a:pt x="296" y="61"/>
                </a:lnTo>
                <a:lnTo>
                  <a:pt x="293" y="56"/>
                </a:lnTo>
                <a:lnTo>
                  <a:pt x="288" y="50"/>
                </a:lnTo>
                <a:lnTo>
                  <a:pt x="288" y="50"/>
                </a:lnTo>
                <a:close/>
                <a:moveTo>
                  <a:pt x="45" y="276"/>
                </a:moveTo>
                <a:lnTo>
                  <a:pt x="22" y="253"/>
                </a:lnTo>
                <a:lnTo>
                  <a:pt x="26" y="218"/>
                </a:lnTo>
                <a:lnTo>
                  <a:pt x="80" y="272"/>
                </a:lnTo>
                <a:lnTo>
                  <a:pt x="45" y="276"/>
                </a:lnTo>
                <a:close/>
                <a:moveTo>
                  <a:pt x="192" y="116"/>
                </a:moveTo>
                <a:lnTo>
                  <a:pt x="73" y="235"/>
                </a:lnTo>
                <a:lnTo>
                  <a:pt x="73" y="235"/>
                </a:lnTo>
                <a:lnTo>
                  <a:pt x="70" y="237"/>
                </a:lnTo>
                <a:lnTo>
                  <a:pt x="68" y="238"/>
                </a:lnTo>
                <a:lnTo>
                  <a:pt x="68" y="238"/>
                </a:lnTo>
                <a:lnTo>
                  <a:pt x="64" y="237"/>
                </a:lnTo>
                <a:lnTo>
                  <a:pt x="61" y="235"/>
                </a:lnTo>
                <a:lnTo>
                  <a:pt x="61" y="235"/>
                </a:lnTo>
                <a:lnTo>
                  <a:pt x="60" y="233"/>
                </a:lnTo>
                <a:lnTo>
                  <a:pt x="60" y="230"/>
                </a:lnTo>
                <a:lnTo>
                  <a:pt x="60" y="227"/>
                </a:lnTo>
                <a:lnTo>
                  <a:pt x="61" y="225"/>
                </a:lnTo>
                <a:lnTo>
                  <a:pt x="180" y="105"/>
                </a:lnTo>
                <a:lnTo>
                  <a:pt x="180" y="105"/>
                </a:lnTo>
                <a:lnTo>
                  <a:pt x="183" y="103"/>
                </a:lnTo>
                <a:lnTo>
                  <a:pt x="187" y="103"/>
                </a:lnTo>
                <a:lnTo>
                  <a:pt x="190" y="103"/>
                </a:lnTo>
                <a:lnTo>
                  <a:pt x="192" y="105"/>
                </a:lnTo>
                <a:lnTo>
                  <a:pt x="192" y="105"/>
                </a:lnTo>
                <a:lnTo>
                  <a:pt x="194" y="108"/>
                </a:lnTo>
                <a:lnTo>
                  <a:pt x="195" y="111"/>
                </a:lnTo>
                <a:lnTo>
                  <a:pt x="194" y="113"/>
                </a:lnTo>
                <a:lnTo>
                  <a:pt x="192" y="116"/>
                </a:lnTo>
                <a:lnTo>
                  <a:pt x="192" y="116"/>
                </a:lnTo>
                <a:close/>
                <a:moveTo>
                  <a:pt x="235" y="123"/>
                </a:moveTo>
                <a:lnTo>
                  <a:pt x="174" y="62"/>
                </a:lnTo>
                <a:lnTo>
                  <a:pt x="196" y="39"/>
                </a:lnTo>
                <a:lnTo>
                  <a:pt x="257" y="101"/>
                </a:lnTo>
                <a:lnTo>
                  <a:pt x="235" y="1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0" name="Freeform 6">
            <a:extLst>
              <a:ext uri="{FF2B5EF4-FFF2-40B4-BE49-F238E27FC236}">
                <a16:creationId xmlns:a16="http://schemas.microsoft.com/office/drawing/2014/main" id="{D4664563-03BB-4EEE-B5DB-41BEBAA5476E}"/>
              </a:ext>
            </a:extLst>
          </p:cNvPr>
          <p:cNvSpPr>
            <a:spLocks/>
          </p:cNvSpPr>
          <p:nvPr/>
        </p:nvSpPr>
        <p:spPr bwMode="auto">
          <a:xfrm>
            <a:off x="5684337" y="2895492"/>
            <a:ext cx="421243" cy="2332876"/>
          </a:xfrm>
          <a:custGeom>
            <a:avLst/>
            <a:gdLst>
              <a:gd name="T0" fmla="*/ 424 w 1918"/>
              <a:gd name="T1" fmla="*/ 0 h 2975"/>
              <a:gd name="T2" fmla="*/ 439 w 1918"/>
              <a:gd name="T3" fmla="*/ 0 h 2975"/>
              <a:gd name="T4" fmla="*/ 452 w 1918"/>
              <a:gd name="T5" fmla="*/ 4 h 2975"/>
              <a:gd name="T6" fmla="*/ 465 w 1918"/>
              <a:gd name="T7" fmla="*/ 14 h 2975"/>
              <a:gd name="T8" fmla="*/ 1905 w 1918"/>
              <a:gd name="T9" fmla="*/ 1454 h 2975"/>
              <a:gd name="T10" fmla="*/ 1914 w 1918"/>
              <a:gd name="T11" fmla="*/ 1466 h 2975"/>
              <a:gd name="T12" fmla="*/ 1918 w 1918"/>
              <a:gd name="T13" fmla="*/ 1480 h 2975"/>
              <a:gd name="T14" fmla="*/ 1918 w 1918"/>
              <a:gd name="T15" fmla="*/ 1495 h 2975"/>
              <a:gd name="T16" fmla="*/ 1914 w 1918"/>
              <a:gd name="T17" fmla="*/ 1509 h 2975"/>
              <a:gd name="T18" fmla="*/ 1905 w 1918"/>
              <a:gd name="T19" fmla="*/ 1522 h 2975"/>
              <a:gd name="T20" fmla="*/ 465 w 1918"/>
              <a:gd name="T21" fmla="*/ 2962 h 2975"/>
              <a:gd name="T22" fmla="*/ 454 w 1918"/>
              <a:gd name="T23" fmla="*/ 2969 h 2975"/>
              <a:gd name="T24" fmla="*/ 443 w 1918"/>
              <a:gd name="T25" fmla="*/ 2974 h 2975"/>
              <a:gd name="T26" fmla="*/ 431 w 1918"/>
              <a:gd name="T27" fmla="*/ 2975 h 2975"/>
              <a:gd name="T28" fmla="*/ 419 w 1918"/>
              <a:gd name="T29" fmla="*/ 2974 h 2975"/>
              <a:gd name="T30" fmla="*/ 407 w 1918"/>
              <a:gd name="T31" fmla="*/ 2969 h 2975"/>
              <a:gd name="T32" fmla="*/ 397 w 1918"/>
              <a:gd name="T33" fmla="*/ 2962 h 2975"/>
              <a:gd name="T34" fmla="*/ 13 w 1918"/>
              <a:gd name="T35" fmla="*/ 2577 h 2975"/>
              <a:gd name="T36" fmla="*/ 4 w 1918"/>
              <a:gd name="T37" fmla="*/ 2565 h 2975"/>
              <a:gd name="T38" fmla="*/ 0 w 1918"/>
              <a:gd name="T39" fmla="*/ 2551 h 2975"/>
              <a:gd name="T40" fmla="*/ 0 w 1918"/>
              <a:gd name="T41" fmla="*/ 2537 h 2975"/>
              <a:gd name="T42" fmla="*/ 4 w 1918"/>
              <a:gd name="T43" fmla="*/ 2522 h 2975"/>
              <a:gd name="T44" fmla="*/ 13 w 1918"/>
              <a:gd name="T45" fmla="*/ 2509 h 2975"/>
              <a:gd name="T46" fmla="*/ 1035 w 1918"/>
              <a:gd name="T47" fmla="*/ 1487 h 2975"/>
              <a:gd name="T48" fmla="*/ 13 w 1918"/>
              <a:gd name="T49" fmla="*/ 465 h 2975"/>
              <a:gd name="T50" fmla="*/ 4 w 1918"/>
              <a:gd name="T51" fmla="*/ 452 h 2975"/>
              <a:gd name="T52" fmla="*/ 0 w 1918"/>
              <a:gd name="T53" fmla="*/ 439 h 2975"/>
              <a:gd name="T54" fmla="*/ 0 w 1918"/>
              <a:gd name="T55" fmla="*/ 424 h 2975"/>
              <a:gd name="T56" fmla="*/ 4 w 1918"/>
              <a:gd name="T57" fmla="*/ 410 h 2975"/>
              <a:gd name="T58" fmla="*/ 13 w 1918"/>
              <a:gd name="T59" fmla="*/ 397 h 2975"/>
              <a:gd name="T60" fmla="*/ 397 w 1918"/>
              <a:gd name="T61" fmla="*/ 14 h 2975"/>
              <a:gd name="T62" fmla="*/ 409 w 1918"/>
              <a:gd name="T63" fmla="*/ 4 h 2975"/>
              <a:gd name="T64" fmla="*/ 424 w 1918"/>
              <a:gd name="T65" fmla="*/ 0 h 2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18" h="2975">
                <a:moveTo>
                  <a:pt x="424" y="0"/>
                </a:moveTo>
                <a:lnTo>
                  <a:pt x="439" y="0"/>
                </a:lnTo>
                <a:lnTo>
                  <a:pt x="452" y="4"/>
                </a:lnTo>
                <a:lnTo>
                  <a:pt x="465" y="14"/>
                </a:lnTo>
                <a:lnTo>
                  <a:pt x="1905" y="1454"/>
                </a:lnTo>
                <a:lnTo>
                  <a:pt x="1914" y="1466"/>
                </a:lnTo>
                <a:lnTo>
                  <a:pt x="1918" y="1480"/>
                </a:lnTo>
                <a:lnTo>
                  <a:pt x="1918" y="1495"/>
                </a:lnTo>
                <a:lnTo>
                  <a:pt x="1914" y="1509"/>
                </a:lnTo>
                <a:lnTo>
                  <a:pt x="1905" y="1522"/>
                </a:lnTo>
                <a:lnTo>
                  <a:pt x="465" y="2962"/>
                </a:lnTo>
                <a:lnTo>
                  <a:pt x="454" y="2969"/>
                </a:lnTo>
                <a:lnTo>
                  <a:pt x="443" y="2974"/>
                </a:lnTo>
                <a:lnTo>
                  <a:pt x="431" y="2975"/>
                </a:lnTo>
                <a:lnTo>
                  <a:pt x="419" y="2974"/>
                </a:lnTo>
                <a:lnTo>
                  <a:pt x="407" y="2969"/>
                </a:lnTo>
                <a:lnTo>
                  <a:pt x="397" y="2962"/>
                </a:lnTo>
                <a:lnTo>
                  <a:pt x="13" y="2577"/>
                </a:lnTo>
                <a:lnTo>
                  <a:pt x="4" y="2565"/>
                </a:lnTo>
                <a:lnTo>
                  <a:pt x="0" y="2551"/>
                </a:lnTo>
                <a:lnTo>
                  <a:pt x="0" y="2537"/>
                </a:lnTo>
                <a:lnTo>
                  <a:pt x="4" y="2522"/>
                </a:lnTo>
                <a:lnTo>
                  <a:pt x="13" y="2509"/>
                </a:lnTo>
                <a:lnTo>
                  <a:pt x="1035" y="1487"/>
                </a:lnTo>
                <a:lnTo>
                  <a:pt x="13" y="465"/>
                </a:lnTo>
                <a:lnTo>
                  <a:pt x="4" y="452"/>
                </a:lnTo>
                <a:lnTo>
                  <a:pt x="0" y="439"/>
                </a:lnTo>
                <a:lnTo>
                  <a:pt x="0" y="424"/>
                </a:lnTo>
                <a:lnTo>
                  <a:pt x="4" y="410"/>
                </a:lnTo>
                <a:lnTo>
                  <a:pt x="13" y="397"/>
                </a:lnTo>
                <a:lnTo>
                  <a:pt x="397" y="14"/>
                </a:lnTo>
                <a:lnTo>
                  <a:pt x="409" y="4"/>
                </a:lnTo>
                <a:lnTo>
                  <a:pt x="424" y="0"/>
                </a:lnTo>
                <a:close/>
              </a:path>
            </a:pathLst>
          </a:custGeom>
          <a:solidFill>
            <a:schemeClr val="accent6">
              <a:lumMod val="20000"/>
              <a:lumOff val="8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1" name="Rectangle 70">
            <a:extLst>
              <a:ext uri="{FF2B5EF4-FFF2-40B4-BE49-F238E27FC236}">
                <a16:creationId xmlns:a16="http://schemas.microsoft.com/office/drawing/2014/main" id="{87EA98C9-8F7B-4BC6-BF17-E2CFA3BCD171}"/>
              </a:ext>
            </a:extLst>
          </p:cNvPr>
          <p:cNvSpPr/>
          <p:nvPr/>
        </p:nvSpPr>
        <p:spPr>
          <a:xfrm>
            <a:off x="6441890" y="1921898"/>
            <a:ext cx="5195218" cy="4488734"/>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Tree>
    <p:extLst>
      <p:ext uri="{BB962C8B-B14F-4D97-AF65-F5344CB8AC3E}">
        <p14:creationId xmlns:p14="http://schemas.microsoft.com/office/powerpoint/2010/main" val="303325884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1CE0E75-2A32-4768-939A-E2F37C6A13BA}"/>
              </a:ext>
            </a:extLst>
          </p:cNvPr>
          <p:cNvGraphicFramePr>
            <a:graphicFrameLocks noChangeAspect="1"/>
          </p:cNvGraphicFramePr>
          <p:nvPr>
            <p:custDataLst>
              <p:tags r:id="rId2"/>
            </p:custDataLst>
            <p:extLst>
              <p:ext uri="{D42A27DB-BD31-4B8C-83A1-F6EECF244321}">
                <p14:modId xmlns:p14="http://schemas.microsoft.com/office/powerpoint/2010/main" val="4078131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4"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F1CE0E75-2A32-4768-939A-E2F37C6A13B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85DF4C2-B24D-422E-BC39-BCEBF6AAB37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8C75BFBD-6324-4018-817E-EE590A27B402}"/>
              </a:ext>
            </a:extLst>
          </p:cNvPr>
          <p:cNvSpPr>
            <a:spLocks noGrp="1"/>
          </p:cNvSpPr>
          <p:nvPr>
            <p:ph type="title"/>
          </p:nvPr>
        </p:nvSpPr>
        <p:spPr/>
        <p:txBody>
          <a:bodyPr anchor="b"/>
          <a:lstStyle/>
          <a:p>
            <a:r>
              <a:rPr lang="en-US" dirty="0"/>
              <a:t>Process Flow</a:t>
            </a:r>
          </a:p>
        </p:txBody>
      </p:sp>
      <p:sp>
        <p:nvSpPr>
          <p:cNvPr id="68" name="Text Placeholder 67">
            <a:extLst>
              <a:ext uri="{FF2B5EF4-FFF2-40B4-BE49-F238E27FC236}">
                <a16:creationId xmlns:a16="http://schemas.microsoft.com/office/drawing/2014/main" id="{B2C83CB0-253F-4B6A-9B04-BF49EA0408D1}"/>
              </a:ext>
            </a:extLst>
          </p:cNvPr>
          <p:cNvSpPr>
            <a:spLocks noGrp="1"/>
          </p:cNvSpPr>
          <p:nvPr>
            <p:ph type="body" sz="quarter" idx="14"/>
          </p:nvPr>
        </p:nvSpPr>
        <p:spPr/>
        <p:txBody>
          <a:bodyPr/>
          <a:lstStyle/>
          <a:p>
            <a:r>
              <a:rPr lang="en-US" dirty="0"/>
              <a:t>Subheader</a:t>
            </a:r>
          </a:p>
        </p:txBody>
      </p:sp>
      <p:sp>
        <p:nvSpPr>
          <p:cNvPr id="69" name="Text Placeholder 68">
            <a:extLst>
              <a:ext uri="{FF2B5EF4-FFF2-40B4-BE49-F238E27FC236}">
                <a16:creationId xmlns:a16="http://schemas.microsoft.com/office/drawing/2014/main" id="{9074DC5F-6F59-4940-A2FA-01FE5D2F60B2}"/>
              </a:ext>
            </a:extLst>
          </p:cNvPr>
          <p:cNvSpPr>
            <a:spLocks noGrp="1"/>
          </p:cNvSpPr>
          <p:nvPr>
            <p:ph type="body" sz="quarter" idx="15"/>
          </p:nvPr>
        </p:nvSpPr>
        <p:spPr/>
        <p:txBody>
          <a:bodyPr/>
          <a:lstStyle/>
          <a:p>
            <a:r>
              <a:rPr lang="en-US" dirty="0"/>
              <a:t>text</a:t>
            </a:r>
          </a:p>
        </p:txBody>
      </p:sp>
      <p:cxnSp>
        <p:nvCxnSpPr>
          <p:cNvPr id="5" name="Straight Connector 4">
            <a:extLst>
              <a:ext uri="{FF2B5EF4-FFF2-40B4-BE49-F238E27FC236}">
                <a16:creationId xmlns:a16="http://schemas.microsoft.com/office/drawing/2014/main" id="{FC9748FB-0CF6-47E9-80E2-DA99A726D2EB}"/>
              </a:ext>
            </a:extLst>
          </p:cNvPr>
          <p:cNvCxnSpPr/>
          <p:nvPr/>
        </p:nvCxnSpPr>
        <p:spPr>
          <a:xfrm>
            <a:off x="6618801" y="2167704"/>
            <a:ext cx="4937760" cy="0"/>
          </a:xfrm>
          <a:prstGeom prst="line">
            <a:avLst/>
          </a:prstGeom>
          <a:ln w="53975" cmpd="sng">
            <a:solidFill>
              <a:schemeClr val="accent5"/>
            </a:solidFill>
          </a:ln>
        </p:spPr>
        <p:style>
          <a:lnRef idx="2">
            <a:schemeClr val="accent1"/>
          </a:lnRef>
          <a:fillRef idx="0">
            <a:schemeClr val="accent1"/>
          </a:fillRef>
          <a:effectRef idx="1">
            <a:schemeClr val="accent1"/>
          </a:effectRef>
          <a:fontRef idx="minor">
            <a:schemeClr val="tx1"/>
          </a:fontRef>
        </p:style>
      </p:cxnSp>
      <p:sp>
        <p:nvSpPr>
          <p:cNvPr id="6" name="Rectangle 5">
            <a:extLst>
              <a:ext uri="{FF2B5EF4-FFF2-40B4-BE49-F238E27FC236}">
                <a16:creationId xmlns:a16="http://schemas.microsoft.com/office/drawing/2014/main" id="{8FE28852-489E-415E-9CA9-20F4C6A8C5F9}"/>
              </a:ext>
            </a:extLst>
          </p:cNvPr>
          <p:cNvSpPr/>
          <p:nvPr/>
        </p:nvSpPr>
        <p:spPr>
          <a:xfrm>
            <a:off x="6618801" y="1783050"/>
            <a:ext cx="3709285" cy="407227"/>
          </a:xfrm>
          <a:prstGeom prst="rect">
            <a:avLst/>
          </a:prstGeom>
        </p:spPr>
        <p:txBody>
          <a:bodyPr wrap="none">
            <a:spAutoFit/>
          </a:bodyPr>
          <a:lstStyle/>
          <a:p>
            <a:pPr marL="12700" marR="0" lvl="0" indent="0" algn="l" defTabSz="914400" rtl="0" eaLnBrk="1" fontAlgn="auto" latinLnBrk="0" hangingPunct="1">
              <a:lnSpc>
                <a:spcPct val="85000"/>
              </a:lnSpc>
              <a:spcBef>
                <a:spcPts val="60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ea typeface="Chronicle Display Black" charset="0"/>
                <a:cs typeface="Chronicle Display Black" charset="0"/>
              </a:rPr>
              <a:t>2023*: Why Tomorrow?</a:t>
            </a:r>
          </a:p>
        </p:txBody>
      </p:sp>
      <p:cxnSp>
        <p:nvCxnSpPr>
          <p:cNvPr id="7" name="Straight Connector 6">
            <a:extLst>
              <a:ext uri="{FF2B5EF4-FFF2-40B4-BE49-F238E27FC236}">
                <a16:creationId xmlns:a16="http://schemas.microsoft.com/office/drawing/2014/main" id="{F95CE5E9-0D14-49F0-89F0-14A6629BE13F}"/>
              </a:ext>
            </a:extLst>
          </p:cNvPr>
          <p:cNvCxnSpPr/>
          <p:nvPr/>
        </p:nvCxnSpPr>
        <p:spPr>
          <a:xfrm>
            <a:off x="874784" y="2167704"/>
            <a:ext cx="4937760" cy="0"/>
          </a:xfrm>
          <a:prstGeom prst="line">
            <a:avLst/>
          </a:prstGeom>
          <a:ln w="53975" cmpd="sng">
            <a:solidFill>
              <a:schemeClr val="accent5"/>
            </a:solidFill>
          </a:ln>
        </p:spPr>
        <p:style>
          <a:lnRef idx="2">
            <a:schemeClr val="accent1"/>
          </a:lnRef>
          <a:fillRef idx="0">
            <a:schemeClr val="accent1"/>
          </a:fillRef>
          <a:effectRef idx="1">
            <a:schemeClr val="accent1"/>
          </a:effectRef>
          <a:fontRef idx="minor">
            <a:schemeClr val="tx1"/>
          </a:fontRef>
        </p:style>
      </p:cxnSp>
      <p:sp>
        <p:nvSpPr>
          <p:cNvPr id="8" name="Rectangle 7">
            <a:extLst>
              <a:ext uri="{FF2B5EF4-FFF2-40B4-BE49-F238E27FC236}">
                <a16:creationId xmlns:a16="http://schemas.microsoft.com/office/drawing/2014/main" id="{6C868772-2A86-49AE-9C22-F237B8419D8E}"/>
              </a:ext>
            </a:extLst>
          </p:cNvPr>
          <p:cNvSpPr/>
          <p:nvPr/>
        </p:nvSpPr>
        <p:spPr>
          <a:xfrm>
            <a:off x="874784" y="1787315"/>
            <a:ext cx="2883225" cy="407227"/>
          </a:xfrm>
          <a:prstGeom prst="rect">
            <a:avLst/>
          </a:prstGeom>
        </p:spPr>
        <p:txBody>
          <a:bodyPr wrap="none">
            <a:spAutoFit/>
          </a:bodyPr>
          <a:lstStyle/>
          <a:p>
            <a:pPr marL="12700" marR="0" lvl="0" indent="0" algn="l" defTabSz="914400" rtl="0" eaLnBrk="1" fontAlgn="auto" latinLnBrk="0" hangingPunct="1">
              <a:lnSpc>
                <a:spcPct val="85000"/>
              </a:lnSpc>
              <a:spcBef>
                <a:spcPts val="60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ea typeface="Chronicle Display Black" charset="0"/>
                <a:cs typeface="Chronicle Display Black" charset="0"/>
              </a:rPr>
              <a:t>2018: Why Today?</a:t>
            </a:r>
          </a:p>
        </p:txBody>
      </p:sp>
      <p:sp>
        <p:nvSpPr>
          <p:cNvPr id="13" name="Freeform 7">
            <a:extLst>
              <a:ext uri="{FF2B5EF4-FFF2-40B4-BE49-F238E27FC236}">
                <a16:creationId xmlns:a16="http://schemas.microsoft.com/office/drawing/2014/main" id="{AF0F8304-EEDF-4D92-8F01-4B7AA77FFB69}"/>
              </a:ext>
            </a:extLst>
          </p:cNvPr>
          <p:cNvSpPr>
            <a:spLocks noEditPoints="1"/>
          </p:cNvSpPr>
          <p:nvPr/>
        </p:nvSpPr>
        <p:spPr bwMode="auto">
          <a:xfrm>
            <a:off x="859947" y="2481610"/>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ea typeface="+mn-ea"/>
              <a:cs typeface="+mn-cs"/>
            </a:endParaRPr>
          </a:p>
        </p:txBody>
      </p:sp>
      <p:sp>
        <p:nvSpPr>
          <p:cNvPr id="14" name="Freeform 107">
            <a:extLst>
              <a:ext uri="{FF2B5EF4-FFF2-40B4-BE49-F238E27FC236}">
                <a16:creationId xmlns:a16="http://schemas.microsoft.com/office/drawing/2014/main" id="{08EAE103-3086-495B-A6C5-EE9A7D92EB6A}"/>
              </a:ext>
            </a:extLst>
          </p:cNvPr>
          <p:cNvSpPr>
            <a:spLocks noEditPoints="1"/>
          </p:cNvSpPr>
          <p:nvPr/>
        </p:nvSpPr>
        <p:spPr bwMode="auto">
          <a:xfrm>
            <a:off x="974005" y="2618852"/>
            <a:ext cx="294173" cy="246216"/>
          </a:xfrm>
          <a:custGeom>
            <a:avLst/>
            <a:gdLst>
              <a:gd name="T0" fmla="*/ 4486 w 5350"/>
              <a:gd name="T1" fmla="*/ 4219 h 4406"/>
              <a:gd name="T2" fmla="*/ 3838 w 5350"/>
              <a:gd name="T3" fmla="*/ 4348 h 4406"/>
              <a:gd name="T4" fmla="*/ 2955 w 5350"/>
              <a:gd name="T5" fmla="*/ 4096 h 4406"/>
              <a:gd name="T6" fmla="*/ 3890 w 5350"/>
              <a:gd name="T7" fmla="*/ 3553 h 4406"/>
              <a:gd name="T8" fmla="*/ 5027 w 5350"/>
              <a:gd name="T9" fmla="*/ 3444 h 4406"/>
              <a:gd name="T10" fmla="*/ 3397 w 5350"/>
              <a:gd name="T11" fmla="*/ 950 h 4406"/>
              <a:gd name="T12" fmla="*/ 3108 w 5350"/>
              <a:gd name="T13" fmla="*/ 1561 h 4406"/>
              <a:gd name="T14" fmla="*/ 2661 w 5350"/>
              <a:gd name="T15" fmla="*/ 1798 h 4406"/>
              <a:gd name="T16" fmla="*/ 1959 w 5350"/>
              <a:gd name="T17" fmla="*/ 1980 h 4406"/>
              <a:gd name="T18" fmla="*/ 1358 w 5350"/>
              <a:gd name="T19" fmla="*/ 1252 h 4406"/>
              <a:gd name="T20" fmla="*/ 1833 w 5350"/>
              <a:gd name="T21" fmla="*/ 828 h 4406"/>
              <a:gd name="T22" fmla="*/ 2293 w 5350"/>
              <a:gd name="T23" fmla="*/ 867 h 4406"/>
              <a:gd name="T24" fmla="*/ 2840 w 5350"/>
              <a:gd name="T25" fmla="*/ 5 h 4406"/>
              <a:gd name="T26" fmla="*/ 4054 w 5350"/>
              <a:gd name="T27" fmla="*/ 408 h 4406"/>
              <a:gd name="T28" fmla="*/ 5029 w 5350"/>
              <a:gd name="T29" fmla="*/ 1444 h 4406"/>
              <a:gd name="T30" fmla="*/ 5311 w 5350"/>
              <a:gd name="T31" fmla="*/ 2658 h 4406"/>
              <a:gd name="T32" fmla="*/ 4827 w 5350"/>
              <a:gd name="T33" fmla="*/ 3309 h 4406"/>
              <a:gd name="T34" fmla="*/ 3873 w 5350"/>
              <a:gd name="T35" fmla="*/ 3254 h 4406"/>
              <a:gd name="T36" fmla="*/ 3353 w 5350"/>
              <a:gd name="T37" fmla="*/ 3646 h 4406"/>
              <a:gd name="T38" fmla="*/ 2380 w 5350"/>
              <a:gd name="T39" fmla="*/ 3607 h 4406"/>
              <a:gd name="T40" fmla="*/ 1466 w 5350"/>
              <a:gd name="T41" fmla="*/ 3274 h 4406"/>
              <a:gd name="T42" fmla="*/ 1638 w 5350"/>
              <a:gd name="T43" fmla="*/ 2599 h 4406"/>
              <a:gd name="T44" fmla="*/ 1979 w 5350"/>
              <a:gd name="T45" fmla="*/ 2421 h 4406"/>
              <a:gd name="T46" fmla="*/ 2135 w 5350"/>
              <a:gd name="T47" fmla="*/ 2094 h 4406"/>
              <a:gd name="T48" fmla="*/ 2682 w 5350"/>
              <a:gd name="T49" fmla="*/ 2026 h 4406"/>
              <a:gd name="T50" fmla="*/ 2910 w 5350"/>
              <a:gd name="T51" fmla="*/ 1988 h 4406"/>
              <a:gd name="T52" fmla="*/ 3555 w 5350"/>
              <a:gd name="T53" fmla="*/ 1951 h 4406"/>
              <a:gd name="T54" fmla="*/ 3860 w 5350"/>
              <a:gd name="T55" fmla="*/ 2118 h 4406"/>
              <a:gd name="T56" fmla="*/ 3797 w 5350"/>
              <a:gd name="T57" fmla="*/ 1865 h 4406"/>
              <a:gd name="T58" fmla="*/ 3311 w 5350"/>
              <a:gd name="T59" fmla="*/ 1566 h 4406"/>
              <a:gd name="T60" fmla="*/ 3737 w 5350"/>
              <a:gd name="T61" fmla="*/ 1132 h 4406"/>
              <a:gd name="T62" fmla="*/ 4471 w 5350"/>
              <a:gd name="T63" fmla="*/ 1404 h 4406"/>
              <a:gd name="T64" fmla="*/ 4577 w 5350"/>
              <a:gd name="T65" fmla="*/ 1959 h 4406"/>
              <a:gd name="T66" fmla="*/ 4702 w 5350"/>
              <a:gd name="T67" fmla="*/ 2421 h 4406"/>
              <a:gd name="T68" fmla="*/ 4127 w 5350"/>
              <a:gd name="T69" fmla="*/ 2617 h 4406"/>
              <a:gd name="T70" fmla="*/ 3420 w 5350"/>
              <a:gd name="T71" fmla="*/ 2503 h 4406"/>
              <a:gd name="T72" fmla="*/ 2561 w 5350"/>
              <a:gd name="T73" fmla="*/ 2950 h 4406"/>
              <a:gd name="T74" fmla="*/ 2310 w 5350"/>
              <a:gd name="T75" fmla="*/ 2785 h 4406"/>
              <a:gd name="T76" fmla="*/ 2148 w 5350"/>
              <a:gd name="T77" fmla="*/ 2906 h 4406"/>
              <a:gd name="T78" fmla="*/ 2570 w 5350"/>
              <a:gd name="T79" fmla="*/ 3155 h 4406"/>
              <a:gd name="T80" fmla="*/ 3379 w 5350"/>
              <a:gd name="T81" fmla="*/ 2711 h 4406"/>
              <a:gd name="T82" fmla="*/ 3974 w 5350"/>
              <a:gd name="T83" fmla="*/ 2789 h 4406"/>
              <a:gd name="T84" fmla="*/ 4655 w 5350"/>
              <a:gd name="T85" fmla="*/ 2746 h 4406"/>
              <a:gd name="T86" fmla="*/ 4912 w 5350"/>
              <a:gd name="T87" fmla="*/ 2094 h 4406"/>
              <a:gd name="T88" fmla="*/ 4682 w 5350"/>
              <a:gd name="T89" fmla="*/ 1391 h 4406"/>
              <a:gd name="T90" fmla="*/ 4159 w 5350"/>
              <a:gd name="T91" fmla="*/ 932 h 4406"/>
              <a:gd name="T92" fmla="*/ 3448 w 5350"/>
              <a:gd name="T93" fmla="*/ 687 h 4406"/>
              <a:gd name="T94" fmla="*/ 2561 w 5350"/>
              <a:gd name="T95" fmla="*/ 404 h 4406"/>
              <a:gd name="T96" fmla="*/ 1805 w 5350"/>
              <a:gd name="T97" fmla="*/ 627 h 4406"/>
              <a:gd name="T98" fmla="*/ 1119 w 5350"/>
              <a:gd name="T99" fmla="*/ 1137 h 4406"/>
              <a:gd name="T100" fmla="*/ 466 w 5350"/>
              <a:gd name="T101" fmla="*/ 1439 h 4406"/>
              <a:gd name="T102" fmla="*/ 570 w 5350"/>
              <a:gd name="T103" fmla="*/ 2097 h 4406"/>
              <a:gd name="T104" fmla="*/ 1181 w 5350"/>
              <a:gd name="T105" fmla="*/ 2204 h 4406"/>
              <a:gd name="T106" fmla="*/ 806 w 5350"/>
              <a:gd name="T107" fmla="*/ 2021 h 4406"/>
              <a:gd name="T108" fmla="*/ 642 w 5350"/>
              <a:gd name="T109" fmla="*/ 1540 h 4406"/>
              <a:gd name="T110" fmla="*/ 1225 w 5350"/>
              <a:gd name="T111" fmla="*/ 1405 h 4406"/>
              <a:gd name="T112" fmla="*/ 1734 w 5350"/>
              <a:gd name="T113" fmla="*/ 2182 h 4406"/>
              <a:gd name="T114" fmla="*/ 1300 w 5350"/>
              <a:gd name="T115" fmla="*/ 2702 h 4406"/>
              <a:gd name="T116" fmla="*/ 343 w 5350"/>
              <a:gd name="T117" fmla="*/ 2547 h 4406"/>
              <a:gd name="T118" fmla="*/ 3 w 5350"/>
              <a:gd name="T119" fmla="*/ 1696 h 4406"/>
              <a:gd name="T120" fmla="*/ 726 w 5350"/>
              <a:gd name="T121" fmla="*/ 700 h 4406"/>
              <a:gd name="T122" fmla="*/ 1786 w 5350"/>
              <a:gd name="T123" fmla="*/ 128 h 4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50" h="4406">
                <a:moveTo>
                  <a:pt x="5027" y="3444"/>
                </a:moveTo>
                <a:lnTo>
                  <a:pt x="5011" y="3527"/>
                </a:lnTo>
                <a:lnTo>
                  <a:pt x="4990" y="3603"/>
                </a:lnTo>
                <a:lnTo>
                  <a:pt x="4965" y="3676"/>
                </a:lnTo>
                <a:lnTo>
                  <a:pt x="4934" y="3746"/>
                </a:lnTo>
                <a:lnTo>
                  <a:pt x="4897" y="3813"/>
                </a:lnTo>
                <a:lnTo>
                  <a:pt x="4853" y="3878"/>
                </a:lnTo>
                <a:lnTo>
                  <a:pt x="4803" y="3943"/>
                </a:lnTo>
                <a:lnTo>
                  <a:pt x="4744" y="4006"/>
                </a:lnTo>
                <a:lnTo>
                  <a:pt x="4678" y="4073"/>
                </a:lnTo>
                <a:lnTo>
                  <a:pt x="4601" y="4141"/>
                </a:lnTo>
                <a:lnTo>
                  <a:pt x="4546" y="4183"/>
                </a:lnTo>
                <a:lnTo>
                  <a:pt x="4486" y="4219"/>
                </a:lnTo>
                <a:lnTo>
                  <a:pt x="4423" y="4250"/>
                </a:lnTo>
                <a:lnTo>
                  <a:pt x="4358" y="4276"/>
                </a:lnTo>
                <a:lnTo>
                  <a:pt x="4293" y="4297"/>
                </a:lnTo>
                <a:lnTo>
                  <a:pt x="4228" y="4313"/>
                </a:lnTo>
                <a:lnTo>
                  <a:pt x="4164" y="4326"/>
                </a:lnTo>
                <a:lnTo>
                  <a:pt x="4102" y="4336"/>
                </a:lnTo>
                <a:lnTo>
                  <a:pt x="4046" y="4343"/>
                </a:lnTo>
                <a:lnTo>
                  <a:pt x="3994" y="4348"/>
                </a:lnTo>
                <a:lnTo>
                  <a:pt x="3946" y="4349"/>
                </a:lnTo>
                <a:lnTo>
                  <a:pt x="3906" y="4349"/>
                </a:lnTo>
                <a:lnTo>
                  <a:pt x="3873" y="4349"/>
                </a:lnTo>
                <a:lnTo>
                  <a:pt x="3851" y="4349"/>
                </a:lnTo>
                <a:lnTo>
                  <a:pt x="3838" y="4348"/>
                </a:lnTo>
                <a:lnTo>
                  <a:pt x="3769" y="4374"/>
                </a:lnTo>
                <a:lnTo>
                  <a:pt x="3700" y="4391"/>
                </a:lnTo>
                <a:lnTo>
                  <a:pt x="3626" y="4403"/>
                </a:lnTo>
                <a:lnTo>
                  <a:pt x="3550" y="4406"/>
                </a:lnTo>
                <a:lnTo>
                  <a:pt x="3469" y="4403"/>
                </a:lnTo>
                <a:lnTo>
                  <a:pt x="3391" y="4390"/>
                </a:lnTo>
                <a:lnTo>
                  <a:pt x="3316" y="4369"/>
                </a:lnTo>
                <a:lnTo>
                  <a:pt x="3245" y="4339"/>
                </a:lnTo>
                <a:lnTo>
                  <a:pt x="3176" y="4302"/>
                </a:lnTo>
                <a:lnTo>
                  <a:pt x="3113" y="4260"/>
                </a:lnTo>
                <a:lnTo>
                  <a:pt x="3055" y="4211"/>
                </a:lnTo>
                <a:lnTo>
                  <a:pt x="3003" y="4156"/>
                </a:lnTo>
                <a:lnTo>
                  <a:pt x="2955" y="4096"/>
                </a:lnTo>
                <a:lnTo>
                  <a:pt x="2915" y="4031"/>
                </a:lnTo>
                <a:lnTo>
                  <a:pt x="2881" y="3962"/>
                </a:lnTo>
                <a:lnTo>
                  <a:pt x="3014" y="3941"/>
                </a:lnTo>
                <a:lnTo>
                  <a:pt x="3139" y="3917"/>
                </a:lnTo>
                <a:lnTo>
                  <a:pt x="3258" y="3888"/>
                </a:lnTo>
                <a:lnTo>
                  <a:pt x="3370" y="3854"/>
                </a:lnTo>
                <a:lnTo>
                  <a:pt x="3474" y="3816"/>
                </a:lnTo>
                <a:lnTo>
                  <a:pt x="3571" y="3772"/>
                </a:lnTo>
                <a:lnTo>
                  <a:pt x="3661" y="3727"/>
                </a:lnTo>
                <a:lnTo>
                  <a:pt x="3743" y="3675"/>
                </a:lnTo>
                <a:lnTo>
                  <a:pt x="3800" y="3633"/>
                </a:lnTo>
                <a:lnTo>
                  <a:pt x="3849" y="3592"/>
                </a:lnTo>
                <a:lnTo>
                  <a:pt x="3890" y="3553"/>
                </a:lnTo>
                <a:lnTo>
                  <a:pt x="3924" y="3516"/>
                </a:lnTo>
                <a:lnTo>
                  <a:pt x="3951" y="3482"/>
                </a:lnTo>
                <a:lnTo>
                  <a:pt x="4046" y="3519"/>
                </a:lnTo>
                <a:lnTo>
                  <a:pt x="4141" y="3548"/>
                </a:lnTo>
                <a:lnTo>
                  <a:pt x="4241" y="3568"/>
                </a:lnTo>
                <a:lnTo>
                  <a:pt x="4341" y="3581"/>
                </a:lnTo>
                <a:lnTo>
                  <a:pt x="4442" y="3584"/>
                </a:lnTo>
                <a:lnTo>
                  <a:pt x="4546" y="3579"/>
                </a:lnTo>
                <a:lnTo>
                  <a:pt x="4648" y="3564"/>
                </a:lnTo>
                <a:lnTo>
                  <a:pt x="4754" y="3542"/>
                </a:lnTo>
                <a:lnTo>
                  <a:pt x="4860" y="3511"/>
                </a:lnTo>
                <a:lnTo>
                  <a:pt x="4947" y="3478"/>
                </a:lnTo>
                <a:lnTo>
                  <a:pt x="5027" y="3444"/>
                </a:lnTo>
                <a:close/>
                <a:moveTo>
                  <a:pt x="2752" y="578"/>
                </a:moveTo>
                <a:lnTo>
                  <a:pt x="2817" y="580"/>
                </a:lnTo>
                <a:lnTo>
                  <a:pt x="2886" y="590"/>
                </a:lnTo>
                <a:lnTo>
                  <a:pt x="2955" y="606"/>
                </a:lnTo>
                <a:lnTo>
                  <a:pt x="3029" y="630"/>
                </a:lnTo>
                <a:lnTo>
                  <a:pt x="3090" y="658"/>
                </a:lnTo>
                <a:lnTo>
                  <a:pt x="3147" y="690"/>
                </a:lnTo>
                <a:lnTo>
                  <a:pt x="3201" y="729"/>
                </a:lnTo>
                <a:lnTo>
                  <a:pt x="3248" y="771"/>
                </a:lnTo>
                <a:lnTo>
                  <a:pt x="3292" y="815"/>
                </a:lnTo>
                <a:lnTo>
                  <a:pt x="3332" y="862"/>
                </a:lnTo>
                <a:lnTo>
                  <a:pt x="3366" y="906"/>
                </a:lnTo>
                <a:lnTo>
                  <a:pt x="3397" y="950"/>
                </a:lnTo>
                <a:lnTo>
                  <a:pt x="3423" y="991"/>
                </a:lnTo>
                <a:lnTo>
                  <a:pt x="3444" y="1028"/>
                </a:lnTo>
                <a:lnTo>
                  <a:pt x="3384" y="1066"/>
                </a:lnTo>
                <a:lnTo>
                  <a:pt x="3332" y="1108"/>
                </a:lnTo>
                <a:lnTo>
                  <a:pt x="3285" y="1152"/>
                </a:lnTo>
                <a:lnTo>
                  <a:pt x="3245" y="1200"/>
                </a:lnTo>
                <a:lnTo>
                  <a:pt x="3210" y="1249"/>
                </a:lnTo>
                <a:lnTo>
                  <a:pt x="3181" y="1301"/>
                </a:lnTo>
                <a:lnTo>
                  <a:pt x="3158" y="1353"/>
                </a:lnTo>
                <a:lnTo>
                  <a:pt x="3139" y="1407"/>
                </a:lnTo>
                <a:lnTo>
                  <a:pt x="3124" y="1459"/>
                </a:lnTo>
                <a:lnTo>
                  <a:pt x="3115" y="1511"/>
                </a:lnTo>
                <a:lnTo>
                  <a:pt x="3108" y="1561"/>
                </a:lnTo>
                <a:lnTo>
                  <a:pt x="3105" y="1608"/>
                </a:lnTo>
                <a:lnTo>
                  <a:pt x="3103" y="1654"/>
                </a:lnTo>
                <a:lnTo>
                  <a:pt x="3106" y="1696"/>
                </a:lnTo>
                <a:lnTo>
                  <a:pt x="3038" y="1711"/>
                </a:lnTo>
                <a:lnTo>
                  <a:pt x="2978" y="1728"/>
                </a:lnTo>
                <a:lnTo>
                  <a:pt x="2923" y="1750"/>
                </a:lnTo>
                <a:lnTo>
                  <a:pt x="2876" y="1772"/>
                </a:lnTo>
                <a:lnTo>
                  <a:pt x="2834" y="1797"/>
                </a:lnTo>
                <a:lnTo>
                  <a:pt x="2798" y="1819"/>
                </a:lnTo>
                <a:lnTo>
                  <a:pt x="2769" y="1842"/>
                </a:lnTo>
                <a:lnTo>
                  <a:pt x="2738" y="1828"/>
                </a:lnTo>
                <a:lnTo>
                  <a:pt x="2702" y="1813"/>
                </a:lnTo>
                <a:lnTo>
                  <a:pt x="2661" y="1798"/>
                </a:lnTo>
                <a:lnTo>
                  <a:pt x="2617" y="1787"/>
                </a:lnTo>
                <a:lnTo>
                  <a:pt x="2569" y="1777"/>
                </a:lnTo>
                <a:lnTo>
                  <a:pt x="2517" y="1771"/>
                </a:lnTo>
                <a:lnTo>
                  <a:pt x="2461" y="1769"/>
                </a:lnTo>
                <a:lnTo>
                  <a:pt x="2401" y="1772"/>
                </a:lnTo>
                <a:lnTo>
                  <a:pt x="2338" y="1782"/>
                </a:lnTo>
                <a:lnTo>
                  <a:pt x="2270" y="1800"/>
                </a:lnTo>
                <a:lnTo>
                  <a:pt x="2200" y="1823"/>
                </a:lnTo>
                <a:lnTo>
                  <a:pt x="2141" y="1850"/>
                </a:lnTo>
                <a:lnTo>
                  <a:pt x="2088" y="1880"/>
                </a:lnTo>
                <a:lnTo>
                  <a:pt x="2039" y="1910"/>
                </a:lnTo>
                <a:lnTo>
                  <a:pt x="1997" y="1945"/>
                </a:lnTo>
                <a:lnTo>
                  <a:pt x="1959" y="1980"/>
                </a:lnTo>
                <a:lnTo>
                  <a:pt x="1927" y="2018"/>
                </a:lnTo>
                <a:lnTo>
                  <a:pt x="1899" y="2055"/>
                </a:lnTo>
                <a:lnTo>
                  <a:pt x="1872" y="1988"/>
                </a:lnTo>
                <a:lnTo>
                  <a:pt x="1841" y="1919"/>
                </a:lnTo>
                <a:lnTo>
                  <a:pt x="1805" y="1845"/>
                </a:lnTo>
                <a:lnTo>
                  <a:pt x="1768" y="1771"/>
                </a:lnTo>
                <a:lnTo>
                  <a:pt x="1725" y="1696"/>
                </a:lnTo>
                <a:lnTo>
                  <a:pt x="1664" y="1594"/>
                </a:lnTo>
                <a:lnTo>
                  <a:pt x="1600" y="1504"/>
                </a:lnTo>
                <a:lnTo>
                  <a:pt x="1539" y="1426"/>
                </a:lnTo>
                <a:lnTo>
                  <a:pt x="1479" y="1358"/>
                </a:lnTo>
                <a:lnTo>
                  <a:pt x="1417" y="1301"/>
                </a:lnTo>
                <a:lnTo>
                  <a:pt x="1358" y="1252"/>
                </a:lnTo>
                <a:lnTo>
                  <a:pt x="1362" y="1244"/>
                </a:lnTo>
                <a:lnTo>
                  <a:pt x="1365" y="1235"/>
                </a:lnTo>
                <a:lnTo>
                  <a:pt x="1384" y="1168"/>
                </a:lnTo>
                <a:lnTo>
                  <a:pt x="1410" y="1108"/>
                </a:lnTo>
                <a:lnTo>
                  <a:pt x="1441" y="1054"/>
                </a:lnTo>
                <a:lnTo>
                  <a:pt x="1475" y="1005"/>
                </a:lnTo>
                <a:lnTo>
                  <a:pt x="1516" y="963"/>
                </a:lnTo>
                <a:lnTo>
                  <a:pt x="1560" y="926"/>
                </a:lnTo>
                <a:lnTo>
                  <a:pt x="1610" y="895"/>
                </a:lnTo>
                <a:lnTo>
                  <a:pt x="1664" y="869"/>
                </a:lnTo>
                <a:lnTo>
                  <a:pt x="1719" y="849"/>
                </a:lnTo>
                <a:lnTo>
                  <a:pt x="1776" y="836"/>
                </a:lnTo>
                <a:lnTo>
                  <a:pt x="1833" y="828"/>
                </a:lnTo>
                <a:lnTo>
                  <a:pt x="1888" y="823"/>
                </a:lnTo>
                <a:lnTo>
                  <a:pt x="1943" y="822"/>
                </a:lnTo>
                <a:lnTo>
                  <a:pt x="1995" y="823"/>
                </a:lnTo>
                <a:lnTo>
                  <a:pt x="2046" y="828"/>
                </a:lnTo>
                <a:lnTo>
                  <a:pt x="2091" y="833"/>
                </a:lnTo>
                <a:lnTo>
                  <a:pt x="2132" y="840"/>
                </a:lnTo>
                <a:lnTo>
                  <a:pt x="2167" y="848"/>
                </a:lnTo>
                <a:lnTo>
                  <a:pt x="2197" y="854"/>
                </a:lnTo>
                <a:lnTo>
                  <a:pt x="2218" y="859"/>
                </a:lnTo>
                <a:lnTo>
                  <a:pt x="2232" y="864"/>
                </a:lnTo>
                <a:lnTo>
                  <a:pt x="2237" y="866"/>
                </a:lnTo>
                <a:lnTo>
                  <a:pt x="2265" y="871"/>
                </a:lnTo>
                <a:lnTo>
                  <a:pt x="2293" y="867"/>
                </a:lnTo>
                <a:lnTo>
                  <a:pt x="2318" y="858"/>
                </a:lnTo>
                <a:lnTo>
                  <a:pt x="2340" y="840"/>
                </a:lnTo>
                <a:lnTo>
                  <a:pt x="2357" y="817"/>
                </a:lnTo>
                <a:lnTo>
                  <a:pt x="2392" y="763"/>
                </a:lnTo>
                <a:lnTo>
                  <a:pt x="2431" y="716"/>
                </a:lnTo>
                <a:lnTo>
                  <a:pt x="2474" y="676"/>
                </a:lnTo>
                <a:lnTo>
                  <a:pt x="2522" y="642"/>
                </a:lnTo>
                <a:lnTo>
                  <a:pt x="2574" y="616"/>
                </a:lnTo>
                <a:lnTo>
                  <a:pt x="2630" y="596"/>
                </a:lnTo>
                <a:lnTo>
                  <a:pt x="2689" y="583"/>
                </a:lnTo>
                <a:lnTo>
                  <a:pt x="2752" y="578"/>
                </a:lnTo>
                <a:close/>
                <a:moveTo>
                  <a:pt x="2733" y="0"/>
                </a:moveTo>
                <a:lnTo>
                  <a:pt x="2840" y="5"/>
                </a:lnTo>
                <a:lnTo>
                  <a:pt x="2946" y="18"/>
                </a:lnTo>
                <a:lnTo>
                  <a:pt x="3048" y="40"/>
                </a:lnTo>
                <a:lnTo>
                  <a:pt x="3147" y="71"/>
                </a:lnTo>
                <a:lnTo>
                  <a:pt x="3241" y="109"/>
                </a:lnTo>
                <a:lnTo>
                  <a:pt x="3332" y="154"/>
                </a:lnTo>
                <a:lnTo>
                  <a:pt x="3420" y="206"/>
                </a:lnTo>
                <a:lnTo>
                  <a:pt x="3503" y="265"/>
                </a:lnTo>
                <a:lnTo>
                  <a:pt x="3579" y="330"/>
                </a:lnTo>
                <a:lnTo>
                  <a:pt x="3584" y="330"/>
                </a:lnTo>
                <a:lnTo>
                  <a:pt x="3706" y="334"/>
                </a:lnTo>
                <a:lnTo>
                  <a:pt x="3826" y="351"/>
                </a:lnTo>
                <a:lnTo>
                  <a:pt x="3942" y="375"/>
                </a:lnTo>
                <a:lnTo>
                  <a:pt x="4054" y="408"/>
                </a:lnTo>
                <a:lnTo>
                  <a:pt x="4163" y="450"/>
                </a:lnTo>
                <a:lnTo>
                  <a:pt x="4267" y="500"/>
                </a:lnTo>
                <a:lnTo>
                  <a:pt x="4364" y="559"/>
                </a:lnTo>
                <a:lnTo>
                  <a:pt x="4458" y="624"/>
                </a:lnTo>
                <a:lnTo>
                  <a:pt x="4546" y="697"/>
                </a:lnTo>
                <a:lnTo>
                  <a:pt x="4627" y="776"/>
                </a:lnTo>
                <a:lnTo>
                  <a:pt x="4700" y="861"/>
                </a:lnTo>
                <a:lnTo>
                  <a:pt x="4769" y="952"/>
                </a:lnTo>
                <a:lnTo>
                  <a:pt x="4829" y="1049"/>
                </a:lnTo>
                <a:lnTo>
                  <a:pt x="4881" y="1150"/>
                </a:lnTo>
                <a:lnTo>
                  <a:pt x="4923" y="1256"/>
                </a:lnTo>
                <a:lnTo>
                  <a:pt x="4959" y="1366"/>
                </a:lnTo>
                <a:lnTo>
                  <a:pt x="5029" y="1444"/>
                </a:lnTo>
                <a:lnTo>
                  <a:pt x="5092" y="1525"/>
                </a:lnTo>
                <a:lnTo>
                  <a:pt x="5150" y="1613"/>
                </a:lnTo>
                <a:lnTo>
                  <a:pt x="5201" y="1704"/>
                </a:lnTo>
                <a:lnTo>
                  <a:pt x="5245" y="1800"/>
                </a:lnTo>
                <a:lnTo>
                  <a:pt x="5282" y="1899"/>
                </a:lnTo>
                <a:lnTo>
                  <a:pt x="5311" y="2001"/>
                </a:lnTo>
                <a:lnTo>
                  <a:pt x="5332" y="2107"/>
                </a:lnTo>
                <a:lnTo>
                  <a:pt x="5345" y="2216"/>
                </a:lnTo>
                <a:lnTo>
                  <a:pt x="5350" y="2326"/>
                </a:lnTo>
                <a:lnTo>
                  <a:pt x="5347" y="2408"/>
                </a:lnTo>
                <a:lnTo>
                  <a:pt x="5341" y="2490"/>
                </a:lnTo>
                <a:lnTo>
                  <a:pt x="5328" y="2575"/>
                </a:lnTo>
                <a:lnTo>
                  <a:pt x="5311" y="2658"/>
                </a:lnTo>
                <a:lnTo>
                  <a:pt x="5289" y="2741"/>
                </a:lnTo>
                <a:lnTo>
                  <a:pt x="5263" y="2822"/>
                </a:lnTo>
                <a:lnTo>
                  <a:pt x="5230" y="2902"/>
                </a:lnTo>
                <a:lnTo>
                  <a:pt x="5193" y="2978"/>
                </a:lnTo>
                <a:lnTo>
                  <a:pt x="5150" y="3051"/>
                </a:lnTo>
                <a:lnTo>
                  <a:pt x="5103" y="3119"/>
                </a:lnTo>
                <a:lnTo>
                  <a:pt x="5051" y="3183"/>
                </a:lnTo>
                <a:lnTo>
                  <a:pt x="5022" y="3210"/>
                </a:lnTo>
                <a:lnTo>
                  <a:pt x="4986" y="3235"/>
                </a:lnTo>
                <a:lnTo>
                  <a:pt x="4949" y="3257"/>
                </a:lnTo>
                <a:lnTo>
                  <a:pt x="4908" y="3277"/>
                </a:lnTo>
                <a:lnTo>
                  <a:pt x="4866" y="3293"/>
                </a:lnTo>
                <a:lnTo>
                  <a:pt x="4827" y="3309"/>
                </a:lnTo>
                <a:lnTo>
                  <a:pt x="4788" y="3321"/>
                </a:lnTo>
                <a:lnTo>
                  <a:pt x="4691" y="3350"/>
                </a:lnTo>
                <a:lnTo>
                  <a:pt x="4593" y="3369"/>
                </a:lnTo>
                <a:lnTo>
                  <a:pt x="4499" y="3379"/>
                </a:lnTo>
                <a:lnTo>
                  <a:pt x="4405" y="3382"/>
                </a:lnTo>
                <a:lnTo>
                  <a:pt x="4312" y="3374"/>
                </a:lnTo>
                <a:lnTo>
                  <a:pt x="4221" y="3360"/>
                </a:lnTo>
                <a:lnTo>
                  <a:pt x="4132" y="3335"/>
                </a:lnTo>
                <a:lnTo>
                  <a:pt x="4046" y="3303"/>
                </a:lnTo>
                <a:lnTo>
                  <a:pt x="3959" y="3261"/>
                </a:lnTo>
                <a:lnTo>
                  <a:pt x="3932" y="3251"/>
                </a:lnTo>
                <a:lnTo>
                  <a:pt x="3903" y="3248"/>
                </a:lnTo>
                <a:lnTo>
                  <a:pt x="3873" y="3254"/>
                </a:lnTo>
                <a:lnTo>
                  <a:pt x="3852" y="3265"/>
                </a:lnTo>
                <a:lnTo>
                  <a:pt x="3838" y="3282"/>
                </a:lnTo>
                <a:lnTo>
                  <a:pt x="3825" y="3300"/>
                </a:lnTo>
                <a:lnTo>
                  <a:pt x="3813" y="3322"/>
                </a:lnTo>
                <a:lnTo>
                  <a:pt x="3789" y="3361"/>
                </a:lnTo>
                <a:lnTo>
                  <a:pt x="3760" y="3400"/>
                </a:lnTo>
                <a:lnTo>
                  <a:pt x="3724" y="3434"/>
                </a:lnTo>
                <a:lnTo>
                  <a:pt x="3687" y="3465"/>
                </a:lnTo>
                <a:lnTo>
                  <a:pt x="3648" y="3495"/>
                </a:lnTo>
                <a:lnTo>
                  <a:pt x="3609" y="3521"/>
                </a:lnTo>
                <a:lnTo>
                  <a:pt x="3527" y="3569"/>
                </a:lnTo>
                <a:lnTo>
                  <a:pt x="3441" y="3610"/>
                </a:lnTo>
                <a:lnTo>
                  <a:pt x="3353" y="3646"/>
                </a:lnTo>
                <a:lnTo>
                  <a:pt x="3262" y="3676"/>
                </a:lnTo>
                <a:lnTo>
                  <a:pt x="3170" y="3702"/>
                </a:lnTo>
                <a:lnTo>
                  <a:pt x="3076" y="3724"/>
                </a:lnTo>
                <a:lnTo>
                  <a:pt x="2983" y="3741"/>
                </a:lnTo>
                <a:lnTo>
                  <a:pt x="2889" y="3756"/>
                </a:lnTo>
                <a:lnTo>
                  <a:pt x="2824" y="3761"/>
                </a:lnTo>
                <a:lnTo>
                  <a:pt x="2756" y="3759"/>
                </a:lnTo>
                <a:lnTo>
                  <a:pt x="2689" y="3748"/>
                </a:lnTo>
                <a:lnTo>
                  <a:pt x="2622" y="3732"/>
                </a:lnTo>
                <a:lnTo>
                  <a:pt x="2557" y="3707"/>
                </a:lnTo>
                <a:lnTo>
                  <a:pt x="2496" y="3680"/>
                </a:lnTo>
                <a:lnTo>
                  <a:pt x="2435" y="3646"/>
                </a:lnTo>
                <a:lnTo>
                  <a:pt x="2380" y="3607"/>
                </a:lnTo>
                <a:lnTo>
                  <a:pt x="2330" y="3564"/>
                </a:lnTo>
                <a:lnTo>
                  <a:pt x="2255" y="3582"/>
                </a:lnTo>
                <a:lnTo>
                  <a:pt x="2179" y="3594"/>
                </a:lnTo>
                <a:lnTo>
                  <a:pt x="2099" y="3597"/>
                </a:lnTo>
                <a:lnTo>
                  <a:pt x="2007" y="3592"/>
                </a:lnTo>
                <a:lnTo>
                  <a:pt x="1917" y="3577"/>
                </a:lnTo>
                <a:lnTo>
                  <a:pt x="1831" y="3553"/>
                </a:lnTo>
                <a:lnTo>
                  <a:pt x="1748" y="3521"/>
                </a:lnTo>
                <a:lnTo>
                  <a:pt x="1672" y="3480"/>
                </a:lnTo>
                <a:lnTo>
                  <a:pt x="1599" y="3431"/>
                </a:lnTo>
                <a:lnTo>
                  <a:pt x="1532" y="3376"/>
                </a:lnTo>
                <a:lnTo>
                  <a:pt x="1495" y="3326"/>
                </a:lnTo>
                <a:lnTo>
                  <a:pt x="1466" y="3274"/>
                </a:lnTo>
                <a:lnTo>
                  <a:pt x="1441" y="3218"/>
                </a:lnTo>
                <a:lnTo>
                  <a:pt x="1425" y="3161"/>
                </a:lnTo>
                <a:lnTo>
                  <a:pt x="1415" y="3105"/>
                </a:lnTo>
                <a:lnTo>
                  <a:pt x="1412" y="3048"/>
                </a:lnTo>
                <a:lnTo>
                  <a:pt x="1415" y="2992"/>
                </a:lnTo>
                <a:lnTo>
                  <a:pt x="1423" y="2939"/>
                </a:lnTo>
                <a:lnTo>
                  <a:pt x="1438" y="2887"/>
                </a:lnTo>
                <a:lnTo>
                  <a:pt x="1464" y="2825"/>
                </a:lnTo>
                <a:lnTo>
                  <a:pt x="1493" y="2768"/>
                </a:lnTo>
                <a:lnTo>
                  <a:pt x="1527" y="2718"/>
                </a:lnTo>
                <a:lnTo>
                  <a:pt x="1563" y="2672"/>
                </a:lnTo>
                <a:lnTo>
                  <a:pt x="1600" y="2633"/>
                </a:lnTo>
                <a:lnTo>
                  <a:pt x="1638" y="2599"/>
                </a:lnTo>
                <a:lnTo>
                  <a:pt x="1677" y="2570"/>
                </a:lnTo>
                <a:lnTo>
                  <a:pt x="1716" y="2544"/>
                </a:lnTo>
                <a:lnTo>
                  <a:pt x="1753" y="2523"/>
                </a:lnTo>
                <a:lnTo>
                  <a:pt x="1787" y="2507"/>
                </a:lnTo>
                <a:lnTo>
                  <a:pt x="1820" y="2492"/>
                </a:lnTo>
                <a:lnTo>
                  <a:pt x="1849" y="2482"/>
                </a:lnTo>
                <a:lnTo>
                  <a:pt x="1873" y="2474"/>
                </a:lnTo>
                <a:lnTo>
                  <a:pt x="1891" y="2469"/>
                </a:lnTo>
                <a:lnTo>
                  <a:pt x="1904" y="2466"/>
                </a:lnTo>
                <a:lnTo>
                  <a:pt x="1911" y="2464"/>
                </a:lnTo>
                <a:lnTo>
                  <a:pt x="1938" y="2455"/>
                </a:lnTo>
                <a:lnTo>
                  <a:pt x="1961" y="2440"/>
                </a:lnTo>
                <a:lnTo>
                  <a:pt x="1979" y="2421"/>
                </a:lnTo>
                <a:lnTo>
                  <a:pt x="1990" y="2395"/>
                </a:lnTo>
                <a:lnTo>
                  <a:pt x="1994" y="2367"/>
                </a:lnTo>
                <a:lnTo>
                  <a:pt x="1995" y="2362"/>
                </a:lnTo>
                <a:lnTo>
                  <a:pt x="1995" y="2351"/>
                </a:lnTo>
                <a:lnTo>
                  <a:pt x="1998" y="2333"/>
                </a:lnTo>
                <a:lnTo>
                  <a:pt x="2003" y="2310"/>
                </a:lnTo>
                <a:lnTo>
                  <a:pt x="2010" y="2286"/>
                </a:lnTo>
                <a:lnTo>
                  <a:pt x="2020" y="2256"/>
                </a:lnTo>
                <a:lnTo>
                  <a:pt x="2034" y="2226"/>
                </a:lnTo>
                <a:lnTo>
                  <a:pt x="2052" y="2193"/>
                </a:lnTo>
                <a:lnTo>
                  <a:pt x="2073" y="2159"/>
                </a:lnTo>
                <a:lnTo>
                  <a:pt x="2101" y="2127"/>
                </a:lnTo>
                <a:lnTo>
                  <a:pt x="2135" y="2094"/>
                </a:lnTo>
                <a:lnTo>
                  <a:pt x="2174" y="2063"/>
                </a:lnTo>
                <a:lnTo>
                  <a:pt x="2221" y="2036"/>
                </a:lnTo>
                <a:lnTo>
                  <a:pt x="2275" y="2011"/>
                </a:lnTo>
                <a:lnTo>
                  <a:pt x="2333" y="1992"/>
                </a:lnTo>
                <a:lnTo>
                  <a:pt x="2388" y="1979"/>
                </a:lnTo>
                <a:lnTo>
                  <a:pt x="2440" y="1972"/>
                </a:lnTo>
                <a:lnTo>
                  <a:pt x="2487" y="1972"/>
                </a:lnTo>
                <a:lnTo>
                  <a:pt x="2531" y="1975"/>
                </a:lnTo>
                <a:lnTo>
                  <a:pt x="2570" y="1984"/>
                </a:lnTo>
                <a:lnTo>
                  <a:pt x="2606" y="1992"/>
                </a:lnTo>
                <a:lnTo>
                  <a:pt x="2637" y="2003"/>
                </a:lnTo>
                <a:lnTo>
                  <a:pt x="2661" y="2014"/>
                </a:lnTo>
                <a:lnTo>
                  <a:pt x="2682" y="2026"/>
                </a:lnTo>
                <a:lnTo>
                  <a:pt x="2699" y="2037"/>
                </a:lnTo>
                <a:lnTo>
                  <a:pt x="2710" y="2044"/>
                </a:lnTo>
                <a:lnTo>
                  <a:pt x="2715" y="2049"/>
                </a:lnTo>
                <a:lnTo>
                  <a:pt x="2739" y="2065"/>
                </a:lnTo>
                <a:lnTo>
                  <a:pt x="2765" y="2073"/>
                </a:lnTo>
                <a:lnTo>
                  <a:pt x="2793" y="2075"/>
                </a:lnTo>
                <a:lnTo>
                  <a:pt x="2821" y="2066"/>
                </a:lnTo>
                <a:lnTo>
                  <a:pt x="2845" y="2052"/>
                </a:lnTo>
                <a:lnTo>
                  <a:pt x="2863" y="2031"/>
                </a:lnTo>
                <a:lnTo>
                  <a:pt x="2868" y="2026"/>
                </a:lnTo>
                <a:lnTo>
                  <a:pt x="2877" y="2016"/>
                </a:lnTo>
                <a:lnTo>
                  <a:pt x="2890" y="2003"/>
                </a:lnTo>
                <a:lnTo>
                  <a:pt x="2910" y="1988"/>
                </a:lnTo>
                <a:lnTo>
                  <a:pt x="2934" y="1971"/>
                </a:lnTo>
                <a:lnTo>
                  <a:pt x="2964" y="1954"/>
                </a:lnTo>
                <a:lnTo>
                  <a:pt x="2999" y="1936"/>
                </a:lnTo>
                <a:lnTo>
                  <a:pt x="3040" y="1920"/>
                </a:lnTo>
                <a:lnTo>
                  <a:pt x="3087" y="1907"/>
                </a:lnTo>
                <a:lnTo>
                  <a:pt x="3142" y="1896"/>
                </a:lnTo>
                <a:lnTo>
                  <a:pt x="3202" y="1888"/>
                </a:lnTo>
                <a:lnTo>
                  <a:pt x="3271" y="1886"/>
                </a:lnTo>
                <a:lnTo>
                  <a:pt x="3337" y="1889"/>
                </a:lnTo>
                <a:lnTo>
                  <a:pt x="3399" y="1897"/>
                </a:lnTo>
                <a:lnTo>
                  <a:pt x="3457" y="1912"/>
                </a:lnTo>
                <a:lnTo>
                  <a:pt x="3509" y="1930"/>
                </a:lnTo>
                <a:lnTo>
                  <a:pt x="3555" y="1951"/>
                </a:lnTo>
                <a:lnTo>
                  <a:pt x="3597" y="1972"/>
                </a:lnTo>
                <a:lnTo>
                  <a:pt x="3635" y="1997"/>
                </a:lnTo>
                <a:lnTo>
                  <a:pt x="3665" y="2019"/>
                </a:lnTo>
                <a:lnTo>
                  <a:pt x="3691" y="2040"/>
                </a:lnTo>
                <a:lnTo>
                  <a:pt x="3713" y="2058"/>
                </a:lnTo>
                <a:lnTo>
                  <a:pt x="3727" y="2075"/>
                </a:lnTo>
                <a:lnTo>
                  <a:pt x="3739" y="2084"/>
                </a:lnTo>
                <a:lnTo>
                  <a:pt x="3742" y="2089"/>
                </a:lnTo>
                <a:lnTo>
                  <a:pt x="3761" y="2109"/>
                </a:lnTo>
                <a:lnTo>
                  <a:pt x="3784" y="2120"/>
                </a:lnTo>
                <a:lnTo>
                  <a:pt x="3810" y="2127"/>
                </a:lnTo>
                <a:lnTo>
                  <a:pt x="3836" y="2127"/>
                </a:lnTo>
                <a:lnTo>
                  <a:pt x="3860" y="2118"/>
                </a:lnTo>
                <a:lnTo>
                  <a:pt x="3885" y="2105"/>
                </a:lnTo>
                <a:lnTo>
                  <a:pt x="3903" y="2086"/>
                </a:lnTo>
                <a:lnTo>
                  <a:pt x="3916" y="2063"/>
                </a:lnTo>
                <a:lnTo>
                  <a:pt x="3920" y="2037"/>
                </a:lnTo>
                <a:lnTo>
                  <a:pt x="3920" y="2011"/>
                </a:lnTo>
                <a:lnTo>
                  <a:pt x="3914" y="1987"/>
                </a:lnTo>
                <a:lnTo>
                  <a:pt x="3899" y="1962"/>
                </a:lnTo>
                <a:lnTo>
                  <a:pt x="3896" y="1958"/>
                </a:lnTo>
                <a:lnTo>
                  <a:pt x="3886" y="1946"/>
                </a:lnTo>
                <a:lnTo>
                  <a:pt x="3872" y="1932"/>
                </a:lnTo>
                <a:lnTo>
                  <a:pt x="3851" y="1912"/>
                </a:lnTo>
                <a:lnTo>
                  <a:pt x="3826" y="1889"/>
                </a:lnTo>
                <a:lnTo>
                  <a:pt x="3797" y="1865"/>
                </a:lnTo>
                <a:lnTo>
                  <a:pt x="3761" y="1839"/>
                </a:lnTo>
                <a:lnTo>
                  <a:pt x="3722" y="1813"/>
                </a:lnTo>
                <a:lnTo>
                  <a:pt x="3677" y="1785"/>
                </a:lnTo>
                <a:lnTo>
                  <a:pt x="3628" y="1761"/>
                </a:lnTo>
                <a:lnTo>
                  <a:pt x="3573" y="1738"/>
                </a:lnTo>
                <a:lnTo>
                  <a:pt x="3514" y="1719"/>
                </a:lnTo>
                <a:lnTo>
                  <a:pt x="3449" y="1702"/>
                </a:lnTo>
                <a:lnTo>
                  <a:pt x="3381" y="1691"/>
                </a:lnTo>
                <a:lnTo>
                  <a:pt x="3308" y="1685"/>
                </a:lnTo>
                <a:lnTo>
                  <a:pt x="3308" y="1660"/>
                </a:lnTo>
                <a:lnTo>
                  <a:pt x="3306" y="1633"/>
                </a:lnTo>
                <a:lnTo>
                  <a:pt x="3308" y="1602"/>
                </a:lnTo>
                <a:lnTo>
                  <a:pt x="3311" y="1566"/>
                </a:lnTo>
                <a:lnTo>
                  <a:pt x="3316" y="1530"/>
                </a:lnTo>
                <a:lnTo>
                  <a:pt x="3326" y="1491"/>
                </a:lnTo>
                <a:lnTo>
                  <a:pt x="3337" y="1451"/>
                </a:lnTo>
                <a:lnTo>
                  <a:pt x="3353" y="1412"/>
                </a:lnTo>
                <a:lnTo>
                  <a:pt x="3373" y="1371"/>
                </a:lnTo>
                <a:lnTo>
                  <a:pt x="3399" y="1332"/>
                </a:lnTo>
                <a:lnTo>
                  <a:pt x="3430" y="1295"/>
                </a:lnTo>
                <a:lnTo>
                  <a:pt x="3466" y="1259"/>
                </a:lnTo>
                <a:lnTo>
                  <a:pt x="3509" y="1225"/>
                </a:lnTo>
                <a:lnTo>
                  <a:pt x="3560" y="1196"/>
                </a:lnTo>
                <a:lnTo>
                  <a:pt x="3615" y="1171"/>
                </a:lnTo>
                <a:lnTo>
                  <a:pt x="3674" y="1150"/>
                </a:lnTo>
                <a:lnTo>
                  <a:pt x="3737" y="1132"/>
                </a:lnTo>
                <a:lnTo>
                  <a:pt x="3804" y="1121"/>
                </a:lnTo>
                <a:lnTo>
                  <a:pt x="3872" y="1113"/>
                </a:lnTo>
                <a:lnTo>
                  <a:pt x="3940" y="1109"/>
                </a:lnTo>
                <a:lnTo>
                  <a:pt x="4010" y="1113"/>
                </a:lnTo>
                <a:lnTo>
                  <a:pt x="4076" y="1121"/>
                </a:lnTo>
                <a:lnTo>
                  <a:pt x="4143" y="1135"/>
                </a:lnTo>
                <a:lnTo>
                  <a:pt x="4206" y="1157"/>
                </a:lnTo>
                <a:lnTo>
                  <a:pt x="4267" y="1183"/>
                </a:lnTo>
                <a:lnTo>
                  <a:pt x="4322" y="1217"/>
                </a:lnTo>
                <a:lnTo>
                  <a:pt x="4369" y="1256"/>
                </a:lnTo>
                <a:lnTo>
                  <a:pt x="4410" y="1300"/>
                </a:lnTo>
                <a:lnTo>
                  <a:pt x="4444" y="1348"/>
                </a:lnTo>
                <a:lnTo>
                  <a:pt x="4471" y="1404"/>
                </a:lnTo>
                <a:lnTo>
                  <a:pt x="4494" y="1464"/>
                </a:lnTo>
                <a:lnTo>
                  <a:pt x="4509" y="1529"/>
                </a:lnTo>
                <a:lnTo>
                  <a:pt x="4518" y="1598"/>
                </a:lnTo>
                <a:lnTo>
                  <a:pt x="4522" y="1673"/>
                </a:lnTo>
                <a:lnTo>
                  <a:pt x="4518" y="1754"/>
                </a:lnTo>
                <a:lnTo>
                  <a:pt x="4509" y="1841"/>
                </a:lnTo>
                <a:lnTo>
                  <a:pt x="4509" y="1868"/>
                </a:lnTo>
                <a:lnTo>
                  <a:pt x="4515" y="1894"/>
                </a:lnTo>
                <a:lnTo>
                  <a:pt x="4530" y="1917"/>
                </a:lnTo>
                <a:lnTo>
                  <a:pt x="4549" y="1936"/>
                </a:lnTo>
                <a:lnTo>
                  <a:pt x="4553" y="1940"/>
                </a:lnTo>
                <a:lnTo>
                  <a:pt x="4562" y="1948"/>
                </a:lnTo>
                <a:lnTo>
                  <a:pt x="4577" y="1959"/>
                </a:lnTo>
                <a:lnTo>
                  <a:pt x="4595" y="1977"/>
                </a:lnTo>
                <a:lnTo>
                  <a:pt x="4614" y="1997"/>
                </a:lnTo>
                <a:lnTo>
                  <a:pt x="4637" y="2021"/>
                </a:lnTo>
                <a:lnTo>
                  <a:pt x="4660" y="2050"/>
                </a:lnTo>
                <a:lnTo>
                  <a:pt x="4681" y="2081"/>
                </a:lnTo>
                <a:lnTo>
                  <a:pt x="4700" y="2115"/>
                </a:lnTo>
                <a:lnTo>
                  <a:pt x="4718" y="2151"/>
                </a:lnTo>
                <a:lnTo>
                  <a:pt x="4731" y="2190"/>
                </a:lnTo>
                <a:lnTo>
                  <a:pt x="4739" y="2230"/>
                </a:lnTo>
                <a:lnTo>
                  <a:pt x="4743" y="2274"/>
                </a:lnTo>
                <a:lnTo>
                  <a:pt x="4736" y="2323"/>
                </a:lnTo>
                <a:lnTo>
                  <a:pt x="4723" y="2373"/>
                </a:lnTo>
                <a:lnTo>
                  <a:pt x="4702" y="2421"/>
                </a:lnTo>
                <a:lnTo>
                  <a:pt x="4674" y="2464"/>
                </a:lnTo>
                <a:lnTo>
                  <a:pt x="4639" y="2505"/>
                </a:lnTo>
                <a:lnTo>
                  <a:pt x="4598" y="2541"/>
                </a:lnTo>
                <a:lnTo>
                  <a:pt x="4572" y="2559"/>
                </a:lnTo>
                <a:lnTo>
                  <a:pt x="4541" y="2577"/>
                </a:lnTo>
                <a:lnTo>
                  <a:pt x="4507" y="2593"/>
                </a:lnTo>
                <a:lnTo>
                  <a:pt x="4466" y="2607"/>
                </a:lnTo>
                <a:lnTo>
                  <a:pt x="4423" y="2619"/>
                </a:lnTo>
                <a:lnTo>
                  <a:pt x="4374" y="2627"/>
                </a:lnTo>
                <a:lnTo>
                  <a:pt x="4320" y="2632"/>
                </a:lnTo>
                <a:lnTo>
                  <a:pt x="4262" y="2632"/>
                </a:lnTo>
                <a:lnTo>
                  <a:pt x="4197" y="2629"/>
                </a:lnTo>
                <a:lnTo>
                  <a:pt x="4127" y="2617"/>
                </a:lnTo>
                <a:lnTo>
                  <a:pt x="4050" y="2601"/>
                </a:lnTo>
                <a:lnTo>
                  <a:pt x="4034" y="2596"/>
                </a:lnTo>
                <a:lnTo>
                  <a:pt x="4011" y="2586"/>
                </a:lnTo>
                <a:lnTo>
                  <a:pt x="3982" y="2577"/>
                </a:lnTo>
                <a:lnTo>
                  <a:pt x="3945" y="2565"/>
                </a:lnTo>
                <a:lnTo>
                  <a:pt x="3903" y="2554"/>
                </a:lnTo>
                <a:lnTo>
                  <a:pt x="3854" y="2541"/>
                </a:lnTo>
                <a:lnTo>
                  <a:pt x="3800" y="2529"/>
                </a:lnTo>
                <a:lnTo>
                  <a:pt x="3742" y="2520"/>
                </a:lnTo>
                <a:lnTo>
                  <a:pt x="3682" y="2510"/>
                </a:lnTo>
                <a:lnTo>
                  <a:pt x="3617" y="2505"/>
                </a:lnTo>
                <a:lnTo>
                  <a:pt x="3516" y="2500"/>
                </a:lnTo>
                <a:lnTo>
                  <a:pt x="3420" y="2503"/>
                </a:lnTo>
                <a:lnTo>
                  <a:pt x="3329" y="2515"/>
                </a:lnTo>
                <a:lnTo>
                  <a:pt x="3240" y="2533"/>
                </a:lnTo>
                <a:lnTo>
                  <a:pt x="3155" y="2557"/>
                </a:lnTo>
                <a:lnTo>
                  <a:pt x="3074" y="2590"/>
                </a:lnTo>
                <a:lnTo>
                  <a:pt x="2998" y="2629"/>
                </a:lnTo>
                <a:lnTo>
                  <a:pt x="2925" y="2674"/>
                </a:lnTo>
                <a:lnTo>
                  <a:pt x="2858" y="2728"/>
                </a:lnTo>
                <a:lnTo>
                  <a:pt x="2795" y="2786"/>
                </a:lnTo>
                <a:lnTo>
                  <a:pt x="2744" y="2837"/>
                </a:lnTo>
                <a:lnTo>
                  <a:pt x="2695" y="2877"/>
                </a:lnTo>
                <a:lnTo>
                  <a:pt x="2648" y="2910"/>
                </a:lnTo>
                <a:lnTo>
                  <a:pt x="2603" y="2934"/>
                </a:lnTo>
                <a:lnTo>
                  <a:pt x="2561" y="2950"/>
                </a:lnTo>
                <a:lnTo>
                  <a:pt x="2522" y="2957"/>
                </a:lnTo>
                <a:lnTo>
                  <a:pt x="2484" y="2955"/>
                </a:lnTo>
                <a:lnTo>
                  <a:pt x="2455" y="2947"/>
                </a:lnTo>
                <a:lnTo>
                  <a:pt x="2429" y="2932"/>
                </a:lnTo>
                <a:lnTo>
                  <a:pt x="2405" y="2916"/>
                </a:lnTo>
                <a:lnTo>
                  <a:pt x="2383" y="2897"/>
                </a:lnTo>
                <a:lnTo>
                  <a:pt x="2366" y="2876"/>
                </a:lnTo>
                <a:lnTo>
                  <a:pt x="2351" y="2856"/>
                </a:lnTo>
                <a:lnTo>
                  <a:pt x="2340" y="2838"/>
                </a:lnTo>
                <a:lnTo>
                  <a:pt x="2331" y="2822"/>
                </a:lnTo>
                <a:lnTo>
                  <a:pt x="2327" y="2812"/>
                </a:lnTo>
                <a:lnTo>
                  <a:pt x="2323" y="2807"/>
                </a:lnTo>
                <a:lnTo>
                  <a:pt x="2310" y="2785"/>
                </a:lnTo>
                <a:lnTo>
                  <a:pt x="2291" y="2767"/>
                </a:lnTo>
                <a:lnTo>
                  <a:pt x="2268" y="2754"/>
                </a:lnTo>
                <a:lnTo>
                  <a:pt x="2244" y="2747"/>
                </a:lnTo>
                <a:lnTo>
                  <a:pt x="2218" y="2747"/>
                </a:lnTo>
                <a:lnTo>
                  <a:pt x="2192" y="2754"/>
                </a:lnTo>
                <a:lnTo>
                  <a:pt x="2169" y="2768"/>
                </a:lnTo>
                <a:lnTo>
                  <a:pt x="2150" y="2786"/>
                </a:lnTo>
                <a:lnTo>
                  <a:pt x="2137" y="2809"/>
                </a:lnTo>
                <a:lnTo>
                  <a:pt x="2130" y="2835"/>
                </a:lnTo>
                <a:lnTo>
                  <a:pt x="2130" y="2861"/>
                </a:lnTo>
                <a:lnTo>
                  <a:pt x="2138" y="2887"/>
                </a:lnTo>
                <a:lnTo>
                  <a:pt x="2140" y="2893"/>
                </a:lnTo>
                <a:lnTo>
                  <a:pt x="2148" y="2906"/>
                </a:lnTo>
                <a:lnTo>
                  <a:pt x="2158" y="2926"/>
                </a:lnTo>
                <a:lnTo>
                  <a:pt x="2172" y="2952"/>
                </a:lnTo>
                <a:lnTo>
                  <a:pt x="2192" y="2979"/>
                </a:lnTo>
                <a:lnTo>
                  <a:pt x="2215" y="3009"/>
                </a:lnTo>
                <a:lnTo>
                  <a:pt x="2242" y="3040"/>
                </a:lnTo>
                <a:lnTo>
                  <a:pt x="2273" y="3069"/>
                </a:lnTo>
                <a:lnTo>
                  <a:pt x="2310" y="3096"/>
                </a:lnTo>
                <a:lnTo>
                  <a:pt x="2351" y="3121"/>
                </a:lnTo>
                <a:lnTo>
                  <a:pt x="2396" y="3140"/>
                </a:lnTo>
                <a:lnTo>
                  <a:pt x="2447" y="3153"/>
                </a:lnTo>
                <a:lnTo>
                  <a:pt x="2479" y="3158"/>
                </a:lnTo>
                <a:lnTo>
                  <a:pt x="2512" y="3160"/>
                </a:lnTo>
                <a:lnTo>
                  <a:pt x="2570" y="3155"/>
                </a:lnTo>
                <a:lnTo>
                  <a:pt x="2630" y="3140"/>
                </a:lnTo>
                <a:lnTo>
                  <a:pt x="2691" y="3116"/>
                </a:lnTo>
                <a:lnTo>
                  <a:pt x="2752" y="3083"/>
                </a:lnTo>
                <a:lnTo>
                  <a:pt x="2814" y="3041"/>
                </a:lnTo>
                <a:lnTo>
                  <a:pt x="2877" y="2988"/>
                </a:lnTo>
                <a:lnTo>
                  <a:pt x="2941" y="2928"/>
                </a:lnTo>
                <a:lnTo>
                  <a:pt x="2998" y="2874"/>
                </a:lnTo>
                <a:lnTo>
                  <a:pt x="3058" y="2828"/>
                </a:lnTo>
                <a:lnTo>
                  <a:pt x="3119" y="2793"/>
                </a:lnTo>
                <a:lnTo>
                  <a:pt x="3183" y="2763"/>
                </a:lnTo>
                <a:lnTo>
                  <a:pt x="3248" y="2741"/>
                </a:lnTo>
                <a:lnTo>
                  <a:pt x="3314" y="2723"/>
                </a:lnTo>
                <a:lnTo>
                  <a:pt x="3379" y="2711"/>
                </a:lnTo>
                <a:lnTo>
                  <a:pt x="3444" y="2705"/>
                </a:lnTo>
                <a:lnTo>
                  <a:pt x="3509" y="2703"/>
                </a:lnTo>
                <a:lnTo>
                  <a:pt x="3571" y="2705"/>
                </a:lnTo>
                <a:lnTo>
                  <a:pt x="3633" y="2710"/>
                </a:lnTo>
                <a:lnTo>
                  <a:pt x="3690" y="2716"/>
                </a:lnTo>
                <a:lnTo>
                  <a:pt x="3743" y="2726"/>
                </a:lnTo>
                <a:lnTo>
                  <a:pt x="3794" y="2736"/>
                </a:lnTo>
                <a:lnTo>
                  <a:pt x="3839" y="2746"/>
                </a:lnTo>
                <a:lnTo>
                  <a:pt x="3878" y="2757"/>
                </a:lnTo>
                <a:lnTo>
                  <a:pt x="3912" y="2767"/>
                </a:lnTo>
                <a:lnTo>
                  <a:pt x="3940" y="2776"/>
                </a:lnTo>
                <a:lnTo>
                  <a:pt x="3961" y="2783"/>
                </a:lnTo>
                <a:lnTo>
                  <a:pt x="3974" y="2789"/>
                </a:lnTo>
                <a:lnTo>
                  <a:pt x="3979" y="2791"/>
                </a:lnTo>
                <a:lnTo>
                  <a:pt x="3994" y="2796"/>
                </a:lnTo>
                <a:lnTo>
                  <a:pt x="4076" y="2814"/>
                </a:lnTo>
                <a:lnTo>
                  <a:pt x="4156" y="2827"/>
                </a:lnTo>
                <a:lnTo>
                  <a:pt x="4229" y="2833"/>
                </a:lnTo>
                <a:lnTo>
                  <a:pt x="4297" y="2835"/>
                </a:lnTo>
                <a:lnTo>
                  <a:pt x="4362" y="2832"/>
                </a:lnTo>
                <a:lnTo>
                  <a:pt x="4421" y="2825"/>
                </a:lnTo>
                <a:lnTo>
                  <a:pt x="4476" y="2814"/>
                </a:lnTo>
                <a:lnTo>
                  <a:pt x="4527" y="2801"/>
                </a:lnTo>
                <a:lnTo>
                  <a:pt x="4574" y="2783"/>
                </a:lnTo>
                <a:lnTo>
                  <a:pt x="4616" y="2765"/>
                </a:lnTo>
                <a:lnTo>
                  <a:pt x="4655" y="2746"/>
                </a:lnTo>
                <a:lnTo>
                  <a:pt x="4689" y="2723"/>
                </a:lnTo>
                <a:lnTo>
                  <a:pt x="4720" y="2702"/>
                </a:lnTo>
                <a:lnTo>
                  <a:pt x="4769" y="2661"/>
                </a:lnTo>
                <a:lnTo>
                  <a:pt x="4812" y="2614"/>
                </a:lnTo>
                <a:lnTo>
                  <a:pt x="4850" y="2565"/>
                </a:lnTo>
                <a:lnTo>
                  <a:pt x="4882" y="2512"/>
                </a:lnTo>
                <a:lnTo>
                  <a:pt x="4907" y="2456"/>
                </a:lnTo>
                <a:lnTo>
                  <a:pt x="4926" y="2398"/>
                </a:lnTo>
                <a:lnTo>
                  <a:pt x="4939" y="2339"/>
                </a:lnTo>
                <a:lnTo>
                  <a:pt x="4944" y="2279"/>
                </a:lnTo>
                <a:lnTo>
                  <a:pt x="4941" y="2213"/>
                </a:lnTo>
                <a:lnTo>
                  <a:pt x="4929" y="2151"/>
                </a:lnTo>
                <a:lnTo>
                  <a:pt x="4912" y="2094"/>
                </a:lnTo>
                <a:lnTo>
                  <a:pt x="4889" y="2039"/>
                </a:lnTo>
                <a:lnTo>
                  <a:pt x="4863" y="1990"/>
                </a:lnTo>
                <a:lnTo>
                  <a:pt x="4832" y="1945"/>
                </a:lnTo>
                <a:lnTo>
                  <a:pt x="4801" y="1904"/>
                </a:lnTo>
                <a:lnTo>
                  <a:pt x="4772" y="1868"/>
                </a:lnTo>
                <a:lnTo>
                  <a:pt x="4743" y="1837"/>
                </a:lnTo>
                <a:lnTo>
                  <a:pt x="4717" y="1813"/>
                </a:lnTo>
                <a:lnTo>
                  <a:pt x="4723" y="1730"/>
                </a:lnTo>
                <a:lnTo>
                  <a:pt x="4723" y="1652"/>
                </a:lnTo>
                <a:lnTo>
                  <a:pt x="4720" y="1579"/>
                </a:lnTo>
                <a:lnTo>
                  <a:pt x="4712" y="1512"/>
                </a:lnTo>
                <a:lnTo>
                  <a:pt x="4699" y="1449"/>
                </a:lnTo>
                <a:lnTo>
                  <a:pt x="4682" y="1391"/>
                </a:lnTo>
                <a:lnTo>
                  <a:pt x="4663" y="1337"/>
                </a:lnTo>
                <a:lnTo>
                  <a:pt x="4640" y="1288"/>
                </a:lnTo>
                <a:lnTo>
                  <a:pt x="4616" y="1244"/>
                </a:lnTo>
                <a:lnTo>
                  <a:pt x="4590" y="1204"/>
                </a:lnTo>
                <a:lnTo>
                  <a:pt x="4561" y="1166"/>
                </a:lnTo>
                <a:lnTo>
                  <a:pt x="4531" y="1132"/>
                </a:lnTo>
                <a:lnTo>
                  <a:pt x="4501" y="1103"/>
                </a:lnTo>
                <a:lnTo>
                  <a:pt x="4470" y="1075"/>
                </a:lnTo>
                <a:lnTo>
                  <a:pt x="4439" y="1053"/>
                </a:lnTo>
                <a:lnTo>
                  <a:pt x="4375" y="1012"/>
                </a:lnTo>
                <a:lnTo>
                  <a:pt x="4306" y="978"/>
                </a:lnTo>
                <a:lnTo>
                  <a:pt x="4234" y="952"/>
                </a:lnTo>
                <a:lnTo>
                  <a:pt x="4159" y="932"/>
                </a:lnTo>
                <a:lnTo>
                  <a:pt x="4085" y="918"/>
                </a:lnTo>
                <a:lnTo>
                  <a:pt x="4007" y="911"/>
                </a:lnTo>
                <a:lnTo>
                  <a:pt x="3930" y="908"/>
                </a:lnTo>
                <a:lnTo>
                  <a:pt x="3854" y="913"/>
                </a:lnTo>
                <a:lnTo>
                  <a:pt x="3778" y="921"/>
                </a:lnTo>
                <a:lnTo>
                  <a:pt x="3704" y="934"/>
                </a:lnTo>
                <a:lnTo>
                  <a:pt x="3635" y="952"/>
                </a:lnTo>
                <a:lnTo>
                  <a:pt x="3613" y="914"/>
                </a:lnTo>
                <a:lnTo>
                  <a:pt x="3589" y="874"/>
                </a:lnTo>
                <a:lnTo>
                  <a:pt x="3561" y="830"/>
                </a:lnTo>
                <a:lnTo>
                  <a:pt x="3527" y="783"/>
                </a:lnTo>
                <a:lnTo>
                  <a:pt x="3490" y="736"/>
                </a:lnTo>
                <a:lnTo>
                  <a:pt x="3448" y="687"/>
                </a:lnTo>
                <a:lnTo>
                  <a:pt x="3401" y="638"/>
                </a:lnTo>
                <a:lnTo>
                  <a:pt x="3350" y="591"/>
                </a:lnTo>
                <a:lnTo>
                  <a:pt x="3295" y="547"/>
                </a:lnTo>
                <a:lnTo>
                  <a:pt x="3235" y="507"/>
                </a:lnTo>
                <a:lnTo>
                  <a:pt x="3170" y="471"/>
                </a:lnTo>
                <a:lnTo>
                  <a:pt x="3100" y="440"/>
                </a:lnTo>
                <a:lnTo>
                  <a:pt x="3017" y="412"/>
                </a:lnTo>
                <a:lnTo>
                  <a:pt x="2936" y="393"/>
                </a:lnTo>
                <a:lnTo>
                  <a:pt x="2856" y="380"/>
                </a:lnTo>
                <a:lnTo>
                  <a:pt x="2778" y="375"/>
                </a:lnTo>
                <a:lnTo>
                  <a:pt x="2704" y="377"/>
                </a:lnTo>
                <a:lnTo>
                  <a:pt x="2630" y="386"/>
                </a:lnTo>
                <a:lnTo>
                  <a:pt x="2561" y="404"/>
                </a:lnTo>
                <a:lnTo>
                  <a:pt x="2494" y="429"/>
                </a:lnTo>
                <a:lnTo>
                  <a:pt x="2432" y="460"/>
                </a:lnTo>
                <a:lnTo>
                  <a:pt x="2372" y="497"/>
                </a:lnTo>
                <a:lnTo>
                  <a:pt x="2318" y="542"/>
                </a:lnTo>
                <a:lnTo>
                  <a:pt x="2268" y="594"/>
                </a:lnTo>
                <a:lnTo>
                  <a:pt x="2223" y="653"/>
                </a:lnTo>
                <a:lnTo>
                  <a:pt x="2179" y="643"/>
                </a:lnTo>
                <a:lnTo>
                  <a:pt x="2130" y="635"/>
                </a:lnTo>
                <a:lnTo>
                  <a:pt x="2073" y="627"/>
                </a:lnTo>
                <a:lnTo>
                  <a:pt x="2011" y="622"/>
                </a:lnTo>
                <a:lnTo>
                  <a:pt x="1946" y="620"/>
                </a:lnTo>
                <a:lnTo>
                  <a:pt x="1877" y="622"/>
                </a:lnTo>
                <a:lnTo>
                  <a:pt x="1805" y="627"/>
                </a:lnTo>
                <a:lnTo>
                  <a:pt x="1732" y="640"/>
                </a:lnTo>
                <a:lnTo>
                  <a:pt x="1659" y="658"/>
                </a:lnTo>
                <a:lnTo>
                  <a:pt x="1586" y="684"/>
                </a:lnTo>
                <a:lnTo>
                  <a:pt x="1514" y="716"/>
                </a:lnTo>
                <a:lnTo>
                  <a:pt x="1456" y="754"/>
                </a:lnTo>
                <a:lnTo>
                  <a:pt x="1401" y="794"/>
                </a:lnTo>
                <a:lnTo>
                  <a:pt x="1352" y="841"/>
                </a:lnTo>
                <a:lnTo>
                  <a:pt x="1306" y="893"/>
                </a:lnTo>
                <a:lnTo>
                  <a:pt x="1267" y="952"/>
                </a:lnTo>
                <a:lnTo>
                  <a:pt x="1232" y="1014"/>
                </a:lnTo>
                <a:lnTo>
                  <a:pt x="1202" y="1082"/>
                </a:lnTo>
                <a:lnTo>
                  <a:pt x="1176" y="1155"/>
                </a:lnTo>
                <a:lnTo>
                  <a:pt x="1119" y="1137"/>
                </a:lnTo>
                <a:lnTo>
                  <a:pt x="1064" y="1127"/>
                </a:lnTo>
                <a:lnTo>
                  <a:pt x="1011" y="1122"/>
                </a:lnTo>
                <a:lnTo>
                  <a:pt x="962" y="1122"/>
                </a:lnTo>
                <a:lnTo>
                  <a:pt x="915" y="1127"/>
                </a:lnTo>
                <a:lnTo>
                  <a:pt x="842" y="1142"/>
                </a:lnTo>
                <a:lnTo>
                  <a:pt x="775" y="1163"/>
                </a:lnTo>
                <a:lnTo>
                  <a:pt x="715" y="1189"/>
                </a:lnTo>
                <a:lnTo>
                  <a:pt x="660" y="1222"/>
                </a:lnTo>
                <a:lnTo>
                  <a:pt x="609" y="1257"/>
                </a:lnTo>
                <a:lnTo>
                  <a:pt x="565" y="1298"/>
                </a:lnTo>
                <a:lnTo>
                  <a:pt x="526" y="1342"/>
                </a:lnTo>
                <a:lnTo>
                  <a:pt x="494" y="1389"/>
                </a:lnTo>
                <a:lnTo>
                  <a:pt x="466" y="1439"/>
                </a:lnTo>
                <a:lnTo>
                  <a:pt x="444" y="1491"/>
                </a:lnTo>
                <a:lnTo>
                  <a:pt x="427" y="1546"/>
                </a:lnTo>
                <a:lnTo>
                  <a:pt x="416" y="1602"/>
                </a:lnTo>
                <a:lnTo>
                  <a:pt x="409" y="1657"/>
                </a:lnTo>
                <a:lnTo>
                  <a:pt x="409" y="1712"/>
                </a:lnTo>
                <a:lnTo>
                  <a:pt x="413" y="1767"/>
                </a:lnTo>
                <a:lnTo>
                  <a:pt x="422" y="1819"/>
                </a:lnTo>
                <a:lnTo>
                  <a:pt x="435" y="1870"/>
                </a:lnTo>
                <a:lnTo>
                  <a:pt x="453" y="1919"/>
                </a:lnTo>
                <a:lnTo>
                  <a:pt x="476" y="1966"/>
                </a:lnTo>
                <a:lnTo>
                  <a:pt x="502" y="2013"/>
                </a:lnTo>
                <a:lnTo>
                  <a:pt x="535" y="2057"/>
                </a:lnTo>
                <a:lnTo>
                  <a:pt x="570" y="2097"/>
                </a:lnTo>
                <a:lnTo>
                  <a:pt x="611" y="2135"/>
                </a:lnTo>
                <a:lnTo>
                  <a:pt x="656" y="2169"/>
                </a:lnTo>
                <a:lnTo>
                  <a:pt x="707" y="2200"/>
                </a:lnTo>
                <a:lnTo>
                  <a:pt x="760" y="2224"/>
                </a:lnTo>
                <a:lnTo>
                  <a:pt x="819" y="2243"/>
                </a:lnTo>
                <a:lnTo>
                  <a:pt x="882" y="2258"/>
                </a:lnTo>
                <a:lnTo>
                  <a:pt x="950" y="2268"/>
                </a:lnTo>
                <a:lnTo>
                  <a:pt x="1022" y="2269"/>
                </a:lnTo>
                <a:lnTo>
                  <a:pt x="1100" y="2265"/>
                </a:lnTo>
                <a:lnTo>
                  <a:pt x="1126" y="2258"/>
                </a:lnTo>
                <a:lnTo>
                  <a:pt x="1149" y="2245"/>
                </a:lnTo>
                <a:lnTo>
                  <a:pt x="1167" y="2227"/>
                </a:lnTo>
                <a:lnTo>
                  <a:pt x="1181" y="2204"/>
                </a:lnTo>
                <a:lnTo>
                  <a:pt x="1188" y="2180"/>
                </a:lnTo>
                <a:lnTo>
                  <a:pt x="1189" y="2153"/>
                </a:lnTo>
                <a:lnTo>
                  <a:pt x="1183" y="2127"/>
                </a:lnTo>
                <a:lnTo>
                  <a:pt x="1170" y="2104"/>
                </a:lnTo>
                <a:lnTo>
                  <a:pt x="1152" y="2084"/>
                </a:lnTo>
                <a:lnTo>
                  <a:pt x="1129" y="2071"/>
                </a:lnTo>
                <a:lnTo>
                  <a:pt x="1105" y="2065"/>
                </a:lnTo>
                <a:lnTo>
                  <a:pt x="1077" y="2063"/>
                </a:lnTo>
                <a:lnTo>
                  <a:pt x="1014" y="2066"/>
                </a:lnTo>
                <a:lnTo>
                  <a:pt x="954" y="2065"/>
                </a:lnTo>
                <a:lnTo>
                  <a:pt x="900" y="2055"/>
                </a:lnTo>
                <a:lnTo>
                  <a:pt x="850" y="2040"/>
                </a:lnTo>
                <a:lnTo>
                  <a:pt x="806" y="2021"/>
                </a:lnTo>
                <a:lnTo>
                  <a:pt x="765" y="1997"/>
                </a:lnTo>
                <a:lnTo>
                  <a:pt x="730" y="1969"/>
                </a:lnTo>
                <a:lnTo>
                  <a:pt x="699" y="1936"/>
                </a:lnTo>
                <a:lnTo>
                  <a:pt x="673" y="1902"/>
                </a:lnTo>
                <a:lnTo>
                  <a:pt x="650" y="1865"/>
                </a:lnTo>
                <a:lnTo>
                  <a:pt x="634" y="1824"/>
                </a:lnTo>
                <a:lnTo>
                  <a:pt x="621" y="1784"/>
                </a:lnTo>
                <a:lnTo>
                  <a:pt x="614" y="1743"/>
                </a:lnTo>
                <a:lnTo>
                  <a:pt x="611" y="1702"/>
                </a:lnTo>
                <a:lnTo>
                  <a:pt x="613" y="1662"/>
                </a:lnTo>
                <a:lnTo>
                  <a:pt x="617" y="1620"/>
                </a:lnTo>
                <a:lnTo>
                  <a:pt x="627" y="1581"/>
                </a:lnTo>
                <a:lnTo>
                  <a:pt x="642" y="1540"/>
                </a:lnTo>
                <a:lnTo>
                  <a:pt x="661" y="1503"/>
                </a:lnTo>
                <a:lnTo>
                  <a:pt x="687" y="1467"/>
                </a:lnTo>
                <a:lnTo>
                  <a:pt x="717" y="1434"/>
                </a:lnTo>
                <a:lnTo>
                  <a:pt x="751" y="1405"/>
                </a:lnTo>
                <a:lnTo>
                  <a:pt x="791" y="1378"/>
                </a:lnTo>
                <a:lnTo>
                  <a:pt x="837" y="1356"/>
                </a:lnTo>
                <a:lnTo>
                  <a:pt x="887" y="1340"/>
                </a:lnTo>
                <a:lnTo>
                  <a:pt x="944" y="1327"/>
                </a:lnTo>
                <a:lnTo>
                  <a:pt x="1002" y="1324"/>
                </a:lnTo>
                <a:lnTo>
                  <a:pt x="1061" y="1330"/>
                </a:lnTo>
                <a:lnTo>
                  <a:pt x="1116" y="1348"/>
                </a:lnTo>
                <a:lnTo>
                  <a:pt x="1171" y="1373"/>
                </a:lnTo>
                <a:lnTo>
                  <a:pt x="1225" y="1405"/>
                </a:lnTo>
                <a:lnTo>
                  <a:pt x="1275" y="1446"/>
                </a:lnTo>
                <a:lnTo>
                  <a:pt x="1326" y="1491"/>
                </a:lnTo>
                <a:lnTo>
                  <a:pt x="1375" y="1543"/>
                </a:lnTo>
                <a:lnTo>
                  <a:pt x="1420" y="1600"/>
                </a:lnTo>
                <a:lnTo>
                  <a:pt x="1464" y="1660"/>
                </a:lnTo>
                <a:lnTo>
                  <a:pt x="1506" y="1724"/>
                </a:lnTo>
                <a:lnTo>
                  <a:pt x="1547" y="1789"/>
                </a:lnTo>
                <a:lnTo>
                  <a:pt x="1584" y="1855"/>
                </a:lnTo>
                <a:lnTo>
                  <a:pt x="1618" y="1923"/>
                </a:lnTo>
                <a:lnTo>
                  <a:pt x="1651" y="1990"/>
                </a:lnTo>
                <a:lnTo>
                  <a:pt x="1682" y="2057"/>
                </a:lnTo>
                <a:lnTo>
                  <a:pt x="1709" y="2120"/>
                </a:lnTo>
                <a:lnTo>
                  <a:pt x="1734" y="2182"/>
                </a:lnTo>
                <a:lnTo>
                  <a:pt x="1756" y="2240"/>
                </a:lnTo>
                <a:lnTo>
                  <a:pt x="1774" y="2294"/>
                </a:lnTo>
                <a:lnTo>
                  <a:pt x="1738" y="2308"/>
                </a:lnTo>
                <a:lnTo>
                  <a:pt x="1698" y="2326"/>
                </a:lnTo>
                <a:lnTo>
                  <a:pt x="1654" y="2347"/>
                </a:lnTo>
                <a:lnTo>
                  <a:pt x="1608" y="2373"/>
                </a:lnTo>
                <a:lnTo>
                  <a:pt x="1563" y="2404"/>
                </a:lnTo>
                <a:lnTo>
                  <a:pt x="1514" y="2440"/>
                </a:lnTo>
                <a:lnTo>
                  <a:pt x="1469" y="2481"/>
                </a:lnTo>
                <a:lnTo>
                  <a:pt x="1422" y="2526"/>
                </a:lnTo>
                <a:lnTo>
                  <a:pt x="1378" y="2578"/>
                </a:lnTo>
                <a:lnTo>
                  <a:pt x="1337" y="2637"/>
                </a:lnTo>
                <a:lnTo>
                  <a:pt x="1300" y="2702"/>
                </a:lnTo>
                <a:lnTo>
                  <a:pt x="1266" y="2773"/>
                </a:lnTo>
                <a:lnTo>
                  <a:pt x="1264" y="2776"/>
                </a:lnTo>
                <a:lnTo>
                  <a:pt x="1155" y="2785"/>
                </a:lnTo>
                <a:lnTo>
                  <a:pt x="1053" y="2788"/>
                </a:lnTo>
                <a:lnTo>
                  <a:pt x="955" y="2783"/>
                </a:lnTo>
                <a:lnTo>
                  <a:pt x="861" y="2772"/>
                </a:lnTo>
                <a:lnTo>
                  <a:pt x="773" y="2755"/>
                </a:lnTo>
                <a:lnTo>
                  <a:pt x="689" y="2733"/>
                </a:lnTo>
                <a:lnTo>
                  <a:pt x="609" y="2705"/>
                </a:lnTo>
                <a:lnTo>
                  <a:pt x="536" y="2672"/>
                </a:lnTo>
                <a:lnTo>
                  <a:pt x="466" y="2635"/>
                </a:lnTo>
                <a:lnTo>
                  <a:pt x="401" y="2593"/>
                </a:lnTo>
                <a:lnTo>
                  <a:pt x="343" y="2547"/>
                </a:lnTo>
                <a:lnTo>
                  <a:pt x="288" y="2497"/>
                </a:lnTo>
                <a:lnTo>
                  <a:pt x="237" y="2443"/>
                </a:lnTo>
                <a:lnTo>
                  <a:pt x="192" y="2386"/>
                </a:lnTo>
                <a:lnTo>
                  <a:pt x="151" y="2326"/>
                </a:lnTo>
                <a:lnTo>
                  <a:pt x="115" y="2263"/>
                </a:lnTo>
                <a:lnTo>
                  <a:pt x="84" y="2196"/>
                </a:lnTo>
                <a:lnTo>
                  <a:pt x="58" y="2130"/>
                </a:lnTo>
                <a:lnTo>
                  <a:pt x="37" y="2062"/>
                </a:lnTo>
                <a:lnTo>
                  <a:pt x="21" y="1990"/>
                </a:lnTo>
                <a:lnTo>
                  <a:pt x="10" y="1917"/>
                </a:lnTo>
                <a:lnTo>
                  <a:pt x="2" y="1844"/>
                </a:lnTo>
                <a:lnTo>
                  <a:pt x="0" y="1771"/>
                </a:lnTo>
                <a:lnTo>
                  <a:pt x="3" y="1696"/>
                </a:lnTo>
                <a:lnTo>
                  <a:pt x="15" y="1595"/>
                </a:lnTo>
                <a:lnTo>
                  <a:pt x="36" y="1496"/>
                </a:lnTo>
                <a:lnTo>
                  <a:pt x="65" y="1400"/>
                </a:lnTo>
                <a:lnTo>
                  <a:pt x="104" y="1309"/>
                </a:lnTo>
                <a:lnTo>
                  <a:pt x="149" y="1220"/>
                </a:lnTo>
                <a:lnTo>
                  <a:pt x="203" y="1135"/>
                </a:lnTo>
                <a:lnTo>
                  <a:pt x="263" y="1056"/>
                </a:lnTo>
                <a:lnTo>
                  <a:pt x="330" y="983"/>
                </a:lnTo>
                <a:lnTo>
                  <a:pt x="400" y="913"/>
                </a:lnTo>
                <a:lnTo>
                  <a:pt x="476" y="849"/>
                </a:lnTo>
                <a:lnTo>
                  <a:pt x="556" y="793"/>
                </a:lnTo>
                <a:lnTo>
                  <a:pt x="640" y="744"/>
                </a:lnTo>
                <a:lnTo>
                  <a:pt x="726" y="700"/>
                </a:lnTo>
                <a:lnTo>
                  <a:pt x="775" y="617"/>
                </a:lnTo>
                <a:lnTo>
                  <a:pt x="832" y="539"/>
                </a:lnTo>
                <a:lnTo>
                  <a:pt x="895" y="466"/>
                </a:lnTo>
                <a:lnTo>
                  <a:pt x="963" y="398"/>
                </a:lnTo>
                <a:lnTo>
                  <a:pt x="1038" y="338"/>
                </a:lnTo>
                <a:lnTo>
                  <a:pt x="1118" y="284"/>
                </a:lnTo>
                <a:lnTo>
                  <a:pt x="1204" y="237"/>
                </a:lnTo>
                <a:lnTo>
                  <a:pt x="1293" y="196"/>
                </a:lnTo>
                <a:lnTo>
                  <a:pt x="1386" y="165"/>
                </a:lnTo>
                <a:lnTo>
                  <a:pt x="1483" y="143"/>
                </a:lnTo>
                <a:lnTo>
                  <a:pt x="1582" y="128"/>
                </a:lnTo>
                <a:lnTo>
                  <a:pt x="1686" y="123"/>
                </a:lnTo>
                <a:lnTo>
                  <a:pt x="1786" y="128"/>
                </a:lnTo>
                <a:lnTo>
                  <a:pt x="1881" y="141"/>
                </a:lnTo>
                <a:lnTo>
                  <a:pt x="1976" y="162"/>
                </a:lnTo>
                <a:lnTo>
                  <a:pt x="2067" y="191"/>
                </a:lnTo>
                <a:lnTo>
                  <a:pt x="2151" y="143"/>
                </a:lnTo>
                <a:lnTo>
                  <a:pt x="2241" y="100"/>
                </a:lnTo>
                <a:lnTo>
                  <a:pt x="2331" y="66"/>
                </a:lnTo>
                <a:lnTo>
                  <a:pt x="2427" y="37"/>
                </a:lnTo>
                <a:lnTo>
                  <a:pt x="2526" y="18"/>
                </a:lnTo>
                <a:lnTo>
                  <a:pt x="2629" y="5"/>
                </a:lnTo>
                <a:lnTo>
                  <a:pt x="2733"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cxnSp>
        <p:nvCxnSpPr>
          <p:cNvPr id="11" name="Straight Connector 10">
            <a:extLst>
              <a:ext uri="{FF2B5EF4-FFF2-40B4-BE49-F238E27FC236}">
                <a16:creationId xmlns:a16="http://schemas.microsoft.com/office/drawing/2014/main" id="{FDBF0E57-74BD-464F-A558-986BAFBDAC94}"/>
              </a:ext>
            </a:extLst>
          </p:cNvPr>
          <p:cNvCxnSpPr/>
          <p:nvPr/>
        </p:nvCxnSpPr>
        <p:spPr>
          <a:xfrm>
            <a:off x="1561372" y="2653160"/>
            <a:ext cx="2011680"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F5633C7A-6B06-4966-9EB7-CD98018EF7F1}"/>
              </a:ext>
            </a:extLst>
          </p:cNvPr>
          <p:cNvSpPr txBox="1">
            <a:spLocks/>
          </p:cNvSpPr>
          <p:nvPr/>
        </p:nvSpPr>
        <p:spPr>
          <a:xfrm>
            <a:off x="1471802" y="2339781"/>
            <a:ext cx="4340742" cy="78483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ea typeface="+mn-ea"/>
                <a:cs typeface="+mn-cs"/>
              </a:rPr>
              <a:t>Entrepreneurial Mindset</a:t>
            </a:r>
            <a:endParaRPr kumimoji="0" lang="en-US" sz="1600" b="1" i="0" u="none" strike="noStrike" kern="1200" cap="none" spc="0" normalizeH="0" baseline="0" noProof="0" dirty="0">
              <a:ln>
                <a:noFill/>
              </a:ln>
              <a:solidFill>
                <a:srgbClr val="FF0000"/>
              </a:solidFill>
              <a:effectLst/>
              <a:uLnTx/>
              <a:uFillTx/>
              <a:ea typeface="+mn-ea"/>
              <a:cs typeface="+mn-cs"/>
            </a:endParaRP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Culture that promotes investment in small, emerging businesses with significant upside potential</a:t>
            </a:r>
          </a:p>
        </p:txBody>
      </p:sp>
      <p:cxnSp>
        <p:nvCxnSpPr>
          <p:cNvPr id="16" name="Straight Connector 15">
            <a:extLst>
              <a:ext uri="{FF2B5EF4-FFF2-40B4-BE49-F238E27FC236}">
                <a16:creationId xmlns:a16="http://schemas.microsoft.com/office/drawing/2014/main" id="{5E2C058E-6B61-4DFE-99CE-E9311FDDA6E1}"/>
              </a:ext>
            </a:extLst>
          </p:cNvPr>
          <p:cNvCxnSpPr/>
          <p:nvPr/>
        </p:nvCxnSpPr>
        <p:spPr>
          <a:xfrm>
            <a:off x="7364297" y="2633468"/>
            <a:ext cx="2011680"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DD9D14CE-E189-478D-9FD1-322CFAC44669}"/>
              </a:ext>
            </a:extLst>
          </p:cNvPr>
          <p:cNvSpPr txBox="1">
            <a:spLocks/>
          </p:cNvSpPr>
          <p:nvPr/>
        </p:nvSpPr>
        <p:spPr>
          <a:xfrm>
            <a:off x="7274727" y="2349545"/>
            <a:ext cx="4340742" cy="78483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ea typeface="+mn-ea"/>
                <a:cs typeface="+mn-cs"/>
              </a:rPr>
              <a:t>Customer Intimacy</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They digitally integrate within customer's processes to drive business value (e.g., co-development of materials)</a:t>
            </a:r>
          </a:p>
        </p:txBody>
      </p:sp>
      <p:sp>
        <p:nvSpPr>
          <p:cNvPr id="20" name="Freeform 7">
            <a:extLst>
              <a:ext uri="{FF2B5EF4-FFF2-40B4-BE49-F238E27FC236}">
                <a16:creationId xmlns:a16="http://schemas.microsoft.com/office/drawing/2014/main" id="{23A7871E-16EB-4622-B95C-CB1EF1509CF7}"/>
              </a:ext>
            </a:extLst>
          </p:cNvPr>
          <p:cNvSpPr>
            <a:spLocks noEditPoints="1"/>
          </p:cNvSpPr>
          <p:nvPr/>
        </p:nvSpPr>
        <p:spPr bwMode="auto">
          <a:xfrm>
            <a:off x="6662872" y="2450832"/>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sp>
        <p:nvSpPr>
          <p:cNvPr id="21" name="Freeform 33">
            <a:extLst>
              <a:ext uri="{FF2B5EF4-FFF2-40B4-BE49-F238E27FC236}">
                <a16:creationId xmlns:a16="http://schemas.microsoft.com/office/drawing/2014/main" id="{5E348A3A-08B3-4DE8-A523-60FED2CC2DE1}"/>
              </a:ext>
            </a:extLst>
          </p:cNvPr>
          <p:cNvSpPr>
            <a:spLocks noEditPoints="1"/>
          </p:cNvSpPr>
          <p:nvPr/>
        </p:nvSpPr>
        <p:spPr bwMode="auto">
          <a:xfrm>
            <a:off x="6818444" y="2549539"/>
            <a:ext cx="221016" cy="327714"/>
          </a:xfrm>
          <a:custGeom>
            <a:avLst/>
            <a:gdLst>
              <a:gd name="T0" fmla="*/ 527 w 581"/>
              <a:gd name="T1" fmla="*/ 31 h 605"/>
              <a:gd name="T2" fmla="*/ 493 w 581"/>
              <a:gd name="T3" fmla="*/ 8 h 605"/>
              <a:gd name="T4" fmla="*/ 456 w 581"/>
              <a:gd name="T5" fmla="*/ 0 h 605"/>
              <a:gd name="T6" fmla="*/ 411 w 581"/>
              <a:gd name="T7" fmla="*/ 12 h 605"/>
              <a:gd name="T8" fmla="*/ 376 w 581"/>
              <a:gd name="T9" fmla="*/ 39 h 605"/>
              <a:gd name="T10" fmla="*/ 223 w 581"/>
              <a:gd name="T11" fmla="*/ 183 h 605"/>
              <a:gd name="T12" fmla="*/ 196 w 581"/>
              <a:gd name="T13" fmla="*/ 237 h 605"/>
              <a:gd name="T14" fmla="*/ 197 w 581"/>
              <a:gd name="T15" fmla="*/ 281 h 605"/>
              <a:gd name="T16" fmla="*/ 221 w 581"/>
              <a:gd name="T17" fmla="*/ 331 h 605"/>
              <a:gd name="T18" fmla="*/ 247 w 581"/>
              <a:gd name="T19" fmla="*/ 356 h 605"/>
              <a:gd name="T20" fmla="*/ 267 w 581"/>
              <a:gd name="T21" fmla="*/ 362 h 605"/>
              <a:gd name="T22" fmla="*/ 295 w 581"/>
              <a:gd name="T23" fmla="*/ 348 h 605"/>
              <a:gd name="T24" fmla="*/ 299 w 581"/>
              <a:gd name="T25" fmla="*/ 316 h 605"/>
              <a:gd name="T26" fmla="*/ 288 w 581"/>
              <a:gd name="T27" fmla="*/ 300 h 605"/>
              <a:gd name="T28" fmla="*/ 282 w 581"/>
              <a:gd name="T29" fmla="*/ 296 h 605"/>
              <a:gd name="T30" fmla="*/ 265 w 581"/>
              <a:gd name="T31" fmla="*/ 266 h 605"/>
              <a:gd name="T32" fmla="*/ 273 w 581"/>
              <a:gd name="T33" fmla="*/ 233 h 605"/>
              <a:gd name="T34" fmla="*/ 440 w 581"/>
              <a:gd name="T35" fmla="*/ 75 h 605"/>
              <a:gd name="T36" fmla="*/ 456 w 581"/>
              <a:gd name="T37" fmla="*/ 69 h 605"/>
              <a:gd name="T38" fmla="*/ 481 w 581"/>
              <a:gd name="T39" fmla="*/ 82 h 605"/>
              <a:gd name="T40" fmla="*/ 496 w 581"/>
              <a:gd name="T41" fmla="*/ 95 h 605"/>
              <a:gd name="T42" fmla="*/ 511 w 581"/>
              <a:gd name="T43" fmla="*/ 121 h 605"/>
              <a:gd name="T44" fmla="*/ 418 w 581"/>
              <a:gd name="T45" fmla="*/ 227 h 605"/>
              <a:gd name="T46" fmla="*/ 408 w 581"/>
              <a:gd name="T47" fmla="*/ 251 h 605"/>
              <a:gd name="T48" fmla="*/ 418 w 581"/>
              <a:gd name="T49" fmla="*/ 276 h 605"/>
              <a:gd name="T50" fmla="*/ 449 w 581"/>
              <a:gd name="T51" fmla="*/ 286 h 605"/>
              <a:gd name="T52" fmla="*/ 563 w 581"/>
              <a:gd name="T53" fmla="*/ 179 h 605"/>
              <a:gd name="T54" fmla="*/ 580 w 581"/>
              <a:gd name="T55" fmla="*/ 140 h 605"/>
              <a:gd name="T56" fmla="*/ 575 w 581"/>
              <a:gd name="T57" fmla="*/ 93 h 605"/>
              <a:gd name="T58" fmla="*/ 552 w 581"/>
              <a:gd name="T59" fmla="*/ 56 h 605"/>
              <a:gd name="T60" fmla="*/ 344 w 581"/>
              <a:gd name="T61" fmla="*/ 216 h 605"/>
              <a:gd name="T62" fmla="*/ 313 w 581"/>
              <a:gd name="T63" fmla="*/ 226 h 605"/>
              <a:gd name="T64" fmla="*/ 302 w 581"/>
              <a:gd name="T65" fmla="*/ 250 h 605"/>
              <a:gd name="T66" fmla="*/ 313 w 581"/>
              <a:gd name="T67" fmla="*/ 275 h 605"/>
              <a:gd name="T68" fmla="*/ 335 w 581"/>
              <a:gd name="T69" fmla="*/ 307 h 605"/>
              <a:gd name="T70" fmla="*/ 342 w 581"/>
              <a:gd name="T71" fmla="*/ 348 h 605"/>
              <a:gd name="T72" fmla="*/ 170 w 581"/>
              <a:gd name="T73" fmla="*/ 512 h 605"/>
              <a:gd name="T74" fmla="*/ 139 w 581"/>
              <a:gd name="T75" fmla="*/ 534 h 605"/>
              <a:gd name="T76" fmla="*/ 119 w 581"/>
              <a:gd name="T77" fmla="*/ 533 h 605"/>
              <a:gd name="T78" fmla="*/ 99 w 581"/>
              <a:gd name="T79" fmla="*/ 516 h 605"/>
              <a:gd name="T80" fmla="*/ 81 w 581"/>
              <a:gd name="T81" fmla="*/ 498 h 605"/>
              <a:gd name="T82" fmla="*/ 68 w 581"/>
              <a:gd name="T83" fmla="*/ 469 h 605"/>
              <a:gd name="T84" fmla="*/ 174 w 581"/>
              <a:gd name="T85" fmla="*/ 361 h 605"/>
              <a:gd name="T86" fmla="*/ 185 w 581"/>
              <a:gd name="T87" fmla="*/ 331 h 605"/>
              <a:gd name="T88" fmla="*/ 171 w 581"/>
              <a:gd name="T89" fmla="*/ 308 h 605"/>
              <a:gd name="T90" fmla="*/ 138 w 581"/>
              <a:gd name="T91" fmla="*/ 303 h 605"/>
              <a:gd name="T92" fmla="*/ 20 w 581"/>
              <a:gd name="T93" fmla="*/ 410 h 605"/>
              <a:gd name="T94" fmla="*/ 2 w 581"/>
              <a:gd name="T95" fmla="*/ 447 h 605"/>
              <a:gd name="T96" fmla="*/ 0 w 581"/>
              <a:gd name="T97" fmla="*/ 481 h 605"/>
              <a:gd name="T98" fmla="*/ 18 w 581"/>
              <a:gd name="T99" fmla="*/ 528 h 605"/>
              <a:gd name="T100" fmla="*/ 54 w 581"/>
              <a:gd name="T101" fmla="*/ 569 h 605"/>
              <a:gd name="T102" fmla="*/ 90 w 581"/>
              <a:gd name="T103" fmla="*/ 596 h 605"/>
              <a:gd name="T104" fmla="*/ 129 w 581"/>
              <a:gd name="T105" fmla="*/ 605 h 605"/>
              <a:gd name="T106" fmla="*/ 156 w 581"/>
              <a:gd name="T107" fmla="*/ 601 h 605"/>
              <a:gd name="T108" fmla="*/ 197 w 581"/>
              <a:gd name="T109" fmla="*/ 578 h 605"/>
              <a:gd name="T110" fmla="*/ 374 w 581"/>
              <a:gd name="T111" fmla="*/ 427 h 605"/>
              <a:gd name="T112" fmla="*/ 403 w 581"/>
              <a:gd name="T113" fmla="*/ 384 h 605"/>
              <a:gd name="T114" fmla="*/ 412 w 581"/>
              <a:gd name="T115" fmla="*/ 339 h 605"/>
              <a:gd name="T116" fmla="*/ 400 w 581"/>
              <a:gd name="T117" fmla="*/ 283 h 605"/>
              <a:gd name="T118" fmla="*/ 370 w 581"/>
              <a:gd name="T119" fmla="*/ 235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81" h="605">
                <a:moveTo>
                  <a:pt x="552" y="56"/>
                </a:moveTo>
                <a:lnTo>
                  <a:pt x="552" y="56"/>
                </a:lnTo>
                <a:lnTo>
                  <a:pt x="545" y="46"/>
                </a:lnTo>
                <a:lnTo>
                  <a:pt x="538" y="39"/>
                </a:lnTo>
                <a:lnTo>
                  <a:pt x="527" y="31"/>
                </a:lnTo>
                <a:lnTo>
                  <a:pt x="527" y="31"/>
                </a:lnTo>
                <a:lnTo>
                  <a:pt x="519" y="24"/>
                </a:lnTo>
                <a:lnTo>
                  <a:pt x="510" y="17"/>
                </a:lnTo>
                <a:lnTo>
                  <a:pt x="502" y="12"/>
                </a:lnTo>
                <a:lnTo>
                  <a:pt x="493" y="8"/>
                </a:lnTo>
                <a:lnTo>
                  <a:pt x="484" y="4"/>
                </a:lnTo>
                <a:lnTo>
                  <a:pt x="475" y="2"/>
                </a:lnTo>
                <a:lnTo>
                  <a:pt x="465" y="1"/>
                </a:lnTo>
                <a:lnTo>
                  <a:pt x="456" y="0"/>
                </a:lnTo>
                <a:lnTo>
                  <a:pt x="456" y="0"/>
                </a:lnTo>
                <a:lnTo>
                  <a:pt x="448" y="1"/>
                </a:lnTo>
                <a:lnTo>
                  <a:pt x="439" y="2"/>
                </a:lnTo>
                <a:lnTo>
                  <a:pt x="432" y="4"/>
                </a:lnTo>
                <a:lnTo>
                  <a:pt x="425" y="6"/>
                </a:lnTo>
                <a:lnTo>
                  <a:pt x="411" y="12"/>
                </a:lnTo>
                <a:lnTo>
                  <a:pt x="400" y="19"/>
                </a:lnTo>
                <a:lnTo>
                  <a:pt x="400" y="19"/>
                </a:lnTo>
                <a:lnTo>
                  <a:pt x="391" y="26"/>
                </a:lnTo>
                <a:lnTo>
                  <a:pt x="384" y="32"/>
                </a:lnTo>
                <a:lnTo>
                  <a:pt x="376" y="39"/>
                </a:lnTo>
                <a:lnTo>
                  <a:pt x="376" y="40"/>
                </a:lnTo>
                <a:lnTo>
                  <a:pt x="233" y="172"/>
                </a:lnTo>
                <a:lnTo>
                  <a:pt x="232" y="173"/>
                </a:lnTo>
                <a:lnTo>
                  <a:pt x="232" y="173"/>
                </a:lnTo>
                <a:lnTo>
                  <a:pt x="223" y="183"/>
                </a:lnTo>
                <a:lnTo>
                  <a:pt x="216" y="194"/>
                </a:lnTo>
                <a:lnTo>
                  <a:pt x="209" y="204"/>
                </a:lnTo>
                <a:lnTo>
                  <a:pt x="203" y="216"/>
                </a:lnTo>
                <a:lnTo>
                  <a:pt x="199" y="227"/>
                </a:lnTo>
                <a:lnTo>
                  <a:pt x="196" y="237"/>
                </a:lnTo>
                <a:lnTo>
                  <a:pt x="195" y="248"/>
                </a:lnTo>
                <a:lnTo>
                  <a:pt x="194" y="258"/>
                </a:lnTo>
                <a:lnTo>
                  <a:pt x="194" y="258"/>
                </a:lnTo>
                <a:lnTo>
                  <a:pt x="195" y="271"/>
                </a:lnTo>
                <a:lnTo>
                  <a:pt x="197" y="281"/>
                </a:lnTo>
                <a:lnTo>
                  <a:pt x="199" y="291"/>
                </a:lnTo>
                <a:lnTo>
                  <a:pt x="203" y="300"/>
                </a:lnTo>
                <a:lnTo>
                  <a:pt x="208" y="309"/>
                </a:lnTo>
                <a:lnTo>
                  <a:pt x="212" y="317"/>
                </a:lnTo>
                <a:lnTo>
                  <a:pt x="221" y="331"/>
                </a:lnTo>
                <a:lnTo>
                  <a:pt x="221" y="331"/>
                </a:lnTo>
                <a:lnTo>
                  <a:pt x="230" y="341"/>
                </a:lnTo>
                <a:lnTo>
                  <a:pt x="238" y="349"/>
                </a:lnTo>
                <a:lnTo>
                  <a:pt x="247" y="356"/>
                </a:lnTo>
                <a:lnTo>
                  <a:pt x="247" y="356"/>
                </a:lnTo>
                <a:lnTo>
                  <a:pt x="251" y="359"/>
                </a:lnTo>
                <a:lnTo>
                  <a:pt x="256" y="361"/>
                </a:lnTo>
                <a:lnTo>
                  <a:pt x="262" y="362"/>
                </a:lnTo>
                <a:lnTo>
                  <a:pt x="267" y="362"/>
                </a:lnTo>
                <a:lnTo>
                  <a:pt x="267" y="362"/>
                </a:lnTo>
                <a:lnTo>
                  <a:pt x="275" y="361"/>
                </a:lnTo>
                <a:lnTo>
                  <a:pt x="283" y="359"/>
                </a:lnTo>
                <a:lnTo>
                  <a:pt x="289" y="354"/>
                </a:lnTo>
                <a:lnTo>
                  <a:pt x="295" y="348"/>
                </a:lnTo>
                <a:lnTo>
                  <a:pt x="295" y="348"/>
                </a:lnTo>
                <a:lnTo>
                  <a:pt x="298" y="343"/>
                </a:lnTo>
                <a:lnTo>
                  <a:pt x="300" y="336"/>
                </a:lnTo>
                <a:lnTo>
                  <a:pt x="301" y="330"/>
                </a:lnTo>
                <a:lnTo>
                  <a:pt x="301" y="323"/>
                </a:lnTo>
                <a:lnTo>
                  <a:pt x="299" y="316"/>
                </a:lnTo>
                <a:lnTo>
                  <a:pt x="297" y="310"/>
                </a:lnTo>
                <a:lnTo>
                  <a:pt x="293" y="305"/>
                </a:lnTo>
                <a:lnTo>
                  <a:pt x="288" y="300"/>
                </a:lnTo>
                <a:lnTo>
                  <a:pt x="288" y="300"/>
                </a:lnTo>
                <a:lnTo>
                  <a:pt x="288" y="300"/>
                </a:lnTo>
                <a:lnTo>
                  <a:pt x="287" y="300"/>
                </a:lnTo>
                <a:lnTo>
                  <a:pt x="287" y="300"/>
                </a:lnTo>
                <a:lnTo>
                  <a:pt x="287" y="300"/>
                </a:lnTo>
                <a:lnTo>
                  <a:pt x="287" y="300"/>
                </a:lnTo>
                <a:lnTo>
                  <a:pt x="282" y="296"/>
                </a:lnTo>
                <a:lnTo>
                  <a:pt x="274" y="286"/>
                </a:lnTo>
                <a:lnTo>
                  <a:pt x="274" y="286"/>
                </a:lnTo>
                <a:lnTo>
                  <a:pt x="270" y="280"/>
                </a:lnTo>
                <a:lnTo>
                  <a:pt x="267" y="273"/>
                </a:lnTo>
                <a:lnTo>
                  <a:pt x="265" y="266"/>
                </a:lnTo>
                <a:lnTo>
                  <a:pt x="264" y="258"/>
                </a:lnTo>
                <a:lnTo>
                  <a:pt x="264" y="258"/>
                </a:lnTo>
                <a:lnTo>
                  <a:pt x="265" y="251"/>
                </a:lnTo>
                <a:lnTo>
                  <a:pt x="267" y="243"/>
                </a:lnTo>
                <a:lnTo>
                  <a:pt x="273" y="233"/>
                </a:lnTo>
                <a:lnTo>
                  <a:pt x="282" y="221"/>
                </a:lnTo>
                <a:lnTo>
                  <a:pt x="423" y="91"/>
                </a:lnTo>
                <a:lnTo>
                  <a:pt x="423" y="91"/>
                </a:lnTo>
                <a:lnTo>
                  <a:pt x="431" y="83"/>
                </a:lnTo>
                <a:lnTo>
                  <a:pt x="440" y="75"/>
                </a:lnTo>
                <a:lnTo>
                  <a:pt x="440" y="75"/>
                </a:lnTo>
                <a:lnTo>
                  <a:pt x="445" y="73"/>
                </a:lnTo>
                <a:lnTo>
                  <a:pt x="449" y="70"/>
                </a:lnTo>
                <a:lnTo>
                  <a:pt x="453" y="69"/>
                </a:lnTo>
                <a:lnTo>
                  <a:pt x="456" y="69"/>
                </a:lnTo>
                <a:lnTo>
                  <a:pt x="456" y="69"/>
                </a:lnTo>
                <a:lnTo>
                  <a:pt x="460" y="69"/>
                </a:lnTo>
                <a:lnTo>
                  <a:pt x="465" y="71"/>
                </a:lnTo>
                <a:lnTo>
                  <a:pt x="472" y="75"/>
                </a:lnTo>
                <a:lnTo>
                  <a:pt x="481" y="82"/>
                </a:lnTo>
                <a:lnTo>
                  <a:pt x="483" y="83"/>
                </a:lnTo>
                <a:lnTo>
                  <a:pt x="485" y="85"/>
                </a:lnTo>
                <a:lnTo>
                  <a:pt x="485" y="85"/>
                </a:lnTo>
                <a:lnTo>
                  <a:pt x="491" y="90"/>
                </a:lnTo>
                <a:lnTo>
                  <a:pt x="496" y="95"/>
                </a:lnTo>
                <a:lnTo>
                  <a:pt x="501" y="101"/>
                </a:lnTo>
                <a:lnTo>
                  <a:pt x="501" y="101"/>
                </a:lnTo>
                <a:lnTo>
                  <a:pt x="506" y="109"/>
                </a:lnTo>
                <a:lnTo>
                  <a:pt x="509" y="115"/>
                </a:lnTo>
                <a:lnTo>
                  <a:pt x="511" y="121"/>
                </a:lnTo>
                <a:lnTo>
                  <a:pt x="512" y="126"/>
                </a:lnTo>
                <a:lnTo>
                  <a:pt x="512" y="126"/>
                </a:lnTo>
                <a:lnTo>
                  <a:pt x="511" y="131"/>
                </a:lnTo>
                <a:lnTo>
                  <a:pt x="509" y="137"/>
                </a:lnTo>
                <a:lnTo>
                  <a:pt x="418" y="227"/>
                </a:lnTo>
                <a:lnTo>
                  <a:pt x="418" y="227"/>
                </a:lnTo>
                <a:lnTo>
                  <a:pt x="414" y="233"/>
                </a:lnTo>
                <a:lnTo>
                  <a:pt x="411" y="239"/>
                </a:lnTo>
                <a:lnTo>
                  <a:pt x="409" y="245"/>
                </a:lnTo>
                <a:lnTo>
                  <a:pt x="408" y="251"/>
                </a:lnTo>
                <a:lnTo>
                  <a:pt x="409" y="258"/>
                </a:lnTo>
                <a:lnTo>
                  <a:pt x="411" y="264"/>
                </a:lnTo>
                <a:lnTo>
                  <a:pt x="414" y="271"/>
                </a:lnTo>
                <a:lnTo>
                  <a:pt x="418" y="276"/>
                </a:lnTo>
                <a:lnTo>
                  <a:pt x="418" y="276"/>
                </a:lnTo>
                <a:lnTo>
                  <a:pt x="424" y="281"/>
                </a:lnTo>
                <a:lnTo>
                  <a:pt x="430" y="284"/>
                </a:lnTo>
                <a:lnTo>
                  <a:pt x="436" y="286"/>
                </a:lnTo>
                <a:lnTo>
                  <a:pt x="443" y="286"/>
                </a:lnTo>
                <a:lnTo>
                  <a:pt x="449" y="286"/>
                </a:lnTo>
                <a:lnTo>
                  <a:pt x="456" y="284"/>
                </a:lnTo>
                <a:lnTo>
                  <a:pt x="462" y="281"/>
                </a:lnTo>
                <a:lnTo>
                  <a:pt x="467" y="276"/>
                </a:lnTo>
                <a:lnTo>
                  <a:pt x="562" y="182"/>
                </a:lnTo>
                <a:lnTo>
                  <a:pt x="563" y="179"/>
                </a:lnTo>
                <a:lnTo>
                  <a:pt x="563" y="179"/>
                </a:lnTo>
                <a:lnTo>
                  <a:pt x="567" y="173"/>
                </a:lnTo>
                <a:lnTo>
                  <a:pt x="571" y="167"/>
                </a:lnTo>
                <a:lnTo>
                  <a:pt x="577" y="153"/>
                </a:lnTo>
                <a:lnTo>
                  <a:pt x="580" y="140"/>
                </a:lnTo>
                <a:lnTo>
                  <a:pt x="581" y="126"/>
                </a:lnTo>
                <a:lnTo>
                  <a:pt x="581" y="126"/>
                </a:lnTo>
                <a:lnTo>
                  <a:pt x="580" y="115"/>
                </a:lnTo>
                <a:lnTo>
                  <a:pt x="578" y="103"/>
                </a:lnTo>
                <a:lnTo>
                  <a:pt x="575" y="93"/>
                </a:lnTo>
                <a:lnTo>
                  <a:pt x="571" y="84"/>
                </a:lnTo>
                <a:lnTo>
                  <a:pt x="567" y="76"/>
                </a:lnTo>
                <a:lnTo>
                  <a:pt x="562" y="69"/>
                </a:lnTo>
                <a:lnTo>
                  <a:pt x="552" y="56"/>
                </a:lnTo>
                <a:lnTo>
                  <a:pt x="552" y="56"/>
                </a:lnTo>
                <a:close/>
                <a:moveTo>
                  <a:pt x="361" y="226"/>
                </a:moveTo>
                <a:lnTo>
                  <a:pt x="361" y="226"/>
                </a:lnTo>
                <a:lnTo>
                  <a:pt x="356" y="221"/>
                </a:lnTo>
                <a:lnTo>
                  <a:pt x="350" y="218"/>
                </a:lnTo>
                <a:lnTo>
                  <a:pt x="344" y="216"/>
                </a:lnTo>
                <a:lnTo>
                  <a:pt x="337" y="216"/>
                </a:lnTo>
                <a:lnTo>
                  <a:pt x="331" y="216"/>
                </a:lnTo>
                <a:lnTo>
                  <a:pt x="324" y="218"/>
                </a:lnTo>
                <a:lnTo>
                  <a:pt x="318" y="221"/>
                </a:lnTo>
                <a:lnTo>
                  <a:pt x="313" y="226"/>
                </a:lnTo>
                <a:lnTo>
                  <a:pt x="313" y="226"/>
                </a:lnTo>
                <a:lnTo>
                  <a:pt x="308" y="231"/>
                </a:lnTo>
                <a:lnTo>
                  <a:pt x="305" y="237"/>
                </a:lnTo>
                <a:lnTo>
                  <a:pt x="303" y="243"/>
                </a:lnTo>
                <a:lnTo>
                  <a:pt x="302" y="250"/>
                </a:lnTo>
                <a:lnTo>
                  <a:pt x="303" y="256"/>
                </a:lnTo>
                <a:lnTo>
                  <a:pt x="305" y="262"/>
                </a:lnTo>
                <a:lnTo>
                  <a:pt x="308" y="269"/>
                </a:lnTo>
                <a:lnTo>
                  <a:pt x="313" y="275"/>
                </a:lnTo>
                <a:lnTo>
                  <a:pt x="313" y="275"/>
                </a:lnTo>
                <a:lnTo>
                  <a:pt x="319" y="281"/>
                </a:lnTo>
                <a:lnTo>
                  <a:pt x="324" y="288"/>
                </a:lnTo>
                <a:lnTo>
                  <a:pt x="330" y="297"/>
                </a:lnTo>
                <a:lnTo>
                  <a:pt x="330" y="297"/>
                </a:lnTo>
                <a:lnTo>
                  <a:pt x="335" y="307"/>
                </a:lnTo>
                <a:lnTo>
                  <a:pt x="339" y="317"/>
                </a:lnTo>
                <a:lnTo>
                  <a:pt x="342" y="329"/>
                </a:lnTo>
                <a:lnTo>
                  <a:pt x="343" y="339"/>
                </a:lnTo>
                <a:lnTo>
                  <a:pt x="343" y="339"/>
                </a:lnTo>
                <a:lnTo>
                  <a:pt x="342" y="348"/>
                </a:lnTo>
                <a:lnTo>
                  <a:pt x="340" y="356"/>
                </a:lnTo>
                <a:lnTo>
                  <a:pt x="335" y="366"/>
                </a:lnTo>
                <a:lnTo>
                  <a:pt x="326" y="377"/>
                </a:lnTo>
                <a:lnTo>
                  <a:pt x="170" y="512"/>
                </a:lnTo>
                <a:lnTo>
                  <a:pt x="170" y="512"/>
                </a:lnTo>
                <a:lnTo>
                  <a:pt x="160" y="520"/>
                </a:lnTo>
                <a:lnTo>
                  <a:pt x="149" y="528"/>
                </a:lnTo>
                <a:lnTo>
                  <a:pt x="149" y="528"/>
                </a:lnTo>
                <a:lnTo>
                  <a:pt x="144" y="531"/>
                </a:lnTo>
                <a:lnTo>
                  <a:pt x="139" y="534"/>
                </a:lnTo>
                <a:lnTo>
                  <a:pt x="134" y="535"/>
                </a:lnTo>
                <a:lnTo>
                  <a:pt x="130" y="536"/>
                </a:lnTo>
                <a:lnTo>
                  <a:pt x="130" y="536"/>
                </a:lnTo>
                <a:lnTo>
                  <a:pt x="125" y="535"/>
                </a:lnTo>
                <a:lnTo>
                  <a:pt x="119" y="533"/>
                </a:lnTo>
                <a:lnTo>
                  <a:pt x="112" y="528"/>
                </a:lnTo>
                <a:lnTo>
                  <a:pt x="102" y="519"/>
                </a:lnTo>
                <a:lnTo>
                  <a:pt x="100" y="517"/>
                </a:lnTo>
                <a:lnTo>
                  <a:pt x="99" y="516"/>
                </a:lnTo>
                <a:lnTo>
                  <a:pt x="99" y="516"/>
                </a:lnTo>
                <a:lnTo>
                  <a:pt x="99" y="516"/>
                </a:lnTo>
                <a:lnTo>
                  <a:pt x="92" y="511"/>
                </a:lnTo>
                <a:lnTo>
                  <a:pt x="86" y="505"/>
                </a:lnTo>
                <a:lnTo>
                  <a:pt x="81" y="498"/>
                </a:lnTo>
                <a:lnTo>
                  <a:pt x="81" y="498"/>
                </a:lnTo>
                <a:lnTo>
                  <a:pt x="75" y="490"/>
                </a:lnTo>
                <a:lnTo>
                  <a:pt x="71" y="483"/>
                </a:lnTo>
                <a:lnTo>
                  <a:pt x="69" y="475"/>
                </a:lnTo>
                <a:lnTo>
                  <a:pt x="68" y="469"/>
                </a:lnTo>
                <a:lnTo>
                  <a:pt x="68" y="469"/>
                </a:lnTo>
                <a:lnTo>
                  <a:pt x="69" y="462"/>
                </a:lnTo>
                <a:lnTo>
                  <a:pt x="71" y="459"/>
                </a:lnTo>
                <a:lnTo>
                  <a:pt x="73" y="455"/>
                </a:lnTo>
                <a:lnTo>
                  <a:pt x="174" y="361"/>
                </a:lnTo>
                <a:lnTo>
                  <a:pt x="174" y="361"/>
                </a:lnTo>
                <a:lnTo>
                  <a:pt x="179" y="356"/>
                </a:lnTo>
                <a:lnTo>
                  <a:pt x="182" y="350"/>
                </a:lnTo>
                <a:lnTo>
                  <a:pt x="184" y="344"/>
                </a:lnTo>
                <a:lnTo>
                  <a:pt x="185" y="337"/>
                </a:lnTo>
                <a:lnTo>
                  <a:pt x="185" y="331"/>
                </a:lnTo>
                <a:lnTo>
                  <a:pt x="183" y="325"/>
                </a:lnTo>
                <a:lnTo>
                  <a:pt x="180" y="318"/>
                </a:lnTo>
                <a:lnTo>
                  <a:pt x="176" y="312"/>
                </a:lnTo>
                <a:lnTo>
                  <a:pt x="176" y="312"/>
                </a:lnTo>
                <a:lnTo>
                  <a:pt x="171" y="308"/>
                </a:lnTo>
                <a:lnTo>
                  <a:pt x="165" y="304"/>
                </a:lnTo>
                <a:lnTo>
                  <a:pt x="159" y="302"/>
                </a:lnTo>
                <a:lnTo>
                  <a:pt x="152" y="301"/>
                </a:lnTo>
                <a:lnTo>
                  <a:pt x="145" y="302"/>
                </a:lnTo>
                <a:lnTo>
                  <a:pt x="138" y="303"/>
                </a:lnTo>
                <a:lnTo>
                  <a:pt x="132" y="306"/>
                </a:lnTo>
                <a:lnTo>
                  <a:pt x="127" y="310"/>
                </a:lnTo>
                <a:lnTo>
                  <a:pt x="22" y="408"/>
                </a:lnTo>
                <a:lnTo>
                  <a:pt x="20" y="410"/>
                </a:lnTo>
                <a:lnTo>
                  <a:pt x="20" y="410"/>
                </a:lnTo>
                <a:lnTo>
                  <a:pt x="15" y="417"/>
                </a:lnTo>
                <a:lnTo>
                  <a:pt x="11" y="424"/>
                </a:lnTo>
                <a:lnTo>
                  <a:pt x="7" y="432"/>
                </a:lnTo>
                <a:lnTo>
                  <a:pt x="5" y="439"/>
                </a:lnTo>
                <a:lnTo>
                  <a:pt x="2" y="447"/>
                </a:lnTo>
                <a:lnTo>
                  <a:pt x="1" y="454"/>
                </a:lnTo>
                <a:lnTo>
                  <a:pt x="0" y="461"/>
                </a:lnTo>
                <a:lnTo>
                  <a:pt x="0" y="469"/>
                </a:lnTo>
                <a:lnTo>
                  <a:pt x="0" y="469"/>
                </a:lnTo>
                <a:lnTo>
                  <a:pt x="0" y="481"/>
                </a:lnTo>
                <a:lnTo>
                  <a:pt x="2" y="492"/>
                </a:lnTo>
                <a:lnTo>
                  <a:pt x="5" y="502"/>
                </a:lnTo>
                <a:lnTo>
                  <a:pt x="9" y="512"/>
                </a:lnTo>
                <a:lnTo>
                  <a:pt x="13" y="520"/>
                </a:lnTo>
                <a:lnTo>
                  <a:pt x="18" y="528"/>
                </a:lnTo>
                <a:lnTo>
                  <a:pt x="28" y="543"/>
                </a:lnTo>
                <a:lnTo>
                  <a:pt x="28" y="543"/>
                </a:lnTo>
                <a:lnTo>
                  <a:pt x="36" y="552"/>
                </a:lnTo>
                <a:lnTo>
                  <a:pt x="44" y="559"/>
                </a:lnTo>
                <a:lnTo>
                  <a:pt x="54" y="569"/>
                </a:lnTo>
                <a:lnTo>
                  <a:pt x="54" y="569"/>
                </a:lnTo>
                <a:lnTo>
                  <a:pt x="62" y="577"/>
                </a:lnTo>
                <a:lnTo>
                  <a:pt x="71" y="584"/>
                </a:lnTo>
                <a:lnTo>
                  <a:pt x="81" y="591"/>
                </a:lnTo>
                <a:lnTo>
                  <a:pt x="90" y="596"/>
                </a:lnTo>
                <a:lnTo>
                  <a:pt x="101" y="600"/>
                </a:lnTo>
                <a:lnTo>
                  <a:pt x="110" y="602"/>
                </a:lnTo>
                <a:lnTo>
                  <a:pt x="120" y="604"/>
                </a:lnTo>
                <a:lnTo>
                  <a:pt x="129" y="605"/>
                </a:lnTo>
                <a:lnTo>
                  <a:pt x="129" y="605"/>
                </a:lnTo>
                <a:lnTo>
                  <a:pt x="130" y="605"/>
                </a:lnTo>
                <a:lnTo>
                  <a:pt x="130" y="605"/>
                </a:lnTo>
                <a:lnTo>
                  <a:pt x="139" y="604"/>
                </a:lnTo>
                <a:lnTo>
                  <a:pt x="147" y="603"/>
                </a:lnTo>
                <a:lnTo>
                  <a:pt x="156" y="601"/>
                </a:lnTo>
                <a:lnTo>
                  <a:pt x="163" y="599"/>
                </a:lnTo>
                <a:lnTo>
                  <a:pt x="177" y="593"/>
                </a:lnTo>
                <a:lnTo>
                  <a:pt x="188" y="586"/>
                </a:lnTo>
                <a:lnTo>
                  <a:pt x="188" y="586"/>
                </a:lnTo>
                <a:lnTo>
                  <a:pt x="197" y="578"/>
                </a:lnTo>
                <a:lnTo>
                  <a:pt x="206" y="572"/>
                </a:lnTo>
                <a:lnTo>
                  <a:pt x="214" y="565"/>
                </a:lnTo>
                <a:lnTo>
                  <a:pt x="214" y="564"/>
                </a:lnTo>
                <a:lnTo>
                  <a:pt x="374" y="427"/>
                </a:lnTo>
                <a:lnTo>
                  <a:pt x="374" y="427"/>
                </a:lnTo>
                <a:lnTo>
                  <a:pt x="374" y="427"/>
                </a:lnTo>
                <a:lnTo>
                  <a:pt x="384" y="416"/>
                </a:lnTo>
                <a:lnTo>
                  <a:pt x="391" y="405"/>
                </a:lnTo>
                <a:lnTo>
                  <a:pt x="398" y="395"/>
                </a:lnTo>
                <a:lnTo>
                  <a:pt x="403" y="384"/>
                </a:lnTo>
                <a:lnTo>
                  <a:pt x="407" y="373"/>
                </a:lnTo>
                <a:lnTo>
                  <a:pt x="410" y="361"/>
                </a:lnTo>
                <a:lnTo>
                  <a:pt x="412" y="350"/>
                </a:lnTo>
                <a:lnTo>
                  <a:pt x="412" y="339"/>
                </a:lnTo>
                <a:lnTo>
                  <a:pt x="412" y="339"/>
                </a:lnTo>
                <a:lnTo>
                  <a:pt x="411" y="327"/>
                </a:lnTo>
                <a:lnTo>
                  <a:pt x="410" y="314"/>
                </a:lnTo>
                <a:lnTo>
                  <a:pt x="407" y="303"/>
                </a:lnTo>
                <a:lnTo>
                  <a:pt x="404" y="293"/>
                </a:lnTo>
                <a:lnTo>
                  <a:pt x="400" y="283"/>
                </a:lnTo>
                <a:lnTo>
                  <a:pt x="396" y="274"/>
                </a:lnTo>
                <a:lnTo>
                  <a:pt x="387" y="257"/>
                </a:lnTo>
                <a:lnTo>
                  <a:pt x="387" y="257"/>
                </a:lnTo>
                <a:lnTo>
                  <a:pt x="378" y="245"/>
                </a:lnTo>
                <a:lnTo>
                  <a:pt x="370" y="235"/>
                </a:lnTo>
                <a:lnTo>
                  <a:pt x="361" y="226"/>
                </a:lnTo>
                <a:lnTo>
                  <a:pt x="361" y="22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sp>
        <p:nvSpPr>
          <p:cNvPr id="25" name="TextBox 24">
            <a:extLst>
              <a:ext uri="{FF2B5EF4-FFF2-40B4-BE49-F238E27FC236}">
                <a16:creationId xmlns:a16="http://schemas.microsoft.com/office/drawing/2014/main" id="{9094EA44-B8FC-4AEA-ABDF-29A7B4B9F0A9}"/>
              </a:ext>
            </a:extLst>
          </p:cNvPr>
          <p:cNvSpPr txBox="1">
            <a:spLocks/>
          </p:cNvSpPr>
          <p:nvPr/>
        </p:nvSpPr>
        <p:spPr>
          <a:xfrm>
            <a:off x="1471801" y="5476656"/>
            <a:ext cx="4786281" cy="78483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ea typeface="+mn-ea"/>
                <a:cs typeface="+mn-cs"/>
              </a:rPr>
              <a:t>Product Portfolio</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Broad product portfolio such as </a:t>
            </a:r>
            <a:r>
              <a:rPr lang="en-US" sz="1200" dirty="0">
                <a:solidFill>
                  <a:srgbClr val="000000"/>
                </a:solidFill>
              </a:rPr>
              <a:t>XYZ</a:t>
            </a:r>
            <a:r>
              <a:rPr kumimoji="0" lang="en-US" sz="1200" b="0" i="0" u="none" strike="noStrike" kern="1200" cap="none" spc="0" normalizeH="0" baseline="0" noProof="0" dirty="0">
                <a:ln>
                  <a:noFill/>
                </a:ln>
                <a:solidFill>
                  <a:srgbClr val="000000"/>
                </a:solidFill>
                <a:effectLst/>
                <a:uLnTx/>
                <a:uFillTx/>
                <a:ea typeface="+mn-ea"/>
                <a:cs typeface="+mn-cs"/>
              </a:rPr>
              <a:t> and chemicals for </a:t>
            </a:r>
            <a:br>
              <a:rPr kumimoji="0" lang="en-US" sz="1200" b="0" i="0" u="none" strike="noStrike" kern="1200" cap="none" spc="0" normalizeH="0" baseline="0" noProof="0" dirty="0">
                <a:ln>
                  <a:noFill/>
                </a:ln>
                <a:solidFill>
                  <a:srgbClr val="000000"/>
                </a:solidFill>
                <a:effectLst/>
                <a:uLnTx/>
                <a:uFillTx/>
                <a:ea typeface="+mn-ea"/>
                <a:cs typeface="+mn-cs"/>
              </a:rPr>
            </a:br>
            <a:r>
              <a:rPr kumimoji="0" lang="en-US" sz="1200" b="0" i="0" u="none" strike="noStrike" kern="1200" cap="none" spc="0" normalizeH="0" baseline="0" noProof="0" dirty="0">
                <a:ln>
                  <a:noFill/>
                </a:ln>
                <a:solidFill>
                  <a:srgbClr val="000000"/>
                </a:solidFill>
                <a:effectLst/>
                <a:uLnTx/>
                <a:uFillTx/>
                <a:ea typeface="+mn-ea"/>
                <a:cs typeface="+mn-cs"/>
              </a:rPr>
              <a:t>specific technologies and applications</a:t>
            </a:r>
          </a:p>
        </p:txBody>
      </p:sp>
      <p:sp>
        <p:nvSpPr>
          <p:cNvPr id="27" name="Freeform 7">
            <a:extLst>
              <a:ext uri="{FF2B5EF4-FFF2-40B4-BE49-F238E27FC236}">
                <a16:creationId xmlns:a16="http://schemas.microsoft.com/office/drawing/2014/main" id="{4ABD3814-1172-4D92-9D9B-55CFF9E1B17C}"/>
              </a:ext>
            </a:extLst>
          </p:cNvPr>
          <p:cNvSpPr>
            <a:spLocks noEditPoints="1"/>
          </p:cNvSpPr>
          <p:nvPr/>
        </p:nvSpPr>
        <p:spPr bwMode="auto">
          <a:xfrm>
            <a:off x="859947" y="5608721"/>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ea typeface="+mn-ea"/>
              <a:cs typeface="+mn-cs"/>
            </a:endParaRPr>
          </a:p>
        </p:txBody>
      </p:sp>
      <p:sp>
        <p:nvSpPr>
          <p:cNvPr id="28" name="Freeform 16">
            <a:extLst>
              <a:ext uri="{FF2B5EF4-FFF2-40B4-BE49-F238E27FC236}">
                <a16:creationId xmlns:a16="http://schemas.microsoft.com/office/drawing/2014/main" id="{5F4955B4-CF2B-4EDB-8041-7EFBD21157E4}"/>
              </a:ext>
            </a:extLst>
          </p:cNvPr>
          <p:cNvSpPr>
            <a:spLocks noEditPoints="1"/>
          </p:cNvSpPr>
          <p:nvPr/>
        </p:nvSpPr>
        <p:spPr bwMode="auto">
          <a:xfrm>
            <a:off x="1005249" y="5712873"/>
            <a:ext cx="243118" cy="270838"/>
          </a:xfrm>
          <a:custGeom>
            <a:avLst/>
            <a:gdLst>
              <a:gd name="T0" fmla="*/ 366 w 600"/>
              <a:gd name="T1" fmla="*/ 281 h 601"/>
              <a:gd name="T2" fmla="*/ 370 w 600"/>
              <a:gd name="T3" fmla="*/ 271 h 601"/>
              <a:gd name="T4" fmla="*/ 381 w 600"/>
              <a:gd name="T5" fmla="*/ 238 h 601"/>
              <a:gd name="T6" fmla="*/ 386 w 600"/>
              <a:gd name="T7" fmla="*/ 205 h 601"/>
              <a:gd name="T8" fmla="*/ 385 w 600"/>
              <a:gd name="T9" fmla="*/ 175 h 601"/>
              <a:gd name="T10" fmla="*/ 372 w 600"/>
              <a:gd name="T11" fmla="*/ 121 h 601"/>
              <a:gd name="T12" fmla="*/ 343 w 600"/>
              <a:gd name="T13" fmla="*/ 71 h 601"/>
              <a:gd name="T14" fmla="*/ 315 w 600"/>
              <a:gd name="T15" fmla="*/ 44 h 601"/>
              <a:gd name="T16" fmla="*/ 266 w 600"/>
              <a:gd name="T17" fmla="*/ 14 h 601"/>
              <a:gd name="T18" fmla="*/ 211 w 600"/>
              <a:gd name="T19" fmla="*/ 1 h 601"/>
              <a:gd name="T20" fmla="*/ 174 w 600"/>
              <a:gd name="T21" fmla="*/ 1 h 601"/>
              <a:gd name="T22" fmla="*/ 120 w 600"/>
              <a:gd name="T23" fmla="*/ 14 h 601"/>
              <a:gd name="T24" fmla="*/ 72 w 600"/>
              <a:gd name="T25" fmla="*/ 44 h 601"/>
              <a:gd name="T26" fmla="*/ 43 w 600"/>
              <a:gd name="T27" fmla="*/ 71 h 601"/>
              <a:gd name="T28" fmla="*/ 14 w 600"/>
              <a:gd name="T29" fmla="*/ 121 h 601"/>
              <a:gd name="T30" fmla="*/ 1 w 600"/>
              <a:gd name="T31" fmla="*/ 175 h 601"/>
              <a:gd name="T32" fmla="*/ 1 w 600"/>
              <a:gd name="T33" fmla="*/ 212 h 601"/>
              <a:gd name="T34" fmla="*/ 14 w 600"/>
              <a:gd name="T35" fmla="*/ 266 h 601"/>
              <a:gd name="T36" fmla="*/ 43 w 600"/>
              <a:gd name="T37" fmla="*/ 316 h 601"/>
              <a:gd name="T38" fmla="*/ 72 w 600"/>
              <a:gd name="T39" fmla="*/ 343 h 601"/>
              <a:gd name="T40" fmla="*/ 120 w 600"/>
              <a:gd name="T41" fmla="*/ 373 h 601"/>
              <a:gd name="T42" fmla="*/ 174 w 600"/>
              <a:gd name="T43" fmla="*/ 386 h 601"/>
              <a:gd name="T44" fmla="*/ 193 w 600"/>
              <a:gd name="T45" fmla="*/ 387 h 601"/>
              <a:gd name="T46" fmla="*/ 226 w 600"/>
              <a:gd name="T47" fmla="*/ 384 h 601"/>
              <a:gd name="T48" fmla="*/ 259 w 600"/>
              <a:gd name="T49" fmla="*/ 375 h 601"/>
              <a:gd name="T50" fmla="*/ 280 w 600"/>
              <a:gd name="T51" fmla="*/ 366 h 601"/>
              <a:gd name="T52" fmla="*/ 511 w 600"/>
              <a:gd name="T53" fmla="*/ 595 h 601"/>
              <a:gd name="T54" fmla="*/ 538 w 600"/>
              <a:gd name="T55" fmla="*/ 600 h 601"/>
              <a:gd name="T56" fmla="*/ 565 w 600"/>
              <a:gd name="T57" fmla="*/ 588 h 601"/>
              <a:gd name="T58" fmla="*/ 580 w 600"/>
              <a:gd name="T59" fmla="*/ 574 h 601"/>
              <a:gd name="T60" fmla="*/ 597 w 600"/>
              <a:gd name="T61" fmla="*/ 548 h 601"/>
              <a:gd name="T62" fmla="*/ 598 w 600"/>
              <a:gd name="T63" fmla="*/ 520 h 601"/>
              <a:gd name="T64" fmla="*/ 587 w 600"/>
              <a:gd name="T65" fmla="*/ 502 h 601"/>
              <a:gd name="T66" fmla="*/ 180 w 600"/>
              <a:gd name="T67" fmla="*/ 332 h 601"/>
              <a:gd name="T68" fmla="*/ 141 w 600"/>
              <a:gd name="T69" fmla="*/ 322 h 601"/>
              <a:gd name="T70" fmla="*/ 105 w 600"/>
              <a:gd name="T71" fmla="*/ 301 h 601"/>
              <a:gd name="T72" fmla="*/ 86 w 600"/>
              <a:gd name="T73" fmla="*/ 281 h 601"/>
              <a:gd name="T74" fmla="*/ 64 w 600"/>
              <a:gd name="T75" fmla="*/ 245 h 601"/>
              <a:gd name="T76" fmla="*/ 55 w 600"/>
              <a:gd name="T77" fmla="*/ 207 h 601"/>
              <a:gd name="T78" fmla="*/ 55 w 600"/>
              <a:gd name="T79" fmla="*/ 180 h 601"/>
              <a:gd name="T80" fmla="*/ 64 w 600"/>
              <a:gd name="T81" fmla="*/ 141 h 601"/>
              <a:gd name="T82" fmla="*/ 86 w 600"/>
              <a:gd name="T83" fmla="*/ 106 h 601"/>
              <a:gd name="T84" fmla="*/ 105 w 600"/>
              <a:gd name="T85" fmla="*/ 85 h 601"/>
              <a:gd name="T86" fmla="*/ 141 w 600"/>
              <a:gd name="T87" fmla="*/ 65 h 601"/>
              <a:gd name="T88" fmla="*/ 180 w 600"/>
              <a:gd name="T89" fmla="*/ 56 h 601"/>
              <a:gd name="T90" fmla="*/ 206 w 600"/>
              <a:gd name="T91" fmla="*/ 56 h 601"/>
              <a:gd name="T92" fmla="*/ 246 w 600"/>
              <a:gd name="T93" fmla="*/ 65 h 601"/>
              <a:gd name="T94" fmla="*/ 280 w 600"/>
              <a:gd name="T95" fmla="*/ 85 h 601"/>
              <a:gd name="T96" fmla="*/ 301 w 600"/>
              <a:gd name="T97" fmla="*/ 106 h 601"/>
              <a:gd name="T98" fmla="*/ 321 w 600"/>
              <a:gd name="T99" fmla="*/ 141 h 601"/>
              <a:gd name="T100" fmla="*/ 331 w 600"/>
              <a:gd name="T101" fmla="*/ 180 h 601"/>
              <a:gd name="T102" fmla="*/ 331 w 600"/>
              <a:gd name="T103" fmla="*/ 207 h 601"/>
              <a:gd name="T104" fmla="*/ 321 w 600"/>
              <a:gd name="T105" fmla="*/ 245 h 601"/>
              <a:gd name="T106" fmla="*/ 301 w 600"/>
              <a:gd name="T107" fmla="*/ 281 h 601"/>
              <a:gd name="T108" fmla="*/ 280 w 600"/>
              <a:gd name="T109" fmla="*/ 301 h 601"/>
              <a:gd name="T110" fmla="*/ 245 w 600"/>
              <a:gd name="T111" fmla="*/ 322 h 601"/>
              <a:gd name="T112" fmla="*/ 206 w 600"/>
              <a:gd name="T113" fmla="*/ 332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0" h="601">
                <a:moveTo>
                  <a:pt x="587" y="502"/>
                </a:moveTo>
                <a:lnTo>
                  <a:pt x="366" y="281"/>
                </a:lnTo>
                <a:lnTo>
                  <a:pt x="366" y="281"/>
                </a:lnTo>
                <a:lnTo>
                  <a:pt x="365" y="281"/>
                </a:lnTo>
                <a:lnTo>
                  <a:pt x="365" y="281"/>
                </a:lnTo>
                <a:lnTo>
                  <a:pt x="370" y="271"/>
                </a:lnTo>
                <a:lnTo>
                  <a:pt x="374" y="260"/>
                </a:lnTo>
                <a:lnTo>
                  <a:pt x="378" y="249"/>
                </a:lnTo>
                <a:lnTo>
                  <a:pt x="381" y="238"/>
                </a:lnTo>
                <a:lnTo>
                  <a:pt x="383" y="227"/>
                </a:lnTo>
                <a:lnTo>
                  <a:pt x="385" y="216"/>
                </a:lnTo>
                <a:lnTo>
                  <a:pt x="386" y="205"/>
                </a:lnTo>
                <a:lnTo>
                  <a:pt x="386" y="193"/>
                </a:lnTo>
                <a:lnTo>
                  <a:pt x="386" y="193"/>
                </a:lnTo>
                <a:lnTo>
                  <a:pt x="385" y="175"/>
                </a:lnTo>
                <a:lnTo>
                  <a:pt x="383" y="157"/>
                </a:lnTo>
                <a:lnTo>
                  <a:pt x="378" y="138"/>
                </a:lnTo>
                <a:lnTo>
                  <a:pt x="372" y="121"/>
                </a:lnTo>
                <a:lnTo>
                  <a:pt x="364" y="104"/>
                </a:lnTo>
                <a:lnTo>
                  <a:pt x="355" y="87"/>
                </a:lnTo>
                <a:lnTo>
                  <a:pt x="343" y="71"/>
                </a:lnTo>
                <a:lnTo>
                  <a:pt x="329" y="57"/>
                </a:lnTo>
                <a:lnTo>
                  <a:pt x="329" y="57"/>
                </a:lnTo>
                <a:lnTo>
                  <a:pt x="315" y="44"/>
                </a:lnTo>
                <a:lnTo>
                  <a:pt x="300" y="32"/>
                </a:lnTo>
                <a:lnTo>
                  <a:pt x="282" y="22"/>
                </a:lnTo>
                <a:lnTo>
                  <a:pt x="266" y="14"/>
                </a:lnTo>
                <a:lnTo>
                  <a:pt x="248" y="8"/>
                </a:lnTo>
                <a:lnTo>
                  <a:pt x="229" y="4"/>
                </a:lnTo>
                <a:lnTo>
                  <a:pt x="211" y="1"/>
                </a:lnTo>
                <a:lnTo>
                  <a:pt x="193" y="0"/>
                </a:lnTo>
                <a:lnTo>
                  <a:pt x="193" y="0"/>
                </a:lnTo>
                <a:lnTo>
                  <a:pt x="174" y="1"/>
                </a:lnTo>
                <a:lnTo>
                  <a:pt x="156" y="4"/>
                </a:lnTo>
                <a:lnTo>
                  <a:pt x="138" y="8"/>
                </a:lnTo>
                <a:lnTo>
                  <a:pt x="120" y="14"/>
                </a:lnTo>
                <a:lnTo>
                  <a:pt x="103" y="22"/>
                </a:lnTo>
                <a:lnTo>
                  <a:pt x="87" y="32"/>
                </a:lnTo>
                <a:lnTo>
                  <a:pt x="72" y="44"/>
                </a:lnTo>
                <a:lnTo>
                  <a:pt x="56" y="57"/>
                </a:lnTo>
                <a:lnTo>
                  <a:pt x="56" y="57"/>
                </a:lnTo>
                <a:lnTo>
                  <a:pt x="43" y="71"/>
                </a:lnTo>
                <a:lnTo>
                  <a:pt x="32" y="87"/>
                </a:lnTo>
                <a:lnTo>
                  <a:pt x="22" y="104"/>
                </a:lnTo>
                <a:lnTo>
                  <a:pt x="14" y="121"/>
                </a:lnTo>
                <a:lnTo>
                  <a:pt x="7" y="138"/>
                </a:lnTo>
                <a:lnTo>
                  <a:pt x="3" y="157"/>
                </a:lnTo>
                <a:lnTo>
                  <a:pt x="1" y="175"/>
                </a:lnTo>
                <a:lnTo>
                  <a:pt x="0" y="193"/>
                </a:lnTo>
                <a:lnTo>
                  <a:pt x="0" y="193"/>
                </a:lnTo>
                <a:lnTo>
                  <a:pt x="1" y="212"/>
                </a:lnTo>
                <a:lnTo>
                  <a:pt x="3" y="230"/>
                </a:lnTo>
                <a:lnTo>
                  <a:pt x="7" y="248"/>
                </a:lnTo>
                <a:lnTo>
                  <a:pt x="14" y="266"/>
                </a:lnTo>
                <a:lnTo>
                  <a:pt x="22" y="283"/>
                </a:lnTo>
                <a:lnTo>
                  <a:pt x="32" y="300"/>
                </a:lnTo>
                <a:lnTo>
                  <a:pt x="43" y="316"/>
                </a:lnTo>
                <a:lnTo>
                  <a:pt x="56" y="330"/>
                </a:lnTo>
                <a:lnTo>
                  <a:pt x="56" y="330"/>
                </a:lnTo>
                <a:lnTo>
                  <a:pt x="72" y="343"/>
                </a:lnTo>
                <a:lnTo>
                  <a:pt x="87" y="355"/>
                </a:lnTo>
                <a:lnTo>
                  <a:pt x="103" y="365"/>
                </a:lnTo>
                <a:lnTo>
                  <a:pt x="120" y="373"/>
                </a:lnTo>
                <a:lnTo>
                  <a:pt x="138" y="379"/>
                </a:lnTo>
                <a:lnTo>
                  <a:pt x="156" y="383"/>
                </a:lnTo>
                <a:lnTo>
                  <a:pt x="174" y="386"/>
                </a:lnTo>
                <a:lnTo>
                  <a:pt x="193" y="387"/>
                </a:lnTo>
                <a:lnTo>
                  <a:pt x="193" y="387"/>
                </a:lnTo>
                <a:lnTo>
                  <a:pt x="193" y="387"/>
                </a:lnTo>
                <a:lnTo>
                  <a:pt x="204" y="386"/>
                </a:lnTo>
                <a:lnTo>
                  <a:pt x="215" y="385"/>
                </a:lnTo>
                <a:lnTo>
                  <a:pt x="226" y="384"/>
                </a:lnTo>
                <a:lnTo>
                  <a:pt x="238" y="382"/>
                </a:lnTo>
                <a:lnTo>
                  <a:pt x="249" y="379"/>
                </a:lnTo>
                <a:lnTo>
                  <a:pt x="259" y="375"/>
                </a:lnTo>
                <a:lnTo>
                  <a:pt x="270" y="371"/>
                </a:lnTo>
                <a:lnTo>
                  <a:pt x="280" y="366"/>
                </a:lnTo>
                <a:lnTo>
                  <a:pt x="280" y="366"/>
                </a:lnTo>
                <a:lnTo>
                  <a:pt x="503" y="588"/>
                </a:lnTo>
                <a:lnTo>
                  <a:pt x="503" y="588"/>
                </a:lnTo>
                <a:lnTo>
                  <a:pt x="511" y="595"/>
                </a:lnTo>
                <a:lnTo>
                  <a:pt x="520" y="599"/>
                </a:lnTo>
                <a:lnTo>
                  <a:pt x="528" y="601"/>
                </a:lnTo>
                <a:lnTo>
                  <a:pt x="538" y="600"/>
                </a:lnTo>
                <a:lnTo>
                  <a:pt x="547" y="598"/>
                </a:lnTo>
                <a:lnTo>
                  <a:pt x="557" y="594"/>
                </a:lnTo>
                <a:lnTo>
                  <a:pt x="565" y="588"/>
                </a:lnTo>
                <a:lnTo>
                  <a:pt x="574" y="581"/>
                </a:lnTo>
                <a:lnTo>
                  <a:pt x="580" y="574"/>
                </a:lnTo>
                <a:lnTo>
                  <a:pt x="580" y="574"/>
                </a:lnTo>
                <a:lnTo>
                  <a:pt x="587" y="565"/>
                </a:lnTo>
                <a:lnTo>
                  <a:pt x="593" y="557"/>
                </a:lnTo>
                <a:lnTo>
                  <a:pt x="597" y="548"/>
                </a:lnTo>
                <a:lnTo>
                  <a:pt x="600" y="538"/>
                </a:lnTo>
                <a:lnTo>
                  <a:pt x="600" y="529"/>
                </a:lnTo>
                <a:lnTo>
                  <a:pt x="598" y="520"/>
                </a:lnTo>
                <a:lnTo>
                  <a:pt x="594" y="511"/>
                </a:lnTo>
                <a:lnTo>
                  <a:pt x="587" y="502"/>
                </a:lnTo>
                <a:lnTo>
                  <a:pt x="587" y="502"/>
                </a:lnTo>
                <a:close/>
                <a:moveTo>
                  <a:pt x="193" y="332"/>
                </a:moveTo>
                <a:lnTo>
                  <a:pt x="193" y="332"/>
                </a:lnTo>
                <a:lnTo>
                  <a:pt x="180" y="332"/>
                </a:lnTo>
                <a:lnTo>
                  <a:pt x="166" y="330"/>
                </a:lnTo>
                <a:lnTo>
                  <a:pt x="154" y="327"/>
                </a:lnTo>
                <a:lnTo>
                  <a:pt x="141" y="322"/>
                </a:lnTo>
                <a:lnTo>
                  <a:pt x="129" y="317"/>
                </a:lnTo>
                <a:lnTo>
                  <a:pt x="116" y="310"/>
                </a:lnTo>
                <a:lnTo>
                  <a:pt x="105" y="301"/>
                </a:lnTo>
                <a:lnTo>
                  <a:pt x="95" y="291"/>
                </a:lnTo>
                <a:lnTo>
                  <a:pt x="95" y="291"/>
                </a:lnTo>
                <a:lnTo>
                  <a:pt x="86" y="281"/>
                </a:lnTo>
                <a:lnTo>
                  <a:pt x="78" y="270"/>
                </a:lnTo>
                <a:lnTo>
                  <a:pt x="71" y="258"/>
                </a:lnTo>
                <a:lnTo>
                  <a:pt x="64" y="245"/>
                </a:lnTo>
                <a:lnTo>
                  <a:pt x="60" y="233"/>
                </a:lnTo>
                <a:lnTo>
                  <a:pt x="57" y="220"/>
                </a:lnTo>
                <a:lnTo>
                  <a:pt x="55" y="207"/>
                </a:lnTo>
                <a:lnTo>
                  <a:pt x="54" y="193"/>
                </a:lnTo>
                <a:lnTo>
                  <a:pt x="54" y="193"/>
                </a:lnTo>
                <a:lnTo>
                  <a:pt x="55" y="180"/>
                </a:lnTo>
                <a:lnTo>
                  <a:pt x="57" y="167"/>
                </a:lnTo>
                <a:lnTo>
                  <a:pt x="60" y="154"/>
                </a:lnTo>
                <a:lnTo>
                  <a:pt x="64" y="141"/>
                </a:lnTo>
                <a:lnTo>
                  <a:pt x="71" y="129"/>
                </a:lnTo>
                <a:lnTo>
                  <a:pt x="78" y="117"/>
                </a:lnTo>
                <a:lnTo>
                  <a:pt x="86" y="106"/>
                </a:lnTo>
                <a:lnTo>
                  <a:pt x="95" y="96"/>
                </a:lnTo>
                <a:lnTo>
                  <a:pt x="95" y="96"/>
                </a:lnTo>
                <a:lnTo>
                  <a:pt x="105" y="85"/>
                </a:lnTo>
                <a:lnTo>
                  <a:pt x="116" y="77"/>
                </a:lnTo>
                <a:lnTo>
                  <a:pt x="129" y="71"/>
                </a:lnTo>
                <a:lnTo>
                  <a:pt x="141" y="65"/>
                </a:lnTo>
                <a:lnTo>
                  <a:pt x="154" y="61"/>
                </a:lnTo>
                <a:lnTo>
                  <a:pt x="166" y="57"/>
                </a:lnTo>
                <a:lnTo>
                  <a:pt x="180" y="56"/>
                </a:lnTo>
                <a:lnTo>
                  <a:pt x="193" y="55"/>
                </a:lnTo>
                <a:lnTo>
                  <a:pt x="193" y="55"/>
                </a:lnTo>
                <a:lnTo>
                  <a:pt x="206" y="56"/>
                </a:lnTo>
                <a:lnTo>
                  <a:pt x="219" y="57"/>
                </a:lnTo>
                <a:lnTo>
                  <a:pt x="233" y="61"/>
                </a:lnTo>
                <a:lnTo>
                  <a:pt x="246" y="65"/>
                </a:lnTo>
                <a:lnTo>
                  <a:pt x="258" y="71"/>
                </a:lnTo>
                <a:lnTo>
                  <a:pt x="269" y="77"/>
                </a:lnTo>
                <a:lnTo>
                  <a:pt x="280" y="85"/>
                </a:lnTo>
                <a:lnTo>
                  <a:pt x="292" y="96"/>
                </a:lnTo>
                <a:lnTo>
                  <a:pt x="292" y="96"/>
                </a:lnTo>
                <a:lnTo>
                  <a:pt x="301" y="106"/>
                </a:lnTo>
                <a:lnTo>
                  <a:pt x="309" y="117"/>
                </a:lnTo>
                <a:lnTo>
                  <a:pt x="316" y="129"/>
                </a:lnTo>
                <a:lnTo>
                  <a:pt x="321" y="141"/>
                </a:lnTo>
                <a:lnTo>
                  <a:pt x="326" y="154"/>
                </a:lnTo>
                <a:lnTo>
                  <a:pt x="329" y="167"/>
                </a:lnTo>
                <a:lnTo>
                  <a:pt x="331" y="180"/>
                </a:lnTo>
                <a:lnTo>
                  <a:pt x="331" y="193"/>
                </a:lnTo>
                <a:lnTo>
                  <a:pt x="331" y="193"/>
                </a:lnTo>
                <a:lnTo>
                  <a:pt x="331" y="207"/>
                </a:lnTo>
                <a:lnTo>
                  <a:pt x="329" y="220"/>
                </a:lnTo>
                <a:lnTo>
                  <a:pt x="326" y="233"/>
                </a:lnTo>
                <a:lnTo>
                  <a:pt x="321" y="245"/>
                </a:lnTo>
                <a:lnTo>
                  <a:pt x="316" y="258"/>
                </a:lnTo>
                <a:lnTo>
                  <a:pt x="309" y="270"/>
                </a:lnTo>
                <a:lnTo>
                  <a:pt x="301" y="281"/>
                </a:lnTo>
                <a:lnTo>
                  <a:pt x="292" y="291"/>
                </a:lnTo>
                <a:lnTo>
                  <a:pt x="292" y="291"/>
                </a:lnTo>
                <a:lnTo>
                  <a:pt x="280" y="301"/>
                </a:lnTo>
                <a:lnTo>
                  <a:pt x="269" y="310"/>
                </a:lnTo>
                <a:lnTo>
                  <a:pt x="258" y="317"/>
                </a:lnTo>
                <a:lnTo>
                  <a:pt x="245" y="322"/>
                </a:lnTo>
                <a:lnTo>
                  <a:pt x="233" y="327"/>
                </a:lnTo>
                <a:lnTo>
                  <a:pt x="219" y="330"/>
                </a:lnTo>
                <a:lnTo>
                  <a:pt x="206" y="332"/>
                </a:lnTo>
                <a:lnTo>
                  <a:pt x="193" y="332"/>
                </a:lnTo>
                <a:lnTo>
                  <a:pt x="193" y="33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cxnSp>
        <p:nvCxnSpPr>
          <p:cNvPr id="24" name="Straight Connector 23">
            <a:extLst>
              <a:ext uri="{FF2B5EF4-FFF2-40B4-BE49-F238E27FC236}">
                <a16:creationId xmlns:a16="http://schemas.microsoft.com/office/drawing/2014/main" id="{9E968284-9084-4685-BD0F-30FB3BBAD520}"/>
              </a:ext>
            </a:extLst>
          </p:cNvPr>
          <p:cNvCxnSpPr/>
          <p:nvPr/>
        </p:nvCxnSpPr>
        <p:spPr>
          <a:xfrm>
            <a:off x="1561372" y="5786706"/>
            <a:ext cx="2011680"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29" name="Isosceles Triangle 28">
            <a:extLst>
              <a:ext uri="{FF2B5EF4-FFF2-40B4-BE49-F238E27FC236}">
                <a16:creationId xmlns:a16="http://schemas.microsoft.com/office/drawing/2014/main" id="{8D94425A-AE4C-41D8-AE8C-DAF7DADC9FB4}"/>
              </a:ext>
            </a:extLst>
          </p:cNvPr>
          <p:cNvSpPr/>
          <p:nvPr/>
        </p:nvSpPr>
        <p:spPr>
          <a:xfrm rot="5400000">
            <a:off x="4725720" y="4069735"/>
            <a:ext cx="2982829" cy="302151"/>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33" name="TextBox 32">
            <a:extLst>
              <a:ext uri="{FF2B5EF4-FFF2-40B4-BE49-F238E27FC236}">
                <a16:creationId xmlns:a16="http://schemas.microsoft.com/office/drawing/2014/main" id="{B3F56473-48FE-4BEB-BEE1-D64D78FDC04E}"/>
              </a:ext>
            </a:extLst>
          </p:cNvPr>
          <p:cNvSpPr txBox="1">
            <a:spLocks/>
          </p:cNvSpPr>
          <p:nvPr/>
        </p:nvSpPr>
        <p:spPr>
          <a:xfrm>
            <a:off x="7274726" y="4435913"/>
            <a:ext cx="4477301" cy="969496"/>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ea typeface="+mn-ea"/>
                <a:cs typeface="+mn-cs"/>
              </a:rPr>
              <a:t>Simulation Expertis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Proficiency in simulating materials, process, and performance lowers capital investment requirements for them and its customers</a:t>
            </a:r>
          </a:p>
        </p:txBody>
      </p:sp>
      <p:sp>
        <p:nvSpPr>
          <p:cNvPr id="35" name="Freeform 7">
            <a:extLst>
              <a:ext uri="{FF2B5EF4-FFF2-40B4-BE49-F238E27FC236}">
                <a16:creationId xmlns:a16="http://schemas.microsoft.com/office/drawing/2014/main" id="{7AE91F04-8651-4BD6-BF0A-026420851F1E}"/>
              </a:ext>
            </a:extLst>
          </p:cNvPr>
          <p:cNvSpPr>
            <a:spLocks noEditPoints="1"/>
          </p:cNvSpPr>
          <p:nvPr/>
        </p:nvSpPr>
        <p:spPr bwMode="auto">
          <a:xfrm>
            <a:off x="6662872" y="4660311"/>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sp>
        <p:nvSpPr>
          <p:cNvPr id="36" name="Freeform 26">
            <a:extLst>
              <a:ext uri="{FF2B5EF4-FFF2-40B4-BE49-F238E27FC236}">
                <a16:creationId xmlns:a16="http://schemas.microsoft.com/office/drawing/2014/main" id="{80425463-D765-4F21-8F8B-AEC022E0F752}"/>
              </a:ext>
            </a:extLst>
          </p:cNvPr>
          <p:cNvSpPr>
            <a:spLocks noEditPoints="1"/>
          </p:cNvSpPr>
          <p:nvPr/>
        </p:nvSpPr>
        <p:spPr bwMode="auto">
          <a:xfrm>
            <a:off x="6800958" y="4787290"/>
            <a:ext cx="243118" cy="270838"/>
          </a:xfrm>
          <a:custGeom>
            <a:avLst/>
            <a:gdLst>
              <a:gd name="T0" fmla="*/ 342 w 1308"/>
              <a:gd name="T1" fmla="*/ 1068 h 1182"/>
              <a:gd name="T2" fmla="*/ 356 w 1308"/>
              <a:gd name="T3" fmla="*/ 1040 h 1182"/>
              <a:gd name="T4" fmla="*/ 654 w 1308"/>
              <a:gd name="T5" fmla="*/ 1026 h 1182"/>
              <a:gd name="T6" fmla="*/ 940 w 1308"/>
              <a:gd name="T7" fmla="*/ 1032 h 1182"/>
              <a:gd name="T8" fmla="*/ 966 w 1308"/>
              <a:gd name="T9" fmla="*/ 1068 h 1182"/>
              <a:gd name="T10" fmla="*/ 850 w 1308"/>
              <a:gd name="T11" fmla="*/ 746 h 1182"/>
              <a:gd name="T12" fmla="*/ 744 w 1308"/>
              <a:gd name="T13" fmla="*/ 850 h 1182"/>
              <a:gd name="T14" fmla="*/ 722 w 1308"/>
              <a:gd name="T15" fmla="*/ 886 h 1182"/>
              <a:gd name="T16" fmla="*/ 738 w 1308"/>
              <a:gd name="T17" fmla="*/ 924 h 1182"/>
              <a:gd name="T18" fmla="*/ 804 w 1308"/>
              <a:gd name="T19" fmla="*/ 968 h 1182"/>
              <a:gd name="T20" fmla="*/ 820 w 1308"/>
              <a:gd name="T21" fmla="*/ 1012 h 1182"/>
              <a:gd name="T22" fmla="*/ 486 w 1308"/>
              <a:gd name="T23" fmla="*/ 1000 h 1182"/>
              <a:gd name="T24" fmla="*/ 546 w 1308"/>
              <a:gd name="T25" fmla="*/ 940 h 1182"/>
              <a:gd name="T26" fmla="*/ 582 w 1308"/>
              <a:gd name="T27" fmla="*/ 910 h 1182"/>
              <a:gd name="T28" fmla="*/ 578 w 1308"/>
              <a:gd name="T29" fmla="*/ 868 h 1182"/>
              <a:gd name="T30" fmla="*/ 532 w 1308"/>
              <a:gd name="T31" fmla="*/ 824 h 1182"/>
              <a:gd name="T32" fmla="*/ 396 w 1308"/>
              <a:gd name="T33" fmla="*/ 660 h 1182"/>
              <a:gd name="T34" fmla="*/ 244 w 1308"/>
              <a:gd name="T35" fmla="*/ 610 h 1182"/>
              <a:gd name="T36" fmla="*/ 88 w 1308"/>
              <a:gd name="T37" fmla="*/ 486 h 1182"/>
              <a:gd name="T38" fmla="*/ 6 w 1308"/>
              <a:gd name="T39" fmla="*/ 334 h 1182"/>
              <a:gd name="T40" fmla="*/ 8 w 1308"/>
              <a:gd name="T41" fmla="*/ 230 h 1182"/>
              <a:gd name="T42" fmla="*/ 56 w 1308"/>
              <a:gd name="T43" fmla="*/ 168 h 1182"/>
              <a:gd name="T44" fmla="*/ 166 w 1308"/>
              <a:gd name="T45" fmla="*/ 126 h 1182"/>
              <a:gd name="T46" fmla="*/ 234 w 1308"/>
              <a:gd name="T47" fmla="*/ 0 h 1182"/>
              <a:gd name="T48" fmla="*/ 1072 w 1308"/>
              <a:gd name="T49" fmla="*/ 124 h 1182"/>
              <a:gd name="T50" fmla="*/ 1194 w 1308"/>
              <a:gd name="T51" fmla="*/ 138 h 1182"/>
              <a:gd name="T52" fmla="*/ 1276 w 1308"/>
              <a:gd name="T53" fmla="*/ 192 h 1182"/>
              <a:gd name="T54" fmla="*/ 1308 w 1308"/>
              <a:gd name="T55" fmla="*/ 276 h 1182"/>
              <a:gd name="T56" fmla="*/ 1278 w 1308"/>
              <a:gd name="T57" fmla="*/ 394 h 1182"/>
              <a:gd name="T58" fmla="*/ 1164 w 1308"/>
              <a:gd name="T59" fmla="*/ 542 h 1182"/>
              <a:gd name="T60" fmla="*/ 990 w 1308"/>
              <a:gd name="T61" fmla="*/ 644 h 1182"/>
              <a:gd name="T62" fmla="*/ 550 w 1308"/>
              <a:gd name="T63" fmla="*/ 778 h 1182"/>
              <a:gd name="T64" fmla="*/ 392 w 1308"/>
              <a:gd name="T65" fmla="*/ 464 h 1182"/>
              <a:gd name="T66" fmla="*/ 344 w 1308"/>
              <a:gd name="T67" fmla="*/ 238 h 1182"/>
              <a:gd name="T68" fmla="*/ 346 w 1308"/>
              <a:gd name="T69" fmla="*/ 102 h 1182"/>
              <a:gd name="T70" fmla="*/ 324 w 1308"/>
              <a:gd name="T71" fmla="*/ 60 h 1182"/>
              <a:gd name="T72" fmla="*/ 302 w 1308"/>
              <a:gd name="T73" fmla="*/ 106 h 1182"/>
              <a:gd name="T74" fmla="*/ 300 w 1308"/>
              <a:gd name="T75" fmla="*/ 250 h 1182"/>
              <a:gd name="T76" fmla="*/ 348 w 1308"/>
              <a:gd name="T77" fmla="*/ 426 h 1182"/>
              <a:gd name="T78" fmla="*/ 478 w 1308"/>
              <a:gd name="T79" fmla="*/ 674 h 1182"/>
              <a:gd name="T80" fmla="*/ 70 w 1308"/>
              <a:gd name="T81" fmla="*/ 278 h 1182"/>
              <a:gd name="T82" fmla="*/ 88 w 1308"/>
              <a:gd name="T83" fmla="*/ 358 h 1182"/>
              <a:gd name="T84" fmla="*/ 168 w 1308"/>
              <a:gd name="T85" fmla="*/ 468 h 1182"/>
              <a:gd name="T86" fmla="*/ 292 w 1308"/>
              <a:gd name="T87" fmla="*/ 556 h 1182"/>
              <a:gd name="T88" fmla="*/ 314 w 1308"/>
              <a:gd name="T89" fmla="*/ 500 h 1182"/>
              <a:gd name="T90" fmla="*/ 248 w 1308"/>
              <a:gd name="T91" fmla="*/ 252 h 1182"/>
              <a:gd name="T92" fmla="*/ 154 w 1308"/>
              <a:gd name="T93" fmla="*/ 198 h 1182"/>
              <a:gd name="T94" fmla="*/ 86 w 1308"/>
              <a:gd name="T95" fmla="*/ 232 h 1182"/>
              <a:gd name="T96" fmla="*/ 70 w 1308"/>
              <a:gd name="T97" fmla="*/ 278 h 1182"/>
              <a:gd name="T98" fmla="*/ 1034 w 1308"/>
              <a:gd name="T99" fmla="*/ 360 h 1182"/>
              <a:gd name="T100" fmla="*/ 956 w 1308"/>
              <a:gd name="T101" fmla="*/ 578 h 1182"/>
              <a:gd name="T102" fmla="*/ 1066 w 1308"/>
              <a:gd name="T103" fmla="*/ 524 h 1182"/>
              <a:gd name="T104" fmla="*/ 1174 w 1308"/>
              <a:gd name="T105" fmla="*/ 424 h 1182"/>
              <a:gd name="T106" fmla="*/ 1230 w 1308"/>
              <a:gd name="T107" fmla="*/ 316 h 1182"/>
              <a:gd name="T108" fmla="*/ 1230 w 1308"/>
              <a:gd name="T109" fmla="*/ 252 h 1182"/>
              <a:gd name="T110" fmla="*/ 1188 w 1308"/>
              <a:gd name="T111" fmla="*/ 212 h 1182"/>
              <a:gd name="T112" fmla="*/ 1064 w 1308"/>
              <a:gd name="T113" fmla="*/ 194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08" h="1182">
                <a:moveTo>
                  <a:pt x="966" y="1068"/>
                </a:moveTo>
                <a:lnTo>
                  <a:pt x="966" y="1182"/>
                </a:lnTo>
                <a:lnTo>
                  <a:pt x="654" y="1182"/>
                </a:lnTo>
                <a:lnTo>
                  <a:pt x="342" y="1182"/>
                </a:lnTo>
                <a:lnTo>
                  <a:pt x="342" y="1068"/>
                </a:lnTo>
                <a:lnTo>
                  <a:pt x="342" y="1068"/>
                </a:lnTo>
                <a:lnTo>
                  <a:pt x="342" y="1062"/>
                </a:lnTo>
                <a:lnTo>
                  <a:pt x="346" y="1056"/>
                </a:lnTo>
                <a:lnTo>
                  <a:pt x="350" y="1048"/>
                </a:lnTo>
                <a:lnTo>
                  <a:pt x="356" y="1040"/>
                </a:lnTo>
                <a:lnTo>
                  <a:pt x="366" y="1032"/>
                </a:lnTo>
                <a:lnTo>
                  <a:pt x="380" y="1028"/>
                </a:lnTo>
                <a:lnTo>
                  <a:pt x="398" y="1026"/>
                </a:lnTo>
                <a:lnTo>
                  <a:pt x="398" y="1026"/>
                </a:lnTo>
                <a:lnTo>
                  <a:pt x="654" y="1026"/>
                </a:lnTo>
                <a:lnTo>
                  <a:pt x="654" y="1026"/>
                </a:lnTo>
                <a:lnTo>
                  <a:pt x="910" y="1026"/>
                </a:lnTo>
                <a:lnTo>
                  <a:pt x="910" y="1026"/>
                </a:lnTo>
                <a:lnTo>
                  <a:pt x="926" y="1028"/>
                </a:lnTo>
                <a:lnTo>
                  <a:pt x="940" y="1032"/>
                </a:lnTo>
                <a:lnTo>
                  <a:pt x="950" y="1040"/>
                </a:lnTo>
                <a:lnTo>
                  <a:pt x="956" y="1048"/>
                </a:lnTo>
                <a:lnTo>
                  <a:pt x="962" y="1056"/>
                </a:lnTo>
                <a:lnTo>
                  <a:pt x="964" y="1062"/>
                </a:lnTo>
                <a:lnTo>
                  <a:pt x="966" y="1068"/>
                </a:lnTo>
                <a:lnTo>
                  <a:pt x="966" y="1068"/>
                </a:lnTo>
                <a:close/>
                <a:moveTo>
                  <a:pt x="912" y="660"/>
                </a:moveTo>
                <a:lnTo>
                  <a:pt x="912" y="660"/>
                </a:lnTo>
                <a:lnTo>
                  <a:pt x="880" y="706"/>
                </a:lnTo>
                <a:lnTo>
                  <a:pt x="850" y="746"/>
                </a:lnTo>
                <a:lnTo>
                  <a:pt x="822" y="778"/>
                </a:lnTo>
                <a:lnTo>
                  <a:pt x="796" y="804"/>
                </a:lnTo>
                <a:lnTo>
                  <a:pt x="774" y="824"/>
                </a:lnTo>
                <a:lnTo>
                  <a:pt x="758" y="838"/>
                </a:lnTo>
                <a:lnTo>
                  <a:pt x="744" y="850"/>
                </a:lnTo>
                <a:lnTo>
                  <a:pt x="744" y="850"/>
                </a:lnTo>
                <a:lnTo>
                  <a:pt x="736" y="858"/>
                </a:lnTo>
                <a:lnTo>
                  <a:pt x="728" y="868"/>
                </a:lnTo>
                <a:lnTo>
                  <a:pt x="722" y="880"/>
                </a:lnTo>
                <a:lnTo>
                  <a:pt x="722" y="886"/>
                </a:lnTo>
                <a:lnTo>
                  <a:pt x="720" y="894"/>
                </a:lnTo>
                <a:lnTo>
                  <a:pt x="722" y="902"/>
                </a:lnTo>
                <a:lnTo>
                  <a:pt x="724" y="910"/>
                </a:lnTo>
                <a:lnTo>
                  <a:pt x="730" y="916"/>
                </a:lnTo>
                <a:lnTo>
                  <a:pt x="738" y="924"/>
                </a:lnTo>
                <a:lnTo>
                  <a:pt x="748" y="932"/>
                </a:lnTo>
                <a:lnTo>
                  <a:pt x="762" y="940"/>
                </a:lnTo>
                <a:lnTo>
                  <a:pt x="762" y="940"/>
                </a:lnTo>
                <a:lnTo>
                  <a:pt x="786" y="954"/>
                </a:lnTo>
                <a:lnTo>
                  <a:pt x="804" y="968"/>
                </a:lnTo>
                <a:lnTo>
                  <a:pt x="814" y="980"/>
                </a:lnTo>
                <a:lnTo>
                  <a:pt x="820" y="990"/>
                </a:lnTo>
                <a:lnTo>
                  <a:pt x="822" y="1000"/>
                </a:lnTo>
                <a:lnTo>
                  <a:pt x="822" y="1006"/>
                </a:lnTo>
                <a:lnTo>
                  <a:pt x="820" y="1012"/>
                </a:lnTo>
                <a:lnTo>
                  <a:pt x="654" y="1012"/>
                </a:lnTo>
                <a:lnTo>
                  <a:pt x="488" y="1012"/>
                </a:lnTo>
                <a:lnTo>
                  <a:pt x="488" y="1012"/>
                </a:lnTo>
                <a:lnTo>
                  <a:pt x="486" y="1006"/>
                </a:lnTo>
                <a:lnTo>
                  <a:pt x="486" y="1000"/>
                </a:lnTo>
                <a:lnTo>
                  <a:pt x="486" y="990"/>
                </a:lnTo>
                <a:lnTo>
                  <a:pt x="492" y="980"/>
                </a:lnTo>
                <a:lnTo>
                  <a:pt x="504" y="968"/>
                </a:lnTo>
                <a:lnTo>
                  <a:pt x="520" y="954"/>
                </a:lnTo>
                <a:lnTo>
                  <a:pt x="546" y="940"/>
                </a:lnTo>
                <a:lnTo>
                  <a:pt x="546" y="940"/>
                </a:lnTo>
                <a:lnTo>
                  <a:pt x="558" y="932"/>
                </a:lnTo>
                <a:lnTo>
                  <a:pt x="570" y="924"/>
                </a:lnTo>
                <a:lnTo>
                  <a:pt x="576" y="916"/>
                </a:lnTo>
                <a:lnTo>
                  <a:pt x="582" y="910"/>
                </a:lnTo>
                <a:lnTo>
                  <a:pt x="584" y="902"/>
                </a:lnTo>
                <a:lnTo>
                  <a:pt x="586" y="894"/>
                </a:lnTo>
                <a:lnTo>
                  <a:pt x="586" y="886"/>
                </a:lnTo>
                <a:lnTo>
                  <a:pt x="584" y="880"/>
                </a:lnTo>
                <a:lnTo>
                  <a:pt x="578" y="868"/>
                </a:lnTo>
                <a:lnTo>
                  <a:pt x="572" y="858"/>
                </a:lnTo>
                <a:lnTo>
                  <a:pt x="564" y="850"/>
                </a:lnTo>
                <a:lnTo>
                  <a:pt x="564" y="850"/>
                </a:lnTo>
                <a:lnTo>
                  <a:pt x="548" y="838"/>
                </a:lnTo>
                <a:lnTo>
                  <a:pt x="532" y="824"/>
                </a:lnTo>
                <a:lnTo>
                  <a:pt x="510" y="804"/>
                </a:lnTo>
                <a:lnTo>
                  <a:pt x="486" y="778"/>
                </a:lnTo>
                <a:lnTo>
                  <a:pt x="456" y="746"/>
                </a:lnTo>
                <a:lnTo>
                  <a:pt x="426" y="706"/>
                </a:lnTo>
                <a:lnTo>
                  <a:pt x="396" y="660"/>
                </a:lnTo>
                <a:lnTo>
                  <a:pt x="396" y="660"/>
                </a:lnTo>
                <a:lnTo>
                  <a:pt x="356" y="654"/>
                </a:lnTo>
                <a:lnTo>
                  <a:pt x="318" y="644"/>
                </a:lnTo>
                <a:lnTo>
                  <a:pt x="280" y="628"/>
                </a:lnTo>
                <a:lnTo>
                  <a:pt x="244" y="610"/>
                </a:lnTo>
                <a:lnTo>
                  <a:pt x="208" y="590"/>
                </a:lnTo>
                <a:lnTo>
                  <a:pt x="174" y="568"/>
                </a:lnTo>
                <a:lnTo>
                  <a:pt x="144" y="542"/>
                </a:lnTo>
                <a:lnTo>
                  <a:pt x="114" y="514"/>
                </a:lnTo>
                <a:lnTo>
                  <a:pt x="88" y="486"/>
                </a:lnTo>
                <a:lnTo>
                  <a:pt x="66" y="456"/>
                </a:lnTo>
                <a:lnTo>
                  <a:pt x="46" y="426"/>
                </a:lnTo>
                <a:lnTo>
                  <a:pt x="28" y="394"/>
                </a:lnTo>
                <a:lnTo>
                  <a:pt x="14" y="364"/>
                </a:lnTo>
                <a:lnTo>
                  <a:pt x="6" y="334"/>
                </a:lnTo>
                <a:lnTo>
                  <a:pt x="0" y="304"/>
                </a:lnTo>
                <a:lnTo>
                  <a:pt x="0" y="276"/>
                </a:lnTo>
                <a:lnTo>
                  <a:pt x="0" y="276"/>
                </a:lnTo>
                <a:lnTo>
                  <a:pt x="2" y="254"/>
                </a:lnTo>
                <a:lnTo>
                  <a:pt x="8" y="230"/>
                </a:lnTo>
                <a:lnTo>
                  <a:pt x="14" y="218"/>
                </a:lnTo>
                <a:lnTo>
                  <a:pt x="22" y="204"/>
                </a:lnTo>
                <a:lnTo>
                  <a:pt x="30" y="192"/>
                </a:lnTo>
                <a:lnTo>
                  <a:pt x="42" y="180"/>
                </a:lnTo>
                <a:lnTo>
                  <a:pt x="56" y="168"/>
                </a:lnTo>
                <a:lnTo>
                  <a:pt x="72" y="156"/>
                </a:lnTo>
                <a:lnTo>
                  <a:pt x="90" y="146"/>
                </a:lnTo>
                <a:lnTo>
                  <a:pt x="112" y="138"/>
                </a:lnTo>
                <a:lnTo>
                  <a:pt x="138" y="132"/>
                </a:lnTo>
                <a:lnTo>
                  <a:pt x="166" y="126"/>
                </a:lnTo>
                <a:lnTo>
                  <a:pt x="200" y="124"/>
                </a:lnTo>
                <a:lnTo>
                  <a:pt x="236" y="124"/>
                </a:lnTo>
                <a:lnTo>
                  <a:pt x="236" y="124"/>
                </a:lnTo>
                <a:lnTo>
                  <a:pt x="234" y="64"/>
                </a:lnTo>
                <a:lnTo>
                  <a:pt x="234" y="0"/>
                </a:lnTo>
                <a:lnTo>
                  <a:pt x="654" y="0"/>
                </a:lnTo>
                <a:lnTo>
                  <a:pt x="1072" y="0"/>
                </a:lnTo>
                <a:lnTo>
                  <a:pt x="1072" y="0"/>
                </a:lnTo>
                <a:lnTo>
                  <a:pt x="1074" y="64"/>
                </a:lnTo>
                <a:lnTo>
                  <a:pt x="1072" y="124"/>
                </a:lnTo>
                <a:lnTo>
                  <a:pt x="1072" y="124"/>
                </a:lnTo>
                <a:lnTo>
                  <a:pt x="1108" y="124"/>
                </a:lnTo>
                <a:lnTo>
                  <a:pt x="1140" y="126"/>
                </a:lnTo>
                <a:lnTo>
                  <a:pt x="1168" y="132"/>
                </a:lnTo>
                <a:lnTo>
                  <a:pt x="1194" y="138"/>
                </a:lnTo>
                <a:lnTo>
                  <a:pt x="1216" y="146"/>
                </a:lnTo>
                <a:lnTo>
                  <a:pt x="1236" y="156"/>
                </a:lnTo>
                <a:lnTo>
                  <a:pt x="1252" y="168"/>
                </a:lnTo>
                <a:lnTo>
                  <a:pt x="1266" y="180"/>
                </a:lnTo>
                <a:lnTo>
                  <a:pt x="1276" y="192"/>
                </a:lnTo>
                <a:lnTo>
                  <a:pt x="1286" y="204"/>
                </a:lnTo>
                <a:lnTo>
                  <a:pt x="1292" y="218"/>
                </a:lnTo>
                <a:lnTo>
                  <a:pt x="1298" y="230"/>
                </a:lnTo>
                <a:lnTo>
                  <a:pt x="1304" y="254"/>
                </a:lnTo>
                <a:lnTo>
                  <a:pt x="1308" y="276"/>
                </a:lnTo>
                <a:lnTo>
                  <a:pt x="1308" y="276"/>
                </a:lnTo>
                <a:lnTo>
                  <a:pt x="1306" y="304"/>
                </a:lnTo>
                <a:lnTo>
                  <a:pt x="1302" y="334"/>
                </a:lnTo>
                <a:lnTo>
                  <a:pt x="1292" y="364"/>
                </a:lnTo>
                <a:lnTo>
                  <a:pt x="1278" y="394"/>
                </a:lnTo>
                <a:lnTo>
                  <a:pt x="1262" y="426"/>
                </a:lnTo>
                <a:lnTo>
                  <a:pt x="1242" y="456"/>
                </a:lnTo>
                <a:lnTo>
                  <a:pt x="1218" y="486"/>
                </a:lnTo>
                <a:lnTo>
                  <a:pt x="1192" y="514"/>
                </a:lnTo>
                <a:lnTo>
                  <a:pt x="1164" y="542"/>
                </a:lnTo>
                <a:lnTo>
                  <a:pt x="1132" y="568"/>
                </a:lnTo>
                <a:lnTo>
                  <a:pt x="1098" y="590"/>
                </a:lnTo>
                <a:lnTo>
                  <a:pt x="1064" y="610"/>
                </a:lnTo>
                <a:lnTo>
                  <a:pt x="1028" y="628"/>
                </a:lnTo>
                <a:lnTo>
                  <a:pt x="990" y="644"/>
                </a:lnTo>
                <a:lnTo>
                  <a:pt x="950" y="654"/>
                </a:lnTo>
                <a:lnTo>
                  <a:pt x="912" y="660"/>
                </a:lnTo>
                <a:lnTo>
                  <a:pt x="912" y="660"/>
                </a:lnTo>
                <a:close/>
                <a:moveTo>
                  <a:pt x="550" y="778"/>
                </a:moveTo>
                <a:lnTo>
                  <a:pt x="550" y="778"/>
                </a:lnTo>
                <a:lnTo>
                  <a:pt x="506" y="708"/>
                </a:lnTo>
                <a:lnTo>
                  <a:pt x="470" y="642"/>
                </a:lnTo>
                <a:lnTo>
                  <a:pt x="440" y="580"/>
                </a:lnTo>
                <a:lnTo>
                  <a:pt x="414" y="520"/>
                </a:lnTo>
                <a:lnTo>
                  <a:pt x="392" y="464"/>
                </a:lnTo>
                <a:lnTo>
                  <a:pt x="376" y="412"/>
                </a:lnTo>
                <a:lnTo>
                  <a:pt x="364" y="362"/>
                </a:lnTo>
                <a:lnTo>
                  <a:pt x="354" y="316"/>
                </a:lnTo>
                <a:lnTo>
                  <a:pt x="348" y="276"/>
                </a:lnTo>
                <a:lnTo>
                  <a:pt x="344" y="238"/>
                </a:lnTo>
                <a:lnTo>
                  <a:pt x="342" y="204"/>
                </a:lnTo>
                <a:lnTo>
                  <a:pt x="340" y="176"/>
                </a:lnTo>
                <a:lnTo>
                  <a:pt x="342" y="130"/>
                </a:lnTo>
                <a:lnTo>
                  <a:pt x="346" y="102"/>
                </a:lnTo>
                <a:lnTo>
                  <a:pt x="346" y="102"/>
                </a:lnTo>
                <a:lnTo>
                  <a:pt x="346" y="86"/>
                </a:lnTo>
                <a:lnTo>
                  <a:pt x="342" y="74"/>
                </a:lnTo>
                <a:lnTo>
                  <a:pt x="338" y="64"/>
                </a:lnTo>
                <a:lnTo>
                  <a:pt x="332" y="60"/>
                </a:lnTo>
                <a:lnTo>
                  <a:pt x="324" y="60"/>
                </a:lnTo>
                <a:lnTo>
                  <a:pt x="318" y="64"/>
                </a:lnTo>
                <a:lnTo>
                  <a:pt x="312" y="70"/>
                </a:lnTo>
                <a:lnTo>
                  <a:pt x="308" y="78"/>
                </a:lnTo>
                <a:lnTo>
                  <a:pt x="308" y="78"/>
                </a:lnTo>
                <a:lnTo>
                  <a:pt x="302" y="106"/>
                </a:lnTo>
                <a:lnTo>
                  <a:pt x="298" y="134"/>
                </a:lnTo>
                <a:lnTo>
                  <a:pt x="296" y="162"/>
                </a:lnTo>
                <a:lnTo>
                  <a:pt x="296" y="192"/>
                </a:lnTo>
                <a:lnTo>
                  <a:pt x="296" y="220"/>
                </a:lnTo>
                <a:lnTo>
                  <a:pt x="300" y="250"/>
                </a:lnTo>
                <a:lnTo>
                  <a:pt x="306" y="280"/>
                </a:lnTo>
                <a:lnTo>
                  <a:pt x="312" y="310"/>
                </a:lnTo>
                <a:lnTo>
                  <a:pt x="320" y="340"/>
                </a:lnTo>
                <a:lnTo>
                  <a:pt x="328" y="368"/>
                </a:lnTo>
                <a:lnTo>
                  <a:pt x="348" y="426"/>
                </a:lnTo>
                <a:lnTo>
                  <a:pt x="372" y="484"/>
                </a:lnTo>
                <a:lnTo>
                  <a:pt x="398" y="536"/>
                </a:lnTo>
                <a:lnTo>
                  <a:pt x="426" y="586"/>
                </a:lnTo>
                <a:lnTo>
                  <a:pt x="452" y="632"/>
                </a:lnTo>
                <a:lnTo>
                  <a:pt x="478" y="674"/>
                </a:lnTo>
                <a:lnTo>
                  <a:pt x="500" y="708"/>
                </a:lnTo>
                <a:lnTo>
                  <a:pt x="536" y="760"/>
                </a:lnTo>
                <a:lnTo>
                  <a:pt x="550" y="778"/>
                </a:lnTo>
                <a:lnTo>
                  <a:pt x="550" y="778"/>
                </a:lnTo>
                <a:close/>
                <a:moveTo>
                  <a:pt x="70" y="278"/>
                </a:moveTo>
                <a:lnTo>
                  <a:pt x="70" y="278"/>
                </a:lnTo>
                <a:lnTo>
                  <a:pt x="70" y="296"/>
                </a:lnTo>
                <a:lnTo>
                  <a:pt x="74" y="316"/>
                </a:lnTo>
                <a:lnTo>
                  <a:pt x="80" y="336"/>
                </a:lnTo>
                <a:lnTo>
                  <a:pt x="88" y="358"/>
                </a:lnTo>
                <a:lnTo>
                  <a:pt x="100" y="380"/>
                </a:lnTo>
                <a:lnTo>
                  <a:pt x="114" y="402"/>
                </a:lnTo>
                <a:lnTo>
                  <a:pt x="130" y="424"/>
                </a:lnTo>
                <a:lnTo>
                  <a:pt x="148" y="446"/>
                </a:lnTo>
                <a:lnTo>
                  <a:pt x="168" y="468"/>
                </a:lnTo>
                <a:lnTo>
                  <a:pt x="190" y="488"/>
                </a:lnTo>
                <a:lnTo>
                  <a:pt x="212" y="506"/>
                </a:lnTo>
                <a:lnTo>
                  <a:pt x="238" y="524"/>
                </a:lnTo>
                <a:lnTo>
                  <a:pt x="264" y="542"/>
                </a:lnTo>
                <a:lnTo>
                  <a:pt x="292" y="556"/>
                </a:lnTo>
                <a:lnTo>
                  <a:pt x="320" y="568"/>
                </a:lnTo>
                <a:lnTo>
                  <a:pt x="348" y="578"/>
                </a:lnTo>
                <a:lnTo>
                  <a:pt x="348" y="578"/>
                </a:lnTo>
                <a:lnTo>
                  <a:pt x="330" y="540"/>
                </a:lnTo>
                <a:lnTo>
                  <a:pt x="314" y="500"/>
                </a:lnTo>
                <a:lnTo>
                  <a:pt x="298" y="456"/>
                </a:lnTo>
                <a:lnTo>
                  <a:pt x="282" y="410"/>
                </a:lnTo>
                <a:lnTo>
                  <a:pt x="268" y="360"/>
                </a:lnTo>
                <a:lnTo>
                  <a:pt x="258" y="308"/>
                </a:lnTo>
                <a:lnTo>
                  <a:pt x="248" y="252"/>
                </a:lnTo>
                <a:lnTo>
                  <a:pt x="240" y="194"/>
                </a:lnTo>
                <a:lnTo>
                  <a:pt x="240" y="194"/>
                </a:lnTo>
                <a:lnTo>
                  <a:pt x="210" y="192"/>
                </a:lnTo>
                <a:lnTo>
                  <a:pt x="182" y="194"/>
                </a:lnTo>
                <a:lnTo>
                  <a:pt x="154" y="198"/>
                </a:lnTo>
                <a:lnTo>
                  <a:pt x="128" y="206"/>
                </a:lnTo>
                <a:lnTo>
                  <a:pt x="116" y="212"/>
                </a:lnTo>
                <a:lnTo>
                  <a:pt x="104" y="218"/>
                </a:lnTo>
                <a:lnTo>
                  <a:pt x="96" y="224"/>
                </a:lnTo>
                <a:lnTo>
                  <a:pt x="86" y="232"/>
                </a:lnTo>
                <a:lnTo>
                  <a:pt x="80" y="242"/>
                </a:lnTo>
                <a:lnTo>
                  <a:pt x="74" y="252"/>
                </a:lnTo>
                <a:lnTo>
                  <a:pt x="70" y="264"/>
                </a:lnTo>
                <a:lnTo>
                  <a:pt x="70" y="278"/>
                </a:lnTo>
                <a:lnTo>
                  <a:pt x="70" y="278"/>
                </a:lnTo>
                <a:close/>
                <a:moveTo>
                  <a:pt x="1064" y="194"/>
                </a:moveTo>
                <a:lnTo>
                  <a:pt x="1064" y="194"/>
                </a:lnTo>
                <a:lnTo>
                  <a:pt x="1056" y="252"/>
                </a:lnTo>
                <a:lnTo>
                  <a:pt x="1046" y="308"/>
                </a:lnTo>
                <a:lnTo>
                  <a:pt x="1034" y="360"/>
                </a:lnTo>
                <a:lnTo>
                  <a:pt x="1022" y="410"/>
                </a:lnTo>
                <a:lnTo>
                  <a:pt x="1006" y="456"/>
                </a:lnTo>
                <a:lnTo>
                  <a:pt x="990" y="500"/>
                </a:lnTo>
                <a:lnTo>
                  <a:pt x="974" y="540"/>
                </a:lnTo>
                <a:lnTo>
                  <a:pt x="956" y="578"/>
                </a:lnTo>
                <a:lnTo>
                  <a:pt x="956" y="578"/>
                </a:lnTo>
                <a:lnTo>
                  <a:pt x="984" y="568"/>
                </a:lnTo>
                <a:lnTo>
                  <a:pt x="1012" y="556"/>
                </a:lnTo>
                <a:lnTo>
                  <a:pt x="1040" y="542"/>
                </a:lnTo>
                <a:lnTo>
                  <a:pt x="1066" y="524"/>
                </a:lnTo>
                <a:lnTo>
                  <a:pt x="1090" y="506"/>
                </a:lnTo>
                <a:lnTo>
                  <a:pt x="1114" y="488"/>
                </a:lnTo>
                <a:lnTo>
                  <a:pt x="1136" y="468"/>
                </a:lnTo>
                <a:lnTo>
                  <a:pt x="1156" y="446"/>
                </a:lnTo>
                <a:lnTo>
                  <a:pt x="1174" y="424"/>
                </a:lnTo>
                <a:lnTo>
                  <a:pt x="1190" y="402"/>
                </a:lnTo>
                <a:lnTo>
                  <a:pt x="1204" y="380"/>
                </a:lnTo>
                <a:lnTo>
                  <a:pt x="1216" y="358"/>
                </a:lnTo>
                <a:lnTo>
                  <a:pt x="1224" y="336"/>
                </a:lnTo>
                <a:lnTo>
                  <a:pt x="1230" y="316"/>
                </a:lnTo>
                <a:lnTo>
                  <a:pt x="1234" y="296"/>
                </a:lnTo>
                <a:lnTo>
                  <a:pt x="1234" y="278"/>
                </a:lnTo>
                <a:lnTo>
                  <a:pt x="1234" y="278"/>
                </a:lnTo>
                <a:lnTo>
                  <a:pt x="1234" y="264"/>
                </a:lnTo>
                <a:lnTo>
                  <a:pt x="1230" y="252"/>
                </a:lnTo>
                <a:lnTo>
                  <a:pt x="1224" y="242"/>
                </a:lnTo>
                <a:lnTo>
                  <a:pt x="1218" y="232"/>
                </a:lnTo>
                <a:lnTo>
                  <a:pt x="1208" y="224"/>
                </a:lnTo>
                <a:lnTo>
                  <a:pt x="1200" y="218"/>
                </a:lnTo>
                <a:lnTo>
                  <a:pt x="1188" y="212"/>
                </a:lnTo>
                <a:lnTo>
                  <a:pt x="1176" y="206"/>
                </a:lnTo>
                <a:lnTo>
                  <a:pt x="1150" y="198"/>
                </a:lnTo>
                <a:lnTo>
                  <a:pt x="1122" y="194"/>
                </a:lnTo>
                <a:lnTo>
                  <a:pt x="1092" y="192"/>
                </a:lnTo>
                <a:lnTo>
                  <a:pt x="1064" y="194"/>
                </a:lnTo>
                <a:lnTo>
                  <a:pt x="1064" y="19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cxnSp>
        <p:nvCxnSpPr>
          <p:cNvPr id="32" name="Straight Connector 31">
            <a:extLst>
              <a:ext uri="{FF2B5EF4-FFF2-40B4-BE49-F238E27FC236}">
                <a16:creationId xmlns:a16="http://schemas.microsoft.com/office/drawing/2014/main" id="{3B377012-10F1-492D-9354-4C9C82721FE2}"/>
              </a:ext>
            </a:extLst>
          </p:cNvPr>
          <p:cNvCxnSpPr/>
          <p:nvPr/>
        </p:nvCxnSpPr>
        <p:spPr>
          <a:xfrm>
            <a:off x="7364297" y="4745963"/>
            <a:ext cx="2011680"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7B494755-80EC-424F-915B-AA62892C57EF}"/>
              </a:ext>
            </a:extLst>
          </p:cNvPr>
          <p:cNvSpPr txBox="1">
            <a:spLocks/>
          </p:cNvSpPr>
          <p:nvPr/>
        </p:nvSpPr>
        <p:spPr>
          <a:xfrm>
            <a:off x="7274727" y="3392729"/>
            <a:ext cx="4340742" cy="969496"/>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ea typeface="+mn-ea"/>
                <a:cs typeface="+mn-cs"/>
              </a:rPr>
              <a:t>Breadth of Applications</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Superior material development and build knowledge enables co-development with customers (which polymers or areas?)</a:t>
            </a:r>
          </a:p>
        </p:txBody>
      </p:sp>
      <p:sp>
        <p:nvSpPr>
          <p:cNvPr id="43" name="Freeform 7">
            <a:extLst>
              <a:ext uri="{FF2B5EF4-FFF2-40B4-BE49-F238E27FC236}">
                <a16:creationId xmlns:a16="http://schemas.microsoft.com/office/drawing/2014/main" id="{14006117-0419-4852-9DAF-69AB81A03B42}"/>
              </a:ext>
            </a:extLst>
          </p:cNvPr>
          <p:cNvSpPr>
            <a:spLocks noEditPoints="1"/>
          </p:cNvSpPr>
          <p:nvPr/>
        </p:nvSpPr>
        <p:spPr bwMode="auto">
          <a:xfrm>
            <a:off x="6662872" y="3524794"/>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sp>
        <p:nvSpPr>
          <p:cNvPr id="41" name="Freeform 14">
            <a:extLst>
              <a:ext uri="{FF2B5EF4-FFF2-40B4-BE49-F238E27FC236}">
                <a16:creationId xmlns:a16="http://schemas.microsoft.com/office/drawing/2014/main" id="{6482F2FC-D381-4BEB-A073-FCB229B332C3}"/>
              </a:ext>
            </a:extLst>
          </p:cNvPr>
          <p:cNvSpPr>
            <a:spLocks noEditPoints="1"/>
          </p:cNvSpPr>
          <p:nvPr/>
        </p:nvSpPr>
        <p:spPr bwMode="auto">
          <a:xfrm>
            <a:off x="6803972" y="3651801"/>
            <a:ext cx="243118" cy="270838"/>
          </a:xfrm>
          <a:custGeom>
            <a:avLst/>
            <a:gdLst>
              <a:gd name="T0" fmla="*/ 818 w 956"/>
              <a:gd name="T1" fmla="*/ 148 h 782"/>
              <a:gd name="T2" fmla="*/ 812 w 956"/>
              <a:gd name="T3" fmla="*/ 120 h 782"/>
              <a:gd name="T4" fmla="*/ 794 w 956"/>
              <a:gd name="T5" fmla="*/ 104 h 782"/>
              <a:gd name="T6" fmla="*/ 778 w 956"/>
              <a:gd name="T7" fmla="*/ 100 h 782"/>
              <a:gd name="T8" fmla="*/ 188 w 956"/>
              <a:gd name="T9" fmla="*/ 98 h 782"/>
              <a:gd name="T10" fmla="*/ 180 w 956"/>
              <a:gd name="T11" fmla="*/ 100 h 782"/>
              <a:gd name="T12" fmla="*/ 162 w 956"/>
              <a:gd name="T13" fmla="*/ 104 h 782"/>
              <a:gd name="T14" fmla="*/ 146 w 956"/>
              <a:gd name="T15" fmla="*/ 120 h 782"/>
              <a:gd name="T16" fmla="*/ 138 w 956"/>
              <a:gd name="T17" fmla="*/ 148 h 782"/>
              <a:gd name="T18" fmla="*/ 818 w 956"/>
              <a:gd name="T19" fmla="*/ 196 h 782"/>
              <a:gd name="T20" fmla="*/ 672 w 956"/>
              <a:gd name="T21" fmla="*/ 0 h 782"/>
              <a:gd name="T22" fmla="*/ 284 w 956"/>
              <a:gd name="T23" fmla="*/ 0 h 782"/>
              <a:gd name="T24" fmla="*/ 268 w 956"/>
              <a:gd name="T25" fmla="*/ 4 h 782"/>
              <a:gd name="T26" fmla="*/ 252 w 956"/>
              <a:gd name="T27" fmla="*/ 12 h 782"/>
              <a:gd name="T28" fmla="*/ 238 w 956"/>
              <a:gd name="T29" fmla="*/ 34 h 782"/>
              <a:gd name="T30" fmla="*/ 722 w 956"/>
              <a:gd name="T31" fmla="*/ 50 h 782"/>
              <a:gd name="T32" fmla="*/ 720 w 956"/>
              <a:gd name="T33" fmla="*/ 34 h 782"/>
              <a:gd name="T34" fmla="*/ 706 w 956"/>
              <a:gd name="T35" fmla="*/ 12 h 782"/>
              <a:gd name="T36" fmla="*/ 688 w 956"/>
              <a:gd name="T37" fmla="*/ 4 h 782"/>
              <a:gd name="T38" fmla="*/ 672 w 956"/>
              <a:gd name="T39" fmla="*/ 0 h 782"/>
              <a:gd name="T40" fmla="*/ 916 w 956"/>
              <a:gd name="T41" fmla="*/ 196 h 782"/>
              <a:gd name="T42" fmla="*/ 888 w 956"/>
              <a:gd name="T43" fmla="*/ 168 h 782"/>
              <a:gd name="T44" fmla="*/ 70 w 956"/>
              <a:gd name="T45" fmla="*/ 246 h 782"/>
              <a:gd name="T46" fmla="*/ 70 w 956"/>
              <a:gd name="T47" fmla="*/ 168 h 782"/>
              <a:gd name="T48" fmla="*/ 42 w 956"/>
              <a:gd name="T49" fmla="*/ 196 h 782"/>
              <a:gd name="T50" fmla="*/ 14 w 956"/>
              <a:gd name="T51" fmla="*/ 224 h 782"/>
              <a:gd name="T52" fmla="*/ 2 w 956"/>
              <a:gd name="T53" fmla="*/ 244 h 782"/>
              <a:gd name="T54" fmla="*/ 0 w 956"/>
              <a:gd name="T55" fmla="*/ 274 h 782"/>
              <a:gd name="T56" fmla="*/ 4 w 956"/>
              <a:gd name="T57" fmla="*/ 294 h 782"/>
              <a:gd name="T58" fmla="*/ 80 w 956"/>
              <a:gd name="T59" fmla="*/ 734 h 782"/>
              <a:gd name="T60" fmla="*/ 84 w 956"/>
              <a:gd name="T61" fmla="*/ 750 h 782"/>
              <a:gd name="T62" fmla="*/ 102 w 956"/>
              <a:gd name="T63" fmla="*/ 770 h 782"/>
              <a:gd name="T64" fmla="*/ 122 w 956"/>
              <a:gd name="T65" fmla="*/ 780 h 782"/>
              <a:gd name="T66" fmla="*/ 138 w 956"/>
              <a:gd name="T67" fmla="*/ 782 h 782"/>
              <a:gd name="T68" fmla="*/ 818 w 956"/>
              <a:gd name="T69" fmla="*/ 782 h 782"/>
              <a:gd name="T70" fmla="*/ 836 w 956"/>
              <a:gd name="T71" fmla="*/ 780 h 782"/>
              <a:gd name="T72" fmla="*/ 856 w 956"/>
              <a:gd name="T73" fmla="*/ 770 h 782"/>
              <a:gd name="T74" fmla="*/ 872 w 956"/>
              <a:gd name="T75" fmla="*/ 750 h 782"/>
              <a:gd name="T76" fmla="*/ 878 w 956"/>
              <a:gd name="T77" fmla="*/ 734 h 782"/>
              <a:gd name="T78" fmla="*/ 954 w 956"/>
              <a:gd name="T79" fmla="*/ 294 h 782"/>
              <a:gd name="T80" fmla="*/ 956 w 956"/>
              <a:gd name="T81" fmla="*/ 274 h 782"/>
              <a:gd name="T82" fmla="*/ 954 w 956"/>
              <a:gd name="T83" fmla="*/ 244 h 782"/>
              <a:gd name="T84" fmla="*/ 944 w 956"/>
              <a:gd name="T85" fmla="*/ 224 h 782"/>
              <a:gd name="T86" fmla="*/ 916 w 956"/>
              <a:gd name="T87" fmla="*/ 196 h 782"/>
              <a:gd name="T88" fmla="*/ 672 w 956"/>
              <a:gd name="T89" fmla="*/ 460 h 782"/>
              <a:gd name="T90" fmla="*/ 672 w 956"/>
              <a:gd name="T91" fmla="*/ 468 h 782"/>
              <a:gd name="T92" fmla="*/ 666 w 956"/>
              <a:gd name="T93" fmla="*/ 484 h 782"/>
              <a:gd name="T94" fmla="*/ 652 w 956"/>
              <a:gd name="T95" fmla="*/ 500 h 782"/>
              <a:gd name="T96" fmla="*/ 624 w 956"/>
              <a:gd name="T97" fmla="*/ 508 h 782"/>
              <a:gd name="T98" fmla="*/ 332 w 956"/>
              <a:gd name="T99" fmla="*/ 508 h 782"/>
              <a:gd name="T100" fmla="*/ 304 w 956"/>
              <a:gd name="T101" fmla="*/ 500 h 782"/>
              <a:gd name="T102" fmla="*/ 290 w 956"/>
              <a:gd name="T103" fmla="*/ 484 h 782"/>
              <a:gd name="T104" fmla="*/ 286 w 956"/>
              <a:gd name="T105" fmla="*/ 468 h 782"/>
              <a:gd name="T106" fmla="*/ 284 w 956"/>
              <a:gd name="T107" fmla="*/ 362 h 782"/>
              <a:gd name="T108" fmla="*/ 352 w 956"/>
              <a:gd name="T109" fmla="*/ 440 h 782"/>
              <a:gd name="T110" fmla="*/ 604 w 956"/>
              <a:gd name="T111" fmla="*/ 362 h 782"/>
              <a:gd name="T112" fmla="*/ 672 w 956"/>
              <a:gd name="T113" fmla="*/ 460 h 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56" h="782">
                <a:moveTo>
                  <a:pt x="818" y="148"/>
                </a:moveTo>
                <a:lnTo>
                  <a:pt x="818" y="148"/>
                </a:lnTo>
                <a:lnTo>
                  <a:pt x="816" y="132"/>
                </a:lnTo>
                <a:lnTo>
                  <a:pt x="812" y="120"/>
                </a:lnTo>
                <a:lnTo>
                  <a:pt x="804" y="110"/>
                </a:lnTo>
                <a:lnTo>
                  <a:pt x="794" y="104"/>
                </a:lnTo>
                <a:lnTo>
                  <a:pt x="786" y="102"/>
                </a:lnTo>
                <a:lnTo>
                  <a:pt x="778" y="100"/>
                </a:lnTo>
                <a:lnTo>
                  <a:pt x="770" y="98"/>
                </a:lnTo>
                <a:lnTo>
                  <a:pt x="188" y="98"/>
                </a:lnTo>
                <a:lnTo>
                  <a:pt x="188" y="98"/>
                </a:lnTo>
                <a:lnTo>
                  <a:pt x="180" y="100"/>
                </a:lnTo>
                <a:lnTo>
                  <a:pt x="172" y="102"/>
                </a:lnTo>
                <a:lnTo>
                  <a:pt x="162" y="104"/>
                </a:lnTo>
                <a:lnTo>
                  <a:pt x="154" y="110"/>
                </a:lnTo>
                <a:lnTo>
                  <a:pt x="146" y="120"/>
                </a:lnTo>
                <a:lnTo>
                  <a:pt x="140" y="132"/>
                </a:lnTo>
                <a:lnTo>
                  <a:pt x="138" y="148"/>
                </a:lnTo>
                <a:lnTo>
                  <a:pt x="138" y="196"/>
                </a:lnTo>
                <a:lnTo>
                  <a:pt x="818" y="196"/>
                </a:lnTo>
                <a:lnTo>
                  <a:pt x="818" y="148"/>
                </a:lnTo>
                <a:close/>
                <a:moveTo>
                  <a:pt x="672" y="0"/>
                </a:moveTo>
                <a:lnTo>
                  <a:pt x="284" y="0"/>
                </a:lnTo>
                <a:lnTo>
                  <a:pt x="284" y="0"/>
                </a:lnTo>
                <a:lnTo>
                  <a:pt x="276" y="2"/>
                </a:lnTo>
                <a:lnTo>
                  <a:pt x="268" y="4"/>
                </a:lnTo>
                <a:lnTo>
                  <a:pt x="260" y="8"/>
                </a:lnTo>
                <a:lnTo>
                  <a:pt x="252" y="12"/>
                </a:lnTo>
                <a:lnTo>
                  <a:pt x="244" y="22"/>
                </a:lnTo>
                <a:lnTo>
                  <a:pt x="238" y="34"/>
                </a:lnTo>
                <a:lnTo>
                  <a:pt x="236" y="50"/>
                </a:lnTo>
                <a:lnTo>
                  <a:pt x="722" y="50"/>
                </a:lnTo>
                <a:lnTo>
                  <a:pt x="722" y="50"/>
                </a:lnTo>
                <a:lnTo>
                  <a:pt x="720" y="34"/>
                </a:lnTo>
                <a:lnTo>
                  <a:pt x="714" y="22"/>
                </a:lnTo>
                <a:lnTo>
                  <a:pt x="706" y="12"/>
                </a:lnTo>
                <a:lnTo>
                  <a:pt x="698" y="8"/>
                </a:lnTo>
                <a:lnTo>
                  <a:pt x="688" y="4"/>
                </a:lnTo>
                <a:lnTo>
                  <a:pt x="680" y="2"/>
                </a:lnTo>
                <a:lnTo>
                  <a:pt x="672" y="0"/>
                </a:lnTo>
                <a:lnTo>
                  <a:pt x="672" y="0"/>
                </a:lnTo>
                <a:close/>
                <a:moveTo>
                  <a:pt x="916" y="196"/>
                </a:moveTo>
                <a:lnTo>
                  <a:pt x="916" y="196"/>
                </a:lnTo>
                <a:lnTo>
                  <a:pt x="888" y="168"/>
                </a:lnTo>
                <a:lnTo>
                  <a:pt x="888" y="246"/>
                </a:lnTo>
                <a:lnTo>
                  <a:pt x="70" y="246"/>
                </a:lnTo>
                <a:lnTo>
                  <a:pt x="70" y="168"/>
                </a:lnTo>
                <a:lnTo>
                  <a:pt x="70" y="168"/>
                </a:lnTo>
                <a:lnTo>
                  <a:pt x="42" y="196"/>
                </a:lnTo>
                <a:lnTo>
                  <a:pt x="42" y="196"/>
                </a:lnTo>
                <a:lnTo>
                  <a:pt x="22" y="216"/>
                </a:lnTo>
                <a:lnTo>
                  <a:pt x="14" y="224"/>
                </a:lnTo>
                <a:lnTo>
                  <a:pt x="8" y="232"/>
                </a:lnTo>
                <a:lnTo>
                  <a:pt x="2" y="244"/>
                </a:lnTo>
                <a:lnTo>
                  <a:pt x="0" y="256"/>
                </a:lnTo>
                <a:lnTo>
                  <a:pt x="0" y="274"/>
                </a:lnTo>
                <a:lnTo>
                  <a:pt x="4" y="294"/>
                </a:lnTo>
                <a:lnTo>
                  <a:pt x="4" y="294"/>
                </a:lnTo>
                <a:lnTo>
                  <a:pt x="42" y="520"/>
                </a:lnTo>
                <a:lnTo>
                  <a:pt x="80" y="734"/>
                </a:lnTo>
                <a:lnTo>
                  <a:pt x="80" y="734"/>
                </a:lnTo>
                <a:lnTo>
                  <a:pt x="84" y="750"/>
                </a:lnTo>
                <a:lnTo>
                  <a:pt x="92" y="762"/>
                </a:lnTo>
                <a:lnTo>
                  <a:pt x="102" y="770"/>
                </a:lnTo>
                <a:lnTo>
                  <a:pt x="112" y="776"/>
                </a:lnTo>
                <a:lnTo>
                  <a:pt x="122" y="780"/>
                </a:lnTo>
                <a:lnTo>
                  <a:pt x="130" y="782"/>
                </a:lnTo>
                <a:lnTo>
                  <a:pt x="138" y="782"/>
                </a:lnTo>
                <a:lnTo>
                  <a:pt x="818" y="782"/>
                </a:lnTo>
                <a:lnTo>
                  <a:pt x="818" y="782"/>
                </a:lnTo>
                <a:lnTo>
                  <a:pt x="826" y="782"/>
                </a:lnTo>
                <a:lnTo>
                  <a:pt x="836" y="780"/>
                </a:lnTo>
                <a:lnTo>
                  <a:pt x="844" y="776"/>
                </a:lnTo>
                <a:lnTo>
                  <a:pt x="856" y="770"/>
                </a:lnTo>
                <a:lnTo>
                  <a:pt x="864" y="762"/>
                </a:lnTo>
                <a:lnTo>
                  <a:pt x="872" y="750"/>
                </a:lnTo>
                <a:lnTo>
                  <a:pt x="878" y="734"/>
                </a:lnTo>
                <a:lnTo>
                  <a:pt x="878" y="734"/>
                </a:lnTo>
                <a:lnTo>
                  <a:pt x="914" y="520"/>
                </a:lnTo>
                <a:lnTo>
                  <a:pt x="954" y="294"/>
                </a:lnTo>
                <a:lnTo>
                  <a:pt x="954" y="294"/>
                </a:lnTo>
                <a:lnTo>
                  <a:pt x="956" y="274"/>
                </a:lnTo>
                <a:lnTo>
                  <a:pt x="956" y="256"/>
                </a:lnTo>
                <a:lnTo>
                  <a:pt x="954" y="244"/>
                </a:lnTo>
                <a:lnTo>
                  <a:pt x="950" y="232"/>
                </a:lnTo>
                <a:lnTo>
                  <a:pt x="944" y="224"/>
                </a:lnTo>
                <a:lnTo>
                  <a:pt x="936" y="216"/>
                </a:lnTo>
                <a:lnTo>
                  <a:pt x="916" y="196"/>
                </a:lnTo>
                <a:lnTo>
                  <a:pt x="916" y="196"/>
                </a:lnTo>
                <a:close/>
                <a:moveTo>
                  <a:pt x="672" y="460"/>
                </a:moveTo>
                <a:lnTo>
                  <a:pt x="672" y="460"/>
                </a:lnTo>
                <a:lnTo>
                  <a:pt x="672" y="468"/>
                </a:lnTo>
                <a:lnTo>
                  <a:pt x="670" y="476"/>
                </a:lnTo>
                <a:lnTo>
                  <a:pt x="666" y="484"/>
                </a:lnTo>
                <a:lnTo>
                  <a:pt x="662" y="494"/>
                </a:lnTo>
                <a:lnTo>
                  <a:pt x="652" y="500"/>
                </a:lnTo>
                <a:lnTo>
                  <a:pt x="640" y="506"/>
                </a:lnTo>
                <a:lnTo>
                  <a:pt x="624" y="508"/>
                </a:lnTo>
                <a:lnTo>
                  <a:pt x="332" y="508"/>
                </a:lnTo>
                <a:lnTo>
                  <a:pt x="332" y="508"/>
                </a:lnTo>
                <a:lnTo>
                  <a:pt x="316" y="506"/>
                </a:lnTo>
                <a:lnTo>
                  <a:pt x="304" y="500"/>
                </a:lnTo>
                <a:lnTo>
                  <a:pt x="296" y="494"/>
                </a:lnTo>
                <a:lnTo>
                  <a:pt x="290" y="484"/>
                </a:lnTo>
                <a:lnTo>
                  <a:pt x="286" y="476"/>
                </a:lnTo>
                <a:lnTo>
                  <a:pt x="286" y="468"/>
                </a:lnTo>
                <a:lnTo>
                  <a:pt x="284" y="460"/>
                </a:lnTo>
                <a:lnTo>
                  <a:pt x="284" y="362"/>
                </a:lnTo>
                <a:lnTo>
                  <a:pt x="352" y="362"/>
                </a:lnTo>
                <a:lnTo>
                  <a:pt x="352" y="440"/>
                </a:lnTo>
                <a:lnTo>
                  <a:pt x="604" y="440"/>
                </a:lnTo>
                <a:lnTo>
                  <a:pt x="604" y="362"/>
                </a:lnTo>
                <a:lnTo>
                  <a:pt x="672" y="362"/>
                </a:lnTo>
                <a:lnTo>
                  <a:pt x="672" y="4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cxnSp>
        <p:nvCxnSpPr>
          <p:cNvPr id="39" name="Straight Connector 38">
            <a:extLst>
              <a:ext uri="{FF2B5EF4-FFF2-40B4-BE49-F238E27FC236}">
                <a16:creationId xmlns:a16="http://schemas.microsoft.com/office/drawing/2014/main" id="{BB6FA8C9-DF5A-497F-8378-1C10B52D5133}"/>
              </a:ext>
            </a:extLst>
          </p:cNvPr>
          <p:cNvCxnSpPr/>
          <p:nvPr/>
        </p:nvCxnSpPr>
        <p:spPr>
          <a:xfrm>
            <a:off x="7364297" y="3702779"/>
            <a:ext cx="2011680"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50C1FD60-6D94-4177-B128-0FC87B9F8884}"/>
              </a:ext>
            </a:extLst>
          </p:cNvPr>
          <p:cNvCxnSpPr/>
          <p:nvPr/>
        </p:nvCxnSpPr>
        <p:spPr>
          <a:xfrm>
            <a:off x="1561372" y="4741081"/>
            <a:ext cx="2011680"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6978CD87-F83C-48DC-9932-453AB647C563}"/>
              </a:ext>
            </a:extLst>
          </p:cNvPr>
          <p:cNvSpPr txBox="1">
            <a:spLocks/>
          </p:cNvSpPr>
          <p:nvPr/>
        </p:nvSpPr>
        <p:spPr>
          <a:xfrm>
            <a:off x="1471802" y="4431031"/>
            <a:ext cx="4340742" cy="969496"/>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ea typeface="+mn-ea"/>
                <a:cs typeface="+mn-cs"/>
              </a:rPr>
              <a:t>Market Leadership</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Large installed capital base and footprint in all major markets, with a unique, market leading presence </a:t>
            </a:r>
            <a:r>
              <a:rPr lang="en-US" sz="1200" dirty="0">
                <a:solidFill>
                  <a:srgbClr val="000000"/>
                </a:solidFill>
              </a:rPr>
              <a:t>in </a:t>
            </a:r>
            <a:r>
              <a:rPr kumimoji="0" lang="en-US" sz="1200" b="0" i="0" u="none" strike="noStrike" kern="1200" cap="none" spc="0" normalizeH="0" baseline="0" noProof="0" dirty="0">
                <a:ln>
                  <a:noFill/>
                </a:ln>
                <a:solidFill>
                  <a:srgbClr val="000000"/>
                </a:solidFill>
                <a:effectLst/>
                <a:uLnTx/>
                <a:uFillTx/>
                <a:ea typeface="+mn-ea"/>
                <a:cs typeface="+mn-cs"/>
              </a:rPr>
              <a:t>the word</a:t>
            </a:r>
          </a:p>
        </p:txBody>
      </p:sp>
      <p:sp>
        <p:nvSpPr>
          <p:cNvPr id="49" name="Freeform 7">
            <a:extLst>
              <a:ext uri="{FF2B5EF4-FFF2-40B4-BE49-F238E27FC236}">
                <a16:creationId xmlns:a16="http://schemas.microsoft.com/office/drawing/2014/main" id="{04BE4987-0191-4E12-A22C-1BB1E70473FB}"/>
              </a:ext>
            </a:extLst>
          </p:cNvPr>
          <p:cNvSpPr>
            <a:spLocks noEditPoints="1"/>
          </p:cNvSpPr>
          <p:nvPr/>
        </p:nvSpPr>
        <p:spPr bwMode="auto">
          <a:xfrm>
            <a:off x="859947" y="4563096"/>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sp>
        <p:nvSpPr>
          <p:cNvPr id="50" name="Freeform 102">
            <a:extLst>
              <a:ext uri="{FF2B5EF4-FFF2-40B4-BE49-F238E27FC236}">
                <a16:creationId xmlns:a16="http://schemas.microsoft.com/office/drawing/2014/main" id="{41BD48E0-9E3B-4C37-9D9B-BEEB94C6C443}"/>
              </a:ext>
            </a:extLst>
          </p:cNvPr>
          <p:cNvSpPr>
            <a:spLocks noEditPoints="1"/>
          </p:cNvSpPr>
          <p:nvPr/>
        </p:nvSpPr>
        <p:spPr bwMode="auto">
          <a:xfrm>
            <a:off x="1005984" y="4685709"/>
            <a:ext cx="243118" cy="270838"/>
          </a:xfrm>
          <a:custGeom>
            <a:avLst/>
            <a:gdLst>
              <a:gd name="T0" fmla="*/ 72 w 426"/>
              <a:gd name="T1" fmla="*/ 66 h 426"/>
              <a:gd name="T2" fmla="*/ 116 w 426"/>
              <a:gd name="T3" fmla="*/ 49 h 426"/>
              <a:gd name="T4" fmla="*/ 154 w 426"/>
              <a:gd name="T5" fmla="*/ 46 h 426"/>
              <a:gd name="T6" fmla="*/ 189 w 426"/>
              <a:gd name="T7" fmla="*/ 43 h 426"/>
              <a:gd name="T8" fmla="*/ 185 w 426"/>
              <a:gd name="T9" fmla="*/ 53 h 426"/>
              <a:gd name="T10" fmla="*/ 166 w 426"/>
              <a:gd name="T11" fmla="*/ 61 h 426"/>
              <a:gd name="T12" fmla="*/ 184 w 426"/>
              <a:gd name="T13" fmla="*/ 90 h 426"/>
              <a:gd name="T14" fmla="*/ 191 w 426"/>
              <a:gd name="T15" fmla="*/ 62 h 426"/>
              <a:gd name="T16" fmla="*/ 227 w 426"/>
              <a:gd name="T17" fmla="*/ 68 h 426"/>
              <a:gd name="T18" fmla="*/ 252 w 426"/>
              <a:gd name="T19" fmla="*/ 91 h 426"/>
              <a:gd name="T20" fmla="*/ 225 w 426"/>
              <a:gd name="T21" fmla="*/ 82 h 426"/>
              <a:gd name="T22" fmla="*/ 230 w 426"/>
              <a:gd name="T23" fmla="*/ 99 h 426"/>
              <a:gd name="T24" fmla="*/ 224 w 426"/>
              <a:gd name="T25" fmla="*/ 107 h 426"/>
              <a:gd name="T26" fmla="*/ 203 w 426"/>
              <a:gd name="T27" fmla="*/ 156 h 426"/>
              <a:gd name="T28" fmla="*/ 193 w 426"/>
              <a:gd name="T29" fmla="*/ 172 h 426"/>
              <a:gd name="T30" fmla="*/ 159 w 426"/>
              <a:gd name="T31" fmla="*/ 171 h 426"/>
              <a:gd name="T32" fmla="*/ 182 w 426"/>
              <a:gd name="T33" fmla="*/ 198 h 426"/>
              <a:gd name="T34" fmla="*/ 205 w 426"/>
              <a:gd name="T35" fmla="*/ 231 h 426"/>
              <a:gd name="T36" fmla="*/ 198 w 426"/>
              <a:gd name="T37" fmla="*/ 252 h 426"/>
              <a:gd name="T38" fmla="*/ 153 w 426"/>
              <a:gd name="T39" fmla="*/ 225 h 426"/>
              <a:gd name="T40" fmla="*/ 118 w 426"/>
              <a:gd name="T41" fmla="*/ 207 h 426"/>
              <a:gd name="T42" fmla="*/ 92 w 426"/>
              <a:gd name="T43" fmla="*/ 168 h 426"/>
              <a:gd name="T44" fmla="*/ 80 w 426"/>
              <a:gd name="T45" fmla="*/ 174 h 426"/>
              <a:gd name="T46" fmla="*/ 76 w 426"/>
              <a:gd name="T47" fmla="*/ 122 h 426"/>
              <a:gd name="T48" fmla="*/ 88 w 426"/>
              <a:gd name="T49" fmla="*/ 96 h 426"/>
              <a:gd name="T50" fmla="*/ 63 w 426"/>
              <a:gd name="T51" fmla="*/ 86 h 426"/>
              <a:gd name="T52" fmla="*/ 0 w 426"/>
              <a:gd name="T53" fmla="*/ 213 h 426"/>
              <a:gd name="T54" fmla="*/ 213 w 426"/>
              <a:gd name="T55" fmla="*/ 0 h 426"/>
              <a:gd name="T56" fmla="*/ 203 w 426"/>
              <a:gd name="T57" fmla="*/ 39 h 426"/>
              <a:gd name="T58" fmla="*/ 154 w 426"/>
              <a:gd name="T59" fmla="*/ 26 h 426"/>
              <a:gd name="T60" fmla="*/ 206 w 426"/>
              <a:gd name="T61" fmla="*/ 11 h 426"/>
              <a:gd name="T62" fmla="*/ 238 w 426"/>
              <a:gd name="T63" fmla="*/ 54 h 426"/>
              <a:gd name="T64" fmla="*/ 247 w 426"/>
              <a:gd name="T65" fmla="*/ 25 h 426"/>
              <a:gd name="T66" fmla="*/ 247 w 426"/>
              <a:gd name="T67" fmla="*/ 198 h 426"/>
              <a:gd name="T68" fmla="*/ 274 w 426"/>
              <a:gd name="T69" fmla="*/ 186 h 426"/>
              <a:gd name="T70" fmla="*/ 247 w 426"/>
              <a:gd name="T71" fmla="*/ 198 h 426"/>
              <a:gd name="T72" fmla="*/ 234 w 426"/>
              <a:gd name="T73" fmla="*/ 188 h 426"/>
              <a:gd name="T74" fmla="*/ 210 w 426"/>
              <a:gd name="T75" fmla="*/ 193 h 426"/>
              <a:gd name="T76" fmla="*/ 242 w 426"/>
              <a:gd name="T77" fmla="*/ 209 h 426"/>
              <a:gd name="T78" fmla="*/ 353 w 426"/>
              <a:gd name="T79" fmla="*/ 345 h 426"/>
              <a:gd name="T80" fmla="*/ 284 w 426"/>
              <a:gd name="T81" fmla="*/ 389 h 426"/>
              <a:gd name="T82" fmla="*/ 233 w 426"/>
              <a:gd name="T83" fmla="*/ 416 h 426"/>
              <a:gd name="T84" fmla="*/ 202 w 426"/>
              <a:gd name="T85" fmla="*/ 421 h 426"/>
              <a:gd name="T86" fmla="*/ 248 w 426"/>
              <a:gd name="T87" fmla="*/ 376 h 426"/>
              <a:gd name="T88" fmla="*/ 239 w 426"/>
              <a:gd name="T89" fmla="*/ 320 h 426"/>
              <a:gd name="T90" fmla="*/ 231 w 426"/>
              <a:gd name="T91" fmla="*/ 248 h 426"/>
              <a:gd name="T92" fmla="*/ 282 w 426"/>
              <a:gd name="T93" fmla="*/ 219 h 426"/>
              <a:gd name="T94" fmla="*/ 360 w 426"/>
              <a:gd name="T95" fmla="*/ 227 h 426"/>
              <a:gd name="T96" fmla="*/ 409 w 426"/>
              <a:gd name="T97" fmla="*/ 25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26" h="426">
                <a:moveTo>
                  <a:pt x="213" y="0"/>
                </a:moveTo>
                <a:cubicBezTo>
                  <a:pt x="156" y="0"/>
                  <a:pt x="104" y="22"/>
                  <a:pt x="66" y="59"/>
                </a:cubicBezTo>
                <a:cubicBezTo>
                  <a:pt x="66" y="61"/>
                  <a:pt x="68" y="68"/>
                  <a:pt x="72" y="66"/>
                </a:cubicBezTo>
                <a:cubicBezTo>
                  <a:pt x="77" y="65"/>
                  <a:pt x="80" y="59"/>
                  <a:pt x="85" y="55"/>
                </a:cubicBezTo>
                <a:cubicBezTo>
                  <a:pt x="90" y="51"/>
                  <a:pt x="94" y="44"/>
                  <a:pt x="102" y="48"/>
                </a:cubicBezTo>
                <a:cubicBezTo>
                  <a:pt x="109" y="52"/>
                  <a:pt x="109" y="51"/>
                  <a:pt x="116" y="49"/>
                </a:cubicBezTo>
                <a:cubicBezTo>
                  <a:pt x="123" y="47"/>
                  <a:pt x="124" y="42"/>
                  <a:pt x="132" y="49"/>
                </a:cubicBezTo>
                <a:cubicBezTo>
                  <a:pt x="139" y="56"/>
                  <a:pt x="141" y="56"/>
                  <a:pt x="144" y="52"/>
                </a:cubicBezTo>
                <a:cubicBezTo>
                  <a:pt x="147" y="48"/>
                  <a:pt x="150" y="45"/>
                  <a:pt x="154" y="46"/>
                </a:cubicBezTo>
                <a:cubicBezTo>
                  <a:pt x="158" y="47"/>
                  <a:pt x="159" y="51"/>
                  <a:pt x="161" y="44"/>
                </a:cubicBezTo>
                <a:cubicBezTo>
                  <a:pt x="163" y="37"/>
                  <a:pt x="171" y="37"/>
                  <a:pt x="178" y="38"/>
                </a:cubicBezTo>
                <a:cubicBezTo>
                  <a:pt x="185" y="39"/>
                  <a:pt x="186" y="43"/>
                  <a:pt x="189" y="43"/>
                </a:cubicBezTo>
                <a:cubicBezTo>
                  <a:pt x="191" y="43"/>
                  <a:pt x="207" y="46"/>
                  <a:pt x="205" y="50"/>
                </a:cubicBezTo>
                <a:cubicBezTo>
                  <a:pt x="203" y="54"/>
                  <a:pt x="199" y="61"/>
                  <a:pt x="196" y="57"/>
                </a:cubicBezTo>
                <a:cubicBezTo>
                  <a:pt x="193" y="53"/>
                  <a:pt x="188" y="52"/>
                  <a:pt x="185" y="53"/>
                </a:cubicBezTo>
                <a:cubicBezTo>
                  <a:pt x="182" y="54"/>
                  <a:pt x="179" y="43"/>
                  <a:pt x="176" y="45"/>
                </a:cubicBezTo>
                <a:cubicBezTo>
                  <a:pt x="173" y="47"/>
                  <a:pt x="170" y="47"/>
                  <a:pt x="171" y="53"/>
                </a:cubicBezTo>
                <a:cubicBezTo>
                  <a:pt x="172" y="59"/>
                  <a:pt x="172" y="61"/>
                  <a:pt x="166" y="61"/>
                </a:cubicBezTo>
                <a:cubicBezTo>
                  <a:pt x="161" y="61"/>
                  <a:pt x="154" y="63"/>
                  <a:pt x="159" y="68"/>
                </a:cubicBezTo>
                <a:cubicBezTo>
                  <a:pt x="163" y="74"/>
                  <a:pt x="166" y="70"/>
                  <a:pt x="172" y="76"/>
                </a:cubicBezTo>
                <a:cubicBezTo>
                  <a:pt x="178" y="82"/>
                  <a:pt x="184" y="90"/>
                  <a:pt x="184" y="90"/>
                </a:cubicBezTo>
                <a:cubicBezTo>
                  <a:pt x="184" y="90"/>
                  <a:pt x="188" y="85"/>
                  <a:pt x="189" y="79"/>
                </a:cubicBezTo>
                <a:cubicBezTo>
                  <a:pt x="190" y="73"/>
                  <a:pt x="187" y="73"/>
                  <a:pt x="185" y="68"/>
                </a:cubicBezTo>
                <a:cubicBezTo>
                  <a:pt x="183" y="64"/>
                  <a:pt x="184" y="61"/>
                  <a:pt x="191" y="62"/>
                </a:cubicBezTo>
                <a:cubicBezTo>
                  <a:pt x="199" y="63"/>
                  <a:pt x="203" y="67"/>
                  <a:pt x="206" y="65"/>
                </a:cubicBezTo>
                <a:cubicBezTo>
                  <a:pt x="209" y="62"/>
                  <a:pt x="213" y="55"/>
                  <a:pt x="216" y="59"/>
                </a:cubicBezTo>
                <a:cubicBezTo>
                  <a:pt x="219" y="63"/>
                  <a:pt x="219" y="69"/>
                  <a:pt x="227" y="68"/>
                </a:cubicBezTo>
                <a:cubicBezTo>
                  <a:pt x="236" y="67"/>
                  <a:pt x="241" y="71"/>
                  <a:pt x="244" y="75"/>
                </a:cubicBezTo>
                <a:cubicBezTo>
                  <a:pt x="247" y="79"/>
                  <a:pt x="250" y="82"/>
                  <a:pt x="253" y="83"/>
                </a:cubicBezTo>
                <a:cubicBezTo>
                  <a:pt x="256" y="84"/>
                  <a:pt x="260" y="93"/>
                  <a:pt x="252" y="91"/>
                </a:cubicBezTo>
                <a:cubicBezTo>
                  <a:pt x="245" y="89"/>
                  <a:pt x="244" y="89"/>
                  <a:pt x="242" y="92"/>
                </a:cubicBezTo>
                <a:cubicBezTo>
                  <a:pt x="240" y="94"/>
                  <a:pt x="235" y="92"/>
                  <a:pt x="235" y="87"/>
                </a:cubicBezTo>
                <a:cubicBezTo>
                  <a:pt x="235" y="82"/>
                  <a:pt x="233" y="79"/>
                  <a:pt x="225" y="82"/>
                </a:cubicBezTo>
                <a:cubicBezTo>
                  <a:pt x="218" y="85"/>
                  <a:pt x="202" y="89"/>
                  <a:pt x="215" y="91"/>
                </a:cubicBezTo>
                <a:cubicBezTo>
                  <a:pt x="227" y="93"/>
                  <a:pt x="227" y="93"/>
                  <a:pt x="227" y="93"/>
                </a:cubicBezTo>
                <a:cubicBezTo>
                  <a:pt x="227" y="93"/>
                  <a:pt x="227" y="99"/>
                  <a:pt x="230" y="99"/>
                </a:cubicBezTo>
                <a:cubicBezTo>
                  <a:pt x="230" y="99"/>
                  <a:pt x="244" y="94"/>
                  <a:pt x="243" y="99"/>
                </a:cubicBezTo>
                <a:cubicBezTo>
                  <a:pt x="242" y="104"/>
                  <a:pt x="234" y="114"/>
                  <a:pt x="230" y="114"/>
                </a:cubicBezTo>
                <a:cubicBezTo>
                  <a:pt x="226" y="114"/>
                  <a:pt x="227" y="103"/>
                  <a:pt x="224" y="107"/>
                </a:cubicBezTo>
                <a:cubicBezTo>
                  <a:pt x="221" y="111"/>
                  <a:pt x="214" y="120"/>
                  <a:pt x="213" y="124"/>
                </a:cubicBezTo>
                <a:cubicBezTo>
                  <a:pt x="212" y="129"/>
                  <a:pt x="208" y="133"/>
                  <a:pt x="210" y="139"/>
                </a:cubicBezTo>
                <a:cubicBezTo>
                  <a:pt x="212" y="145"/>
                  <a:pt x="208" y="152"/>
                  <a:pt x="203" y="156"/>
                </a:cubicBezTo>
                <a:cubicBezTo>
                  <a:pt x="198" y="160"/>
                  <a:pt x="197" y="164"/>
                  <a:pt x="201" y="169"/>
                </a:cubicBezTo>
                <a:cubicBezTo>
                  <a:pt x="205" y="174"/>
                  <a:pt x="206" y="180"/>
                  <a:pt x="203" y="182"/>
                </a:cubicBezTo>
                <a:cubicBezTo>
                  <a:pt x="200" y="184"/>
                  <a:pt x="195" y="178"/>
                  <a:pt x="193" y="172"/>
                </a:cubicBezTo>
                <a:cubicBezTo>
                  <a:pt x="191" y="165"/>
                  <a:pt x="191" y="161"/>
                  <a:pt x="184" y="163"/>
                </a:cubicBezTo>
                <a:cubicBezTo>
                  <a:pt x="177" y="165"/>
                  <a:pt x="176" y="166"/>
                  <a:pt x="171" y="169"/>
                </a:cubicBezTo>
                <a:cubicBezTo>
                  <a:pt x="166" y="172"/>
                  <a:pt x="163" y="171"/>
                  <a:pt x="159" y="171"/>
                </a:cubicBezTo>
                <a:cubicBezTo>
                  <a:pt x="154" y="171"/>
                  <a:pt x="143" y="173"/>
                  <a:pt x="144" y="181"/>
                </a:cubicBezTo>
                <a:cubicBezTo>
                  <a:pt x="145" y="190"/>
                  <a:pt x="151" y="209"/>
                  <a:pt x="160" y="206"/>
                </a:cubicBezTo>
                <a:cubicBezTo>
                  <a:pt x="168" y="202"/>
                  <a:pt x="175" y="192"/>
                  <a:pt x="182" y="198"/>
                </a:cubicBezTo>
                <a:cubicBezTo>
                  <a:pt x="189" y="204"/>
                  <a:pt x="191" y="204"/>
                  <a:pt x="191" y="209"/>
                </a:cubicBezTo>
                <a:cubicBezTo>
                  <a:pt x="192" y="215"/>
                  <a:pt x="191" y="211"/>
                  <a:pt x="196" y="215"/>
                </a:cubicBezTo>
                <a:cubicBezTo>
                  <a:pt x="201" y="219"/>
                  <a:pt x="206" y="226"/>
                  <a:pt x="205" y="231"/>
                </a:cubicBezTo>
                <a:cubicBezTo>
                  <a:pt x="204" y="235"/>
                  <a:pt x="206" y="240"/>
                  <a:pt x="212" y="237"/>
                </a:cubicBezTo>
                <a:cubicBezTo>
                  <a:pt x="218" y="234"/>
                  <a:pt x="231" y="230"/>
                  <a:pt x="227" y="235"/>
                </a:cubicBezTo>
                <a:cubicBezTo>
                  <a:pt x="223" y="241"/>
                  <a:pt x="204" y="257"/>
                  <a:pt x="198" y="252"/>
                </a:cubicBezTo>
                <a:cubicBezTo>
                  <a:pt x="192" y="247"/>
                  <a:pt x="196" y="235"/>
                  <a:pt x="191" y="232"/>
                </a:cubicBezTo>
                <a:cubicBezTo>
                  <a:pt x="185" y="228"/>
                  <a:pt x="168" y="236"/>
                  <a:pt x="163" y="231"/>
                </a:cubicBezTo>
                <a:cubicBezTo>
                  <a:pt x="159" y="225"/>
                  <a:pt x="156" y="221"/>
                  <a:pt x="153" y="225"/>
                </a:cubicBezTo>
                <a:cubicBezTo>
                  <a:pt x="150" y="229"/>
                  <a:pt x="143" y="227"/>
                  <a:pt x="138" y="223"/>
                </a:cubicBezTo>
                <a:cubicBezTo>
                  <a:pt x="134" y="219"/>
                  <a:pt x="132" y="216"/>
                  <a:pt x="127" y="216"/>
                </a:cubicBezTo>
                <a:cubicBezTo>
                  <a:pt x="122" y="216"/>
                  <a:pt x="119" y="211"/>
                  <a:pt x="118" y="207"/>
                </a:cubicBezTo>
                <a:cubicBezTo>
                  <a:pt x="117" y="204"/>
                  <a:pt x="113" y="193"/>
                  <a:pt x="108" y="191"/>
                </a:cubicBezTo>
                <a:cubicBezTo>
                  <a:pt x="104" y="189"/>
                  <a:pt x="99" y="183"/>
                  <a:pt x="100" y="177"/>
                </a:cubicBezTo>
                <a:cubicBezTo>
                  <a:pt x="101" y="172"/>
                  <a:pt x="93" y="163"/>
                  <a:pt x="92" y="168"/>
                </a:cubicBezTo>
                <a:cubicBezTo>
                  <a:pt x="91" y="173"/>
                  <a:pt x="91" y="177"/>
                  <a:pt x="98" y="188"/>
                </a:cubicBezTo>
                <a:cubicBezTo>
                  <a:pt x="98" y="188"/>
                  <a:pt x="100" y="198"/>
                  <a:pt x="97" y="196"/>
                </a:cubicBezTo>
                <a:cubicBezTo>
                  <a:pt x="94" y="194"/>
                  <a:pt x="80" y="182"/>
                  <a:pt x="80" y="174"/>
                </a:cubicBezTo>
                <a:cubicBezTo>
                  <a:pt x="80" y="165"/>
                  <a:pt x="79" y="162"/>
                  <a:pt x="76" y="157"/>
                </a:cubicBezTo>
                <a:cubicBezTo>
                  <a:pt x="73" y="152"/>
                  <a:pt x="70" y="148"/>
                  <a:pt x="73" y="142"/>
                </a:cubicBezTo>
                <a:cubicBezTo>
                  <a:pt x="76" y="136"/>
                  <a:pt x="76" y="127"/>
                  <a:pt x="76" y="122"/>
                </a:cubicBezTo>
                <a:cubicBezTo>
                  <a:pt x="76" y="116"/>
                  <a:pt x="80" y="110"/>
                  <a:pt x="82" y="107"/>
                </a:cubicBezTo>
                <a:cubicBezTo>
                  <a:pt x="85" y="104"/>
                  <a:pt x="92" y="111"/>
                  <a:pt x="92" y="111"/>
                </a:cubicBezTo>
                <a:cubicBezTo>
                  <a:pt x="92" y="111"/>
                  <a:pt x="92" y="99"/>
                  <a:pt x="88" y="96"/>
                </a:cubicBezTo>
                <a:cubicBezTo>
                  <a:pt x="84" y="94"/>
                  <a:pt x="83" y="91"/>
                  <a:pt x="83" y="85"/>
                </a:cubicBezTo>
                <a:cubicBezTo>
                  <a:pt x="83" y="79"/>
                  <a:pt x="84" y="75"/>
                  <a:pt x="79" y="75"/>
                </a:cubicBezTo>
                <a:cubicBezTo>
                  <a:pt x="73" y="75"/>
                  <a:pt x="67" y="83"/>
                  <a:pt x="63" y="86"/>
                </a:cubicBezTo>
                <a:cubicBezTo>
                  <a:pt x="59" y="89"/>
                  <a:pt x="43" y="98"/>
                  <a:pt x="41" y="95"/>
                </a:cubicBezTo>
                <a:cubicBezTo>
                  <a:pt x="39" y="93"/>
                  <a:pt x="42" y="86"/>
                  <a:pt x="43" y="85"/>
                </a:cubicBezTo>
                <a:cubicBezTo>
                  <a:pt x="16" y="121"/>
                  <a:pt x="0" y="165"/>
                  <a:pt x="0" y="213"/>
                </a:cubicBezTo>
                <a:cubicBezTo>
                  <a:pt x="0" y="331"/>
                  <a:pt x="95" y="426"/>
                  <a:pt x="213" y="426"/>
                </a:cubicBezTo>
                <a:cubicBezTo>
                  <a:pt x="330" y="426"/>
                  <a:pt x="426" y="331"/>
                  <a:pt x="426" y="213"/>
                </a:cubicBezTo>
                <a:cubicBezTo>
                  <a:pt x="426" y="96"/>
                  <a:pt x="330" y="0"/>
                  <a:pt x="213" y="0"/>
                </a:cubicBezTo>
                <a:close/>
                <a:moveTo>
                  <a:pt x="238" y="54"/>
                </a:moveTo>
                <a:cubicBezTo>
                  <a:pt x="235" y="56"/>
                  <a:pt x="224" y="49"/>
                  <a:pt x="219" y="45"/>
                </a:cubicBezTo>
                <a:cubicBezTo>
                  <a:pt x="213" y="41"/>
                  <a:pt x="208" y="37"/>
                  <a:pt x="203" y="39"/>
                </a:cubicBezTo>
                <a:cubicBezTo>
                  <a:pt x="198" y="41"/>
                  <a:pt x="192" y="40"/>
                  <a:pt x="191" y="37"/>
                </a:cubicBezTo>
                <a:cubicBezTo>
                  <a:pt x="189" y="33"/>
                  <a:pt x="183" y="25"/>
                  <a:pt x="177" y="26"/>
                </a:cubicBezTo>
                <a:cubicBezTo>
                  <a:pt x="171" y="27"/>
                  <a:pt x="155" y="29"/>
                  <a:pt x="154" y="26"/>
                </a:cubicBezTo>
                <a:cubicBezTo>
                  <a:pt x="154" y="26"/>
                  <a:pt x="163" y="19"/>
                  <a:pt x="171" y="17"/>
                </a:cubicBezTo>
                <a:cubicBezTo>
                  <a:pt x="179" y="15"/>
                  <a:pt x="178" y="11"/>
                  <a:pt x="186" y="11"/>
                </a:cubicBezTo>
                <a:cubicBezTo>
                  <a:pt x="193" y="11"/>
                  <a:pt x="200" y="12"/>
                  <a:pt x="206" y="11"/>
                </a:cubicBezTo>
                <a:cubicBezTo>
                  <a:pt x="212" y="10"/>
                  <a:pt x="214" y="8"/>
                  <a:pt x="221" y="12"/>
                </a:cubicBezTo>
                <a:cubicBezTo>
                  <a:pt x="229" y="17"/>
                  <a:pt x="232" y="20"/>
                  <a:pt x="232" y="27"/>
                </a:cubicBezTo>
                <a:cubicBezTo>
                  <a:pt x="232" y="34"/>
                  <a:pt x="241" y="52"/>
                  <a:pt x="238" y="54"/>
                </a:cubicBezTo>
                <a:close/>
                <a:moveTo>
                  <a:pt x="255" y="36"/>
                </a:moveTo>
                <a:cubicBezTo>
                  <a:pt x="251" y="36"/>
                  <a:pt x="238" y="33"/>
                  <a:pt x="238" y="30"/>
                </a:cubicBezTo>
                <a:cubicBezTo>
                  <a:pt x="238" y="30"/>
                  <a:pt x="239" y="25"/>
                  <a:pt x="247" y="25"/>
                </a:cubicBezTo>
                <a:cubicBezTo>
                  <a:pt x="254" y="25"/>
                  <a:pt x="260" y="20"/>
                  <a:pt x="260" y="24"/>
                </a:cubicBezTo>
                <a:cubicBezTo>
                  <a:pt x="260" y="28"/>
                  <a:pt x="259" y="36"/>
                  <a:pt x="255" y="36"/>
                </a:cubicBezTo>
                <a:close/>
                <a:moveTo>
                  <a:pt x="247" y="198"/>
                </a:moveTo>
                <a:cubicBezTo>
                  <a:pt x="247" y="198"/>
                  <a:pt x="255" y="196"/>
                  <a:pt x="254" y="193"/>
                </a:cubicBezTo>
                <a:cubicBezTo>
                  <a:pt x="253" y="190"/>
                  <a:pt x="255" y="180"/>
                  <a:pt x="263" y="183"/>
                </a:cubicBezTo>
                <a:cubicBezTo>
                  <a:pt x="271" y="186"/>
                  <a:pt x="270" y="185"/>
                  <a:pt x="274" y="186"/>
                </a:cubicBezTo>
                <a:cubicBezTo>
                  <a:pt x="277" y="187"/>
                  <a:pt x="280" y="188"/>
                  <a:pt x="271" y="194"/>
                </a:cubicBezTo>
                <a:cubicBezTo>
                  <a:pt x="261" y="200"/>
                  <a:pt x="264" y="196"/>
                  <a:pt x="261" y="200"/>
                </a:cubicBezTo>
                <a:cubicBezTo>
                  <a:pt x="258" y="204"/>
                  <a:pt x="245" y="206"/>
                  <a:pt x="247" y="198"/>
                </a:cubicBezTo>
                <a:close/>
                <a:moveTo>
                  <a:pt x="210" y="193"/>
                </a:moveTo>
                <a:cubicBezTo>
                  <a:pt x="210" y="193"/>
                  <a:pt x="209" y="189"/>
                  <a:pt x="218" y="189"/>
                </a:cubicBezTo>
                <a:cubicBezTo>
                  <a:pt x="226" y="189"/>
                  <a:pt x="229" y="191"/>
                  <a:pt x="234" y="188"/>
                </a:cubicBezTo>
                <a:cubicBezTo>
                  <a:pt x="239" y="185"/>
                  <a:pt x="243" y="189"/>
                  <a:pt x="241" y="193"/>
                </a:cubicBezTo>
                <a:cubicBezTo>
                  <a:pt x="239" y="197"/>
                  <a:pt x="237" y="199"/>
                  <a:pt x="231" y="199"/>
                </a:cubicBezTo>
                <a:cubicBezTo>
                  <a:pt x="225" y="199"/>
                  <a:pt x="211" y="198"/>
                  <a:pt x="210" y="193"/>
                </a:cubicBezTo>
                <a:close/>
                <a:moveTo>
                  <a:pt x="223" y="208"/>
                </a:moveTo>
                <a:cubicBezTo>
                  <a:pt x="223" y="208"/>
                  <a:pt x="223" y="203"/>
                  <a:pt x="230" y="203"/>
                </a:cubicBezTo>
                <a:cubicBezTo>
                  <a:pt x="237" y="203"/>
                  <a:pt x="247" y="206"/>
                  <a:pt x="242" y="209"/>
                </a:cubicBezTo>
                <a:cubicBezTo>
                  <a:pt x="236" y="213"/>
                  <a:pt x="224" y="212"/>
                  <a:pt x="223" y="208"/>
                </a:cubicBezTo>
                <a:close/>
                <a:moveTo>
                  <a:pt x="384" y="326"/>
                </a:moveTo>
                <a:cubicBezTo>
                  <a:pt x="375" y="331"/>
                  <a:pt x="360" y="330"/>
                  <a:pt x="353" y="345"/>
                </a:cubicBezTo>
                <a:cubicBezTo>
                  <a:pt x="345" y="359"/>
                  <a:pt x="338" y="379"/>
                  <a:pt x="326" y="379"/>
                </a:cubicBezTo>
                <a:cubicBezTo>
                  <a:pt x="313" y="379"/>
                  <a:pt x="305" y="374"/>
                  <a:pt x="301" y="381"/>
                </a:cubicBezTo>
                <a:cubicBezTo>
                  <a:pt x="296" y="388"/>
                  <a:pt x="289" y="388"/>
                  <a:pt x="284" y="389"/>
                </a:cubicBezTo>
                <a:cubicBezTo>
                  <a:pt x="279" y="390"/>
                  <a:pt x="272" y="398"/>
                  <a:pt x="268" y="402"/>
                </a:cubicBezTo>
                <a:cubicBezTo>
                  <a:pt x="264" y="405"/>
                  <a:pt x="253" y="404"/>
                  <a:pt x="247" y="407"/>
                </a:cubicBezTo>
                <a:cubicBezTo>
                  <a:pt x="242" y="410"/>
                  <a:pt x="233" y="416"/>
                  <a:pt x="233" y="416"/>
                </a:cubicBezTo>
                <a:cubicBezTo>
                  <a:pt x="233" y="416"/>
                  <a:pt x="222" y="416"/>
                  <a:pt x="219" y="419"/>
                </a:cubicBezTo>
                <a:cubicBezTo>
                  <a:pt x="217" y="422"/>
                  <a:pt x="217" y="425"/>
                  <a:pt x="217" y="425"/>
                </a:cubicBezTo>
                <a:cubicBezTo>
                  <a:pt x="217" y="425"/>
                  <a:pt x="201" y="425"/>
                  <a:pt x="202" y="421"/>
                </a:cubicBezTo>
                <a:cubicBezTo>
                  <a:pt x="203" y="417"/>
                  <a:pt x="211" y="414"/>
                  <a:pt x="220" y="409"/>
                </a:cubicBezTo>
                <a:cubicBezTo>
                  <a:pt x="230" y="404"/>
                  <a:pt x="235" y="394"/>
                  <a:pt x="239" y="391"/>
                </a:cubicBezTo>
                <a:cubicBezTo>
                  <a:pt x="243" y="388"/>
                  <a:pt x="246" y="385"/>
                  <a:pt x="248" y="376"/>
                </a:cubicBezTo>
                <a:cubicBezTo>
                  <a:pt x="251" y="368"/>
                  <a:pt x="251" y="367"/>
                  <a:pt x="258" y="353"/>
                </a:cubicBezTo>
                <a:cubicBezTo>
                  <a:pt x="265" y="340"/>
                  <a:pt x="266" y="333"/>
                  <a:pt x="257" y="331"/>
                </a:cubicBezTo>
                <a:cubicBezTo>
                  <a:pt x="248" y="329"/>
                  <a:pt x="244" y="335"/>
                  <a:pt x="239" y="320"/>
                </a:cubicBezTo>
                <a:cubicBezTo>
                  <a:pt x="234" y="306"/>
                  <a:pt x="236" y="306"/>
                  <a:pt x="231" y="302"/>
                </a:cubicBezTo>
                <a:cubicBezTo>
                  <a:pt x="226" y="298"/>
                  <a:pt x="216" y="294"/>
                  <a:pt x="216" y="288"/>
                </a:cubicBezTo>
                <a:cubicBezTo>
                  <a:pt x="216" y="281"/>
                  <a:pt x="221" y="257"/>
                  <a:pt x="231" y="248"/>
                </a:cubicBezTo>
                <a:cubicBezTo>
                  <a:pt x="231" y="248"/>
                  <a:pt x="247" y="237"/>
                  <a:pt x="250" y="231"/>
                </a:cubicBezTo>
                <a:cubicBezTo>
                  <a:pt x="253" y="224"/>
                  <a:pt x="258" y="211"/>
                  <a:pt x="266" y="214"/>
                </a:cubicBezTo>
                <a:cubicBezTo>
                  <a:pt x="274" y="217"/>
                  <a:pt x="278" y="222"/>
                  <a:pt x="282" y="219"/>
                </a:cubicBezTo>
                <a:cubicBezTo>
                  <a:pt x="286" y="216"/>
                  <a:pt x="291" y="206"/>
                  <a:pt x="300" y="209"/>
                </a:cubicBezTo>
                <a:cubicBezTo>
                  <a:pt x="308" y="213"/>
                  <a:pt x="325" y="223"/>
                  <a:pt x="334" y="222"/>
                </a:cubicBezTo>
                <a:cubicBezTo>
                  <a:pt x="344" y="221"/>
                  <a:pt x="355" y="221"/>
                  <a:pt x="360" y="227"/>
                </a:cubicBezTo>
                <a:cubicBezTo>
                  <a:pt x="364" y="233"/>
                  <a:pt x="370" y="243"/>
                  <a:pt x="377" y="244"/>
                </a:cubicBezTo>
                <a:cubicBezTo>
                  <a:pt x="384" y="245"/>
                  <a:pt x="388" y="241"/>
                  <a:pt x="393" y="247"/>
                </a:cubicBezTo>
                <a:cubicBezTo>
                  <a:pt x="398" y="253"/>
                  <a:pt x="408" y="248"/>
                  <a:pt x="409" y="254"/>
                </a:cubicBezTo>
                <a:cubicBezTo>
                  <a:pt x="410" y="260"/>
                  <a:pt x="401" y="278"/>
                  <a:pt x="401" y="285"/>
                </a:cubicBezTo>
                <a:cubicBezTo>
                  <a:pt x="401" y="291"/>
                  <a:pt x="392" y="321"/>
                  <a:pt x="384" y="32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54" name="TextBox 55">
            <a:extLst>
              <a:ext uri="{FF2B5EF4-FFF2-40B4-BE49-F238E27FC236}">
                <a16:creationId xmlns:a16="http://schemas.microsoft.com/office/drawing/2014/main" id="{F53C2942-01B4-4DB7-9C04-5E439627D6C4}"/>
              </a:ext>
            </a:extLst>
          </p:cNvPr>
          <p:cNvSpPr txBox="1">
            <a:spLocks/>
          </p:cNvSpPr>
          <p:nvPr/>
        </p:nvSpPr>
        <p:spPr>
          <a:xfrm>
            <a:off x="7274727" y="5479097"/>
            <a:ext cx="4340742" cy="78483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ea typeface="+mn-ea"/>
                <a:cs typeface="+mn-cs"/>
              </a:rPr>
              <a:t>Center of Excellen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Two Centers of Excellence in Americas specialized in XYZ, simulation, and 3D printing</a:t>
            </a:r>
          </a:p>
        </p:txBody>
      </p:sp>
      <p:sp>
        <p:nvSpPr>
          <p:cNvPr id="56" name="Freeform 7">
            <a:extLst>
              <a:ext uri="{FF2B5EF4-FFF2-40B4-BE49-F238E27FC236}">
                <a16:creationId xmlns:a16="http://schemas.microsoft.com/office/drawing/2014/main" id="{F18D214E-7507-4508-AD7C-AA780AFD3665}"/>
              </a:ext>
            </a:extLst>
          </p:cNvPr>
          <p:cNvSpPr>
            <a:spLocks noEditPoints="1"/>
          </p:cNvSpPr>
          <p:nvPr/>
        </p:nvSpPr>
        <p:spPr bwMode="auto">
          <a:xfrm>
            <a:off x="6662872" y="5611162"/>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sp>
        <p:nvSpPr>
          <p:cNvPr id="57" name="Freeform 9">
            <a:extLst>
              <a:ext uri="{FF2B5EF4-FFF2-40B4-BE49-F238E27FC236}">
                <a16:creationId xmlns:a16="http://schemas.microsoft.com/office/drawing/2014/main" id="{E4A688B3-08B7-4BB4-BA62-35DD3A4E638A}"/>
              </a:ext>
            </a:extLst>
          </p:cNvPr>
          <p:cNvSpPr>
            <a:spLocks noEditPoints="1"/>
          </p:cNvSpPr>
          <p:nvPr/>
        </p:nvSpPr>
        <p:spPr bwMode="auto">
          <a:xfrm>
            <a:off x="6810493" y="5730190"/>
            <a:ext cx="243118" cy="270838"/>
          </a:xfrm>
          <a:custGeom>
            <a:avLst/>
            <a:gdLst>
              <a:gd name="T0" fmla="*/ 580 w 794"/>
              <a:gd name="T1" fmla="*/ 2 h 1186"/>
              <a:gd name="T2" fmla="*/ 580 w 794"/>
              <a:gd name="T3" fmla="*/ 136 h 1186"/>
              <a:gd name="T4" fmla="*/ 592 w 794"/>
              <a:gd name="T5" fmla="*/ 176 h 1186"/>
              <a:gd name="T6" fmla="*/ 624 w 794"/>
              <a:gd name="T7" fmla="*/ 202 h 1186"/>
              <a:gd name="T8" fmla="*/ 652 w 794"/>
              <a:gd name="T9" fmla="*/ 208 h 1186"/>
              <a:gd name="T10" fmla="*/ 568 w 794"/>
              <a:gd name="T11" fmla="*/ 846 h 1186"/>
              <a:gd name="T12" fmla="*/ 584 w 794"/>
              <a:gd name="T13" fmla="*/ 906 h 1186"/>
              <a:gd name="T14" fmla="*/ 606 w 794"/>
              <a:gd name="T15" fmla="*/ 844 h 1186"/>
              <a:gd name="T16" fmla="*/ 584 w 794"/>
              <a:gd name="T17" fmla="*/ 848 h 1186"/>
              <a:gd name="T18" fmla="*/ 642 w 794"/>
              <a:gd name="T19" fmla="*/ 250 h 1186"/>
              <a:gd name="T20" fmla="*/ 592 w 794"/>
              <a:gd name="T21" fmla="*/ 228 h 1186"/>
              <a:gd name="T22" fmla="*/ 546 w 794"/>
              <a:gd name="T23" fmla="*/ 176 h 1186"/>
              <a:gd name="T24" fmla="*/ 536 w 794"/>
              <a:gd name="T25" fmla="*/ 136 h 1186"/>
              <a:gd name="T26" fmla="*/ 0 w 794"/>
              <a:gd name="T27" fmla="*/ 1186 h 1186"/>
              <a:gd name="T28" fmla="*/ 652 w 794"/>
              <a:gd name="T29" fmla="*/ 250 h 1186"/>
              <a:gd name="T30" fmla="*/ 660 w 794"/>
              <a:gd name="T31" fmla="*/ 370 h 1186"/>
              <a:gd name="T32" fmla="*/ 678 w 794"/>
              <a:gd name="T33" fmla="*/ 384 h 1186"/>
              <a:gd name="T34" fmla="*/ 678 w 794"/>
              <a:gd name="T35" fmla="*/ 398 h 1186"/>
              <a:gd name="T36" fmla="*/ 660 w 794"/>
              <a:gd name="T37" fmla="*/ 414 h 1186"/>
              <a:gd name="T38" fmla="*/ 130 w 794"/>
              <a:gd name="T39" fmla="*/ 412 h 1186"/>
              <a:gd name="T40" fmla="*/ 118 w 794"/>
              <a:gd name="T41" fmla="*/ 392 h 1186"/>
              <a:gd name="T42" fmla="*/ 124 w 794"/>
              <a:gd name="T43" fmla="*/ 376 h 1186"/>
              <a:gd name="T44" fmla="*/ 136 w 794"/>
              <a:gd name="T45" fmla="*/ 370 h 1186"/>
              <a:gd name="T46" fmla="*/ 120 w 794"/>
              <a:gd name="T47" fmla="*/ 500 h 1186"/>
              <a:gd name="T48" fmla="*/ 136 w 794"/>
              <a:gd name="T49" fmla="*/ 488 h 1186"/>
              <a:gd name="T50" fmla="*/ 668 w 794"/>
              <a:gd name="T51" fmla="*/ 490 h 1186"/>
              <a:gd name="T52" fmla="*/ 678 w 794"/>
              <a:gd name="T53" fmla="*/ 508 h 1186"/>
              <a:gd name="T54" fmla="*/ 674 w 794"/>
              <a:gd name="T55" fmla="*/ 522 h 1186"/>
              <a:gd name="T56" fmla="*/ 136 w 794"/>
              <a:gd name="T57" fmla="*/ 530 h 1186"/>
              <a:gd name="T58" fmla="*/ 124 w 794"/>
              <a:gd name="T59" fmla="*/ 522 h 1186"/>
              <a:gd name="T60" fmla="*/ 118 w 794"/>
              <a:gd name="T61" fmla="*/ 508 h 1186"/>
              <a:gd name="T62" fmla="*/ 584 w 794"/>
              <a:gd name="T63" fmla="*/ 948 h 1186"/>
              <a:gd name="T64" fmla="*/ 516 w 794"/>
              <a:gd name="T65" fmla="*/ 820 h 1186"/>
              <a:gd name="T66" fmla="*/ 490 w 794"/>
              <a:gd name="T67" fmla="*/ 772 h 1186"/>
              <a:gd name="T68" fmla="*/ 488 w 794"/>
              <a:gd name="T69" fmla="*/ 750 h 1186"/>
              <a:gd name="T70" fmla="*/ 504 w 794"/>
              <a:gd name="T71" fmla="*/ 696 h 1186"/>
              <a:gd name="T72" fmla="*/ 546 w 794"/>
              <a:gd name="T73" fmla="*/ 662 h 1186"/>
              <a:gd name="T74" fmla="*/ 584 w 794"/>
              <a:gd name="T75" fmla="*/ 654 h 1186"/>
              <a:gd name="T76" fmla="*/ 638 w 794"/>
              <a:gd name="T77" fmla="*/ 670 h 1186"/>
              <a:gd name="T78" fmla="*/ 672 w 794"/>
              <a:gd name="T79" fmla="*/ 714 h 1186"/>
              <a:gd name="T80" fmla="*/ 680 w 794"/>
              <a:gd name="T81" fmla="*/ 750 h 1186"/>
              <a:gd name="T82" fmla="*/ 672 w 794"/>
              <a:gd name="T83" fmla="*/ 790 h 1186"/>
              <a:gd name="T84" fmla="*/ 650 w 794"/>
              <a:gd name="T85" fmla="*/ 822 h 1186"/>
              <a:gd name="T86" fmla="*/ 574 w 794"/>
              <a:gd name="T87" fmla="*/ 698 h 1186"/>
              <a:gd name="T88" fmla="*/ 546 w 794"/>
              <a:gd name="T89" fmla="*/ 714 h 1186"/>
              <a:gd name="T90" fmla="*/ 532 w 794"/>
              <a:gd name="T91" fmla="*/ 740 h 1186"/>
              <a:gd name="T92" fmla="*/ 532 w 794"/>
              <a:gd name="T93" fmla="*/ 762 h 1186"/>
              <a:gd name="T94" fmla="*/ 546 w 794"/>
              <a:gd name="T95" fmla="*/ 788 h 1186"/>
              <a:gd name="T96" fmla="*/ 574 w 794"/>
              <a:gd name="T97" fmla="*/ 804 h 1186"/>
              <a:gd name="T98" fmla="*/ 596 w 794"/>
              <a:gd name="T99" fmla="*/ 804 h 1186"/>
              <a:gd name="T100" fmla="*/ 622 w 794"/>
              <a:gd name="T101" fmla="*/ 788 h 1186"/>
              <a:gd name="T102" fmla="*/ 638 w 794"/>
              <a:gd name="T103" fmla="*/ 762 h 1186"/>
              <a:gd name="T104" fmla="*/ 638 w 794"/>
              <a:gd name="T105" fmla="*/ 740 h 1186"/>
              <a:gd name="T106" fmla="*/ 622 w 794"/>
              <a:gd name="T107" fmla="*/ 714 h 1186"/>
              <a:gd name="T108" fmla="*/ 596 w 794"/>
              <a:gd name="T109" fmla="*/ 698 h 1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94" h="1186">
                <a:moveTo>
                  <a:pt x="652" y="208"/>
                </a:moveTo>
                <a:lnTo>
                  <a:pt x="794" y="208"/>
                </a:lnTo>
                <a:lnTo>
                  <a:pt x="580" y="2"/>
                </a:lnTo>
                <a:lnTo>
                  <a:pt x="580" y="0"/>
                </a:lnTo>
                <a:lnTo>
                  <a:pt x="580" y="136"/>
                </a:lnTo>
                <a:lnTo>
                  <a:pt x="580" y="136"/>
                </a:lnTo>
                <a:lnTo>
                  <a:pt x="580" y="150"/>
                </a:lnTo>
                <a:lnTo>
                  <a:pt x="584" y="164"/>
                </a:lnTo>
                <a:lnTo>
                  <a:pt x="592" y="176"/>
                </a:lnTo>
                <a:lnTo>
                  <a:pt x="600" y="186"/>
                </a:lnTo>
                <a:lnTo>
                  <a:pt x="610" y="194"/>
                </a:lnTo>
                <a:lnTo>
                  <a:pt x="624" y="202"/>
                </a:lnTo>
                <a:lnTo>
                  <a:pt x="636" y="206"/>
                </a:lnTo>
                <a:lnTo>
                  <a:pt x="652" y="208"/>
                </a:lnTo>
                <a:lnTo>
                  <a:pt x="652" y="208"/>
                </a:lnTo>
                <a:close/>
                <a:moveTo>
                  <a:pt x="584" y="848"/>
                </a:moveTo>
                <a:lnTo>
                  <a:pt x="584" y="848"/>
                </a:lnTo>
                <a:lnTo>
                  <a:pt x="568" y="846"/>
                </a:lnTo>
                <a:lnTo>
                  <a:pt x="560" y="844"/>
                </a:lnTo>
                <a:lnTo>
                  <a:pt x="560" y="930"/>
                </a:lnTo>
                <a:lnTo>
                  <a:pt x="584" y="906"/>
                </a:lnTo>
                <a:lnTo>
                  <a:pt x="608" y="928"/>
                </a:lnTo>
                <a:lnTo>
                  <a:pt x="606" y="844"/>
                </a:lnTo>
                <a:lnTo>
                  <a:pt x="606" y="844"/>
                </a:lnTo>
                <a:lnTo>
                  <a:pt x="600" y="846"/>
                </a:lnTo>
                <a:lnTo>
                  <a:pt x="584" y="848"/>
                </a:lnTo>
                <a:lnTo>
                  <a:pt x="584" y="848"/>
                </a:lnTo>
                <a:close/>
                <a:moveTo>
                  <a:pt x="652" y="250"/>
                </a:moveTo>
                <a:lnTo>
                  <a:pt x="652" y="250"/>
                </a:lnTo>
                <a:lnTo>
                  <a:pt x="642" y="250"/>
                </a:lnTo>
                <a:lnTo>
                  <a:pt x="630" y="248"/>
                </a:lnTo>
                <a:lnTo>
                  <a:pt x="610" y="240"/>
                </a:lnTo>
                <a:lnTo>
                  <a:pt x="592" y="228"/>
                </a:lnTo>
                <a:lnTo>
                  <a:pt x="574" y="212"/>
                </a:lnTo>
                <a:lnTo>
                  <a:pt x="558" y="196"/>
                </a:lnTo>
                <a:lnTo>
                  <a:pt x="546" y="176"/>
                </a:lnTo>
                <a:lnTo>
                  <a:pt x="538" y="156"/>
                </a:lnTo>
                <a:lnTo>
                  <a:pt x="536" y="146"/>
                </a:lnTo>
                <a:lnTo>
                  <a:pt x="536" y="136"/>
                </a:lnTo>
                <a:lnTo>
                  <a:pt x="536" y="0"/>
                </a:lnTo>
                <a:lnTo>
                  <a:pt x="0" y="0"/>
                </a:lnTo>
                <a:lnTo>
                  <a:pt x="0" y="1186"/>
                </a:lnTo>
                <a:lnTo>
                  <a:pt x="794" y="1186"/>
                </a:lnTo>
                <a:lnTo>
                  <a:pt x="794" y="250"/>
                </a:lnTo>
                <a:lnTo>
                  <a:pt x="652" y="250"/>
                </a:lnTo>
                <a:close/>
                <a:moveTo>
                  <a:pt x="136" y="370"/>
                </a:moveTo>
                <a:lnTo>
                  <a:pt x="660" y="370"/>
                </a:lnTo>
                <a:lnTo>
                  <a:pt x="660" y="370"/>
                </a:lnTo>
                <a:lnTo>
                  <a:pt x="668" y="372"/>
                </a:lnTo>
                <a:lnTo>
                  <a:pt x="674" y="376"/>
                </a:lnTo>
                <a:lnTo>
                  <a:pt x="678" y="384"/>
                </a:lnTo>
                <a:lnTo>
                  <a:pt x="678" y="392"/>
                </a:lnTo>
                <a:lnTo>
                  <a:pt x="678" y="392"/>
                </a:lnTo>
                <a:lnTo>
                  <a:pt x="678" y="398"/>
                </a:lnTo>
                <a:lnTo>
                  <a:pt x="674" y="406"/>
                </a:lnTo>
                <a:lnTo>
                  <a:pt x="668" y="412"/>
                </a:lnTo>
                <a:lnTo>
                  <a:pt x="660" y="414"/>
                </a:lnTo>
                <a:lnTo>
                  <a:pt x="136" y="414"/>
                </a:lnTo>
                <a:lnTo>
                  <a:pt x="136" y="414"/>
                </a:lnTo>
                <a:lnTo>
                  <a:pt x="130" y="412"/>
                </a:lnTo>
                <a:lnTo>
                  <a:pt x="124" y="406"/>
                </a:lnTo>
                <a:lnTo>
                  <a:pt x="120" y="398"/>
                </a:lnTo>
                <a:lnTo>
                  <a:pt x="118" y="392"/>
                </a:lnTo>
                <a:lnTo>
                  <a:pt x="118" y="392"/>
                </a:lnTo>
                <a:lnTo>
                  <a:pt x="120" y="384"/>
                </a:lnTo>
                <a:lnTo>
                  <a:pt x="124" y="376"/>
                </a:lnTo>
                <a:lnTo>
                  <a:pt x="130" y="372"/>
                </a:lnTo>
                <a:lnTo>
                  <a:pt x="136" y="370"/>
                </a:lnTo>
                <a:lnTo>
                  <a:pt x="136" y="370"/>
                </a:lnTo>
                <a:close/>
                <a:moveTo>
                  <a:pt x="118" y="508"/>
                </a:moveTo>
                <a:lnTo>
                  <a:pt x="118" y="508"/>
                </a:lnTo>
                <a:lnTo>
                  <a:pt x="120" y="500"/>
                </a:lnTo>
                <a:lnTo>
                  <a:pt x="124" y="494"/>
                </a:lnTo>
                <a:lnTo>
                  <a:pt x="130" y="490"/>
                </a:lnTo>
                <a:lnTo>
                  <a:pt x="136" y="488"/>
                </a:lnTo>
                <a:lnTo>
                  <a:pt x="660" y="488"/>
                </a:lnTo>
                <a:lnTo>
                  <a:pt x="660" y="488"/>
                </a:lnTo>
                <a:lnTo>
                  <a:pt x="668" y="490"/>
                </a:lnTo>
                <a:lnTo>
                  <a:pt x="674" y="494"/>
                </a:lnTo>
                <a:lnTo>
                  <a:pt x="678" y="500"/>
                </a:lnTo>
                <a:lnTo>
                  <a:pt x="678" y="508"/>
                </a:lnTo>
                <a:lnTo>
                  <a:pt x="678" y="508"/>
                </a:lnTo>
                <a:lnTo>
                  <a:pt x="678" y="516"/>
                </a:lnTo>
                <a:lnTo>
                  <a:pt x="674" y="522"/>
                </a:lnTo>
                <a:lnTo>
                  <a:pt x="668" y="528"/>
                </a:lnTo>
                <a:lnTo>
                  <a:pt x="660" y="530"/>
                </a:lnTo>
                <a:lnTo>
                  <a:pt x="136" y="530"/>
                </a:lnTo>
                <a:lnTo>
                  <a:pt x="136" y="530"/>
                </a:lnTo>
                <a:lnTo>
                  <a:pt x="130" y="528"/>
                </a:lnTo>
                <a:lnTo>
                  <a:pt x="124" y="522"/>
                </a:lnTo>
                <a:lnTo>
                  <a:pt x="120" y="516"/>
                </a:lnTo>
                <a:lnTo>
                  <a:pt x="118" y="508"/>
                </a:lnTo>
                <a:lnTo>
                  <a:pt x="118" y="508"/>
                </a:lnTo>
                <a:close/>
                <a:moveTo>
                  <a:pt x="650" y="822"/>
                </a:moveTo>
                <a:lnTo>
                  <a:pt x="650" y="1028"/>
                </a:lnTo>
                <a:lnTo>
                  <a:pt x="584" y="948"/>
                </a:lnTo>
                <a:lnTo>
                  <a:pt x="516" y="1030"/>
                </a:lnTo>
                <a:lnTo>
                  <a:pt x="516" y="820"/>
                </a:lnTo>
                <a:lnTo>
                  <a:pt x="516" y="820"/>
                </a:lnTo>
                <a:lnTo>
                  <a:pt x="506" y="808"/>
                </a:lnTo>
                <a:lnTo>
                  <a:pt x="498" y="792"/>
                </a:lnTo>
                <a:lnTo>
                  <a:pt x="490" y="772"/>
                </a:lnTo>
                <a:lnTo>
                  <a:pt x="488" y="762"/>
                </a:lnTo>
                <a:lnTo>
                  <a:pt x="488" y="750"/>
                </a:lnTo>
                <a:lnTo>
                  <a:pt x="488" y="750"/>
                </a:lnTo>
                <a:lnTo>
                  <a:pt x="490" y="732"/>
                </a:lnTo>
                <a:lnTo>
                  <a:pt x="494" y="714"/>
                </a:lnTo>
                <a:lnTo>
                  <a:pt x="504" y="696"/>
                </a:lnTo>
                <a:lnTo>
                  <a:pt x="516" y="682"/>
                </a:lnTo>
                <a:lnTo>
                  <a:pt x="530" y="670"/>
                </a:lnTo>
                <a:lnTo>
                  <a:pt x="546" y="662"/>
                </a:lnTo>
                <a:lnTo>
                  <a:pt x="564" y="656"/>
                </a:lnTo>
                <a:lnTo>
                  <a:pt x="584" y="654"/>
                </a:lnTo>
                <a:lnTo>
                  <a:pt x="584" y="654"/>
                </a:lnTo>
                <a:lnTo>
                  <a:pt x="604" y="656"/>
                </a:lnTo>
                <a:lnTo>
                  <a:pt x="622" y="662"/>
                </a:lnTo>
                <a:lnTo>
                  <a:pt x="638" y="670"/>
                </a:lnTo>
                <a:lnTo>
                  <a:pt x="652" y="682"/>
                </a:lnTo>
                <a:lnTo>
                  <a:pt x="664" y="696"/>
                </a:lnTo>
                <a:lnTo>
                  <a:pt x="672" y="714"/>
                </a:lnTo>
                <a:lnTo>
                  <a:pt x="678" y="732"/>
                </a:lnTo>
                <a:lnTo>
                  <a:pt x="680" y="750"/>
                </a:lnTo>
                <a:lnTo>
                  <a:pt x="680" y="750"/>
                </a:lnTo>
                <a:lnTo>
                  <a:pt x="680" y="762"/>
                </a:lnTo>
                <a:lnTo>
                  <a:pt x="678" y="772"/>
                </a:lnTo>
                <a:lnTo>
                  <a:pt x="672" y="790"/>
                </a:lnTo>
                <a:lnTo>
                  <a:pt x="662" y="806"/>
                </a:lnTo>
                <a:lnTo>
                  <a:pt x="650" y="822"/>
                </a:lnTo>
                <a:lnTo>
                  <a:pt x="650" y="822"/>
                </a:lnTo>
                <a:close/>
                <a:moveTo>
                  <a:pt x="584" y="698"/>
                </a:moveTo>
                <a:lnTo>
                  <a:pt x="584" y="698"/>
                </a:lnTo>
                <a:lnTo>
                  <a:pt x="574" y="698"/>
                </a:lnTo>
                <a:lnTo>
                  <a:pt x="564" y="702"/>
                </a:lnTo>
                <a:lnTo>
                  <a:pt x="554" y="706"/>
                </a:lnTo>
                <a:lnTo>
                  <a:pt x="546" y="714"/>
                </a:lnTo>
                <a:lnTo>
                  <a:pt x="540" y="722"/>
                </a:lnTo>
                <a:lnTo>
                  <a:pt x="536" y="730"/>
                </a:lnTo>
                <a:lnTo>
                  <a:pt x="532" y="740"/>
                </a:lnTo>
                <a:lnTo>
                  <a:pt x="530" y="752"/>
                </a:lnTo>
                <a:lnTo>
                  <a:pt x="530" y="752"/>
                </a:lnTo>
                <a:lnTo>
                  <a:pt x="532" y="762"/>
                </a:lnTo>
                <a:lnTo>
                  <a:pt x="536" y="772"/>
                </a:lnTo>
                <a:lnTo>
                  <a:pt x="540" y="780"/>
                </a:lnTo>
                <a:lnTo>
                  <a:pt x="546" y="788"/>
                </a:lnTo>
                <a:lnTo>
                  <a:pt x="554" y="796"/>
                </a:lnTo>
                <a:lnTo>
                  <a:pt x="564" y="800"/>
                </a:lnTo>
                <a:lnTo>
                  <a:pt x="574" y="804"/>
                </a:lnTo>
                <a:lnTo>
                  <a:pt x="584" y="804"/>
                </a:lnTo>
                <a:lnTo>
                  <a:pt x="584" y="804"/>
                </a:lnTo>
                <a:lnTo>
                  <a:pt x="596" y="804"/>
                </a:lnTo>
                <a:lnTo>
                  <a:pt x="606" y="800"/>
                </a:lnTo>
                <a:lnTo>
                  <a:pt x="614" y="796"/>
                </a:lnTo>
                <a:lnTo>
                  <a:pt x="622" y="788"/>
                </a:lnTo>
                <a:lnTo>
                  <a:pt x="628" y="780"/>
                </a:lnTo>
                <a:lnTo>
                  <a:pt x="634" y="772"/>
                </a:lnTo>
                <a:lnTo>
                  <a:pt x="638" y="762"/>
                </a:lnTo>
                <a:lnTo>
                  <a:pt x="638" y="752"/>
                </a:lnTo>
                <a:lnTo>
                  <a:pt x="638" y="752"/>
                </a:lnTo>
                <a:lnTo>
                  <a:pt x="638" y="740"/>
                </a:lnTo>
                <a:lnTo>
                  <a:pt x="634" y="730"/>
                </a:lnTo>
                <a:lnTo>
                  <a:pt x="628" y="722"/>
                </a:lnTo>
                <a:lnTo>
                  <a:pt x="622" y="714"/>
                </a:lnTo>
                <a:lnTo>
                  <a:pt x="614" y="706"/>
                </a:lnTo>
                <a:lnTo>
                  <a:pt x="606" y="702"/>
                </a:lnTo>
                <a:lnTo>
                  <a:pt x="596" y="698"/>
                </a:lnTo>
                <a:lnTo>
                  <a:pt x="584" y="698"/>
                </a:lnTo>
                <a:lnTo>
                  <a:pt x="584" y="69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cxnSp>
        <p:nvCxnSpPr>
          <p:cNvPr id="53" name="Straight Connector 56">
            <a:extLst>
              <a:ext uri="{FF2B5EF4-FFF2-40B4-BE49-F238E27FC236}">
                <a16:creationId xmlns:a16="http://schemas.microsoft.com/office/drawing/2014/main" id="{903AC8A0-D542-42BA-A556-1E52D0FA4BC9}"/>
              </a:ext>
            </a:extLst>
          </p:cNvPr>
          <p:cNvCxnSpPr/>
          <p:nvPr/>
        </p:nvCxnSpPr>
        <p:spPr>
          <a:xfrm>
            <a:off x="7364297" y="5789147"/>
            <a:ext cx="2011680"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B37320A5-8F42-4C4F-9A24-FBC29BD6A6EF}"/>
              </a:ext>
            </a:extLst>
          </p:cNvPr>
          <p:cNvSpPr txBox="1">
            <a:spLocks/>
          </p:cNvSpPr>
          <p:nvPr/>
        </p:nvSpPr>
        <p:spPr>
          <a:xfrm>
            <a:off x="1471801" y="3385406"/>
            <a:ext cx="4340742" cy="78483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ea typeface="+mn-ea"/>
                <a:cs typeface="+mn-cs"/>
              </a:rPr>
              <a:t>Polymer and Biotech Expertis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Deep bench of skilled polymer and biotech scientists due to the scale and scope of the current plastics operation</a:t>
            </a:r>
          </a:p>
        </p:txBody>
      </p:sp>
      <p:cxnSp>
        <p:nvCxnSpPr>
          <p:cNvPr id="60" name="Straight Connector 59">
            <a:extLst>
              <a:ext uri="{FF2B5EF4-FFF2-40B4-BE49-F238E27FC236}">
                <a16:creationId xmlns:a16="http://schemas.microsoft.com/office/drawing/2014/main" id="{7A2DBCB5-657D-4C88-AF78-69A605CD433F}"/>
              </a:ext>
            </a:extLst>
          </p:cNvPr>
          <p:cNvCxnSpPr>
            <a:cxnSpLocks/>
          </p:cNvCxnSpPr>
          <p:nvPr/>
        </p:nvCxnSpPr>
        <p:spPr>
          <a:xfrm>
            <a:off x="1561372" y="3695456"/>
            <a:ext cx="2651760"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62" name="Freeform 7">
            <a:extLst>
              <a:ext uri="{FF2B5EF4-FFF2-40B4-BE49-F238E27FC236}">
                <a16:creationId xmlns:a16="http://schemas.microsoft.com/office/drawing/2014/main" id="{21649D5A-1886-4CAD-BDCD-C466DBFCC2ED}"/>
              </a:ext>
            </a:extLst>
          </p:cNvPr>
          <p:cNvSpPr>
            <a:spLocks noEditPoints="1"/>
          </p:cNvSpPr>
          <p:nvPr/>
        </p:nvSpPr>
        <p:spPr bwMode="auto">
          <a:xfrm>
            <a:off x="859947" y="3517471"/>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sp>
        <p:nvSpPr>
          <p:cNvPr id="63" name="Freeform 18">
            <a:extLst>
              <a:ext uri="{FF2B5EF4-FFF2-40B4-BE49-F238E27FC236}">
                <a16:creationId xmlns:a16="http://schemas.microsoft.com/office/drawing/2014/main" id="{F6DE7BF0-579C-47FD-8E31-2321620BDEAD}"/>
              </a:ext>
            </a:extLst>
          </p:cNvPr>
          <p:cNvSpPr>
            <a:spLocks noEditPoints="1"/>
          </p:cNvSpPr>
          <p:nvPr/>
        </p:nvSpPr>
        <p:spPr bwMode="auto">
          <a:xfrm>
            <a:off x="1013566" y="3609735"/>
            <a:ext cx="215050" cy="336172"/>
          </a:xfrm>
          <a:custGeom>
            <a:avLst/>
            <a:gdLst>
              <a:gd name="T0" fmla="*/ 124 w 310"/>
              <a:gd name="T1" fmla="*/ 510 h 645"/>
              <a:gd name="T2" fmla="*/ 137 w 310"/>
              <a:gd name="T3" fmla="*/ 486 h 645"/>
              <a:gd name="T4" fmla="*/ 164 w 310"/>
              <a:gd name="T5" fmla="*/ 473 h 645"/>
              <a:gd name="T6" fmla="*/ 288 w 310"/>
              <a:gd name="T7" fmla="*/ 472 h 645"/>
              <a:gd name="T8" fmla="*/ 303 w 310"/>
              <a:gd name="T9" fmla="*/ 463 h 645"/>
              <a:gd name="T10" fmla="*/ 310 w 310"/>
              <a:gd name="T11" fmla="*/ 444 h 645"/>
              <a:gd name="T12" fmla="*/ 114 w 310"/>
              <a:gd name="T13" fmla="*/ 442 h 645"/>
              <a:gd name="T14" fmla="*/ 97 w 310"/>
              <a:gd name="T15" fmla="*/ 426 h 645"/>
              <a:gd name="T16" fmla="*/ 95 w 310"/>
              <a:gd name="T17" fmla="*/ 403 h 645"/>
              <a:gd name="T18" fmla="*/ 106 w 310"/>
              <a:gd name="T19" fmla="*/ 341 h 645"/>
              <a:gd name="T20" fmla="*/ 125 w 310"/>
              <a:gd name="T21" fmla="*/ 293 h 645"/>
              <a:gd name="T22" fmla="*/ 125 w 310"/>
              <a:gd name="T23" fmla="*/ 293 h 645"/>
              <a:gd name="T24" fmla="*/ 134 w 310"/>
              <a:gd name="T25" fmla="*/ 281 h 645"/>
              <a:gd name="T26" fmla="*/ 151 w 310"/>
              <a:gd name="T27" fmla="*/ 271 h 645"/>
              <a:gd name="T28" fmla="*/ 192 w 310"/>
              <a:gd name="T29" fmla="*/ 305 h 645"/>
              <a:gd name="T30" fmla="*/ 192 w 310"/>
              <a:gd name="T31" fmla="*/ 341 h 645"/>
              <a:gd name="T32" fmla="*/ 192 w 310"/>
              <a:gd name="T33" fmla="*/ 342 h 645"/>
              <a:gd name="T34" fmla="*/ 200 w 310"/>
              <a:gd name="T35" fmla="*/ 347 h 645"/>
              <a:gd name="T36" fmla="*/ 207 w 310"/>
              <a:gd name="T37" fmla="*/ 359 h 645"/>
              <a:gd name="T38" fmla="*/ 218 w 310"/>
              <a:gd name="T39" fmla="*/ 374 h 645"/>
              <a:gd name="T40" fmla="*/ 240 w 310"/>
              <a:gd name="T41" fmla="*/ 374 h 645"/>
              <a:gd name="T42" fmla="*/ 250 w 310"/>
              <a:gd name="T43" fmla="*/ 359 h 645"/>
              <a:gd name="T44" fmla="*/ 258 w 310"/>
              <a:gd name="T45" fmla="*/ 347 h 645"/>
              <a:gd name="T46" fmla="*/ 264 w 310"/>
              <a:gd name="T47" fmla="*/ 342 h 645"/>
              <a:gd name="T48" fmla="*/ 265 w 310"/>
              <a:gd name="T49" fmla="*/ 341 h 645"/>
              <a:gd name="T50" fmla="*/ 265 w 310"/>
              <a:gd name="T51" fmla="*/ 140 h 645"/>
              <a:gd name="T52" fmla="*/ 258 w 310"/>
              <a:gd name="T53" fmla="*/ 125 h 645"/>
              <a:gd name="T54" fmla="*/ 258 w 310"/>
              <a:gd name="T55" fmla="*/ 55 h 645"/>
              <a:gd name="T56" fmla="*/ 264 w 310"/>
              <a:gd name="T57" fmla="*/ 0 h 645"/>
              <a:gd name="T58" fmla="*/ 192 w 310"/>
              <a:gd name="T59" fmla="*/ 47 h 645"/>
              <a:gd name="T60" fmla="*/ 202 w 310"/>
              <a:gd name="T61" fmla="*/ 123 h 645"/>
              <a:gd name="T62" fmla="*/ 193 w 310"/>
              <a:gd name="T63" fmla="*/ 135 h 645"/>
              <a:gd name="T64" fmla="*/ 121 w 310"/>
              <a:gd name="T65" fmla="*/ 149 h 645"/>
              <a:gd name="T66" fmla="*/ 74 w 310"/>
              <a:gd name="T67" fmla="*/ 228 h 645"/>
              <a:gd name="T68" fmla="*/ 27 w 310"/>
              <a:gd name="T69" fmla="*/ 331 h 645"/>
              <a:gd name="T70" fmla="*/ 13 w 310"/>
              <a:gd name="T71" fmla="*/ 396 h 645"/>
              <a:gd name="T72" fmla="*/ 18 w 310"/>
              <a:gd name="T73" fmla="*/ 442 h 645"/>
              <a:gd name="T74" fmla="*/ 34 w 310"/>
              <a:gd name="T75" fmla="*/ 469 h 645"/>
              <a:gd name="T76" fmla="*/ 34 w 310"/>
              <a:gd name="T77" fmla="*/ 470 h 645"/>
              <a:gd name="T78" fmla="*/ 16 w 310"/>
              <a:gd name="T79" fmla="*/ 516 h 645"/>
              <a:gd name="T80" fmla="*/ 0 w 310"/>
              <a:gd name="T81" fmla="*/ 585 h 645"/>
              <a:gd name="T82" fmla="*/ 4 w 310"/>
              <a:gd name="T83" fmla="*/ 627 h 645"/>
              <a:gd name="T84" fmla="*/ 309 w 310"/>
              <a:gd name="T85" fmla="*/ 581 h 645"/>
              <a:gd name="T86" fmla="*/ 157 w 310"/>
              <a:gd name="T87" fmla="*/ 577 h 645"/>
              <a:gd name="T88" fmla="*/ 134 w 310"/>
              <a:gd name="T89" fmla="*/ 563 h 645"/>
              <a:gd name="T90" fmla="*/ 123 w 310"/>
              <a:gd name="T91" fmla="*/ 537 h 645"/>
              <a:gd name="T92" fmla="*/ 174 w 310"/>
              <a:gd name="T93" fmla="*/ 167 h 645"/>
              <a:gd name="T94" fmla="*/ 189 w 310"/>
              <a:gd name="T95" fmla="*/ 173 h 645"/>
              <a:gd name="T96" fmla="*/ 194 w 310"/>
              <a:gd name="T97" fmla="*/ 187 h 645"/>
              <a:gd name="T98" fmla="*/ 191 w 310"/>
              <a:gd name="T99" fmla="*/ 198 h 645"/>
              <a:gd name="T100" fmla="*/ 179 w 310"/>
              <a:gd name="T101" fmla="*/ 206 h 645"/>
              <a:gd name="T102" fmla="*/ 166 w 310"/>
              <a:gd name="T103" fmla="*/ 205 h 645"/>
              <a:gd name="T104" fmla="*/ 156 w 310"/>
              <a:gd name="T105" fmla="*/ 194 h 645"/>
              <a:gd name="T106" fmla="*/ 155 w 310"/>
              <a:gd name="T107" fmla="*/ 183 h 645"/>
              <a:gd name="T108" fmla="*/ 163 w 310"/>
              <a:gd name="T109" fmla="*/ 171 h 645"/>
              <a:gd name="T110" fmla="*/ 174 w 310"/>
              <a:gd name="T111" fmla="*/ 167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0" h="645">
                <a:moveTo>
                  <a:pt x="121" y="527"/>
                </a:moveTo>
                <a:lnTo>
                  <a:pt x="121" y="527"/>
                </a:lnTo>
                <a:lnTo>
                  <a:pt x="121" y="518"/>
                </a:lnTo>
                <a:lnTo>
                  <a:pt x="124" y="510"/>
                </a:lnTo>
                <a:lnTo>
                  <a:pt x="127" y="500"/>
                </a:lnTo>
                <a:lnTo>
                  <a:pt x="130" y="495"/>
                </a:lnTo>
                <a:lnTo>
                  <a:pt x="133" y="491"/>
                </a:lnTo>
                <a:lnTo>
                  <a:pt x="137" y="486"/>
                </a:lnTo>
                <a:lnTo>
                  <a:pt x="142" y="481"/>
                </a:lnTo>
                <a:lnTo>
                  <a:pt x="148" y="478"/>
                </a:lnTo>
                <a:lnTo>
                  <a:pt x="155" y="475"/>
                </a:lnTo>
                <a:lnTo>
                  <a:pt x="164" y="473"/>
                </a:lnTo>
                <a:lnTo>
                  <a:pt x="173" y="473"/>
                </a:lnTo>
                <a:lnTo>
                  <a:pt x="284" y="473"/>
                </a:lnTo>
                <a:lnTo>
                  <a:pt x="284" y="473"/>
                </a:lnTo>
                <a:lnTo>
                  <a:pt x="288" y="472"/>
                </a:lnTo>
                <a:lnTo>
                  <a:pt x="292" y="471"/>
                </a:lnTo>
                <a:lnTo>
                  <a:pt x="296" y="470"/>
                </a:lnTo>
                <a:lnTo>
                  <a:pt x="299" y="468"/>
                </a:lnTo>
                <a:lnTo>
                  <a:pt x="303" y="463"/>
                </a:lnTo>
                <a:lnTo>
                  <a:pt x="306" y="458"/>
                </a:lnTo>
                <a:lnTo>
                  <a:pt x="308" y="453"/>
                </a:lnTo>
                <a:lnTo>
                  <a:pt x="309" y="448"/>
                </a:lnTo>
                <a:lnTo>
                  <a:pt x="310" y="444"/>
                </a:lnTo>
                <a:lnTo>
                  <a:pt x="121" y="444"/>
                </a:lnTo>
                <a:lnTo>
                  <a:pt x="121" y="444"/>
                </a:lnTo>
                <a:lnTo>
                  <a:pt x="117" y="443"/>
                </a:lnTo>
                <a:lnTo>
                  <a:pt x="114" y="442"/>
                </a:lnTo>
                <a:lnTo>
                  <a:pt x="109" y="441"/>
                </a:lnTo>
                <a:lnTo>
                  <a:pt x="104" y="438"/>
                </a:lnTo>
                <a:lnTo>
                  <a:pt x="100" y="433"/>
                </a:lnTo>
                <a:lnTo>
                  <a:pt x="97" y="426"/>
                </a:lnTo>
                <a:lnTo>
                  <a:pt x="96" y="417"/>
                </a:lnTo>
                <a:lnTo>
                  <a:pt x="95" y="417"/>
                </a:lnTo>
                <a:lnTo>
                  <a:pt x="95" y="417"/>
                </a:lnTo>
                <a:lnTo>
                  <a:pt x="95" y="403"/>
                </a:lnTo>
                <a:lnTo>
                  <a:pt x="96" y="389"/>
                </a:lnTo>
                <a:lnTo>
                  <a:pt x="99" y="372"/>
                </a:lnTo>
                <a:lnTo>
                  <a:pt x="102" y="357"/>
                </a:lnTo>
                <a:lnTo>
                  <a:pt x="106" y="341"/>
                </a:lnTo>
                <a:lnTo>
                  <a:pt x="112" y="325"/>
                </a:lnTo>
                <a:lnTo>
                  <a:pt x="117" y="308"/>
                </a:lnTo>
                <a:lnTo>
                  <a:pt x="125" y="293"/>
                </a:lnTo>
                <a:lnTo>
                  <a:pt x="125" y="293"/>
                </a:lnTo>
                <a:lnTo>
                  <a:pt x="125" y="294"/>
                </a:lnTo>
                <a:lnTo>
                  <a:pt x="127" y="288"/>
                </a:lnTo>
                <a:lnTo>
                  <a:pt x="127" y="288"/>
                </a:lnTo>
                <a:lnTo>
                  <a:pt x="125" y="293"/>
                </a:lnTo>
                <a:lnTo>
                  <a:pt x="125" y="293"/>
                </a:lnTo>
                <a:lnTo>
                  <a:pt x="127" y="288"/>
                </a:lnTo>
                <a:lnTo>
                  <a:pt x="130" y="284"/>
                </a:lnTo>
                <a:lnTo>
                  <a:pt x="134" y="281"/>
                </a:lnTo>
                <a:lnTo>
                  <a:pt x="137" y="277"/>
                </a:lnTo>
                <a:lnTo>
                  <a:pt x="142" y="275"/>
                </a:lnTo>
                <a:lnTo>
                  <a:pt x="146" y="273"/>
                </a:lnTo>
                <a:lnTo>
                  <a:pt x="151" y="271"/>
                </a:lnTo>
                <a:lnTo>
                  <a:pt x="156" y="271"/>
                </a:lnTo>
                <a:lnTo>
                  <a:pt x="192" y="271"/>
                </a:lnTo>
                <a:lnTo>
                  <a:pt x="192" y="305"/>
                </a:lnTo>
                <a:lnTo>
                  <a:pt x="192" y="305"/>
                </a:lnTo>
                <a:lnTo>
                  <a:pt x="192" y="338"/>
                </a:lnTo>
                <a:lnTo>
                  <a:pt x="192" y="338"/>
                </a:lnTo>
                <a:lnTo>
                  <a:pt x="192" y="341"/>
                </a:lnTo>
                <a:lnTo>
                  <a:pt x="192" y="341"/>
                </a:lnTo>
                <a:lnTo>
                  <a:pt x="192" y="341"/>
                </a:lnTo>
                <a:lnTo>
                  <a:pt x="192" y="341"/>
                </a:lnTo>
                <a:lnTo>
                  <a:pt x="192" y="342"/>
                </a:lnTo>
                <a:lnTo>
                  <a:pt x="192" y="342"/>
                </a:lnTo>
                <a:lnTo>
                  <a:pt x="194" y="345"/>
                </a:lnTo>
                <a:lnTo>
                  <a:pt x="195" y="346"/>
                </a:lnTo>
                <a:lnTo>
                  <a:pt x="197" y="347"/>
                </a:lnTo>
                <a:lnTo>
                  <a:pt x="200" y="347"/>
                </a:lnTo>
                <a:lnTo>
                  <a:pt x="200" y="347"/>
                </a:lnTo>
                <a:lnTo>
                  <a:pt x="207" y="347"/>
                </a:lnTo>
                <a:lnTo>
                  <a:pt x="207" y="359"/>
                </a:lnTo>
                <a:lnTo>
                  <a:pt x="207" y="359"/>
                </a:lnTo>
                <a:lnTo>
                  <a:pt x="208" y="365"/>
                </a:lnTo>
                <a:lnTo>
                  <a:pt x="211" y="370"/>
                </a:lnTo>
                <a:lnTo>
                  <a:pt x="215" y="374"/>
                </a:lnTo>
                <a:lnTo>
                  <a:pt x="218" y="374"/>
                </a:lnTo>
                <a:lnTo>
                  <a:pt x="220" y="375"/>
                </a:lnTo>
                <a:lnTo>
                  <a:pt x="237" y="375"/>
                </a:lnTo>
                <a:lnTo>
                  <a:pt x="237" y="375"/>
                </a:lnTo>
                <a:lnTo>
                  <a:pt x="240" y="374"/>
                </a:lnTo>
                <a:lnTo>
                  <a:pt x="242" y="374"/>
                </a:lnTo>
                <a:lnTo>
                  <a:pt x="247" y="370"/>
                </a:lnTo>
                <a:lnTo>
                  <a:pt x="249" y="365"/>
                </a:lnTo>
                <a:lnTo>
                  <a:pt x="250" y="359"/>
                </a:lnTo>
                <a:lnTo>
                  <a:pt x="250" y="347"/>
                </a:lnTo>
                <a:lnTo>
                  <a:pt x="258" y="347"/>
                </a:lnTo>
                <a:lnTo>
                  <a:pt x="258" y="347"/>
                </a:lnTo>
                <a:lnTo>
                  <a:pt x="258" y="347"/>
                </a:lnTo>
                <a:lnTo>
                  <a:pt x="262" y="346"/>
                </a:lnTo>
                <a:lnTo>
                  <a:pt x="263" y="344"/>
                </a:lnTo>
                <a:lnTo>
                  <a:pt x="264" y="342"/>
                </a:lnTo>
                <a:lnTo>
                  <a:pt x="264" y="342"/>
                </a:lnTo>
                <a:lnTo>
                  <a:pt x="265" y="341"/>
                </a:lnTo>
                <a:lnTo>
                  <a:pt x="265" y="341"/>
                </a:lnTo>
                <a:lnTo>
                  <a:pt x="265" y="341"/>
                </a:lnTo>
                <a:lnTo>
                  <a:pt x="265" y="341"/>
                </a:lnTo>
                <a:lnTo>
                  <a:pt x="265" y="338"/>
                </a:lnTo>
                <a:lnTo>
                  <a:pt x="265" y="284"/>
                </a:lnTo>
                <a:lnTo>
                  <a:pt x="265" y="284"/>
                </a:lnTo>
                <a:lnTo>
                  <a:pt x="265" y="140"/>
                </a:lnTo>
                <a:lnTo>
                  <a:pt x="265" y="140"/>
                </a:lnTo>
                <a:lnTo>
                  <a:pt x="264" y="134"/>
                </a:lnTo>
                <a:lnTo>
                  <a:pt x="262" y="129"/>
                </a:lnTo>
                <a:lnTo>
                  <a:pt x="258" y="125"/>
                </a:lnTo>
                <a:lnTo>
                  <a:pt x="253" y="123"/>
                </a:lnTo>
                <a:lnTo>
                  <a:pt x="253" y="58"/>
                </a:lnTo>
                <a:lnTo>
                  <a:pt x="253" y="58"/>
                </a:lnTo>
                <a:lnTo>
                  <a:pt x="258" y="55"/>
                </a:lnTo>
                <a:lnTo>
                  <a:pt x="261" y="51"/>
                </a:lnTo>
                <a:lnTo>
                  <a:pt x="263" y="47"/>
                </a:lnTo>
                <a:lnTo>
                  <a:pt x="264" y="42"/>
                </a:lnTo>
                <a:lnTo>
                  <a:pt x="264" y="0"/>
                </a:lnTo>
                <a:lnTo>
                  <a:pt x="191" y="0"/>
                </a:lnTo>
                <a:lnTo>
                  <a:pt x="191" y="42"/>
                </a:lnTo>
                <a:lnTo>
                  <a:pt x="191" y="42"/>
                </a:lnTo>
                <a:lnTo>
                  <a:pt x="192" y="47"/>
                </a:lnTo>
                <a:lnTo>
                  <a:pt x="194" y="51"/>
                </a:lnTo>
                <a:lnTo>
                  <a:pt x="198" y="55"/>
                </a:lnTo>
                <a:lnTo>
                  <a:pt x="202" y="58"/>
                </a:lnTo>
                <a:lnTo>
                  <a:pt x="202" y="123"/>
                </a:lnTo>
                <a:lnTo>
                  <a:pt x="202" y="123"/>
                </a:lnTo>
                <a:lnTo>
                  <a:pt x="198" y="126"/>
                </a:lnTo>
                <a:lnTo>
                  <a:pt x="195" y="130"/>
                </a:lnTo>
                <a:lnTo>
                  <a:pt x="193" y="135"/>
                </a:lnTo>
                <a:lnTo>
                  <a:pt x="192" y="140"/>
                </a:lnTo>
                <a:lnTo>
                  <a:pt x="192" y="149"/>
                </a:lnTo>
                <a:lnTo>
                  <a:pt x="121" y="149"/>
                </a:lnTo>
                <a:lnTo>
                  <a:pt x="121" y="149"/>
                </a:lnTo>
                <a:lnTo>
                  <a:pt x="114" y="159"/>
                </a:lnTo>
                <a:lnTo>
                  <a:pt x="97" y="187"/>
                </a:lnTo>
                <a:lnTo>
                  <a:pt x="86" y="206"/>
                </a:lnTo>
                <a:lnTo>
                  <a:pt x="74" y="228"/>
                </a:lnTo>
                <a:lnTo>
                  <a:pt x="60" y="252"/>
                </a:lnTo>
                <a:lnTo>
                  <a:pt x="48" y="277"/>
                </a:lnTo>
                <a:lnTo>
                  <a:pt x="37" y="303"/>
                </a:lnTo>
                <a:lnTo>
                  <a:pt x="27" y="331"/>
                </a:lnTo>
                <a:lnTo>
                  <a:pt x="20" y="357"/>
                </a:lnTo>
                <a:lnTo>
                  <a:pt x="17" y="370"/>
                </a:lnTo>
                <a:lnTo>
                  <a:pt x="15" y="383"/>
                </a:lnTo>
                <a:lnTo>
                  <a:pt x="13" y="396"/>
                </a:lnTo>
                <a:lnTo>
                  <a:pt x="12" y="408"/>
                </a:lnTo>
                <a:lnTo>
                  <a:pt x="13" y="419"/>
                </a:lnTo>
                <a:lnTo>
                  <a:pt x="16" y="431"/>
                </a:lnTo>
                <a:lnTo>
                  <a:pt x="18" y="442"/>
                </a:lnTo>
                <a:lnTo>
                  <a:pt x="22" y="452"/>
                </a:lnTo>
                <a:lnTo>
                  <a:pt x="28" y="461"/>
                </a:lnTo>
                <a:lnTo>
                  <a:pt x="34" y="469"/>
                </a:lnTo>
                <a:lnTo>
                  <a:pt x="34" y="469"/>
                </a:lnTo>
                <a:lnTo>
                  <a:pt x="34" y="469"/>
                </a:lnTo>
                <a:lnTo>
                  <a:pt x="35" y="470"/>
                </a:lnTo>
                <a:lnTo>
                  <a:pt x="34" y="470"/>
                </a:lnTo>
                <a:lnTo>
                  <a:pt x="34" y="470"/>
                </a:lnTo>
                <a:lnTo>
                  <a:pt x="34" y="469"/>
                </a:lnTo>
                <a:lnTo>
                  <a:pt x="34" y="469"/>
                </a:lnTo>
                <a:lnTo>
                  <a:pt x="24" y="493"/>
                </a:lnTo>
                <a:lnTo>
                  <a:pt x="16" y="516"/>
                </a:lnTo>
                <a:lnTo>
                  <a:pt x="8" y="541"/>
                </a:lnTo>
                <a:lnTo>
                  <a:pt x="3" y="563"/>
                </a:lnTo>
                <a:lnTo>
                  <a:pt x="1" y="575"/>
                </a:lnTo>
                <a:lnTo>
                  <a:pt x="0" y="585"/>
                </a:lnTo>
                <a:lnTo>
                  <a:pt x="0" y="597"/>
                </a:lnTo>
                <a:lnTo>
                  <a:pt x="0" y="607"/>
                </a:lnTo>
                <a:lnTo>
                  <a:pt x="2" y="617"/>
                </a:lnTo>
                <a:lnTo>
                  <a:pt x="4" y="627"/>
                </a:lnTo>
                <a:lnTo>
                  <a:pt x="7" y="636"/>
                </a:lnTo>
                <a:lnTo>
                  <a:pt x="11" y="645"/>
                </a:lnTo>
                <a:lnTo>
                  <a:pt x="309" y="645"/>
                </a:lnTo>
                <a:lnTo>
                  <a:pt x="309" y="581"/>
                </a:lnTo>
                <a:lnTo>
                  <a:pt x="173" y="581"/>
                </a:lnTo>
                <a:lnTo>
                  <a:pt x="173" y="581"/>
                </a:lnTo>
                <a:lnTo>
                  <a:pt x="165" y="580"/>
                </a:lnTo>
                <a:lnTo>
                  <a:pt x="157" y="577"/>
                </a:lnTo>
                <a:lnTo>
                  <a:pt x="148" y="573"/>
                </a:lnTo>
                <a:lnTo>
                  <a:pt x="143" y="570"/>
                </a:lnTo>
                <a:lnTo>
                  <a:pt x="138" y="567"/>
                </a:lnTo>
                <a:lnTo>
                  <a:pt x="134" y="563"/>
                </a:lnTo>
                <a:lnTo>
                  <a:pt x="130" y="557"/>
                </a:lnTo>
                <a:lnTo>
                  <a:pt x="127" y="551"/>
                </a:lnTo>
                <a:lnTo>
                  <a:pt x="124" y="545"/>
                </a:lnTo>
                <a:lnTo>
                  <a:pt x="123" y="537"/>
                </a:lnTo>
                <a:lnTo>
                  <a:pt x="121" y="527"/>
                </a:lnTo>
                <a:lnTo>
                  <a:pt x="121" y="527"/>
                </a:lnTo>
                <a:close/>
                <a:moveTo>
                  <a:pt x="174" y="167"/>
                </a:moveTo>
                <a:lnTo>
                  <a:pt x="174" y="167"/>
                </a:lnTo>
                <a:lnTo>
                  <a:pt x="179" y="168"/>
                </a:lnTo>
                <a:lnTo>
                  <a:pt x="182" y="169"/>
                </a:lnTo>
                <a:lnTo>
                  <a:pt x="186" y="171"/>
                </a:lnTo>
                <a:lnTo>
                  <a:pt x="189" y="173"/>
                </a:lnTo>
                <a:lnTo>
                  <a:pt x="191" y="176"/>
                </a:lnTo>
                <a:lnTo>
                  <a:pt x="193" y="179"/>
                </a:lnTo>
                <a:lnTo>
                  <a:pt x="194" y="183"/>
                </a:lnTo>
                <a:lnTo>
                  <a:pt x="194" y="187"/>
                </a:lnTo>
                <a:lnTo>
                  <a:pt x="194" y="187"/>
                </a:lnTo>
                <a:lnTo>
                  <a:pt x="194" y="191"/>
                </a:lnTo>
                <a:lnTo>
                  <a:pt x="193" y="194"/>
                </a:lnTo>
                <a:lnTo>
                  <a:pt x="191" y="198"/>
                </a:lnTo>
                <a:lnTo>
                  <a:pt x="189" y="201"/>
                </a:lnTo>
                <a:lnTo>
                  <a:pt x="186" y="203"/>
                </a:lnTo>
                <a:lnTo>
                  <a:pt x="182" y="205"/>
                </a:lnTo>
                <a:lnTo>
                  <a:pt x="179" y="206"/>
                </a:lnTo>
                <a:lnTo>
                  <a:pt x="174" y="206"/>
                </a:lnTo>
                <a:lnTo>
                  <a:pt x="174" y="206"/>
                </a:lnTo>
                <a:lnTo>
                  <a:pt x="170" y="206"/>
                </a:lnTo>
                <a:lnTo>
                  <a:pt x="166" y="205"/>
                </a:lnTo>
                <a:lnTo>
                  <a:pt x="163" y="203"/>
                </a:lnTo>
                <a:lnTo>
                  <a:pt x="160" y="201"/>
                </a:lnTo>
                <a:lnTo>
                  <a:pt x="158" y="198"/>
                </a:lnTo>
                <a:lnTo>
                  <a:pt x="156" y="194"/>
                </a:lnTo>
                <a:lnTo>
                  <a:pt x="155" y="191"/>
                </a:lnTo>
                <a:lnTo>
                  <a:pt x="154" y="187"/>
                </a:lnTo>
                <a:lnTo>
                  <a:pt x="154" y="187"/>
                </a:lnTo>
                <a:lnTo>
                  <a:pt x="155" y="183"/>
                </a:lnTo>
                <a:lnTo>
                  <a:pt x="156" y="179"/>
                </a:lnTo>
                <a:lnTo>
                  <a:pt x="158" y="176"/>
                </a:lnTo>
                <a:lnTo>
                  <a:pt x="160" y="173"/>
                </a:lnTo>
                <a:lnTo>
                  <a:pt x="163" y="171"/>
                </a:lnTo>
                <a:lnTo>
                  <a:pt x="166" y="169"/>
                </a:lnTo>
                <a:lnTo>
                  <a:pt x="170" y="168"/>
                </a:lnTo>
                <a:lnTo>
                  <a:pt x="174" y="167"/>
                </a:lnTo>
                <a:lnTo>
                  <a:pt x="174" y="16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spTree>
    <p:extLst>
      <p:ext uri="{BB962C8B-B14F-4D97-AF65-F5344CB8AC3E}">
        <p14:creationId xmlns:p14="http://schemas.microsoft.com/office/powerpoint/2010/main" val="178549008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913BA60-4211-4BAF-ADCE-C48B6FE1327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8" name="think-cell Slide" r:id="rId6" imgW="415" imgH="416" progId="TCLayout.ActiveDocument.1">
                  <p:embed/>
                </p:oleObj>
              </mc:Choice>
              <mc:Fallback>
                <p:oleObj name="think-cell Slide" r:id="rId6" imgW="415" imgH="416" progId="TCLayout.ActiveDocument.1">
                  <p:embed/>
                  <p:pic>
                    <p:nvPicPr>
                      <p:cNvPr id="6" name="Object 5" hidden="1">
                        <a:extLst>
                          <a:ext uri="{FF2B5EF4-FFF2-40B4-BE49-F238E27FC236}">
                            <a16:creationId xmlns:a16="http://schemas.microsoft.com/office/drawing/2014/main" id="{C913BA60-4211-4BAF-ADCE-C48B6FE1327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67B9E87-83EB-44D7-9346-27C606021DD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72FC7F07-C8D6-4672-8620-FC905538214D}"/>
              </a:ext>
            </a:extLst>
          </p:cNvPr>
          <p:cNvSpPr>
            <a:spLocks noGrp="1"/>
          </p:cNvSpPr>
          <p:nvPr>
            <p:ph type="title"/>
          </p:nvPr>
        </p:nvSpPr>
        <p:spPr/>
        <p:txBody>
          <a:bodyPr anchor="b"/>
          <a:lstStyle/>
          <a:p>
            <a:r>
              <a:rPr lang="en-US" dirty="0"/>
              <a:t>Owning the Dynamic Consumer Journey</a:t>
            </a:r>
          </a:p>
        </p:txBody>
      </p:sp>
      <p:sp>
        <p:nvSpPr>
          <p:cNvPr id="3" name="Text Placeholder 2">
            <a:extLst>
              <a:ext uri="{FF2B5EF4-FFF2-40B4-BE49-F238E27FC236}">
                <a16:creationId xmlns:a16="http://schemas.microsoft.com/office/drawing/2014/main" id="{93D1D485-2B5F-40F4-9F3F-4CE7917B12CE}"/>
              </a:ext>
            </a:extLst>
          </p:cNvPr>
          <p:cNvSpPr>
            <a:spLocks noGrp="1"/>
          </p:cNvSpPr>
          <p:nvPr>
            <p:ph type="body" sz="quarter" idx="14"/>
          </p:nvPr>
        </p:nvSpPr>
        <p:spPr/>
        <p:txBody>
          <a:bodyPr/>
          <a:lstStyle/>
          <a:p>
            <a:r>
              <a:rPr lang="en-US" dirty="0"/>
              <a:t>Subheader</a:t>
            </a:r>
          </a:p>
        </p:txBody>
      </p:sp>
      <p:sp>
        <p:nvSpPr>
          <p:cNvPr id="4" name="Text Placeholder 3">
            <a:extLst>
              <a:ext uri="{FF2B5EF4-FFF2-40B4-BE49-F238E27FC236}">
                <a16:creationId xmlns:a16="http://schemas.microsoft.com/office/drawing/2014/main" id="{59DE1FF5-5B34-49C8-8B7F-EC9EC6EE4DF8}"/>
              </a:ext>
            </a:extLst>
          </p:cNvPr>
          <p:cNvSpPr>
            <a:spLocks noGrp="1"/>
          </p:cNvSpPr>
          <p:nvPr>
            <p:ph type="body" sz="quarter" idx="15"/>
          </p:nvPr>
        </p:nvSpPr>
        <p:spPr/>
        <p:txBody>
          <a:bodyPr/>
          <a:lstStyle/>
          <a:p>
            <a:r>
              <a:rPr lang="en-US" dirty="0"/>
              <a:t>text</a:t>
            </a:r>
          </a:p>
        </p:txBody>
      </p:sp>
      <p:sp>
        <p:nvSpPr>
          <p:cNvPr id="7" name="Rectangle 6">
            <a:extLst>
              <a:ext uri="{FF2B5EF4-FFF2-40B4-BE49-F238E27FC236}">
                <a16:creationId xmlns:a16="http://schemas.microsoft.com/office/drawing/2014/main" id="{3D648EFC-B418-471F-A750-76253A96140D}"/>
              </a:ext>
            </a:extLst>
          </p:cNvPr>
          <p:cNvSpPr/>
          <p:nvPr/>
        </p:nvSpPr>
        <p:spPr>
          <a:xfrm>
            <a:off x="5505450" y="1926954"/>
            <a:ext cx="6198870" cy="4223403"/>
          </a:xfrm>
          <a:prstGeom prst="rect">
            <a:avLst/>
          </a:prstGeom>
          <a:solidFill>
            <a:schemeClr val="accent1">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 name="Pentagon 2">
            <a:extLst>
              <a:ext uri="{FF2B5EF4-FFF2-40B4-BE49-F238E27FC236}">
                <a16:creationId xmlns:a16="http://schemas.microsoft.com/office/drawing/2014/main" id="{33283557-34EA-47FD-A400-BB72F03DE563}"/>
              </a:ext>
            </a:extLst>
          </p:cNvPr>
          <p:cNvSpPr/>
          <p:nvPr/>
        </p:nvSpPr>
        <p:spPr>
          <a:xfrm>
            <a:off x="411479" y="1926954"/>
            <a:ext cx="5932171" cy="4223403"/>
          </a:xfrm>
          <a:custGeom>
            <a:avLst/>
            <a:gdLst>
              <a:gd name="connsiteX0" fmla="*/ 0 w 7905750"/>
              <a:gd name="connsiteY0" fmla="*/ 0 h 4425696"/>
              <a:gd name="connsiteX1" fmla="*/ 5692902 w 7905750"/>
              <a:gd name="connsiteY1" fmla="*/ 0 h 4425696"/>
              <a:gd name="connsiteX2" fmla="*/ 7905750 w 7905750"/>
              <a:gd name="connsiteY2" fmla="*/ 2212848 h 4425696"/>
              <a:gd name="connsiteX3" fmla="*/ 5692902 w 7905750"/>
              <a:gd name="connsiteY3" fmla="*/ 4425696 h 4425696"/>
              <a:gd name="connsiteX4" fmla="*/ 0 w 7905750"/>
              <a:gd name="connsiteY4" fmla="*/ 4425696 h 4425696"/>
              <a:gd name="connsiteX5" fmla="*/ 0 w 7905750"/>
              <a:gd name="connsiteY5" fmla="*/ 0 h 4425696"/>
              <a:gd name="connsiteX0" fmla="*/ 0 w 6534150"/>
              <a:gd name="connsiteY0" fmla="*/ 0 h 4425696"/>
              <a:gd name="connsiteX1" fmla="*/ 5692902 w 6534150"/>
              <a:gd name="connsiteY1" fmla="*/ 0 h 4425696"/>
              <a:gd name="connsiteX2" fmla="*/ 6534150 w 6534150"/>
              <a:gd name="connsiteY2" fmla="*/ 2212848 h 4425696"/>
              <a:gd name="connsiteX3" fmla="*/ 5692902 w 6534150"/>
              <a:gd name="connsiteY3" fmla="*/ 4425696 h 4425696"/>
              <a:gd name="connsiteX4" fmla="*/ 0 w 6534150"/>
              <a:gd name="connsiteY4" fmla="*/ 4425696 h 4425696"/>
              <a:gd name="connsiteX5" fmla="*/ 0 w 6534150"/>
              <a:gd name="connsiteY5" fmla="*/ 0 h 4425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4150" h="4425696">
                <a:moveTo>
                  <a:pt x="0" y="0"/>
                </a:moveTo>
                <a:lnTo>
                  <a:pt x="5692902" y="0"/>
                </a:lnTo>
                <a:lnTo>
                  <a:pt x="6534150" y="2212848"/>
                </a:lnTo>
                <a:lnTo>
                  <a:pt x="5692902" y="4425696"/>
                </a:lnTo>
                <a:lnTo>
                  <a:pt x="0" y="4425696"/>
                </a:lnTo>
                <a:lnTo>
                  <a:pt x="0" y="0"/>
                </a:lnTo>
                <a:close/>
              </a:path>
            </a:pathLst>
          </a:cu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nvGrpSpPr>
          <p:cNvPr id="9" name="Group 8">
            <a:extLst>
              <a:ext uri="{FF2B5EF4-FFF2-40B4-BE49-F238E27FC236}">
                <a16:creationId xmlns:a16="http://schemas.microsoft.com/office/drawing/2014/main" id="{6A36FE4B-CE7F-46A8-9D29-EF0041F8D6CF}"/>
              </a:ext>
            </a:extLst>
          </p:cNvPr>
          <p:cNvGrpSpPr/>
          <p:nvPr/>
        </p:nvGrpSpPr>
        <p:grpSpPr>
          <a:xfrm>
            <a:off x="1772796" y="2188286"/>
            <a:ext cx="2566558" cy="445178"/>
            <a:chOff x="529068" y="1883488"/>
            <a:chExt cx="2566558" cy="445178"/>
          </a:xfrm>
        </p:grpSpPr>
        <p:sp>
          <p:nvSpPr>
            <p:cNvPr id="10" name="Rectangle 9">
              <a:extLst>
                <a:ext uri="{FF2B5EF4-FFF2-40B4-BE49-F238E27FC236}">
                  <a16:creationId xmlns:a16="http://schemas.microsoft.com/office/drawing/2014/main" id="{6E7AE6C2-6B9A-43D2-919B-C85F11A30D6B}"/>
                </a:ext>
              </a:extLst>
            </p:cNvPr>
            <p:cNvSpPr/>
            <p:nvPr/>
          </p:nvSpPr>
          <p:spPr>
            <a:xfrm>
              <a:off x="914401" y="1921411"/>
              <a:ext cx="2181225"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OLD WORLD</a:t>
              </a:r>
            </a:p>
          </p:txBody>
        </p:sp>
        <p:grpSp>
          <p:nvGrpSpPr>
            <p:cNvPr id="11" name="Group 10">
              <a:extLst>
                <a:ext uri="{FF2B5EF4-FFF2-40B4-BE49-F238E27FC236}">
                  <a16:creationId xmlns:a16="http://schemas.microsoft.com/office/drawing/2014/main" id="{1C13B888-0045-468E-9701-AA8477D2E920}"/>
                </a:ext>
              </a:extLst>
            </p:cNvPr>
            <p:cNvGrpSpPr>
              <a:grpSpLocks noChangeAspect="1"/>
            </p:cNvGrpSpPr>
            <p:nvPr/>
          </p:nvGrpSpPr>
          <p:grpSpPr>
            <a:xfrm>
              <a:off x="529068" y="1883488"/>
              <a:ext cx="307975" cy="445178"/>
              <a:chOff x="9207500" y="2944813"/>
              <a:chExt cx="334962" cy="484188"/>
            </a:xfrm>
          </p:grpSpPr>
          <p:sp>
            <p:nvSpPr>
              <p:cNvPr id="12" name="Freeform 374">
                <a:extLst>
                  <a:ext uri="{FF2B5EF4-FFF2-40B4-BE49-F238E27FC236}">
                    <a16:creationId xmlns:a16="http://schemas.microsoft.com/office/drawing/2014/main" id="{58981DB7-96F4-41FF-BE31-516DD90E8382}"/>
                  </a:ext>
                </a:extLst>
              </p:cNvPr>
              <p:cNvSpPr>
                <a:spLocks/>
              </p:cNvSpPr>
              <p:nvPr/>
            </p:nvSpPr>
            <p:spPr bwMode="auto">
              <a:xfrm>
                <a:off x="9207500" y="3287713"/>
                <a:ext cx="334962" cy="141288"/>
              </a:xfrm>
              <a:custGeom>
                <a:avLst/>
                <a:gdLst>
                  <a:gd name="T0" fmla="*/ 158 w 159"/>
                  <a:gd name="T1" fmla="*/ 60 h 67"/>
                  <a:gd name="T2" fmla="*/ 136 w 159"/>
                  <a:gd name="T3" fmla="*/ 3 h 67"/>
                  <a:gd name="T4" fmla="*/ 132 w 159"/>
                  <a:gd name="T5" fmla="*/ 0 h 67"/>
                  <a:gd name="T6" fmla="*/ 118 w 159"/>
                  <a:gd name="T7" fmla="*/ 0 h 67"/>
                  <a:gd name="T8" fmla="*/ 113 w 159"/>
                  <a:gd name="T9" fmla="*/ 5 h 67"/>
                  <a:gd name="T10" fmla="*/ 118 w 159"/>
                  <a:gd name="T11" fmla="*/ 10 h 67"/>
                  <a:gd name="T12" fmla="*/ 128 w 159"/>
                  <a:gd name="T13" fmla="*/ 10 h 67"/>
                  <a:gd name="T14" fmla="*/ 147 w 159"/>
                  <a:gd name="T15" fmla="*/ 57 h 67"/>
                  <a:gd name="T16" fmla="*/ 12 w 159"/>
                  <a:gd name="T17" fmla="*/ 57 h 67"/>
                  <a:gd name="T18" fmla="*/ 31 w 159"/>
                  <a:gd name="T19" fmla="*/ 10 h 67"/>
                  <a:gd name="T20" fmla="*/ 42 w 159"/>
                  <a:gd name="T21" fmla="*/ 10 h 67"/>
                  <a:gd name="T22" fmla="*/ 46 w 159"/>
                  <a:gd name="T23" fmla="*/ 5 h 67"/>
                  <a:gd name="T24" fmla="*/ 42 w 159"/>
                  <a:gd name="T25" fmla="*/ 0 h 67"/>
                  <a:gd name="T26" fmla="*/ 28 w 159"/>
                  <a:gd name="T27" fmla="*/ 0 h 67"/>
                  <a:gd name="T28" fmla="*/ 24 w 159"/>
                  <a:gd name="T29" fmla="*/ 3 h 67"/>
                  <a:gd name="T30" fmla="*/ 1 w 159"/>
                  <a:gd name="T31" fmla="*/ 60 h 67"/>
                  <a:gd name="T32" fmla="*/ 2 w 159"/>
                  <a:gd name="T33" fmla="*/ 65 h 67"/>
                  <a:gd name="T34" fmla="*/ 5 w 159"/>
                  <a:gd name="T35" fmla="*/ 67 h 67"/>
                  <a:gd name="T36" fmla="*/ 154 w 159"/>
                  <a:gd name="T37" fmla="*/ 67 h 67"/>
                  <a:gd name="T38" fmla="*/ 158 w 159"/>
                  <a:gd name="T39" fmla="*/ 65 h 67"/>
                  <a:gd name="T40" fmla="*/ 158 w 159"/>
                  <a:gd name="T41" fmla="*/ 6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9" h="67">
                    <a:moveTo>
                      <a:pt x="158" y="60"/>
                    </a:moveTo>
                    <a:cubicBezTo>
                      <a:pt x="136" y="3"/>
                      <a:pt x="136" y="3"/>
                      <a:pt x="136" y="3"/>
                    </a:cubicBezTo>
                    <a:cubicBezTo>
                      <a:pt x="135" y="2"/>
                      <a:pt x="133" y="0"/>
                      <a:pt x="132" y="0"/>
                    </a:cubicBezTo>
                    <a:cubicBezTo>
                      <a:pt x="118" y="0"/>
                      <a:pt x="118" y="0"/>
                      <a:pt x="118" y="0"/>
                    </a:cubicBezTo>
                    <a:cubicBezTo>
                      <a:pt x="115" y="0"/>
                      <a:pt x="113" y="3"/>
                      <a:pt x="113" y="5"/>
                    </a:cubicBezTo>
                    <a:cubicBezTo>
                      <a:pt x="113" y="8"/>
                      <a:pt x="115" y="10"/>
                      <a:pt x="118" y="10"/>
                    </a:cubicBezTo>
                    <a:cubicBezTo>
                      <a:pt x="128" y="10"/>
                      <a:pt x="128" y="10"/>
                      <a:pt x="128" y="10"/>
                    </a:cubicBezTo>
                    <a:cubicBezTo>
                      <a:pt x="147" y="57"/>
                      <a:pt x="147" y="57"/>
                      <a:pt x="147" y="57"/>
                    </a:cubicBezTo>
                    <a:cubicBezTo>
                      <a:pt x="12" y="57"/>
                      <a:pt x="12" y="57"/>
                      <a:pt x="12" y="57"/>
                    </a:cubicBezTo>
                    <a:cubicBezTo>
                      <a:pt x="31" y="10"/>
                      <a:pt x="31" y="10"/>
                      <a:pt x="31" y="10"/>
                    </a:cubicBezTo>
                    <a:cubicBezTo>
                      <a:pt x="42" y="10"/>
                      <a:pt x="42" y="10"/>
                      <a:pt x="42" y="10"/>
                    </a:cubicBezTo>
                    <a:cubicBezTo>
                      <a:pt x="44" y="10"/>
                      <a:pt x="46" y="8"/>
                      <a:pt x="46" y="5"/>
                    </a:cubicBezTo>
                    <a:cubicBezTo>
                      <a:pt x="46" y="3"/>
                      <a:pt x="44" y="0"/>
                      <a:pt x="42" y="0"/>
                    </a:cubicBezTo>
                    <a:cubicBezTo>
                      <a:pt x="28" y="0"/>
                      <a:pt x="28" y="0"/>
                      <a:pt x="28" y="0"/>
                    </a:cubicBezTo>
                    <a:cubicBezTo>
                      <a:pt x="26" y="0"/>
                      <a:pt x="24" y="2"/>
                      <a:pt x="24" y="3"/>
                    </a:cubicBezTo>
                    <a:cubicBezTo>
                      <a:pt x="1" y="60"/>
                      <a:pt x="1" y="60"/>
                      <a:pt x="1" y="60"/>
                    </a:cubicBezTo>
                    <a:cubicBezTo>
                      <a:pt x="0" y="62"/>
                      <a:pt x="1" y="63"/>
                      <a:pt x="2" y="65"/>
                    </a:cubicBezTo>
                    <a:cubicBezTo>
                      <a:pt x="2" y="66"/>
                      <a:pt x="4" y="67"/>
                      <a:pt x="5" y="67"/>
                    </a:cubicBezTo>
                    <a:cubicBezTo>
                      <a:pt x="154" y="67"/>
                      <a:pt x="154" y="67"/>
                      <a:pt x="154" y="67"/>
                    </a:cubicBezTo>
                    <a:cubicBezTo>
                      <a:pt x="156" y="67"/>
                      <a:pt x="157" y="66"/>
                      <a:pt x="158" y="65"/>
                    </a:cubicBezTo>
                    <a:cubicBezTo>
                      <a:pt x="159" y="63"/>
                      <a:pt x="159" y="62"/>
                      <a:pt x="158" y="6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 name="Freeform 375">
                <a:extLst>
                  <a:ext uri="{FF2B5EF4-FFF2-40B4-BE49-F238E27FC236}">
                    <a16:creationId xmlns:a16="http://schemas.microsoft.com/office/drawing/2014/main" id="{E0A40CB3-1620-4771-B294-4E69DD80CF6A}"/>
                  </a:ext>
                </a:extLst>
              </p:cNvPr>
              <p:cNvSpPr>
                <a:spLocks noEditPoints="1"/>
              </p:cNvSpPr>
              <p:nvPr/>
            </p:nvSpPr>
            <p:spPr bwMode="auto">
              <a:xfrm>
                <a:off x="9318625" y="3022600"/>
                <a:ext cx="114300" cy="114300"/>
              </a:xfrm>
              <a:custGeom>
                <a:avLst/>
                <a:gdLst>
                  <a:gd name="T0" fmla="*/ 54 w 54"/>
                  <a:gd name="T1" fmla="*/ 27 h 54"/>
                  <a:gd name="T2" fmla="*/ 27 w 54"/>
                  <a:gd name="T3" fmla="*/ 0 h 54"/>
                  <a:gd name="T4" fmla="*/ 0 w 54"/>
                  <a:gd name="T5" fmla="*/ 27 h 54"/>
                  <a:gd name="T6" fmla="*/ 27 w 54"/>
                  <a:gd name="T7" fmla="*/ 54 h 54"/>
                  <a:gd name="T8" fmla="*/ 54 w 54"/>
                  <a:gd name="T9" fmla="*/ 27 h 54"/>
                  <a:gd name="T10" fmla="*/ 27 w 54"/>
                  <a:gd name="T11" fmla="*/ 44 h 54"/>
                  <a:gd name="T12" fmla="*/ 9 w 54"/>
                  <a:gd name="T13" fmla="*/ 27 h 54"/>
                  <a:gd name="T14" fmla="*/ 27 w 54"/>
                  <a:gd name="T15" fmla="*/ 9 h 54"/>
                  <a:gd name="T16" fmla="*/ 44 w 54"/>
                  <a:gd name="T17" fmla="*/ 27 h 54"/>
                  <a:gd name="T18" fmla="*/ 27 w 54"/>
                  <a:gd name="T19"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4">
                    <a:moveTo>
                      <a:pt x="54" y="27"/>
                    </a:moveTo>
                    <a:cubicBezTo>
                      <a:pt x="54" y="12"/>
                      <a:pt x="42" y="0"/>
                      <a:pt x="27" y="0"/>
                    </a:cubicBezTo>
                    <a:cubicBezTo>
                      <a:pt x="12" y="0"/>
                      <a:pt x="0" y="12"/>
                      <a:pt x="0" y="27"/>
                    </a:cubicBezTo>
                    <a:cubicBezTo>
                      <a:pt x="0" y="42"/>
                      <a:pt x="12" y="54"/>
                      <a:pt x="27" y="54"/>
                    </a:cubicBezTo>
                    <a:cubicBezTo>
                      <a:pt x="42" y="54"/>
                      <a:pt x="54" y="42"/>
                      <a:pt x="54" y="27"/>
                    </a:cubicBezTo>
                    <a:close/>
                    <a:moveTo>
                      <a:pt x="27" y="44"/>
                    </a:moveTo>
                    <a:cubicBezTo>
                      <a:pt x="17" y="44"/>
                      <a:pt x="9" y="36"/>
                      <a:pt x="9" y="27"/>
                    </a:cubicBezTo>
                    <a:cubicBezTo>
                      <a:pt x="9" y="17"/>
                      <a:pt x="17" y="9"/>
                      <a:pt x="27" y="9"/>
                    </a:cubicBezTo>
                    <a:cubicBezTo>
                      <a:pt x="36" y="9"/>
                      <a:pt x="44" y="17"/>
                      <a:pt x="44" y="27"/>
                    </a:cubicBezTo>
                    <a:cubicBezTo>
                      <a:pt x="44" y="36"/>
                      <a:pt x="36" y="44"/>
                      <a:pt x="27" y="4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4" name="Freeform 376">
                <a:extLst>
                  <a:ext uri="{FF2B5EF4-FFF2-40B4-BE49-F238E27FC236}">
                    <a16:creationId xmlns:a16="http://schemas.microsoft.com/office/drawing/2014/main" id="{17AE16BF-5452-484A-8130-D3A4FE15B4DA}"/>
                  </a:ext>
                </a:extLst>
              </p:cNvPr>
              <p:cNvSpPr>
                <a:spLocks noEditPoints="1"/>
              </p:cNvSpPr>
              <p:nvPr/>
            </p:nvSpPr>
            <p:spPr bwMode="auto">
              <a:xfrm>
                <a:off x="9234488" y="2944813"/>
                <a:ext cx="280987" cy="420688"/>
              </a:xfrm>
              <a:custGeom>
                <a:avLst/>
                <a:gdLst>
                  <a:gd name="T0" fmla="*/ 67 w 133"/>
                  <a:gd name="T1" fmla="*/ 200 h 200"/>
                  <a:gd name="T2" fmla="*/ 71 w 133"/>
                  <a:gd name="T3" fmla="*/ 198 h 200"/>
                  <a:gd name="T4" fmla="*/ 133 w 133"/>
                  <a:gd name="T5" fmla="*/ 67 h 200"/>
                  <a:gd name="T6" fmla="*/ 67 w 133"/>
                  <a:gd name="T7" fmla="*/ 0 h 200"/>
                  <a:gd name="T8" fmla="*/ 0 w 133"/>
                  <a:gd name="T9" fmla="*/ 67 h 200"/>
                  <a:gd name="T10" fmla="*/ 63 w 133"/>
                  <a:gd name="T11" fmla="*/ 198 h 200"/>
                  <a:gd name="T12" fmla="*/ 67 w 133"/>
                  <a:gd name="T13" fmla="*/ 200 h 200"/>
                  <a:gd name="T14" fmla="*/ 67 w 133"/>
                  <a:gd name="T15" fmla="*/ 10 h 200"/>
                  <a:gd name="T16" fmla="*/ 124 w 133"/>
                  <a:gd name="T17" fmla="*/ 67 h 200"/>
                  <a:gd name="T18" fmla="*/ 67 w 133"/>
                  <a:gd name="T19" fmla="*/ 186 h 200"/>
                  <a:gd name="T20" fmla="*/ 10 w 133"/>
                  <a:gd name="T21" fmla="*/ 67 h 200"/>
                  <a:gd name="T22" fmla="*/ 67 w 133"/>
                  <a:gd name="T23" fmla="*/ 1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3" h="200">
                    <a:moveTo>
                      <a:pt x="67" y="200"/>
                    </a:moveTo>
                    <a:cubicBezTo>
                      <a:pt x="68" y="200"/>
                      <a:pt x="70" y="199"/>
                      <a:pt x="71" y="198"/>
                    </a:cubicBezTo>
                    <a:cubicBezTo>
                      <a:pt x="73" y="194"/>
                      <a:pt x="133" y="102"/>
                      <a:pt x="133" y="67"/>
                    </a:cubicBezTo>
                    <a:cubicBezTo>
                      <a:pt x="133" y="30"/>
                      <a:pt x="103" y="0"/>
                      <a:pt x="67" y="0"/>
                    </a:cubicBezTo>
                    <a:cubicBezTo>
                      <a:pt x="30" y="0"/>
                      <a:pt x="0" y="30"/>
                      <a:pt x="0" y="67"/>
                    </a:cubicBezTo>
                    <a:cubicBezTo>
                      <a:pt x="0" y="102"/>
                      <a:pt x="60" y="194"/>
                      <a:pt x="63" y="198"/>
                    </a:cubicBezTo>
                    <a:cubicBezTo>
                      <a:pt x="64" y="199"/>
                      <a:pt x="65" y="200"/>
                      <a:pt x="67" y="200"/>
                    </a:cubicBezTo>
                    <a:close/>
                    <a:moveTo>
                      <a:pt x="67" y="10"/>
                    </a:moveTo>
                    <a:cubicBezTo>
                      <a:pt x="98" y="10"/>
                      <a:pt x="124" y="35"/>
                      <a:pt x="124" y="67"/>
                    </a:cubicBezTo>
                    <a:cubicBezTo>
                      <a:pt x="124" y="94"/>
                      <a:pt x="80" y="165"/>
                      <a:pt x="67" y="186"/>
                    </a:cubicBezTo>
                    <a:cubicBezTo>
                      <a:pt x="53" y="165"/>
                      <a:pt x="10" y="94"/>
                      <a:pt x="10" y="67"/>
                    </a:cubicBezTo>
                    <a:cubicBezTo>
                      <a:pt x="10" y="35"/>
                      <a:pt x="35" y="10"/>
                      <a:pt x="67"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15" name="Group 14">
            <a:extLst>
              <a:ext uri="{FF2B5EF4-FFF2-40B4-BE49-F238E27FC236}">
                <a16:creationId xmlns:a16="http://schemas.microsoft.com/office/drawing/2014/main" id="{FB836123-C68F-43FF-9C3C-E9123D273E6E}"/>
              </a:ext>
            </a:extLst>
          </p:cNvPr>
          <p:cNvGrpSpPr/>
          <p:nvPr/>
        </p:nvGrpSpPr>
        <p:grpSpPr>
          <a:xfrm>
            <a:off x="7525103" y="2160782"/>
            <a:ext cx="2814885" cy="500186"/>
            <a:chOff x="6714621" y="1855984"/>
            <a:chExt cx="2814885" cy="500186"/>
          </a:xfrm>
        </p:grpSpPr>
        <p:grpSp>
          <p:nvGrpSpPr>
            <p:cNvPr id="16" name="Group 15">
              <a:extLst>
                <a:ext uri="{FF2B5EF4-FFF2-40B4-BE49-F238E27FC236}">
                  <a16:creationId xmlns:a16="http://schemas.microsoft.com/office/drawing/2014/main" id="{A1FE1B61-A529-4328-B872-0A4C0059CE81}"/>
                </a:ext>
              </a:extLst>
            </p:cNvPr>
            <p:cNvGrpSpPr>
              <a:grpSpLocks noChangeAspect="1"/>
            </p:cNvGrpSpPr>
            <p:nvPr/>
          </p:nvGrpSpPr>
          <p:grpSpPr>
            <a:xfrm>
              <a:off x="6714621" y="1855984"/>
              <a:ext cx="473223" cy="500186"/>
              <a:chOff x="11280776" y="3148013"/>
              <a:chExt cx="557213" cy="588962"/>
            </a:xfrm>
          </p:grpSpPr>
          <p:sp>
            <p:nvSpPr>
              <p:cNvPr id="18" name="Freeform 532">
                <a:extLst>
                  <a:ext uri="{FF2B5EF4-FFF2-40B4-BE49-F238E27FC236}">
                    <a16:creationId xmlns:a16="http://schemas.microsoft.com/office/drawing/2014/main" id="{AC3D99B3-4EAC-4262-A6AE-30B20B2D27C5}"/>
                  </a:ext>
                </a:extLst>
              </p:cNvPr>
              <p:cNvSpPr>
                <a:spLocks noEditPoints="1"/>
              </p:cNvSpPr>
              <p:nvPr/>
            </p:nvSpPr>
            <p:spPr bwMode="auto">
              <a:xfrm>
                <a:off x="11280776" y="3148013"/>
                <a:ext cx="557213" cy="588962"/>
              </a:xfrm>
              <a:custGeom>
                <a:avLst/>
                <a:gdLst>
                  <a:gd name="T0" fmla="*/ 222 w 225"/>
                  <a:gd name="T1" fmla="*/ 12 h 238"/>
                  <a:gd name="T2" fmla="*/ 174 w 225"/>
                  <a:gd name="T3" fmla="*/ 1 h 238"/>
                  <a:gd name="T4" fmla="*/ 171 w 225"/>
                  <a:gd name="T5" fmla="*/ 1 h 238"/>
                  <a:gd name="T6" fmla="*/ 114 w 225"/>
                  <a:gd name="T7" fmla="*/ 27 h 238"/>
                  <a:gd name="T8" fmla="*/ 61 w 225"/>
                  <a:gd name="T9" fmla="*/ 5 h 238"/>
                  <a:gd name="T10" fmla="*/ 58 w 225"/>
                  <a:gd name="T11" fmla="*/ 5 h 238"/>
                  <a:gd name="T12" fmla="*/ 3 w 225"/>
                  <a:gd name="T13" fmla="*/ 27 h 238"/>
                  <a:gd name="T14" fmla="*/ 0 w 225"/>
                  <a:gd name="T15" fmla="*/ 31 h 238"/>
                  <a:gd name="T16" fmla="*/ 0 w 225"/>
                  <a:gd name="T17" fmla="*/ 182 h 238"/>
                  <a:gd name="T18" fmla="*/ 2 w 225"/>
                  <a:gd name="T19" fmla="*/ 186 h 238"/>
                  <a:gd name="T20" fmla="*/ 6 w 225"/>
                  <a:gd name="T21" fmla="*/ 187 h 238"/>
                  <a:gd name="T22" fmla="*/ 60 w 225"/>
                  <a:gd name="T23" fmla="*/ 166 h 238"/>
                  <a:gd name="T24" fmla="*/ 112 w 225"/>
                  <a:gd name="T25" fmla="*/ 188 h 238"/>
                  <a:gd name="T26" fmla="*/ 114 w 225"/>
                  <a:gd name="T27" fmla="*/ 188 h 238"/>
                  <a:gd name="T28" fmla="*/ 116 w 225"/>
                  <a:gd name="T29" fmla="*/ 188 h 238"/>
                  <a:gd name="T30" fmla="*/ 124 w 225"/>
                  <a:gd name="T31" fmla="*/ 184 h 238"/>
                  <a:gd name="T32" fmla="*/ 154 w 225"/>
                  <a:gd name="T33" fmla="*/ 236 h 238"/>
                  <a:gd name="T34" fmla="*/ 158 w 225"/>
                  <a:gd name="T35" fmla="*/ 238 h 238"/>
                  <a:gd name="T36" fmla="*/ 162 w 225"/>
                  <a:gd name="T37" fmla="*/ 236 h 238"/>
                  <a:gd name="T38" fmla="*/ 199 w 225"/>
                  <a:gd name="T39" fmla="*/ 168 h 238"/>
                  <a:gd name="T40" fmla="*/ 220 w 225"/>
                  <a:gd name="T41" fmla="*/ 172 h 238"/>
                  <a:gd name="T42" fmla="*/ 224 w 225"/>
                  <a:gd name="T43" fmla="*/ 171 h 238"/>
                  <a:gd name="T44" fmla="*/ 225 w 225"/>
                  <a:gd name="T45" fmla="*/ 168 h 238"/>
                  <a:gd name="T46" fmla="*/ 225 w 225"/>
                  <a:gd name="T47" fmla="*/ 16 h 238"/>
                  <a:gd name="T48" fmla="*/ 222 w 225"/>
                  <a:gd name="T49" fmla="*/ 12 h 238"/>
                  <a:gd name="T50" fmla="*/ 158 w 225"/>
                  <a:gd name="T51" fmla="*/ 224 h 238"/>
                  <a:gd name="T52" fmla="*/ 119 w 225"/>
                  <a:gd name="T53" fmla="*/ 144 h 238"/>
                  <a:gd name="T54" fmla="*/ 158 w 225"/>
                  <a:gd name="T55" fmla="*/ 106 h 238"/>
                  <a:gd name="T56" fmla="*/ 196 w 225"/>
                  <a:gd name="T57" fmla="*/ 144 h 238"/>
                  <a:gd name="T58" fmla="*/ 158 w 225"/>
                  <a:gd name="T59" fmla="*/ 224 h 238"/>
                  <a:gd name="T60" fmla="*/ 216 w 225"/>
                  <a:gd name="T61" fmla="*/ 162 h 238"/>
                  <a:gd name="T62" fmla="*/ 202 w 225"/>
                  <a:gd name="T63" fmla="*/ 159 h 238"/>
                  <a:gd name="T64" fmla="*/ 205 w 225"/>
                  <a:gd name="T65" fmla="*/ 144 h 238"/>
                  <a:gd name="T66" fmla="*/ 158 w 225"/>
                  <a:gd name="T67" fmla="*/ 96 h 238"/>
                  <a:gd name="T68" fmla="*/ 110 w 225"/>
                  <a:gd name="T69" fmla="*/ 144 h 238"/>
                  <a:gd name="T70" fmla="*/ 120 w 225"/>
                  <a:gd name="T71" fmla="*/ 176 h 238"/>
                  <a:gd name="T72" fmla="*/ 114 w 225"/>
                  <a:gd name="T73" fmla="*/ 178 h 238"/>
                  <a:gd name="T74" fmla="*/ 61 w 225"/>
                  <a:gd name="T75" fmla="*/ 157 h 238"/>
                  <a:gd name="T76" fmla="*/ 60 w 225"/>
                  <a:gd name="T77" fmla="*/ 156 h 238"/>
                  <a:gd name="T78" fmla="*/ 58 w 225"/>
                  <a:gd name="T79" fmla="*/ 156 h 238"/>
                  <a:gd name="T80" fmla="*/ 9 w 225"/>
                  <a:gd name="T81" fmla="*/ 175 h 238"/>
                  <a:gd name="T82" fmla="*/ 9 w 225"/>
                  <a:gd name="T83" fmla="*/ 34 h 238"/>
                  <a:gd name="T84" fmla="*/ 60 w 225"/>
                  <a:gd name="T85" fmla="*/ 15 h 238"/>
                  <a:gd name="T86" fmla="*/ 112 w 225"/>
                  <a:gd name="T87" fmla="*/ 37 h 238"/>
                  <a:gd name="T88" fmla="*/ 116 w 225"/>
                  <a:gd name="T89" fmla="*/ 37 h 238"/>
                  <a:gd name="T90" fmla="*/ 174 w 225"/>
                  <a:gd name="T91" fmla="*/ 10 h 238"/>
                  <a:gd name="T92" fmla="*/ 216 w 225"/>
                  <a:gd name="T93" fmla="*/ 20 h 238"/>
                  <a:gd name="T94" fmla="*/ 216 w 225"/>
                  <a:gd name="T95" fmla="*/ 16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5" h="238">
                    <a:moveTo>
                      <a:pt x="222" y="12"/>
                    </a:moveTo>
                    <a:cubicBezTo>
                      <a:pt x="174" y="1"/>
                      <a:pt x="174" y="1"/>
                      <a:pt x="174" y="1"/>
                    </a:cubicBezTo>
                    <a:cubicBezTo>
                      <a:pt x="173" y="0"/>
                      <a:pt x="172" y="0"/>
                      <a:pt x="171" y="1"/>
                    </a:cubicBezTo>
                    <a:cubicBezTo>
                      <a:pt x="114" y="27"/>
                      <a:pt x="114" y="27"/>
                      <a:pt x="114" y="27"/>
                    </a:cubicBezTo>
                    <a:cubicBezTo>
                      <a:pt x="61" y="5"/>
                      <a:pt x="61" y="5"/>
                      <a:pt x="61" y="5"/>
                    </a:cubicBezTo>
                    <a:cubicBezTo>
                      <a:pt x="60" y="5"/>
                      <a:pt x="59" y="5"/>
                      <a:pt x="58" y="5"/>
                    </a:cubicBezTo>
                    <a:cubicBezTo>
                      <a:pt x="3" y="27"/>
                      <a:pt x="3" y="27"/>
                      <a:pt x="3" y="27"/>
                    </a:cubicBezTo>
                    <a:cubicBezTo>
                      <a:pt x="1" y="27"/>
                      <a:pt x="0" y="29"/>
                      <a:pt x="0" y="31"/>
                    </a:cubicBezTo>
                    <a:cubicBezTo>
                      <a:pt x="0" y="182"/>
                      <a:pt x="0" y="182"/>
                      <a:pt x="0" y="182"/>
                    </a:cubicBezTo>
                    <a:cubicBezTo>
                      <a:pt x="0" y="184"/>
                      <a:pt x="0" y="185"/>
                      <a:pt x="2" y="186"/>
                    </a:cubicBezTo>
                    <a:cubicBezTo>
                      <a:pt x="3" y="187"/>
                      <a:pt x="5" y="187"/>
                      <a:pt x="6" y="187"/>
                    </a:cubicBezTo>
                    <a:cubicBezTo>
                      <a:pt x="60" y="166"/>
                      <a:pt x="60" y="166"/>
                      <a:pt x="60" y="166"/>
                    </a:cubicBezTo>
                    <a:cubicBezTo>
                      <a:pt x="112" y="188"/>
                      <a:pt x="112" y="188"/>
                      <a:pt x="112" y="188"/>
                    </a:cubicBezTo>
                    <a:cubicBezTo>
                      <a:pt x="113" y="188"/>
                      <a:pt x="113" y="188"/>
                      <a:pt x="114" y="188"/>
                    </a:cubicBezTo>
                    <a:cubicBezTo>
                      <a:pt x="115" y="188"/>
                      <a:pt x="115" y="188"/>
                      <a:pt x="116" y="188"/>
                    </a:cubicBezTo>
                    <a:cubicBezTo>
                      <a:pt x="124" y="184"/>
                      <a:pt x="124" y="184"/>
                      <a:pt x="124" y="184"/>
                    </a:cubicBezTo>
                    <a:cubicBezTo>
                      <a:pt x="136" y="208"/>
                      <a:pt x="151" y="232"/>
                      <a:pt x="154" y="236"/>
                    </a:cubicBezTo>
                    <a:cubicBezTo>
                      <a:pt x="154" y="237"/>
                      <a:pt x="156" y="238"/>
                      <a:pt x="158" y="238"/>
                    </a:cubicBezTo>
                    <a:cubicBezTo>
                      <a:pt x="159" y="238"/>
                      <a:pt x="161" y="237"/>
                      <a:pt x="162" y="236"/>
                    </a:cubicBezTo>
                    <a:cubicBezTo>
                      <a:pt x="165" y="231"/>
                      <a:pt x="188" y="195"/>
                      <a:pt x="199" y="168"/>
                    </a:cubicBezTo>
                    <a:cubicBezTo>
                      <a:pt x="220" y="172"/>
                      <a:pt x="220" y="172"/>
                      <a:pt x="220" y="172"/>
                    </a:cubicBezTo>
                    <a:cubicBezTo>
                      <a:pt x="221" y="173"/>
                      <a:pt x="222" y="172"/>
                      <a:pt x="224" y="171"/>
                    </a:cubicBezTo>
                    <a:cubicBezTo>
                      <a:pt x="225" y="170"/>
                      <a:pt x="225" y="169"/>
                      <a:pt x="225" y="168"/>
                    </a:cubicBezTo>
                    <a:cubicBezTo>
                      <a:pt x="225" y="16"/>
                      <a:pt x="225" y="16"/>
                      <a:pt x="225" y="16"/>
                    </a:cubicBezTo>
                    <a:cubicBezTo>
                      <a:pt x="225" y="14"/>
                      <a:pt x="224" y="12"/>
                      <a:pt x="222" y="12"/>
                    </a:cubicBezTo>
                    <a:close/>
                    <a:moveTo>
                      <a:pt x="158" y="224"/>
                    </a:moveTo>
                    <a:cubicBezTo>
                      <a:pt x="144" y="203"/>
                      <a:pt x="119" y="160"/>
                      <a:pt x="119" y="144"/>
                    </a:cubicBezTo>
                    <a:cubicBezTo>
                      <a:pt x="119" y="123"/>
                      <a:pt x="136" y="106"/>
                      <a:pt x="158" y="106"/>
                    </a:cubicBezTo>
                    <a:cubicBezTo>
                      <a:pt x="179" y="106"/>
                      <a:pt x="196" y="123"/>
                      <a:pt x="196" y="144"/>
                    </a:cubicBezTo>
                    <a:cubicBezTo>
                      <a:pt x="196" y="160"/>
                      <a:pt x="171" y="203"/>
                      <a:pt x="158" y="224"/>
                    </a:cubicBezTo>
                    <a:close/>
                    <a:moveTo>
                      <a:pt x="216" y="162"/>
                    </a:moveTo>
                    <a:cubicBezTo>
                      <a:pt x="202" y="159"/>
                      <a:pt x="202" y="159"/>
                      <a:pt x="202" y="159"/>
                    </a:cubicBezTo>
                    <a:cubicBezTo>
                      <a:pt x="204" y="153"/>
                      <a:pt x="205" y="148"/>
                      <a:pt x="205" y="144"/>
                    </a:cubicBezTo>
                    <a:cubicBezTo>
                      <a:pt x="205" y="117"/>
                      <a:pt x="184" y="96"/>
                      <a:pt x="158" y="96"/>
                    </a:cubicBezTo>
                    <a:cubicBezTo>
                      <a:pt x="131" y="96"/>
                      <a:pt x="110" y="117"/>
                      <a:pt x="110" y="144"/>
                    </a:cubicBezTo>
                    <a:cubicBezTo>
                      <a:pt x="110" y="152"/>
                      <a:pt x="114" y="163"/>
                      <a:pt x="120" y="176"/>
                    </a:cubicBezTo>
                    <a:cubicBezTo>
                      <a:pt x="114" y="178"/>
                      <a:pt x="114" y="178"/>
                      <a:pt x="114" y="178"/>
                    </a:cubicBezTo>
                    <a:cubicBezTo>
                      <a:pt x="61" y="157"/>
                      <a:pt x="61" y="157"/>
                      <a:pt x="61" y="157"/>
                    </a:cubicBezTo>
                    <a:cubicBezTo>
                      <a:pt x="61" y="156"/>
                      <a:pt x="60" y="156"/>
                      <a:pt x="60" y="156"/>
                    </a:cubicBezTo>
                    <a:cubicBezTo>
                      <a:pt x="59" y="156"/>
                      <a:pt x="58" y="156"/>
                      <a:pt x="58" y="156"/>
                    </a:cubicBezTo>
                    <a:cubicBezTo>
                      <a:pt x="9" y="175"/>
                      <a:pt x="9" y="175"/>
                      <a:pt x="9" y="175"/>
                    </a:cubicBezTo>
                    <a:cubicBezTo>
                      <a:pt x="9" y="34"/>
                      <a:pt x="9" y="34"/>
                      <a:pt x="9" y="34"/>
                    </a:cubicBezTo>
                    <a:cubicBezTo>
                      <a:pt x="60" y="15"/>
                      <a:pt x="60" y="15"/>
                      <a:pt x="60" y="15"/>
                    </a:cubicBezTo>
                    <a:cubicBezTo>
                      <a:pt x="112" y="37"/>
                      <a:pt x="112" y="37"/>
                      <a:pt x="112" y="37"/>
                    </a:cubicBezTo>
                    <a:cubicBezTo>
                      <a:pt x="113" y="37"/>
                      <a:pt x="115" y="37"/>
                      <a:pt x="116" y="37"/>
                    </a:cubicBezTo>
                    <a:cubicBezTo>
                      <a:pt x="174" y="10"/>
                      <a:pt x="174" y="10"/>
                      <a:pt x="174" y="10"/>
                    </a:cubicBezTo>
                    <a:cubicBezTo>
                      <a:pt x="216" y="20"/>
                      <a:pt x="216" y="20"/>
                      <a:pt x="216" y="20"/>
                    </a:cubicBezTo>
                    <a:lnTo>
                      <a:pt x="216" y="16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9" name="Freeform 533">
                <a:extLst>
                  <a:ext uri="{FF2B5EF4-FFF2-40B4-BE49-F238E27FC236}">
                    <a16:creationId xmlns:a16="http://schemas.microsoft.com/office/drawing/2014/main" id="{26ECE469-C71E-436A-877B-F37E4D34DF9A}"/>
                  </a:ext>
                </a:extLst>
              </p:cNvPr>
              <p:cNvSpPr>
                <a:spLocks/>
              </p:cNvSpPr>
              <p:nvPr/>
            </p:nvSpPr>
            <p:spPr bwMode="auto">
              <a:xfrm>
                <a:off x="11417301" y="3232150"/>
                <a:ext cx="22225" cy="260350"/>
              </a:xfrm>
              <a:custGeom>
                <a:avLst/>
                <a:gdLst>
                  <a:gd name="T0" fmla="*/ 5 w 9"/>
                  <a:gd name="T1" fmla="*/ 0 h 105"/>
                  <a:gd name="T2" fmla="*/ 0 w 9"/>
                  <a:gd name="T3" fmla="*/ 5 h 105"/>
                  <a:gd name="T4" fmla="*/ 0 w 9"/>
                  <a:gd name="T5" fmla="*/ 101 h 105"/>
                  <a:gd name="T6" fmla="*/ 5 w 9"/>
                  <a:gd name="T7" fmla="*/ 105 h 105"/>
                  <a:gd name="T8" fmla="*/ 9 w 9"/>
                  <a:gd name="T9" fmla="*/ 101 h 105"/>
                  <a:gd name="T10" fmla="*/ 9 w 9"/>
                  <a:gd name="T11" fmla="*/ 5 h 105"/>
                  <a:gd name="T12" fmla="*/ 5 w 9"/>
                  <a:gd name="T13" fmla="*/ 0 h 105"/>
                </a:gdLst>
                <a:ahLst/>
                <a:cxnLst>
                  <a:cxn ang="0">
                    <a:pos x="T0" y="T1"/>
                  </a:cxn>
                  <a:cxn ang="0">
                    <a:pos x="T2" y="T3"/>
                  </a:cxn>
                  <a:cxn ang="0">
                    <a:pos x="T4" y="T5"/>
                  </a:cxn>
                  <a:cxn ang="0">
                    <a:pos x="T6" y="T7"/>
                  </a:cxn>
                  <a:cxn ang="0">
                    <a:pos x="T8" y="T9"/>
                  </a:cxn>
                  <a:cxn ang="0">
                    <a:pos x="T10" y="T11"/>
                  </a:cxn>
                  <a:cxn ang="0">
                    <a:pos x="T12" y="T13"/>
                  </a:cxn>
                </a:cxnLst>
                <a:rect l="0" t="0" r="r" b="b"/>
                <a:pathLst>
                  <a:path w="9" h="105">
                    <a:moveTo>
                      <a:pt x="5" y="0"/>
                    </a:moveTo>
                    <a:cubicBezTo>
                      <a:pt x="2" y="0"/>
                      <a:pt x="0" y="2"/>
                      <a:pt x="0" y="5"/>
                    </a:cubicBezTo>
                    <a:cubicBezTo>
                      <a:pt x="0" y="101"/>
                      <a:pt x="0" y="101"/>
                      <a:pt x="0" y="101"/>
                    </a:cubicBezTo>
                    <a:cubicBezTo>
                      <a:pt x="0" y="103"/>
                      <a:pt x="2" y="105"/>
                      <a:pt x="5" y="105"/>
                    </a:cubicBezTo>
                    <a:cubicBezTo>
                      <a:pt x="7" y="105"/>
                      <a:pt x="9" y="103"/>
                      <a:pt x="9" y="101"/>
                    </a:cubicBezTo>
                    <a:cubicBezTo>
                      <a:pt x="9" y="5"/>
                      <a:pt x="9" y="5"/>
                      <a:pt x="9" y="5"/>
                    </a:cubicBezTo>
                    <a:cubicBezTo>
                      <a:pt x="9" y="2"/>
                      <a:pt x="7" y="0"/>
                      <a:pt x="5"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0" name="Freeform 534">
                <a:extLst>
                  <a:ext uri="{FF2B5EF4-FFF2-40B4-BE49-F238E27FC236}">
                    <a16:creationId xmlns:a16="http://schemas.microsoft.com/office/drawing/2014/main" id="{0CF9EA10-033C-4B54-83FE-9D782D366E6C}"/>
                  </a:ext>
                </a:extLst>
              </p:cNvPr>
              <p:cNvSpPr>
                <a:spLocks/>
              </p:cNvSpPr>
              <p:nvPr/>
            </p:nvSpPr>
            <p:spPr bwMode="auto">
              <a:xfrm>
                <a:off x="11550651" y="3276600"/>
                <a:ext cx="25400" cy="115887"/>
              </a:xfrm>
              <a:custGeom>
                <a:avLst/>
                <a:gdLst>
                  <a:gd name="T0" fmla="*/ 5 w 10"/>
                  <a:gd name="T1" fmla="*/ 0 h 47"/>
                  <a:gd name="T2" fmla="*/ 0 w 10"/>
                  <a:gd name="T3" fmla="*/ 5 h 47"/>
                  <a:gd name="T4" fmla="*/ 0 w 10"/>
                  <a:gd name="T5" fmla="*/ 42 h 47"/>
                  <a:gd name="T6" fmla="*/ 5 w 10"/>
                  <a:gd name="T7" fmla="*/ 47 h 47"/>
                  <a:gd name="T8" fmla="*/ 10 w 10"/>
                  <a:gd name="T9" fmla="*/ 42 h 47"/>
                  <a:gd name="T10" fmla="*/ 10 w 10"/>
                  <a:gd name="T11" fmla="*/ 5 h 47"/>
                  <a:gd name="T12" fmla="*/ 5 w 10"/>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10" h="47">
                    <a:moveTo>
                      <a:pt x="5" y="0"/>
                    </a:moveTo>
                    <a:cubicBezTo>
                      <a:pt x="2" y="0"/>
                      <a:pt x="0" y="3"/>
                      <a:pt x="0" y="5"/>
                    </a:cubicBezTo>
                    <a:cubicBezTo>
                      <a:pt x="0" y="42"/>
                      <a:pt x="0" y="42"/>
                      <a:pt x="0" y="42"/>
                    </a:cubicBezTo>
                    <a:cubicBezTo>
                      <a:pt x="0" y="44"/>
                      <a:pt x="2" y="47"/>
                      <a:pt x="5" y="47"/>
                    </a:cubicBezTo>
                    <a:cubicBezTo>
                      <a:pt x="8" y="47"/>
                      <a:pt x="10" y="44"/>
                      <a:pt x="10" y="42"/>
                    </a:cubicBezTo>
                    <a:cubicBezTo>
                      <a:pt x="10" y="5"/>
                      <a:pt x="10" y="5"/>
                      <a:pt x="10" y="5"/>
                    </a:cubicBezTo>
                    <a:cubicBezTo>
                      <a:pt x="10" y="3"/>
                      <a:pt x="8" y="0"/>
                      <a:pt x="5"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1" name="Freeform 535">
                <a:extLst>
                  <a:ext uri="{FF2B5EF4-FFF2-40B4-BE49-F238E27FC236}">
                    <a16:creationId xmlns:a16="http://schemas.microsoft.com/office/drawing/2014/main" id="{B644B035-C0C2-4C3F-B76A-23CDFB3D356E}"/>
                  </a:ext>
                </a:extLst>
              </p:cNvPr>
              <p:cNvSpPr>
                <a:spLocks/>
              </p:cNvSpPr>
              <p:nvPr/>
            </p:nvSpPr>
            <p:spPr bwMode="auto">
              <a:xfrm>
                <a:off x="11699876" y="3214688"/>
                <a:ext cx="25400" cy="142875"/>
              </a:xfrm>
              <a:custGeom>
                <a:avLst/>
                <a:gdLst>
                  <a:gd name="T0" fmla="*/ 0 w 10"/>
                  <a:gd name="T1" fmla="*/ 5 h 58"/>
                  <a:gd name="T2" fmla="*/ 0 w 10"/>
                  <a:gd name="T3" fmla="*/ 53 h 58"/>
                  <a:gd name="T4" fmla="*/ 5 w 10"/>
                  <a:gd name="T5" fmla="*/ 58 h 58"/>
                  <a:gd name="T6" fmla="*/ 10 w 10"/>
                  <a:gd name="T7" fmla="*/ 53 h 58"/>
                  <a:gd name="T8" fmla="*/ 10 w 10"/>
                  <a:gd name="T9" fmla="*/ 5 h 58"/>
                  <a:gd name="T10" fmla="*/ 5 w 10"/>
                  <a:gd name="T11" fmla="*/ 0 h 58"/>
                  <a:gd name="T12" fmla="*/ 0 w 10"/>
                  <a:gd name="T13" fmla="*/ 5 h 58"/>
                </a:gdLst>
                <a:ahLst/>
                <a:cxnLst>
                  <a:cxn ang="0">
                    <a:pos x="T0" y="T1"/>
                  </a:cxn>
                  <a:cxn ang="0">
                    <a:pos x="T2" y="T3"/>
                  </a:cxn>
                  <a:cxn ang="0">
                    <a:pos x="T4" y="T5"/>
                  </a:cxn>
                  <a:cxn ang="0">
                    <a:pos x="T6" y="T7"/>
                  </a:cxn>
                  <a:cxn ang="0">
                    <a:pos x="T8" y="T9"/>
                  </a:cxn>
                  <a:cxn ang="0">
                    <a:pos x="T10" y="T11"/>
                  </a:cxn>
                  <a:cxn ang="0">
                    <a:pos x="T12" y="T13"/>
                  </a:cxn>
                </a:cxnLst>
                <a:rect l="0" t="0" r="r" b="b"/>
                <a:pathLst>
                  <a:path w="10" h="58">
                    <a:moveTo>
                      <a:pt x="0" y="5"/>
                    </a:moveTo>
                    <a:cubicBezTo>
                      <a:pt x="0" y="53"/>
                      <a:pt x="0" y="53"/>
                      <a:pt x="0" y="53"/>
                    </a:cubicBezTo>
                    <a:cubicBezTo>
                      <a:pt x="0" y="56"/>
                      <a:pt x="2" y="58"/>
                      <a:pt x="5" y="58"/>
                    </a:cubicBezTo>
                    <a:cubicBezTo>
                      <a:pt x="8" y="58"/>
                      <a:pt x="10" y="56"/>
                      <a:pt x="10" y="53"/>
                    </a:cubicBezTo>
                    <a:cubicBezTo>
                      <a:pt x="10" y="5"/>
                      <a:pt x="10" y="5"/>
                      <a:pt x="10" y="5"/>
                    </a:cubicBezTo>
                    <a:cubicBezTo>
                      <a:pt x="10" y="2"/>
                      <a:pt x="8" y="0"/>
                      <a:pt x="5" y="0"/>
                    </a:cubicBezTo>
                    <a:cubicBezTo>
                      <a:pt x="2" y="0"/>
                      <a:pt x="0" y="2"/>
                      <a:pt x="0" y="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2" name="Freeform 536">
                <a:extLst>
                  <a:ext uri="{FF2B5EF4-FFF2-40B4-BE49-F238E27FC236}">
                    <a16:creationId xmlns:a16="http://schemas.microsoft.com/office/drawing/2014/main" id="{D1782D70-D8A2-4928-AAD5-1A6B46B218F7}"/>
                  </a:ext>
                </a:extLst>
              </p:cNvPr>
              <p:cNvSpPr>
                <a:spLocks noEditPoints="1"/>
              </p:cNvSpPr>
              <p:nvPr/>
            </p:nvSpPr>
            <p:spPr bwMode="auto">
              <a:xfrm>
                <a:off x="11628438" y="3444875"/>
                <a:ext cx="85725" cy="88900"/>
              </a:xfrm>
              <a:custGeom>
                <a:avLst/>
                <a:gdLst>
                  <a:gd name="T0" fmla="*/ 18 w 35"/>
                  <a:gd name="T1" fmla="*/ 0 h 36"/>
                  <a:gd name="T2" fmla="*/ 0 w 35"/>
                  <a:gd name="T3" fmla="*/ 18 h 36"/>
                  <a:gd name="T4" fmla="*/ 18 w 35"/>
                  <a:gd name="T5" fmla="*/ 36 h 36"/>
                  <a:gd name="T6" fmla="*/ 35 w 35"/>
                  <a:gd name="T7" fmla="*/ 18 h 36"/>
                  <a:gd name="T8" fmla="*/ 18 w 35"/>
                  <a:gd name="T9" fmla="*/ 0 h 36"/>
                  <a:gd name="T10" fmla="*/ 18 w 35"/>
                  <a:gd name="T11" fmla="*/ 27 h 36"/>
                  <a:gd name="T12" fmla="*/ 9 w 35"/>
                  <a:gd name="T13" fmla="*/ 18 h 36"/>
                  <a:gd name="T14" fmla="*/ 18 w 35"/>
                  <a:gd name="T15" fmla="*/ 10 h 36"/>
                  <a:gd name="T16" fmla="*/ 26 w 35"/>
                  <a:gd name="T17" fmla="*/ 18 h 36"/>
                  <a:gd name="T18" fmla="*/ 18 w 35"/>
                  <a:gd name="T19" fmla="*/ 2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18" y="0"/>
                    </a:moveTo>
                    <a:cubicBezTo>
                      <a:pt x="8" y="0"/>
                      <a:pt x="0" y="8"/>
                      <a:pt x="0" y="18"/>
                    </a:cubicBezTo>
                    <a:cubicBezTo>
                      <a:pt x="0" y="28"/>
                      <a:pt x="8" y="36"/>
                      <a:pt x="18" y="36"/>
                    </a:cubicBezTo>
                    <a:cubicBezTo>
                      <a:pt x="27" y="36"/>
                      <a:pt x="35" y="28"/>
                      <a:pt x="35" y="18"/>
                    </a:cubicBezTo>
                    <a:cubicBezTo>
                      <a:pt x="35" y="8"/>
                      <a:pt x="27" y="0"/>
                      <a:pt x="18" y="0"/>
                    </a:cubicBezTo>
                    <a:close/>
                    <a:moveTo>
                      <a:pt x="18" y="27"/>
                    </a:moveTo>
                    <a:cubicBezTo>
                      <a:pt x="13" y="27"/>
                      <a:pt x="9" y="23"/>
                      <a:pt x="9" y="18"/>
                    </a:cubicBezTo>
                    <a:cubicBezTo>
                      <a:pt x="9" y="14"/>
                      <a:pt x="13" y="10"/>
                      <a:pt x="18" y="10"/>
                    </a:cubicBezTo>
                    <a:cubicBezTo>
                      <a:pt x="22" y="10"/>
                      <a:pt x="26" y="14"/>
                      <a:pt x="26" y="18"/>
                    </a:cubicBezTo>
                    <a:cubicBezTo>
                      <a:pt x="26" y="23"/>
                      <a:pt x="22" y="27"/>
                      <a:pt x="18" y="2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17" name="Rectangle 16">
              <a:extLst>
                <a:ext uri="{FF2B5EF4-FFF2-40B4-BE49-F238E27FC236}">
                  <a16:creationId xmlns:a16="http://schemas.microsoft.com/office/drawing/2014/main" id="{6D326FBC-191B-4D43-A8D7-A084ACFFDC27}"/>
                </a:ext>
              </a:extLst>
            </p:cNvPr>
            <p:cNvSpPr/>
            <p:nvPr/>
          </p:nvSpPr>
          <p:spPr>
            <a:xfrm>
              <a:off x="7348281" y="1921411"/>
              <a:ext cx="2181225"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NEW WORLD</a:t>
              </a:r>
            </a:p>
          </p:txBody>
        </p:sp>
      </p:grpSp>
      <p:sp>
        <p:nvSpPr>
          <p:cNvPr id="23" name="Rectangle 22">
            <a:extLst>
              <a:ext uri="{FF2B5EF4-FFF2-40B4-BE49-F238E27FC236}">
                <a16:creationId xmlns:a16="http://schemas.microsoft.com/office/drawing/2014/main" id="{CE9B6E46-011E-4E4A-ACFC-A010D8012F7F}"/>
              </a:ext>
            </a:extLst>
          </p:cNvPr>
          <p:cNvSpPr/>
          <p:nvPr/>
        </p:nvSpPr>
        <p:spPr>
          <a:xfrm>
            <a:off x="770075" y="3002692"/>
            <a:ext cx="4572000"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VALUE OF SCA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Companies were focused on gaining scale in order to achieve attractive economics and free up funds for innovation and brand building</a:t>
            </a:r>
          </a:p>
        </p:txBody>
      </p:sp>
      <p:sp>
        <p:nvSpPr>
          <p:cNvPr id="24" name="Rectangle 23">
            <a:extLst>
              <a:ext uri="{FF2B5EF4-FFF2-40B4-BE49-F238E27FC236}">
                <a16:creationId xmlns:a16="http://schemas.microsoft.com/office/drawing/2014/main" id="{7F9752B8-A5A0-4247-B4C2-14B8881510B9}"/>
              </a:ext>
            </a:extLst>
          </p:cNvPr>
          <p:cNvSpPr/>
          <p:nvPr/>
        </p:nvSpPr>
        <p:spPr>
          <a:xfrm>
            <a:off x="6646545" y="3002692"/>
            <a:ext cx="4572000" cy="91440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ECOSYSTEM OF CONSUMER DATA &amp; RELATIONSHIP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Build the consumer relationship through a range of data and digital partners to deliver highly personalized, iterative, on-demand experiences</a:t>
            </a:r>
          </a:p>
        </p:txBody>
      </p:sp>
      <p:sp>
        <p:nvSpPr>
          <p:cNvPr id="25" name="Rectangle 24">
            <a:extLst>
              <a:ext uri="{FF2B5EF4-FFF2-40B4-BE49-F238E27FC236}">
                <a16:creationId xmlns:a16="http://schemas.microsoft.com/office/drawing/2014/main" id="{6E28AA1B-281B-4C1E-A944-F81BDCF16036}"/>
              </a:ext>
            </a:extLst>
          </p:cNvPr>
          <p:cNvSpPr/>
          <p:nvPr/>
        </p:nvSpPr>
        <p:spPr>
          <a:xfrm>
            <a:off x="770075" y="4078590"/>
            <a:ext cx="4572000" cy="79508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A FOCUS ON PUSH</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Brands invested in capabilities to be able to plan marketing, pricing, and distribution, focusing on pricing, promotions, displays and ad support, planograms, mass marketing</a:t>
            </a:r>
          </a:p>
        </p:txBody>
      </p:sp>
      <p:sp>
        <p:nvSpPr>
          <p:cNvPr id="26" name="Rectangle 25">
            <a:extLst>
              <a:ext uri="{FF2B5EF4-FFF2-40B4-BE49-F238E27FC236}">
                <a16:creationId xmlns:a16="http://schemas.microsoft.com/office/drawing/2014/main" id="{D890CA2C-55BF-42CD-B8DC-4E8194A7142F}"/>
              </a:ext>
            </a:extLst>
          </p:cNvPr>
          <p:cNvSpPr/>
          <p:nvPr/>
        </p:nvSpPr>
        <p:spPr>
          <a:xfrm>
            <a:off x="6646545" y="4078590"/>
            <a:ext cx="4572000" cy="91440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AN EMPHASIS ON PUL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Build trust by helping consumers drive their own brand relationships and make decisions about what and where to buy based on triggers in their daily lives</a:t>
            </a:r>
          </a:p>
        </p:txBody>
      </p:sp>
      <p:sp>
        <p:nvSpPr>
          <p:cNvPr id="27" name="Rectangle 26">
            <a:extLst>
              <a:ext uri="{FF2B5EF4-FFF2-40B4-BE49-F238E27FC236}">
                <a16:creationId xmlns:a16="http://schemas.microsoft.com/office/drawing/2014/main" id="{35FE7F37-4CAA-45B6-8C9D-B6D1381524D6}"/>
              </a:ext>
            </a:extLst>
          </p:cNvPr>
          <p:cNvSpPr/>
          <p:nvPr/>
        </p:nvSpPr>
        <p:spPr>
          <a:xfrm>
            <a:off x="770075" y="5154488"/>
            <a:ext cx="4572000" cy="62581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OWNING THE LINEAR CONSUMER JOURNEY</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Owning consumers at each stage along their path to purchase with targeted investments</a:t>
            </a:r>
          </a:p>
        </p:txBody>
      </p:sp>
      <p:sp>
        <p:nvSpPr>
          <p:cNvPr id="28" name="Rectangle 27">
            <a:extLst>
              <a:ext uri="{FF2B5EF4-FFF2-40B4-BE49-F238E27FC236}">
                <a16:creationId xmlns:a16="http://schemas.microsoft.com/office/drawing/2014/main" id="{A62F477A-7963-4769-BE50-91B783A8EC12}"/>
              </a:ext>
            </a:extLst>
          </p:cNvPr>
          <p:cNvSpPr/>
          <p:nvPr/>
        </p:nvSpPr>
        <p:spPr>
          <a:xfrm>
            <a:off x="6646545" y="5154488"/>
            <a:ext cx="4572000" cy="79508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mn-ea"/>
                <a:cs typeface="+mn-cs"/>
              </a:rPr>
              <a:t>OWNING THE DYNAMIC CONSUMER JOURNEY</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Using technology to own multiple stages of the journey at once, the journey as a whole or engaging when consumers simply follow no clear journey at all</a:t>
            </a:r>
          </a:p>
        </p:txBody>
      </p:sp>
    </p:spTree>
    <p:extLst>
      <p:ext uri="{BB962C8B-B14F-4D97-AF65-F5344CB8AC3E}">
        <p14:creationId xmlns:p14="http://schemas.microsoft.com/office/powerpoint/2010/main" val="250876441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72BB12-39EA-45BD-9B82-0D73417B7A5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2" name="think-cell Slide" r:id="rId6" imgW="415" imgH="416" progId="TCLayout.ActiveDocument.1">
                  <p:embed/>
                </p:oleObj>
              </mc:Choice>
              <mc:Fallback>
                <p:oleObj name="think-cell Slide" r:id="rId6" imgW="415" imgH="416" progId="TCLayout.ActiveDocument.1">
                  <p:embed/>
                  <p:pic>
                    <p:nvPicPr>
                      <p:cNvPr id="5" name="Object 4" hidden="1">
                        <a:extLst>
                          <a:ext uri="{FF2B5EF4-FFF2-40B4-BE49-F238E27FC236}">
                            <a16:creationId xmlns:a16="http://schemas.microsoft.com/office/drawing/2014/main" id="{2B72BB12-39EA-45BD-9B82-0D73417B7A5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49B0E4C-58C4-4788-AD22-72283A5AD88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91B4CC3E-2D9E-4A14-9E25-1ADCDAE11411}"/>
              </a:ext>
            </a:extLst>
          </p:cNvPr>
          <p:cNvSpPr>
            <a:spLocks noGrp="1"/>
          </p:cNvSpPr>
          <p:nvPr>
            <p:ph type="title"/>
          </p:nvPr>
        </p:nvSpPr>
        <p:spPr/>
        <p:txBody>
          <a:bodyPr anchor="b"/>
          <a:lstStyle/>
          <a:p>
            <a:r>
              <a:rPr lang="en-US" dirty="0"/>
              <a:t>The insights we developed from user interviews</a:t>
            </a:r>
          </a:p>
        </p:txBody>
      </p:sp>
      <p:sp>
        <p:nvSpPr>
          <p:cNvPr id="3" name="Text Placeholder 2">
            <a:extLst>
              <a:ext uri="{FF2B5EF4-FFF2-40B4-BE49-F238E27FC236}">
                <a16:creationId xmlns:a16="http://schemas.microsoft.com/office/drawing/2014/main" id="{F5249F39-51A9-49AB-8FAF-63800DBF7C66}"/>
              </a:ext>
            </a:extLst>
          </p:cNvPr>
          <p:cNvSpPr>
            <a:spLocks noGrp="1"/>
          </p:cNvSpPr>
          <p:nvPr>
            <p:ph type="body" sz="quarter" idx="14"/>
          </p:nvPr>
        </p:nvSpPr>
        <p:spPr/>
        <p:txBody>
          <a:bodyPr/>
          <a:lstStyle/>
          <a:p>
            <a:r>
              <a:rPr lang="en-US" dirty="0"/>
              <a:t>Subheader</a:t>
            </a:r>
          </a:p>
        </p:txBody>
      </p:sp>
      <p:sp>
        <p:nvSpPr>
          <p:cNvPr id="15" name="Text Placeholder 14">
            <a:extLst>
              <a:ext uri="{FF2B5EF4-FFF2-40B4-BE49-F238E27FC236}">
                <a16:creationId xmlns:a16="http://schemas.microsoft.com/office/drawing/2014/main" id="{13910361-712C-4C17-B8CE-47D484CC6932}"/>
              </a:ext>
            </a:extLst>
          </p:cNvPr>
          <p:cNvSpPr>
            <a:spLocks noGrp="1"/>
          </p:cNvSpPr>
          <p:nvPr>
            <p:ph type="body" sz="quarter" idx="15"/>
          </p:nvPr>
        </p:nvSpPr>
        <p:spPr/>
        <p:txBody>
          <a:bodyPr/>
          <a:lstStyle/>
          <a:p>
            <a:r>
              <a:rPr lang="en-US" dirty="0"/>
              <a:t>text</a:t>
            </a:r>
          </a:p>
        </p:txBody>
      </p:sp>
      <p:sp>
        <p:nvSpPr>
          <p:cNvPr id="8" name="Rectangle 7">
            <a:extLst>
              <a:ext uri="{FF2B5EF4-FFF2-40B4-BE49-F238E27FC236}">
                <a16:creationId xmlns:a16="http://schemas.microsoft.com/office/drawing/2014/main" id="{69B06BCA-6195-47EA-9557-BFA471C625C5}"/>
              </a:ext>
            </a:extLst>
          </p:cNvPr>
          <p:cNvSpPr/>
          <p:nvPr/>
        </p:nvSpPr>
        <p:spPr>
          <a:xfrm>
            <a:off x="914400" y="2369043"/>
            <a:ext cx="4410688" cy="3657600"/>
          </a:xfrm>
          <a:prstGeom prst="rect">
            <a:avLst/>
          </a:prstGeom>
          <a:solidFill>
            <a:schemeClr val="bg1">
              <a:lumMod val="95000"/>
            </a:schemeClr>
          </a:solidFill>
        </p:spPr>
        <p:txBody>
          <a:bodyPr wrap="square" lIns="274320" tIns="182880" rIns="274320" bIns="18288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0000"/>
                </a:solidFill>
                <a:effectLst/>
                <a:uLnTx/>
                <a:uFillTx/>
                <a:ea typeface="+mn-ea"/>
                <a:cs typeface="Calibri" panose="020F0502020204030204" pitchFamily="34" charset="0"/>
              </a:rPr>
              <a:t>Driving (and parking) in a new country is intimidating, risky, confusing, and a barrier to many to renting a car.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chemeClr val="accent1"/>
                </a:solidFill>
                <a:effectLst/>
                <a:uLnTx/>
                <a:uFillTx/>
                <a:ea typeface="+mn-ea"/>
                <a:cs typeface="Calibri" panose="020F0502020204030204" pitchFamily="34" charset="0"/>
              </a:rPr>
              <a:t>It’s hard to know the rules, interpret the signs, and to concentrate while everything is so different. It takes a lot of cognitive processing just to stay on the road!</a:t>
            </a:r>
          </a:p>
        </p:txBody>
      </p:sp>
      <p:sp>
        <p:nvSpPr>
          <p:cNvPr id="9" name="Rectangle 8">
            <a:extLst>
              <a:ext uri="{FF2B5EF4-FFF2-40B4-BE49-F238E27FC236}">
                <a16:creationId xmlns:a16="http://schemas.microsoft.com/office/drawing/2014/main" id="{09C6C00C-B431-42E7-8799-06E10E9161DD}"/>
              </a:ext>
            </a:extLst>
          </p:cNvPr>
          <p:cNvSpPr/>
          <p:nvPr/>
        </p:nvSpPr>
        <p:spPr>
          <a:xfrm>
            <a:off x="914849" y="1938156"/>
            <a:ext cx="1209305" cy="430887"/>
          </a:xfrm>
          <a:prstGeom prst="rect">
            <a:avLst/>
          </a:prstGeom>
          <a:solidFill>
            <a:schemeClr val="accent1"/>
          </a:solidFill>
        </p:spPr>
        <p:txBody>
          <a:bodyPr wrap="none" lIns="182880" tIns="91440" rIns="182880" bIns="9144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FFFFFF"/>
                </a:solidFill>
                <a:effectLst/>
                <a:uLnTx/>
                <a:uFillTx/>
                <a:ea typeface="+mn-ea"/>
                <a:cs typeface="Calibri" panose="020F0502020204030204" pitchFamily="34" charset="0"/>
              </a:rPr>
              <a:t>INSIGHT</a:t>
            </a:r>
            <a:endParaRPr kumimoji="0" lang="en-US" sz="2100" b="0" i="0" u="none" strike="noStrike" kern="1200" cap="none" spc="0" normalizeH="0" baseline="0" noProof="0" dirty="0">
              <a:ln>
                <a:noFill/>
              </a:ln>
              <a:solidFill>
                <a:srgbClr val="FFFFFF"/>
              </a:solidFill>
              <a:effectLst/>
              <a:uLnTx/>
              <a:uFillTx/>
              <a:ea typeface="+mn-ea"/>
              <a:cs typeface="Calibri" panose="020F0502020204030204" pitchFamily="34" charset="0"/>
            </a:endParaRPr>
          </a:p>
        </p:txBody>
      </p:sp>
      <p:sp>
        <p:nvSpPr>
          <p:cNvPr id="10" name="Rectangle 9">
            <a:extLst>
              <a:ext uri="{FF2B5EF4-FFF2-40B4-BE49-F238E27FC236}">
                <a16:creationId xmlns:a16="http://schemas.microsoft.com/office/drawing/2014/main" id="{E80E8BA7-E630-4E62-868B-F989C08E4C20}"/>
              </a:ext>
            </a:extLst>
          </p:cNvPr>
          <p:cNvSpPr/>
          <p:nvPr/>
        </p:nvSpPr>
        <p:spPr>
          <a:xfrm>
            <a:off x="7095512" y="2369043"/>
            <a:ext cx="4410688" cy="3657600"/>
          </a:xfrm>
          <a:prstGeom prst="rect">
            <a:avLst/>
          </a:prstGeom>
          <a:solidFill>
            <a:schemeClr val="bg1">
              <a:lumMod val="95000"/>
            </a:schemeClr>
          </a:solidFill>
        </p:spPr>
        <p:txBody>
          <a:bodyPr wrap="square" lIns="274320" tIns="182880" rIns="274320" bIns="18288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ea typeface="+mn-ea"/>
                <a:cs typeface="Calibri" panose="020F0502020204030204" pitchFamily="34" charset="0"/>
              </a:rPr>
              <a:t>How can we design an experience that helps travelers know the rules of the road, local nuance, and tricks to help navigate safely and comfortably, giving people the </a:t>
            </a:r>
            <a:r>
              <a:rPr kumimoji="0" lang="en-US" sz="2400" b="1" i="0" u="none" strike="noStrike" kern="1200" cap="none" spc="0" normalizeH="0" baseline="0" noProof="0" dirty="0">
                <a:ln>
                  <a:noFill/>
                </a:ln>
                <a:solidFill>
                  <a:schemeClr val="accent1"/>
                </a:solidFill>
                <a:effectLst/>
                <a:uLnTx/>
                <a:uFillTx/>
                <a:ea typeface="+mn-ea"/>
                <a:cs typeface="Calibri" panose="020F0502020204030204" pitchFamily="34" charset="0"/>
              </a:rPr>
              <a:t>confidence to drive in </a:t>
            </a:r>
            <a:br>
              <a:rPr kumimoji="0" lang="en-US" sz="2400" b="1" i="0" u="none" strike="noStrike" kern="1200" cap="none" spc="0" normalizeH="0" baseline="0" noProof="0" dirty="0">
                <a:ln>
                  <a:noFill/>
                </a:ln>
                <a:solidFill>
                  <a:schemeClr val="accent1"/>
                </a:solidFill>
                <a:effectLst/>
                <a:uLnTx/>
                <a:uFillTx/>
                <a:ea typeface="+mn-ea"/>
                <a:cs typeface="Calibri" panose="020F0502020204030204" pitchFamily="34" charset="0"/>
              </a:rPr>
            </a:br>
            <a:r>
              <a:rPr kumimoji="0" lang="en-US" sz="2400" b="1" i="0" u="none" strike="noStrike" kern="1200" cap="none" spc="0" normalizeH="0" baseline="0" noProof="0" dirty="0">
                <a:ln>
                  <a:noFill/>
                </a:ln>
                <a:solidFill>
                  <a:schemeClr val="accent1"/>
                </a:solidFill>
                <a:effectLst/>
                <a:uLnTx/>
                <a:uFillTx/>
                <a:ea typeface="+mn-ea"/>
                <a:cs typeface="Calibri" panose="020F0502020204030204" pitchFamily="34" charset="0"/>
              </a:rPr>
              <a:t>a foreign place? </a:t>
            </a:r>
          </a:p>
        </p:txBody>
      </p:sp>
      <p:sp>
        <p:nvSpPr>
          <p:cNvPr id="11" name="Rectangle 10">
            <a:extLst>
              <a:ext uri="{FF2B5EF4-FFF2-40B4-BE49-F238E27FC236}">
                <a16:creationId xmlns:a16="http://schemas.microsoft.com/office/drawing/2014/main" id="{BBBC9D2C-183D-400E-AD60-86F2B040C642}"/>
              </a:ext>
            </a:extLst>
          </p:cNvPr>
          <p:cNvSpPr/>
          <p:nvPr/>
        </p:nvSpPr>
        <p:spPr>
          <a:xfrm>
            <a:off x="7095961" y="1938156"/>
            <a:ext cx="3025828" cy="430887"/>
          </a:xfrm>
          <a:prstGeom prst="rect">
            <a:avLst/>
          </a:prstGeom>
          <a:solidFill>
            <a:schemeClr val="accent1"/>
          </a:solidFill>
        </p:spPr>
        <p:txBody>
          <a:bodyPr wrap="none" lIns="182880" tIns="91440" rIns="182880" bIns="9144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FFFFFF"/>
                </a:solidFill>
                <a:effectLst/>
                <a:uLnTx/>
                <a:uFillTx/>
                <a:ea typeface="+mn-ea"/>
                <a:cs typeface="Calibri" panose="020F0502020204030204" pitchFamily="34" charset="0"/>
              </a:rPr>
              <a:t>POTENTIAL OPPORTUNITY</a:t>
            </a:r>
            <a:endParaRPr kumimoji="0" lang="en-US" sz="2100" b="0" i="0" u="none" strike="noStrike" kern="1200" cap="none" spc="0" normalizeH="0" baseline="0" noProof="0" dirty="0">
              <a:ln>
                <a:noFill/>
              </a:ln>
              <a:solidFill>
                <a:srgbClr val="FFFFFF"/>
              </a:solidFill>
              <a:effectLst/>
              <a:uLnTx/>
              <a:uFillTx/>
              <a:ea typeface="+mn-ea"/>
              <a:cs typeface="Calibri" panose="020F0502020204030204" pitchFamily="34" charset="0"/>
            </a:endParaRPr>
          </a:p>
        </p:txBody>
      </p:sp>
      <p:grpSp>
        <p:nvGrpSpPr>
          <p:cNvPr id="12" name="Group 11">
            <a:extLst>
              <a:ext uri="{FF2B5EF4-FFF2-40B4-BE49-F238E27FC236}">
                <a16:creationId xmlns:a16="http://schemas.microsoft.com/office/drawing/2014/main" id="{17434E54-A680-4C19-B5F8-34C36C00F59F}"/>
              </a:ext>
            </a:extLst>
          </p:cNvPr>
          <p:cNvGrpSpPr/>
          <p:nvPr/>
        </p:nvGrpSpPr>
        <p:grpSpPr>
          <a:xfrm>
            <a:off x="5601588" y="3625749"/>
            <a:ext cx="988824" cy="572094"/>
            <a:chOff x="5614266" y="4057353"/>
            <a:chExt cx="988824" cy="572094"/>
          </a:xfrm>
          <a:solidFill>
            <a:schemeClr val="accent1"/>
          </a:solidFill>
        </p:grpSpPr>
        <p:sp>
          <p:nvSpPr>
            <p:cNvPr id="13" name="Half Frame 12">
              <a:extLst>
                <a:ext uri="{FF2B5EF4-FFF2-40B4-BE49-F238E27FC236}">
                  <a16:creationId xmlns:a16="http://schemas.microsoft.com/office/drawing/2014/main" id="{FC214C98-1D52-4D22-AAFF-C54FB44C61D0}"/>
                </a:ext>
              </a:extLst>
            </p:cNvPr>
            <p:cNvSpPr/>
            <p:nvPr/>
          </p:nvSpPr>
          <p:spPr>
            <a:xfrm rot="8100000">
              <a:off x="6030996" y="4057353"/>
              <a:ext cx="572094" cy="572094"/>
            </a:xfrm>
            <a:prstGeom prst="halfFrame">
              <a:avLst>
                <a:gd name="adj1" fmla="val 17591"/>
                <a:gd name="adj2" fmla="val 1638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6D31B560-0D19-47C3-8F6F-29EA5D170AAD}"/>
                </a:ext>
              </a:extLst>
            </p:cNvPr>
            <p:cNvSpPr/>
            <p:nvPr/>
          </p:nvSpPr>
          <p:spPr>
            <a:xfrm>
              <a:off x="5614266" y="4292642"/>
              <a:ext cx="979933" cy="1067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spTree>
    <p:extLst>
      <p:ext uri="{BB962C8B-B14F-4D97-AF65-F5344CB8AC3E}">
        <p14:creationId xmlns:p14="http://schemas.microsoft.com/office/powerpoint/2010/main" val="67566091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437B776-967A-432B-A14B-2FCACD120EA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56" name="think-cell Slide" r:id="rId6" imgW="415" imgH="416" progId="TCLayout.ActiveDocument.1">
                  <p:embed/>
                </p:oleObj>
              </mc:Choice>
              <mc:Fallback>
                <p:oleObj name="think-cell Slide" r:id="rId6" imgW="415" imgH="416" progId="TCLayout.ActiveDocument.1">
                  <p:embed/>
                  <p:pic>
                    <p:nvPicPr>
                      <p:cNvPr id="6" name="Object 5" hidden="1">
                        <a:extLst>
                          <a:ext uri="{FF2B5EF4-FFF2-40B4-BE49-F238E27FC236}">
                            <a16:creationId xmlns:a16="http://schemas.microsoft.com/office/drawing/2014/main" id="{4437B776-967A-432B-A14B-2FCACD120EA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A915EFF-A6E3-461A-8F20-6744882E2B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25F0A5D7-1E73-4084-BFBB-8BCF68C45724}"/>
              </a:ext>
            </a:extLst>
          </p:cNvPr>
          <p:cNvSpPr>
            <a:spLocks noGrp="1"/>
          </p:cNvSpPr>
          <p:nvPr>
            <p:ph type="title"/>
          </p:nvPr>
        </p:nvSpPr>
        <p:spPr/>
        <p:txBody>
          <a:bodyPr/>
          <a:lstStyle/>
          <a:p>
            <a:r>
              <a:rPr lang="en-US" dirty="0"/>
              <a:t>Business Transformation Elements</a:t>
            </a:r>
          </a:p>
        </p:txBody>
      </p:sp>
      <p:sp>
        <p:nvSpPr>
          <p:cNvPr id="3" name="Text Placeholder 2">
            <a:extLst>
              <a:ext uri="{FF2B5EF4-FFF2-40B4-BE49-F238E27FC236}">
                <a16:creationId xmlns:a16="http://schemas.microsoft.com/office/drawing/2014/main" id="{121AD98F-FD41-4644-9995-6E4FE29B9FF7}"/>
              </a:ext>
            </a:extLst>
          </p:cNvPr>
          <p:cNvSpPr>
            <a:spLocks noGrp="1"/>
          </p:cNvSpPr>
          <p:nvPr>
            <p:ph type="body" sz="quarter" idx="14"/>
          </p:nvPr>
        </p:nvSpPr>
        <p:spPr/>
        <p:txBody>
          <a:bodyPr/>
          <a:lstStyle/>
          <a:p>
            <a:r>
              <a:rPr lang="en-US" dirty="0"/>
              <a:t>Provide oversight and overall program management for technical systems and analytics workstreams to support the companies’ ongoing needs</a:t>
            </a:r>
          </a:p>
        </p:txBody>
      </p:sp>
      <p:sp>
        <p:nvSpPr>
          <p:cNvPr id="4" name="Text Placeholder 3">
            <a:extLst>
              <a:ext uri="{FF2B5EF4-FFF2-40B4-BE49-F238E27FC236}">
                <a16:creationId xmlns:a16="http://schemas.microsoft.com/office/drawing/2014/main" id="{C3B7C9B2-D89B-434F-BF4E-2EC7819F3807}"/>
              </a:ext>
            </a:extLst>
          </p:cNvPr>
          <p:cNvSpPr>
            <a:spLocks noGrp="1"/>
          </p:cNvSpPr>
          <p:nvPr>
            <p:ph type="body" sz="quarter" idx="15"/>
          </p:nvPr>
        </p:nvSpPr>
        <p:spPr>
          <a:xfrm>
            <a:off x="914971" y="466344"/>
            <a:ext cx="5614068" cy="228600"/>
          </a:xfrm>
        </p:spPr>
        <p:txBody>
          <a:bodyPr/>
          <a:lstStyle/>
          <a:p>
            <a:r>
              <a:rPr lang="en-US" dirty="0"/>
              <a:t>text</a:t>
            </a:r>
          </a:p>
        </p:txBody>
      </p:sp>
      <p:grpSp>
        <p:nvGrpSpPr>
          <p:cNvPr id="33" name="Group 32">
            <a:extLst>
              <a:ext uri="{FF2B5EF4-FFF2-40B4-BE49-F238E27FC236}">
                <a16:creationId xmlns:a16="http://schemas.microsoft.com/office/drawing/2014/main" id="{41398CDC-0EF6-4499-854B-BCCB8D50EE63}"/>
              </a:ext>
            </a:extLst>
          </p:cNvPr>
          <p:cNvGrpSpPr/>
          <p:nvPr/>
        </p:nvGrpSpPr>
        <p:grpSpPr>
          <a:xfrm>
            <a:off x="458107" y="1676769"/>
            <a:ext cx="4734783" cy="4452570"/>
            <a:chOff x="458107" y="1676769"/>
            <a:chExt cx="4734783" cy="4452570"/>
          </a:xfrm>
        </p:grpSpPr>
        <p:sp>
          <p:nvSpPr>
            <p:cNvPr id="34" name="Rectangle 33">
              <a:extLst>
                <a:ext uri="{FF2B5EF4-FFF2-40B4-BE49-F238E27FC236}">
                  <a16:creationId xmlns:a16="http://schemas.microsoft.com/office/drawing/2014/main" id="{A93E5833-C0D7-4392-9537-4BDE0B8646A6}"/>
                </a:ext>
              </a:extLst>
            </p:cNvPr>
            <p:cNvSpPr/>
            <p:nvPr/>
          </p:nvSpPr>
          <p:spPr>
            <a:xfrm>
              <a:off x="458108" y="2435427"/>
              <a:ext cx="4734782" cy="3693912"/>
            </a:xfrm>
            <a:prstGeom prst="rect">
              <a:avLst/>
            </a:prstGeom>
            <a:gradFill flip="none" rotWithShape="1">
              <a:gsLst>
                <a:gs pos="0">
                  <a:srgbClr val="FAFAFA"/>
                </a:gs>
                <a:gs pos="100000">
                  <a:schemeClr val="bg1">
                    <a:lumMod val="95000"/>
                  </a:schemeClr>
                </a:gs>
              </a:gsLst>
              <a:lin ang="5400000" scaled="1"/>
              <a:tileRect/>
            </a:gra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cxnSp>
          <p:nvCxnSpPr>
            <p:cNvPr id="35" name="Straight Connector 34">
              <a:extLst>
                <a:ext uri="{FF2B5EF4-FFF2-40B4-BE49-F238E27FC236}">
                  <a16:creationId xmlns:a16="http://schemas.microsoft.com/office/drawing/2014/main" id="{0469B425-94E7-479D-9BEF-CB5DADEB3DD4}"/>
                </a:ext>
              </a:extLst>
            </p:cNvPr>
            <p:cNvCxnSpPr>
              <a:cxnSpLocks/>
            </p:cNvCxnSpPr>
            <p:nvPr/>
          </p:nvCxnSpPr>
          <p:spPr>
            <a:xfrm>
              <a:off x="458107" y="2406499"/>
              <a:ext cx="4734782" cy="0"/>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6" name="Google Shape;22515;p994">
              <a:extLst>
                <a:ext uri="{FF2B5EF4-FFF2-40B4-BE49-F238E27FC236}">
                  <a16:creationId xmlns:a16="http://schemas.microsoft.com/office/drawing/2014/main" id="{05D0FFDD-0FBA-4FCE-BCFD-322258FD9DE4}"/>
                </a:ext>
              </a:extLst>
            </p:cNvPr>
            <p:cNvSpPr txBox="1"/>
            <p:nvPr/>
          </p:nvSpPr>
          <p:spPr>
            <a:xfrm>
              <a:off x="675108" y="1856942"/>
              <a:ext cx="1297739" cy="52063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900"/>
                <a:buFont typeface="Arial"/>
                <a:buNone/>
                <a:tabLst/>
                <a:defRPr/>
              </a:pPr>
              <a:r>
                <a:rPr kumimoji="0" lang="en-US" sz="1800" b="0" i="0" u="none" strike="noStrike" kern="120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Open Sans"/>
                </a:rPr>
                <a:t>Activities</a:t>
              </a:r>
            </a:p>
          </p:txBody>
        </p:sp>
        <p:cxnSp>
          <p:nvCxnSpPr>
            <p:cNvPr id="37" name="Straight Connector 36">
              <a:extLst>
                <a:ext uri="{FF2B5EF4-FFF2-40B4-BE49-F238E27FC236}">
                  <a16:creationId xmlns:a16="http://schemas.microsoft.com/office/drawing/2014/main" id="{5B9D50FE-9B51-434B-80E6-3C1F5D833984}"/>
                </a:ext>
              </a:extLst>
            </p:cNvPr>
            <p:cNvCxnSpPr>
              <a:cxnSpLocks/>
            </p:cNvCxnSpPr>
            <p:nvPr/>
          </p:nvCxnSpPr>
          <p:spPr>
            <a:xfrm>
              <a:off x="458107" y="1676769"/>
              <a:ext cx="4734782"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38" name="TextBox 37">
            <a:extLst>
              <a:ext uri="{FF2B5EF4-FFF2-40B4-BE49-F238E27FC236}">
                <a16:creationId xmlns:a16="http://schemas.microsoft.com/office/drawing/2014/main" id="{12973EB0-FAE1-4477-B3FB-0EB3AF5761F2}"/>
              </a:ext>
            </a:extLst>
          </p:cNvPr>
          <p:cNvSpPr txBox="1"/>
          <p:nvPr/>
        </p:nvSpPr>
        <p:spPr>
          <a:xfrm>
            <a:off x="572043" y="2572882"/>
            <a:ext cx="4537223" cy="3247043"/>
          </a:xfrm>
          <a:prstGeom prst="rect">
            <a:avLst/>
          </a:prstGeom>
          <a:noFill/>
        </p:spPr>
        <p:txBody>
          <a:bodyPr wrap="square" rtlCol="0">
            <a:spAutoFit/>
          </a:bodyPr>
          <a:lstStyle/>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000" b="0" i="0" u="none" strike="noStrike" kern="1200" cap="none" spc="-10" normalizeH="0" baseline="0" noProof="0" dirty="0">
                <a:ln>
                  <a:noFill/>
                </a:ln>
                <a:solidFill>
                  <a:srgbClr val="000000"/>
                </a:solidFill>
                <a:effectLst/>
                <a:uLnTx/>
                <a:uFillTx/>
                <a:latin typeface="Open Sans"/>
                <a:ea typeface="+mn-ea"/>
                <a:cs typeface="+mn-cs"/>
              </a:rPr>
              <a:t>Develop and operationalize intake model to identify, evaluate, and prioritize new use cases</a:t>
            </a:r>
          </a:p>
          <a:p>
            <a:pPr marL="401638" marR="0" lvl="1" indent="-173038" algn="l" defTabSz="914400" rtl="0" eaLnBrk="1" fontAlgn="auto" latinLnBrk="0" hangingPunct="1">
              <a:lnSpc>
                <a:spcPct val="100000"/>
              </a:lnSpc>
              <a:spcBef>
                <a:spcPts val="0"/>
              </a:spcBef>
              <a:spcAft>
                <a:spcPts val="600"/>
              </a:spcAft>
              <a:buClrTx/>
              <a:buSzTx/>
              <a:buFont typeface="+mj-lt"/>
              <a:buAutoNum type="alphaLcPeriod"/>
              <a:tabLst/>
              <a:defRPr/>
            </a:pPr>
            <a:r>
              <a:rPr kumimoji="0" lang="en-US" sz="1000" b="0" i="0" u="none" strike="noStrike" kern="1200" cap="none" spc="-10" normalizeH="0" baseline="0" noProof="0" dirty="0">
                <a:ln>
                  <a:noFill/>
                </a:ln>
                <a:solidFill>
                  <a:srgbClr val="000000"/>
                </a:solidFill>
                <a:effectLst/>
                <a:uLnTx/>
                <a:uFillTx/>
                <a:latin typeface="Open Sans"/>
                <a:ea typeface="+mn-ea"/>
                <a:cs typeface="+mn-cs"/>
              </a:rPr>
              <a:t>Align use cases to key objectives/program goals </a:t>
            </a:r>
          </a:p>
          <a:p>
            <a:pPr marL="401638" marR="0" lvl="1" indent="-173038" algn="l" defTabSz="914400" rtl="0" eaLnBrk="1" fontAlgn="auto" latinLnBrk="0" hangingPunct="1">
              <a:lnSpc>
                <a:spcPct val="100000"/>
              </a:lnSpc>
              <a:spcBef>
                <a:spcPts val="0"/>
              </a:spcBef>
              <a:spcAft>
                <a:spcPts val="600"/>
              </a:spcAft>
              <a:buClrTx/>
              <a:buSzTx/>
              <a:buFont typeface="+mj-lt"/>
              <a:buAutoNum type="alphaLcPeriod"/>
              <a:tabLst/>
              <a:defRPr/>
            </a:pPr>
            <a:r>
              <a:rPr kumimoji="0" lang="en-US" sz="1000" b="0" i="0" u="none" strike="noStrike" kern="1200" cap="none" spc="-10" normalizeH="0" baseline="0" noProof="0" dirty="0">
                <a:ln>
                  <a:noFill/>
                </a:ln>
                <a:solidFill>
                  <a:srgbClr val="000000"/>
                </a:solidFill>
                <a:effectLst/>
                <a:uLnTx/>
                <a:uFillTx/>
                <a:latin typeface="Open Sans"/>
                <a:ea typeface="+mn-ea"/>
                <a:cs typeface="+mn-cs"/>
              </a:rPr>
              <a:t>Measure each use case against defined criteria and metrics to develop ROI</a:t>
            </a:r>
          </a:p>
          <a:p>
            <a:pPr marL="401638" marR="0" lvl="1" indent="-173038" algn="l" defTabSz="914400" rtl="0" eaLnBrk="1" fontAlgn="auto" latinLnBrk="0" hangingPunct="1">
              <a:lnSpc>
                <a:spcPct val="100000"/>
              </a:lnSpc>
              <a:spcBef>
                <a:spcPts val="0"/>
              </a:spcBef>
              <a:spcAft>
                <a:spcPts val="600"/>
              </a:spcAft>
              <a:buClrTx/>
              <a:buSzTx/>
              <a:buFont typeface="+mj-lt"/>
              <a:buAutoNum type="alphaLcPeriod"/>
              <a:tabLst/>
              <a:defRPr/>
            </a:pPr>
            <a:r>
              <a:rPr kumimoji="0" lang="en-US" sz="1000" b="0" i="0" u="none" strike="noStrike" kern="1200" cap="none" spc="-10" normalizeH="0" baseline="0" noProof="0" dirty="0">
                <a:ln>
                  <a:noFill/>
                </a:ln>
                <a:solidFill>
                  <a:srgbClr val="000000"/>
                </a:solidFill>
                <a:effectLst/>
                <a:uLnTx/>
                <a:uFillTx/>
                <a:latin typeface="Open Sans"/>
                <a:ea typeface="+mn-ea"/>
                <a:cs typeface="+mn-cs"/>
              </a:rPr>
              <a:t>Determine analytical modeling complexity </a:t>
            </a:r>
          </a:p>
          <a:p>
            <a:pPr marL="401638" marR="0" lvl="1" indent="-173038" algn="l" defTabSz="914400" rtl="0" eaLnBrk="1" fontAlgn="auto" latinLnBrk="0" hangingPunct="1">
              <a:lnSpc>
                <a:spcPct val="100000"/>
              </a:lnSpc>
              <a:spcBef>
                <a:spcPts val="0"/>
              </a:spcBef>
              <a:spcAft>
                <a:spcPts val="600"/>
              </a:spcAft>
              <a:buClrTx/>
              <a:buSzTx/>
              <a:buFont typeface="+mj-lt"/>
              <a:buAutoNum type="alphaLcPeriod"/>
              <a:tabLst/>
              <a:defRPr/>
            </a:pPr>
            <a:r>
              <a:rPr kumimoji="0" lang="en-US" sz="1000" b="0" i="0" u="none" strike="noStrike" kern="1200" cap="none" spc="-10" normalizeH="0" baseline="0" noProof="0" dirty="0">
                <a:ln>
                  <a:noFill/>
                </a:ln>
                <a:solidFill>
                  <a:srgbClr val="000000"/>
                </a:solidFill>
                <a:effectLst/>
                <a:uLnTx/>
                <a:uFillTx/>
                <a:latin typeface="Open Sans"/>
                <a:ea typeface="+mn-ea"/>
                <a:cs typeface="+mn-cs"/>
              </a:rPr>
              <a:t>Develop roadmap based on value/complexity drivers</a:t>
            </a: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000" b="0" i="0" u="none" strike="noStrike" kern="1200" cap="none" spc="-10" normalizeH="0" baseline="0" noProof="0" dirty="0">
                <a:ln>
                  <a:noFill/>
                </a:ln>
                <a:solidFill>
                  <a:srgbClr val="000000"/>
                </a:solidFill>
                <a:effectLst/>
                <a:uLnTx/>
                <a:uFillTx/>
                <a:latin typeface="Open Sans"/>
                <a:ea typeface="+mn-ea"/>
                <a:cs typeface="+mn-cs"/>
              </a:rPr>
              <a:t>Continue to provide program management oversight across all workstreams and vendors to facilitate on-time project completion, including:</a:t>
            </a:r>
          </a:p>
          <a:p>
            <a:pPr marL="401638" marR="0" lvl="1" indent="-173038" algn="l" defTabSz="914400" rtl="0" eaLnBrk="1" fontAlgn="auto" latinLnBrk="0" hangingPunct="1">
              <a:lnSpc>
                <a:spcPct val="100000"/>
              </a:lnSpc>
              <a:spcBef>
                <a:spcPts val="0"/>
              </a:spcBef>
              <a:spcAft>
                <a:spcPts val="600"/>
              </a:spcAft>
              <a:buClrTx/>
              <a:buSzTx/>
              <a:buFont typeface="+mj-lt"/>
              <a:buAutoNum type="alphaLcPeriod"/>
              <a:tabLst/>
              <a:defRPr/>
            </a:pPr>
            <a:r>
              <a:rPr kumimoji="0" lang="en-US" sz="1000" b="0" i="0" u="none" strike="noStrike" kern="1200" cap="none" spc="-10" normalizeH="0" baseline="0" noProof="0" dirty="0">
                <a:ln>
                  <a:noFill/>
                </a:ln>
                <a:solidFill>
                  <a:srgbClr val="000000"/>
                </a:solidFill>
                <a:effectLst/>
                <a:uLnTx/>
                <a:uFillTx/>
                <a:latin typeface="Open Sans"/>
                <a:ea typeface="+mn-ea"/>
                <a:cs typeface="+mn-cs"/>
              </a:rPr>
              <a:t>Maintain weekly status/progress report</a:t>
            </a:r>
          </a:p>
          <a:p>
            <a:pPr marL="401638" marR="0" lvl="1" indent="-173038" algn="l" defTabSz="914400" rtl="0" eaLnBrk="1" fontAlgn="auto" latinLnBrk="0" hangingPunct="1">
              <a:lnSpc>
                <a:spcPct val="100000"/>
              </a:lnSpc>
              <a:spcBef>
                <a:spcPts val="0"/>
              </a:spcBef>
              <a:spcAft>
                <a:spcPts val="600"/>
              </a:spcAft>
              <a:buClrTx/>
              <a:buSzTx/>
              <a:buFont typeface="+mj-lt"/>
              <a:buAutoNum type="alphaLcPeriod"/>
              <a:tabLst/>
              <a:defRPr/>
            </a:pPr>
            <a:r>
              <a:rPr kumimoji="0" lang="en-US" sz="1000" b="0" i="0" u="none" strike="noStrike" kern="1200" cap="none" spc="-10" normalizeH="0" baseline="0" noProof="0" dirty="0">
                <a:ln>
                  <a:noFill/>
                </a:ln>
                <a:solidFill>
                  <a:srgbClr val="000000"/>
                </a:solidFill>
                <a:effectLst/>
                <a:uLnTx/>
                <a:uFillTx/>
                <a:latin typeface="Open Sans"/>
                <a:ea typeface="+mn-ea"/>
                <a:cs typeface="+mn-cs"/>
              </a:rPr>
              <a:t>Maintain risk and issue log and facilitate resolution/mitigation plans, working with steering committee and key stakeholders</a:t>
            </a:r>
          </a:p>
          <a:p>
            <a:pPr marL="401638" marR="0" lvl="1" indent="-173038" algn="l" defTabSz="914400" rtl="0" eaLnBrk="1" fontAlgn="auto" latinLnBrk="0" hangingPunct="1">
              <a:lnSpc>
                <a:spcPct val="100000"/>
              </a:lnSpc>
              <a:spcBef>
                <a:spcPts val="0"/>
              </a:spcBef>
              <a:spcAft>
                <a:spcPts val="600"/>
              </a:spcAft>
              <a:buClrTx/>
              <a:buSzTx/>
              <a:buFont typeface="+mj-lt"/>
              <a:buAutoNum type="alphaLcPeriod"/>
              <a:tabLst/>
              <a:defRPr/>
            </a:pPr>
            <a:r>
              <a:rPr kumimoji="0" lang="en-US" sz="1000" b="0" i="0" u="none" strike="noStrike" kern="1200" cap="none" spc="-10" normalizeH="0" baseline="0" noProof="0" dirty="0">
                <a:ln>
                  <a:noFill/>
                </a:ln>
                <a:solidFill>
                  <a:srgbClr val="000000"/>
                </a:solidFill>
                <a:effectLst/>
                <a:uLnTx/>
                <a:uFillTx/>
                <a:latin typeface="Open Sans"/>
                <a:ea typeface="+mn-ea"/>
                <a:cs typeface="+mn-cs"/>
              </a:rPr>
              <a:t>Lead weekly status meetings with key stakeholders to review critical path milestones, dependences, risks/issues</a:t>
            </a: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000" b="0" i="0" u="none" strike="noStrike" kern="1200" cap="none" spc="-1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tinue to track benefits realization across all active use cases</a:t>
            </a:r>
          </a:p>
        </p:txBody>
      </p:sp>
      <p:sp>
        <p:nvSpPr>
          <p:cNvPr id="40" name="Rectangle 39">
            <a:extLst>
              <a:ext uri="{FF2B5EF4-FFF2-40B4-BE49-F238E27FC236}">
                <a16:creationId xmlns:a16="http://schemas.microsoft.com/office/drawing/2014/main" id="{4CE6BEEF-162F-4CB5-B7B2-F56BBB3ADE29}"/>
              </a:ext>
            </a:extLst>
          </p:cNvPr>
          <p:cNvSpPr/>
          <p:nvPr/>
        </p:nvSpPr>
        <p:spPr>
          <a:xfrm>
            <a:off x="7952063" y="2406498"/>
            <a:ext cx="3782738" cy="1343874"/>
          </a:xfrm>
          <a:prstGeom prst="rect">
            <a:avLst/>
          </a:prstGeom>
          <a:gradFill flip="none" rotWithShape="1">
            <a:gsLst>
              <a:gs pos="0">
                <a:srgbClr val="FAFAFA"/>
              </a:gs>
              <a:gs pos="100000">
                <a:schemeClr val="bg1">
                  <a:lumMod val="95000"/>
                </a:schemeClr>
              </a:gs>
            </a:gsLst>
            <a:lin ang="5400000" scaled="1"/>
            <a:tileRect/>
          </a:gra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cxnSp>
        <p:nvCxnSpPr>
          <p:cNvPr id="41" name="Straight Connector 40">
            <a:extLst>
              <a:ext uri="{FF2B5EF4-FFF2-40B4-BE49-F238E27FC236}">
                <a16:creationId xmlns:a16="http://schemas.microsoft.com/office/drawing/2014/main" id="{37472F6B-16FF-495A-B21F-8193A044845B}"/>
              </a:ext>
            </a:extLst>
          </p:cNvPr>
          <p:cNvCxnSpPr>
            <a:cxnSpLocks/>
          </p:cNvCxnSpPr>
          <p:nvPr/>
        </p:nvCxnSpPr>
        <p:spPr>
          <a:xfrm>
            <a:off x="7952062" y="2406499"/>
            <a:ext cx="3782738"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sp>
        <p:nvSpPr>
          <p:cNvPr id="42" name="Google Shape;22515;p994">
            <a:extLst>
              <a:ext uri="{FF2B5EF4-FFF2-40B4-BE49-F238E27FC236}">
                <a16:creationId xmlns:a16="http://schemas.microsoft.com/office/drawing/2014/main" id="{C7835016-3C71-4058-B789-0B8A6ECC1FED}"/>
              </a:ext>
            </a:extLst>
          </p:cNvPr>
          <p:cNvSpPr txBox="1"/>
          <p:nvPr/>
        </p:nvSpPr>
        <p:spPr>
          <a:xfrm>
            <a:off x="8169063" y="1856942"/>
            <a:ext cx="2288227" cy="52063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900"/>
              <a:buFont typeface="Arial"/>
              <a:buNone/>
              <a:tabLst/>
              <a:defRPr/>
            </a:pPr>
            <a:r>
              <a:rPr kumimoji="0" lang="en-US" sz="1800" b="0" i="0" u="none" strike="noStrike" kern="120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Open Sans"/>
              </a:rPr>
              <a:t>Software &amp; Tooling</a:t>
            </a:r>
          </a:p>
        </p:txBody>
      </p:sp>
      <p:cxnSp>
        <p:nvCxnSpPr>
          <p:cNvPr id="43" name="Straight Connector 42">
            <a:extLst>
              <a:ext uri="{FF2B5EF4-FFF2-40B4-BE49-F238E27FC236}">
                <a16:creationId xmlns:a16="http://schemas.microsoft.com/office/drawing/2014/main" id="{F797C924-680B-4A06-ACF7-913EE9DD603C}"/>
              </a:ext>
            </a:extLst>
          </p:cNvPr>
          <p:cNvCxnSpPr>
            <a:cxnSpLocks/>
          </p:cNvCxnSpPr>
          <p:nvPr/>
        </p:nvCxnSpPr>
        <p:spPr>
          <a:xfrm>
            <a:off x="7952062" y="1676769"/>
            <a:ext cx="3782738"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8009D62B-E5D0-4C60-BE65-68916E6B94B0}"/>
              </a:ext>
            </a:extLst>
          </p:cNvPr>
          <p:cNvSpPr txBox="1"/>
          <p:nvPr/>
        </p:nvSpPr>
        <p:spPr>
          <a:xfrm>
            <a:off x="8065998" y="2572882"/>
            <a:ext cx="3553960" cy="900246"/>
          </a:xfrm>
          <a:prstGeom prst="rect">
            <a:avLst/>
          </a:prstGeom>
          <a:noFill/>
        </p:spPr>
        <p:txBody>
          <a:bodyPr wrap="square" rtlCol="0">
            <a:spAutoFit/>
          </a:bodyPr>
          <a:lstStyle/>
          <a:p>
            <a:pPr marL="173736" marR="0" lvl="0" indent="-173736"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Open Sans"/>
                <a:ea typeface="Tahoma" pitchFamily="34" charset="0"/>
                <a:cs typeface="Arial" panose="020B0604020202020204" pitchFamily="34" charset="0"/>
              </a:rPr>
              <a:t>Project management tools/templates to be jointly selected by the company and Deloitte engagement teams</a:t>
            </a:r>
          </a:p>
          <a:p>
            <a:pPr marL="173736" marR="0" lvl="0" indent="-173736"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Open Sans"/>
                <a:ea typeface="Tahoma" pitchFamily="34" charset="0"/>
                <a:cs typeface="Arial" panose="020B0604020202020204" pitchFamily="34" charset="0"/>
              </a:rPr>
              <a:t>Microsoft Project Plan will be used to track and monitor team progress and key dependencies</a:t>
            </a:r>
          </a:p>
        </p:txBody>
      </p:sp>
      <p:sp>
        <p:nvSpPr>
          <p:cNvPr id="46" name="Rectangle 45">
            <a:extLst>
              <a:ext uri="{FF2B5EF4-FFF2-40B4-BE49-F238E27FC236}">
                <a16:creationId xmlns:a16="http://schemas.microsoft.com/office/drawing/2014/main" id="{B8560DDC-40CD-40FE-AA79-E7E23ED4680A}"/>
              </a:ext>
            </a:extLst>
          </p:cNvPr>
          <p:cNvSpPr/>
          <p:nvPr/>
        </p:nvSpPr>
        <p:spPr>
          <a:xfrm>
            <a:off x="7952063" y="4496761"/>
            <a:ext cx="3782738" cy="1632578"/>
          </a:xfrm>
          <a:prstGeom prst="rect">
            <a:avLst/>
          </a:prstGeom>
          <a:gradFill flip="none" rotWithShape="1">
            <a:gsLst>
              <a:gs pos="0">
                <a:srgbClr val="FAFAFA"/>
              </a:gs>
              <a:gs pos="100000">
                <a:schemeClr val="bg1">
                  <a:lumMod val="95000"/>
                </a:schemeClr>
              </a:gs>
            </a:gsLst>
            <a:lin ang="5400000" scaled="1"/>
            <a:tileRect/>
          </a:gra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cxnSp>
        <p:nvCxnSpPr>
          <p:cNvPr id="48" name="Straight Connector 47">
            <a:extLst>
              <a:ext uri="{FF2B5EF4-FFF2-40B4-BE49-F238E27FC236}">
                <a16:creationId xmlns:a16="http://schemas.microsoft.com/office/drawing/2014/main" id="{40C34988-35F5-4B3E-BC33-1CFFC88E4A7E}"/>
              </a:ext>
            </a:extLst>
          </p:cNvPr>
          <p:cNvCxnSpPr>
            <a:cxnSpLocks/>
          </p:cNvCxnSpPr>
          <p:nvPr/>
        </p:nvCxnSpPr>
        <p:spPr>
          <a:xfrm>
            <a:off x="7952061" y="4480104"/>
            <a:ext cx="3782738" cy="0"/>
          </a:xfrm>
          <a:prstGeom prst="line">
            <a:avLst/>
          </a:prstGeom>
          <a:ln w="50800">
            <a:solidFill>
              <a:schemeClr val="accent4"/>
            </a:solidFill>
          </a:ln>
        </p:spPr>
        <p:style>
          <a:lnRef idx="1">
            <a:schemeClr val="accent1"/>
          </a:lnRef>
          <a:fillRef idx="0">
            <a:schemeClr val="accent1"/>
          </a:fillRef>
          <a:effectRef idx="0">
            <a:schemeClr val="accent1"/>
          </a:effectRef>
          <a:fontRef idx="minor">
            <a:schemeClr val="tx1"/>
          </a:fontRef>
        </p:style>
      </p:cxnSp>
      <p:sp>
        <p:nvSpPr>
          <p:cNvPr id="49" name="Google Shape;22515;p994">
            <a:extLst>
              <a:ext uri="{FF2B5EF4-FFF2-40B4-BE49-F238E27FC236}">
                <a16:creationId xmlns:a16="http://schemas.microsoft.com/office/drawing/2014/main" id="{FC206A4A-2F5B-4EEB-B665-5BDC19E2839B}"/>
              </a:ext>
            </a:extLst>
          </p:cNvPr>
          <p:cNvSpPr txBox="1"/>
          <p:nvPr/>
        </p:nvSpPr>
        <p:spPr>
          <a:xfrm>
            <a:off x="8169062" y="3930547"/>
            <a:ext cx="3089738" cy="52063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900"/>
              <a:buFont typeface="Arial"/>
              <a:buNone/>
              <a:tabLst/>
              <a:defRPr/>
            </a:pPr>
            <a:r>
              <a:rPr kumimoji="0" lang="en-US" sz="1800" b="0" i="0" u="none" strike="noStrike" kern="120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Open Sans"/>
              </a:rPr>
              <a:t>Key Considerations</a:t>
            </a:r>
          </a:p>
        </p:txBody>
      </p:sp>
      <p:cxnSp>
        <p:nvCxnSpPr>
          <p:cNvPr id="50" name="Straight Connector 49">
            <a:extLst>
              <a:ext uri="{FF2B5EF4-FFF2-40B4-BE49-F238E27FC236}">
                <a16:creationId xmlns:a16="http://schemas.microsoft.com/office/drawing/2014/main" id="{8F2C6309-8843-47D9-97BC-96D94A78024C}"/>
              </a:ext>
            </a:extLst>
          </p:cNvPr>
          <p:cNvCxnSpPr>
            <a:cxnSpLocks/>
          </p:cNvCxnSpPr>
          <p:nvPr/>
        </p:nvCxnSpPr>
        <p:spPr>
          <a:xfrm>
            <a:off x="7952061" y="3750374"/>
            <a:ext cx="3782738"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5A0D3A69-2525-42A3-B74F-F29174ECE844}"/>
              </a:ext>
            </a:extLst>
          </p:cNvPr>
          <p:cNvSpPr txBox="1"/>
          <p:nvPr/>
        </p:nvSpPr>
        <p:spPr>
          <a:xfrm>
            <a:off x="8072437" y="4647086"/>
            <a:ext cx="3460594" cy="900246"/>
          </a:xfrm>
          <a:prstGeom prst="rect">
            <a:avLst/>
          </a:prstGeom>
          <a:noFill/>
        </p:spPr>
        <p:txBody>
          <a:bodyPr wrap="square" rtlCol="0">
            <a:spAutoFit/>
          </a:bodyPr>
          <a:lstStyle/>
          <a:p>
            <a:pPr marL="173736" marR="0" lvl="0" indent="-173736" algn="l"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Assumes appropriate availability of key business, IT and analytics stakeholders to weigh in on risk mitigation and issue troubleshooting plans</a:t>
            </a:r>
          </a:p>
          <a:p>
            <a:pPr marL="173736" marR="0" lvl="0" indent="-173736" algn="l"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Assumes appropriate ability of key stakeholders to make timely decisions</a:t>
            </a:r>
          </a:p>
        </p:txBody>
      </p:sp>
      <p:grpSp>
        <p:nvGrpSpPr>
          <p:cNvPr id="52" name="Group 51">
            <a:extLst>
              <a:ext uri="{FF2B5EF4-FFF2-40B4-BE49-F238E27FC236}">
                <a16:creationId xmlns:a16="http://schemas.microsoft.com/office/drawing/2014/main" id="{0071B262-D970-4EE0-92F4-ADEBC728AA26}"/>
              </a:ext>
            </a:extLst>
          </p:cNvPr>
          <p:cNvGrpSpPr/>
          <p:nvPr/>
        </p:nvGrpSpPr>
        <p:grpSpPr>
          <a:xfrm>
            <a:off x="5346331" y="1676769"/>
            <a:ext cx="2465579" cy="4452570"/>
            <a:chOff x="5346331" y="1676769"/>
            <a:chExt cx="2465579" cy="4452570"/>
          </a:xfrm>
        </p:grpSpPr>
        <p:sp>
          <p:nvSpPr>
            <p:cNvPr id="53" name="Rectangle 52">
              <a:extLst>
                <a:ext uri="{FF2B5EF4-FFF2-40B4-BE49-F238E27FC236}">
                  <a16:creationId xmlns:a16="http://schemas.microsoft.com/office/drawing/2014/main" id="{E41AF3D6-C487-4125-810D-A32FDDC0AD98}"/>
                </a:ext>
              </a:extLst>
            </p:cNvPr>
            <p:cNvSpPr/>
            <p:nvPr/>
          </p:nvSpPr>
          <p:spPr>
            <a:xfrm>
              <a:off x="5346332" y="2439203"/>
              <a:ext cx="2465578" cy="3690136"/>
            </a:xfrm>
            <a:prstGeom prst="rect">
              <a:avLst/>
            </a:prstGeom>
            <a:gradFill flip="none" rotWithShape="1">
              <a:gsLst>
                <a:gs pos="0">
                  <a:srgbClr val="FAFAFA"/>
                </a:gs>
                <a:gs pos="100000">
                  <a:schemeClr val="bg1">
                    <a:lumMod val="95000"/>
                  </a:schemeClr>
                </a:gs>
              </a:gsLst>
              <a:lin ang="5400000" scaled="1"/>
              <a:tileRect/>
            </a:gra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cxnSp>
          <p:nvCxnSpPr>
            <p:cNvPr id="54" name="Straight Connector 53">
              <a:extLst>
                <a:ext uri="{FF2B5EF4-FFF2-40B4-BE49-F238E27FC236}">
                  <a16:creationId xmlns:a16="http://schemas.microsoft.com/office/drawing/2014/main" id="{12D90447-FFF2-4C89-B32B-6094A2107098}"/>
                </a:ext>
              </a:extLst>
            </p:cNvPr>
            <p:cNvCxnSpPr>
              <a:cxnSpLocks/>
            </p:cNvCxnSpPr>
            <p:nvPr/>
          </p:nvCxnSpPr>
          <p:spPr>
            <a:xfrm>
              <a:off x="5346331" y="2406499"/>
              <a:ext cx="2465579" cy="0"/>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5" name="Google Shape;22515;p994">
              <a:extLst>
                <a:ext uri="{FF2B5EF4-FFF2-40B4-BE49-F238E27FC236}">
                  <a16:creationId xmlns:a16="http://schemas.microsoft.com/office/drawing/2014/main" id="{79EEA007-963F-4A56-92D4-5B650500D7F1}"/>
                </a:ext>
              </a:extLst>
            </p:cNvPr>
            <p:cNvSpPr txBox="1"/>
            <p:nvPr/>
          </p:nvSpPr>
          <p:spPr>
            <a:xfrm>
              <a:off x="5460267" y="1856942"/>
              <a:ext cx="1990397" cy="536563"/>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900"/>
                <a:buFont typeface="Arial"/>
                <a:buNone/>
                <a:tabLst/>
                <a:defRPr/>
              </a:pPr>
              <a:r>
                <a:rPr kumimoji="0" lang="en-US" sz="1800" b="0" i="0" u="none" strike="noStrike" kern="120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Open Sans"/>
                </a:rPr>
                <a:t>Deliverables</a:t>
              </a:r>
            </a:p>
          </p:txBody>
        </p:sp>
        <p:cxnSp>
          <p:nvCxnSpPr>
            <p:cNvPr id="56" name="Straight Connector 55">
              <a:extLst>
                <a:ext uri="{FF2B5EF4-FFF2-40B4-BE49-F238E27FC236}">
                  <a16:creationId xmlns:a16="http://schemas.microsoft.com/office/drawing/2014/main" id="{571D0B3D-C27E-4205-9380-3AF917043552}"/>
                </a:ext>
              </a:extLst>
            </p:cNvPr>
            <p:cNvCxnSpPr>
              <a:cxnSpLocks/>
            </p:cNvCxnSpPr>
            <p:nvPr/>
          </p:nvCxnSpPr>
          <p:spPr>
            <a:xfrm>
              <a:off x="5346331" y="1676769"/>
              <a:ext cx="2465579"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57" name="TextBox 56">
            <a:extLst>
              <a:ext uri="{FF2B5EF4-FFF2-40B4-BE49-F238E27FC236}">
                <a16:creationId xmlns:a16="http://schemas.microsoft.com/office/drawing/2014/main" id="{D6DB33FC-CCD4-44A6-B417-A2F0B9BB0B24}"/>
              </a:ext>
            </a:extLst>
          </p:cNvPr>
          <p:cNvSpPr txBox="1"/>
          <p:nvPr/>
        </p:nvSpPr>
        <p:spPr>
          <a:xfrm>
            <a:off x="5460265" y="2572882"/>
            <a:ext cx="2207003" cy="3062377"/>
          </a:xfrm>
          <a:prstGeom prst="rect">
            <a:avLst/>
          </a:prstGeom>
          <a:noFill/>
        </p:spPr>
        <p:txBody>
          <a:bodyPr wrap="square" rtlCol="0">
            <a:spAutoFit/>
          </a:bodyPr>
          <a:lstStyle/>
          <a:p>
            <a:pPr marL="173736" marR="0" lvl="0" indent="-173736"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50" b="1" i="0" u="none" strike="noStrike" kern="1200" cap="none" spc="0" normalizeH="0" baseline="0" noProof="0" dirty="0">
                <a:ln>
                  <a:noFill/>
                </a:ln>
                <a:solidFill>
                  <a:srgbClr val="000000"/>
                </a:solidFill>
                <a:effectLst/>
                <a:uLnTx/>
                <a:uFillTx/>
                <a:latin typeface="Open Sans"/>
                <a:ea typeface="+mn-ea"/>
                <a:cs typeface="+mn-cs"/>
              </a:rPr>
              <a:t>Roadmap</a:t>
            </a:r>
            <a:r>
              <a:rPr kumimoji="0" lang="en-US" sz="950" b="0" i="0" u="none" strike="noStrike" kern="1200" cap="none" spc="0" normalizeH="0" baseline="0" noProof="0" dirty="0">
                <a:ln>
                  <a:noFill/>
                </a:ln>
                <a:solidFill>
                  <a:srgbClr val="000000"/>
                </a:solidFill>
                <a:effectLst/>
                <a:uLnTx/>
                <a:uFillTx/>
                <a:latin typeface="Open Sans"/>
                <a:ea typeface="+mn-ea"/>
                <a:cs typeface="+mn-cs"/>
              </a:rPr>
              <a:t>: Prioritize use case design and implementation (as use cases enter intake model)</a:t>
            </a:r>
          </a:p>
          <a:p>
            <a:pPr marL="173736" marR="0" lvl="0" indent="-173736"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50" b="1" i="0" u="none" strike="noStrike" kern="1200" cap="none" spc="0" normalizeH="0" baseline="0" noProof="0" dirty="0">
                <a:ln>
                  <a:noFill/>
                </a:ln>
                <a:solidFill>
                  <a:srgbClr val="000000"/>
                </a:solidFill>
                <a:effectLst/>
                <a:uLnTx/>
                <a:uFillTx/>
                <a:latin typeface="Open Sans"/>
                <a:ea typeface="+mn-ea"/>
                <a:cs typeface="+mn-cs"/>
              </a:rPr>
              <a:t>Value Estimates</a:t>
            </a:r>
            <a:r>
              <a:rPr kumimoji="0" lang="en-US" sz="950" b="0" i="0" u="none" strike="noStrike" kern="1200" cap="none" spc="0" normalizeH="0" baseline="0" noProof="0" dirty="0">
                <a:ln>
                  <a:noFill/>
                </a:ln>
                <a:solidFill>
                  <a:srgbClr val="000000"/>
                </a:solidFill>
                <a:effectLst/>
                <a:uLnTx/>
                <a:uFillTx/>
                <a:latin typeface="Open Sans"/>
                <a:ea typeface="+mn-ea"/>
                <a:cs typeface="+mn-cs"/>
              </a:rPr>
              <a:t>: Assign value estimates to each prioritized use case (as use cases enter intake model)</a:t>
            </a:r>
          </a:p>
          <a:p>
            <a:pPr marL="173736" marR="0" lvl="0" indent="-173736"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50" b="1" i="0" u="none" strike="noStrike" kern="1200" cap="none" spc="0" normalizeH="0" baseline="0" noProof="0" dirty="0">
                <a:ln>
                  <a:noFill/>
                </a:ln>
                <a:solidFill>
                  <a:srgbClr val="000000"/>
                </a:solidFill>
                <a:effectLst/>
                <a:uLnTx/>
                <a:uFillTx/>
                <a:latin typeface="Open Sans"/>
                <a:ea typeface="+mn-ea"/>
                <a:cs typeface="+mn-cs"/>
              </a:rPr>
              <a:t>Progress Reports</a:t>
            </a:r>
            <a:r>
              <a:rPr kumimoji="0" lang="en-US" sz="950" b="0" i="0" u="none" strike="noStrike" kern="1200" cap="none" spc="0" normalizeH="0" baseline="0" noProof="0" dirty="0">
                <a:ln>
                  <a:noFill/>
                </a:ln>
                <a:solidFill>
                  <a:srgbClr val="000000"/>
                </a:solidFill>
                <a:effectLst/>
                <a:uLnTx/>
                <a:uFillTx/>
                <a:latin typeface="Open Sans"/>
                <a:ea typeface="+mn-ea"/>
                <a:cs typeface="+mn-cs"/>
              </a:rPr>
              <a:t>: Develop weekly reports to convey progress against critical path</a:t>
            </a:r>
          </a:p>
          <a:p>
            <a:pPr marL="173736" marR="0" lvl="0" indent="-173736"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50" b="1" i="0" u="none" strike="noStrike" kern="1200" cap="none" spc="0" normalizeH="0" baseline="0" noProof="0" dirty="0">
                <a:ln>
                  <a:noFill/>
                </a:ln>
                <a:solidFill>
                  <a:srgbClr val="000000"/>
                </a:solidFill>
                <a:effectLst/>
                <a:uLnTx/>
                <a:uFillTx/>
                <a:latin typeface="Open Sans"/>
                <a:ea typeface="+mn-ea"/>
                <a:cs typeface="+mn-cs"/>
              </a:rPr>
              <a:t>Risk and Issue Log</a:t>
            </a:r>
            <a:r>
              <a:rPr kumimoji="0" lang="en-US" sz="950" b="0" i="0" u="none" strike="noStrike" kern="1200" cap="none" spc="0" normalizeH="0" baseline="0" noProof="0" dirty="0">
                <a:ln>
                  <a:noFill/>
                </a:ln>
                <a:solidFill>
                  <a:srgbClr val="000000"/>
                </a:solidFill>
                <a:effectLst/>
                <a:uLnTx/>
                <a:uFillTx/>
                <a:latin typeface="Open Sans"/>
                <a:ea typeface="+mn-ea"/>
                <a:cs typeface="+mn-cs"/>
              </a:rPr>
              <a:t>: Track risks and issues that arise, as well as mitigation paths</a:t>
            </a:r>
          </a:p>
          <a:p>
            <a:pPr marL="173736" marR="0" lvl="0" indent="-173736"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50" b="1" i="0" u="none" strike="noStrike" kern="1200" cap="none" spc="0" normalizeH="0" baseline="0" noProof="0" dirty="0">
                <a:ln>
                  <a:noFill/>
                </a:ln>
                <a:solidFill>
                  <a:srgbClr val="000000"/>
                </a:solidFill>
                <a:effectLst/>
                <a:uLnTx/>
                <a:uFillTx/>
                <a:latin typeface="Open Sans"/>
                <a:ea typeface="+mn-ea"/>
                <a:cs typeface="+mn-cs"/>
              </a:rPr>
              <a:t>Critical Path</a:t>
            </a:r>
            <a:r>
              <a:rPr kumimoji="0" lang="en-US" sz="950" b="0" i="0" u="none" strike="noStrike" kern="1200" cap="none" spc="0" normalizeH="0" baseline="0" noProof="0" dirty="0">
                <a:ln>
                  <a:noFill/>
                </a:ln>
                <a:solidFill>
                  <a:srgbClr val="000000"/>
                </a:solidFill>
                <a:effectLst/>
                <a:uLnTx/>
                <a:uFillTx/>
                <a:latin typeface="Open Sans"/>
                <a:ea typeface="+mn-ea"/>
                <a:cs typeface="+mn-cs"/>
              </a:rPr>
              <a:t>: Track program milestones, as well as critical path and dependencies</a:t>
            </a:r>
          </a:p>
          <a:p>
            <a:pPr marL="173736" marR="0" lvl="0" indent="-173736"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50" b="1" i="0" u="none" strike="noStrike" kern="1200" cap="none" spc="0" normalizeH="0" baseline="0" noProof="0" dirty="0">
                <a:ln>
                  <a:noFill/>
                </a:ln>
                <a:solidFill>
                  <a:srgbClr val="000000"/>
                </a:solidFill>
                <a:effectLst/>
                <a:uLnTx/>
                <a:uFillTx/>
                <a:latin typeface="Open Sans"/>
                <a:ea typeface="+mn-ea"/>
                <a:cs typeface="+mn-cs"/>
              </a:rPr>
              <a:t>Value Realization</a:t>
            </a:r>
            <a:r>
              <a:rPr kumimoji="0" lang="en-US" sz="950" b="0" i="0" u="none" strike="noStrike" kern="1200" cap="none" spc="0" normalizeH="0" baseline="0" noProof="0" dirty="0">
                <a:ln>
                  <a:noFill/>
                </a:ln>
                <a:solidFill>
                  <a:srgbClr val="000000"/>
                </a:solidFill>
                <a:effectLst/>
                <a:uLnTx/>
                <a:uFillTx/>
                <a:latin typeface="Open Sans"/>
                <a:ea typeface="+mn-ea"/>
                <a:cs typeface="+mn-cs"/>
              </a:rPr>
              <a:t>: Track benefits realized to estimates (from Phase 1 / intake process)</a:t>
            </a:r>
          </a:p>
        </p:txBody>
      </p:sp>
      <p:cxnSp>
        <p:nvCxnSpPr>
          <p:cNvPr id="59" name="Straight Connector 58">
            <a:extLst>
              <a:ext uri="{FF2B5EF4-FFF2-40B4-BE49-F238E27FC236}">
                <a16:creationId xmlns:a16="http://schemas.microsoft.com/office/drawing/2014/main" id="{5A258D57-65BE-47F9-9B0A-94891BE17152}"/>
              </a:ext>
            </a:extLst>
          </p:cNvPr>
          <p:cNvCxnSpPr>
            <a:cxnSpLocks/>
          </p:cNvCxnSpPr>
          <p:nvPr/>
        </p:nvCxnSpPr>
        <p:spPr>
          <a:xfrm>
            <a:off x="7952061" y="6129339"/>
            <a:ext cx="3782738"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00DE1555-2310-43FC-8FED-F43904995F81}"/>
              </a:ext>
            </a:extLst>
          </p:cNvPr>
          <p:cNvCxnSpPr>
            <a:cxnSpLocks/>
          </p:cNvCxnSpPr>
          <p:nvPr/>
        </p:nvCxnSpPr>
        <p:spPr>
          <a:xfrm>
            <a:off x="5346331" y="6129339"/>
            <a:ext cx="2465579"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22178A8-CAFD-49A2-95CD-967DFE10E4A7}"/>
              </a:ext>
            </a:extLst>
          </p:cNvPr>
          <p:cNvCxnSpPr>
            <a:cxnSpLocks/>
          </p:cNvCxnSpPr>
          <p:nvPr/>
        </p:nvCxnSpPr>
        <p:spPr>
          <a:xfrm>
            <a:off x="458107" y="6129339"/>
            <a:ext cx="4734782"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742388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2B7AC2-8F97-4E5B-92C9-6ADE85140A6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4"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562B7AC2-8F97-4E5B-92C9-6ADE85140A6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388FCEE-22D8-44F9-BF29-CA0D6A75D67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35B02637-A3A2-4469-890E-F300AC4A9A60}"/>
              </a:ext>
            </a:extLst>
          </p:cNvPr>
          <p:cNvSpPr>
            <a:spLocks noGrp="1"/>
          </p:cNvSpPr>
          <p:nvPr>
            <p:ph type="title"/>
          </p:nvPr>
        </p:nvSpPr>
        <p:spPr/>
        <p:txBody>
          <a:bodyPr/>
          <a:lstStyle/>
          <a:p>
            <a:r>
              <a:rPr lang="en-US" dirty="0"/>
              <a:t>A changing landscape</a:t>
            </a:r>
          </a:p>
        </p:txBody>
      </p:sp>
      <p:sp>
        <p:nvSpPr>
          <p:cNvPr id="27" name="Text Placeholder 26">
            <a:extLst>
              <a:ext uri="{FF2B5EF4-FFF2-40B4-BE49-F238E27FC236}">
                <a16:creationId xmlns:a16="http://schemas.microsoft.com/office/drawing/2014/main" id="{8F1DEBFA-B62D-4EC1-AFD4-4A40E957281E}"/>
              </a:ext>
            </a:extLst>
          </p:cNvPr>
          <p:cNvSpPr>
            <a:spLocks noGrp="1"/>
          </p:cNvSpPr>
          <p:nvPr>
            <p:ph type="body" sz="quarter" idx="14"/>
          </p:nvPr>
        </p:nvSpPr>
        <p:spPr/>
        <p:txBody>
          <a:bodyPr/>
          <a:lstStyle/>
          <a:p>
            <a:r>
              <a:rPr lang="en-US" dirty="0"/>
              <a:t>The unpredictable business climate and volatile market is increasing pressure on companies to perform</a:t>
            </a:r>
          </a:p>
        </p:txBody>
      </p:sp>
      <p:sp>
        <p:nvSpPr>
          <p:cNvPr id="28" name="Text Placeholder 27">
            <a:extLst>
              <a:ext uri="{FF2B5EF4-FFF2-40B4-BE49-F238E27FC236}">
                <a16:creationId xmlns:a16="http://schemas.microsoft.com/office/drawing/2014/main" id="{C630A753-842C-420F-9013-683F3828BD2F}"/>
              </a:ext>
            </a:extLst>
          </p:cNvPr>
          <p:cNvSpPr>
            <a:spLocks noGrp="1"/>
          </p:cNvSpPr>
          <p:nvPr>
            <p:ph type="body" sz="quarter" idx="15"/>
          </p:nvPr>
        </p:nvSpPr>
        <p:spPr/>
        <p:txBody>
          <a:bodyPr/>
          <a:lstStyle/>
          <a:p>
            <a:r>
              <a:rPr lang="en-US" dirty="0"/>
              <a:t>text</a:t>
            </a:r>
          </a:p>
        </p:txBody>
      </p:sp>
      <p:sp>
        <p:nvSpPr>
          <p:cNvPr id="43" name="Arc 42"/>
          <p:cNvSpPr/>
          <p:nvPr/>
        </p:nvSpPr>
        <p:spPr bwMode="gray">
          <a:xfrm>
            <a:off x="3599949" y="1788725"/>
            <a:ext cx="4927424" cy="1868192"/>
          </a:xfrm>
          <a:prstGeom prst="arc">
            <a:avLst>
              <a:gd name="adj1" fmla="val 11400237"/>
              <a:gd name="adj2" fmla="val 21235583"/>
            </a:avLst>
          </a:prstGeom>
          <a:ln w="38100">
            <a:solidFill>
              <a:schemeClr val="bg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endParaRPr lang="en-US" dirty="0">
              <a:solidFill>
                <a:srgbClr val="000000"/>
              </a:solidFill>
            </a:endParaRPr>
          </a:p>
        </p:txBody>
      </p:sp>
      <p:sp>
        <p:nvSpPr>
          <p:cNvPr id="44" name="Rectangle 43"/>
          <p:cNvSpPr/>
          <p:nvPr/>
        </p:nvSpPr>
        <p:spPr bwMode="gray">
          <a:xfrm>
            <a:off x="914400" y="2633446"/>
            <a:ext cx="4372804" cy="3030656"/>
          </a:xfrm>
          <a:prstGeom prst="rect">
            <a:avLst/>
          </a:prstGeom>
          <a:solidFill>
            <a:schemeClr val="bg1"/>
          </a:solidFill>
          <a:ln w="9525">
            <a:solidFill>
              <a:schemeClr val="accent6">
                <a:lumMod val="40000"/>
                <a:lumOff val="6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8900" tIns="365760" rIns="88900" bIns="88900" rtlCol="0" anchor="t"/>
          <a:lstStyle/>
          <a:p>
            <a:pPr marL="114300" lvl="1" indent="-114300">
              <a:spcBef>
                <a:spcPts val="600"/>
              </a:spcBef>
              <a:buSzPct val="100000"/>
              <a:buFont typeface="Arial"/>
              <a:buChar char="•"/>
              <a:defRPr/>
            </a:pPr>
            <a:endParaRPr lang="en-US" sz="1000" dirty="0">
              <a:solidFill>
                <a:schemeClr val="tx1"/>
              </a:solidFill>
            </a:endParaRPr>
          </a:p>
        </p:txBody>
      </p:sp>
      <p:sp>
        <p:nvSpPr>
          <p:cNvPr id="77" name="Rectangle 76"/>
          <p:cNvSpPr/>
          <p:nvPr/>
        </p:nvSpPr>
        <p:spPr bwMode="gray">
          <a:xfrm>
            <a:off x="1539086" y="2375108"/>
            <a:ext cx="4164575" cy="420994"/>
          </a:xfrm>
          <a:prstGeom prst="rect">
            <a:avLst/>
          </a:prstGeom>
          <a:solidFill>
            <a:schemeClr val="accent3"/>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US" sz="1400" b="1" dirty="0"/>
              <a:t>The market is looming in uncertainty…</a:t>
            </a:r>
            <a:endParaRPr lang="en-US" sz="1400" b="1" dirty="0">
              <a:solidFill>
                <a:schemeClr val="bg1"/>
              </a:solidFill>
              <a:cs typeface="Arial" pitchFamily="34" charset="0"/>
            </a:endParaRPr>
          </a:p>
        </p:txBody>
      </p:sp>
      <p:sp>
        <p:nvSpPr>
          <p:cNvPr id="78" name="Rectangle 77"/>
          <p:cNvSpPr/>
          <p:nvPr/>
        </p:nvSpPr>
        <p:spPr bwMode="gray">
          <a:xfrm>
            <a:off x="6488339" y="2633446"/>
            <a:ext cx="4372804" cy="3030656"/>
          </a:xfrm>
          <a:prstGeom prst="rect">
            <a:avLst/>
          </a:prstGeom>
          <a:solidFill>
            <a:schemeClr val="bg1"/>
          </a:solidFill>
          <a:ln w="9525">
            <a:solidFill>
              <a:schemeClr val="accent6">
                <a:lumMod val="40000"/>
                <a:lumOff val="6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t"/>
          <a:lstStyle/>
          <a:p>
            <a:pPr marL="114300" lvl="1" indent="-114300">
              <a:spcBef>
                <a:spcPts val="600"/>
              </a:spcBef>
              <a:buSzPct val="100000"/>
              <a:buFont typeface="Arial"/>
              <a:buChar char="•"/>
              <a:defRPr/>
            </a:pPr>
            <a:endParaRPr lang="en-US" sz="1000" dirty="0">
              <a:solidFill>
                <a:schemeClr val="tx1"/>
              </a:solidFill>
            </a:endParaRPr>
          </a:p>
        </p:txBody>
      </p:sp>
      <p:sp>
        <p:nvSpPr>
          <p:cNvPr id="79" name="Rectangle 78"/>
          <p:cNvSpPr/>
          <p:nvPr/>
        </p:nvSpPr>
        <p:spPr bwMode="gray">
          <a:xfrm>
            <a:off x="7113025" y="5408627"/>
            <a:ext cx="4164575" cy="420994"/>
          </a:xfrm>
          <a:prstGeom prst="rect">
            <a:avLst/>
          </a:prstGeom>
          <a:solidFill>
            <a:schemeClr val="accent3"/>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US" sz="1400" b="1" dirty="0">
                <a:solidFill>
                  <a:schemeClr val="bg1"/>
                </a:solidFill>
                <a:cs typeface="Arial" pitchFamily="34" charset="0"/>
              </a:rPr>
              <a:t>…leading to rampant investor pressure on organizations to act</a:t>
            </a:r>
          </a:p>
        </p:txBody>
      </p:sp>
      <p:grpSp>
        <p:nvGrpSpPr>
          <p:cNvPr id="80" name="Group 79"/>
          <p:cNvGrpSpPr/>
          <p:nvPr/>
        </p:nvGrpSpPr>
        <p:grpSpPr>
          <a:xfrm>
            <a:off x="1106505" y="3269900"/>
            <a:ext cx="2670150" cy="461665"/>
            <a:chOff x="1603566" y="3437047"/>
            <a:chExt cx="2670150" cy="461665"/>
          </a:xfrm>
        </p:grpSpPr>
        <p:sp>
          <p:nvSpPr>
            <p:cNvPr id="81" name="TextBox 80">
              <a:extLst>
                <a:ext uri="{FF2B5EF4-FFF2-40B4-BE49-F238E27FC236}">
                  <a16:creationId xmlns:a16="http://schemas.microsoft.com/office/drawing/2014/main" id="{302F8EC5-D176-D146-80F4-9A82B9DC6853}"/>
                </a:ext>
              </a:extLst>
            </p:cNvPr>
            <p:cNvSpPr txBox="1"/>
            <p:nvPr/>
          </p:nvSpPr>
          <p:spPr>
            <a:xfrm>
              <a:off x="2033511" y="3437047"/>
              <a:ext cx="2240205" cy="461665"/>
            </a:xfrm>
            <a:prstGeom prst="rect">
              <a:avLst/>
            </a:prstGeom>
            <a:noFill/>
          </p:spPr>
          <p:txBody>
            <a:bodyPr wrap="square" rtlCol="0">
              <a:spAutoFit/>
            </a:bodyPr>
            <a:lstStyle/>
            <a:p>
              <a:r>
                <a:rPr lang="en-US" sz="1200" b="1" dirty="0"/>
                <a:t>Slow growth </a:t>
              </a:r>
              <a:r>
                <a:rPr lang="en-US" sz="1200" dirty="0"/>
                <a:t>in developed economies</a:t>
              </a:r>
            </a:p>
          </p:txBody>
        </p:sp>
        <p:grpSp>
          <p:nvGrpSpPr>
            <p:cNvPr id="82" name="Group 81">
              <a:extLst>
                <a:ext uri="{FF2B5EF4-FFF2-40B4-BE49-F238E27FC236}">
                  <a16:creationId xmlns:a16="http://schemas.microsoft.com/office/drawing/2014/main" id="{F84E6149-A47D-2B46-B10B-12CEC0D67C5E}"/>
                </a:ext>
              </a:extLst>
            </p:cNvPr>
            <p:cNvGrpSpPr>
              <a:grpSpLocks noChangeAspect="1"/>
            </p:cNvGrpSpPr>
            <p:nvPr/>
          </p:nvGrpSpPr>
          <p:grpSpPr>
            <a:xfrm>
              <a:off x="1603566" y="3489514"/>
              <a:ext cx="356730" cy="356730"/>
              <a:chOff x="10226676" y="1666875"/>
              <a:chExt cx="522288" cy="522288"/>
            </a:xfrm>
          </p:grpSpPr>
          <p:sp>
            <p:nvSpPr>
              <p:cNvPr id="83" name="Freeform 42">
                <a:extLst>
                  <a:ext uri="{FF2B5EF4-FFF2-40B4-BE49-F238E27FC236}">
                    <a16:creationId xmlns:a16="http://schemas.microsoft.com/office/drawing/2014/main" id="{0B3A988B-754A-364D-AE8A-61B8F149F454}"/>
                  </a:ext>
                </a:extLst>
              </p:cNvPr>
              <p:cNvSpPr>
                <a:spLocks noEditPoints="1"/>
              </p:cNvSpPr>
              <p:nvPr/>
            </p:nvSpPr>
            <p:spPr bwMode="auto">
              <a:xfrm>
                <a:off x="10226676" y="1666875"/>
                <a:ext cx="522288" cy="522288"/>
              </a:xfrm>
              <a:custGeom>
                <a:avLst/>
                <a:gdLst>
                  <a:gd name="T0" fmla="*/ 313 w 658"/>
                  <a:gd name="T1" fmla="*/ 657 h 658"/>
                  <a:gd name="T2" fmla="*/ 264 w 658"/>
                  <a:gd name="T3" fmla="*/ 651 h 658"/>
                  <a:gd name="T4" fmla="*/ 202 w 658"/>
                  <a:gd name="T5" fmla="*/ 633 h 658"/>
                  <a:gd name="T6" fmla="*/ 121 w 658"/>
                  <a:gd name="T7" fmla="*/ 583 h 658"/>
                  <a:gd name="T8" fmla="*/ 57 w 658"/>
                  <a:gd name="T9" fmla="*/ 513 h 658"/>
                  <a:gd name="T10" fmla="*/ 15 w 658"/>
                  <a:gd name="T11" fmla="*/ 427 h 658"/>
                  <a:gd name="T12" fmla="*/ 4 w 658"/>
                  <a:gd name="T13" fmla="*/ 379 h 658"/>
                  <a:gd name="T14" fmla="*/ 0 w 658"/>
                  <a:gd name="T15" fmla="*/ 329 h 658"/>
                  <a:gd name="T16" fmla="*/ 3 w 658"/>
                  <a:gd name="T17" fmla="*/ 296 h 658"/>
                  <a:gd name="T18" fmla="*/ 11 w 658"/>
                  <a:gd name="T19" fmla="*/ 247 h 658"/>
                  <a:gd name="T20" fmla="*/ 41 w 658"/>
                  <a:gd name="T21" fmla="*/ 172 h 658"/>
                  <a:gd name="T22" fmla="*/ 97 w 658"/>
                  <a:gd name="T23" fmla="*/ 97 h 658"/>
                  <a:gd name="T24" fmla="*/ 174 w 658"/>
                  <a:gd name="T25" fmla="*/ 41 h 658"/>
                  <a:gd name="T26" fmla="*/ 247 w 658"/>
                  <a:gd name="T27" fmla="*/ 11 h 658"/>
                  <a:gd name="T28" fmla="*/ 296 w 658"/>
                  <a:gd name="T29" fmla="*/ 3 h 658"/>
                  <a:gd name="T30" fmla="*/ 329 w 658"/>
                  <a:gd name="T31" fmla="*/ 0 h 658"/>
                  <a:gd name="T32" fmla="*/ 379 w 658"/>
                  <a:gd name="T33" fmla="*/ 4 h 658"/>
                  <a:gd name="T34" fmla="*/ 427 w 658"/>
                  <a:gd name="T35" fmla="*/ 15 h 658"/>
                  <a:gd name="T36" fmla="*/ 513 w 658"/>
                  <a:gd name="T37" fmla="*/ 57 h 658"/>
                  <a:gd name="T38" fmla="*/ 583 w 658"/>
                  <a:gd name="T39" fmla="*/ 120 h 658"/>
                  <a:gd name="T40" fmla="*/ 633 w 658"/>
                  <a:gd name="T41" fmla="*/ 202 h 658"/>
                  <a:gd name="T42" fmla="*/ 652 w 658"/>
                  <a:gd name="T43" fmla="*/ 263 h 658"/>
                  <a:gd name="T44" fmla="*/ 658 w 658"/>
                  <a:gd name="T45" fmla="*/ 312 h 658"/>
                  <a:gd name="T46" fmla="*/ 658 w 658"/>
                  <a:gd name="T47" fmla="*/ 347 h 658"/>
                  <a:gd name="T48" fmla="*/ 652 w 658"/>
                  <a:gd name="T49" fmla="*/ 395 h 658"/>
                  <a:gd name="T50" fmla="*/ 633 w 658"/>
                  <a:gd name="T51" fmla="*/ 457 h 658"/>
                  <a:gd name="T52" fmla="*/ 583 w 658"/>
                  <a:gd name="T53" fmla="*/ 539 h 658"/>
                  <a:gd name="T54" fmla="*/ 513 w 658"/>
                  <a:gd name="T55" fmla="*/ 602 h 658"/>
                  <a:gd name="T56" fmla="*/ 427 w 658"/>
                  <a:gd name="T57" fmla="*/ 643 h 658"/>
                  <a:gd name="T58" fmla="*/ 379 w 658"/>
                  <a:gd name="T59" fmla="*/ 654 h 658"/>
                  <a:gd name="T60" fmla="*/ 329 w 658"/>
                  <a:gd name="T61" fmla="*/ 658 h 658"/>
                  <a:gd name="T62" fmla="*/ 329 w 658"/>
                  <a:gd name="T63" fmla="*/ 38 h 658"/>
                  <a:gd name="T64" fmla="*/ 243 w 658"/>
                  <a:gd name="T65" fmla="*/ 51 h 658"/>
                  <a:gd name="T66" fmla="*/ 167 w 658"/>
                  <a:gd name="T67" fmla="*/ 88 h 658"/>
                  <a:gd name="T68" fmla="*/ 105 w 658"/>
                  <a:gd name="T69" fmla="*/ 144 h 658"/>
                  <a:gd name="T70" fmla="*/ 61 w 658"/>
                  <a:gd name="T71" fmla="*/ 216 h 658"/>
                  <a:gd name="T72" fmla="*/ 39 w 658"/>
                  <a:gd name="T73" fmla="*/ 300 h 658"/>
                  <a:gd name="T74" fmla="*/ 39 w 658"/>
                  <a:gd name="T75" fmla="*/ 359 h 658"/>
                  <a:gd name="T76" fmla="*/ 61 w 658"/>
                  <a:gd name="T77" fmla="*/ 442 h 658"/>
                  <a:gd name="T78" fmla="*/ 105 w 658"/>
                  <a:gd name="T79" fmla="*/ 514 h 658"/>
                  <a:gd name="T80" fmla="*/ 167 w 658"/>
                  <a:gd name="T81" fmla="*/ 571 h 658"/>
                  <a:gd name="T82" fmla="*/ 243 w 658"/>
                  <a:gd name="T83" fmla="*/ 607 h 658"/>
                  <a:gd name="T84" fmla="*/ 329 w 658"/>
                  <a:gd name="T85" fmla="*/ 621 h 658"/>
                  <a:gd name="T86" fmla="*/ 388 w 658"/>
                  <a:gd name="T87" fmla="*/ 614 h 658"/>
                  <a:gd name="T88" fmla="*/ 468 w 658"/>
                  <a:gd name="T89" fmla="*/ 586 h 658"/>
                  <a:gd name="T90" fmla="*/ 535 w 658"/>
                  <a:gd name="T91" fmla="*/ 535 h 658"/>
                  <a:gd name="T92" fmla="*/ 586 w 658"/>
                  <a:gd name="T93" fmla="*/ 467 h 658"/>
                  <a:gd name="T94" fmla="*/ 614 w 658"/>
                  <a:gd name="T95" fmla="*/ 388 h 658"/>
                  <a:gd name="T96" fmla="*/ 621 w 658"/>
                  <a:gd name="T97" fmla="*/ 329 h 658"/>
                  <a:gd name="T98" fmla="*/ 607 w 658"/>
                  <a:gd name="T99" fmla="*/ 243 h 658"/>
                  <a:gd name="T100" fmla="*/ 571 w 658"/>
                  <a:gd name="T101" fmla="*/ 167 h 658"/>
                  <a:gd name="T102" fmla="*/ 515 w 658"/>
                  <a:gd name="T103" fmla="*/ 105 h 658"/>
                  <a:gd name="T104" fmla="*/ 442 w 658"/>
                  <a:gd name="T105" fmla="*/ 61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7"/>
                    </a:lnTo>
                    <a:lnTo>
                      <a:pt x="296" y="657"/>
                    </a:lnTo>
                    <a:lnTo>
                      <a:pt x="280" y="654"/>
                    </a:lnTo>
                    <a:lnTo>
                      <a:pt x="264" y="651"/>
                    </a:lnTo>
                    <a:lnTo>
                      <a:pt x="247" y="647"/>
                    </a:lnTo>
                    <a:lnTo>
                      <a:pt x="231" y="643"/>
                    </a:lnTo>
                    <a:lnTo>
                      <a:pt x="202" y="633"/>
                    </a:lnTo>
                    <a:lnTo>
                      <a:pt x="174" y="618"/>
                    </a:lnTo>
                    <a:lnTo>
                      <a:pt x="145" y="602"/>
                    </a:lnTo>
                    <a:lnTo>
                      <a:pt x="121" y="583"/>
                    </a:lnTo>
                    <a:lnTo>
                      <a:pt x="97" y="561"/>
                    </a:lnTo>
                    <a:lnTo>
                      <a:pt x="76" y="539"/>
                    </a:lnTo>
                    <a:lnTo>
                      <a:pt x="57" y="513"/>
                    </a:lnTo>
                    <a:lnTo>
                      <a:pt x="41" y="486"/>
                    </a:lnTo>
                    <a:lnTo>
                      <a:pt x="27" y="457"/>
                    </a:lnTo>
                    <a:lnTo>
                      <a:pt x="15" y="427"/>
                    </a:lnTo>
                    <a:lnTo>
                      <a:pt x="11" y="411"/>
                    </a:lnTo>
                    <a:lnTo>
                      <a:pt x="7" y="395"/>
                    </a:lnTo>
                    <a:lnTo>
                      <a:pt x="4" y="379"/>
                    </a:lnTo>
                    <a:lnTo>
                      <a:pt x="3" y="363"/>
                    </a:lnTo>
                    <a:lnTo>
                      <a:pt x="2" y="347"/>
                    </a:lnTo>
                    <a:lnTo>
                      <a:pt x="0" y="329"/>
                    </a:lnTo>
                    <a:lnTo>
                      <a:pt x="0" y="329"/>
                    </a:lnTo>
                    <a:lnTo>
                      <a:pt x="2" y="312"/>
                    </a:lnTo>
                    <a:lnTo>
                      <a:pt x="3" y="296"/>
                    </a:lnTo>
                    <a:lnTo>
                      <a:pt x="4" y="280"/>
                    </a:lnTo>
                    <a:lnTo>
                      <a:pt x="7" y="263"/>
                    </a:lnTo>
                    <a:lnTo>
                      <a:pt x="11" y="247"/>
                    </a:lnTo>
                    <a:lnTo>
                      <a:pt x="15" y="231"/>
                    </a:lnTo>
                    <a:lnTo>
                      <a:pt x="27" y="202"/>
                    </a:lnTo>
                    <a:lnTo>
                      <a:pt x="41" y="172"/>
                    </a:lnTo>
                    <a:lnTo>
                      <a:pt x="57" y="145"/>
                    </a:lnTo>
                    <a:lnTo>
                      <a:pt x="76" y="120"/>
                    </a:lnTo>
                    <a:lnTo>
                      <a:pt x="97" y="97"/>
                    </a:lnTo>
                    <a:lnTo>
                      <a:pt x="121" y="75"/>
                    </a:lnTo>
                    <a:lnTo>
                      <a:pt x="145" y="57"/>
                    </a:lnTo>
                    <a:lnTo>
                      <a:pt x="174" y="41"/>
                    </a:lnTo>
                    <a:lnTo>
                      <a:pt x="202" y="27"/>
                    </a:lnTo>
                    <a:lnTo>
                      <a:pt x="231" y="15"/>
                    </a:lnTo>
                    <a:lnTo>
                      <a:pt x="247" y="11"/>
                    </a:lnTo>
                    <a:lnTo>
                      <a:pt x="264" y="7"/>
                    </a:lnTo>
                    <a:lnTo>
                      <a:pt x="280" y="4"/>
                    </a:lnTo>
                    <a:lnTo>
                      <a:pt x="296" y="3"/>
                    </a:lnTo>
                    <a:lnTo>
                      <a:pt x="313" y="2"/>
                    </a:lnTo>
                    <a:lnTo>
                      <a:pt x="329" y="0"/>
                    </a:lnTo>
                    <a:lnTo>
                      <a:pt x="329" y="0"/>
                    </a:lnTo>
                    <a:lnTo>
                      <a:pt x="347" y="2"/>
                    </a:lnTo>
                    <a:lnTo>
                      <a:pt x="363" y="3"/>
                    </a:lnTo>
                    <a:lnTo>
                      <a:pt x="379" y="4"/>
                    </a:lnTo>
                    <a:lnTo>
                      <a:pt x="395" y="7"/>
                    </a:lnTo>
                    <a:lnTo>
                      <a:pt x="411" y="11"/>
                    </a:lnTo>
                    <a:lnTo>
                      <a:pt x="427" y="15"/>
                    </a:lnTo>
                    <a:lnTo>
                      <a:pt x="457" y="27"/>
                    </a:lnTo>
                    <a:lnTo>
                      <a:pt x="486" y="41"/>
                    </a:lnTo>
                    <a:lnTo>
                      <a:pt x="513" y="57"/>
                    </a:lnTo>
                    <a:lnTo>
                      <a:pt x="539" y="75"/>
                    </a:lnTo>
                    <a:lnTo>
                      <a:pt x="562" y="97"/>
                    </a:lnTo>
                    <a:lnTo>
                      <a:pt x="583" y="120"/>
                    </a:lnTo>
                    <a:lnTo>
                      <a:pt x="602" y="145"/>
                    </a:lnTo>
                    <a:lnTo>
                      <a:pt x="618" y="172"/>
                    </a:lnTo>
                    <a:lnTo>
                      <a:pt x="633" y="202"/>
                    </a:lnTo>
                    <a:lnTo>
                      <a:pt x="644" y="231"/>
                    </a:lnTo>
                    <a:lnTo>
                      <a:pt x="648" y="247"/>
                    </a:lnTo>
                    <a:lnTo>
                      <a:pt x="652" y="263"/>
                    </a:lnTo>
                    <a:lnTo>
                      <a:pt x="654" y="280"/>
                    </a:lnTo>
                    <a:lnTo>
                      <a:pt x="657" y="296"/>
                    </a:lnTo>
                    <a:lnTo>
                      <a:pt x="658" y="312"/>
                    </a:lnTo>
                    <a:lnTo>
                      <a:pt x="658" y="329"/>
                    </a:lnTo>
                    <a:lnTo>
                      <a:pt x="658" y="329"/>
                    </a:lnTo>
                    <a:lnTo>
                      <a:pt x="658" y="347"/>
                    </a:lnTo>
                    <a:lnTo>
                      <a:pt x="657" y="363"/>
                    </a:lnTo>
                    <a:lnTo>
                      <a:pt x="654" y="379"/>
                    </a:lnTo>
                    <a:lnTo>
                      <a:pt x="652" y="395"/>
                    </a:lnTo>
                    <a:lnTo>
                      <a:pt x="648" y="411"/>
                    </a:lnTo>
                    <a:lnTo>
                      <a:pt x="644" y="427"/>
                    </a:lnTo>
                    <a:lnTo>
                      <a:pt x="633" y="457"/>
                    </a:lnTo>
                    <a:lnTo>
                      <a:pt x="618" y="486"/>
                    </a:lnTo>
                    <a:lnTo>
                      <a:pt x="602" y="513"/>
                    </a:lnTo>
                    <a:lnTo>
                      <a:pt x="583" y="539"/>
                    </a:lnTo>
                    <a:lnTo>
                      <a:pt x="562" y="561"/>
                    </a:lnTo>
                    <a:lnTo>
                      <a:pt x="539" y="583"/>
                    </a:lnTo>
                    <a:lnTo>
                      <a:pt x="513" y="602"/>
                    </a:lnTo>
                    <a:lnTo>
                      <a:pt x="486" y="618"/>
                    </a:lnTo>
                    <a:lnTo>
                      <a:pt x="457" y="633"/>
                    </a:lnTo>
                    <a:lnTo>
                      <a:pt x="427" y="643"/>
                    </a:lnTo>
                    <a:lnTo>
                      <a:pt x="411" y="647"/>
                    </a:lnTo>
                    <a:lnTo>
                      <a:pt x="395" y="651"/>
                    </a:lnTo>
                    <a:lnTo>
                      <a:pt x="379" y="654"/>
                    </a:lnTo>
                    <a:lnTo>
                      <a:pt x="363" y="657"/>
                    </a:lnTo>
                    <a:lnTo>
                      <a:pt x="347" y="657"/>
                    </a:lnTo>
                    <a:lnTo>
                      <a:pt x="329" y="658"/>
                    </a:lnTo>
                    <a:lnTo>
                      <a:pt x="329" y="658"/>
                    </a:lnTo>
                    <a:close/>
                    <a:moveTo>
                      <a:pt x="329" y="38"/>
                    </a:moveTo>
                    <a:lnTo>
                      <a:pt x="329" y="38"/>
                    </a:lnTo>
                    <a:lnTo>
                      <a:pt x="300" y="39"/>
                    </a:lnTo>
                    <a:lnTo>
                      <a:pt x="272" y="45"/>
                    </a:lnTo>
                    <a:lnTo>
                      <a:pt x="243" y="51"/>
                    </a:lnTo>
                    <a:lnTo>
                      <a:pt x="217" y="61"/>
                    </a:lnTo>
                    <a:lnTo>
                      <a:pt x="191" y="73"/>
                    </a:lnTo>
                    <a:lnTo>
                      <a:pt x="167" y="88"/>
                    </a:lnTo>
                    <a:lnTo>
                      <a:pt x="144" y="105"/>
                    </a:lnTo>
                    <a:lnTo>
                      <a:pt x="124" y="124"/>
                    </a:lnTo>
                    <a:lnTo>
                      <a:pt x="105" y="144"/>
                    </a:lnTo>
                    <a:lnTo>
                      <a:pt x="88" y="167"/>
                    </a:lnTo>
                    <a:lnTo>
                      <a:pt x="74" y="191"/>
                    </a:lnTo>
                    <a:lnTo>
                      <a:pt x="61" y="216"/>
                    </a:lnTo>
                    <a:lnTo>
                      <a:pt x="51" y="243"/>
                    </a:lnTo>
                    <a:lnTo>
                      <a:pt x="45" y="270"/>
                    </a:lnTo>
                    <a:lnTo>
                      <a:pt x="39" y="300"/>
                    </a:lnTo>
                    <a:lnTo>
                      <a:pt x="38" y="329"/>
                    </a:lnTo>
                    <a:lnTo>
                      <a:pt x="38" y="329"/>
                    </a:lnTo>
                    <a:lnTo>
                      <a:pt x="39" y="359"/>
                    </a:lnTo>
                    <a:lnTo>
                      <a:pt x="45" y="388"/>
                    </a:lnTo>
                    <a:lnTo>
                      <a:pt x="51" y="415"/>
                    </a:lnTo>
                    <a:lnTo>
                      <a:pt x="61" y="442"/>
                    </a:lnTo>
                    <a:lnTo>
                      <a:pt x="74" y="467"/>
                    </a:lnTo>
                    <a:lnTo>
                      <a:pt x="88" y="492"/>
                    </a:lnTo>
                    <a:lnTo>
                      <a:pt x="105" y="514"/>
                    </a:lnTo>
                    <a:lnTo>
                      <a:pt x="124" y="535"/>
                    </a:lnTo>
                    <a:lnTo>
                      <a:pt x="144" y="553"/>
                    </a:lnTo>
                    <a:lnTo>
                      <a:pt x="167" y="571"/>
                    </a:lnTo>
                    <a:lnTo>
                      <a:pt x="191" y="586"/>
                    </a:lnTo>
                    <a:lnTo>
                      <a:pt x="217" y="598"/>
                    </a:lnTo>
                    <a:lnTo>
                      <a:pt x="243" y="607"/>
                    </a:lnTo>
                    <a:lnTo>
                      <a:pt x="272" y="614"/>
                    </a:lnTo>
                    <a:lnTo>
                      <a:pt x="300" y="619"/>
                    </a:lnTo>
                    <a:lnTo>
                      <a:pt x="329" y="621"/>
                    </a:lnTo>
                    <a:lnTo>
                      <a:pt x="329" y="621"/>
                    </a:lnTo>
                    <a:lnTo>
                      <a:pt x="359" y="619"/>
                    </a:lnTo>
                    <a:lnTo>
                      <a:pt x="388" y="614"/>
                    </a:lnTo>
                    <a:lnTo>
                      <a:pt x="417" y="607"/>
                    </a:lnTo>
                    <a:lnTo>
                      <a:pt x="442" y="598"/>
                    </a:lnTo>
                    <a:lnTo>
                      <a:pt x="468" y="586"/>
                    </a:lnTo>
                    <a:lnTo>
                      <a:pt x="492" y="571"/>
                    </a:lnTo>
                    <a:lnTo>
                      <a:pt x="515" y="553"/>
                    </a:lnTo>
                    <a:lnTo>
                      <a:pt x="535" y="535"/>
                    </a:lnTo>
                    <a:lnTo>
                      <a:pt x="554" y="514"/>
                    </a:lnTo>
                    <a:lnTo>
                      <a:pt x="571" y="492"/>
                    </a:lnTo>
                    <a:lnTo>
                      <a:pt x="586" y="467"/>
                    </a:lnTo>
                    <a:lnTo>
                      <a:pt x="598" y="442"/>
                    </a:lnTo>
                    <a:lnTo>
                      <a:pt x="607" y="415"/>
                    </a:lnTo>
                    <a:lnTo>
                      <a:pt x="614" y="388"/>
                    </a:lnTo>
                    <a:lnTo>
                      <a:pt x="619" y="359"/>
                    </a:lnTo>
                    <a:lnTo>
                      <a:pt x="621" y="329"/>
                    </a:lnTo>
                    <a:lnTo>
                      <a:pt x="621" y="329"/>
                    </a:lnTo>
                    <a:lnTo>
                      <a:pt x="619" y="300"/>
                    </a:lnTo>
                    <a:lnTo>
                      <a:pt x="614" y="270"/>
                    </a:lnTo>
                    <a:lnTo>
                      <a:pt x="607" y="243"/>
                    </a:lnTo>
                    <a:lnTo>
                      <a:pt x="598" y="216"/>
                    </a:lnTo>
                    <a:lnTo>
                      <a:pt x="586" y="191"/>
                    </a:lnTo>
                    <a:lnTo>
                      <a:pt x="571" y="167"/>
                    </a:lnTo>
                    <a:lnTo>
                      <a:pt x="554" y="144"/>
                    </a:lnTo>
                    <a:lnTo>
                      <a:pt x="535" y="124"/>
                    </a:lnTo>
                    <a:lnTo>
                      <a:pt x="515" y="105"/>
                    </a:lnTo>
                    <a:lnTo>
                      <a:pt x="492" y="88"/>
                    </a:lnTo>
                    <a:lnTo>
                      <a:pt x="468" y="73"/>
                    </a:lnTo>
                    <a:lnTo>
                      <a:pt x="442" y="61"/>
                    </a:lnTo>
                    <a:lnTo>
                      <a:pt x="417" y="51"/>
                    </a:lnTo>
                    <a:lnTo>
                      <a:pt x="388" y="45"/>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 name="Freeform 282">
                <a:extLst>
                  <a:ext uri="{FF2B5EF4-FFF2-40B4-BE49-F238E27FC236}">
                    <a16:creationId xmlns:a16="http://schemas.microsoft.com/office/drawing/2014/main" id="{0D894770-C0CA-1140-A8FE-78936C176732}"/>
                  </a:ext>
                </a:extLst>
              </p:cNvPr>
              <p:cNvSpPr>
                <a:spLocks/>
              </p:cNvSpPr>
              <p:nvPr/>
            </p:nvSpPr>
            <p:spPr bwMode="auto">
              <a:xfrm>
                <a:off x="10483851" y="1919288"/>
                <a:ext cx="7938" cy="41275"/>
              </a:xfrm>
              <a:custGeom>
                <a:avLst/>
                <a:gdLst>
                  <a:gd name="T0" fmla="*/ 5 w 11"/>
                  <a:gd name="T1" fmla="*/ 0 h 51"/>
                  <a:gd name="T2" fmla="*/ 5 w 11"/>
                  <a:gd name="T3" fmla="*/ 0 h 51"/>
                  <a:gd name="T4" fmla="*/ 1 w 11"/>
                  <a:gd name="T5" fmla="*/ 2 h 51"/>
                  <a:gd name="T6" fmla="*/ 1 w 11"/>
                  <a:gd name="T7" fmla="*/ 4 h 51"/>
                  <a:gd name="T8" fmla="*/ 0 w 11"/>
                  <a:gd name="T9" fmla="*/ 5 h 51"/>
                  <a:gd name="T10" fmla="*/ 0 w 11"/>
                  <a:gd name="T11" fmla="*/ 45 h 51"/>
                  <a:gd name="T12" fmla="*/ 0 w 11"/>
                  <a:gd name="T13" fmla="*/ 45 h 51"/>
                  <a:gd name="T14" fmla="*/ 1 w 11"/>
                  <a:gd name="T15" fmla="*/ 48 h 51"/>
                  <a:gd name="T16" fmla="*/ 1 w 11"/>
                  <a:gd name="T17" fmla="*/ 49 h 51"/>
                  <a:gd name="T18" fmla="*/ 5 w 11"/>
                  <a:gd name="T19" fmla="*/ 51 h 51"/>
                  <a:gd name="T20" fmla="*/ 5 w 11"/>
                  <a:gd name="T21" fmla="*/ 51 h 51"/>
                  <a:gd name="T22" fmla="*/ 9 w 11"/>
                  <a:gd name="T23" fmla="*/ 49 h 51"/>
                  <a:gd name="T24" fmla="*/ 11 w 11"/>
                  <a:gd name="T25" fmla="*/ 48 h 51"/>
                  <a:gd name="T26" fmla="*/ 11 w 11"/>
                  <a:gd name="T27" fmla="*/ 45 h 51"/>
                  <a:gd name="T28" fmla="*/ 11 w 11"/>
                  <a:gd name="T29" fmla="*/ 5 h 51"/>
                  <a:gd name="T30" fmla="*/ 11 w 11"/>
                  <a:gd name="T31" fmla="*/ 5 h 51"/>
                  <a:gd name="T32" fmla="*/ 11 w 11"/>
                  <a:gd name="T33" fmla="*/ 4 h 51"/>
                  <a:gd name="T34" fmla="*/ 9 w 11"/>
                  <a:gd name="T35" fmla="*/ 2 h 51"/>
                  <a:gd name="T36" fmla="*/ 5 w 11"/>
                  <a:gd name="T37" fmla="*/ 0 h 51"/>
                  <a:gd name="T38" fmla="*/ 5 w 11"/>
                  <a:gd name="T3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 h="51">
                    <a:moveTo>
                      <a:pt x="5" y="0"/>
                    </a:moveTo>
                    <a:lnTo>
                      <a:pt x="5" y="0"/>
                    </a:lnTo>
                    <a:lnTo>
                      <a:pt x="1" y="2"/>
                    </a:lnTo>
                    <a:lnTo>
                      <a:pt x="1" y="4"/>
                    </a:lnTo>
                    <a:lnTo>
                      <a:pt x="0" y="5"/>
                    </a:lnTo>
                    <a:lnTo>
                      <a:pt x="0" y="45"/>
                    </a:lnTo>
                    <a:lnTo>
                      <a:pt x="0" y="45"/>
                    </a:lnTo>
                    <a:lnTo>
                      <a:pt x="1" y="48"/>
                    </a:lnTo>
                    <a:lnTo>
                      <a:pt x="1" y="49"/>
                    </a:lnTo>
                    <a:lnTo>
                      <a:pt x="5" y="51"/>
                    </a:lnTo>
                    <a:lnTo>
                      <a:pt x="5" y="51"/>
                    </a:lnTo>
                    <a:lnTo>
                      <a:pt x="9" y="49"/>
                    </a:lnTo>
                    <a:lnTo>
                      <a:pt x="11" y="48"/>
                    </a:lnTo>
                    <a:lnTo>
                      <a:pt x="11" y="45"/>
                    </a:lnTo>
                    <a:lnTo>
                      <a:pt x="11" y="5"/>
                    </a:lnTo>
                    <a:lnTo>
                      <a:pt x="11" y="5"/>
                    </a:lnTo>
                    <a:lnTo>
                      <a:pt x="11" y="4"/>
                    </a:lnTo>
                    <a:lnTo>
                      <a:pt x="9" y="2"/>
                    </a:lnTo>
                    <a:lnTo>
                      <a:pt x="5" y="0"/>
                    </a:lnTo>
                    <a:lnTo>
                      <a:pt x="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283">
                <a:extLst>
                  <a:ext uri="{FF2B5EF4-FFF2-40B4-BE49-F238E27FC236}">
                    <a16:creationId xmlns:a16="http://schemas.microsoft.com/office/drawing/2014/main" id="{00365EF2-06B0-3B4A-88A3-CFB8C1BBB17E}"/>
                  </a:ext>
                </a:extLst>
              </p:cNvPr>
              <p:cNvSpPr>
                <a:spLocks/>
              </p:cNvSpPr>
              <p:nvPr/>
            </p:nvSpPr>
            <p:spPr bwMode="auto">
              <a:xfrm>
                <a:off x="10483851" y="1984375"/>
                <a:ext cx="7938" cy="47625"/>
              </a:xfrm>
              <a:custGeom>
                <a:avLst/>
                <a:gdLst>
                  <a:gd name="T0" fmla="*/ 5 w 11"/>
                  <a:gd name="T1" fmla="*/ 0 h 61"/>
                  <a:gd name="T2" fmla="*/ 5 w 11"/>
                  <a:gd name="T3" fmla="*/ 0 h 61"/>
                  <a:gd name="T4" fmla="*/ 1 w 11"/>
                  <a:gd name="T5" fmla="*/ 2 h 61"/>
                  <a:gd name="T6" fmla="*/ 1 w 11"/>
                  <a:gd name="T7" fmla="*/ 3 h 61"/>
                  <a:gd name="T8" fmla="*/ 0 w 11"/>
                  <a:gd name="T9" fmla="*/ 4 h 61"/>
                  <a:gd name="T10" fmla="*/ 0 w 11"/>
                  <a:gd name="T11" fmla="*/ 55 h 61"/>
                  <a:gd name="T12" fmla="*/ 0 w 11"/>
                  <a:gd name="T13" fmla="*/ 55 h 61"/>
                  <a:gd name="T14" fmla="*/ 1 w 11"/>
                  <a:gd name="T15" fmla="*/ 57 h 61"/>
                  <a:gd name="T16" fmla="*/ 1 w 11"/>
                  <a:gd name="T17" fmla="*/ 59 h 61"/>
                  <a:gd name="T18" fmla="*/ 5 w 11"/>
                  <a:gd name="T19" fmla="*/ 61 h 61"/>
                  <a:gd name="T20" fmla="*/ 5 w 11"/>
                  <a:gd name="T21" fmla="*/ 61 h 61"/>
                  <a:gd name="T22" fmla="*/ 9 w 11"/>
                  <a:gd name="T23" fmla="*/ 59 h 61"/>
                  <a:gd name="T24" fmla="*/ 11 w 11"/>
                  <a:gd name="T25" fmla="*/ 57 h 61"/>
                  <a:gd name="T26" fmla="*/ 11 w 11"/>
                  <a:gd name="T27" fmla="*/ 55 h 61"/>
                  <a:gd name="T28" fmla="*/ 11 w 11"/>
                  <a:gd name="T29" fmla="*/ 4 h 61"/>
                  <a:gd name="T30" fmla="*/ 11 w 11"/>
                  <a:gd name="T31" fmla="*/ 4 h 61"/>
                  <a:gd name="T32" fmla="*/ 11 w 11"/>
                  <a:gd name="T33" fmla="*/ 3 h 61"/>
                  <a:gd name="T34" fmla="*/ 9 w 11"/>
                  <a:gd name="T35" fmla="*/ 2 h 61"/>
                  <a:gd name="T36" fmla="*/ 5 w 11"/>
                  <a:gd name="T37" fmla="*/ 0 h 61"/>
                  <a:gd name="T38" fmla="*/ 5 w 11"/>
                  <a:gd name="T39"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 h="61">
                    <a:moveTo>
                      <a:pt x="5" y="0"/>
                    </a:moveTo>
                    <a:lnTo>
                      <a:pt x="5" y="0"/>
                    </a:lnTo>
                    <a:lnTo>
                      <a:pt x="1" y="2"/>
                    </a:lnTo>
                    <a:lnTo>
                      <a:pt x="1" y="3"/>
                    </a:lnTo>
                    <a:lnTo>
                      <a:pt x="0" y="4"/>
                    </a:lnTo>
                    <a:lnTo>
                      <a:pt x="0" y="55"/>
                    </a:lnTo>
                    <a:lnTo>
                      <a:pt x="0" y="55"/>
                    </a:lnTo>
                    <a:lnTo>
                      <a:pt x="1" y="57"/>
                    </a:lnTo>
                    <a:lnTo>
                      <a:pt x="1" y="59"/>
                    </a:lnTo>
                    <a:lnTo>
                      <a:pt x="5" y="61"/>
                    </a:lnTo>
                    <a:lnTo>
                      <a:pt x="5" y="61"/>
                    </a:lnTo>
                    <a:lnTo>
                      <a:pt x="9" y="59"/>
                    </a:lnTo>
                    <a:lnTo>
                      <a:pt x="11" y="57"/>
                    </a:lnTo>
                    <a:lnTo>
                      <a:pt x="11" y="55"/>
                    </a:lnTo>
                    <a:lnTo>
                      <a:pt x="11" y="4"/>
                    </a:lnTo>
                    <a:lnTo>
                      <a:pt x="11" y="4"/>
                    </a:lnTo>
                    <a:lnTo>
                      <a:pt x="11" y="3"/>
                    </a:lnTo>
                    <a:lnTo>
                      <a:pt x="9" y="2"/>
                    </a:lnTo>
                    <a:lnTo>
                      <a:pt x="5" y="0"/>
                    </a:lnTo>
                    <a:lnTo>
                      <a:pt x="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284">
                <a:extLst>
                  <a:ext uri="{FF2B5EF4-FFF2-40B4-BE49-F238E27FC236}">
                    <a16:creationId xmlns:a16="http://schemas.microsoft.com/office/drawing/2014/main" id="{2EEFC7B4-CC75-844D-9D96-BF72730CF321}"/>
                  </a:ext>
                </a:extLst>
              </p:cNvPr>
              <p:cNvSpPr>
                <a:spLocks/>
              </p:cNvSpPr>
              <p:nvPr/>
            </p:nvSpPr>
            <p:spPr bwMode="auto">
              <a:xfrm>
                <a:off x="10483851" y="1868488"/>
                <a:ext cx="7938" cy="31750"/>
              </a:xfrm>
              <a:custGeom>
                <a:avLst/>
                <a:gdLst>
                  <a:gd name="T0" fmla="*/ 5 w 11"/>
                  <a:gd name="T1" fmla="*/ 0 h 40"/>
                  <a:gd name="T2" fmla="*/ 5 w 11"/>
                  <a:gd name="T3" fmla="*/ 0 h 40"/>
                  <a:gd name="T4" fmla="*/ 1 w 11"/>
                  <a:gd name="T5" fmla="*/ 1 h 40"/>
                  <a:gd name="T6" fmla="*/ 1 w 11"/>
                  <a:gd name="T7" fmla="*/ 3 h 40"/>
                  <a:gd name="T8" fmla="*/ 0 w 11"/>
                  <a:gd name="T9" fmla="*/ 5 h 40"/>
                  <a:gd name="T10" fmla="*/ 0 w 11"/>
                  <a:gd name="T11" fmla="*/ 35 h 40"/>
                  <a:gd name="T12" fmla="*/ 0 w 11"/>
                  <a:gd name="T13" fmla="*/ 35 h 40"/>
                  <a:gd name="T14" fmla="*/ 1 w 11"/>
                  <a:gd name="T15" fmla="*/ 38 h 40"/>
                  <a:gd name="T16" fmla="*/ 1 w 11"/>
                  <a:gd name="T17" fmla="*/ 39 h 40"/>
                  <a:gd name="T18" fmla="*/ 5 w 11"/>
                  <a:gd name="T19" fmla="*/ 40 h 40"/>
                  <a:gd name="T20" fmla="*/ 5 w 11"/>
                  <a:gd name="T21" fmla="*/ 40 h 40"/>
                  <a:gd name="T22" fmla="*/ 9 w 11"/>
                  <a:gd name="T23" fmla="*/ 39 h 40"/>
                  <a:gd name="T24" fmla="*/ 11 w 11"/>
                  <a:gd name="T25" fmla="*/ 38 h 40"/>
                  <a:gd name="T26" fmla="*/ 11 w 11"/>
                  <a:gd name="T27" fmla="*/ 35 h 40"/>
                  <a:gd name="T28" fmla="*/ 11 w 11"/>
                  <a:gd name="T29" fmla="*/ 5 h 40"/>
                  <a:gd name="T30" fmla="*/ 11 w 11"/>
                  <a:gd name="T31" fmla="*/ 5 h 40"/>
                  <a:gd name="T32" fmla="*/ 11 w 11"/>
                  <a:gd name="T33" fmla="*/ 3 h 40"/>
                  <a:gd name="T34" fmla="*/ 9 w 11"/>
                  <a:gd name="T35" fmla="*/ 1 h 40"/>
                  <a:gd name="T36" fmla="*/ 5 w 11"/>
                  <a:gd name="T37" fmla="*/ 0 h 40"/>
                  <a:gd name="T38" fmla="*/ 5 w 11"/>
                  <a:gd name="T3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 h="40">
                    <a:moveTo>
                      <a:pt x="5" y="0"/>
                    </a:moveTo>
                    <a:lnTo>
                      <a:pt x="5" y="0"/>
                    </a:lnTo>
                    <a:lnTo>
                      <a:pt x="1" y="1"/>
                    </a:lnTo>
                    <a:lnTo>
                      <a:pt x="1" y="3"/>
                    </a:lnTo>
                    <a:lnTo>
                      <a:pt x="0" y="5"/>
                    </a:lnTo>
                    <a:lnTo>
                      <a:pt x="0" y="35"/>
                    </a:lnTo>
                    <a:lnTo>
                      <a:pt x="0" y="35"/>
                    </a:lnTo>
                    <a:lnTo>
                      <a:pt x="1" y="38"/>
                    </a:lnTo>
                    <a:lnTo>
                      <a:pt x="1" y="39"/>
                    </a:lnTo>
                    <a:lnTo>
                      <a:pt x="5" y="40"/>
                    </a:lnTo>
                    <a:lnTo>
                      <a:pt x="5" y="40"/>
                    </a:lnTo>
                    <a:lnTo>
                      <a:pt x="9" y="39"/>
                    </a:lnTo>
                    <a:lnTo>
                      <a:pt x="11" y="38"/>
                    </a:lnTo>
                    <a:lnTo>
                      <a:pt x="11" y="35"/>
                    </a:lnTo>
                    <a:lnTo>
                      <a:pt x="11" y="5"/>
                    </a:lnTo>
                    <a:lnTo>
                      <a:pt x="11" y="5"/>
                    </a:lnTo>
                    <a:lnTo>
                      <a:pt x="11" y="3"/>
                    </a:lnTo>
                    <a:lnTo>
                      <a:pt x="9" y="1"/>
                    </a:lnTo>
                    <a:lnTo>
                      <a:pt x="5" y="0"/>
                    </a:lnTo>
                    <a:lnTo>
                      <a:pt x="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 name="Freeform 285">
                <a:extLst>
                  <a:ext uri="{FF2B5EF4-FFF2-40B4-BE49-F238E27FC236}">
                    <a16:creationId xmlns:a16="http://schemas.microsoft.com/office/drawing/2014/main" id="{AA557683-081A-2A46-80F7-B673B4C885D1}"/>
                  </a:ext>
                </a:extLst>
              </p:cNvPr>
              <p:cNvSpPr>
                <a:spLocks/>
              </p:cNvSpPr>
              <p:nvPr/>
            </p:nvSpPr>
            <p:spPr bwMode="auto">
              <a:xfrm>
                <a:off x="10331451" y="1838325"/>
                <a:ext cx="312738" cy="206375"/>
              </a:xfrm>
              <a:custGeom>
                <a:avLst/>
                <a:gdLst>
                  <a:gd name="T0" fmla="*/ 395 w 395"/>
                  <a:gd name="T1" fmla="*/ 21 h 259"/>
                  <a:gd name="T2" fmla="*/ 395 w 395"/>
                  <a:gd name="T3" fmla="*/ 21 h 259"/>
                  <a:gd name="T4" fmla="*/ 384 w 395"/>
                  <a:gd name="T5" fmla="*/ 0 h 259"/>
                  <a:gd name="T6" fmla="*/ 12 w 395"/>
                  <a:gd name="T7" fmla="*/ 0 h 259"/>
                  <a:gd name="T8" fmla="*/ 12 w 395"/>
                  <a:gd name="T9" fmla="*/ 0 h 259"/>
                  <a:gd name="T10" fmla="*/ 0 w 395"/>
                  <a:gd name="T11" fmla="*/ 21 h 259"/>
                  <a:gd name="T12" fmla="*/ 121 w 395"/>
                  <a:gd name="T13" fmla="*/ 21 h 259"/>
                  <a:gd name="T14" fmla="*/ 24 w 395"/>
                  <a:gd name="T15" fmla="*/ 240 h 259"/>
                  <a:gd name="T16" fmla="*/ 24 w 395"/>
                  <a:gd name="T17" fmla="*/ 240 h 259"/>
                  <a:gd name="T18" fmla="*/ 40 w 395"/>
                  <a:gd name="T19" fmla="*/ 259 h 259"/>
                  <a:gd name="T20" fmla="*/ 144 w 395"/>
                  <a:gd name="T21" fmla="*/ 21 h 259"/>
                  <a:gd name="T22" fmla="*/ 251 w 395"/>
                  <a:gd name="T23" fmla="*/ 21 h 259"/>
                  <a:gd name="T24" fmla="*/ 356 w 395"/>
                  <a:gd name="T25" fmla="*/ 259 h 259"/>
                  <a:gd name="T26" fmla="*/ 356 w 395"/>
                  <a:gd name="T27" fmla="*/ 259 h 259"/>
                  <a:gd name="T28" fmla="*/ 371 w 395"/>
                  <a:gd name="T29" fmla="*/ 240 h 259"/>
                  <a:gd name="T30" fmla="*/ 274 w 395"/>
                  <a:gd name="T31" fmla="*/ 21 h 259"/>
                  <a:gd name="T32" fmla="*/ 395 w 395"/>
                  <a:gd name="T33" fmla="*/ 21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5" h="259">
                    <a:moveTo>
                      <a:pt x="395" y="21"/>
                    </a:moveTo>
                    <a:lnTo>
                      <a:pt x="395" y="21"/>
                    </a:lnTo>
                    <a:lnTo>
                      <a:pt x="384" y="0"/>
                    </a:lnTo>
                    <a:lnTo>
                      <a:pt x="12" y="0"/>
                    </a:lnTo>
                    <a:lnTo>
                      <a:pt x="12" y="0"/>
                    </a:lnTo>
                    <a:lnTo>
                      <a:pt x="0" y="21"/>
                    </a:lnTo>
                    <a:lnTo>
                      <a:pt x="121" y="21"/>
                    </a:lnTo>
                    <a:lnTo>
                      <a:pt x="24" y="240"/>
                    </a:lnTo>
                    <a:lnTo>
                      <a:pt x="24" y="240"/>
                    </a:lnTo>
                    <a:lnTo>
                      <a:pt x="40" y="259"/>
                    </a:lnTo>
                    <a:lnTo>
                      <a:pt x="144" y="21"/>
                    </a:lnTo>
                    <a:lnTo>
                      <a:pt x="251" y="21"/>
                    </a:lnTo>
                    <a:lnTo>
                      <a:pt x="356" y="259"/>
                    </a:lnTo>
                    <a:lnTo>
                      <a:pt x="356" y="259"/>
                    </a:lnTo>
                    <a:lnTo>
                      <a:pt x="371" y="240"/>
                    </a:lnTo>
                    <a:lnTo>
                      <a:pt x="274" y="21"/>
                    </a:lnTo>
                    <a:lnTo>
                      <a:pt x="395"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88" name="Group 87"/>
          <p:cNvGrpSpPr/>
          <p:nvPr/>
        </p:nvGrpSpPr>
        <p:grpSpPr>
          <a:xfrm>
            <a:off x="1108684" y="4104695"/>
            <a:ext cx="2665793" cy="461665"/>
            <a:chOff x="1607923" y="4271842"/>
            <a:chExt cx="2665793" cy="461665"/>
          </a:xfrm>
        </p:grpSpPr>
        <p:sp>
          <p:nvSpPr>
            <p:cNvPr id="89" name="TextBox 88">
              <a:extLst>
                <a:ext uri="{FF2B5EF4-FFF2-40B4-BE49-F238E27FC236}">
                  <a16:creationId xmlns:a16="http://schemas.microsoft.com/office/drawing/2014/main" id="{194029C9-EA85-1D4D-9C62-5A1732FBB336}"/>
                </a:ext>
              </a:extLst>
            </p:cNvPr>
            <p:cNvSpPr txBox="1"/>
            <p:nvPr/>
          </p:nvSpPr>
          <p:spPr>
            <a:xfrm>
              <a:off x="2033511" y="4271842"/>
              <a:ext cx="2240205" cy="461665"/>
            </a:xfrm>
            <a:prstGeom prst="rect">
              <a:avLst/>
            </a:prstGeom>
            <a:noFill/>
          </p:spPr>
          <p:txBody>
            <a:bodyPr wrap="square" rtlCol="0">
              <a:spAutoFit/>
            </a:bodyPr>
            <a:lstStyle/>
            <a:p>
              <a:r>
                <a:rPr lang="en-US" sz="1200" b="1" dirty="0"/>
                <a:t>Low inflation </a:t>
              </a:r>
              <a:r>
                <a:rPr lang="en-US" sz="1200" dirty="0"/>
                <a:t>despite tighter labor markets</a:t>
              </a:r>
              <a:endParaRPr lang="en-US" sz="1200" b="1" dirty="0"/>
            </a:p>
          </p:txBody>
        </p:sp>
        <p:grpSp>
          <p:nvGrpSpPr>
            <p:cNvPr id="90" name="Group 89">
              <a:extLst>
                <a:ext uri="{FF2B5EF4-FFF2-40B4-BE49-F238E27FC236}">
                  <a16:creationId xmlns:a16="http://schemas.microsoft.com/office/drawing/2014/main" id="{BD35546A-96E6-0449-847B-A61997A0ACE9}"/>
                </a:ext>
              </a:extLst>
            </p:cNvPr>
            <p:cNvGrpSpPr>
              <a:grpSpLocks noChangeAspect="1"/>
            </p:cNvGrpSpPr>
            <p:nvPr/>
          </p:nvGrpSpPr>
          <p:grpSpPr>
            <a:xfrm>
              <a:off x="1607923" y="4324309"/>
              <a:ext cx="357814" cy="356730"/>
              <a:chOff x="1433513" y="1664335"/>
              <a:chExt cx="523875" cy="522288"/>
            </a:xfrm>
          </p:grpSpPr>
          <p:sp>
            <p:nvSpPr>
              <p:cNvPr id="91" name="Freeform 18">
                <a:extLst>
                  <a:ext uri="{FF2B5EF4-FFF2-40B4-BE49-F238E27FC236}">
                    <a16:creationId xmlns:a16="http://schemas.microsoft.com/office/drawing/2014/main" id="{C161A529-9547-7648-9EC0-2FC8EC39C5FE}"/>
                  </a:ext>
                </a:extLst>
              </p:cNvPr>
              <p:cNvSpPr>
                <a:spLocks noEditPoints="1"/>
              </p:cNvSpPr>
              <p:nvPr/>
            </p:nvSpPr>
            <p:spPr bwMode="auto">
              <a:xfrm>
                <a:off x="1433513" y="1664335"/>
                <a:ext cx="523875" cy="522288"/>
              </a:xfrm>
              <a:custGeom>
                <a:avLst/>
                <a:gdLst>
                  <a:gd name="T0" fmla="*/ 312 w 658"/>
                  <a:gd name="T1" fmla="*/ 658 h 658"/>
                  <a:gd name="T2" fmla="*/ 262 w 658"/>
                  <a:gd name="T3" fmla="*/ 651 h 658"/>
                  <a:gd name="T4" fmla="*/ 201 w 658"/>
                  <a:gd name="T5" fmla="*/ 632 h 658"/>
                  <a:gd name="T6" fmla="*/ 119 w 658"/>
                  <a:gd name="T7" fmla="*/ 582 h 658"/>
                  <a:gd name="T8" fmla="*/ 56 w 658"/>
                  <a:gd name="T9" fmla="*/ 513 h 658"/>
                  <a:gd name="T10" fmla="*/ 15 w 658"/>
                  <a:gd name="T11" fmla="*/ 427 h 658"/>
                  <a:gd name="T12" fmla="*/ 4 w 658"/>
                  <a:gd name="T13" fmla="*/ 380 h 658"/>
                  <a:gd name="T14" fmla="*/ 0 w 658"/>
                  <a:gd name="T15" fmla="*/ 328 h 658"/>
                  <a:gd name="T16" fmla="*/ 1 w 658"/>
                  <a:gd name="T17" fmla="*/ 295 h 658"/>
                  <a:gd name="T18" fmla="*/ 11 w 658"/>
                  <a:gd name="T19" fmla="*/ 246 h 658"/>
                  <a:gd name="T20" fmla="*/ 40 w 658"/>
                  <a:gd name="T21" fmla="*/ 173 h 658"/>
                  <a:gd name="T22" fmla="*/ 97 w 658"/>
                  <a:gd name="T23" fmla="*/ 96 h 658"/>
                  <a:gd name="T24" fmla="*/ 172 w 658"/>
                  <a:gd name="T25" fmla="*/ 39 h 658"/>
                  <a:gd name="T26" fmla="*/ 247 w 658"/>
                  <a:gd name="T27" fmla="*/ 10 h 658"/>
                  <a:gd name="T28" fmla="*/ 295 w 658"/>
                  <a:gd name="T29" fmla="*/ 2 h 658"/>
                  <a:gd name="T30" fmla="*/ 329 w 658"/>
                  <a:gd name="T31" fmla="*/ 0 h 658"/>
                  <a:gd name="T32" fmla="*/ 379 w 658"/>
                  <a:gd name="T33" fmla="*/ 5 h 658"/>
                  <a:gd name="T34" fmla="*/ 426 w 658"/>
                  <a:gd name="T35" fmla="*/ 15 h 658"/>
                  <a:gd name="T36" fmla="*/ 513 w 658"/>
                  <a:gd name="T37" fmla="*/ 57 h 658"/>
                  <a:gd name="T38" fmla="*/ 583 w 658"/>
                  <a:gd name="T39" fmla="*/ 120 h 658"/>
                  <a:gd name="T40" fmla="*/ 631 w 658"/>
                  <a:gd name="T41" fmla="*/ 201 h 658"/>
                  <a:gd name="T42" fmla="*/ 652 w 658"/>
                  <a:gd name="T43" fmla="*/ 263 h 658"/>
                  <a:gd name="T44" fmla="*/ 657 w 658"/>
                  <a:gd name="T45" fmla="*/ 312 h 658"/>
                  <a:gd name="T46" fmla="*/ 657 w 658"/>
                  <a:gd name="T47" fmla="*/ 346 h 658"/>
                  <a:gd name="T48" fmla="*/ 652 w 658"/>
                  <a:gd name="T49" fmla="*/ 396 h 658"/>
                  <a:gd name="T50" fmla="*/ 631 w 658"/>
                  <a:gd name="T51" fmla="*/ 457 h 658"/>
                  <a:gd name="T52" fmla="*/ 583 w 658"/>
                  <a:gd name="T53" fmla="*/ 538 h 658"/>
                  <a:gd name="T54" fmla="*/ 513 w 658"/>
                  <a:gd name="T55" fmla="*/ 601 h 658"/>
                  <a:gd name="T56" fmla="*/ 426 w 658"/>
                  <a:gd name="T57" fmla="*/ 643 h 658"/>
                  <a:gd name="T58" fmla="*/ 379 w 658"/>
                  <a:gd name="T59" fmla="*/ 654 h 658"/>
                  <a:gd name="T60" fmla="*/ 329 w 658"/>
                  <a:gd name="T61" fmla="*/ 658 h 658"/>
                  <a:gd name="T62" fmla="*/ 329 w 658"/>
                  <a:gd name="T63" fmla="*/ 38 h 658"/>
                  <a:gd name="T64" fmla="*/ 242 w 658"/>
                  <a:gd name="T65" fmla="*/ 50 h 658"/>
                  <a:gd name="T66" fmla="*/ 166 w 658"/>
                  <a:gd name="T67" fmla="*/ 88 h 658"/>
                  <a:gd name="T68" fmla="*/ 105 w 658"/>
                  <a:gd name="T69" fmla="*/ 144 h 658"/>
                  <a:gd name="T70" fmla="*/ 60 w 658"/>
                  <a:gd name="T71" fmla="*/ 216 h 658"/>
                  <a:gd name="T72" fmla="*/ 39 w 658"/>
                  <a:gd name="T73" fmla="*/ 299 h 658"/>
                  <a:gd name="T74" fmla="*/ 39 w 658"/>
                  <a:gd name="T75" fmla="*/ 359 h 658"/>
                  <a:gd name="T76" fmla="*/ 60 w 658"/>
                  <a:gd name="T77" fmla="*/ 443 h 658"/>
                  <a:gd name="T78" fmla="*/ 105 w 658"/>
                  <a:gd name="T79" fmla="*/ 514 h 658"/>
                  <a:gd name="T80" fmla="*/ 166 w 658"/>
                  <a:gd name="T81" fmla="*/ 570 h 658"/>
                  <a:gd name="T82" fmla="*/ 242 w 658"/>
                  <a:gd name="T83" fmla="*/ 607 h 658"/>
                  <a:gd name="T84" fmla="*/ 329 w 658"/>
                  <a:gd name="T85" fmla="*/ 620 h 658"/>
                  <a:gd name="T86" fmla="*/ 387 w 658"/>
                  <a:gd name="T87" fmla="*/ 615 h 658"/>
                  <a:gd name="T88" fmla="*/ 467 w 658"/>
                  <a:gd name="T89" fmla="*/ 585 h 658"/>
                  <a:gd name="T90" fmla="*/ 535 w 658"/>
                  <a:gd name="T91" fmla="*/ 535 h 658"/>
                  <a:gd name="T92" fmla="*/ 584 w 658"/>
                  <a:gd name="T93" fmla="*/ 468 h 658"/>
                  <a:gd name="T94" fmla="*/ 614 w 658"/>
                  <a:gd name="T95" fmla="*/ 388 h 658"/>
                  <a:gd name="T96" fmla="*/ 621 w 658"/>
                  <a:gd name="T97" fmla="*/ 328 h 658"/>
                  <a:gd name="T98" fmla="*/ 607 w 658"/>
                  <a:gd name="T99" fmla="*/ 242 h 658"/>
                  <a:gd name="T100" fmla="*/ 570 w 658"/>
                  <a:gd name="T101" fmla="*/ 166 h 658"/>
                  <a:gd name="T102" fmla="*/ 515 w 658"/>
                  <a:gd name="T103" fmla="*/ 104 h 658"/>
                  <a:gd name="T104" fmla="*/ 442 w 658"/>
                  <a:gd name="T105" fmla="*/ 61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2" y="658"/>
                    </a:lnTo>
                    <a:lnTo>
                      <a:pt x="295" y="656"/>
                    </a:lnTo>
                    <a:lnTo>
                      <a:pt x="279" y="654"/>
                    </a:lnTo>
                    <a:lnTo>
                      <a:pt x="262" y="651"/>
                    </a:lnTo>
                    <a:lnTo>
                      <a:pt x="247" y="648"/>
                    </a:lnTo>
                    <a:lnTo>
                      <a:pt x="231" y="643"/>
                    </a:lnTo>
                    <a:lnTo>
                      <a:pt x="201" y="632"/>
                    </a:lnTo>
                    <a:lnTo>
                      <a:pt x="172" y="619"/>
                    </a:lnTo>
                    <a:lnTo>
                      <a:pt x="145" y="601"/>
                    </a:lnTo>
                    <a:lnTo>
                      <a:pt x="119" y="582"/>
                    </a:lnTo>
                    <a:lnTo>
                      <a:pt x="97" y="561"/>
                    </a:lnTo>
                    <a:lnTo>
                      <a:pt x="75" y="538"/>
                    </a:lnTo>
                    <a:lnTo>
                      <a:pt x="56" y="513"/>
                    </a:lnTo>
                    <a:lnTo>
                      <a:pt x="40" y="486"/>
                    </a:lnTo>
                    <a:lnTo>
                      <a:pt x="25" y="457"/>
                    </a:lnTo>
                    <a:lnTo>
                      <a:pt x="15" y="427"/>
                    </a:lnTo>
                    <a:lnTo>
                      <a:pt x="11" y="412"/>
                    </a:lnTo>
                    <a:lnTo>
                      <a:pt x="7" y="396"/>
                    </a:lnTo>
                    <a:lnTo>
                      <a:pt x="4" y="380"/>
                    </a:lnTo>
                    <a:lnTo>
                      <a:pt x="1" y="362"/>
                    </a:lnTo>
                    <a:lnTo>
                      <a:pt x="0" y="346"/>
                    </a:lnTo>
                    <a:lnTo>
                      <a:pt x="0" y="328"/>
                    </a:lnTo>
                    <a:lnTo>
                      <a:pt x="0" y="328"/>
                    </a:lnTo>
                    <a:lnTo>
                      <a:pt x="0" y="312"/>
                    </a:lnTo>
                    <a:lnTo>
                      <a:pt x="1" y="295"/>
                    </a:lnTo>
                    <a:lnTo>
                      <a:pt x="4" y="279"/>
                    </a:lnTo>
                    <a:lnTo>
                      <a:pt x="7" y="263"/>
                    </a:lnTo>
                    <a:lnTo>
                      <a:pt x="11" y="246"/>
                    </a:lnTo>
                    <a:lnTo>
                      <a:pt x="15" y="232"/>
                    </a:lnTo>
                    <a:lnTo>
                      <a:pt x="25" y="201"/>
                    </a:lnTo>
                    <a:lnTo>
                      <a:pt x="40" y="173"/>
                    </a:lnTo>
                    <a:lnTo>
                      <a:pt x="56" y="146"/>
                    </a:lnTo>
                    <a:lnTo>
                      <a:pt x="75" y="120"/>
                    </a:lnTo>
                    <a:lnTo>
                      <a:pt x="97" y="96"/>
                    </a:lnTo>
                    <a:lnTo>
                      <a:pt x="119" y="76"/>
                    </a:lnTo>
                    <a:lnTo>
                      <a:pt x="145" y="57"/>
                    </a:lnTo>
                    <a:lnTo>
                      <a:pt x="172" y="39"/>
                    </a:lnTo>
                    <a:lnTo>
                      <a:pt x="201" y="26"/>
                    </a:lnTo>
                    <a:lnTo>
                      <a:pt x="231" y="15"/>
                    </a:lnTo>
                    <a:lnTo>
                      <a:pt x="247" y="10"/>
                    </a:lnTo>
                    <a:lnTo>
                      <a:pt x="262" y="7"/>
                    </a:lnTo>
                    <a:lnTo>
                      <a:pt x="279" y="5"/>
                    </a:lnTo>
                    <a:lnTo>
                      <a:pt x="295" y="2"/>
                    </a:lnTo>
                    <a:lnTo>
                      <a:pt x="312" y="0"/>
                    </a:lnTo>
                    <a:lnTo>
                      <a:pt x="329" y="0"/>
                    </a:lnTo>
                    <a:lnTo>
                      <a:pt x="329" y="0"/>
                    </a:lnTo>
                    <a:lnTo>
                      <a:pt x="345" y="0"/>
                    </a:lnTo>
                    <a:lnTo>
                      <a:pt x="363" y="2"/>
                    </a:lnTo>
                    <a:lnTo>
                      <a:pt x="379" y="5"/>
                    </a:lnTo>
                    <a:lnTo>
                      <a:pt x="395" y="7"/>
                    </a:lnTo>
                    <a:lnTo>
                      <a:pt x="411" y="10"/>
                    </a:lnTo>
                    <a:lnTo>
                      <a:pt x="426" y="15"/>
                    </a:lnTo>
                    <a:lnTo>
                      <a:pt x="457" y="26"/>
                    </a:lnTo>
                    <a:lnTo>
                      <a:pt x="485" y="39"/>
                    </a:lnTo>
                    <a:lnTo>
                      <a:pt x="513" y="57"/>
                    </a:lnTo>
                    <a:lnTo>
                      <a:pt x="537" y="76"/>
                    </a:lnTo>
                    <a:lnTo>
                      <a:pt x="562" y="96"/>
                    </a:lnTo>
                    <a:lnTo>
                      <a:pt x="583" y="120"/>
                    </a:lnTo>
                    <a:lnTo>
                      <a:pt x="602" y="146"/>
                    </a:lnTo>
                    <a:lnTo>
                      <a:pt x="618" y="173"/>
                    </a:lnTo>
                    <a:lnTo>
                      <a:pt x="631" y="201"/>
                    </a:lnTo>
                    <a:lnTo>
                      <a:pt x="644" y="232"/>
                    </a:lnTo>
                    <a:lnTo>
                      <a:pt x="648" y="246"/>
                    </a:lnTo>
                    <a:lnTo>
                      <a:pt x="652" y="263"/>
                    </a:lnTo>
                    <a:lnTo>
                      <a:pt x="654" y="279"/>
                    </a:lnTo>
                    <a:lnTo>
                      <a:pt x="656" y="295"/>
                    </a:lnTo>
                    <a:lnTo>
                      <a:pt x="657" y="312"/>
                    </a:lnTo>
                    <a:lnTo>
                      <a:pt x="658" y="328"/>
                    </a:lnTo>
                    <a:lnTo>
                      <a:pt x="658" y="328"/>
                    </a:lnTo>
                    <a:lnTo>
                      <a:pt x="657" y="346"/>
                    </a:lnTo>
                    <a:lnTo>
                      <a:pt x="656" y="362"/>
                    </a:lnTo>
                    <a:lnTo>
                      <a:pt x="654" y="380"/>
                    </a:lnTo>
                    <a:lnTo>
                      <a:pt x="652" y="396"/>
                    </a:lnTo>
                    <a:lnTo>
                      <a:pt x="648" y="412"/>
                    </a:lnTo>
                    <a:lnTo>
                      <a:pt x="644" y="427"/>
                    </a:lnTo>
                    <a:lnTo>
                      <a:pt x="631" y="457"/>
                    </a:lnTo>
                    <a:lnTo>
                      <a:pt x="618" y="486"/>
                    </a:lnTo>
                    <a:lnTo>
                      <a:pt x="602" y="513"/>
                    </a:lnTo>
                    <a:lnTo>
                      <a:pt x="583" y="538"/>
                    </a:lnTo>
                    <a:lnTo>
                      <a:pt x="562" y="561"/>
                    </a:lnTo>
                    <a:lnTo>
                      <a:pt x="537" y="582"/>
                    </a:lnTo>
                    <a:lnTo>
                      <a:pt x="513" y="601"/>
                    </a:lnTo>
                    <a:lnTo>
                      <a:pt x="485" y="619"/>
                    </a:lnTo>
                    <a:lnTo>
                      <a:pt x="457" y="632"/>
                    </a:lnTo>
                    <a:lnTo>
                      <a:pt x="426" y="643"/>
                    </a:lnTo>
                    <a:lnTo>
                      <a:pt x="411" y="648"/>
                    </a:lnTo>
                    <a:lnTo>
                      <a:pt x="395" y="651"/>
                    </a:lnTo>
                    <a:lnTo>
                      <a:pt x="379" y="654"/>
                    </a:lnTo>
                    <a:lnTo>
                      <a:pt x="363" y="656"/>
                    </a:lnTo>
                    <a:lnTo>
                      <a:pt x="345" y="658"/>
                    </a:lnTo>
                    <a:lnTo>
                      <a:pt x="329" y="658"/>
                    </a:lnTo>
                    <a:lnTo>
                      <a:pt x="329" y="658"/>
                    </a:lnTo>
                    <a:close/>
                    <a:moveTo>
                      <a:pt x="329" y="38"/>
                    </a:moveTo>
                    <a:lnTo>
                      <a:pt x="329" y="38"/>
                    </a:lnTo>
                    <a:lnTo>
                      <a:pt x="299" y="39"/>
                    </a:lnTo>
                    <a:lnTo>
                      <a:pt x="270" y="43"/>
                    </a:lnTo>
                    <a:lnTo>
                      <a:pt x="242" y="50"/>
                    </a:lnTo>
                    <a:lnTo>
                      <a:pt x="215" y="61"/>
                    </a:lnTo>
                    <a:lnTo>
                      <a:pt x="191" y="73"/>
                    </a:lnTo>
                    <a:lnTo>
                      <a:pt x="166" y="88"/>
                    </a:lnTo>
                    <a:lnTo>
                      <a:pt x="144" y="104"/>
                    </a:lnTo>
                    <a:lnTo>
                      <a:pt x="123" y="123"/>
                    </a:lnTo>
                    <a:lnTo>
                      <a:pt x="105" y="144"/>
                    </a:lnTo>
                    <a:lnTo>
                      <a:pt x="87" y="166"/>
                    </a:lnTo>
                    <a:lnTo>
                      <a:pt x="72" y="190"/>
                    </a:lnTo>
                    <a:lnTo>
                      <a:pt x="60" y="216"/>
                    </a:lnTo>
                    <a:lnTo>
                      <a:pt x="51" y="242"/>
                    </a:lnTo>
                    <a:lnTo>
                      <a:pt x="43" y="271"/>
                    </a:lnTo>
                    <a:lnTo>
                      <a:pt x="39" y="299"/>
                    </a:lnTo>
                    <a:lnTo>
                      <a:pt x="37" y="328"/>
                    </a:lnTo>
                    <a:lnTo>
                      <a:pt x="37" y="328"/>
                    </a:lnTo>
                    <a:lnTo>
                      <a:pt x="39" y="359"/>
                    </a:lnTo>
                    <a:lnTo>
                      <a:pt x="43" y="388"/>
                    </a:lnTo>
                    <a:lnTo>
                      <a:pt x="51" y="416"/>
                    </a:lnTo>
                    <a:lnTo>
                      <a:pt x="60" y="443"/>
                    </a:lnTo>
                    <a:lnTo>
                      <a:pt x="72" y="468"/>
                    </a:lnTo>
                    <a:lnTo>
                      <a:pt x="87" y="492"/>
                    </a:lnTo>
                    <a:lnTo>
                      <a:pt x="105" y="514"/>
                    </a:lnTo>
                    <a:lnTo>
                      <a:pt x="123" y="535"/>
                    </a:lnTo>
                    <a:lnTo>
                      <a:pt x="144" y="554"/>
                    </a:lnTo>
                    <a:lnTo>
                      <a:pt x="166" y="570"/>
                    </a:lnTo>
                    <a:lnTo>
                      <a:pt x="191" y="585"/>
                    </a:lnTo>
                    <a:lnTo>
                      <a:pt x="215" y="597"/>
                    </a:lnTo>
                    <a:lnTo>
                      <a:pt x="242" y="607"/>
                    </a:lnTo>
                    <a:lnTo>
                      <a:pt x="270" y="615"/>
                    </a:lnTo>
                    <a:lnTo>
                      <a:pt x="299" y="619"/>
                    </a:lnTo>
                    <a:lnTo>
                      <a:pt x="329" y="620"/>
                    </a:lnTo>
                    <a:lnTo>
                      <a:pt x="329" y="620"/>
                    </a:lnTo>
                    <a:lnTo>
                      <a:pt x="359" y="619"/>
                    </a:lnTo>
                    <a:lnTo>
                      <a:pt x="387" y="615"/>
                    </a:lnTo>
                    <a:lnTo>
                      <a:pt x="415" y="607"/>
                    </a:lnTo>
                    <a:lnTo>
                      <a:pt x="442" y="597"/>
                    </a:lnTo>
                    <a:lnTo>
                      <a:pt x="467" y="585"/>
                    </a:lnTo>
                    <a:lnTo>
                      <a:pt x="492" y="570"/>
                    </a:lnTo>
                    <a:lnTo>
                      <a:pt x="515" y="554"/>
                    </a:lnTo>
                    <a:lnTo>
                      <a:pt x="535" y="535"/>
                    </a:lnTo>
                    <a:lnTo>
                      <a:pt x="554" y="514"/>
                    </a:lnTo>
                    <a:lnTo>
                      <a:pt x="570" y="492"/>
                    </a:lnTo>
                    <a:lnTo>
                      <a:pt x="584" y="468"/>
                    </a:lnTo>
                    <a:lnTo>
                      <a:pt x="597" y="443"/>
                    </a:lnTo>
                    <a:lnTo>
                      <a:pt x="607" y="416"/>
                    </a:lnTo>
                    <a:lnTo>
                      <a:pt x="614" y="388"/>
                    </a:lnTo>
                    <a:lnTo>
                      <a:pt x="618" y="359"/>
                    </a:lnTo>
                    <a:lnTo>
                      <a:pt x="621" y="328"/>
                    </a:lnTo>
                    <a:lnTo>
                      <a:pt x="621" y="328"/>
                    </a:lnTo>
                    <a:lnTo>
                      <a:pt x="618" y="299"/>
                    </a:lnTo>
                    <a:lnTo>
                      <a:pt x="614" y="271"/>
                    </a:lnTo>
                    <a:lnTo>
                      <a:pt x="607" y="242"/>
                    </a:lnTo>
                    <a:lnTo>
                      <a:pt x="597" y="216"/>
                    </a:lnTo>
                    <a:lnTo>
                      <a:pt x="584" y="190"/>
                    </a:lnTo>
                    <a:lnTo>
                      <a:pt x="570" y="166"/>
                    </a:lnTo>
                    <a:lnTo>
                      <a:pt x="554" y="144"/>
                    </a:lnTo>
                    <a:lnTo>
                      <a:pt x="535" y="123"/>
                    </a:lnTo>
                    <a:lnTo>
                      <a:pt x="515" y="104"/>
                    </a:lnTo>
                    <a:lnTo>
                      <a:pt x="492" y="88"/>
                    </a:lnTo>
                    <a:lnTo>
                      <a:pt x="467" y="73"/>
                    </a:lnTo>
                    <a:lnTo>
                      <a:pt x="442" y="61"/>
                    </a:lnTo>
                    <a:lnTo>
                      <a:pt x="415" y="50"/>
                    </a:lnTo>
                    <a:lnTo>
                      <a:pt x="387" y="43"/>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Freeform 106">
                <a:extLst>
                  <a:ext uri="{FF2B5EF4-FFF2-40B4-BE49-F238E27FC236}">
                    <a16:creationId xmlns:a16="http://schemas.microsoft.com/office/drawing/2014/main" id="{FD14570C-D9E8-1648-BDF4-CB0E01014D9B}"/>
                  </a:ext>
                </a:extLst>
              </p:cNvPr>
              <p:cNvSpPr>
                <a:spLocks/>
              </p:cNvSpPr>
              <p:nvPr/>
            </p:nvSpPr>
            <p:spPr bwMode="auto">
              <a:xfrm rot="5400000">
                <a:off x="1631156" y="1807210"/>
                <a:ext cx="128588" cy="239713"/>
              </a:xfrm>
              <a:custGeom>
                <a:avLst/>
                <a:gdLst>
                  <a:gd name="T0" fmla="*/ 134 w 162"/>
                  <a:gd name="T1" fmla="*/ 151 h 303"/>
                  <a:gd name="T2" fmla="*/ 0 w 162"/>
                  <a:gd name="T3" fmla="*/ 285 h 303"/>
                  <a:gd name="T4" fmla="*/ 16 w 162"/>
                  <a:gd name="T5" fmla="*/ 303 h 303"/>
                  <a:gd name="T6" fmla="*/ 158 w 162"/>
                  <a:gd name="T7" fmla="*/ 159 h 303"/>
                  <a:gd name="T8" fmla="*/ 158 w 162"/>
                  <a:gd name="T9" fmla="*/ 159 h 303"/>
                  <a:gd name="T10" fmla="*/ 161 w 162"/>
                  <a:gd name="T11" fmla="*/ 155 h 303"/>
                  <a:gd name="T12" fmla="*/ 162 w 162"/>
                  <a:gd name="T13" fmla="*/ 151 h 303"/>
                  <a:gd name="T14" fmla="*/ 162 w 162"/>
                  <a:gd name="T15" fmla="*/ 151 h 303"/>
                  <a:gd name="T16" fmla="*/ 161 w 162"/>
                  <a:gd name="T17" fmla="*/ 147 h 303"/>
                  <a:gd name="T18" fmla="*/ 158 w 162"/>
                  <a:gd name="T19" fmla="*/ 143 h 303"/>
                  <a:gd name="T20" fmla="*/ 16 w 162"/>
                  <a:gd name="T21" fmla="*/ 0 h 303"/>
                  <a:gd name="T22" fmla="*/ 0 w 162"/>
                  <a:gd name="T23" fmla="*/ 16 h 303"/>
                  <a:gd name="T24" fmla="*/ 134 w 162"/>
                  <a:gd name="T25"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2" h="303">
                    <a:moveTo>
                      <a:pt x="134" y="151"/>
                    </a:moveTo>
                    <a:lnTo>
                      <a:pt x="0" y="285"/>
                    </a:lnTo>
                    <a:lnTo>
                      <a:pt x="16" y="303"/>
                    </a:lnTo>
                    <a:lnTo>
                      <a:pt x="158" y="159"/>
                    </a:lnTo>
                    <a:lnTo>
                      <a:pt x="158" y="159"/>
                    </a:lnTo>
                    <a:lnTo>
                      <a:pt x="161" y="155"/>
                    </a:lnTo>
                    <a:lnTo>
                      <a:pt x="162" y="151"/>
                    </a:lnTo>
                    <a:lnTo>
                      <a:pt x="162" y="151"/>
                    </a:lnTo>
                    <a:lnTo>
                      <a:pt x="161" y="147"/>
                    </a:lnTo>
                    <a:lnTo>
                      <a:pt x="158" y="143"/>
                    </a:lnTo>
                    <a:lnTo>
                      <a:pt x="16" y="0"/>
                    </a:lnTo>
                    <a:lnTo>
                      <a:pt x="0" y="16"/>
                    </a:lnTo>
                    <a:lnTo>
                      <a:pt x="134"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106">
                <a:extLst>
                  <a:ext uri="{FF2B5EF4-FFF2-40B4-BE49-F238E27FC236}">
                    <a16:creationId xmlns:a16="http://schemas.microsoft.com/office/drawing/2014/main" id="{13B9B472-477C-734B-A3B2-FBEB2C751B44}"/>
                  </a:ext>
                </a:extLst>
              </p:cNvPr>
              <p:cNvSpPr>
                <a:spLocks/>
              </p:cNvSpPr>
              <p:nvPr/>
            </p:nvSpPr>
            <p:spPr bwMode="auto">
              <a:xfrm rot="5400000">
                <a:off x="1631156" y="1902458"/>
                <a:ext cx="128588" cy="239713"/>
              </a:xfrm>
              <a:custGeom>
                <a:avLst/>
                <a:gdLst>
                  <a:gd name="T0" fmla="*/ 134 w 162"/>
                  <a:gd name="T1" fmla="*/ 151 h 303"/>
                  <a:gd name="T2" fmla="*/ 0 w 162"/>
                  <a:gd name="T3" fmla="*/ 285 h 303"/>
                  <a:gd name="T4" fmla="*/ 16 w 162"/>
                  <a:gd name="T5" fmla="*/ 303 h 303"/>
                  <a:gd name="T6" fmla="*/ 158 w 162"/>
                  <a:gd name="T7" fmla="*/ 159 h 303"/>
                  <a:gd name="T8" fmla="*/ 158 w 162"/>
                  <a:gd name="T9" fmla="*/ 159 h 303"/>
                  <a:gd name="T10" fmla="*/ 161 w 162"/>
                  <a:gd name="T11" fmla="*/ 155 h 303"/>
                  <a:gd name="T12" fmla="*/ 162 w 162"/>
                  <a:gd name="T13" fmla="*/ 151 h 303"/>
                  <a:gd name="T14" fmla="*/ 162 w 162"/>
                  <a:gd name="T15" fmla="*/ 151 h 303"/>
                  <a:gd name="T16" fmla="*/ 161 w 162"/>
                  <a:gd name="T17" fmla="*/ 147 h 303"/>
                  <a:gd name="T18" fmla="*/ 158 w 162"/>
                  <a:gd name="T19" fmla="*/ 143 h 303"/>
                  <a:gd name="T20" fmla="*/ 16 w 162"/>
                  <a:gd name="T21" fmla="*/ 0 h 303"/>
                  <a:gd name="T22" fmla="*/ 0 w 162"/>
                  <a:gd name="T23" fmla="*/ 16 h 303"/>
                  <a:gd name="T24" fmla="*/ 134 w 162"/>
                  <a:gd name="T25"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2" h="303">
                    <a:moveTo>
                      <a:pt x="134" y="151"/>
                    </a:moveTo>
                    <a:lnTo>
                      <a:pt x="0" y="285"/>
                    </a:lnTo>
                    <a:lnTo>
                      <a:pt x="16" y="303"/>
                    </a:lnTo>
                    <a:lnTo>
                      <a:pt x="158" y="159"/>
                    </a:lnTo>
                    <a:lnTo>
                      <a:pt x="158" y="159"/>
                    </a:lnTo>
                    <a:lnTo>
                      <a:pt x="161" y="155"/>
                    </a:lnTo>
                    <a:lnTo>
                      <a:pt x="162" y="151"/>
                    </a:lnTo>
                    <a:lnTo>
                      <a:pt x="162" y="151"/>
                    </a:lnTo>
                    <a:lnTo>
                      <a:pt x="161" y="147"/>
                    </a:lnTo>
                    <a:lnTo>
                      <a:pt x="158" y="143"/>
                    </a:lnTo>
                    <a:lnTo>
                      <a:pt x="16" y="0"/>
                    </a:lnTo>
                    <a:lnTo>
                      <a:pt x="0" y="16"/>
                    </a:lnTo>
                    <a:lnTo>
                      <a:pt x="134"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94" name="Group 93"/>
          <p:cNvGrpSpPr/>
          <p:nvPr/>
        </p:nvGrpSpPr>
        <p:grpSpPr>
          <a:xfrm>
            <a:off x="1106505" y="4939490"/>
            <a:ext cx="2670150" cy="461665"/>
            <a:chOff x="1603566" y="5106637"/>
            <a:chExt cx="2670150" cy="461665"/>
          </a:xfrm>
        </p:grpSpPr>
        <p:sp>
          <p:nvSpPr>
            <p:cNvPr id="95" name="TextBox 94">
              <a:extLst>
                <a:ext uri="{FF2B5EF4-FFF2-40B4-BE49-F238E27FC236}">
                  <a16:creationId xmlns:a16="http://schemas.microsoft.com/office/drawing/2014/main" id="{4557463F-7E15-474E-AAC6-05F7CA873599}"/>
                </a:ext>
              </a:extLst>
            </p:cNvPr>
            <p:cNvSpPr txBox="1"/>
            <p:nvPr/>
          </p:nvSpPr>
          <p:spPr>
            <a:xfrm>
              <a:off x="2033511" y="5106637"/>
              <a:ext cx="2240205" cy="461665"/>
            </a:xfrm>
            <a:prstGeom prst="rect">
              <a:avLst/>
            </a:prstGeom>
            <a:noFill/>
          </p:spPr>
          <p:txBody>
            <a:bodyPr wrap="square" rtlCol="0">
              <a:spAutoFit/>
            </a:bodyPr>
            <a:lstStyle/>
            <a:p>
              <a:r>
                <a:rPr lang="en-US" sz="1200" b="1" dirty="0"/>
                <a:t>Asset price bubbles </a:t>
              </a:r>
              <a:r>
                <a:rPr lang="en-US" sz="1200" dirty="0"/>
                <a:t>&amp; risk from monetary tightening</a:t>
              </a:r>
              <a:endParaRPr lang="en-US" sz="1200" b="1" dirty="0"/>
            </a:p>
          </p:txBody>
        </p:sp>
        <p:grpSp>
          <p:nvGrpSpPr>
            <p:cNvPr id="96" name="Group 95">
              <a:extLst>
                <a:ext uri="{FF2B5EF4-FFF2-40B4-BE49-F238E27FC236}">
                  <a16:creationId xmlns:a16="http://schemas.microsoft.com/office/drawing/2014/main" id="{6A3BB679-3860-444A-816F-FF4FD4FA97A1}"/>
                </a:ext>
              </a:extLst>
            </p:cNvPr>
            <p:cNvGrpSpPr>
              <a:grpSpLocks noChangeAspect="1"/>
            </p:cNvGrpSpPr>
            <p:nvPr/>
          </p:nvGrpSpPr>
          <p:grpSpPr>
            <a:xfrm>
              <a:off x="1603566" y="5159104"/>
              <a:ext cx="356730" cy="356730"/>
              <a:chOff x="6711951" y="822325"/>
              <a:chExt cx="522288" cy="522288"/>
            </a:xfrm>
          </p:grpSpPr>
          <p:sp>
            <p:nvSpPr>
              <p:cNvPr id="97" name="Freeform 14">
                <a:extLst>
                  <a:ext uri="{FF2B5EF4-FFF2-40B4-BE49-F238E27FC236}">
                    <a16:creationId xmlns:a16="http://schemas.microsoft.com/office/drawing/2014/main" id="{5D93BD71-8AB3-4448-BD2B-7F9A7DAA0116}"/>
                  </a:ext>
                </a:extLst>
              </p:cNvPr>
              <p:cNvSpPr>
                <a:spLocks noEditPoints="1"/>
              </p:cNvSpPr>
              <p:nvPr/>
            </p:nvSpPr>
            <p:spPr bwMode="auto">
              <a:xfrm>
                <a:off x="6711951" y="822325"/>
                <a:ext cx="522288" cy="522288"/>
              </a:xfrm>
              <a:custGeom>
                <a:avLst/>
                <a:gdLst>
                  <a:gd name="T0" fmla="*/ 313 w 658"/>
                  <a:gd name="T1" fmla="*/ 658 h 658"/>
                  <a:gd name="T2" fmla="*/ 263 w 658"/>
                  <a:gd name="T3" fmla="*/ 651 h 658"/>
                  <a:gd name="T4" fmla="*/ 202 w 658"/>
                  <a:gd name="T5" fmla="*/ 633 h 658"/>
                  <a:gd name="T6" fmla="*/ 121 w 658"/>
                  <a:gd name="T7" fmla="*/ 583 h 658"/>
                  <a:gd name="T8" fmla="*/ 56 w 658"/>
                  <a:gd name="T9" fmla="*/ 513 h 658"/>
                  <a:gd name="T10" fmla="*/ 15 w 658"/>
                  <a:gd name="T11" fmla="*/ 427 h 658"/>
                  <a:gd name="T12" fmla="*/ 4 w 658"/>
                  <a:gd name="T13" fmla="*/ 379 h 658"/>
                  <a:gd name="T14" fmla="*/ 0 w 658"/>
                  <a:gd name="T15" fmla="*/ 329 h 658"/>
                  <a:gd name="T16" fmla="*/ 3 w 658"/>
                  <a:gd name="T17" fmla="*/ 295 h 658"/>
                  <a:gd name="T18" fmla="*/ 11 w 658"/>
                  <a:gd name="T19" fmla="*/ 247 h 658"/>
                  <a:gd name="T20" fmla="*/ 40 w 658"/>
                  <a:gd name="T21" fmla="*/ 173 h 658"/>
                  <a:gd name="T22" fmla="*/ 97 w 658"/>
                  <a:gd name="T23" fmla="*/ 97 h 658"/>
                  <a:gd name="T24" fmla="*/ 173 w 658"/>
                  <a:gd name="T25" fmla="*/ 40 h 658"/>
                  <a:gd name="T26" fmla="*/ 247 w 658"/>
                  <a:gd name="T27" fmla="*/ 11 h 658"/>
                  <a:gd name="T28" fmla="*/ 296 w 658"/>
                  <a:gd name="T29" fmla="*/ 3 h 658"/>
                  <a:gd name="T30" fmla="*/ 329 w 658"/>
                  <a:gd name="T31" fmla="*/ 0 h 658"/>
                  <a:gd name="T32" fmla="*/ 379 w 658"/>
                  <a:gd name="T33" fmla="*/ 4 h 658"/>
                  <a:gd name="T34" fmla="*/ 427 w 658"/>
                  <a:gd name="T35" fmla="*/ 15 h 658"/>
                  <a:gd name="T36" fmla="*/ 513 w 658"/>
                  <a:gd name="T37" fmla="*/ 56 h 658"/>
                  <a:gd name="T38" fmla="*/ 583 w 658"/>
                  <a:gd name="T39" fmla="*/ 121 h 658"/>
                  <a:gd name="T40" fmla="*/ 633 w 658"/>
                  <a:gd name="T41" fmla="*/ 201 h 658"/>
                  <a:gd name="T42" fmla="*/ 651 w 658"/>
                  <a:gd name="T43" fmla="*/ 263 h 658"/>
                  <a:gd name="T44" fmla="*/ 658 w 658"/>
                  <a:gd name="T45" fmla="*/ 313 h 658"/>
                  <a:gd name="T46" fmla="*/ 658 w 658"/>
                  <a:gd name="T47" fmla="*/ 347 h 658"/>
                  <a:gd name="T48" fmla="*/ 651 w 658"/>
                  <a:gd name="T49" fmla="*/ 396 h 658"/>
                  <a:gd name="T50" fmla="*/ 633 w 658"/>
                  <a:gd name="T51" fmla="*/ 457 h 658"/>
                  <a:gd name="T52" fmla="*/ 583 w 658"/>
                  <a:gd name="T53" fmla="*/ 539 h 658"/>
                  <a:gd name="T54" fmla="*/ 513 w 658"/>
                  <a:gd name="T55" fmla="*/ 602 h 658"/>
                  <a:gd name="T56" fmla="*/ 427 w 658"/>
                  <a:gd name="T57" fmla="*/ 643 h 658"/>
                  <a:gd name="T58" fmla="*/ 379 w 658"/>
                  <a:gd name="T59" fmla="*/ 654 h 658"/>
                  <a:gd name="T60" fmla="*/ 329 w 658"/>
                  <a:gd name="T61" fmla="*/ 658 h 658"/>
                  <a:gd name="T62" fmla="*/ 329 w 658"/>
                  <a:gd name="T63" fmla="*/ 38 h 658"/>
                  <a:gd name="T64" fmla="*/ 243 w 658"/>
                  <a:gd name="T65" fmla="*/ 51 h 658"/>
                  <a:gd name="T66" fmla="*/ 167 w 658"/>
                  <a:gd name="T67" fmla="*/ 89 h 658"/>
                  <a:gd name="T68" fmla="*/ 105 w 658"/>
                  <a:gd name="T69" fmla="*/ 144 h 658"/>
                  <a:gd name="T70" fmla="*/ 62 w 658"/>
                  <a:gd name="T71" fmla="*/ 216 h 658"/>
                  <a:gd name="T72" fmla="*/ 40 w 658"/>
                  <a:gd name="T73" fmla="*/ 300 h 658"/>
                  <a:gd name="T74" fmla="*/ 40 w 658"/>
                  <a:gd name="T75" fmla="*/ 359 h 658"/>
                  <a:gd name="T76" fmla="*/ 62 w 658"/>
                  <a:gd name="T77" fmla="*/ 443 h 658"/>
                  <a:gd name="T78" fmla="*/ 105 w 658"/>
                  <a:gd name="T79" fmla="*/ 514 h 658"/>
                  <a:gd name="T80" fmla="*/ 167 w 658"/>
                  <a:gd name="T81" fmla="*/ 571 h 658"/>
                  <a:gd name="T82" fmla="*/ 243 w 658"/>
                  <a:gd name="T83" fmla="*/ 607 h 658"/>
                  <a:gd name="T84" fmla="*/ 329 w 658"/>
                  <a:gd name="T85" fmla="*/ 621 h 658"/>
                  <a:gd name="T86" fmla="*/ 388 w 658"/>
                  <a:gd name="T87" fmla="*/ 615 h 658"/>
                  <a:gd name="T88" fmla="*/ 467 w 658"/>
                  <a:gd name="T89" fmla="*/ 586 h 658"/>
                  <a:gd name="T90" fmla="*/ 535 w 658"/>
                  <a:gd name="T91" fmla="*/ 535 h 658"/>
                  <a:gd name="T92" fmla="*/ 586 w 658"/>
                  <a:gd name="T93" fmla="*/ 467 h 658"/>
                  <a:gd name="T94" fmla="*/ 615 w 658"/>
                  <a:gd name="T95" fmla="*/ 388 h 658"/>
                  <a:gd name="T96" fmla="*/ 621 w 658"/>
                  <a:gd name="T97" fmla="*/ 329 h 658"/>
                  <a:gd name="T98" fmla="*/ 607 w 658"/>
                  <a:gd name="T99" fmla="*/ 243 h 658"/>
                  <a:gd name="T100" fmla="*/ 571 w 658"/>
                  <a:gd name="T101" fmla="*/ 167 h 658"/>
                  <a:gd name="T102" fmla="*/ 514 w 658"/>
                  <a:gd name="T103" fmla="*/ 105 h 658"/>
                  <a:gd name="T104" fmla="*/ 443 w 658"/>
                  <a:gd name="T105" fmla="*/ 62 h 658"/>
                  <a:gd name="T106" fmla="*/ 359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8"/>
                    </a:lnTo>
                    <a:lnTo>
                      <a:pt x="296" y="657"/>
                    </a:lnTo>
                    <a:lnTo>
                      <a:pt x="279" y="654"/>
                    </a:lnTo>
                    <a:lnTo>
                      <a:pt x="263" y="651"/>
                    </a:lnTo>
                    <a:lnTo>
                      <a:pt x="247" y="647"/>
                    </a:lnTo>
                    <a:lnTo>
                      <a:pt x="232" y="643"/>
                    </a:lnTo>
                    <a:lnTo>
                      <a:pt x="202" y="633"/>
                    </a:lnTo>
                    <a:lnTo>
                      <a:pt x="173" y="618"/>
                    </a:lnTo>
                    <a:lnTo>
                      <a:pt x="145" y="602"/>
                    </a:lnTo>
                    <a:lnTo>
                      <a:pt x="121" y="583"/>
                    </a:lnTo>
                    <a:lnTo>
                      <a:pt x="97" y="561"/>
                    </a:lnTo>
                    <a:lnTo>
                      <a:pt x="75" y="539"/>
                    </a:lnTo>
                    <a:lnTo>
                      <a:pt x="56" y="513"/>
                    </a:lnTo>
                    <a:lnTo>
                      <a:pt x="40" y="486"/>
                    </a:lnTo>
                    <a:lnTo>
                      <a:pt x="27" y="457"/>
                    </a:lnTo>
                    <a:lnTo>
                      <a:pt x="15" y="427"/>
                    </a:lnTo>
                    <a:lnTo>
                      <a:pt x="11" y="411"/>
                    </a:lnTo>
                    <a:lnTo>
                      <a:pt x="7" y="396"/>
                    </a:lnTo>
                    <a:lnTo>
                      <a:pt x="4" y="379"/>
                    </a:lnTo>
                    <a:lnTo>
                      <a:pt x="3" y="363"/>
                    </a:lnTo>
                    <a:lnTo>
                      <a:pt x="1" y="347"/>
                    </a:lnTo>
                    <a:lnTo>
                      <a:pt x="0" y="329"/>
                    </a:lnTo>
                    <a:lnTo>
                      <a:pt x="0" y="329"/>
                    </a:lnTo>
                    <a:lnTo>
                      <a:pt x="1" y="313"/>
                    </a:lnTo>
                    <a:lnTo>
                      <a:pt x="3" y="295"/>
                    </a:lnTo>
                    <a:lnTo>
                      <a:pt x="4" y="279"/>
                    </a:lnTo>
                    <a:lnTo>
                      <a:pt x="7" y="263"/>
                    </a:lnTo>
                    <a:lnTo>
                      <a:pt x="11" y="247"/>
                    </a:lnTo>
                    <a:lnTo>
                      <a:pt x="15" y="232"/>
                    </a:lnTo>
                    <a:lnTo>
                      <a:pt x="27" y="201"/>
                    </a:lnTo>
                    <a:lnTo>
                      <a:pt x="40" y="173"/>
                    </a:lnTo>
                    <a:lnTo>
                      <a:pt x="56" y="145"/>
                    </a:lnTo>
                    <a:lnTo>
                      <a:pt x="75" y="121"/>
                    </a:lnTo>
                    <a:lnTo>
                      <a:pt x="97" y="97"/>
                    </a:lnTo>
                    <a:lnTo>
                      <a:pt x="121" y="75"/>
                    </a:lnTo>
                    <a:lnTo>
                      <a:pt x="145" y="56"/>
                    </a:lnTo>
                    <a:lnTo>
                      <a:pt x="173" y="40"/>
                    </a:lnTo>
                    <a:lnTo>
                      <a:pt x="202" y="27"/>
                    </a:lnTo>
                    <a:lnTo>
                      <a:pt x="232" y="15"/>
                    </a:lnTo>
                    <a:lnTo>
                      <a:pt x="247" y="11"/>
                    </a:lnTo>
                    <a:lnTo>
                      <a:pt x="263" y="7"/>
                    </a:lnTo>
                    <a:lnTo>
                      <a:pt x="279" y="4"/>
                    </a:lnTo>
                    <a:lnTo>
                      <a:pt x="296" y="3"/>
                    </a:lnTo>
                    <a:lnTo>
                      <a:pt x="313" y="1"/>
                    </a:lnTo>
                    <a:lnTo>
                      <a:pt x="329" y="0"/>
                    </a:lnTo>
                    <a:lnTo>
                      <a:pt x="329" y="0"/>
                    </a:lnTo>
                    <a:lnTo>
                      <a:pt x="347" y="1"/>
                    </a:lnTo>
                    <a:lnTo>
                      <a:pt x="363" y="3"/>
                    </a:lnTo>
                    <a:lnTo>
                      <a:pt x="379" y="4"/>
                    </a:lnTo>
                    <a:lnTo>
                      <a:pt x="396" y="7"/>
                    </a:lnTo>
                    <a:lnTo>
                      <a:pt x="411" y="11"/>
                    </a:lnTo>
                    <a:lnTo>
                      <a:pt x="427" y="15"/>
                    </a:lnTo>
                    <a:lnTo>
                      <a:pt x="457" y="27"/>
                    </a:lnTo>
                    <a:lnTo>
                      <a:pt x="486" y="40"/>
                    </a:lnTo>
                    <a:lnTo>
                      <a:pt x="513" y="56"/>
                    </a:lnTo>
                    <a:lnTo>
                      <a:pt x="539" y="75"/>
                    </a:lnTo>
                    <a:lnTo>
                      <a:pt x="561" y="97"/>
                    </a:lnTo>
                    <a:lnTo>
                      <a:pt x="583" y="121"/>
                    </a:lnTo>
                    <a:lnTo>
                      <a:pt x="602" y="145"/>
                    </a:lnTo>
                    <a:lnTo>
                      <a:pt x="618" y="173"/>
                    </a:lnTo>
                    <a:lnTo>
                      <a:pt x="633" y="201"/>
                    </a:lnTo>
                    <a:lnTo>
                      <a:pt x="643" y="232"/>
                    </a:lnTo>
                    <a:lnTo>
                      <a:pt x="647" y="247"/>
                    </a:lnTo>
                    <a:lnTo>
                      <a:pt x="651" y="263"/>
                    </a:lnTo>
                    <a:lnTo>
                      <a:pt x="654" y="279"/>
                    </a:lnTo>
                    <a:lnTo>
                      <a:pt x="657" y="295"/>
                    </a:lnTo>
                    <a:lnTo>
                      <a:pt x="658" y="313"/>
                    </a:lnTo>
                    <a:lnTo>
                      <a:pt x="658" y="329"/>
                    </a:lnTo>
                    <a:lnTo>
                      <a:pt x="658" y="329"/>
                    </a:lnTo>
                    <a:lnTo>
                      <a:pt x="658" y="347"/>
                    </a:lnTo>
                    <a:lnTo>
                      <a:pt x="657" y="363"/>
                    </a:lnTo>
                    <a:lnTo>
                      <a:pt x="654" y="379"/>
                    </a:lnTo>
                    <a:lnTo>
                      <a:pt x="651" y="396"/>
                    </a:lnTo>
                    <a:lnTo>
                      <a:pt x="647" y="411"/>
                    </a:lnTo>
                    <a:lnTo>
                      <a:pt x="643" y="427"/>
                    </a:lnTo>
                    <a:lnTo>
                      <a:pt x="633" y="457"/>
                    </a:lnTo>
                    <a:lnTo>
                      <a:pt x="618" y="486"/>
                    </a:lnTo>
                    <a:lnTo>
                      <a:pt x="602" y="513"/>
                    </a:lnTo>
                    <a:lnTo>
                      <a:pt x="583" y="539"/>
                    </a:lnTo>
                    <a:lnTo>
                      <a:pt x="561" y="561"/>
                    </a:lnTo>
                    <a:lnTo>
                      <a:pt x="539" y="583"/>
                    </a:lnTo>
                    <a:lnTo>
                      <a:pt x="513" y="602"/>
                    </a:lnTo>
                    <a:lnTo>
                      <a:pt x="486" y="618"/>
                    </a:lnTo>
                    <a:lnTo>
                      <a:pt x="457" y="633"/>
                    </a:lnTo>
                    <a:lnTo>
                      <a:pt x="427" y="643"/>
                    </a:lnTo>
                    <a:lnTo>
                      <a:pt x="411" y="647"/>
                    </a:lnTo>
                    <a:lnTo>
                      <a:pt x="396" y="651"/>
                    </a:lnTo>
                    <a:lnTo>
                      <a:pt x="379" y="654"/>
                    </a:lnTo>
                    <a:lnTo>
                      <a:pt x="363" y="657"/>
                    </a:lnTo>
                    <a:lnTo>
                      <a:pt x="347" y="658"/>
                    </a:lnTo>
                    <a:lnTo>
                      <a:pt x="329" y="658"/>
                    </a:lnTo>
                    <a:lnTo>
                      <a:pt x="329" y="658"/>
                    </a:lnTo>
                    <a:close/>
                    <a:moveTo>
                      <a:pt x="329" y="38"/>
                    </a:moveTo>
                    <a:lnTo>
                      <a:pt x="329" y="38"/>
                    </a:lnTo>
                    <a:lnTo>
                      <a:pt x="300" y="40"/>
                    </a:lnTo>
                    <a:lnTo>
                      <a:pt x="271" y="44"/>
                    </a:lnTo>
                    <a:lnTo>
                      <a:pt x="243" y="51"/>
                    </a:lnTo>
                    <a:lnTo>
                      <a:pt x="216" y="62"/>
                    </a:lnTo>
                    <a:lnTo>
                      <a:pt x="191" y="74"/>
                    </a:lnTo>
                    <a:lnTo>
                      <a:pt x="167" y="89"/>
                    </a:lnTo>
                    <a:lnTo>
                      <a:pt x="144" y="105"/>
                    </a:lnTo>
                    <a:lnTo>
                      <a:pt x="124" y="124"/>
                    </a:lnTo>
                    <a:lnTo>
                      <a:pt x="105" y="144"/>
                    </a:lnTo>
                    <a:lnTo>
                      <a:pt x="89" y="167"/>
                    </a:lnTo>
                    <a:lnTo>
                      <a:pt x="74" y="191"/>
                    </a:lnTo>
                    <a:lnTo>
                      <a:pt x="62" y="216"/>
                    </a:lnTo>
                    <a:lnTo>
                      <a:pt x="51" y="243"/>
                    </a:lnTo>
                    <a:lnTo>
                      <a:pt x="44" y="271"/>
                    </a:lnTo>
                    <a:lnTo>
                      <a:pt x="40" y="300"/>
                    </a:lnTo>
                    <a:lnTo>
                      <a:pt x="38" y="329"/>
                    </a:lnTo>
                    <a:lnTo>
                      <a:pt x="38" y="329"/>
                    </a:lnTo>
                    <a:lnTo>
                      <a:pt x="40" y="359"/>
                    </a:lnTo>
                    <a:lnTo>
                      <a:pt x="44" y="388"/>
                    </a:lnTo>
                    <a:lnTo>
                      <a:pt x="51" y="416"/>
                    </a:lnTo>
                    <a:lnTo>
                      <a:pt x="62" y="443"/>
                    </a:lnTo>
                    <a:lnTo>
                      <a:pt x="74" y="467"/>
                    </a:lnTo>
                    <a:lnTo>
                      <a:pt x="89" y="492"/>
                    </a:lnTo>
                    <a:lnTo>
                      <a:pt x="105" y="514"/>
                    </a:lnTo>
                    <a:lnTo>
                      <a:pt x="124" y="535"/>
                    </a:lnTo>
                    <a:lnTo>
                      <a:pt x="144" y="553"/>
                    </a:lnTo>
                    <a:lnTo>
                      <a:pt x="167" y="571"/>
                    </a:lnTo>
                    <a:lnTo>
                      <a:pt x="191" y="586"/>
                    </a:lnTo>
                    <a:lnTo>
                      <a:pt x="216" y="598"/>
                    </a:lnTo>
                    <a:lnTo>
                      <a:pt x="243" y="607"/>
                    </a:lnTo>
                    <a:lnTo>
                      <a:pt x="271" y="615"/>
                    </a:lnTo>
                    <a:lnTo>
                      <a:pt x="300" y="619"/>
                    </a:lnTo>
                    <a:lnTo>
                      <a:pt x="329" y="621"/>
                    </a:lnTo>
                    <a:lnTo>
                      <a:pt x="329" y="621"/>
                    </a:lnTo>
                    <a:lnTo>
                      <a:pt x="359" y="619"/>
                    </a:lnTo>
                    <a:lnTo>
                      <a:pt x="388" y="615"/>
                    </a:lnTo>
                    <a:lnTo>
                      <a:pt x="416" y="607"/>
                    </a:lnTo>
                    <a:lnTo>
                      <a:pt x="443" y="598"/>
                    </a:lnTo>
                    <a:lnTo>
                      <a:pt x="467" y="586"/>
                    </a:lnTo>
                    <a:lnTo>
                      <a:pt x="492" y="571"/>
                    </a:lnTo>
                    <a:lnTo>
                      <a:pt x="514" y="553"/>
                    </a:lnTo>
                    <a:lnTo>
                      <a:pt x="535" y="535"/>
                    </a:lnTo>
                    <a:lnTo>
                      <a:pt x="553" y="514"/>
                    </a:lnTo>
                    <a:lnTo>
                      <a:pt x="571" y="492"/>
                    </a:lnTo>
                    <a:lnTo>
                      <a:pt x="586" y="467"/>
                    </a:lnTo>
                    <a:lnTo>
                      <a:pt x="598" y="443"/>
                    </a:lnTo>
                    <a:lnTo>
                      <a:pt x="607" y="416"/>
                    </a:lnTo>
                    <a:lnTo>
                      <a:pt x="615" y="388"/>
                    </a:lnTo>
                    <a:lnTo>
                      <a:pt x="619" y="359"/>
                    </a:lnTo>
                    <a:lnTo>
                      <a:pt x="621" y="329"/>
                    </a:lnTo>
                    <a:lnTo>
                      <a:pt x="621" y="329"/>
                    </a:lnTo>
                    <a:lnTo>
                      <a:pt x="619" y="300"/>
                    </a:lnTo>
                    <a:lnTo>
                      <a:pt x="615" y="271"/>
                    </a:lnTo>
                    <a:lnTo>
                      <a:pt x="607" y="243"/>
                    </a:lnTo>
                    <a:lnTo>
                      <a:pt x="598" y="216"/>
                    </a:lnTo>
                    <a:lnTo>
                      <a:pt x="586" y="191"/>
                    </a:lnTo>
                    <a:lnTo>
                      <a:pt x="571" y="167"/>
                    </a:lnTo>
                    <a:lnTo>
                      <a:pt x="553" y="144"/>
                    </a:lnTo>
                    <a:lnTo>
                      <a:pt x="535" y="124"/>
                    </a:lnTo>
                    <a:lnTo>
                      <a:pt x="514" y="105"/>
                    </a:lnTo>
                    <a:lnTo>
                      <a:pt x="492" y="89"/>
                    </a:lnTo>
                    <a:lnTo>
                      <a:pt x="467" y="74"/>
                    </a:lnTo>
                    <a:lnTo>
                      <a:pt x="443" y="62"/>
                    </a:lnTo>
                    <a:lnTo>
                      <a:pt x="416" y="51"/>
                    </a:lnTo>
                    <a:lnTo>
                      <a:pt x="388" y="44"/>
                    </a:lnTo>
                    <a:lnTo>
                      <a:pt x="359" y="40"/>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100">
                <a:extLst>
                  <a:ext uri="{FF2B5EF4-FFF2-40B4-BE49-F238E27FC236}">
                    <a16:creationId xmlns:a16="http://schemas.microsoft.com/office/drawing/2014/main" id="{CE52F940-1422-A643-A076-25CD93F2712F}"/>
                  </a:ext>
                </a:extLst>
              </p:cNvPr>
              <p:cNvSpPr>
                <a:spLocks/>
              </p:cNvSpPr>
              <p:nvPr/>
            </p:nvSpPr>
            <p:spPr bwMode="auto">
              <a:xfrm>
                <a:off x="6908801" y="955675"/>
                <a:ext cx="128588" cy="55563"/>
              </a:xfrm>
              <a:custGeom>
                <a:avLst/>
                <a:gdLst>
                  <a:gd name="T0" fmla="*/ 124 w 162"/>
                  <a:gd name="T1" fmla="*/ 70 h 70"/>
                  <a:gd name="T2" fmla="*/ 124 w 162"/>
                  <a:gd name="T3" fmla="*/ 70 h 70"/>
                  <a:gd name="T4" fmla="*/ 127 w 162"/>
                  <a:gd name="T5" fmla="*/ 70 h 70"/>
                  <a:gd name="T6" fmla="*/ 128 w 162"/>
                  <a:gd name="T7" fmla="*/ 67 h 70"/>
                  <a:gd name="T8" fmla="*/ 161 w 162"/>
                  <a:gd name="T9" fmla="*/ 8 h 70"/>
                  <a:gd name="T10" fmla="*/ 161 w 162"/>
                  <a:gd name="T11" fmla="*/ 8 h 70"/>
                  <a:gd name="T12" fmla="*/ 162 w 162"/>
                  <a:gd name="T13" fmla="*/ 5 h 70"/>
                  <a:gd name="T14" fmla="*/ 161 w 162"/>
                  <a:gd name="T15" fmla="*/ 3 h 70"/>
                  <a:gd name="T16" fmla="*/ 161 w 162"/>
                  <a:gd name="T17" fmla="*/ 3 h 70"/>
                  <a:gd name="T18" fmla="*/ 159 w 162"/>
                  <a:gd name="T19" fmla="*/ 0 h 70"/>
                  <a:gd name="T20" fmla="*/ 157 w 162"/>
                  <a:gd name="T21" fmla="*/ 0 h 70"/>
                  <a:gd name="T22" fmla="*/ 5 w 162"/>
                  <a:gd name="T23" fmla="*/ 0 h 70"/>
                  <a:gd name="T24" fmla="*/ 5 w 162"/>
                  <a:gd name="T25" fmla="*/ 0 h 70"/>
                  <a:gd name="T26" fmla="*/ 2 w 162"/>
                  <a:gd name="T27" fmla="*/ 0 h 70"/>
                  <a:gd name="T28" fmla="*/ 0 w 162"/>
                  <a:gd name="T29" fmla="*/ 3 h 70"/>
                  <a:gd name="T30" fmla="*/ 0 w 162"/>
                  <a:gd name="T31" fmla="*/ 3 h 70"/>
                  <a:gd name="T32" fmla="*/ 0 w 162"/>
                  <a:gd name="T33" fmla="*/ 5 h 70"/>
                  <a:gd name="T34" fmla="*/ 0 w 162"/>
                  <a:gd name="T35" fmla="*/ 8 h 70"/>
                  <a:gd name="T36" fmla="*/ 32 w 162"/>
                  <a:gd name="T37" fmla="*/ 67 h 70"/>
                  <a:gd name="T38" fmla="*/ 32 w 162"/>
                  <a:gd name="T39" fmla="*/ 67 h 70"/>
                  <a:gd name="T40" fmla="*/ 34 w 162"/>
                  <a:gd name="T41" fmla="*/ 70 h 70"/>
                  <a:gd name="T42" fmla="*/ 37 w 162"/>
                  <a:gd name="T43" fmla="*/ 70 h 70"/>
                  <a:gd name="T44" fmla="*/ 75 w 162"/>
                  <a:gd name="T45" fmla="*/ 70 h 70"/>
                  <a:gd name="T46" fmla="*/ 75 w 162"/>
                  <a:gd name="T47" fmla="*/ 48 h 70"/>
                  <a:gd name="T48" fmla="*/ 75 w 162"/>
                  <a:gd name="T49" fmla="*/ 48 h 70"/>
                  <a:gd name="T50" fmla="*/ 76 w 162"/>
                  <a:gd name="T51" fmla="*/ 46 h 70"/>
                  <a:gd name="T52" fmla="*/ 76 w 162"/>
                  <a:gd name="T53" fmla="*/ 44 h 70"/>
                  <a:gd name="T54" fmla="*/ 79 w 162"/>
                  <a:gd name="T55" fmla="*/ 43 h 70"/>
                  <a:gd name="T56" fmla="*/ 80 w 162"/>
                  <a:gd name="T57" fmla="*/ 43 h 70"/>
                  <a:gd name="T58" fmla="*/ 80 w 162"/>
                  <a:gd name="T59" fmla="*/ 43 h 70"/>
                  <a:gd name="T60" fmla="*/ 83 w 162"/>
                  <a:gd name="T61" fmla="*/ 43 h 70"/>
                  <a:gd name="T62" fmla="*/ 84 w 162"/>
                  <a:gd name="T63" fmla="*/ 44 h 70"/>
                  <a:gd name="T64" fmla="*/ 85 w 162"/>
                  <a:gd name="T65" fmla="*/ 46 h 70"/>
                  <a:gd name="T66" fmla="*/ 85 w 162"/>
                  <a:gd name="T67" fmla="*/ 48 h 70"/>
                  <a:gd name="T68" fmla="*/ 85 w 162"/>
                  <a:gd name="T69" fmla="*/ 70 h 70"/>
                  <a:gd name="T70" fmla="*/ 124 w 162"/>
                  <a:gd name="T71"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2" h="70">
                    <a:moveTo>
                      <a:pt x="124" y="70"/>
                    </a:moveTo>
                    <a:lnTo>
                      <a:pt x="124" y="70"/>
                    </a:lnTo>
                    <a:lnTo>
                      <a:pt x="127" y="70"/>
                    </a:lnTo>
                    <a:lnTo>
                      <a:pt x="128" y="67"/>
                    </a:lnTo>
                    <a:lnTo>
                      <a:pt x="161" y="8"/>
                    </a:lnTo>
                    <a:lnTo>
                      <a:pt x="161" y="8"/>
                    </a:lnTo>
                    <a:lnTo>
                      <a:pt x="162" y="5"/>
                    </a:lnTo>
                    <a:lnTo>
                      <a:pt x="161" y="3"/>
                    </a:lnTo>
                    <a:lnTo>
                      <a:pt x="161" y="3"/>
                    </a:lnTo>
                    <a:lnTo>
                      <a:pt x="159" y="0"/>
                    </a:lnTo>
                    <a:lnTo>
                      <a:pt x="157" y="0"/>
                    </a:lnTo>
                    <a:lnTo>
                      <a:pt x="5" y="0"/>
                    </a:lnTo>
                    <a:lnTo>
                      <a:pt x="5" y="0"/>
                    </a:lnTo>
                    <a:lnTo>
                      <a:pt x="2" y="0"/>
                    </a:lnTo>
                    <a:lnTo>
                      <a:pt x="0" y="3"/>
                    </a:lnTo>
                    <a:lnTo>
                      <a:pt x="0" y="3"/>
                    </a:lnTo>
                    <a:lnTo>
                      <a:pt x="0" y="5"/>
                    </a:lnTo>
                    <a:lnTo>
                      <a:pt x="0" y="8"/>
                    </a:lnTo>
                    <a:lnTo>
                      <a:pt x="32" y="67"/>
                    </a:lnTo>
                    <a:lnTo>
                      <a:pt x="32" y="67"/>
                    </a:lnTo>
                    <a:lnTo>
                      <a:pt x="34" y="70"/>
                    </a:lnTo>
                    <a:lnTo>
                      <a:pt x="37" y="70"/>
                    </a:lnTo>
                    <a:lnTo>
                      <a:pt x="75" y="70"/>
                    </a:lnTo>
                    <a:lnTo>
                      <a:pt x="75" y="48"/>
                    </a:lnTo>
                    <a:lnTo>
                      <a:pt x="75" y="48"/>
                    </a:lnTo>
                    <a:lnTo>
                      <a:pt x="76" y="46"/>
                    </a:lnTo>
                    <a:lnTo>
                      <a:pt x="76" y="44"/>
                    </a:lnTo>
                    <a:lnTo>
                      <a:pt x="79" y="43"/>
                    </a:lnTo>
                    <a:lnTo>
                      <a:pt x="80" y="43"/>
                    </a:lnTo>
                    <a:lnTo>
                      <a:pt x="80" y="43"/>
                    </a:lnTo>
                    <a:lnTo>
                      <a:pt x="83" y="43"/>
                    </a:lnTo>
                    <a:lnTo>
                      <a:pt x="84" y="44"/>
                    </a:lnTo>
                    <a:lnTo>
                      <a:pt x="85" y="46"/>
                    </a:lnTo>
                    <a:lnTo>
                      <a:pt x="85" y="48"/>
                    </a:lnTo>
                    <a:lnTo>
                      <a:pt x="85" y="70"/>
                    </a:lnTo>
                    <a:lnTo>
                      <a:pt x="124" y="7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101">
                <a:extLst>
                  <a:ext uri="{FF2B5EF4-FFF2-40B4-BE49-F238E27FC236}">
                    <a16:creationId xmlns:a16="http://schemas.microsoft.com/office/drawing/2014/main" id="{42F769C8-3D83-164B-9BC0-E7C83375A871}"/>
                  </a:ext>
                </a:extLst>
              </p:cNvPr>
              <p:cNvSpPr>
                <a:spLocks noEditPoints="1"/>
              </p:cNvSpPr>
              <p:nvPr/>
            </p:nvSpPr>
            <p:spPr bwMode="auto">
              <a:xfrm>
                <a:off x="6883401" y="1019175"/>
                <a:ext cx="179388" cy="185738"/>
              </a:xfrm>
              <a:custGeom>
                <a:avLst/>
                <a:gdLst>
                  <a:gd name="T0" fmla="*/ 20 w 227"/>
                  <a:gd name="T1" fmla="*/ 217 h 234"/>
                  <a:gd name="T2" fmla="*/ 47 w 227"/>
                  <a:gd name="T3" fmla="*/ 232 h 234"/>
                  <a:gd name="T4" fmla="*/ 164 w 227"/>
                  <a:gd name="T5" fmla="*/ 234 h 234"/>
                  <a:gd name="T6" fmla="*/ 194 w 227"/>
                  <a:gd name="T7" fmla="*/ 226 h 234"/>
                  <a:gd name="T8" fmla="*/ 217 w 227"/>
                  <a:gd name="T9" fmla="*/ 205 h 234"/>
                  <a:gd name="T10" fmla="*/ 226 w 227"/>
                  <a:gd name="T11" fmla="*/ 183 h 234"/>
                  <a:gd name="T12" fmla="*/ 225 w 227"/>
                  <a:gd name="T13" fmla="*/ 154 h 234"/>
                  <a:gd name="T14" fmla="*/ 160 w 227"/>
                  <a:gd name="T15" fmla="*/ 2 h 234"/>
                  <a:gd name="T16" fmla="*/ 67 w 227"/>
                  <a:gd name="T17" fmla="*/ 2 h 234"/>
                  <a:gd name="T18" fmla="*/ 2 w 227"/>
                  <a:gd name="T19" fmla="*/ 154 h 234"/>
                  <a:gd name="T20" fmla="*/ 2 w 227"/>
                  <a:gd name="T21" fmla="*/ 183 h 234"/>
                  <a:gd name="T22" fmla="*/ 10 w 227"/>
                  <a:gd name="T23" fmla="*/ 205 h 234"/>
                  <a:gd name="T24" fmla="*/ 93 w 227"/>
                  <a:gd name="T25" fmla="*/ 119 h 234"/>
                  <a:gd name="T26" fmla="*/ 77 w 227"/>
                  <a:gd name="T27" fmla="*/ 101 h 234"/>
                  <a:gd name="T28" fmla="*/ 78 w 227"/>
                  <a:gd name="T29" fmla="*/ 80 h 234"/>
                  <a:gd name="T30" fmla="*/ 96 w 227"/>
                  <a:gd name="T31" fmla="*/ 62 h 234"/>
                  <a:gd name="T32" fmla="*/ 108 w 227"/>
                  <a:gd name="T33" fmla="*/ 43 h 234"/>
                  <a:gd name="T34" fmla="*/ 113 w 227"/>
                  <a:gd name="T35" fmla="*/ 38 h 234"/>
                  <a:gd name="T36" fmla="*/ 118 w 227"/>
                  <a:gd name="T37" fmla="*/ 42 h 234"/>
                  <a:gd name="T38" fmla="*/ 125 w 227"/>
                  <a:gd name="T39" fmla="*/ 61 h 234"/>
                  <a:gd name="T40" fmla="*/ 145 w 227"/>
                  <a:gd name="T41" fmla="*/ 74 h 234"/>
                  <a:gd name="T42" fmla="*/ 151 w 227"/>
                  <a:gd name="T43" fmla="*/ 93 h 234"/>
                  <a:gd name="T44" fmla="*/ 145 w 227"/>
                  <a:gd name="T45" fmla="*/ 99 h 234"/>
                  <a:gd name="T46" fmla="*/ 141 w 227"/>
                  <a:gd name="T47" fmla="*/ 95 h 234"/>
                  <a:gd name="T48" fmla="*/ 139 w 227"/>
                  <a:gd name="T49" fmla="*/ 84 h 234"/>
                  <a:gd name="T50" fmla="*/ 128 w 227"/>
                  <a:gd name="T51" fmla="*/ 73 h 234"/>
                  <a:gd name="T52" fmla="*/ 108 w 227"/>
                  <a:gd name="T53" fmla="*/ 72 h 234"/>
                  <a:gd name="T54" fmla="*/ 93 w 227"/>
                  <a:gd name="T55" fmla="*/ 77 h 234"/>
                  <a:gd name="T56" fmla="*/ 86 w 227"/>
                  <a:gd name="T57" fmla="*/ 93 h 234"/>
                  <a:gd name="T58" fmla="*/ 90 w 227"/>
                  <a:gd name="T59" fmla="*/ 105 h 234"/>
                  <a:gd name="T60" fmla="*/ 114 w 227"/>
                  <a:gd name="T61" fmla="*/ 115 h 234"/>
                  <a:gd name="T62" fmla="*/ 144 w 227"/>
                  <a:gd name="T63" fmla="*/ 128 h 234"/>
                  <a:gd name="T64" fmla="*/ 151 w 227"/>
                  <a:gd name="T65" fmla="*/ 147 h 234"/>
                  <a:gd name="T66" fmla="*/ 141 w 227"/>
                  <a:gd name="T67" fmla="*/ 170 h 234"/>
                  <a:gd name="T68" fmla="*/ 118 w 227"/>
                  <a:gd name="T69" fmla="*/ 179 h 234"/>
                  <a:gd name="T70" fmla="*/ 117 w 227"/>
                  <a:gd name="T71" fmla="*/ 199 h 234"/>
                  <a:gd name="T72" fmla="*/ 112 w 227"/>
                  <a:gd name="T73" fmla="*/ 201 h 234"/>
                  <a:gd name="T74" fmla="*/ 108 w 227"/>
                  <a:gd name="T75" fmla="*/ 179 h 234"/>
                  <a:gd name="T76" fmla="*/ 90 w 227"/>
                  <a:gd name="T77" fmla="*/ 174 h 234"/>
                  <a:gd name="T78" fmla="*/ 77 w 227"/>
                  <a:gd name="T79" fmla="*/ 154 h 234"/>
                  <a:gd name="T80" fmla="*/ 77 w 227"/>
                  <a:gd name="T81" fmla="*/ 143 h 234"/>
                  <a:gd name="T82" fmla="*/ 84 w 227"/>
                  <a:gd name="T83" fmla="*/ 142 h 234"/>
                  <a:gd name="T84" fmla="*/ 86 w 227"/>
                  <a:gd name="T85" fmla="*/ 147 h 234"/>
                  <a:gd name="T86" fmla="*/ 93 w 227"/>
                  <a:gd name="T87" fmla="*/ 162 h 234"/>
                  <a:gd name="T88" fmla="*/ 108 w 227"/>
                  <a:gd name="T89" fmla="*/ 168 h 234"/>
                  <a:gd name="T90" fmla="*/ 128 w 227"/>
                  <a:gd name="T91" fmla="*/ 167 h 234"/>
                  <a:gd name="T92" fmla="*/ 139 w 227"/>
                  <a:gd name="T93" fmla="*/ 155 h 234"/>
                  <a:gd name="T94" fmla="*/ 140 w 227"/>
                  <a:gd name="T95" fmla="*/ 143 h 234"/>
                  <a:gd name="T96" fmla="*/ 124 w 227"/>
                  <a:gd name="T97" fmla="*/ 12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7" h="234">
                    <a:moveTo>
                      <a:pt x="10" y="205"/>
                    </a:moveTo>
                    <a:lnTo>
                      <a:pt x="10" y="205"/>
                    </a:lnTo>
                    <a:lnTo>
                      <a:pt x="15" y="211"/>
                    </a:lnTo>
                    <a:lnTo>
                      <a:pt x="20" y="217"/>
                    </a:lnTo>
                    <a:lnTo>
                      <a:pt x="27" y="222"/>
                    </a:lnTo>
                    <a:lnTo>
                      <a:pt x="33" y="226"/>
                    </a:lnTo>
                    <a:lnTo>
                      <a:pt x="41" y="229"/>
                    </a:lnTo>
                    <a:lnTo>
                      <a:pt x="47" y="232"/>
                    </a:lnTo>
                    <a:lnTo>
                      <a:pt x="55" y="233"/>
                    </a:lnTo>
                    <a:lnTo>
                      <a:pt x="63" y="234"/>
                    </a:lnTo>
                    <a:lnTo>
                      <a:pt x="164" y="234"/>
                    </a:lnTo>
                    <a:lnTo>
                      <a:pt x="164" y="234"/>
                    </a:lnTo>
                    <a:lnTo>
                      <a:pt x="172" y="233"/>
                    </a:lnTo>
                    <a:lnTo>
                      <a:pt x="179" y="232"/>
                    </a:lnTo>
                    <a:lnTo>
                      <a:pt x="187" y="229"/>
                    </a:lnTo>
                    <a:lnTo>
                      <a:pt x="194" y="226"/>
                    </a:lnTo>
                    <a:lnTo>
                      <a:pt x="200" y="222"/>
                    </a:lnTo>
                    <a:lnTo>
                      <a:pt x="206" y="217"/>
                    </a:lnTo>
                    <a:lnTo>
                      <a:pt x="213" y="211"/>
                    </a:lnTo>
                    <a:lnTo>
                      <a:pt x="217" y="205"/>
                    </a:lnTo>
                    <a:lnTo>
                      <a:pt x="217" y="205"/>
                    </a:lnTo>
                    <a:lnTo>
                      <a:pt x="221" y="198"/>
                    </a:lnTo>
                    <a:lnTo>
                      <a:pt x="223" y="191"/>
                    </a:lnTo>
                    <a:lnTo>
                      <a:pt x="226" y="183"/>
                    </a:lnTo>
                    <a:lnTo>
                      <a:pt x="227" y="176"/>
                    </a:lnTo>
                    <a:lnTo>
                      <a:pt x="227" y="168"/>
                    </a:lnTo>
                    <a:lnTo>
                      <a:pt x="226" y="160"/>
                    </a:lnTo>
                    <a:lnTo>
                      <a:pt x="225" y="154"/>
                    </a:lnTo>
                    <a:lnTo>
                      <a:pt x="222" y="146"/>
                    </a:lnTo>
                    <a:lnTo>
                      <a:pt x="161" y="5"/>
                    </a:lnTo>
                    <a:lnTo>
                      <a:pt x="161" y="5"/>
                    </a:lnTo>
                    <a:lnTo>
                      <a:pt x="160" y="2"/>
                    </a:lnTo>
                    <a:lnTo>
                      <a:pt x="157" y="0"/>
                    </a:lnTo>
                    <a:lnTo>
                      <a:pt x="70" y="0"/>
                    </a:lnTo>
                    <a:lnTo>
                      <a:pt x="70" y="0"/>
                    </a:lnTo>
                    <a:lnTo>
                      <a:pt x="67" y="2"/>
                    </a:lnTo>
                    <a:lnTo>
                      <a:pt x="65" y="5"/>
                    </a:lnTo>
                    <a:lnTo>
                      <a:pt x="4" y="146"/>
                    </a:lnTo>
                    <a:lnTo>
                      <a:pt x="4" y="146"/>
                    </a:lnTo>
                    <a:lnTo>
                      <a:pt x="2" y="154"/>
                    </a:lnTo>
                    <a:lnTo>
                      <a:pt x="0" y="160"/>
                    </a:lnTo>
                    <a:lnTo>
                      <a:pt x="0" y="168"/>
                    </a:lnTo>
                    <a:lnTo>
                      <a:pt x="0" y="176"/>
                    </a:lnTo>
                    <a:lnTo>
                      <a:pt x="2" y="183"/>
                    </a:lnTo>
                    <a:lnTo>
                      <a:pt x="3" y="191"/>
                    </a:lnTo>
                    <a:lnTo>
                      <a:pt x="6" y="198"/>
                    </a:lnTo>
                    <a:lnTo>
                      <a:pt x="10" y="205"/>
                    </a:lnTo>
                    <a:lnTo>
                      <a:pt x="10" y="205"/>
                    </a:lnTo>
                    <a:close/>
                    <a:moveTo>
                      <a:pt x="112" y="125"/>
                    </a:moveTo>
                    <a:lnTo>
                      <a:pt x="112" y="125"/>
                    </a:lnTo>
                    <a:lnTo>
                      <a:pt x="100" y="121"/>
                    </a:lnTo>
                    <a:lnTo>
                      <a:pt x="93" y="119"/>
                    </a:lnTo>
                    <a:lnTo>
                      <a:pt x="88" y="116"/>
                    </a:lnTo>
                    <a:lnTo>
                      <a:pt x="82" y="112"/>
                    </a:lnTo>
                    <a:lnTo>
                      <a:pt x="80" y="107"/>
                    </a:lnTo>
                    <a:lnTo>
                      <a:pt x="77" y="101"/>
                    </a:lnTo>
                    <a:lnTo>
                      <a:pt x="76" y="93"/>
                    </a:lnTo>
                    <a:lnTo>
                      <a:pt x="76" y="93"/>
                    </a:lnTo>
                    <a:lnTo>
                      <a:pt x="77" y="86"/>
                    </a:lnTo>
                    <a:lnTo>
                      <a:pt x="78" y="80"/>
                    </a:lnTo>
                    <a:lnTo>
                      <a:pt x="81" y="74"/>
                    </a:lnTo>
                    <a:lnTo>
                      <a:pt x="85" y="70"/>
                    </a:lnTo>
                    <a:lnTo>
                      <a:pt x="90" y="66"/>
                    </a:lnTo>
                    <a:lnTo>
                      <a:pt x="96" y="62"/>
                    </a:lnTo>
                    <a:lnTo>
                      <a:pt x="101" y="61"/>
                    </a:lnTo>
                    <a:lnTo>
                      <a:pt x="108" y="61"/>
                    </a:lnTo>
                    <a:lnTo>
                      <a:pt x="108" y="43"/>
                    </a:lnTo>
                    <a:lnTo>
                      <a:pt x="108" y="43"/>
                    </a:lnTo>
                    <a:lnTo>
                      <a:pt x="109" y="42"/>
                    </a:lnTo>
                    <a:lnTo>
                      <a:pt x="109" y="41"/>
                    </a:lnTo>
                    <a:lnTo>
                      <a:pt x="112" y="39"/>
                    </a:lnTo>
                    <a:lnTo>
                      <a:pt x="113" y="38"/>
                    </a:lnTo>
                    <a:lnTo>
                      <a:pt x="113" y="38"/>
                    </a:lnTo>
                    <a:lnTo>
                      <a:pt x="116" y="39"/>
                    </a:lnTo>
                    <a:lnTo>
                      <a:pt x="117" y="41"/>
                    </a:lnTo>
                    <a:lnTo>
                      <a:pt x="118" y="42"/>
                    </a:lnTo>
                    <a:lnTo>
                      <a:pt x="118" y="43"/>
                    </a:lnTo>
                    <a:lnTo>
                      <a:pt x="118" y="61"/>
                    </a:lnTo>
                    <a:lnTo>
                      <a:pt x="118" y="61"/>
                    </a:lnTo>
                    <a:lnTo>
                      <a:pt x="125" y="61"/>
                    </a:lnTo>
                    <a:lnTo>
                      <a:pt x="132" y="62"/>
                    </a:lnTo>
                    <a:lnTo>
                      <a:pt x="137" y="66"/>
                    </a:lnTo>
                    <a:lnTo>
                      <a:pt x="141" y="70"/>
                    </a:lnTo>
                    <a:lnTo>
                      <a:pt x="145" y="74"/>
                    </a:lnTo>
                    <a:lnTo>
                      <a:pt x="149" y="80"/>
                    </a:lnTo>
                    <a:lnTo>
                      <a:pt x="151" y="86"/>
                    </a:lnTo>
                    <a:lnTo>
                      <a:pt x="151" y="93"/>
                    </a:lnTo>
                    <a:lnTo>
                      <a:pt x="151" y="93"/>
                    </a:lnTo>
                    <a:lnTo>
                      <a:pt x="151" y="95"/>
                    </a:lnTo>
                    <a:lnTo>
                      <a:pt x="149" y="97"/>
                    </a:lnTo>
                    <a:lnTo>
                      <a:pt x="148" y="97"/>
                    </a:lnTo>
                    <a:lnTo>
                      <a:pt x="145" y="99"/>
                    </a:lnTo>
                    <a:lnTo>
                      <a:pt x="145" y="99"/>
                    </a:lnTo>
                    <a:lnTo>
                      <a:pt x="144" y="97"/>
                    </a:lnTo>
                    <a:lnTo>
                      <a:pt x="143" y="97"/>
                    </a:lnTo>
                    <a:lnTo>
                      <a:pt x="141" y="95"/>
                    </a:lnTo>
                    <a:lnTo>
                      <a:pt x="140" y="93"/>
                    </a:lnTo>
                    <a:lnTo>
                      <a:pt x="140" y="93"/>
                    </a:lnTo>
                    <a:lnTo>
                      <a:pt x="140" y="89"/>
                    </a:lnTo>
                    <a:lnTo>
                      <a:pt x="139" y="84"/>
                    </a:lnTo>
                    <a:lnTo>
                      <a:pt x="137" y="81"/>
                    </a:lnTo>
                    <a:lnTo>
                      <a:pt x="135" y="77"/>
                    </a:lnTo>
                    <a:lnTo>
                      <a:pt x="131" y="74"/>
                    </a:lnTo>
                    <a:lnTo>
                      <a:pt x="128" y="73"/>
                    </a:lnTo>
                    <a:lnTo>
                      <a:pt x="124" y="72"/>
                    </a:lnTo>
                    <a:lnTo>
                      <a:pt x="118" y="72"/>
                    </a:lnTo>
                    <a:lnTo>
                      <a:pt x="108" y="72"/>
                    </a:lnTo>
                    <a:lnTo>
                      <a:pt x="108" y="72"/>
                    </a:lnTo>
                    <a:lnTo>
                      <a:pt x="104" y="72"/>
                    </a:lnTo>
                    <a:lnTo>
                      <a:pt x="100" y="73"/>
                    </a:lnTo>
                    <a:lnTo>
                      <a:pt x="96" y="74"/>
                    </a:lnTo>
                    <a:lnTo>
                      <a:pt x="93" y="77"/>
                    </a:lnTo>
                    <a:lnTo>
                      <a:pt x="90" y="81"/>
                    </a:lnTo>
                    <a:lnTo>
                      <a:pt x="88" y="84"/>
                    </a:lnTo>
                    <a:lnTo>
                      <a:pt x="86" y="89"/>
                    </a:lnTo>
                    <a:lnTo>
                      <a:pt x="86" y="93"/>
                    </a:lnTo>
                    <a:lnTo>
                      <a:pt x="86" y="93"/>
                    </a:lnTo>
                    <a:lnTo>
                      <a:pt x="86" y="97"/>
                    </a:lnTo>
                    <a:lnTo>
                      <a:pt x="89" y="101"/>
                    </a:lnTo>
                    <a:lnTo>
                      <a:pt x="90" y="105"/>
                    </a:lnTo>
                    <a:lnTo>
                      <a:pt x="94" y="108"/>
                    </a:lnTo>
                    <a:lnTo>
                      <a:pt x="102" y="112"/>
                    </a:lnTo>
                    <a:lnTo>
                      <a:pt x="114" y="115"/>
                    </a:lnTo>
                    <a:lnTo>
                      <a:pt x="114" y="115"/>
                    </a:lnTo>
                    <a:lnTo>
                      <a:pt x="128" y="119"/>
                    </a:lnTo>
                    <a:lnTo>
                      <a:pt x="133" y="120"/>
                    </a:lnTo>
                    <a:lnTo>
                      <a:pt x="139" y="124"/>
                    </a:lnTo>
                    <a:lnTo>
                      <a:pt x="144" y="128"/>
                    </a:lnTo>
                    <a:lnTo>
                      <a:pt x="148" y="132"/>
                    </a:lnTo>
                    <a:lnTo>
                      <a:pt x="151" y="139"/>
                    </a:lnTo>
                    <a:lnTo>
                      <a:pt x="151" y="147"/>
                    </a:lnTo>
                    <a:lnTo>
                      <a:pt x="151" y="147"/>
                    </a:lnTo>
                    <a:lnTo>
                      <a:pt x="151" y="154"/>
                    </a:lnTo>
                    <a:lnTo>
                      <a:pt x="149" y="159"/>
                    </a:lnTo>
                    <a:lnTo>
                      <a:pt x="145" y="166"/>
                    </a:lnTo>
                    <a:lnTo>
                      <a:pt x="141" y="170"/>
                    </a:lnTo>
                    <a:lnTo>
                      <a:pt x="137" y="174"/>
                    </a:lnTo>
                    <a:lnTo>
                      <a:pt x="132" y="176"/>
                    </a:lnTo>
                    <a:lnTo>
                      <a:pt x="125" y="179"/>
                    </a:lnTo>
                    <a:lnTo>
                      <a:pt x="118" y="179"/>
                    </a:lnTo>
                    <a:lnTo>
                      <a:pt x="118" y="195"/>
                    </a:lnTo>
                    <a:lnTo>
                      <a:pt x="118" y="195"/>
                    </a:lnTo>
                    <a:lnTo>
                      <a:pt x="118" y="198"/>
                    </a:lnTo>
                    <a:lnTo>
                      <a:pt x="117" y="199"/>
                    </a:lnTo>
                    <a:lnTo>
                      <a:pt x="116" y="201"/>
                    </a:lnTo>
                    <a:lnTo>
                      <a:pt x="113" y="201"/>
                    </a:lnTo>
                    <a:lnTo>
                      <a:pt x="113" y="201"/>
                    </a:lnTo>
                    <a:lnTo>
                      <a:pt x="112" y="201"/>
                    </a:lnTo>
                    <a:lnTo>
                      <a:pt x="109" y="199"/>
                    </a:lnTo>
                    <a:lnTo>
                      <a:pt x="109" y="198"/>
                    </a:lnTo>
                    <a:lnTo>
                      <a:pt x="108" y="195"/>
                    </a:lnTo>
                    <a:lnTo>
                      <a:pt x="108" y="179"/>
                    </a:lnTo>
                    <a:lnTo>
                      <a:pt x="108" y="179"/>
                    </a:lnTo>
                    <a:lnTo>
                      <a:pt x="101" y="179"/>
                    </a:lnTo>
                    <a:lnTo>
                      <a:pt x="96" y="176"/>
                    </a:lnTo>
                    <a:lnTo>
                      <a:pt x="90" y="174"/>
                    </a:lnTo>
                    <a:lnTo>
                      <a:pt x="85" y="170"/>
                    </a:lnTo>
                    <a:lnTo>
                      <a:pt x="81" y="166"/>
                    </a:lnTo>
                    <a:lnTo>
                      <a:pt x="78" y="159"/>
                    </a:lnTo>
                    <a:lnTo>
                      <a:pt x="77" y="154"/>
                    </a:lnTo>
                    <a:lnTo>
                      <a:pt x="76" y="147"/>
                    </a:lnTo>
                    <a:lnTo>
                      <a:pt x="76" y="147"/>
                    </a:lnTo>
                    <a:lnTo>
                      <a:pt x="76" y="146"/>
                    </a:lnTo>
                    <a:lnTo>
                      <a:pt x="77" y="143"/>
                    </a:lnTo>
                    <a:lnTo>
                      <a:pt x="78" y="142"/>
                    </a:lnTo>
                    <a:lnTo>
                      <a:pt x="81" y="142"/>
                    </a:lnTo>
                    <a:lnTo>
                      <a:pt x="81" y="142"/>
                    </a:lnTo>
                    <a:lnTo>
                      <a:pt x="84" y="142"/>
                    </a:lnTo>
                    <a:lnTo>
                      <a:pt x="85" y="143"/>
                    </a:lnTo>
                    <a:lnTo>
                      <a:pt x="86" y="146"/>
                    </a:lnTo>
                    <a:lnTo>
                      <a:pt x="86" y="147"/>
                    </a:lnTo>
                    <a:lnTo>
                      <a:pt x="86" y="147"/>
                    </a:lnTo>
                    <a:lnTo>
                      <a:pt x="86" y="151"/>
                    </a:lnTo>
                    <a:lnTo>
                      <a:pt x="88" y="155"/>
                    </a:lnTo>
                    <a:lnTo>
                      <a:pt x="90" y="159"/>
                    </a:lnTo>
                    <a:lnTo>
                      <a:pt x="93" y="162"/>
                    </a:lnTo>
                    <a:lnTo>
                      <a:pt x="96" y="164"/>
                    </a:lnTo>
                    <a:lnTo>
                      <a:pt x="100" y="167"/>
                    </a:lnTo>
                    <a:lnTo>
                      <a:pt x="104" y="168"/>
                    </a:lnTo>
                    <a:lnTo>
                      <a:pt x="108" y="168"/>
                    </a:lnTo>
                    <a:lnTo>
                      <a:pt x="118" y="168"/>
                    </a:lnTo>
                    <a:lnTo>
                      <a:pt x="118" y="168"/>
                    </a:lnTo>
                    <a:lnTo>
                      <a:pt x="124" y="168"/>
                    </a:lnTo>
                    <a:lnTo>
                      <a:pt x="128" y="167"/>
                    </a:lnTo>
                    <a:lnTo>
                      <a:pt x="131" y="164"/>
                    </a:lnTo>
                    <a:lnTo>
                      <a:pt x="135" y="162"/>
                    </a:lnTo>
                    <a:lnTo>
                      <a:pt x="137" y="159"/>
                    </a:lnTo>
                    <a:lnTo>
                      <a:pt x="139" y="155"/>
                    </a:lnTo>
                    <a:lnTo>
                      <a:pt x="140" y="151"/>
                    </a:lnTo>
                    <a:lnTo>
                      <a:pt x="140" y="147"/>
                    </a:lnTo>
                    <a:lnTo>
                      <a:pt x="140" y="147"/>
                    </a:lnTo>
                    <a:lnTo>
                      <a:pt x="140" y="143"/>
                    </a:lnTo>
                    <a:lnTo>
                      <a:pt x="139" y="139"/>
                    </a:lnTo>
                    <a:lnTo>
                      <a:pt x="136" y="135"/>
                    </a:lnTo>
                    <a:lnTo>
                      <a:pt x="133" y="132"/>
                    </a:lnTo>
                    <a:lnTo>
                      <a:pt x="124" y="128"/>
                    </a:lnTo>
                    <a:lnTo>
                      <a:pt x="112" y="125"/>
                    </a:lnTo>
                    <a:lnTo>
                      <a:pt x="112" y="1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100" name="TextBox 99">
            <a:extLst>
              <a:ext uri="{FF2B5EF4-FFF2-40B4-BE49-F238E27FC236}">
                <a16:creationId xmlns:a16="http://schemas.microsoft.com/office/drawing/2014/main" id="{E37C44BA-7019-DE44-9550-05F80E18DF62}"/>
              </a:ext>
            </a:extLst>
          </p:cNvPr>
          <p:cNvSpPr txBox="1"/>
          <p:nvPr/>
        </p:nvSpPr>
        <p:spPr>
          <a:xfrm>
            <a:off x="6488339" y="2656337"/>
            <a:ext cx="4372804" cy="707886"/>
          </a:xfrm>
          <a:prstGeom prst="rect">
            <a:avLst/>
          </a:prstGeom>
          <a:noFill/>
        </p:spPr>
        <p:txBody>
          <a:bodyPr wrap="square" rtlCol="0">
            <a:spAutoFit/>
          </a:bodyPr>
          <a:lstStyle>
            <a:defPPr>
              <a:defRPr lang="en-US"/>
            </a:defPPr>
            <a:lvl1pPr>
              <a:defRPr sz="1100">
                <a:latin typeface="Verdana" panose="020B0604030504040204" pitchFamily="34" charset="0"/>
                <a:ea typeface="Verdana" panose="020B0604030504040204" pitchFamily="34" charset="0"/>
                <a:cs typeface="Verdana" panose="020B0604030504040204" pitchFamily="34" charset="0"/>
              </a:defRPr>
            </a:lvl1pPr>
          </a:lstStyle>
          <a:p>
            <a:pPr algn="ctr">
              <a:spcBef>
                <a:spcPts val="200"/>
              </a:spcBef>
              <a:buSzPct val="100000"/>
            </a:pPr>
            <a:r>
              <a:rPr lang="en-US" sz="1000" i="1" dirty="0">
                <a:latin typeface="+mn-lt"/>
              </a:rPr>
              <a:t>As the environment changes, there is growing pressure on consumer brands to emulate the qualities of startups such as building flexible supply chains, tightening operating expenses &amp; overhead, and increased investment in growth opportunities.</a:t>
            </a:r>
          </a:p>
        </p:txBody>
      </p:sp>
      <p:grpSp>
        <p:nvGrpSpPr>
          <p:cNvPr id="101" name="Group 100"/>
          <p:cNvGrpSpPr/>
          <p:nvPr/>
        </p:nvGrpSpPr>
        <p:grpSpPr>
          <a:xfrm>
            <a:off x="6728983" y="3362233"/>
            <a:ext cx="3954949" cy="521611"/>
            <a:chOff x="6728983" y="3529380"/>
            <a:chExt cx="3954949" cy="521611"/>
          </a:xfrm>
        </p:grpSpPr>
        <p:sp>
          <p:nvSpPr>
            <p:cNvPr id="102" name="Rectangle 101">
              <a:extLst>
                <a:ext uri="{FF2B5EF4-FFF2-40B4-BE49-F238E27FC236}">
                  <a16:creationId xmlns:a16="http://schemas.microsoft.com/office/drawing/2014/main" id="{1EF7AF57-088A-F341-ADDB-F4174B170669}"/>
                </a:ext>
              </a:extLst>
            </p:cNvPr>
            <p:cNvSpPr/>
            <p:nvPr/>
          </p:nvSpPr>
          <p:spPr>
            <a:xfrm>
              <a:off x="6728983" y="3529380"/>
              <a:ext cx="1005840" cy="461665"/>
            </a:xfrm>
            <a:prstGeom prst="rect">
              <a:avLst/>
            </a:prstGeom>
          </p:spPr>
          <p:txBody>
            <a:bodyPr wrap="square">
              <a:spAutoFit/>
            </a:bodyPr>
            <a:lstStyle/>
            <a:p>
              <a:r>
                <a:rPr lang="en-US" sz="2400" b="1" dirty="0">
                  <a:latin typeface="+mj-lt"/>
                </a:rPr>
                <a:t>22%</a:t>
              </a:r>
              <a:endParaRPr lang="en-US" sz="2400" b="1" dirty="0"/>
            </a:p>
          </p:txBody>
        </p:sp>
        <p:sp>
          <p:nvSpPr>
            <p:cNvPr id="103" name="Rectangle 102">
              <a:extLst>
                <a:ext uri="{FF2B5EF4-FFF2-40B4-BE49-F238E27FC236}">
                  <a16:creationId xmlns:a16="http://schemas.microsoft.com/office/drawing/2014/main" id="{5080A952-2367-9C4B-8D10-402A5D568E68}"/>
                </a:ext>
              </a:extLst>
            </p:cNvPr>
            <p:cNvSpPr/>
            <p:nvPr/>
          </p:nvSpPr>
          <p:spPr>
            <a:xfrm>
              <a:off x="7771286" y="3620104"/>
              <a:ext cx="2912646" cy="430887"/>
            </a:xfrm>
            <a:prstGeom prst="rect">
              <a:avLst/>
            </a:prstGeom>
          </p:spPr>
          <p:txBody>
            <a:bodyPr wrap="square">
              <a:spAutoFit/>
            </a:bodyPr>
            <a:lstStyle/>
            <a:p>
              <a:r>
                <a:rPr lang="en-US" sz="1100" dirty="0"/>
                <a:t>of CPGs have turned to Zero-Based Budgeting (ZBB)</a:t>
              </a:r>
              <a:r>
                <a:rPr lang="en-US" sz="1100" baseline="30000" dirty="0"/>
                <a:t>2</a:t>
              </a:r>
              <a:r>
                <a:rPr lang="en-US" sz="1100" dirty="0"/>
                <a:t> </a:t>
              </a:r>
              <a:endParaRPr lang="en-US" sz="1100" b="1" dirty="0"/>
            </a:p>
          </p:txBody>
        </p:sp>
      </p:grpSp>
      <p:grpSp>
        <p:nvGrpSpPr>
          <p:cNvPr id="104" name="Group 103"/>
          <p:cNvGrpSpPr/>
          <p:nvPr/>
        </p:nvGrpSpPr>
        <p:grpSpPr>
          <a:xfrm>
            <a:off x="6728983" y="4031709"/>
            <a:ext cx="4173550" cy="461665"/>
            <a:chOff x="6728983" y="3988809"/>
            <a:chExt cx="4173550" cy="461665"/>
          </a:xfrm>
        </p:grpSpPr>
        <p:sp>
          <p:nvSpPr>
            <p:cNvPr id="105" name="Rectangle 104">
              <a:extLst>
                <a:ext uri="{FF2B5EF4-FFF2-40B4-BE49-F238E27FC236}">
                  <a16:creationId xmlns:a16="http://schemas.microsoft.com/office/drawing/2014/main" id="{AB4F37AA-1C7D-1343-BC47-A4F7D2596403}"/>
                </a:ext>
              </a:extLst>
            </p:cNvPr>
            <p:cNvSpPr/>
            <p:nvPr/>
          </p:nvSpPr>
          <p:spPr>
            <a:xfrm>
              <a:off x="6728983" y="3988809"/>
              <a:ext cx="1005840" cy="461665"/>
            </a:xfrm>
            <a:prstGeom prst="rect">
              <a:avLst/>
            </a:prstGeom>
          </p:spPr>
          <p:txBody>
            <a:bodyPr wrap="square">
              <a:spAutoFit/>
            </a:bodyPr>
            <a:lstStyle/>
            <a:p>
              <a:r>
                <a:rPr lang="en-US" sz="2400" b="1" dirty="0">
                  <a:latin typeface="+mj-lt"/>
                </a:rPr>
                <a:t>56%</a:t>
              </a:r>
              <a:endParaRPr lang="en-US" sz="2400" b="1" dirty="0"/>
            </a:p>
          </p:txBody>
        </p:sp>
        <p:sp>
          <p:nvSpPr>
            <p:cNvPr id="106" name="Rectangle 105">
              <a:extLst>
                <a:ext uri="{FF2B5EF4-FFF2-40B4-BE49-F238E27FC236}">
                  <a16:creationId xmlns:a16="http://schemas.microsoft.com/office/drawing/2014/main" id="{40AA22A1-5F33-4C40-B892-8D6632CC9667}"/>
                </a:ext>
              </a:extLst>
            </p:cNvPr>
            <p:cNvSpPr/>
            <p:nvPr/>
          </p:nvSpPr>
          <p:spPr>
            <a:xfrm>
              <a:off x="7771286" y="4019587"/>
              <a:ext cx="3131247" cy="430887"/>
            </a:xfrm>
            <a:prstGeom prst="rect">
              <a:avLst/>
            </a:prstGeom>
          </p:spPr>
          <p:txBody>
            <a:bodyPr wrap="square">
              <a:spAutoFit/>
            </a:bodyPr>
            <a:lstStyle/>
            <a:p>
              <a:r>
                <a:rPr lang="en-US" sz="1100" dirty="0"/>
                <a:t>increase in the usage of ZBB in 2017 compared to 2016</a:t>
              </a:r>
              <a:r>
                <a:rPr lang="en-US" sz="1100" baseline="30000" dirty="0"/>
                <a:t>3</a:t>
              </a:r>
              <a:endParaRPr lang="en-US" sz="1100" b="1" dirty="0"/>
            </a:p>
          </p:txBody>
        </p:sp>
      </p:grpSp>
      <p:grpSp>
        <p:nvGrpSpPr>
          <p:cNvPr id="107" name="Group 106"/>
          <p:cNvGrpSpPr/>
          <p:nvPr/>
        </p:nvGrpSpPr>
        <p:grpSpPr>
          <a:xfrm>
            <a:off x="6585088" y="4701185"/>
            <a:ext cx="3701793" cy="461665"/>
            <a:chOff x="6585088" y="4496189"/>
            <a:chExt cx="3701793" cy="461665"/>
          </a:xfrm>
        </p:grpSpPr>
        <p:sp>
          <p:nvSpPr>
            <p:cNvPr id="108" name="Rectangle 107">
              <a:extLst>
                <a:ext uri="{FF2B5EF4-FFF2-40B4-BE49-F238E27FC236}">
                  <a16:creationId xmlns:a16="http://schemas.microsoft.com/office/drawing/2014/main" id="{9B0162B7-D92B-9149-BECD-F938D04AEABD}"/>
                </a:ext>
              </a:extLst>
            </p:cNvPr>
            <p:cNvSpPr/>
            <p:nvPr/>
          </p:nvSpPr>
          <p:spPr>
            <a:xfrm>
              <a:off x="6585088" y="4496189"/>
              <a:ext cx="1293631" cy="461665"/>
            </a:xfrm>
            <a:prstGeom prst="rect">
              <a:avLst/>
            </a:prstGeom>
          </p:spPr>
          <p:txBody>
            <a:bodyPr wrap="square">
              <a:spAutoFit/>
            </a:bodyPr>
            <a:lstStyle/>
            <a:p>
              <a:r>
                <a:rPr lang="en-US" sz="2400" b="1" dirty="0">
                  <a:latin typeface="+mj-lt"/>
                </a:rPr>
                <a:t>$280M</a:t>
              </a:r>
              <a:endParaRPr lang="en-US" sz="2400" b="1" dirty="0"/>
            </a:p>
          </p:txBody>
        </p:sp>
        <p:sp>
          <p:nvSpPr>
            <p:cNvPr id="109" name="Rectangle 108">
              <a:extLst>
                <a:ext uri="{FF2B5EF4-FFF2-40B4-BE49-F238E27FC236}">
                  <a16:creationId xmlns:a16="http://schemas.microsoft.com/office/drawing/2014/main" id="{307A6DCC-3DE6-FC49-90CE-729829562D83}"/>
                </a:ext>
              </a:extLst>
            </p:cNvPr>
            <p:cNvSpPr/>
            <p:nvPr/>
          </p:nvSpPr>
          <p:spPr>
            <a:xfrm>
              <a:off x="7771287" y="4517540"/>
              <a:ext cx="2515594" cy="430887"/>
            </a:xfrm>
            <a:prstGeom prst="rect">
              <a:avLst/>
            </a:prstGeom>
          </p:spPr>
          <p:txBody>
            <a:bodyPr wrap="square">
              <a:spAutoFit/>
            </a:bodyPr>
            <a:lstStyle/>
            <a:p>
              <a:r>
                <a:rPr lang="en-US" sz="1100" dirty="0"/>
                <a:t>on average saved by firms per year with the help of ZBB</a:t>
              </a:r>
              <a:r>
                <a:rPr lang="en-US" sz="1100" baseline="30000" dirty="0"/>
                <a:t>3</a:t>
              </a:r>
              <a:endParaRPr lang="en-US" sz="1100" b="1" dirty="0"/>
            </a:p>
          </p:txBody>
        </p:sp>
      </p:grpSp>
      <p:sp>
        <p:nvSpPr>
          <p:cNvPr id="110" name="Rectangle 109">
            <a:extLst>
              <a:ext uri="{FF2B5EF4-FFF2-40B4-BE49-F238E27FC236}">
                <a16:creationId xmlns:a16="http://schemas.microsoft.com/office/drawing/2014/main" id="{74246D6F-297D-F44C-9522-229A5B278868}"/>
              </a:ext>
            </a:extLst>
          </p:cNvPr>
          <p:cNvSpPr/>
          <p:nvPr/>
        </p:nvSpPr>
        <p:spPr>
          <a:xfrm>
            <a:off x="914400" y="5818419"/>
            <a:ext cx="4789261" cy="415498"/>
          </a:xfrm>
          <a:prstGeom prst="rect">
            <a:avLst/>
          </a:prstGeom>
        </p:spPr>
        <p:txBody>
          <a:bodyPr wrap="square">
            <a:spAutoFit/>
          </a:bodyPr>
          <a:lstStyle/>
          <a:p>
            <a:pPr>
              <a:tabLst>
                <a:tab pos="457200" algn="l"/>
                <a:tab pos="2286000" algn="l"/>
              </a:tabLst>
            </a:pPr>
            <a:r>
              <a:rPr lang="en-US" sz="700" dirty="0">
                <a:solidFill>
                  <a:srgbClr val="000000"/>
                </a:solidFill>
                <a:ea typeface="Verdana" panose="020B0604030504040204" pitchFamily="34" charset="0"/>
                <a:cs typeface="Verdana" panose="020B0604030504040204" pitchFamily="34" charset="0"/>
              </a:rPr>
              <a:t>1. Deloitte CIP Global Powers of Retailing 2018 Report</a:t>
            </a:r>
          </a:p>
          <a:p>
            <a:pPr>
              <a:tabLst>
                <a:tab pos="457200" algn="l"/>
                <a:tab pos="2286000" algn="l"/>
              </a:tabLst>
            </a:pPr>
            <a:r>
              <a:rPr lang="en-US" sz="700" kern="0" dirty="0">
                <a:solidFill>
                  <a:srgbClr val="000000"/>
                </a:solidFill>
                <a:ea typeface="Verdana" panose="020B0604030504040204" pitchFamily="34" charset="0"/>
                <a:cs typeface="Verdana" panose="020B0604030504040204" pitchFamily="34" charset="0"/>
              </a:rPr>
              <a:t>2</a:t>
            </a:r>
            <a:r>
              <a:rPr lang="en-US" sz="700" dirty="0">
                <a:solidFill>
                  <a:srgbClr val="000000"/>
                </a:solidFill>
                <a:ea typeface="Verdana" panose="020B0604030504040204" pitchFamily="34" charset="0"/>
                <a:cs typeface="Verdana" panose="020B0604030504040204" pitchFamily="34" charset="0"/>
              </a:rPr>
              <a:t>. Deloitte Commercial spend in consumer products: 2016</a:t>
            </a:r>
          </a:p>
          <a:p>
            <a:pPr>
              <a:tabLst>
                <a:tab pos="457200" algn="l"/>
                <a:tab pos="2286000" algn="l"/>
              </a:tabLst>
            </a:pPr>
            <a:r>
              <a:rPr lang="en-US" sz="700" dirty="0">
                <a:solidFill>
                  <a:srgbClr val="000000"/>
                </a:solidFill>
                <a:ea typeface="Verdana" panose="020B0604030504040204" pitchFamily="34" charset="0"/>
                <a:cs typeface="Verdana" panose="020B0604030504040204" pitchFamily="34" charset="0"/>
              </a:rPr>
              <a:t>3. “Global Companies Extend Use of Zero-Based Budgeting to Slash Costs” Wall Street Journal 2018</a:t>
            </a:r>
          </a:p>
        </p:txBody>
      </p:sp>
      <p:sp>
        <p:nvSpPr>
          <p:cNvPr id="111" name="TextBox 110"/>
          <p:cNvSpPr txBox="1"/>
          <p:nvPr/>
        </p:nvSpPr>
        <p:spPr>
          <a:xfrm>
            <a:off x="2009484" y="2863071"/>
            <a:ext cx="2182636" cy="307777"/>
          </a:xfrm>
          <a:prstGeom prst="rect">
            <a:avLst/>
          </a:prstGeom>
          <a:noFill/>
        </p:spPr>
        <p:txBody>
          <a:bodyPr wrap="square" rtlCol="0">
            <a:spAutoFit/>
          </a:bodyPr>
          <a:lstStyle/>
          <a:p>
            <a:pPr algn="ctr"/>
            <a:r>
              <a:rPr lang="en-US" sz="1400" b="1" cap="small" spc="70" dirty="0">
                <a:latin typeface="Open Sans"/>
                <a:cs typeface="Open Sans"/>
              </a:rPr>
              <a:t>Economic Trends</a:t>
            </a:r>
            <a:r>
              <a:rPr lang="en-US" sz="1400" cap="small" spc="70" baseline="30000" dirty="0">
                <a:latin typeface="Open Sans"/>
                <a:cs typeface="Open Sans"/>
              </a:rPr>
              <a:t>1</a:t>
            </a:r>
          </a:p>
        </p:txBody>
      </p:sp>
      <p:pic>
        <p:nvPicPr>
          <p:cNvPr id="112" name="Picture 11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671987" y="3141374"/>
            <a:ext cx="1500262" cy="773882"/>
          </a:xfrm>
          <a:prstGeom prst="rect">
            <a:avLst/>
          </a:prstGeom>
        </p:spPr>
      </p:pic>
      <p:sp>
        <p:nvSpPr>
          <p:cNvPr id="113" name="TextBox 112"/>
          <p:cNvSpPr txBox="1"/>
          <p:nvPr/>
        </p:nvSpPr>
        <p:spPr>
          <a:xfrm>
            <a:off x="3778489" y="4024077"/>
            <a:ext cx="1287258" cy="677108"/>
          </a:xfrm>
          <a:prstGeom prst="rect">
            <a:avLst/>
          </a:prstGeom>
          <a:noFill/>
        </p:spPr>
        <p:txBody>
          <a:bodyPr wrap="square" rtlCol="0">
            <a:spAutoFit/>
          </a:bodyPr>
          <a:lstStyle/>
          <a:p>
            <a:pPr algn="ctr"/>
            <a:r>
              <a:rPr lang="en-US" b="1" dirty="0"/>
              <a:t>1.9%</a:t>
            </a:r>
          </a:p>
          <a:p>
            <a:pPr algn="ctr"/>
            <a:r>
              <a:rPr lang="en-US" sz="1000" dirty="0"/>
              <a:t>2018 average US inflation</a:t>
            </a:r>
          </a:p>
        </p:txBody>
      </p:sp>
      <p:grpSp>
        <p:nvGrpSpPr>
          <p:cNvPr id="114" name="Group 587"/>
          <p:cNvGrpSpPr>
            <a:grpSpLocks noChangeAspect="1"/>
          </p:cNvGrpSpPr>
          <p:nvPr/>
        </p:nvGrpSpPr>
        <p:grpSpPr bwMode="auto">
          <a:xfrm>
            <a:off x="3963179" y="4874459"/>
            <a:ext cx="917879" cy="672250"/>
            <a:chOff x="2942" y="2509"/>
            <a:chExt cx="213" cy="156"/>
          </a:xfrm>
          <a:solidFill>
            <a:schemeClr val="bg1">
              <a:lumMod val="95000"/>
            </a:schemeClr>
          </a:solidFill>
        </p:grpSpPr>
        <p:sp>
          <p:nvSpPr>
            <p:cNvPr id="115" name="Freeform 588"/>
            <p:cNvSpPr>
              <a:spLocks/>
            </p:cNvSpPr>
            <p:nvPr/>
          </p:nvSpPr>
          <p:spPr bwMode="auto">
            <a:xfrm>
              <a:off x="2942" y="2509"/>
              <a:ext cx="212" cy="156"/>
            </a:xfrm>
            <a:custGeom>
              <a:avLst/>
              <a:gdLst>
                <a:gd name="T0" fmla="*/ 309 w 320"/>
                <a:gd name="T1" fmla="*/ 214 h 235"/>
                <a:gd name="T2" fmla="*/ 21 w 320"/>
                <a:gd name="T3" fmla="*/ 214 h 235"/>
                <a:gd name="T4" fmla="*/ 21 w 320"/>
                <a:gd name="T5" fmla="*/ 11 h 235"/>
                <a:gd name="T6" fmla="*/ 10 w 320"/>
                <a:gd name="T7" fmla="*/ 0 h 235"/>
                <a:gd name="T8" fmla="*/ 0 w 320"/>
                <a:gd name="T9" fmla="*/ 11 h 235"/>
                <a:gd name="T10" fmla="*/ 0 w 320"/>
                <a:gd name="T11" fmla="*/ 224 h 235"/>
                <a:gd name="T12" fmla="*/ 10 w 320"/>
                <a:gd name="T13" fmla="*/ 235 h 235"/>
                <a:gd name="T14" fmla="*/ 309 w 320"/>
                <a:gd name="T15" fmla="*/ 235 h 235"/>
                <a:gd name="T16" fmla="*/ 320 w 320"/>
                <a:gd name="T17" fmla="*/ 224 h 235"/>
                <a:gd name="T18" fmla="*/ 309 w 320"/>
                <a:gd name="T19"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0" h="235">
                  <a:moveTo>
                    <a:pt x="309" y="214"/>
                  </a:moveTo>
                  <a:cubicBezTo>
                    <a:pt x="21" y="214"/>
                    <a:pt x="21" y="214"/>
                    <a:pt x="21" y="214"/>
                  </a:cubicBezTo>
                  <a:cubicBezTo>
                    <a:pt x="21" y="11"/>
                    <a:pt x="21" y="11"/>
                    <a:pt x="21" y="11"/>
                  </a:cubicBezTo>
                  <a:cubicBezTo>
                    <a:pt x="21" y="5"/>
                    <a:pt x="16"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218"/>
                    <a:pt x="315" y="214"/>
                    <a:pt x="309" y="2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6" name="Freeform 589"/>
            <p:cNvSpPr>
              <a:spLocks/>
            </p:cNvSpPr>
            <p:nvPr/>
          </p:nvSpPr>
          <p:spPr bwMode="auto">
            <a:xfrm>
              <a:off x="2969" y="2523"/>
              <a:ext cx="186" cy="99"/>
            </a:xfrm>
            <a:custGeom>
              <a:avLst/>
              <a:gdLst>
                <a:gd name="T0" fmla="*/ 12 w 280"/>
                <a:gd name="T1" fmla="*/ 150 h 150"/>
                <a:gd name="T2" fmla="*/ 20 w 280"/>
                <a:gd name="T3" fmla="*/ 147 h 150"/>
                <a:gd name="T4" fmla="*/ 87 w 280"/>
                <a:gd name="T5" fmla="*/ 80 h 150"/>
                <a:gd name="T6" fmla="*/ 143 w 280"/>
                <a:gd name="T7" fmla="*/ 136 h 150"/>
                <a:gd name="T8" fmla="*/ 158 w 280"/>
                <a:gd name="T9" fmla="*/ 136 h 150"/>
                <a:gd name="T10" fmla="*/ 276 w 280"/>
                <a:gd name="T11" fmla="*/ 19 h 150"/>
                <a:gd name="T12" fmla="*/ 276 w 280"/>
                <a:gd name="T13" fmla="*/ 4 h 150"/>
                <a:gd name="T14" fmla="*/ 260 w 280"/>
                <a:gd name="T15" fmla="*/ 4 h 150"/>
                <a:gd name="T16" fmla="*/ 151 w 280"/>
                <a:gd name="T17" fmla="*/ 114 h 150"/>
                <a:gd name="T18" fmla="*/ 94 w 280"/>
                <a:gd name="T19" fmla="*/ 57 h 150"/>
                <a:gd name="T20" fmla="*/ 79 w 280"/>
                <a:gd name="T21" fmla="*/ 57 h 150"/>
                <a:gd name="T22" fmla="*/ 4 w 280"/>
                <a:gd name="T23" fmla="*/ 132 h 150"/>
                <a:gd name="T24" fmla="*/ 4 w 280"/>
                <a:gd name="T25" fmla="*/ 147 h 150"/>
                <a:gd name="T26" fmla="*/ 12 w 28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0" h="150">
                  <a:moveTo>
                    <a:pt x="12" y="150"/>
                  </a:moveTo>
                  <a:cubicBezTo>
                    <a:pt x="15" y="150"/>
                    <a:pt x="17" y="149"/>
                    <a:pt x="20" y="147"/>
                  </a:cubicBezTo>
                  <a:cubicBezTo>
                    <a:pt x="87" y="80"/>
                    <a:pt x="87" y="80"/>
                    <a:pt x="87" y="80"/>
                  </a:cubicBezTo>
                  <a:cubicBezTo>
                    <a:pt x="143" y="136"/>
                    <a:pt x="143" y="136"/>
                    <a:pt x="143" y="136"/>
                  </a:cubicBezTo>
                  <a:cubicBezTo>
                    <a:pt x="147" y="140"/>
                    <a:pt x="154" y="140"/>
                    <a:pt x="158" y="136"/>
                  </a:cubicBezTo>
                  <a:cubicBezTo>
                    <a:pt x="276" y="19"/>
                    <a:pt x="276" y="19"/>
                    <a:pt x="276" y="19"/>
                  </a:cubicBezTo>
                  <a:cubicBezTo>
                    <a:pt x="280" y="15"/>
                    <a:pt x="280" y="8"/>
                    <a:pt x="276" y="4"/>
                  </a:cubicBezTo>
                  <a:cubicBezTo>
                    <a:pt x="271" y="0"/>
                    <a:pt x="265" y="0"/>
                    <a:pt x="260" y="4"/>
                  </a:cubicBezTo>
                  <a:cubicBezTo>
                    <a:pt x="151" y="114"/>
                    <a:pt x="151" y="114"/>
                    <a:pt x="151" y="114"/>
                  </a:cubicBezTo>
                  <a:cubicBezTo>
                    <a:pt x="94" y="57"/>
                    <a:pt x="94" y="57"/>
                    <a:pt x="94" y="57"/>
                  </a:cubicBezTo>
                  <a:cubicBezTo>
                    <a:pt x="90" y="53"/>
                    <a:pt x="83" y="53"/>
                    <a:pt x="79" y="57"/>
                  </a:cubicBezTo>
                  <a:cubicBezTo>
                    <a:pt x="4" y="132"/>
                    <a:pt x="4" y="132"/>
                    <a:pt x="4" y="132"/>
                  </a:cubicBezTo>
                  <a:cubicBezTo>
                    <a:pt x="0" y="136"/>
                    <a:pt x="0" y="143"/>
                    <a:pt x="4" y="147"/>
                  </a:cubicBezTo>
                  <a:cubicBezTo>
                    <a:pt x="7" y="149"/>
                    <a:pt x="9" y="150"/>
                    <a:pt x="12"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17" name="Rectangle 116"/>
          <p:cNvSpPr/>
          <p:nvPr/>
        </p:nvSpPr>
        <p:spPr>
          <a:xfrm>
            <a:off x="3683986" y="4902275"/>
            <a:ext cx="1476264" cy="707886"/>
          </a:xfrm>
          <a:prstGeom prst="rect">
            <a:avLst/>
          </a:prstGeom>
        </p:spPr>
        <p:txBody>
          <a:bodyPr wrap="square">
            <a:spAutoFit/>
          </a:bodyPr>
          <a:lstStyle/>
          <a:p>
            <a:pPr algn="ctr"/>
            <a:r>
              <a:rPr lang="en-US" sz="1000" dirty="0"/>
              <a:t>Sharp rise in asset prices including </a:t>
            </a:r>
            <a:r>
              <a:rPr lang="en-US" sz="1000" b="1" dirty="0"/>
              <a:t>equities, bonds, and property</a:t>
            </a:r>
          </a:p>
        </p:txBody>
      </p:sp>
    </p:spTree>
    <p:extLst>
      <p:ext uri="{BB962C8B-B14F-4D97-AF65-F5344CB8AC3E}">
        <p14:creationId xmlns:p14="http://schemas.microsoft.com/office/powerpoint/2010/main" val="89402570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2B7AC2-8F97-4E5B-92C9-6ADE85140A6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28"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562B7AC2-8F97-4E5B-92C9-6ADE85140A6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388FCEE-22D8-44F9-BF29-CA0D6A75D67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35B02637-A3A2-4469-890E-F300AC4A9A60}"/>
              </a:ext>
            </a:extLst>
          </p:cNvPr>
          <p:cNvSpPr>
            <a:spLocks noGrp="1"/>
          </p:cNvSpPr>
          <p:nvPr>
            <p:ph type="title"/>
          </p:nvPr>
        </p:nvSpPr>
        <p:spPr/>
        <p:txBody>
          <a:bodyPr/>
          <a:lstStyle/>
          <a:p>
            <a:r>
              <a:rPr lang="en-US" dirty="0"/>
              <a:t>Key considerations for developing ambitions</a:t>
            </a:r>
          </a:p>
        </p:txBody>
      </p:sp>
      <p:sp>
        <p:nvSpPr>
          <p:cNvPr id="27" name="Text Placeholder 26">
            <a:extLst>
              <a:ext uri="{FF2B5EF4-FFF2-40B4-BE49-F238E27FC236}">
                <a16:creationId xmlns:a16="http://schemas.microsoft.com/office/drawing/2014/main" id="{8F1DEBFA-B62D-4EC1-AFD4-4A40E957281E}"/>
              </a:ext>
            </a:extLst>
          </p:cNvPr>
          <p:cNvSpPr>
            <a:spLocks noGrp="1"/>
          </p:cNvSpPr>
          <p:nvPr>
            <p:ph type="body" sz="quarter" idx="14"/>
          </p:nvPr>
        </p:nvSpPr>
        <p:spPr/>
        <p:txBody>
          <a:bodyPr/>
          <a:lstStyle/>
          <a:p>
            <a:r>
              <a:rPr lang="en-US" dirty="0"/>
              <a:t>Subtitle</a:t>
            </a:r>
          </a:p>
        </p:txBody>
      </p:sp>
      <p:sp>
        <p:nvSpPr>
          <p:cNvPr id="28" name="Text Placeholder 27">
            <a:extLst>
              <a:ext uri="{FF2B5EF4-FFF2-40B4-BE49-F238E27FC236}">
                <a16:creationId xmlns:a16="http://schemas.microsoft.com/office/drawing/2014/main" id="{C630A753-842C-420F-9013-683F3828BD2F}"/>
              </a:ext>
            </a:extLst>
          </p:cNvPr>
          <p:cNvSpPr>
            <a:spLocks noGrp="1"/>
          </p:cNvSpPr>
          <p:nvPr>
            <p:ph type="body" sz="quarter" idx="15"/>
          </p:nvPr>
        </p:nvSpPr>
        <p:spPr/>
        <p:txBody>
          <a:bodyPr/>
          <a:lstStyle/>
          <a:p>
            <a:r>
              <a:rPr lang="en-US" dirty="0"/>
              <a:t>text</a:t>
            </a:r>
          </a:p>
        </p:txBody>
      </p:sp>
      <p:grpSp>
        <p:nvGrpSpPr>
          <p:cNvPr id="77" name="Group 76">
            <a:extLst>
              <a:ext uri="{FF2B5EF4-FFF2-40B4-BE49-F238E27FC236}">
                <a16:creationId xmlns:a16="http://schemas.microsoft.com/office/drawing/2014/main" id="{691B6889-CC99-A341-A612-1D4D45D6C6FB}"/>
              </a:ext>
            </a:extLst>
          </p:cNvPr>
          <p:cNvGrpSpPr/>
          <p:nvPr/>
        </p:nvGrpSpPr>
        <p:grpSpPr>
          <a:xfrm>
            <a:off x="914400" y="2006027"/>
            <a:ext cx="10363200" cy="4069080"/>
            <a:chOff x="914400" y="1760220"/>
            <a:chExt cx="10363200" cy="4069080"/>
          </a:xfrm>
        </p:grpSpPr>
        <p:sp>
          <p:nvSpPr>
            <p:cNvPr id="78" name="Rectangle 77">
              <a:extLst>
                <a:ext uri="{FF2B5EF4-FFF2-40B4-BE49-F238E27FC236}">
                  <a16:creationId xmlns:a16="http://schemas.microsoft.com/office/drawing/2014/main" id="{98F18ACB-F672-C241-96E5-8C1326E48D60}"/>
                </a:ext>
              </a:extLst>
            </p:cNvPr>
            <p:cNvSpPr/>
            <p:nvPr/>
          </p:nvSpPr>
          <p:spPr>
            <a:xfrm>
              <a:off x="914400" y="1760220"/>
              <a:ext cx="10363200" cy="406908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9" name="Group 78">
              <a:extLst>
                <a:ext uri="{FF2B5EF4-FFF2-40B4-BE49-F238E27FC236}">
                  <a16:creationId xmlns:a16="http://schemas.microsoft.com/office/drawing/2014/main" id="{7AF80D12-2DF0-954F-A241-8995A8F13FC1}"/>
                </a:ext>
              </a:extLst>
            </p:cNvPr>
            <p:cNvGrpSpPr/>
            <p:nvPr/>
          </p:nvGrpSpPr>
          <p:grpSpPr>
            <a:xfrm>
              <a:off x="1277905" y="2331544"/>
              <a:ext cx="3145508" cy="2924639"/>
              <a:chOff x="1175035" y="2354580"/>
              <a:chExt cx="3145508" cy="2924639"/>
            </a:xfrm>
          </p:grpSpPr>
          <p:sp>
            <p:nvSpPr>
              <p:cNvPr id="96" name="Rectangle 95">
                <a:extLst>
                  <a:ext uri="{FF2B5EF4-FFF2-40B4-BE49-F238E27FC236}">
                    <a16:creationId xmlns:a16="http://schemas.microsoft.com/office/drawing/2014/main" id="{0B5DE4AE-609F-3E4F-B342-4DADB1838CF5}"/>
                  </a:ext>
                </a:extLst>
              </p:cNvPr>
              <p:cNvSpPr/>
              <p:nvPr/>
            </p:nvSpPr>
            <p:spPr>
              <a:xfrm>
                <a:off x="1175035" y="2354580"/>
                <a:ext cx="3145508" cy="2924639"/>
              </a:xfrm>
              <a:prstGeom prst="rect">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97" name="Title 3">
                <a:extLst>
                  <a:ext uri="{FF2B5EF4-FFF2-40B4-BE49-F238E27FC236}">
                    <a16:creationId xmlns:a16="http://schemas.microsoft.com/office/drawing/2014/main" id="{D48567F4-D19D-1C41-A939-B16965A35447}"/>
                  </a:ext>
                </a:extLst>
              </p:cNvPr>
              <p:cNvSpPr txBox="1">
                <a:spLocks/>
              </p:cNvSpPr>
              <p:nvPr/>
            </p:nvSpPr>
            <p:spPr>
              <a:xfrm>
                <a:off x="2120553" y="2647153"/>
                <a:ext cx="1852833" cy="637937"/>
              </a:xfrm>
              <a:prstGeom prst="rect">
                <a:avLst/>
              </a:prstGeom>
            </p:spPr>
            <p:txBody>
              <a:bodyPr lIns="0" tIns="0" rIns="0" bIns="0"/>
              <a:lstStyle>
                <a:lvl1pPr algn="l" defTabSz="914400" rtl="0" eaLnBrk="1" latinLnBrk="0" hangingPunct="1">
                  <a:lnSpc>
                    <a:spcPct val="90000"/>
                  </a:lnSpc>
                  <a:spcBef>
                    <a:spcPct val="0"/>
                  </a:spcBef>
                  <a:buNone/>
                  <a:defRPr sz="3600" b="0" i="0" kern="1200">
                    <a:solidFill>
                      <a:schemeClr val="tx1"/>
                    </a:solidFill>
                    <a:latin typeface="Chronicle Display Black" charset="0"/>
                    <a:ea typeface="Chronicle Display Black" charset="0"/>
                    <a:cs typeface="Chronicle Display Black" charset="0"/>
                  </a:defRPr>
                </a:lvl1pPr>
              </a:lstStyle>
              <a:p>
                <a:pPr marL="0" marR="0" lvl="0" indent="0" algn="l" defTabSz="914400" rtl="0" eaLnBrk="1" fontAlgn="auto"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charset="0"/>
                    <a:ea typeface="Open Sans" charset="0"/>
                    <a:cs typeface="Open Sans" charset="0"/>
                  </a:rPr>
                  <a:t>Focus on humans, not technology</a:t>
                </a:r>
              </a:p>
            </p:txBody>
          </p:sp>
          <p:sp>
            <p:nvSpPr>
              <p:cNvPr id="98" name="TextBox 97">
                <a:extLst>
                  <a:ext uri="{FF2B5EF4-FFF2-40B4-BE49-F238E27FC236}">
                    <a16:creationId xmlns:a16="http://schemas.microsoft.com/office/drawing/2014/main" id="{AABD0777-9E74-F84A-A7A8-F59BCC9B7E1F}"/>
                  </a:ext>
                </a:extLst>
              </p:cNvPr>
              <p:cNvSpPr txBox="1"/>
              <p:nvPr/>
            </p:nvSpPr>
            <p:spPr>
              <a:xfrm>
                <a:off x="1468437" y="3411983"/>
                <a:ext cx="2514600" cy="1400383"/>
              </a:xfrm>
              <a:prstGeom prst="rect">
                <a:avLst/>
              </a:prstGeom>
              <a:noFill/>
            </p:spPr>
            <p:txBody>
              <a:bodyPr wrap="square" lIns="0" tIns="0" rIns="0" bIns="0" rtlCol="0">
                <a:spAutoFit/>
              </a:bodyPr>
              <a:lstStyle/>
              <a:p>
                <a:pPr marL="0" marR="0" lvl="0" indent="0" algn="l" defTabSz="914400" rtl="0" eaLnBrk="1" fontAlgn="auto" latinLnBrk="0" hangingPunct="1">
                  <a:lnSpc>
                    <a:spcPct val="130000"/>
                  </a:lnSpc>
                  <a:spcBef>
                    <a:spcPts val="0"/>
                  </a:spcBef>
                  <a:spcAft>
                    <a:spcPts val="3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Open Sans Semibold" charset="0"/>
                    <a:cs typeface="Open Sans Semibold" charset="0"/>
                  </a:rPr>
                  <a:t>Human behavior is the fundamental economic gear of every business. If you can identify which behaviors to drive (internally and externally) to create the greatest return, and marshal your digital resources to achieve that behavioral change, you will win.</a:t>
                </a:r>
              </a:p>
            </p:txBody>
          </p:sp>
          <p:grpSp>
            <p:nvGrpSpPr>
              <p:cNvPr id="99" name="Group 98">
                <a:extLst>
                  <a:ext uri="{FF2B5EF4-FFF2-40B4-BE49-F238E27FC236}">
                    <a16:creationId xmlns:a16="http://schemas.microsoft.com/office/drawing/2014/main" id="{3982B608-0A20-4D49-9307-8277B64DDBF3}"/>
                  </a:ext>
                </a:extLst>
              </p:cNvPr>
              <p:cNvGrpSpPr/>
              <p:nvPr/>
            </p:nvGrpSpPr>
            <p:grpSpPr>
              <a:xfrm>
                <a:off x="1468437" y="2682665"/>
                <a:ext cx="520700" cy="523875"/>
                <a:chOff x="861532" y="1850495"/>
                <a:chExt cx="520700" cy="523875"/>
              </a:xfrm>
            </p:grpSpPr>
            <p:sp>
              <p:nvSpPr>
                <p:cNvPr id="100" name="Freeform 25">
                  <a:extLst>
                    <a:ext uri="{FF2B5EF4-FFF2-40B4-BE49-F238E27FC236}">
                      <a16:creationId xmlns:a16="http://schemas.microsoft.com/office/drawing/2014/main" id="{CC7A8559-F5E7-804D-9104-7F35F8ECFC5D}"/>
                    </a:ext>
                  </a:extLst>
                </p:cNvPr>
                <p:cNvSpPr>
                  <a:spLocks noEditPoints="1"/>
                </p:cNvSpPr>
                <p:nvPr/>
              </p:nvSpPr>
              <p:spPr bwMode="auto">
                <a:xfrm>
                  <a:off x="861532" y="1850495"/>
                  <a:ext cx="520700" cy="523875"/>
                </a:xfrm>
                <a:custGeom>
                  <a:avLst/>
                  <a:gdLst>
                    <a:gd name="T0" fmla="*/ 312 w 657"/>
                    <a:gd name="T1" fmla="*/ 659 h 659"/>
                    <a:gd name="T2" fmla="*/ 262 w 657"/>
                    <a:gd name="T3" fmla="*/ 652 h 659"/>
                    <a:gd name="T4" fmla="*/ 200 w 657"/>
                    <a:gd name="T5" fmla="*/ 634 h 659"/>
                    <a:gd name="T6" fmla="*/ 120 w 657"/>
                    <a:gd name="T7" fmla="*/ 584 h 659"/>
                    <a:gd name="T8" fmla="*/ 56 w 657"/>
                    <a:gd name="T9" fmla="*/ 514 h 659"/>
                    <a:gd name="T10" fmla="*/ 15 w 657"/>
                    <a:gd name="T11" fmla="*/ 428 h 659"/>
                    <a:gd name="T12" fmla="*/ 4 w 657"/>
                    <a:gd name="T13" fmla="*/ 380 h 659"/>
                    <a:gd name="T14" fmla="*/ 0 w 657"/>
                    <a:gd name="T15" fmla="*/ 330 h 659"/>
                    <a:gd name="T16" fmla="*/ 1 w 657"/>
                    <a:gd name="T17" fmla="*/ 296 h 659"/>
                    <a:gd name="T18" fmla="*/ 11 w 657"/>
                    <a:gd name="T19" fmla="*/ 248 h 659"/>
                    <a:gd name="T20" fmla="*/ 39 w 657"/>
                    <a:gd name="T21" fmla="*/ 174 h 659"/>
                    <a:gd name="T22" fmla="*/ 97 w 657"/>
                    <a:gd name="T23" fmla="*/ 97 h 659"/>
                    <a:gd name="T24" fmla="*/ 172 w 657"/>
                    <a:gd name="T25" fmla="*/ 41 h 659"/>
                    <a:gd name="T26" fmla="*/ 246 w 657"/>
                    <a:gd name="T27" fmla="*/ 11 h 659"/>
                    <a:gd name="T28" fmla="*/ 296 w 657"/>
                    <a:gd name="T29" fmla="*/ 3 h 659"/>
                    <a:gd name="T30" fmla="*/ 329 w 657"/>
                    <a:gd name="T31" fmla="*/ 0 h 659"/>
                    <a:gd name="T32" fmla="*/ 379 w 657"/>
                    <a:gd name="T33" fmla="*/ 5 h 659"/>
                    <a:gd name="T34" fmla="*/ 426 w 657"/>
                    <a:gd name="T35" fmla="*/ 15 h 659"/>
                    <a:gd name="T36" fmla="*/ 512 w 657"/>
                    <a:gd name="T37" fmla="*/ 57 h 659"/>
                    <a:gd name="T38" fmla="*/ 582 w 657"/>
                    <a:gd name="T39" fmla="*/ 121 h 659"/>
                    <a:gd name="T40" fmla="*/ 632 w 657"/>
                    <a:gd name="T41" fmla="*/ 202 h 659"/>
                    <a:gd name="T42" fmla="*/ 651 w 657"/>
                    <a:gd name="T43" fmla="*/ 264 h 659"/>
                    <a:gd name="T44" fmla="*/ 657 w 657"/>
                    <a:gd name="T45" fmla="*/ 314 h 659"/>
                    <a:gd name="T46" fmla="*/ 657 w 657"/>
                    <a:gd name="T47" fmla="*/ 347 h 659"/>
                    <a:gd name="T48" fmla="*/ 651 w 657"/>
                    <a:gd name="T49" fmla="*/ 396 h 659"/>
                    <a:gd name="T50" fmla="*/ 632 w 657"/>
                    <a:gd name="T51" fmla="*/ 457 h 659"/>
                    <a:gd name="T52" fmla="*/ 582 w 657"/>
                    <a:gd name="T53" fmla="*/ 539 h 659"/>
                    <a:gd name="T54" fmla="*/ 512 w 657"/>
                    <a:gd name="T55" fmla="*/ 603 h 659"/>
                    <a:gd name="T56" fmla="*/ 426 w 657"/>
                    <a:gd name="T57" fmla="*/ 644 h 659"/>
                    <a:gd name="T58" fmla="*/ 379 w 657"/>
                    <a:gd name="T59" fmla="*/ 655 h 659"/>
                    <a:gd name="T60" fmla="*/ 329 w 657"/>
                    <a:gd name="T61" fmla="*/ 659 h 659"/>
                    <a:gd name="T62" fmla="*/ 329 w 657"/>
                    <a:gd name="T63" fmla="*/ 38 h 659"/>
                    <a:gd name="T64" fmla="*/ 242 w 657"/>
                    <a:gd name="T65" fmla="*/ 52 h 659"/>
                    <a:gd name="T66" fmla="*/ 165 w 657"/>
                    <a:gd name="T67" fmla="*/ 89 h 659"/>
                    <a:gd name="T68" fmla="*/ 104 w 657"/>
                    <a:gd name="T69" fmla="*/ 144 h 659"/>
                    <a:gd name="T70" fmla="*/ 61 w 657"/>
                    <a:gd name="T71" fmla="*/ 217 h 659"/>
                    <a:gd name="T72" fmla="*/ 39 w 657"/>
                    <a:gd name="T73" fmla="*/ 300 h 659"/>
                    <a:gd name="T74" fmla="*/ 39 w 657"/>
                    <a:gd name="T75" fmla="*/ 359 h 659"/>
                    <a:gd name="T76" fmla="*/ 61 w 657"/>
                    <a:gd name="T77" fmla="*/ 444 h 659"/>
                    <a:gd name="T78" fmla="*/ 104 w 657"/>
                    <a:gd name="T79" fmla="*/ 515 h 659"/>
                    <a:gd name="T80" fmla="*/ 165 w 657"/>
                    <a:gd name="T81" fmla="*/ 572 h 659"/>
                    <a:gd name="T82" fmla="*/ 242 w 657"/>
                    <a:gd name="T83" fmla="*/ 608 h 659"/>
                    <a:gd name="T84" fmla="*/ 329 w 657"/>
                    <a:gd name="T85" fmla="*/ 621 h 659"/>
                    <a:gd name="T86" fmla="*/ 387 w 657"/>
                    <a:gd name="T87" fmla="*/ 616 h 659"/>
                    <a:gd name="T88" fmla="*/ 468 w 657"/>
                    <a:gd name="T89" fmla="*/ 586 h 659"/>
                    <a:gd name="T90" fmla="*/ 535 w 657"/>
                    <a:gd name="T91" fmla="*/ 535 h 659"/>
                    <a:gd name="T92" fmla="*/ 585 w 657"/>
                    <a:gd name="T93" fmla="*/ 468 h 659"/>
                    <a:gd name="T94" fmla="*/ 614 w 657"/>
                    <a:gd name="T95" fmla="*/ 389 h 659"/>
                    <a:gd name="T96" fmla="*/ 620 w 657"/>
                    <a:gd name="T97" fmla="*/ 330 h 659"/>
                    <a:gd name="T98" fmla="*/ 608 w 657"/>
                    <a:gd name="T99" fmla="*/ 244 h 659"/>
                    <a:gd name="T100" fmla="*/ 570 w 657"/>
                    <a:gd name="T101" fmla="*/ 167 h 659"/>
                    <a:gd name="T102" fmla="*/ 513 w 657"/>
                    <a:gd name="T103" fmla="*/ 105 h 659"/>
                    <a:gd name="T104" fmla="*/ 442 w 657"/>
                    <a:gd name="T105" fmla="*/ 62 h 659"/>
                    <a:gd name="T106" fmla="*/ 359 w 657"/>
                    <a:gd name="T107" fmla="*/ 41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9">
                      <a:moveTo>
                        <a:pt x="329" y="659"/>
                      </a:moveTo>
                      <a:lnTo>
                        <a:pt x="329" y="659"/>
                      </a:lnTo>
                      <a:lnTo>
                        <a:pt x="312" y="659"/>
                      </a:lnTo>
                      <a:lnTo>
                        <a:pt x="296" y="658"/>
                      </a:lnTo>
                      <a:lnTo>
                        <a:pt x="278" y="655"/>
                      </a:lnTo>
                      <a:lnTo>
                        <a:pt x="262" y="652"/>
                      </a:lnTo>
                      <a:lnTo>
                        <a:pt x="246" y="648"/>
                      </a:lnTo>
                      <a:lnTo>
                        <a:pt x="231" y="644"/>
                      </a:lnTo>
                      <a:lnTo>
                        <a:pt x="200" y="634"/>
                      </a:lnTo>
                      <a:lnTo>
                        <a:pt x="172" y="619"/>
                      </a:lnTo>
                      <a:lnTo>
                        <a:pt x="145" y="603"/>
                      </a:lnTo>
                      <a:lnTo>
                        <a:pt x="120" y="584"/>
                      </a:lnTo>
                      <a:lnTo>
                        <a:pt x="97" y="562"/>
                      </a:lnTo>
                      <a:lnTo>
                        <a:pt x="75" y="539"/>
                      </a:lnTo>
                      <a:lnTo>
                        <a:pt x="56" y="514"/>
                      </a:lnTo>
                      <a:lnTo>
                        <a:pt x="39" y="487"/>
                      </a:lnTo>
                      <a:lnTo>
                        <a:pt x="26" y="457"/>
                      </a:lnTo>
                      <a:lnTo>
                        <a:pt x="15" y="428"/>
                      </a:lnTo>
                      <a:lnTo>
                        <a:pt x="11" y="412"/>
                      </a:lnTo>
                      <a:lnTo>
                        <a:pt x="7" y="396"/>
                      </a:lnTo>
                      <a:lnTo>
                        <a:pt x="4" y="380"/>
                      </a:lnTo>
                      <a:lnTo>
                        <a:pt x="1" y="363"/>
                      </a:lnTo>
                      <a:lnTo>
                        <a:pt x="0" y="347"/>
                      </a:lnTo>
                      <a:lnTo>
                        <a:pt x="0" y="330"/>
                      </a:lnTo>
                      <a:lnTo>
                        <a:pt x="0" y="330"/>
                      </a:lnTo>
                      <a:lnTo>
                        <a:pt x="0" y="314"/>
                      </a:lnTo>
                      <a:lnTo>
                        <a:pt x="1" y="296"/>
                      </a:lnTo>
                      <a:lnTo>
                        <a:pt x="4" y="280"/>
                      </a:lnTo>
                      <a:lnTo>
                        <a:pt x="7" y="264"/>
                      </a:lnTo>
                      <a:lnTo>
                        <a:pt x="11" y="248"/>
                      </a:lnTo>
                      <a:lnTo>
                        <a:pt x="15" y="233"/>
                      </a:lnTo>
                      <a:lnTo>
                        <a:pt x="26" y="202"/>
                      </a:lnTo>
                      <a:lnTo>
                        <a:pt x="39" y="174"/>
                      </a:lnTo>
                      <a:lnTo>
                        <a:pt x="56" y="146"/>
                      </a:lnTo>
                      <a:lnTo>
                        <a:pt x="75" y="121"/>
                      </a:lnTo>
                      <a:lnTo>
                        <a:pt x="97" y="97"/>
                      </a:lnTo>
                      <a:lnTo>
                        <a:pt x="120" y="76"/>
                      </a:lnTo>
                      <a:lnTo>
                        <a:pt x="145" y="57"/>
                      </a:lnTo>
                      <a:lnTo>
                        <a:pt x="172" y="41"/>
                      </a:lnTo>
                      <a:lnTo>
                        <a:pt x="200" y="27"/>
                      </a:lnTo>
                      <a:lnTo>
                        <a:pt x="231" y="15"/>
                      </a:lnTo>
                      <a:lnTo>
                        <a:pt x="246" y="11"/>
                      </a:lnTo>
                      <a:lnTo>
                        <a:pt x="262" y="7"/>
                      </a:lnTo>
                      <a:lnTo>
                        <a:pt x="278" y="5"/>
                      </a:lnTo>
                      <a:lnTo>
                        <a:pt x="296" y="3"/>
                      </a:lnTo>
                      <a:lnTo>
                        <a:pt x="312" y="2"/>
                      </a:lnTo>
                      <a:lnTo>
                        <a:pt x="329" y="0"/>
                      </a:lnTo>
                      <a:lnTo>
                        <a:pt x="329" y="0"/>
                      </a:lnTo>
                      <a:lnTo>
                        <a:pt x="345" y="2"/>
                      </a:lnTo>
                      <a:lnTo>
                        <a:pt x="363" y="3"/>
                      </a:lnTo>
                      <a:lnTo>
                        <a:pt x="379" y="5"/>
                      </a:lnTo>
                      <a:lnTo>
                        <a:pt x="395" y="7"/>
                      </a:lnTo>
                      <a:lnTo>
                        <a:pt x="411" y="11"/>
                      </a:lnTo>
                      <a:lnTo>
                        <a:pt x="426" y="15"/>
                      </a:lnTo>
                      <a:lnTo>
                        <a:pt x="457" y="27"/>
                      </a:lnTo>
                      <a:lnTo>
                        <a:pt x="485" y="41"/>
                      </a:lnTo>
                      <a:lnTo>
                        <a:pt x="512" y="57"/>
                      </a:lnTo>
                      <a:lnTo>
                        <a:pt x="538" y="76"/>
                      </a:lnTo>
                      <a:lnTo>
                        <a:pt x="562" y="97"/>
                      </a:lnTo>
                      <a:lnTo>
                        <a:pt x="582" y="121"/>
                      </a:lnTo>
                      <a:lnTo>
                        <a:pt x="601" y="146"/>
                      </a:lnTo>
                      <a:lnTo>
                        <a:pt x="618" y="174"/>
                      </a:lnTo>
                      <a:lnTo>
                        <a:pt x="632" y="202"/>
                      </a:lnTo>
                      <a:lnTo>
                        <a:pt x="642" y="233"/>
                      </a:lnTo>
                      <a:lnTo>
                        <a:pt x="648" y="248"/>
                      </a:lnTo>
                      <a:lnTo>
                        <a:pt x="651" y="264"/>
                      </a:lnTo>
                      <a:lnTo>
                        <a:pt x="653" y="280"/>
                      </a:lnTo>
                      <a:lnTo>
                        <a:pt x="656" y="296"/>
                      </a:lnTo>
                      <a:lnTo>
                        <a:pt x="657" y="314"/>
                      </a:lnTo>
                      <a:lnTo>
                        <a:pt x="657" y="330"/>
                      </a:lnTo>
                      <a:lnTo>
                        <a:pt x="657" y="330"/>
                      </a:lnTo>
                      <a:lnTo>
                        <a:pt x="657" y="347"/>
                      </a:lnTo>
                      <a:lnTo>
                        <a:pt x="656" y="363"/>
                      </a:lnTo>
                      <a:lnTo>
                        <a:pt x="653" y="380"/>
                      </a:lnTo>
                      <a:lnTo>
                        <a:pt x="651" y="396"/>
                      </a:lnTo>
                      <a:lnTo>
                        <a:pt x="648" y="412"/>
                      </a:lnTo>
                      <a:lnTo>
                        <a:pt x="642" y="428"/>
                      </a:lnTo>
                      <a:lnTo>
                        <a:pt x="632" y="457"/>
                      </a:lnTo>
                      <a:lnTo>
                        <a:pt x="618" y="487"/>
                      </a:lnTo>
                      <a:lnTo>
                        <a:pt x="601" y="514"/>
                      </a:lnTo>
                      <a:lnTo>
                        <a:pt x="582" y="539"/>
                      </a:lnTo>
                      <a:lnTo>
                        <a:pt x="562" y="562"/>
                      </a:lnTo>
                      <a:lnTo>
                        <a:pt x="538" y="584"/>
                      </a:lnTo>
                      <a:lnTo>
                        <a:pt x="512" y="603"/>
                      </a:lnTo>
                      <a:lnTo>
                        <a:pt x="485" y="619"/>
                      </a:lnTo>
                      <a:lnTo>
                        <a:pt x="457" y="634"/>
                      </a:lnTo>
                      <a:lnTo>
                        <a:pt x="426" y="644"/>
                      </a:lnTo>
                      <a:lnTo>
                        <a:pt x="411" y="648"/>
                      </a:lnTo>
                      <a:lnTo>
                        <a:pt x="395" y="652"/>
                      </a:lnTo>
                      <a:lnTo>
                        <a:pt x="379" y="655"/>
                      </a:lnTo>
                      <a:lnTo>
                        <a:pt x="363" y="658"/>
                      </a:lnTo>
                      <a:lnTo>
                        <a:pt x="345" y="659"/>
                      </a:lnTo>
                      <a:lnTo>
                        <a:pt x="329" y="659"/>
                      </a:lnTo>
                      <a:lnTo>
                        <a:pt x="329" y="659"/>
                      </a:lnTo>
                      <a:close/>
                      <a:moveTo>
                        <a:pt x="329" y="38"/>
                      </a:moveTo>
                      <a:lnTo>
                        <a:pt x="329" y="38"/>
                      </a:lnTo>
                      <a:lnTo>
                        <a:pt x="298" y="41"/>
                      </a:lnTo>
                      <a:lnTo>
                        <a:pt x="270" y="45"/>
                      </a:lnTo>
                      <a:lnTo>
                        <a:pt x="242" y="52"/>
                      </a:lnTo>
                      <a:lnTo>
                        <a:pt x="215" y="62"/>
                      </a:lnTo>
                      <a:lnTo>
                        <a:pt x="190" y="74"/>
                      </a:lnTo>
                      <a:lnTo>
                        <a:pt x="165" y="89"/>
                      </a:lnTo>
                      <a:lnTo>
                        <a:pt x="144" y="105"/>
                      </a:lnTo>
                      <a:lnTo>
                        <a:pt x="122" y="124"/>
                      </a:lnTo>
                      <a:lnTo>
                        <a:pt x="104" y="144"/>
                      </a:lnTo>
                      <a:lnTo>
                        <a:pt x="87" y="167"/>
                      </a:lnTo>
                      <a:lnTo>
                        <a:pt x="73" y="191"/>
                      </a:lnTo>
                      <a:lnTo>
                        <a:pt x="61" y="217"/>
                      </a:lnTo>
                      <a:lnTo>
                        <a:pt x="51" y="244"/>
                      </a:lnTo>
                      <a:lnTo>
                        <a:pt x="43" y="272"/>
                      </a:lnTo>
                      <a:lnTo>
                        <a:pt x="39" y="300"/>
                      </a:lnTo>
                      <a:lnTo>
                        <a:pt x="38" y="330"/>
                      </a:lnTo>
                      <a:lnTo>
                        <a:pt x="38" y="330"/>
                      </a:lnTo>
                      <a:lnTo>
                        <a:pt x="39" y="359"/>
                      </a:lnTo>
                      <a:lnTo>
                        <a:pt x="43" y="389"/>
                      </a:lnTo>
                      <a:lnTo>
                        <a:pt x="51" y="417"/>
                      </a:lnTo>
                      <a:lnTo>
                        <a:pt x="61" y="444"/>
                      </a:lnTo>
                      <a:lnTo>
                        <a:pt x="73" y="468"/>
                      </a:lnTo>
                      <a:lnTo>
                        <a:pt x="87" y="492"/>
                      </a:lnTo>
                      <a:lnTo>
                        <a:pt x="104" y="515"/>
                      </a:lnTo>
                      <a:lnTo>
                        <a:pt x="122" y="535"/>
                      </a:lnTo>
                      <a:lnTo>
                        <a:pt x="144" y="554"/>
                      </a:lnTo>
                      <a:lnTo>
                        <a:pt x="165" y="572"/>
                      </a:lnTo>
                      <a:lnTo>
                        <a:pt x="190" y="586"/>
                      </a:lnTo>
                      <a:lnTo>
                        <a:pt x="215" y="599"/>
                      </a:lnTo>
                      <a:lnTo>
                        <a:pt x="242" y="608"/>
                      </a:lnTo>
                      <a:lnTo>
                        <a:pt x="270" y="616"/>
                      </a:lnTo>
                      <a:lnTo>
                        <a:pt x="298" y="620"/>
                      </a:lnTo>
                      <a:lnTo>
                        <a:pt x="329" y="621"/>
                      </a:lnTo>
                      <a:lnTo>
                        <a:pt x="329" y="621"/>
                      </a:lnTo>
                      <a:lnTo>
                        <a:pt x="359" y="620"/>
                      </a:lnTo>
                      <a:lnTo>
                        <a:pt x="387" y="616"/>
                      </a:lnTo>
                      <a:lnTo>
                        <a:pt x="415" y="608"/>
                      </a:lnTo>
                      <a:lnTo>
                        <a:pt x="442" y="599"/>
                      </a:lnTo>
                      <a:lnTo>
                        <a:pt x="468" y="586"/>
                      </a:lnTo>
                      <a:lnTo>
                        <a:pt x="492" y="572"/>
                      </a:lnTo>
                      <a:lnTo>
                        <a:pt x="513" y="554"/>
                      </a:lnTo>
                      <a:lnTo>
                        <a:pt x="535" y="535"/>
                      </a:lnTo>
                      <a:lnTo>
                        <a:pt x="554" y="515"/>
                      </a:lnTo>
                      <a:lnTo>
                        <a:pt x="570" y="492"/>
                      </a:lnTo>
                      <a:lnTo>
                        <a:pt x="585" y="468"/>
                      </a:lnTo>
                      <a:lnTo>
                        <a:pt x="597" y="444"/>
                      </a:lnTo>
                      <a:lnTo>
                        <a:pt x="608" y="417"/>
                      </a:lnTo>
                      <a:lnTo>
                        <a:pt x="614" y="389"/>
                      </a:lnTo>
                      <a:lnTo>
                        <a:pt x="618" y="359"/>
                      </a:lnTo>
                      <a:lnTo>
                        <a:pt x="620" y="330"/>
                      </a:lnTo>
                      <a:lnTo>
                        <a:pt x="620" y="330"/>
                      </a:lnTo>
                      <a:lnTo>
                        <a:pt x="618" y="300"/>
                      </a:lnTo>
                      <a:lnTo>
                        <a:pt x="614" y="272"/>
                      </a:lnTo>
                      <a:lnTo>
                        <a:pt x="608" y="244"/>
                      </a:lnTo>
                      <a:lnTo>
                        <a:pt x="597" y="217"/>
                      </a:lnTo>
                      <a:lnTo>
                        <a:pt x="585" y="191"/>
                      </a:lnTo>
                      <a:lnTo>
                        <a:pt x="570" y="167"/>
                      </a:lnTo>
                      <a:lnTo>
                        <a:pt x="554" y="144"/>
                      </a:lnTo>
                      <a:lnTo>
                        <a:pt x="535" y="124"/>
                      </a:lnTo>
                      <a:lnTo>
                        <a:pt x="513" y="105"/>
                      </a:lnTo>
                      <a:lnTo>
                        <a:pt x="492" y="89"/>
                      </a:lnTo>
                      <a:lnTo>
                        <a:pt x="468" y="74"/>
                      </a:lnTo>
                      <a:lnTo>
                        <a:pt x="442" y="62"/>
                      </a:lnTo>
                      <a:lnTo>
                        <a:pt x="415" y="52"/>
                      </a:lnTo>
                      <a:lnTo>
                        <a:pt x="387" y="45"/>
                      </a:lnTo>
                      <a:lnTo>
                        <a:pt x="359" y="41"/>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1" name="Freeform 129">
                  <a:extLst>
                    <a:ext uri="{FF2B5EF4-FFF2-40B4-BE49-F238E27FC236}">
                      <a16:creationId xmlns:a16="http://schemas.microsoft.com/office/drawing/2014/main" id="{2AA1F276-0EA0-034E-B236-77C3829CADEA}"/>
                    </a:ext>
                  </a:extLst>
                </p:cNvPr>
                <p:cNvSpPr>
                  <a:spLocks/>
                </p:cNvSpPr>
                <p:nvPr/>
              </p:nvSpPr>
              <p:spPr bwMode="auto">
                <a:xfrm>
                  <a:off x="1069495" y="2071158"/>
                  <a:ext cx="115888" cy="144463"/>
                </a:xfrm>
                <a:custGeom>
                  <a:avLst/>
                  <a:gdLst>
                    <a:gd name="T0" fmla="*/ 34 w 147"/>
                    <a:gd name="T1" fmla="*/ 87 h 181"/>
                    <a:gd name="T2" fmla="*/ 34 w 147"/>
                    <a:gd name="T3" fmla="*/ 176 h 181"/>
                    <a:gd name="T4" fmla="*/ 34 w 147"/>
                    <a:gd name="T5" fmla="*/ 176 h 181"/>
                    <a:gd name="T6" fmla="*/ 35 w 147"/>
                    <a:gd name="T7" fmla="*/ 177 h 181"/>
                    <a:gd name="T8" fmla="*/ 35 w 147"/>
                    <a:gd name="T9" fmla="*/ 180 h 181"/>
                    <a:gd name="T10" fmla="*/ 38 w 147"/>
                    <a:gd name="T11" fmla="*/ 181 h 181"/>
                    <a:gd name="T12" fmla="*/ 39 w 147"/>
                    <a:gd name="T13" fmla="*/ 181 h 181"/>
                    <a:gd name="T14" fmla="*/ 108 w 147"/>
                    <a:gd name="T15" fmla="*/ 181 h 181"/>
                    <a:gd name="T16" fmla="*/ 108 w 147"/>
                    <a:gd name="T17" fmla="*/ 181 h 181"/>
                    <a:gd name="T18" fmla="*/ 110 w 147"/>
                    <a:gd name="T19" fmla="*/ 181 h 181"/>
                    <a:gd name="T20" fmla="*/ 112 w 147"/>
                    <a:gd name="T21" fmla="*/ 180 h 181"/>
                    <a:gd name="T22" fmla="*/ 113 w 147"/>
                    <a:gd name="T23" fmla="*/ 177 h 181"/>
                    <a:gd name="T24" fmla="*/ 113 w 147"/>
                    <a:gd name="T25" fmla="*/ 176 h 181"/>
                    <a:gd name="T26" fmla="*/ 113 w 147"/>
                    <a:gd name="T27" fmla="*/ 87 h 181"/>
                    <a:gd name="T28" fmla="*/ 145 w 147"/>
                    <a:gd name="T29" fmla="*/ 55 h 181"/>
                    <a:gd name="T30" fmla="*/ 145 w 147"/>
                    <a:gd name="T31" fmla="*/ 55 h 181"/>
                    <a:gd name="T32" fmla="*/ 147 w 147"/>
                    <a:gd name="T33" fmla="*/ 53 h 181"/>
                    <a:gd name="T34" fmla="*/ 147 w 147"/>
                    <a:gd name="T35" fmla="*/ 51 h 181"/>
                    <a:gd name="T36" fmla="*/ 147 w 147"/>
                    <a:gd name="T37" fmla="*/ 6 h 181"/>
                    <a:gd name="T38" fmla="*/ 147 w 147"/>
                    <a:gd name="T39" fmla="*/ 6 h 181"/>
                    <a:gd name="T40" fmla="*/ 147 w 147"/>
                    <a:gd name="T41" fmla="*/ 4 h 181"/>
                    <a:gd name="T42" fmla="*/ 145 w 147"/>
                    <a:gd name="T43" fmla="*/ 2 h 181"/>
                    <a:gd name="T44" fmla="*/ 144 w 147"/>
                    <a:gd name="T45" fmla="*/ 1 h 181"/>
                    <a:gd name="T46" fmla="*/ 141 w 147"/>
                    <a:gd name="T47" fmla="*/ 0 h 181"/>
                    <a:gd name="T48" fmla="*/ 5 w 147"/>
                    <a:gd name="T49" fmla="*/ 0 h 181"/>
                    <a:gd name="T50" fmla="*/ 5 w 147"/>
                    <a:gd name="T51" fmla="*/ 0 h 181"/>
                    <a:gd name="T52" fmla="*/ 3 w 147"/>
                    <a:gd name="T53" fmla="*/ 1 h 181"/>
                    <a:gd name="T54" fmla="*/ 1 w 147"/>
                    <a:gd name="T55" fmla="*/ 2 h 181"/>
                    <a:gd name="T56" fmla="*/ 0 w 147"/>
                    <a:gd name="T57" fmla="*/ 4 h 181"/>
                    <a:gd name="T58" fmla="*/ 0 w 147"/>
                    <a:gd name="T59" fmla="*/ 6 h 181"/>
                    <a:gd name="T60" fmla="*/ 0 w 147"/>
                    <a:gd name="T61" fmla="*/ 51 h 181"/>
                    <a:gd name="T62" fmla="*/ 0 w 147"/>
                    <a:gd name="T63" fmla="*/ 51 h 181"/>
                    <a:gd name="T64" fmla="*/ 0 w 147"/>
                    <a:gd name="T65" fmla="*/ 53 h 181"/>
                    <a:gd name="T66" fmla="*/ 1 w 147"/>
                    <a:gd name="T67" fmla="*/ 55 h 181"/>
                    <a:gd name="T68" fmla="*/ 34 w 147"/>
                    <a:gd name="T69" fmla="*/ 87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81">
                      <a:moveTo>
                        <a:pt x="34" y="87"/>
                      </a:moveTo>
                      <a:lnTo>
                        <a:pt x="34" y="176"/>
                      </a:lnTo>
                      <a:lnTo>
                        <a:pt x="34" y="176"/>
                      </a:lnTo>
                      <a:lnTo>
                        <a:pt x="35" y="177"/>
                      </a:lnTo>
                      <a:lnTo>
                        <a:pt x="35" y="180"/>
                      </a:lnTo>
                      <a:lnTo>
                        <a:pt x="38" y="181"/>
                      </a:lnTo>
                      <a:lnTo>
                        <a:pt x="39" y="181"/>
                      </a:lnTo>
                      <a:lnTo>
                        <a:pt x="108" y="181"/>
                      </a:lnTo>
                      <a:lnTo>
                        <a:pt x="108" y="181"/>
                      </a:lnTo>
                      <a:lnTo>
                        <a:pt x="110" y="181"/>
                      </a:lnTo>
                      <a:lnTo>
                        <a:pt x="112" y="180"/>
                      </a:lnTo>
                      <a:lnTo>
                        <a:pt x="113" y="177"/>
                      </a:lnTo>
                      <a:lnTo>
                        <a:pt x="113" y="176"/>
                      </a:lnTo>
                      <a:lnTo>
                        <a:pt x="113" y="87"/>
                      </a:lnTo>
                      <a:lnTo>
                        <a:pt x="145" y="55"/>
                      </a:lnTo>
                      <a:lnTo>
                        <a:pt x="145" y="55"/>
                      </a:lnTo>
                      <a:lnTo>
                        <a:pt x="147" y="53"/>
                      </a:lnTo>
                      <a:lnTo>
                        <a:pt x="147" y="51"/>
                      </a:lnTo>
                      <a:lnTo>
                        <a:pt x="147" y="6"/>
                      </a:lnTo>
                      <a:lnTo>
                        <a:pt x="147" y="6"/>
                      </a:lnTo>
                      <a:lnTo>
                        <a:pt x="147" y="4"/>
                      </a:lnTo>
                      <a:lnTo>
                        <a:pt x="145" y="2"/>
                      </a:lnTo>
                      <a:lnTo>
                        <a:pt x="144" y="1"/>
                      </a:lnTo>
                      <a:lnTo>
                        <a:pt x="141" y="0"/>
                      </a:lnTo>
                      <a:lnTo>
                        <a:pt x="5" y="0"/>
                      </a:lnTo>
                      <a:lnTo>
                        <a:pt x="5" y="0"/>
                      </a:lnTo>
                      <a:lnTo>
                        <a:pt x="3" y="1"/>
                      </a:lnTo>
                      <a:lnTo>
                        <a:pt x="1" y="2"/>
                      </a:lnTo>
                      <a:lnTo>
                        <a:pt x="0" y="4"/>
                      </a:lnTo>
                      <a:lnTo>
                        <a:pt x="0" y="6"/>
                      </a:lnTo>
                      <a:lnTo>
                        <a:pt x="0" y="51"/>
                      </a:lnTo>
                      <a:lnTo>
                        <a:pt x="0" y="51"/>
                      </a:lnTo>
                      <a:lnTo>
                        <a:pt x="0" y="53"/>
                      </a:lnTo>
                      <a:lnTo>
                        <a:pt x="1" y="55"/>
                      </a:lnTo>
                      <a:lnTo>
                        <a:pt x="34" y="8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2" name="Freeform 130">
                  <a:extLst>
                    <a:ext uri="{FF2B5EF4-FFF2-40B4-BE49-F238E27FC236}">
                      <a16:creationId xmlns:a16="http://schemas.microsoft.com/office/drawing/2014/main" id="{4BE33A37-8358-CA43-9D8F-163113D55464}"/>
                    </a:ext>
                  </a:extLst>
                </p:cNvPr>
                <p:cNvSpPr>
                  <a:spLocks/>
                </p:cNvSpPr>
                <p:nvPr/>
              </p:nvSpPr>
              <p:spPr bwMode="auto">
                <a:xfrm>
                  <a:off x="1086957" y="1974320"/>
                  <a:ext cx="80963" cy="79375"/>
                </a:xfrm>
                <a:custGeom>
                  <a:avLst/>
                  <a:gdLst>
                    <a:gd name="T0" fmla="*/ 51 w 102"/>
                    <a:gd name="T1" fmla="*/ 101 h 101"/>
                    <a:gd name="T2" fmla="*/ 51 w 102"/>
                    <a:gd name="T3" fmla="*/ 101 h 101"/>
                    <a:gd name="T4" fmla="*/ 60 w 102"/>
                    <a:gd name="T5" fmla="*/ 101 h 101"/>
                    <a:gd name="T6" fmla="*/ 70 w 102"/>
                    <a:gd name="T7" fmla="*/ 98 h 101"/>
                    <a:gd name="T8" fmla="*/ 79 w 102"/>
                    <a:gd name="T9" fmla="*/ 93 h 101"/>
                    <a:gd name="T10" fmla="*/ 86 w 102"/>
                    <a:gd name="T11" fmla="*/ 86 h 101"/>
                    <a:gd name="T12" fmla="*/ 93 w 102"/>
                    <a:gd name="T13" fmla="*/ 79 h 101"/>
                    <a:gd name="T14" fmla="*/ 98 w 102"/>
                    <a:gd name="T15" fmla="*/ 70 h 101"/>
                    <a:gd name="T16" fmla="*/ 101 w 102"/>
                    <a:gd name="T17" fmla="*/ 61 h 101"/>
                    <a:gd name="T18" fmla="*/ 102 w 102"/>
                    <a:gd name="T19" fmla="*/ 51 h 101"/>
                    <a:gd name="T20" fmla="*/ 102 w 102"/>
                    <a:gd name="T21" fmla="*/ 51 h 101"/>
                    <a:gd name="T22" fmla="*/ 101 w 102"/>
                    <a:gd name="T23" fmla="*/ 40 h 101"/>
                    <a:gd name="T24" fmla="*/ 98 w 102"/>
                    <a:gd name="T25" fmla="*/ 31 h 101"/>
                    <a:gd name="T26" fmla="*/ 93 w 102"/>
                    <a:gd name="T27" fmla="*/ 22 h 101"/>
                    <a:gd name="T28" fmla="*/ 86 w 102"/>
                    <a:gd name="T29" fmla="*/ 15 h 101"/>
                    <a:gd name="T30" fmla="*/ 79 w 102"/>
                    <a:gd name="T31" fmla="*/ 8 h 101"/>
                    <a:gd name="T32" fmla="*/ 70 w 102"/>
                    <a:gd name="T33" fmla="*/ 4 h 101"/>
                    <a:gd name="T34" fmla="*/ 60 w 102"/>
                    <a:gd name="T35" fmla="*/ 0 h 101"/>
                    <a:gd name="T36" fmla="*/ 51 w 102"/>
                    <a:gd name="T37" fmla="*/ 0 h 101"/>
                    <a:gd name="T38" fmla="*/ 51 w 102"/>
                    <a:gd name="T39" fmla="*/ 0 h 101"/>
                    <a:gd name="T40" fmla="*/ 40 w 102"/>
                    <a:gd name="T41" fmla="*/ 0 h 101"/>
                    <a:gd name="T42" fmla="*/ 31 w 102"/>
                    <a:gd name="T43" fmla="*/ 4 h 101"/>
                    <a:gd name="T44" fmla="*/ 21 w 102"/>
                    <a:gd name="T45" fmla="*/ 8 h 101"/>
                    <a:gd name="T46" fmla="*/ 15 w 102"/>
                    <a:gd name="T47" fmla="*/ 15 h 101"/>
                    <a:gd name="T48" fmla="*/ 8 w 102"/>
                    <a:gd name="T49" fmla="*/ 22 h 101"/>
                    <a:gd name="T50" fmla="*/ 4 w 102"/>
                    <a:gd name="T51" fmla="*/ 31 h 101"/>
                    <a:gd name="T52" fmla="*/ 1 w 102"/>
                    <a:gd name="T53" fmla="*/ 40 h 101"/>
                    <a:gd name="T54" fmla="*/ 0 w 102"/>
                    <a:gd name="T55" fmla="*/ 51 h 101"/>
                    <a:gd name="T56" fmla="*/ 0 w 102"/>
                    <a:gd name="T57" fmla="*/ 51 h 101"/>
                    <a:gd name="T58" fmla="*/ 1 w 102"/>
                    <a:gd name="T59" fmla="*/ 61 h 101"/>
                    <a:gd name="T60" fmla="*/ 4 w 102"/>
                    <a:gd name="T61" fmla="*/ 70 h 101"/>
                    <a:gd name="T62" fmla="*/ 8 w 102"/>
                    <a:gd name="T63" fmla="*/ 79 h 101"/>
                    <a:gd name="T64" fmla="*/ 15 w 102"/>
                    <a:gd name="T65" fmla="*/ 86 h 101"/>
                    <a:gd name="T66" fmla="*/ 21 w 102"/>
                    <a:gd name="T67" fmla="*/ 93 h 101"/>
                    <a:gd name="T68" fmla="*/ 31 w 102"/>
                    <a:gd name="T69" fmla="*/ 98 h 101"/>
                    <a:gd name="T70" fmla="*/ 40 w 102"/>
                    <a:gd name="T71" fmla="*/ 101 h 101"/>
                    <a:gd name="T72" fmla="*/ 51 w 102"/>
                    <a:gd name="T73" fmla="*/ 101 h 101"/>
                    <a:gd name="T74" fmla="*/ 51 w 102"/>
                    <a:gd name="T7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1">
                      <a:moveTo>
                        <a:pt x="51" y="101"/>
                      </a:moveTo>
                      <a:lnTo>
                        <a:pt x="51" y="101"/>
                      </a:lnTo>
                      <a:lnTo>
                        <a:pt x="60" y="101"/>
                      </a:lnTo>
                      <a:lnTo>
                        <a:pt x="70" y="98"/>
                      </a:lnTo>
                      <a:lnTo>
                        <a:pt x="79" y="93"/>
                      </a:lnTo>
                      <a:lnTo>
                        <a:pt x="86" y="86"/>
                      </a:lnTo>
                      <a:lnTo>
                        <a:pt x="93" y="79"/>
                      </a:lnTo>
                      <a:lnTo>
                        <a:pt x="98" y="70"/>
                      </a:lnTo>
                      <a:lnTo>
                        <a:pt x="101" y="61"/>
                      </a:lnTo>
                      <a:lnTo>
                        <a:pt x="102" y="51"/>
                      </a:lnTo>
                      <a:lnTo>
                        <a:pt x="102" y="51"/>
                      </a:lnTo>
                      <a:lnTo>
                        <a:pt x="101" y="40"/>
                      </a:lnTo>
                      <a:lnTo>
                        <a:pt x="98" y="31"/>
                      </a:lnTo>
                      <a:lnTo>
                        <a:pt x="93" y="22"/>
                      </a:lnTo>
                      <a:lnTo>
                        <a:pt x="86" y="15"/>
                      </a:lnTo>
                      <a:lnTo>
                        <a:pt x="79" y="8"/>
                      </a:lnTo>
                      <a:lnTo>
                        <a:pt x="70" y="4"/>
                      </a:lnTo>
                      <a:lnTo>
                        <a:pt x="60" y="0"/>
                      </a:lnTo>
                      <a:lnTo>
                        <a:pt x="51" y="0"/>
                      </a:lnTo>
                      <a:lnTo>
                        <a:pt x="51" y="0"/>
                      </a:lnTo>
                      <a:lnTo>
                        <a:pt x="40" y="0"/>
                      </a:lnTo>
                      <a:lnTo>
                        <a:pt x="31" y="4"/>
                      </a:lnTo>
                      <a:lnTo>
                        <a:pt x="21" y="8"/>
                      </a:lnTo>
                      <a:lnTo>
                        <a:pt x="15" y="15"/>
                      </a:lnTo>
                      <a:lnTo>
                        <a:pt x="8" y="22"/>
                      </a:lnTo>
                      <a:lnTo>
                        <a:pt x="4" y="31"/>
                      </a:lnTo>
                      <a:lnTo>
                        <a:pt x="1" y="40"/>
                      </a:lnTo>
                      <a:lnTo>
                        <a:pt x="0" y="51"/>
                      </a:lnTo>
                      <a:lnTo>
                        <a:pt x="0" y="51"/>
                      </a:lnTo>
                      <a:lnTo>
                        <a:pt x="1" y="61"/>
                      </a:lnTo>
                      <a:lnTo>
                        <a:pt x="4" y="70"/>
                      </a:lnTo>
                      <a:lnTo>
                        <a:pt x="8" y="79"/>
                      </a:lnTo>
                      <a:lnTo>
                        <a:pt x="15" y="86"/>
                      </a:lnTo>
                      <a:lnTo>
                        <a:pt x="21" y="93"/>
                      </a:lnTo>
                      <a:lnTo>
                        <a:pt x="31" y="98"/>
                      </a:lnTo>
                      <a:lnTo>
                        <a:pt x="40" y="101"/>
                      </a:lnTo>
                      <a:lnTo>
                        <a:pt x="51" y="101"/>
                      </a:lnTo>
                      <a:lnTo>
                        <a:pt x="51"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3" name="Freeform 131">
                  <a:extLst>
                    <a:ext uri="{FF2B5EF4-FFF2-40B4-BE49-F238E27FC236}">
                      <a16:creationId xmlns:a16="http://schemas.microsoft.com/office/drawing/2014/main" id="{D323164C-C696-0743-A99C-7905646CF52A}"/>
                    </a:ext>
                  </a:extLst>
                </p:cNvPr>
                <p:cNvSpPr>
                  <a:spLocks/>
                </p:cNvSpPr>
                <p:nvPr/>
              </p:nvSpPr>
              <p:spPr bwMode="auto">
                <a:xfrm>
                  <a:off x="994882" y="2179108"/>
                  <a:ext cx="266700" cy="76200"/>
                </a:xfrm>
                <a:custGeom>
                  <a:avLst/>
                  <a:gdLst>
                    <a:gd name="T0" fmla="*/ 228 w 336"/>
                    <a:gd name="T1" fmla="*/ 19 h 97"/>
                    <a:gd name="T2" fmla="*/ 254 w 336"/>
                    <a:gd name="T3" fmla="*/ 22 h 97"/>
                    <a:gd name="T4" fmla="*/ 289 w 336"/>
                    <a:gd name="T5" fmla="*/ 30 h 97"/>
                    <a:gd name="T6" fmla="*/ 308 w 336"/>
                    <a:gd name="T7" fmla="*/ 38 h 97"/>
                    <a:gd name="T8" fmla="*/ 316 w 336"/>
                    <a:gd name="T9" fmla="*/ 44 h 97"/>
                    <a:gd name="T10" fmla="*/ 316 w 336"/>
                    <a:gd name="T11" fmla="*/ 47 h 97"/>
                    <a:gd name="T12" fmla="*/ 315 w 336"/>
                    <a:gd name="T13" fmla="*/ 51 h 97"/>
                    <a:gd name="T14" fmla="*/ 296 w 336"/>
                    <a:gd name="T15" fmla="*/ 61 h 97"/>
                    <a:gd name="T16" fmla="*/ 258 w 336"/>
                    <a:gd name="T17" fmla="*/ 70 h 97"/>
                    <a:gd name="T18" fmla="*/ 202 w 336"/>
                    <a:gd name="T19" fmla="*/ 77 h 97"/>
                    <a:gd name="T20" fmla="*/ 168 w 336"/>
                    <a:gd name="T21" fmla="*/ 77 h 97"/>
                    <a:gd name="T22" fmla="*/ 104 w 336"/>
                    <a:gd name="T23" fmla="*/ 74 h 97"/>
                    <a:gd name="T24" fmla="*/ 56 w 336"/>
                    <a:gd name="T25" fmla="*/ 66 h 97"/>
                    <a:gd name="T26" fmla="*/ 28 w 336"/>
                    <a:gd name="T27" fmla="*/ 55 h 97"/>
                    <a:gd name="T28" fmla="*/ 19 w 336"/>
                    <a:gd name="T29" fmla="*/ 48 h 97"/>
                    <a:gd name="T30" fmla="*/ 19 w 336"/>
                    <a:gd name="T31" fmla="*/ 47 h 97"/>
                    <a:gd name="T32" fmla="*/ 22 w 336"/>
                    <a:gd name="T33" fmla="*/ 42 h 97"/>
                    <a:gd name="T34" fmla="*/ 35 w 336"/>
                    <a:gd name="T35" fmla="*/ 34 h 97"/>
                    <a:gd name="T36" fmla="*/ 60 w 336"/>
                    <a:gd name="T37" fmla="*/ 26 h 97"/>
                    <a:gd name="T38" fmla="*/ 106 w 336"/>
                    <a:gd name="T39" fmla="*/ 19 h 97"/>
                    <a:gd name="T40" fmla="*/ 105 w 336"/>
                    <a:gd name="T41" fmla="*/ 0 h 97"/>
                    <a:gd name="T42" fmla="*/ 56 w 336"/>
                    <a:gd name="T43" fmla="*/ 7 h 97"/>
                    <a:gd name="T44" fmla="*/ 24 w 336"/>
                    <a:gd name="T45" fmla="*/ 18 h 97"/>
                    <a:gd name="T46" fmla="*/ 11 w 336"/>
                    <a:gd name="T47" fmla="*/ 26 h 97"/>
                    <a:gd name="T48" fmla="*/ 3 w 336"/>
                    <a:gd name="T49" fmla="*/ 35 h 97"/>
                    <a:gd name="T50" fmla="*/ 0 w 336"/>
                    <a:gd name="T51" fmla="*/ 47 h 97"/>
                    <a:gd name="T52" fmla="*/ 0 w 336"/>
                    <a:gd name="T53" fmla="*/ 54 h 97"/>
                    <a:gd name="T54" fmla="*/ 8 w 336"/>
                    <a:gd name="T55" fmla="*/ 65 h 97"/>
                    <a:gd name="T56" fmla="*/ 22 w 336"/>
                    <a:gd name="T57" fmla="*/ 74 h 97"/>
                    <a:gd name="T58" fmla="*/ 54 w 336"/>
                    <a:gd name="T59" fmla="*/ 85 h 97"/>
                    <a:gd name="T60" fmla="*/ 108 w 336"/>
                    <a:gd name="T61" fmla="*/ 94 h 97"/>
                    <a:gd name="T62" fmla="*/ 168 w 336"/>
                    <a:gd name="T63" fmla="*/ 97 h 97"/>
                    <a:gd name="T64" fmla="*/ 198 w 336"/>
                    <a:gd name="T65" fmla="*/ 96 h 97"/>
                    <a:gd name="T66" fmla="*/ 257 w 336"/>
                    <a:gd name="T67" fmla="*/ 90 h 97"/>
                    <a:gd name="T68" fmla="*/ 304 w 336"/>
                    <a:gd name="T69" fmla="*/ 78 h 97"/>
                    <a:gd name="T70" fmla="*/ 321 w 336"/>
                    <a:gd name="T71" fmla="*/ 69 h 97"/>
                    <a:gd name="T72" fmla="*/ 332 w 336"/>
                    <a:gd name="T73" fmla="*/ 59 h 97"/>
                    <a:gd name="T74" fmla="*/ 336 w 336"/>
                    <a:gd name="T75" fmla="*/ 47 h 97"/>
                    <a:gd name="T76" fmla="*/ 335 w 336"/>
                    <a:gd name="T77" fmla="*/ 42 h 97"/>
                    <a:gd name="T78" fmla="*/ 329 w 336"/>
                    <a:gd name="T79" fmla="*/ 31 h 97"/>
                    <a:gd name="T80" fmla="*/ 319 w 336"/>
                    <a:gd name="T81" fmla="*/ 22 h 97"/>
                    <a:gd name="T82" fmla="*/ 296 w 336"/>
                    <a:gd name="T83" fmla="*/ 12 h 97"/>
                    <a:gd name="T84" fmla="*/ 261 w 336"/>
                    <a:gd name="T85" fmla="*/ 4 h 97"/>
                    <a:gd name="T86" fmla="*/ 230 w 336"/>
                    <a:gd name="T8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36" h="97">
                      <a:moveTo>
                        <a:pt x="230" y="0"/>
                      </a:moveTo>
                      <a:lnTo>
                        <a:pt x="228" y="19"/>
                      </a:lnTo>
                      <a:lnTo>
                        <a:pt x="228" y="19"/>
                      </a:lnTo>
                      <a:lnTo>
                        <a:pt x="254" y="22"/>
                      </a:lnTo>
                      <a:lnTo>
                        <a:pt x="274" y="26"/>
                      </a:lnTo>
                      <a:lnTo>
                        <a:pt x="289" y="30"/>
                      </a:lnTo>
                      <a:lnTo>
                        <a:pt x="301" y="34"/>
                      </a:lnTo>
                      <a:lnTo>
                        <a:pt x="308" y="38"/>
                      </a:lnTo>
                      <a:lnTo>
                        <a:pt x="313" y="42"/>
                      </a:lnTo>
                      <a:lnTo>
                        <a:pt x="316" y="44"/>
                      </a:lnTo>
                      <a:lnTo>
                        <a:pt x="316" y="47"/>
                      </a:lnTo>
                      <a:lnTo>
                        <a:pt x="316" y="47"/>
                      </a:lnTo>
                      <a:lnTo>
                        <a:pt x="316" y="48"/>
                      </a:lnTo>
                      <a:lnTo>
                        <a:pt x="315" y="51"/>
                      </a:lnTo>
                      <a:lnTo>
                        <a:pt x="306" y="55"/>
                      </a:lnTo>
                      <a:lnTo>
                        <a:pt x="296" y="61"/>
                      </a:lnTo>
                      <a:lnTo>
                        <a:pt x="278" y="66"/>
                      </a:lnTo>
                      <a:lnTo>
                        <a:pt x="258" y="70"/>
                      </a:lnTo>
                      <a:lnTo>
                        <a:pt x="233" y="74"/>
                      </a:lnTo>
                      <a:lnTo>
                        <a:pt x="202" y="77"/>
                      </a:lnTo>
                      <a:lnTo>
                        <a:pt x="168" y="77"/>
                      </a:lnTo>
                      <a:lnTo>
                        <a:pt x="168" y="77"/>
                      </a:lnTo>
                      <a:lnTo>
                        <a:pt x="133" y="77"/>
                      </a:lnTo>
                      <a:lnTo>
                        <a:pt x="104" y="74"/>
                      </a:lnTo>
                      <a:lnTo>
                        <a:pt x="78" y="70"/>
                      </a:lnTo>
                      <a:lnTo>
                        <a:pt x="56" y="66"/>
                      </a:lnTo>
                      <a:lnTo>
                        <a:pt x="40" y="61"/>
                      </a:lnTo>
                      <a:lnTo>
                        <a:pt x="28" y="55"/>
                      </a:lnTo>
                      <a:lnTo>
                        <a:pt x="22" y="51"/>
                      </a:lnTo>
                      <a:lnTo>
                        <a:pt x="19" y="48"/>
                      </a:lnTo>
                      <a:lnTo>
                        <a:pt x="19" y="47"/>
                      </a:lnTo>
                      <a:lnTo>
                        <a:pt x="19" y="47"/>
                      </a:lnTo>
                      <a:lnTo>
                        <a:pt x="20" y="44"/>
                      </a:lnTo>
                      <a:lnTo>
                        <a:pt x="22" y="42"/>
                      </a:lnTo>
                      <a:lnTo>
                        <a:pt x="27" y="38"/>
                      </a:lnTo>
                      <a:lnTo>
                        <a:pt x="35" y="34"/>
                      </a:lnTo>
                      <a:lnTo>
                        <a:pt x="46" y="30"/>
                      </a:lnTo>
                      <a:lnTo>
                        <a:pt x="60" y="26"/>
                      </a:lnTo>
                      <a:lnTo>
                        <a:pt x="81" y="22"/>
                      </a:lnTo>
                      <a:lnTo>
                        <a:pt x="106" y="19"/>
                      </a:lnTo>
                      <a:lnTo>
                        <a:pt x="105" y="0"/>
                      </a:lnTo>
                      <a:lnTo>
                        <a:pt x="105" y="0"/>
                      </a:lnTo>
                      <a:lnTo>
                        <a:pt x="74" y="4"/>
                      </a:lnTo>
                      <a:lnTo>
                        <a:pt x="56" y="7"/>
                      </a:lnTo>
                      <a:lnTo>
                        <a:pt x="39" y="12"/>
                      </a:lnTo>
                      <a:lnTo>
                        <a:pt x="24" y="18"/>
                      </a:lnTo>
                      <a:lnTo>
                        <a:pt x="17" y="22"/>
                      </a:lnTo>
                      <a:lnTo>
                        <a:pt x="11" y="26"/>
                      </a:lnTo>
                      <a:lnTo>
                        <a:pt x="7" y="31"/>
                      </a:lnTo>
                      <a:lnTo>
                        <a:pt x="3" y="35"/>
                      </a:lnTo>
                      <a:lnTo>
                        <a:pt x="0" y="42"/>
                      </a:lnTo>
                      <a:lnTo>
                        <a:pt x="0" y="47"/>
                      </a:lnTo>
                      <a:lnTo>
                        <a:pt x="0" y="47"/>
                      </a:lnTo>
                      <a:lnTo>
                        <a:pt x="0" y="54"/>
                      </a:lnTo>
                      <a:lnTo>
                        <a:pt x="3" y="59"/>
                      </a:lnTo>
                      <a:lnTo>
                        <a:pt x="8" y="65"/>
                      </a:lnTo>
                      <a:lnTo>
                        <a:pt x="15" y="69"/>
                      </a:lnTo>
                      <a:lnTo>
                        <a:pt x="22" y="74"/>
                      </a:lnTo>
                      <a:lnTo>
                        <a:pt x="31" y="78"/>
                      </a:lnTo>
                      <a:lnTo>
                        <a:pt x="54" y="85"/>
                      </a:lnTo>
                      <a:lnTo>
                        <a:pt x="79" y="90"/>
                      </a:lnTo>
                      <a:lnTo>
                        <a:pt x="108" y="94"/>
                      </a:lnTo>
                      <a:lnTo>
                        <a:pt x="137" y="96"/>
                      </a:lnTo>
                      <a:lnTo>
                        <a:pt x="168" y="97"/>
                      </a:lnTo>
                      <a:lnTo>
                        <a:pt x="168" y="97"/>
                      </a:lnTo>
                      <a:lnTo>
                        <a:pt x="198" y="96"/>
                      </a:lnTo>
                      <a:lnTo>
                        <a:pt x="228" y="94"/>
                      </a:lnTo>
                      <a:lnTo>
                        <a:pt x="257" y="90"/>
                      </a:lnTo>
                      <a:lnTo>
                        <a:pt x="282" y="85"/>
                      </a:lnTo>
                      <a:lnTo>
                        <a:pt x="304" y="78"/>
                      </a:lnTo>
                      <a:lnTo>
                        <a:pt x="313" y="74"/>
                      </a:lnTo>
                      <a:lnTo>
                        <a:pt x="321" y="69"/>
                      </a:lnTo>
                      <a:lnTo>
                        <a:pt x="327" y="65"/>
                      </a:lnTo>
                      <a:lnTo>
                        <a:pt x="332" y="59"/>
                      </a:lnTo>
                      <a:lnTo>
                        <a:pt x="335" y="54"/>
                      </a:lnTo>
                      <a:lnTo>
                        <a:pt x="336" y="47"/>
                      </a:lnTo>
                      <a:lnTo>
                        <a:pt x="336" y="47"/>
                      </a:lnTo>
                      <a:lnTo>
                        <a:pt x="335" y="42"/>
                      </a:lnTo>
                      <a:lnTo>
                        <a:pt x="332" y="35"/>
                      </a:lnTo>
                      <a:lnTo>
                        <a:pt x="329" y="31"/>
                      </a:lnTo>
                      <a:lnTo>
                        <a:pt x="324" y="26"/>
                      </a:lnTo>
                      <a:lnTo>
                        <a:pt x="319" y="22"/>
                      </a:lnTo>
                      <a:lnTo>
                        <a:pt x="312" y="18"/>
                      </a:lnTo>
                      <a:lnTo>
                        <a:pt x="296" y="12"/>
                      </a:lnTo>
                      <a:lnTo>
                        <a:pt x="278" y="7"/>
                      </a:lnTo>
                      <a:lnTo>
                        <a:pt x="261" y="4"/>
                      </a:lnTo>
                      <a:lnTo>
                        <a:pt x="230" y="0"/>
                      </a:lnTo>
                      <a:lnTo>
                        <a:pt x="23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80" name="Group 79">
              <a:extLst>
                <a:ext uri="{FF2B5EF4-FFF2-40B4-BE49-F238E27FC236}">
                  <a16:creationId xmlns:a16="http://schemas.microsoft.com/office/drawing/2014/main" id="{2DE1B871-9842-B841-8174-C3DDC8F9C6DE}"/>
                </a:ext>
              </a:extLst>
            </p:cNvPr>
            <p:cNvGrpSpPr/>
            <p:nvPr/>
          </p:nvGrpSpPr>
          <p:grpSpPr>
            <a:xfrm>
              <a:off x="4259939" y="2215222"/>
              <a:ext cx="3240020" cy="3133517"/>
              <a:chOff x="4191000" y="2720528"/>
              <a:chExt cx="3240020" cy="3133517"/>
            </a:xfrm>
          </p:grpSpPr>
          <p:sp>
            <p:nvSpPr>
              <p:cNvPr id="90" name="Rectangle 89">
                <a:extLst>
                  <a:ext uri="{FF2B5EF4-FFF2-40B4-BE49-F238E27FC236}">
                    <a16:creationId xmlns:a16="http://schemas.microsoft.com/office/drawing/2014/main" id="{43966435-E8DC-E148-963A-920365069853}"/>
                  </a:ext>
                </a:extLst>
              </p:cNvPr>
              <p:cNvSpPr/>
              <p:nvPr/>
            </p:nvSpPr>
            <p:spPr>
              <a:xfrm>
                <a:off x="4191000" y="2720528"/>
                <a:ext cx="3240020" cy="3133517"/>
              </a:xfrm>
              <a:prstGeom prst="rect">
                <a:avLst/>
              </a:prstGeom>
              <a:solidFill>
                <a:schemeClr val="bg1"/>
              </a:solidFill>
              <a:ln w="38100">
                <a:solidFill>
                  <a:schemeClr val="accent1">
                    <a:lumMod val="60000"/>
                    <a:lumOff val="40000"/>
                  </a:schemeClr>
                </a:solidFill>
              </a:ln>
              <a:effectLst>
                <a:outerShdw blurRad="228600" sx="102000" sy="102000" algn="ctr"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91" name="TextBox 90">
                <a:extLst>
                  <a:ext uri="{FF2B5EF4-FFF2-40B4-BE49-F238E27FC236}">
                    <a16:creationId xmlns:a16="http://schemas.microsoft.com/office/drawing/2014/main" id="{B0B275EE-9B8E-734D-B05B-9D64ED2FF664}"/>
                  </a:ext>
                </a:extLst>
              </p:cNvPr>
              <p:cNvSpPr txBox="1"/>
              <p:nvPr/>
            </p:nvSpPr>
            <p:spPr>
              <a:xfrm>
                <a:off x="4437203" y="3778760"/>
                <a:ext cx="2473414" cy="1600438"/>
              </a:xfrm>
              <a:prstGeom prst="rect">
                <a:avLst/>
              </a:prstGeom>
              <a:noFill/>
            </p:spPr>
            <p:txBody>
              <a:bodyPr wrap="square" lIns="0" tIns="0" rIns="0" bIns="0" rtlCol="0">
                <a:spAutoFit/>
              </a:bodyPr>
              <a:lstStyle/>
              <a:p>
                <a:pPr marL="0" marR="0" lvl="0" indent="0" algn="l" defTabSz="914400" rtl="0" eaLnBrk="1" fontAlgn="auto" latinLnBrk="0" hangingPunct="1">
                  <a:lnSpc>
                    <a:spcPct val="130000"/>
                  </a:lnSpc>
                  <a:spcBef>
                    <a:spcPts val="0"/>
                  </a:spcBef>
                  <a:spcAft>
                    <a:spcPts val="3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Don’t try to come up with new ideas alone. To find the future of your business, look to unexpected intersections: between disciplines and domains of expertise, across departments and organizational silos, between industries, and through partnerships that span markets and geographies.</a:t>
                </a:r>
                <a:endParaRPr kumimoji="0" lang="en-US" sz="1000" b="0" i="0" u="none" strike="noStrike" kern="1200" cap="none" spc="0" normalizeH="0" baseline="0" noProof="0" dirty="0">
                  <a:ln>
                    <a:noFill/>
                  </a:ln>
                  <a:solidFill>
                    <a:srgbClr val="000000"/>
                  </a:solidFill>
                  <a:effectLst/>
                  <a:uLnTx/>
                  <a:uFillTx/>
                  <a:latin typeface="Open Sans"/>
                  <a:ea typeface="Open Sans Semibold" charset="0"/>
                  <a:cs typeface="Open Sans Semibold" charset="0"/>
                </a:endParaRPr>
              </a:p>
            </p:txBody>
          </p:sp>
          <p:sp>
            <p:nvSpPr>
              <p:cNvPr id="92" name="Title 3">
                <a:extLst>
                  <a:ext uri="{FF2B5EF4-FFF2-40B4-BE49-F238E27FC236}">
                    <a16:creationId xmlns:a16="http://schemas.microsoft.com/office/drawing/2014/main" id="{78CC4A8B-5E3F-F748-8F75-D8999D1E1EA1}"/>
                  </a:ext>
                </a:extLst>
              </p:cNvPr>
              <p:cNvSpPr txBox="1">
                <a:spLocks/>
              </p:cNvSpPr>
              <p:nvPr/>
            </p:nvSpPr>
            <p:spPr>
              <a:xfrm>
                <a:off x="5111070" y="3072589"/>
                <a:ext cx="2039208" cy="632285"/>
              </a:xfrm>
              <a:prstGeom prst="rect">
                <a:avLst/>
              </a:prstGeom>
            </p:spPr>
            <p:txBody>
              <a:bodyPr vert="horz" lIns="0" tIns="0" rIns="0" bIns="0" rtlCol="0" anchor="t" anchorCtr="0">
                <a:noAutofit/>
              </a:bodyPr>
              <a:lstStyle>
                <a:lvl1pPr algn="l" defTabSz="914400" rtl="0" eaLnBrk="1" latinLnBrk="0" hangingPunct="1">
                  <a:lnSpc>
                    <a:spcPct val="80000"/>
                  </a:lnSpc>
                  <a:spcBef>
                    <a:spcPct val="0"/>
                  </a:spcBef>
                  <a:buNone/>
                  <a:defRPr sz="3600" b="0" i="0" kern="1200" cap="none" spc="-100" baseline="0">
                    <a:solidFill>
                      <a:schemeClr val="tx1"/>
                    </a:solidFill>
                    <a:latin typeface="Chronicle Display Black" charset="0"/>
                    <a:ea typeface="Chronicle Display Black" charset="0"/>
                    <a:cs typeface="Chronicle Display Black" charset="0"/>
                  </a:defRPr>
                </a:lvl1pPr>
              </a:lstStyle>
              <a:p>
                <a:pPr marL="0" marR="0" lvl="0" indent="0" algn="l" defTabSz="914400" rtl="0" eaLnBrk="1" fontAlgn="auto"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charset="0"/>
                    <a:ea typeface="Open Sans" charset="0"/>
                    <a:cs typeface="Open Sans" charset="0"/>
                    <a:sym typeface="Frutiger Next Pro Medium" charset="0"/>
                  </a:rPr>
                  <a:t>Find opportunities at the intersections</a:t>
                </a:r>
              </a:p>
            </p:txBody>
          </p:sp>
          <p:grpSp>
            <p:nvGrpSpPr>
              <p:cNvPr id="93" name="Group 92">
                <a:extLst>
                  <a:ext uri="{FF2B5EF4-FFF2-40B4-BE49-F238E27FC236}">
                    <a16:creationId xmlns:a16="http://schemas.microsoft.com/office/drawing/2014/main" id="{EC219C20-0D4B-D245-8C6E-55ECDC3D00D5}"/>
                  </a:ext>
                </a:extLst>
              </p:cNvPr>
              <p:cNvGrpSpPr>
                <a:grpSpLocks noChangeAspect="1"/>
              </p:cNvGrpSpPr>
              <p:nvPr/>
            </p:nvGrpSpPr>
            <p:grpSpPr>
              <a:xfrm>
                <a:off x="4437203" y="3047791"/>
                <a:ext cx="520700" cy="522288"/>
                <a:chOff x="7583488" y="3355975"/>
                <a:chExt cx="520700" cy="522288"/>
              </a:xfrm>
            </p:grpSpPr>
            <p:sp>
              <p:nvSpPr>
                <p:cNvPr id="94" name="Freeform 50">
                  <a:extLst>
                    <a:ext uri="{FF2B5EF4-FFF2-40B4-BE49-F238E27FC236}">
                      <a16:creationId xmlns:a16="http://schemas.microsoft.com/office/drawing/2014/main" id="{479C0728-2F7F-A247-BBC3-BD3F638F9DF8}"/>
                    </a:ext>
                  </a:extLst>
                </p:cNvPr>
                <p:cNvSpPr>
                  <a:spLocks noEditPoints="1"/>
                </p:cNvSpPr>
                <p:nvPr/>
              </p:nvSpPr>
              <p:spPr bwMode="auto">
                <a:xfrm>
                  <a:off x="7583488" y="3355975"/>
                  <a:ext cx="520700" cy="522288"/>
                </a:xfrm>
                <a:custGeom>
                  <a:avLst/>
                  <a:gdLst>
                    <a:gd name="T0" fmla="*/ 312 w 657"/>
                    <a:gd name="T1" fmla="*/ 658 h 658"/>
                    <a:gd name="T2" fmla="*/ 262 w 657"/>
                    <a:gd name="T3" fmla="*/ 652 h 658"/>
                    <a:gd name="T4" fmla="*/ 200 w 657"/>
                    <a:gd name="T5" fmla="*/ 633 h 658"/>
                    <a:gd name="T6" fmla="*/ 120 w 657"/>
                    <a:gd name="T7" fmla="*/ 583 h 658"/>
                    <a:gd name="T8" fmla="*/ 55 w 657"/>
                    <a:gd name="T9" fmla="*/ 513 h 658"/>
                    <a:gd name="T10" fmla="*/ 15 w 657"/>
                    <a:gd name="T11" fmla="*/ 427 h 658"/>
                    <a:gd name="T12" fmla="*/ 3 w 657"/>
                    <a:gd name="T13" fmla="*/ 379 h 658"/>
                    <a:gd name="T14" fmla="*/ 0 w 657"/>
                    <a:gd name="T15" fmla="*/ 329 h 658"/>
                    <a:gd name="T16" fmla="*/ 1 w 657"/>
                    <a:gd name="T17" fmla="*/ 296 h 658"/>
                    <a:gd name="T18" fmla="*/ 9 w 657"/>
                    <a:gd name="T19" fmla="*/ 247 h 658"/>
                    <a:gd name="T20" fmla="*/ 39 w 657"/>
                    <a:gd name="T21" fmla="*/ 173 h 658"/>
                    <a:gd name="T22" fmla="*/ 95 w 657"/>
                    <a:gd name="T23" fmla="*/ 97 h 658"/>
                    <a:gd name="T24" fmla="*/ 172 w 657"/>
                    <a:gd name="T25" fmla="*/ 40 h 658"/>
                    <a:gd name="T26" fmla="*/ 246 w 657"/>
                    <a:gd name="T27" fmla="*/ 11 h 658"/>
                    <a:gd name="T28" fmla="*/ 294 w 657"/>
                    <a:gd name="T29" fmla="*/ 3 h 658"/>
                    <a:gd name="T30" fmla="*/ 328 w 657"/>
                    <a:gd name="T31" fmla="*/ 0 h 658"/>
                    <a:gd name="T32" fmla="*/ 379 w 657"/>
                    <a:gd name="T33" fmla="*/ 4 h 658"/>
                    <a:gd name="T34" fmla="*/ 426 w 657"/>
                    <a:gd name="T35" fmla="*/ 15 h 658"/>
                    <a:gd name="T36" fmla="*/ 512 w 657"/>
                    <a:gd name="T37" fmla="*/ 57 h 658"/>
                    <a:gd name="T38" fmla="*/ 581 w 657"/>
                    <a:gd name="T39" fmla="*/ 121 h 658"/>
                    <a:gd name="T40" fmla="*/ 631 w 657"/>
                    <a:gd name="T41" fmla="*/ 202 h 658"/>
                    <a:gd name="T42" fmla="*/ 650 w 657"/>
                    <a:gd name="T43" fmla="*/ 263 h 658"/>
                    <a:gd name="T44" fmla="*/ 657 w 657"/>
                    <a:gd name="T45" fmla="*/ 313 h 658"/>
                    <a:gd name="T46" fmla="*/ 657 w 657"/>
                    <a:gd name="T47" fmla="*/ 347 h 658"/>
                    <a:gd name="T48" fmla="*/ 650 w 657"/>
                    <a:gd name="T49" fmla="*/ 395 h 658"/>
                    <a:gd name="T50" fmla="*/ 631 w 657"/>
                    <a:gd name="T51" fmla="*/ 457 h 658"/>
                    <a:gd name="T52" fmla="*/ 581 w 657"/>
                    <a:gd name="T53" fmla="*/ 539 h 658"/>
                    <a:gd name="T54" fmla="*/ 512 w 657"/>
                    <a:gd name="T55" fmla="*/ 602 h 658"/>
                    <a:gd name="T56" fmla="*/ 426 w 657"/>
                    <a:gd name="T57" fmla="*/ 643 h 658"/>
                    <a:gd name="T58" fmla="*/ 379 w 657"/>
                    <a:gd name="T59" fmla="*/ 654 h 658"/>
                    <a:gd name="T60" fmla="*/ 328 w 657"/>
                    <a:gd name="T61" fmla="*/ 658 h 658"/>
                    <a:gd name="T62" fmla="*/ 328 w 657"/>
                    <a:gd name="T63" fmla="*/ 38 h 658"/>
                    <a:gd name="T64" fmla="*/ 242 w 657"/>
                    <a:gd name="T65" fmla="*/ 51 h 658"/>
                    <a:gd name="T66" fmla="*/ 165 w 657"/>
                    <a:gd name="T67" fmla="*/ 89 h 658"/>
                    <a:gd name="T68" fmla="*/ 103 w 657"/>
                    <a:gd name="T69" fmla="*/ 144 h 658"/>
                    <a:gd name="T70" fmla="*/ 60 w 657"/>
                    <a:gd name="T71" fmla="*/ 216 h 658"/>
                    <a:gd name="T72" fmla="*/ 39 w 657"/>
                    <a:gd name="T73" fmla="*/ 300 h 658"/>
                    <a:gd name="T74" fmla="*/ 39 w 657"/>
                    <a:gd name="T75" fmla="*/ 359 h 658"/>
                    <a:gd name="T76" fmla="*/ 60 w 657"/>
                    <a:gd name="T77" fmla="*/ 443 h 658"/>
                    <a:gd name="T78" fmla="*/ 103 w 657"/>
                    <a:gd name="T79" fmla="*/ 515 h 658"/>
                    <a:gd name="T80" fmla="*/ 165 w 657"/>
                    <a:gd name="T81" fmla="*/ 571 h 658"/>
                    <a:gd name="T82" fmla="*/ 242 w 657"/>
                    <a:gd name="T83" fmla="*/ 607 h 658"/>
                    <a:gd name="T84" fmla="*/ 328 w 657"/>
                    <a:gd name="T85" fmla="*/ 621 h 658"/>
                    <a:gd name="T86" fmla="*/ 387 w 657"/>
                    <a:gd name="T87" fmla="*/ 615 h 658"/>
                    <a:gd name="T88" fmla="*/ 467 w 657"/>
                    <a:gd name="T89" fmla="*/ 586 h 658"/>
                    <a:gd name="T90" fmla="*/ 534 w 657"/>
                    <a:gd name="T91" fmla="*/ 535 h 658"/>
                    <a:gd name="T92" fmla="*/ 584 w 657"/>
                    <a:gd name="T93" fmla="*/ 468 h 658"/>
                    <a:gd name="T94" fmla="*/ 614 w 657"/>
                    <a:gd name="T95" fmla="*/ 388 h 658"/>
                    <a:gd name="T96" fmla="*/ 619 w 657"/>
                    <a:gd name="T97" fmla="*/ 329 h 658"/>
                    <a:gd name="T98" fmla="*/ 606 w 657"/>
                    <a:gd name="T99" fmla="*/ 243 h 658"/>
                    <a:gd name="T100" fmla="*/ 569 w 657"/>
                    <a:gd name="T101" fmla="*/ 167 h 658"/>
                    <a:gd name="T102" fmla="*/ 513 w 657"/>
                    <a:gd name="T103" fmla="*/ 105 h 658"/>
                    <a:gd name="T104" fmla="*/ 442 w 657"/>
                    <a:gd name="T105" fmla="*/ 62 h 658"/>
                    <a:gd name="T106" fmla="*/ 357 w 657"/>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8" y="658"/>
                      </a:moveTo>
                      <a:lnTo>
                        <a:pt x="328" y="658"/>
                      </a:lnTo>
                      <a:lnTo>
                        <a:pt x="312" y="658"/>
                      </a:lnTo>
                      <a:lnTo>
                        <a:pt x="294" y="657"/>
                      </a:lnTo>
                      <a:lnTo>
                        <a:pt x="278" y="654"/>
                      </a:lnTo>
                      <a:lnTo>
                        <a:pt x="262" y="652"/>
                      </a:lnTo>
                      <a:lnTo>
                        <a:pt x="246" y="648"/>
                      </a:lnTo>
                      <a:lnTo>
                        <a:pt x="231" y="643"/>
                      </a:lnTo>
                      <a:lnTo>
                        <a:pt x="200" y="633"/>
                      </a:lnTo>
                      <a:lnTo>
                        <a:pt x="172" y="618"/>
                      </a:lnTo>
                      <a:lnTo>
                        <a:pt x="145" y="602"/>
                      </a:lnTo>
                      <a:lnTo>
                        <a:pt x="120" y="583"/>
                      </a:lnTo>
                      <a:lnTo>
                        <a:pt x="95" y="562"/>
                      </a:lnTo>
                      <a:lnTo>
                        <a:pt x="75" y="539"/>
                      </a:lnTo>
                      <a:lnTo>
                        <a:pt x="55" y="513"/>
                      </a:lnTo>
                      <a:lnTo>
                        <a:pt x="39" y="486"/>
                      </a:lnTo>
                      <a:lnTo>
                        <a:pt x="26" y="457"/>
                      </a:lnTo>
                      <a:lnTo>
                        <a:pt x="15" y="427"/>
                      </a:lnTo>
                      <a:lnTo>
                        <a:pt x="9" y="411"/>
                      </a:lnTo>
                      <a:lnTo>
                        <a:pt x="7" y="395"/>
                      </a:lnTo>
                      <a:lnTo>
                        <a:pt x="3" y="379"/>
                      </a:lnTo>
                      <a:lnTo>
                        <a:pt x="1" y="363"/>
                      </a:lnTo>
                      <a:lnTo>
                        <a:pt x="0" y="347"/>
                      </a:lnTo>
                      <a:lnTo>
                        <a:pt x="0" y="329"/>
                      </a:lnTo>
                      <a:lnTo>
                        <a:pt x="0" y="329"/>
                      </a:lnTo>
                      <a:lnTo>
                        <a:pt x="0" y="313"/>
                      </a:lnTo>
                      <a:lnTo>
                        <a:pt x="1" y="296"/>
                      </a:lnTo>
                      <a:lnTo>
                        <a:pt x="3" y="280"/>
                      </a:lnTo>
                      <a:lnTo>
                        <a:pt x="7" y="263"/>
                      </a:lnTo>
                      <a:lnTo>
                        <a:pt x="9" y="247"/>
                      </a:lnTo>
                      <a:lnTo>
                        <a:pt x="15" y="233"/>
                      </a:lnTo>
                      <a:lnTo>
                        <a:pt x="26" y="202"/>
                      </a:lnTo>
                      <a:lnTo>
                        <a:pt x="39" y="173"/>
                      </a:lnTo>
                      <a:lnTo>
                        <a:pt x="55" y="145"/>
                      </a:lnTo>
                      <a:lnTo>
                        <a:pt x="75" y="121"/>
                      </a:lnTo>
                      <a:lnTo>
                        <a:pt x="95" y="97"/>
                      </a:lnTo>
                      <a:lnTo>
                        <a:pt x="120" y="75"/>
                      </a:lnTo>
                      <a:lnTo>
                        <a:pt x="145" y="57"/>
                      </a:lnTo>
                      <a:lnTo>
                        <a:pt x="172" y="40"/>
                      </a:lnTo>
                      <a:lnTo>
                        <a:pt x="200" y="27"/>
                      </a:lnTo>
                      <a:lnTo>
                        <a:pt x="231" y="15"/>
                      </a:lnTo>
                      <a:lnTo>
                        <a:pt x="246" y="11"/>
                      </a:lnTo>
                      <a:lnTo>
                        <a:pt x="262" y="7"/>
                      </a:lnTo>
                      <a:lnTo>
                        <a:pt x="278" y="4"/>
                      </a:lnTo>
                      <a:lnTo>
                        <a:pt x="294" y="3"/>
                      </a:lnTo>
                      <a:lnTo>
                        <a:pt x="312" y="2"/>
                      </a:lnTo>
                      <a:lnTo>
                        <a:pt x="328" y="0"/>
                      </a:lnTo>
                      <a:lnTo>
                        <a:pt x="328" y="0"/>
                      </a:lnTo>
                      <a:lnTo>
                        <a:pt x="345" y="2"/>
                      </a:lnTo>
                      <a:lnTo>
                        <a:pt x="361" y="3"/>
                      </a:lnTo>
                      <a:lnTo>
                        <a:pt x="379" y="4"/>
                      </a:lnTo>
                      <a:lnTo>
                        <a:pt x="395" y="7"/>
                      </a:lnTo>
                      <a:lnTo>
                        <a:pt x="410" y="11"/>
                      </a:lnTo>
                      <a:lnTo>
                        <a:pt x="426" y="15"/>
                      </a:lnTo>
                      <a:lnTo>
                        <a:pt x="457" y="27"/>
                      </a:lnTo>
                      <a:lnTo>
                        <a:pt x="485" y="40"/>
                      </a:lnTo>
                      <a:lnTo>
                        <a:pt x="512" y="57"/>
                      </a:lnTo>
                      <a:lnTo>
                        <a:pt x="537" y="75"/>
                      </a:lnTo>
                      <a:lnTo>
                        <a:pt x="560" y="97"/>
                      </a:lnTo>
                      <a:lnTo>
                        <a:pt x="581" y="121"/>
                      </a:lnTo>
                      <a:lnTo>
                        <a:pt x="600" y="145"/>
                      </a:lnTo>
                      <a:lnTo>
                        <a:pt x="618" y="173"/>
                      </a:lnTo>
                      <a:lnTo>
                        <a:pt x="631" y="202"/>
                      </a:lnTo>
                      <a:lnTo>
                        <a:pt x="642" y="233"/>
                      </a:lnTo>
                      <a:lnTo>
                        <a:pt x="646" y="247"/>
                      </a:lnTo>
                      <a:lnTo>
                        <a:pt x="650" y="263"/>
                      </a:lnTo>
                      <a:lnTo>
                        <a:pt x="653" y="280"/>
                      </a:lnTo>
                      <a:lnTo>
                        <a:pt x="655" y="296"/>
                      </a:lnTo>
                      <a:lnTo>
                        <a:pt x="657" y="313"/>
                      </a:lnTo>
                      <a:lnTo>
                        <a:pt x="657" y="329"/>
                      </a:lnTo>
                      <a:lnTo>
                        <a:pt x="657" y="329"/>
                      </a:lnTo>
                      <a:lnTo>
                        <a:pt x="657" y="347"/>
                      </a:lnTo>
                      <a:lnTo>
                        <a:pt x="655" y="363"/>
                      </a:lnTo>
                      <a:lnTo>
                        <a:pt x="653" y="379"/>
                      </a:lnTo>
                      <a:lnTo>
                        <a:pt x="650" y="395"/>
                      </a:lnTo>
                      <a:lnTo>
                        <a:pt x="646" y="411"/>
                      </a:lnTo>
                      <a:lnTo>
                        <a:pt x="642" y="427"/>
                      </a:lnTo>
                      <a:lnTo>
                        <a:pt x="631" y="457"/>
                      </a:lnTo>
                      <a:lnTo>
                        <a:pt x="618" y="486"/>
                      </a:lnTo>
                      <a:lnTo>
                        <a:pt x="600" y="513"/>
                      </a:lnTo>
                      <a:lnTo>
                        <a:pt x="581" y="539"/>
                      </a:lnTo>
                      <a:lnTo>
                        <a:pt x="560" y="562"/>
                      </a:lnTo>
                      <a:lnTo>
                        <a:pt x="537" y="583"/>
                      </a:lnTo>
                      <a:lnTo>
                        <a:pt x="512" y="602"/>
                      </a:lnTo>
                      <a:lnTo>
                        <a:pt x="485" y="618"/>
                      </a:lnTo>
                      <a:lnTo>
                        <a:pt x="457" y="633"/>
                      </a:lnTo>
                      <a:lnTo>
                        <a:pt x="426" y="643"/>
                      </a:lnTo>
                      <a:lnTo>
                        <a:pt x="410" y="648"/>
                      </a:lnTo>
                      <a:lnTo>
                        <a:pt x="395" y="652"/>
                      </a:lnTo>
                      <a:lnTo>
                        <a:pt x="379" y="654"/>
                      </a:lnTo>
                      <a:lnTo>
                        <a:pt x="361" y="657"/>
                      </a:lnTo>
                      <a:lnTo>
                        <a:pt x="345" y="658"/>
                      </a:lnTo>
                      <a:lnTo>
                        <a:pt x="328" y="658"/>
                      </a:lnTo>
                      <a:lnTo>
                        <a:pt x="328" y="658"/>
                      </a:lnTo>
                      <a:close/>
                      <a:moveTo>
                        <a:pt x="328" y="38"/>
                      </a:moveTo>
                      <a:lnTo>
                        <a:pt x="328" y="38"/>
                      </a:lnTo>
                      <a:lnTo>
                        <a:pt x="298" y="40"/>
                      </a:lnTo>
                      <a:lnTo>
                        <a:pt x="270" y="45"/>
                      </a:lnTo>
                      <a:lnTo>
                        <a:pt x="242" y="51"/>
                      </a:lnTo>
                      <a:lnTo>
                        <a:pt x="215" y="62"/>
                      </a:lnTo>
                      <a:lnTo>
                        <a:pt x="189" y="74"/>
                      </a:lnTo>
                      <a:lnTo>
                        <a:pt x="165" y="89"/>
                      </a:lnTo>
                      <a:lnTo>
                        <a:pt x="144" y="105"/>
                      </a:lnTo>
                      <a:lnTo>
                        <a:pt x="122" y="124"/>
                      </a:lnTo>
                      <a:lnTo>
                        <a:pt x="103" y="144"/>
                      </a:lnTo>
                      <a:lnTo>
                        <a:pt x="87" y="167"/>
                      </a:lnTo>
                      <a:lnTo>
                        <a:pt x="73" y="191"/>
                      </a:lnTo>
                      <a:lnTo>
                        <a:pt x="60" y="216"/>
                      </a:lnTo>
                      <a:lnTo>
                        <a:pt x="50" y="243"/>
                      </a:lnTo>
                      <a:lnTo>
                        <a:pt x="43" y="271"/>
                      </a:lnTo>
                      <a:lnTo>
                        <a:pt x="39" y="300"/>
                      </a:lnTo>
                      <a:lnTo>
                        <a:pt x="38" y="329"/>
                      </a:lnTo>
                      <a:lnTo>
                        <a:pt x="38" y="329"/>
                      </a:lnTo>
                      <a:lnTo>
                        <a:pt x="39" y="359"/>
                      </a:lnTo>
                      <a:lnTo>
                        <a:pt x="43" y="388"/>
                      </a:lnTo>
                      <a:lnTo>
                        <a:pt x="50" y="417"/>
                      </a:lnTo>
                      <a:lnTo>
                        <a:pt x="60" y="443"/>
                      </a:lnTo>
                      <a:lnTo>
                        <a:pt x="73" y="468"/>
                      </a:lnTo>
                      <a:lnTo>
                        <a:pt x="87" y="492"/>
                      </a:lnTo>
                      <a:lnTo>
                        <a:pt x="103" y="515"/>
                      </a:lnTo>
                      <a:lnTo>
                        <a:pt x="122" y="535"/>
                      </a:lnTo>
                      <a:lnTo>
                        <a:pt x="144" y="553"/>
                      </a:lnTo>
                      <a:lnTo>
                        <a:pt x="165" y="571"/>
                      </a:lnTo>
                      <a:lnTo>
                        <a:pt x="189" y="586"/>
                      </a:lnTo>
                      <a:lnTo>
                        <a:pt x="215" y="598"/>
                      </a:lnTo>
                      <a:lnTo>
                        <a:pt x="242" y="607"/>
                      </a:lnTo>
                      <a:lnTo>
                        <a:pt x="270" y="615"/>
                      </a:lnTo>
                      <a:lnTo>
                        <a:pt x="298" y="619"/>
                      </a:lnTo>
                      <a:lnTo>
                        <a:pt x="328" y="621"/>
                      </a:lnTo>
                      <a:lnTo>
                        <a:pt x="328" y="621"/>
                      </a:lnTo>
                      <a:lnTo>
                        <a:pt x="357" y="619"/>
                      </a:lnTo>
                      <a:lnTo>
                        <a:pt x="387" y="615"/>
                      </a:lnTo>
                      <a:lnTo>
                        <a:pt x="415" y="607"/>
                      </a:lnTo>
                      <a:lnTo>
                        <a:pt x="442" y="598"/>
                      </a:lnTo>
                      <a:lnTo>
                        <a:pt x="467" y="586"/>
                      </a:lnTo>
                      <a:lnTo>
                        <a:pt x="490" y="571"/>
                      </a:lnTo>
                      <a:lnTo>
                        <a:pt x="513" y="553"/>
                      </a:lnTo>
                      <a:lnTo>
                        <a:pt x="534" y="535"/>
                      </a:lnTo>
                      <a:lnTo>
                        <a:pt x="553" y="515"/>
                      </a:lnTo>
                      <a:lnTo>
                        <a:pt x="569" y="492"/>
                      </a:lnTo>
                      <a:lnTo>
                        <a:pt x="584" y="468"/>
                      </a:lnTo>
                      <a:lnTo>
                        <a:pt x="596" y="443"/>
                      </a:lnTo>
                      <a:lnTo>
                        <a:pt x="606" y="417"/>
                      </a:lnTo>
                      <a:lnTo>
                        <a:pt x="614" y="388"/>
                      </a:lnTo>
                      <a:lnTo>
                        <a:pt x="618" y="359"/>
                      </a:lnTo>
                      <a:lnTo>
                        <a:pt x="619" y="329"/>
                      </a:lnTo>
                      <a:lnTo>
                        <a:pt x="619" y="329"/>
                      </a:lnTo>
                      <a:lnTo>
                        <a:pt x="618" y="300"/>
                      </a:lnTo>
                      <a:lnTo>
                        <a:pt x="614" y="271"/>
                      </a:lnTo>
                      <a:lnTo>
                        <a:pt x="606" y="243"/>
                      </a:lnTo>
                      <a:lnTo>
                        <a:pt x="596" y="216"/>
                      </a:lnTo>
                      <a:lnTo>
                        <a:pt x="584" y="191"/>
                      </a:lnTo>
                      <a:lnTo>
                        <a:pt x="569" y="167"/>
                      </a:lnTo>
                      <a:lnTo>
                        <a:pt x="553" y="144"/>
                      </a:lnTo>
                      <a:lnTo>
                        <a:pt x="534" y="124"/>
                      </a:lnTo>
                      <a:lnTo>
                        <a:pt x="513" y="105"/>
                      </a:lnTo>
                      <a:lnTo>
                        <a:pt x="490" y="89"/>
                      </a:lnTo>
                      <a:lnTo>
                        <a:pt x="467" y="74"/>
                      </a:lnTo>
                      <a:lnTo>
                        <a:pt x="442" y="62"/>
                      </a:lnTo>
                      <a:lnTo>
                        <a:pt x="415" y="51"/>
                      </a:lnTo>
                      <a:lnTo>
                        <a:pt x="387" y="45"/>
                      </a:lnTo>
                      <a:lnTo>
                        <a:pt x="357" y="40"/>
                      </a:lnTo>
                      <a:lnTo>
                        <a:pt x="328" y="38"/>
                      </a:lnTo>
                      <a:lnTo>
                        <a:pt x="328"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5" name="Freeform 228">
                  <a:extLst>
                    <a:ext uri="{FF2B5EF4-FFF2-40B4-BE49-F238E27FC236}">
                      <a16:creationId xmlns:a16="http://schemas.microsoft.com/office/drawing/2014/main" id="{4B8E780B-F323-674C-8413-900A08360AA1}"/>
                    </a:ext>
                  </a:extLst>
                </p:cNvPr>
                <p:cNvSpPr>
                  <a:spLocks noEditPoints="1"/>
                </p:cNvSpPr>
                <p:nvPr/>
              </p:nvSpPr>
              <p:spPr bwMode="auto">
                <a:xfrm>
                  <a:off x="7724776" y="3500438"/>
                  <a:ext cx="236538" cy="234950"/>
                </a:xfrm>
                <a:custGeom>
                  <a:avLst/>
                  <a:gdLst>
                    <a:gd name="T0" fmla="*/ 295 w 297"/>
                    <a:gd name="T1" fmla="*/ 123 h 297"/>
                    <a:gd name="T2" fmla="*/ 297 w 297"/>
                    <a:gd name="T3" fmla="*/ 81 h 297"/>
                    <a:gd name="T4" fmla="*/ 254 w 297"/>
                    <a:gd name="T5" fmla="*/ 77 h 297"/>
                    <a:gd name="T6" fmla="*/ 248 w 297"/>
                    <a:gd name="T7" fmla="*/ 81 h 297"/>
                    <a:gd name="T8" fmla="*/ 207 w 297"/>
                    <a:gd name="T9" fmla="*/ 48 h 297"/>
                    <a:gd name="T10" fmla="*/ 219 w 297"/>
                    <a:gd name="T11" fmla="*/ 46 h 297"/>
                    <a:gd name="T12" fmla="*/ 220 w 297"/>
                    <a:gd name="T13" fmla="*/ 5 h 297"/>
                    <a:gd name="T14" fmla="*/ 177 w 297"/>
                    <a:gd name="T15" fmla="*/ 0 h 297"/>
                    <a:gd name="T16" fmla="*/ 172 w 297"/>
                    <a:gd name="T17" fmla="*/ 5 h 297"/>
                    <a:gd name="T18" fmla="*/ 48 w 297"/>
                    <a:gd name="T19" fmla="*/ 5 h 297"/>
                    <a:gd name="T20" fmla="*/ 43 w 297"/>
                    <a:gd name="T21" fmla="*/ 0 h 297"/>
                    <a:gd name="T22" fmla="*/ 1 w 297"/>
                    <a:gd name="T23" fmla="*/ 2 h 297"/>
                    <a:gd name="T24" fmla="*/ 0 w 297"/>
                    <a:gd name="T25" fmla="*/ 43 h 297"/>
                    <a:gd name="T26" fmla="*/ 19 w 297"/>
                    <a:gd name="T27" fmla="*/ 48 h 297"/>
                    <a:gd name="T28" fmla="*/ 4 w 297"/>
                    <a:gd name="T29" fmla="*/ 172 h 297"/>
                    <a:gd name="T30" fmla="*/ 0 w 297"/>
                    <a:gd name="T31" fmla="*/ 215 h 297"/>
                    <a:gd name="T32" fmla="*/ 4 w 297"/>
                    <a:gd name="T33" fmla="*/ 221 h 297"/>
                    <a:gd name="T34" fmla="*/ 46 w 297"/>
                    <a:gd name="T35" fmla="*/ 219 h 297"/>
                    <a:gd name="T36" fmla="*/ 93 w 297"/>
                    <a:gd name="T37" fmla="*/ 209 h 297"/>
                    <a:gd name="T38" fmla="*/ 81 w 297"/>
                    <a:gd name="T39" fmla="*/ 249 h 297"/>
                    <a:gd name="T40" fmla="*/ 77 w 297"/>
                    <a:gd name="T41" fmla="*/ 292 h 297"/>
                    <a:gd name="T42" fmla="*/ 81 w 297"/>
                    <a:gd name="T43" fmla="*/ 297 h 297"/>
                    <a:gd name="T44" fmla="*/ 122 w 297"/>
                    <a:gd name="T45" fmla="*/ 296 h 297"/>
                    <a:gd name="T46" fmla="*/ 248 w 297"/>
                    <a:gd name="T47" fmla="*/ 281 h 297"/>
                    <a:gd name="T48" fmla="*/ 250 w 297"/>
                    <a:gd name="T49" fmla="*/ 296 h 297"/>
                    <a:gd name="T50" fmla="*/ 291 w 297"/>
                    <a:gd name="T51" fmla="*/ 297 h 297"/>
                    <a:gd name="T52" fmla="*/ 297 w 297"/>
                    <a:gd name="T53" fmla="*/ 254 h 297"/>
                    <a:gd name="T54" fmla="*/ 291 w 297"/>
                    <a:gd name="T55" fmla="*/ 249 h 297"/>
                    <a:gd name="T56" fmla="*/ 291 w 297"/>
                    <a:gd name="T57" fmla="*/ 124 h 297"/>
                    <a:gd name="T58" fmla="*/ 250 w 297"/>
                    <a:gd name="T59" fmla="*/ 250 h 297"/>
                    <a:gd name="T60" fmla="*/ 125 w 297"/>
                    <a:gd name="T61" fmla="*/ 265 h 297"/>
                    <a:gd name="T62" fmla="*/ 122 w 297"/>
                    <a:gd name="T63" fmla="*/ 250 h 297"/>
                    <a:gd name="T64" fmla="*/ 109 w 297"/>
                    <a:gd name="T65" fmla="*/ 209 h 297"/>
                    <a:gd name="T66" fmla="*/ 172 w 297"/>
                    <a:gd name="T67" fmla="*/ 215 h 297"/>
                    <a:gd name="T68" fmla="*/ 215 w 297"/>
                    <a:gd name="T69" fmla="*/ 221 h 297"/>
                    <a:gd name="T70" fmla="*/ 220 w 297"/>
                    <a:gd name="T71" fmla="*/ 215 h 297"/>
                    <a:gd name="T72" fmla="*/ 219 w 297"/>
                    <a:gd name="T73" fmla="*/ 174 h 297"/>
                    <a:gd name="T74" fmla="*/ 207 w 297"/>
                    <a:gd name="T75" fmla="*/ 107 h 297"/>
                    <a:gd name="T76" fmla="*/ 248 w 297"/>
                    <a:gd name="T77" fmla="*/ 120 h 297"/>
                    <a:gd name="T78" fmla="*/ 264 w 297"/>
                    <a:gd name="T79" fmla="*/ 124 h 297"/>
                    <a:gd name="T80" fmla="*/ 35 w 297"/>
                    <a:gd name="T81" fmla="*/ 48 h 297"/>
                    <a:gd name="T82" fmla="*/ 46 w 297"/>
                    <a:gd name="T83" fmla="*/ 46 h 297"/>
                    <a:gd name="T84" fmla="*/ 172 w 297"/>
                    <a:gd name="T85" fmla="*/ 30 h 297"/>
                    <a:gd name="T86" fmla="*/ 173 w 297"/>
                    <a:gd name="T87" fmla="*/ 46 h 297"/>
                    <a:gd name="T88" fmla="*/ 191 w 297"/>
                    <a:gd name="T89" fmla="*/ 90 h 297"/>
                    <a:gd name="T90" fmla="*/ 48 w 297"/>
                    <a:gd name="T91" fmla="*/ 191 h 297"/>
                    <a:gd name="T92" fmla="*/ 46 w 297"/>
                    <a:gd name="T93" fmla="*/ 174 h 297"/>
                    <a:gd name="T94" fmla="*/ 35 w 297"/>
                    <a:gd name="T95" fmla="*/ 48 h 297"/>
                    <a:gd name="T96" fmla="*/ 177 w 297"/>
                    <a:gd name="T97" fmla="*/ 172 h 297"/>
                    <a:gd name="T98" fmla="*/ 172 w 297"/>
                    <a:gd name="T99" fmla="*/ 191 h 297"/>
                    <a:gd name="T100" fmla="*/ 191 w 297"/>
                    <a:gd name="T101" fmla="*/ 107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7" h="297">
                      <a:moveTo>
                        <a:pt x="291" y="124"/>
                      </a:moveTo>
                      <a:lnTo>
                        <a:pt x="291" y="124"/>
                      </a:lnTo>
                      <a:lnTo>
                        <a:pt x="295" y="123"/>
                      </a:lnTo>
                      <a:lnTo>
                        <a:pt x="297" y="120"/>
                      </a:lnTo>
                      <a:lnTo>
                        <a:pt x="297" y="81"/>
                      </a:lnTo>
                      <a:lnTo>
                        <a:pt x="297" y="81"/>
                      </a:lnTo>
                      <a:lnTo>
                        <a:pt x="295" y="78"/>
                      </a:lnTo>
                      <a:lnTo>
                        <a:pt x="291" y="77"/>
                      </a:lnTo>
                      <a:lnTo>
                        <a:pt x="254" y="77"/>
                      </a:lnTo>
                      <a:lnTo>
                        <a:pt x="254" y="77"/>
                      </a:lnTo>
                      <a:lnTo>
                        <a:pt x="250" y="78"/>
                      </a:lnTo>
                      <a:lnTo>
                        <a:pt x="248" y="81"/>
                      </a:lnTo>
                      <a:lnTo>
                        <a:pt x="248" y="90"/>
                      </a:lnTo>
                      <a:lnTo>
                        <a:pt x="207" y="90"/>
                      </a:lnTo>
                      <a:lnTo>
                        <a:pt x="207" y="48"/>
                      </a:lnTo>
                      <a:lnTo>
                        <a:pt x="215" y="48"/>
                      </a:lnTo>
                      <a:lnTo>
                        <a:pt x="215" y="48"/>
                      </a:lnTo>
                      <a:lnTo>
                        <a:pt x="219" y="46"/>
                      </a:lnTo>
                      <a:lnTo>
                        <a:pt x="220" y="43"/>
                      </a:lnTo>
                      <a:lnTo>
                        <a:pt x="220" y="5"/>
                      </a:lnTo>
                      <a:lnTo>
                        <a:pt x="220" y="5"/>
                      </a:lnTo>
                      <a:lnTo>
                        <a:pt x="219" y="2"/>
                      </a:lnTo>
                      <a:lnTo>
                        <a:pt x="215" y="0"/>
                      </a:lnTo>
                      <a:lnTo>
                        <a:pt x="177" y="0"/>
                      </a:lnTo>
                      <a:lnTo>
                        <a:pt x="177" y="0"/>
                      </a:lnTo>
                      <a:lnTo>
                        <a:pt x="173" y="2"/>
                      </a:lnTo>
                      <a:lnTo>
                        <a:pt x="172" y="5"/>
                      </a:lnTo>
                      <a:lnTo>
                        <a:pt x="172" y="14"/>
                      </a:lnTo>
                      <a:lnTo>
                        <a:pt x="48" y="14"/>
                      </a:lnTo>
                      <a:lnTo>
                        <a:pt x="48" y="5"/>
                      </a:lnTo>
                      <a:lnTo>
                        <a:pt x="48" y="5"/>
                      </a:lnTo>
                      <a:lnTo>
                        <a:pt x="46" y="2"/>
                      </a:lnTo>
                      <a:lnTo>
                        <a:pt x="43" y="0"/>
                      </a:lnTo>
                      <a:lnTo>
                        <a:pt x="4" y="0"/>
                      </a:lnTo>
                      <a:lnTo>
                        <a:pt x="4" y="0"/>
                      </a:lnTo>
                      <a:lnTo>
                        <a:pt x="1" y="2"/>
                      </a:lnTo>
                      <a:lnTo>
                        <a:pt x="0" y="5"/>
                      </a:lnTo>
                      <a:lnTo>
                        <a:pt x="0" y="43"/>
                      </a:lnTo>
                      <a:lnTo>
                        <a:pt x="0" y="43"/>
                      </a:lnTo>
                      <a:lnTo>
                        <a:pt x="1" y="46"/>
                      </a:lnTo>
                      <a:lnTo>
                        <a:pt x="4" y="48"/>
                      </a:lnTo>
                      <a:lnTo>
                        <a:pt x="19" y="48"/>
                      </a:lnTo>
                      <a:lnTo>
                        <a:pt x="19" y="172"/>
                      </a:lnTo>
                      <a:lnTo>
                        <a:pt x="4" y="172"/>
                      </a:lnTo>
                      <a:lnTo>
                        <a:pt x="4" y="172"/>
                      </a:lnTo>
                      <a:lnTo>
                        <a:pt x="1" y="174"/>
                      </a:lnTo>
                      <a:lnTo>
                        <a:pt x="0" y="178"/>
                      </a:lnTo>
                      <a:lnTo>
                        <a:pt x="0" y="215"/>
                      </a:lnTo>
                      <a:lnTo>
                        <a:pt x="0" y="215"/>
                      </a:lnTo>
                      <a:lnTo>
                        <a:pt x="1" y="219"/>
                      </a:lnTo>
                      <a:lnTo>
                        <a:pt x="4" y="221"/>
                      </a:lnTo>
                      <a:lnTo>
                        <a:pt x="43" y="221"/>
                      </a:lnTo>
                      <a:lnTo>
                        <a:pt x="43" y="221"/>
                      </a:lnTo>
                      <a:lnTo>
                        <a:pt x="46" y="219"/>
                      </a:lnTo>
                      <a:lnTo>
                        <a:pt x="48" y="215"/>
                      </a:lnTo>
                      <a:lnTo>
                        <a:pt x="48" y="209"/>
                      </a:lnTo>
                      <a:lnTo>
                        <a:pt x="93" y="209"/>
                      </a:lnTo>
                      <a:lnTo>
                        <a:pt x="93" y="249"/>
                      </a:lnTo>
                      <a:lnTo>
                        <a:pt x="81" y="249"/>
                      </a:lnTo>
                      <a:lnTo>
                        <a:pt x="81" y="249"/>
                      </a:lnTo>
                      <a:lnTo>
                        <a:pt x="78" y="250"/>
                      </a:lnTo>
                      <a:lnTo>
                        <a:pt x="77" y="254"/>
                      </a:lnTo>
                      <a:lnTo>
                        <a:pt x="77" y="292"/>
                      </a:lnTo>
                      <a:lnTo>
                        <a:pt x="77" y="292"/>
                      </a:lnTo>
                      <a:lnTo>
                        <a:pt x="78" y="296"/>
                      </a:lnTo>
                      <a:lnTo>
                        <a:pt x="81" y="297"/>
                      </a:lnTo>
                      <a:lnTo>
                        <a:pt x="119" y="297"/>
                      </a:lnTo>
                      <a:lnTo>
                        <a:pt x="119" y="297"/>
                      </a:lnTo>
                      <a:lnTo>
                        <a:pt x="122" y="296"/>
                      </a:lnTo>
                      <a:lnTo>
                        <a:pt x="125" y="292"/>
                      </a:lnTo>
                      <a:lnTo>
                        <a:pt x="125" y="281"/>
                      </a:lnTo>
                      <a:lnTo>
                        <a:pt x="248" y="281"/>
                      </a:lnTo>
                      <a:lnTo>
                        <a:pt x="248" y="292"/>
                      </a:lnTo>
                      <a:lnTo>
                        <a:pt x="248" y="292"/>
                      </a:lnTo>
                      <a:lnTo>
                        <a:pt x="250" y="296"/>
                      </a:lnTo>
                      <a:lnTo>
                        <a:pt x="254" y="297"/>
                      </a:lnTo>
                      <a:lnTo>
                        <a:pt x="291" y="297"/>
                      </a:lnTo>
                      <a:lnTo>
                        <a:pt x="291" y="297"/>
                      </a:lnTo>
                      <a:lnTo>
                        <a:pt x="295" y="296"/>
                      </a:lnTo>
                      <a:lnTo>
                        <a:pt x="297" y="292"/>
                      </a:lnTo>
                      <a:lnTo>
                        <a:pt x="297" y="254"/>
                      </a:lnTo>
                      <a:lnTo>
                        <a:pt x="297" y="254"/>
                      </a:lnTo>
                      <a:lnTo>
                        <a:pt x="295" y="250"/>
                      </a:lnTo>
                      <a:lnTo>
                        <a:pt x="291" y="249"/>
                      </a:lnTo>
                      <a:lnTo>
                        <a:pt x="281" y="249"/>
                      </a:lnTo>
                      <a:lnTo>
                        <a:pt x="281" y="124"/>
                      </a:lnTo>
                      <a:lnTo>
                        <a:pt x="291" y="124"/>
                      </a:lnTo>
                      <a:close/>
                      <a:moveTo>
                        <a:pt x="254" y="249"/>
                      </a:moveTo>
                      <a:lnTo>
                        <a:pt x="254" y="249"/>
                      </a:lnTo>
                      <a:lnTo>
                        <a:pt x="250" y="250"/>
                      </a:lnTo>
                      <a:lnTo>
                        <a:pt x="248" y="254"/>
                      </a:lnTo>
                      <a:lnTo>
                        <a:pt x="248" y="265"/>
                      </a:lnTo>
                      <a:lnTo>
                        <a:pt x="125" y="265"/>
                      </a:lnTo>
                      <a:lnTo>
                        <a:pt x="125" y="254"/>
                      </a:lnTo>
                      <a:lnTo>
                        <a:pt x="125" y="254"/>
                      </a:lnTo>
                      <a:lnTo>
                        <a:pt x="122" y="250"/>
                      </a:lnTo>
                      <a:lnTo>
                        <a:pt x="119" y="249"/>
                      </a:lnTo>
                      <a:lnTo>
                        <a:pt x="109" y="249"/>
                      </a:lnTo>
                      <a:lnTo>
                        <a:pt x="109" y="209"/>
                      </a:lnTo>
                      <a:lnTo>
                        <a:pt x="172" y="209"/>
                      </a:lnTo>
                      <a:lnTo>
                        <a:pt x="172" y="215"/>
                      </a:lnTo>
                      <a:lnTo>
                        <a:pt x="172" y="215"/>
                      </a:lnTo>
                      <a:lnTo>
                        <a:pt x="173" y="219"/>
                      </a:lnTo>
                      <a:lnTo>
                        <a:pt x="177" y="221"/>
                      </a:lnTo>
                      <a:lnTo>
                        <a:pt x="215" y="221"/>
                      </a:lnTo>
                      <a:lnTo>
                        <a:pt x="215" y="221"/>
                      </a:lnTo>
                      <a:lnTo>
                        <a:pt x="219" y="219"/>
                      </a:lnTo>
                      <a:lnTo>
                        <a:pt x="220" y="215"/>
                      </a:lnTo>
                      <a:lnTo>
                        <a:pt x="220" y="178"/>
                      </a:lnTo>
                      <a:lnTo>
                        <a:pt x="220" y="178"/>
                      </a:lnTo>
                      <a:lnTo>
                        <a:pt x="219" y="174"/>
                      </a:lnTo>
                      <a:lnTo>
                        <a:pt x="215" y="172"/>
                      </a:lnTo>
                      <a:lnTo>
                        <a:pt x="207" y="172"/>
                      </a:lnTo>
                      <a:lnTo>
                        <a:pt x="207" y="107"/>
                      </a:lnTo>
                      <a:lnTo>
                        <a:pt x="248" y="107"/>
                      </a:lnTo>
                      <a:lnTo>
                        <a:pt x="248" y="120"/>
                      </a:lnTo>
                      <a:lnTo>
                        <a:pt x="248" y="120"/>
                      </a:lnTo>
                      <a:lnTo>
                        <a:pt x="250" y="123"/>
                      </a:lnTo>
                      <a:lnTo>
                        <a:pt x="254" y="124"/>
                      </a:lnTo>
                      <a:lnTo>
                        <a:pt x="264" y="124"/>
                      </a:lnTo>
                      <a:lnTo>
                        <a:pt x="264" y="249"/>
                      </a:lnTo>
                      <a:lnTo>
                        <a:pt x="254" y="249"/>
                      </a:lnTo>
                      <a:close/>
                      <a:moveTo>
                        <a:pt x="35" y="48"/>
                      </a:moveTo>
                      <a:lnTo>
                        <a:pt x="43" y="48"/>
                      </a:lnTo>
                      <a:lnTo>
                        <a:pt x="43" y="48"/>
                      </a:lnTo>
                      <a:lnTo>
                        <a:pt x="46" y="46"/>
                      </a:lnTo>
                      <a:lnTo>
                        <a:pt x="48" y="43"/>
                      </a:lnTo>
                      <a:lnTo>
                        <a:pt x="48" y="30"/>
                      </a:lnTo>
                      <a:lnTo>
                        <a:pt x="172" y="30"/>
                      </a:lnTo>
                      <a:lnTo>
                        <a:pt x="172" y="43"/>
                      </a:lnTo>
                      <a:lnTo>
                        <a:pt x="172" y="43"/>
                      </a:lnTo>
                      <a:lnTo>
                        <a:pt x="173" y="46"/>
                      </a:lnTo>
                      <a:lnTo>
                        <a:pt x="177" y="48"/>
                      </a:lnTo>
                      <a:lnTo>
                        <a:pt x="191" y="48"/>
                      </a:lnTo>
                      <a:lnTo>
                        <a:pt x="191" y="90"/>
                      </a:lnTo>
                      <a:lnTo>
                        <a:pt x="93" y="90"/>
                      </a:lnTo>
                      <a:lnTo>
                        <a:pt x="93" y="191"/>
                      </a:lnTo>
                      <a:lnTo>
                        <a:pt x="48" y="191"/>
                      </a:lnTo>
                      <a:lnTo>
                        <a:pt x="48" y="178"/>
                      </a:lnTo>
                      <a:lnTo>
                        <a:pt x="48" y="178"/>
                      </a:lnTo>
                      <a:lnTo>
                        <a:pt x="46" y="174"/>
                      </a:lnTo>
                      <a:lnTo>
                        <a:pt x="43" y="172"/>
                      </a:lnTo>
                      <a:lnTo>
                        <a:pt x="35" y="172"/>
                      </a:lnTo>
                      <a:lnTo>
                        <a:pt x="35" y="48"/>
                      </a:lnTo>
                      <a:close/>
                      <a:moveTo>
                        <a:pt x="191" y="172"/>
                      </a:moveTo>
                      <a:lnTo>
                        <a:pt x="177" y="172"/>
                      </a:lnTo>
                      <a:lnTo>
                        <a:pt x="177" y="172"/>
                      </a:lnTo>
                      <a:lnTo>
                        <a:pt x="173" y="174"/>
                      </a:lnTo>
                      <a:lnTo>
                        <a:pt x="172" y="178"/>
                      </a:lnTo>
                      <a:lnTo>
                        <a:pt x="172" y="191"/>
                      </a:lnTo>
                      <a:lnTo>
                        <a:pt x="109" y="191"/>
                      </a:lnTo>
                      <a:lnTo>
                        <a:pt x="109" y="107"/>
                      </a:lnTo>
                      <a:lnTo>
                        <a:pt x="191" y="107"/>
                      </a:lnTo>
                      <a:lnTo>
                        <a:pt x="191" y="1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81" name="Group 80">
              <a:extLst>
                <a:ext uri="{FF2B5EF4-FFF2-40B4-BE49-F238E27FC236}">
                  <a16:creationId xmlns:a16="http://schemas.microsoft.com/office/drawing/2014/main" id="{FD8A14B5-97D7-BD4B-97E2-20F20A24F830}"/>
                </a:ext>
              </a:extLst>
            </p:cNvPr>
            <p:cNvGrpSpPr/>
            <p:nvPr/>
          </p:nvGrpSpPr>
          <p:grpSpPr>
            <a:xfrm>
              <a:off x="7457425" y="2123132"/>
              <a:ext cx="3363210" cy="3317372"/>
              <a:chOff x="7336508" y="2029075"/>
              <a:chExt cx="3024568" cy="2983345"/>
            </a:xfrm>
          </p:grpSpPr>
          <p:sp>
            <p:nvSpPr>
              <p:cNvPr id="83" name="Rectangle 82">
                <a:extLst>
                  <a:ext uri="{FF2B5EF4-FFF2-40B4-BE49-F238E27FC236}">
                    <a16:creationId xmlns:a16="http://schemas.microsoft.com/office/drawing/2014/main" id="{FBF73C82-E14C-E44B-B759-EF946B0E9BE5}"/>
                  </a:ext>
                </a:extLst>
              </p:cNvPr>
              <p:cNvSpPr/>
              <p:nvPr/>
            </p:nvSpPr>
            <p:spPr>
              <a:xfrm>
                <a:off x="7336508" y="2029075"/>
                <a:ext cx="3024568" cy="2983345"/>
              </a:xfrm>
              <a:prstGeom prst="rect">
                <a:avLst/>
              </a:prstGeom>
              <a:solidFill>
                <a:schemeClr val="bg1"/>
              </a:solidFill>
              <a:ln w="38100">
                <a:solidFill>
                  <a:srgbClr val="74EDFB"/>
                </a:solidFill>
              </a:ln>
              <a:effectLst>
                <a:outerShdw blurRad="203200" sx="102000" sy="102000" algn="ctr" rotWithShape="0">
                  <a:prstClr val="black">
                    <a:alpha val="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84" name="Title 3">
                <a:extLst>
                  <a:ext uri="{FF2B5EF4-FFF2-40B4-BE49-F238E27FC236}">
                    <a16:creationId xmlns:a16="http://schemas.microsoft.com/office/drawing/2014/main" id="{7A8D1231-EB96-8743-88B1-342437AFB711}"/>
                  </a:ext>
                </a:extLst>
              </p:cNvPr>
              <p:cNvSpPr txBox="1">
                <a:spLocks/>
              </p:cNvSpPr>
              <p:nvPr/>
            </p:nvSpPr>
            <p:spPr>
              <a:xfrm>
                <a:off x="8158195" y="2295874"/>
                <a:ext cx="1784350" cy="561977"/>
              </a:xfrm>
              <a:prstGeom prst="rect">
                <a:avLst/>
              </a:prstGeom>
            </p:spPr>
            <p:txBody>
              <a:bodyPr lIns="0" tIns="0" rIns="0" bIns="0"/>
              <a:lstStyle>
                <a:lvl1pPr algn="l" defTabSz="914400" rtl="0" eaLnBrk="1" latinLnBrk="0" hangingPunct="1">
                  <a:lnSpc>
                    <a:spcPct val="90000"/>
                  </a:lnSpc>
                  <a:spcBef>
                    <a:spcPct val="0"/>
                  </a:spcBef>
                  <a:buNone/>
                  <a:defRPr sz="3600" b="0" i="0" kern="1200">
                    <a:solidFill>
                      <a:schemeClr val="tx1"/>
                    </a:solidFill>
                    <a:latin typeface="Chronicle Display Black" charset="0"/>
                    <a:ea typeface="Chronicle Display Black" charset="0"/>
                    <a:cs typeface="Chronicle Display Black" charset="0"/>
                  </a:defRPr>
                </a:lvl1pPr>
              </a:lstStyle>
              <a:p>
                <a:pPr marL="0" marR="0" lvl="0" indent="0" algn="l" defTabSz="914400" rtl="0" eaLnBrk="1" fontAlgn="auto"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charset="0"/>
                    <a:ea typeface="Open Sans" charset="0"/>
                    <a:cs typeface="Open Sans" charset="0"/>
                    <a:sym typeface="Frutiger Next Pro Medium" charset="0"/>
                  </a:rPr>
                  <a:t>‘Get it out’ beats ‘get it perfect’</a:t>
                </a:r>
              </a:p>
            </p:txBody>
          </p:sp>
          <p:sp>
            <p:nvSpPr>
              <p:cNvPr id="85" name="TextBox 84">
                <a:extLst>
                  <a:ext uri="{FF2B5EF4-FFF2-40B4-BE49-F238E27FC236}">
                    <a16:creationId xmlns:a16="http://schemas.microsoft.com/office/drawing/2014/main" id="{4970FA0D-32A3-7740-A72B-CD1AF4F6DDD9}"/>
                  </a:ext>
                </a:extLst>
              </p:cNvPr>
              <p:cNvSpPr txBox="1"/>
              <p:nvPr/>
            </p:nvSpPr>
            <p:spPr>
              <a:xfrm>
                <a:off x="7572308" y="3139970"/>
                <a:ext cx="2446436" cy="1244847"/>
              </a:xfrm>
              <a:prstGeom prst="rect">
                <a:avLst/>
              </a:prstGeom>
              <a:noFill/>
            </p:spPr>
            <p:txBody>
              <a:bodyPr wrap="square" lIns="0" tIns="0" rIns="0" bIns="0" rtlCol="0">
                <a:spAutoFit/>
              </a:bodyPr>
              <a:lstStyle/>
              <a:p>
                <a:pPr marL="0" marR="0" lvl="0" indent="0" algn="l" defTabSz="914400" rtl="0" eaLnBrk="1" fontAlgn="auto" latinLnBrk="0" hangingPunct="1">
                  <a:lnSpc>
                    <a:spcPct val="130000"/>
                  </a:lnSpc>
                  <a:spcBef>
                    <a:spcPts val="0"/>
                  </a:spcBef>
                  <a:spcAft>
                    <a:spcPts val="3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Open Sans Semibold" charset="0"/>
                    <a:cs typeface="Open Sans Semibold" charset="0"/>
                  </a:rPr>
                  <a:t>In a world dominated by uncertainty, the only way to get effective market feedback is to give the market something to react to. Succeed faster via a cadence of rapidly delivering minimally viable offerings (MVOs) into the market, and learning from the feedback you obtain for each subsequent iteration.</a:t>
                </a:r>
              </a:p>
            </p:txBody>
          </p:sp>
          <p:grpSp>
            <p:nvGrpSpPr>
              <p:cNvPr id="86" name="Group 85">
                <a:extLst>
                  <a:ext uri="{FF2B5EF4-FFF2-40B4-BE49-F238E27FC236}">
                    <a16:creationId xmlns:a16="http://schemas.microsoft.com/office/drawing/2014/main" id="{5DC37DA8-3964-BD40-8B01-F884F57CC2EB}"/>
                  </a:ext>
                </a:extLst>
              </p:cNvPr>
              <p:cNvGrpSpPr>
                <a:grpSpLocks noChangeAspect="1"/>
              </p:cNvGrpSpPr>
              <p:nvPr/>
            </p:nvGrpSpPr>
            <p:grpSpPr>
              <a:xfrm>
                <a:off x="7531621" y="2331386"/>
                <a:ext cx="522288" cy="522288"/>
                <a:chOff x="11115676" y="822960"/>
                <a:chExt cx="522288" cy="522288"/>
              </a:xfrm>
            </p:grpSpPr>
            <p:sp>
              <p:nvSpPr>
                <p:cNvPr id="87" name="Freeform 17">
                  <a:extLst>
                    <a:ext uri="{FF2B5EF4-FFF2-40B4-BE49-F238E27FC236}">
                      <a16:creationId xmlns:a16="http://schemas.microsoft.com/office/drawing/2014/main" id="{1B1905A0-A676-4044-A5E8-88D21A9AD875}"/>
                    </a:ext>
                  </a:extLst>
                </p:cNvPr>
                <p:cNvSpPr>
                  <a:spLocks noEditPoints="1"/>
                </p:cNvSpPr>
                <p:nvPr/>
              </p:nvSpPr>
              <p:spPr bwMode="auto">
                <a:xfrm>
                  <a:off x="11115676" y="822960"/>
                  <a:ext cx="522288" cy="522288"/>
                </a:xfrm>
                <a:custGeom>
                  <a:avLst/>
                  <a:gdLst>
                    <a:gd name="T0" fmla="*/ 312 w 659"/>
                    <a:gd name="T1" fmla="*/ 657 h 659"/>
                    <a:gd name="T2" fmla="*/ 263 w 659"/>
                    <a:gd name="T3" fmla="*/ 652 h 659"/>
                    <a:gd name="T4" fmla="*/ 202 w 659"/>
                    <a:gd name="T5" fmla="*/ 632 h 659"/>
                    <a:gd name="T6" fmla="*/ 120 w 659"/>
                    <a:gd name="T7" fmla="*/ 583 h 659"/>
                    <a:gd name="T8" fmla="*/ 57 w 659"/>
                    <a:gd name="T9" fmla="*/ 513 h 659"/>
                    <a:gd name="T10" fmla="*/ 15 w 659"/>
                    <a:gd name="T11" fmla="*/ 427 h 659"/>
                    <a:gd name="T12" fmla="*/ 4 w 659"/>
                    <a:gd name="T13" fmla="*/ 379 h 659"/>
                    <a:gd name="T14" fmla="*/ 0 w 659"/>
                    <a:gd name="T15" fmla="*/ 329 h 659"/>
                    <a:gd name="T16" fmla="*/ 2 w 659"/>
                    <a:gd name="T17" fmla="*/ 296 h 659"/>
                    <a:gd name="T18" fmla="*/ 11 w 659"/>
                    <a:gd name="T19" fmla="*/ 247 h 659"/>
                    <a:gd name="T20" fmla="*/ 41 w 659"/>
                    <a:gd name="T21" fmla="*/ 172 h 659"/>
                    <a:gd name="T22" fmla="*/ 97 w 659"/>
                    <a:gd name="T23" fmla="*/ 97 h 659"/>
                    <a:gd name="T24" fmla="*/ 172 w 659"/>
                    <a:gd name="T25" fmla="*/ 40 h 659"/>
                    <a:gd name="T26" fmla="*/ 248 w 659"/>
                    <a:gd name="T27" fmla="*/ 11 h 659"/>
                    <a:gd name="T28" fmla="*/ 296 w 659"/>
                    <a:gd name="T29" fmla="*/ 1 h 659"/>
                    <a:gd name="T30" fmla="*/ 330 w 659"/>
                    <a:gd name="T31" fmla="*/ 0 h 659"/>
                    <a:gd name="T32" fmla="*/ 379 w 659"/>
                    <a:gd name="T33" fmla="*/ 4 h 659"/>
                    <a:gd name="T34" fmla="*/ 426 w 659"/>
                    <a:gd name="T35" fmla="*/ 15 h 659"/>
                    <a:gd name="T36" fmla="*/ 514 w 659"/>
                    <a:gd name="T37" fmla="*/ 56 h 659"/>
                    <a:gd name="T38" fmla="*/ 584 w 659"/>
                    <a:gd name="T39" fmla="*/ 120 h 659"/>
                    <a:gd name="T40" fmla="*/ 632 w 659"/>
                    <a:gd name="T41" fmla="*/ 202 h 659"/>
                    <a:gd name="T42" fmla="*/ 652 w 659"/>
                    <a:gd name="T43" fmla="*/ 263 h 659"/>
                    <a:gd name="T44" fmla="*/ 658 w 659"/>
                    <a:gd name="T45" fmla="*/ 312 h 659"/>
                    <a:gd name="T46" fmla="*/ 658 w 659"/>
                    <a:gd name="T47" fmla="*/ 345 h 659"/>
                    <a:gd name="T48" fmla="*/ 652 w 659"/>
                    <a:gd name="T49" fmla="*/ 395 h 659"/>
                    <a:gd name="T50" fmla="*/ 632 w 659"/>
                    <a:gd name="T51" fmla="*/ 457 h 659"/>
                    <a:gd name="T52" fmla="*/ 584 w 659"/>
                    <a:gd name="T53" fmla="*/ 538 h 659"/>
                    <a:gd name="T54" fmla="*/ 514 w 659"/>
                    <a:gd name="T55" fmla="*/ 602 h 659"/>
                    <a:gd name="T56" fmla="*/ 426 w 659"/>
                    <a:gd name="T57" fmla="*/ 644 h 659"/>
                    <a:gd name="T58" fmla="*/ 379 w 659"/>
                    <a:gd name="T59" fmla="*/ 655 h 659"/>
                    <a:gd name="T60" fmla="*/ 330 w 659"/>
                    <a:gd name="T61" fmla="*/ 659 h 659"/>
                    <a:gd name="T62" fmla="*/ 330 w 659"/>
                    <a:gd name="T63" fmla="*/ 38 h 659"/>
                    <a:gd name="T64" fmla="*/ 242 w 659"/>
                    <a:gd name="T65" fmla="*/ 51 h 659"/>
                    <a:gd name="T66" fmla="*/ 167 w 659"/>
                    <a:gd name="T67" fmla="*/ 87 h 659"/>
                    <a:gd name="T68" fmla="*/ 105 w 659"/>
                    <a:gd name="T69" fmla="*/ 144 h 659"/>
                    <a:gd name="T70" fmla="*/ 61 w 659"/>
                    <a:gd name="T71" fmla="*/ 216 h 659"/>
                    <a:gd name="T72" fmla="*/ 39 w 659"/>
                    <a:gd name="T73" fmla="*/ 300 h 659"/>
                    <a:gd name="T74" fmla="*/ 39 w 659"/>
                    <a:gd name="T75" fmla="*/ 359 h 659"/>
                    <a:gd name="T76" fmla="*/ 61 w 659"/>
                    <a:gd name="T77" fmla="*/ 442 h 659"/>
                    <a:gd name="T78" fmla="*/ 105 w 659"/>
                    <a:gd name="T79" fmla="*/ 515 h 659"/>
                    <a:gd name="T80" fmla="*/ 167 w 659"/>
                    <a:gd name="T81" fmla="*/ 571 h 659"/>
                    <a:gd name="T82" fmla="*/ 242 w 659"/>
                    <a:gd name="T83" fmla="*/ 608 h 659"/>
                    <a:gd name="T84" fmla="*/ 330 w 659"/>
                    <a:gd name="T85" fmla="*/ 621 h 659"/>
                    <a:gd name="T86" fmla="*/ 388 w 659"/>
                    <a:gd name="T87" fmla="*/ 614 h 659"/>
                    <a:gd name="T88" fmla="*/ 468 w 659"/>
                    <a:gd name="T89" fmla="*/ 585 h 659"/>
                    <a:gd name="T90" fmla="*/ 535 w 659"/>
                    <a:gd name="T91" fmla="*/ 535 h 659"/>
                    <a:gd name="T92" fmla="*/ 585 w 659"/>
                    <a:gd name="T93" fmla="*/ 468 h 659"/>
                    <a:gd name="T94" fmla="*/ 615 w 659"/>
                    <a:gd name="T95" fmla="*/ 387 h 659"/>
                    <a:gd name="T96" fmla="*/ 621 w 659"/>
                    <a:gd name="T97" fmla="*/ 329 h 659"/>
                    <a:gd name="T98" fmla="*/ 608 w 659"/>
                    <a:gd name="T99" fmla="*/ 242 h 659"/>
                    <a:gd name="T100" fmla="*/ 570 w 659"/>
                    <a:gd name="T101" fmla="*/ 167 h 659"/>
                    <a:gd name="T102" fmla="*/ 515 w 659"/>
                    <a:gd name="T103" fmla="*/ 105 h 659"/>
                    <a:gd name="T104" fmla="*/ 443 w 659"/>
                    <a:gd name="T105" fmla="*/ 60 h 659"/>
                    <a:gd name="T106" fmla="*/ 359 w 659"/>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9">
                      <a:moveTo>
                        <a:pt x="330" y="659"/>
                      </a:moveTo>
                      <a:lnTo>
                        <a:pt x="330" y="659"/>
                      </a:lnTo>
                      <a:lnTo>
                        <a:pt x="312" y="657"/>
                      </a:lnTo>
                      <a:lnTo>
                        <a:pt x="296" y="656"/>
                      </a:lnTo>
                      <a:lnTo>
                        <a:pt x="280" y="655"/>
                      </a:lnTo>
                      <a:lnTo>
                        <a:pt x="263" y="652"/>
                      </a:lnTo>
                      <a:lnTo>
                        <a:pt x="248" y="648"/>
                      </a:lnTo>
                      <a:lnTo>
                        <a:pt x="232" y="644"/>
                      </a:lnTo>
                      <a:lnTo>
                        <a:pt x="202" y="632"/>
                      </a:lnTo>
                      <a:lnTo>
                        <a:pt x="172" y="618"/>
                      </a:lnTo>
                      <a:lnTo>
                        <a:pt x="146" y="602"/>
                      </a:lnTo>
                      <a:lnTo>
                        <a:pt x="120" y="583"/>
                      </a:lnTo>
                      <a:lnTo>
                        <a:pt x="97" y="562"/>
                      </a:lnTo>
                      <a:lnTo>
                        <a:pt x="76" y="538"/>
                      </a:lnTo>
                      <a:lnTo>
                        <a:pt x="57" y="513"/>
                      </a:lnTo>
                      <a:lnTo>
                        <a:pt x="41" y="485"/>
                      </a:lnTo>
                      <a:lnTo>
                        <a:pt x="26" y="457"/>
                      </a:lnTo>
                      <a:lnTo>
                        <a:pt x="15" y="427"/>
                      </a:lnTo>
                      <a:lnTo>
                        <a:pt x="11" y="411"/>
                      </a:lnTo>
                      <a:lnTo>
                        <a:pt x="7" y="395"/>
                      </a:lnTo>
                      <a:lnTo>
                        <a:pt x="4" y="379"/>
                      </a:lnTo>
                      <a:lnTo>
                        <a:pt x="2" y="363"/>
                      </a:lnTo>
                      <a:lnTo>
                        <a:pt x="0" y="345"/>
                      </a:lnTo>
                      <a:lnTo>
                        <a:pt x="0" y="329"/>
                      </a:lnTo>
                      <a:lnTo>
                        <a:pt x="0" y="329"/>
                      </a:lnTo>
                      <a:lnTo>
                        <a:pt x="0" y="312"/>
                      </a:lnTo>
                      <a:lnTo>
                        <a:pt x="2" y="296"/>
                      </a:lnTo>
                      <a:lnTo>
                        <a:pt x="4" y="280"/>
                      </a:lnTo>
                      <a:lnTo>
                        <a:pt x="7" y="263"/>
                      </a:lnTo>
                      <a:lnTo>
                        <a:pt x="11" y="247"/>
                      </a:lnTo>
                      <a:lnTo>
                        <a:pt x="15" y="231"/>
                      </a:lnTo>
                      <a:lnTo>
                        <a:pt x="26" y="202"/>
                      </a:lnTo>
                      <a:lnTo>
                        <a:pt x="41" y="172"/>
                      </a:lnTo>
                      <a:lnTo>
                        <a:pt x="57" y="145"/>
                      </a:lnTo>
                      <a:lnTo>
                        <a:pt x="76" y="120"/>
                      </a:lnTo>
                      <a:lnTo>
                        <a:pt x="97" y="97"/>
                      </a:lnTo>
                      <a:lnTo>
                        <a:pt x="120" y="75"/>
                      </a:lnTo>
                      <a:lnTo>
                        <a:pt x="146" y="56"/>
                      </a:lnTo>
                      <a:lnTo>
                        <a:pt x="172" y="40"/>
                      </a:lnTo>
                      <a:lnTo>
                        <a:pt x="202" y="26"/>
                      </a:lnTo>
                      <a:lnTo>
                        <a:pt x="232" y="15"/>
                      </a:lnTo>
                      <a:lnTo>
                        <a:pt x="248" y="11"/>
                      </a:lnTo>
                      <a:lnTo>
                        <a:pt x="263" y="7"/>
                      </a:lnTo>
                      <a:lnTo>
                        <a:pt x="280" y="4"/>
                      </a:lnTo>
                      <a:lnTo>
                        <a:pt x="296" y="1"/>
                      </a:lnTo>
                      <a:lnTo>
                        <a:pt x="312" y="0"/>
                      </a:lnTo>
                      <a:lnTo>
                        <a:pt x="330" y="0"/>
                      </a:lnTo>
                      <a:lnTo>
                        <a:pt x="330" y="0"/>
                      </a:lnTo>
                      <a:lnTo>
                        <a:pt x="346" y="0"/>
                      </a:lnTo>
                      <a:lnTo>
                        <a:pt x="363" y="1"/>
                      </a:lnTo>
                      <a:lnTo>
                        <a:pt x="379" y="4"/>
                      </a:lnTo>
                      <a:lnTo>
                        <a:pt x="396" y="7"/>
                      </a:lnTo>
                      <a:lnTo>
                        <a:pt x="412" y="11"/>
                      </a:lnTo>
                      <a:lnTo>
                        <a:pt x="426" y="15"/>
                      </a:lnTo>
                      <a:lnTo>
                        <a:pt x="457" y="26"/>
                      </a:lnTo>
                      <a:lnTo>
                        <a:pt x="486" y="40"/>
                      </a:lnTo>
                      <a:lnTo>
                        <a:pt x="514" y="56"/>
                      </a:lnTo>
                      <a:lnTo>
                        <a:pt x="538" y="75"/>
                      </a:lnTo>
                      <a:lnTo>
                        <a:pt x="562" y="97"/>
                      </a:lnTo>
                      <a:lnTo>
                        <a:pt x="584" y="120"/>
                      </a:lnTo>
                      <a:lnTo>
                        <a:pt x="603" y="145"/>
                      </a:lnTo>
                      <a:lnTo>
                        <a:pt x="619" y="172"/>
                      </a:lnTo>
                      <a:lnTo>
                        <a:pt x="632" y="202"/>
                      </a:lnTo>
                      <a:lnTo>
                        <a:pt x="644" y="231"/>
                      </a:lnTo>
                      <a:lnTo>
                        <a:pt x="648" y="247"/>
                      </a:lnTo>
                      <a:lnTo>
                        <a:pt x="652" y="263"/>
                      </a:lnTo>
                      <a:lnTo>
                        <a:pt x="655" y="280"/>
                      </a:lnTo>
                      <a:lnTo>
                        <a:pt x="656" y="296"/>
                      </a:lnTo>
                      <a:lnTo>
                        <a:pt x="658" y="312"/>
                      </a:lnTo>
                      <a:lnTo>
                        <a:pt x="659" y="329"/>
                      </a:lnTo>
                      <a:lnTo>
                        <a:pt x="659" y="329"/>
                      </a:lnTo>
                      <a:lnTo>
                        <a:pt x="658" y="345"/>
                      </a:lnTo>
                      <a:lnTo>
                        <a:pt x="656" y="363"/>
                      </a:lnTo>
                      <a:lnTo>
                        <a:pt x="655" y="379"/>
                      </a:lnTo>
                      <a:lnTo>
                        <a:pt x="652" y="395"/>
                      </a:lnTo>
                      <a:lnTo>
                        <a:pt x="648" y="411"/>
                      </a:lnTo>
                      <a:lnTo>
                        <a:pt x="644" y="427"/>
                      </a:lnTo>
                      <a:lnTo>
                        <a:pt x="632" y="457"/>
                      </a:lnTo>
                      <a:lnTo>
                        <a:pt x="619" y="485"/>
                      </a:lnTo>
                      <a:lnTo>
                        <a:pt x="603" y="513"/>
                      </a:lnTo>
                      <a:lnTo>
                        <a:pt x="584" y="538"/>
                      </a:lnTo>
                      <a:lnTo>
                        <a:pt x="562" y="562"/>
                      </a:lnTo>
                      <a:lnTo>
                        <a:pt x="538" y="583"/>
                      </a:lnTo>
                      <a:lnTo>
                        <a:pt x="514" y="602"/>
                      </a:lnTo>
                      <a:lnTo>
                        <a:pt x="486" y="618"/>
                      </a:lnTo>
                      <a:lnTo>
                        <a:pt x="457" y="632"/>
                      </a:lnTo>
                      <a:lnTo>
                        <a:pt x="426" y="644"/>
                      </a:lnTo>
                      <a:lnTo>
                        <a:pt x="412" y="648"/>
                      </a:lnTo>
                      <a:lnTo>
                        <a:pt x="396" y="652"/>
                      </a:lnTo>
                      <a:lnTo>
                        <a:pt x="379" y="655"/>
                      </a:lnTo>
                      <a:lnTo>
                        <a:pt x="363" y="656"/>
                      </a:lnTo>
                      <a:lnTo>
                        <a:pt x="346" y="657"/>
                      </a:lnTo>
                      <a:lnTo>
                        <a:pt x="330" y="659"/>
                      </a:lnTo>
                      <a:lnTo>
                        <a:pt x="330" y="659"/>
                      </a:lnTo>
                      <a:close/>
                      <a:moveTo>
                        <a:pt x="330" y="38"/>
                      </a:moveTo>
                      <a:lnTo>
                        <a:pt x="330" y="38"/>
                      </a:lnTo>
                      <a:lnTo>
                        <a:pt x="300" y="39"/>
                      </a:lnTo>
                      <a:lnTo>
                        <a:pt x="271" y="43"/>
                      </a:lnTo>
                      <a:lnTo>
                        <a:pt x="242" y="51"/>
                      </a:lnTo>
                      <a:lnTo>
                        <a:pt x="215" y="60"/>
                      </a:lnTo>
                      <a:lnTo>
                        <a:pt x="191" y="73"/>
                      </a:lnTo>
                      <a:lnTo>
                        <a:pt x="167" y="87"/>
                      </a:lnTo>
                      <a:lnTo>
                        <a:pt x="144" y="105"/>
                      </a:lnTo>
                      <a:lnTo>
                        <a:pt x="124" y="124"/>
                      </a:lnTo>
                      <a:lnTo>
                        <a:pt x="105" y="144"/>
                      </a:lnTo>
                      <a:lnTo>
                        <a:pt x="88" y="167"/>
                      </a:lnTo>
                      <a:lnTo>
                        <a:pt x="73" y="191"/>
                      </a:lnTo>
                      <a:lnTo>
                        <a:pt x="61" y="216"/>
                      </a:lnTo>
                      <a:lnTo>
                        <a:pt x="52" y="242"/>
                      </a:lnTo>
                      <a:lnTo>
                        <a:pt x="43" y="270"/>
                      </a:lnTo>
                      <a:lnTo>
                        <a:pt x="39" y="300"/>
                      </a:lnTo>
                      <a:lnTo>
                        <a:pt x="38" y="329"/>
                      </a:lnTo>
                      <a:lnTo>
                        <a:pt x="38" y="329"/>
                      </a:lnTo>
                      <a:lnTo>
                        <a:pt x="39" y="359"/>
                      </a:lnTo>
                      <a:lnTo>
                        <a:pt x="43" y="387"/>
                      </a:lnTo>
                      <a:lnTo>
                        <a:pt x="52" y="415"/>
                      </a:lnTo>
                      <a:lnTo>
                        <a:pt x="61" y="442"/>
                      </a:lnTo>
                      <a:lnTo>
                        <a:pt x="73" y="468"/>
                      </a:lnTo>
                      <a:lnTo>
                        <a:pt x="88" y="492"/>
                      </a:lnTo>
                      <a:lnTo>
                        <a:pt x="105" y="515"/>
                      </a:lnTo>
                      <a:lnTo>
                        <a:pt x="124" y="535"/>
                      </a:lnTo>
                      <a:lnTo>
                        <a:pt x="144" y="554"/>
                      </a:lnTo>
                      <a:lnTo>
                        <a:pt x="167" y="571"/>
                      </a:lnTo>
                      <a:lnTo>
                        <a:pt x="191" y="585"/>
                      </a:lnTo>
                      <a:lnTo>
                        <a:pt x="215" y="598"/>
                      </a:lnTo>
                      <a:lnTo>
                        <a:pt x="242" y="608"/>
                      </a:lnTo>
                      <a:lnTo>
                        <a:pt x="271" y="614"/>
                      </a:lnTo>
                      <a:lnTo>
                        <a:pt x="300" y="618"/>
                      </a:lnTo>
                      <a:lnTo>
                        <a:pt x="330" y="621"/>
                      </a:lnTo>
                      <a:lnTo>
                        <a:pt x="330" y="621"/>
                      </a:lnTo>
                      <a:lnTo>
                        <a:pt x="359" y="618"/>
                      </a:lnTo>
                      <a:lnTo>
                        <a:pt x="388" y="614"/>
                      </a:lnTo>
                      <a:lnTo>
                        <a:pt x="416" y="608"/>
                      </a:lnTo>
                      <a:lnTo>
                        <a:pt x="443" y="598"/>
                      </a:lnTo>
                      <a:lnTo>
                        <a:pt x="468" y="585"/>
                      </a:lnTo>
                      <a:lnTo>
                        <a:pt x="492" y="571"/>
                      </a:lnTo>
                      <a:lnTo>
                        <a:pt x="515" y="554"/>
                      </a:lnTo>
                      <a:lnTo>
                        <a:pt x="535" y="535"/>
                      </a:lnTo>
                      <a:lnTo>
                        <a:pt x="554" y="515"/>
                      </a:lnTo>
                      <a:lnTo>
                        <a:pt x="570" y="492"/>
                      </a:lnTo>
                      <a:lnTo>
                        <a:pt x="585" y="468"/>
                      </a:lnTo>
                      <a:lnTo>
                        <a:pt x="597" y="442"/>
                      </a:lnTo>
                      <a:lnTo>
                        <a:pt x="608" y="415"/>
                      </a:lnTo>
                      <a:lnTo>
                        <a:pt x="615" y="387"/>
                      </a:lnTo>
                      <a:lnTo>
                        <a:pt x="619" y="359"/>
                      </a:lnTo>
                      <a:lnTo>
                        <a:pt x="621" y="329"/>
                      </a:lnTo>
                      <a:lnTo>
                        <a:pt x="621" y="329"/>
                      </a:lnTo>
                      <a:lnTo>
                        <a:pt x="619" y="300"/>
                      </a:lnTo>
                      <a:lnTo>
                        <a:pt x="615" y="270"/>
                      </a:lnTo>
                      <a:lnTo>
                        <a:pt x="608" y="242"/>
                      </a:lnTo>
                      <a:lnTo>
                        <a:pt x="597" y="216"/>
                      </a:lnTo>
                      <a:lnTo>
                        <a:pt x="585" y="191"/>
                      </a:lnTo>
                      <a:lnTo>
                        <a:pt x="570" y="167"/>
                      </a:lnTo>
                      <a:lnTo>
                        <a:pt x="554" y="144"/>
                      </a:lnTo>
                      <a:lnTo>
                        <a:pt x="535" y="124"/>
                      </a:lnTo>
                      <a:lnTo>
                        <a:pt x="515" y="105"/>
                      </a:lnTo>
                      <a:lnTo>
                        <a:pt x="492" y="87"/>
                      </a:lnTo>
                      <a:lnTo>
                        <a:pt x="468" y="73"/>
                      </a:lnTo>
                      <a:lnTo>
                        <a:pt x="443" y="60"/>
                      </a:lnTo>
                      <a:lnTo>
                        <a:pt x="416" y="51"/>
                      </a:lnTo>
                      <a:lnTo>
                        <a:pt x="388" y="43"/>
                      </a:lnTo>
                      <a:lnTo>
                        <a:pt x="359" y="39"/>
                      </a:lnTo>
                      <a:lnTo>
                        <a:pt x="330" y="38"/>
                      </a:lnTo>
                      <a:lnTo>
                        <a:pt x="330"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8" name="Freeform 112">
                  <a:extLst>
                    <a:ext uri="{FF2B5EF4-FFF2-40B4-BE49-F238E27FC236}">
                      <a16:creationId xmlns:a16="http://schemas.microsoft.com/office/drawing/2014/main" id="{A47D575A-263C-7146-9B79-C390B71FA04F}"/>
                    </a:ext>
                  </a:extLst>
                </p:cNvPr>
                <p:cNvSpPr>
                  <a:spLocks/>
                </p:cNvSpPr>
                <p:nvPr/>
              </p:nvSpPr>
              <p:spPr bwMode="auto">
                <a:xfrm>
                  <a:off x="11304588" y="1013460"/>
                  <a:ext cx="142875" cy="96838"/>
                </a:xfrm>
                <a:custGeom>
                  <a:avLst/>
                  <a:gdLst>
                    <a:gd name="T0" fmla="*/ 176 w 180"/>
                    <a:gd name="T1" fmla="*/ 16 h 121"/>
                    <a:gd name="T2" fmla="*/ 176 w 180"/>
                    <a:gd name="T3" fmla="*/ 16 h 121"/>
                    <a:gd name="T4" fmla="*/ 172 w 180"/>
                    <a:gd name="T5" fmla="*/ 13 h 121"/>
                    <a:gd name="T6" fmla="*/ 166 w 180"/>
                    <a:gd name="T7" fmla="*/ 12 h 121"/>
                    <a:gd name="T8" fmla="*/ 162 w 180"/>
                    <a:gd name="T9" fmla="*/ 13 h 121"/>
                    <a:gd name="T10" fmla="*/ 157 w 180"/>
                    <a:gd name="T11" fmla="*/ 16 h 121"/>
                    <a:gd name="T12" fmla="*/ 102 w 180"/>
                    <a:gd name="T13" fmla="*/ 71 h 121"/>
                    <a:gd name="T14" fmla="*/ 102 w 180"/>
                    <a:gd name="T15" fmla="*/ 71 h 121"/>
                    <a:gd name="T16" fmla="*/ 96 w 180"/>
                    <a:gd name="T17" fmla="*/ 69 h 121"/>
                    <a:gd name="T18" fmla="*/ 90 w 180"/>
                    <a:gd name="T19" fmla="*/ 71 h 121"/>
                    <a:gd name="T20" fmla="*/ 21 w 180"/>
                    <a:gd name="T21" fmla="*/ 2 h 121"/>
                    <a:gd name="T22" fmla="*/ 21 w 180"/>
                    <a:gd name="T23" fmla="*/ 2 h 121"/>
                    <a:gd name="T24" fmla="*/ 17 w 180"/>
                    <a:gd name="T25" fmla="*/ 0 h 121"/>
                    <a:gd name="T26" fmla="*/ 12 w 180"/>
                    <a:gd name="T27" fmla="*/ 0 h 121"/>
                    <a:gd name="T28" fmla="*/ 8 w 180"/>
                    <a:gd name="T29" fmla="*/ 0 h 121"/>
                    <a:gd name="T30" fmla="*/ 4 w 180"/>
                    <a:gd name="T31" fmla="*/ 2 h 121"/>
                    <a:gd name="T32" fmla="*/ 4 w 180"/>
                    <a:gd name="T33" fmla="*/ 2 h 121"/>
                    <a:gd name="T34" fmla="*/ 1 w 180"/>
                    <a:gd name="T35" fmla="*/ 8 h 121"/>
                    <a:gd name="T36" fmla="*/ 0 w 180"/>
                    <a:gd name="T37" fmla="*/ 12 h 121"/>
                    <a:gd name="T38" fmla="*/ 1 w 180"/>
                    <a:gd name="T39" fmla="*/ 17 h 121"/>
                    <a:gd name="T40" fmla="*/ 4 w 180"/>
                    <a:gd name="T41" fmla="*/ 21 h 121"/>
                    <a:gd name="T42" fmla="*/ 71 w 180"/>
                    <a:gd name="T43" fmla="*/ 88 h 121"/>
                    <a:gd name="T44" fmla="*/ 71 w 180"/>
                    <a:gd name="T45" fmla="*/ 88 h 121"/>
                    <a:gd name="T46" fmla="*/ 70 w 180"/>
                    <a:gd name="T47" fmla="*/ 95 h 121"/>
                    <a:gd name="T48" fmla="*/ 70 w 180"/>
                    <a:gd name="T49" fmla="*/ 95 h 121"/>
                    <a:gd name="T50" fmla="*/ 71 w 180"/>
                    <a:gd name="T51" fmla="*/ 100 h 121"/>
                    <a:gd name="T52" fmla="*/ 72 w 180"/>
                    <a:gd name="T53" fmla="*/ 106 h 121"/>
                    <a:gd name="T54" fmla="*/ 75 w 180"/>
                    <a:gd name="T55" fmla="*/ 110 h 121"/>
                    <a:gd name="T56" fmla="*/ 78 w 180"/>
                    <a:gd name="T57" fmla="*/ 114 h 121"/>
                    <a:gd name="T58" fmla="*/ 82 w 180"/>
                    <a:gd name="T59" fmla="*/ 117 h 121"/>
                    <a:gd name="T60" fmla="*/ 86 w 180"/>
                    <a:gd name="T61" fmla="*/ 119 h 121"/>
                    <a:gd name="T62" fmla="*/ 91 w 180"/>
                    <a:gd name="T63" fmla="*/ 121 h 121"/>
                    <a:gd name="T64" fmla="*/ 96 w 180"/>
                    <a:gd name="T65" fmla="*/ 121 h 121"/>
                    <a:gd name="T66" fmla="*/ 96 w 180"/>
                    <a:gd name="T67" fmla="*/ 121 h 121"/>
                    <a:gd name="T68" fmla="*/ 100 w 180"/>
                    <a:gd name="T69" fmla="*/ 121 h 121"/>
                    <a:gd name="T70" fmla="*/ 106 w 180"/>
                    <a:gd name="T71" fmla="*/ 119 h 121"/>
                    <a:gd name="T72" fmla="*/ 110 w 180"/>
                    <a:gd name="T73" fmla="*/ 117 h 121"/>
                    <a:gd name="T74" fmla="*/ 114 w 180"/>
                    <a:gd name="T75" fmla="*/ 114 h 121"/>
                    <a:gd name="T76" fmla="*/ 117 w 180"/>
                    <a:gd name="T77" fmla="*/ 110 h 121"/>
                    <a:gd name="T78" fmla="*/ 119 w 180"/>
                    <a:gd name="T79" fmla="*/ 106 h 121"/>
                    <a:gd name="T80" fmla="*/ 121 w 180"/>
                    <a:gd name="T81" fmla="*/ 100 h 121"/>
                    <a:gd name="T82" fmla="*/ 122 w 180"/>
                    <a:gd name="T83" fmla="*/ 95 h 121"/>
                    <a:gd name="T84" fmla="*/ 122 w 180"/>
                    <a:gd name="T85" fmla="*/ 95 h 121"/>
                    <a:gd name="T86" fmla="*/ 121 w 180"/>
                    <a:gd name="T87" fmla="*/ 88 h 121"/>
                    <a:gd name="T88" fmla="*/ 176 w 180"/>
                    <a:gd name="T89" fmla="*/ 33 h 121"/>
                    <a:gd name="T90" fmla="*/ 176 w 180"/>
                    <a:gd name="T91" fmla="*/ 33 h 121"/>
                    <a:gd name="T92" fmla="*/ 178 w 180"/>
                    <a:gd name="T93" fmla="*/ 29 h 121"/>
                    <a:gd name="T94" fmla="*/ 180 w 180"/>
                    <a:gd name="T95" fmla="*/ 25 h 121"/>
                    <a:gd name="T96" fmla="*/ 178 w 180"/>
                    <a:gd name="T97" fmla="*/ 20 h 121"/>
                    <a:gd name="T98" fmla="*/ 176 w 180"/>
                    <a:gd name="T99" fmla="*/ 16 h 121"/>
                    <a:gd name="T100" fmla="*/ 176 w 180"/>
                    <a:gd name="T101" fmla="*/ 1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0" h="121">
                      <a:moveTo>
                        <a:pt x="176" y="16"/>
                      </a:moveTo>
                      <a:lnTo>
                        <a:pt x="176" y="16"/>
                      </a:lnTo>
                      <a:lnTo>
                        <a:pt x="172" y="13"/>
                      </a:lnTo>
                      <a:lnTo>
                        <a:pt x="166" y="12"/>
                      </a:lnTo>
                      <a:lnTo>
                        <a:pt x="162" y="13"/>
                      </a:lnTo>
                      <a:lnTo>
                        <a:pt x="157" y="16"/>
                      </a:lnTo>
                      <a:lnTo>
                        <a:pt x="102" y="71"/>
                      </a:lnTo>
                      <a:lnTo>
                        <a:pt x="102" y="71"/>
                      </a:lnTo>
                      <a:lnTo>
                        <a:pt x="96" y="69"/>
                      </a:lnTo>
                      <a:lnTo>
                        <a:pt x="90" y="71"/>
                      </a:lnTo>
                      <a:lnTo>
                        <a:pt x="21" y="2"/>
                      </a:lnTo>
                      <a:lnTo>
                        <a:pt x="21" y="2"/>
                      </a:lnTo>
                      <a:lnTo>
                        <a:pt x="17" y="0"/>
                      </a:lnTo>
                      <a:lnTo>
                        <a:pt x="12" y="0"/>
                      </a:lnTo>
                      <a:lnTo>
                        <a:pt x="8" y="0"/>
                      </a:lnTo>
                      <a:lnTo>
                        <a:pt x="4" y="2"/>
                      </a:lnTo>
                      <a:lnTo>
                        <a:pt x="4" y="2"/>
                      </a:lnTo>
                      <a:lnTo>
                        <a:pt x="1" y="8"/>
                      </a:lnTo>
                      <a:lnTo>
                        <a:pt x="0" y="12"/>
                      </a:lnTo>
                      <a:lnTo>
                        <a:pt x="1" y="17"/>
                      </a:lnTo>
                      <a:lnTo>
                        <a:pt x="4" y="21"/>
                      </a:lnTo>
                      <a:lnTo>
                        <a:pt x="71" y="88"/>
                      </a:lnTo>
                      <a:lnTo>
                        <a:pt x="71" y="88"/>
                      </a:lnTo>
                      <a:lnTo>
                        <a:pt x="70" y="95"/>
                      </a:lnTo>
                      <a:lnTo>
                        <a:pt x="70" y="95"/>
                      </a:lnTo>
                      <a:lnTo>
                        <a:pt x="71" y="100"/>
                      </a:lnTo>
                      <a:lnTo>
                        <a:pt x="72" y="106"/>
                      </a:lnTo>
                      <a:lnTo>
                        <a:pt x="75" y="110"/>
                      </a:lnTo>
                      <a:lnTo>
                        <a:pt x="78" y="114"/>
                      </a:lnTo>
                      <a:lnTo>
                        <a:pt x="82" y="117"/>
                      </a:lnTo>
                      <a:lnTo>
                        <a:pt x="86" y="119"/>
                      </a:lnTo>
                      <a:lnTo>
                        <a:pt x="91" y="121"/>
                      </a:lnTo>
                      <a:lnTo>
                        <a:pt x="96" y="121"/>
                      </a:lnTo>
                      <a:lnTo>
                        <a:pt x="96" y="121"/>
                      </a:lnTo>
                      <a:lnTo>
                        <a:pt x="100" y="121"/>
                      </a:lnTo>
                      <a:lnTo>
                        <a:pt x="106" y="119"/>
                      </a:lnTo>
                      <a:lnTo>
                        <a:pt x="110" y="117"/>
                      </a:lnTo>
                      <a:lnTo>
                        <a:pt x="114" y="114"/>
                      </a:lnTo>
                      <a:lnTo>
                        <a:pt x="117" y="110"/>
                      </a:lnTo>
                      <a:lnTo>
                        <a:pt x="119" y="106"/>
                      </a:lnTo>
                      <a:lnTo>
                        <a:pt x="121" y="100"/>
                      </a:lnTo>
                      <a:lnTo>
                        <a:pt x="122" y="95"/>
                      </a:lnTo>
                      <a:lnTo>
                        <a:pt x="122" y="95"/>
                      </a:lnTo>
                      <a:lnTo>
                        <a:pt x="121" y="88"/>
                      </a:lnTo>
                      <a:lnTo>
                        <a:pt x="176" y="33"/>
                      </a:lnTo>
                      <a:lnTo>
                        <a:pt x="176" y="33"/>
                      </a:lnTo>
                      <a:lnTo>
                        <a:pt x="178" y="29"/>
                      </a:lnTo>
                      <a:lnTo>
                        <a:pt x="180" y="25"/>
                      </a:lnTo>
                      <a:lnTo>
                        <a:pt x="178" y="20"/>
                      </a:lnTo>
                      <a:lnTo>
                        <a:pt x="176" y="16"/>
                      </a:lnTo>
                      <a:lnTo>
                        <a:pt x="176"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9" name="Freeform 113">
                  <a:extLst>
                    <a:ext uri="{FF2B5EF4-FFF2-40B4-BE49-F238E27FC236}">
                      <a16:creationId xmlns:a16="http://schemas.microsoft.com/office/drawing/2014/main" id="{8B6F5FE3-C4DC-D747-9561-F69EBC28467E}"/>
                    </a:ext>
                  </a:extLst>
                </p:cNvPr>
                <p:cNvSpPr>
                  <a:spLocks/>
                </p:cNvSpPr>
                <p:nvPr/>
              </p:nvSpPr>
              <p:spPr bwMode="auto">
                <a:xfrm>
                  <a:off x="11239501" y="946785"/>
                  <a:ext cx="273050" cy="273050"/>
                </a:xfrm>
                <a:custGeom>
                  <a:avLst/>
                  <a:gdLst>
                    <a:gd name="T0" fmla="*/ 232 w 346"/>
                    <a:gd name="T1" fmla="*/ 11 h 344"/>
                    <a:gd name="T2" fmla="*/ 175 w 346"/>
                    <a:gd name="T3" fmla="*/ 0 h 344"/>
                    <a:gd name="T4" fmla="*/ 151 w 346"/>
                    <a:gd name="T5" fmla="*/ 3 h 344"/>
                    <a:gd name="T6" fmla="*/ 116 w 346"/>
                    <a:gd name="T7" fmla="*/ 11 h 344"/>
                    <a:gd name="T8" fmla="*/ 84 w 346"/>
                    <a:gd name="T9" fmla="*/ 27 h 344"/>
                    <a:gd name="T10" fmla="*/ 55 w 346"/>
                    <a:gd name="T11" fmla="*/ 48 h 344"/>
                    <a:gd name="T12" fmla="*/ 33 w 346"/>
                    <a:gd name="T13" fmla="*/ 77 h 344"/>
                    <a:gd name="T14" fmla="*/ 21 w 346"/>
                    <a:gd name="T15" fmla="*/ 97 h 344"/>
                    <a:gd name="T16" fmla="*/ 22 w 346"/>
                    <a:gd name="T17" fmla="*/ 109 h 344"/>
                    <a:gd name="T18" fmla="*/ 29 w 346"/>
                    <a:gd name="T19" fmla="*/ 111 h 344"/>
                    <a:gd name="T20" fmla="*/ 35 w 346"/>
                    <a:gd name="T21" fmla="*/ 109 h 344"/>
                    <a:gd name="T22" fmla="*/ 46 w 346"/>
                    <a:gd name="T23" fmla="*/ 93 h 344"/>
                    <a:gd name="T24" fmla="*/ 74 w 346"/>
                    <a:gd name="T25" fmla="*/ 58 h 344"/>
                    <a:gd name="T26" fmla="*/ 112 w 346"/>
                    <a:gd name="T27" fmla="*/ 35 h 344"/>
                    <a:gd name="T28" fmla="*/ 154 w 346"/>
                    <a:gd name="T29" fmla="*/ 23 h 344"/>
                    <a:gd name="T30" fmla="*/ 197 w 346"/>
                    <a:gd name="T31" fmla="*/ 23 h 344"/>
                    <a:gd name="T32" fmla="*/ 241 w 346"/>
                    <a:gd name="T33" fmla="*/ 36 h 344"/>
                    <a:gd name="T34" fmla="*/ 266 w 346"/>
                    <a:gd name="T35" fmla="*/ 52 h 344"/>
                    <a:gd name="T36" fmla="*/ 297 w 346"/>
                    <a:gd name="T37" fmla="*/ 83 h 344"/>
                    <a:gd name="T38" fmla="*/ 318 w 346"/>
                    <a:gd name="T39" fmla="*/ 122 h 344"/>
                    <a:gd name="T40" fmla="*/ 326 w 346"/>
                    <a:gd name="T41" fmla="*/ 165 h 344"/>
                    <a:gd name="T42" fmla="*/ 322 w 346"/>
                    <a:gd name="T43" fmla="*/ 210 h 344"/>
                    <a:gd name="T44" fmla="*/ 311 w 346"/>
                    <a:gd name="T45" fmla="*/ 238 h 344"/>
                    <a:gd name="T46" fmla="*/ 285 w 346"/>
                    <a:gd name="T47" fmla="*/ 275 h 344"/>
                    <a:gd name="T48" fmla="*/ 250 w 346"/>
                    <a:gd name="T49" fmla="*/ 302 h 344"/>
                    <a:gd name="T50" fmla="*/ 210 w 346"/>
                    <a:gd name="T51" fmla="*/ 318 h 344"/>
                    <a:gd name="T52" fmla="*/ 167 w 346"/>
                    <a:gd name="T53" fmla="*/ 322 h 344"/>
                    <a:gd name="T54" fmla="*/ 123 w 346"/>
                    <a:gd name="T55" fmla="*/ 314 h 344"/>
                    <a:gd name="T56" fmla="*/ 98 w 346"/>
                    <a:gd name="T57" fmla="*/ 302 h 344"/>
                    <a:gd name="T58" fmla="*/ 72 w 346"/>
                    <a:gd name="T59" fmla="*/ 282 h 344"/>
                    <a:gd name="T60" fmla="*/ 50 w 346"/>
                    <a:gd name="T61" fmla="*/ 258 h 344"/>
                    <a:gd name="T62" fmla="*/ 98 w 346"/>
                    <a:gd name="T63" fmla="*/ 255 h 344"/>
                    <a:gd name="T64" fmla="*/ 105 w 346"/>
                    <a:gd name="T65" fmla="*/ 253 h 344"/>
                    <a:gd name="T66" fmla="*/ 109 w 346"/>
                    <a:gd name="T67" fmla="*/ 246 h 344"/>
                    <a:gd name="T68" fmla="*/ 108 w 346"/>
                    <a:gd name="T69" fmla="*/ 239 h 344"/>
                    <a:gd name="T70" fmla="*/ 23 w 346"/>
                    <a:gd name="T71" fmla="*/ 224 h 344"/>
                    <a:gd name="T72" fmla="*/ 15 w 346"/>
                    <a:gd name="T73" fmla="*/ 227 h 344"/>
                    <a:gd name="T74" fmla="*/ 11 w 346"/>
                    <a:gd name="T75" fmla="*/ 232 h 344"/>
                    <a:gd name="T76" fmla="*/ 2 w 346"/>
                    <a:gd name="T77" fmla="*/ 314 h 344"/>
                    <a:gd name="T78" fmla="*/ 10 w 346"/>
                    <a:gd name="T79" fmla="*/ 322 h 344"/>
                    <a:gd name="T80" fmla="*/ 16 w 346"/>
                    <a:gd name="T81" fmla="*/ 321 h 344"/>
                    <a:gd name="T82" fmla="*/ 21 w 346"/>
                    <a:gd name="T83" fmla="*/ 314 h 344"/>
                    <a:gd name="T84" fmla="*/ 35 w 346"/>
                    <a:gd name="T85" fmla="*/ 271 h 344"/>
                    <a:gd name="T86" fmla="*/ 59 w 346"/>
                    <a:gd name="T87" fmla="*/ 300 h 344"/>
                    <a:gd name="T88" fmla="*/ 89 w 346"/>
                    <a:gd name="T89" fmla="*/ 321 h 344"/>
                    <a:gd name="T90" fmla="*/ 116 w 346"/>
                    <a:gd name="T91" fmla="*/ 333 h 344"/>
                    <a:gd name="T92" fmla="*/ 164 w 346"/>
                    <a:gd name="T93" fmla="*/ 343 h 344"/>
                    <a:gd name="T94" fmla="*/ 214 w 346"/>
                    <a:gd name="T95" fmla="*/ 339 h 344"/>
                    <a:gd name="T96" fmla="*/ 246 w 346"/>
                    <a:gd name="T97" fmla="*/ 328 h 344"/>
                    <a:gd name="T98" fmla="*/ 288 w 346"/>
                    <a:gd name="T99" fmla="*/ 300 h 344"/>
                    <a:gd name="T100" fmla="*/ 320 w 346"/>
                    <a:gd name="T101" fmla="*/ 262 h 344"/>
                    <a:gd name="T102" fmla="*/ 336 w 346"/>
                    <a:gd name="T103" fmla="*/ 231 h 344"/>
                    <a:gd name="T104" fmla="*/ 346 w 346"/>
                    <a:gd name="T105" fmla="*/ 181 h 344"/>
                    <a:gd name="T106" fmla="*/ 342 w 346"/>
                    <a:gd name="T107" fmla="*/ 132 h 344"/>
                    <a:gd name="T108" fmla="*/ 323 w 346"/>
                    <a:gd name="T109" fmla="*/ 86 h 344"/>
                    <a:gd name="T110" fmla="*/ 292 w 346"/>
                    <a:gd name="T111" fmla="*/ 47 h 344"/>
                    <a:gd name="T112" fmla="*/ 249 w 346"/>
                    <a:gd name="T113" fmla="*/ 1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6" h="344">
                      <a:moveTo>
                        <a:pt x="249" y="17"/>
                      </a:moveTo>
                      <a:lnTo>
                        <a:pt x="249" y="17"/>
                      </a:lnTo>
                      <a:lnTo>
                        <a:pt x="232" y="11"/>
                      </a:lnTo>
                      <a:lnTo>
                        <a:pt x="213" y="5"/>
                      </a:lnTo>
                      <a:lnTo>
                        <a:pt x="194" y="1"/>
                      </a:lnTo>
                      <a:lnTo>
                        <a:pt x="175" y="0"/>
                      </a:lnTo>
                      <a:lnTo>
                        <a:pt x="175" y="0"/>
                      </a:lnTo>
                      <a:lnTo>
                        <a:pt x="163" y="1"/>
                      </a:lnTo>
                      <a:lnTo>
                        <a:pt x="151" y="3"/>
                      </a:lnTo>
                      <a:lnTo>
                        <a:pt x="139" y="4"/>
                      </a:lnTo>
                      <a:lnTo>
                        <a:pt x="127" y="7"/>
                      </a:lnTo>
                      <a:lnTo>
                        <a:pt x="116" y="11"/>
                      </a:lnTo>
                      <a:lnTo>
                        <a:pt x="104" y="16"/>
                      </a:lnTo>
                      <a:lnTo>
                        <a:pt x="93" y="21"/>
                      </a:lnTo>
                      <a:lnTo>
                        <a:pt x="84" y="27"/>
                      </a:lnTo>
                      <a:lnTo>
                        <a:pt x="73" y="34"/>
                      </a:lnTo>
                      <a:lnTo>
                        <a:pt x="64" y="40"/>
                      </a:lnTo>
                      <a:lnTo>
                        <a:pt x="55" y="48"/>
                      </a:lnTo>
                      <a:lnTo>
                        <a:pt x="47" y="58"/>
                      </a:lnTo>
                      <a:lnTo>
                        <a:pt x="39" y="66"/>
                      </a:lnTo>
                      <a:lnTo>
                        <a:pt x="33" y="77"/>
                      </a:lnTo>
                      <a:lnTo>
                        <a:pt x="26" y="86"/>
                      </a:lnTo>
                      <a:lnTo>
                        <a:pt x="21" y="97"/>
                      </a:lnTo>
                      <a:lnTo>
                        <a:pt x="21" y="97"/>
                      </a:lnTo>
                      <a:lnTo>
                        <a:pt x="19" y="101"/>
                      </a:lnTo>
                      <a:lnTo>
                        <a:pt x="19" y="105"/>
                      </a:lnTo>
                      <a:lnTo>
                        <a:pt x="22" y="109"/>
                      </a:lnTo>
                      <a:lnTo>
                        <a:pt x="25" y="110"/>
                      </a:lnTo>
                      <a:lnTo>
                        <a:pt x="25" y="110"/>
                      </a:lnTo>
                      <a:lnTo>
                        <a:pt x="29" y="111"/>
                      </a:lnTo>
                      <a:lnTo>
                        <a:pt x="33" y="111"/>
                      </a:lnTo>
                      <a:lnTo>
                        <a:pt x="33" y="111"/>
                      </a:lnTo>
                      <a:lnTo>
                        <a:pt x="35" y="109"/>
                      </a:lnTo>
                      <a:lnTo>
                        <a:pt x="38" y="106"/>
                      </a:lnTo>
                      <a:lnTo>
                        <a:pt x="38" y="106"/>
                      </a:lnTo>
                      <a:lnTo>
                        <a:pt x="46" y="93"/>
                      </a:lnTo>
                      <a:lnTo>
                        <a:pt x="54" y="81"/>
                      </a:lnTo>
                      <a:lnTo>
                        <a:pt x="64" y="68"/>
                      </a:lnTo>
                      <a:lnTo>
                        <a:pt x="74" y="58"/>
                      </a:lnTo>
                      <a:lnTo>
                        <a:pt x="86" y="50"/>
                      </a:lnTo>
                      <a:lnTo>
                        <a:pt x="98" y="42"/>
                      </a:lnTo>
                      <a:lnTo>
                        <a:pt x="112" y="35"/>
                      </a:lnTo>
                      <a:lnTo>
                        <a:pt x="125" y="29"/>
                      </a:lnTo>
                      <a:lnTo>
                        <a:pt x="139" y="25"/>
                      </a:lnTo>
                      <a:lnTo>
                        <a:pt x="154" y="23"/>
                      </a:lnTo>
                      <a:lnTo>
                        <a:pt x="167" y="21"/>
                      </a:lnTo>
                      <a:lnTo>
                        <a:pt x="182" y="21"/>
                      </a:lnTo>
                      <a:lnTo>
                        <a:pt x="197" y="23"/>
                      </a:lnTo>
                      <a:lnTo>
                        <a:pt x="211" y="25"/>
                      </a:lnTo>
                      <a:lnTo>
                        <a:pt x="226" y="29"/>
                      </a:lnTo>
                      <a:lnTo>
                        <a:pt x="241" y="36"/>
                      </a:lnTo>
                      <a:lnTo>
                        <a:pt x="241" y="36"/>
                      </a:lnTo>
                      <a:lnTo>
                        <a:pt x="254" y="43"/>
                      </a:lnTo>
                      <a:lnTo>
                        <a:pt x="266" y="52"/>
                      </a:lnTo>
                      <a:lnTo>
                        <a:pt x="277" y="62"/>
                      </a:lnTo>
                      <a:lnTo>
                        <a:pt x="288" y="72"/>
                      </a:lnTo>
                      <a:lnTo>
                        <a:pt x="297" y="83"/>
                      </a:lnTo>
                      <a:lnTo>
                        <a:pt x="305" y="95"/>
                      </a:lnTo>
                      <a:lnTo>
                        <a:pt x="312" y="109"/>
                      </a:lnTo>
                      <a:lnTo>
                        <a:pt x="318" y="122"/>
                      </a:lnTo>
                      <a:lnTo>
                        <a:pt x="322" y="136"/>
                      </a:lnTo>
                      <a:lnTo>
                        <a:pt x="324" y="150"/>
                      </a:lnTo>
                      <a:lnTo>
                        <a:pt x="326" y="165"/>
                      </a:lnTo>
                      <a:lnTo>
                        <a:pt x="326" y="180"/>
                      </a:lnTo>
                      <a:lnTo>
                        <a:pt x="324" y="195"/>
                      </a:lnTo>
                      <a:lnTo>
                        <a:pt x="322" y="210"/>
                      </a:lnTo>
                      <a:lnTo>
                        <a:pt x="316" y="223"/>
                      </a:lnTo>
                      <a:lnTo>
                        <a:pt x="311" y="238"/>
                      </a:lnTo>
                      <a:lnTo>
                        <a:pt x="311" y="238"/>
                      </a:lnTo>
                      <a:lnTo>
                        <a:pt x="303" y="251"/>
                      </a:lnTo>
                      <a:lnTo>
                        <a:pt x="295" y="263"/>
                      </a:lnTo>
                      <a:lnTo>
                        <a:pt x="285" y="275"/>
                      </a:lnTo>
                      <a:lnTo>
                        <a:pt x="275" y="286"/>
                      </a:lnTo>
                      <a:lnTo>
                        <a:pt x="262" y="294"/>
                      </a:lnTo>
                      <a:lnTo>
                        <a:pt x="250" y="302"/>
                      </a:lnTo>
                      <a:lnTo>
                        <a:pt x="237" y="309"/>
                      </a:lnTo>
                      <a:lnTo>
                        <a:pt x="223" y="314"/>
                      </a:lnTo>
                      <a:lnTo>
                        <a:pt x="210" y="318"/>
                      </a:lnTo>
                      <a:lnTo>
                        <a:pt x="195" y="321"/>
                      </a:lnTo>
                      <a:lnTo>
                        <a:pt x="182" y="322"/>
                      </a:lnTo>
                      <a:lnTo>
                        <a:pt x="167" y="322"/>
                      </a:lnTo>
                      <a:lnTo>
                        <a:pt x="152" y="321"/>
                      </a:lnTo>
                      <a:lnTo>
                        <a:pt x="137" y="318"/>
                      </a:lnTo>
                      <a:lnTo>
                        <a:pt x="123" y="314"/>
                      </a:lnTo>
                      <a:lnTo>
                        <a:pt x="108" y="308"/>
                      </a:lnTo>
                      <a:lnTo>
                        <a:pt x="108" y="308"/>
                      </a:lnTo>
                      <a:lnTo>
                        <a:pt x="98" y="302"/>
                      </a:lnTo>
                      <a:lnTo>
                        <a:pt x="89" y="297"/>
                      </a:lnTo>
                      <a:lnTo>
                        <a:pt x="80" y="290"/>
                      </a:lnTo>
                      <a:lnTo>
                        <a:pt x="72" y="282"/>
                      </a:lnTo>
                      <a:lnTo>
                        <a:pt x="64" y="275"/>
                      </a:lnTo>
                      <a:lnTo>
                        <a:pt x="57" y="266"/>
                      </a:lnTo>
                      <a:lnTo>
                        <a:pt x="50" y="258"/>
                      </a:lnTo>
                      <a:lnTo>
                        <a:pt x="43" y="247"/>
                      </a:lnTo>
                      <a:lnTo>
                        <a:pt x="98" y="255"/>
                      </a:lnTo>
                      <a:lnTo>
                        <a:pt x="98" y="255"/>
                      </a:lnTo>
                      <a:lnTo>
                        <a:pt x="102" y="255"/>
                      </a:lnTo>
                      <a:lnTo>
                        <a:pt x="105" y="253"/>
                      </a:lnTo>
                      <a:lnTo>
                        <a:pt x="105" y="253"/>
                      </a:lnTo>
                      <a:lnTo>
                        <a:pt x="108" y="250"/>
                      </a:lnTo>
                      <a:lnTo>
                        <a:pt x="109" y="246"/>
                      </a:lnTo>
                      <a:lnTo>
                        <a:pt x="109" y="246"/>
                      </a:lnTo>
                      <a:lnTo>
                        <a:pt x="109" y="243"/>
                      </a:lnTo>
                      <a:lnTo>
                        <a:pt x="108" y="239"/>
                      </a:lnTo>
                      <a:lnTo>
                        <a:pt x="108" y="239"/>
                      </a:lnTo>
                      <a:lnTo>
                        <a:pt x="105" y="236"/>
                      </a:lnTo>
                      <a:lnTo>
                        <a:pt x="101" y="235"/>
                      </a:lnTo>
                      <a:lnTo>
                        <a:pt x="23" y="224"/>
                      </a:lnTo>
                      <a:lnTo>
                        <a:pt x="23" y="224"/>
                      </a:lnTo>
                      <a:lnTo>
                        <a:pt x="19" y="224"/>
                      </a:lnTo>
                      <a:lnTo>
                        <a:pt x="15" y="227"/>
                      </a:lnTo>
                      <a:lnTo>
                        <a:pt x="15" y="227"/>
                      </a:lnTo>
                      <a:lnTo>
                        <a:pt x="12" y="230"/>
                      </a:lnTo>
                      <a:lnTo>
                        <a:pt x="11" y="232"/>
                      </a:lnTo>
                      <a:lnTo>
                        <a:pt x="0" y="312"/>
                      </a:lnTo>
                      <a:lnTo>
                        <a:pt x="0" y="312"/>
                      </a:lnTo>
                      <a:lnTo>
                        <a:pt x="2" y="314"/>
                      </a:lnTo>
                      <a:lnTo>
                        <a:pt x="3" y="318"/>
                      </a:lnTo>
                      <a:lnTo>
                        <a:pt x="6" y="321"/>
                      </a:lnTo>
                      <a:lnTo>
                        <a:pt x="10" y="322"/>
                      </a:lnTo>
                      <a:lnTo>
                        <a:pt x="10" y="322"/>
                      </a:lnTo>
                      <a:lnTo>
                        <a:pt x="14" y="322"/>
                      </a:lnTo>
                      <a:lnTo>
                        <a:pt x="16" y="321"/>
                      </a:lnTo>
                      <a:lnTo>
                        <a:pt x="16" y="321"/>
                      </a:lnTo>
                      <a:lnTo>
                        <a:pt x="19" y="317"/>
                      </a:lnTo>
                      <a:lnTo>
                        <a:pt x="21" y="314"/>
                      </a:lnTo>
                      <a:lnTo>
                        <a:pt x="29" y="262"/>
                      </a:lnTo>
                      <a:lnTo>
                        <a:pt x="29" y="262"/>
                      </a:lnTo>
                      <a:lnTo>
                        <a:pt x="35" y="271"/>
                      </a:lnTo>
                      <a:lnTo>
                        <a:pt x="42" y="282"/>
                      </a:lnTo>
                      <a:lnTo>
                        <a:pt x="50" y="290"/>
                      </a:lnTo>
                      <a:lnTo>
                        <a:pt x="59" y="300"/>
                      </a:lnTo>
                      <a:lnTo>
                        <a:pt x="69" y="306"/>
                      </a:lnTo>
                      <a:lnTo>
                        <a:pt x="78" y="314"/>
                      </a:lnTo>
                      <a:lnTo>
                        <a:pt x="89" y="321"/>
                      </a:lnTo>
                      <a:lnTo>
                        <a:pt x="100" y="327"/>
                      </a:lnTo>
                      <a:lnTo>
                        <a:pt x="100" y="327"/>
                      </a:lnTo>
                      <a:lnTo>
                        <a:pt x="116" y="333"/>
                      </a:lnTo>
                      <a:lnTo>
                        <a:pt x="132" y="339"/>
                      </a:lnTo>
                      <a:lnTo>
                        <a:pt x="148" y="341"/>
                      </a:lnTo>
                      <a:lnTo>
                        <a:pt x="164" y="343"/>
                      </a:lnTo>
                      <a:lnTo>
                        <a:pt x="180" y="344"/>
                      </a:lnTo>
                      <a:lnTo>
                        <a:pt x="198" y="341"/>
                      </a:lnTo>
                      <a:lnTo>
                        <a:pt x="214" y="339"/>
                      </a:lnTo>
                      <a:lnTo>
                        <a:pt x="230" y="335"/>
                      </a:lnTo>
                      <a:lnTo>
                        <a:pt x="230" y="335"/>
                      </a:lnTo>
                      <a:lnTo>
                        <a:pt x="246" y="328"/>
                      </a:lnTo>
                      <a:lnTo>
                        <a:pt x="261" y="320"/>
                      </a:lnTo>
                      <a:lnTo>
                        <a:pt x="276" y="310"/>
                      </a:lnTo>
                      <a:lnTo>
                        <a:pt x="288" y="300"/>
                      </a:lnTo>
                      <a:lnTo>
                        <a:pt x="300" y="289"/>
                      </a:lnTo>
                      <a:lnTo>
                        <a:pt x="311" y="275"/>
                      </a:lnTo>
                      <a:lnTo>
                        <a:pt x="320" y="262"/>
                      </a:lnTo>
                      <a:lnTo>
                        <a:pt x="328" y="247"/>
                      </a:lnTo>
                      <a:lnTo>
                        <a:pt x="328" y="247"/>
                      </a:lnTo>
                      <a:lnTo>
                        <a:pt x="336" y="231"/>
                      </a:lnTo>
                      <a:lnTo>
                        <a:pt x="340" y="214"/>
                      </a:lnTo>
                      <a:lnTo>
                        <a:pt x="344" y="197"/>
                      </a:lnTo>
                      <a:lnTo>
                        <a:pt x="346" y="181"/>
                      </a:lnTo>
                      <a:lnTo>
                        <a:pt x="346" y="164"/>
                      </a:lnTo>
                      <a:lnTo>
                        <a:pt x="344" y="148"/>
                      </a:lnTo>
                      <a:lnTo>
                        <a:pt x="342" y="132"/>
                      </a:lnTo>
                      <a:lnTo>
                        <a:pt x="336" y="116"/>
                      </a:lnTo>
                      <a:lnTo>
                        <a:pt x="330" y="101"/>
                      </a:lnTo>
                      <a:lnTo>
                        <a:pt x="323" y="86"/>
                      </a:lnTo>
                      <a:lnTo>
                        <a:pt x="313" y="71"/>
                      </a:lnTo>
                      <a:lnTo>
                        <a:pt x="303" y="59"/>
                      </a:lnTo>
                      <a:lnTo>
                        <a:pt x="292" y="47"/>
                      </a:lnTo>
                      <a:lnTo>
                        <a:pt x="279" y="36"/>
                      </a:lnTo>
                      <a:lnTo>
                        <a:pt x="265" y="25"/>
                      </a:lnTo>
                      <a:lnTo>
                        <a:pt x="249" y="17"/>
                      </a:lnTo>
                      <a:lnTo>
                        <a:pt x="249"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sp>
          <p:nvSpPr>
            <p:cNvPr id="82" name="TextBox 81">
              <a:extLst>
                <a:ext uri="{FF2B5EF4-FFF2-40B4-BE49-F238E27FC236}">
                  <a16:creationId xmlns:a16="http://schemas.microsoft.com/office/drawing/2014/main" id="{CF859537-DD96-124B-BB16-AE32CA7C3418}"/>
                </a:ext>
              </a:extLst>
            </p:cNvPr>
            <p:cNvSpPr txBox="1"/>
            <p:nvPr/>
          </p:nvSpPr>
          <p:spPr>
            <a:xfrm>
              <a:off x="1198101" y="1931162"/>
              <a:ext cx="1757212" cy="261610"/>
            </a:xfrm>
            <a:prstGeom prst="rect">
              <a:avLst/>
            </a:prstGeom>
            <a:noFill/>
          </p:spPr>
          <p:txBody>
            <a:bodyPr wrap="none" rtlCol="0">
              <a:spAutoFit/>
            </a:bodyPr>
            <a:lstStyle/>
            <a:p>
              <a:r>
                <a:rPr lang="en-US" sz="1100" b="1" dirty="0"/>
                <a:t>Considerations Ver 3.0</a:t>
              </a:r>
            </a:p>
          </p:txBody>
        </p:sp>
      </p:grpSp>
    </p:spTree>
    <p:extLst>
      <p:ext uri="{BB962C8B-B14F-4D97-AF65-F5344CB8AC3E}">
        <p14:creationId xmlns:p14="http://schemas.microsoft.com/office/powerpoint/2010/main" val="385693961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9839EE4-ED54-428A-8020-F6280DAEC76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76" name="think-cell Slide" r:id="rId6" imgW="415" imgH="416" progId="TCLayout.ActiveDocument.1">
                  <p:embed/>
                </p:oleObj>
              </mc:Choice>
              <mc:Fallback>
                <p:oleObj name="think-cell Slide" r:id="rId6" imgW="415" imgH="416" progId="TCLayout.ActiveDocument.1">
                  <p:embed/>
                  <p:pic>
                    <p:nvPicPr>
                      <p:cNvPr id="7" name="Object 6" hidden="1">
                        <a:extLst>
                          <a:ext uri="{FF2B5EF4-FFF2-40B4-BE49-F238E27FC236}">
                            <a16:creationId xmlns:a16="http://schemas.microsoft.com/office/drawing/2014/main" id="{39839EE4-ED54-428A-8020-F6280DAEC76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3810475-1FBA-44CF-854A-23394BB9A2B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A6BF9010-65B3-4E2A-B158-4EDEED102752}"/>
              </a:ext>
            </a:extLst>
          </p:cNvPr>
          <p:cNvSpPr>
            <a:spLocks noGrp="1"/>
          </p:cNvSpPr>
          <p:nvPr>
            <p:ph type="title"/>
          </p:nvPr>
        </p:nvSpPr>
        <p:spPr/>
        <p:txBody>
          <a:bodyPr anchor="b"/>
          <a:lstStyle/>
          <a:p>
            <a:r>
              <a:rPr lang="en-US" dirty="0"/>
              <a:t>And will build a Team that leads from the front</a:t>
            </a:r>
          </a:p>
        </p:txBody>
      </p:sp>
      <p:sp>
        <p:nvSpPr>
          <p:cNvPr id="3" name="Text Placeholder 2">
            <a:extLst>
              <a:ext uri="{FF2B5EF4-FFF2-40B4-BE49-F238E27FC236}">
                <a16:creationId xmlns:a16="http://schemas.microsoft.com/office/drawing/2014/main" id="{5908A706-3179-46D3-9A29-174B1766B91D}"/>
              </a:ext>
            </a:extLst>
          </p:cNvPr>
          <p:cNvSpPr>
            <a:spLocks noGrp="1"/>
          </p:cNvSpPr>
          <p:nvPr>
            <p:ph type="body" sz="quarter" idx="14"/>
          </p:nvPr>
        </p:nvSpPr>
        <p:spPr/>
        <p:txBody>
          <a:bodyPr/>
          <a:lstStyle/>
          <a:p>
            <a:r>
              <a:rPr lang="en-US" dirty="0"/>
              <a:t>Subheader</a:t>
            </a:r>
          </a:p>
        </p:txBody>
      </p:sp>
      <p:sp>
        <p:nvSpPr>
          <p:cNvPr id="4" name="Text Placeholder 3">
            <a:extLst>
              <a:ext uri="{FF2B5EF4-FFF2-40B4-BE49-F238E27FC236}">
                <a16:creationId xmlns:a16="http://schemas.microsoft.com/office/drawing/2014/main" id="{99DC4962-892E-4043-843E-50ED326C2A3A}"/>
              </a:ext>
            </a:extLst>
          </p:cNvPr>
          <p:cNvSpPr>
            <a:spLocks noGrp="1"/>
          </p:cNvSpPr>
          <p:nvPr>
            <p:ph type="body" sz="quarter" idx="15"/>
          </p:nvPr>
        </p:nvSpPr>
        <p:spPr/>
        <p:txBody>
          <a:bodyPr/>
          <a:lstStyle/>
          <a:p>
            <a:r>
              <a:rPr lang="en-US" dirty="0"/>
              <a:t>text</a:t>
            </a:r>
          </a:p>
        </p:txBody>
      </p:sp>
      <p:sp>
        <p:nvSpPr>
          <p:cNvPr id="9" name="Rectangle: Rounded Corners 5">
            <a:extLst>
              <a:ext uri="{FF2B5EF4-FFF2-40B4-BE49-F238E27FC236}">
                <a16:creationId xmlns:a16="http://schemas.microsoft.com/office/drawing/2014/main" id="{F72FA9D6-5AB6-4AD0-A640-5D8E7AB9E597}"/>
              </a:ext>
            </a:extLst>
          </p:cNvPr>
          <p:cNvSpPr/>
          <p:nvPr/>
        </p:nvSpPr>
        <p:spPr bwMode="gray">
          <a:xfrm>
            <a:off x="914400" y="1828801"/>
            <a:ext cx="10363200" cy="4417888"/>
          </a:xfrm>
          <a:prstGeom prst="rect">
            <a:avLst/>
          </a:prstGeom>
          <a:noFill/>
          <a:ln w="38100" algn="ctr">
            <a:noFill/>
            <a:miter lim="800000"/>
            <a:headEnd/>
            <a:tailEnd/>
          </a:ln>
        </p:spPr>
        <p:txBody>
          <a:bodyPr wrap="square" lIns="88900" tIns="88900" rIns="88900" bIns="88900" rtlCol="0" anchor="t"/>
          <a:lstStyle/>
          <a:p>
            <a:pPr marL="285750" marR="0" lvl="1" indent="-285750" algn="l" defTabSz="914400" rtl="0" eaLnBrk="1" fontAlgn="auto" latinLnBrk="0" hangingPunct="1">
              <a:lnSpc>
                <a:spcPct val="100000"/>
              </a:lnSpc>
              <a:spcBef>
                <a:spcPts val="0"/>
              </a:spcBef>
              <a:spcAft>
                <a:spcPts val="1600"/>
              </a:spcAft>
              <a:buClrTx/>
              <a:buSzPct val="100000"/>
              <a:buFont typeface="System Font Regular"/>
              <a:buChar char="+"/>
              <a:tabLst/>
              <a:defRPr/>
            </a:pPr>
            <a:r>
              <a:rPr kumimoji="0" lang="en-US" sz="16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stablish the </a:t>
            </a:r>
            <a:r>
              <a:rPr kumimoji="0" lang="en-US" sz="16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etwork</a:t>
            </a:r>
            <a:r>
              <a:rPr kumimoji="0" lang="en-US" sz="16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6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trategy</a:t>
            </a:r>
          </a:p>
          <a:p>
            <a:pPr marL="285750" marR="0" lvl="1" indent="-285750" algn="l" defTabSz="914400" rtl="0" eaLnBrk="1" fontAlgn="auto" latinLnBrk="0" hangingPunct="1">
              <a:lnSpc>
                <a:spcPct val="100000"/>
              </a:lnSpc>
              <a:spcBef>
                <a:spcPts val="0"/>
              </a:spcBef>
              <a:spcAft>
                <a:spcPts val="1600"/>
              </a:spcAft>
              <a:buClrTx/>
              <a:buSzPct val="100000"/>
              <a:buFont typeface="System Font Regular"/>
              <a:buChar char="+"/>
              <a:tabLst/>
              <a:defRPr/>
            </a:pPr>
            <a:r>
              <a:rPr kumimoji="0" lang="en-US" sz="16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Become the </a:t>
            </a:r>
            <a:r>
              <a:rPr kumimoji="0" lang="en-US" sz="16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entral coordinator </a:t>
            </a:r>
            <a:r>
              <a:rPr kumimoji="0" lang="en-US" sz="16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n all Ecosystem initiatives </a:t>
            </a:r>
            <a:endParaRPr kumimoji="0" lang="en-US" sz="16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285750" marR="0" lvl="1" indent="-285750" algn="l" defTabSz="914400" rtl="0" eaLnBrk="1" fontAlgn="auto" latinLnBrk="0" hangingPunct="1">
              <a:lnSpc>
                <a:spcPct val="100000"/>
              </a:lnSpc>
              <a:spcBef>
                <a:spcPts val="0"/>
              </a:spcBef>
              <a:spcAft>
                <a:spcPts val="1600"/>
              </a:spcAft>
              <a:buClrTx/>
              <a:buSzPct val="100000"/>
              <a:buFont typeface="System Font Regular"/>
              <a:buChar char="+"/>
              <a:tabLst/>
              <a:defRPr/>
            </a:pPr>
            <a:r>
              <a:rPr kumimoji="0" lang="en-US" sz="16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ead the execution, resourcing, and delivery of a </a:t>
            </a:r>
            <a:r>
              <a:rPr kumimoji="0" lang="en-US" sz="16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quality portfolio</a:t>
            </a:r>
            <a:endParaRPr kumimoji="0" lang="en-US" sz="16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285750" marR="0" lvl="1" indent="-285750" algn="l" defTabSz="914400" rtl="0" eaLnBrk="1" fontAlgn="auto" latinLnBrk="0" hangingPunct="1">
              <a:lnSpc>
                <a:spcPct val="100000"/>
              </a:lnSpc>
              <a:spcBef>
                <a:spcPts val="0"/>
              </a:spcBef>
              <a:spcAft>
                <a:spcPts val="1600"/>
              </a:spcAft>
              <a:buClrTx/>
              <a:buSzPct val="100000"/>
              <a:buFont typeface="System Font Regular"/>
              <a:buChar char="+"/>
              <a:tabLst/>
              <a:defRPr/>
            </a:pPr>
            <a:r>
              <a:rPr kumimoji="0" lang="en-US" sz="16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ource and </a:t>
            </a:r>
            <a:r>
              <a:rPr kumimoji="0" lang="en-US" sz="16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ioritize</a:t>
            </a:r>
            <a:r>
              <a:rPr kumimoji="0" lang="en-US" sz="16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6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vestments</a:t>
            </a:r>
            <a:r>
              <a:rPr kumimoji="0" lang="en-US" sz="16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ligned to market opportunities</a:t>
            </a:r>
          </a:p>
          <a:p>
            <a:pPr marL="285750" marR="0" lvl="1" indent="-285750" algn="l" defTabSz="914400" rtl="0" eaLnBrk="1" fontAlgn="auto" latinLnBrk="0" hangingPunct="1">
              <a:lnSpc>
                <a:spcPct val="100000"/>
              </a:lnSpc>
              <a:spcBef>
                <a:spcPts val="0"/>
              </a:spcBef>
              <a:spcAft>
                <a:spcPts val="1600"/>
              </a:spcAft>
              <a:buClrTx/>
              <a:buSzPct val="100000"/>
              <a:buFont typeface="System Font Regular"/>
              <a:buChar char="+"/>
              <a:tabLst/>
              <a:defRPr/>
            </a:pPr>
            <a:r>
              <a:rPr kumimoji="0" lang="en-US" sz="16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velop training and resources around </a:t>
            </a:r>
            <a:r>
              <a:rPr kumimoji="0" lang="en-US" sz="16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onetization</a:t>
            </a:r>
            <a:endParaRPr kumimoji="0" lang="en-US" sz="16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285750" marR="0" lvl="1" indent="-285750" algn="l" defTabSz="914400" rtl="0" eaLnBrk="1" fontAlgn="auto" latinLnBrk="0" hangingPunct="1">
              <a:lnSpc>
                <a:spcPct val="100000"/>
              </a:lnSpc>
              <a:spcBef>
                <a:spcPts val="0"/>
              </a:spcBef>
              <a:spcAft>
                <a:spcPts val="1600"/>
              </a:spcAft>
              <a:buClrTx/>
              <a:buSzPct val="100000"/>
              <a:buFont typeface="System Font Regular"/>
              <a:buChar char="+"/>
              <a:tabLst/>
              <a:defRPr/>
            </a:pPr>
            <a:r>
              <a:rPr kumimoji="0" lang="en-US" sz="16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Build the internal / external </a:t>
            </a:r>
            <a:r>
              <a:rPr kumimoji="0" lang="en-US" sz="16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knowledge base and marketing engines </a:t>
            </a:r>
            <a:br>
              <a:rPr kumimoji="0" lang="en-US" sz="16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6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ound the tangible value of our portfolio and hybrid businesses</a:t>
            </a:r>
          </a:p>
        </p:txBody>
      </p:sp>
      <p:cxnSp>
        <p:nvCxnSpPr>
          <p:cNvPr id="10" name="Straight Connector 9">
            <a:extLst>
              <a:ext uri="{FF2B5EF4-FFF2-40B4-BE49-F238E27FC236}">
                <a16:creationId xmlns:a16="http://schemas.microsoft.com/office/drawing/2014/main" id="{5BFF28C0-97DC-4F71-807B-E8F2FC881046}"/>
              </a:ext>
            </a:extLst>
          </p:cNvPr>
          <p:cNvCxnSpPr>
            <a:cxnSpLocks/>
          </p:cNvCxnSpPr>
          <p:nvPr/>
        </p:nvCxnSpPr>
        <p:spPr>
          <a:xfrm>
            <a:off x="914400" y="1828800"/>
            <a:ext cx="7561482"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B95B9BB-07C3-4E38-AF84-39B96CA5F5B6}"/>
              </a:ext>
            </a:extLst>
          </p:cNvPr>
          <p:cNvCxnSpPr>
            <a:cxnSpLocks/>
          </p:cNvCxnSpPr>
          <p:nvPr/>
        </p:nvCxnSpPr>
        <p:spPr>
          <a:xfrm>
            <a:off x="913409" y="5868458"/>
            <a:ext cx="7561482"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69140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C5806BB-4F59-4842-9852-8E49D335EB7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2" name="think-cell Slide" r:id="rId5" imgW="395" imgH="396" progId="TCLayout.ActiveDocument.1">
                  <p:embed/>
                </p:oleObj>
              </mc:Choice>
              <mc:Fallback>
                <p:oleObj name="think-cell Slide" r:id="rId5" imgW="395" imgH="396" progId="TCLayout.ActiveDocument.1">
                  <p:embed/>
                  <p:pic>
                    <p:nvPicPr>
                      <p:cNvPr id="9" name="Object 8" hidden="1">
                        <a:extLst>
                          <a:ext uri="{FF2B5EF4-FFF2-40B4-BE49-F238E27FC236}">
                            <a16:creationId xmlns:a16="http://schemas.microsoft.com/office/drawing/2014/main" id="{2C5806BB-4F59-4842-9852-8E49D335EB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52C5C036-2E45-41AE-B379-00F1DC1B92C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913703" y="0"/>
            <a:ext cx="10278297" cy="6858000"/>
          </a:xfrm>
          <a:prstGeom prst="rect">
            <a:avLst/>
          </a:prstGeom>
        </p:spPr>
      </p:pic>
      <p:sp>
        <p:nvSpPr>
          <p:cNvPr id="11" name="Rectangle 10">
            <a:extLst>
              <a:ext uri="{FF2B5EF4-FFF2-40B4-BE49-F238E27FC236}">
                <a16:creationId xmlns:a16="http://schemas.microsoft.com/office/drawing/2014/main" id="{1CCF3895-3F80-4D9E-85CB-27419336D72F}"/>
              </a:ext>
            </a:extLst>
          </p:cNvPr>
          <p:cNvSpPr/>
          <p:nvPr/>
        </p:nvSpPr>
        <p:spPr>
          <a:xfrm>
            <a:off x="0" y="0"/>
            <a:ext cx="3412503" cy="6858000"/>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10" name="Text Placeholder 3">
            <a:extLst>
              <a:ext uri="{FF2B5EF4-FFF2-40B4-BE49-F238E27FC236}">
                <a16:creationId xmlns:a16="http://schemas.microsoft.com/office/drawing/2014/main" id="{59BF3B58-ADD4-4F97-908E-61A731ABEEDC}"/>
              </a:ext>
            </a:extLst>
          </p:cNvPr>
          <p:cNvSpPr txBox="1">
            <a:spLocks/>
          </p:cNvSpPr>
          <p:nvPr/>
        </p:nvSpPr>
        <p:spPr>
          <a:xfrm>
            <a:off x="221780" y="140038"/>
            <a:ext cx="4125913" cy="6577923"/>
          </a:xfrm>
          <a:prstGeom prst="rect">
            <a:avLst/>
          </a:prstGeom>
          <a:ln>
            <a:noFill/>
          </a:ln>
        </p:spPr>
        <p:style>
          <a:lnRef idx="2">
            <a:schemeClr val="dk1"/>
          </a:lnRef>
          <a:fillRef idx="1">
            <a:schemeClr val="lt1"/>
          </a:fillRef>
          <a:effectRef idx="0">
            <a:schemeClr val="dk1"/>
          </a:effectRef>
          <a:fontRef idx="minor">
            <a:schemeClr val="dk1"/>
          </a:fontRef>
        </p:style>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endParaRPr lang="en-US" sz="4600" dirty="0">
              <a:latin typeface="Open Sans Light" panose="020B0306030504020204" pitchFamily="34" charset="0"/>
              <a:ea typeface="Open Sans Light" panose="020B0306030504020204" pitchFamily="34" charset="0"/>
              <a:cs typeface="Open Sans Light" panose="020B0306030504020204" pitchFamily="34" charset="0"/>
            </a:endParaRPr>
          </a:p>
          <a:p>
            <a:pPr marL="457200" lvl="1" indent="0">
              <a:buNone/>
            </a:pPr>
            <a:endParaRPr lang="en-US" sz="4600" dirty="0">
              <a:latin typeface="Open Sans Light" panose="020B0306030504020204" pitchFamily="34" charset="0"/>
              <a:ea typeface="Open Sans Light" panose="020B0306030504020204" pitchFamily="34" charset="0"/>
              <a:cs typeface="Open Sans Light" panose="020B0306030504020204" pitchFamily="34" charset="0"/>
            </a:endParaRPr>
          </a:p>
          <a:p>
            <a:pPr marL="457200" lvl="1" indent="0">
              <a:buNone/>
            </a:pPr>
            <a:endParaRPr lang="en-US" sz="4600" dirty="0">
              <a:latin typeface="Open Sans Light" panose="020B0306030504020204" pitchFamily="34" charset="0"/>
              <a:ea typeface="Open Sans Light" panose="020B0306030504020204" pitchFamily="34" charset="0"/>
              <a:cs typeface="Open Sans Light" panose="020B0306030504020204" pitchFamily="34" charset="0"/>
            </a:endParaRPr>
          </a:p>
          <a:p>
            <a:pPr marL="457200" lvl="1" indent="0">
              <a:buNone/>
            </a:pPr>
            <a:r>
              <a:rPr lang="en-US" sz="4600" dirty="0">
                <a:latin typeface="Open Sans Light" panose="020B0306030504020204" pitchFamily="34" charset="0"/>
                <a:ea typeface="Open Sans Light" panose="020B0306030504020204" pitchFamily="34" charset="0"/>
                <a:cs typeface="Open Sans Light" panose="020B0306030504020204" pitchFamily="34" charset="0"/>
              </a:rPr>
              <a:t>Our</a:t>
            </a:r>
          </a:p>
          <a:p>
            <a:pPr marL="457200" lvl="1" indent="0">
              <a:buNone/>
            </a:pPr>
            <a:r>
              <a:rPr lang="en-US" sz="4600" dirty="0">
                <a:latin typeface="Open Sans Light" panose="020B0306030504020204" pitchFamily="34" charset="0"/>
                <a:ea typeface="Open Sans Light" panose="020B0306030504020204" pitchFamily="34" charset="0"/>
                <a:cs typeface="Open Sans Light" panose="020B0306030504020204" pitchFamily="34" charset="0"/>
              </a:rPr>
              <a:t>Asset</a:t>
            </a:r>
          </a:p>
          <a:p>
            <a:pPr marL="457200" lvl="1" indent="0">
              <a:buNone/>
            </a:pPr>
            <a:r>
              <a:rPr lang="en-US" sz="4600" dirty="0">
                <a:latin typeface="Open Sans Light" panose="020B0306030504020204" pitchFamily="34" charset="0"/>
                <a:ea typeface="Open Sans Light" panose="020B0306030504020204" pitchFamily="34" charset="0"/>
                <a:cs typeface="Open Sans Light" panose="020B0306030504020204" pitchFamily="34" charset="0"/>
              </a:rPr>
              <a:t>Principles</a:t>
            </a:r>
          </a:p>
        </p:txBody>
      </p:sp>
    </p:spTree>
    <p:extLst>
      <p:ext uri="{BB962C8B-B14F-4D97-AF65-F5344CB8AC3E}">
        <p14:creationId xmlns:p14="http://schemas.microsoft.com/office/powerpoint/2010/main" val="124375881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1A8B514-6EED-4430-A3DB-78773763919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48"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91A8B514-6EED-4430-A3DB-78773763919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CCA78FC-26C7-4FDC-9765-8D7E9CD95DF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54674877-4D27-4660-A310-D219D87CFA09}"/>
              </a:ext>
            </a:extLst>
          </p:cNvPr>
          <p:cNvSpPr>
            <a:spLocks noGrp="1"/>
          </p:cNvSpPr>
          <p:nvPr>
            <p:ph type="title"/>
          </p:nvPr>
        </p:nvSpPr>
        <p:spPr/>
        <p:txBody>
          <a:bodyPr/>
          <a:lstStyle/>
          <a:p>
            <a:r>
              <a:rPr lang="en-US" dirty="0"/>
              <a:t>Organizational Dynamics</a:t>
            </a:r>
          </a:p>
        </p:txBody>
      </p:sp>
      <p:sp>
        <p:nvSpPr>
          <p:cNvPr id="5" name="Text Placeholder 4">
            <a:extLst>
              <a:ext uri="{FF2B5EF4-FFF2-40B4-BE49-F238E27FC236}">
                <a16:creationId xmlns:a16="http://schemas.microsoft.com/office/drawing/2014/main" id="{C9AB3890-529C-454B-B4BA-5DB21095DFA8}"/>
              </a:ext>
            </a:extLst>
          </p:cNvPr>
          <p:cNvSpPr>
            <a:spLocks noGrp="1"/>
          </p:cNvSpPr>
          <p:nvPr>
            <p:ph type="body" sz="quarter" idx="14"/>
          </p:nvPr>
        </p:nvSpPr>
        <p:spPr/>
        <p:txBody>
          <a:bodyPr/>
          <a:lstStyle/>
          <a:p>
            <a:r>
              <a:rPr lang="en-US" dirty="0"/>
              <a:t>Subheader</a:t>
            </a:r>
          </a:p>
        </p:txBody>
      </p:sp>
      <p:sp>
        <p:nvSpPr>
          <p:cNvPr id="6" name="Text Placeholder 5">
            <a:extLst>
              <a:ext uri="{FF2B5EF4-FFF2-40B4-BE49-F238E27FC236}">
                <a16:creationId xmlns:a16="http://schemas.microsoft.com/office/drawing/2014/main" id="{F18FD543-927B-4CD0-9416-371050081DB3}"/>
              </a:ext>
            </a:extLst>
          </p:cNvPr>
          <p:cNvSpPr>
            <a:spLocks noGrp="1"/>
          </p:cNvSpPr>
          <p:nvPr>
            <p:ph type="body" sz="quarter" idx="15"/>
          </p:nvPr>
        </p:nvSpPr>
        <p:spPr/>
        <p:txBody>
          <a:bodyPr/>
          <a:lstStyle/>
          <a:p>
            <a:r>
              <a:rPr lang="en-US" dirty="0"/>
              <a:t>text</a:t>
            </a:r>
          </a:p>
        </p:txBody>
      </p:sp>
      <p:sp>
        <p:nvSpPr>
          <p:cNvPr id="38" name="Oval 37">
            <a:extLst>
              <a:ext uri="{FF2B5EF4-FFF2-40B4-BE49-F238E27FC236}">
                <a16:creationId xmlns:a16="http://schemas.microsoft.com/office/drawing/2014/main" id="{A73F0F59-5E20-4CB4-9601-67B97DA1B0D1}"/>
              </a:ext>
            </a:extLst>
          </p:cNvPr>
          <p:cNvSpPr/>
          <p:nvPr/>
        </p:nvSpPr>
        <p:spPr>
          <a:xfrm>
            <a:off x="1664745" y="4519950"/>
            <a:ext cx="1761877" cy="1761877"/>
          </a:xfrm>
          <a:prstGeom prst="ellipse">
            <a:avLst/>
          </a:prstGeom>
          <a:solidFill>
            <a:schemeClr val="bg1">
              <a:alpha val="75000"/>
            </a:schemeClr>
          </a:solidFill>
          <a:ln w="889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39" name="Oval 38">
            <a:extLst>
              <a:ext uri="{FF2B5EF4-FFF2-40B4-BE49-F238E27FC236}">
                <a16:creationId xmlns:a16="http://schemas.microsoft.com/office/drawing/2014/main" id="{C6D06AAC-3C4A-4C03-9118-B8EB7E6EB8DF}"/>
              </a:ext>
            </a:extLst>
          </p:cNvPr>
          <p:cNvSpPr/>
          <p:nvPr/>
        </p:nvSpPr>
        <p:spPr>
          <a:xfrm>
            <a:off x="1612627" y="1557771"/>
            <a:ext cx="1866113" cy="1866113"/>
          </a:xfrm>
          <a:prstGeom prst="ellipse">
            <a:avLst/>
          </a:prstGeom>
          <a:noFill/>
          <a:ln w="889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0" name="Oval 39">
            <a:extLst>
              <a:ext uri="{FF2B5EF4-FFF2-40B4-BE49-F238E27FC236}">
                <a16:creationId xmlns:a16="http://schemas.microsoft.com/office/drawing/2014/main" id="{F1E2130C-8764-4C84-85A8-B1F58E68290C}"/>
              </a:ext>
            </a:extLst>
          </p:cNvPr>
          <p:cNvSpPr/>
          <p:nvPr/>
        </p:nvSpPr>
        <p:spPr>
          <a:xfrm>
            <a:off x="1612627" y="4472059"/>
            <a:ext cx="1866113" cy="1866113"/>
          </a:xfrm>
          <a:prstGeom prst="ellipse">
            <a:avLst/>
          </a:prstGeom>
          <a:noFill/>
          <a:ln w="889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1" name="Oval 40">
            <a:extLst>
              <a:ext uri="{FF2B5EF4-FFF2-40B4-BE49-F238E27FC236}">
                <a16:creationId xmlns:a16="http://schemas.microsoft.com/office/drawing/2014/main" id="{DA9D78F7-2E74-4210-83EC-CD07AC7F8229}"/>
              </a:ext>
            </a:extLst>
          </p:cNvPr>
          <p:cNvSpPr/>
          <p:nvPr/>
        </p:nvSpPr>
        <p:spPr>
          <a:xfrm>
            <a:off x="1612627" y="2993051"/>
            <a:ext cx="1866113" cy="1866113"/>
          </a:xfrm>
          <a:prstGeom prst="ellipse">
            <a:avLst/>
          </a:prstGeom>
          <a:solidFill>
            <a:schemeClr val="bg1">
              <a:alpha val="75000"/>
            </a:schemeClr>
          </a:solidFill>
          <a:ln w="889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2" name="Oval 41">
            <a:extLst>
              <a:ext uri="{FF2B5EF4-FFF2-40B4-BE49-F238E27FC236}">
                <a16:creationId xmlns:a16="http://schemas.microsoft.com/office/drawing/2014/main" id="{F2E4BC3D-D739-47F9-9C72-F9A46D368C79}"/>
              </a:ext>
            </a:extLst>
          </p:cNvPr>
          <p:cNvSpPr/>
          <p:nvPr/>
        </p:nvSpPr>
        <p:spPr>
          <a:xfrm>
            <a:off x="1612627" y="3000041"/>
            <a:ext cx="1866113" cy="1866113"/>
          </a:xfrm>
          <a:prstGeom prst="ellipse">
            <a:avLst/>
          </a:prstGeom>
          <a:no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3" name="Text Placeholder 5">
            <a:extLst>
              <a:ext uri="{FF2B5EF4-FFF2-40B4-BE49-F238E27FC236}">
                <a16:creationId xmlns:a16="http://schemas.microsoft.com/office/drawing/2014/main" id="{ACE06314-78A0-4491-BD4C-EDB01D2CE88A}"/>
              </a:ext>
            </a:extLst>
          </p:cNvPr>
          <p:cNvSpPr txBox="1">
            <a:spLocks/>
          </p:cNvSpPr>
          <p:nvPr/>
        </p:nvSpPr>
        <p:spPr>
          <a:xfrm>
            <a:off x="1978244" y="4109693"/>
            <a:ext cx="1134879" cy="417739"/>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1600" b="1" i="0" u="none" strike="noStrike" kern="1200" cap="none" spc="-30" normalizeH="0" baseline="0" noProof="0" dirty="0">
                <a:ln>
                  <a:noFill/>
                </a:ln>
                <a:solidFill>
                  <a:srgbClr val="000000"/>
                </a:solidFill>
                <a:effectLst/>
                <a:uLnTx/>
                <a:uFillTx/>
                <a:latin typeface="Open Sans"/>
                <a:ea typeface="Chronicle Display Black" charset="0"/>
                <a:cs typeface="Chronicle Display Black" charset="0"/>
              </a:rPr>
              <a:t>Culture</a:t>
            </a:r>
          </a:p>
        </p:txBody>
      </p:sp>
      <p:sp>
        <p:nvSpPr>
          <p:cNvPr id="44" name="Oval 43">
            <a:extLst>
              <a:ext uri="{FF2B5EF4-FFF2-40B4-BE49-F238E27FC236}">
                <a16:creationId xmlns:a16="http://schemas.microsoft.com/office/drawing/2014/main" id="{6303763A-BAFA-47AF-9286-D68D30BDE648}"/>
              </a:ext>
            </a:extLst>
          </p:cNvPr>
          <p:cNvSpPr/>
          <p:nvPr/>
        </p:nvSpPr>
        <p:spPr>
          <a:xfrm>
            <a:off x="1664745" y="1621984"/>
            <a:ext cx="1761877" cy="1761877"/>
          </a:xfrm>
          <a:prstGeom prst="ellipse">
            <a:avLst/>
          </a:prstGeom>
          <a:solidFill>
            <a:schemeClr val="bg1">
              <a:alpha val="75000"/>
            </a:schemeClr>
          </a:solidFill>
          <a:ln w="889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5" name="Text Placeholder 5">
            <a:extLst>
              <a:ext uri="{FF2B5EF4-FFF2-40B4-BE49-F238E27FC236}">
                <a16:creationId xmlns:a16="http://schemas.microsoft.com/office/drawing/2014/main" id="{8454C923-870F-4522-A428-AFB351D98381}"/>
              </a:ext>
            </a:extLst>
          </p:cNvPr>
          <p:cNvSpPr txBox="1">
            <a:spLocks/>
          </p:cNvSpPr>
          <p:nvPr/>
        </p:nvSpPr>
        <p:spPr>
          <a:xfrm>
            <a:off x="1978244" y="2582640"/>
            <a:ext cx="1134879" cy="417739"/>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1600" b="1" i="0" u="none" strike="noStrike" kern="1200" cap="none" spc="-30" normalizeH="0" baseline="0" noProof="0" dirty="0">
                <a:ln>
                  <a:noFill/>
                </a:ln>
                <a:solidFill>
                  <a:srgbClr val="000000"/>
                </a:solidFill>
                <a:effectLst/>
                <a:uLnTx/>
                <a:uFillTx/>
                <a:latin typeface="Open Sans"/>
                <a:ea typeface="Chronicle Display Black" charset="0"/>
                <a:cs typeface="Chronicle Display Black" charset="0"/>
              </a:rPr>
              <a:t>Vison</a:t>
            </a:r>
          </a:p>
        </p:txBody>
      </p:sp>
      <p:sp>
        <p:nvSpPr>
          <p:cNvPr id="46" name="Text Placeholder 5">
            <a:extLst>
              <a:ext uri="{FF2B5EF4-FFF2-40B4-BE49-F238E27FC236}">
                <a16:creationId xmlns:a16="http://schemas.microsoft.com/office/drawing/2014/main" id="{00899B63-444A-45E1-B291-BD1DFBA2E84F}"/>
              </a:ext>
            </a:extLst>
          </p:cNvPr>
          <p:cNvSpPr txBox="1">
            <a:spLocks/>
          </p:cNvSpPr>
          <p:nvPr/>
        </p:nvSpPr>
        <p:spPr>
          <a:xfrm>
            <a:off x="1978244" y="5575652"/>
            <a:ext cx="1134879" cy="417739"/>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1600" b="1" i="0" u="none" strike="noStrike" kern="1200" cap="none" spc="-30" normalizeH="0" baseline="0" noProof="0" dirty="0">
                <a:ln>
                  <a:noFill/>
                </a:ln>
                <a:solidFill>
                  <a:srgbClr val="000000"/>
                </a:solidFill>
                <a:effectLst/>
                <a:uLnTx/>
                <a:uFillTx/>
                <a:latin typeface="Open Sans"/>
                <a:ea typeface="Chronicle Display Black" charset="0"/>
                <a:cs typeface="Chronicle Display Black" charset="0"/>
              </a:rPr>
              <a:t>Talent</a:t>
            </a:r>
          </a:p>
        </p:txBody>
      </p:sp>
      <p:sp>
        <p:nvSpPr>
          <p:cNvPr id="47" name="Text Placeholder 5">
            <a:extLst>
              <a:ext uri="{FF2B5EF4-FFF2-40B4-BE49-F238E27FC236}">
                <a16:creationId xmlns:a16="http://schemas.microsoft.com/office/drawing/2014/main" id="{DEABE1EC-3F3A-4D3B-BE56-D7807334E7BE}"/>
              </a:ext>
            </a:extLst>
          </p:cNvPr>
          <p:cNvSpPr txBox="1">
            <a:spLocks/>
          </p:cNvSpPr>
          <p:nvPr/>
        </p:nvSpPr>
        <p:spPr>
          <a:xfrm>
            <a:off x="3980368" y="1860515"/>
            <a:ext cx="6019038" cy="647700"/>
          </a:xfrm>
          <a:prstGeom prst="rect">
            <a:avLst/>
          </a:prstGeom>
        </p:spPr>
        <p:txBody>
          <a:bodyPr vert="horz" lIns="0" tIns="0" rIns="0" bIns="0" rtlCol="0">
            <a:noAutofit/>
          </a:bodyPr>
          <a:lstStyle>
            <a:lvl1pPr marL="0" indent="0" algn="l" defTabSz="914400" rtl="0" eaLnBrk="1" latinLnBrk="0" hangingPunct="1">
              <a:lnSpc>
                <a:spcPts val="1600"/>
              </a:lnSpc>
              <a:spcBef>
                <a:spcPts val="5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20000"/>
              </a:lnSpc>
              <a:spcBef>
                <a:spcPts val="400"/>
              </a:spcBef>
              <a:spcAft>
                <a:spcPts val="0"/>
              </a:spcAft>
              <a:buClr>
                <a:srgbClr val="000000"/>
              </a:buClr>
              <a:buSzPct val="100000"/>
              <a:buFont typeface="Arial" panose="020B0604020202020204" pitchFamily="34" charset="0"/>
              <a:buChar char="•"/>
              <a:tabLst/>
              <a:defRPr/>
            </a:pPr>
            <a:r>
              <a:rPr kumimoji="0" lang="en-US" sz="1200" b="0" i="0" u="none" strike="noStrike" kern="1200" cap="none" spc="-30" normalizeH="0" baseline="0" noProof="0" dirty="0">
                <a:ln>
                  <a:noFill/>
                </a:ln>
                <a:solidFill>
                  <a:prstClr val="black"/>
                </a:solidFill>
                <a:effectLst/>
                <a:uLnTx/>
                <a:uFillTx/>
                <a:latin typeface="Open Sans" charset="0"/>
                <a:ea typeface="Open Sans" charset="0"/>
                <a:cs typeface="Arial" charset="0"/>
              </a:rPr>
              <a:t>Leadership does hot have a clear vision of how digital fits within the organization’s business model</a:t>
            </a:r>
          </a:p>
          <a:p>
            <a:pPr marL="285750" marR="0" lvl="0" indent="-285750" algn="l" defTabSz="914400" rtl="0" eaLnBrk="1" fontAlgn="auto" latinLnBrk="0" hangingPunct="1">
              <a:lnSpc>
                <a:spcPct val="120000"/>
              </a:lnSpc>
              <a:spcBef>
                <a:spcPts val="400"/>
              </a:spcBef>
              <a:spcAft>
                <a:spcPts val="0"/>
              </a:spcAft>
              <a:buClr>
                <a:srgbClr val="000000"/>
              </a:buClr>
              <a:buSzPct val="100000"/>
              <a:buFont typeface="Arial" panose="020B0604020202020204" pitchFamily="34" charset="0"/>
              <a:buChar char="•"/>
              <a:tabLst/>
              <a:defRPr/>
            </a:pPr>
            <a:r>
              <a:rPr kumimoji="0" lang="en-US" sz="1200" b="0" i="0" u="none" strike="noStrike" kern="1200" cap="none" spc="-30" normalizeH="0" baseline="0" noProof="0" dirty="0">
                <a:ln>
                  <a:noFill/>
                </a:ln>
                <a:solidFill>
                  <a:prstClr val="black"/>
                </a:solidFill>
                <a:effectLst/>
                <a:uLnTx/>
                <a:uFillTx/>
                <a:latin typeface="Open Sans" charset="0"/>
                <a:ea typeface="Open Sans" charset="0"/>
                <a:cs typeface="Arial" charset="0"/>
              </a:rPr>
              <a:t>The organization often does not have an executive responsible for aligning digital priorities across different business functions</a:t>
            </a:r>
          </a:p>
        </p:txBody>
      </p:sp>
      <p:sp>
        <p:nvSpPr>
          <p:cNvPr id="48" name="Text Placeholder 5">
            <a:extLst>
              <a:ext uri="{FF2B5EF4-FFF2-40B4-BE49-F238E27FC236}">
                <a16:creationId xmlns:a16="http://schemas.microsoft.com/office/drawing/2014/main" id="{9CC6968A-B7EF-47D9-A987-47E0F1D1C394}"/>
              </a:ext>
            </a:extLst>
          </p:cNvPr>
          <p:cNvSpPr txBox="1">
            <a:spLocks/>
          </p:cNvSpPr>
          <p:nvPr/>
        </p:nvSpPr>
        <p:spPr>
          <a:xfrm>
            <a:off x="3980368" y="3527398"/>
            <a:ext cx="6019038" cy="647700"/>
          </a:xfrm>
          <a:prstGeom prst="rect">
            <a:avLst/>
          </a:prstGeom>
        </p:spPr>
        <p:txBody>
          <a:bodyPr vert="horz" lIns="0" tIns="0" rIns="0" bIns="0" rtlCol="0">
            <a:noAutofit/>
          </a:bodyPr>
          <a:lstStyle>
            <a:lvl1pPr marL="0" indent="0" algn="l" defTabSz="914400" rtl="0" eaLnBrk="1" latinLnBrk="0" hangingPunct="1">
              <a:lnSpc>
                <a:spcPts val="1600"/>
              </a:lnSpc>
              <a:spcBef>
                <a:spcPts val="5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20000"/>
              </a:lnSpc>
              <a:spcBef>
                <a:spcPts val="400"/>
              </a:spcBef>
              <a:spcAft>
                <a:spcPts val="0"/>
              </a:spcAft>
              <a:buClr>
                <a:srgbClr val="000000"/>
              </a:buClr>
              <a:buSzPct val="100000"/>
              <a:buFont typeface="Arial" panose="020B0604020202020204" pitchFamily="34" charset="0"/>
              <a:buChar char="•"/>
              <a:tabLst/>
              <a:defRPr/>
            </a:pPr>
            <a:r>
              <a:rPr kumimoji="0" lang="en-US" sz="1200" b="0" i="0" u="none" strike="noStrike" kern="1200" cap="none" spc="-30" normalizeH="0" baseline="0" noProof="0" dirty="0">
                <a:ln>
                  <a:noFill/>
                </a:ln>
                <a:solidFill>
                  <a:prstClr val="black"/>
                </a:solidFill>
                <a:effectLst/>
                <a:uLnTx/>
                <a:uFillTx/>
                <a:latin typeface="Open Sans" charset="0"/>
                <a:ea typeface="Open Sans" charset="0"/>
                <a:cs typeface="Arial" charset="0"/>
              </a:rPr>
              <a:t>Organizations underestimate the challenge of creating a culture that learns quickly and embraces failure</a:t>
            </a:r>
          </a:p>
          <a:p>
            <a:pPr marL="285750" marR="0" lvl="0" indent="-285750" algn="l" defTabSz="914400" rtl="0" eaLnBrk="1" fontAlgn="auto" latinLnBrk="0" hangingPunct="1">
              <a:lnSpc>
                <a:spcPct val="120000"/>
              </a:lnSpc>
              <a:spcBef>
                <a:spcPts val="400"/>
              </a:spcBef>
              <a:spcAft>
                <a:spcPts val="0"/>
              </a:spcAft>
              <a:buClr>
                <a:srgbClr val="000000"/>
              </a:buClr>
              <a:buSzPct val="100000"/>
              <a:buFont typeface="Arial" panose="020B0604020202020204" pitchFamily="34" charset="0"/>
              <a:buChar char="•"/>
              <a:tabLst/>
              <a:defRPr/>
            </a:pPr>
            <a:r>
              <a:rPr kumimoji="0" lang="en-US" sz="1200" b="0" i="0" u="none" strike="noStrike" kern="1200" cap="none" spc="-30" normalizeH="0" baseline="0" noProof="0" dirty="0">
                <a:ln>
                  <a:noFill/>
                </a:ln>
                <a:solidFill>
                  <a:prstClr val="black"/>
                </a:solidFill>
                <a:effectLst/>
                <a:uLnTx/>
                <a:uFillTx/>
                <a:latin typeface="Open Sans" charset="0"/>
                <a:ea typeface="Open Sans" charset="0"/>
                <a:cs typeface="Arial" charset="0"/>
              </a:rPr>
              <a:t>Employees are expected to follow standard processes and procedures without given the freedom to innovate</a:t>
            </a:r>
          </a:p>
        </p:txBody>
      </p:sp>
      <p:sp>
        <p:nvSpPr>
          <p:cNvPr id="49" name="Text Placeholder 5">
            <a:extLst>
              <a:ext uri="{FF2B5EF4-FFF2-40B4-BE49-F238E27FC236}">
                <a16:creationId xmlns:a16="http://schemas.microsoft.com/office/drawing/2014/main" id="{24F10D25-23E6-44B9-976E-DDB93CCCEF80}"/>
              </a:ext>
            </a:extLst>
          </p:cNvPr>
          <p:cNvSpPr txBox="1">
            <a:spLocks/>
          </p:cNvSpPr>
          <p:nvPr/>
        </p:nvSpPr>
        <p:spPr>
          <a:xfrm>
            <a:off x="3980367" y="5043677"/>
            <a:ext cx="6205852" cy="647700"/>
          </a:xfrm>
          <a:prstGeom prst="rect">
            <a:avLst/>
          </a:prstGeom>
        </p:spPr>
        <p:txBody>
          <a:bodyPr vert="horz" lIns="0" tIns="0" rIns="0" bIns="0" rtlCol="0">
            <a:noAutofit/>
          </a:bodyPr>
          <a:lstStyle>
            <a:lvl1pPr marL="0" indent="0" algn="l" defTabSz="914400" rtl="0" eaLnBrk="1" latinLnBrk="0" hangingPunct="1">
              <a:lnSpc>
                <a:spcPts val="1600"/>
              </a:lnSpc>
              <a:spcBef>
                <a:spcPts val="5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20000"/>
              </a:lnSpc>
              <a:spcBef>
                <a:spcPts val="400"/>
              </a:spcBef>
              <a:spcAft>
                <a:spcPts val="0"/>
              </a:spcAft>
              <a:buClr>
                <a:srgbClr val="000000"/>
              </a:buClr>
              <a:buSzPct val="100000"/>
              <a:buFont typeface="Arial" panose="020B0604020202020204" pitchFamily="34" charset="0"/>
              <a:buChar char="•"/>
              <a:tabLst/>
              <a:defRPr/>
            </a:pPr>
            <a:r>
              <a:rPr kumimoji="0" lang="en-US" sz="1200" b="0" i="0" u="none" strike="noStrike" kern="1200" cap="none" spc="-30" normalizeH="0" baseline="0" noProof="0" dirty="0">
                <a:ln>
                  <a:noFill/>
                </a:ln>
                <a:solidFill>
                  <a:prstClr val="black"/>
                </a:solidFill>
                <a:effectLst/>
                <a:uLnTx/>
                <a:uFillTx/>
                <a:latin typeface="Open Sans" charset="0"/>
                <a:ea typeface="Open Sans" charset="0"/>
                <a:cs typeface="Arial" charset="0"/>
              </a:rPr>
              <a:t>Organizations fail to bring in talent with the right combination of skillsets, experience, and fit</a:t>
            </a:r>
          </a:p>
          <a:p>
            <a:pPr marL="285750" marR="0" lvl="0" indent="-285750" algn="l" defTabSz="914400" rtl="0" eaLnBrk="1" fontAlgn="auto" latinLnBrk="0" hangingPunct="1">
              <a:lnSpc>
                <a:spcPct val="120000"/>
              </a:lnSpc>
              <a:spcBef>
                <a:spcPts val="400"/>
              </a:spcBef>
              <a:spcAft>
                <a:spcPts val="0"/>
              </a:spcAft>
              <a:buClr>
                <a:srgbClr val="000000"/>
              </a:buClr>
              <a:buSzPct val="100000"/>
              <a:buFont typeface="Arial" panose="020B0604020202020204" pitchFamily="34" charset="0"/>
              <a:buChar char="•"/>
              <a:tabLst/>
              <a:defRPr/>
            </a:pPr>
            <a:r>
              <a:rPr kumimoji="0" lang="en-US" sz="1200" b="0" i="0" u="none" strike="noStrike" kern="1200" cap="none" spc="-30" normalizeH="0" baseline="0" noProof="0" dirty="0">
                <a:ln>
                  <a:noFill/>
                </a:ln>
                <a:solidFill>
                  <a:prstClr val="black"/>
                </a:solidFill>
                <a:effectLst/>
                <a:uLnTx/>
                <a:uFillTx/>
                <a:latin typeface="Open Sans" charset="0"/>
                <a:ea typeface="Open Sans" charset="0"/>
                <a:cs typeface="Arial" charset="0"/>
              </a:rPr>
              <a:t>Organizations focus purely on experience and skillsets without considering the unique perspectives that talent with non-traditional backgrounds can bring</a:t>
            </a:r>
          </a:p>
        </p:txBody>
      </p:sp>
      <p:sp>
        <p:nvSpPr>
          <p:cNvPr id="50" name="Rectangle 49">
            <a:extLst>
              <a:ext uri="{FF2B5EF4-FFF2-40B4-BE49-F238E27FC236}">
                <a16:creationId xmlns:a16="http://schemas.microsoft.com/office/drawing/2014/main" id="{7E4691A9-BC75-46D6-98F9-0656F1D52F73}"/>
              </a:ext>
            </a:extLst>
          </p:cNvPr>
          <p:cNvSpPr/>
          <p:nvPr/>
        </p:nvSpPr>
        <p:spPr>
          <a:xfrm>
            <a:off x="3980368" y="3138745"/>
            <a:ext cx="649224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51" name="Rectangle 50">
            <a:extLst>
              <a:ext uri="{FF2B5EF4-FFF2-40B4-BE49-F238E27FC236}">
                <a16:creationId xmlns:a16="http://schemas.microsoft.com/office/drawing/2014/main" id="{4813BC06-5B4F-48C3-B4AC-5AE95BEE05CA}"/>
              </a:ext>
            </a:extLst>
          </p:cNvPr>
          <p:cNvSpPr/>
          <p:nvPr/>
        </p:nvSpPr>
        <p:spPr>
          <a:xfrm>
            <a:off x="3980368" y="4765838"/>
            <a:ext cx="6492240" cy="60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52" name="Freeform 425">
            <a:extLst>
              <a:ext uri="{FF2B5EF4-FFF2-40B4-BE49-F238E27FC236}">
                <a16:creationId xmlns:a16="http://schemas.microsoft.com/office/drawing/2014/main" id="{D6F6D8D8-687D-4139-BDE7-E3830B095E49}"/>
              </a:ext>
            </a:extLst>
          </p:cNvPr>
          <p:cNvSpPr>
            <a:spLocks noEditPoints="1"/>
          </p:cNvSpPr>
          <p:nvPr/>
        </p:nvSpPr>
        <p:spPr bwMode="auto">
          <a:xfrm>
            <a:off x="2284222" y="2042231"/>
            <a:ext cx="457200" cy="457200"/>
          </a:xfrm>
          <a:custGeom>
            <a:avLst/>
            <a:gdLst>
              <a:gd name="T0" fmla="*/ 302 w 303"/>
              <a:gd name="T1" fmla="*/ 91 h 285"/>
              <a:gd name="T2" fmla="*/ 279 w 303"/>
              <a:gd name="T3" fmla="*/ 8 h 285"/>
              <a:gd name="T4" fmla="*/ 274 w 303"/>
              <a:gd name="T5" fmla="*/ 2 h 285"/>
              <a:gd name="T6" fmla="*/ 266 w 303"/>
              <a:gd name="T7" fmla="*/ 1 h 285"/>
              <a:gd name="T8" fmla="*/ 225 w 303"/>
              <a:gd name="T9" fmla="*/ 12 h 285"/>
              <a:gd name="T10" fmla="*/ 218 w 303"/>
              <a:gd name="T11" fmla="*/ 25 h 285"/>
              <a:gd name="T12" fmla="*/ 135 w 303"/>
              <a:gd name="T13" fmla="*/ 48 h 285"/>
              <a:gd name="T14" fmla="*/ 128 w 303"/>
              <a:gd name="T15" fmla="*/ 57 h 285"/>
              <a:gd name="T16" fmla="*/ 24 w 303"/>
              <a:gd name="T17" fmla="*/ 85 h 285"/>
              <a:gd name="T18" fmla="*/ 22 w 303"/>
              <a:gd name="T19" fmla="*/ 78 h 285"/>
              <a:gd name="T20" fmla="*/ 9 w 303"/>
              <a:gd name="T21" fmla="*/ 71 h 285"/>
              <a:gd name="T22" fmla="*/ 2 w 303"/>
              <a:gd name="T23" fmla="*/ 84 h 285"/>
              <a:gd name="T24" fmla="*/ 24 w 303"/>
              <a:gd name="T25" fmla="*/ 166 h 285"/>
              <a:gd name="T26" fmla="*/ 34 w 303"/>
              <a:gd name="T27" fmla="*/ 174 h 285"/>
              <a:gd name="T28" fmla="*/ 37 w 303"/>
              <a:gd name="T29" fmla="*/ 174 h 285"/>
              <a:gd name="T30" fmla="*/ 45 w 303"/>
              <a:gd name="T31" fmla="*/ 161 h 285"/>
              <a:gd name="T32" fmla="*/ 43 w 303"/>
              <a:gd name="T33" fmla="*/ 154 h 285"/>
              <a:gd name="T34" fmla="*/ 43 w 303"/>
              <a:gd name="T35" fmla="*/ 154 h 285"/>
              <a:gd name="T36" fmla="*/ 139 w 303"/>
              <a:gd name="T37" fmla="*/ 128 h 285"/>
              <a:gd name="T38" fmla="*/ 88 w 303"/>
              <a:gd name="T39" fmla="*/ 270 h 285"/>
              <a:gd name="T40" fmla="*/ 95 w 303"/>
              <a:gd name="T41" fmla="*/ 284 h 285"/>
              <a:gd name="T42" fmla="*/ 98 w 303"/>
              <a:gd name="T43" fmla="*/ 285 h 285"/>
              <a:gd name="T44" fmla="*/ 108 w 303"/>
              <a:gd name="T45" fmla="*/ 278 h 285"/>
              <a:gd name="T46" fmla="*/ 141 w 303"/>
              <a:gd name="T47" fmla="*/ 186 h 285"/>
              <a:gd name="T48" fmla="*/ 141 w 303"/>
              <a:gd name="T49" fmla="*/ 274 h 285"/>
              <a:gd name="T50" fmla="*/ 152 w 303"/>
              <a:gd name="T51" fmla="*/ 285 h 285"/>
              <a:gd name="T52" fmla="*/ 162 w 303"/>
              <a:gd name="T53" fmla="*/ 274 h 285"/>
              <a:gd name="T54" fmla="*/ 162 w 303"/>
              <a:gd name="T55" fmla="*/ 186 h 285"/>
              <a:gd name="T56" fmla="*/ 195 w 303"/>
              <a:gd name="T57" fmla="*/ 278 h 285"/>
              <a:gd name="T58" fmla="*/ 205 w 303"/>
              <a:gd name="T59" fmla="*/ 285 h 285"/>
              <a:gd name="T60" fmla="*/ 209 w 303"/>
              <a:gd name="T61" fmla="*/ 284 h 285"/>
              <a:gd name="T62" fmla="*/ 215 w 303"/>
              <a:gd name="T63" fmla="*/ 270 h 285"/>
              <a:gd name="T64" fmla="*/ 164 w 303"/>
              <a:gd name="T65" fmla="*/ 128 h 285"/>
              <a:gd name="T66" fmla="*/ 240 w 303"/>
              <a:gd name="T67" fmla="*/ 107 h 285"/>
              <a:gd name="T68" fmla="*/ 240 w 303"/>
              <a:gd name="T69" fmla="*/ 107 h 285"/>
              <a:gd name="T70" fmla="*/ 250 w 303"/>
              <a:gd name="T71" fmla="*/ 115 h 285"/>
              <a:gd name="T72" fmla="*/ 253 w 303"/>
              <a:gd name="T73" fmla="*/ 115 h 285"/>
              <a:gd name="T74" fmla="*/ 294 w 303"/>
              <a:gd name="T75" fmla="*/ 104 h 285"/>
              <a:gd name="T76" fmla="*/ 301 w 303"/>
              <a:gd name="T77" fmla="*/ 99 h 285"/>
              <a:gd name="T78" fmla="*/ 302 w 303"/>
              <a:gd name="T79" fmla="*/ 91 h 285"/>
              <a:gd name="T80" fmla="*/ 40 w 303"/>
              <a:gd name="T81" fmla="*/ 103 h 285"/>
              <a:gd name="T82" fmla="*/ 132 w 303"/>
              <a:gd name="T83" fmla="*/ 78 h 285"/>
              <a:gd name="T84" fmla="*/ 140 w 303"/>
              <a:gd name="T85" fmla="*/ 105 h 285"/>
              <a:gd name="T86" fmla="*/ 47 w 303"/>
              <a:gd name="T87" fmla="*/ 131 h 285"/>
              <a:gd name="T88" fmla="*/ 40 w 303"/>
              <a:gd name="T89" fmla="*/ 103 h 285"/>
              <a:gd name="T90" fmla="*/ 162 w 303"/>
              <a:gd name="T91" fmla="*/ 106 h 285"/>
              <a:gd name="T92" fmla="*/ 151 w 303"/>
              <a:gd name="T93" fmla="*/ 65 h 285"/>
              <a:gd name="T94" fmla="*/ 223 w 303"/>
              <a:gd name="T95" fmla="*/ 46 h 285"/>
              <a:gd name="T96" fmla="*/ 229 w 303"/>
              <a:gd name="T97" fmla="*/ 66 h 285"/>
              <a:gd name="T98" fmla="*/ 234 w 303"/>
              <a:gd name="T99" fmla="*/ 87 h 285"/>
              <a:gd name="T100" fmla="*/ 162 w 303"/>
              <a:gd name="T101" fmla="*/ 106 h 285"/>
              <a:gd name="T102" fmla="*/ 258 w 303"/>
              <a:gd name="T103" fmla="*/ 91 h 285"/>
              <a:gd name="T104" fmla="*/ 241 w 303"/>
              <a:gd name="T105" fmla="*/ 30 h 285"/>
              <a:gd name="T106" fmla="*/ 262 w 303"/>
              <a:gd name="T107" fmla="*/ 24 h 285"/>
              <a:gd name="T108" fmla="*/ 278 w 303"/>
              <a:gd name="T109" fmla="*/ 86 h 285"/>
              <a:gd name="T110" fmla="*/ 258 w 303"/>
              <a:gd name="T111" fmla="*/ 9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3" h="285">
                <a:moveTo>
                  <a:pt x="302" y="91"/>
                </a:moveTo>
                <a:cubicBezTo>
                  <a:pt x="279" y="8"/>
                  <a:pt x="279" y="8"/>
                  <a:pt x="279" y="8"/>
                </a:cubicBezTo>
                <a:cubicBezTo>
                  <a:pt x="279" y="5"/>
                  <a:pt x="277" y="3"/>
                  <a:pt x="274" y="2"/>
                </a:cubicBezTo>
                <a:cubicBezTo>
                  <a:pt x="272" y="0"/>
                  <a:pt x="269" y="0"/>
                  <a:pt x="266" y="1"/>
                </a:cubicBezTo>
                <a:cubicBezTo>
                  <a:pt x="225" y="12"/>
                  <a:pt x="225" y="12"/>
                  <a:pt x="225" y="12"/>
                </a:cubicBezTo>
                <a:cubicBezTo>
                  <a:pt x="219" y="14"/>
                  <a:pt x="216" y="19"/>
                  <a:pt x="218" y="25"/>
                </a:cubicBezTo>
                <a:cubicBezTo>
                  <a:pt x="135" y="48"/>
                  <a:pt x="135" y="48"/>
                  <a:pt x="135" y="48"/>
                </a:cubicBezTo>
                <a:cubicBezTo>
                  <a:pt x="131" y="49"/>
                  <a:pt x="128" y="53"/>
                  <a:pt x="128" y="57"/>
                </a:cubicBezTo>
                <a:cubicBezTo>
                  <a:pt x="24" y="85"/>
                  <a:pt x="24" y="85"/>
                  <a:pt x="24" y="85"/>
                </a:cubicBezTo>
                <a:cubicBezTo>
                  <a:pt x="22" y="78"/>
                  <a:pt x="22" y="78"/>
                  <a:pt x="22" y="78"/>
                </a:cubicBezTo>
                <a:cubicBezTo>
                  <a:pt x="21" y="73"/>
                  <a:pt x="15" y="69"/>
                  <a:pt x="9" y="71"/>
                </a:cubicBezTo>
                <a:cubicBezTo>
                  <a:pt x="3" y="73"/>
                  <a:pt x="0" y="78"/>
                  <a:pt x="2" y="84"/>
                </a:cubicBezTo>
                <a:cubicBezTo>
                  <a:pt x="24" y="166"/>
                  <a:pt x="24" y="166"/>
                  <a:pt x="24" y="166"/>
                </a:cubicBezTo>
                <a:cubicBezTo>
                  <a:pt x="25" y="171"/>
                  <a:pt x="30" y="174"/>
                  <a:pt x="34" y="174"/>
                </a:cubicBezTo>
                <a:cubicBezTo>
                  <a:pt x="35" y="174"/>
                  <a:pt x="36" y="174"/>
                  <a:pt x="37" y="174"/>
                </a:cubicBezTo>
                <a:cubicBezTo>
                  <a:pt x="43" y="172"/>
                  <a:pt x="46" y="167"/>
                  <a:pt x="45" y="161"/>
                </a:cubicBezTo>
                <a:cubicBezTo>
                  <a:pt x="43" y="154"/>
                  <a:pt x="43" y="154"/>
                  <a:pt x="43" y="154"/>
                </a:cubicBezTo>
                <a:cubicBezTo>
                  <a:pt x="43" y="154"/>
                  <a:pt x="43" y="154"/>
                  <a:pt x="43" y="154"/>
                </a:cubicBezTo>
                <a:cubicBezTo>
                  <a:pt x="139" y="128"/>
                  <a:pt x="139" y="128"/>
                  <a:pt x="139" y="128"/>
                </a:cubicBezTo>
                <a:cubicBezTo>
                  <a:pt x="88" y="270"/>
                  <a:pt x="88" y="270"/>
                  <a:pt x="88" y="270"/>
                </a:cubicBezTo>
                <a:cubicBezTo>
                  <a:pt x="86" y="276"/>
                  <a:pt x="89" y="282"/>
                  <a:pt x="95" y="284"/>
                </a:cubicBezTo>
                <a:cubicBezTo>
                  <a:pt x="96" y="284"/>
                  <a:pt x="97" y="285"/>
                  <a:pt x="98" y="285"/>
                </a:cubicBezTo>
                <a:cubicBezTo>
                  <a:pt x="103" y="285"/>
                  <a:pt x="107" y="282"/>
                  <a:pt x="108" y="278"/>
                </a:cubicBezTo>
                <a:cubicBezTo>
                  <a:pt x="141" y="186"/>
                  <a:pt x="141" y="186"/>
                  <a:pt x="141" y="186"/>
                </a:cubicBezTo>
                <a:cubicBezTo>
                  <a:pt x="141" y="274"/>
                  <a:pt x="141" y="274"/>
                  <a:pt x="141" y="274"/>
                </a:cubicBezTo>
                <a:cubicBezTo>
                  <a:pt x="141" y="280"/>
                  <a:pt x="146" y="285"/>
                  <a:pt x="152" y="285"/>
                </a:cubicBezTo>
                <a:cubicBezTo>
                  <a:pt x="158" y="285"/>
                  <a:pt x="162" y="280"/>
                  <a:pt x="162" y="274"/>
                </a:cubicBezTo>
                <a:cubicBezTo>
                  <a:pt x="162" y="186"/>
                  <a:pt x="162" y="186"/>
                  <a:pt x="162" y="186"/>
                </a:cubicBezTo>
                <a:cubicBezTo>
                  <a:pt x="195" y="278"/>
                  <a:pt x="195" y="278"/>
                  <a:pt x="195" y="278"/>
                </a:cubicBezTo>
                <a:cubicBezTo>
                  <a:pt x="197" y="282"/>
                  <a:pt x="201" y="285"/>
                  <a:pt x="205" y="285"/>
                </a:cubicBezTo>
                <a:cubicBezTo>
                  <a:pt x="206" y="285"/>
                  <a:pt x="207" y="284"/>
                  <a:pt x="209" y="284"/>
                </a:cubicBezTo>
                <a:cubicBezTo>
                  <a:pt x="214" y="282"/>
                  <a:pt x="217" y="276"/>
                  <a:pt x="215" y="270"/>
                </a:cubicBezTo>
                <a:cubicBezTo>
                  <a:pt x="164" y="128"/>
                  <a:pt x="164" y="128"/>
                  <a:pt x="164" y="128"/>
                </a:cubicBezTo>
                <a:cubicBezTo>
                  <a:pt x="240" y="107"/>
                  <a:pt x="240" y="107"/>
                  <a:pt x="240" y="107"/>
                </a:cubicBezTo>
                <a:cubicBezTo>
                  <a:pt x="240" y="107"/>
                  <a:pt x="240" y="107"/>
                  <a:pt x="240" y="107"/>
                </a:cubicBezTo>
                <a:cubicBezTo>
                  <a:pt x="241" y="112"/>
                  <a:pt x="246" y="115"/>
                  <a:pt x="250" y="115"/>
                </a:cubicBezTo>
                <a:cubicBezTo>
                  <a:pt x="251" y="115"/>
                  <a:pt x="252" y="115"/>
                  <a:pt x="253" y="115"/>
                </a:cubicBezTo>
                <a:cubicBezTo>
                  <a:pt x="294" y="104"/>
                  <a:pt x="294" y="104"/>
                  <a:pt x="294" y="104"/>
                </a:cubicBezTo>
                <a:cubicBezTo>
                  <a:pt x="297" y="103"/>
                  <a:pt x="299" y="101"/>
                  <a:pt x="301" y="99"/>
                </a:cubicBezTo>
                <a:cubicBezTo>
                  <a:pt x="302" y="96"/>
                  <a:pt x="303" y="93"/>
                  <a:pt x="302" y="91"/>
                </a:cubicBezTo>
                <a:close/>
                <a:moveTo>
                  <a:pt x="40" y="103"/>
                </a:moveTo>
                <a:cubicBezTo>
                  <a:pt x="132" y="78"/>
                  <a:pt x="132" y="78"/>
                  <a:pt x="132" y="78"/>
                </a:cubicBezTo>
                <a:cubicBezTo>
                  <a:pt x="140" y="105"/>
                  <a:pt x="140" y="105"/>
                  <a:pt x="140" y="105"/>
                </a:cubicBezTo>
                <a:cubicBezTo>
                  <a:pt x="47" y="131"/>
                  <a:pt x="47" y="131"/>
                  <a:pt x="47" y="131"/>
                </a:cubicBezTo>
                <a:lnTo>
                  <a:pt x="40" y="103"/>
                </a:lnTo>
                <a:close/>
                <a:moveTo>
                  <a:pt x="162" y="106"/>
                </a:moveTo>
                <a:cubicBezTo>
                  <a:pt x="151" y="65"/>
                  <a:pt x="151" y="65"/>
                  <a:pt x="151" y="65"/>
                </a:cubicBezTo>
                <a:cubicBezTo>
                  <a:pt x="223" y="46"/>
                  <a:pt x="223" y="46"/>
                  <a:pt x="223" y="46"/>
                </a:cubicBezTo>
                <a:cubicBezTo>
                  <a:pt x="229" y="66"/>
                  <a:pt x="229" y="66"/>
                  <a:pt x="229" y="66"/>
                </a:cubicBezTo>
                <a:cubicBezTo>
                  <a:pt x="234" y="87"/>
                  <a:pt x="234" y="87"/>
                  <a:pt x="234" y="87"/>
                </a:cubicBezTo>
                <a:lnTo>
                  <a:pt x="162" y="106"/>
                </a:lnTo>
                <a:close/>
                <a:moveTo>
                  <a:pt x="258" y="91"/>
                </a:moveTo>
                <a:cubicBezTo>
                  <a:pt x="241" y="30"/>
                  <a:pt x="241" y="30"/>
                  <a:pt x="241" y="30"/>
                </a:cubicBezTo>
                <a:cubicBezTo>
                  <a:pt x="262" y="24"/>
                  <a:pt x="262" y="24"/>
                  <a:pt x="262" y="24"/>
                </a:cubicBezTo>
                <a:cubicBezTo>
                  <a:pt x="278" y="86"/>
                  <a:pt x="278" y="86"/>
                  <a:pt x="278" y="86"/>
                </a:cubicBezTo>
                <a:lnTo>
                  <a:pt x="258" y="91"/>
                </a:lnTo>
                <a:close/>
              </a:path>
            </a:pathLst>
          </a:custGeom>
          <a:solidFill>
            <a:schemeClr val="accent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3" name="Freeform 761">
            <a:extLst>
              <a:ext uri="{FF2B5EF4-FFF2-40B4-BE49-F238E27FC236}">
                <a16:creationId xmlns:a16="http://schemas.microsoft.com/office/drawing/2014/main" id="{381182ED-390D-4507-97E5-47BBEAC1B2F0}"/>
              </a:ext>
            </a:extLst>
          </p:cNvPr>
          <p:cNvSpPr>
            <a:spLocks noEditPoints="1"/>
          </p:cNvSpPr>
          <p:nvPr/>
        </p:nvSpPr>
        <p:spPr bwMode="auto">
          <a:xfrm>
            <a:off x="2360504" y="5043677"/>
            <a:ext cx="380918" cy="457200"/>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solidFill>
            <a:schemeClr val="accent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4" name="Freeform 301">
            <a:extLst>
              <a:ext uri="{FF2B5EF4-FFF2-40B4-BE49-F238E27FC236}">
                <a16:creationId xmlns:a16="http://schemas.microsoft.com/office/drawing/2014/main" id="{81468A32-F7FD-4328-AB62-B520FB83F2DF}"/>
              </a:ext>
            </a:extLst>
          </p:cNvPr>
          <p:cNvSpPr>
            <a:spLocks noEditPoints="1"/>
          </p:cNvSpPr>
          <p:nvPr/>
        </p:nvSpPr>
        <p:spPr bwMode="auto">
          <a:xfrm>
            <a:off x="2280695" y="3628206"/>
            <a:ext cx="537010" cy="379317"/>
          </a:xfrm>
          <a:custGeom>
            <a:avLst/>
            <a:gdLst>
              <a:gd name="T0" fmla="*/ 307 w 314"/>
              <a:gd name="T1" fmla="*/ 53 h 221"/>
              <a:gd name="T2" fmla="*/ 232 w 314"/>
              <a:gd name="T3" fmla="*/ 36 h 221"/>
              <a:gd name="T4" fmla="*/ 122 w 314"/>
              <a:gd name="T5" fmla="*/ 15 h 221"/>
              <a:gd name="T6" fmla="*/ 54 w 314"/>
              <a:gd name="T7" fmla="*/ 104 h 221"/>
              <a:gd name="T8" fmla="*/ 8 w 314"/>
              <a:gd name="T9" fmla="*/ 167 h 221"/>
              <a:gd name="T10" fmla="*/ 53 w 314"/>
              <a:gd name="T11" fmla="*/ 186 h 221"/>
              <a:gd name="T12" fmla="*/ 79 w 314"/>
              <a:gd name="T13" fmla="*/ 184 h 221"/>
              <a:gd name="T14" fmla="*/ 160 w 314"/>
              <a:gd name="T15" fmla="*/ 221 h 221"/>
              <a:gd name="T16" fmla="*/ 198 w 314"/>
              <a:gd name="T17" fmla="*/ 214 h 221"/>
              <a:gd name="T18" fmla="*/ 266 w 314"/>
              <a:gd name="T19" fmla="*/ 112 h 221"/>
              <a:gd name="T20" fmla="*/ 307 w 314"/>
              <a:gd name="T21" fmla="*/ 53 h 221"/>
              <a:gd name="T22" fmla="*/ 129 w 314"/>
              <a:gd name="T23" fmla="*/ 35 h 221"/>
              <a:gd name="T24" fmla="*/ 160 w 314"/>
              <a:gd name="T25" fmla="*/ 29 h 221"/>
              <a:gd name="T26" fmla="*/ 239 w 314"/>
              <a:gd name="T27" fmla="*/ 84 h 221"/>
              <a:gd name="T28" fmla="*/ 239 w 314"/>
              <a:gd name="T29" fmla="*/ 84 h 221"/>
              <a:gd name="T30" fmla="*/ 244 w 314"/>
              <a:gd name="T31" fmla="*/ 101 h 221"/>
              <a:gd name="T32" fmla="*/ 168 w 314"/>
              <a:gd name="T33" fmla="*/ 138 h 221"/>
              <a:gd name="T34" fmla="*/ 88 w 314"/>
              <a:gd name="T35" fmla="*/ 161 h 221"/>
              <a:gd name="T36" fmla="*/ 80 w 314"/>
              <a:gd name="T37" fmla="*/ 145 h 221"/>
              <a:gd name="T38" fmla="*/ 129 w 314"/>
              <a:gd name="T39" fmla="*/ 35 h 221"/>
              <a:gd name="T40" fmla="*/ 28 w 314"/>
              <a:gd name="T41" fmla="*/ 159 h 221"/>
              <a:gd name="T42" fmla="*/ 54 w 314"/>
              <a:gd name="T43" fmla="*/ 130 h 221"/>
              <a:gd name="T44" fmla="*/ 60 w 314"/>
              <a:gd name="T45" fmla="*/ 153 h 221"/>
              <a:gd name="T46" fmla="*/ 65 w 314"/>
              <a:gd name="T47" fmla="*/ 164 h 221"/>
              <a:gd name="T48" fmla="*/ 28 w 314"/>
              <a:gd name="T49" fmla="*/ 159 h 221"/>
              <a:gd name="T50" fmla="*/ 190 w 314"/>
              <a:gd name="T51" fmla="*/ 194 h 221"/>
              <a:gd name="T52" fmla="*/ 104 w 314"/>
              <a:gd name="T53" fmla="*/ 179 h 221"/>
              <a:gd name="T54" fmla="*/ 176 w 314"/>
              <a:gd name="T55" fmla="*/ 158 h 221"/>
              <a:gd name="T56" fmla="*/ 244 w 314"/>
              <a:gd name="T57" fmla="*/ 126 h 221"/>
              <a:gd name="T58" fmla="*/ 190 w 314"/>
              <a:gd name="T59" fmla="*/ 194 h 221"/>
              <a:gd name="T60" fmla="*/ 263 w 314"/>
              <a:gd name="T61" fmla="*/ 88 h 221"/>
              <a:gd name="T62" fmla="*/ 259 w 314"/>
              <a:gd name="T63" fmla="*/ 76 h 221"/>
              <a:gd name="T64" fmla="*/ 259 w 314"/>
              <a:gd name="T65" fmla="*/ 76 h 221"/>
              <a:gd name="T66" fmla="*/ 248 w 314"/>
              <a:gd name="T67" fmla="*/ 55 h 221"/>
              <a:gd name="T68" fmla="*/ 287 w 314"/>
              <a:gd name="T69" fmla="*/ 60 h 221"/>
              <a:gd name="T70" fmla="*/ 263 w 314"/>
              <a:gd name="T71" fmla="*/ 88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4" h="221">
                <a:moveTo>
                  <a:pt x="307" y="53"/>
                </a:moveTo>
                <a:cubicBezTo>
                  <a:pt x="299" y="31"/>
                  <a:pt x="263" y="31"/>
                  <a:pt x="232" y="36"/>
                </a:cubicBezTo>
                <a:cubicBezTo>
                  <a:pt x="203" y="10"/>
                  <a:pt x="161" y="0"/>
                  <a:pt x="122" y="15"/>
                </a:cubicBezTo>
                <a:cubicBezTo>
                  <a:pt x="83" y="30"/>
                  <a:pt x="58" y="65"/>
                  <a:pt x="54" y="104"/>
                </a:cubicBezTo>
                <a:cubicBezTo>
                  <a:pt x="27" y="122"/>
                  <a:pt x="0" y="145"/>
                  <a:pt x="8" y="167"/>
                </a:cubicBezTo>
                <a:cubicBezTo>
                  <a:pt x="13" y="180"/>
                  <a:pt x="30" y="186"/>
                  <a:pt x="53" y="186"/>
                </a:cubicBezTo>
                <a:cubicBezTo>
                  <a:pt x="61" y="186"/>
                  <a:pt x="70" y="185"/>
                  <a:pt x="79" y="184"/>
                </a:cubicBezTo>
                <a:cubicBezTo>
                  <a:pt x="99" y="208"/>
                  <a:pt x="129" y="221"/>
                  <a:pt x="160" y="221"/>
                </a:cubicBezTo>
                <a:cubicBezTo>
                  <a:pt x="172" y="221"/>
                  <a:pt x="185" y="219"/>
                  <a:pt x="198" y="214"/>
                </a:cubicBezTo>
                <a:cubicBezTo>
                  <a:pt x="241" y="198"/>
                  <a:pt x="267" y="156"/>
                  <a:pt x="266" y="112"/>
                </a:cubicBezTo>
                <a:cubicBezTo>
                  <a:pt x="296" y="92"/>
                  <a:pt x="314" y="71"/>
                  <a:pt x="307" y="53"/>
                </a:cubicBezTo>
                <a:close/>
                <a:moveTo>
                  <a:pt x="129" y="35"/>
                </a:moveTo>
                <a:cubicBezTo>
                  <a:pt x="139" y="31"/>
                  <a:pt x="149" y="29"/>
                  <a:pt x="160" y="29"/>
                </a:cubicBezTo>
                <a:cubicBezTo>
                  <a:pt x="194" y="29"/>
                  <a:pt x="226" y="51"/>
                  <a:pt x="239" y="84"/>
                </a:cubicBezTo>
                <a:cubicBezTo>
                  <a:pt x="239" y="84"/>
                  <a:pt x="239" y="84"/>
                  <a:pt x="239" y="84"/>
                </a:cubicBezTo>
                <a:cubicBezTo>
                  <a:pt x="242" y="89"/>
                  <a:pt x="243" y="95"/>
                  <a:pt x="244" y="101"/>
                </a:cubicBezTo>
                <a:cubicBezTo>
                  <a:pt x="225" y="113"/>
                  <a:pt x="200" y="126"/>
                  <a:pt x="168" y="138"/>
                </a:cubicBezTo>
                <a:cubicBezTo>
                  <a:pt x="137" y="150"/>
                  <a:pt x="110" y="157"/>
                  <a:pt x="88" y="161"/>
                </a:cubicBezTo>
                <a:cubicBezTo>
                  <a:pt x="85" y="156"/>
                  <a:pt x="82" y="151"/>
                  <a:pt x="80" y="145"/>
                </a:cubicBezTo>
                <a:cubicBezTo>
                  <a:pt x="63" y="101"/>
                  <a:pt x="85" y="52"/>
                  <a:pt x="129" y="35"/>
                </a:cubicBezTo>
                <a:close/>
                <a:moveTo>
                  <a:pt x="28" y="159"/>
                </a:moveTo>
                <a:cubicBezTo>
                  <a:pt x="27" y="157"/>
                  <a:pt x="32" y="146"/>
                  <a:pt x="54" y="130"/>
                </a:cubicBezTo>
                <a:cubicBezTo>
                  <a:pt x="55" y="137"/>
                  <a:pt x="57" y="145"/>
                  <a:pt x="60" y="153"/>
                </a:cubicBezTo>
                <a:cubicBezTo>
                  <a:pt x="61" y="157"/>
                  <a:pt x="63" y="160"/>
                  <a:pt x="65" y="164"/>
                </a:cubicBezTo>
                <a:cubicBezTo>
                  <a:pt x="43" y="166"/>
                  <a:pt x="30" y="163"/>
                  <a:pt x="28" y="159"/>
                </a:cubicBezTo>
                <a:close/>
                <a:moveTo>
                  <a:pt x="190" y="194"/>
                </a:moveTo>
                <a:cubicBezTo>
                  <a:pt x="160" y="206"/>
                  <a:pt x="127" y="199"/>
                  <a:pt x="104" y="179"/>
                </a:cubicBezTo>
                <a:cubicBezTo>
                  <a:pt x="127" y="174"/>
                  <a:pt x="152" y="167"/>
                  <a:pt x="176" y="158"/>
                </a:cubicBezTo>
                <a:cubicBezTo>
                  <a:pt x="200" y="149"/>
                  <a:pt x="224" y="138"/>
                  <a:pt x="244" y="126"/>
                </a:cubicBezTo>
                <a:cubicBezTo>
                  <a:pt x="240" y="156"/>
                  <a:pt x="220" y="183"/>
                  <a:pt x="190" y="194"/>
                </a:cubicBezTo>
                <a:close/>
                <a:moveTo>
                  <a:pt x="263" y="88"/>
                </a:moveTo>
                <a:cubicBezTo>
                  <a:pt x="262" y="84"/>
                  <a:pt x="261" y="80"/>
                  <a:pt x="259" y="76"/>
                </a:cubicBezTo>
                <a:cubicBezTo>
                  <a:pt x="259" y="76"/>
                  <a:pt x="259" y="76"/>
                  <a:pt x="259" y="76"/>
                </a:cubicBezTo>
                <a:cubicBezTo>
                  <a:pt x="256" y="69"/>
                  <a:pt x="253" y="62"/>
                  <a:pt x="248" y="55"/>
                </a:cubicBezTo>
                <a:cubicBezTo>
                  <a:pt x="275" y="53"/>
                  <a:pt x="286" y="57"/>
                  <a:pt x="287" y="60"/>
                </a:cubicBezTo>
                <a:cubicBezTo>
                  <a:pt x="289" y="64"/>
                  <a:pt x="281" y="74"/>
                  <a:pt x="263" y="88"/>
                </a:cubicBezTo>
                <a:close/>
              </a:path>
            </a:pathLst>
          </a:custGeom>
          <a:solidFill>
            <a:schemeClr val="accent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Tree>
    <p:extLst>
      <p:ext uri="{BB962C8B-B14F-4D97-AF65-F5344CB8AC3E}">
        <p14:creationId xmlns:p14="http://schemas.microsoft.com/office/powerpoint/2010/main" val="364739506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0878CFF-2D19-479C-B863-CBA0010DD51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2" name="think-cell Slide" r:id="rId6" imgW="415" imgH="416" progId="TCLayout.ActiveDocument.1">
                  <p:embed/>
                </p:oleObj>
              </mc:Choice>
              <mc:Fallback>
                <p:oleObj name="think-cell Slide" r:id="rId6" imgW="415" imgH="416" progId="TCLayout.ActiveDocument.1">
                  <p:embed/>
                  <p:pic>
                    <p:nvPicPr>
                      <p:cNvPr id="5" name="Object 4" hidden="1">
                        <a:extLst>
                          <a:ext uri="{FF2B5EF4-FFF2-40B4-BE49-F238E27FC236}">
                            <a16:creationId xmlns:a16="http://schemas.microsoft.com/office/drawing/2014/main" id="{20878CFF-2D19-479C-B863-CBA0010DD51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48FCF76-A053-481A-B472-2DE6208B227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83A7B5F9-00A2-4B87-8673-DFE442DB82A0}"/>
              </a:ext>
            </a:extLst>
          </p:cNvPr>
          <p:cNvSpPr>
            <a:spLocks noGrp="1"/>
          </p:cNvSpPr>
          <p:nvPr>
            <p:ph type="title"/>
          </p:nvPr>
        </p:nvSpPr>
        <p:spPr/>
        <p:txBody>
          <a:bodyPr/>
          <a:lstStyle/>
          <a:p>
            <a:r>
              <a:rPr lang="en-US" dirty="0"/>
              <a:t>Benefits Will Exist for All Stakeholder Groups</a:t>
            </a:r>
          </a:p>
        </p:txBody>
      </p:sp>
      <p:sp>
        <p:nvSpPr>
          <p:cNvPr id="3" name="Text Placeholder 2">
            <a:extLst>
              <a:ext uri="{FF2B5EF4-FFF2-40B4-BE49-F238E27FC236}">
                <a16:creationId xmlns:a16="http://schemas.microsoft.com/office/drawing/2014/main" id="{5CFD0C1A-BE7B-4DA7-A85C-97B9BE366FA4}"/>
              </a:ext>
            </a:extLst>
          </p:cNvPr>
          <p:cNvSpPr>
            <a:spLocks noGrp="1"/>
          </p:cNvSpPr>
          <p:nvPr>
            <p:ph type="body" sz="quarter" idx="14"/>
          </p:nvPr>
        </p:nvSpPr>
        <p:spPr/>
        <p:txBody>
          <a:bodyPr/>
          <a:lstStyle/>
          <a:p>
            <a:r>
              <a:rPr lang="en-US" dirty="0"/>
              <a:t>The proposed future state operating model will benefit the company</a:t>
            </a:r>
          </a:p>
        </p:txBody>
      </p:sp>
      <p:sp>
        <p:nvSpPr>
          <p:cNvPr id="6" name="Text Placeholder 5">
            <a:extLst>
              <a:ext uri="{FF2B5EF4-FFF2-40B4-BE49-F238E27FC236}">
                <a16:creationId xmlns:a16="http://schemas.microsoft.com/office/drawing/2014/main" id="{0EF67E1A-937B-4C34-AD2D-1B86FDC3D0F0}"/>
              </a:ext>
            </a:extLst>
          </p:cNvPr>
          <p:cNvSpPr>
            <a:spLocks noGrp="1"/>
          </p:cNvSpPr>
          <p:nvPr>
            <p:ph type="body" sz="quarter" idx="15"/>
          </p:nvPr>
        </p:nvSpPr>
        <p:spPr/>
        <p:txBody>
          <a:bodyPr/>
          <a:lstStyle/>
          <a:p>
            <a:r>
              <a:rPr lang="en-US" dirty="0"/>
              <a:t>text</a:t>
            </a:r>
          </a:p>
        </p:txBody>
      </p:sp>
      <p:grpSp>
        <p:nvGrpSpPr>
          <p:cNvPr id="10" name="Group 9"/>
          <p:cNvGrpSpPr/>
          <p:nvPr/>
        </p:nvGrpSpPr>
        <p:grpSpPr>
          <a:xfrm>
            <a:off x="882778" y="1869507"/>
            <a:ext cx="2785730" cy="3866064"/>
            <a:chOff x="882778" y="1869507"/>
            <a:chExt cx="2785730" cy="3866064"/>
          </a:xfrm>
        </p:grpSpPr>
        <p:sp>
          <p:nvSpPr>
            <p:cNvPr id="7" name="TextBox 6">
              <a:extLst>
                <a:ext uri="{FF2B5EF4-FFF2-40B4-BE49-F238E27FC236}">
                  <a16:creationId xmlns:a16="http://schemas.microsoft.com/office/drawing/2014/main" id="{FA3C6D22-F809-4977-BC63-6EE76B9E3684}"/>
                </a:ext>
              </a:extLst>
            </p:cNvPr>
            <p:cNvSpPr txBox="1"/>
            <p:nvPr/>
          </p:nvSpPr>
          <p:spPr>
            <a:xfrm>
              <a:off x="882778" y="1869507"/>
              <a:ext cx="2377440" cy="646331"/>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300" normalizeH="0" baseline="0" noProof="0" dirty="0">
                  <a:ln>
                    <a:noFill/>
                  </a:ln>
                  <a:solidFill>
                    <a:prstClr val="black"/>
                  </a:solidFill>
                  <a:effectLst/>
                  <a:uLnTx/>
                  <a:uFillTx/>
                  <a:latin typeface="Open Sans"/>
                  <a:ea typeface="+mn-ea"/>
                  <a:cs typeface="+mn-cs"/>
                </a:rPr>
                <a:t>Company CORPORATE</a:t>
              </a:r>
            </a:p>
          </p:txBody>
        </p:sp>
        <p:cxnSp>
          <p:nvCxnSpPr>
            <p:cNvPr id="8" name="Straight Connector 7">
              <a:extLst>
                <a:ext uri="{FF2B5EF4-FFF2-40B4-BE49-F238E27FC236}">
                  <a16:creationId xmlns:a16="http://schemas.microsoft.com/office/drawing/2014/main" id="{01809883-4C15-4F42-8B52-9742FDC6024E}"/>
                </a:ext>
              </a:extLst>
            </p:cNvPr>
            <p:cNvCxnSpPr/>
            <p:nvPr/>
          </p:nvCxnSpPr>
          <p:spPr>
            <a:xfrm>
              <a:off x="882778" y="2539707"/>
              <a:ext cx="27857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8CAA6404-0F0B-487F-AA1E-2917E61B2C6A}"/>
                </a:ext>
              </a:extLst>
            </p:cNvPr>
            <p:cNvSpPr txBox="1"/>
            <p:nvPr/>
          </p:nvSpPr>
          <p:spPr>
            <a:xfrm>
              <a:off x="882778" y="2836316"/>
              <a:ext cx="2785730" cy="2899255"/>
            </a:xfrm>
            <a:prstGeom prst="rect">
              <a:avLst/>
            </a:prstGeom>
            <a:noFill/>
          </p:spPr>
          <p:txBody>
            <a:bodyPr vert="horz" wrap="square" lIns="0" tIns="0" rIns="0" bIns="0" rtlCol="0">
              <a:spAutoFit/>
            </a:bodyPr>
            <a:lstStyle/>
            <a:p>
              <a:pPr marL="0" marR="0" lvl="0" indent="0" algn="l" defTabSz="914400" rtl="0" eaLnBrk="1" fontAlgn="b" latinLnBrk="0" hangingPunct="1">
                <a:lnSpc>
                  <a:spcPct val="120000"/>
                </a:lnSpc>
                <a:spcBef>
                  <a:spcPts val="1200"/>
                </a:spcBef>
                <a:spcAft>
                  <a:spcPts val="600"/>
                </a:spcAft>
                <a:buClrTx/>
                <a:buSzPct val="100000"/>
                <a:buFontTx/>
                <a:buNone/>
                <a:tabLst/>
                <a:defRPr/>
              </a:pPr>
              <a:r>
                <a:rPr kumimoji="0" lang="en-US" sz="1200" b="1" i="0" u="none" strike="noStrike" kern="1200" cap="none" spc="0" normalizeH="0" baseline="0" noProof="0" dirty="0">
                  <a:ln>
                    <a:noFill/>
                  </a:ln>
                  <a:solidFill>
                    <a:prstClr val="black"/>
                  </a:solidFill>
                  <a:effectLst/>
                  <a:uLnTx/>
                  <a:uFillTx/>
                  <a:latin typeface="Open Sans"/>
                  <a:ea typeface="+mn-ea"/>
                  <a:cs typeface="Calibri"/>
                </a:rPr>
                <a:t>1 – Brand Experience | </a:t>
              </a:r>
              <a:r>
                <a:rPr kumimoji="0" lang="en-US" sz="1200" b="0" i="0" u="none" strike="noStrike" kern="1200" cap="none" spc="0" normalizeH="0" baseline="0" noProof="0" dirty="0">
                  <a:ln>
                    <a:noFill/>
                  </a:ln>
                  <a:solidFill>
                    <a:prstClr val="black"/>
                  </a:solidFill>
                  <a:effectLst/>
                  <a:uLnTx/>
                  <a:uFillTx/>
                  <a:latin typeface="Open Sans"/>
                  <a:ea typeface="+mn-ea"/>
                  <a:cs typeface="+mn-cs"/>
                </a:rPr>
                <a:t>Increased </a:t>
              </a:r>
              <a:r>
                <a:rPr kumimoji="0" lang="en-US" sz="1200" b="1" i="0" u="none" strike="noStrike" kern="1200" cap="none" spc="0" normalizeH="0" baseline="0" noProof="0" dirty="0">
                  <a:ln>
                    <a:noFill/>
                  </a:ln>
                  <a:solidFill>
                    <a:prstClr val="black"/>
                  </a:solidFill>
                  <a:effectLst/>
                  <a:uLnTx/>
                  <a:uFillTx/>
                  <a:latin typeface="Open Sans"/>
                  <a:ea typeface="+mn-ea"/>
                  <a:cs typeface="+mn-cs"/>
                </a:rPr>
                <a:t>control of the consumer experience and maintenance of brand integrity </a:t>
              </a:r>
            </a:p>
            <a:p>
              <a:pPr marL="0" marR="0" lvl="0" indent="0" algn="l" defTabSz="914400" rtl="0" eaLnBrk="1" fontAlgn="b" latinLnBrk="0" hangingPunct="1">
                <a:lnSpc>
                  <a:spcPct val="120000"/>
                </a:lnSpc>
                <a:spcBef>
                  <a:spcPts val="1200"/>
                </a:spcBef>
                <a:spcAft>
                  <a:spcPts val="600"/>
                </a:spcAft>
                <a:buClrTx/>
                <a:buSzPct val="100000"/>
                <a:buFontTx/>
                <a:buNone/>
                <a:tabLst/>
                <a:defRPr/>
              </a:pPr>
              <a:r>
                <a:rPr kumimoji="0" lang="en-US" sz="1200" b="1" i="0" u="none" strike="noStrike" kern="1200" cap="none" spc="0" normalizeH="0" baseline="0" noProof="0" dirty="0">
                  <a:ln>
                    <a:noFill/>
                  </a:ln>
                  <a:solidFill>
                    <a:prstClr val="black"/>
                  </a:solidFill>
                  <a:effectLst/>
                  <a:uLnTx/>
                  <a:uFillTx/>
                  <a:latin typeface="Open Sans"/>
                  <a:ea typeface="+mn-ea"/>
                  <a:cs typeface="Calibri"/>
                </a:rPr>
                <a:t>2 – Financial Value | </a:t>
              </a:r>
              <a:r>
                <a:rPr kumimoji="0" lang="en-US" sz="1200" b="0" i="0" u="none" strike="noStrike" kern="1200" cap="none" spc="0" normalizeH="0" baseline="0" noProof="0" dirty="0">
                  <a:ln>
                    <a:noFill/>
                  </a:ln>
                  <a:solidFill>
                    <a:prstClr val="black"/>
                  </a:solidFill>
                  <a:effectLst/>
                  <a:uLnTx/>
                  <a:uFillTx/>
                  <a:latin typeface="Open Sans"/>
                  <a:ea typeface="+mn-ea"/>
                  <a:cs typeface="+mn-cs"/>
                </a:rPr>
                <a:t>Greater </a:t>
              </a:r>
              <a:r>
                <a:rPr kumimoji="0" lang="en-US" sz="1200" b="1" i="0" u="none" strike="noStrike" kern="1200" cap="none" spc="0" normalizeH="0" baseline="0" noProof="0" dirty="0">
                  <a:ln>
                    <a:noFill/>
                  </a:ln>
                  <a:solidFill>
                    <a:prstClr val="black"/>
                  </a:solidFill>
                  <a:effectLst/>
                  <a:uLnTx/>
                  <a:uFillTx/>
                  <a:latin typeface="Open Sans"/>
                  <a:ea typeface="+mn-ea"/>
                  <a:cs typeface="+mn-cs"/>
                </a:rPr>
                <a:t>protection of residual values</a:t>
              </a:r>
              <a:r>
                <a:rPr kumimoji="0" lang="en-US" sz="1200" b="0" i="0" u="none" strike="noStrike" kern="1200" cap="none" spc="0" normalizeH="0" baseline="0" noProof="0" dirty="0">
                  <a:ln>
                    <a:noFill/>
                  </a:ln>
                  <a:solidFill>
                    <a:prstClr val="black"/>
                  </a:solidFill>
                  <a:effectLst/>
                  <a:uLnTx/>
                  <a:uFillTx/>
                  <a:latin typeface="Open Sans"/>
                  <a:ea typeface="+mn-ea"/>
                  <a:cs typeface="+mn-cs"/>
                </a:rPr>
                <a:t> and ability to promote the benefits of a volume model</a:t>
              </a:r>
              <a:endParaRPr kumimoji="0" lang="en-US" sz="1200" b="0" i="0" u="none" strike="noStrike" kern="1200" cap="none" spc="0" normalizeH="0" baseline="0" noProof="0" dirty="0">
                <a:ln>
                  <a:noFill/>
                </a:ln>
                <a:solidFill>
                  <a:prstClr val="black"/>
                </a:solidFill>
                <a:effectLst/>
                <a:uLnTx/>
                <a:uFillTx/>
                <a:latin typeface="Open Sans"/>
                <a:ea typeface="+mn-ea"/>
                <a:cs typeface="Calibri"/>
              </a:endParaRPr>
            </a:p>
            <a:p>
              <a:pPr marL="0" marR="0" lvl="0" indent="0" algn="l" defTabSz="914400" rtl="0" eaLnBrk="1" fontAlgn="b" latinLnBrk="0" hangingPunct="1">
                <a:lnSpc>
                  <a:spcPct val="120000"/>
                </a:lnSpc>
                <a:spcBef>
                  <a:spcPts val="1200"/>
                </a:spcBef>
                <a:spcAft>
                  <a:spcPts val="600"/>
                </a:spcAft>
                <a:buClrTx/>
                <a:buSzPct val="100000"/>
                <a:buFontTx/>
                <a:buNone/>
                <a:tabLst/>
                <a:defRPr/>
              </a:pPr>
              <a:r>
                <a:rPr kumimoji="0" lang="en-US" sz="1200" b="1" i="0" u="none" strike="noStrike" kern="1200" cap="none" spc="0" normalizeH="0" baseline="0" noProof="0" dirty="0">
                  <a:ln>
                    <a:noFill/>
                  </a:ln>
                  <a:solidFill>
                    <a:prstClr val="black"/>
                  </a:solidFill>
                  <a:effectLst/>
                  <a:uLnTx/>
                  <a:uFillTx/>
                  <a:latin typeface="Open Sans"/>
                  <a:ea typeface="+mn-ea"/>
                  <a:cs typeface="Calibri"/>
                </a:rPr>
                <a:t>3 – Business Innovation | </a:t>
              </a:r>
              <a:r>
                <a:rPr kumimoji="0" lang="en-US" sz="1200" b="0" i="0" u="none" strike="noStrike" kern="1200" cap="none" spc="0" normalizeH="0" baseline="0" noProof="0" dirty="0">
                  <a:ln>
                    <a:noFill/>
                  </a:ln>
                  <a:solidFill>
                    <a:prstClr val="black"/>
                  </a:solidFill>
                  <a:effectLst/>
                  <a:uLnTx/>
                  <a:uFillTx/>
                  <a:latin typeface="Open Sans"/>
                  <a:ea typeface="+mn-ea"/>
                  <a:cs typeface="+mn-cs"/>
                </a:rPr>
                <a:t>Opportunity to </a:t>
              </a:r>
              <a:r>
                <a:rPr kumimoji="0" lang="en-US" sz="1200" b="1" i="0" u="none" strike="noStrike" kern="1200" cap="none" spc="0" normalizeH="0" baseline="0" noProof="0" dirty="0">
                  <a:ln>
                    <a:noFill/>
                  </a:ln>
                  <a:solidFill>
                    <a:prstClr val="black"/>
                  </a:solidFill>
                  <a:effectLst/>
                  <a:uLnTx/>
                  <a:uFillTx/>
                  <a:latin typeface="Open Sans"/>
                  <a:ea typeface="+mn-ea"/>
                  <a:cs typeface="+mn-cs"/>
                </a:rPr>
                <a:t>better understand consumers and innovate </a:t>
              </a:r>
              <a:r>
                <a:rPr kumimoji="0" lang="en-US" sz="1200" b="0" i="0" u="none" strike="noStrike" kern="1200" cap="none" spc="0" normalizeH="0" baseline="0" noProof="0" dirty="0">
                  <a:ln>
                    <a:noFill/>
                  </a:ln>
                  <a:solidFill>
                    <a:prstClr val="black"/>
                  </a:solidFill>
                  <a:effectLst/>
                  <a:uLnTx/>
                  <a:uFillTx/>
                  <a:latin typeface="Open Sans"/>
                  <a:ea typeface="+mn-ea"/>
                  <a:cs typeface="+mn-cs"/>
                </a:rPr>
                <a:t>to meet market demands</a:t>
              </a:r>
              <a:endParaRPr kumimoji="0" lang="en-US" sz="1200" b="0" i="0" u="none" strike="noStrike" kern="1200" cap="none" spc="0" normalizeH="0" baseline="0" noProof="0" dirty="0">
                <a:ln>
                  <a:noFill/>
                </a:ln>
                <a:solidFill>
                  <a:prstClr val="black"/>
                </a:solidFill>
                <a:effectLst/>
                <a:uLnTx/>
                <a:uFillTx/>
                <a:latin typeface="Open Sans"/>
                <a:ea typeface="+mn-ea"/>
                <a:cs typeface="Calibri"/>
              </a:endParaRPr>
            </a:p>
          </p:txBody>
        </p:sp>
      </p:grpSp>
      <p:grpSp>
        <p:nvGrpSpPr>
          <p:cNvPr id="14" name="Group 13"/>
          <p:cNvGrpSpPr/>
          <p:nvPr/>
        </p:nvGrpSpPr>
        <p:grpSpPr>
          <a:xfrm>
            <a:off x="4548132" y="1869507"/>
            <a:ext cx="2959662" cy="3866064"/>
            <a:chOff x="4416807" y="1869507"/>
            <a:chExt cx="2959662" cy="3866064"/>
          </a:xfrm>
        </p:grpSpPr>
        <p:sp>
          <p:nvSpPr>
            <p:cNvPr id="11" name="TextBox 10">
              <a:extLst>
                <a:ext uri="{FF2B5EF4-FFF2-40B4-BE49-F238E27FC236}">
                  <a16:creationId xmlns:a16="http://schemas.microsoft.com/office/drawing/2014/main" id="{8A9EF921-2824-43C2-838C-1DBFF499069F}"/>
                </a:ext>
              </a:extLst>
            </p:cNvPr>
            <p:cNvSpPr txBox="1"/>
            <p:nvPr/>
          </p:nvSpPr>
          <p:spPr>
            <a:xfrm>
              <a:off x="4416807" y="1869507"/>
              <a:ext cx="2959662" cy="646331"/>
            </a:xfrm>
            <a:prstGeom prst="rect">
              <a:avLst/>
            </a:prstGeom>
            <a:noFill/>
          </p:spPr>
          <p:txBody>
            <a:bodyPr wrap="square" lIns="91440" tIns="45720" rIns="91440" bIns="45720" rtlCol="0">
              <a:spAutoFit/>
            </a:bodyPr>
            <a:lstStyle/>
            <a:p>
              <a:pPr lvl="0">
                <a:defRPr/>
              </a:pPr>
              <a:r>
                <a:rPr kumimoji="0" lang="en-US" sz="1800" b="1" i="0" u="none" strike="noStrike" kern="1200" cap="all" spc="300" normalizeH="0" baseline="0" noProof="0" dirty="0">
                  <a:ln>
                    <a:noFill/>
                  </a:ln>
                  <a:solidFill>
                    <a:prstClr val="black"/>
                  </a:solidFill>
                  <a:effectLst/>
                  <a:uLnTx/>
                  <a:uFillTx/>
                  <a:latin typeface="Open Sans"/>
                  <a:ea typeface="+mn-ea"/>
                  <a:cs typeface="+mn-cs"/>
                </a:rPr>
                <a:t>Franchise </a:t>
              </a:r>
              <a:br>
                <a:rPr kumimoji="0" lang="en-US" sz="1800" b="1" i="0" u="none" strike="noStrike" kern="1200" cap="all" spc="300" normalizeH="0" baseline="0" noProof="0" dirty="0">
                  <a:ln>
                    <a:noFill/>
                  </a:ln>
                  <a:solidFill>
                    <a:prstClr val="black"/>
                  </a:solidFill>
                  <a:effectLst/>
                  <a:uLnTx/>
                  <a:uFillTx/>
                  <a:latin typeface="Open Sans"/>
                  <a:ea typeface="+mn-ea"/>
                  <a:cs typeface="+mn-cs"/>
                </a:rPr>
              </a:br>
              <a:r>
                <a:rPr kumimoji="0" lang="en-US" sz="1800" b="1" i="0" u="none" strike="noStrike" kern="1200" cap="all" spc="300" normalizeH="0" baseline="0" noProof="0" dirty="0">
                  <a:ln>
                    <a:noFill/>
                  </a:ln>
                  <a:solidFill>
                    <a:prstClr val="black"/>
                  </a:solidFill>
                  <a:effectLst/>
                  <a:uLnTx/>
                  <a:uFillTx/>
                  <a:latin typeface="Open Sans"/>
                  <a:ea typeface="+mn-ea"/>
                  <a:cs typeface="+mn-cs"/>
                </a:rPr>
                <a:t>Owner</a:t>
              </a:r>
            </a:p>
          </p:txBody>
        </p:sp>
        <p:cxnSp>
          <p:nvCxnSpPr>
            <p:cNvPr id="12" name="Straight Connector 11">
              <a:extLst>
                <a:ext uri="{FF2B5EF4-FFF2-40B4-BE49-F238E27FC236}">
                  <a16:creationId xmlns:a16="http://schemas.microsoft.com/office/drawing/2014/main" id="{3717AD4C-51ED-41C4-BE47-36C08E428796}"/>
                </a:ext>
              </a:extLst>
            </p:cNvPr>
            <p:cNvCxnSpPr/>
            <p:nvPr/>
          </p:nvCxnSpPr>
          <p:spPr>
            <a:xfrm>
              <a:off x="4416807" y="2539707"/>
              <a:ext cx="27857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A9CE8719-AA0A-448C-A0C8-57B34E432273}"/>
                </a:ext>
              </a:extLst>
            </p:cNvPr>
            <p:cNvSpPr txBox="1"/>
            <p:nvPr/>
          </p:nvSpPr>
          <p:spPr>
            <a:xfrm>
              <a:off x="4416807" y="2836316"/>
              <a:ext cx="2785730" cy="2899255"/>
            </a:xfrm>
            <a:prstGeom prst="rect">
              <a:avLst/>
            </a:prstGeom>
            <a:noFill/>
          </p:spPr>
          <p:txBody>
            <a:bodyPr vert="horz" wrap="square" lIns="0" tIns="0" rIns="0" bIns="0" rtlCol="0">
              <a:spAutoFit/>
            </a:bodyPr>
            <a:lstStyle>
              <a:defPPr>
                <a:defRPr lang="en-US"/>
              </a:defPPr>
              <a:lvl1pPr marR="0" lvl="0" indent="0" fontAlgn="b">
                <a:lnSpc>
                  <a:spcPct val="120000"/>
                </a:lnSpc>
                <a:spcBef>
                  <a:spcPts val="600"/>
                </a:spcBef>
                <a:spcAft>
                  <a:spcPts val="0"/>
                </a:spcAft>
                <a:buClrTx/>
                <a:buSzPct val="100000"/>
                <a:buFontTx/>
                <a:buNone/>
                <a:tabLst/>
                <a:defRPr sz="1100" b="1">
                  <a:solidFill>
                    <a:prstClr val="black"/>
                  </a:solidFill>
                  <a:cs typeface="Calibri"/>
                </a:defRPr>
              </a:lvl1pPr>
            </a:lstStyle>
            <a:p>
              <a:pPr marL="0" marR="0" lvl="0" indent="0" algn="l" defTabSz="914400" rtl="0" eaLnBrk="1" fontAlgn="b" latinLnBrk="0" hangingPunct="1">
                <a:lnSpc>
                  <a:spcPct val="120000"/>
                </a:lnSpc>
                <a:spcBef>
                  <a:spcPts val="1200"/>
                </a:spcBef>
                <a:spcAft>
                  <a:spcPts val="600"/>
                </a:spcAft>
                <a:buClrTx/>
                <a:buSzPct val="100000"/>
                <a:buFontTx/>
                <a:buNone/>
                <a:tabLst/>
                <a:defRPr/>
              </a:pPr>
              <a:r>
                <a:rPr kumimoji="0" lang="en-US" sz="1200" b="1" i="0" u="none" strike="noStrike" kern="1200" cap="none" spc="0" normalizeH="0" baseline="0" noProof="0" dirty="0">
                  <a:ln>
                    <a:noFill/>
                  </a:ln>
                  <a:solidFill>
                    <a:prstClr val="black"/>
                  </a:solidFill>
                  <a:effectLst/>
                  <a:uLnTx/>
                  <a:uFillTx/>
                  <a:latin typeface="Open Sans"/>
                  <a:ea typeface="+mn-ea"/>
                  <a:cs typeface="Calibri"/>
                </a:rPr>
                <a:t>1 – Demand Generation | </a:t>
              </a:r>
              <a:r>
                <a:rPr kumimoji="0" lang="en-US" sz="1200" b="0" i="0" u="none" strike="noStrike" kern="1200" cap="none" spc="0" normalizeH="0" baseline="0" noProof="0" dirty="0">
                  <a:ln>
                    <a:noFill/>
                  </a:ln>
                  <a:solidFill>
                    <a:prstClr val="black"/>
                  </a:solidFill>
                  <a:effectLst/>
                  <a:uLnTx/>
                  <a:uFillTx/>
                  <a:latin typeface="Open Sans"/>
                  <a:ea typeface="+mn-ea"/>
                  <a:cs typeface="Calibri"/>
                </a:rPr>
                <a:t>Improved consumer experience where </a:t>
              </a:r>
              <a:r>
                <a:rPr kumimoji="0" lang="en-US" sz="1200" b="1" i="0" u="none" strike="noStrike" kern="1200" cap="none" spc="0" normalizeH="0" baseline="0" noProof="0" dirty="0">
                  <a:ln>
                    <a:noFill/>
                  </a:ln>
                  <a:solidFill>
                    <a:prstClr val="black"/>
                  </a:solidFill>
                  <a:effectLst/>
                  <a:uLnTx/>
                  <a:uFillTx/>
                  <a:latin typeface="Open Sans"/>
                  <a:ea typeface="+mn-ea"/>
                  <a:cs typeface="Calibri"/>
                </a:rPr>
                <a:t>owners have easier access to potential buyers </a:t>
              </a:r>
            </a:p>
            <a:p>
              <a:pPr marL="0" marR="0" lvl="0" indent="0" algn="l" defTabSz="914400" rtl="0" eaLnBrk="1" fontAlgn="b" latinLnBrk="0" hangingPunct="1">
                <a:lnSpc>
                  <a:spcPct val="120000"/>
                </a:lnSpc>
                <a:spcBef>
                  <a:spcPts val="1200"/>
                </a:spcBef>
                <a:spcAft>
                  <a:spcPts val="600"/>
                </a:spcAft>
                <a:buClrTx/>
                <a:buSzPct val="100000"/>
                <a:buFontTx/>
                <a:buNone/>
                <a:tabLst/>
                <a:defRPr/>
              </a:pPr>
              <a:r>
                <a:rPr kumimoji="0" lang="en-US" sz="1200" b="1" i="0" u="none" strike="noStrike" kern="1200" cap="none" spc="0" normalizeH="0" baseline="0" noProof="0" dirty="0">
                  <a:ln>
                    <a:noFill/>
                  </a:ln>
                  <a:solidFill>
                    <a:prstClr val="black"/>
                  </a:solidFill>
                  <a:effectLst/>
                  <a:uLnTx/>
                  <a:uFillTx/>
                  <a:latin typeface="Open Sans"/>
                  <a:ea typeface="+mn-ea"/>
                  <a:cs typeface="Calibri"/>
                </a:rPr>
                <a:t>2 – Inventory Management | </a:t>
              </a:r>
              <a:r>
                <a:rPr kumimoji="0" lang="en-US" sz="1200" b="0" i="0" u="none" strike="noStrike" kern="1200" cap="none" spc="0" normalizeH="0" baseline="0" noProof="0" dirty="0">
                  <a:ln>
                    <a:noFill/>
                  </a:ln>
                  <a:solidFill>
                    <a:prstClr val="black"/>
                  </a:solidFill>
                  <a:effectLst/>
                  <a:uLnTx/>
                  <a:uFillTx/>
                  <a:latin typeface="Open Sans"/>
                  <a:ea typeface="+mn-ea"/>
                  <a:cs typeface="Calibri"/>
                </a:rPr>
                <a:t>Additional </a:t>
              </a:r>
              <a:r>
                <a:rPr kumimoji="0" lang="en-US" sz="1200" b="1" i="0" u="none" strike="noStrike" kern="1200" cap="none" spc="0" normalizeH="0" baseline="0" noProof="0" dirty="0">
                  <a:ln>
                    <a:noFill/>
                  </a:ln>
                  <a:solidFill>
                    <a:prstClr val="black"/>
                  </a:solidFill>
                  <a:effectLst/>
                  <a:uLnTx/>
                  <a:uFillTx/>
                  <a:latin typeface="Open Sans"/>
                  <a:ea typeface="+mn-ea"/>
                  <a:cs typeface="Calibri"/>
                </a:rPr>
                <a:t>outlets and capacity to allow for better alignment </a:t>
              </a:r>
              <a:r>
                <a:rPr kumimoji="0" lang="en-US" sz="1200" b="0" i="0" u="none" strike="noStrike" kern="1200" cap="none" spc="0" normalizeH="0" baseline="0" noProof="0" dirty="0">
                  <a:ln>
                    <a:noFill/>
                  </a:ln>
                  <a:solidFill>
                    <a:prstClr val="black"/>
                  </a:solidFill>
                  <a:effectLst/>
                  <a:uLnTx/>
                  <a:uFillTx/>
                  <a:latin typeface="Open Sans"/>
                  <a:ea typeface="+mn-ea"/>
                  <a:cs typeface="Calibri"/>
                </a:rPr>
                <a:t>of supply with demand</a:t>
              </a:r>
            </a:p>
            <a:p>
              <a:pPr marL="0" marR="0" lvl="0" indent="0" algn="l" defTabSz="914400" rtl="0" eaLnBrk="1" fontAlgn="b" latinLnBrk="0" hangingPunct="1">
                <a:lnSpc>
                  <a:spcPct val="120000"/>
                </a:lnSpc>
                <a:spcBef>
                  <a:spcPts val="1200"/>
                </a:spcBef>
                <a:spcAft>
                  <a:spcPts val="600"/>
                </a:spcAft>
                <a:buClrTx/>
                <a:buSzPct val="100000"/>
                <a:buFontTx/>
                <a:buNone/>
                <a:tabLst/>
                <a:defRPr/>
              </a:pPr>
              <a:r>
                <a:rPr kumimoji="0" lang="en-US" sz="1200" b="1" i="0" u="none" strike="noStrike" kern="1200" cap="none" spc="0" normalizeH="0" baseline="0" noProof="0" dirty="0">
                  <a:ln>
                    <a:noFill/>
                  </a:ln>
                  <a:solidFill>
                    <a:prstClr val="black"/>
                  </a:solidFill>
                  <a:effectLst/>
                  <a:uLnTx/>
                  <a:uFillTx/>
                  <a:latin typeface="Open Sans"/>
                  <a:ea typeface="+mn-ea"/>
                  <a:cs typeface="Calibri"/>
                </a:rPr>
                <a:t>3 – Financial Value | </a:t>
              </a:r>
              <a:r>
                <a:rPr kumimoji="0" lang="en-US" sz="1200" b="0" i="0" u="none" strike="noStrike" kern="1200" cap="none" spc="0" normalizeH="0" baseline="0" noProof="0" dirty="0">
                  <a:ln>
                    <a:noFill/>
                  </a:ln>
                  <a:solidFill>
                    <a:prstClr val="black"/>
                  </a:solidFill>
                  <a:effectLst/>
                  <a:uLnTx/>
                  <a:uFillTx/>
                  <a:latin typeface="Open Sans"/>
                  <a:ea typeface="+mn-ea"/>
                  <a:cs typeface="Calibri"/>
                </a:rPr>
                <a:t>Greater financial reward through </a:t>
              </a:r>
              <a:r>
                <a:rPr kumimoji="0" lang="en-US" sz="1200" b="1" i="0" u="none" strike="noStrike" kern="1200" cap="none" spc="0" normalizeH="0" baseline="0" noProof="0" dirty="0">
                  <a:ln>
                    <a:noFill/>
                  </a:ln>
                  <a:solidFill>
                    <a:prstClr val="black"/>
                  </a:solidFill>
                  <a:effectLst/>
                  <a:uLnTx/>
                  <a:uFillTx/>
                  <a:latin typeface="Open Sans"/>
                  <a:ea typeface="+mn-ea"/>
                  <a:cs typeface="Calibri"/>
                </a:rPr>
                <a:t>improved retail margins</a:t>
              </a:r>
              <a:endParaRPr kumimoji="0" lang="en-US" sz="1200" b="0" i="0" u="none" strike="noStrike" kern="1200" cap="none" spc="0" normalizeH="0" baseline="0" noProof="0" dirty="0">
                <a:ln>
                  <a:noFill/>
                </a:ln>
                <a:solidFill>
                  <a:prstClr val="black"/>
                </a:solidFill>
                <a:effectLst/>
                <a:uLnTx/>
                <a:uFillTx/>
                <a:latin typeface="Open Sans"/>
                <a:ea typeface="+mn-ea"/>
                <a:cs typeface="Calibri"/>
              </a:endParaRPr>
            </a:p>
          </p:txBody>
        </p:sp>
      </p:grpSp>
      <p:grpSp>
        <p:nvGrpSpPr>
          <p:cNvPr id="21" name="Group 20"/>
          <p:cNvGrpSpPr/>
          <p:nvPr/>
        </p:nvGrpSpPr>
        <p:grpSpPr>
          <a:xfrm>
            <a:off x="8387418" y="1869507"/>
            <a:ext cx="2785730" cy="3201267"/>
            <a:chOff x="8387418" y="1869507"/>
            <a:chExt cx="2785730" cy="3201267"/>
          </a:xfrm>
        </p:grpSpPr>
        <p:sp>
          <p:nvSpPr>
            <p:cNvPr id="15" name="TextBox 14">
              <a:extLst>
                <a:ext uri="{FF2B5EF4-FFF2-40B4-BE49-F238E27FC236}">
                  <a16:creationId xmlns:a16="http://schemas.microsoft.com/office/drawing/2014/main" id="{A347751A-5AFE-414F-A4F4-7C1F31864B65}"/>
                </a:ext>
              </a:extLst>
            </p:cNvPr>
            <p:cNvSpPr txBox="1"/>
            <p:nvPr/>
          </p:nvSpPr>
          <p:spPr>
            <a:xfrm>
              <a:off x="8387418" y="1869507"/>
              <a:ext cx="2467951" cy="646331"/>
            </a:xfrm>
            <a:prstGeom prst="rect">
              <a:avLst/>
            </a:prstGeom>
            <a:noFill/>
          </p:spPr>
          <p:txBody>
            <a:bodyPr wrap="square" lIns="91440" tIns="45720" rIns="91440" bIns="45720" rtlCol="0">
              <a:spAutoFit/>
            </a:bodyPr>
            <a:lstStyle>
              <a:defPPr>
                <a:defRPr lang="en-US"/>
              </a:defPPr>
              <a:lvl1pPr marR="0" lvl="0" indent="0" fontAlgn="auto">
                <a:spcBef>
                  <a:spcPts val="0"/>
                </a:spcBef>
                <a:spcAft>
                  <a:spcPts val="0"/>
                </a:spcAft>
                <a:buClrTx/>
                <a:buSzTx/>
                <a:buFontTx/>
                <a:buNone/>
                <a:tabLst/>
                <a:defRPr b="1" cap="all" spc="3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300" normalizeH="0" baseline="0" noProof="0" dirty="0">
                  <a:ln>
                    <a:noFill/>
                  </a:ln>
                  <a:solidFill>
                    <a:prstClr val="black"/>
                  </a:solidFill>
                  <a:effectLst/>
                  <a:uLnTx/>
                  <a:uFillTx/>
                  <a:latin typeface="Open Sans"/>
                  <a:ea typeface="+mn-ea"/>
                  <a:cs typeface="+mn-cs"/>
                </a:rPr>
                <a:t>END CONSUMER</a:t>
              </a:r>
            </a:p>
          </p:txBody>
        </p:sp>
        <p:cxnSp>
          <p:nvCxnSpPr>
            <p:cNvPr id="16" name="Straight Connector 15">
              <a:extLst>
                <a:ext uri="{FF2B5EF4-FFF2-40B4-BE49-F238E27FC236}">
                  <a16:creationId xmlns:a16="http://schemas.microsoft.com/office/drawing/2014/main" id="{0D61B197-1482-4984-8CC9-4C43A4C58D31}"/>
                </a:ext>
              </a:extLst>
            </p:cNvPr>
            <p:cNvCxnSpPr/>
            <p:nvPr/>
          </p:nvCxnSpPr>
          <p:spPr>
            <a:xfrm>
              <a:off x="8387418" y="2539707"/>
              <a:ext cx="27857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6DB90F99-4767-49A4-A54D-106A04FFB294}"/>
                </a:ext>
              </a:extLst>
            </p:cNvPr>
            <p:cNvSpPr txBox="1"/>
            <p:nvPr/>
          </p:nvSpPr>
          <p:spPr>
            <a:xfrm>
              <a:off x="8387418" y="2836316"/>
              <a:ext cx="2785730" cy="2234458"/>
            </a:xfrm>
            <a:prstGeom prst="rect">
              <a:avLst/>
            </a:prstGeom>
            <a:noFill/>
          </p:spPr>
          <p:txBody>
            <a:bodyPr vert="horz" wrap="square" lIns="0" tIns="0" rIns="0" bIns="0" rtlCol="0">
              <a:spAutoFit/>
            </a:bodyPr>
            <a:lstStyle>
              <a:defPPr>
                <a:defRPr lang="en-US"/>
              </a:defPPr>
              <a:lvl1pPr marR="0" lvl="0" indent="0" fontAlgn="b">
                <a:lnSpc>
                  <a:spcPct val="120000"/>
                </a:lnSpc>
                <a:spcBef>
                  <a:spcPts val="600"/>
                </a:spcBef>
                <a:spcAft>
                  <a:spcPts val="0"/>
                </a:spcAft>
                <a:buClrTx/>
                <a:buSzPct val="100000"/>
                <a:buFontTx/>
                <a:buNone/>
                <a:tabLst/>
                <a:defRPr sz="1100" b="1">
                  <a:solidFill>
                    <a:prstClr val="black"/>
                  </a:solidFill>
                  <a:cs typeface="Calibri"/>
                </a:defRPr>
              </a:lvl1pPr>
            </a:lstStyle>
            <a:p>
              <a:pPr marL="0" marR="0" lvl="0" indent="0" algn="l" defTabSz="914400" rtl="0" eaLnBrk="1" fontAlgn="b" latinLnBrk="0" hangingPunct="1">
                <a:lnSpc>
                  <a:spcPct val="120000"/>
                </a:lnSpc>
                <a:spcBef>
                  <a:spcPts val="1200"/>
                </a:spcBef>
                <a:spcAft>
                  <a:spcPts val="600"/>
                </a:spcAft>
                <a:buClrTx/>
                <a:buSzPct val="100000"/>
                <a:buFontTx/>
                <a:buNone/>
                <a:tabLst/>
                <a:defRPr/>
              </a:pPr>
              <a:r>
                <a:rPr kumimoji="0" lang="en-US" sz="1200" b="1" i="0" u="none" strike="noStrike" kern="1200" cap="none" spc="0" normalizeH="0" baseline="0" noProof="0" dirty="0">
                  <a:ln>
                    <a:noFill/>
                  </a:ln>
                  <a:solidFill>
                    <a:prstClr val="black"/>
                  </a:solidFill>
                  <a:effectLst/>
                  <a:uLnTx/>
                  <a:uFillTx/>
                  <a:latin typeface="Open Sans"/>
                  <a:ea typeface="+mn-ea"/>
                  <a:cs typeface="Calibri"/>
                </a:rPr>
                <a:t>1 – Purchase Process | </a:t>
              </a:r>
              <a:r>
                <a:rPr kumimoji="0" lang="en-US" sz="1200" b="0" i="0" u="none" strike="noStrike" kern="1200" cap="none" spc="0" normalizeH="0" baseline="0" noProof="0" dirty="0">
                  <a:ln>
                    <a:noFill/>
                  </a:ln>
                  <a:solidFill>
                    <a:prstClr val="black"/>
                  </a:solidFill>
                  <a:effectLst/>
                  <a:uLnTx/>
                  <a:uFillTx/>
                  <a:latin typeface="Open Sans"/>
                  <a:ea typeface="+mn-ea"/>
                  <a:cs typeface="Calibri"/>
                </a:rPr>
                <a:t>More efficient, transparent, and end-to-end, </a:t>
              </a:r>
              <a:r>
                <a:rPr kumimoji="0" lang="en-US" sz="1200" b="1" i="0" u="none" strike="noStrike" kern="1200" cap="none" spc="0" normalizeH="0" baseline="0" noProof="0" dirty="0">
                  <a:ln>
                    <a:noFill/>
                  </a:ln>
                  <a:solidFill>
                    <a:prstClr val="black"/>
                  </a:solidFill>
                  <a:effectLst/>
                  <a:uLnTx/>
                  <a:uFillTx/>
                  <a:latin typeface="Open Sans"/>
                  <a:ea typeface="+mn-ea"/>
                  <a:cs typeface="Calibri"/>
                </a:rPr>
                <a:t>omni-channel retail experience</a:t>
              </a:r>
            </a:p>
            <a:p>
              <a:pPr marL="0" marR="0" lvl="0" indent="0" algn="l" defTabSz="914400" rtl="0" eaLnBrk="1" fontAlgn="b" latinLnBrk="0" hangingPunct="1">
                <a:lnSpc>
                  <a:spcPct val="120000"/>
                </a:lnSpc>
                <a:spcBef>
                  <a:spcPts val="1200"/>
                </a:spcBef>
                <a:spcAft>
                  <a:spcPts val="600"/>
                </a:spcAft>
                <a:buClrTx/>
                <a:buSzPct val="100000"/>
                <a:buFontTx/>
                <a:buNone/>
                <a:tabLst/>
                <a:defRPr/>
              </a:pPr>
              <a:r>
                <a:rPr kumimoji="0" lang="en-US" sz="1200" b="1" i="0" u="none" strike="noStrike" kern="1200" cap="none" spc="0" normalizeH="0" baseline="0" noProof="0" dirty="0">
                  <a:ln>
                    <a:noFill/>
                  </a:ln>
                  <a:solidFill>
                    <a:prstClr val="black"/>
                  </a:solidFill>
                  <a:effectLst/>
                  <a:uLnTx/>
                  <a:uFillTx/>
                  <a:latin typeface="Open Sans"/>
                  <a:ea typeface="+mn-ea"/>
                  <a:cs typeface="Calibri"/>
                </a:rPr>
                <a:t>2 – Price Transparency | </a:t>
              </a:r>
              <a:r>
                <a:rPr kumimoji="0" lang="en-US" sz="1200" b="0" i="0" u="none" strike="noStrike" kern="1200" cap="none" spc="0" normalizeH="0" baseline="0" noProof="0" dirty="0">
                  <a:ln>
                    <a:noFill/>
                  </a:ln>
                  <a:solidFill>
                    <a:prstClr val="black"/>
                  </a:solidFill>
                  <a:effectLst/>
                  <a:uLnTx/>
                  <a:uFillTx/>
                  <a:latin typeface="Open Sans"/>
                  <a:ea typeface="+mn-ea"/>
                  <a:cs typeface="Calibri"/>
                </a:rPr>
                <a:t>Market driven, </a:t>
              </a:r>
              <a:r>
                <a:rPr kumimoji="0" lang="en-US" sz="1200" b="1" i="0" u="none" strike="noStrike" kern="1200" cap="none" spc="0" normalizeH="0" baseline="0" noProof="0" dirty="0">
                  <a:ln>
                    <a:noFill/>
                  </a:ln>
                  <a:solidFill>
                    <a:prstClr val="black"/>
                  </a:solidFill>
                  <a:effectLst/>
                  <a:uLnTx/>
                  <a:uFillTx/>
                  <a:latin typeface="Open Sans"/>
                  <a:ea typeface="+mn-ea"/>
                  <a:cs typeface="Calibri"/>
                </a:rPr>
                <a:t>transparent pricing</a:t>
              </a:r>
            </a:p>
            <a:p>
              <a:pPr marL="0" marR="0" lvl="0" indent="0" algn="l" defTabSz="914400" rtl="0" eaLnBrk="1" fontAlgn="b" latinLnBrk="0" hangingPunct="1">
                <a:lnSpc>
                  <a:spcPct val="120000"/>
                </a:lnSpc>
                <a:spcBef>
                  <a:spcPts val="1200"/>
                </a:spcBef>
                <a:spcAft>
                  <a:spcPts val="600"/>
                </a:spcAft>
                <a:buClrTx/>
                <a:buSzPct val="100000"/>
                <a:buFontTx/>
                <a:buNone/>
                <a:tabLst/>
                <a:defRPr/>
              </a:pPr>
              <a:r>
                <a:rPr kumimoji="0" lang="en-US" sz="1200" b="1" i="0" u="none" strike="noStrike" kern="1200" cap="none" spc="0" normalizeH="0" baseline="0" noProof="0" dirty="0">
                  <a:ln>
                    <a:noFill/>
                  </a:ln>
                  <a:solidFill>
                    <a:prstClr val="black"/>
                  </a:solidFill>
                  <a:effectLst/>
                  <a:uLnTx/>
                  <a:uFillTx/>
                  <a:latin typeface="Open Sans"/>
                  <a:ea typeface="+mn-ea"/>
                  <a:cs typeface="Calibri"/>
                </a:rPr>
                <a:t>3 – Quality &amp; Consistency | </a:t>
              </a:r>
              <a:r>
                <a:rPr kumimoji="0" lang="en-US" sz="1200" b="0" i="0" u="none" strike="noStrike" kern="1200" cap="none" spc="0" normalizeH="0" baseline="0" noProof="0" dirty="0">
                  <a:ln>
                    <a:noFill/>
                  </a:ln>
                  <a:solidFill>
                    <a:prstClr val="black"/>
                  </a:solidFill>
                  <a:effectLst/>
                  <a:uLnTx/>
                  <a:uFillTx/>
                  <a:latin typeface="Open Sans"/>
                  <a:ea typeface="+mn-ea"/>
                  <a:cs typeface="Calibri"/>
                </a:rPr>
                <a:t>Greater </a:t>
              </a:r>
              <a:r>
                <a:rPr kumimoji="0" lang="en-US" sz="1200" b="1" i="0" u="none" strike="noStrike" kern="1200" cap="none" spc="0" normalizeH="0" baseline="0" noProof="0" dirty="0">
                  <a:ln>
                    <a:noFill/>
                  </a:ln>
                  <a:solidFill>
                    <a:prstClr val="black"/>
                  </a:solidFill>
                  <a:effectLst/>
                  <a:uLnTx/>
                  <a:uFillTx/>
                  <a:latin typeface="Open Sans"/>
                  <a:ea typeface="+mn-ea"/>
                  <a:cs typeface="Calibri"/>
                </a:rPr>
                <a:t>transparency and trust </a:t>
              </a:r>
              <a:r>
                <a:rPr kumimoji="0" lang="en-US" sz="1200" b="0" i="0" u="none" strike="noStrike" kern="1200" cap="none" spc="0" normalizeH="0" baseline="0" noProof="0" dirty="0">
                  <a:ln>
                    <a:noFill/>
                  </a:ln>
                  <a:solidFill>
                    <a:prstClr val="black"/>
                  </a:solidFill>
                  <a:effectLst/>
                  <a:uLnTx/>
                  <a:uFillTx/>
                  <a:latin typeface="Open Sans"/>
                  <a:ea typeface="+mn-ea"/>
                  <a:cs typeface="Calibri"/>
                </a:rPr>
                <a:t>in product and overall Brand</a:t>
              </a:r>
            </a:p>
          </p:txBody>
        </p:sp>
      </p:grpSp>
    </p:spTree>
    <p:extLst>
      <p:ext uri="{BB962C8B-B14F-4D97-AF65-F5344CB8AC3E}">
        <p14:creationId xmlns:p14="http://schemas.microsoft.com/office/powerpoint/2010/main" val="117472959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F2D1E08-C041-4C1C-8B7B-2A39C22A2F7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68"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2F2D1E08-C041-4C1C-8B7B-2A39C22A2F7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4736411-762E-47E1-BDE6-C5EE1A5B5F4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A74B57C6-0B3C-4C90-B86B-A759A8191721}"/>
              </a:ext>
            </a:extLst>
          </p:cNvPr>
          <p:cNvSpPr>
            <a:spLocks noGrp="1"/>
          </p:cNvSpPr>
          <p:nvPr>
            <p:ph type="title"/>
          </p:nvPr>
        </p:nvSpPr>
        <p:spPr/>
        <p:txBody>
          <a:bodyPr/>
          <a:lstStyle/>
          <a:p>
            <a:r>
              <a:rPr lang="en-US" dirty="0"/>
              <a:t>Why Deloitte?</a:t>
            </a:r>
          </a:p>
        </p:txBody>
      </p:sp>
      <p:sp>
        <p:nvSpPr>
          <p:cNvPr id="29" name="Text Placeholder 28">
            <a:extLst>
              <a:ext uri="{FF2B5EF4-FFF2-40B4-BE49-F238E27FC236}">
                <a16:creationId xmlns:a16="http://schemas.microsoft.com/office/drawing/2014/main" id="{1BD69DD1-283F-45AE-95C5-9C32EC4EC3A1}"/>
              </a:ext>
            </a:extLst>
          </p:cNvPr>
          <p:cNvSpPr>
            <a:spLocks noGrp="1"/>
          </p:cNvSpPr>
          <p:nvPr>
            <p:ph type="body" sz="quarter" idx="14"/>
          </p:nvPr>
        </p:nvSpPr>
        <p:spPr/>
        <p:txBody>
          <a:bodyPr/>
          <a:lstStyle/>
          <a:p>
            <a:r>
              <a:rPr lang="en-US" dirty="0"/>
              <a:t>Subheader</a:t>
            </a:r>
          </a:p>
        </p:txBody>
      </p:sp>
      <p:sp>
        <p:nvSpPr>
          <p:cNvPr id="30" name="Text Placeholder 29">
            <a:extLst>
              <a:ext uri="{FF2B5EF4-FFF2-40B4-BE49-F238E27FC236}">
                <a16:creationId xmlns:a16="http://schemas.microsoft.com/office/drawing/2014/main" id="{67FA5026-0AD7-4E73-8045-69AE834556B7}"/>
              </a:ext>
            </a:extLst>
          </p:cNvPr>
          <p:cNvSpPr>
            <a:spLocks noGrp="1"/>
          </p:cNvSpPr>
          <p:nvPr>
            <p:ph type="body" sz="quarter" idx="15"/>
          </p:nvPr>
        </p:nvSpPr>
        <p:spPr/>
        <p:txBody>
          <a:bodyPr/>
          <a:lstStyle/>
          <a:p>
            <a:r>
              <a:rPr lang="en-US" dirty="0"/>
              <a:t>text</a:t>
            </a:r>
          </a:p>
        </p:txBody>
      </p:sp>
      <p:grpSp>
        <p:nvGrpSpPr>
          <p:cNvPr id="5" name="Group 4">
            <a:extLst>
              <a:ext uri="{FF2B5EF4-FFF2-40B4-BE49-F238E27FC236}">
                <a16:creationId xmlns:a16="http://schemas.microsoft.com/office/drawing/2014/main" id="{EC5279D6-D2DD-468E-B359-92DABB8EAAC7}"/>
              </a:ext>
            </a:extLst>
          </p:cNvPr>
          <p:cNvGrpSpPr>
            <a:grpSpLocks noChangeAspect="1"/>
          </p:cNvGrpSpPr>
          <p:nvPr/>
        </p:nvGrpSpPr>
        <p:grpSpPr>
          <a:xfrm>
            <a:off x="935959" y="3004620"/>
            <a:ext cx="548641" cy="548641"/>
            <a:chOff x="3192463" y="3336925"/>
            <a:chExt cx="522288" cy="522288"/>
          </a:xfrm>
          <a:solidFill>
            <a:schemeClr val="accent3"/>
          </a:solidFill>
        </p:grpSpPr>
        <p:sp>
          <p:nvSpPr>
            <p:cNvPr id="6" name="Freeform 61">
              <a:extLst>
                <a:ext uri="{FF2B5EF4-FFF2-40B4-BE49-F238E27FC236}">
                  <a16:creationId xmlns:a16="http://schemas.microsoft.com/office/drawing/2014/main" id="{31D4B048-17EF-4F38-9F40-FEB94FDF1400}"/>
                </a:ext>
              </a:extLst>
            </p:cNvPr>
            <p:cNvSpPr>
              <a:spLocks noEditPoints="1"/>
            </p:cNvSpPr>
            <p:nvPr/>
          </p:nvSpPr>
          <p:spPr bwMode="auto">
            <a:xfrm>
              <a:off x="3192463" y="3336925"/>
              <a:ext cx="522288" cy="522288"/>
            </a:xfrm>
            <a:custGeom>
              <a:avLst/>
              <a:gdLst>
                <a:gd name="T0" fmla="*/ 312 w 659"/>
                <a:gd name="T1" fmla="*/ 656 h 658"/>
                <a:gd name="T2" fmla="*/ 264 w 659"/>
                <a:gd name="T3" fmla="*/ 651 h 658"/>
                <a:gd name="T4" fmla="*/ 202 w 659"/>
                <a:gd name="T5" fmla="*/ 631 h 658"/>
                <a:gd name="T6" fmla="*/ 120 w 659"/>
                <a:gd name="T7" fmla="*/ 583 h 658"/>
                <a:gd name="T8" fmla="*/ 57 w 659"/>
                <a:gd name="T9" fmla="*/ 513 h 658"/>
                <a:gd name="T10" fmla="*/ 15 w 659"/>
                <a:gd name="T11" fmla="*/ 427 h 658"/>
                <a:gd name="T12" fmla="*/ 4 w 659"/>
                <a:gd name="T13" fmla="*/ 378 h 658"/>
                <a:gd name="T14" fmla="*/ 0 w 659"/>
                <a:gd name="T15" fmla="*/ 329 h 658"/>
                <a:gd name="T16" fmla="*/ 2 w 659"/>
                <a:gd name="T17" fmla="*/ 295 h 658"/>
                <a:gd name="T18" fmla="*/ 11 w 659"/>
                <a:gd name="T19" fmla="*/ 247 h 658"/>
                <a:gd name="T20" fmla="*/ 41 w 659"/>
                <a:gd name="T21" fmla="*/ 171 h 658"/>
                <a:gd name="T22" fmla="*/ 97 w 659"/>
                <a:gd name="T23" fmla="*/ 96 h 658"/>
                <a:gd name="T24" fmla="*/ 172 w 659"/>
                <a:gd name="T25" fmla="*/ 40 h 658"/>
                <a:gd name="T26" fmla="*/ 248 w 659"/>
                <a:gd name="T27" fmla="*/ 10 h 658"/>
                <a:gd name="T28" fmla="*/ 296 w 659"/>
                <a:gd name="T29" fmla="*/ 1 h 658"/>
                <a:gd name="T30" fmla="*/ 330 w 659"/>
                <a:gd name="T31" fmla="*/ 0 h 658"/>
                <a:gd name="T32" fmla="*/ 379 w 659"/>
                <a:gd name="T33" fmla="*/ 4 h 658"/>
                <a:gd name="T34" fmla="*/ 428 w 659"/>
                <a:gd name="T35" fmla="*/ 14 h 658"/>
                <a:gd name="T36" fmla="*/ 514 w 659"/>
                <a:gd name="T37" fmla="*/ 56 h 658"/>
                <a:gd name="T38" fmla="*/ 583 w 659"/>
                <a:gd name="T39" fmla="*/ 119 h 658"/>
                <a:gd name="T40" fmla="*/ 632 w 659"/>
                <a:gd name="T41" fmla="*/ 201 h 658"/>
                <a:gd name="T42" fmla="*/ 652 w 659"/>
                <a:gd name="T43" fmla="*/ 263 h 658"/>
                <a:gd name="T44" fmla="*/ 657 w 659"/>
                <a:gd name="T45" fmla="*/ 311 h 658"/>
                <a:gd name="T46" fmla="*/ 657 w 659"/>
                <a:gd name="T47" fmla="*/ 346 h 658"/>
                <a:gd name="T48" fmla="*/ 652 w 659"/>
                <a:gd name="T49" fmla="*/ 394 h 658"/>
                <a:gd name="T50" fmla="*/ 632 w 659"/>
                <a:gd name="T51" fmla="*/ 456 h 658"/>
                <a:gd name="T52" fmla="*/ 583 w 659"/>
                <a:gd name="T53" fmla="*/ 538 h 658"/>
                <a:gd name="T54" fmla="*/ 514 w 659"/>
                <a:gd name="T55" fmla="*/ 601 h 658"/>
                <a:gd name="T56" fmla="*/ 428 w 659"/>
                <a:gd name="T57" fmla="*/ 643 h 658"/>
                <a:gd name="T58" fmla="*/ 379 w 659"/>
                <a:gd name="T59" fmla="*/ 654 h 658"/>
                <a:gd name="T60" fmla="*/ 330 w 659"/>
                <a:gd name="T61" fmla="*/ 658 h 658"/>
                <a:gd name="T62" fmla="*/ 330 w 659"/>
                <a:gd name="T63" fmla="*/ 37 h 658"/>
                <a:gd name="T64" fmla="*/ 244 w 659"/>
                <a:gd name="T65" fmla="*/ 51 h 658"/>
                <a:gd name="T66" fmla="*/ 167 w 659"/>
                <a:gd name="T67" fmla="*/ 87 h 658"/>
                <a:gd name="T68" fmla="*/ 105 w 659"/>
                <a:gd name="T69" fmla="*/ 143 h 658"/>
                <a:gd name="T70" fmla="*/ 61 w 659"/>
                <a:gd name="T71" fmla="*/ 216 h 658"/>
                <a:gd name="T72" fmla="*/ 39 w 659"/>
                <a:gd name="T73" fmla="*/ 299 h 658"/>
                <a:gd name="T74" fmla="*/ 39 w 659"/>
                <a:gd name="T75" fmla="*/ 358 h 658"/>
                <a:gd name="T76" fmla="*/ 61 w 659"/>
                <a:gd name="T77" fmla="*/ 441 h 658"/>
                <a:gd name="T78" fmla="*/ 105 w 659"/>
                <a:gd name="T79" fmla="*/ 514 h 658"/>
                <a:gd name="T80" fmla="*/ 167 w 659"/>
                <a:gd name="T81" fmla="*/ 570 h 658"/>
                <a:gd name="T82" fmla="*/ 244 w 659"/>
                <a:gd name="T83" fmla="*/ 607 h 658"/>
                <a:gd name="T84" fmla="*/ 330 w 659"/>
                <a:gd name="T85" fmla="*/ 620 h 658"/>
                <a:gd name="T86" fmla="*/ 389 w 659"/>
                <a:gd name="T87" fmla="*/ 613 h 658"/>
                <a:gd name="T88" fmla="*/ 468 w 659"/>
                <a:gd name="T89" fmla="*/ 585 h 658"/>
                <a:gd name="T90" fmla="*/ 535 w 659"/>
                <a:gd name="T91" fmla="*/ 534 h 658"/>
                <a:gd name="T92" fmla="*/ 585 w 659"/>
                <a:gd name="T93" fmla="*/ 467 h 658"/>
                <a:gd name="T94" fmla="*/ 614 w 659"/>
                <a:gd name="T95" fmla="*/ 388 h 658"/>
                <a:gd name="T96" fmla="*/ 621 w 659"/>
                <a:gd name="T97" fmla="*/ 329 h 658"/>
                <a:gd name="T98" fmla="*/ 608 w 659"/>
                <a:gd name="T99" fmla="*/ 243 h 658"/>
                <a:gd name="T100" fmla="*/ 571 w 659"/>
                <a:gd name="T101" fmla="*/ 166 h 658"/>
                <a:gd name="T102" fmla="*/ 515 w 659"/>
                <a:gd name="T103" fmla="*/ 104 h 658"/>
                <a:gd name="T104" fmla="*/ 442 w 659"/>
                <a:gd name="T105" fmla="*/ 60 h 658"/>
                <a:gd name="T106" fmla="*/ 359 w 659"/>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30" y="658"/>
                  </a:moveTo>
                  <a:lnTo>
                    <a:pt x="330" y="658"/>
                  </a:lnTo>
                  <a:lnTo>
                    <a:pt x="312" y="656"/>
                  </a:lnTo>
                  <a:lnTo>
                    <a:pt x="296" y="655"/>
                  </a:lnTo>
                  <a:lnTo>
                    <a:pt x="280" y="654"/>
                  </a:lnTo>
                  <a:lnTo>
                    <a:pt x="264" y="651"/>
                  </a:lnTo>
                  <a:lnTo>
                    <a:pt x="248" y="647"/>
                  </a:lnTo>
                  <a:lnTo>
                    <a:pt x="231" y="643"/>
                  </a:lnTo>
                  <a:lnTo>
                    <a:pt x="202" y="631"/>
                  </a:lnTo>
                  <a:lnTo>
                    <a:pt x="172" y="617"/>
                  </a:lnTo>
                  <a:lnTo>
                    <a:pt x="146" y="601"/>
                  </a:lnTo>
                  <a:lnTo>
                    <a:pt x="120" y="583"/>
                  </a:lnTo>
                  <a:lnTo>
                    <a:pt x="97" y="561"/>
                  </a:lnTo>
                  <a:lnTo>
                    <a:pt x="76" y="538"/>
                  </a:lnTo>
                  <a:lnTo>
                    <a:pt x="57" y="513"/>
                  </a:lnTo>
                  <a:lnTo>
                    <a:pt x="41" y="486"/>
                  </a:lnTo>
                  <a:lnTo>
                    <a:pt x="26" y="456"/>
                  </a:lnTo>
                  <a:lnTo>
                    <a:pt x="15" y="427"/>
                  </a:lnTo>
                  <a:lnTo>
                    <a:pt x="11" y="411"/>
                  </a:lnTo>
                  <a:lnTo>
                    <a:pt x="7" y="394"/>
                  </a:lnTo>
                  <a:lnTo>
                    <a:pt x="4" y="378"/>
                  </a:lnTo>
                  <a:lnTo>
                    <a:pt x="2" y="362"/>
                  </a:lnTo>
                  <a:lnTo>
                    <a:pt x="0" y="346"/>
                  </a:lnTo>
                  <a:lnTo>
                    <a:pt x="0" y="329"/>
                  </a:lnTo>
                  <a:lnTo>
                    <a:pt x="0" y="329"/>
                  </a:lnTo>
                  <a:lnTo>
                    <a:pt x="0" y="311"/>
                  </a:lnTo>
                  <a:lnTo>
                    <a:pt x="2" y="295"/>
                  </a:lnTo>
                  <a:lnTo>
                    <a:pt x="4" y="279"/>
                  </a:lnTo>
                  <a:lnTo>
                    <a:pt x="7" y="263"/>
                  </a:lnTo>
                  <a:lnTo>
                    <a:pt x="11" y="247"/>
                  </a:lnTo>
                  <a:lnTo>
                    <a:pt x="15" y="231"/>
                  </a:lnTo>
                  <a:lnTo>
                    <a:pt x="26" y="201"/>
                  </a:lnTo>
                  <a:lnTo>
                    <a:pt x="41" y="171"/>
                  </a:lnTo>
                  <a:lnTo>
                    <a:pt x="57" y="145"/>
                  </a:lnTo>
                  <a:lnTo>
                    <a:pt x="76" y="119"/>
                  </a:lnTo>
                  <a:lnTo>
                    <a:pt x="97" y="96"/>
                  </a:lnTo>
                  <a:lnTo>
                    <a:pt x="120" y="75"/>
                  </a:lnTo>
                  <a:lnTo>
                    <a:pt x="146" y="56"/>
                  </a:lnTo>
                  <a:lnTo>
                    <a:pt x="172" y="40"/>
                  </a:lnTo>
                  <a:lnTo>
                    <a:pt x="202" y="25"/>
                  </a:lnTo>
                  <a:lnTo>
                    <a:pt x="231" y="14"/>
                  </a:lnTo>
                  <a:lnTo>
                    <a:pt x="248" y="10"/>
                  </a:lnTo>
                  <a:lnTo>
                    <a:pt x="264" y="6"/>
                  </a:lnTo>
                  <a:lnTo>
                    <a:pt x="280" y="4"/>
                  </a:lnTo>
                  <a:lnTo>
                    <a:pt x="296" y="1"/>
                  </a:lnTo>
                  <a:lnTo>
                    <a:pt x="312" y="1"/>
                  </a:lnTo>
                  <a:lnTo>
                    <a:pt x="330" y="0"/>
                  </a:lnTo>
                  <a:lnTo>
                    <a:pt x="330" y="0"/>
                  </a:lnTo>
                  <a:lnTo>
                    <a:pt x="346" y="1"/>
                  </a:lnTo>
                  <a:lnTo>
                    <a:pt x="363" y="1"/>
                  </a:lnTo>
                  <a:lnTo>
                    <a:pt x="379" y="4"/>
                  </a:lnTo>
                  <a:lnTo>
                    <a:pt x="395" y="6"/>
                  </a:lnTo>
                  <a:lnTo>
                    <a:pt x="411" y="10"/>
                  </a:lnTo>
                  <a:lnTo>
                    <a:pt x="428" y="14"/>
                  </a:lnTo>
                  <a:lnTo>
                    <a:pt x="457" y="25"/>
                  </a:lnTo>
                  <a:lnTo>
                    <a:pt x="485" y="40"/>
                  </a:lnTo>
                  <a:lnTo>
                    <a:pt x="514" y="56"/>
                  </a:lnTo>
                  <a:lnTo>
                    <a:pt x="539" y="75"/>
                  </a:lnTo>
                  <a:lnTo>
                    <a:pt x="562" y="96"/>
                  </a:lnTo>
                  <a:lnTo>
                    <a:pt x="583" y="119"/>
                  </a:lnTo>
                  <a:lnTo>
                    <a:pt x="602" y="145"/>
                  </a:lnTo>
                  <a:lnTo>
                    <a:pt x="618" y="171"/>
                  </a:lnTo>
                  <a:lnTo>
                    <a:pt x="632" y="201"/>
                  </a:lnTo>
                  <a:lnTo>
                    <a:pt x="644" y="231"/>
                  </a:lnTo>
                  <a:lnTo>
                    <a:pt x="648" y="247"/>
                  </a:lnTo>
                  <a:lnTo>
                    <a:pt x="652" y="263"/>
                  </a:lnTo>
                  <a:lnTo>
                    <a:pt x="655" y="279"/>
                  </a:lnTo>
                  <a:lnTo>
                    <a:pt x="656" y="295"/>
                  </a:lnTo>
                  <a:lnTo>
                    <a:pt x="657" y="311"/>
                  </a:lnTo>
                  <a:lnTo>
                    <a:pt x="659" y="329"/>
                  </a:lnTo>
                  <a:lnTo>
                    <a:pt x="659" y="329"/>
                  </a:lnTo>
                  <a:lnTo>
                    <a:pt x="657" y="346"/>
                  </a:lnTo>
                  <a:lnTo>
                    <a:pt x="656" y="362"/>
                  </a:lnTo>
                  <a:lnTo>
                    <a:pt x="655" y="378"/>
                  </a:lnTo>
                  <a:lnTo>
                    <a:pt x="652" y="394"/>
                  </a:lnTo>
                  <a:lnTo>
                    <a:pt x="648" y="411"/>
                  </a:lnTo>
                  <a:lnTo>
                    <a:pt x="644" y="427"/>
                  </a:lnTo>
                  <a:lnTo>
                    <a:pt x="632" y="456"/>
                  </a:lnTo>
                  <a:lnTo>
                    <a:pt x="618" y="486"/>
                  </a:lnTo>
                  <a:lnTo>
                    <a:pt x="602" y="513"/>
                  </a:lnTo>
                  <a:lnTo>
                    <a:pt x="583" y="538"/>
                  </a:lnTo>
                  <a:lnTo>
                    <a:pt x="562" y="561"/>
                  </a:lnTo>
                  <a:lnTo>
                    <a:pt x="539" y="583"/>
                  </a:lnTo>
                  <a:lnTo>
                    <a:pt x="514" y="601"/>
                  </a:lnTo>
                  <a:lnTo>
                    <a:pt x="485" y="617"/>
                  </a:lnTo>
                  <a:lnTo>
                    <a:pt x="457" y="631"/>
                  </a:lnTo>
                  <a:lnTo>
                    <a:pt x="428" y="643"/>
                  </a:lnTo>
                  <a:lnTo>
                    <a:pt x="411" y="647"/>
                  </a:lnTo>
                  <a:lnTo>
                    <a:pt x="395" y="651"/>
                  </a:lnTo>
                  <a:lnTo>
                    <a:pt x="379" y="654"/>
                  </a:lnTo>
                  <a:lnTo>
                    <a:pt x="363" y="655"/>
                  </a:lnTo>
                  <a:lnTo>
                    <a:pt x="346" y="656"/>
                  </a:lnTo>
                  <a:lnTo>
                    <a:pt x="330" y="658"/>
                  </a:lnTo>
                  <a:lnTo>
                    <a:pt x="330" y="658"/>
                  </a:lnTo>
                  <a:close/>
                  <a:moveTo>
                    <a:pt x="330" y="37"/>
                  </a:moveTo>
                  <a:lnTo>
                    <a:pt x="330" y="37"/>
                  </a:lnTo>
                  <a:lnTo>
                    <a:pt x="300" y="39"/>
                  </a:lnTo>
                  <a:lnTo>
                    <a:pt x="270" y="44"/>
                  </a:lnTo>
                  <a:lnTo>
                    <a:pt x="244" y="51"/>
                  </a:lnTo>
                  <a:lnTo>
                    <a:pt x="217" y="60"/>
                  </a:lnTo>
                  <a:lnTo>
                    <a:pt x="191" y="72"/>
                  </a:lnTo>
                  <a:lnTo>
                    <a:pt x="167" y="87"/>
                  </a:lnTo>
                  <a:lnTo>
                    <a:pt x="144" y="104"/>
                  </a:lnTo>
                  <a:lnTo>
                    <a:pt x="124" y="123"/>
                  </a:lnTo>
                  <a:lnTo>
                    <a:pt x="105" y="143"/>
                  </a:lnTo>
                  <a:lnTo>
                    <a:pt x="88" y="166"/>
                  </a:lnTo>
                  <a:lnTo>
                    <a:pt x="73" y="190"/>
                  </a:lnTo>
                  <a:lnTo>
                    <a:pt x="61" y="216"/>
                  </a:lnTo>
                  <a:lnTo>
                    <a:pt x="51" y="243"/>
                  </a:lnTo>
                  <a:lnTo>
                    <a:pt x="45" y="270"/>
                  </a:lnTo>
                  <a:lnTo>
                    <a:pt x="39" y="299"/>
                  </a:lnTo>
                  <a:lnTo>
                    <a:pt x="38" y="329"/>
                  </a:lnTo>
                  <a:lnTo>
                    <a:pt x="38" y="329"/>
                  </a:lnTo>
                  <a:lnTo>
                    <a:pt x="39" y="358"/>
                  </a:lnTo>
                  <a:lnTo>
                    <a:pt x="45" y="388"/>
                  </a:lnTo>
                  <a:lnTo>
                    <a:pt x="51" y="415"/>
                  </a:lnTo>
                  <a:lnTo>
                    <a:pt x="61" y="441"/>
                  </a:lnTo>
                  <a:lnTo>
                    <a:pt x="73" y="467"/>
                  </a:lnTo>
                  <a:lnTo>
                    <a:pt x="88" y="491"/>
                  </a:lnTo>
                  <a:lnTo>
                    <a:pt x="105" y="514"/>
                  </a:lnTo>
                  <a:lnTo>
                    <a:pt x="124" y="534"/>
                  </a:lnTo>
                  <a:lnTo>
                    <a:pt x="144" y="553"/>
                  </a:lnTo>
                  <a:lnTo>
                    <a:pt x="167" y="570"/>
                  </a:lnTo>
                  <a:lnTo>
                    <a:pt x="191" y="585"/>
                  </a:lnTo>
                  <a:lnTo>
                    <a:pt x="217" y="597"/>
                  </a:lnTo>
                  <a:lnTo>
                    <a:pt x="244" y="607"/>
                  </a:lnTo>
                  <a:lnTo>
                    <a:pt x="270" y="613"/>
                  </a:lnTo>
                  <a:lnTo>
                    <a:pt x="300" y="619"/>
                  </a:lnTo>
                  <a:lnTo>
                    <a:pt x="330" y="620"/>
                  </a:lnTo>
                  <a:lnTo>
                    <a:pt x="330" y="620"/>
                  </a:lnTo>
                  <a:lnTo>
                    <a:pt x="359" y="619"/>
                  </a:lnTo>
                  <a:lnTo>
                    <a:pt x="389" y="613"/>
                  </a:lnTo>
                  <a:lnTo>
                    <a:pt x="415" y="607"/>
                  </a:lnTo>
                  <a:lnTo>
                    <a:pt x="442" y="597"/>
                  </a:lnTo>
                  <a:lnTo>
                    <a:pt x="468" y="585"/>
                  </a:lnTo>
                  <a:lnTo>
                    <a:pt x="492" y="570"/>
                  </a:lnTo>
                  <a:lnTo>
                    <a:pt x="515" y="553"/>
                  </a:lnTo>
                  <a:lnTo>
                    <a:pt x="535" y="534"/>
                  </a:lnTo>
                  <a:lnTo>
                    <a:pt x="554" y="514"/>
                  </a:lnTo>
                  <a:lnTo>
                    <a:pt x="571" y="491"/>
                  </a:lnTo>
                  <a:lnTo>
                    <a:pt x="585" y="467"/>
                  </a:lnTo>
                  <a:lnTo>
                    <a:pt x="598" y="441"/>
                  </a:lnTo>
                  <a:lnTo>
                    <a:pt x="608" y="415"/>
                  </a:lnTo>
                  <a:lnTo>
                    <a:pt x="614" y="388"/>
                  </a:lnTo>
                  <a:lnTo>
                    <a:pt x="620" y="358"/>
                  </a:lnTo>
                  <a:lnTo>
                    <a:pt x="621" y="329"/>
                  </a:lnTo>
                  <a:lnTo>
                    <a:pt x="621" y="329"/>
                  </a:lnTo>
                  <a:lnTo>
                    <a:pt x="620" y="299"/>
                  </a:lnTo>
                  <a:lnTo>
                    <a:pt x="614" y="270"/>
                  </a:lnTo>
                  <a:lnTo>
                    <a:pt x="608" y="243"/>
                  </a:lnTo>
                  <a:lnTo>
                    <a:pt x="598" y="216"/>
                  </a:lnTo>
                  <a:lnTo>
                    <a:pt x="585" y="190"/>
                  </a:lnTo>
                  <a:lnTo>
                    <a:pt x="571" y="166"/>
                  </a:lnTo>
                  <a:lnTo>
                    <a:pt x="554" y="143"/>
                  </a:lnTo>
                  <a:lnTo>
                    <a:pt x="535" y="123"/>
                  </a:lnTo>
                  <a:lnTo>
                    <a:pt x="515" y="104"/>
                  </a:lnTo>
                  <a:lnTo>
                    <a:pt x="492" y="87"/>
                  </a:lnTo>
                  <a:lnTo>
                    <a:pt x="468" y="72"/>
                  </a:lnTo>
                  <a:lnTo>
                    <a:pt x="442" y="60"/>
                  </a:lnTo>
                  <a:lnTo>
                    <a:pt x="415" y="51"/>
                  </a:lnTo>
                  <a:lnTo>
                    <a:pt x="389" y="44"/>
                  </a:lnTo>
                  <a:lnTo>
                    <a:pt x="359" y="39"/>
                  </a:lnTo>
                  <a:lnTo>
                    <a:pt x="330" y="37"/>
                  </a:lnTo>
                  <a:lnTo>
                    <a:pt x="330"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 name="Freeform 283">
              <a:extLst>
                <a:ext uri="{FF2B5EF4-FFF2-40B4-BE49-F238E27FC236}">
                  <a16:creationId xmlns:a16="http://schemas.microsoft.com/office/drawing/2014/main" id="{C903BCA0-B459-4FD3-9AD4-DD717F1B97BA}"/>
                </a:ext>
              </a:extLst>
            </p:cNvPr>
            <p:cNvSpPr>
              <a:spLocks/>
            </p:cNvSpPr>
            <p:nvPr/>
          </p:nvSpPr>
          <p:spPr bwMode="auto">
            <a:xfrm>
              <a:off x="3360738" y="3494088"/>
              <a:ext cx="69850" cy="69850"/>
            </a:xfrm>
            <a:custGeom>
              <a:avLst/>
              <a:gdLst>
                <a:gd name="T0" fmla="*/ 0 w 89"/>
                <a:gd name="T1" fmla="*/ 78 h 87"/>
                <a:gd name="T2" fmla="*/ 0 w 89"/>
                <a:gd name="T3" fmla="*/ 78 h 87"/>
                <a:gd name="T4" fmla="*/ 2 w 89"/>
                <a:gd name="T5" fmla="*/ 82 h 87"/>
                <a:gd name="T6" fmla="*/ 4 w 89"/>
                <a:gd name="T7" fmla="*/ 85 h 87"/>
                <a:gd name="T8" fmla="*/ 4 w 89"/>
                <a:gd name="T9" fmla="*/ 85 h 87"/>
                <a:gd name="T10" fmla="*/ 4 w 89"/>
                <a:gd name="T11" fmla="*/ 85 h 87"/>
                <a:gd name="T12" fmla="*/ 7 w 89"/>
                <a:gd name="T13" fmla="*/ 87 h 87"/>
                <a:gd name="T14" fmla="*/ 11 w 89"/>
                <a:gd name="T15" fmla="*/ 87 h 87"/>
                <a:gd name="T16" fmla="*/ 14 w 89"/>
                <a:gd name="T17" fmla="*/ 87 h 87"/>
                <a:gd name="T18" fmla="*/ 18 w 89"/>
                <a:gd name="T19" fmla="*/ 85 h 87"/>
                <a:gd name="T20" fmla="*/ 45 w 89"/>
                <a:gd name="T21" fmla="*/ 58 h 87"/>
                <a:gd name="T22" fmla="*/ 72 w 89"/>
                <a:gd name="T23" fmla="*/ 85 h 87"/>
                <a:gd name="T24" fmla="*/ 72 w 89"/>
                <a:gd name="T25" fmla="*/ 85 h 87"/>
                <a:gd name="T26" fmla="*/ 76 w 89"/>
                <a:gd name="T27" fmla="*/ 87 h 87"/>
                <a:gd name="T28" fmla="*/ 78 w 89"/>
                <a:gd name="T29" fmla="*/ 87 h 87"/>
                <a:gd name="T30" fmla="*/ 78 w 89"/>
                <a:gd name="T31" fmla="*/ 87 h 87"/>
                <a:gd name="T32" fmla="*/ 82 w 89"/>
                <a:gd name="T33" fmla="*/ 87 h 87"/>
                <a:gd name="T34" fmla="*/ 85 w 89"/>
                <a:gd name="T35" fmla="*/ 85 h 87"/>
                <a:gd name="T36" fmla="*/ 85 w 89"/>
                <a:gd name="T37" fmla="*/ 85 h 87"/>
                <a:gd name="T38" fmla="*/ 88 w 89"/>
                <a:gd name="T39" fmla="*/ 82 h 87"/>
                <a:gd name="T40" fmla="*/ 89 w 89"/>
                <a:gd name="T41" fmla="*/ 78 h 87"/>
                <a:gd name="T42" fmla="*/ 88 w 89"/>
                <a:gd name="T43" fmla="*/ 74 h 87"/>
                <a:gd name="T44" fmla="*/ 85 w 89"/>
                <a:gd name="T45" fmla="*/ 71 h 87"/>
                <a:gd name="T46" fmla="*/ 58 w 89"/>
                <a:gd name="T47" fmla="*/ 44 h 87"/>
                <a:gd name="T48" fmla="*/ 85 w 89"/>
                <a:gd name="T49" fmla="*/ 17 h 87"/>
                <a:gd name="T50" fmla="*/ 85 w 89"/>
                <a:gd name="T51" fmla="*/ 17 h 87"/>
                <a:gd name="T52" fmla="*/ 88 w 89"/>
                <a:gd name="T53" fmla="*/ 13 h 87"/>
                <a:gd name="T54" fmla="*/ 89 w 89"/>
                <a:gd name="T55" fmla="*/ 9 h 87"/>
                <a:gd name="T56" fmla="*/ 88 w 89"/>
                <a:gd name="T57" fmla="*/ 7 h 87"/>
                <a:gd name="T58" fmla="*/ 85 w 89"/>
                <a:gd name="T59" fmla="*/ 3 h 87"/>
                <a:gd name="T60" fmla="*/ 85 w 89"/>
                <a:gd name="T61" fmla="*/ 3 h 87"/>
                <a:gd name="T62" fmla="*/ 82 w 89"/>
                <a:gd name="T63" fmla="*/ 1 h 87"/>
                <a:gd name="T64" fmla="*/ 78 w 89"/>
                <a:gd name="T65" fmla="*/ 0 h 87"/>
                <a:gd name="T66" fmla="*/ 78 w 89"/>
                <a:gd name="T67" fmla="*/ 0 h 87"/>
                <a:gd name="T68" fmla="*/ 78 w 89"/>
                <a:gd name="T69" fmla="*/ 0 h 87"/>
                <a:gd name="T70" fmla="*/ 76 w 89"/>
                <a:gd name="T71" fmla="*/ 1 h 87"/>
                <a:gd name="T72" fmla="*/ 72 w 89"/>
                <a:gd name="T73" fmla="*/ 3 h 87"/>
                <a:gd name="T74" fmla="*/ 45 w 89"/>
                <a:gd name="T75" fmla="*/ 31 h 87"/>
                <a:gd name="T76" fmla="*/ 18 w 89"/>
                <a:gd name="T77" fmla="*/ 3 h 87"/>
                <a:gd name="T78" fmla="*/ 18 w 89"/>
                <a:gd name="T79" fmla="*/ 3 h 87"/>
                <a:gd name="T80" fmla="*/ 14 w 89"/>
                <a:gd name="T81" fmla="*/ 1 h 87"/>
                <a:gd name="T82" fmla="*/ 11 w 89"/>
                <a:gd name="T83" fmla="*/ 0 h 87"/>
                <a:gd name="T84" fmla="*/ 7 w 89"/>
                <a:gd name="T85" fmla="*/ 1 h 87"/>
                <a:gd name="T86" fmla="*/ 4 w 89"/>
                <a:gd name="T87" fmla="*/ 3 h 87"/>
                <a:gd name="T88" fmla="*/ 4 w 89"/>
                <a:gd name="T89" fmla="*/ 3 h 87"/>
                <a:gd name="T90" fmla="*/ 2 w 89"/>
                <a:gd name="T91" fmla="*/ 7 h 87"/>
                <a:gd name="T92" fmla="*/ 0 w 89"/>
                <a:gd name="T93" fmla="*/ 9 h 87"/>
                <a:gd name="T94" fmla="*/ 0 w 89"/>
                <a:gd name="T95" fmla="*/ 9 h 87"/>
                <a:gd name="T96" fmla="*/ 2 w 89"/>
                <a:gd name="T97" fmla="*/ 13 h 87"/>
                <a:gd name="T98" fmla="*/ 4 w 89"/>
                <a:gd name="T99" fmla="*/ 17 h 87"/>
                <a:gd name="T100" fmla="*/ 31 w 89"/>
                <a:gd name="T101" fmla="*/ 44 h 87"/>
                <a:gd name="T102" fmla="*/ 4 w 89"/>
                <a:gd name="T103" fmla="*/ 71 h 87"/>
                <a:gd name="T104" fmla="*/ 4 w 89"/>
                <a:gd name="T105" fmla="*/ 71 h 87"/>
                <a:gd name="T106" fmla="*/ 2 w 89"/>
                <a:gd name="T107" fmla="*/ 74 h 87"/>
                <a:gd name="T108" fmla="*/ 0 w 89"/>
                <a:gd name="T109" fmla="*/ 78 h 87"/>
                <a:gd name="T110" fmla="*/ 0 w 89"/>
                <a:gd name="T111" fmla="*/ 7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 h="87">
                  <a:moveTo>
                    <a:pt x="0" y="78"/>
                  </a:moveTo>
                  <a:lnTo>
                    <a:pt x="0" y="78"/>
                  </a:lnTo>
                  <a:lnTo>
                    <a:pt x="2" y="82"/>
                  </a:lnTo>
                  <a:lnTo>
                    <a:pt x="4" y="85"/>
                  </a:lnTo>
                  <a:lnTo>
                    <a:pt x="4" y="85"/>
                  </a:lnTo>
                  <a:lnTo>
                    <a:pt x="4" y="85"/>
                  </a:lnTo>
                  <a:lnTo>
                    <a:pt x="7" y="87"/>
                  </a:lnTo>
                  <a:lnTo>
                    <a:pt x="11" y="87"/>
                  </a:lnTo>
                  <a:lnTo>
                    <a:pt x="14" y="87"/>
                  </a:lnTo>
                  <a:lnTo>
                    <a:pt x="18" y="85"/>
                  </a:lnTo>
                  <a:lnTo>
                    <a:pt x="45" y="58"/>
                  </a:lnTo>
                  <a:lnTo>
                    <a:pt x="72" y="85"/>
                  </a:lnTo>
                  <a:lnTo>
                    <a:pt x="72" y="85"/>
                  </a:lnTo>
                  <a:lnTo>
                    <a:pt x="76" y="87"/>
                  </a:lnTo>
                  <a:lnTo>
                    <a:pt x="78" y="87"/>
                  </a:lnTo>
                  <a:lnTo>
                    <a:pt x="78" y="87"/>
                  </a:lnTo>
                  <a:lnTo>
                    <a:pt x="82" y="87"/>
                  </a:lnTo>
                  <a:lnTo>
                    <a:pt x="85" y="85"/>
                  </a:lnTo>
                  <a:lnTo>
                    <a:pt x="85" y="85"/>
                  </a:lnTo>
                  <a:lnTo>
                    <a:pt x="88" y="82"/>
                  </a:lnTo>
                  <a:lnTo>
                    <a:pt x="89" y="78"/>
                  </a:lnTo>
                  <a:lnTo>
                    <a:pt x="88" y="74"/>
                  </a:lnTo>
                  <a:lnTo>
                    <a:pt x="85" y="71"/>
                  </a:lnTo>
                  <a:lnTo>
                    <a:pt x="58" y="44"/>
                  </a:lnTo>
                  <a:lnTo>
                    <a:pt x="85" y="17"/>
                  </a:lnTo>
                  <a:lnTo>
                    <a:pt x="85" y="17"/>
                  </a:lnTo>
                  <a:lnTo>
                    <a:pt x="88" y="13"/>
                  </a:lnTo>
                  <a:lnTo>
                    <a:pt x="89" y="9"/>
                  </a:lnTo>
                  <a:lnTo>
                    <a:pt x="88" y="7"/>
                  </a:lnTo>
                  <a:lnTo>
                    <a:pt x="85" y="3"/>
                  </a:lnTo>
                  <a:lnTo>
                    <a:pt x="85" y="3"/>
                  </a:lnTo>
                  <a:lnTo>
                    <a:pt x="82" y="1"/>
                  </a:lnTo>
                  <a:lnTo>
                    <a:pt x="78" y="0"/>
                  </a:lnTo>
                  <a:lnTo>
                    <a:pt x="78" y="0"/>
                  </a:lnTo>
                  <a:lnTo>
                    <a:pt x="78" y="0"/>
                  </a:lnTo>
                  <a:lnTo>
                    <a:pt x="76" y="1"/>
                  </a:lnTo>
                  <a:lnTo>
                    <a:pt x="72" y="3"/>
                  </a:lnTo>
                  <a:lnTo>
                    <a:pt x="45" y="31"/>
                  </a:lnTo>
                  <a:lnTo>
                    <a:pt x="18" y="3"/>
                  </a:lnTo>
                  <a:lnTo>
                    <a:pt x="18" y="3"/>
                  </a:lnTo>
                  <a:lnTo>
                    <a:pt x="14" y="1"/>
                  </a:lnTo>
                  <a:lnTo>
                    <a:pt x="11" y="0"/>
                  </a:lnTo>
                  <a:lnTo>
                    <a:pt x="7" y="1"/>
                  </a:lnTo>
                  <a:lnTo>
                    <a:pt x="4" y="3"/>
                  </a:lnTo>
                  <a:lnTo>
                    <a:pt x="4" y="3"/>
                  </a:lnTo>
                  <a:lnTo>
                    <a:pt x="2" y="7"/>
                  </a:lnTo>
                  <a:lnTo>
                    <a:pt x="0" y="9"/>
                  </a:lnTo>
                  <a:lnTo>
                    <a:pt x="0" y="9"/>
                  </a:lnTo>
                  <a:lnTo>
                    <a:pt x="2" y="13"/>
                  </a:lnTo>
                  <a:lnTo>
                    <a:pt x="4" y="17"/>
                  </a:lnTo>
                  <a:lnTo>
                    <a:pt x="31" y="44"/>
                  </a:lnTo>
                  <a:lnTo>
                    <a:pt x="4" y="71"/>
                  </a:lnTo>
                  <a:lnTo>
                    <a:pt x="4" y="71"/>
                  </a:lnTo>
                  <a:lnTo>
                    <a:pt x="2" y="74"/>
                  </a:lnTo>
                  <a:lnTo>
                    <a:pt x="0" y="78"/>
                  </a:lnTo>
                  <a:lnTo>
                    <a:pt x="0"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 name="Freeform 284">
              <a:extLst>
                <a:ext uri="{FF2B5EF4-FFF2-40B4-BE49-F238E27FC236}">
                  <a16:creationId xmlns:a16="http://schemas.microsoft.com/office/drawing/2014/main" id="{487331FE-B9B9-425E-B28A-C3999F05D64D}"/>
                </a:ext>
              </a:extLst>
            </p:cNvPr>
            <p:cNvSpPr>
              <a:spLocks/>
            </p:cNvSpPr>
            <p:nvPr/>
          </p:nvSpPr>
          <p:spPr bwMode="auto">
            <a:xfrm>
              <a:off x="3487738" y="3621088"/>
              <a:ext cx="68263" cy="69850"/>
            </a:xfrm>
            <a:custGeom>
              <a:avLst/>
              <a:gdLst>
                <a:gd name="T0" fmla="*/ 57 w 87"/>
                <a:gd name="T1" fmla="*/ 43 h 87"/>
                <a:gd name="T2" fmla="*/ 85 w 87"/>
                <a:gd name="T3" fmla="*/ 16 h 87"/>
                <a:gd name="T4" fmla="*/ 85 w 87"/>
                <a:gd name="T5" fmla="*/ 16 h 87"/>
                <a:gd name="T6" fmla="*/ 86 w 87"/>
                <a:gd name="T7" fmla="*/ 12 h 87"/>
                <a:gd name="T8" fmla="*/ 87 w 87"/>
                <a:gd name="T9" fmla="*/ 9 h 87"/>
                <a:gd name="T10" fmla="*/ 87 w 87"/>
                <a:gd name="T11" fmla="*/ 9 h 87"/>
                <a:gd name="T12" fmla="*/ 86 w 87"/>
                <a:gd name="T13" fmla="*/ 5 h 87"/>
                <a:gd name="T14" fmla="*/ 85 w 87"/>
                <a:gd name="T15" fmla="*/ 3 h 87"/>
                <a:gd name="T16" fmla="*/ 85 w 87"/>
                <a:gd name="T17" fmla="*/ 3 h 87"/>
                <a:gd name="T18" fmla="*/ 81 w 87"/>
                <a:gd name="T19" fmla="*/ 0 h 87"/>
                <a:gd name="T20" fmla="*/ 78 w 87"/>
                <a:gd name="T21" fmla="*/ 0 h 87"/>
                <a:gd name="T22" fmla="*/ 74 w 87"/>
                <a:gd name="T23" fmla="*/ 0 h 87"/>
                <a:gd name="T24" fmla="*/ 71 w 87"/>
                <a:gd name="T25" fmla="*/ 3 h 87"/>
                <a:gd name="T26" fmla="*/ 43 w 87"/>
                <a:gd name="T27" fmla="*/ 29 h 87"/>
                <a:gd name="T28" fmla="*/ 16 w 87"/>
                <a:gd name="T29" fmla="*/ 3 h 87"/>
                <a:gd name="T30" fmla="*/ 16 w 87"/>
                <a:gd name="T31" fmla="*/ 3 h 87"/>
                <a:gd name="T32" fmla="*/ 14 w 87"/>
                <a:gd name="T33" fmla="*/ 0 h 87"/>
                <a:gd name="T34" fmla="*/ 10 w 87"/>
                <a:gd name="T35" fmla="*/ 0 h 87"/>
                <a:gd name="T36" fmla="*/ 6 w 87"/>
                <a:gd name="T37" fmla="*/ 0 h 87"/>
                <a:gd name="T38" fmla="*/ 3 w 87"/>
                <a:gd name="T39" fmla="*/ 3 h 87"/>
                <a:gd name="T40" fmla="*/ 3 w 87"/>
                <a:gd name="T41" fmla="*/ 3 h 87"/>
                <a:gd name="T42" fmla="*/ 0 w 87"/>
                <a:gd name="T43" fmla="*/ 5 h 87"/>
                <a:gd name="T44" fmla="*/ 0 w 87"/>
                <a:gd name="T45" fmla="*/ 9 h 87"/>
                <a:gd name="T46" fmla="*/ 0 w 87"/>
                <a:gd name="T47" fmla="*/ 12 h 87"/>
                <a:gd name="T48" fmla="*/ 3 w 87"/>
                <a:gd name="T49" fmla="*/ 16 h 87"/>
                <a:gd name="T50" fmla="*/ 30 w 87"/>
                <a:gd name="T51" fmla="*/ 43 h 87"/>
                <a:gd name="T52" fmla="*/ 3 w 87"/>
                <a:gd name="T53" fmla="*/ 70 h 87"/>
                <a:gd name="T54" fmla="*/ 3 w 87"/>
                <a:gd name="T55" fmla="*/ 70 h 87"/>
                <a:gd name="T56" fmla="*/ 0 w 87"/>
                <a:gd name="T57" fmla="*/ 74 h 87"/>
                <a:gd name="T58" fmla="*/ 0 w 87"/>
                <a:gd name="T59" fmla="*/ 76 h 87"/>
                <a:gd name="T60" fmla="*/ 0 w 87"/>
                <a:gd name="T61" fmla="*/ 80 h 87"/>
                <a:gd name="T62" fmla="*/ 3 w 87"/>
                <a:gd name="T63" fmla="*/ 84 h 87"/>
                <a:gd name="T64" fmla="*/ 3 w 87"/>
                <a:gd name="T65" fmla="*/ 84 h 87"/>
                <a:gd name="T66" fmla="*/ 6 w 87"/>
                <a:gd name="T67" fmla="*/ 86 h 87"/>
                <a:gd name="T68" fmla="*/ 10 w 87"/>
                <a:gd name="T69" fmla="*/ 87 h 87"/>
                <a:gd name="T70" fmla="*/ 14 w 87"/>
                <a:gd name="T71" fmla="*/ 86 h 87"/>
                <a:gd name="T72" fmla="*/ 16 w 87"/>
                <a:gd name="T73" fmla="*/ 84 h 87"/>
                <a:gd name="T74" fmla="*/ 43 w 87"/>
                <a:gd name="T75" fmla="*/ 56 h 87"/>
                <a:gd name="T76" fmla="*/ 71 w 87"/>
                <a:gd name="T77" fmla="*/ 84 h 87"/>
                <a:gd name="T78" fmla="*/ 71 w 87"/>
                <a:gd name="T79" fmla="*/ 84 h 87"/>
                <a:gd name="T80" fmla="*/ 74 w 87"/>
                <a:gd name="T81" fmla="*/ 86 h 87"/>
                <a:gd name="T82" fmla="*/ 78 w 87"/>
                <a:gd name="T83" fmla="*/ 87 h 87"/>
                <a:gd name="T84" fmla="*/ 78 w 87"/>
                <a:gd name="T85" fmla="*/ 87 h 87"/>
                <a:gd name="T86" fmla="*/ 81 w 87"/>
                <a:gd name="T87" fmla="*/ 86 h 87"/>
                <a:gd name="T88" fmla="*/ 85 w 87"/>
                <a:gd name="T89" fmla="*/ 84 h 87"/>
                <a:gd name="T90" fmla="*/ 85 w 87"/>
                <a:gd name="T91" fmla="*/ 84 h 87"/>
                <a:gd name="T92" fmla="*/ 86 w 87"/>
                <a:gd name="T93" fmla="*/ 80 h 87"/>
                <a:gd name="T94" fmla="*/ 87 w 87"/>
                <a:gd name="T95" fmla="*/ 76 h 87"/>
                <a:gd name="T96" fmla="*/ 87 w 87"/>
                <a:gd name="T97" fmla="*/ 76 h 87"/>
                <a:gd name="T98" fmla="*/ 86 w 87"/>
                <a:gd name="T99" fmla="*/ 74 h 87"/>
                <a:gd name="T100" fmla="*/ 85 w 87"/>
                <a:gd name="T101" fmla="*/ 70 h 87"/>
                <a:gd name="T102" fmla="*/ 57 w 87"/>
                <a:gd name="T103" fmla="*/ 43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7" h="87">
                  <a:moveTo>
                    <a:pt x="57" y="43"/>
                  </a:moveTo>
                  <a:lnTo>
                    <a:pt x="85" y="16"/>
                  </a:lnTo>
                  <a:lnTo>
                    <a:pt x="85" y="16"/>
                  </a:lnTo>
                  <a:lnTo>
                    <a:pt x="86" y="12"/>
                  </a:lnTo>
                  <a:lnTo>
                    <a:pt x="87" y="9"/>
                  </a:lnTo>
                  <a:lnTo>
                    <a:pt x="87" y="9"/>
                  </a:lnTo>
                  <a:lnTo>
                    <a:pt x="86" y="5"/>
                  </a:lnTo>
                  <a:lnTo>
                    <a:pt x="85" y="3"/>
                  </a:lnTo>
                  <a:lnTo>
                    <a:pt x="85" y="3"/>
                  </a:lnTo>
                  <a:lnTo>
                    <a:pt x="81" y="0"/>
                  </a:lnTo>
                  <a:lnTo>
                    <a:pt x="78" y="0"/>
                  </a:lnTo>
                  <a:lnTo>
                    <a:pt x="74" y="0"/>
                  </a:lnTo>
                  <a:lnTo>
                    <a:pt x="71" y="3"/>
                  </a:lnTo>
                  <a:lnTo>
                    <a:pt x="43" y="29"/>
                  </a:lnTo>
                  <a:lnTo>
                    <a:pt x="16" y="3"/>
                  </a:lnTo>
                  <a:lnTo>
                    <a:pt x="16" y="3"/>
                  </a:lnTo>
                  <a:lnTo>
                    <a:pt x="14" y="0"/>
                  </a:lnTo>
                  <a:lnTo>
                    <a:pt x="10" y="0"/>
                  </a:lnTo>
                  <a:lnTo>
                    <a:pt x="6" y="0"/>
                  </a:lnTo>
                  <a:lnTo>
                    <a:pt x="3" y="3"/>
                  </a:lnTo>
                  <a:lnTo>
                    <a:pt x="3" y="3"/>
                  </a:lnTo>
                  <a:lnTo>
                    <a:pt x="0" y="5"/>
                  </a:lnTo>
                  <a:lnTo>
                    <a:pt x="0" y="9"/>
                  </a:lnTo>
                  <a:lnTo>
                    <a:pt x="0" y="12"/>
                  </a:lnTo>
                  <a:lnTo>
                    <a:pt x="3" y="16"/>
                  </a:lnTo>
                  <a:lnTo>
                    <a:pt x="30" y="43"/>
                  </a:lnTo>
                  <a:lnTo>
                    <a:pt x="3" y="70"/>
                  </a:lnTo>
                  <a:lnTo>
                    <a:pt x="3" y="70"/>
                  </a:lnTo>
                  <a:lnTo>
                    <a:pt x="0" y="74"/>
                  </a:lnTo>
                  <a:lnTo>
                    <a:pt x="0" y="76"/>
                  </a:lnTo>
                  <a:lnTo>
                    <a:pt x="0" y="80"/>
                  </a:lnTo>
                  <a:lnTo>
                    <a:pt x="3" y="84"/>
                  </a:lnTo>
                  <a:lnTo>
                    <a:pt x="3" y="84"/>
                  </a:lnTo>
                  <a:lnTo>
                    <a:pt x="6" y="86"/>
                  </a:lnTo>
                  <a:lnTo>
                    <a:pt x="10" y="87"/>
                  </a:lnTo>
                  <a:lnTo>
                    <a:pt x="14" y="86"/>
                  </a:lnTo>
                  <a:lnTo>
                    <a:pt x="16" y="84"/>
                  </a:lnTo>
                  <a:lnTo>
                    <a:pt x="43" y="56"/>
                  </a:lnTo>
                  <a:lnTo>
                    <a:pt x="71" y="84"/>
                  </a:lnTo>
                  <a:lnTo>
                    <a:pt x="71" y="84"/>
                  </a:lnTo>
                  <a:lnTo>
                    <a:pt x="74" y="86"/>
                  </a:lnTo>
                  <a:lnTo>
                    <a:pt x="78" y="87"/>
                  </a:lnTo>
                  <a:lnTo>
                    <a:pt x="78" y="87"/>
                  </a:lnTo>
                  <a:lnTo>
                    <a:pt x="81" y="86"/>
                  </a:lnTo>
                  <a:lnTo>
                    <a:pt x="85" y="84"/>
                  </a:lnTo>
                  <a:lnTo>
                    <a:pt x="85" y="84"/>
                  </a:lnTo>
                  <a:lnTo>
                    <a:pt x="86" y="80"/>
                  </a:lnTo>
                  <a:lnTo>
                    <a:pt x="87" y="76"/>
                  </a:lnTo>
                  <a:lnTo>
                    <a:pt x="87" y="76"/>
                  </a:lnTo>
                  <a:lnTo>
                    <a:pt x="86" y="74"/>
                  </a:lnTo>
                  <a:lnTo>
                    <a:pt x="85" y="70"/>
                  </a:lnTo>
                  <a:lnTo>
                    <a:pt x="57"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 name="Freeform 285">
              <a:extLst>
                <a:ext uri="{FF2B5EF4-FFF2-40B4-BE49-F238E27FC236}">
                  <a16:creationId xmlns:a16="http://schemas.microsoft.com/office/drawing/2014/main" id="{483D7CD4-89EB-4634-AB2F-FDC7AEAA5BB5}"/>
                </a:ext>
              </a:extLst>
            </p:cNvPr>
            <p:cNvSpPr>
              <a:spLocks noEditPoints="1"/>
            </p:cNvSpPr>
            <p:nvPr/>
          </p:nvSpPr>
          <p:spPr bwMode="auto">
            <a:xfrm>
              <a:off x="3351213" y="3503613"/>
              <a:ext cx="195263" cy="195263"/>
            </a:xfrm>
            <a:custGeom>
              <a:avLst/>
              <a:gdLst>
                <a:gd name="T0" fmla="*/ 227 w 245"/>
                <a:gd name="T1" fmla="*/ 78 h 246"/>
                <a:gd name="T2" fmla="*/ 228 w 245"/>
                <a:gd name="T3" fmla="*/ 81 h 246"/>
                <a:gd name="T4" fmla="*/ 232 w 245"/>
                <a:gd name="T5" fmla="*/ 86 h 246"/>
                <a:gd name="T6" fmla="*/ 236 w 245"/>
                <a:gd name="T7" fmla="*/ 87 h 246"/>
                <a:gd name="T8" fmla="*/ 243 w 245"/>
                <a:gd name="T9" fmla="*/ 85 h 246"/>
                <a:gd name="T10" fmla="*/ 245 w 245"/>
                <a:gd name="T11" fmla="*/ 78 h 246"/>
                <a:gd name="T12" fmla="*/ 245 w 245"/>
                <a:gd name="T13" fmla="*/ 10 h 246"/>
                <a:gd name="T14" fmla="*/ 243 w 245"/>
                <a:gd name="T15" fmla="*/ 3 h 246"/>
                <a:gd name="T16" fmla="*/ 236 w 245"/>
                <a:gd name="T17" fmla="*/ 0 h 246"/>
                <a:gd name="T18" fmla="*/ 167 w 245"/>
                <a:gd name="T19" fmla="*/ 0 h 246"/>
                <a:gd name="T20" fmla="*/ 161 w 245"/>
                <a:gd name="T21" fmla="*/ 3 h 246"/>
                <a:gd name="T22" fmla="*/ 158 w 245"/>
                <a:gd name="T23" fmla="*/ 10 h 246"/>
                <a:gd name="T24" fmla="*/ 159 w 245"/>
                <a:gd name="T25" fmla="*/ 14 h 246"/>
                <a:gd name="T26" fmla="*/ 165 w 245"/>
                <a:gd name="T27" fmla="*/ 19 h 246"/>
                <a:gd name="T28" fmla="*/ 213 w 245"/>
                <a:gd name="T29" fmla="*/ 19 h 246"/>
                <a:gd name="T30" fmla="*/ 86 w 245"/>
                <a:gd name="T31" fmla="*/ 145 h 246"/>
                <a:gd name="T32" fmla="*/ 71 w 245"/>
                <a:gd name="T33" fmla="*/ 138 h 246"/>
                <a:gd name="T34" fmla="*/ 55 w 245"/>
                <a:gd name="T35" fmla="*/ 136 h 246"/>
                <a:gd name="T36" fmla="*/ 44 w 245"/>
                <a:gd name="T37" fmla="*/ 137 h 246"/>
                <a:gd name="T38" fmla="*/ 24 w 245"/>
                <a:gd name="T39" fmla="*/ 145 h 246"/>
                <a:gd name="T40" fmla="*/ 9 w 245"/>
                <a:gd name="T41" fmla="*/ 160 h 246"/>
                <a:gd name="T42" fmla="*/ 1 w 245"/>
                <a:gd name="T43" fmla="*/ 180 h 246"/>
                <a:gd name="T44" fmla="*/ 0 w 245"/>
                <a:gd name="T45" fmla="*/ 191 h 246"/>
                <a:gd name="T46" fmla="*/ 4 w 245"/>
                <a:gd name="T47" fmla="*/ 212 h 246"/>
                <a:gd name="T48" fmla="*/ 16 w 245"/>
                <a:gd name="T49" fmla="*/ 230 h 246"/>
                <a:gd name="T50" fmla="*/ 33 w 245"/>
                <a:gd name="T51" fmla="*/ 242 h 246"/>
                <a:gd name="T52" fmla="*/ 55 w 245"/>
                <a:gd name="T53" fmla="*/ 246 h 246"/>
                <a:gd name="T54" fmla="*/ 65 w 245"/>
                <a:gd name="T55" fmla="*/ 245 h 246"/>
                <a:gd name="T56" fmla="*/ 86 w 245"/>
                <a:gd name="T57" fmla="*/ 236 h 246"/>
                <a:gd name="T58" fmla="*/ 100 w 245"/>
                <a:gd name="T59" fmla="*/ 222 h 246"/>
                <a:gd name="T60" fmla="*/ 108 w 245"/>
                <a:gd name="T61" fmla="*/ 202 h 246"/>
                <a:gd name="T62" fmla="*/ 110 w 245"/>
                <a:gd name="T63" fmla="*/ 191 h 246"/>
                <a:gd name="T64" fmla="*/ 107 w 245"/>
                <a:gd name="T65" fmla="*/ 175 h 246"/>
                <a:gd name="T66" fmla="*/ 100 w 245"/>
                <a:gd name="T67" fmla="*/ 160 h 246"/>
                <a:gd name="T68" fmla="*/ 91 w 245"/>
                <a:gd name="T69" fmla="*/ 191 h 246"/>
                <a:gd name="T70" fmla="*/ 90 w 245"/>
                <a:gd name="T71" fmla="*/ 198 h 246"/>
                <a:gd name="T72" fmla="*/ 84 w 245"/>
                <a:gd name="T73" fmla="*/ 211 h 246"/>
                <a:gd name="T74" fmla="*/ 75 w 245"/>
                <a:gd name="T75" fmla="*/ 220 h 246"/>
                <a:gd name="T76" fmla="*/ 61 w 245"/>
                <a:gd name="T77" fmla="*/ 226 h 246"/>
                <a:gd name="T78" fmla="*/ 55 w 245"/>
                <a:gd name="T79" fmla="*/ 227 h 246"/>
                <a:gd name="T80" fmla="*/ 41 w 245"/>
                <a:gd name="T81" fmla="*/ 224 h 246"/>
                <a:gd name="T82" fmla="*/ 29 w 245"/>
                <a:gd name="T83" fmla="*/ 216 h 246"/>
                <a:gd name="T84" fmla="*/ 22 w 245"/>
                <a:gd name="T85" fmla="*/ 204 h 246"/>
                <a:gd name="T86" fmla="*/ 18 w 245"/>
                <a:gd name="T87" fmla="*/ 191 h 246"/>
                <a:gd name="T88" fmla="*/ 20 w 245"/>
                <a:gd name="T89" fmla="*/ 184 h 246"/>
                <a:gd name="T90" fmla="*/ 25 w 245"/>
                <a:gd name="T91" fmla="*/ 171 h 246"/>
                <a:gd name="T92" fmla="*/ 35 w 245"/>
                <a:gd name="T93" fmla="*/ 161 h 246"/>
                <a:gd name="T94" fmla="*/ 48 w 245"/>
                <a:gd name="T95" fmla="*/ 156 h 246"/>
                <a:gd name="T96" fmla="*/ 55 w 245"/>
                <a:gd name="T97" fmla="*/ 156 h 246"/>
                <a:gd name="T98" fmla="*/ 68 w 245"/>
                <a:gd name="T99" fmla="*/ 159 h 246"/>
                <a:gd name="T100" fmla="*/ 80 w 245"/>
                <a:gd name="T101" fmla="*/ 165 h 246"/>
                <a:gd name="T102" fmla="*/ 87 w 245"/>
                <a:gd name="T103" fmla="*/ 177 h 246"/>
                <a:gd name="T104" fmla="*/ 91 w 245"/>
                <a:gd name="T105" fmla="*/ 191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5" h="246">
                  <a:moveTo>
                    <a:pt x="227" y="32"/>
                  </a:moveTo>
                  <a:lnTo>
                    <a:pt x="227" y="78"/>
                  </a:lnTo>
                  <a:lnTo>
                    <a:pt x="227" y="78"/>
                  </a:lnTo>
                  <a:lnTo>
                    <a:pt x="228" y="81"/>
                  </a:lnTo>
                  <a:lnTo>
                    <a:pt x="229" y="85"/>
                  </a:lnTo>
                  <a:lnTo>
                    <a:pt x="232" y="86"/>
                  </a:lnTo>
                  <a:lnTo>
                    <a:pt x="236" y="87"/>
                  </a:lnTo>
                  <a:lnTo>
                    <a:pt x="236" y="87"/>
                  </a:lnTo>
                  <a:lnTo>
                    <a:pt x="240" y="86"/>
                  </a:lnTo>
                  <a:lnTo>
                    <a:pt x="243" y="85"/>
                  </a:lnTo>
                  <a:lnTo>
                    <a:pt x="245" y="81"/>
                  </a:lnTo>
                  <a:lnTo>
                    <a:pt x="245" y="78"/>
                  </a:lnTo>
                  <a:lnTo>
                    <a:pt x="245" y="10"/>
                  </a:lnTo>
                  <a:lnTo>
                    <a:pt x="245" y="10"/>
                  </a:lnTo>
                  <a:lnTo>
                    <a:pt x="245" y="5"/>
                  </a:lnTo>
                  <a:lnTo>
                    <a:pt x="243" y="3"/>
                  </a:lnTo>
                  <a:lnTo>
                    <a:pt x="240" y="0"/>
                  </a:lnTo>
                  <a:lnTo>
                    <a:pt x="236" y="0"/>
                  </a:lnTo>
                  <a:lnTo>
                    <a:pt x="167" y="0"/>
                  </a:lnTo>
                  <a:lnTo>
                    <a:pt x="167" y="0"/>
                  </a:lnTo>
                  <a:lnTo>
                    <a:pt x="165" y="0"/>
                  </a:lnTo>
                  <a:lnTo>
                    <a:pt x="161" y="3"/>
                  </a:lnTo>
                  <a:lnTo>
                    <a:pt x="159" y="5"/>
                  </a:lnTo>
                  <a:lnTo>
                    <a:pt x="158" y="10"/>
                  </a:lnTo>
                  <a:lnTo>
                    <a:pt x="158" y="10"/>
                  </a:lnTo>
                  <a:lnTo>
                    <a:pt x="159" y="14"/>
                  </a:lnTo>
                  <a:lnTo>
                    <a:pt x="161" y="16"/>
                  </a:lnTo>
                  <a:lnTo>
                    <a:pt x="165" y="19"/>
                  </a:lnTo>
                  <a:lnTo>
                    <a:pt x="167" y="19"/>
                  </a:lnTo>
                  <a:lnTo>
                    <a:pt x="213" y="19"/>
                  </a:lnTo>
                  <a:lnTo>
                    <a:pt x="86" y="145"/>
                  </a:lnTo>
                  <a:lnTo>
                    <a:pt x="86" y="145"/>
                  </a:lnTo>
                  <a:lnTo>
                    <a:pt x="79" y="141"/>
                  </a:lnTo>
                  <a:lnTo>
                    <a:pt x="71" y="138"/>
                  </a:lnTo>
                  <a:lnTo>
                    <a:pt x="63" y="137"/>
                  </a:lnTo>
                  <a:lnTo>
                    <a:pt x="55" y="136"/>
                  </a:lnTo>
                  <a:lnTo>
                    <a:pt x="55" y="136"/>
                  </a:lnTo>
                  <a:lnTo>
                    <a:pt x="44" y="137"/>
                  </a:lnTo>
                  <a:lnTo>
                    <a:pt x="33" y="140"/>
                  </a:lnTo>
                  <a:lnTo>
                    <a:pt x="24" y="145"/>
                  </a:lnTo>
                  <a:lnTo>
                    <a:pt x="16" y="152"/>
                  </a:lnTo>
                  <a:lnTo>
                    <a:pt x="9" y="160"/>
                  </a:lnTo>
                  <a:lnTo>
                    <a:pt x="4" y="169"/>
                  </a:lnTo>
                  <a:lnTo>
                    <a:pt x="1" y="180"/>
                  </a:lnTo>
                  <a:lnTo>
                    <a:pt x="0" y="191"/>
                  </a:lnTo>
                  <a:lnTo>
                    <a:pt x="0" y="191"/>
                  </a:lnTo>
                  <a:lnTo>
                    <a:pt x="1" y="202"/>
                  </a:lnTo>
                  <a:lnTo>
                    <a:pt x="4" y="212"/>
                  </a:lnTo>
                  <a:lnTo>
                    <a:pt x="9" y="222"/>
                  </a:lnTo>
                  <a:lnTo>
                    <a:pt x="16" y="230"/>
                  </a:lnTo>
                  <a:lnTo>
                    <a:pt x="24" y="236"/>
                  </a:lnTo>
                  <a:lnTo>
                    <a:pt x="33" y="242"/>
                  </a:lnTo>
                  <a:lnTo>
                    <a:pt x="44" y="245"/>
                  </a:lnTo>
                  <a:lnTo>
                    <a:pt x="55" y="246"/>
                  </a:lnTo>
                  <a:lnTo>
                    <a:pt x="55" y="246"/>
                  </a:lnTo>
                  <a:lnTo>
                    <a:pt x="65" y="245"/>
                  </a:lnTo>
                  <a:lnTo>
                    <a:pt x="76" y="242"/>
                  </a:lnTo>
                  <a:lnTo>
                    <a:pt x="86" y="236"/>
                  </a:lnTo>
                  <a:lnTo>
                    <a:pt x="94" y="230"/>
                  </a:lnTo>
                  <a:lnTo>
                    <a:pt x="100" y="222"/>
                  </a:lnTo>
                  <a:lnTo>
                    <a:pt x="106" y="212"/>
                  </a:lnTo>
                  <a:lnTo>
                    <a:pt x="108" y="202"/>
                  </a:lnTo>
                  <a:lnTo>
                    <a:pt x="110" y="191"/>
                  </a:lnTo>
                  <a:lnTo>
                    <a:pt x="110" y="191"/>
                  </a:lnTo>
                  <a:lnTo>
                    <a:pt x="110" y="183"/>
                  </a:lnTo>
                  <a:lnTo>
                    <a:pt x="107" y="175"/>
                  </a:lnTo>
                  <a:lnTo>
                    <a:pt x="104" y="167"/>
                  </a:lnTo>
                  <a:lnTo>
                    <a:pt x="100" y="160"/>
                  </a:lnTo>
                  <a:lnTo>
                    <a:pt x="227" y="32"/>
                  </a:lnTo>
                  <a:close/>
                  <a:moveTo>
                    <a:pt x="91" y="191"/>
                  </a:moveTo>
                  <a:lnTo>
                    <a:pt x="91" y="191"/>
                  </a:lnTo>
                  <a:lnTo>
                    <a:pt x="90" y="198"/>
                  </a:lnTo>
                  <a:lnTo>
                    <a:pt x="87" y="204"/>
                  </a:lnTo>
                  <a:lnTo>
                    <a:pt x="84" y="211"/>
                  </a:lnTo>
                  <a:lnTo>
                    <a:pt x="80" y="216"/>
                  </a:lnTo>
                  <a:lnTo>
                    <a:pt x="75" y="220"/>
                  </a:lnTo>
                  <a:lnTo>
                    <a:pt x="68" y="224"/>
                  </a:lnTo>
                  <a:lnTo>
                    <a:pt x="61" y="226"/>
                  </a:lnTo>
                  <a:lnTo>
                    <a:pt x="55" y="227"/>
                  </a:lnTo>
                  <a:lnTo>
                    <a:pt x="55" y="227"/>
                  </a:lnTo>
                  <a:lnTo>
                    <a:pt x="48" y="226"/>
                  </a:lnTo>
                  <a:lnTo>
                    <a:pt x="41" y="224"/>
                  </a:lnTo>
                  <a:lnTo>
                    <a:pt x="35" y="220"/>
                  </a:lnTo>
                  <a:lnTo>
                    <a:pt x="29" y="216"/>
                  </a:lnTo>
                  <a:lnTo>
                    <a:pt x="25" y="211"/>
                  </a:lnTo>
                  <a:lnTo>
                    <a:pt x="22" y="204"/>
                  </a:lnTo>
                  <a:lnTo>
                    <a:pt x="20" y="198"/>
                  </a:lnTo>
                  <a:lnTo>
                    <a:pt x="18" y="191"/>
                  </a:lnTo>
                  <a:lnTo>
                    <a:pt x="18" y="191"/>
                  </a:lnTo>
                  <a:lnTo>
                    <a:pt x="20" y="184"/>
                  </a:lnTo>
                  <a:lnTo>
                    <a:pt x="22" y="177"/>
                  </a:lnTo>
                  <a:lnTo>
                    <a:pt x="25" y="171"/>
                  </a:lnTo>
                  <a:lnTo>
                    <a:pt x="29" y="165"/>
                  </a:lnTo>
                  <a:lnTo>
                    <a:pt x="35" y="161"/>
                  </a:lnTo>
                  <a:lnTo>
                    <a:pt x="41" y="159"/>
                  </a:lnTo>
                  <a:lnTo>
                    <a:pt x="48" y="156"/>
                  </a:lnTo>
                  <a:lnTo>
                    <a:pt x="55" y="156"/>
                  </a:lnTo>
                  <a:lnTo>
                    <a:pt x="55" y="156"/>
                  </a:lnTo>
                  <a:lnTo>
                    <a:pt x="61" y="156"/>
                  </a:lnTo>
                  <a:lnTo>
                    <a:pt x="68" y="159"/>
                  </a:lnTo>
                  <a:lnTo>
                    <a:pt x="75" y="161"/>
                  </a:lnTo>
                  <a:lnTo>
                    <a:pt x="80" y="165"/>
                  </a:lnTo>
                  <a:lnTo>
                    <a:pt x="84" y="171"/>
                  </a:lnTo>
                  <a:lnTo>
                    <a:pt x="87" y="177"/>
                  </a:lnTo>
                  <a:lnTo>
                    <a:pt x="90" y="184"/>
                  </a:lnTo>
                  <a:lnTo>
                    <a:pt x="91" y="191"/>
                  </a:lnTo>
                  <a:lnTo>
                    <a:pt x="91"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cxnSp>
        <p:nvCxnSpPr>
          <p:cNvPr id="10" name="Straight Connector 9">
            <a:extLst>
              <a:ext uri="{FF2B5EF4-FFF2-40B4-BE49-F238E27FC236}">
                <a16:creationId xmlns:a16="http://schemas.microsoft.com/office/drawing/2014/main" id="{A957FAE9-8527-462C-A39B-0AAFB1F04656}"/>
              </a:ext>
            </a:extLst>
          </p:cNvPr>
          <p:cNvCxnSpPr/>
          <p:nvPr/>
        </p:nvCxnSpPr>
        <p:spPr>
          <a:xfrm>
            <a:off x="4932380" y="2019142"/>
            <a:ext cx="1915377" cy="0"/>
          </a:xfrm>
          <a:prstGeom prst="line">
            <a:avLst/>
          </a:prstGeom>
          <a:ln w="1143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8E89902-2738-4CF1-BCEB-892DCA30F233}"/>
              </a:ext>
            </a:extLst>
          </p:cNvPr>
          <p:cNvCxnSpPr/>
          <p:nvPr/>
        </p:nvCxnSpPr>
        <p:spPr>
          <a:xfrm>
            <a:off x="1607821" y="3206797"/>
            <a:ext cx="3393210" cy="0"/>
          </a:xfrm>
          <a:prstGeom prst="line">
            <a:avLst/>
          </a:prstGeom>
          <a:ln w="1143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311D12A-1F48-4623-A44A-20C74F159758}"/>
              </a:ext>
            </a:extLst>
          </p:cNvPr>
          <p:cNvCxnSpPr/>
          <p:nvPr/>
        </p:nvCxnSpPr>
        <p:spPr>
          <a:xfrm>
            <a:off x="2386975" y="4146453"/>
            <a:ext cx="2804305"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88AD054-F964-4E0E-9DFB-1CBA93A7F64E}"/>
              </a:ext>
            </a:extLst>
          </p:cNvPr>
          <p:cNvCxnSpPr/>
          <p:nvPr/>
        </p:nvCxnSpPr>
        <p:spPr>
          <a:xfrm>
            <a:off x="1608952" y="5083046"/>
            <a:ext cx="1902047" cy="0"/>
          </a:xfrm>
          <a:prstGeom prst="line">
            <a:avLst/>
          </a:prstGeom>
          <a:ln w="1143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530582F8-5140-466F-A061-13D0C87D0D89}"/>
              </a:ext>
            </a:extLst>
          </p:cNvPr>
          <p:cNvSpPr txBox="1"/>
          <p:nvPr/>
        </p:nvSpPr>
        <p:spPr>
          <a:xfrm>
            <a:off x="1524034" y="1758302"/>
            <a:ext cx="9995448" cy="46474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360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mn-cs"/>
              </a:rPr>
              <a:t>We have the right capabilities to deliver end-to-end </a:t>
            </a:r>
            <a:r>
              <a:rPr kumimoji="0" lang="en-US" sz="1600" b="0" i="0" u="none" strike="noStrike" kern="1200" cap="none" spc="0" normalizeH="0" baseline="0" noProof="0" dirty="0">
                <a:ln>
                  <a:noFill/>
                </a:ln>
                <a:solidFill>
                  <a:srgbClr val="000000"/>
                </a:solidFill>
                <a:effectLst/>
                <a:uLnTx/>
                <a:uFillTx/>
                <a:latin typeface="Open Sans"/>
                <a:ea typeface="+mn-ea"/>
                <a:cs typeface="+mn-cs"/>
              </a:rPr>
              <a:t>– </a:t>
            </a:r>
            <a:r>
              <a:rPr kumimoji="0" lang="en-US" sz="1600" b="1" i="0" u="none" strike="noStrike" kern="1200" cap="none" spc="0" normalizeH="0" baseline="0" noProof="0" dirty="0">
                <a:ln>
                  <a:noFill/>
                </a:ln>
                <a:solidFill>
                  <a:srgbClr val="000000"/>
                </a:solidFill>
                <a:effectLst/>
                <a:uLnTx/>
                <a:uFillTx/>
                <a:latin typeface="Open Sans"/>
                <a:ea typeface="+mn-ea"/>
                <a:cs typeface="+mn-cs"/>
              </a:rPr>
              <a:t> </a:t>
            </a:r>
            <a:r>
              <a:rPr kumimoji="0" lang="en-US" sz="1600" b="0" i="1" u="none" strike="noStrike" kern="1200" cap="none" spc="0" normalizeH="0" baseline="0" noProof="0" dirty="0">
                <a:ln>
                  <a:noFill/>
                </a:ln>
                <a:solidFill>
                  <a:srgbClr val="000000"/>
                </a:solidFill>
                <a:effectLst/>
                <a:uLnTx/>
                <a:uFillTx/>
                <a:latin typeface="Open Sans"/>
                <a:ea typeface="+mn-ea"/>
                <a:cs typeface="+mn-cs"/>
              </a:rPr>
              <a:t>we have the expertise to drive this project from strategy to execution, with deep experience delivering data strategy and analytics, along with the capabilities to build the technology to drive success</a:t>
            </a:r>
            <a:endParaRPr kumimoji="0" lang="en-US" sz="1600" b="1"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l" defTabSz="914400" rtl="0" eaLnBrk="1" fontAlgn="auto" latinLnBrk="0" hangingPunct="1">
              <a:lnSpc>
                <a:spcPct val="100000"/>
              </a:lnSpc>
              <a:spcBef>
                <a:spcPts val="360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mn-cs"/>
              </a:rPr>
              <a:t>We believe in a tailored approach </a:t>
            </a:r>
            <a:r>
              <a:rPr kumimoji="0" lang="en-US" sz="1600" b="0" i="0" u="none" strike="noStrike" kern="1200" cap="none" spc="0" normalizeH="0" baseline="0" noProof="0" dirty="0">
                <a:ln>
                  <a:noFill/>
                </a:ln>
                <a:solidFill>
                  <a:srgbClr val="000000"/>
                </a:solidFill>
                <a:effectLst/>
                <a:uLnTx/>
                <a:uFillTx/>
                <a:latin typeface="Open Sans"/>
                <a:ea typeface="+mn-ea"/>
                <a:cs typeface="+mn-cs"/>
              </a:rPr>
              <a:t>– </a:t>
            </a:r>
            <a:r>
              <a:rPr kumimoji="0" lang="en-US" sz="1600" b="0" i="1" u="none" strike="noStrike" kern="1200" cap="none" spc="0" normalizeH="0" baseline="0" noProof="0" dirty="0">
                <a:ln>
                  <a:noFill/>
                </a:ln>
                <a:solidFill>
                  <a:srgbClr val="000000"/>
                </a:solidFill>
                <a:effectLst/>
                <a:uLnTx/>
                <a:uFillTx/>
                <a:latin typeface="Open Sans"/>
                <a:ea typeface="+mn-ea"/>
                <a:cs typeface="+mn-cs"/>
              </a:rPr>
              <a:t>we have alliances with best-in-class partners to ensure you can build a modular solution tailored to your needs</a:t>
            </a:r>
          </a:p>
          <a:p>
            <a:pPr marL="0" marR="0" lvl="0" indent="0" algn="l" defTabSz="914400" rtl="0" eaLnBrk="1" fontAlgn="auto" latinLnBrk="0" hangingPunct="1">
              <a:lnSpc>
                <a:spcPct val="100000"/>
              </a:lnSpc>
              <a:spcBef>
                <a:spcPts val="360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mn-cs"/>
              </a:rPr>
              <a:t>We can accelerate value realization –</a:t>
            </a:r>
            <a:r>
              <a:rPr kumimoji="0" lang="en-US" sz="1600" b="1" i="1" u="none" strike="noStrike" kern="1200" cap="none" spc="0" normalizeH="0" baseline="0" noProof="0" dirty="0">
                <a:ln>
                  <a:noFill/>
                </a:ln>
                <a:solidFill>
                  <a:srgbClr val="000000"/>
                </a:solidFill>
                <a:effectLst/>
                <a:uLnTx/>
                <a:uFillTx/>
                <a:latin typeface="Open Sans"/>
                <a:ea typeface="+mn-ea"/>
                <a:cs typeface="+mn-cs"/>
              </a:rPr>
              <a:t> </a:t>
            </a:r>
            <a:r>
              <a:rPr kumimoji="0" lang="en-US" sz="1600" b="0" i="1" u="none" strike="noStrike" kern="1200" cap="none" spc="0" normalizeH="0" baseline="0" noProof="0" dirty="0">
                <a:ln>
                  <a:noFill/>
                </a:ln>
                <a:solidFill>
                  <a:srgbClr val="000000"/>
                </a:solidFill>
                <a:effectLst/>
                <a:uLnTx/>
                <a:uFillTx/>
                <a:latin typeface="Open Sans"/>
                <a:ea typeface="+mn-ea"/>
                <a:cs typeface="+mn-cs"/>
              </a:rPr>
              <a:t>we know CPG and have the accelerators to drive speed to market and utilize an agile approach to drive value realization early and iterate</a:t>
            </a:r>
          </a:p>
          <a:p>
            <a:pPr marL="0" marR="0" lvl="0" indent="0" algn="l" defTabSz="914400" rtl="0" eaLnBrk="1" fontAlgn="auto" latinLnBrk="0" hangingPunct="1">
              <a:lnSpc>
                <a:spcPct val="100000"/>
              </a:lnSpc>
              <a:spcBef>
                <a:spcPts val="360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mn-cs"/>
              </a:rPr>
              <a:t>We know </a:t>
            </a:r>
            <a:r>
              <a:rPr lang="en-US" sz="1600" b="1" dirty="0">
                <a:solidFill>
                  <a:srgbClr val="000000"/>
                </a:solidFill>
                <a:latin typeface="Open Sans"/>
              </a:rPr>
              <a:t>your company</a:t>
            </a:r>
            <a:r>
              <a:rPr kumimoji="0" lang="en-US" sz="1600" b="0" i="0" u="none" strike="noStrike" kern="1200" cap="none" spc="0" normalizeH="0" baseline="0" noProof="0" dirty="0">
                <a:ln>
                  <a:noFill/>
                </a:ln>
                <a:solidFill>
                  <a:srgbClr val="000000"/>
                </a:solidFill>
                <a:effectLst/>
                <a:uLnTx/>
                <a:uFillTx/>
                <a:latin typeface="Open Sans"/>
                <a:ea typeface="+mn-ea"/>
                <a:cs typeface="+mn-cs"/>
              </a:rPr>
              <a:t>– </a:t>
            </a:r>
            <a:r>
              <a:rPr kumimoji="0" lang="en-US" sz="1600" b="0" i="1" u="none" strike="noStrike" kern="1200" cap="none" spc="0" normalizeH="0" baseline="0" noProof="0" dirty="0">
                <a:ln>
                  <a:noFill/>
                </a:ln>
                <a:solidFill>
                  <a:srgbClr val="000000"/>
                </a:solidFill>
                <a:effectLst/>
                <a:uLnTx/>
                <a:uFillTx/>
                <a:latin typeface="Open Sans"/>
                <a:ea typeface="+mn-ea"/>
                <a:cs typeface="+mn-cs"/>
              </a:rPr>
              <a:t>our work together has spanned functions and geography from innovation to the integration of XYZ &amp; ZYX to the transition of commercial leaders, enabling cross-functional integration that goes beyond one-off use cases to increase impact </a:t>
            </a:r>
            <a:endParaRPr kumimoji="0" lang="en-US" sz="1600" b="1"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l" defTabSz="914400" rtl="0" eaLnBrk="1" fontAlgn="auto" latinLnBrk="0" hangingPunct="1">
              <a:lnSpc>
                <a:spcPct val="100000"/>
              </a:lnSpc>
              <a:spcBef>
                <a:spcPts val="3600"/>
              </a:spcBef>
              <a:spcAft>
                <a:spcPts val="0"/>
              </a:spcAft>
              <a:buClrTx/>
              <a:buSzTx/>
              <a:buFontTx/>
              <a:buNone/>
              <a:tabLst/>
              <a:defRPr/>
            </a:pPr>
            <a:endParaRPr kumimoji="0" lang="en-US" sz="1600" b="0" i="1" u="none" strike="noStrike" kern="1200" cap="none" spc="0" normalizeH="0" baseline="0" noProof="0" dirty="0">
              <a:ln>
                <a:noFill/>
              </a:ln>
              <a:solidFill>
                <a:srgbClr val="000000"/>
              </a:solidFill>
              <a:effectLst/>
              <a:uLnTx/>
              <a:uFillTx/>
              <a:latin typeface="Open Sans"/>
              <a:ea typeface="+mn-ea"/>
              <a:cs typeface="+mn-cs"/>
            </a:endParaRPr>
          </a:p>
        </p:txBody>
      </p:sp>
      <p:grpSp>
        <p:nvGrpSpPr>
          <p:cNvPr id="15" name="Group 14">
            <a:extLst>
              <a:ext uri="{FF2B5EF4-FFF2-40B4-BE49-F238E27FC236}">
                <a16:creationId xmlns:a16="http://schemas.microsoft.com/office/drawing/2014/main" id="{63C8CEB2-98E1-4CA6-AD79-9DFECA4BCA85}"/>
              </a:ext>
            </a:extLst>
          </p:cNvPr>
          <p:cNvGrpSpPr>
            <a:grpSpLocks noChangeAspect="1"/>
          </p:cNvGrpSpPr>
          <p:nvPr/>
        </p:nvGrpSpPr>
        <p:grpSpPr>
          <a:xfrm>
            <a:off x="928969" y="1885044"/>
            <a:ext cx="546978" cy="548640"/>
            <a:chOff x="2312988" y="824548"/>
            <a:chExt cx="522288" cy="523875"/>
          </a:xfrm>
          <a:solidFill>
            <a:schemeClr val="accent1"/>
          </a:solidFill>
        </p:grpSpPr>
        <p:sp>
          <p:nvSpPr>
            <p:cNvPr id="16" name="Freeform 8">
              <a:extLst>
                <a:ext uri="{FF2B5EF4-FFF2-40B4-BE49-F238E27FC236}">
                  <a16:creationId xmlns:a16="http://schemas.microsoft.com/office/drawing/2014/main" id="{97F0813E-3E24-43C0-9A1E-368B799A8FF1}"/>
                </a:ext>
              </a:extLst>
            </p:cNvPr>
            <p:cNvSpPr>
              <a:spLocks noEditPoints="1"/>
            </p:cNvSpPr>
            <p:nvPr/>
          </p:nvSpPr>
          <p:spPr bwMode="auto">
            <a:xfrm>
              <a:off x="2312988" y="824548"/>
              <a:ext cx="522288" cy="523875"/>
            </a:xfrm>
            <a:custGeom>
              <a:avLst/>
              <a:gdLst>
                <a:gd name="T0" fmla="*/ 313 w 659"/>
                <a:gd name="T1" fmla="*/ 658 h 658"/>
                <a:gd name="T2" fmla="*/ 264 w 659"/>
                <a:gd name="T3" fmla="*/ 652 h 658"/>
                <a:gd name="T4" fmla="*/ 202 w 659"/>
                <a:gd name="T5" fmla="*/ 633 h 658"/>
                <a:gd name="T6" fmla="*/ 121 w 659"/>
                <a:gd name="T7" fmla="*/ 583 h 658"/>
                <a:gd name="T8" fmla="*/ 57 w 659"/>
                <a:gd name="T9" fmla="*/ 513 h 658"/>
                <a:gd name="T10" fmla="*/ 15 w 659"/>
                <a:gd name="T11" fmla="*/ 427 h 658"/>
                <a:gd name="T12" fmla="*/ 4 w 659"/>
                <a:gd name="T13" fmla="*/ 379 h 658"/>
                <a:gd name="T14" fmla="*/ 0 w 659"/>
                <a:gd name="T15" fmla="*/ 329 h 658"/>
                <a:gd name="T16" fmla="*/ 3 w 659"/>
                <a:gd name="T17" fmla="*/ 295 h 658"/>
                <a:gd name="T18" fmla="*/ 11 w 659"/>
                <a:gd name="T19" fmla="*/ 247 h 658"/>
                <a:gd name="T20" fmla="*/ 41 w 659"/>
                <a:gd name="T21" fmla="*/ 173 h 658"/>
                <a:gd name="T22" fmla="*/ 97 w 659"/>
                <a:gd name="T23" fmla="*/ 96 h 658"/>
                <a:gd name="T24" fmla="*/ 174 w 659"/>
                <a:gd name="T25" fmla="*/ 40 h 658"/>
                <a:gd name="T26" fmla="*/ 248 w 659"/>
                <a:gd name="T27" fmla="*/ 10 h 658"/>
                <a:gd name="T28" fmla="*/ 296 w 659"/>
                <a:gd name="T29" fmla="*/ 2 h 658"/>
                <a:gd name="T30" fmla="*/ 330 w 659"/>
                <a:gd name="T31" fmla="*/ 0 h 658"/>
                <a:gd name="T32" fmla="*/ 379 w 659"/>
                <a:gd name="T33" fmla="*/ 4 h 658"/>
                <a:gd name="T34" fmla="*/ 428 w 659"/>
                <a:gd name="T35" fmla="*/ 14 h 658"/>
                <a:gd name="T36" fmla="*/ 514 w 659"/>
                <a:gd name="T37" fmla="*/ 56 h 658"/>
                <a:gd name="T38" fmla="*/ 584 w 659"/>
                <a:gd name="T39" fmla="*/ 121 h 658"/>
                <a:gd name="T40" fmla="*/ 633 w 659"/>
                <a:gd name="T41" fmla="*/ 201 h 658"/>
                <a:gd name="T42" fmla="*/ 652 w 659"/>
                <a:gd name="T43" fmla="*/ 263 h 658"/>
                <a:gd name="T44" fmla="*/ 659 w 659"/>
                <a:gd name="T45" fmla="*/ 313 h 658"/>
                <a:gd name="T46" fmla="*/ 659 w 659"/>
                <a:gd name="T47" fmla="*/ 346 h 658"/>
                <a:gd name="T48" fmla="*/ 652 w 659"/>
                <a:gd name="T49" fmla="*/ 396 h 658"/>
                <a:gd name="T50" fmla="*/ 633 w 659"/>
                <a:gd name="T51" fmla="*/ 457 h 658"/>
                <a:gd name="T52" fmla="*/ 584 w 659"/>
                <a:gd name="T53" fmla="*/ 539 h 658"/>
                <a:gd name="T54" fmla="*/ 514 w 659"/>
                <a:gd name="T55" fmla="*/ 602 h 658"/>
                <a:gd name="T56" fmla="*/ 428 w 659"/>
                <a:gd name="T57" fmla="*/ 644 h 658"/>
                <a:gd name="T58" fmla="*/ 379 w 659"/>
                <a:gd name="T59" fmla="*/ 654 h 658"/>
                <a:gd name="T60" fmla="*/ 330 w 659"/>
                <a:gd name="T61" fmla="*/ 658 h 658"/>
                <a:gd name="T62" fmla="*/ 330 w 659"/>
                <a:gd name="T63" fmla="*/ 37 h 658"/>
                <a:gd name="T64" fmla="*/ 243 w 659"/>
                <a:gd name="T65" fmla="*/ 51 h 658"/>
                <a:gd name="T66" fmla="*/ 167 w 659"/>
                <a:gd name="T67" fmla="*/ 88 h 658"/>
                <a:gd name="T68" fmla="*/ 105 w 659"/>
                <a:gd name="T69" fmla="*/ 144 h 658"/>
                <a:gd name="T70" fmla="*/ 62 w 659"/>
                <a:gd name="T71" fmla="*/ 216 h 658"/>
                <a:gd name="T72" fmla="*/ 41 w 659"/>
                <a:gd name="T73" fmla="*/ 299 h 658"/>
                <a:gd name="T74" fmla="*/ 41 w 659"/>
                <a:gd name="T75" fmla="*/ 359 h 658"/>
                <a:gd name="T76" fmla="*/ 62 w 659"/>
                <a:gd name="T77" fmla="*/ 443 h 658"/>
                <a:gd name="T78" fmla="*/ 105 w 659"/>
                <a:gd name="T79" fmla="*/ 514 h 658"/>
                <a:gd name="T80" fmla="*/ 167 w 659"/>
                <a:gd name="T81" fmla="*/ 571 h 658"/>
                <a:gd name="T82" fmla="*/ 243 w 659"/>
                <a:gd name="T83" fmla="*/ 607 h 658"/>
                <a:gd name="T84" fmla="*/ 330 w 659"/>
                <a:gd name="T85" fmla="*/ 621 h 658"/>
                <a:gd name="T86" fmla="*/ 389 w 659"/>
                <a:gd name="T87" fmla="*/ 615 h 658"/>
                <a:gd name="T88" fmla="*/ 468 w 659"/>
                <a:gd name="T89" fmla="*/ 586 h 658"/>
                <a:gd name="T90" fmla="*/ 535 w 659"/>
                <a:gd name="T91" fmla="*/ 535 h 658"/>
                <a:gd name="T92" fmla="*/ 586 w 659"/>
                <a:gd name="T93" fmla="*/ 467 h 658"/>
                <a:gd name="T94" fmla="*/ 616 w 659"/>
                <a:gd name="T95" fmla="*/ 388 h 658"/>
                <a:gd name="T96" fmla="*/ 621 w 659"/>
                <a:gd name="T97" fmla="*/ 329 h 658"/>
                <a:gd name="T98" fmla="*/ 608 w 659"/>
                <a:gd name="T99" fmla="*/ 243 h 658"/>
                <a:gd name="T100" fmla="*/ 571 w 659"/>
                <a:gd name="T101" fmla="*/ 166 h 658"/>
                <a:gd name="T102" fmla="*/ 515 w 659"/>
                <a:gd name="T103" fmla="*/ 105 h 658"/>
                <a:gd name="T104" fmla="*/ 444 w 659"/>
                <a:gd name="T105" fmla="*/ 62 h 658"/>
                <a:gd name="T106" fmla="*/ 359 w 659"/>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30" y="658"/>
                  </a:moveTo>
                  <a:lnTo>
                    <a:pt x="330" y="658"/>
                  </a:lnTo>
                  <a:lnTo>
                    <a:pt x="313" y="658"/>
                  </a:lnTo>
                  <a:lnTo>
                    <a:pt x="296" y="657"/>
                  </a:lnTo>
                  <a:lnTo>
                    <a:pt x="280" y="654"/>
                  </a:lnTo>
                  <a:lnTo>
                    <a:pt x="264" y="652"/>
                  </a:lnTo>
                  <a:lnTo>
                    <a:pt x="248" y="648"/>
                  </a:lnTo>
                  <a:lnTo>
                    <a:pt x="233" y="644"/>
                  </a:lnTo>
                  <a:lnTo>
                    <a:pt x="202" y="633"/>
                  </a:lnTo>
                  <a:lnTo>
                    <a:pt x="174" y="618"/>
                  </a:lnTo>
                  <a:lnTo>
                    <a:pt x="145" y="602"/>
                  </a:lnTo>
                  <a:lnTo>
                    <a:pt x="121" y="583"/>
                  </a:lnTo>
                  <a:lnTo>
                    <a:pt x="97" y="562"/>
                  </a:lnTo>
                  <a:lnTo>
                    <a:pt x="75" y="539"/>
                  </a:lnTo>
                  <a:lnTo>
                    <a:pt x="57" y="513"/>
                  </a:lnTo>
                  <a:lnTo>
                    <a:pt x="41" y="486"/>
                  </a:lnTo>
                  <a:lnTo>
                    <a:pt x="27" y="457"/>
                  </a:lnTo>
                  <a:lnTo>
                    <a:pt x="15" y="427"/>
                  </a:lnTo>
                  <a:lnTo>
                    <a:pt x="11" y="411"/>
                  </a:lnTo>
                  <a:lnTo>
                    <a:pt x="7" y="396"/>
                  </a:lnTo>
                  <a:lnTo>
                    <a:pt x="4" y="379"/>
                  </a:lnTo>
                  <a:lnTo>
                    <a:pt x="3" y="363"/>
                  </a:lnTo>
                  <a:lnTo>
                    <a:pt x="2" y="346"/>
                  </a:lnTo>
                  <a:lnTo>
                    <a:pt x="0" y="329"/>
                  </a:lnTo>
                  <a:lnTo>
                    <a:pt x="0" y="329"/>
                  </a:lnTo>
                  <a:lnTo>
                    <a:pt x="2" y="313"/>
                  </a:lnTo>
                  <a:lnTo>
                    <a:pt x="3" y="295"/>
                  </a:lnTo>
                  <a:lnTo>
                    <a:pt x="4" y="279"/>
                  </a:lnTo>
                  <a:lnTo>
                    <a:pt x="7" y="263"/>
                  </a:lnTo>
                  <a:lnTo>
                    <a:pt x="11" y="247"/>
                  </a:lnTo>
                  <a:lnTo>
                    <a:pt x="15" y="232"/>
                  </a:lnTo>
                  <a:lnTo>
                    <a:pt x="27" y="201"/>
                  </a:lnTo>
                  <a:lnTo>
                    <a:pt x="41" y="173"/>
                  </a:lnTo>
                  <a:lnTo>
                    <a:pt x="57" y="145"/>
                  </a:lnTo>
                  <a:lnTo>
                    <a:pt x="75" y="121"/>
                  </a:lnTo>
                  <a:lnTo>
                    <a:pt x="97" y="96"/>
                  </a:lnTo>
                  <a:lnTo>
                    <a:pt x="121" y="75"/>
                  </a:lnTo>
                  <a:lnTo>
                    <a:pt x="145" y="56"/>
                  </a:lnTo>
                  <a:lnTo>
                    <a:pt x="174" y="40"/>
                  </a:lnTo>
                  <a:lnTo>
                    <a:pt x="202" y="27"/>
                  </a:lnTo>
                  <a:lnTo>
                    <a:pt x="233" y="14"/>
                  </a:lnTo>
                  <a:lnTo>
                    <a:pt x="248" y="10"/>
                  </a:lnTo>
                  <a:lnTo>
                    <a:pt x="264" y="6"/>
                  </a:lnTo>
                  <a:lnTo>
                    <a:pt x="280" y="4"/>
                  </a:lnTo>
                  <a:lnTo>
                    <a:pt x="296" y="2"/>
                  </a:lnTo>
                  <a:lnTo>
                    <a:pt x="313" y="1"/>
                  </a:lnTo>
                  <a:lnTo>
                    <a:pt x="330" y="0"/>
                  </a:lnTo>
                  <a:lnTo>
                    <a:pt x="330" y="0"/>
                  </a:lnTo>
                  <a:lnTo>
                    <a:pt x="347" y="1"/>
                  </a:lnTo>
                  <a:lnTo>
                    <a:pt x="363" y="2"/>
                  </a:lnTo>
                  <a:lnTo>
                    <a:pt x="379" y="4"/>
                  </a:lnTo>
                  <a:lnTo>
                    <a:pt x="395" y="6"/>
                  </a:lnTo>
                  <a:lnTo>
                    <a:pt x="411" y="10"/>
                  </a:lnTo>
                  <a:lnTo>
                    <a:pt x="428" y="14"/>
                  </a:lnTo>
                  <a:lnTo>
                    <a:pt x="457" y="27"/>
                  </a:lnTo>
                  <a:lnTo>
                    <a:pt x="487" y="40"/>
                  </a:lnTo>
                  <a:lnTo>
                    <a:pt x="514" y="56"/>
                  </a:lnTo>
                  <a:lnTo>
                    <a:pt x="539" y="75"/>
                  </a:lnTo>
                  <a:lnTo>
                    <a:pt x="562" y="96"/>
                  </a:lnTo>
                  <a:lnTo>
                    <a:pt x="584" y="121"/>
                  </a:lnTo>
                  <a:lnTo>
                    <a:pt x="602" y="145"/>
                  </a:lnTo>
                  <a:lnTo>
                    <a:pt x="618" y="173"/>
                  </a:lnTo>
                  <a:lnTo>
                    <a:pt x="633" y="201"/>
                  </a:lnTo>
                  <a:lnTo>
                    <a:pt x="644" y="232"/>
                  </a:lnTo>
                  <a:lnTo>
                    <a:pt x="648" y="247"/>
                  </a:lnTo>
                  <a:lnTo>
                    <a:pt x="652" y="263"/>
                  </a:lnTo>
                  <a:lnTo>
                    <a:pt x="655" y="279"/>
                  </a:lnTo>
                  <a:lnTo>
                    <a:pt x="657" y="295"/>
                  </a:lnTo>
                  <a:lnTo>
                    <a:pt x="659" y="313"/>
                  </a:lnTo>
                  <a:lnTo>
                    <a:pt x="659" y="329"/>
                  </a:lnTo>
                  <a:lnTo>
                    <a:pt x="659" y="329"/>
                  </a:lnTo>
                  <a:lnTo>
                    <a:pt x="659" y="346"/>
                  </a:lnTo>
                  <a:lnTo>
                    <a:pt x="657" y="363"/>
                  </a:lnTo>
                  <a:lnTo>
                    <a:pt x="655" y="379"/>
                  </a:lnTo>
                  <a:lnTo>
                    <a:pt x="652" y="396"/>
                  </a:lnTo>
                  <a:lnTo>
                    <a:pt x="648" y="411"/>
                  </a:lnTo>
                  <a:lnTo>
                    <a:pt x="644" y="427"/>
                  </a:lnTo>
                  <a:lnTo>
                    <a:pt x="633" y="457"/>
                  </a:lnTo>
                  <a:lnTo>
                    <a:pt x="618" y="486"/>
                  </a:lnTo>
                  <a:lnTo>
                    <a:pt x="602" y="513"/>
                  </a:lnTo>
                  <a:lnTo>
                    <a:pt x="584" y="539"/>
                  </a:lnTo>
                  <a:lnTo>
                    <a:pt x="562" y="562"/>
                  </a:lnTo>
                  <a:lnTo>
                    <a:pt x="539" y="583"/>
                  </a:lnTo>
                  <a:lnTo>
                    <a:pt x="514" y="602"/>
                  </a:lnTo>
                  <a:lnTo>
                    <a:pt x="487" y="618"/>
                  </a:lnTo>
                  <a:lnTo>
                    <a:pt x="457" y="633"/>
                  </a:lnTo>
                  <a:lnTo>
                    <a:pt x="428" y="644"/>
                  </a:lnTo>
                  <a:lnTo>
                    <a:pt x="411" y="648"/>
                  </a:lnTo>
                  <a:lnTo>
                    <a:pt x="395" y="652"/>
                  </a:lnTo>
                  <a:lnTo>
                    <a:pt x="379" y="654"/>
                  </a:lnTo>
                  <a:lnTo>
                    <a:pt x="363" y="657"/>
                  </a:lnTo>
                  <a:lnTo>
                    <a:pt x="347" y="658"/>
                  </a:lnTo>
                  <a:lnTo>
                    <a:pt x="330" y="658"/>
                  </a:lnTo>
                  <a:lnTo>
                    <a:pt x="330" y="658"/>
                  </a:lnTo>
                  <a:close/>
                  <a:moveTo>
                    <a:pt x="330" y="37"/>
                  </a:moveTo>
                  <a:lnTo>
                    <a:pt x="330" y="37"/>
                  </a:lnTo>
                  <a:lnTo>
                    <a:pt x="300" y="40"/>
                  </a:lnTo>
                  <a:lnTo>
                    <a:pt x="272" y="44"/>
                  </a:lnTo>
                  <a:lnTo>
                    <a:pt x="243" y="51"/>
                  </a:lnTo>
                  <a:lnTo>
                    <a:pt x="217" y="62"/>
                  </a:lnTo>
                  <a:lnTo>
                    <a:pt x="191" y="74"/>
                  </a:lnTo>
                  <a:lnTo>
                    <a:pt x="167" y="88"/>
                  </a:lnTo>
                  <a:lnTo>
                    <a:pt x="144" y="105"/>
                  </a:lnTo>
                  <a:lnTo>
                    <a:pt x="124" y="123"/>
                  </a:lnTo>
                  <a:lnTo>
                    <a:pt x="105" y="144"/>
                  </a:lnTo>
                  <a:lnTo>
                    <a:pt x="89" y="166"/>
                  </a:lnTo>
                  <a:lnTo>
                    <a:pt x="74" y="191"/>
                  </a:lnTo>
                  <a:lnTo>
                    <a:pt x="62" y="216"/>
                  </a:lnTo>
                  <a:lnTo>
                    <a:pt x="51" y="243"/>
                  </a:lnTo>
                  <a:lnTo>
                    <a:pt x="45" y="271"/>
                  </a:lnTo>
                  <a:lnTo>
                    <a:pt x="41" y="299"/>
                  </a:lnTo>
                  <a:lnTo>
                    <a:pt x="38" y="329"/>
                  </a:lnTo>
                  <a:lnTo>
                    <a:pt x="38" y="329"/>
                  </a:lnTo>
                  <a:lnTo>
                    <a:pt x="41" y="359"/>
                  </a:lnTo>
                  <a:lnTo>
                    <a:pt x="45" y="388"/>
                  </a:lnTo>
                  <a:lnTo>
                    <a:pt x="51" y="416"/>
                  </a:lnTo>
                  <a:lnTo>
                    <a:pt x="62" y="443"/>
                  </a:lnTo>
                  <a:lnTo>
                    <a:pt x="74" y="467"/>
                  </a:lnTo>
                  <a:lnTo>
                    <a:pt x="89" y="492"/>
                  </a:lnTo>
                  <a:lnTo>
                    <a:pt x="105" y="514"/>
                  </a:lnTo>
                  <a:lnTo>
                    <a:pt x="124" y="535"/>
                  </a:lnTo>
                  <a:lnTo>
                    <a:pt x="144" y="553"/>
                  </a:lnTo>
                  <a:lnTo>
                    <a:pt x="167" y="571"/>
                  </a:lnTo>
                  <a:lnTo>
                    <a:pt x="191" y="586"/>
                  </a:lnTo>
                  <a:lnTo>
                    <a:pt x="217" y="598"/>
                  </a:lnTo>
                  <a:lnTo>
                    <a:pt x="243" y="607"/>
                  </a:lnTo>
                  <a:lnTo>
                    <a:pt x="272" y="615"/>
                  </a:lnTo>
                  <a:lnTo>
                    <a:pt x="300" y="619"/>
                  </a:lnTo>
                  <a:lnTo>
                    <a:pt x="330" y="621"/>
                  </a:lnTo>
                  <a:lnTo>
                    <a:pt x="330" y="621"/>
                  </a:lnTo>
                  <a:lnTo>
                    <a:pt x="359" y="619"/>
                  </a:lnTo>
                  <a:lnTo>
                    <a:pt x="389" y="615"/>
                  </a:lnTo>
                  <a:lnTo>
                    <a:pt x="417" y="607"/>
                  </a:lnTo>
                  <a:lnTo>
                    <a:pt x="444" y="598"/>
                  </a:lnTo>
                  <a:lnTo>
                    <a:pt x="468" y="586"/>
                  </a:lnTo>
                  <a:lnTo>
                    <a:pt x="492" y="571"/>
                  </a:lnTo>
                  <a:lnTo>
                    <a:pt x="515" y="553"/>
                  </a:lnTo>
                  <a:lnTo>
                    <a:pt x="535" y="535"/>
                  </a:lnTo>
                  <a:lnTo>
                    <a:pt x="554" y="514"/>
                  </a:lnTo>
                  <a:lnTo>
                    <a:pt x="571" y="492"/>
                  </a:lnTo>
                  <a:lnTo>
                    <a:pt x="586" y="467"/>
                  </a:lnTo>
                  <a:lnTo>
                    <a:pt x="598" y="443"/>
                  </a:lnTo>
                  <a:lnTo>
                    <a:pt x="608" y="416"/>
                  </a:lnTo>
                  <a:lnTo>
                    <a:pt x="616" y="388"/>
                  </a:lnTo>
                  <a:lnTo>
                    <a:pt x="620" y="359"/>
                  </a:lnTo>
                  <a:lnTo>
                    <a:pt x="621" y="329"/>
                  </a:lnTo>
                  <a:lnTo>
                    <a:pt x="621" y="329"/>
                  </a:lnTo>
                  <a:lnTo>
                    <a:pt x="620" y="299"/>
                  </a:lnTo>
                  <a:lnTo>
                    <a:pt x="616" y="271"/>
                  </a:lnTo>
                  <a:lnTo>
                    <a:pt x="608" y="243"/>
                  </a:lnTo>
                  <a:lnTo>
                    <a:pt x="598" y="216"/>
                  </a:lnTo>
                  <a:lnTo>
                    <a:pt x="586" y="191"/>
                  </a:lnTo>
                  <a:lnTo>
                    <a:pt x="571" y="166"/>
                  </a:lnTo>
                  <a:lnTo>
                    <a:pt x="554" y="144"/>
                  </a:lnTo>
                  <a:lnTo>
                    <a:pt x="535" y="123"/>
                  </a:lnTo>
                  <a:lnTo>
                    <a:pt x="515" y="105"/>
                  </a:lnTo>
                  <a:lnTo>
                    <a:pt x="492" y="88"/>
                  </a:lnTo>
                  <a:lnTo>
                    <a:pt x="468" y="74"/>
                  </a:lnTo>
                  <a:lnTo>
                    <a:pt x="444" y="62"/>
                  </a:lnTo>
                  <a:lnTo>
                    <a:pt x="417" y="51"/>
                  </a:lnTo>
                  <a:lnTo>
                    <a:pt x="389" y="44"/>
                  </a:lnTo>
                  <a:lnTo>
                    <a:pt x="359" y="40"/>
                  </a:lnTo>
                  <a:lnTo>
                    <a:pt x="330" y="37"/>
                  </a:lnTo>
                  <a:lnTo>
                    <a:pt x="330"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7" name="Freeform 97">
              <a:extLst>
                <a:ext uri="{FF2B5EF4-FFF2-40B4-BE49-F238E27FC236}">
                  <a16:creationId xmlns:a16="http://schemas.microsoft.com/office/drawing/2014/main" id="{89E40AFB-ECE0-483E-9D3C-B961124C4DAF}"/>
                </a:ext>
              </a:extLst>
            </p:cNvPr>
            <p:cNvSpPr>
              <a:spLocks/>
            </p:cNvSpPr>
            <p:nvPr/>
          </p:nvSpPr>
          <p:spPr bwMode="auto">
            <a:xfrm>
              <a:off x="2474913" y="983298"/>
              <a:ext cx="207963" cy="206375"/>
            </a:xfrm>
            <a:custGeom>
              <a:avLst/>
              <a:gdLst>
                <a:gd name="T0" fmla="*/ 252 w 260"/>
                <a:gd name="T1" fmla="*/ 0 h 260"/>
                <a:gd name="T2" fmla="*/ 147 w 260"/>
                <a:gd name="T3" fmla="*/ 0 h 260"/>
                <a:gd name="T4" fmla="*/ 147 w 260"/>
                <a:gd name="T5" fmla="*/ 17 h 260"/>
                <a:gd name="T6" fmla="*/ 231 w 260"/>
                <a:gd name="T7" fmla="*/ 17 h 260"/>
                <a:gd name="T8" fmla="*/ 17 w 260"/>
                <a:gd name="T9" fmla="*/ 231 h 260"/>
                <a:gd name="T10" fmla="*/ 17 w 260"/>
                <a:gd name="T11" fmla="*/ 147 h 260"/>
                <a:gd name="T12" fmla="*/ 0 w 260"/>
                <a:gd name="T13" fmla="*/ 147 h 260"/>
                <a:gd name="T14" fmla="*/ 0 w 260"/>
                <a:gd name="T15" fmla="*/ 252 h 260"/>
                <a:gd name="T16" fmla="*/ 0 w 260"/>
                <a:gd name="T17" fmla="*/ 252 h 260"/>
                <a:gd name="T18" fmla="*/ 1 w 260"/>
                <a:gd name="T19" fmla="*/ 255 h 260"/>
                <a:gd name="T20" fmla="*/ 2 w 260"/>
                <a:gd name="T21" fmla="*/ 258 h 260"/>
                <a:gd name="T22" fmla="*/ 5 w 260"/>
                <a:gd name="T23" fmla="*/ 260 h 260"/>
                <a:gd name="T24" fmla="*/ 9 w 260"/>
                <a:gd name="T25" fmla="*/ 260 h 260"/>
                <a:gd name="T26" fmla="*/ 112 w 260"/>
                <a:gd name="T27" fmla="*/ 260 h 260"/>
                <a:gd name="T28" fmla="*/ 112 w 260"/>
                <a:gd name="T29" fmla="*/ 243 h 260"/>
                <a:gd name="T30" fmla="*/ 29 w 260"/>
                <a:gd name="T31" fmla="*/ 243 h 260"/>
                <a:gd name="T32" fmla="*/ 243 w 260"/>
                <a:gd name="T33" fmla="*/ 29 h 260"/>
                <a:gd name="T34" fmla="*/ 243 w 260"/>
                <a:gd name="T35" fmla="*/ 113 h 260"/>
                <a:gd name="T36" fmla="*/ 260 w 260"/>
                <a:gd name="T37" fmla="*/ 113 h 260"/>
                <a:gd name="T38" fmla="*/ 260 w 260"/>
                <a:gd name="T39" fmla="*/ 9 h 260"/>
                <a:gd name="T40" fmla="*/ 260 w 260"/>
                <a:gd name="T41" fmla="*/ 9 h 260"/>
                <a:gd name="T42" fmla="*/ 260 w 260"/>
                <a:gd name="T43" fmla="*/ 5 h 260"/>
                <a:gd name="T44" fmla="*/ 258 w 260"/>
                <a:gd name="T45" fmla="*/ 2 h 260"/>
                <a:gd name="T46" fmla="*/ 255 w 260"/>
                <a:gd name="T47" fmla="*/ 1 h 260"/>
                <a:gd name="T48" fmla="*/ 252 w 260"/>
                <a:gd name="T49" fmla="*/ 0 h 260"/>
                <a:gd name="T50" fmla="*/ 252 w 260"/>
                <a:gd name="T51"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260">
                  <a:moveTo>
                    <a:pt x="252" y="0"/>
                  </a:moveTo>
                  <a:lnTo>
                    <a:pt x="147" y="0"/>
                  </a:lnTo>
                  <a:lnTo>
                    <a:pt x="147" y="17"/>
                  </a:lnTo>
                  <a:lnTo>
                    <a:pt x="231" y="17"/>
                  </a:lnTo>
                  <a:lnTo>
                    <a:pt x="17" y="231"/>
                  </a:lnTo>
                  <a:lnTo>
                    <a:pt x="17" y="147"/>
                  </a:lnTo>
                  <a:lnTo>
                    <a:pt x="0" y="147"/>
                  </a:lnTo>
                  <a:lnTo>
                    <a:pt x="0" y="252"/>
                  </a:lnTo>
                  <a:lnTo>
                    <a:pt x="0" y="252"/>
                  </a:lnTo>
                  <a:lnTo>
                    <a:pt x="1" y="255"/>
                  </a:lnTo>
                  <a:lnTo>
                    <a:pt x="2" y="258"/>
                  </a:lnTo>
                  <a:lnTo>
                    <a:pt x="5" y="260"/>
                  </a:lnTo>
                  <a:lnTo>
                    <a:pt x="9" y="260"/>
                  </a:lnTo>
                  <a:lnTo>
                    <a:pt x="112" y="260"/>
                  </a:lnTo>
                  <a:lnTo>
                    <a:pt x="112" y="243"/>
                  </a:lnTo>
                  <a:lnTo>
                    <a:pt x="29" y="243"/>
                  </a:lnTo>
                  <a:lnTo>
                    <a:pt x="243" y="29"/>
                  </a:lnTo>
                  <a:lnTo>
                    <a:pt x="243" y="113"/>
                  </a:lnTo>
                  <a:lnTo>
                    <a:pt x="260" y="113"/>
                  </a:lnTo>
                  <a:lnTo>
                    <a:pt x="260" y="9"/>
                  </a:lnTo>
                  <a:lnTo>
                    <a:pt x="260" y="9"/>
                  </a:lnTo>
                  <a:lnTo>
                    <a:pt x="260" y="5"/>
                  </a:lnTo>
                  <a:lnTo>
                    <a:pt x="258" y="2"/>
                  </a:lnTo>
                  <a:lnTo>
                    <a:pt x="255" y="1"/>
                  </a:lnTo>
                  <a:lnTo>
                    <a:pt x="252" y="0"/>
                  </a:lnTo>
                  <a:lnTo>
                    <a:pt x="2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18" name="Group 17">
            <a:extLst>
              <a:ext uri="{FF2B5EF4-FFF2-40B4-BE49-F238E27FC236}">
                <a16:creationId xmlns:a16="http://schemas.microsoft.com/office/drawing/2014/main" id="{4036FCD1-9F2F-4954-9753-F32652E6C0B0}"/>
              </a:ext>
            </a:extLst>
          </p:cNvPr>
          <p:cNvGrpSpPr>
            <a:grpSpLocks noChangeAspect="1"/>
          </p:cNvGrpSpPr>
          <p:nvPr/>
        </p:nvGrpSpPr>
        <p:grpSpPr>
          <a:xfrm>
            <a:off x="923460" y="3903450"/>
            <a:ext cx="548640" cy="548640"/>
            <a:chOff x="3195638" y="2503488"/>
            <a:chExt cx="520700" cy="520700"/>
          </a:xfrm>
          <a:solidFill>
            <a:schemeClr val="accent4"/>
          </a:solidFill>
        </p:grpSpPr>
        <p:sp>
          <p:nvSpPr>
            <p:cNvPr id="19" name="Freeform 73">
              <a:extLst>
                <a:ext uri="{FF2B5EF4-FFF2-40B4-BE49-F238E27FC236}">
                  <a16:creationId xmlns:a16="http://schemas.microsoft.com/office/drawing/2014/main" id="{7941ADFD-45B8-4E53-A8D2-087B4BA7D2E7}"/>
                </a:ext>
              </a:extLst>
            </p:cNvPr>
            <p:cNvSpPr>
              <a:spLocks noEditPoints="1"/>
            </p:cNvSpPr>
            <p:nvPr/>
          </p:nvSpPr>
          <p:spPr bwMode="auto">
            <a:xfrm>
              <a:off x="3195638" y="2503488"/>
              <a:ext cx="520700" cy="520700"/>
            </a:xfrm>
            <a:custGeom>
              <a:avLst/>
              <a:gdLst>
                <a:gd name="T0" fmla="*/ 312 w 657"/>
                <a:gd name="T1" fmla="*/ 658 h 658"/>
                <a:gd name="T2" fmla="*/ 262 w 657"/>
                <a:gd name="T3" fmla="*/ 651 h 658"/>
                <a:gd name="T4" fmla="*/ 200 w 657"/>
                <a:gd name="T5" fmla="*/ 632 h 658"/>
                <a:gd name="T6" fmla="*/ 120 w 657"/>
                <a:gd name="T7" fmla="*/ 583 h 658"/>
                <a:gd name="T8" fmla="*/ 55 w 657"/>
                <a:gd name="T9" fmla="*/ 513 h 658"/>
                <a:gd name="T10" fmla="*/ 15 w 657"/>
                <a:gd name="T11" fmla="*/ 427 h 658"/>
                <a:gd name="T12" fmla="*/ 3 w 657"/>
                <a:gd name="T13" fmla="*/ 379 h 658"/>
                <a:gd name="T14" fmla="*/ 0 w 657"/>
                <a:gd name="T15" fmla="*/ 329 h 658"/>
                <a:gd name="T16" fmla="*/ 2 w 657"/>
                <a:gd name="T17" fmla="*/ 296 h 658"/>
                <a:gd name="T18" fmla="*/ 10 w 657"/>
                <a:gd name="T19" fmla="*/ 247 h 658"/>
                <a:gd name="T20" fmla="*/ 39 w 657"/>
                <a:gd name="T21" fmla="*/ 173 h 658"/>
                <a:gd name="T22" fmla="*/ 96 w 657"/>
                <a:gd name="T23" fmla="*/ 97 h 658"/>
                <a:gd name="T24" fmla="*/ 172 w 657"/>
                <a:gd name="T25" fmla="*/ 40 h 658"/>
                <a:gd name="T26" fmla="*/ 246 w 657"/>
                <a:gd name="T27" fmla="*/ 11 h 658"/>
                <a:gd name="T28" fmla="*/ 294 w 657"/>
                <a:gd name="T29" fmla="*/ 3 h 658"/>
                <a:gd name="T30" fmla="*/ 328 w 657"/>
                <a:gd name="T31" fmla="*/ 0 h 658"/>
                <a:gd name="T32" fmla="*/ 379 w 657"/>
                <a:gd name="T33" fmla="*/ 4 h 658"/>
                <a:gd name="T34" fmla="*/ 426 w 657"/>
                <a:gd name="T35" fmla="*/ 15 h 658"/>
                <a:gd name="T36" fmla="*/ 512 w 657"/>
                <a:gd name="T37" fmla="*/ 57 h 658"/>
                <a:gd name="T38" fmla="*/ 582 w 657"/>
                <a:gd name="T39" fmla="*/ 120 h 658"/>
                <a:gd name="T40" fmla="*/ 631 w 657"/>
                <a:gd name="T41" fmla="*/ 202 h 658"/>
                <a:gd name="T42" fmla="*/ 650 w 657"/>
                <a:gd name="T43" fmla="*/ 263 h 658"/>
                <a:gd name="T44" fmla="*/ 657 w 657"/>
                <a:gd name="T45" fmla="*/ 313 h 658"/>
                <a:gd name="T46" fmla="*/ 657 w 657"/>
                <a:gd name="T47" fmla="*/ 347 h 658"/>
                <a:gd name="T48" fmla="*/ 650 w 657"/>
                <a:gd name="T49" fmla="*/ 395 h 658"/>
                <a:gd name="T50" fmla="*/ 631 w 657"/>
                <a:gd name="T51" fmla="*/ 457 h 658"/>
                <a:gd name="T52" fmla="*/ 582 w 657"/>
                <a:gd name="T53" fmla="*/ 539 h 658"/>
                <a:gd name="T54" fmla="*/ 512 w 657"/>
                <a:gd name="T55" fmla="*/ 602 h 658"/>
                <a:gd name="T56" fmla="*/ 426 w 657"/>
                <a:gd name="T57" fmla="*/ 643 h 658"/>
                <a:gd name="T58" fmla="*/ 379 w 657"/>
                <a:gd name="T59" fmla="*/ 654 h 658"/>
                <a:gd name="T60" fmla="*/ 328 w 657"/>
                <a:gd name="T61" fmla="*/ 658 h 658"/>
                <a:gd name="T62" fmla="*/ 328 w 657"/>
                <a:gd name="T63" fmla="*/ 38 h 658"/>
                <a:gd name="T64" fmla="*/ 242 w 657"/>
                <a:gd name="T65" fmla="*/ 51 h 658"/>
                <a:gd name="T66" fmla="*/ 165 w 657"/>
                <a:gd name="T67" fmla="*/ 87 h 658"/>
                <a:gd name="T68" fmla="*/ 104 w 657"/>
                <a:gd name="T69" fmla="*/ 144 h 658"/>
                <a:gd name="T70" fmla="*/ 61 w 657"/>
                <a:gd name="T71" fmla="*/ 216 h 658"/>
                <a:gd name="T72" fmla="*/ 39 w 657"/>
                <a:gd name="T73" fmla="*/ 300 h 658"/>
                <a:gd name="T74" fmla="*/ 39 w 657"/>
                <a:gd name="T75" fmla="*/ 359 h 658"/>
                <a:gd name="T76" fmla="*/ 61 w 657"/>
                <a:gd name="T77" fmla="*/ 442 h 658"/>
                <a:gd name="T78" fmla="*/ 104 w 657"/>
                <a:gd name="T79" fmla="*/ 514 h 658"/>
                <a:gd name="T80" fmla="*/ 165 w 657"/>
                <a:gd name="T81" fmla="*/ 571 h 658"/>
                <a:gd name="T82" fmla="*/ 242 w 657"/>
                <a:gd name="T83" fmla="*/ 607 h 658"/>
                <a:gd name="T84" fmla="*/ 328 w 657"/>
                <a:gd name="T85" fmla="*/ 620 h 658"/>
                <a:gd name="T86" fmla="*/ 387 w 657"/>
                <a:gd name="T87" fmla="*/ 614 h 658"/>
                <a:gd name="T88" fmla="*/ 467 w 657"/>
                <a:gd name="T89" fmla="*/ 585 h 658"/>
                <a:gd name="T90" fmla="*/ 533 w 657"/>
                <a:gd name="T91" fmla="*/ 534 h 658"/>
                <a:gd name="T92" fmla="*/ 584 w 657"/>
                <a:gd name="T93" fmla="*/ 467 h 658"/>
                <a:gd name="T94" fmla="*/ 614 w 657"/>
                <a:gd name="T95" fmla="*/ 388 h 658"/>
                <a:gd name="T96" fmla="*/ 619 w 657"/>
                <a:gd name="T97" fmla="*/ 329 h 658"/>
                <a:gd name="T98" fmla="*/ 606 w 657"/>
                <a:gd name="T99" fmla="*/ 243 h 658"/>
                <a:gd name="T100" fmla="*/ 569 w 657"/>
                <a:gd name="T101" fmla="*/ 167 h 658"/>
                <a:gd name="T102" fmla="*/ 513 w 657"/>
                <a:gd name="T103" fmla="*/ 105 h 658"/>
                <a:gd name="T104" fmla="*/ 442 w 657"/>
                <a:gd name="T105" fmla="*/ 61 h 658"/>
                <a:gd name="T106" fmla="*/ 357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8" y="658"/>
                  </a:moveTo>
                  <a:lnTo>
                    <a:pt x="328" y="658"/>
                  </a:lnTo>
                  <a:lnTo>
                    <a:pt x="312" y="658"/>
                  </a:lnTo>
                  <a:lnTo>
                    <a:pt x="294" y="657"/>
                  </a:lnTo>
                  <a:lnTo>
                    <a:pt x="278" y="654"/>
                  </a:lnTo>
                  <a:lnTo>
                    <a:pt x="262" y="651"/>
                  </a:lnTo>
                  <a:lnTo>
                    <a:pt x="246" y="647"/>
                  </a:lnTo>
                  <a:lnTo>
                    <a:pt x="231" y="643"/>
                  </a:lnTo>
                  <a:lnTo>
                    <a:pt x="200" y="632"/>
                  </a:lnTo>
                  <a:lnTo>
                    <a:pt x="172" y="618"/>
                  </a:lnTo>
                  <a:lnTo>
                    <a:pt x="145" y="602"/>
                  </a:lnTo>
                  <a:lnTo>
                    <a:pt x="120" y="583"/>
                  </a:lnTo>
                  <a:lnTo>
                    <a:pt x="96" y="561"/>
                  </a:lnTo>
                  <a:lnTo>
                    <a:pt x="74" y="539"/>
                  </a:lnTo>
                  <a:lnTo>
                    <a:pt x="55" y="513"/>
                  </a:lnTo>
                  <a:lnTo>
                    <a:pt x="39" y="486"/>
                  </a:lnTo>
                  <a:lnTo>
                    <a:pt x="26" y="457"/>
                  </a:lnTo>
                  <a:lnTo>
                    <a:pt x="15" y="427"/>
                  </a:lnTo>
                  <a:lnTo>
                    <a:pt x="10" y="411"/>
                  </a:lnTo>
                  <a:lnTo>
                    <a:pt x="6" y="395"/>
                  </a:lnTo>
                  <a:lnTo>
                    <a:pt x="3" y="379"/>
                  </a:lnTo>
                  <a:lnTo>
                    <a:pt x="2" y="363"/>
                  </a:lnTo>
                  <a:lnTo>
                    <a:pt x="0" y="347"/>
                  </a:lnTo>
                  <a:lnTo>
                    <a:pt x="0" y="329"/>
                  </a:lnTo>
                  <a:lnTo>
                    <a:pt x="0" y="329"/>
                  </a:lnTo>
                  <a:lnTo>
                    <a:pt x="0" y="313"/>
                  </a:lnTo>
                  <a:lnTo>
                    <a:pt x="2" y="296"/>
                  </a:lnTo>
                  <a:lnTo>
                    <a:pt x="3" y="279"/>
                  </a:lnTo>
                  <a:lnTo>
                    <a:pt x="6" y="263"/>
                  </a:lnTo>
                  <a:lnTo>
                    <a:pt x="10" y="247"/>
                  </a:lnTo>
                  <a:lnTo>
                    <a:pt x="15" y="231"/>
                  </a:lnTo>
                  <a:lnTo>
                    <a:pt x="26" y="202"/>
                  </a:lnTo>
                  <a:lnTo>
                    <a:pt x="39" y="173"/>
                  </a:lnTo>
                  <a:lnTo>
                    <a:pt x="55" y="145"/>
                  </a:lnTo>
                  <a:lnTo>
                    <a:pt x="74" y="120"/>
                  </a:lnTo>
                  <a:lnTo>
                    <a:pt x="96" y="97"/>
                  </a:lnTo>
                  <a:lnTo>
                    <a:pt x="120" y="75"/>
                  </a:lnTo>
                  <a:lnTo>
                    <a:pt x="145" y="57"/>
                  </a:lnTo>
                  <a:lnTo>
                    <a:pt x="172" y="40"/>
                  </a:lnTo>
                  <a:lnTo>
                    <a:pt x="200" y="27"/>
                  </a:lnTo>
                  <a:lnTo>
                    <a:pt x="231" y="15"/>
                  </a:lnTo>
                  <a:lnTo>
                    <a:pt x="246" y="11"/>
                  </a:lnTo>
                  <a:lnTo>
                    <a:pt x="262" y="7"/>
                  </a:lnTo>
                  <a:lnTo>
                    <a:pt x="278" y="4"/>
                  </a:lnTo>
                  <a:lnTo>
                    <a:pt x="294" y="3"/>
                  </a:lnTo>
                  <a:lnTo>
                    <a:pt x="312" y="1"/>
                  </a:lnTo>
                  <a:lnTo>
                    <a:pt x="328" y="0"/>
                  </a:lnTo>
                  <a:lnTo>
                    <a:pt x="328" y="0"/>
                  </a:lnTo>
                  <a:lnTo>
                    <a:pt x="345" y="1"/>
                  </a:lnTo>
                  <a:lnTo>
                    <a:pt x="361" y="3"/>
                  </a:lnTo>
                  <a:lnTo>
                    <a:pt x="379" y="4"/>
                  </a:lnTo>
                  <a:lnTo>
                    <a:pt x="395" y="7"/>
                  </a:lnTo>
                  <a:lnTo>
                    <a:pt x="410" y="11"/>
                  </a:lnTo>
                  <a:lnTo>
                    <a:pt x="426" y="15"/>
                  </a:lnTo>
                  <a:lnTo>
                    <a:pt x="455" y="27"/>
                  </a:lnTo>
                  <a:lnTo>
                    <a:pt x="485" y="40"/>
                  </a:lnTo>
                  <a:lnTo>
                    <a:pt x="512" y="57"/>
                  </a:lnTo>
                  <a:lnTo>
                    <a:pt x="537" y="75"/>
                  </a:lnTo>
                  <a:lnTo>
                    <a:pt x="560" y="97"/>
                  </a:lnTo>
                  <a:lnTo>
                    <a:pt x="582" y="120"/>
                  </a:lnTo>
                  <a:lnTo>
                    <a:pt x="600" y="145"/>
                  </a:lnTo>
                  <a:lnTo>
                    <a:pt x="616" y="173"/>
                  </a:lnTo>
                  <a:lnTo>
                    <a:pt x="631" y="202"/>
                  </a:lnTo>
                  <a:lnTo>
                    <a:pt x="642" y="231"/>
                  </a:lnTo>
                  <a:lnTo>
                    <a:pt x="646" y="247"/>
                  </a:lnTo>
                  <a:lnTo>
                    <a:pt x="650" y="263"/>
                  </a:lnTo>
                  <a:lnTo>
                    <a:pt x="653" y="279"/>
                  </a:lnTo>
                  <a:lnTo>
                    <a:pt x="655" y="296"/>
                  </a:lnTo>
                  <a:lnTo>
                    <a:pt x="657" y="313"/>
                  </a:lnTo>
                  <a:lnTo>
                    <a:pt x="657" y="329"/>
                  </a:lnTo>
                  <a:lnTo>
                    <a:pt x="657" y="329"/>
                  </a:lnTo>
                  <a:lnTo>
                    <a:pt x="657" y="347"/>
                  </a:lnTo>
                  <a:lnTo>
                    <a:pt x="655" y="363"/>
                  </a:lnTo>
                  <a:lnTo>
                    <a:pt x="653" y="379"/>
                  </a:lnTo>
                  <a:lnTo>
                    <a:pt x="650" y="395"/>
                  </a:lnTo>
                  <a:lnTo>
                    <a:pt x="646" y="411"/>
                  </a:lnTo>
                  <a:lnTo>
                    <a:pt x="642" y="427"/>
                  </a:lnTo>
                  <a:lnTo>
                    <a:pt x="631" y="457"/>
                  </a:lnTo>
                  <a:lnTo>
                    <a:pt x="616" y="486"/>
                  </a:lnTo>
                  <a:lnTo>
                    <a:pt x="600" y="513"/>
                  </a:lnTo>
                  <a:lnTo>
                    <a:pt x="582" y="539"/>
                  </a:lnTo>
                  <a:lnTo>
                    <a:pt x="560" y="561"/>
                  </a:lnTo>
                  <a:lnTo>
                    <a:pt x="537" y="583"/>
                  </a:lnTo>
                  <a:lnTo>
                    <a:pt x="512" y="602"/>
                  </a:lnTo>
                  <a:lnTo>
                    <a:pt x="485" y="618"/>
                  </a:lnTo>
                  <a:lnTo>
                    <a:pt x="455" y="632"/>
                  </a:lnTo>
                  <a:lnTo>
                    <a:pt x="426" y="643"/>
                  </a:lnTo>
                  <a:lnTo>
                    <a:pt x="410" y="647"/>
                  </a:lnTo>
                  <a:lnTo>
                    <a:pt x="395" y="651"/>
                  </a:lnTo>
                  <a:lnTo>
                    <a:pt x="379" y="654"/>
                  </a:lnTo>
                  <a:lnTo>
                    <a:pt x="361" y="657"/>
                  </a:lnTo>
                  <a:lnTo>
                    <a:pt x="345" y="658"/>
                  </a:lnTo>
                  <a:lnTo>
                    <a:pt x="328" y="658"/>
                  </a:lnTo>
                  <a:lnTo>
                    <a:pt x="328" y="658"/>
                  </a:lnTo>
                  <a:close/>
                  <a:moveTo>
                    <a:pt x="328" y="38"/>
                  </a:moveTo>
                  <a:lnTo>
                    <a:pt x="328" y="38"/>
                  </a:lnTo>
                  <a:lnTo>
                    <a:pt x="298" y="39"/>
                  </a:lnTo>
                  <a:lnTo>
                    <a:pt x="270" y="44"/>
                  </a:lnTo>
                  <a:lnTo>
                    <a:pt x="242" y="51"/>
                  </a:lnTo>
                  <a:lnTo>
                    <a:pt x="215" y="61"/>
                  </a:lnTo>
                  <a:lnTo>
                    <a:pt x="190" y="74"/>
                  </a:lnTo>
                  <a:lnTo>
                    <a:pt x="165" y="87"/>
                  </a:lnTo>
                  <a:lnTo>
                    <a:pt x="143" y="105"/>
                  </a:lnTo>
                  <a:lnTo>
                    <a:pt x="122" y="124"/>
                  </a:lnTo>
                  <a:lnTo>
                    <a:pt x="104" y="144"/>
                  </a:lnTo>
                  <a:lnTo>
                    <a:pt x="87" y="167"/>
                  </a:lnTo>
                  <a:lnTo>
                    <a:pt x="73" y="191"/>
                  </a:lnTo>
                  <a:lnTo>
                    <a:pt x="61" y="216"/>
                  </a:lnTo>
                  <a:lnTo>
                    <a:pt x="50" y="243"/>
                  </a:lnTo>
                  <a:lnTo>
                    <a:pt x="43" y="270"/>
                  </a:lnTo>
                  <a:lnTo>
                    <a:pt x="39" y="300"/>
                  </a:lnTo>
                  <a:lnTo>
                    <a:pt x="38" y="329"/>
                  </a:lnTo>
                  <a:lnTo>
                    <a:pt x="38" y="329"/>
                  </a:lnTo>
                  <a:lnTo>
                    <a:pt x="39" y="359"/>
                  </a:lnTo>
                  <a:lnTo>
                    <a:pt x="43" y="388"/>
                  </a:lnTo>
                  <a:lnTo>
                    <a:pt x="50" y="415"/>
                  </a:lnTo>
                  <a:lnTo>
                    <a:pt x="61" y="442"/>
                  </a:lnTo>
                  <a:lnTo>
                    <a:pt x="73" y="467"/>
                  </a:lnTo>
                  <a:lnTo>
                    <a:pt x="87" y="492"/>
                  </a:lnTo>
                  <a:lnTo>
                    <a:pt x="104" y="514"/>
                  </a:lnTo>
                  <a:lnTo>
                    <a:pt x="122" y="534"/>
                  </a:lnTo>
                  <a:lnTo>
                    <a:pt x="143" y="553"/>
                  </a:lnTo>
                  <a:lnTo>
                    <a:pt x="165" y="571"/>
                  </a:lnTo>
                  <a:lnTo>
                    <a:pt x="190" y="585"/>
                  </a:lnTo>
                  <a:lnTo>
                    <a:pt x="215" y="598"/>
                  </a:lnTo>
                  <a:lnTo>
                    <a:pt x="242" y="607"/>
                  </a:lnTo>
                  <a:lnTo>
                    <a:pt x="270" y="614"/>
                  </a:lnTo>
                  <a:lnTo>
                    <a:pt x="298" y="619"/>
                  </a:lnTo>
                  <a:lnTo>
                    <a:pt x="328" y="620"/>
                  </a:lnTo>
                  <a:lnTo>
                    <a:pt x="328" y="620"/>
                  </a:lnTo>
                  <a:lnTo>
                    <a:pt x="357" y="619"/>
                  </a:lnTo>
                  <a:lnTo>
                    <a:pt x="387" y="614"/>
                  </a:lnTo>
                  <a:lnTo>
                    <a:pt x="415" y="607"/>
                  </a:lnTo>
                  <a:lnTo>
                    <a:pt x="442" y="598"/>
                  </a:lnTo>
                  <a:lnTo>
                    <a:pt x="467" y="585"/>
                  </a:lnTo>
                  <a:lnTo>
                    <a:pt x="490" y="571"/>
                  </a:lnTo>
                  <a:lnTo>
                    <a:pt x="513" y="553"/>
                  </a:lnTo>
                  <a:lnTo>
                    <a:pt x="533" y="534"/>
                  </a:lnTo>
                  <a:lnTo>
                    <a:pt x="552" y="514"/>
                  </a:lnTo>
                  <a:lnTo>
                    <a:pt x="569" y="492"/>
                  </a:lnTo>
                  <a:lnTo>
                    <a:pt x="584" y="467"/>
                  </a:lnTo>
                  <a:lnTo>
                    <a:pt x="596" y="442"/>
                  </a:lnTo>
                  <a:lnTo>
                    <a:pt x="606" y="415"/>
                  </a:lnTo>
                  <a:lnTo>
                    <a:pt x="614" y="388"/>
                  </a:lnTo>
                  <a:lnTo>
                    <a:pt x="618" y="359"/>
                  </a:lnTo>
                  <a:lnTo>
                    <a:pt x="619" y="329"/>
                  </a:lnTo>
                  <a:lnTo>
                    <a:pt x="619" y="329"/>
                  </a:lnTo>
                  <a:lnTo>
                    <a:pt x="618" y="300"/>
                  </a:lnTo>
                  <a:lnTo>
                    <a:pt x="614" y="270"/>
                  </a:lnTo>
                  <a:lnTo>
                    <a:pt x="606" y="243"/>
                  </a:lnTo>
                  <a:lnTo>
                    <a:pt x="596" y="216"/>
                  </a:lnTo>
                  <a:lnTo>
                    <a:pt x="584" y="191"/>
                  </a:lnTo>
                  <a:lnTo>
                    <a:pt x="569" y="167"/>
                  </a:lnTo>
                  <a:lnTo>
                    <a:pt x="552" y="144"/>
                  </a:lnTo>
                  <a:lnTo>
                    <a:pt x="533" y="124"/>
                  </a:lnTo>
                  <a:lnTo>
                    <a:pt x="513" y="105"/>
                  </a:lnTo>
                  <a:lnTo>
                    <a:pt x="490" y="87"/>
                  </a:lnTo>
                  <a:lnTo>
                    <a:pt x="467" y="74"/>
                  </a:lnTo>
                  <a:lnTo>
                    <a:pt x="442" y="61"/>
                  </a:lnTo>
                  <a:lnTo>
                    <a:pt x="415" y="51"/>
                  </a:lnTo>
                  <a:lnTo>
                    <a:pt x="387" y="44"/>
                  </a:lnTo>
                  <a:lnTo>
                    <a:pt x="357" y="39"/>
                  </a:lnTo>
                  <a:lnTo>
                    <a:pt x="328" y="38"/>
                  </a:lnTo>
                  <a:lnTo>
                    <a:pt x="328"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0" name="Freeform 238">
              <a:extLst>
                <a:ext uri="{FF2B5EF4-FFF2-40B4-BE49-F238E27FC236}">
                  <a16:creationId xmlns:a16="http://schemas.microsoft.com/office/drawing/2014/main" id="{05B6B44C-7980-4FB2-BC7C-F4F2DB5FAFF2}"/>
                </a:ext>
              </a:extLst>
            </p:cNvPr>
            <p:cNvSpPr>
              <a:spLocks/>
            </p:cNvSpPr>
            <p:nvPr/>
          </p:nvSpPr>
          <p:spPr bwMode="auto">
            <a:xfrm>
              <a:off x="3333751" y="2668588"/>
              <a:ext cx="101600" cy="77788"/>
            </a:xfrm>
            <a:custGeom>
              <a:avLst/>
              <a:gdLst>
                <a:gd name="T0" fmla="*/ 38 w 129"/>
                <a:gd name="T1" fmla="*/ 98 h 98"/>
                <a:gd name="T2" fmla="*/ 38 w 129"/>
                <a:gd name="T3" fmla="*/ 98 h 98"/>
                <a:gd name="T4" fmla="*/ 53 w 129"/>
                <a:gd name="T5" fmla="*/ 76 h 98"/>
                <a:gd name="T6" fmla="*/ 73 w 129"/>
                <a:gd name="T7" fmla="*/ 52 h 98"/>
                <a:gd name="T8" fmla="*/ 85 w 129"/>
                <a:gd name="T9" fmla="*/ 40 h 98"/>
                <a:gd name="T10" fmla="*/ 98 w 129"/>
                <a:gd name="T11" fmla="*/ 28 h 98"/>
                <a:gd name="T12" fmla="*/ 113 w 129"/>
                <a:gd name="T13" fmla="*/ 16 h 98"/>
                <a:gd name="T14" fmla="*/ 129 w 129"/>
                <a:gd name="T15" fmla="*/ 4 h 98"/>
                <a:gd name="T16" fmla="*/ 129 w 129"/>
                <a:gd name="T17" fmla="*/ 4 h 98"/>
                <a:gd name="T18" fmla="*/ 115 w 129"/>
                <a:gd name="T19" fmla="*/ 1 h 98"/>
                <a:gd name="T20" fmla="*/ 100 w 129"/>
                <a:gd name="T21" fmla="*/ 0 h 98"/>
                <a:gd name="T22" fmla="*/ 85 w 129"/>
                <a:gd name="T23" fmla="*/ 1 h 98"/>
                <a:gd name="T24" fmla="*/ 70 w 129"/>
                <a:gd name="T25" fmla="*/ 4 h 98"/>
                <a:gd name="T26" fmla="*/ 55 w 129"/>
                <a:gd name="T27" fmla="*/ 8 h 98"/>
                <a:gd name="T28" fmla="*/ 42 w 129"/>
                <a:gd name="T29" fmla="*/ 14 h 98"/>
                <a:gd name="T30" fmla="*/ 30 w 129"/>
                <a:gd name="T31" fmla="*/ 22 h 98"/>
                <a:gd name="T32" fmla="*/ 18 w 129"/>
                <a:gd name="T33" fmla="*/ 33 h 98"/>
                <a:gd name="T34" fmla="*/ 18 w 129"/>
                <a:gd name="T35" fmla="*/ 33 h 98"/>
                <a:gd name="T36" fmla="*/ 8 w 129"/>
                <a:gd name="T37" fmla="*/ 44 h 98"/>
                <a:gd name="T38" fmla="*/ 0 w 129"/>
                <a:gd name="T39" fmla="*/ 56 h 98"/>
                <a:gd name="T40" fmla="*/ 0 w 129"/>
                <a:gd name="T41" fmla="*/ 56 h 98"/>
                <a:gd name="T42" fmla="*/ 0 w 129"/>
                <a:gd name="T43" fmla="*/ 59 h 98"/>
                <a:gd name="T44" fmla="*/ 2 w 129"/>
                <a:gd name="T45" fmla="*/ 61 h 98"/>
                <a:gd name="T46" fmla="*/ 38 w 129"/>
                <a:gd name="T4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9" h="98">
                  <a:moveTo>
                    <a:pt x="38" y="98"/>
                  </a:moveTo>
                  <a:lnTo>
                    <a:pt x="38" y="98"/>
                  </a:lnTo>
                  <a:lnTo>
                    <a:pt x="53" y="76"/>
                  </a:lnTo>
                  <a:lnTo>
                    <a:pt x="73" y="52"/>
                  </a:lnTo>
                  <a:lnTo>
                    <a:pt x="85" y="40"/>
                  </a:lnTo>
                  <a:lnTo>
                    <a:pt x="98" y="28"/>
                  </a:lnTo>
                  <a:lnTo>
                    <a:pt x="113" y="16"/>
                  </a:lnTo>
                  <a:lnTo>
                    <a:pt x="129" y="4"/>
                  </a:lnTo>
                  <a:lnTo>
                    <a:pt x="129" y="4"/>
                  </a:lnTo>
                  <a:lnTo>
                    <a:pt x="115" y="1"/>
                  </a:lnTo>
                  <a:lnTo>
                    <a:pt x="100" y="0"/>
                  </a:lnTo>
                  <a:lnTo>
                    <a:pt x="85" y="1"/>
                  </a:lnTo>
                  <a:lnTo>
                    <a:pt x="70" y="4"/>
                  </a:lnTo>
                  <a:lnTo>
                    <a:pt x="55" y="8"/>
                  </a:lnTo>
                  <a:lnTo>
                    <a:pt x="42" y="14"/>
                  </a:lnTo>
                  <a:lnTo>
                    <a:pt x="30" y="22"/>
                  </a:lnTo>
                  <a:lnTo>
                    <a:pt x="18" y="33"/>
                  </a:lnTo>
                  <a:lnTo>
                    <a:pt x="18" y="33"/>
                  </a:lnTo>
                  <a:lnTo>
                    <a:pt x="8" y="44"/>
                  </a:lnTo>
                  <a:lnTo>
                    <a:pt x="0" y="56"/>
                  </a:lnTo>
                  <a:lnTo>
                    <a:pt x="0" y="56"/>
                  </a:lnTo>
                  <a:lnTo>
                    <a:pt x="0" y="59"/>
                  </a:lnTo>
                  <a:lnTo>
                    <a:pt x="2" y="61"/>
                  </a:lnTo>
                  <a:lnTo>
                    <a:pt x="38" y="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 name="Freeform 239">
              <a:extLst>
                <a:ext uri="{FF2B5EF4-FFF2-40B4-BE49-F238E27FC236}">
                  <a16:creationId xmlns:a16="http://schemas.microsoft.com/office/drawing/2014/main" id="{C3B2F523-CB17-4611-B137-949624E8B71A}"/>
                </a:ext>
              </a:extLst>
            </p:cNvPr>
            <p:cNvSpPr>
              <a:spLocks/>
            </p:cNvSpPr>
            <p:nvPr/>
          </p:nvSpPr>
          <p:spPr bwMode="auto">
            <a:xfrm>
              <a:off x="3463926" y="2774950"/>
              <a:ext cx="79375" cy="104775"/>
            </a:xfrm>
            <a:custGeom>
              <a:avLst/>
              <a:gdLst>
                <a:gd name="T0" fmla="*/ 0 w 99"/>
                <a:gd name="T1" fmla="*/ 92 h 130"/>
                <a:gd name="T2" fmla="*/ 37 w 99"/>
                <a:gd name="T3" fmla="*/ 129 h 130"/>
                <a:gd name="T4" fmla="*/ 37 w 99"/>
                <a:gd name="T5" fmla="*/ 129 h 130"/>
                <a:gd name="T6" fmla="*/ 40 w 99"/>
                <a:gd name="T7" fmla="*/ 130 h 130"/>
                <a:gd name="T8" fmla="*/ 40 w 99"/>
                <a:gd name="T9" fmla="*/ 130 h 130"/>
                <a:gd name="T10" fmla="*/ 43 w 99"/>
                <a:gd name="T11" fmla="*/ 129 h 130"/>
                <a:gd name="T12" fmla="*/ 43 w 99"/>
                <a:gd name="T13" fmla="*/ 129 h 130"/>
                <a:gd name="T14" fmla="*/ 55 w 99"/>
                <a:gd name="T15" fmla="*/ 121 h 130"/>
                <a:gd name="T16" fmla="*/ 65 w 99"/>
                <a:gd name="T17" fmla="*/ 111 h 130"/>
                <a:gd name="T18" fmla="*/ 65 w 99"/>
                <a:gd name="T19" fmla="*/ 111 h 130"/>
                <a:gd name="T20" fmla="*/ 76 w 99"/>
                <a:gd name="T21" fmla="*/ 101 h 130"/>
                <a:gd name="T22" fmla="*/ 84 w 99"/>
                <a:gd name="T23" fmla="*/ 87 h 130"/>
                <a:gd name="T24" fmla="*/ 91 w 99"/>
                <a:gd name="T25" fmla="*/ 74 h 130"/>
                <a:gd name="T26" fmla="*/ 95 w 99"/>
                <a:gd name="T27" fmla="*/ 60 h 130"/>
                <a:gd name="T28" fmla="*/ 98 w 99"/>
                <a:gd name="T29" fmla="*/ 45 h 130"/>
                <a:gd name="T30" fmla="*/ 99 w 99"/>
                <a:gd name="T31" fmla="*/ 31 h 130"/>
                <a:gd name="T32" fmla="*/ 98 w 99"/>
                <a:gd name="T33" fmla="*/ 16 h 130"/>
                <a:gd name="T34" fmla="*/ 94 w 99"/>
                <a:gd name="T35" fmla="*/ 0 h 130"/>
                <a:gd name="T36" fmla="*/ 94 w 99"/>
                <a:gd name="T37" fmla="*/ 0 h 130"/>
                <a:gd name="T38" fmla="*/ 83 w 99"/>
                <a:gd name="T39" fmla="*/ 16 h 130"/>
                <a:gd name="T40" fmla="*/ 71 w 99"/>
                <a:gd name="T41" fmla="*/ 31 h 130"/>
                <a:gd name="T42" fmla="*/ 59 w 99"/>
                <a:gd name="T43" fmla="*/ 44 h 130"/>
                <a:gd name="T44" fmla="*/ 47 w 99"/>
                <a:gd name="T45" fmla="*/ 56 h 130"/>
                <a:gd name="T46" fmla="*/ 22 w 99"/>
                <a:gd name="T47" fmla="*/ 76 h 130"/>
                <a:gd name="T48" fmla="*/ 0 w 99"/>
                <a:gd name="T49" fmla="*/ 92 h 130"/>
                <a:gd name="T50" fmla="*/ 0 w 99"/>
                <a:gd name="T51" fmla="*/ 92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9" h="130">
                  <a:moveTo>
                    <a:pt x="0" y="92"/>
                  </a:moveTo>
                  <a:lnTo>
                    <a:pt x="37" y="129"/>
                  </a:lnTo>
                  <a:lnTo>
                    <a:pt x="37" y="129"/>
                  </a:lnTo>
                  <a:lnTo>
                    <a:pt x="40" y="130"/>
                  </a:lnTo>
                  <a:lnTo>
                    <a:pt x="40" y="130"/>
                  </a:lnTo>
                  <a:lnTo>
                    <a:pt x="43" y="129"/>
                  </a:lnTo>
                  <a:lnTo>
                    <a:pt x="43" y="129"/>
                  </a:lnTo>
                  <a:lnTo>
                    <a:pt x="55" y="121"/>
                  </a:lnTo>
                  <a:lnTo>
                    <a:pt x="65" y="111"/>
                  </a:lnTo>
                  <a:lnTo>
                    <a:pt x="65" y="111"/>
                  </a:lnTo>
                  <a:lnTo>
                    <a:pt x="76" y="101"/>
                  </a:lnTo>
                  <a:lnTo>
                    <a:pt x="84" y="87"/>
                  </a:lnTo>
                  <a:lnTo>
                    <a:pt x="91" y="74"/>
                  </a:lnTo>
                  <a:lnTo>
                    <a:pt x="95" y="60"/>
                  </a:lnTo>
                  <a:lnTo>
                    <a:pt x="98" y="45"/>
                  </a:lnTo>
                  <a:lnTo>
                    <a:pt x="99" y="31"/>
                  </a:lnTo>
                  <a:lnTo>
                    <a:pt x="98" y="16"/>
                  </a:lnTo>
                  <a:lnTo>
                    <a:pt x="94" y="0"/>
                  </a:lnTo>
                  <a:lnTo>
                    <a:pt x="94" y="0"/>
                  </a:lnTo>
                  <a:lnTo>
                    <a:pt x="83" y="16"/>
                  </a:lnTo>
                  <a:lnTo>
                    <a:pt x="71" y="31"/>
                  </a:lnTo>
                  <a:lnTo>
                    <a:pt x="59" y="44"/>
                  </a:lnTo>
                  <a:lnTo>
                    <a:pt x="47" y="56"/>
                  </a:lnTo>
                  <a:lnTo>
                    <a:pt x="22" y="76"/>
                  </a:lnTo>
                  <a:lnTo>
                    <a:pt x="0" y="92"/>
                  </a:lnTo>
                  <a:lnTo>
                    <a:pt x="0"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 name="Freeform 240">
              <a:extLst>
                <a:ext uri="{FF2B5EF4-FFF2-40B4-BE49-F238E27FC236}">
                  <a16:creationId xmlns:a16="http://schemas.microsoft.com/office/drawing/2014/main" id="{B4B801A9-0132-43C9-9224-EBA947003049}"/>
                </a:ext>
              </a:extLst>
            </p:cNvPr>
            <p:cNvSpPr>
              <a:spLocks/>
            </p:cNvSpPr>
            <p:nvPr/>
          </p:nvSpPr>
          <p:spPr bwMode="auto">
            <a:xfrm>
              <a:off x="3330576" y="2828925"/>
              <a:ext cx="52388" cy="50800"/>
            </a:xfrm>
            <a:custGeom>
              <a:avLst/>
              <a:gdLst>
                <a:gd name="T0" fmla="*/ 5 w 64"/>
                <a:gd name="T1" fmla="*/ 64 h 64"/>
                <a:gd name="T2" fmla="*/ 5 w 64"/>
                <a:gd name="T3" fmla="*/ 64 h 64"/>
                <a:gd name="T4" fmla="*/ 14 w 64"/>
                <a:gd name="T5" fmla="*/ 64 h 64"/>
                <a:gd name="T6" fmla="*/ 14 w 64"/>
                <a:gd name="T7" fmla="*/ 64 h 64"/>
                <a:gd name="T8" fmla="*/ 29 w 64"/>
                <a:gd name="T9" fmla="*/ 64 h 64"/>
                <a:gd name="T10" fmla="*/ 40 w 64"/>
                <a:gd name="T11" fmla="*/ 63 h 64"/>
                <a:gd name="T12" fmla="*/ 49 w 64"/>
                <a:gd name="T13" fmla="*/ 59 h 64"/>
                <a:gd name="T14" fmla="*/ 55 w 64"/>
                <a:gd name="T15" fmla="*/ 55 h 64"/>
                <a:gd name="T16" fmla="*/ 55 w 64"/>
                <a:gd name="T17" fmla="*/ 55 h 64"/>
                <a:gd name="T18" fmla="*/ 59 w 64"/>
                <a:gd name="T19" fmla="*/ 50 h 64"/>
                <a:gd name="T20" fmla="*/ 61 w 64"/>
                <a:gd name="T21" fmla="*/ 44 h 64"/>
                <a:gd name="T22" fmla="*/ 64 w 64"/>
                <a:gd name="T23" fmla="*/ 39 h 64"/>
                <a:gd name="T24" fmla="*/ 64 w 64"/>
                <a:gd name="T25" fmla="*/ 32 h 64"/>
                <a:gd name="T26" fmla="*/ 64 w 64"/>
                <a:gd name="T27" fmla="*/ 32 h 64"/>
                <a:gd name="T28" fmla="*/ 64 w 64"/>
                <a:gd name="T29" fmla="*/ 27 h 64"/>
                <a:gd name="T30" fmla="*/ 61 w 64"/>
                <a:gd name="T31" fmla="*/ 20 h 64"/>
                <a:gd name="T32" fmla="*/ 59 w 64"/>
                <a:gd name="T33" fmla="*/ 15 h 64"/>
                <a:gd name="T34" fmla="*/ 55 w 64"/>
                <a:gd name="T35" fmla="*/ 9 h 64"/>
                <a:gd name="T36" fmla="*/ 55 w 64"/>
                <a:gd name="T37" fmla="*/ 9 h 64"/>
                <a:gd name="T38" fmla="*/ 51 w 64"/>
                <a:gd name="T39" fmla="*/ 5 h 64"/>
                <a:gd name="T40" fmla="*/ 45 w 64"/>
                <a:gd name="T41" fmla="*/ 3 h 64"/>
                <a:gd name="T42" fmla="*/ 39 w 64"/>
                <a:gd name="T43" fmla="*/ 1 h 64"/>
                <a:gd name="T44" fmla="*/ 32 w 64"/>
                <a:gd name="T45" fmla="*/ 0 h 64"/>
                <a:gd name="T46" fmla="*/ 32 w 64"/>
                <a:gd name="T47" fmla="*/ 0 h 64"/>
                <a:gd name="T48" fmla="*/ 27 w 64"/>
                <a:gd name="T49" fmla="*/ 1 h 64"/>
                <a:gd name="T50" fmla="*/ 20 w 64"/>
                <a:gd name="T51" fmla="*/ 3 h 64"/>
                <a:gd name="T52" fmla="*/ 14 w 64"/>
                <a:gd name="T53" fmla="*/ 5 h 64"/>
                <a:gd name="T54" fmla="*/ 10 w 64"/>
                <a:gd name="T55" fmla="*/ 9 h 64"/>
                <a:gd name="T56" fmla="*/ 10 w 64"/>
                <a:gd name="T57" fmla="*/ 9 h 64"/>
                <a:gd name="T58" fmla="*/ 6 w 64"/>
                <a:gd name="T59" fmla="*/ 15 h 64"/>
                <a:gd name="T60" fmla="*/ 4 w 64"/>
                <a:gd name="T61" fmla="*/ 23 h 64"/>
                <a:gd name="T62" fmla="*/ 1 w 64"/>
                <a:gd name="T63" fmla="*/ 30 h 64"/>
                <a:gd name="T64" fmla="*/ 1 w 64"/>
                <a:gd name="T65" fmla="*/ 38 h 64"/>
                <a:gd name="T66" fmla="*/ 0 w 64"/>
                <a:gd name="T67" fmla="*/ 52 h 64"/>
                <a:gd name="T68" fmla="*/ 1 w 64"/>
                <a:gd name="T69" fmla="*/ 60 h 64"/>
                <a:gd name="T70" fmla="*/ 1 w 64"/>
                <a:gd name="T71" fmla="*/ 60 h 64"/>
                <a:gd name="T72" fmla="*/ 2 w 64"/>
                <a:gd name="T73" fmla="*/ 63 h 64"/>
                <a:gd name="T74" fmla="*/ 5 w 64"/>
                <a:gd name="T75" fmla="*/ 64 h 64"/>
                <a:gd name="T76" fmla="*/ 5 w 64"/>
                <a:gd name="T7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4" h="64">
                  <a:moveTo>
                    <a:pt x="5" y="64"/>
                  </a:moveTo>
                  <a:lnTo>
                    <a:pt x="5" y="64"/>
                  </a:lnTo>
                  <a:lnTo>
                    <a:pt x="14" y="64"/>
                  </a:lnTo>
                  <a:lnTo>
                    <a:pt x="14" y="64"/>
                  </a:lnTo>
                  <a:lnTo>
                    <a:pt x="29" y="64"/>
                  </a:lnTo>
                  <a:lnTo>
                    <a:pt x="40" y="63"/>
                  </a:lnTo>
                  <a:lnTo>
                    <a:pt x="49" y="59"/>
                  </a:lnTo>
                  <a:lnTo>
                    <a:pt x="55" y="55"/>
                  </a:lnTo>
                  <a:lnTo>
                    <a:pt x="55" y="55"/>
                  </a:lnTo>
                  <a:lnTo>
                    <a:pt x="59" y="50"/>
                  </a:lnTo>
                  <a:lnTo>
                    <a:pt x="61" y="44"/>
                  </a:lnTo>
                  <a:lnTo>
                    <a:pt x="64" y="39"/>
                  </a:lnTo>
                  <a:lnTo>
                    <a:pt x="64" y="32"/>
                  </a:lnTo>
                  <a:lnTo>
                    <a:pt x="64" y="32"/>
                  </a:lnTo>
                  <a:lnTo>
                    <a:pt x="64" y="27"/>
                  </a:lnTo>
                  <a:lnTo>
                    <a:pt x="61" y="20"/>
                  </a:lnTo>
                  <a:lnTo>
                    <a:pt x="59" y="15"/>
                  </a:lnTo>
                  <a:lnTo>
                    <a:pt x="55" y="9"/>
                  </a:lnTo>
                  <a:lnTo>
                    <a:pt x="55" y="9"/>
                  </a:lnTo>
                  <a:lnTo>
                    <a:pt x="51" y="5"/>
                  </a:lnTo>
                  <a:lnTo>
                    <a:pt x="45" y="3"/>
                  </a:lnTo>
                  <a:lnTo>
                    <a:pt x="39" y="1"/>
                  </a:lnTo>
                  <a:lnTo>
                    <a:pt x="32" y="0"/>
                  </a:lnTo>
                  <a:lnTo>
                    <a:pt x="32" y="0"/>
                  </a:lnTo>
                  <a:lnTo>
                    <a:pt x="27" y="1"/>
                  </a:lnTo>
                  <a:lnTo>
                    <a:pt x="20" y="3"/>
                  </a:lnTo>
                  <a:lnTo>
                    <a:pt x="14" y="5"/>
                  </a:lnTo>
                  <a:lnTo>
                    <a:pt x="10" y="9"/>
                  </a:lnTo>
                  <a:lnTo>
                    <a:pt x="10" y="9"/>
                  </a:lnTo>
                  <a:lnTo>
                    <a:pt x="6" y="15"/>
                  </a:lnTo>
                  <a:lnTo>
                    <a:pt x="4" y="23"/>
                  </a:lnTo>
                  <a:lnTo>
                    <a:pt x="1" y="30"/>
                  </a:lnTo>
                  <a:lnTo>
                    <a:pt x="1" y="38"/>
                  </a:lnTo>
                  <a:lnTo>
                    <a:pt x="0" y="52"/>
                  </a:lnTo>
                  <a:lnTo>
                    <a:pt x="1" y="60"/>
                  </a:lnTo>
                  <a:lnTo>
                    <a:pt x="1" y="60"/>
                  </a:lnTo>
                  <a:lnTo>
                    <a:pt x="2" y="63"/>
                  </a:lnTo>
                  <a:lnTo>
                    <a:pt x="5" y="64"/>
                  </a:lnTo>
                  <a:lnTo>
                    <a:pt x="5"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3" name="Freeform 241">
              <a:extLst>
                <a:ext uri="{FF2B5EF4-FFF2-40B4-BE49-F238E27FC236}">
                  <a16:creationId xmlns:a16="http://schemas.microsoft.com/office/drawing/2014/main" id="{086AB7D0-B462-4061-92CB-16B2EB727939}"/>
                </a:ext>
              </a:extLst>
            </p:cNvPr>
            <p:cNvSpPr>
              <a:spLocks/>
            </p:cNvSpPr>
            <p:nvPr/>
          </p:nvSpPr>
          <p:spPr bwMode="auto">
            <a:xfrm>
              <a:off x="3492501" y="2638425"/>
              <a:ext cx="80963" cy="80963"/>
            </a:xfrm>
            <a:custGeom>
              <a:avLst/>
              <a:gdLst>
                <a:gd name="T0" fmla="*/ 79 w 102"/>
                <a:gd name="T1" fmla="*/ 102 h 102"/>
                <a:gd name="T2" fmla="*/ 79 w 102"/>
                <a:gd name="T3" fmla="*/ 102 h 102"/>
                <a:gd name="T4" fmla="*/ 87 w 102"/>
                <a:gd name="T5" fmla="*/ 80 h 102"/>
                <a:gd name="T6" fmla="*/ 94 w 102"/>
                <a:gd name="T7" fmla="*/ 56 h 102"/>
                <a:gd name="T8" fmla="*/ 99 w 102"/>
                <a:gd name="T9" fmla="*/ 32 h 102"/>
                <a:gd name="T10" fmla="*/ 102 w 102"/>
                <a:gd name="T11" fmla="*/ 5 h 102"/>
                <a:gd name="T12" fmla="*/ 102 w 102"/>
                <a:gd name="T13" fmla="*/ 5 h 102"/>
                <a:gd name="T14" fmla="*/ 100 w 102"/>
                <a:gd name="T15" fmla="*/ 4 h 102"/>
                <a:gd name="T16" fmla="*/ 99 w 102"/>
                <a:gd name="T17" fmla="*/ 1 h 102"/>
                <a:gd name="T18" fmla="*/ 99 w 102"/>
                <a:gd name="T19" fmla="*/ 1 h 102"/>
                <a:gd name="T20" fmla="*/ 98 w 102"/>
                <a:gd name="T21" fmla="*/ 0 h 102"/>
                <a:gd name="T22" fmla="*/ 96 w 102"/>
                <a:gd name="T23" fmla="*/ 0 h 102"/>
                <a:gd name="T24" fmla="*/ 96 w 102"/>
                <a:gd name="T25" fmla="*/ 0 h 102"/>
                <a:gd name="T26" fmla="*/ 70 w 102"/>
                <a:gd name="T27" fmla="*/ 2 h 102"/>
                <a:gd name="T28" fmla="*/ 44 w 102"/>
                <a:gd name="T29" fmla="*/ 6 h 102"/>
                <a:gd name="T30" fmla="*/ 21 w 102"/>
                <a:gd name="T31" fmla="*/ 13 h 102"/>
                <a:gd name="T32" fmla="*/ 0 w 102"/>
                <a:gd name="T33" fmla="*/ 21 h 102"/>
                <a:gd name="T34" fmla="*/ 79 w 102"/>
                <a:gd name="T35"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2" h="102">
                  <a:moveTo>
                    <a:pt x="79" y="102"/>
                  </a:moveTo>
                  <a:lnTo>
                    <a:pt x="79" y="102"/>
                  </a:lnTo>
                  <a:lnTo>
                    <a:pt x="87" y="80"/>
                  </a:lnTo>
                  <a:lnTo>
                    <a:pt x="94" y="56"/>
                  </a:lnTo>
                  <a:lnTo>
                    <a:pt x="99" y="32"/>
                  </a:lnTo>
                  <a:lnTo>
                    <a:pt x="102" y="5"/>
                  </a:lnTo>
                  <a:lnTo>
                    <a:pt x="102" y="5"/>
                  </a:lnTo>
                  <a:lnTo>
                    <a:pt x="100" y="4"/>
                  </a:lnTo>
                  <a:lnTo>
                    <a:pt x="99" y="1"/>
                  </a:lnTo>
                  <a:lnTo>
                    <a:pt x="99" y="1"/>
                  </a:lnTo>
                  <a:lnTo>
                    <a:pt x="98" y="0"/>
                  </a:lnTo>
                  <a:lnTo>
                    <a:pt x="96" y="0"/>
                  </a:lnTo>
                  <a:lnTo>
                    <a:pt x="96" y="0"/>
                  </a:lnTo>
                  <a:lnTo>
                    <a:pt x="70" y="2"/>
                  </a:lnTo>
                  <a:lnTo>
                    <a:pt x="44" y="6"/>
                  </a:lnTo>
                  <a:lnTo>
                    <a:pt x="21" y="13"/>
                  </a:lnTo>
                  <a:lnTo>
                    <a:pt x="0" y="21"/>
                  </a:lnTo>
                  <a:lnTo>
                    <a:pt x="7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2">
              <a:extLst>
                <a:ext uri="{FF2B5EF4-FFF2-40B4-BE49-F238E27FC236}">
                  <a16:creationId xmlns:a16="http://schemas.microsoft.com/office/drawing/2014/main" id="{5F0405B8-BD9E-4D1F-9BB7-5796B2E0A353}"/>
                </a:ext>
              </a:extLst>
            </p:cNvPr>
            <p:cNvSpPr>
              <a:spLocks noEditPoints="1"/>
            </p:cNvSpPr>
            <p:nvPr/>
          </p:nvSpPr>
          <p:spPr bwMode="auto">
            <a:xfrm>
              <a:off x="3360738" y="2667000"/>
              <a:ext cx="184150" cy="184150"/>
            </a:xfrm>
            <a:custGeom>
              <a:avLst/>
              <a:gdLst>
                <a:gd name="T0" fmla="*/ 147 w 231"/>
                <a:gd name="T1" fmla="*/ 0 h 232"/>
                <a:gd name="T2" fmla="*/ 110 w 231"/>
                <a:gd name="T3" fmla="*/ 20 h 232"/>
                <a:gd name="T4" fmla="*/ 80 w 231"/>
                <a:gd name="T5" fmla="*/ 44 h 232"/>
                <a:gd name="T6" fmla="*/ 54 w 231"/>
                <a:gd name="T7" fmla="*/ 68 h 232"/>
                <a:gd name="T8" fmla="*/ 19 w 231"/>
                <a:gd name="T9" fmla="*/ 114 h 232"/>
                <a:gd name="T10" fmla="*/ 0 w 231"/>
                <a:gd name="T11" fmla="*/ 149 h 232"/>
                <a:gd name="T12" fmla="*/ 0 w 231"/>
                <a:gd name="T13" fmla="*/ 152 h 232"/>
                <a:gd name="T14" fmla="*/ 78 w 231"/>
                <a:gd name="T15" fmla="*/ 231 h 232"/>
                <a:gd name="T16" fmla="*/ 81 w 231"/>
                <a:gd name="T17" fmla="*/ 232 h 232"/>
                <a:gd name="T18" fmla="*/ 84 w 231"/>
                <a:gd name="T19" fmla="*/ 232 h 232"/>
                <a:gd name="T20" fmla="*/ 100 w 231"/>
                <a:gd name="T21" fmla="*/ 223 h 232"/>
                <a:gd name="T22" fmla="*/ 140 w 231"/>
                <a:gd name="T23" fmla="*/ 197 h 232"/>
                <a:gd name="T24" fmla="*/ 176 w 231"/>
                <a:gd name="T25" fmla="*/ 165 h 232"/>
                <a:gd name="T26" fmla="*/ 200 w 231"/>
                <a:gd name="T27" fmla="*/ 138 h 232"/>
                <a:gd name="T28" fmla="*/ 222 w 231"/>
                <a:gd name="T29" fmla="*/ 105 h 232"/>
                <a:gd name="T30" fmla="*/ 147 w 231"/>
                <a:gd name="T31" fmla="*/ 0 h 232"/>
                <a:gd name="T32" fmla="*/ 152 w 231"/>
                <a:gd name="T33" fmla="*/ 126 h 232"/>
                <a:gd name="T34" fmla="*/ 141 w 231"/>
                <a:gd name="T35" fmla="*/ 133 h 232"/>
                <a:gd name="T36" fmla="*/ 129 w 231"/>
                <a:gd name="T37" fmla="*/ 135 h 232"/>
                <a:gd name="T38" fmla="*/ 122 w 231"/>
                <a:gd name="T39" fmla="*/ 134 h 232"/>
                <a:gd name="T40" fmla="*/ 112 w 231"/>
                <a:gd name="T41" fmla="*/ 130 h 232"/>
                <a:gd name="T42" fmla="*/ 106 w 231"/>
                <a:gd name="T43" fmla="*/ 126 h 232"/>
                <a:gd name="T44" fmla="*/ 100 w 231"/>
                <a:gd name="T45" fmla="*/ 115 h 232"/>
                <a:gd name="T46" fmla="*/ 97 w 231"/>
                <a:gd name="T47" fmla="*/ 103 h 232"/>
                <a:gd name="T48" fmla="*/ 100 w 231"/>
                <a:gd name="T49" fmla="*/ 91 h 232"/>
                <a:gd name="T50" fmla="*/ 106 w 231"/>
                <a:gd name="T51" fmla="*/ 80 h 232"/>
                <a:gd name="T52" fmla="*/ 112 w 231"/>
                <a:gd name="T53" fmla="*/ 76 h 232"/>
                <a:gd name="T54" fmla="*/ 122 w 231"/>
                <a:gd name="T55" fmla="*/ 71 h 232"/>
                <a:gd name="T56" fmla="*/ 129 w 231"/>
                <a:gd name="T57" fmla="*/ 71 h 232"/>
                <a:gd name="T58" fmla="*/ 141 w 231"/>
                <a:gd name="T59" fmla="*/ 74 h 232"/>
                <a:gd name="T60" fmla="*/ 152 w 231"/>
                <a:gd name="T61" fmla="*/ 80 h 232"/>
                <a:gd name="T62" fmla="*/ 156 w 231"/>
                <a:gd name="T63" fmla="*/ 86 h 232"/>
                <a:gd name="T64" fmla="*/ 160 w 231"/>
                <a:gd name="T65" fmla="*/ 97 h 232"/>
                <a:gd name="T66" fmla="*/ 160 w 231"/>
                <a:gd name="T67" fmla="*/ 109 h 232"/>
                <a:gd name="T68" fmla="*/ 156 w 231"/>
                <a:gd name="T69" fmla="*/ 121 h 232"/>
                <a:gd name="T70" fmla="*/ 152 w 231"/>
                <a:gd name="T71" fmla="*/ 12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1" h="232">
                  <a:moveTo>
                    <a:pt x="147" y="0"/>
                  </a:moveTo>
                  <a:lnTo>
                    <a:pt x="147" y="0"/>
                  </a:lnTo>
                  <a:lnTo>
                    <a:pt x="128" y="9"/>
                  </a:lnTo>
                  <a:lnTo>
                    <a:pt x="110" y="20"/>
                  </a:lnTo>
                  <a:lnTo>
                    <a:pt x="94" y="32"/>
                  </a:lnTo>
                  <a:lnTo>
                    <a:pt x="80" y="44"/>
                  </a:lnTo>
                  <a:lnTo>
                    <a:pt x="66" y="56"/>
                  </a:lnTo>
                  <a:lnTo>
                    <a:pt x="54" y="68"/>
                  </a:lnTo>
                  <a:lnTo>
                    <a:pt x="34" y="93"/>
                  </a:lnTo>
                  <a:lnTo>
                    <a:pt x="19" y="114"/>
                  </a:lnTo>
                  <a:lnTo>
                    <a:pt x="8" y="131"/>
                  </a:lnTo>
                  <a:lnTo>
                    <a:pt x="0" y="149"/>
                  </a:lnTo>
                  <a:lnTo>
                    <a:pt x="0" y="149"/>
                  </a:lnTo>
                  <a:lnTo>
                    <a:pt x="0" y="152"/>
                  </a:lnTo>
                  <a:lnTo>
                    <a:pt x="2" y="154"/>
                  </a:lnTo>
                  <a:lnTo>
                    <a:pt x="78" y="231"/>
                  </a:lnTo>
                  <a:lnTo>
                    <a:pt x="78" y="231"/>
                  </a:lnTo>
                  <a:lnTo>
                    <a:pt x="81" y="232"/>
                  </a:lnTo>
                  <a:lnTo>
                    <a:pt x="81" y="232"/>
                  </a:lnTo>
                  <a:lnTo>
                    <a:pt x="84" y="232"/>
                  </a:lnTo>
                  <a:lnTo>
                    <a:pt x="84" y="232"/>
                  </a:lnTo>
                  <a:lnTo>
                    <a:pt x="100" y="223"/>
                  </a:lnTo>
                  <a:lnTo>
                    <a:pt x="118" y="212"/>
                  </a:lnTo>
                  <a:lnTo>
                    <a:pt x="140" y="197"/>
                  </a:lnTo>
                  <a:lnTo>
                    <a:pt x="164" y="177"/>
                  </a:lnTo>
                  <a:lnTo>
                    <a:pt x="176" y="165"/>
                  </a:lnTo>
                  <a:lnTo>
                    <a:pt x="188" y="152"/>
                  </a:lnTo>
                  <a:lnTo>
                    <a:pt x="200" y="138"/>
                  </a:lnTo>
                  <a:lnTo>
                    <a:pt x="211" y="122"/>
                  </a:lnTo>
                  <a:lnTo>
                    <a:pt x="222" y="105"/>
                  </a:lnTo>
                  <a:lnTo>
                    <a:pt x="231" y="86"/>
                  </a:lnTo>
                  <a:lnTo>
                    <a:pt x="147" y="0"/>
                  </a:lnTo>
                  <a:close/>
                  <a:moveTo>
                    <a:pt x="152" y="126"/>
                  </a:moveTo>
                  <a:lnTo>
                    <a:pt x="152" y="126"/>
                  </a:lnTo>
                  <a:lnTo>
                    <a:pt x="147" y="130"/>
                  </a:lnTo>
                  <a:lnTo>
                    <a:pt x="141" y="133"/>
                  </a:lnTo>
                  <a:lnTo>
                    <a:pt x="136" y="134"/>
                  </a:lnTo>
                  <a:lnTo>
                    <a:pt x="129" y="135"/>
                  </a:lnTo>
                  <a:lnTo>
                    <a:pt x="129" y="135"/>
                  </a:lnTo>
                  <a:lnTo>
                    <a:pt x="122" y="134"/>
                  </a:lnTo>
                  <a:lnTo>
                    <a:pt x="117" y="133"/>
                  </a:lnTo>
                  <a:lnTo>
                    <a:pt x="112" y="130"/>
                  </a:lnTo>
                  <a:lnTo>
                    <a:pt x="106" y="126"/>
                  </a:lnTo>
                  <a:lnTo>
                    <a:pt x="106" y="126"/>
                  </a:lnTo>
                  <a:lnTo>
                    <a:pt x="102" y="121"/>
                  </a:lnTo>
                  <a:lnTo>
                    <a:pt x="100" y="115"/>
                  </a:lnTo>
                  <a:lnTo>
                    <a:pt x="97" y="109"/>
                  </a:lnTo>
                  <a:lnTo>
                    <a:pt x="97" y="103"/>
                  </a:lnTo>
                  <a:lnTo>
                    <a:pt x="97" y="97"/>
                  </a:lnTo>
                  <a:lnTo>
                    <a:pt x="100" y="91"/>
                  </a:lnTo>
                  <a:lnTo>
                    <a:pt x="102" y="86"/>
                  </a:lnTo>
                  <a:lnTo>
                    <a:pt x="106" y="80"/>
                  </a:lnTo>
                  <a:lnTo>
                    <a:pt x="106" y="80"/>
                  </a:lnTo>
                  <a:lnTo>
                    <a:pt x="112" y="76"/>
                  </a:lnTo>
                  <a:lnTo>
                    <a:pt x="117" y="74"/>
                  </a:lnTo>
                  <a:lnTo>
                    <a:pt x="122" y="71"/>
                  </a:lnTo>
                  <a:lnTo>
                    <a:pt x="129" y="71"/>
                  </a:lnTo>
                  <a:lnTo>
                    <a:pt x="129" y="71"/>
                  </a:lnTo>
                  <a:lnTo>
                    <a:pt x="136" y="71"/>
                  </a:lnTo>
                  <a:lnTo>
                    <a:pt x="141" y="74"/>
                  </a:lnTo>
                  <a:lnTo>
                    <a:pt x="147" y="76"/>
                  </a:lnTo>
                  <a:lnTo>
                    <a:pt x="152" y="80"/>
                  </a:lnTo>
                  <a:lnTo>
                    <a:pt x="152" y="80"/>
                  </a:lnTo>
                  <a:lnTo>
                    <a:pt x="156" y="86"/>
                  </a:lnTo>
                  <a:lnTo>
                    <a:pt x="159" y="91"/>
                  </a:lnTo>
                  <a:lnTo>
                    <a:pt x="160" y="97"/>
                  </a:lnTo>
                  <a:lnTo>
                    <a:pt x="161" y="103"/>
                  </a:lnTo>
                  <a:lnTo>
                    <a:pt x="160" y="109"/>
                  </a:lnTo>
                  <a:lnTo>
                    <a:pt x="159" y="115"/>
                  </a:lnTo>
                  <a:lnTo>
                    <a:pt x="156" y="121"/>
                  </a:lnTo>
                  <a:lnTo>
                    <a:pt x="152" y="126"/>
                  </a:lnTo>
                  <a:lnTo>
                    <a:pt x="152"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25" name="Group 24">
            <a:extLst>
              <a:ext uri="{FF2B5EF4-FFF2-40B4-BE49-F238E27FC236}">
                <a16:creationId xmlns:a16="http://schemas.microsoft.com/office/drawing/2014/main" id="{C362D732-9C46-4BE0-9860-9377A8D27E46}"/>
              </a:ext>
            </a:extLst>
          </p:cNvPr>
          <p:cNvGrpSpPr>
            <a:grpSpLocks noChangeAspect="1"/>
          </p:cNvGrpSpPr>
          <p:nvPr/>
        </p:nvGrpSpPr>
        <p:grpSpPr>
          <a:xfrm>
            <a:off x="947754" y="4972068"/>
            <a:ext cx="550313" cy="548640"/>
            <a:chOff x="1433513" y="822325"/>
            <a:chExt cx="522288" cy="520700"/>
          </a:xfrm>
          <a:solidFill>
            <a:schemeClr val="accent2"/>
          </a:solidFill>
        </p:grpSpPr>
        <p:sp>
          <p:nvSpPr>
            <p:cNvPr id="26" name="Freeform 7">
              <a:extLst>
                <a:ext uri="{FF2B5EF4-FFF2-40B4-BE49-F238E27FC236}">
                  <a16:creationId xmlns:a16="http://schemas.microsoft.com/office/drawing/2014/main" id="{1B9E18A3-7AC9-4715-89C6-F40205BD82D8}"/>
                </a:ext>
              </a:extLst>
            </p:cNvPr>
            <p:cNvSpPr>
              <a:spLocks noEditPoints="1"/>
            </p:cNvSpPr>
            <p:nvPr/>
          </p:nvSpPr>
          <p:spPr bwMode="auto">
            <a:xfrm>
              <a:off x="1433513" y="822325"/>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26">
              <a:extLst>
                <a:ext uri="{FF2B5EF4-FFF2-40B4-BE49-F238E27FC236}">
                  <a16:creationId xmlns:a16="http://schemas.microsoft.com/office/drawing/2014/main" id="{A6FA03CD-6B72-47E5-80CB-37FBF885EE91}"/>
                </a:ext>
              </a:extLst>
            </p:cNvPr>
            <p:cNvSpPr>
              <a:spLocks noEditPoints="1"/>
            </p:cNvSpPr>
            <p:nvPr/>
          </p:nvSpPr>
          <p:spPr bwMode="auto">
            <a:xfrm>
              <a:off x="1587501" y="974725"/>
              <a:ext cx="227013" cy="231775"/>
            </a:xfrm>
            <a:custGeom>
              <a:avLst/>
              <a:gdLst>
                <a:gd name="T0" fmla="*/ 4 w 285"/>
                <a:gd name="T1" fmla="*/ 173 h 293"/>
                <a:gd name="T2" fmla="*/ 12 w 285"/>
                <a:gd name="T3" fmla="*/ 191 h 293"/>
                <a:gd name="T4" fmla="*/ 32 w 285"/>
                <a:gd name="T5" fmla="*/ 198 h 293"/>
                <a:gd name="T6" fmla="*/ 35 w 285"/>
                <a:gd name="T7" fmla="*/ 214 h 293"/>
                <a:gd name="T8" fmla="*/ 56 w 285"/>
                <a:gd name="T9" fmla="*/ 226 h 293"/>
                <a:gd name="T10" fmla="*/ 62 w 285"/>
                <a:gd name="T11" fmla="*/ 241 h 293"/>
                <a:gd name="T12" fmla="*/ 83 w 285"/>
                <a:gd name="T13" fmla="*/ 253 h 293"/>
                <a:gd name="T14" fmla="*/ 89 w 285"/>
                <a:gd name="T15" fmla="*/ 267 h 293"/>
                <a:gd name="T16" fmla="*/ 110 w 285"/>
                <a:gd name="T17" fmla="*/ 279 h 293"/>
                <a:gd name="T18" fmla="*/ 129 w 285"/>
                <a:gd name="T19" fmla="*/ 270 h 293"/>
                <a:gd name="T20" fmla="*/ 161 w 285"/>
                <a:gd name="T21" fmla="*/ 293 h 293"/>
                <a:gd name="T22" fmla="*/ 179 w 285"/>
                <a:gd name="T23" fmla="*/ 285 h 293"/>
                <a:gd name="T24" fmla="*/ 188 w 285"/>
                <a:gd name="T25" fmla="*/ 266 h 293"/>
                <a:gd name="T26" fmla="*/ 205 w 285"/>
                <a:gd name="T27" fmla="*/ 258 h 293"/>
                <a:gd name="T28" fmla="*/ 212 w 285"/>
                <a:gd name="T29" fmla="*/ 238 h 293"/>
                <a:gd name="T30" fmla="*/ 228 w 285"/>
                <a:gd name="T31" fmla="*/ 235 h 293"/>
                <a:gd name="T32" fmla="*/ 239 w 285"/>
                <a:gd name="T33" fmla="*/ 214 h 293"/>
                <a:gd name="T34" fmla="*/ 247 w 285"/>
                <a:gd name="T35" fmla="*/ 211 h 293"/>
                <a:gd name="T36" fmla="*/ 265 w 285"/>
                <a:gd name="T37" fmla="*/ 196 h 293"/>
                <a:gd name="T38" fmla="*/ 259 w 285"/>
                <a:gd name="T39" fmla="*/ 171 h 293"/>
                <a:gd name="T40" fmla="*/ 278 w 285"/>
                <a:gd name="T41" fmla="*/ 137 h 293"/>
                <a:gd name="T42" fmla="*/ 285 w 285"/>
                <a:gd name="T43" fmla="*/ 90 h 293"/>
                <a:gd name="T44" fmla="*/ 263 w 285"/>
                <a:gd name="T45" fmla="*/ 36 h 293"/>
                <a:gd name="T46" fmla="*/ 201 w 285"/>
                <a:gd name="T47" fmla="*/ 1 h 293"/>
                <a:gd name="T48" fmla="*/ 129 w 285"/>
                <a:gd name="T49" fmla="*/ 4 h 293"/>
                <a:gd name="T50" fmla="*/ 42 w 285"/>
                <a:gd name="T51" fmla="*/ 19 h 293"/>
                <a:gd name="T52" fmla="*/ 1 w 285"/>
                <a:gd name="T53" fmla="*/ 89 h 293"/>
                <a:gd name="T54" fmla="*/ 171 w 285"/>
                <a:gd name="T55" fmla="*/ 278 h 293"/>
                <a:gd name="T56" fmla="*/ 136 w 285"/>
                <a:gd name="T57" fmla="*/ 262 h 293"/>
                <a:gd name="T58" fmla="*/ 171 w 285"/>
                <a:gd name="T59" fmla="*/ 258 h 293"/>
                <a:gd name="T60" fmla="*/ 38 w 285"/>
                <a:gd name="T61" fmla="*/ 36 h 293"/>
                <a:gd name="T62" fmla="*/ 94 w 285"/>
                <a:gd name="T63" fmla="*/ 11 h 293"/>
                <a:gd name="T64" fmla="*/ 114 w 285"/>
                <a:gd name="T65" fmla="*/ 30 h 293"/>
                <a:gd name="T66" fmla="*/ 46 w 285"/>
                <a:gd name="T67" fmla="*/ 103 h 293"/>
                <a:gd name="T68" fmla="*/ 81 w 285"/>
                <a:gd name="T69" fmla="*/ 112 h 293"/>
                <a:gd name="T70" fmla="*/ 118 w 285"/>
                <a:gd name="T71" fmla="*/ 93 h 293"/>
                <a:gd name="T72" fmla="*/ 184 w 285"/>
                <a:gd name="T73" fmla="*/ 106 h 293"/>
                <a:gd name="T74" fmla="*/ 251 w 285"/>
                <a:gd name="T75" fmla="*/ 198 h 293"/>
                <a:gd name="T76" fmla="*/ 208 w 285"/>
                <a:gd name="T77" fmla="*/ 173 h 293"/>
                <a:gd name="T78" fmla="*/ 200 w 285"/>
                <a:gd name="T79" fmla="*/ 173 h 293"/>
                <a:gd name="T80" fmla="*/ 224 w 285"/>
                <a:gd name="T81" fmla="*/ 204 h 293"/>
                <a:gd name="T82" fmla="*/ 224 w 285"/>
                <a:gd name="T83" fmla="*/ 224 h 293"/>
                <a:gd name="T84" fmla="*/ 181 w 285"/>
                <a:gd name="T85" fmla="*/ 200 h 293"/>
                <a:gd name="T86" fmla="*/ 172 w 285"/>
                <a:gd name="T87" fmla="*/ 202 h 293"/>
                <a:gd name="T88" fmla="*/ 200 w 285"/>
                <a:gd name="T89" fmla="*/ 236 h 293"/>
                <a:gd name="T90" fmla="*/ 193 w 285"/>
                <a:gd name="T91" fmla="*/ 254 h 293"/>
                <a:gd name="T92" fmla="*/ 146 w 285"/>
                <a:gd name="T93" fmla="*/ 218 h 293"/>
                <a:gd name="T94" fmla="*/ 130 w 285"/>
                <a:gd name="T95" fmla="*/ 210 h 293"/>
                <a:gd name="T96" fmla="*/ 125 w 285"/>
                <a:gd name="T97" fmla="*/ 198 h 293"/>
                <a:gd name="T98" fmla="*/ 107 w 285"/>
                <a:gd name="T99" fmla="*/ 184 h 293"/>
                <a:gd name="T100" fmla="*/ 101 w 285"/>
                <a:gd name="T101" fmla="*/ 180 h 293"/>
                <a:gd name="T102" fmla="*/ 90 w 285"/>
                <a:gd name="T103" fmla="*/ 160 h 293"/>
                <a:gd name="T104" fmla="*/ 74 w 285"/>
                <a:gd name="T105" fmla="*/ 156 h 293"/>
                <a:gd name="T106" fmla="*/ 63 w 285"/>
                <a:gd name="T107" fmla="*/ 133 h 293"/>
                <a:gd name="T108" fmla="*/ 40 w 285"/>
                <a:gd name="T109" fmla="*/ 132 h 293"/>
                <a:gd name="T110" fmla="*/ 13 w 285"/>
                <a:gd name="T111" fmla="*/ 117 h 293"/>
                <a:gd name="T112" fmla="*/ 38 w 285"/>
                <a:gd name="T113" fmla="*/ 36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5" h="293">
                  <a:moveTo>
                    <a:pt x="12" y="157"/>
                  </a:moveTo>
                  <a:lnTo>
                    <a:pt x="12" y="157"/>
                  </a:lnTo>
                  <a:lnTo>
                    <a:pt x="9" y="160"/>
                  </a:lnTo>
                  <a:lnTo>
                    <a:pt x="7" y="164"/>
                  </a:lnTo>
                  <a:lnTo>
                    <a:pt x="5" y="169"/>
                  </a:lnTo>
                  <a:lnTo>
                    <a:pt x="4" y="173"/>
                  </a:lnTo>
                  <a:lnTo>
                    <a:pt x="4" y="173"/>
                  </a:lnTo>
                  <a:lnTo>
                    <a:pt x="5" y="179"/>
                  </a:lnTo>
                  <a:lnTo>
                    <a:pt x="7" y="183"/>
                  </a:lnTo>
                  <a:lnTo>
                    <a:pt x="9" y="188"/>
                  </a:lnTo>
                  <a:lnTo>
                    <a:pt x="12" y="191"/>
                  </a:lnTo>
                  <a:lnTo>
                    <a:pt x="12" y="191"/>
                  </a:lnTo>
                  <a:lnTo>
                    <a:pt x="16" y="195"/>
                  </a:lnTo>
                  <a:lnTo>
                    <a:pt x="20" y="196"/>
                  </a:lnTo>
                  <a:lnTo>
                    <a:pt x="24" y="198"/>
                  </a:lnTo>
                  <a:lnTo>
                    <a:pt x="29" y="199"/>
                  </a:lnTo>
                  <a:lnTo>
                    <a:pt x="29" y="199"/>
                  </a:lnTo>
                  <a:lnTo>
                    <a:pt x="32" y="198"/>
                  </a:lnTo>
                  <a:lnTo>
                    <a:pt x="32" y="198"/>
                  </a:lnTo>
                  <a:lnTo>
                    <a:pt x="31" y="200"/>
                  </a:lnTo>
                  <a:lnTo>
                    <a:pt x="31" y="200"/>
                  </a:lnTo>
                  <a:lnTo>
                    <a:pt x="32" y="206"/>
                  </a:lnTo>
                  <a:lnTo>
                    <a:pt x="33" y="210"/>
                  </a:lnTo>
                  <a:lnTo>
                    <a:pt x="35" y="214"/>
                  </a:lnTo>
                  <a:lnTo>
                    <a:pt x="39" y="218"/>
                  </a:lnTo>
                  <a:lnTo>
                    <a:pt x="39" y="218"/>
                  </a:lnTo>
                  <a:lnTo>
                    <a:pt x="43" y="222"/>
                  </a:lnTo>
                  <a:lnTo>
                    <a:pt x="47" y="223"/>
                  </a:lnTo>
                  <a:lnTo>
                    <a:pt x="51" y="224"/>
                  </a:lnTo>
                  <a:lnTo>
                    <a:pt x="56" y="226"/>
                  </a:lnTo>
                  <a:lnTo>
                    <a:pt x="56" y="226"/>
                  </a:lnTo>
                  <a:lnTo>
                    <a:pt x="59" y="224"/>
                  </a:lnTo>
                  <a:lnTo>
                    <a:pt x="59" y="224"/>
                  </a:lnTo>
                  <a:lnTo>
                    <a:pt x="59" y="230"/>
                  </a:lnTo>
                  <a:lnTo>
                    <a:pt x="59" y="235"/>
                  </a:lnTo>
                  <a:lnTo>
                    <a:pt x="62" y="241"/>
                  </a:lnTo>
                  <a:lnTo>
                    <a:pt x="66" y="245"/>
                  </a:lnTo>
                  <a:lnTo>
                    <a:pt x="66" y="245"/>
                  </a:lnTo>
                  <a:lnTo>
                    <a:pt x="70" y="249"/>
                  </a:lnTo>
                  <a:lnTo>
                    <a:pt x="74" y="250"/>
                  </a:lnTo>
                  <a:lnTo>
                    <a:pt x="78" y="251"/>
                  </a:lnTo>
                  <a:lnTo>
                    <a:pt x="83" y="253"/>
                  </a:lnTo>
                  <a:lnTo>
                    <a:pt x="83" y="253"/>
                  </a:lnTo>
                  <a:lnTo>
                    <a:pt x="86" y="251"/>
                  </a:lnTo>
                  <a:lnTo>
                    <a:pt x="86" y="251"/>
                  </a:lnTo>
                  <a:lnTo>
                    <a:pt x="86" y="257"/>
                  </a:lnTo>
                  <a:lnTo>
                    <a:pt x="86" y="262"/>
                  </a:lnTo>
                  <a:lnTo>
                    <a:pt x="89" y="267"/>
                  </a:lnTo>
                  <a:lnTo>
                    <a:pt x="93" y="271"/>
                  </a:lnTo>
                  <a:lnTo>
                    <a:pt x="93" y="271"/>
                  </a:lnTo>
                  <a:lnTo>
                    <a:pt x="97" y="275"/>
                  </a:lnTo>
                  <a:lnTo>
                    <a:pt x="101" y="277"/>
                  </a:lnTo>
                  <a:lnTo>
                    <a:pt x="105" y="278"/>
                  </a:lnTo>
                  <a:lnTo>
                    <a:pt x="110" y="279"/>
                  </a:lnTo>
                  <a:lnTo>
                    <a:pt x="110" y="279"/>
                  </a:lnTo>
                  <a:lnTo>
                    <a:pt x="114" y="278"/>
                  </a:lnTo>
                  <a:lnTo>
                    <a:pt x="119" y="277"/>
                  </a:lnTo>
                  <a:lnTo>
                    <a:pt x="123" y="275"/>
                  </a:lnTo>
                  <a:lnTo>
                    <a:pt x="126" y="271"/>
                  </a:lnTo>
                  <a:lnTo>
                    <a:pt x="129" y="270"/>
                  </a:lnTo>
                  <a:lnTo>
                    <a:pt x="144" y="285"/>
                  </a:lnTo>
                  <a:lnTo>
                    <a:pt x="144" y="285"/>
                  </a:lnTo>
                  <a:lnTo>
                    <a:pt x="148" y="289"/>
                  </a:lnTo>
                  <a:lnTo>
                    <a:pt x="152" y="290"/>
                  </a:lnTo>
                  <a:lnTo>
                    <a:pt x="156" y="292"/>
                  </a:lnTo>
                  <a:lnTo>
                    <a:pt x="161" y="293"/>
                  </a:lnTo>
                  <a:lnTo>
                    <a:pt x="161" y="293"/>
                  </a:lnTo>
                  <a:lnTo>
                    <a:pt x="166" y="292"/>
                  </a:lnTo>
                  <a:lnTo>
                    <a:pt x="171" y="290"/>
                  </a:lnTo>
                  <a:lnTo>
                    <a:pt x="175" y="289"/>
                  </a:lnTo>
                  <a:lnTo>
                    <a:pt x="179" y="285"/>
                  </a:lnTo>
                  <a:lnTo>
                    <a:pt x="179" y="285"/>
                  </a:lnTo>
                  <a:lnTo>
                    <a:pt x="181" y="281"/>
                  </a:lnTo>
                  <a:lnTo>
                    <a:pt x="184" y="275"/>
                  </a:lnTo>
                  <a:lnTo>
                    <a:pt x="185" y="270"/>
                  </a:lnTo>
                  <a:lnTo>
                    <a:pt x="185" y="265"/>
                  </a:lnTo>
                  <a:lnTo>
                    <a:pt x="185" y="265"/>
                  </a:lnTo>
                  <a:lnTo>
                    <a:pt x="188" y="266"/>
                  </a:lnTo>
                  <a:lnTo>
                    <a:pt x="188" y="266"/>
                  </a:lnTo>
                  <a:lnTo>
                    <a:pt x="193" y="265"/>
                  </a:lnTo>
                  <a:lnTo>
                    <a:pt x="197" y="263"/>
                  </a:lnTo>
                  <a:lnTo>
                    <a:pt x="201" y="262"/>
                  </a:lnTo>
                  <a:lnTo>
                    <a:pt x="205" y="258"/>
                  </a:lnTo>
                  <a:lnTo>
                    <a:pt x="205" y="258"/>
                  </a:lnTo>
                  <a:lnTo>
                    <a:pt x="208" y="254"/>
                  </a:lnTo>
                  <a:lnTo>
                    <a:pt x="211" y="250"/>
                  </a:lnTo>
                  <a:lnTo>
                    <a:pt x="212" y="246"/>
                  </a:lnTo>
                  <a:lnTo>
                    <a:pt x="212" y="241"/>
                  </a:lnTo>
                  <a:lnTo>
                    <a:pt x="212" y="241"/>
                  </a:lnTo>
                  <a:lnTo>
                    <a:pt x="212" y="238"/>
                  </a:lnTo>
                  <a:lnTo>
                    <a:pt x="212" y="238"/>
                  </a:lnTo>
                  <a:lnTo>
                    <a:pt x="215" y="239"/>
                  </a:lnTo>
                  <a:lnTo>
                    <a:pt x="215" y="239"/>
                  </a:lnTo>
                  <a:lnTo>
                    <a:pt x="220" y="238"/>
                  </a:lnTo>
                  <a:lnTo>
                    <a:pt x="224" y="236"/>
                  </a:lnTo>
                  <a:lnTo>
                    <a:pt x="228" y="235"/>
                  </a:lnTo>
                  <a:lnTo>
                    <a:pt x="232" y="231"/>
                  </a:lnTo>
                  <a:lnTo>
                    <a:pt x="232" y="231"/>
                  </a:lnTo>
                  <a:lnTo>
                    <a:pt x="235" y="227"/>
                  </a:lnTo>
                  <a:lnTo>
                    <a:pt x="238" y="223"/>
                  </a:lnTo>
                  <a:lnTo>
                    <a:pt x="239" y="219"/>
                  </a:lnTo>
                  <a:lnTo>
                    <a:pt x="239" y="214"/>
                  </a:lnTo>
                  <a:lnTo>
                    <a:pt x="239" y="214"/>
                  </a:lnTo>
                  <a:lnTo>
                    <a:pt x="239" y="211"/>
                  </a:lnTo>
                  <a:lnTo>
                    <a:pt x="239" y="211"/>
                  </a:lnTo>
                  <a:lnTo>
                    <a:pt x="242" y="212"/>
                  </a:lnTo>
                  <a:lnTo>
                    <a:pt x="242" y="212"/>
                  </a:lnTo>
                  <a:lnTo>
                    <a:pt x="247" y="211"/>
                  </a:lnTo>
                  <a:lnTo>
                    <a:pt x="251" y="210"/>
                  </a:lnTo>
                  <a:lnTo>
                    <a:pt x="255" y="207"/>
                  </a:lnTo>
                  <a:lnTo>
                    <a:pt x="259" y="204"/>
                  </a:lnTo>
                  <a:lnTo>
                    <a:pt x="259" y="204"/>
                  </a:lnTo>
                  <a:lnTo>
                    <a:pt x="262" y="200"/>
                  </a:lnTo>
                  <a:lnTo>
                    <a:pt x="265" y="196"/>
                  </a:lnTo>
                  <a:lnTo>
                    <a:pt x="266" y="192"/>
                  </a:lnTo>
                  <a:lnTo>
                    <a:pt x="266" y="187"/>
                  </a:lnTo>
                  <a:lnTo>
                    <a:pt x="266" y="183"/>
                  </a:lnTo>
                  <a:lnTo>
                    <a:pt x="265" y="179"/>
                  </a:lnTo>
                  <a:lnTo>
                    <a:pt x="263" y="175"/>
                  </a:lnTo>
                  <a:lnTo>
                    <a:pt x="259" y="171"/>
                  </a:lnTo>
                  <a:lnTo>
                    <a:pt x="258" y="168"/>
                  </a:lnTo>
                  <a:lnTo>
                    <a:pt x="258" y="168"/>
                  </a:lnTo>
                  <a:lnTo>
                    <a:pt x="265" y="161"/>
                  </a:lnTo>
                  <a:lnTo>
                    <a:pt x="270" y="153"/>
                  </a:lnTo>
                  <a:lnTo>
                    <a:pt x="274" y="145"/>
                  </a:lnTo>
                  <a:lnTo>
                    <a:pt x="278" y="137"/>
                  </a:lnTo>
                  <a:lnTo>
                    <a:pt x="281" y="128"/>
                  </a:lnTo>
                  <a:lnTo>
                    <a:pt x="283" y="120"/>
                  </a:lnTo>
                  <a:lnTo>
                    <a:pt x="285" y="110"/>
                  </a:lnTo>
                  <a:lnTo>
                    <a:pt x="285" y="99"/>
                  </a:lnTo>
                  <a:lnTo>
                    <a:pt x="285" y="99"/>
                  </a:lnTo>
                  <a:lnTo>
                    <a:pt x="285" y="90"/>
                  </a:lnTo>
                  <a:lnTo>
                    <a:pt x="283" y="81"/>
                  </a:lnTo>
                  <a:lnTo>
                    <a:pt x="281" y="71"/>
                  </a:lnTo>
                  <a:lnTo>
                    <a:pt x="278" y="62"/>
                  </a:lnTo>
                  <a:lnTo>
                    <a:pt x="274" y="52"/>
                  </a:lnTo>
                  <a:lnTo>
                    <a:pt x="269" y="44"/>
                  </a:lnTo>
                  <a:lnTo>
                    <a:pt x="263" y="36"/>
                  </a:lnTo>
                  <a:lnTo>
                    <a:pt x="256" y="30"/>
                  </a:lnTo>
                  <a:lnTo>
                    <a:pt x="256" y="30"/>
                  </a:lnTo>
                  <a:lnTo>
                    <a:pt x="244" y="19"/>
                  </a:lnTo>
                  <a:lnTo>
                    <a:pt x="231" y="11"/>
                  </a:lnTo>
                  <a:lnTo>
                    <a:pt x="216" y="5"/>
                  </a:lnTo>
                  <a:lnTo>
                    <a:pt x="201" y="1"/>
                  </a:lnTo>
                  <a:lnTo>
                    <a:pt x="187" y="0"/>
                  </a:lnTo>
                  <a:lnTo>
                    <a:pt x="172" y="1"/>
                  </a:lnTo>
                  <a:lnTo>
                    <a:pt x="157" y="4"/>
                  </a:lnTo>
                  <a:lnTo>
                    <a:pt x="142" y="9"/>
                  </a:lnTo>
                  <a:lnTo>
                    <a:pt x="142" y="9"/>
                  </a:lnTo>
                  <a:lnTo>
                    <a:pt x="129" y="4"/>
                  </a:lnTo>
                  <a:lnTo>
                    <a:pt x="113" y="0"/>
                  </a:lnTo>
                  <a:lnTo>
                    <a:pt x="98" y="0"/>
                  </a:lnTo>
                  <a:lnTo>
                    <a:pt x="83" y="1"/>
                  </a:lnTo>
                  <a:lnTo>
                    <a:pt x="68" y="5"/>
                  </a:lnTo>
                  <a:lnTo>
                    <a:pt x="55" y="11"/>
                  </a:lnTo>
                  <a:lnTo>
                    <a:pt x="42" y="19"/>
                  </a:lnTo>
                  <a:lnTo>
                    <a:pt x="29" y="30"/>
                  </a:lnTo>
                  <a:lnTo>
                    <a:pt x="29" y="30"/>
                  </a:lnTo>
                  <a:lnTo>
                    <a:pt x="19" y="43"/>
                  </a:lnTo>
                  <a:lnTo>
                    <a:pt x="11" y="56"/>
                  </a:lnTo>
                  <a:lnTo>
                    <a:pt x="4" y="73"/>
                  </a:lnTo>
                  <a:lnTo>
                    <a:pt x="1" y="89"/>
                  </a:lnTo>
                  <a:lnTo>
                    <a:pt x="0" y="105"/>
                  </a:lnTo>
                  <a:lnTo>
                    <a:pt x="3" y="122"/>
                  </a:lnTo>
                  <a:lnTo>
                    <a:pt x="8" y="137"/>
                  </a:lnTo>
                  <a:lnTo>
                    <a:pt x="16" y="153"/>
                  </a:lnTo>
                  <a:lnTo>
                    <a:pt x="12" y="157"/>
                  </a:lnTo>
                  <a:close/>
                  <a:moveTo>
                    <a:pt x="171" y="278"/>
                  </a:moveTo>
                  <a:lnTo>
                    <a:pt x="171" y="278"/>
                  </a:lnTo>
                  <a:lnTo>
                    <a:pt x="166" y="281"/>
                  </a:lnTo>
                  <a:lnTo>
                    <a:pt x="161" y="281"/>
                  </a:lnTo>
                  <a:lnTo>
                    <a:pt x="156" y="281"/>
                  </a:lnTo>
                  <a:lnTo>
                    <a:pt x="152" y="278"/>
                  </a:lnTo>
                  <a:lnTo>
                    <a:pt x="136" y="262"/>
                  </a:lnTo>
                  <a:lnTo>
                    <a:pt x="146" y="251"/>
                  </a:lnTo>
                  <a:lnTo>
                    <a:pt x="146" y="251"/>
                  </a:lnTo>
                  <a:lnTo>
                    <a:pt x="150" y="246"/>
                  </a:lnTo>
                  <a:lnTo>
                    <a:pt x="153" y="241"/>
                  </a:lnTo>
                  <a:lnTo>
                    <a:pt x="171" y="258"/>
                  </a:lnTo>
                  <a:lnTo>
                    <a:pt x="171" y="258"/>
                  </a:lnTo>
                  <a:lnTo>
                    <a:pt x="173" y="263"/>
                  </a:lnTo>
                  <a:lnTo>
                    <a:pt x="175" y="267"/>
                  </a:lnTo>
                  <a:lnTo>
                    <a:pt x="173" y="273"/>
                  </a:lnTo>
                  <a:lnTo>
                    <a:pt x="171" y="278"/>
                  </a:lnTo>
                  <a:lnTo>
                    <a:pt x="171" y="278"/>
                  </a:lnTo>
                  <a:close/>
                  <a:moveTo>
                    <a:pt x="38" y="36"/>
                  </a:moveTo>
                  <a:lnTo>
                    <a:pt x="38" y="36"/>
                  </a:lnTo>
                  <a:lnTo>
                    <a:pt x="47" y="28"/>
                  </a:lnTo>
                  <a:lnTo>
                    <a:pt x="58" y="22"/>
                  </a:lnTo>
                  <a:lnTo>
                    <a:pt x="70" y="16"/>
                  </a:lnTo>
                  <a:lnTo>
                    <a:pt x="81" y="14"/>
                  </a:lnTo>
                  <a:lnTo>
                    <a:pt x="94" y="11"/>
                  </a:lnTo>
                  <a:lnTo>
                    <a:pt x="106" y="11"/>
                  </a:lnTo>
                  <a:lnTo>
                    <a:pt x="118" y="12"/>
                  </a:lnTo>
                  <a:lnTo>
                    <a:pt x="130" y="16"/>
                  </a:lnTo>
                  <a:lnTo>
                    <a:pt x="130" y="16"/>
                  </a:lnTo>
                  <a:lnTo>
                    <a:pt x="122" y="22"/>
                  </a:lnTo>
                  <a:lnTo>
                    <a:pt x="114" y="30"/>
                  </a:lnTo>
                  <a:lnTo>
                    <a:pt x="47" y="97"/>
                  </a:lnTo>
                  <a:lnTo>
                    <a:pt x="47" y="97"/>
                  </a:lnTo>
                  <a:lnTo>
                    <a:pt x="46" y="98"/>
                  </a:lnTo>
                  <a:lnTo>
                    <a:pt x="46" y="101"/>
                  </a:lnTo>
                  <a:lnTo>
                    <a:pt x="46" y="101"/>
                  </a:lnTo>
                  <a:lnTo>
                    <a:pt x="46" y="103"/>
                  </a:lnTo>
                  <a:lnTo>
                    <a:pt x="48" y="105"/>
                  </a:lnTo>
                  <a:lnTo>
                    <a:pt x="48" y="105"/>
                  </a:lnTo>
                  <a:lnTo>
                    <a:pt x="54" y="108"/>
                  </a:lnTo>
                  <a:lnTo>
                    <a:pt x="60" y="110"/>
                  </a:lnTo>
                  <a:lnTo>
                    <a:pt x="70" y="112"/>
                  </a:lnTo>
                  <a:lnTo>
                    <a:pt x="81" y="112"/>
                  </a:lnTo>
                  <a:lnTo>
                    <a:pt x="93" y="109"/>
                  </a:lnTo>
                  <a:lnTo>
                    <a:pt x="99" y="106"/>
                  </a:lnTo>
                  <a:lnTo>
                    <a:pt x="105" y="103"/>
                  </a:lnTo>
                  <a:lnTo>
                    <a:pt x="111" y="99"/>
                  </a:lnTo>
                  <a:lnTo>
                    <a:pt x="118" y="93"/>
                  </a:lnTo>
                  <a:lnTo>
                    <a:pt x="118" y="93"/>
                  </a:lnTo>
                  <a:lnTo>
                    <a:pt x="129" y="98"/>
                  </a:lnTo>
                  <a:lnTo>
                    <a:pt x="145" y="103"/>
                  </a:lnTo>
                  <a:lnTo>
                    <a:pt x="154" y="105"/>
                  </a:lnTo>
                  <a:lnTo>
                    <a:pt x="164" y="106"/>
                  </a:lnTo>
                  <a:lnTo>
                    <a:pt x="175" y="108"/>
                  </a:lnTo>
                  <a:lnTo>
                    <a:pt x="184" y="106"/>
                  </a:lnTo>
                  <a:lnTo>
                    <a:pt x="252" y="177"/>
                  </a:lnTo>
                  <a:lnTo>
                    <a:pt x="252" y="177"/>
                  </a:lnTo>
                  <a:lnTo>
                    <a:pt x="255" y="183"/>
                  </a:lnTo>
                  <a:lnTo>
                    <a:pt x="255" y="187"/>
                  </a:lnTo>
                  <a:lnTo>
                    <a:pt x="254" y="192"/>
                  </a:lnTo>
                  <a:lnTo>
                    <a:pt x="251" y="198"/>
                  </a:lnTo>
                  <a:lnTo>
                    <a:pt x="251" y="198"/>
                  </a:lnTo>
                  <a:lnTo>
                    <a:pt x="247" y="200"/>
                  </a:lnTo>
                  <a:lnTo>
                    <a:pt x="242" y="200"/>
                  </a:lnTo>
                  <a:lnTo>
                    <a:pt x="236" y="200"/>
                  </a:lnTo>
                  <a:lnTo>
                    <a:pt x="232" y="198"/>
                  </a:lnTo>
                  <a:lnTo>
                    <a:pt x="208" y="173"/>
                  </a:lnTo>
                  <a:lnTo>
                    <a:pt x="208" y="173"/>
                  </a:lnTo>
                  <a:lnTo>
                    <a:pt x="207" y="172"/>
                  </a:lnTo>
                  <a:lnTo>
                    <a:pt x="204" y="171"/>
                  </a:lnTo>
                  <a:lnTo>
                    <a:pt x="203" y="172"/>
                  </a:lnTo>
                  <a:lnTo>
                    <a:pt x="200" y="173"/>
                  </a:lnTo>
                  <a:lnTo>
                    <a:pt x="200" y="173"/>
                  </a:lnTo>
                  <a:lnTo>
                    <a:pt x="199" y="175"/>
                  </a:lnTo>
                  <a:lnTo>
                    <a:pt x="199" y="177"/>
                  </a:lnTo>
                  <a:lnTo>
                    <a:pt x="199" y="179"/>
                  </a:lnTo>
                  <a:lnTo>
                    <a:pt x="200" y="180"/>
                  </a:lnTo>
                  <a:lnTo>
                    <a:pt x="224" y="204"/>
                  </a:lnTo>
                  <a:lnTo>
                    <a:pt x="224" y="204"/>
                  </a:lnTo>
                  <a:lnTo>
                    <a:pt x="227" y="210"/>
                  </a:lnTo>
                  <a:lnTo>
                    <a:pt x="228" y="214"/>
                  </a:lnTo>
                  <a:lnTo>
                    <a:pt x="228" y="214"/>
                  </a:lnTo>
                  <a:lnTo>
                    <a:pt x="227" y="219"/>
                  </a:lnTo>
                  <a:lnTo>
                    <a:pt x="224" y="224"/>
                  </a:lnTo>
                  <a:lnTo>
                    <a:pt x="224" y="224"/>
                  </a:lnTo>
                  <a:lnTo>
                    <a:pt x="220" y="227"/>
                  </a:lnTo>
                  <a:lnTo>
                    <a:pt x="215" y="227"/>
                  </a:lnTo>
                  <a:lnTo>
                    <a:pt x="209" y="227"/>
                  </a:lnTo>
                  <a:lnTo>
                    <a:pt x="205" y="224"/>
                  </a:lnTo>
                  <a:lnTo>
                    <a:pt x="181" y="200"/>
                  </a:lnTo>
                  <a:lnTo>
                    <a:pt x="181" y="200"/>
                  </a:lnTo>
                  <a:lnTo>
                    <a:pt x="180" y="199"/>
                  </a:lnTo>
                  <a:lnTo>
                    <a:pt x="177" y="198"/>
                  </a:lnTo>
                  <a:lnTo>
                    <a:pt x="176" y="199"/>
                  </a:lnTo>
                  <a:lnTo>
                    <a:pt x="173" y="200"/>
                  </a:lnTo>
                  <a:lnTo>
                    <a:pt x="173" y="200"/>
                  </a:lnTo>
                  <a:lnTo>
                    <a:pt x="172" y="202"/>
                  </a:lnTo>
                  <a:lnTo>
                    <a:pt x="172" y="203"/>
                  </a:lnTo>
                  <a:lnTo>
                    <a:pt x="172" y="206"/>
                  </a:lnTo>
                  <a:lnTo>
                    <a:pt x="173" y="207"/>
                  </a:lnTo>
                  <a:lnTo>
                    <a:pt x="197" y="231"/>
                  </a:lnTo>
                  <a:lnTo>
                    <a:pt x="197" y="231"/>
                  </a:lnTo>
                  <a:lnTo>
                    <a:pt x="200" y="236"/>
                  </a:lnTo>
                  <a:lnTo>
                    <a:pt x="201" y="241"/>
                  </a:lnTo>
                  <a:lnTo>
                    <a:pt x="201" y="241"/>
                  </a:lnTo>
                  <a:lnTo>
                    <a:pt x="200" y="246"/>
                  </a:lnTo>
                  <a:lnTo>
                    <a:pt x="197" y="251"/>
                  </a:lnTo>
                  <a:lnTo>
                    <a:pt x="197" y="251"/>
                  </a:lnTo>
                  <a:lnTo>
                    <a:pt x="193" y="254"/>
                  </a:lnTo>
                  <a:lnTo>
                    <a:pt x="188" y="254"/>
                  </a:lnTo>
                  <a:lnTo>
                    <a:pt x="183" y="254"/>
                  </a:lnTo>
                  <a:lnTo>
                    <a:pt x="179" y="251"/>
                  </a:lnTo>
                  <a:lnTo>
                    <a:pt x="152" y="224"/>
                  </a:lnTo>
                  <a:lnTo>
                    <a:pt x="152" y="224"/>
                  </a:lnTo>
                  <a:lnTo>
                    <a:pt x="146" y="218"/>
                  </a:lnTo>
                  <a:lnTo>
                    <a:pt x="146" y="218"/>
                  </a:lnTo>
                  <a:lnTo>
                    <a:pt x="144" y="214"/>
                  </a:lnTo>
                  <a:lnTo>
                    <a:pt x="140" y="212"/>
                  </a:lnTo>
                  <a:lnTo>
                    <a:pt x="134" y="211"/>
                  </a:lnTo>
                  <a:lnTo>
                    <a:pt x="130" y="210"/>
                  </a:lnTo>
                  <a:lnTo>
                    <a:pt x="130" y="210"/>
                  </a:lnTo>
                  <a:lnTo>
                    <a:pt x="128" y="210"/>
                  </a:lnTo>
                  <a:lnTo>
                    <a:pt x="128" y="210"/>
                  </a:lnTo>
                  <a:lnTo>
                    <a:pt x="128" y="207"/>
                  </a:lnTo>
                  <a:lnTo>
                    <a:pt x="128" y="207"/>
                  </a:lnTo>
                  <a:lnTo>
                    <a:pt x="126" y="203"/>
                  </a:lnTo>
                  <a:lnTo>
                    <a:pt x="125" y="198"/>
                  </a:lnTo>
                  <a:lnTo>
                    <a:pt x="123" y="193"/>
                  </a:lnTo>
                  <a:lnTo>
                    <a:pt x="119" y="191"/>
                  </a:lnTo>
                  <a:lnTo>
                    <a:pt x="119" y="191"/>
                  </a:lnTo>
                  <a:lnTo>
                    <a:pt x="117" y="187"/>
                  </a:lnTo>
                  <a:lnTo>
                    <a:pt x="113" y="185"/>
                  </a:lnTo>
                  <a:lnTo>
                    <a:pt x="107" y="184"/>
                  </a:lnTo>
                  <a:lnTo>
                    <a:pt x="103" y="183"/>
                  </a:lnTo>
                  <a:lnTo>
                    <a:pt x="103" y="183"/>
                  </a:lnTo>
                  <a:lnTo>
                    <a:pt x="101" y="183"/>
                  </a:lnTo>
                  <a:lnTo>
                    <a:pt x="101" y="183"/>
                  </a:lnTo>
                  <a:lnTo>
                    <a:pt x="101" y="180"/>
                  </a:lnTo>
                  <a:lnTo>
                    <a:pt x="101" y="180"/>
                  </a:lnTo>
                  <a:lnTo>
                    <a:pt x="99" y="176"/>
                  </a:lnTo>
                  <a:lnTo>
                    <a:pt x="98" y="171"/>
                  </a:lnTo>
                  <a:lnTo>
                    <a:pt x="97" y="167"/>
                  </a:lnTo>
                  <a:lnTo>
                    <a:pt x="93" y="164"/>
                  </a:lnTo>
                  <a:lnTo>
                    <a:pt x="93" y="164"/>
                  </a:lnTo>
                  <a:lnTo>
                    <a:pt x="90" y="160"/>
                  </a:lnTo>
                  <a:lnTo>
                    <a:pt x="86" y="159"/>
                  </a:lnTo>
                  <a:lnTo>
                    <a:pt x="81" y="157"/>
                  </a:lnTo>
                  <a:lnTo>
                    <a:pt x="76" y="156"/>
                  </a:lnTo>
                  <a:lnTo>
                    <a:pt x="76" y="156"/>
                  </a:lnTo>
                  <a:lnTo>
                    <a:pt x="74" y="156"/>
                  </a:lnTo>
                  <a:lnTo>
                    <a:pt x="74" y="156"/>
                  </a:lnTo>
                  <a:lnTo>
                    <a:pt x="74" y="151"/>
                  </a:lnTo>
                  <a:lnTo>
                    <a:pt x="72" y="146"/>
                  </a:lnTo>
                  <a:lnTo>
                    <a:pt x="70" y="141"/>
                  </a:lnTo>
                  <a:lnTo>
                    <a:pt x="66" y="137"/>
                  </a:lnTo>
                  <a:lnTo>
                    <a:pt x="66" y="137"/>
                  </a:lnTo>
                  <a:lnTo>
                    <a:pt x="63" y="133"/>
                  </a:lnTo>
                  <a:lnTo>
                    <a:pt x="59" y="132"/>
                  </a:lnTo>
                  <a:lnTo>
                    <a:pt x="54" y="130"/>
                  </a:lnTo>
                  <a:lnTo>
                    <a:pt x="50" y="129"/>
                  </a:lnTo>
                  <a:lnTo>
                    <a:pt x="50" y="129"/>
                  </a:lnTo>
                  <a:lnTo>
                    <a:pt x="44" y="130"/>
                  </a:lnTo>
                  <a:lnTo>
                    <a:pt x="40" y="132"/>
                  </a:lnTo>
                  <a:lnTo>
                    <a:pt x="36" y="133"/>
                  </a:lnTo>
                  <a:lnTo>
                    <a:pt x="32" y="137"/>
                  </a:lnTo>
                  <a:lnTo>
                    <a:pt x="23" y="145"/>
                  </a:lnTo>
                  <a:lnTo>
                    <a:pt x="23" y="145"/>
                  </a:lnTo>
                  <a:lnTo>
                    <a:pt x="17" y="132"/>
                  </a:lnTo>
                  <a:lnTo>
                    <a:pt x="13" y="117"/>
                  </a:lnTo>
                  <a:lnTo>
                    <a:pt x="11" y="103"/>
                  </a:lnTo>
                  <a:lnTo>
                    <a:pt x="12" y="89"/>
                  </a:lnTo>
                  <a:lnTo>
                    <a:pt x="15" y="75"/>
                  </a:lnTo>
                  <a:lnTo>
                    <a:pt x="20" y="61"/>
                  </a:lnTo>
                  <a:lnTo>
                    <a:pt x="28" y="48"/>
                  </a:lnTo>
                  <a:lnTo>
                    <a:pt x="38" y="36"/>
                  </a:lnTo>
                  <a:lnTo>
                    <a:pt x="38"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Tree>
    <p:extLst>
      <p:ext uri="{BB962C8B-B14F-4D97-AF65-F5344CB8AC3E}">
        <p14:creationId xmlns:p14="http://schemas.microsoft.com/office/powerpoint/2010/main" val="258274127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B18C785-08AA-4345-A27C-814DF33667E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2" name="think-cell Slide" r:id="rId7" imgW="415" imgH="416" progId="TCLayout.ActiveDocument.1">
                  <p:embed/>
                </p:oleObj>
              </mc:Choice>
              <mc:Fallback>
                <p:oleObj name="think-cell Slide" r:id="rId7" imgW="415" imgH="416" progId="TCLayout.ActiveDocument.1">
                  <p:embed/>
                  <p:pic>
                    <p:nvPicPr>
                      <p:cNvPr id="6" name="Object 5" hidden="1">
                        <a:extLst>
                          <a:ext uri="{FF2B5EF4-FFF2-40B4-BE49-F238E27FC236}">
                            <a16:creationId xmlns:a16="http://schemas.microsoft.com/office/drawing/2014/main" id="{FB18C785-08AA-4345-A27C-814DF33667E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AFEEB53-572C-4EC3-8752-4298AADD547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CD596107-0331-4224-A2DE-190041BBE865}"/>
              </a:ext>
            </a:extLst>
          </p:cNvPr>
          <p:cNvSpPr>
            <a:spLocks noGrp="1"/>
          </p:cNvSpPr>
          <p:nvPr>
            <p:ph type="title"/>
          </p:nvPr>
        </p:nvSpPr>
        <p:spPr>
          <a:xfrm>
            <a:off x="914400" y="694944"/>
            <a:ext cx="10363200" cy="594360"/>
          </a:xfrm>
        </p:spPr>
        <p:txBody>
          <a:bodyPr/>
          <a:lstStyle/>
          <a:p>
            <a:r>
              <a:rPr lang="en-US" dirty="0"/>
              <a:t>Customer Situation</a:t>
            </a:r>
          </a:p>
        </p:txBody>
      </p:sp>
      <p:sp>
        <p:nvSpPr>
          <p:cNvPr id="3" name="Text Placeholder 2">
            <a:extLst>
              <a:ext uri="{FF2B5EF4-FFF2-40B4-BE49-F238E27FC236}">
                <a16:creationId xmlns:a16="http://schemas.microsoft.com/office/drawing/2014/main" id="{D67BF524-4870-41D7-8763-AE72AEB3A815}"/>
              </a:ext>
            </a:extLst>
          </p:cNvPr>
          <p:cNvSpPr>
            <a:spLocks noGrp="1"/>
          </p:cNvSpPr>
          <p:nvPr>
            <p:ph type="body" sz="quarter" idx="14"/>
          </p:nvPr>
        </p:nvSpPr>
        <p:spPr/>
        <p:txBody>
          <a:bodyPr/>
          <a:lstStyle/>
          <a:p>
            <a:r>
              <a:rPr lang="en-US" dirty="0"/>
              <a:t>A contingency of generator owners have made their latest purchase in anticipation of, or in response to, a significant power outage</a:t>
            </a:r>
          </a:p>
          <a:p>
            <a:endParaRPr lang="en-US" dirty="0"/>
          </a:p>
        </p:txBody>
      </p:sp>
      <p:sp>
        <p:nvSpPr>
          <p:cNvPr id="29" name="Text Placeholder 28">
            <a:extLst>
              <a:ext uri="{FF2B5EF4-FFF2-40B4-BE49-F238E27FC236}">
                <a16:creationId xmlns:a16="http://schemas.microsoft.com/office/drawing/2014/main" id="{B9399444-3F5D-43E7-BFF5-408242060D24}"/>
              </a:ext>
            </a:extLst>
          </p:cNvPr>
          <p:cNvSpPr>
            <a:spLocks noGrp="1"/>
          </p:cNvSpPr>
          <p:nvPr>
            <p:ph type="body" sz="quarter" idx="15"/>
          </p:nvPr>
        </p:nvSpPr>
        <p:spPr/>
        <p:txBody>
          <a:bodyPr/>
          <a:lstStyle/>
          <a:p>
            <a:r>
              <a:rPr lang="en-US" dirty="0"/>
              <a:t>Content slides</a:t>
            </a:r>
          </a:p>
        </p:txBody>
      </p:sp>
      <p:sp>
        <p:nvSpPr>
          <p:cNvPr id="7" name="Trapezoid 6">
            <a:extLst>
              <a:ext uri="{FF2B5EF4-FFF2-40B4-BE49-F238E27FC236}">
                <a16:creationId xmlns:a16="http://schemas.microsoft.com/office/drawing/2014/main" id="{FC58EF12-430D-426F-B6D9-324B49176B61}"/>
              </a:ext>
            </a:extLst>
          </p:cNvPr>
          <p:cNvSpPr/>
          <p:nvPr/>
        </p:nvSpPr>
        <p:spPr>
          <a:xfrm rot="17137249">
            <a:off x="8213766" y="4123924"/>
            <a:ext cx="1698507" cy="1239193"/>
          </a:xfrm>
          <a:prstGeom prst="trapezoid">
            <a:avLst>
              <a:gd name="adj" fmla="val 5994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3C2524D8-A35F-4C5D-B804-F873FBB85B10}"/>
              </a:ext>
            </a:extLst>
          </p:cNvPr>
          <p:cNvGrpSpPr/>
          <p:nvPr/>
        </p:nvGrpSpPr>
        <p:grpSpPr>
          <a:xfrm>
            <a:off x="914971" y="1950990"/>
            <a:ext cx="9070493" cy="4160180"/>
            <a:chOff x="987907" y="2002609"/>
            <a:chExt cx="10216186" cy="4160180"/>
          </a:xfrm>
        </p:grpSpPr>
        <p:sp>
          <p:nvSpPr>
            <p:cNvPr id="9" name="TextBox 8">
              <a:extLst>
                <a:ext uri="{FF2B5EF4-FFF2-40B4-BE49-F238E27FC236}">
                  <a16:creationId xmlns:a16="http://schemas.microsoft.com/office/drawing/2014/main" id="{69527E8A-C7B8-44A8-A75E-A5D5A035C255}"/>
                </a:ext>
              </a:extLst>
            </p:cNvPr>
            <p:cNvSpPr txBox="1"/>
            <p:nvPr/>
          </p:nvSpPr>
          <p:spPr bwMode="gray">
            <a:xfrm>
              <a:off x="987907" y="2351780"/>
              <a:ext cx="3307236" cy="1456809"/>
            </a:xfrm>
            <a:prstGeom prst="rect">
              <a:avLst/>
            </a:prstGeom>
            <a:noFill/>
          </p:spPr>
          <p:txBody>
            <a:bodyPr vert="horz" wrap="square" lIns="0" tIns="0" rIns="0" bIns="0" rtlCol="0">
              <a:spAutoFit/>
            </a:bodyPr>
            <a:lstStyle/>
            <a:p>
              <a:pPr marL="171450" marR="0" lvl="0" indent="-171450" algn="l" defTabSz="914400" rtl="0" eaLnBrk="1" fontAlgn="auto" latinLnBrk="0" hangingPunct="1">
                <a:lnSpc>
                  <a:spcPct val="100000"/>
                </a:lnSpc>
                <a:spcBef>
                  <a:spcPts val="400"/>
                </a:spcBef>
                <a:spcAft>
                  <a:spcPts val="0"/>
                </a:spcAft>
                <a:buClrTx/>
                <a:buSzPct val="65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Homeowner who lives in a place where power outages are common, often due to bad weather (e.g., hurricanes in Florida)</a:t>
              </a:r>
            </a:p>
            <a:p>
              <a:pPr marL="171450" marR="0" lvl="0" indent="-171450" algn="l" defTabSz="914400" rtl="0" eaLnBrk="1" fontAlgn="auto" latinLnBrk="0" hangingPunct="1">
                <a:lnSpc>
                  <a:spcPct val="100000"/>
                </a:lnSpc>
                <a:spcBef>
                  <a:spcPts val="400"/>
                </a:spcBef>
                <a:spcAft>
                  <a:spcPts val="0"/>
                </a:spcAft>
                <a:buClrTx/>
                <a:buSzPct val="65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Uses his or her generator only a few times a year at home during power outages</a:t>
              </a:r>
            </a:p>
            <a:p>
              <a:pPr marL="171450" marR="0" lvl="0" indent="-171450" algn="l" defTabSz="914400" rtl="0" eaLnBrk="1" fontAlgn="auto" latinLnBrk="0" hangingPunct="1">
                <a:lnSpc>
                  <a:spcPct val="100000"/>
                </a:lnSpc>
                <a:spcBef>
                  <a:spcPts val="400"/>
                </a:spcBef>
                <a:spcAft>
                  <a:spcPts val="0"/>
                </a:spcAft>
                <a:buClrTx/>
                <a:buSzPct val="65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Is not well-versed in the generator’s operation, maintenance protocols, or specifications</a:t>
              </a:r>
            </a:p>
          </p:txBody>
        </p:sp>
        <p:sp>
          <p:nvSpPr>
            <p:cNvPr id="10" name="Rectangle 9">
              <a:extLst>
                <a:ext uri="{FF2B5EF4-FFF2-40B4-BE49-F238E27FC236}">
                  <a16:creationId xmlns:a16="http://schemas.microsoft.com/office/drawing/2014/main" id="{35FCDB55-FF58-4BFF-9858-26A70AABBA27}"/>
                </a:ext>
              </a:extLst>
            </p:cNvPr>
            <p:cNvSpPr/>
            <p:nvPr/>
          </p:nvSpPr>
          <p:spPr>
            <a:xfrm>
              <a:off x="987907" y="2005783"/>
              <a:ext cx="3307236" cy="2692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a:ea typeface="+mn-ea"/>
                  <a:cs typeface="+mn-cs"/>
                </a:rPr>
                <a:t>Purchase and Usage Environment</a:t>
              </a:r>
            </a:p>
          </p:txBody>
        </p:sp>
        <p:sp>
          <p:nvSpPr>
            <p:cNvPr id="11" name="TextBox 10">
              <a:extLst>
                <a:ext uri="{FF2B5EF4-FFF2-40B4-BE49-F238E27FC236}">
                  <a16:creationId xmlns:a16="http://schemas.microsoft.com/office/drawing/2014/main" id="{BCF4BF0C-1F58-4BE5-9E15-1608CCDCBC70}"/>
                </a:ext>
              </a:extLst>
            </p:cNvPr>
            <p:cNvSpPr txBox="1"/>
            <p:nvPr/>
          </p:nvSpPr>
          <p:spPr bwMode="gray">
            <a:xfrm>
              <a:off x="4442382" y="2351780"/>
              <a:ext cx="3307236" cy="1236236"/>
            </a:xfrm>
            <a:prstGeom prst="rect">
              <a:avLst/>
            </a:prstGeom>
            <a:noFill/>
          </p:spPr>
          <p:txBody>
            <a:bodyPr vert="horz" wrap="square" lIns="0" tIns="0" rIns="0" bIns="0" rtlCol="0">
              <a:spAutoFit/>
            </a:bodyPr>
            <a:lstStyle/>
            <a:p>
              <a:pPr marL="171450" marR="0" lvl="0" indent="-171450" algn="l" defTabSz="914400" rtl="0" eaLnBrk="1" fontAlgn="auto" latinLnBrk="0" hangingPunct="1">
                <a:lnSpc>
                  <a:spcPct val="100000"/>
                </a:lnSpc>
                <a:spcBef>
                  <a:spcPts val="400"/>
                </a:spcBef>
                <a:spcAft>
                  <a:spcPts val="0"/>
                </a:spcAft>
                <a:buClrTx/>
                <a:buSzPct val="65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Less interested in the specific product attributes, so long as the generator is functional in moment of need</a:t>
              </a:r>
            </a:p>
            <a:p>
              <a:pPr marL="171450" marR="0" lvl="0" indent="-171450" algn="l" defTabSz="914400" rtl="0" eaLnBrk="1" fontAlgn="auto" latinLnBrk="0" hangingPunct="1">
                <a:lnSpc>
                  <a:spcPct val="100000"/>
                </a:lnSpc>
                <a:spcBef>
                  <a:spcPts val="400"/>
                </a:spcBef>
                <a:spcAft>
                  <a:spcPts val="0"/>
                </a:spcAft>
                <a:buClrTx/>
                <a:buSzPct val="65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Wants the simplest user experience possible, and does not want to have to read a manual at the moment that the power is out</a:t>
              </a:r>
            </a:p>
          </p:txBody>
        </p:sp>
        <p:sp>
          <p:nvSpPr>
            <p:cNvPr id="12" name="Rectangle 11">
              <a:extLst>
                <a:ext uri="{FF2B5EF4-FFF2-40B4-BE49-F238E27FC236}">
                  <a16:creationId xmlns:a16="http://schemas.microsoft.com/office/drawing/2014/main" id="{AB45A37B-308A-45A6-ACA1-49594A656E8E}"/>
                </a:ext>
              </a:extLst>
            </p:cNvPr>
            <p:cNvSpPr/>
            <p:nvPr/>
          </p:nvSpPr>
          <p:spPr>
            <a:xfrm>
              <a:off x="4442382" y="2005783"/>
              <a:ext cx="3307236" cy="2692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a:ea typeface="+mn-ea"/>
                  <a:cs typeface="+mn-cs"/>
                </a:rPr>
                <a:t>Desired Experience</a:t>
              </a:r>
            </a:p>
          </p:txBody>
        </p:sp>
        <p:sp>
          <p:nvSpPr>
            <p:cNvPr id="13" name="TextBox 12">
              <a:extLst>
                <a:ext uri="{FF2B5EF4-FFF2-40B4-BE49-F238E27FC236}">
                  <a16:creationId xmlns:a16="http://schemas.microsoft.com/office/drawing/2014/main" id="{4ECF3E15-ECEB-40EB-9326-E62E3A3F8F15}"/>
                </a:ext>
              </a:extLst>
            </p:cNvPr>
            <p:cNvSpPr txBox="1"/>
            <p:nvPr/>
          </p:nvSpPr>
          <p:spPr bwMode="gray">
            <a:xfrm>
              <a:off x="7896857" y="2348606"/>
              <a:ext cx="3307236" cy="1456809"/>
            </a:xfrm>
            <a:prstGeom prst="rect">
              <a:avLst/>
            </a:prstGeom>
            <a:noFill/>
          </p:spPr>
          <p:txBody>
            <a:bodyPr vert="horz" wrap="square" lIns="0" tIns="0" rIns="0" bIns="0" rtlCol="0">
              <a:spAutoFit/>
            </a:bodyPr>
            <a:lstStyle/>
            <a:p>
              <a:pPr marL="171450" marR="0" lvl="0" indent="-171450" algn="l" defTabSz="914400" rtl="0" eaLnBrk="1" fontAlgn="auto" latinLnBrk="0" hangingPunct="1">
                <a:lnSpc>
                  <a:spcPct val="100000"/>
                </a:lnSpc>
                <a:spcBef>
                  <a:spcPts val="400"/>
                </a:spcBef>
                <a:spcAft>
                  <a:spcPts val="0"/>
                </a:spcAft>
                <a:buClrTx/>
                <a:buSzPct val="65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Fairly price-inelastic if purchasing reactively (just prior to a big storm, or after an outage)</a:t>
              </a:r>
            </a:p>
            <a:p>
              <a:pPr marL="171450" marR="0" lvl="0" indent="-171450" algn="l" defTabSz="914400" rtl="0" eaLnBrk="1" fontAlgn="auto" latinLnBrk="0" hangingPunct="1">
                <a:lnSpc>
                  <a:spcPct val="100000"/>
                </a:lnSpc>
                <a:spcBef>
                  <a:spcPts val="400"/>
                </a:spcBef>
                <a:spcAft>
                  <a:spcPts val="0"/>
                </a:spcAft>
                <a:buClrTx/>
                <a:buSzPct val="65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Defaults to brands with which he or she is already familiar, or trusted name brands</a:t>
              </a:r>
            </a:p>
            <a:p>
              <a:pPr marL="171450" marR="0" lvl="0" indent="-171450" algn="l" defTabSz="914400" rtl="0" eaLnBrk="1" fontAlgn="auto" latinLnBrk="0" hangingPunct="1">
                <a:lnSpc>
                  <a:spcPct val="100000"/>
                </a:lnSpc>
                <a:spcBef>
                  <a:spcPts val="400"/>
                </a:spcBef>
                <a:spcAft>
                  <a:spcPts val="0"/>
                </a:spcAft>
                <a:buClrTx/>
                <a:buSzPct val="65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Product must only satisfy immediate wattage needs, with a trade-off between wattage and portability</a:t>
              </a:r>
            </a:p>
          </p:txBody>
        </p:sp>
        <p:sp>
          <p:nvSpPr>
            <p:cNvPr id="14" name="Rectangle 13">
              <a:extLst>
                <a:ext uri="{FF2B5EF4-FFF2-40B4-BE49-F238E27FC236}">
                  <a16:creationId xmlns:a16="http://schemas.microsoft.com/office/drawing/2014/main" id="{B3AB11B1-D7FB-437E-92D0-4611834DD1C4}"/>
                </a:ext>
              </a:extLst>
            </p:cNvPr>
            <p:cNvSpPr/>
            <p:nvPr/>
          </p:nvSpPr>
          <p:spPr>
            <a:xfrm>
              <a:off x="7896857" y="2002609"/>
              <a:ext cx="3307236" cy="2692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a:ea typeface="+mn-ea"/>
                  <a:cs typeface="+mn-cs"/>
                </a:rPr>
                <a:t>Product / Brand Beliefs and Associations</a:t>
              </a:r>
            </a:p>
          </p:txBody>
        </p:sp>
        <p:sp>
          <p:nvSpPr>
            <p:cNvPr id="15" name="TextBox 14">
              <a:extLst>
                <a:ext uri="{FF2B5EF4-FFF2-40B4-BE49-F238E27FC236}">
                  <a16:creationId xmlns:a16="http://schemas.microsoft.com/office/drawing/2014/main" id="{6002B4E8-3410-4E60-9E5F-711B8904B158}"/>
                </a:ext>
              </a:extLst>
            </p:cNvPr>
            <p:cNvSpPr txBox="1"/>
            <p:nvPr/>
          </p:nvSpPr>
          <p:spPr bwMode="gray">
            <a:xfrm>
              <a:off x="2677492" y="4875257"/>
              <a:ext cx="3307236" cy="1066959"/>
            </a:xfrm>
            <a:prstGeom prst="rect">
              <a:avLst/>
            </a:prstGeom>
            <a:noFill/>
          </p:spPr>
          <p:txBody>
            <a:bodyPr vert="horz" wrap="square" lIns="0" tIns="0" rIns="0" bIns="0" rtlCol="0">
              <a:spAutoFit/>
            </a:bodyPr>
            <a:lstStyle/>
            <a:p>
              <a:pPr marL="171450" marR="0" lvl="0" indent="-171450" algn="l" defTabSz="914400" rtl="0" eaLnBrk="1" fontAlgn="auto" latinLnBrk="0" hangingPunct="1">
                <a:lnSpc>
                  <a:spcPct val="100000"/>
                </a:lnSpc>
                <a:spcBef>
                  <a:spcPts val="400"/>
                </a:spcBef>
                <a:spcAft>
                  <a:spcPts val="0"/>
                </a:spcAft>
                <a:buClrTx/>
                <a:buSzPct val="65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Doesn’t agonize over different options; chooses what is in stock, or what is recommended by the most reliable source in the moment</a:t>
              </a:r>
            </a:p>
            <a:p>
              <a:pPr marL="171450" marR="0" lvl="0" indent="-171450" algn="l" defTabSz="914400" rtl="0" eaLnBrk="1" fontAlgn="auto" latinLnBrk="0" hangingPunct="1">
                <a:lnSpc>
                  <a:spcPct val="100000"/>
                </a:lnSpc>
                <a:spcBef>
                  <a:spcPts val="400"/>
                </a:spcBef>
                <a:spcAft>
                  <a:spcPts val="0"/>
                </a:spcAft>
                <a:buClrTx/>
                <a:buSzPct val="65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If bought proactively, keeps generator in the original packaging</a:t>
              </a:r>
            </a:p>
          </p:txBody>
        </p:sp>
        <p:sp>
          <p:nvSpPr>
            <p:cNvPr id="16" name="Rectangle 15">
              <a:extLst>
                <a:ext uri="{FF2B5EF4-FFF2-40B4-BE49-F238E27FC236}">
                  <a16:creationId xmlns:a16="http://schemas.microsoft.com/office/drawing/2014/main" id="{9FFC54A3-C293-4B51-9C2B-06BE7FC87411}"/>
                </a:ext>
              </a:extLst>
            </p:cNvPr>
            <p:cNvSpPr/>
            <p:nvPr/>
          </p:nvSpPr>
          <p:spPr>
            <a:xfrm>
              <a:off x="2667000" y="4529260"/>
              <a:ext cx="6858000" cy="2692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a:ea typeface="+mn-ea"/>
                  <a:cs typeface="+mn-cs"/>
                </a:rPr>
                <a:t>Purchase and Usage Behavior</a:t>
              </a:r>
            </a:p>
          </p:txBody>
        </p:sp>
        <p:sp>
          <p:nvSpPr>
            <p:cNvPr id="17" name="TextBox 16">
              <a:extLst>
                <a:ext uri="{FF2B5EF4-FFF2-40B4-BE49-F238E27FC236}">
                  <a16:creationId xmlns:a16="http://schemas.microsoft.com/office/drawing/2014/main" id="{819DE4EC-3823-4B68-8080-B13AAAEFEC10}"/>
                </a:ext>
              </a:extLst>
            </p:cNvPr>
            <p:cNvSpPr txBox="1"/>
            <p:nvPr/>
          </p:nvSpPr>
          <p:spPr bwMode="gray">
            <a:xfrm>
              <a:off x="6199898" y="4875257"/>
              <a:ext cx="3307236" cy="1287532"/>
            </a:xfrm>
            <a:prstGeom prst="rect">
              <a:avLst/>
            </a:prstGeom>
            <a:noFill/>
          </p:spPr>
          <p:txBody>
            <a:bodyPr vert="horz" wrap="square" lIns="0" tIns="0" rIns="0" bIns="0" rtlCol="0">
              <a:spAutoFit/>
            </a:bodyPr>
            <a:lstStyle/>
            <a:p>
              <a:pPr marL="171450" marR="0" lvl="0" indent="-171450" algn="l" defTabSz="914400" rtl="0" eaLnBrk="1" fontAlgn="auto" latinLnBrk="0" hangingPunct="1">
                <a:lnSpc>
                  <a:spcPct val="100000"/>
                </a:lnSpc>
                <a:spcBef>
                  <a:spcPts val="400"/>
                </a:spcBef>
                <a:spcAft>
                  <a:spcPts val="0"/>
                </a:spcAft>
                <a:buClrTx/>
                <a:buSzPct val="65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Does not study generator functionality extensively following purchase</a:t>
              </a:r>
            </a:p>
            <a:p>
              <a:pPr marL="171450" marR="0" lvl="0" indent="-171450" algn="l" defTabSz="914400" rtl="0" eaLnBrk="1" fontAlgn="auto" latinLnBrk="0" hangingPunct="1">
                <a:lnSpc>
                  <a:spcPct val="100000"/>
                </a:lnSpc>
                <a:spcBef>
                  <a:spcPts val="400"/>
                </a:spcBef>
                <a:spcAft>
                  <a:spcPts val="0"/>
                </a:spcAft>
                <a:buClrTx/>
                <a:buSzPct val="65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Consumption focus is short-term – to get through emergency period</a:t>
              </a:r>
            </a:p>
            <a:p>
              <a:pPr marL="171450" marR="0" lvl="0" indent="-171450" algn="l" defTabSz="914400" rtl="0" eaLnBrk="1" fontAlgn="auto" latinLnBrk="0" hangingPunct="1">
                <a:lnSpc>
                  <a:spcPct val="100000"/>
                </a:lnSpc>
                <a:spcBef>
                  <a:spcPts val="400"/>
                </a:spcBef>
                <a:spcAft>
                  <a:spcPts val="0"/>
                </a:spcAft>
                <a:buClrTx/>
                <a:buSzPct val="65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Following use, stores in basement or garage and rarely checks on generator performance prior to next event</a:t>
              </a:r>
            </a:p>
          </p:txBody>
        </p:sp>
        <p:sp>
          <p:nvSpPr>
            <p:cNvPr id="18" name="Down Arrow 6">
              <a:extLst>
                <a:ext uri="{FF2B5EF4-FFF2-40B4-BE49-F238E27FC236}">
                  <a16:creationId xmlns:a16="http://schemas.microsoft.com/office/drawing/2014/main" id="{07AE4E01-1459-464D-858A-1FCDDA6B4F77}"/>
                </a:ext>
              </a:extLst>
            </p:cNvPr>
            <p:cNvSpPr/>
            <p:nvPr/>
          </p:nvSpPr>
          <p:spPr>
            <a:xfrm>
              <a:off x="5976917" y="3995456"/>
              <a:ext cx="238167" cy="480828"/>
            </a:xfrm>
            <a:prstGeom prst="down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9" name="Down Arrow 17">
              <a:extLst>
                <a:ext uri="{FF2B5EF4-FFF2-40B4-BE49-F238E27FC236}">
                  <a16:creationId xmlns:a16="http://schemas.microsoft.com/office/drawing/2014/main" id="{5ABF2C69-CCA4-4B58-99F5-34DC04A98FA5}"/>
                </a:ext>
              </a:extLst>
            </p:cNvPr>
            <p:cNvSpPr/>
            <p:nvPr/>
          </p:nvSpPr>
          <p:spPr>
            <a:xfrm rot="19329495">
              <a:off x="4212870" y="4004068"/>
              <a:ext cx="238167" cy="480828"/>
            </a:xfrm>
            <a:prstGeom prst="down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20" name="Down Arrow 18">
              <a:extLst>
                <a:ext uri="{FF2B5EF4-FFF2-40B4-BE49-F238E27FC236}">
                  <a16:creationId xmlns:a16="http://schemas.microsoft.com/office/drawing/2014/main" id="{06B6A2D9-E6B0-4D0F-BBCF-41E47F1D5839}"/>
                </a:ext>
              </a:extLst>
            </p:cNvPr>
            <p:cNvSpPr/>
            <p:nvPr/>
          </p:nvSpPr>
          <p:spPr>
            <a:xfrm rot="1983747">
              <a:off x="7740963" y="3995457"/>
              <a:ext cx="238167" cy="480828"/>
            </a:xfrm>
            <a:prstGeom prst="down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Open Sans"/>
                <a:ea typeface="+mn-ea"/>
                <a:cs typeface="+mn-cs"/>
              </a:endParaRPr>
            </a:p>
          </p:txBody>
        </p:sp>
      </p:grpSp>
      <p:grpSp>
        <p:nvGrpSpPr>
          <p:cNvPr id="21" name="Group 20">
            <a:extLst>
              <a:ext uri="{FF2B5EF4-FFF2-40B4-BE49-F238E27FC236}">
                <a16:creationId xmlns:a16="http://schemas.microsoft.com/office/drawing/2014/main" id="{108F5C8D-DBEC-4D74-961B-8704C905EEE8}"/>
              </a:ext>
            </a:extLst>
          </p:cNvPr>
          <p:cNvGrpSpPr/>
          <p:nvPr/>
        </p:nvGrpSpPr>
        <p:grpSpPr>
          <a:xfrm>
            <a:off x="9146631" y="3955174"/>
            <a:ext cx="2545842" cy="2545842"/>
            <a:chOff x="9146631" y="3955174"/>
            <a:chExt cx="2545842" cy="2545842"/>
          </a:xfrm>
          <a:solidFill>
            <a:schemeClr val="accent2"/>
          </a:solidFill>
        </p:grpSpPr>
        <p:sp>
          <p:nvSpPr>
            <p:cNvPr id="22" name="Oval 21">
              <a:extLst>
                <a:ext uri="{FF2B5EF4-FFF2-40B4-BE49-F238E27FC236}">
                  <a16:creationId xmlns:a16="http://schemas.microsoft.com/office/drawing/2014/main" id="{CC09B001-9E54-4902-804C-F1AA541F7F50}"/>
                </a:ext>
              </a:extLst>
            </p:cNvPr>
            <p:cNvSpPr/>
            <p:nvPr/>
          </p:nvSpPr>
          <p:spPr>
            <a:xfrm>
              <a:off x="9146631" y="3955174"/>
              <a:ext cx="2545842" cy="2545842"/>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23" name="TextBox 22">
              <a:extLst>
                <a:ext uri="{FF2B5EF4-FFF2-40B4-BE49-F238E27FC236}">
                  <a16:creationId xmlns:a16="http://schemas.microsoft.com/office/drawing/2014/main" id="{74F14417-14A2-4AE0-BFCC-EB9B49C892B3}"/>
                </a:ext>
              </a:extLst>
            </p:cNvPr>
            <p:cNvSpPr txBox="1"/>
            <p:nvPr/>
          </p:nvSpPr>
          <p:spPr>
            <a:xfrm>
              <a:off x="10252889" y="4526803"/>
              <a:ext cx="336979" cy="230832"/>
            </a:xfrm>
            <a:prstGeom prst="rect">
              <a:avLst/>
            </a:prstGeom>
            <a:grpFill/>
            <a:ln>
              <a:noFill/>
            </a:ln>
          </p:spPr>
          <p:txBody>
            <a:bodyPr wrap="square" lIns="0" tIns="0" rIns="0" bIns="0" rtlCol="0">
              <a:spAutoFit/>
            </a:bodyPr>
            <a:lstStyle/>
            <a:p>
              <a:pPr marL="0" marR="0" lvl="0" indent="0" algn="l" defTabSz="914400" rtl="0" eaLnBrk="1" fontAlgn="base" latinLnBrk="0" hangingPunct="1">
                <a:lnSpc>
                  <a:spcPts val="18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000000"/>
                  </a:solidFill>
                  <a:effectLst/>
                  <a:uLnTx/>
                  <a:uFillTx/>
                  <a:latin typeface="Georgia"/>
                  <a:ea typeface="+mn-ea"/>
                  <a:cs typeface="Georgia"/>
                </a:rPr>
                <a:t>“</a:t>
              </a:r>
            </a:p>
          </p:txBody>
        </p:sp>
        <p:sp>
          <p:nvSpPr>
            <p:cNvPr id="24" name="Text Box 8">
              <a:extLst>
                <a:ext uri="{FF2B5EF4-FFF2-40B4-BE49-F238E27FC236}">
                  <a16:creationId xmlns:a16="http://schemas.microsoft.com/office/drawing/2014/main" id="{602E6C45-7CA2-488A-9502-F47680703C8D}"/>
                </a:ext>
              </a:extLst>
            </p:cNvPr>
            <p:cNvSpPr txBox="1">
              <a:spLocks noChangeArrowheads="1"/>
            </p:cNvSpPr>
            <p:nvPr>
              <p:custDataLst>
                <p:tags r:id="rId4"/>
              </p:custDataLst>
            </p:nvPr>
          </p:nvSpPr>
          <p:spPr bwMode="auto">
            <a:xfrm>
              <a:off x="9483705" y="4664696"/>
              <a:ext cx="1871694" cy="1092607"/>
            </a:xfrm>
            <a:prstGeom prst="rect">
              <a:avLst/>
            </a:prstGeom>
            <a:grpFill/>
            <a:ln w="9525">
              <a:noFill/>
              <a:miter lim="800000"/>
              <a:headEnd/>
              <a:tailEnd/>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1" u="none" strike="noStrike" kern="1200" cap="none" spc="0" normalizeH="0" baseline="0" noProof="0" dirty="0">
                  <a:ln>
                    <a:noFill/>
                  </a:ln>
                  <a:solidFill>
                    <a:srgbClr val="000000"/>
                  </a:solidFill>
                  <a:effectLst/>
                  <a:uLnTx/>
                  <a:uFillTx/>
                  <a:latin typeface="Open Sans"/>
                  <a:ea typeface="ヒラギノ角ゴ Pro W3" charset="-128"/>
                  <a:cs typeface="Georgia"/>
                </a:rPr>
                <a:t>I would have bought it on a street corner. When a hurricane is coming, you go anywhere!</a:t>
              </a:r>
            </a:p>
          </p:txBody>
        </p:sp>
        <p:sp>
          <p:nvSpPr>
            <p:cNvPr id="25" name="TextBox 24">
              <a:extLst>
                <a:ext uri="{FF2B5EF4-FFF2-40B4-BE49-F238E27FC236}">
                  <a16:creationId xmlns:a16="http://schemas.microsoft.com/office/drawing/2014/main" id="{EFACFC8C-F144-48CF-9C3B-7943B47394CE}"/>
                </a:ext>
              </a:extLst>
            </p:cNvPr>
            <p:cNvSpPr txBox="1"/>
            <p:nvPr/>
          </p:nvSpPr>
          <p:spPr>
            <a:xfrm>
              <a:off x="9483705" y="5832228"/>
              <a:ext cx="1871694" cy="261610"/>
            </a:xfrm>
            <a:prstGeom prst="rect">
              <a:avLst/>
            </a:prstGeom>
            <a:grp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Open Sans"/>
                  <a:ea typeface="+mn-ea"/>
                  <a:cs typeface="+mn-cs"/>
                </a:rPr>
                <a:t>-Kelly, Homeowner</a:t>
              </a:r>
            </a:p>
          </p:txBody>
        </p:sp>
      </p:grpSp>
    </p:spTree>
    <p:extLst>
      <p:ext uri="{BB962C8B-B14F-4D97-AF65-F5344CB8AC3E}">
        <p14:creationId xmlns:p14="http://schemas.microsoft.com/office/powerpoint/2010/main" val="223634213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6F5B0E9-59A9-4F23-86CA-C0C780C2C44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0" name="think-cell Slide" r:id="rId6" imgW="415" imgH="416" progId="TCLayout.ActiveDocument.1">
                  <p:embed/>
                </p:oleObj>
              </mc:Choice>
              <mc:Fallback>
                <p:oleObj name="think-cell Slide" r:id="rId6" imgW="415" imgH="416" progId="TCLayout.ActiveDocument.1">
                  <p:embed/>
                  <p:pic>
                    <p:nvPicPr>
                      <p:cNvPr id="5" name="Object 4" hidden="1">
                        <a:extLst>
                          <a:ext uri="{FF2B5EF4-FFF2-40B4-BE49-F238E27FC236}">
                            <a16:creationId xmlns:a16="http://schemas.microsoft.com/office/drawing/2014/main" id="{D6F5B0E9-59A9-4F23-86CA-C0C780C2C44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7191112-74D0-47BC-A3C4-5BE06A3D46C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EF0F8BD6-7BD4-44C5-B863-B7F3CCE86C37}"/>
              </a:ext>
            </a:extLst>
          </p:cNvPr>
          <p:cNvSpPr>
            <a:spLocks noGrp="1"/>
          </p:cNvSpPr>
          <p:nvPr>
            <p:ph type="title"/>
          </p:nvPr>
        </p:nvSpPr>
        <p:spPr/>
        <p:txBody>
          <a:bodyPr/>
          <a:lstStyle/>
          <a:p>
            <a:r>
              <a:rPr lang="en-US" dirty="0"/>
              <a:t>Consumers Seeking Unique Experiences</a:t>
            </a:r>
          </a:p>
        </p:txBody>
      </p:sp>
      <p:sp>
        <p:nvSpPr>
          <p:cNvPr id="3" name="Text Placeholder 2">
            <a:extLst>
              <a:ext uri="{FF2B5EF4-FFF2-40B4-BE49-F238E27FC236}">
                <a16:creationId xmlns:a16="http://schemas.microsoft.com/office/drawing/2014/main" id="{1D4A2B05-2683-44C8-887E-2E5FFDC17A01}"/>
              </a:ext>
            </a:extLst>
          </p:cNvPr>
          <p:cNvSpPr>
            <a:spLocks noGrp="1"/>
          </p:cNvSpPr>
          <p:nvPr>
            <p:ph type="body" sz="quarter" idx="14"/>
          </p:nvPr>
        </p:nvSpPr>
        <p:spPr/>
        <p:txBody>
          <a:bodyPr/>
          <a:lstStyle/>
          <a:p>
            <a:r>
              <a:rPr lang="en-US" dirty="0"/>
              <a:t>With a plethora of choices, consumers are spending their dollars wisely and spending them with retailers that offer the better choices and experiences</a:t>
            </a:r>
          </a:p>
        </p:txBody>
      </p:sp>
      <p:sp>
        <p:nvSpPr>
          <p:cNvPr id="35" name="Text Placeholder 34">
            <a:extLst>
              <a:ext uri="{FF2B5EF4-FFF2-40B4-BE49-F238E27FC236}">
                <a16:creationId xmlns:a16="http://schemas.microsoft.com/office/drawing/2014/main" id="{23C9139A-A042-488F-A12A-FA4D80FB120B}"/>
              </a:ext>
            </a:extLst>
          </p:cNvPr>
          <p:cNvSpPr>
            <a:spLocks noGrp="1"/>
          </p:cNvSpPr>
          <p:nvPr>
            <p:ph type="body" sz="quarter" idx="15"/>
          </p:nvPr>
        </p:nvSpPr>
        <p:spPr/>
        <p:txBody>
          <a:bodyPr/>
          <a:lstStyle/>
          <a:p>
            <a:r>
              <a:rPr lang="en-US" dirty="0"/>
              <a:t>text</a:t>
            </a:r>
          </a:p>
        </p:txBody>
      </p:sp>
      <p:sp>
        <p:nvSpPr>
          <p:cNvPr id="6" name="Rectangle 5">
            <a:extLst>
              <a:ext uri="{FF2B5EF4-FFF2-40B4-BE49-F238E27FC236}">
                <a16:creationId xmlns:a16="http://schemas.microsoft.com/office/drawing/2014/main" id="{B94C080B-CB38-4A8E-B310-A93BC413A525}"/>
              </a:ext>
            </a:extLst>
          </p:cNvPr>
          <p:cNvSpPr/>
          <p:nvPr/>
        </p:nvSpPr>
        <p:spPr>
          <a:xfrm rot="16200000">
            <a:off x="331541" y="2716200"/>
            <a:ext cx="1828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7" name="TextBox 6">
            <a:extLst>
              <a:ext uri="{FF2B5EF4-FFF2-40B4-BE49-F238E27FC236}">
                <a16:creationId xmlns:a16="http://schemas.microsoft.com/office/drawing/2014/main" id="{CD9D7F24-63F7-4D5C-B492-4B870404A0C2}"/>
              </a:ext>
            </a:extLst>
          </p:cNvPr>
          <p:cNvSpPr txBox="1"/>
          <p:nvPr/>
        </p:nvSpPr>
        <p:spPr>
          <a:xfrm rot="16200000">
            <a:off x="502181" y="2568644"/>
            <a:ext cx="1463040" cy="307777"/>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The New Norm</a:t>
            </a:r>
          </a:p>
        </p:txBody>
      </p:sp>
      <p:sp>
        <p:nvSpPr>
          <p:cNvPr id="8" name="Rectangle 7">
            <a:extLst>
              <a:ext uri="{FF2B5EF4-FFF2-40B4-BE49-F238E27FC236}">
                <a16:creationId xmlns:a16="http://schemas.microsoft.com/office/drawing/2014/main" id="{896335F5-9E00-4C5E-A477-1E961E02AB80}"/>
              </a:ext>
            </a:extLst>
          </p:cNvPr>
          <p:cNvSpPr/>
          <p:nvPr/>
        </p:nvSpPr>
        <p:spPr>
          <a:xfrm rot="16200000">
            <a:off x="331542" y="5106874"/>
            <a:ext cx="1828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9" name="TextBox 8">
            <a:extLst>
              <a:ext uri="{FF2B5EF4-FFF2-40B4-BE49-F238E27FC236}">
                <a16:creationId xmlns:a16="http://schemas.microsoft.com/office/drawing/2014/main" id="{2B27F030-6DE6-439C-A8F8-41FDF1A77876}"/>
              </a:ext>
            </a:extLst>
          </p:cNvPr>
          <p:cNvSpPr txBox="1"/>
          <p:nvPr/>
        </p:nvSpPr>
        <p:spPr>
          <a:xfrm rot="16200000">
            <a:off x="502182" y="4959318"/>
            <a:ext cx="1463040" cy="307777"/>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The New Draw</a:t>
            </a:r>
          </a:p>
        </p:txBody>
      </p:sp>
      <p:grpSp>
        <p:nvGrpSpPr>
          <p:cNvPr id="10" name="Group 9">
            <a:extLst>
              <a:ext uri="{FF2B5EF4-FFF2-40B4-BE49-F238E27FC236}">
                <a16:creationId xmlns:a16="http://schemas.microsoft.com/office/drawing/2014/main" id="{DB931B94-3132-46E8-84B6-79136745FD19}"/>
              </a:ext>
            </a:extLst>
          </p:cNvPr>
          <p:cNvGrpSpPr>
            <a:grpSpLocks noChangeAspect="1"/>
          </p:cNvGrpSpPr>
          <p:nvPr/>
        </p:nvGrpSpPr>
        <p:grpSpPr>
          <a:xfrm>
            <a:off x="2089974" y="1795304"/>
            <a:ext cx="380081" cy="274320"/>
            <a:chOff x="7635876" y="1039813"/>
            <a:chExt cx="547687" cy="395288"/>
          </a:xfrm>
        </p:grpSpPr>
        <p:sp>
          <p:nvSpPr>
            <p:cNvPr id="11" name="Freeform 371">
              <a:extLst>
                <a:ext uri="{FF2B5EF4-FFF2-40B4-BE49-F238E27FC236}">
                  <a16:creationId xmlns:a16="http://schemas.microsoft.com/office/drawing/2014/main" id="{5A518640-E8A5-4078-B127-F8E56B5209F9}"/>
                </a:ext>
              </a:extLst>
            </p:cNvPr>
            <p:cNvSpPr>
              <a:spLocks noEditPoints="1"/>
            </p:cNvSpPr>
            <p:nvPr/>
          </p:nvSpPr>
          <p:spPr bwMode="auto">
            <a:xfrm>
              <a:off x="7635876" y="1039813"/>
              <a:ext cx="398463" cy="395288"/>
            </a:xfrm>
            <a:custGeom>
              <a:avLst/>
              <a:gdLst>
                <a:gd name="T0" fmla="*/ 166 w 173"/>
                <a:gd name="T1" fmla="*/ 131 h 172"/>
                <a:gd name="T2" fmla="*/ 111 w 173"/>
                <a:gd name="T3" fmla="*/ 104 h 172"/>
                <a:gd name="T4" fmla="*/ 111 w 173"/>
                <a:gd name="T5" fmla="*/ 99 h 172"/>
                <a:gd name="T6" fmla="*/ 123 w 173"/>
                <a:gd name="T7" fmla="*/ 77 h 172"/>
                <a:gd name="T8" fmla="*/ 129 w 173"/>
                <a:gd name="T9" fmla="*/ 63 h 172"/>
                <a:gd name="T10" fmla="*/ 126 w 173"/>
                <a:gd name="T11" fmla="*/ 53 h 172"/>
                <a:gd name="T12" fmla="*/ 126 w 173"/>
                <a:gd name="T13" fmla="*/ 37 h 172"/>
                <a:gd name="T14" fmla="*/ 86 w 173"/>
                <a:gd name="T15" fmla="*/ 0 h 172"/>
                <a:gd name="T16" fmla="*/ 47 w 173"/>
                <a:gd name="T17" fmla="*/ 37 h 172"/>
                <a:gd name="T18" fmla="*/ 47 w 173"/>
                <a:gd name="T19" fmla="*/ 53 h 172"/>
                <a:gd name="T20" fmla="*/ 44 w 173"/>
                <a:gd name="T21" fmla="*/ 63 h 172"/>
                <a:gd name="T22" fmla="*/ 50 w 173"/>
                <a:gd name="T23" fmla="*/ 77 h 172"/>
                <a:gd name="T24" fmla="*/ 62 w 173"/>
                <a:gd name="T25" fmla="*/ 99 h 172"/>
                <a:gd name="T26" fmla="*/ 62 w 173"/>
                <a:gd name="T27" fmla="*/ 104 h 172"/>
                <a:gd name="T28" fmla="*/ 7 w 173"/>
                <a:gd name="T29" fmla="*/ 131 h 172"/>
                <a:gd name="T30" fmla="*/ 0 w 173"/>
                <a:gd name="T31" fmla="*/ 141 h 172"/>
                <a:gd name="T32" fmla="*/ 0 w 173"/>
                <a:gd name="T33" fmla="*/ 162 h 172"/>
                <a:gd name="T34" fmla="*/ 11 w 173"/>
                <a:gd name="T35" fmla="*/ 172 h 172"/>
                <a:gd name="T36" fmla="*/ 162 w 173"/>
                <a:gd name="T37" fmla="*/ 172 h 172"/>
                <a:gd name="T38" fmla="*/ 173 w 173"/>
                <a:gd name="T39" fmla="*/ 162 h 172"/>
                <a:gd name="T40" fmla="*/ 173 w 173"/>
                <a:gd name="T41" fmla="*/ 141 h 172"/>
                <a:gd name="T42" fmla="*/ 166 w 173"/>
                <a:gd name="T43" fmla="*/ 131 h 172"/>
                <a:gd name="T44" fmla="*/ 163 w 173"/>
                <a:gd name="T45" fmla="*/ 162 h 172"/>
                <a:gd name="T46" fmla="*/ 162 w 173"/>
                <a:gd name="T47" fmla="*/ 163 h 172"/>
                <a:gd name="T48" fmla="*/ 11 w 173"/>
                <a:gd name="T49" fmla="*/ 163 h 172"/>
                <a:gd name="T50" fmla="*/ 10 w 173"/>
                <a:gd name="T51" fmla="*/ 162 h 172"/>
                <a:gd name="T52" fmla="*/ 10 w 173"/>
                <a:gd name="T53" fmla="*/ 141 h 172"/>
                <a:gd name="T54" fmla="*/ 10 w 173"/>
                <a:gd name="T55" fmla="*/ 140 h 172"/>
                <a:gd name="T56" fmla="*/ 71 w 173"/>
                <a:gd name="T57" fmla="*/ 106 h 172"/>
                <a:gd name="T58" fmla="*/ 71 w 173"/>
                <a:gd name="T59" fmla="*/ 105 h 172"/>
                <a:gd name="T60" fmla="*/ 71 w 173"/>
                <a:gd name="T61" fmla="*/ 97 h 172"/>
                <a:gd name="T62" fmla="*/ 70 w 173"/>
                <a:gd name="T63" fmla="*/ 93 h 172"/>
                <a:gd name="T64" fmla="*/ 59 w 173"/>
                <a:gd name="T65" fmla="*/ 73 h 172"/>
                <a:gd name="T66" fmla="*/ 57 w 173"/>
                <a:gd name="T67" fmla="*/ 70 h 172"/>
                <a:gd name="T68" fmla="*/ 53 w 173"/>
                <a:gd name="T69" fmla="*/ 63 h 172"/>
                <a:gd name="T70" fmla="*/ 55 w 173"/>
                <a:gd name="T71" fmla="*/ 58 h 172"/>
                <a:gd name="T72" fmla="*/ 56 w 173"/>
                <a:gd name="T73" fmla="*/ 55 h 172"/>
                <a:gd name="T74" fmla="*/ 56 w 173"/>
                <a:gd name="T75" fmla="*/ 37 h 172"/>
                <a:gd name="T76" fmla="*/ 86 w 173"/>
                <a:gd name="T77" fmla="*/ 9 h 172"/>
                <a:gd name="T78" fmla="*/ 116 w 173"/>
                <a:gd name="T79" fmla="*/ 37 h 172"/>
                <a:gd name="T80" fmla="*/ 116 w 173"/>
                <a:gd name="T81" fmla="*/ 55 h 172"/>
                <a:gd name="T82" fmla="*/ 118 w 173"/>
                <a:gd name="T83" fmla="*/ 58 h 172"/>
                <a:gd name="T84" fmla="*/ 119 w 173"/>
                <a:gd name="T85" fmla="*/ 63 h 172"/>
                <a:gd name="T86" fmla="*/ 116 w 173"/>
                <a:gd name="T87" fmla="*/ 70 h 172"/>
                <a:gd name="T88" fmla="*/ 114 w 173"/>
                <a:gd name="T89" fmla="*/ 73 h 172"/>
                <a:gd name="T90" fmla="*/ 103 w 173"/>
                <a:gd name="T91" fmla="*/ 93 h 172"/>
                <a:gd name="T92" fmla="*/ 102 w 173"/>
                <a:gd name="T93" fmla="*/ 97 h 172"/>
                <a:gd name="T94" fmla="*/ 102 w 173"/>
                <a:gd name="T95" fmla="*/ 105 h 172"/>
                <a:gd name="T96" fmla="*/ 102 w 173"/>
                <a:gd name="T97" fmla="*/ 106 h 172"/>
                <a:gd name="T98" fmla="*/ 162 w 173"/>
                <a:gd name="T99" fmla="*/ 140 h 172"/>
                <a:gd name="T100" fmla="*/ 163 w 173"/>
                <a:gd name="T101" fmla="*/ 141 h 172"/>
                <a:gd name="T102" fmla="*/ 163 w 173"/>
                <a:gd name="T103" fmla="*/ 16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3" h="172">
                  <a:moveTo>
                    <a:pt x="166" y="131"/>
                  </a:moveTo>
                  <a:cubicBezTo>
                    <a:pt x="121" y="114"/>
                    <a:pt x="113" y="106"/>
                    <a:pt x="111" y="104"/>
                  </a:cubicBezTo>
                  <a:cubicBezTo>
                    <a:pt x="111" y="99"/>
                    <a:pt x="111" y="99"/>
                    <a:pt x="111" y="99"/>
                  </a:cubicBezTo>
                  <a:cubicBezTo>
                    <a:pt x="116" y="93"/>
                    <a:pt x="120" y="86"/>
                    <a:pt x="123" y="77"/>
                  </a:cubicBezTo>
                  <a:cubicBezTo>
                    <a:pt x="127" y="74"/>
                    <a:pt x="129" y="69"/>
                    <a:pt x="129" y="63"/>
                  </a:cubicBezTo>
                  <a:cubicBezTo>
                    <a:pt x="129" y="60"/>
                    <a:pt x="128" y="56"/>
                    <a:pt x="126" y="53"/>
                  </a:cubicBezTo>
                  <a:cubicBezTo>
                    <a:pt x="126" y="37"/>
                    <a:pt x="126" y="37"/>
                    <a:pt x="126" y="37"/>
                  </a:cubicBezTo>
                  <a:cubicBezTo>
                    <a:pt x="126" y="13"/>
                    <a:pt x="112" y="0"/>
                    <a:pt x="86" y="0"/>
                  </a:cubicBezTo>
                  <a:cubicBezTo>
                    <a:pt x="62" y="0"/>
                    <a:pt x="47" y="14"/>
                    <a:pt x="47" y="37"/>
                  </a:cubicBezTo>
                  <a:cubicBezTo>
                    <a:pt x="47" y="53"/>
                    <a:pt x="47" y="53"/>
                    <a:pt x="47" y="53"/>
                  </a:cubicBezTo>
                  <a:cubicBezTo>
                    <a:pt x="45" y="56"/>
                    <a:pt x="44" y="60"/>
                    <a:pt x="44" y="63"/>
                  </a:cubicBezTo>
                  <a:cubicBezTo>
                    <a:pt x="44" y="69"/>
                    <a:pt x="46" y="74"/>
                    <a:pt x="50" y="77"/>
                  </a:cubicBezTo>
                  <a:cubicBezTo>
                    <a:pt x="53" y="86"/>
                    <a:pt x="57" y="93"/>
                    <a:pt x="62" y="99"/>
                  </a:cubicBezTo>
                  <a:cubicBezTo>
                    <a:pt x="62" y="104"/>
                    <a:pt x="62" y="104"/>
                    <a:pt x="62" y="104"/>
                  </a:cubicBezTo>
                  <a:cubicBezTo>
                    <a:pt x="60" y="106"/>
                    <a:pt x="52" y="114"/>
                    <a:pt x="7" y="131"/>
                  </a:cubicBezTo>
                  <a:cubicBezTo>
                    <a:pt x="3" y="133"/>
                    <a:pt x="0" y="137"/>
                    <a:pt x="0" y="141"/>
                  </a:cubicBezTo>
                  <a:cubicBezTo>
                    <a:pt x="0" y="162"/>
                    <a:pt x="0" y="162"/>
                    <a:pt x="0" y="162"/>
                  </a:cubicBezTo>
                  <a:cubicBezTo>
                    <a:pt x="0" y="168"/>
                    <a:pt x="5" y="172"/>
                    <a:pt x="11" y="172"/>
                  </a:cubicBezTo>
                  <a:cubicBezTo>
                    <a:pt x="162" y="172"/>
                    <a:pt x="162" y="172"/>
                    <a:pt x="162" y="172"/>
                  </a:cubicBezTo>
                  <a:cubicBezTo>
                    <a:pt x="168" y="172"/>
                    <a:pt x="173" y="168"/>
                    <a:pt x="173" y="162"/>
                  </a:cubicBezTo>
                  <a:cubicBezTo>
                    <a:pt x="173" y="141"/>
                    <a:pt x="173" y="141"/>
                    <a:pt x="173" y="141"/>
                  </a:cubicBezTo>
                  <a:cubicBezTo>
                    <a:pt x="173" y="137"/>
                    <a:pt x="170" y="133"/>
                    <a:pt x="166" y="131"/>
                  </a:cubicBezTo>
                  <a:close/>
                  <a:moveTo>
                    <a:pt x="163" y="162"/>
                  </a:moveTo>
                  <a:cubicBezTo>
                    <a:pt x="163" y="162"/>
                    <a:pt x="163" y="163"/>
                    <a:pt x="162" y="163"/>
                  </a:cubicBezTo>
                  <a:cubicBezTo>
                    <a:pt x="11" y="163"/>
                    <a:pt x="11" y="163"/>
                    <a:pt x="11" y="163"/>
                  </a:cubicBezTo>
                  <a:cubicBezTo>
                    <a:pt x="10" y="163"/>
                    <a:pt x="10" y="162"/>
                    <a:pt x="10" y="162"/>
                  </a:cubicBezTo>
                  <a:cubicBezTo>
                    <a:pt x="10" y="141"/>
                    <a:pt x="10" y="141"/>
                    <a:pt x="10" y="141"/>
                  </a:cubicBezTo>
                  <a:cubicBezTo>
                    <a:pt x="10" y="141"/>
                    <a:pt x="10" y="140"/>
                    <a:pt x="10" y="140"/>
                  </a:cubicBezTo>
                  <a:cubicBezTo>
                    <a:pt x="61" y="121"/>
                    <a:pt x="69" y="112"/>
                    <a:pt x="71" y="106"/>
                  </a:cubicBezTo>
                  <a:cubicBezTo>
                    <a:pt x="71" y="106"/>
                    <a:pt x="71" y="106"/>
                    <a:pt x="71" y="105"/>
                  </a:cubicBezTo>
                  <a:cubicBezTo>
                    <a:pt x="71" y="97"/>
                    <a:pt x="71" y="97"/>
                    <a:pt x="71" y="97"/>
                  </a:cubicBezTo>
                  <a:cubicBezTo>
                    <a:pt x="71" y="96"/>
                    <a:pt x="71" y="94"/>
                    <a:pt x="70" y="93"/>
                  </a:cubicBezTo>
                  <a:cubicBezTo>
                    <a:pt x="65" y="88"/>
                    <a:pt x="61" y="81"/>
                    <a:pt x="59" y="73"/>
                  </a:cubicBezTo>
                  <a:cubicBezTo>
                    <a:pt x="59" y="72"/>
                    <a:pt x="58" y="71"/>
                    <a:pt x="57" y="70"/>
                  </a:cubicBezTo>
                  <a:cubicBezTo>
                    <a:pt x="55" y="69"/>
                    <a:pt x="53" y="66"/>
                    <a:pt x="53" y="63"/>
                  </a:cubicBezTo>
                  <a:cubicBezTo>
                    <a:pt x="53" y="61"/>
                    <a:pt x="54" y="59"/>
                    <a:pt x="55" y="58"/>
                  </a:cubicBezTo>
                  <a:cubicBezTo>
                    <a:pt x="56" y="57"/>
                    <a:pt x="56" y="56"/>
                    <a:pt x="56" y="55"/>
                  </a:cubicBezTo>
                  <a:cubicBezTo>
                    <a:pt x="56" y="37"/>
                    <a:pt x="56" y="37"/>
                    <a:pt x="56" y="37"/>
                  </a:cubicBezTo>
                  <a:cubicBezTo>
                    <a:pt x="56" y="19"/>
                    <a:pt x="67" y="9"/>
                    <a:pt x="86" y="9"/>
                  </a:cubicBezTo>
                  <a:cubicBezTo>
                    <a:pt x="106" y="9"/>
                    <a:pt x="116" y="19"/>
                    <a:pt x="116" y="37"/>
                  </a:cubicBezTo>
                  <a:cubicBezTo>
                    <a:pt x="116" y="55"/>
                    <a:pt x="116" y="55"/>
                    <a:pt x="116" y="55"/>
                  </a:cubicBezTo>
                  <a:cubicBezTo>
                    <a:pt x="116" y="56"/>
                    <a:pt x="117" y="57"/>
                    <a:pt x="118" y="58"/>
                  </a:cubicBezTo>
                  <a:cubicBezTo>
                    <a:pt x="118" y="59"/>
                    <a:pt x="119" y="61"/>
                    <a:pt x="119" y="63"/>
                  </a:cubicBezTo>
                  <a:cubicBezTo>
                    <a:pt x="119" y="66"/>
                    <a:pt x="118" y="69"/>
                    <a:pt x="116" y="70"/>
                  </a:cubicBezTo>
                  <a:cubicBezTo>
                    <a:pt x="115" y="71"/>
                    <a:pt x="114" y="72"/>
                    <a:pt x="114" y="73"/>
                  </a:cubicBezTo>
                  <a:cubicBezTo>
                    <a:pt x="112" y="81"/>
                    <a:pt x="108" y="88"/>
                    <a:pt x="103" y="93"/>
                  </a:cubicBezTo>
                  <a:cubicBezTo>
                    <a:pt x="102" y="94"/>
                    <a:pt x="102" y="96"/>
                    <a:pt x="102" y="97"/>
                  </a:cubicBezTo>
                  <a:cubicBezTo>
                    <a:pt x="102" y="105"/>
                    <a:pt x="102" y="105"/>
                    <a:pt x="102" y="105"/>
                  </a:cubicBezTo>
                  <a:cubicBezTo>
                    <a:pt x="102" y="106"/>
                    <a:pt x="102" y="106"/>
                    <a:pt x="102" y="106"/>
                  </a:cubicBezTo>
                  <a:cubicBezTo>
                    <a:pt x="104" y="112"/>
                    <a:pt x="112" y="121"/>
                    <a:pt x="162" y="140"/>
                  </a:cubicBezTo>
                  <a:cubicBezTo>
                    <a:pt x="163" y="140"/>
                    <a:pt x="163" y="141"/>
                    <a:pt x="163" y="141"/>
                  </a:cubicBezTo>
                  <a:lnTo>
                    <a:pt x="163" y="16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 name="Freeform 372">
              <a:extLst>
                <a:ext uri="{FF2B5EF4-FFF2-40B4-BE49-F238E27FC236}">
                  <a16:creationId xmlns:a16="http://schemas.microsoft.com/office/drawing/2014/main" id="{A8E42A45-2CEF-4AE0-AC41-C56F0E4DAF1E}"/>
                </a:ext>
              </a:extLst>
            </p:cNvPr>
            <p:cNvSpPr>
              <a:spLocks/>
            </p:cNvSpPr>
            <p:nvPr/>
          </p:nvSpPr>
          <p:spPr bwMode="auto">
            <a:xfrm>
              <a:off x="7932738" y="1062038"/>
              <a:ext cx="250825" cy="373063"/>
            </a:xfrm>
            <a:custGeom>
              <a:avLst/>
              <a:gdLst>
                <a:gd name="T0" fmla="*/ 102 w 109"/>
                <a:gd name="T1" fmla="*/ 123 h 162"/>
                <a:gd name="T2" fmla="*/ 69 w 109"/>
                <a:gd name="T3" fmla="*/ 115 h 162"/>
                <a:gd name="T4" fmla="*/ 51 w 109"/>
                <a:gd name="T5" fmla="*/ 110 h 162"/>
                <a:gd name="T6" fmla="*/ 51 w 109"/>
                <a:gd name="T7" fmla="*/ 105 h 162"/>
                <a:gd name="T8" fmla="*/ 84 w 109"/>
                <a:gd name="T9" fmla="*/ 96 h 162"/>
                <a:gd name="T10" fmla="*/ 85 w 109"/>
                <a:gd name="T11" fmla="*/ 92 h 162"/>
                <a:gd name="T12" fmla="*/ 83 w 109"/>
                <a:gd name="T13" fmla="*/ 89 h 162"/>
                <a:gd name="T14" fmla="*/ 72 w 109"/>
                <a:gd name="T15" fmla="*/ 47 h 162"/>
                <a:gd name="T16" fmla="*/ 57 w 109"/>
                <a:gd name="T17" fmla="*/ 12 h 162"/>
                <a:gd name="T18" fmla="*/ 43 w 109"/>
                <a:gd name="T19" fmla="*/ 3 h 162"/>
                <a:gd name="T20" fmla="*/ 13 w 109"/>
                <a:gd name="T21" fmla="*/ 4 h 162"/>
                <a:gd name="T22" fmla="*/ 2 w 109"/>
                <a:gd name="T23" fmla="*/ 9 h 162"/>
                <a:gd name="T24" fmla="*/ 2 w 109"/>
                <a:gd name="T25" fmla="*/ 16 h 162"/>
                <a:gd name="T26" fmla="*/ 8 w 109"/>
                <a:gd name="T27" fmla="*/ 17 h 162"/>
                <a:gd name="T28" fmla="*/ 16 w 109"/>
                <a:gd name="T29" fmla="*/ 13 h 162"/>
                <a:gd name="T30" fmla="*/ 40 w 109"/>
                <a:gd name="T31" fmla="*/ 12 h 162"/>
                <a:gd name="T32" fmla="*/ 50 w 109"/>
                <a:gd name="T33" fmla="*/ 19 h 162"/>
                <a:gd name="T34" fmla="*/ 51 w 109"/>
                <a:gd name="T35" fmla="*/ 19 h 162"/>
                <a:gd name="T36" fmla="*/ 62 w 109"/>
                <a:gd name="T37" fmla="*/ 47 h 162"/>
                <a:gd name="T38" fmla="*/ 73 w 109"/>
                <a:gd name="T39" fmla="*/ 91 h 162"/>
                <a:gd name="T40" fmla="*/ 47 w 109"/>
                <a:gd name="T41" fmla="*/ 96 h 162"/>
                <a:gd name="T42" fmla="*/ 42 w 109"/>
                <a:gd name="T43" fmla="*/ 101 h 162"/>
                <a:gd name="T44" fmla="*/ 42 w 109"/>
                <a:gd name="T45" fmla="*/ 112 h 162"/>
                <a:gd name="T46" fmla="*/ 42 w 109"/>
                <a:gd name="T47" fmla="*/ 113 h 162"/>
                <a:gd name="T48" fmla="*/ 67 w 109"/>
                <a:gd name="T49" fmla="*/ 124 h 162"/>
                <a:gd name="T50" fmla="*/ 99 w 109"/>
                <a:gd name="T51" fmla="*/ 132 h 162"/>
                <a:gd name="T52" fmla="*/ 99 w 109"/>
                <a:gd name="T53" fmla="*/ 133 h 162"/>
                <a:gd name="T54" fmla="*/ 99 w 109"/>
                <a:gd name="T55" fmla="*/ 152 h 162"/>
                <a:gd name="T56" fmla="*/ 98 w 109"/>
                <a:gd name="T57" fmla="*/ 153 h 162"/>
                <a:gd name="T58" fmla="*/ 57 w 109"/>
                <a:gd name="T59" fmla="*/ 153 h 162"/>
                <a:gd name="T60" fmla="*/ 53 w 109"/>
                <a:gd name="T61" fmla="*/ 158 h 162"/>
                <a:gd name="T62" fmla="*/ 57 w 109"/>
                <a:gd name="T63" fmla="*/ 162 h 162"/>
                <a:gd name="T64" fmla="*/ 98 w 109"/>
                <a:gd name="T65" fmla="*/ 162 h 162"/>
                <a:gd name="T66" fmla="*/ 109 w 109"/>
                <a:gd name="T67" fmla="*/ 152 h 162"/>
                <a:gd name="T68" fmla="*/ 109 w 109"/>
                <a:gd name="T69" fmla="*/ 133 h 162"/>
                <a:gd name="T70" fmla="*/ 102 w 109"/>
                <a:gd name="T71" fmla="*/ 12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9" h="162">
                  <a:moveTo>
                    <a:pt x="102" y="123"/>
                  </a:moveTo>
                  <a:cubicBezTo>
                    <a:pt x="91" y="119"/>
                    <a:pt x="79" y="117"/>
                    <a:pt x="69" y="115"/>
                  </a:cubicBezTo>
                  <a:cubicBezTo>
                    <a:pt x="62" y="114"/>
                    <a:pt x="53" y="112"/>
                    <a:pt x="51" y="110"/>
                  </a:cubicBezTo>
                  <a:cubicBezTo>
                    <a:pt x="51" y="105"/>
                    <a:pt x="51" y="105"/>
                    <a:pt x="51" y="105"/>
                  </a:cubicBezTo>
                  <a:cubicBezTo>
                    <a:pt x="74" y="104"/>
                    <a:pt x="83" y="97"/>
                    <a:pt x="84" y="96"/>
                  </a:cubicBezTo>
                  <a:cubicBezTo>
                    <a:pt x="85" y="95"/>
                    <a:pt x="86" y="94"/>
                    <a:pt x="85" y="92"/>
                  </a:cubicBezTo>
                  <a:cubicBezTo>
                    <a:pt x="85" y="91"/>
                    <a:pt x="84" y="89"/>
                    <a:pt x="83" y="89"/>
                  </a:cubicBezTo>
                  <a:cubicBezTo>
                    <a:pt x="78" y="86"/>
                    <a:pt x="73" y="65"/>
                    <a:pt x="72" y="47"/>
                  </a:cubicBezTo>
                  <a:cubicBezTo>
                    <a:pt x="72" y="34"/>
                    <a:pt x="67" y="21"/>
                    <a:pt x="57" y="12"/>
                  </a:cubicBezTo>
                  <a:cubicBezTo>
                    <a:pt x="54" y="8"/>
                    <a:pt x="49" y="5"/>
                    <a:pt x="43" y="3"/>
                  </a:cubicBezTo>
                  <a:cubicBezTo>
                    <a:pt x="33" y="0"/>
                    <a:pt x="22" y="0"/>
                    <a:pt x="13" y="4"/>
                  </a:cubicBezTo>
                  <a:cubicBezTo>
                    <a:pt x="9" y="5"/>
                    <a:pt x="5" y="7"/>
                    <a:pt x="2" y="9"/>
                  </a:cubicBezTo>
                  <a:cubicBezTo>
                    <a:pt x="0" y="11"/>
                    <a:pt x="0" y="14"/>
                    <a:pt x="2" y="16"/>
                  </a:cubicBezTo>
                  <a:cubicBezTo>
                    <a:pt x="3" y="18"/>
                    <a:pt x="6" y="18"/>
                    <a:pt x="8" y="17"/>
                  </a:cubicBezTo>
                  <a:cubicBezTo>
                    <a:pt x="10" y="15"/>
                    <a:pt x="13" y="14"/>
                    <a:pt x="16" y="13"/>
                  </a:cubicBezTo>
                  <a:cubicBezTo>
                    <a:pt x="24" y="10"/>
                    <a:pt x="31" y="9"/>
                    <a:pt x="40" y="12"/>
                  </a:cubicBezTo>
                  <a:cubicBezTo>
                    <a:pt x="44" y="14"/>
                    <a:pt x="48" y="16"/>
                    <a:pt x="50" y="19"/>
                  </a:cubicBezTo>
                  <a:cubicBezTo>
                    <a:pt x="50" y="19"/>
                    <a:pt x="50" y="19"/>
                    <a:pt x="51" y="19"/>
                  </a:cubicBezTo>
                  <a:cubicBezTo>
                    <a:pt x="58" y="26"/>
                    <a:pt x="62" y="36"/>
                    <a:pt x="62" y="47"/>
                  </a:cubicBezTo>
                  <a:cubicBezTo>
                    <a:pt x="63" y="55"/>
                    <a:pt x="66" y="80"/>
                    <a:pt x="73" y="91"/>
                  </a:cubicBezTo>
                  <a:cubicBezTo>
                    <a:pt x="68" y="93"/>
                    <a:pt x="60" y="96"/>
                    <a:pt x="47" y="96"/>
                  </a:cubicBezTo>
                  <a:cubicBezTo>
                    <a:pt x="44" y="96"/>
                    <a:pt x="42" y="98"/>
                    <a:pt x="42" y="101"/>
                  </a:cubicBezTo>
                  <a:cubicBezTo>
                    <a:pt x="42" y="112"/>
                    <a:pt x="42" y="112"/>
                    <a:pt x="42" y="112"/>
                  </a:cubicBezTo>
                  <a:cubicBezTo>
                    <a:pt x="42" y="112"/>
                    <a:pt x="42" y="113"/>
                    <a:pt x="42" y="113"/>
                  </a:cubicBezTo>
                  <a:cubicBezTo>
                    <a:pt x="44" y="120"/>
                    <a:pt x="53" y="122"/>
                    <a:pt x="67" y="124"/>
                  </a:cubicBezTo>
                  <a:cubicBezTo>
                    <a:pt x="76" y="126"/>
                    <a:pt x="88" y="128"/>
                    <a:pt x="99" y="132"/>
                  </a:cubicBezTo>
                  <a:cubicBezTo>
                    <a:pt x="99" y="132"/>
                    <a:pt x="99" y="133"/>
                    <a:pt x="99" y="133"/>
                  </a:cubicBezTo>
                  <a:cubicBezTo>
                    <a:pt x="99" y="152"/>
                    <a:pt x="99" y="152"/>
                    <a:pt x="99" y="152"/>
                  </a:cubicBezTo>
                  <a:cubicBezTo>
                    <a:pt x="99" y="152"/>
                    <a:pt x="99" y="153"/>
                    <a:pt x="98" y="153"/>
                  </a:cubicBezTo>
                  <a:cubicBezTo>
                    <a:pt x="57" y="153"/>
                    <a:pt x="57" y="153"/>
                    <a:pt x="57" y="153"/>
                  </a:cubicBezTo>
                  <a:cubicBezTo>
                    <a:pt x="55" y="153"/>
                    <a:pt x="53" y="155"/>
                    <a:pt x="53" y="158"/>
                  </a:cubicBezTo>
                  <a:cubicBezTo>
                    <a:pt x="53" y="160"/>
                    <a:pt x="55" y="162"/>
                    <a:pt x="57" y="162"/>
                  </a:cubicBezTo>
                  <a:cubicBezTo>
                    <a:pt x="98" y="162"/>
                    <a:pt x="98" y="162"/>
                    <a:pt x="98" y="162"/>
                  </a:cubicBezTo>
                  <a:cubicBezTo>
                    <a:pt x="104" y="162"/>
                    <a:pt x="109" y="158"/>
                    <a:pt x="109" y="152"/>
                  </a:cubicBezTo>
                  <a:cubicBezTo>
                    <a:pt x="109" y="133"/>
                    <a:pt x="109" y="133"/>
                    <a:pt x="109" y="133"/>
                  </a:cubicBezTo>
                  <a:cubicBezTo>
                    <a:pt x="109" y="129"/>
                    <a:pt x="106" y="125"/>
                    <a:pt x="102" y="12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13" name="Shape 47">
            <a:extLst>
              <a:ext uri="{FF2B5EF4-FFF2-40B4-BE49-F238E27FC236}">
                <a16:creationId xmlns:a16="http://schemas.microsoft.com/office/drawing/2014/main" id="{60EA4A62-2100-4530-BF64-2A59EC443BE5}"/>
              </a:ext>
            </a:extLst>
          </p:cNvPr>
          <p:cNvSpPr txBox="1">
            <a:spLocks/>
          </p:cNvSpPr>
          <p:nvPr/>
        </p:nvSpPr>
        <p:spPr>
          <a:xfrm>
            <a:off x="2095867" y="2118393"/>
            <a:ext cx="3657600" cy="1193410"/>
          </a:xfrm>
          <a:prstGeom prst="rect">
            <a:avLst/>
          </a:prstGeom>
        </p:spPr>
        <p:txBody>
          <a:bodyPr lIns="46732" tIns="23365" rIns="46732" bIns="23365">
            <a:noAutofit/>
          </a:bodyPr>
          <a:lstStyle>
            <a:lvl1pPr algn="l" rtl="0" eaLnBrk="0" fontAlgn="base" hangingPunct="0">
              <a:lnSpc>
                <a:spcPct val="80000"/>
              </a:lnSpc>
              <a:spcBef>
                <a:spcPct val="0"/>
              </a:spcBef>
              <a:spcAft>
                <a:spcPct val="0"/>
              </a:spcAft>
              <a:defRPr sz="9500">
                <a:solidFill>
                  <a:srgbClr val="FFFFFF"/>
                </a:solidFill>
                <a:latin typeface="+mj-lt"/>
                <a:ea typeface="+mj-ea"/>
                <a:cs typeface="+mj-cs"/>
                <a:sym typeface="Gotham Bold" charset="0"/>
              </a:defRPr>
            </a:lvl1pPr>
            <a:lvl2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2pPr>
            <a:lvl3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3pPr>
            <a:lvl4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4pPr>
            <a:lvl5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5pPr>
            <a:lvl6pPr marL="51435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6pPr>
            <a:lvl7pPr marL="102870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7pPr>
            <a:lvl8pPr marL="154305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8pPr>
            <a:lvl9pPr marL="205740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9pPr>
          </a:lstStyle>
          <a:p>
            <a:pPr marL="0" marR="0" lvl="0" indent="0" algn="l" defTabSz="914400" rtl="0" eaLnBrk="1" fontAlgn="base" latinLnBrk="0" hangingPunct="1">
              <a:lnSpc>
                <a:spcPct val="120000"/>
              </a:lnSpc>
              <a:spcBef>
                <a:spcPct val="20000"/>
              </a:spcBef>
              <a:spcAft>
                <a:spcPct val="0"/>
              </a:spcAft>
              <a:buClrTx/>
              <a:buSzTx/>
              <a:buFontTx/>
              <a:buNone/>
              <a:tabLst/>
              <a:defRPr/>
            </a:pPr>
            <a:r>
              <a:rPr kumimoji="0" lang="en-US" sz="1200" b="0" i="0" u="none" strike="noStrike" kern="1200" cap="none" spc="0" normalizeH="0" baseline="0" noProof="0" dirty="0">
                <a:ln>
                  <a:noFill/>
                </a:ln>
                <a:solidFill>
                  <a:srgbClr val="5A5A5A"/>
                </a:solidFill>
                <a:effectLst/>
                <a:uLnTx/>
                <a:uFillTx/>
                <a:latin typeface="Open Sans"/>
                <a:ea typeface="+mj-ea"/>
                <a:cs typeface="Frutiger Next Pro Light"/>
                <a:sym typeface="Gotham Bold" charset="0"/>
              </a:rPr>
              <a:t>Consumers look for options that are tailored to their needs.  They expect retailers to connect with them at the right moments and are dissatisfied when they receive irrelevant content</a:t>
            </a:r>
          </a:p>
        </p:txBody>
      </p:sp>
      <p:sp>
        <p:nvSpPr>
          <p:cNvPr id="14" name="Shape 47">
            <a:extLst>
              <a:ext uri="{FF2B5EF4-FFF2-40B4-BE49-F238E27FC236}">
                <a16:creationId xmlns:a16="http://schemas.microsoft.com/office/drawing/2014/main" id="{BA052FD9-E7B1-4D15-ADC1-F89DA3BC2593}"/>
              </a:ext>
            </a:extLst>
          </p:cNvPr>
          <p:cNvSpPr txBox="1">
            <a:spLocks/>
          </p:cNvSpPr>
          <p:nvPr/>
        </p:nvSpPr>
        <p:spPr>
          <a:xfrm>
            <a:off x="2572511" y="1804972"/>
            <a:ext cx="2241067" cy="297494"/>
          </a:xfrm>
          <a:prstGeom prst="rect">
            <a:avLst/>
          </a:prstGeom>
        </p:spPr>
        <p:txBody>
          <a:bodyPr lIns="46732" tIns="23365" rIns="46732" bIns="23365">
            <a:noAutofit/>
          </a:bodyPr>
          <a:lstStyle>
            <a:lvl1pPr algn="l" rtl="0" eaLnBrk="0" fontAlgn="base" hangingPunct="0">
              <a:lnSpc>
                <a:spcPct val="80000"/>
              </a:lnSpc>
              <a:spcBef>
                <a:spcPct val="0"/>
              </a:spcBef>
              <a:spcAft>
                <a:spcPct val="0"/>
              </a:spcAft>
              <a:defRPr sz="9500">
                <a:solidFill>
                  <a:srgbClr val="FFFFFF"/>
                </a:solidFill>
                <a:latin typeface="+mj-lt"/>
                <a:ea typeface="+mj-ea"/>
                <a:cs typeface="+mj-cs"/>
                <a:sym typeface="Gotham Bold" charset="0"/>
              </a:defRPr>
            </a:lvl1pPr>
            <a:lvl2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2pPr>
            <a:lvl3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3pPr>
            <a:lvl4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4pPr>
            <a:lvl5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5pPr>
            <a:lvl6pPr marL="51435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6pPr>
            <a:lvl7pPr marL="102870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7pPr>
            <a:lvl8pPr marL="154305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8pPr>
            <a:lvl9pPr marL="205740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sz="1400" b="0" i="0" u="none" strike="noStrike" kern="1200" cap="none" spc="0" normalizeH="0" baseline="0" noProof="0" dirty="0">
                <a:ln>
                  <a:noFill/>
                </a:ln>
                <a:solidFill>
                  <a:srgbClr val="92D05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sym typeface="Gotham Bold" charset="0"/>
              </a:rPr>
              <a:t>Personalization</a:t>
            </a:r>
          </a:p>
        </p:txBody>
      </p:sp>
      <p:sp>
        <p:nvSpPr>
          <p:cNvPr id="15" name="Shape 47">
            <a:extLst>
              <a:ext uri="{FF2B5EF4-FFF2-40B4-BE49-F238E27FC236}">
                <a16:creationId xmlns:a16="http://schemas.microsoft.com/office/drawing/2014/main" id="{94CBD926-8C2D-49FB-8041-6C7F74015228}"/>
              </a:ext>
            </a:extLst>
          </p:cNvPr>
          <p:cNvSpPr txBox="1">
            <a:spLocks/>
          </p:cNvSpPr>
          <p:nvPr/>
        </p:nvSpPr>
        <p:spPr>
          <a:xfrm>
            <a:off x="2105299" y="3967368"/>
            <a:ext cx="3657600" cy="2221358"/>
          </a:xfrm>
          <a:prstGeom prst="rect">
            <a:avLst/>
          </a:prstGeom>
        </p:spPr>
        <p:txBody>
          <a:bodyPr lIns="46732" tIns="23365" rIns="46732" bIns="23365">
            <a:noAutofit/>
          </a:bodyPr>
          <a:lstStyle>
            <a:lvl1pPr algn="l" rtl="0" eaLnBrk="0" fontAlgn="base" hangingPunct="0">
              <a:lnSpc>
                <a:spcPct val="80000"/>
              </a:lnSpc>
              <a:spcBef>
                <a:spcPct val="0"/>
              </a:spcBef>
              <a:spcAft>
                <a:spcPct val="0"/>
              </a:spcAft>
              <a:defRPr sz="9500">
                <a:solidFill>
                  <a:srgbClr val="FFFFFF"/>
                </a:solidFill>
                <a:latin typeface="+mj-lt"/>
                <a:ea typeface="+mj-ea"/>
                <a:cs typeface="+mj-cs"/>
                <a:sym typeface="Gotham Bold" charset="0"/>
              </a:defRPr>
            </a:lvl1pPr>
            <a:lvl2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2pPr>
            <a:lvl3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3pPr>
            <a:lvl4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4pPr>
            <a:lvl5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5pPr>
            <a:lvl6pPr marL="51435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6pPr>
            <a:lvl7pPr marL="102870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7pPr>
            <a:lvl8pPr marL="154305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8pPr>
            <a:lvl9pPr marL="205740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9pPr>
          </a:lstStyle>
          <a:p>
            <a:pPr marL="0" marR="0" lvl="0" indent="0" algn="l" defTabSz="914400" rtl="0" eaLnBrk="1" fontAlgn="base" latinLnBrk="0" hangingPunct="1">
              <a:lnSpc>
                <a:spcPct val="120000"/>
              </a:lnSpc>
              <a:spcBef>
                <a:spcPct val="20000"/>
              </a:spcBef>
              <a:spcAft>
                <a:spcPct val="0"/>
              </a:spcAft>
              <a:buClrTx/>
              <a:buSzTx/>
              <a:buFontTx/>
              <a:buNone/>
              <a:tabLst/>
              <a:defRPr/>
            </a:pPr>
            <a:r>
              <a:rPr kumimoji="0" lang="en-US" sz="1200" b="0" i="0" u="none" strike="noStrike" kern="1200" cap="none" spc="0" normalizeH="0" baseline="0" noProof="0" dirty="0">
                <a:ln>
                  <a:noFill/>
                </a:ln>
                <a:solidFill>
                  <a:srgbClr val="5A5A5A"/>
                </a:solidFill>
                <a:effectLst/>
                <a:uLnTx/>
                <a:uFillTx/>
                <a:latin typeface="Open Sans"/>
                <a:ea typeface="+mj-ea"/>
                <a:cs typeface="Frutiger Next Pro Light"/>
                <a:sym typeface="Gotham Bold" charset="0"/>
              </a:rPr>
              <a:t>Consumers are drawn to experiences that actively engage them, turning them from a passive shopper into an active participant</a:t>
            </a:r>
          </a:p>
          <a:p>
            <a:pPr marL="0" marR="0" lvl="0" indent="0" algn="l" defTabSz="914400" rtl="0" eaLnBrk="1" fontAlgn="base" latinLnBrk="0" hangingPunct="1">
              <a:lnSpc>
                <a:spcPct val="120000"/>
              </a:lnSpc>
              <a:spcBef>
                <a:spcPct val="20000"/>
              </a:spcBef>
              <a:spcAft>
                <a:spcPct val="0"/>
              </a:spcAft>
              <a:buClrTx/>
              <a:buSzTx/>
              <a:buFontTx/>
              <a:buNone/>
              <a:tabLst/>
              <a:defRPr/>
            </a:pPr>
            <a:endParaRPr kumimoji="0" lang="en-US" sz="800" b="0" i="0" u="none" strike="noStrike" kern="1200" cap="none" spc="0" normalizeH="0" baseline="0" noProof="0" dirty="0">
              <a:ln>
                <a:noFill/>
              </a:ln>
              <a:solidFill>
                <a:srgbClr val="5A5A5A"/>
              </a:solidFill>
              <a:effectLst/>
              <a:uLnTx/>
              <a:uFillTx/>
              <a:latin typeface="Open Sans"/>
              <a:ea typeface="+mj-ea"/>
              <a:cs typeface="Frutiger Next Pro Light"/>
              <a:sym typeface="Gotham Bold" charset="0"/>
            </a:endParaRPr>
          </a:p>
          <a:p>
            <a:pPr marL="0" marR="0" lvl="0" indent="0" algn="l" defTabSz="914400" rtl="0" eaLnBrk="1" fontAlgn="base" latinLnBrk="0" hangingPunct="1">
              <a:lnSpc>
                <a:spcPct val="120000"/>
              </a:lnSpc>
              <a:spcBef>
                <a:spcPct val="20000"/>
              </a:spcBef>
              <a:spcAft>
                <a:spcPct val="0"/>
              </a:spcAft>
              <a:buClrTx/>
              <a:buSzTx/>
              <a:buFontTx/>
              <a:buNone/>
              <a:tabLst/>
              <a:defRPr/>
            </a:pPr>
            <a:r>
              <a:rPr kumimoji="0" lang="en-US" sz="1100" b="0" i="1" u="none" strike="noStrike" kern="1200" cap="none" spc="0" normalizeH="0" baseline="0" noProof="0" dirty="0">
                <a:ln>
                  <a:noFill/>
                </a:ln>
                <a:solidFill>
                  <a:srgbClr val="5A5A5A"/>
                </a:solidFill>
                <a:effectLst/>
                <a:uLnTx/>
                <a:uFillTx/>
                <a:latin typeface="Open Sans"/>
                <a:ea typeface="+mj-ea"/>
                <a:cs typeface="Frutiger Next Pro Light"/>
                <a:sym typeface="Gotham Bold" charset="0"/>
              </a:rPr>
              <a:t>Virtual Artist is one of Sephora’s latest mobile endeavors. A consumer can take a selfie or select an existing picture, load it into the app, and the technology can identify the location and shape of her lips. She can then swipe through colors to virtually try on more than 3,000 lipstick variations that Sephora sells in the app</a:t>
            </a:r>
          </a:p>
        </p:txBody>
      </p:sp>
      <p:sp>
        <p:nvSpPr>
          <p:cNvPr id="16" name="Shape 47">
            <a:extLst>
              <a:ext uri="{FF2B5EF4-FFF2-40B4-BE49-F238E27FC236}">
                <a16:creationId xmlns:a16="http://schemas.microsoft.com/office/drawing/2014/main" id="{FE4FE61F-AAA8-4736-ADE3-6A947B8EC8CF}"/>
              </a:ext>
            </a:extLst>
          </p:cNvPr>
          <p:cNvSpPr txBox="1">
            <a:spLocks/>
          </p:cNvSpPr>
          <p:nvPr/>
        </p:nvSpPr>
        <p:spPr>
          <a:xfrm>
            <a:off x="2583095" y="3530454"/>
            <a:ext cx="2241067" cy="297494"/>
          </a:xfrm>
          <a:prstGeom prst="rect">
            <a:avLst/>
          </a:prstGeom>
        </p:spPr>
        <p:txBody>
          <a:bodyPr lIns="46732" tIns="23365" rIns="46732" bIns="23365">
            <a:noAutofit/>
          </a:bodyPr>
          <a:lstStyle>
            <a:lvl1pPr algn="l" rtl="0" eaLnBrk="0" fontAlgn="base" hangingPunct="0">
              <a:lnSpc>
                <a:spcPct val="80000"/>
              </a:lnSpc>
              <a:spcBef>
                <a:spcPct val="0"/>
              </a:spcBef>
              <a:spcAft>
                <a:spcPct val="0"/>
              </a:spcAft>
              <a:defRPr sz="9500">
                <a:solidFill>
                  <a:srgbClr val="FFFFFF"/>
                </a:solidFill>
                <a:latin typeface="+mj-lt"/>
                <a:ea typeface="+mj-ea"/>
                <a:cs typeface="+mj-cs"/>
                <a:sym typeface="Gotham Bold" charset="0"/>
              </a:defRPr>
            </a:lvl1pPr>
            <a:lvl2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2pPr>
            <a:lvl3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3pPr>
            <a:lvl4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4pPr>
            <a:lvl5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5pPr>
            <a:lvl6pPr marL="51435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6pPr>
            <a:lvl7pPr marL="102870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7pPr>
            <a:lvl8pPr marL="154305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8pPr>
            <a:lvl9pPr marL="205740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sz="1400" b="0" i="0" u="none" strike="noStrike" kern="1200" cap="none" spc="0" normalizeH="0" baseline="0" noProof="0" dirty="0">
                <a:ln>
                  <a:noFill/>
                </a:ln>
                <a:solidFill>
                  <a:srgbClr val="92D05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sym typeface="Gotham Bold" charset="0"/>
              </a:rPr>
              <a:t>Differentiated Experience</a:t>
            </a:r>
          </a:p>
        </p:txBody>
      </p:sp>
      <p:sp>
        <p:nvSpPr>
          <p:cNvPr id="17" name="Shape 47">
            <a:extLst>
              <a:ext uri="{FF2B5EF4-FFF2-40B4-BE49-F238E27FC236}">
                <a16:creationId xmlns:a16="http://schemas.microsoft.com/office/drawing/2014/main" id="{88FAD4B2-7303-4732-BB99-C56900573627}"/>
              </a:ext>
            </a:extLst>
          </p:cNvPr>
          <p:cNvSpPr txBox="1">
            <a:spLocks/>
          </p:cNvSpPr>
          <p:nvPr/>
        </p:nvSpPr>
        <p:spPr>
          <a:xfrm>
            <a:off x="6662802" y="2115598"/>
            <a:ext cx="3657600" cy="1201371"/>
          </a:xfrm>
          <a:prstGeom prst="rect">
            <a:avLst/>
          </a:prstGeom>
        </p:spPr>
        <p:txBody>
          <a:bodyPr lIns="46732" tIns="23365" rIns="46732" bIns="23365">
            <a:noAutofit/>
          </a:bodyPr>
          <a:lstStyle>
            <a:lvl1pPr algn="l" rtl="0" eaLnBrk="0" fontAlgn="base" hangingPunct="0">
              <a:lnSpc>
                <a:spcPct val="80000"/>
              </a:lnSpc>
              <a:spcBef>
                <a:spcPct val="0"/>
              </a:spcBef>
              <a:spcAft>
                <a:spcPct val="0"/>
              </a:spcAft>
              <a:defRPr sz="9500">
                <a:solidFill>
                  <a:srgbClr val="FFFFFF"/>
                </a:solidFill>
                <a:latin typeface="+mj-lt"/>
                <a:ea typeface="+mj-ea"/>
                <a:cs typeface="+mj-cs"/>
                <a:sym typeface="Gotham Bold" charset="0"/>
              </a:defRPr>
            </a:lvl1pPr>
            <a:lvl2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2pPr>
            <a:lvl3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3pPr>
            <a:lvl4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4pPr>
            <a:lvl5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5pPr>
            <a:lvl6pPr marL="51435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6pPr>
            <a:lvl7pPr marL="102870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7pPr>
            <a:lvl8pPr marL="154305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8pPr>
            <a:lvl9pPr marL="205740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9pPr>
          </a:lstStyle>
          <a:p>
            <a:pPr marL="0" marR="0" lvl="0" indent="0" algn="l" defTabSz="914400" rtl="0" eaLnBrk="1" fontAlgn="base" latinLnBrk="0" hangingPunct="1">
              <a:lnSpc>
                <a:spcPct val="120000"/>
              </a:lnSpc>
              <a:spcBef>
                <a:spcPct val="20000"/>
              </a:spcBef>
              <a:spcAft>
                <a:spcPct val="0"/>
              </a:spcAft>
              <a:buClrTx/>
              <a:buSzTx/>
              <a:buFontTx/>
              <a:buNone/>
              <a:tabLst/>
              <a:defRPr/>
            </a:pPr>
            <a:r>
              <a:rPr kumimoji="0" lang="en-US" sz="1200" b="0" i="0" u="none" strike="noStrike" kern="1200" cap="none" spc="0" normalizeH="0" baseline="0" noProof="0" dirty="0">
                <a:ln>
                  <a:noFill/>
                </a:ln>
                <a:solidFill>
                  <a:srgbClr val="5A5A5A"/>
                </a:solidFill>
                <a:effectLst/>
                <a:uLnTx/>
                <a:uFillTx/>
                <a:latin typeface="Open Sans"/>
                <a:ea typeface="+mj-ea"/>
                <a:cs typeface="Frutiger Next Pro Light"/>
                <a:sym typeface="Gotham Bold" charset="0"/>
              </a:rPr>
              <a:t>Consumers are getting closer and closer to expecting just in time delivery due to the “Prime” effect.  In 2016 ~42% of shoppers consider 3 – 4 day shipping ‘fast’ compared to 63% the year before</a:t>
            </a:r>
            <a:endParaRPr kumimoji="0" lang="en-US" sz="1200" b="0" i="0" u="none" strike="noStrike" kern="1200" cap="none" spc="0" normalizeH="0" baseline="30000" noProof="0" dirty="0">
              <a:ln>
                <a:noFill/>
              </a:ln>
              <a:solidFill>
                <a:srgbClr val="5A5A5A"/>
              </a:solidFill>
              <a:effectLst/>
              <a:uLnTx/>
              <a:uFillTx/>
              <a:latin typeface="Open Sans"/>
              <a:ea typeface="+mj-ea"/>
              <a:cs typeface="Frutiger Next Pro Light"/>
              <a:sym typeface="Gotham Bold" charset="0"/>
            </a:endParaRPr>
          </a:p>
        </p:txBody>
      </p:sp>
      <p:sp>
        <p:nvSpPr>
          <p:cNvPr id="18" name="Shape 47">
            <a:extLst>
              <a:ext uri="{FF2B5EF4-FFF2-40B4-BE49-F238E27FC236}">
                <a16:creationId xmlns:a16="http://schemas.microsoft.com/office/drawing/2014/main" id="{7F52EF7F-1F04-4EC2-ADAA-F552CBFB0808}"/>
              </a:ext>
            </a:extLst>
          </p:cNvPr>
          <p:cNvSpPr txBox="1">
            <a:spLocks/>
          </p:cNvSpPr>
          <p:nvPr/>
        </p:nvSpPr>
        <p:spPr>
          <a:xfrm>
            <a:off x="7186532" y="1783717"/>
            <a:ext cx="2241067" cy="297494"/>
          </a:xfrm>
          <a:prstGeom prst="rect">
            <a:avLst/>
          </a:prstGeom>
        </p:spPr>
        <p:txBody>
          <a:bodyPr lIns="46732" tIns="23365" rIns="46732" bIns="23365">
            <a:noAutofit/>
          </a:bodyPr>
          <a:lstStyle>
            <a:lvl1pPr algn="l" rtl="0" eaLnBrk="0" fontAlgn="base" hangingPunct="0">
              <a:lnSpc>
                <a:spcPct val="80000"/>
              </a:lnSpc>
              <a:spcBef>
                <a:spcPct val="0"/>
              </a:spcBef>
              <a:spcAft>
                <a:spcPct val="0"/>
              </a:spcAft>
              <a:defRPr sz="9500">
                <a:solidFill>
                  <a:srgbClr val="FFFFFF"/>
                </a:solidFill>
                <a:latin typeface="+mj-lt"/>
                <a:ea typeface="+mj-ea"/>
                <a:cs typeface="+mj-cs"/>
                <a:sym typeface="Gotham Bold" charset="0"/>
              </a:defRPr>
            </a:lvl1pPr>
            <a:lvl2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2pPr>
            <a:lvl3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3pPr>
            <a:lvl4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4pPr>
            <a:lvl5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5pPr>
            <a:lvl6pPr marL="51435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6pPr>
            <a:lvl7pPr marL="102870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7pPr>
            <a:lvl8pPr marL="154305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8pPr>
            <a:lvl9pPr marL="205740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sz="1400" b="0" i="0" u="none" strike="noStrike" kern="1200" cap="none" spc="0" normalizeH="0" baseline="0" noProof="0" dirty="0">
                <a:ln>
                  <a:noFill/>
                </a:ln>
                <a:solidFill>
                  <a:srgbClr val="92D05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sym typeface="Gotham Bold" charset="0"/>
              </a:rPr>
              <a:t>Shipping</a:t>
            </a:r>
          </a:p>
        </p:txBody>
      </p:sp>
      <p:grpSp>
        <p:nvGrpSpPr>
          <p:cNvPr id="19" name="Group 18">
            <a:extLst>
              <a:ext uri="{FF2B5EF4-FFF2-40B4-BE49-F238E27FC236}">
                <a16:creationId xmlns:a16="http://schemas.microsoft.com/office/drawing/2014/main" id="{0354D31F-6602-4201-94F5-3C6BF899FE36}"/>
              </a:ext>
            </a:extLst>
          </p:cNvPr>
          <p:cNvGrpSpPr>
            <a:grpSpLocks/>
          </p:cNvGrpSpPr>
          <p:nvPr/>
        </p:nvGrpSpPr>
        <p:grpSpPr>
          <a:xfrm>
            <a:off x="6720097" y="1795304"/>
            <a:ext cx="384048" cy="274320"/>
            <a:chOff x="1731963" y="4808538"/>
            <a:chExt cx="481013" cy="369888"/>
          </a:xfrm>
        </p:grpSpPr>
        <p:sp>
          <p:nvSpPr>
            <p:cNvPr id="20" name="Freeform 123">
              <a:extLst>
                <a:ext uri="{FF2B5EF4-FFF2-40B4-BE49-F238E27FC236}">
                  <a16:creationId xmlns:a16="http://schemas.microsoft.com/office/drawing/2014/main" id="{4D88B01E-9B79-4E22-914D-3FC142F458E6}"/>
                </a:ext>
              </a:extLst>
            </p:cNvPr>
            <p:cNvSpPr>
              <a:spLocks noEditPoints="1"/>
            </p:cNvSpPr>
            <p:nvPr/>
          </p:nvSpPr>
          <p:spPr bwMode="auto">
            <a:xfrm>
              <a:off x="1731963" y="4808538"/>
              <a:ext cx="481013" cy="369888"/>
            </a:xfrm>
            <a:custGeom>
              <a:avLst/>
              <a:gdLst>
                <a:gd name="T0" fmla="*/ 240 w 244"/>
                <a:gd name="T1" fmla="*/ 80 h 187"/>
                <a:gd name="T2" fmla="*/ 217 w 244"/>
                <a:gd name="T3" fmla="*/ 35 h 187"/>
                <a:gd name="T4" fmla="*/ 172 w 244"/>
                <a:gd name="T5" fmla="*/ 5 h 187"/>
                <a:gd name="T6" fmla="*/ 4 w 244"/>
                <a:gd name="T7" fmla="*/ 0 h 187"/>
                <a:gd name="T8" fmla="*/ 0 w 244"/>
                <a:gd name="T9" fmla="*/ 121 h 187"/>
                <a:gd name="T10" fmla="*/ 10 w 244"/>
                <a:gd name="T11" fmla="*/ 126 h 187"/>
                <a:gd name="T12" fmla="*/ 15 w 244"/>
                <a:gd name="T13" fmla="*/ 152 h 187"/>
                <a:gd name="T14" fmla="*/ 30 w 244"/>
                <a:gd name="T15" fmla="*/ 159 h 187"/>
                <a:gd name="T16" fmla="*/ 87 w 244"/>
                <a:gd name="T17" fmla="*/ 159 h 187"/>
                <a:gd name="T18" fmla="*/ 170 w 244"/>
                <a:gd name="T19" fmla="*/ 152 h 187"/>
                <a:gd name="T20" fmla="*/ 198 w 244"/>
                <a:gd name="T21" fmla="*/ 187 h 187"/>
                <a:gd name="T22" fmla="*/ 226 w 244"/>
                <a:gd name="T23" fmla="*/ 152 h 187"/>
                <a:gd name="T24" fmla="*/ 244 w 244"/>
                <a:gd name="T25" fmla="*/ 147 h 187"/>
                <a:gd name="T26" fmla="*/ 240 w 244"/>
                <a:gd name="T27" fmla="*/ 116 h 187"/>
                <a:gd name="T28" fmla="*/ 230 w 244"/>
                <a:gd name="T29" fmla="*/ 82 h 187"/>
                <a:gd name="T30" fmla="*/ 211 w 244"/>
                <a:gd name="T31" fmla="*/ 45 h 187"/>
                <a:gd name="T32" fmla="*/ 230 w 244"/>
                <a:gd name="T33" fmla="*/ 80 h 187"/>
                <a:gd name="T34" fmla="*/ 201 w 244"/>
                <a:gd name="T35" fmla="*/ 82 h 187"/>
                <a:gd name="T36" fmla="*/ 172 w 244"/>
                <a:gd name="T37" fmla="*/ 45 h 187"/>
                <a:gd name="T38" fmla="*/ 9 w 244"/>
                <a:gd name="T39" fmla="*/ 10 h 187"/>
                <a:gd name="T40" fmla="*/ 162 w 244"/>
                <a:gd name="T41" fmla="*/ 40 h 187"/>
                <a:gd name="T42" fmla="*/ 15 w 244"/>
                <a:gd name="T43" fmla="*/ 116 h 187"/>
                <a:gd name="T44" fmla="*/ 9 w 244"/>
                <a:gd name="T45" fmla="*/ 10 h 187"/>
                <a:gd name="T46" fmla="*/ 39 w 244"/>
                <a:gd name="T47" fmla="*/ 159 h 187"/>
                <a:gd name="T48" fmla="*/ 77 w 244"/>
                <a:gd name="T49" fmla="*/ 159 h 187"/>
                <a:gd name="T50" fmla="*/ 198 w 244"/>
                <a:gd name="T51" fmla="*/ 178 h 187"/>
                <a:gd name="T52" fmla="*/ 198 w 244"/>
                <a:gd name="T53" fmla="*/ 140 h 187"/>
                <a:gd name="T54" fmla="*/ 198 w 244"/>
                <a:gd name="T55" fmla="*/ 178 h 187"/>
                <a:gd name="T56" fmla="*/ 221 w 244"/>
                <a:gd name="T57" fmla="*/ 142 h 187"/>
                <a:gd name="T58" fmla="*/ 175 w 244"/>
                <a:gd name="T59" fmla="*/ 142 h 187"/>
                <a:gd name="T60" fmla="*/ 58 w 244"/>
                <a:gd name="T61" fmla="*/ 130 h 187"/>
                <a:gd name="T62" fmla="*/ 20 w 244"/>
                <a:gd name="T63" fmla="*/ 142 h 187"/>
                <a:gd name="T64" fmla="*/ 167 w 244"/>
                <a:gd name="T65" fmla="*/ 126 h 187"/>
                <a:gd name="T66" fmla="*/ 172 w 244"/>
                <a:gd name="T67" fmla="*/ 92 h 187"/>
                <a:gd name="T68" fmla="*/ 230 w 244"/>
                <a:gd name="T69" fmla="*/ 92 h 187"/>
                <a:gd name="T70" fmla="*/ 234 w 244"/>
                <a:gd name="T71" fmla="*/ 12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4" h="187">
                  <a:moveTo>
                    <a:pt x="240" y="116"/>
                  </a:moveTo>
                  <a:cubicBezTo>
                    <a:pt x="240" y="80"/>
                    <a:pt x="240" y="80"/>
                    <a:pt x="240" y="80"/>
                  </a:cubicBezTo>
                  <a:cubicBezTo>
                    <a:pt x="240" y="51"/>
                    <a:pt x="221" y="36"/>
                    <a:pt x="220" y="36"/>
                  </a:cubicBezTo>
                  <a:cubicBezTo>
                    <a:pt x="219" y="35"/>
                    <a:pt x="218" y="35"/>
                    <a:pt x="217" y="35"/>
                  </a:cubicBezTo>
                  <a:cubicBezTo>
                    <a:pt x="172" y="35"/>
                    <a:pt x="172" y="35"/>
                    <a:pt x="172" y="35"/>
                  </a:cubicBezTo>
                  <a:cubicBezTo>
                    <a:pt x="172" y="5"/>
                    <a:pt x="172" y="5"/>
                    <a:pt x="172" y="5"/>
                  </a:cubicBezTo>
                  <a:cubicBezTo>
                    <a:pt x="172" y="2"/>
                    <a:pt x="170" y="0"/>
                    <a:pt x="167" y="0"/>
                  </a:cubicBezTo>
                  <a:cubicBezTo>
                    <a:pt x="4" y="0"/>
                    <a:pt x="4" y="0"/>
                    <a:pt x="4" y="0"/>
                  </a:cubicBezTo>
                  <a:cubicBezTo>
                    <a:pt x="2" y="0"/>
                    <a:pt x="0" y="2"/>
                    <a:pt x="0" y="5"/>
                  </a:cubicBezTo>
                  <a:cubicBezTo>
                    <a:pt x="0" y="121"/>
                    <a:pt x="0" y="121"/>
                    <a:pt x="0" y="121"/>
                  </a:cubicBezTo>
                  <a:cubicBezTo>
                    <a:pt x="0" y="124"/>
                    <a:pt x="2" y="126"/>
                    <a:pt x="4" y="126"/>
                  </a:cubicBezTo>
                  <a:cubicBezTo>
                    <a:pt x="10" y="126"/>
                    <a:pt x="10" y="126"/>
                    <a:pt x="10" y="126"/>
                  </a:cubicBezTo>
                  <a:cubicBezTo>
                    <a:pt x="10" y="147"/>
                    <a:pt x="10" y="147"/>
                    <a:pt x="10" y="147"/>
                  </a:cubicBezTo>
                  <a:cubicBezTo>
                    <a:pt x="10" y="150"/>
                    <a:pt x="12" y="152"/>
                    <a:pt x="15" y="152"/>
                  </a:cubicBezTo>
                  <a:cubicBezTo>
                    <a:pt x="30" y="152"/>
                    <a:pt x="30" y="152"/>
                    <a:pt x="30" y="152"/>
                  </a:cubicBezTo>
                  <a:cubicBezTo>
                    <a:pt x="30" y="154"/>
                    <a:pt x="30" y="156"/>
                    <a:pt x="30" y="159"/>
                  </a:cubicBezTo>
                  <a:cubicBezTo>
                    <a:pt x="30" y="175"/>
                    <a:pt x="42" y="187"/>
                    <a:pt x="58" y="187"/>
                  </a:cubicBezTo>
                  <a:cubicBezTo>
                    <a:pt x="74" y="187"/>
                    <a:pt x="87" y="175"/>
                    <a:pt x="87" y="159"/>
                  </a:cubicBezTo>
                  <a:cubicBezTo>
                    <a:pt x="87" y="156"/>
                    <a:pt x="87" y="154"/>
                    <a:pt x="86" y="152"/>
                  </a:cubicBezTo>
                  <a:cubicBezTo>
                    <a:pt x="170" y="152"/>
                    <a:pt x="170" y="152"/>
                    <a:pt x="170" y="152"/>
                  </a:cubicBezTo>
                  <a:cubicBezTo>
                    <a:pt x="169" y="154"/>
                    <a:pt x="169" y="156"/>
                    <a:pt x="169" y="159"/>
                  </a:cubicBezTo>
                  <a:cubicBezTo>
                    <a:pt x="169" y="175"/>
                    <a:pt x="182" y="187"/>
                    <a:pt x="198" y="187"/>
                  </a:cubicBezTo>
                  <a:cubicBezTo>
                    <a:pt x="214" y="187"/>
                    <a:pt x="226" y="175"/>
                    <a:pt x="226" y="159"/>
                  </a:cubicBezTo>
                  <a:cubicBezTo>
                    <a:pt x="226" y="156"/>
                    <a:pt x="226" y="154"/>
                    <a:pt x="226" y="152"/>
                  </a:cubicBezTo>
                  <a:cubicBezTo>
                    <a:pt x="239" y="152"/>
                    <a:pt x="239" y="152"/>
                    <a:pt x="239" y="152"/>
                  </a:cubicBezTo>
                  <a:cubicBezTo>
                    <a:pt x="242" y="152"/>
                    <a:pt x="244" y="150"/>
                    <a:pt x="244" y="147"/>
                  </a:cubicBezTo>
                  <a:cubicBezTo>
                    <a:pt x="244" y="121"/>
                    <a:pt x="244" y="121"/>
                    <a:pt x="244" y="121"/>
                  </a:cubicBezTo>
                  <a:cubicBezTo>
                    <a:pt x="244" y="119"/>
                    <a:pt x="242" y="116"/>
                    <a:pt x="240" y="116"/>
                  </a:cubicBezTo>
                  <a:close/>
                  <a:moveTo>
                    <a:pt x="230" y="80"/>
                  </a:moveTo>
                  <a:cubicBezTo>
                    <a:pt x="230" y="82"/>
                    <a:pt x="230" y="82"/>
                    <a:pt x="230" y="82"/>
                  </a:cubicBezTo>
                  <a:cubicBezTo>
                    <a:pt x="211" y="82"/>
                    <a:pt x="211" y="82"/>
                    <a:pt x="211" y="82"/>
                  </a:cubicBezTo>
                  <a:cubicBezTo>
                    <a:pt x="211" y="45"/>
                    <a:pt x="211" y="45"/>
                    <a:pt x="211" y="45"/>
                  </a:cubicBezTo>
                  <a:cubicBezTo>
                    <a:pt x="215" y="45"/>
                    <a:pt x="215" y="45"/>
                    <a:pt x="215" y="45"/>
                  </a:cubicBezTo>
                  <a:cubicBezTo>
                    <a:pt x="219" y="48"/>
                    <a:pt x="230" y="60"/>
                    <a:pt x="230" y="80"/>
                  </a:cubicBezTo>
                  <a:close/>
                  <a:moveTo>
                    <a:pt x="201" y="45"/>
                  </a:moveTo>
                  <a:cubicBezTo>
                    <a:pt x="201" y="82"/>
                    <a:pt x="201" y="82"/>
                    <a:pt x="201" y="82"/>
                  </a:cubicBezTo>
                  <a:cubicBezTo>
                    <a:pt x="172" y="82"/>
                    <a:pt x="172" y="82"/>
                    <a:pt x="172" y="82"/>
                  </a:cubicBezTo>
                  <a:cubicBezTo>
                    <a:pt x="172" y="45"/>
                    <a:pt x="172" y="45"/>
                    <a:pt x="172" y="45"/>
                  </a:cubicBezTo>
                  <a:lnTo>
                    <a:pt x="201" y="45"/>
                  </a:lnTo>
                  <a:close/>
                  <a:moveTo>
                    <a:pt x="9" y="10"/>
                  </a:moveTo>
                  <a:cubicBezTo>
                    <a:pt x="162" y="10"/>
                    <a:pt x="162" y="10"/>
                    <a:pt x="162" y="10"/>
                  </a:cubicBezTo>
                  <a:cubicBezTo>
                    <a:pt x="162" y="40"/>
                    <a:pt x="162" y="40"/>
                    <a:pt x="162" y="40"/>
                  </a:cubicBezTo>
                  <a:cubicBezTo>
                    <a:pt x="162" y="116"/>
                    <a:pt x="162" y="116"/>
                    <a:pt x="162" y="116"/>
                  </a:cubicBezTo>
                  <a:cubicBezTo>
                    <a:pt x="15" y="116"/>
                    <a:pt x="15" y="116"/>
                    <a:pt x="15" y="116"/>
                  </a:cubicBezTo>
                  <a:cubicBezTo>
                    <a:pt x="9" y="116"/>
                    <a:pt x="9" y="116"/>
                    <a:pt x="9" y="116"/>
                  </a:cubicBezTo>
                  <a:lnTo>
                    <a:pt x="9" y="10"/>
                  </a:lnTo>
                  <a:close/>
                  <a:moveTo>
                    <a:pt x="58" y="178"/>
                  </a:moveTo>
                  <a:cubicBezTo>
                    <a:pt x="48" y="178"/>
                    <a:pt x="39" y="169"/>
                    <a:pt x="39" y="159"/>
                  </a:cubicBezTo>
                  <a:cubicBezTo>
                    <a:pt x="39" y="148"/>
                    <a:pt x="48" y="140"/>
                    <a:pt x="58" y="140"/>
                  </a:cubicBezTo>
                  <a:cubicBezTo>
                    <a:pt x="69" y="140"/>
                    <a:pt x="77" y="148"/>
                    <a:pt x="77" y="159"/>
                  </a:cubicBezTo>
                  <a:cubicBezTo>
                    <a:pt x="77" y="169"/>
                    <a:pt x="69" y="178"/>
                    <a:pt x="58" y="178"/>
                  </a:cubicBezTo>
                  <a:close/>
                  <a:moveTo>
                    <a:pt x="198" y="178"/>
                  </a:moveTo>
                  <a:cubicBezTo>
                    <a:pt x="187" y="178"/>
                    <a:pt x="179" y="169"/>
                    <a:pt x="179" y="159"/>
                  </a:cubicBezTo>
                  <a:cubicBezTo>
                    <a:pt x="179" y="148"/>
                    <a:pt x="187" y="140"/>
                    <a:pt x="198" y="140"/>
                  </a:cubicBezTo>
                  <a:cubicBezTo>
                    <a:pt x="208" y="140"/>
                    <a:pt x="217" y="148"/>
                    <a:pt x="217" y="159"/>
                  </a:cubicBezTo>
                  <a:cubicBezTo>
                    <a:pt x="217" y="169"/>
                    <a:pt x="208" y="178"/>
                    <a:pt x="198" y="178"/>
                  </a:cubicBezTo>
                  <a:close/>
                  <a:moveTo>
                    <a:pt x="234" y="142"/>
                  </a:moveTo>
                  <a:cubicBezTo>
                    <a:pt x="221" y="142"/>
                    <a:pt x="221" y="142"/>
                    <a:pt x="221" y="142"/>
                  </a:cubicBezTo>
                  <a:cubicBezTo>
                    <a:pt x="216" y="135"/>
                    <a:pt x="207" y="130"/>
                    <a:pt x="198" y="130"/>
                  </a:cubicBezTo>
                  <a:cubicBezTo>
                    <a:pt x="188" y="130"/>
                    <a:pt x="180" y="135"/>
                    <a:pt x="175" y="142"/>
                  </a:cubicBezTo>
                  <a:cubicBezTo>
                    <a:pt x="81" y="142"/>
                    <a:pt x="81" y="142"/>
                    <a:pt x="81" y="142"/>
                  </a:cubicBezTo>
                  <a:cubicBezTo>
                    <a:pt x="76" y="135"/>
                    <a:pt x="68" y="130"/>
                    <a:pt x="58" y="130"/>
                  </a:cubicBezTo>
                  <a:cubicBezTo>
                    <a:pt x="49" y="130"/>
                    <a:pt x="40" y="135"/>
                    <a:pt x="35" y="142"/>
                  </a:cubicBezTo>
                  <a:cubicBezTo>
                    <a:pt x="20" y="142"/>
                    <a:pt x="20" y="142"/>
                    <a:pt x="20" y="142"/>
                  </a:cubicBezTo>
                  <a:cubicBezTo>
                    <a:pt x="20" y="126"/>
                    <a:pt x="20" y="126"/>
                    <a:pt x="20" y="126"/>
                  </a:cubicBezTo>
                  <a:cubicBezTo>
                    <a:pt x="167" y="126"/>
                    <a:pt x="167" y="126"/>
                    <a:pt x="167" y="126"/>
                  </a:cubicBezTo>
                  <a:cubicBezTo>
                    <a:pt x="170" y="126"/>
                    <a:pt x="172" y="124"/>
                    <a:pt x="172" y="121"/>
                  </a:cubicBezTo>
                  <a:cubicBezTo>
                    <a:pt x="172" y="92"/>
                    <a:pt x="172" y="92"/>
                    <a:pt x="172" y="92"/>
                  </a:cubicBezTo>
                  <a:cubicBezTo>
                    <a:pt x="206" y="92"/>
                    <a:pt x="206" y="92"/>
                    <a:pt x="206" y="92"/>
                  </a:cubicBezTo>
                  <a:cubicBezTo>
                    <a:pt x="230" y="92"/>
                    <a:pt x="230" y="92"/>
                    <a:pt x="230" y="92"/>
                  </a:cubicBezTo>
                  <a:cubicBezTo>
                    <a:pt x="230" y="121"/>
                    <a:pt x="230" y="121"/>
                    <a:pt x="230" y="121"/>
                  </a:cubicBezTo>
                  <a:cubicBezTo>
                    <a:pt x="230" y="124"/>
                    <a:pt x="232" y="126"/>
                    <a:pt x="234" y="126"/>
                  </a:cubicBezTo>
                  <a:lnTo>
                    <a:pt x="234" y="14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1" name="Oval 124">
              <a:extLst>
                <a:ext uri="{FF2B5EF4-FFF2-40B4-BE49-F238E27FC236}">
                  <a16:creationId xmlns:a16="http://schemas.microsoft.com/office/drawing/2014/main" id="{CCF1B431-E60B-4007-8EE4-A3D55F2DEAFA}"/>
                </a:ext>
              </a:extLst>
            </p:cNvPr>
            <p:cNvSpPr>
              <a:spLocks noChangeArrowheads="1"/>
            </p:cNvSpPr>
            <p:nvPr/>
          </p:nvSpPr>
          <p:spPr bwMode="auto">
            <a:xfrm>
              <a:off x="2108201" y="5108576"/>
              <a:ext cx="26988" cy="25400"/>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2" name="Oval 125">
              <a:extLst>
                <a:ext uri="{FF2B5EF4-FFF2-40B4-BE49-F238E27FC236}">
                  <a16:creationId xmlns:a16="http://schemas.microsoft.com/office/drawing/2014/main" id="{B7FDA122-1790-48C1-B011-4A3D4B7673BB}"/>
                </a:ext>
              </a:extLst>
            </p:cNvPr>
            <p:cNvSpPr>
              <a:spLocks noChangeArrowheads="1"/>
            </p:cNvSpPr>
            <p:nvPr/>
          </p:nvSpPr>
          <p:spPr bwMode="auto">
            <a:xfrm>
              <a:off x="1835151" y="5108576"/>
              <a:ext cx="25400" cy="25400"/>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3" name="Freeform 126">
              <a:extLst>
                <a:ext uri="{FF2B5EF4-FFF2-40B4-BE49-F238E27FC236}">
                  <a16:creationId xmlns:a16="http://schemas.microsoft.com/office/drawing/2014/main" id="{829043AA-3754-4406-B564-85B051F5C934}"/>
                </a:ext>
              </a:extLst>
            </p:cNvPr>
            <p:cNvSpPr>
              <a:spLocks/>
            </p:cNvSpPr>
            <p:nvPr/>
          </p:nvSpPr>
          <p:spPr bwMode="auto">
            <a:xfrm>
              <a:off x="2082801" y="4813301"/>
              <a:ext cx="77788" cy="52388"/>
            </a:xfrm>
            <a:custGeom>
              <a:avLst/>
              <a:gdLst>
                <a:gd name="T0" fmla="*/ 5 w 39"/>
                <a:gd name="T1" fmla="*/ 10 h 27"/>
                <a:gd name="T2" fmla="*/ 5 w 39"/>
                <a:gd name="T3" fmla="*/ 10 h 27"/>
                <a:gd name="T4" fmla="*/ 29 w 39"/>
                <a:gd name="T5" fmla="*/ 25 h 27"/>
                <a:gd name="T6" fmla="*/ 33 w 39"/>
                <a:gd name="T7" fmla="*/ 27 h 27"/>
                <a:gd name="T8" fmla="*/ 36 w 39"/>
                <a:gd name="T9" fmla="*/ 26 h 27"/>
                <a:gd name="T10" fmla="*/ 37 w 39"/>
                <a:gd name="T11" fmla="*/ 19 h 27"/>
                <a:gd name="T12" fmla="*/ 5 w 39"/>
                <a:gd name="T13" fmla="*/ 0 h 27"/>
                <a:gd name="T14" fmla="*/ 5 w 39"/>
                <a:gd name="T15" fmla="*/ 0 h 27"/>
                <a:gd name="T16" fmla="*/ 0 w 39"/>
                <a:gd name="T17" fmla="*/ 5 h 27"/>
                <a:gd name="T18" fmla="*/ 5 w 39"/>
                <a:gd name="T19"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27">
                  <a:moveTo>
                    <a:pt x="5" y="10"/>
                  </a:moveTo>
                  <a:cubicBezTo>
                    <a:pt x="5" y="10"/>
                    <a:pt x="5" y="10"/>
                    <a:pt x="5" y="10"/>
                  </a:cubicBezTo>
                  <a:cubicBezTo>
                    <a:pt x="18" y="10"/>
                    <a:pt x="29" y="25"/>
                    <a:pt x="29" y="25"/>
                  </a:cubicBezTo>
                  <a:cubicBezTo>
                    <a:pt x="30" y="27"/>
                    <a:pt x="32" y="27"/>
                    <a:pt x="33" y="27"/>
                  </a:cubicBezTo>
                  <a:cubicBezTo>
                    <a:pt x="34" y="27"/>
                    <a:pt x="35" y="27"/>
                    <a:pt x="36" y="26"/>
                  </a:cubicBezTo>
                  <a:cubicBezTo>
                    <a:pt x="38" y="25"/>
                    <a:pt x="39" y="22"/>
                    <a:pt x="37" y="19"/>
                  </a:cubicBezTo>
                  <a:cubicBezTo>
                    <a:pt x="36" y="19"/>
                    <a:pt x="23" y="0"/>
                    <a:pt x="5" y="0"/>
                  </a:cubicBezTo>
                  <a:cubicBezTo>
                    <a:pt x="5" y="0"/>
                    <a:pt x="5" y="0"/>
                    <a:pt x="5" y="0"/>
                  </a:cubicBezTo>
                  <a:cubicBezTo>
                    <a:pt x="2" y="0"/>
                    <a:pt x="0" y="2"/>
                    <a:pt x="0" y="5"/>
                  </a:cubicBezTo>
                  <a:cubicBezTo>
                    <a:pt x="0" y="8"/>
                    <a:pt x="2" y="10"/>
                    <a:pt x="5" y="1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4" name="Group 23">
            <a:extLst>
              <a:ext uri="{FF2B5EF4-FFF2-40B4-BE49-F238E27FC236}">
                <a16:creationId xmlns:a16="http://schemas.microsoft.com/office/drawing/2014/main" id="{A30450B5-335C-4686-A046-67F874E55684}"/>
              </a:ext>
            </a:extLst>
          </p:cNvPr>
          <p:cNvGrpSpPr>
            <a:grpSpLocks noChangeAspect="1"/>
          </p:cNvGrpSpPr>
          <p:nvPr/>
        </p:nvGrpSpPr>
        <p:grpSpPr>
          <a:xfrm>
            <a:off x="2175000" y="3519835"/>
            <a:ext cx="315071" cy="411480"/>
            <a:chOff x="1458913" y="1430338"/>
            <a:chExt cx="503238" cy="657225"/>
          </a:xfrm>
        </p:grpSpPr>
        <p:sp>
          <p:nvSpPr>
            <p:cNvPr id="25" name="Freeform 14">
              <a:extLst>
                <a:ext uri="{FF2B5EF4-FFF2-40B4-BE49-F238E27FC236}">
                  <a16:creationId xmlns:a16="http://schemas.microsoft.com/office/drawing/2014/main" id="{F4082BE8-4280-4E41-A1A7-90817A7D6A22}"/>
                </a:ext>
              </a:extLst>
            </p:cNvPr>
            <p:cNvSpPr>
              <a:spLocks noEditPoints="1"/>
            </p:cNvSpPr>
            <p:nvPr/>
          </p:nvSpPr>
          <p:spPr bwMode="auto">
            <a:xfrm>
              <a:off x="1458913" y="1430338"/>
              <a:ext cx="204788" cy="342900"/>
            </a:xfrm>
            <a:custGeom>
              <a:avLst/>
              <a:gdLst>
                <a:gd name="T0" fmla="*/ 76 w 76"/>
                <a:gd name="T1" fmla="*/ 63 h 127"/>
                <a:gd name="T2" fmla="*/ 35 w 76"/>
                <a:gd name="T3" fmla="*/ 2 h 127"/>
                <a:gd name="T4" fmla="*/ 16 w 76"/>
                <a:gd name="T5" fmla="*/ 11 h 127"/>
                <a:gd name="T6" fmla="*/ 2 w 76"/>
                <a:gd name="T7" fmla="*/ 68 h 127"/>
                <a:gd name="T8" fmla="*/ 11 w 76"/>
                <a:gd name="T9" fmla="*/ 113 h 127"/>
                <a:gd name="T10" fmla="*/ 13 w 76"/>
                <a:gd name="T11" fmla="*/ 124 h 127"/>
                <a:gd name="T12" fmla="*/ 18 w 76"/>
                <a:gd name="T13" fmla="*/ 127 h 127"/>
                <a:gd name="T14" fmla="*/ 19 w 76"/>
                <a:gd name="T15" fmla="*/ 127 h 127"/>
                <a:gd name="T16" fmla="*/ 60 w 76"/>
                <a:gd name="T17" fmla="*/ 119 h 127"/>
                <a:gd name="T18" fmla="*/ 64 w 76"/>
                <a:gd name="T19" fmla="*/ 114 h 127"/>
                <a:gd name="T20" fmla="*/ 70 w 76"/>
                <a:gd name="T21" fmla="*/ 86 h 127"/>
                <a:gd name="T22" fmla="*/ 76 w 76"/>
                <a:gd name="T23" fmla="*/ 63 h 127"/>
                <a:gd name="T24" fmla="*/ 61 w 76"/>
                <a:gd name="T25" fmla="*/ 82 h 127"/>
                <a:gd name="T26" fmla="*/ 54 w 76"/>
                <a:gd name="T27" fmla="*/ 110 h 127"/>
                <a:gd name="T28" fmla="*/ 22 w 76"/>
                <a:gd name="T29" fmla="*/ 117 h 127"/>
                <a:gd name="T30" fmla="*/ 20 w 76"/>
                <a:gd name="T31" fmla="*/ 111 h 127"/>
                <a:gd name="T32" fmla="*/ 12 w 76"/>
                <a:gd name="T33" fmla="*/ 68 h 127"/>
                <a:gd name="T34" fmla="*/ 23 w 76"/>
                <a:gd name="T35" fmla="*/ 18 h 127"/>
                <a:gd name="T36" fmla="*/ 36 w 76"/>
                <a:gd name="T37" fmla="*/ 12 h 127"/>
                <a:gd name="T38" fmla="*/ 37 w 76"/>
                <a:gd name="T39" fmla="*/ 12 h 127"/>
                <a:gd name="T40" fmla="*/ 66 w 76"/>
                <a:gd name="T41" fmla="*/ 63 h 127"/>
                <a:gd name="T42" fmla="*/ 66 w 76"/>
                <a:gd name="T43" fmla="*/ 64 h 127"/>
                <a:gd name="T44" fmla="*/ 61 w 76"/>
                <a:gd name="T45" fmla="*/ 82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6" h="127">
                  <a:moveTo>
                    <a:pt x="76" y="63"/>
                  </a:moveTo>
                  <a:cubicBezTo>
                    <a:pt x="74" y="39"/>
                    <a:pt x="72" y="0"/>
                    <a:pt x="35" y="2"/>
                  </a:cubicBezTo>
                  <a:cubicBezTo>
                    <a:pt x="27" y="2"/>
                    <a:pt x="21" y="5"/>
                    <a:pt x="16" y="11"/>
                  </a:cubicBezTo>
                  <a:cubicBezTo>
                    <a:pt x="0" y="29"/>
                    <a:pt x="2" y="67"/>
                    <a:pt x="2" y="68"/>
                  </a:cubicBezTo>
                  <a:cubicBezTo>
                    <a:pt x="5" y="93"/>
                    <a:pt x="8" y="102"/>
                    <a:pt x="11" y="113"/>
                  </a:cubicBezTo>
                  <a:cubicBezTo>
                    <a:pt x="12" y="117"/>
                    <a:pt x="12" y="120"/>
                    <a:pt x="13" y="124"/>
                  </a:cubicBezTo>
                  <a:cubicBezTo>
                    <a:pt x="14" y="126"/>
                    <a:pt x="16" y="127"/>
                    <a:pt x="18" y="127"/>
                  </a:cubicBezTo>
                  <a:cubicBezTo>
                    <a:pt x="19" y="127"/>
                    <a:pt x="19" y="127"/>
                    <a:pt x="19" y="127"/>
                  </a:cubicBezTo>
                  <a:cubicBezTo>
                    <a:pt x="60" y="119"/>
                    <a:pt x="60" y="119"/>
                    <a:pt x="60" y="119"/>
                  </a:cubicBezTo>
                  <a:cubicBezTo>
                    <a:pt x="62" y="119"/>
                    <a:pt x="64" y="116"/>
                    <a:pt x="64" y="114"/>
                  </a:cubicBezTo>
                  <a:cubicBezTo>
                    <a:pt x="63" y="101"/>
                    <a:pt x="66" y="93"/>
                    <a:pt x="70" y="86"/>
                  </a:cubicBezTo>
                  <a:cubicBezTo>
                    <a:pt x="73" y="80"/>
                    <a:pt x="76" y="73"/>
                    <a:pt x="76" y="63"/>
                  </a:cubicBezTo>
                  <a:close/>
                  <a:moveTo>
                    <a:pt x="61" y="82"/>
                  </a:moveTo>
                  <a:cubicBezTo>
                    <a:pt x="58" y="89"/>
                    <a:pt x="54" y="97"/>
                    <a:pt x="54" y="110"/>
                  </a:cubicBezTo>
                  <a:cubicBezTo>
                    <a:pt x="22" y="117"/>
                    <a:pt x="22" y="117"/>
                    <a:pt x="22" y="117"/>
                  </a:cubicBezTo>
                  <a:cubicBezTo>
                    <a:pt x="21" y="115"/>
                    <a:pt x="21" y="113"/>
                    <a:pt x="20" y="111"/>
                  </a:cubicBezTo>
                  <a:cubicBezTo>
                    <a:pt x="17" y="100"/>
                    <a:pt x="15" y="92"/>
                    <a:pt x="12" y="68"/>
                  </a:cubicBezTo>
                  <a:cubicBezTo>
                    <a:pt x="12" y="67"/>
                    <a:pt x="10" y="32"/>
                    <a:pt x="23" y="18"/>
                  </a:cubicBezTo>
                  <a:cubicBezTo>
                    <a:pt x="27" y="14"/>
                    <a:pt x="31" y="12"/>
                    <a:pt x="36" y="12"/>
                  </a:cubicBezTo>
                  <a:cubicBezTo>
                    <a:pt x="36" y="12"/>
                    <a:pt x="37" y="12"/>
                    <a:pt x="37" y="12"/>
                  </a:cubicBezTo>
                  <a:cubicBezTo>
                    <a:pt x="61" y="12"/>
                    <a:pt x="64" y="36"/>
                    <a:pt x="66" y="63"/>
                  </a:cubicBezTo>
                  <a:cubicBezTo>
                    <a:pt x="66" y="64"/>
                    <a:pt x="66" y="64"/>
                    <a:pt x="66" y="64"/>
                  </a:cubicBezTo>
                  <a:cubicBezTo>
                    <a:pt x="66" y="71"/>
                    <a:pt x="64" y="76"/>
                    <a:pt x="61" y="8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6" name="Freeform 15">
              <a:extLst>
                <a:ext uri="{FF2B5EF4-FFF2-40B4-BE49-F238E27FC236}">
                  <a16:creationId xmlns:a16="http://schemas.microsoft.com/office/drawing/2014/main" id="{BE4B9E72-383E-435A-B18A-5F25D4C6FA77}"/>
                </a:ext>
              </a:extLst>
            </p:cNvPr>
            <p:cNvSpPr>
              <a:spLocks noEditPoints="1"/>
            </p:cNvSpPr>
            <p:nvPr/>
          </p:nvSpPr>
          <p:spPr bwMode="auto">
            <a:xfrm>
              <a:off x="1508126" y="1781175"/>
              <a:ext cx="153988" cy="157163"/>
            </a:xfrm>
            <a:custGeom>
              <a:avLst/>
              <a:gdLst>
                <a:gd name="T0" fmla="*/ 50 w 57"/>
                <a:gd name="T1" fmla="*/ 5 h 58"/>
                <a:gd name="T2" fmla="*/ 44 w 57"/>
                <a:gd name="T3" fmla="*/ 1 h 58"/>
                <a:gd name="T4" fmla="*/ 4 w 57"/>
                <a:gd name="T5" fmla="*/ 9 h 58"/>
                <a:gd name="T6" fmla="*/ 1 w 57"/>
                <a:gd name="T7" fmla="*/ 11 h 58"/>
                <a:gd name="T8" fmla="*/ 0 w 57"/>
                <a:gd name="T9" fmla="*/ 15 h 58"/>
                <a:gd name="T10" fmla="*/ 31 w 57"/>
                <a:gd name="T11" fmla="*/ 58 h 58"/>
                <a:gd name="T12" fmla="*/ 37 w 57"/>
                <a:gd name="T13" fmla="*/ 58 h 58"/>
                <a:gd name="T14" fmla="*/ 53 w 57"/>
                <a:gd name="T15" fmla="*/ 49 h 58"/>
                <a:gd name="T16" fmla="*/ 50 w 57"/>
                <a:gd name="T17" fmla="*/ 7 h 58"/>
                <a:gd name="T18" fmla="*/ 50 w 57"/>
                <a:gd name="T19" fmla="*/ 5 h 58"/>
                <a:gd name="T20" fmla="*/ 44 w 57"/>
                <a:gd name="T21" fmla="*/ 44 h 58"/>
                <a:gd name="T22" fmla="*/ 36 w 57"/>
                <a:gd name="T23" fmla="*/ 48 h 58"/>
                <a:gd name="T24" fmla="*/ 31 w 57"/>
                <a:gd name="T25" fmla="*/ 48 h 58"/>
                <a:gd name="T26" fmla="*/ 11 w 57"/>
                <a:gd name="T27" fmla="*/ 18 h 58"/>
                <a:gd name="T28" fmla="*/ 41 w 57"/>
                <a:gd name="T29" fmla="*/ 12 h 58"/>
                <a:gd name="T30" fmla="*/ 44 w 57"/>
                <a:gd name="T31" fmla="*/ 4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7" h="58">
                  <a:moveTo>
                    <a:pt x="50" y="5"/>
                  </a:moveTo>
                  <a:cubicBezTo>
                    <a:pt x="49" y="2"/>
                    <a:pt x="47" y="0"/>
                    <a:pt x="44" y="1"/>
                  </a:cubicBezTo>
                  <a:cubicBezTo>
                    <a:pt x="4" y="9"/>
                    <a:pt x="4" y="9"/>
                    <a:pt x="4" y="9"/>
                  </a:cubicBezTo>
                  <a:cubicBezTo>
                    <a:pt x="3" y="9"/>
                    <a:pt x="2" y="10"/>
                    <a:pt x="1" y="11"/>
                  </a:cubicBezTo>
                  <a:cubicBezTo>
                    <a:pt x="0" y="12"/>
                    <a:pt x="0" y="14"/>
                    <a:pt x="0" y="15"/>
                  </a:cubicBezTo>
                  <a:cubicBezTo>
                    <a:pt x="5" y="38"/>
                    <a:pt x="11" y="58"/>
                    <a:pt x="31" y="58"/>
                  </a:cubicBezTo>
                  <a:cubicBezTo>
                    <a:pt x="33" y="58"/>
                    <a:pt x="35" y="58"/>
                    <a:pt x="37" y="58"/>
                  </a:cubicBezTo>
                  <a:cubicBezTo>
                    <a:pt x="43" y="57"/>
                    <a:pt x="49" y="55"/>
                    <a:pt x="53" y="49"/>
                  </a:cubicBezTo>
                  <a:cubicBezTo>
                    <a:pt x="57" y="42"/>
                    <a:pt x="57" y="30"/>
                    <a:pt x="50" y="7"/>
                  </a:cubicBezTo>
                  <a:lnTo>
                    <a:pt x="50" y="5"/>
                  </a:lnTo>
                  <a:close/>
                  <a:moveTo>
                    <a:pt x="44" y="44"/>
                  </a:moveTo>
                  <a:cubicBezTo>
                    <a:pt x="43" y="46"/>
                    <a:pt x="41" y="47"/>
                    <a:pt x="36" y="48"/>
                  </a:cubicBezTo>
                  <a:cubicBezTo>
                    <a:pt x="34" y="48"/>
                    <a:pt x="33" y="48"/>
                    <a:pt x="31" y="48"/>
                  </a:cubicBezTo>
                  <a:cubicBezTo>
                    <a:pt x="23" y="48"/>
                    <a:pt x="17" y="43"/>
                    <a:pt x="11" y="18"/>
                  </a:cubicBezTo>
                  <a:cubicBezTo>
                    <a:pt x="41" y="12"/>
                    <a:pt x="41" y="12"/>
                    <a:pt x="41" y="12"/>
                  </a:cubicBezTo>
                  <a:cubicBezTo>
                    <a:pt x="45" y="23"/>
                    <a:pt x="48" y="38"/>
                    <a:pt x="44" y="4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7" name="Freeform 16">
              <a:extLst>
                <a:ext uri="{FF2B5EF4-FFF2-40B4-BE49-F238E27FC236}">
                  <a16:creationId xmlns:a16="http://schemas.microsoft.com/office/drawing/2014/main" id="{17AFEF5E-D91F-42D0-AF6F-DFBBED1D4A81}"/>
                </a:ext>
              </a:extLst>
            </p:cNvPr>
            <p:cNvSpPr>
              <a:spLocks noEditPoints="1"/>
            </p:cNvSpPr>
            <p:nvPr/>
          </p:nvSpPr>
          <p:spPr bwMode="auto">
            <a:xfrm>
              <a:off x="1755776" y="1579563"/>
              <a:ext cx="206375" cy="342900"/>
            </a:xfrm>
            <a:custGeom>
              <a:avLst/>
              <a:gdLst>
                <a:gd name="T0" fmla="*/ 60 w 76"/>
                <a:gd name="T1" fmla="*/ 11 h 127"/>
                <a:gd name="T2" fmla="*/ 41 w 76"/>
                <a:gd name="T3" fmla="*/ 2 h 127"/>
                <a:gd name="T4" fmla="*/ 0 w 76"/>
                <a:gd name="T5" fmla="*/ 63 h 127"/>
                <a:gd name="T6" fmla="*/ 0 w 76"/>
                <a:gd name="T7" fmla="*/ 63 h 127"/>
                <a:gd name="T8" fmla="*/ 6 w 76"/>
                <a:gd name="T9" fmla="*/ 86 h 127"/>
                <a:gd name="T10" fmla="*/ 12 w 76"/>
                <a:gd name="T11" fmla="*/ 114 h 127"/>
                <a:gd name="T12" fmla="*/ 16 w 76"/>
                <a:gd name="T13" fmla="*/ 119 h 127"/>
                <a:gd name="T14" fmla="*/ 57 w 76"/>
                <a:gd name="T15" fmla="*/ 127 h 127"/>
                <a:gd name="T16" fmla="*/ 58 w 76"/>
                <a:gd name="T17" fmla="*/ 127 h 127"/>
                <a:gd name="T18" fmla="*/ 63 w 76"/>
                <a:gd name="T19" fmla="*/ 124 h 127"/>
                <a:gd name="T20" fmla="*/ 65 w 76"/>
                <a:gd name="T21" fmla="*/ 114 h 127"/>
                <a:gd name="T22" fmla="*/ 74 w 76"/>
                <a:gd name="T23" fmla="*/ 68 h 127"/>
                <a:gd name="T24" fmla="*/ 60 w 76"/>
                <a:gd name="T25" fmla="*/ 11 h 127"/>
                <a:gd name="T26" fmla="*/ 64 w 76"/>
                <a:gd name="T27" fmla="*/ 67 h 127"/>
                <a:gd name="T28" fmla="*/ 56 w 76"/>
                <a:gd name="T29" fmla="*/ 111 h 127"/>
                <a:gd name="T30" fmla="*/ 54 w 76"/>
                <a:gd name="T31" fmla="*/ 117 h 127"/>
                <a:gd name="T32" fmla="*/ 22 w 76"/>
                <a:gd name="T33" fmla="*/ 110 h 127"/>
                <a:gd name="T34" fmla="*/ 15 w 76"/>
                <a:gd name="T35" fmla="*/ 82 h 127"/>
                <a:gd name="T36" fmla="*/ 10 w 76"/>
                <a:gd name="T37" fmla="*/ 64 h 127"/>
                <a:gd name="T38" fmla="*/ 10 w 76"/>
                <a:gd name="T39" fmla="*/ 63 h 127"/>
                <a:gd name="T40" fmla="*/ 40 w 76"/>
                <a:gd name="T41" fmla="*/ 12 h 127"/>
                <a:gd name="T42" fmla="*/ 53 w 76"/>
                <a:gd name="T43" fmla="*/ 18 h 127"/>
                <a:gd name="T44" fmla="*/ 64 w 76"/>
                <a:gd name="T45" fmla="*/ 6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6" h="127">
                  <a:moveTo>
                    <a:pt x="60" y="11"/>
                  </a:moveTo>
                  <a:cubicBezTo>
                    <a:pt x="55" y="5"/>
                    <a:pt x="49" y="2"/>
                    <a:pt x="41" y="2"/>
                  </a:cubicBezTo>
                  <a:cubicBezTo>
                    <a:pt x="4" y="0"/>
                    <a:pt x="2" y="40"/>
                    <a:pt x="0" y="63"/>
                  </a:cubicBezTo>
                  <a:cubicBezTo>
                    <a:pt x="0" y="63"/>
                    <a:pt x="0" y="63"/>
                    <a:pt x="0" y="63"/>
                  </a:cubicBezTo>
                  <a:cubicBezTo>
                    <a:pt x="0" y="73"/>
                    <a:pt x="3" y="80"/>
                    <a:pt x="6" y="86"/>
                  </a:cubicBezTo>
                  <a:cubicBezTo>
                    <a:pt x="10" y="94"/>
                    <a:pt x="13" y="101"/>
                    <a:pt x="12" y="114"/>
                  </a:cubicBezTo>
                  <a:cubicBezTo>
                    <a:pt x="12" y="116"/>
                    <a:pt x="14" y="119"/>
                    <a:pt x="16" y="119"/>
                  </a:cubicBezTo>
                  <a:cubicBezTo>
                    <a:pt x="57" y="127"/>
                    <a:pt x="57" y="127"/>
                    <a:pt x="57" y="127"/>
                  </a:cubicBezTo>
                  <a:cubicBezTo>
                    <a:pt x="57" y="127"/>
                    <a:pt x="57" y="127"/>
                    <a:pt x="58" y="127"/>
                  </a:cubicBezTo>
                  <a:cubicBezTo>
                    <a:pt x="60" y="127"/>
                    <a:pt x="62" y="126"/>
                    <a:pt x="63" y="124"/>
                  </a:cubicBezTo>
                  <a:cubicBezTo>
                    <a:pt x="64" y="120"/>
                    <a:pt x="64" y="117"/>
                    <a:pt x="65" y="114"/>
                  </a:cubicBezTo>
                  <a:cubicBezTo>
                    <a:pt x="68" y="102"/>
                    <a:pt x="71" y="93"/>
                    <a:pt x="74" y="68"/>
                  </a:cubicBezTo>
                  <a:cubicBezTo>
                    <a:pt x="74" y="67"/>
                    <a:pt x="76" y="29"/>
                    <a:pt x="60" y="11"/>
                  </a:cubicBezTo>
                  <a:close/>
                  <a:moveTo>
                    <a:pt x="64" y="67"/>
                  </a:moveTo>
                  <a:cubicBezTo>
                    <a:pt x="61" y="92"/>
                    <a:pt x="59" y="100"/>
                    <a:pt x="56" y="111"/>
                  </a:cubicBezTo>
                  <a:cubicBezTo>
                    <a:pt x="55" y="113"/>
                    <a:pt x="55" y="115"/>
                    <a:pt x="54" y="117"/>
                  </a:cubicBezTo>
                  <a:cubicBezTo>
                    <a:pt x="22" y="110"/>
                    <a:pt x="22" y="110"/>
                    <a:pt x="22" y="110"/>
                  </a:cubicBezTo>
                  <a:cubicBezTo>
                    <a:pt x="22" y="97"/>
                    <a:pt x="18" y="89"/>
                    <a:pt x="15" y="82"/>
                  </a:cubicBezTo>
                  <a:cubicBezTo>
                    <a:pt x="12" y="76"/>
                    <a:pt x="10" y="71"/>
                    <a:pt x="10" y="64"/>
                  </a:cubicBezTo>
                  <a:cubicBezTo>
                    <a:pt x="10" y="63"/>
                    <a:pt x="10" y="63"/>
                    <a:pt x="10" y="63"/>
                  </a:cubicBezTo>
                  <a:cubicBezTo>
                    <a:pt x="12" y="35"/>
                    <a:pt x="16" y="11"/>
                    <a:pt x="40" y="12"/>
                  </a:cubicBezTo>
                  <a:cubicBezTo>
                    <a:pt x="45" y="12"/>
                    <a:pt x="49" y="14"/>
                    <a:pt x="53" y="18"/>
                  </a:cubicBezTo>
                  <a:cubicBezTo>
                    <a:pt x="66" y="32"/>
                    <a:pt x="64" y="67"/>
                    <a:pt x="64" y="67"/>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8" name="Freeform 17">
              <a:extLst>
                <a:ext uri="{FF2B5EF4-FFF2-40B4-BE49-F238E27FC236}">
                  <a16:creationId xmlns:a16="http://schemas.microsoft.com/office/drawing/2014/main" id="{EB4B4805-6C7B-4C33-BB1B-53DB4C0B0637}"/>
                </a:ext>
              </a:extLst>
            </p:cNvPr>
            <p:cNvSpPr>
              <a:spLocks noEditPoints="1"/>
            </p:cNvSpPr>
            <p:nvPr/>
          </p:nvSpPr>
          <p:spPr bwMode="auto">
            <a:xfrm>
              <a:off x="1758951" y="1930400"/>
              <a:ext cx="153988" cy="157163"/>
            </a:xfrm>
            <a:custGeom>
              <a:avLst/>
              <a:gdLst>
                <a:gd name="T0" fmla="*/ 53 w 57"/>
                <a:gd name="T1" fmla="*/ 9 h 58"/>
                <a:gd name="T2" fmla="*/ 13 w 57"/>
                <a:gd name="T3" fmla="*/ 1 h 58"/>
                <a:gd name="T4" fmla="*/ 7 w 57"/>
                <a:gd name="T5" fmla="*/ 5 h 58"/>
                <a:gd name="T6" fmla="*/ 7 w 57"/>
                <a:gd name="T7" fmla="*/ 7 h 58"/>
                <a:gd name="T8" fmla="*/ 4 w 57"/>
                <a:gd name="T9" fmla="*/ 49 h 58"/>
                <a:gd name="T10" fmla="*/ 20 w 57"/>
                <a:gd name="T11" fmla="*/ 58 h 58"/>
                <a:gd name="T12" fmla="*/ 26 w 57"/>
                <a:gd name="T13" fmla="*/ 58 h 58"/>
                <a:gd name="T14" fmla="*/ 57 w 57"/>
                <a:gd name="T15" fmla="*/ 15 h 58"/>
                <a:gd name="T16" fmla="*/ 56 w 57"/>
                <a:gd name="T17" fmla="*/ 11 h 58"/>
                <a:gd name="T18" fmla="*/ 53 w 57"/>
                <a:gd name="T19" fmla="*/ 9 h 58"/>
                <a:gd name="T20" fmla="*/ 26 w 57"/>
                <a:gd name="T21" fmla="*/ 48 h 58"/>
                <a:gd name="T22" fmla="*/ 21 w 57"/>
                <a:gd name="T23" fmla="*/ 48 h 58"/>
                <a:gd name="T24" fmla="*/ 13 w 57"/>
                <a:gd name="T25" fmla="*/ 44 h 58"/>
                <a:gd name="T26" fmla="*/ 16 w 57"/>
                <a:gd name="T27" fmla="*/ 12 h 58"/>
                <a:gd name="T28" fmla="*/ 46 w 57"/>
                <a:gd name="T29" fmla="*/ 18 h 58"/>
                <a:gd name="T30" fmla="*/ 26 w 57"/>
                <a:gd name="T31" fmla="*/ 4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7" h="58">
                  <a:moveTo>
                    <a:pt x="53" y="9"/>
                  </a:moveTo>
                  <a:cubicBezTo>
                    <a:pt x="13" y="1"/>
                    <a:pt x="13" y="1"/>
                    <a:pt x="13" y="1"/>
                  </a:cubicBezTo>
                  <a:cubicBezTo>
                    <a:pt x="10" y="0"/>
                    <a:pt x="8" y="2"/>
                    <a:pt x="7" y="5"/>
                  </a:cubicBezTo>
                  <a:cubicBezTo>
                    <a:pt x="7" y="7"/>
                    <a:pt x="7" y="7"/>
                    <a:pt x="7" y="7"/>
                  </a:cubicBezTo>
                  <a:cubicBezTo>
                    <a:pt x="0" y="30"/>
                    <a:pt x="0" y="42"/>
                    <a:pt x="4" y="49"/>
                  </a:cubicBezTo>
                  <a:cubicBezTo>
                    <a:pt x="8" y="55"/>
                    <a:pt x="14" y="57"/>
                    <a:pt x="20" y="58"/>
                  </a:cubicBezTo>
                  <a:cubicBezTo>
                    <a:pt x="22" y="58"/>
                    <a:pt x="24" y="58"/>
                    <a:pt x="26" y="58"/>
                  </a:cubicBezTo>
                  <a:cubicBezTo>
                    <a:pt x="46" y="58"/>
                    <a:pt x="52" y="38"/>
                    <a:pt x="57" y="15"/>
                  </a:cubicBezTo>
                  <a:cubicBezTo>
                    <a:pt x="57" y="14"/>
                    <a:pt x="57" y="12"/>
                    <a:pt x="56" y="11"/>
                  </a:cubicBezTo>
                  <a:cubicBezTo>
                    <a:pt x="55" y="10"/>
                    <a:pt x="54" y="9"/>
                    <a:pt x="53" y="9"/>
                  </a:cubicBezTo>
                  <a:close/>
                  <a:moveTo>
                    <a:pt x="26" y="48"/>
                  </a:moveTo>
                  <a:cubicBezTo>
                    <a:pt x="24" y="48"/>
                    <a:pt x="23" y="48"/>
                    <a:pt x="21" y="48"/>
                  </a:cubicBezTo>
                  <a:cubicBezTo>
                    <a:pt x="16" y="47"/>
                    <a:pt x="14" y="46"/>
                    <a:pt x="13" y="44"/>
                  </a:cubicBezTo>
                  <a:cubicBezTo>
                    <a:pt x="9" y="39"/>
                    <a:pt x="12" y="23"/>
                    <a:pt x="16" y="12"/>
                  </a:cubicBezTo>
                  <a:cubicBezTo>
                    <a:pt x="46" y="18"/>
                    <a:pt x="46" y="18"/>
                    <a:pt x="46" y="18"/>
                  </a:cubicBezTo>
                  <a:cubicBezTo>
                    <a:pt x="40" y="43"/>
                    <a:pt x="34" y="48"/>
                    <a:pt x="26" y="4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29" name="Shape 47">
            <a:extLst>
              <a:ext uri="{FF2B5EF4-FFF2-40B4-BE49-F238E27FC236}">
                <a16:creationId xmlns:a16="http://schemas.microsoft.com/office/drawing/2014/main" id="{92972255-9DA8-41CA-BDA3-6C4FFFFA4B5C}"/>
              </a:ext>
            </a:extLst>
          </p:cNvPr>
          <p:cNvSpPr txBox="1">
            <a:spLocks/>
          </p:cNvSpPr>
          <p:nvPr/>
        </p:nvSpPr>
        <p:spPr>
          <a:xfrm>
            <a:off x="6655526" y="3981142"/>
            <a:ext cx="3657600" cy="2336178"/>
          </a:xfrm>
          <a:prstGeom prst="rect">
            <a:avLst/>
          </a:prstGeom>
        </p:spPr>
        <p:txBody>
          <a:bodyPr lIns="46732" tIns="23365" rIns="46732" bIns="23365">
            <a:noAutofit/>
          </a:bodyPr>
          <a:lstStyle>
            <a:lvl1pPr algn="l" rtl="0" eaLnBrk="0" fontAlgn="base" hangingPunct="0">
              <a:lnSpc>
                <a:spcPct val="80000"/>
              </a:lnSpc>
              <a:spcBef>
                <a:spcPct val="0"/>
              </a:spcBef>
              <a:spcAft>
                <a:spcPct val="0"/>
              </a:spcAft>
              <a:defRPr sz="9500">
                <a:solidFill>
                  <a:srgbClr val="FFFFFF"/>
                </a:solidFill>
                <a:latin typeface="+mj-lt"/>
                <a:ea typeface="+mj-ea"/>
                <a:cs typeface="+mj-cs"/>
                <a:sym typeface="Gotham Bold" charset="0"/>
              </a:defRPr>
            </a:lvl1pPr>
            <a:lvl2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2pPr>
            <a:lvl3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3pPr>
            <a:lvl4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4pPr>
            <a:lvl5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5pPr>
            <a:lvl6pPr marL="51435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6pPr>
            <a:lvl7pPr marL="102870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7pPr>
            <a:lvl8pPr marL="154305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8pPr>
            <a:lvl9pPr marL="205740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9pPr>
          </a:lstStyle>
          <a:p>
            <a:pPr marL="0" marR="0" lvl="0" indent="0" algn="l" defTabSz="914400" rtl="0" eaLnBrk="1" fontAlgn="base" latinLnBrk="0" hangingPunct="1">
              <a:lnSpc>
                <a:spcPct val="120000"/>
              </a:lnSpc>
              <a:spcBef>
                <a:spcPct val="20000"/>
              </a:spcBef>
              <a:spcAft>
                <a:spcPct val="0"/>
              </a:spcAft>
              <a:buClrTx/>
              <a:buSzTx/>
              <a:buFontTx/>
              <a:buNone/>
              <a:tabLst/>
              <a:defRPr/>
            </a:pPr>
            <a:r>
              <a:rPr kumimoji="0" lang="en-US" sz="1200" b="0" i="0" u="none" strike="noStrike" kern="1200" cap="none" spc="0" normalizeH="0" baseline="0" noProof="0" dirty="0">
                <a:ln>
                  <a:noFill/>
                </a:ln>
                <a:solidFill>
                  <a:srgbClr val="5A5A5A"/>
                </a:solidFill>
                <a:effectLst/>
                <a:uLnTx/>
                <a:uFillTx/>
                <a:latin typeface="Open Sans"/>
                <a:ea typeface="+mj-ea"/>
                <a:cs typeface="Frutiger Next Pro Light"/>
                <a:sym typeface="Gotham Bold" charset="0"/>
              </a:rPr>
              <a:t>Consumers want to discover unique brands with mission statements that they align with. Customers’ deep connections to brands demonstrate long term loyalty </a:t>
            </a:r>
          </a:p>
          <a:p>
            <a:pPr marL="0" marR="0" lvl="0" indent="0" algn="l" defTabSz="914400" rtl="0" eaLnBrk="1" fontAlgn="base" latinLnBrk="0" hangingPunct="1">
              <a:lnSpc>
                <a:spcPct val="120000"/>
              </a:lnSpc>
              <a:spcBef>
                <a:spcPct val="20000"/>
              </a:spcBef>
              <a:spcAft>
                <a:spcPct val="0"/>
              </a:spcAft>
              <a:buClrTx/>
              <a:buSzTx/>
              <a:buFontTx/>
              <a:buNone/>
              <a:tabLst/>
              <a:defRPr/>
            </a:pPr>
            <a:endParaRPr kumimoji="0" lang="en-US" sz="800" b="0" i="0" u="none" strike="noStrike" kern="1200" cap="none" spc="0" normalizeH="0" baseline="0" noProof="0" dirty="0">
              <a:ln>
                <a:noFill/>
              </a:ln>
              <a:solidFill>
                <a:srgbClr val="5A5A5A"/>
              </a:solidFill>
              <a:effectLst/>
              <a:uLnTx/>
              <a:uFillTx/>
              <a:latin typeface="Open Sans"/>
              <a:ea typeface="+mj-ea"/>
              <a:cs typeface="Frutiger Next Pro Light"/>
              <a:sym typeface="Gotham Bold" charset="0"/>
            </a:endParaRPr>
          </a:p>
          <a:p>
            <a:pPr marL="0" marR="0" lvl="0" indent="0" algn="l" defTabSz="914400" rtl="0" eaLnBrk="1" fontAlgn="base" latinLnBrk="0" hangingPunct="1">
              <a:lnSpc>
                <a:spcPct val="120000"/>
              </a:lnSpc>
              <a:spcBef>
                <a:spcPct val="20000"/>
              </a:spcBef>
              <a:spcAft>
                <a:spcPct val="0"/>
              </a:spcAft>
              <a:buClrTx/>
              <a:buSzTx/>
              <a:buFontTx/>
              <a:buNone/>
              <a:tabLst/>
              <a:defRPr/>
            </a:pPr>
            <a:r>
              <a:rPr kumimoji="0" lang="en-US" sz="1100" b="0" i="1" u="none" strike="noStrike" kern="1200" cap="none" spc="0" normalizeH="0" baseline="0" noProof="0" dirty="0">
                <a:ln>
                  <a:noFill/>
                </a:ln>
                <a:solidFill>
                  <a:srgbClr val="5A5A5A"/>
                </a:solidFill>
                <a:effectLst/>
                <a:uLnTx/>
                <a:uFillTx/>
                <a:latin typeface="Open Sans"/>
                <a:ea typeface="+mj-ea"/>
                <a:cs typeface="Frutiger Next Pro Light"/>
                <a:sym typeface="Gotham Bold" charset="0"/>
              </a:rPr>
              <a:t>Whole Foods was founded on the principle of providing natural food and building a sustainable future. With this mission statement, it has successfully fostered a community embracing healthy food and lifestyle by launching initiatives such as cooking classes and community service events</a:t>
            </a:r>
          </a:p>
        </p:txBody>
      </p:sp>
      <p:sp>
        <p:nvSpPr>
          <p:cNvPr id="30" name="Shape 47">
            <a:extLst>
              <a:ext uri="{FF2B5EF4-FFF2-40B4-BE49-F238E27FC236}">
                <a16:creationId xmlns:a16="http://schemas.microsoft.com/office/drawing/2014/main" id="{C850C8A2-BB32-4EF6-9F9C-A9B8992712BE}"/>
              </a:ext>
            </a:extLst>
          </p:cNvPr>
          <p:cNvSpPr txBox="1">
            <a:spLocks/>
          </p:cNvSpPr>
          <p:nvPr/>
        </p:nvSpPr>
        <p:spPr>
          <a:xfrm>
            <a:off x="7150029" y="3528484"/>
            <a:ext cx="3200400" cy="297494"/>
          </a:xfrm>
          <a:prstGeom prst="rect">
            <a:avLst/>
          </a:prstGeom>
        </p:spPr>
        <p:txBody>
          <a:bodyPr lIns="46732" tIns="23365" rIns="46732" bIns="23365">
            <a:noAutofit/>
          </a:bodyPr>
          <a:lstStyle>
            <a:lvl1pPr algn="l" rtl="0" eaLnBrk="0" fontAlgn="base" hangingPunct="0">
              <a:lnSpc>
                <a:spcPct val="80000"/>
              </a:lnSpc>
              <a:spcBef>
                <a:spcPct val="0"/>
              </a:spcBef>
              <a:spcAft>
                <a:spcPct val="0"/>
              </a:spcAft>
              <a:defRPr sz="9500">
                <a:solidFill>
                  <a:srgbClr val="FFFFFF"/>
                </a:solidFill>
                <a:latin typeface="+mj-lt"/>
                <a:ea typeface="+mj-ea"/>
                <a:cs typeface="+mj-cs"/>
                <a:sym typeface="Gotham Bold" charset="0"/>
              </a:defRPr>
            </a:lvl1pPr>
            <a:lvl2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2pPr>
            <a:lvl3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3pPr>
            <a:lvl4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4pPr>
            <a:lvl5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5pPr>
            <a:lvl6pPr marL="51435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6pPr>
            <a:lvl7pPr marL="102870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7pPr>
            <a:lvl8pPr marL="154305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8pPr>
            <a:lvl9pPr marL="205740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sz="1400" b="0" i="0" u="none" strike="noStrike" kern="1200" cap="none" spc="0" normalizeH="0" baseline="0" noProof="0" dirty="0">
                <a:ln>
                  <a:noFill/>
                </a:ln>
                <a:solidFill>
                  <a:srgbClr val="92D05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sym typeface="Gotham Bold" charset="0"/>
              </a:rPr>
              <a:t>Discovery and Emotional Connection</a:t>
            </a:r>
          </a:p>
        </p:txBody>
      </p:sp>
      <p:sp>
        <p:nvSpPr>
          <p:cNvPr id="31" name="Freeform 133">
            <a:extLst>
              <a:ext uri="{FF2B5EF4-FFF2-40B4-BE49-F238E27FC236}">
                <a16:creationId xmlns:a16="http://schemas.microsoft.com/office/drawing/2014/main" id="{2D8F4636-A1ED-473B-B974-BC2EAFAEBDE4}"/>
              </a:ext>
            </a:extLst>
          </p:cNvPr>
          <p:cNvSpPr>
            <a:spLocks noChangeAspect="1" noEditPoints="1"/>
          </p:cNvSpPr>
          <p:nvPr/>
        </p:nvSpPr>
        <p:spPr bwMode="auto">
          <a:xfrm>
            <a:off x="6674372" y="3546836"/>
            <a:ext cx="407963" cy="274320"/>
          </a:xfrm>
          <a:custGeom>
            <a:avLst/>
            <a:gdLst>
              <a:gd name="T0" fmla="*/ 232 w 235"/>
              <a:gd name="T1" fmla="*/ 106 h 158"/>
              <a:gd name="T2" fmla="*/ 232 w 235"/>
              <a:gd name="T3" fmla="*/ 105 h 158"/>
              <a:gd name="T4" fmla="*/ 186 w 235"/>
              <a:gd name="T5" fmla="*/ 22 h 158"/>
              <a:gd name="T6" fmla="*/ 158 w 235"/>
              <a:gd name="T7" fmla="*/ 0 h 158"/>
              <a:gd name="T8" fmla="*/ 158 w 235"/>
              <a:gd name="T9" fmla="*/ 0 h 158"/>
              <a:gd name="T10" fmla="*/ 132 w 235"/>
              <a:gd name="T11" fmla="*/ 22 h 158"/>
              <a:gd name="T12" fmla="*/ 134 w 235"/>
              <a:gd name="T13" fmla="*/ 28 h 158"/>
              <a:gd name="T14" fmla="*/ 140 w 235"/>
              <a:gd name="T15" fmla="*/ 26 h 158"/>
              <a:gd name="T16" fmla="*/ 158 w 235"/>
              <a:gd name="T17" fmla="*/ 10 h 158"/>
              <a:gd name="T18" fmla="*/ 158 w 235"/>
              <a:gd name="T19" fmla="*/ 10 h 158"/>
              <a:gd name="T20" fmla="*/ 178 w 235"/>
              <a:gd name="T21" fmla="*/ 26 h 158"/>
              <a:gd name="T22" fmla="*/ 210 w 235"/>
              <a:gd name="T23" fmla="*/ 85 h 158"/>
              <a:gd name="T24" fmla="*/ 182 w 235"/>
              <a:gd name="T25" fmla="*/ 79 h 158"/>
              <a:gd name="T26" fmla="*/ 134 w 235"/>
              <a:gd name="T27" fmla="*/ 103 h 158"/>
              <a:gd name="T28" fmla="*/ 102 w 235"/>
              <a:gd name="T29" fmla="*/ 104 h 158"/>
              <a:gd name="T30" fmla="*/ 53 w 235"/>
              <a:gd name="T31" fmla="*/ 79 h 158"/>
              <a:gd name="T32" fmla="*/ 25 w 235"/>
              <a:gd name="T33" fmla="*/ 85 h 158"/>
              <a:gd name="T34" fmla="*/ 57 w 235"/>
              <a:gd name="T35" fmla="*/ 27 h 158"/>
              <a:gd name="T36" fmla="*/ 78 w 235"/>
              <a:gd name="T37" fmla="*/ 10 h 158"/>
              <a:gd name="T38" fmla="*/ 78 w 235"/>
              <a:gd name="T39" fmla="*/ 10 h 158"/>
              <a:gd name="T40" fmla="*/ 95 w 235"/>
              <a:gd name="T41" fmla="*/ 27 h 158"/>
              <a:gd name="T42" fmla="*/ 102 w 235"/>
              <a:gd name="T43" fmla="*/ 29 h 158"/>
              <a:gd name="T44" fmla="*/ 104 w 235"/>
              <a:gd name="T45" fmla="*/ 22 h 158"/>
              <a:gd name="T46" fmla="*/ 78 w 235"/>
              <a:gd name="T47" fmla="*/ 0 h 158"/>
              <a:gd name="T48" fmla="*/ 49 w 235"/>
              <a:gd name="T49" fmla="*/ 22 h 158"/>
              <a:gd name="T50" fmla="*/ 5 w 235"/>
              <a:gd name="T51" fmla="*/ 103 h 158"/>
              <a:gd name="T52" fmla="*/ 4 w 235"/>
              <a:gd name="T53" fmla="*/ 104 h 158"/>
              <a:gd name="T54" fmla="*/ 4 w 235"/>
              <a:gd name="T55" fmla="*/ 105 h 158"/>
              <a:gd name="T56" fmla="*/ 3 w 235"/>
              <a:gd name="T57" fmla="*/ 106 h 158"/>
              <a:gd name="T58" fmla="*/ 0 w 235"/>
              <a:gd name="T59" fmla="*/ 119 h 158"/>
              <a:gd name="T60" fmla="*/ 53 w 235"/>
              <a:gd name="T61" fmla="*/ 158 h 158"/>
              <a:gd name="T62" fmla="*/ 106 w 235"/>
              <a:gd name="T63" fmla="*/ 119 h 158"/>
              <a:gd name="T64" fmla="*/ 105 w 235"/>
              <a:gd name="T65" fmla="*/ 113 h 158"/>
              <a:gd name="T66" fmla="*/ 130 w 235"/>
              <a:gd name="T67" fmla="*/ 112 h 158"/>
              <a:gd name="T68" fmla="*/ 129 w 235"/>
              <a:gd name="T69" fmla="*/ 119 h 158"/>
              <a:gd name="T70" fmla="*/ 182 w 235"/>
              <a:gd name="T71" fmla="*/ 158 h 158"/>
              <a:gd name="T72" fmla="*/ 235 w 235"/>
              <a:gd name="T73" fmla="*/ 119 h 158"/>
              <a:gd name="T74" fmla="*/ 232 w 235"/>
              <a:gd name="T75" fmla="*/ 106 h 158"/>
              <a:gd name="T76" fmla="*/ 53 w 235"/>
              <a:gd name="T77" fmla="*/ 149 h 158"/>
              <a:gd name="T78" fmla="*/ 10 w 235"/>
              <a:gd name="T79" fmla="*/ 119 h 158"/>
              <a:gd name="T80" fmla="*/ 12 w 235"/>
              <a:gd name="T81" fmla="*/ 110 h 158"/>
              <a:gd name="T82" fmla="*/ 12 w 235"/>
              <a:gd name="T83" fmla="*/ 110 h 158"/>
              <a:gd name="T84" fmla="*/ 14 w 235"/>
              <a:gd name="T85" fmla="*/ 107 h 158"/>
              <a:gd name="T86" fmla="*/ 53 w 235"/>
              <a:gd name="T87" fmla="*/ 89 h 158"/>
              <a:gd name="T88" fmla="*/ 97 w 235"/>
              <a:gd name="T89" fmla="*/ 119 h 158"/>
              <a:gd name="T90" fmla="*/ 53 w 235"/>
              <a:gd name="T91" fmla="*/ 149 h 158"/>
              <a:gd name="T92" fmla="*/ 182 w 235"/>
              <a:gd name="T93" fmla="*/ 149 h 158"/>
              <a:gd name="T94" fmla="*/ 139 w 235"/>
              <a:gd name="T95" fmla="*/ 119 h 158"/>
              <a:gd name="T96" fmla="*/ 141 w 235"/>
              <a:gd name="T97" fmla="*/ 110 h 158"/>
              <a:gd name="T98" fmla="*/ 141 w 235"/>
              <a:gd name="T99" fmla="*/ 110 h 158"/>
              <a:gd name="T100" fmla="*/ 182 w 235"/>
              <a:gd name="T101" fmla="*/ 89 h 158"/>
              <a:gd name="T102" fmla="*/ 226 w 235"/>
              <a:gd name="T103" fmla="*/ 119 h 158"/>
              <a:gd name="T104" fmla="*/ 182 w 235"/>
              <a:gd name="T105" fmla="*/ 14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5" h="158">
                <a:moveTo>
                  <a:pt x="232" y="106"/>
                </a:moveTo>
                <a:cubicBezTo>
                  <a:pt x="232" y="106"/>
                  <a:pt x="232" y="105"/>
                  <a:pt x="232" y="105"/>
                </a:cubicBezTo>
                <a:cubicBezTo>
                  <a:pt x="186" y="22"/>
                  <a:pt x="186" y="22"/>
                  <a:pt x="186" y="22"/>
                </a:cubicBezTo>
                <a:cubicBezTo>
                  <a:pt x="186" y="21"/>
                  <a:pt x="174" y="0"/>
                  <a:pt x="158" y="0"/>
                </a:cubicBezTo>
                <a:cubicBezTo>
                  <a:pt x="158" y="0"/>
                  <a:pt x="158" y="0"/>
                  <a:pt x="158" y="0"/>
                </a:cubicBezTo>
                <a:cubicBezTo>
                  <a:pt x="148" y="0"/>
                  <a:pt x="139" y="7"/>
                  <a:pt x="132" y="22"/>
                </a:cubicBezTo>
                <a:cubicBezTo>
                  <a:pt x="130" y="24"/>
                  <a:pt x="131" y="27"/>
                  <a:pt x="134" y="28"/>
                </a:cubicBezTo>
                <a:cubicBezTo>
                  <a:pt x="136" y="29"/>
                  <a:pt x="139" y="29"/>
                  <a:pt x="140" y="26"/>
                </a:cubicBezTo>
                <a:cubicBezTo>
                  <a:pt x="144" y="19"/>
                  <a:pt x="150" y="10"/>
                  <a:pt x="158" y="10"/>
                </a:cubicBezTo>
                <a:cubicBezTo>
                  <a:pt x="158" y="10"/>
                  <a:pt x="158" y="10"/>
                  <a:pt x="158" y="10"/>
                </a:cubicBezTo>
                <a:cubicBezTo>
                  <a:pt x="167" y="10"/>
                  <a:pt x="175" y="22"/>
                  <a:pt x="178" y="26"/>
                </a:cubicBezTo>
                <a:cubicBezTo>
                  <a:pt x="210" y="85"/>
                  <a:pt x="210" y="85"/>
                  <a:pt x="210" y="85"/>
                </a:cubicBezTo>
                <a:cubicBezTo>
                  <a:pt x="202" y="82"/>
                  <a:pt x="193" y="79"/>
                  <a:pt x="182" y="79"/>
                </a:cubicBezTo>
                <a:cubicBezTo>
                  <a:pt x="161" y="79"/>
                  <a:pt x="142" y="89"/>
                  <a:pt x="134" y="103"/>
                </a:cubicBezTo>
                <a:cubicBezTo>
                  <a:pt x="124" y="101"/>
                  <a:pt x="112" y="101"/>
                  <a:pt x="102" y="104"/>
                </a:cubicBezTo>
                <a:cubicBezTo>
                  <a:pt x="94" y="89"/>
                  <a:pt x="75" y="79"/>
                  <a:pt x="53" y="79"/>
                </a:cubicBezTo>
                <a:cubicBezTo>
                  <a:pt x="43" y="79"/>
                  <a:pt x="34" y="82"/>
                  <a:pt x="25" y="85"/>
                </a:cubicBezTo>
                <a:cubicBezTo>
                  <a:pt x="57" y="27"/>
                  <a:pt x="57" y="27"/>
                  <a:pt x="57" y="27"/>
                </a:cubicBezTo>
                <a:cubicBezTo>
                  <a:pt x="60" y="22"/>
                  <a:pt x="69" y="10"/>
                  <a:pt x="78" y="10"/>
                </a:cubicBezTo>
                <a:cubicBezTo>
                  <a:pt x="78" y="10"/>
                  <a:pt x="78" y="10"/>
                  <a:pt x="78" y="10"/>
                </a:cubicBezTo>
                <a:cubicBezTo>
                  <a:pt x="85" y="10"/>
                  <a:pt x="91" y="19"/>
                  <a:pt x="95" y="27"/>
                </a:cubicBezTo>
                <a:cubicBezTo>
                  <a:pt x="97" y="29"/>
                  <a:pt x="100" y="30"/>
                  <a:pt x="102" y="29"/>
                </a:cubicBezTo>
                <a:cubicBezTo>
                  <a:pt x="104" y="28"/>
                  <a:pt x="105" y="25"/>
                  <a:pt x="104" y="22"/>
                </a:cubicBezTo>
                <a:cubicBezTo>
                  <a:pt x="96" y="8"/>
                  <a:pt x="88" y="1"/>
                  <a:pt x="78" y="0"/>
                </a:cubicBezTo>
                <a:cubicBezTo>
                  <a:pt x="61" y="0"/>
                  <a:pt x="50" y="21"/>
                  <a:pt x="49" y="22"/>
                </a:cubicBezTo>
                <a:cubicBezTo>
                  <a:pt x="5" y="103"/>
                  <a:pt x="5" y="103"/>
                  <a:pt x="5" y="103"/>
                </a:cubicBezTo>
                <a:cubicBezTo>
                  <a:pt x="5" y="103"/>
                  <a:pt x="4" y="104"/>
                  <a:pt x="4" y="104"/>
                </a:cubicBezTo>
                <a:cubicBezTo>
                  <a:pt x="4" y="105"/>
                  <a:pt x="4" y="105"/>
                  <a:pt x="4" y="105"/>
                </a:cubicBezTo>
                <a:cubicBezTo>
                  <a:pt x="4" y="106"/>
                  <a:pt x="4" y="106"/>
                  <a:pt x="3" y="106"/>
                </a:cubicBezTo>
                <a:cubicBezTo>
                  <a:pt x="2" y="110"/>
                  <a:pt x="0" y="114"/>
                  <a:pt x="0" y="119"/>
                </a:cubicBezTo>
                <a:cubicBezTo>
                  <a:pt x="0" y="141"/>
                  <a:pt x="24" y="158"/>
                  <a:pt x="53" y="158"/>
                </a:cubicBezTo>
                <a:cubicBezTo>
                  <a:pt x="82" y="158"/>
                  <a:pt x="106" y="141"/>
                  <a:pt x="106" y="119"/>
                </a:cubicBezTo>
                <a:cubicBezTo>
                  <a:pt x="106" y="117"/>
                  <a:pt x="106" y="115"/>
                  <a:pt x="105" y="113"/>
                </a:cubicBezTo>
                <a:cubicBezTo>
                  <a:pt x="114" y="111"/>
                  <a:pt x="122" y="111"/>
                  <a:pt x="130" y="112"/>
                </a:cubicBezTo>
                <a:cubicBezTo>
                  <a:pt x="130" y="114"/>
                  <a:pt x="129" y="117"/>
                  <a:pt x="129" y="119"/>
                </a:cubicBezTo>
                <a:cubicBezTo>
                  <a:pt x="129" y="141"/>
                  <a:pt x="153" y="158"/>
                  <a:pt x="182" y="158"/>
                </a:cubicBezTo>
                <a:cubicBezTo>
                  <a:pt x="211" y="158"/>
                  <a:pt x="235" y="141"/>
                  <a:pt x="235" y="119"/>
                </a:cubicBezTo>
                <a:cubicBezTo>
                  <a:pt x="235" y="114"/>
                  <a:pt x="234" y="110"/>
                  <a:pt x="232" y="106"/>
                </a:cubicBezTo>
                <a:close/>
                <a:moveTo>
                  <a:pt x="53" y="149"/>
                </a:moveTo>
                <a:cubicBezTo>
                  <a:pt x="29" y="149"/>
                  <a:pt x="10" y="135"/>
                  <a:pt x="10" y="119"/>
                </a:cubicBezTo>
                <a:cubicBezTo>
                  <a:pt x="10" y="116"/>
                  <a:pt x="11" y="113"/>
                  <a:pt x="12" y="110"/>
                </a:cubicBezTo>
                <a:cubicBezTo>
                  <a:pt x="12" y="110"/>
                  <a:pt x="12" y="110"/>
                  <a:pt x="12" y="110"/>
                </a:cubicBezTo>
                <a:cubicBezTo>
                  <a:pt x="14" y="107"/>
                  <a:pt x="14" y="107"/>
                  <a:pt x="14" y="107"/>
                </a:cubicBezTo>
                <a:cubicBezTo>
                  <a:pt x="21" y="96"/>
                  <a:pt x="36" y="89"/>
                  <a:pt x="53" y="89"/>
                </a:cubicBezTo>
                <a:cubicBezTo>
                  <a:pt x="77" y="89"/>
                  <a:pt x="97" y="102"/>
                  <a:pt x="97" y="119"/>
                </a:cubicBezTo>
                <a:cubicBezTo>
                  <a:pt x="97" y="135"/>
                  <a:pt x="77" y="149"/>
                  <a:pt x="53" y="149"/>
                </a:cubicBezTo>
                <a:close/>
                <a:moveTo>
                  <a:pt x="182" y="149"/>
                </a:moveTo>
                <a:cubicBezTo>
                  <a:pt x="158" y="149"/>
                  <a:pt x="139" y="135"/>
                  <a:pt x="139" y="119"/>
                </a:cubicBezTo>
                <a:cubicBezTo>
                  <a:pt x="139" y="116"/>
                  <a:pt x="140" y="113"/>
                  <a:pt x="141" y="110"/>
                </a:cubicBezTo>
                <a:cubicBezTo>
                  <a:pt x="141" y="110"/>
                  <a:pt x="141" y="110"/>
                  <a:pt x="141" y="110"/>
                </a:cubicBezTo>
                <a:cubicBezTo>
                  <a:pt x="147" y="98"/>
                  <a:pt x="163" y="89"/>
                  <a:pt x="182" y="89"/>
                </a:cubicBezTo>
                <a:cubicBezTo>
                  <a:pt x="206" y="89"/>
                  <a:pt x="226" y="102"/>
                  <a:pt x="226" y="119"/>
                </a:cubicBezTo>
                <a:cubicBezTo>
                  <a:pt x="226" y="135"/>
                  <a:pt x="206" y="149"/>
                  <a:pt x="182" y="14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Tree>
    <p:extLst>
      <p:ext uri="{BB962C8B-B14F-4D97-AF65-F5344CB8AC3E}">
        <p14:creationId xmlns:p14="http://schemas.microsoft.com/office/powerpoint/2010/main" val="256123328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867300-4982-45F1-AE9C-447794FC747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4" name="think-cell Slide" r:id="rId6" imgW="415" imgH="416" progId="TCLayout.ActiveDocument.1">
                  <p:embed/>
                </p:oleObj>
              </mc:Choice>
              <mc:Fallback>
                <p:oleObj name="think-cell Slide" r:id="rId6" imgW="415" imgH="416" progId="TCLayout.ActiveDocument.1">
                  <p:embed/>
                  <p:pic>
                    <p:nvPicPr>
                      <p:cNvPr id="6" name="Object 5" hidden="1">
                        <a:extLst>
                          <a:ext uri="{FF2B5EF4-FFF2-40B4-BE49-F238E27FC236}">
                            <a16:creationId xmlns:a16="http://schemas.microsoft.com/office/drawing/2014/main" id="{53867300-4982-45F1-AE9C-447794FC747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0C98627-1E58-4C97-971B-1D73A0EE48D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1128D633-48BA-4204-A447-24B28BB1D4FC}"/>
              </a:ext>
            </a:extLst>
          </p:cNvPr>
          <p:cNvSpPr>
            <a:spLocks noGrp="1"/>
          </p:cNvSpPr>
          <p:nvPr>
            <p:ph type="title"/>
          </p:nvPr>
        </p:nvSpPr>
        <p:spPr>
          <a:xfrm>
            <a:off x="914400" y="694944"/>
            <a:ext cx="10362880" cy="594360"/>
          </a:xfrm>
        </p:spPr>
        <p:txBody>
          <a:bodyPr/>
          <a:lstStyle/>
          <a:p>
            <a:r>
              <a:rPr lang="en-US" dirty="0"/>
              <a:t>Internal Dynamics Introduce Complexities</a:t>
            </a:r>
          </a:p>
        </p:txBody>
      </p:sp>
      <p:sp>
        <p:nvSpPr>
          <p:cNvPr id="3" name="Text Placeholder 2">
            <a:extLst>
              <a:ext uri="{FF2B5EF4-FFF2-40B4-BE49-F238E27FC236}">
                <a16:creationId xmlns:a16="http://schemas.microsoft.com/office/drawing/2014/main" id="{3B7E875C-F216-4FB7-873C-A54FD73F0B1C}"/>
              </a:ext>
            </a:extLst>
          </p:cNvPr>
          <p:cNvSpPr>
            <a:spLocks noGrp="1"/>
          </p:cNvSpPr>
          <p:nvPr>
            <p:ph type="body" sz="quarter" idx="14"/>
          </p:nvPr>
        </p:nvSpPr>
        <p:spPr/>
        <p:txBody>
          <a:bodyPr/>
          <a:lstStyle/>
          <a:p>
            <a:r>
              <a:rPr lang="en-US" spc="-75" dirty="0">
                <a:solidFill>
                  <a:prstClr val="black"/>
                </a:solidFill>
                <a:cs typeface="Arial" panose="020B0604020202020204" pitchFamily="34" charset="0"/>
              </a:rPr>
              <a:t>The team transformation and arena renovation present a unique window to address some internal challenges</a:t>
            </a:r>
          </a:p>
        </p:txBody>
      </p:sp>
      <p:cxnSp>
        <p:nvCxnSpPr>
          <p:cNvPr id="7" name="Straight Connector 6">
            <a:extLst>
              <a:ext uri="{FF2B5EF4-FFF2-40B4-BE49-F238E27FC236}">
                <a16:creationId xmlns:a16="http://schemas.microsoft.com/office/drawing/2014/main" id="{5DE3EF1F-DC42-4563-BDEA-E101CCA7DFF5}"/>
              </a:ext>
            </a:extLst>
          </p:cNvPr>
          <p:cNvCxnSpPr/>
          <p:nvPr/>
        </p:nvCxnSpPr>
        <p:spPr>
          <a:xfrm>
            <a:off x="914400" y="6016237"/>
            <a:ext cx="10387584" cy="0"/>
          </a:xfrm>
          <a:prstGeom prst="line">
            <a:avLst/>
          </a:prstGeom>
          <a:ln w="12700" cmpd="sng">
            <a:solidFill>
              <a:schemeClr val="accent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8" name="Straight Connector 7">
            <a:extLst>
              <a:ext uri="{FF2B5EF4-FFF2-40B4-BE49-F238E27FC236}">
                <a16:creationId xmlns:a16="http://schemas.microsoft.com/office/drawing/2014/main" id="{7090974A-370B-4125-AD80-AC3D5E83BF9F}"/>
              </a:ext>
            </a:extLst>
          </p:cNvPr>
          <p:cNvCxnSpPr/>
          <p:nvPr/>
        </p:nvCxnSpPr>
        <p:spPr>
          <a:xfrm>
            <a:off x="914400" y="3985779"/>
            <a:ext cx="10387173" cy="0"/>
          </a:xfrm>
          <a:prstGeom prst="line">
            <a:avLst/>
          </a:prstGeom>
          <a:ln w="76200" cmpd="sng">
            <a:solidFill>
              <a:schemeClr val="accent1"/>
            </a:solidFill>
            <a:prstDash val="solid"/>
          </a:ln>
          <a:effectLst/>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DA9F817F-4E83-4EA9-87C6-1F5B53C61B31}"/>
              </a:ext>
            </a:extLst>
          </p:cNvPr>
          <p:cNvSpPr txBox="1"/>
          <p:nvPr/>
        </p:nvSpPr>
        <p:spPr>
          <a:xfrm>
            <a:off x="1155585" y="4614069"/>
            <a:ext cx="4526280" cy="1097736"/>
          </a:xfrm>
          <a:prstGeom prst="rect">
            <a:avLst/>
          </a:prstGeom>
          <a:noFill/>
        </p:spPr>
        <p:txBody>
          <a:bodyPr wrap="square" lIns="0" tIns="0" rIns="0" bIns="0" rtlCol="0">
            <a:spAutoFit/>
          </a:bodyPr>
          <a:lstStyle/>
          <a:p>
            <a:pPr marL="0" marR="0" lvl="0" indent="0" algn="ctr" defTabSz="914400" rtl="0" eaLnBrk="1" fontAlgn="auto" latinLnBrk="0" hangingPunct="1">
              <a:lnSpc>
                <a:spcPts val="22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Open Sans"/>
                <a:ea typeface="+mn-ea"/>
                <a:cs typeface="Georgia"/>
              </a:rPr>
              <a:t>“Although the organization currently has data capture and analytics capabilities in place, integration of these tools across the organization could be enhanced by leveraging automation and improving communication.”</a:t>
            </a:r>
            <a:endParaRPr kumimoji="0" lang="en-US" sz="1100" b="0" i="0" u="none" strike="noStrike" kern="1200" cap="none" spc="0" normalizeH="0" baseline="0" noProof="0" dirty="0">
              <a:ln>
                <a:noFill/>
              </a:ln>
              <a:solidFill>
                <a:prstClr val="black"/>
              </a:solidFill>
              <a:effectLst/>
              <a:uLnTx/>
              <a:uFillTx/>
              <a:latin typeface="Open Sans"/>
              <a:ea typeface="+mn-ea"/>
              <a:cs typeface="Georgia"/>
            </a:endParaRPr>
          </a:p>
        </p:txBody>
      </p:sp>
      <p:cxnSp>
        <p:nvCxnSpPr>
          <p:cNvPr id="10" name="Straight Connector 9">
            <a:extLst>
              <a:ext uri="{FF2B5EF4-FFF2-40B4-BE49-F238E27FC236}">
                <a16:creationId xmlns:a16="http://schemas.microsoft.com/office/drawing/2014/main" id="{012C0648-B5EC-4C72-9140-49D1167A4F24}"/>
              </a:ext>
            </a:extLst>
          </p:cNvPr>
          <p:cNvCxnSpPr/>
          <p:nvPr/>
        </p:nvCxnSpPr>
        <p:spPr>
          <a:xfrm>
            <a:off x="8169965" y="1744448"/>
            <a:ext cx="0" cy="1982726"/>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2558B0A-FD27-4AE2-9D2D-E945FFE56E2A}"/>
              </a:ext>
            </a:extLst>
          </p:cNvPr>
          <p:cNvCxnSpPr/>
          <p:nvPr/>
        </p:nvCxnSpPr>
        <p:spPr>
          <a:xfrm>
            <a:off x="6096000" y="4369202"/>
            <a:ext cx="0" cy="1413640"/>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090B7D66-2F2E-4EF6-874B-057602916C84}"/>
              </a:ext>
            </a:extLst>
          </p:cNvPr>
          <p:cNvSpPr txBox="1"/>
          <p:nvPr/>
        </p:nvSpPr>
        <p:spPr>
          <a:xfrm>
            <a:off x="6514919" y="4614069"/>
            <a:ext cx="4526280" cy="1128514"/>
          </a:xfrm>
          <a:prstGeom prst="rect">
            <a:avLst/>
          </a:prstGeom>
          <a:noFill/>
        </p:spPr>
        <p:txBody>
          <a:bodyPr wrap="square" lIns="0" tIns="0" rIns="0" bIns="0" rtlCol="0">
            <a:spAutoFit/>
          </a:bodyPr>
          <a:lstStyle/>
          <a:p>
            <a:pPr marL="0" marR="0" lvl="0" indent="0" algn="ctr" defTabSz="914400" rtl="0" eaLnBrk="1" fontAlgn="auto" latinLnBrk="0" hangingPunct="1">
              <a:lnSpc>
                <a:spcPts val="22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Open Sans"/>
                <a:ea typeface="+mn-ea"/>
                <a:cs typeface="Georgia"/>
              </a:rPr>
              <a:t>“We have to decide whether we want to identify as a sales or marketing organization, and how that informs our data strategy …we should not hold ourselves up against our peers, but rather private business.”</a:t>
            </a:r>
          </a:p>
        </p:txBody>
      </p:sp>
      <p:cxnSp>
        <p:nvCxnSpPr>
          <p:cNvPr id="13" name="Straight Connector 12">
            <a:extLst>
              <a:ext uri="{FF2B5EF4-FFF2-40B4-BE49-F238E27FC236}">
                <a16:creationId xmlns:a16="http://schemas.microsoft.com/office/drawing/2014/main" id="{5C00A357-5FF2-4FC7-9197-800D314E66D9}"/>
              </a:ext>
            </a:extLst>
          </p:cNvPr>
          <p:cNvCxnSpPr/>
          <p:nvPr/>
        </p:nvCxnSpPr>
        <p:spPr>
          <a:xfrm>
            <a:off x="4452730" y="1744448"/>
            <a:ext cx="0" cy="1982726"/>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B188A322-2596-4356-A13D-72E1476B8EDC}"/>
              </a:ext>
            </a:extLst>
          </p:cNvPr>
          <p:cNvSpPr txBox="1"/>
          <p:nvPr/>
        </p:nvSpPr>
        <p:spPr>
          <a:xfrm>
            <a:off x="1213593" y="2471088"/>
            <a:ext cx="2946271" cy="1128514"/>
          </a:xfrm>
          <a:prstGeom prst="rect">
            <a:avLst/>
          </a:prstGeom>
          <a:noFill/>
        </p:spPr>
        <p:txBody>
          <a:bodyPr wrap="square" lIns="0" tIns="0" rIns="0" bIns="0" rtlCol="0">
            <a:spAutoFit/>
          </a:bodyPr>
          <a:lstStyle/>
          <a:p>
            <a:pPr marL="0" marR="0" lvl="0" indent="0" algn="ctr" defTabSz="914400" rtl="0" eaLnBrk="1" fontAlgn="auto" latinLnBrk="0" hangingPunct="1">
              <a:lnSpc>
                <a:spcPts val="22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Open Sans"/>
                <a:ea typeface="+mn-ea"/>
                <a:cs typeface="Georgia"/>
              </a:rPr>
              <a:t>“The Arena is being held up against two brand new stadiums in the metropolitan area…fans are being drawn to the newer, market leading venues.”  </a:t>
            </a:r>
          </a:p>
        </p:txBody>
      </p:sp>
      <p:sp>
        <p:nvSpPr>
          <p:cNvPr id="15" name="TextBox 14">
            <a:extLst>
              <a:ext uri="{FF2B5EF4-FFF2-40B4-BE49-F238E27FC236}">
                <a16:creationId xmlns:a16="http://schemas.microsoft.com/office/drawing/2014/main" id="{0C66BA44-3327-480B-ABAE-D1A09A140A05}"/>
              </a:ext>
            </a:extLst>
          </p:cNvPr>
          <p:cNvSpPr txBox="1"/>
          <p:nvPr/>
        </p:nvSpPr>
        <p:spPr>
          <a:xfrm>
            <a:off x="8339322" y="2471088"/>
            <a:ext cx="2946271" cy="1128514"/>
          </a:xfrm>
          <a:prstGeom prst="rect">
            <a:avLst/>
          </a:prstGeom>
          <a:noFill/>
        </p:spPr>
        <p:txBody>
          <a:bodyPr wrap="square" lIns="0" tIns="0" rIns="0" bIns="0" rtlCol="0">
            <a:spAutoFit/>
          </a:bodyPr>
          <a:lstStyle/>
          <a:p>
            <a:pPr marL="0" marR="0" lvl="0" indent="0" algn="ctr" defTabSz="914400" rtl="0" eaLnBrk="1" fontAlgn="auto" latinLnBrk="0" hangingPunct="1">
              <a:lnSpc>
                <a:spcPts val="22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Open Sans"/>
                <a:ea typeface="+mn-ea"/>
                <a:cs typeface="Georgia"/>
              </a:rPr>
              <a:t>“We can create value for our organization and sponsors by identifying ways to engage Corporate Partners through non traditional assets.”</a:t>
            </a:r>
          </a:p>
        </p:txBody>
      </p:sp>
      <p:sp>
        <p:nvSpPr>
          <p:cNvPr id="16" name="TextBox 15">
            <a:extLst>
              <a:ext uri="{FF2B5EF4-FFF2-40B4-BE49-F238E27FC236}">
                <a16:creationId xmlns:a16="http://schemas.microsoft.com/office/drawing/2014/main" id="{5E3A8951-0F7B-4EBA-9822-875531A31834}"/>
              </a:ext>
            </a:extLst>
          </p:cNvPr>
          <p:cNvSpPr txBox="1"/>
          <p:nvPr/>
        </p:nvSpPr>
        <p:spPr>
          <a:xfrm>
            <a:off x="4807317" y="2471088"/>
            <a:ext cx="2946271" cy="1128514"/>
          </a:xfrm>
          <a:prstGeom prst="rect">
            <a:avLst/>
          </a:prstGeom>
          <a:noFill/>
        </p:spPr>
        <p:txBody>
          <a:bodyPr wrap="square" lIns="0" tIns="0" rIns="0" bIns="0" rtlCol="0">
            <a:spAutoFit/>
          </a:bodyPr>
          <a:lstStyle/>
          <a:p>
            <a:pPr marL="0" marR="0" lvl="0" indent="0" algn="ctr" defTabSz="914400" rtl="0" eaLnBrk="1" fontAlgn="auto" latinLnBrk="0" hangingPunct="1">
              <a:lnSpc>
                <a:spcPts val="22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Open Sans"/>
                <a:ea typeface="+mn-ea"/>
                <a:cs typeface="Georgia"/>
              </a:rPr>
              <a:t>“Without reinforcing an app with additional features and capabilities tied to the experience, we will remain at the bottom of the league.”</a:t>
            </a:r>
          </a:p>
        </p:txBody>
      </p:sp>
      <p:sp>
        <p:nvSpPr>
          <p:cNvPr id="17" name="Rectangle 16">
            <a:extLst>
              <a:ext uri="{FF2B5EF4-FFF2-40B4-BE49-F238E27FC236}">
                <a16:creationId xmlns:a16="http://schemas.microsoft.com/office/drawing/2014/main" id="{E511A6D3-3C6A-4B94-80A0-D87164098917}"/>
              </a:ext>
            </a:extLst>
          </p:cNvPr>
          <p:cNvSpPr/>
          <p:nvPr/>
        </p:nvSpPr>
        <p:spPr>
          <a:xfrm>
            <a:off x="1933767" y="4148054"/>
            <a:ext cx="2969916" cy="350289"/>
          </a:xfrm>
          <a:prstGeom prst="rect">
            <a:avLst/>
          </a:prstGeom>
        </p:spPr>
        <p:txBody>
          <a:bodyPr wrap="none">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US" sz="1400" b="1" i="0" u="none" strike="noStrike" kern="1200" cap="small" spc="0" normalizeH="0" baseline="0" noProof="0" dirty="0">
                <a:ln>
                  <a:noFill/>
                </a:ln>
                <a:solidFill>
                  <a:prstClr val="black"/>
                </a:solidFill>
                <a:effectLst/>
                <a:uLnTx/>
                <a:uFillTx/>
                <a:latin typeface="Open Sans"/>
                <a:ea typeface="+mn-ea"/>
                <a:cs typeface="Georgia"/>
              </a:rPr>
              <a:t>Cross-Functional Collaboration</a:t>
            </a:r>
          </a:p>
        </p:txBody>
      </p:sp>
      <p:sp>
        <p:nvSpPr>
          <p:cNvPr id="18" name="Rectangle 17">
            <a:extLst>
              <a:ext uri="{FF2B5EF4-FFF2-40B4-BE49-F238E27FC236}">
                <a16:creationId xmlns:a16="http://schemas.microsoft.com/office/drawing/2014/main" id="{95055BBE-2812-40F0-82BD-5D7DA028780E}"/>
              </a:ext>
            </a:extLst>
          </p:cNvPr>
          <p:cNvSpPr/>
          <p:nvPr/>
        </p:nvSpPr>
        <p:spPr>
          <a:xfrm>
            <a:off x="7536341" y="4148054"/>
            <a:ext cx="2483437" cy="350289"/>
          </a:xfrm>
          <a:prstGeom prst="rect">
            <a:avLst/>
          </a:prstGeom>
        </p:spPr>
        <p:txBody>
          <a:bodyPr wrap="none">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US" sz="1400" b="1" i="0" u="none" strike="noStrike" kern="1200" cap="small" spc="0" normalizeH="0" baseline="0" noProof="0" dirty="0">
                <a:ln>
                  <a:noFill/>
                </a:ln>
                <a:solidFill>
                  <a:prstClr val="black"/>
                </a:solidFill>
                <a:effectLst/>
                <a:uLnTx/>
                <a:uFillTx/>
                <a:latin typeface="Open Sans"/>
                <a:ea typeface="+mn-ea"/>
                <a:cs typeface="Georgia"/>
              </a:rPr>
              <a:t>Defining our Data Strategy</a:t>
            </a:r>
          </a:p>
        </p:txBody>
      </p:sp>
      <p:sp>
        <p:nvSpPr>
          <p:cNvPr id="19" name="Rectangle 18">
            <a:extLst>
              <a:ext uri="{FF2B5EF4-FFF2-40B4-BE49-F238E27FC236}">
                <a16:creationId xmlns:a16="http://schemas.microsoft.com/office/drawing/2014/main" id="{C2EF76BF-6887-4564-BD8F-1AE186B5B5E5}"/>
              </a:ext>
            </a:extLst>
          </p:cNvPr>
          <p:cNvSpPr/>
          <p:nvPr/>
        </p:nvSpPr>
        <p:spPr>
          <a:xfrm>
            <a:off x="1725151" y="1983452"/>
            <a:ext cx="1776640" cy="350289"/>
          </a:xfrm>
          <a:prstGeom prst="rect">
            <a:avLst/>
          </a:prstGeom>
        </p:spPr>
        <p:txBody>
          <a:bodyPr wrap="none">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US" sz="1400" b="1" i="0" u="none" strike="noStrike" kern="1200" cap="small" spc="0" normalizeH="0" baseline="0" noProof="0" dirty="0">
                <a:ln>
                  <a:noFill/>
                </a:ln>
                <a:solidFill>
                  <a:prstClr val="black"/>
                </a:solidFill>
                <a:effectLst/>
                <a:uLnTx/>
                <a:uFillTx/>
                <a:latin typeface="Open Sans"/>
                <a:ea typeface="+mn-ea"/>
                <a:cs typeface="Georgia"/>
              </a:rPr>
              <a:t>A Crowded Market</a:t>
            </a:r>
          </a:p>
        </p:txBody>
      </p:sp>
      <p:sp>
        <p:nvSpPr>
          <p:cNvPr id="20" name="Rectangle 19">
            <a:extLst>
              <a:ext uri="{FF2B5EF4-FFF2-40B4-BE49-F238E27FC236}">
                <a16:creationId xmlns:a16="http://schemas.microsoft.com/office/drawing/2014/main" id="{9E6F61DB-F55A-4ADE-B44A-C4EF9111261A}"/>
              </a:ext>
            </a:extLst>
          </p:cNvPr>
          <p:cNvSpPr/>
          <p:nvPr/>
        </p:nvSpPr>
        <p:spPr>
          <a:xfrm>
            <a:off x="8473212" y="1983452"/>
            <a:ext cx="2678490" cy="350289"/>
          </a:xfrm>
          <a:prstGeom prst="rect">
            <a:avLst/>
          </a:prstGeom>
        </p:spPr>
        <p:txBody>
          <a:bodyPr wrap="none">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US" sz="1400" b="1" i="0" u="none" strike="noStrike" kern="1200" cap="small" spc="0" normalizeH="0" baseline="0" noProof="0" dirty="0">
                <a:ln>
                  <a:noFill/>
                </a:ln>
                <a:solidFill>
                  <a:prstClr val="black"/>
                </a:solidFill>
                <a:effectLst/>
                <a:uLnTx/>
                <a:uFillTx/>
                <a:latin typeface="Open Sans"/>
                <a:ea typeface="+mn-ea"/>
                <a:cs typeface="Georgia"/>
              </a:rPr>
              <a:t>Courting Corporate Partners</a:t>
            </a:r>
          </a:p>
        </p:txBody>
      </p:sp>
      <p:sp>
        <p:nvSpPr>
          <p:cNvPr id="21" name="Rectangle 20">
            <a:extLst>
              <a:ext uri="{FF2B5EF4-FFF2-40B4-BE49-F238E27FC236}">
                <a16:creationId xmlns:a16="http://schemas.microsoft.com/office/drawing/2014/main" id="{A88E7684-2B84-4D59-BD70-2A9293AD1ABD}"/>
              </a:ext>
            </a:extLst>
          </p:cNvPr>
          <p:cNvSpPr/>
          <p:nvPr/>
        </p:nvSpPr>
        <p:spPr>
          <a:xfrm>
            <a:off x="4913315" y="1983452"/>
            <a:ext cx="2734275" cy="350289"/>
          </a:xfrm>
          <a:prstGeom prst="rect">
            <a:avLst/>
          </a:prstGeom>
        </p:spPr>
        <p:txBody>
          <a:bodyPr wrap="none">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US" sz="1400" b="1" i="0" u="none" strike="noStrike" kern="1200" cap="small" spc="0" normalizeH="0" baseline="0" noProof="0" dirty="0">
                <a:ln>
                  <a:noFill/>
                </a:ln>
                <a:solidFill>
                  <a:prstClr val="black"/>
                </a:solidFill>
                <a:effectLst/>
                <a:uLnTx/>
                <a:uFillTx/>
                <a:latin typeface="Open Sans"/>
                <a:ea typeface="+mn-ea"/>
                <a:cs typeface="Georgia"/>
              </a:rPr>
              <a:t>Digital Experience Integration</a:t>
            </a:r>
          </a:p>
        </p:txBody>
      </p:sp>
      <p:sp>
        <p:nvSpPr>
          <p:cNvPr id="26" name="Text Placeholder 25">
            <a:extLst>
              <a:ext uri="{FF2B5EF4-FFF2-40B4-BE49-F238E27FC236}">
                <a16:creationId xmlns:a16="http://schemas.microsoft.com/office/drawing/2014/main" id="{784EC1CE-CF5D-4D47-A8E6-3D8F13EBB029}"/>
              </a:ext>
            </a:extLst>
          </p:cNvPr>
          <p:cNvSpPr>
            <a:spLocks noGrp="1"/>
          </p:cNvSpPr>
          <p:nvPr>
            <p:ph type="body" sz="quarter" idx="15"/>
          </p:nvPr>
        </p:nvSpPr>
        <p:spPr/>
        <p:txBody>
          <a:bodyPr/>
          <a:lstStyle/>
          <a:p>
            <a:r>
              <a:rPr lang="en-US" dirty="0"/>
              <a:t>text</a:t>
            </a:r>
          </a:p>
        </p:txBody>
      </p:sp>
    </p:spTree>
    <p:extLst>
      <p:ext uri="{BB962C8B-B14F-4D97-AF65-F5344CB8AC3E}">
        <p14:creationId xmlns:p14="http://schemas.microsoft.com/office/powerpoint/2010/main" val="25548883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E59405C-F4A2-4BFF-88F1-E077D53F7C7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88" name="think-cell Slide" r:id="rId6" imgW="415" imgH="416" progId="TCLayout.ActiveDocument.1">
                  <p:embed/>
                </p:oleObj>
              </mc:Choice>
              <mc:Fallback>
                <p:oleObj name="think-cell Slide" r:id="rId6" imgW="415" imgH="416" progId="TCLayout.ActiveDocument.1">
                  <p:embed/>
                  <p:pic>
                    <p:nvPicPr>
                      <p:cNvPr id="5" name="Object 4" hidden="1">
                        <a:extLst>
                          <a:ext uri="{FF2B5EF4-FFF2-40B4-BE49-F238E27FC236}">
                            <a16:creationId xmlns:a16="http://schemas.microsoft.com/office/drawing/2014/main" id="{4E59405C-F4A2-4BFF-88F1-E077D53F7C7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A005A6-B8CA-4FCB-AA73-C1C3C1B820A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87D1DB75-AE0B-4757-B5C2-874A6AFBCED4}"/>
              </a:ext>
            </a:extLst>
          </p:cNvPr>
          <p:cNvSpPr>
            <a:spLocks noGrp="1"/>
          </p:cNvSpPr>
          <p:nvPr>
            <p:ph type="title"/>
          </p:nvPr>
        </p:nvSpPr>
        <p:spPr/>
        <p:txBody>
          <a:bodyPr/>
          <a:lstStyle/>
          <a:p>
            <a:r>
              <a:rPr lang="en-US" dirty="0"/>
              <a:t>Guiding Principles</a:t>
            </a:r>
          </a:p>
        </p:txBody>
      </p:sp>
      <p:sp>
        <p:nvSpPr>
          <p:cNvPr id="3" name="Text Placeholder 2">
            <a:extLst>
              <a:ext uri="{FF2B5EF4-FFF2-40B4-BE49-F238E27FC236}">
                <a16:creationId xmlns:a16="http://schemas.microsoft.com/office/drawing/2014/main" id="{69521A25-00CC-4BEA-AB53-0B30F91700C7}"/>
              </a:ext>
            </a:extLst>
          </p:cNvPr>
          <p:cNvSpPr>
            <a:spLocks noGrp="1"/>
          </p:cNvSpPr>
          <p:nvPr>
            <p:ph type="body" sz="quarter" idx="14"/>
          </p:nvPr>
        </p:nvSpPr>
        <p:spPr/>
        <p:txBody>
          <a:bodyPr/>
          <a:lstStyle/>
          <a:p>
            <a:r>
              <a:rPr lang="en-US" dirty="0"/>
              <a:t>We followed a set of guiding principles as we thought through a future state operating model concept and the capabilities required to enable it</a:t>
            </a:r>
          </a:p>
          <a:p>
            <a:endParaRPr lang="en-US" dirty="0"/>
          </a:p>
        </p:txBody>
      </p:sp>
      <p:sp>
        <p:nvSpPr>
          <p:cNvPr id="15" name="Text Placeholder 14">
            <a:extLst>
              <a:ext uri="{FF2B5EF4-FFF2-40B4-BE49-F238E27FC236}">
                <a16:creationId xmlns:a16="http://schemas.microsoft.com/office/drawing/2014/main" id="{3D8599D5-1CDA-404B-986C-4FED2D9CE242}"/>
              </a:ext>
            </a:extLst>
          </p:cNvPr>
          <p:cNvSpPr>
            <a:spLocks noGrp="1"/>
          </p:cNvSpPr>
          <p:nvPr>
            <p:ph type="body" sz="quarter" idx="15"/>
          </p:nvPr>
        </p:nvSpPr>
        <p:spPr/>
        <p:txBody>
          <a:bodyPr/>
          <a:lstStyle/>
          <a:p>
            <a:r>
              <a:rPr lang="en-US" dirty="0"/>
              <a:t>text</a:t>
            </a:r>
          </a:p>
        </p:txBody>
      </p:sp>
      <p:sp>
        <p:nvSpPr>
          <p:cNvPr id="6" name="object 4">
            <a:extLst>
              <a:ext uri="{FF2B5EF4-FFF2-40B4-BE49-F238E27FC236}">
                <a16:creationId xmlns:a16="http://schemas.microsoft.com/office/drawing/2014/main" id="{ED2223BC-8980-466C-9B2B-4599847F2279}"/>
              </a:ext>
            </a:extLst>
          </p:cNvPr>
          <p:cNvSpPr txBox="1"/>
          <p:nvPr/>
        </p:nvSpPr>
        <p:spPr>
          <a:xfrm>
            <a:off x="950724" y="1965434"/>
            <a:ext cx="5486400" cy="1100301"/>
          </a:xfrm>
          <a:prstGeom prst="rect">
            <a:avLst/>
          </a:prstGeom>
        </p:spPr>
        <p:txBody>
          <a:bodyPr vert="horz" wrap="square" lIns="0" tIns="0" rIns="91440" bIns="0" rtlCol="0">
            <a:spAutoFit/>
          </a:bodyPr>
          <a:lstStyle/>
          <a:p>
            <a:pPr marL="0" marR="0" lvl="0" indent="0" algn="l" defTabSz="914400" rtl="0" eaLnBrk="1" fontAlgn="auto" latinLnBrk="0" hangingPunct="1">
              <a:lnSpc>
                <a:spcPct val="85000"/>
              </a:lnSpc>
              <a:spcBef>
                <a:spcPts val="600"/>
              </a:spcBef>
              <a:spcAft>
                <a:spcPts val="0"/>
              </a:spcAft>
              <a:buClrTx/>
              <a:buSzTx/>
              <a:buFontTx/>
              <a:buNone/>
              <a:tabLst/>
              <a:defRPr/>
            </a:pPr>
            <a:r>
              <a:rPr kumimoji="0" lang="en-US" sz="1400" b="1" i="0" u="none" strike="noStrike" kern="1200" cap="all" spc="0" normalizeH="0" baseline="0" noProof="0" dirty="0">
                <a:ln>
                  <a:noFill/>
                </a:ln>
                <a:solidFill>
                  <a:prstClr val="black"/>
                </a:solidFill>
                <a:effectLst/>
                <a:uLnTx/>
                <a:uFillTx/>
                <a:latin typeface="Open Sans"/>
                <a:ea typeface="+mn-ea"/>
                <a:cs typeface="Calibri" panose="020F0502020204030204" pitchFamily="34" charset="0"/>
                <a:sym typeface="Open Sans"/>
              </a:rPr>
              <a:t>Dealer Network</a:t>
            </a:r>
          </a:p>
          <a:p>
            <a:pPr marL="0" marR="0" lvl="1" indent="0" algn="l" defTabSz="914400" rtl="0" eaLnBrk="1" fontAlgn="auto" latinLnBrk="0" hangingPunct="0">
              <a:lnSpc>
                <a:spcPct val="130000"/>
              </a:lnSpc>
              <a:spcBef>
                <a:spcPts val="6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Open Sans"/>
                <a:ea typeface="+mn-ea"/>
                <a:cs typeface="+mn-cs"/>
              </a:rPr>
              <a:t>Continue to place the dealer at the heart of the sales model, with operating model changes being accretive/in support of their growth and success</a:t>
            </a:r>
          </a:p>
        </p:txBody>
      </p:sp>
      <p:cxnSp>
        <p:nvCxnSpPr>
          <p:cNvPr id="7" name="Straight Connector 6">
            <a:extLst>
              <a:ext uri="{FF2B5EF4-FFF2-40B4-BE49-F238E27FC236}">
                <a16:creationId xmlns:a16="http://schemas.microsoft.com/office/drawing/2014/main" id="{E77EA2F7-5933-4D7D-A57D-AD502D408190}"/>
              </a:ext>
            </a:extLst>
          </p:cNvPr>
          <p:cNvCxnSpPr/>
          <p:nvPr/>
        </p:nvCxnSpPr>
        <p:spPr>
          <a:xfrm>
            <a:off x="941478" y="1847798"/>
            <a:ext cx="60917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object 4">
            <a:extLst>
              <a:ext uri="{FF2B5EF4-FFF2-40B4-BE49-F238E27FC236}">
                <a16:creationId xmlns:a16="http://schemas.microsoft.com/office/drawing/2014/main" id="{6A7319F5-50F8-492C-AD2C-E3CCF2501C5C}"/>
              </a:ext>
            </a:extLst>
          </p:cNvPr>
          <p:cNvSpPr txBox="1"/>
          <p:nvPr/>
        </p:nvSpPr>
        <p:spPr>
          <a:xfrm>
            <a:off x="950724" y="5042194"/>
            <a:ext cx="5486400" cy="820225"/>
          </a:xfrm>
          <a:prstGeom prst="rect">
            <a:avLst/>
          </a:prstGeom>
        </p:spPr>
        <p:txBody>
          <a:bodyPr vert="horz" wrap="square" lIns="0" tIns="0" rIns="91440" bIns="0" rtlCol="0">
            <a:spAutoFit/>
          </a:bodyPr>
          <a:lstStyle/>
          <a:p>
            <a:pPr marL="0" marR="0" lvl="0" indent="0" algn="l" defTabSz="914400" rtl="0" eaLnBrk="1" fontAlgn="auto" latinLnBrk="0" hangingPunct="1">
              <a:lnSpc>
                <a:spcPct val="85000"/>
              </a:lnSpc>
              <a:spcBef>
                <a:spcPts val="600"/>
              </a:spcBef>
              <a:spcAft>
                <a:spcPts val="0"/>
              </a:spcAft>
              <a:buClrTx/>
              <a:buSzTx/>
              <a:buFontTx/>
              <a:buNone/>
              <a:tabLst/>
              <a:defRPr/>
            </a:pPr>
            <a:r>
              <a:rPr kumimoji="0" lang="en-US" sz="1400" b="1" i="0" u="none" strike="noStrike" kern="1200" cap="all" spc="0" normalizeH="0" baseline="0" noProof="0" dirty="0">
                <a:ln>
                  <a:noFill/>
                </a:ln>
                <a:solidFill>
                  <a:prstClr val="black"/>
                </a:solidFill>
                <a:effectLst/>
                <a:uLnTx/>
                <a:uFillTx/>
                <a:latin typeface="Open Sans"/>
                <a:ea typeface="+mn-ea"/>
                <a:cs typeface="Calibri" panose="020F0502020204030204" pitchFamily="34" charset="0"/>
                <a:sym typeface="Open Sans"/>
              </a:rPr>
              <a:t>Brand</a:t>
            </a:r>
          </a:p>
          <a:p>
            <a:pPr marL="0" marR="0" lvl="1" indent="0" algn="l" defTabSz="914400" rtl="0" eaLnBrk="1" fontAlgn="auto" latinLnBrk="0" hangingPunct="0">
              <a:lnSpc>
                <a:spcPct val="130000"/>
              </a:lnSpc>
              <a:spcBef>
                <a:spcPts val="6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Open Sans"/>
                <a:ea typeface="+mn-ea"/>
                <a:cs typeface="+mn-cs"/>
              </a:rPr>
              <a:t>Protect new car sales and build a business model that will complement, if not strengthen, the brand </a:t>
            </a:r>
          </a:p>
        </p:txBody>
      </p:sp>
      <p:cxnSp>
        <p:nvCxnSpPr>
          <p:cNvPr id="9" name="Straight Connector 8">
            <a:extLst>
              <a:ext uri="{FF2B5EF4-FFF2-40B4-BE49-F238E27FC236}">
                <a16:creationId xmlns:a16="http://schemas.microsoft.com/office/drawing/2014/main" id="{2CD24FC9-43E3-41C9-956F-0D8F94B5AACC}"/>
              </a:ext>
            </a:extLst>
          </p:cNvPr>
          <p:cNvCxnSpPr/>
          <p:nvPr/>
        </p:nvCxnSpPr>
        <p:spPr>
          <a:xfrm>
            <a:off x="941478" y="4937616"/>
            <a:ext cx="60917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object 4">
            <a:extLst>
              <a:ext uri="{FF2B5EF4-FFF2-40B4-BE49-F238E27FC236}">
                <a16:creationId xmlns:a16="http://schemas.microsoft.com/office/drawing/2014/main" id="{9B81E225-6B89-4C39-B4BE-98D29C01C740}"/>
              </a:ext>
            </a:extLst>
          </p:cNvPr>
          <p:cNvSpPr txBox="1"/>
          <p:nvPr/>
        </p:nvSpPr>
        <p:spPr>
          <a:xfrm>
            <a:off x="950724" y="3451525"/>
            <a:ext cx="5486400" cy="1100301"/>
          </a:xfrm>
          <a:prstGeom prst="rect">
            <a:avLst/>
          </a:prstGeom>
        </p:spPr>
        <p:txBody>
          <a:bodyPr vert="horz" wrap="square" lIns="0" tIns="0" rIns="91440" bIns="0" rtlCol="0">
            <a:spAutoFit/>
          </a:bodyPr>
          <a:lstStyle/>
          <a:p>
            <a:pPr marL="0" marR="0" lvl="0" indent="0" algn="l" defTabSz="914400" rtl="0" eaLnBrk="1" fontAlgn="auto" latinLnBrk="0" hangingPunct="1">
              <a:lnSpc>
                <a:spcPct val="85000"/>
              </a:lnSpc>
              <a:spcBef>
                <a:spcPts val="600"/>
              </a:spcBef>
              <a:spcAft>
                <a:spcPts val="0"/>
              </a:spcAft>
              <a:buClrTx/>
              <a:buSzTx/>
              <a:buFontTx/>
              <a:buNone/>
              <a:tabLst/>
              <a:defRPr/>
            </a:pPr>
            <a:r>
              <a:rPr kumimoji="0" lang="en-US" sz="1400" b="1" i="0" u="none" strike="noStrike" kern="1200" cap="all" spc="0" normalizeH="0" baseline="0" noProof="0" dirty="0">
                <a:ln>
                  <a:noFill/>
                </a:ln>
                <a:solidFill>
                  <a:prstClr val="black"/>
                </a:solidFill>
                <a:effectLst/>
                <a:uLnTx/>
                <a:uFillTx/>
                <a:latin typeface="Open Sans"/>
                <a:ea typeface="+mn-ea"/>
                <a:cs typeface="Calibri" panose="020F0502020204030204" pitchFamily="34" charset="0"/>
                <a:sym typeface="Open Sans"/>
              </a:rPr>
              <a:t>Degree of innovation and disruptiveness</a:t>
            </a:r>
          </a:p>
          <a:p>
            <a:pPr marL="0" marR="0" lvl="0" indent="0" algn="l" defTabSz="914400" rtl="0" eaLnBrk="1" fontAlgn="auto" latinLnBrk="0" hangingPunct="0">
              <a:lnSpc>
                <a:spcPct val="130000"/>
              </a:lnSpc>
              <a:spcBef>
                <a:spcPts val="6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Open Sans"/>
                <a:ea typeface="+mn-ea"/>
                <a:cs typeface="+mn-cs"/>
              </a:rPr>
              <a:t>Maintain a balanced portfolio of actionable opportunities that can be activated to varying degrees depending on level of ambition and budget</a:t>
            </a:r>
          </a:p>
        </p:txBody>
      </p:sp>
      <p:cxnSp>
        <p:nvCxnSpPr>
          <p:cNvPr id="11" name="Straight Connector 10">
            <a:extLst>
              <a:ext uri="{FF2B5EF4-FFF2-40B4-BE49-F238E27FC236}">
                <a16:creationId xmlns:a16="http://schemas.microsoft.com/office/drawing/2014/main" id="{9716FB99-8D74-436C-8D12-8EDE8EB56B24}"/>
              </a:ext>
            </a:extLst>
          </p:cNvPr>
          <p:cNvCxnSpPr/>
          <p:nvPr/>
        </p:nvCxnSpPr>
        <p:spPr>
          <a:xfrm>
            <a:off x="941478" y="3367984"/>
            <a:ext cx="60917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FAB9D6A6-8193-4B2A-B8EE-13467DCB15F7}"/>
              </a:ext>
            </a:extLst>
          </p:cNvPr>
          <p:cNvSpPr/>
          <p:nvPr/>
        </p:nvSpPr>
        <p:spPr bwMode="gray">
          <a:xfrm>
            <a:off x="6759271" y="1828800"/>
            <a:ext cx="4666593" cy="4402360"/>
          </a:xfrm>
          <a:prstGeom prst="rect">
            <a:avLst/>
          </a:prstGeom>
          <a:solidFill>
            <a:schemeClr val="accent1">
              <a:lumMod val="20000"/>
              <a:lumOff val="80000"/>
            </a:schemeClr>
          </a:solidFill>
          <a:ln w="19050" algn="ctr">
            <a:noFill/>
            <a:miter lim="800000"/>
            <a:headEnd/>
            <a:tailEnd/>
          </a:ln>
        </p:spPr>
        <p:txBody>
          <a:bodyPr wrap="square" lIns="182880" tIns="64008" rIns="274320" bIns="88900" rtlCol="0" anchor="t"/>
          <a:lstStyle/>
          <a:p>
            <a:pPr marL="0" marR="0" lvl="1" indent="0" algn="l" defTabSz="914400" rtl="0" eaLnBrk="1" fontAlgn="auto" latinLnBrk="0" hangingPunct="0">
              <a:lnSpc>
                <a:spcPct val="130000"/>
              </a:lnSpc>
              <a:spcBef>
                <a:spcPts val="60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Open Sans"/>
                <a:ea typeface="+mn-ea"/>
                <a:cs typeface="+mn-cs"/>
              </a:rPr>
              <a:t>THE NORTH STAR</a:t>
            </a:r>
          </a:p>
          <a:p>
            <a:pPr marL="0" marR="0" lvl="1" indent="0" algn="l" defTabSz="914400" rtl="0" eaLnBrk="1" fontAlgn="auto" latinLnBrk="0" hangingPunct="0">
              <a:lnSpc>
                <a:spcPct val="130000"/>
              </a:lnSpc>
              <a:spcBef>
                <a:spcPts val="6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Open Sans"/>
                <a:ea typeface="+mn-ea"/>
                <a:cs typeface="+mn-cs"/>
              </a:rPr>
              <a:t>Keeping these principles in mind, a guiding and enabling concept emerged:</a:t>
            </a:r>
          </a:p>
          <a:p>
            <a:pPr marL="0" marR="0" lvl="1" indent="0" algn="l" defTabSz="914400" rtl="0" eaLnBrk="1" fontAlgn="auto" latinLnBrk="0" hangingPunct="0">
              <a:lnSpc>
                <a:spcPct val="130000"/>
              </a:lnSpc>
              <a:spcBef>
                <a:spcPts val="60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Open Sans"/>
              <a:ea typeface="+mn-ea"/>
              <a:cs typeface="+mn-cs"/>
            </a:endParaRPr>
          </a:p>
          <a:p>
            <a:pPr marL="0" marR="0" lvl="1" indent="0" algn="ctr" defTabSz="914400" rtl="0" eaLnBrk="1" fontAlgn="auto" latinLnBrk="0" hangingPunct="0">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prstClr val="black"/>
                </a:solidFill>
                <a:effectLst/>
                <a:uLnTx/>
                <a:uFillTx/>
                <a:latin typeface="Open Sans"/>
                <a:ea typeface="+mn-ea"/>
                <a:cs typeface="+mn-cs"/>
              </a:rPr>
              <a:t>Recommendation here</a:t>
            </a:r>
            <a:endParaRPr kumimoji="0" lang="en-US" sz="1400" b="1" i="1" u="none" strike="noStrike" kern="1200" cap="none" spc="0" normalizeH="0" baseline="0" noProof="0" dirty="0">
              <a:ln>
                <a:noFill/>
              </a:ln>
              <a:solidFill>
                <a:prstClr val="black"/>
              </a:solidFill>
              <a:effectLst/>
              <a:uLnTx/>
              <a:uFillTx/>
              <a:latin typeface="Open Sans"/>
              <a:ea typeface="+mn-ea"/>
              <a:cs typeface="+mn-cs"/>
            </a:endParaRPr>
          </a:p>
          <a:p>
            <a:pPr marL="0" marR="0" lvl="1" indent="0" algn="ctr" defTabSz="914400" rtl="0" eaLnBrk="1" fontAlgn="auto" latinLnBrk="0" hangingPunct="0">
              <a:lnSpc>
                <a:spcPct val="130000"/>
              </a:lnSpc>
              <a:spcBef>
                <a:spcPts val="2400"/>
              </a:spcBef>
              <a:spcAft>
                <a:spcPts val="180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Open Sans"/>
              <a:ea typeface="+mn-ea"/>
              <a:cs typeface="+mn-cs"/>
            </a:endParaRPr>
          </a:p>
          <a:p>
            <a:pPr marL="0" marR="0" lvl="1" indent="0" algn="l" defTabSz="914400" rtl="0" eaLnBrk="1" fontAlgn="auto" latinLnBrk="0" hangingPunct="0">
              <a:lnSpc>
                <a:spcPct val="130000"/>
              </a:lnSpc>
              <a:spcBef>
                <a:spcPts val="60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Open Sans"/>
                <a:ea typeface="+mn-ea"/>
                <a:cs typeface="+mn-cs"/>
              </a:rPr>
              <a:t>Company logos</a:t>
            </a:r>
          </a:p>
        </p:txBody>
      </p:sp>
      <p:cxnSp>
        <p:nvCxnSpPr>
          <p:cNvPr id="13" name="Straight Connector 12">
            <a:extLst>
              <a:ext uri="{FF2B5EF4-FFF2-40B4-BE49-F238E27FC236}">
                <a16:creationId xmlns:a16="http://schemas.microsoft.com/office/drawing/2014/main" id="{0731E6F7-6028-47C4-A1E1-F60F3E16B564}"/>
              </a:ext>
            </a:extLst>
          </p:cNvPr>
          <p:cNvCxnSpPr/>
          <p:nvPr/>
        </p:nvCxnSpPr>
        <p:spPr>
          <a:xfrm>
            <a:off x="6759271" y="1847798"/>
            <a:ext cx="60917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E2608B0-D53F-48D1-A64F-F36F63D9FE86}"/>
              </a:ext>
            </a:extLst>
          </p:cNvPr>
          <p:cNvCxnSpPr/>
          <p:nvPr/>
        </p:nvCxnSpPr>
        <p:spPr>
          <a:xfrm>
            <a:off x="6685699" y="1828800"/>
            <a:ext cx="0" cy="440236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948A96E-6A84-42A7-9581-3F0380D75420}"/>
              </a:ext>
            </a:extLst>
          </p:cNvPr>
          <p:cNvCxnSpPr/>
          <p:nvPr/>
        </p:nvCxnSpPr>
        <p:spPr>
          <a:xfrm flipH="1">
            <a:off x="6852572" y="4879742"/>
            <a:ext cx="4416193"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6D4F4DD-7C4F-410C-9016-5CFD1AF86A20}"/>
              </a:ext>
            </a:extLst>
          </p:cNvPr>
          <p:cNvSpPr/>
          <p:nvPr/>
        </p:nvSpPr>
        <p:spPr>
          <a:xfrm>
            <a:off x="6840997" y="5004108"/>
            <a:ext cx="2680606" cy="372410"/>
          </a:xfrm>
          <a:prstGeom prst="rect">
            <a:avLst/>
          </a:prstGeom>
        </p:spPr>
        <p:txBody>
          <a:bodyPr wrap="none">
            <a:spAutoFit/>
          </a:bodyPr>
          <a:lstStyle/>
          <a:p>
            <a:pPr marL="0" marR="0" lvl="1" indent="0" algn="ctr" defTabSz="914400" rtl="0" eaLnBrk="1" fontAlgn="auto" latinLnBrk="0" hangingPunct="0">
              <a:lnSpc>
                <a:spcPct val="130000"/>
              </a:lnSpc>
              <a:spcBef>
                <a:spcPts val="0"/>
              </a:spcBef>
              <a:spcAft>
                <a:spcPts val="0"/>
              </a:spcAft>
              <a:buClrTx/>
              <a:buSzTx/>
              <a:buFontTx/>
              <a:buNone/>
              <a:tabLst/>
              <a:defRPr/>
            </a:pPr>
            <a:r>
              <a:rPr kumimoji="0" lang="en-US" sz="1400" b="1" i="0" u="none" strike="noStrike" kern="1200" cap="all" spc="0" normalizeH="0" baseline="0" noProof="0" dirty="0">
                <a:ln>
                  <a:noFill/>
                </a:ln>
                <a:solidFill>
                  <a:prstClr val="black"/>
                </a:solidFill>
                <a:effectLst/>
                <a:uLnTx/>
                <a:uFillTx/>
                <a:latin typeface="Open Sans"/>
                <a:ea typeface="+mn-ea"/>
                <a:cs typeface="+mn-cs"/>
              </a:rPr>
              <a:t>Who is doing this today?</a:t>
            </a:r>
          </a:p>
        </p:txBody>
      </p:sp>
    </p:spTree>
    <p:extLst>
      <p:ext uri="{BB962C8B-B14F-4D97-AF65-F5344CB8AC3E}">
        <p14:creationId xmlns:p14="http://schemas.microsoft.com/office/powerpoint/2010/main" val="203411583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701423D-250F-40B9-BC1C-2E7483DEA2C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2" name="think-cell Slide" r:id="rId6" imgW="415" imgH="416" progId="TCLayout.ActiveDocument.1">
                  <p:embed/>
                </p:oleObj>
              </mc:Choice>
              <mc:Fallback>
                <p:oleObj name="think-cell Slide" r:id="rId6" imgW="415" imgH="416" progId="TCLayout.ActiveDocument.1">
                  <p:embed/>
                  <p:pic>
                    <p:nvPicPr>
                      <p:cNvPr id="5" name="Object 4" hidden="1">
                        <a:extLst>
                          <a:ext uri="{FF2B5EF4-FFF2-40B4-BE49-F238E27FC236}">
                            <a16:creationId xmlns:a16="http://schemas.microsoft.com/office/drawing/2014/main" id="{5701423D-250F-40B9-BC1C-2E7483DEA2C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7535251-BA64-42B8-BBF8-870BDD30F74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b="1"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6EEC3B3B-7AE5-453D-8F0E-1990B9338A12}"/>
              </a:ext>
            </a:extLst>
          </p:cNvPr>
          <p:cNvSpPr>
            <a:spLocks noGrp="1"/>
          </p:cNvSpPr>
          <p:nvPr>
            <p:ph type="title"/>
          </p:nvPr>
        </p:nvSpPr>
        <p:spPr/>
        <p:txBody>
          <a:bodyPr/>
          <a:lstStyle/>
          <a:p>
            <a:r>
              <a:rPr lang="en-US" b="1" dirty="0"/>
              <a:t>Design Principles</a:t>
            </a:r>
            <a:endParaRPr lang="en-US" dirty="0"/>
          </a:p>
        </p:txBody>
      </p:sp>
      <p:sp>
        <p:nvSpPr>
          <p:cNvPr id="3" name="Text Placeholder 2">
            <a:extLst>
              <a:ext uri="{FF2B5EF4-FFF2-40B4-BE49-F238E27FC236}">
                <a16:creationId xmlns:a16="http://schemas.microsoft.com/office/drawing/2014/main" id="{24995AD6-169D-4129-ADCA-18CFC1C9D122}"/>
              </a:ext>
            </a:extLst>
          </p:cNvPr>
          <p:cNvSpPr>
            <a:spLocks noGrp="1"/>
          </p:cNvSpPr>
          <p:nvPr>
            <p:ph type="body" sz="quarter" idx="15"/>
          </p:nvPr>
        </p:nvSpPr>
        <p:spPr/>
        <p:txBody>
          <a:bodyPr/>
          <a:lstStyle/>
          <a:p>
            <a:r>
              <a:rPr lang="en-US" dirty="0"/>
              <a:t>text</a:t>
            </a:r>
          </a:p>
        </p:txBody>
      </p:sp>
      <p:sp>
        <p:nvSpPr>
          <p:cNvPr id="10" name="Text Placeholder 9">
            <a:extLst>
              <a:ext uri="{FF2B5EF4-FFF2-40B4-BE49-F238E27FC236}">
                <a16:creationId xmlns:a16="http://schemas.microsoft.com/office/drawing/2014/main" id="{39533216-189C-486E-A0EE-38C7C394D2CB}"/>
              </a:ext>
            </a:extLst>
          </p:cNvPr>
          <p:cNvSpPr>
            <a:spLocks noGrp="1"/>
          </p:cNvSpPr>
          <p:nvPr>
            <p:ph type="body" sz="quarter" idx="16"/>
          </p:nvPr>
        </p:nvSpPr>
        <p:spPr>
          <a:xfrm>
            <a:off x="914400" y="1849823"/>
            <a:ext cx="3355975" cy="1169988"/>
          </a:xfrm>
        </p:spPr>
        <p:txBody>
          <a:bodyPr/>
          <a:lstStyle/>
          <a:p>
            <a:r>
              <a:rPr lang="en-US" dirty="0"/>
              <a:t>We’ve landed on five main elements to consider while redesigning their approach to trade investment</a:t>
            </a:r>
          </a:p>
        </p:txBody>
      </p:sp>
      <p:sp>
        <p:nvSpPr>
          <p:cNvPr id="6" name="Rectangle 5">
            <a:extLst>
              <a:ext uri="{FF2B5EF4-FFF2-40B4-BE49-F238E27FC236}">
                <a16:creationId xmlns:a16="http://schemas.microsoft.com/office/drawing/2014/main" id="{01D6E66A-79EA-43A2-A6F4-71F108A758DA}"/>
              </a:ext>
            </a:extLst>
          </p:cNvPr>
          <p:cNvSpPr/>
          <p:nvPr/>
        </p:nvSpPr>
        <p:spPr bwMode="auto">
          <a:xfrm>
            <a:off x="5167084" y="513041"/>
            <a:ext cx="6058635" cy="4727171"/>
          </a:xfrm>
          <a:prstGeom prst="rect">
            <a:avLst/>
          </a:prstGeom>
          <a:noFill/>
          <a:ln w="63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l" defTabSz="1088474" rtl="0" eaLnBrk="1" fontAlgn="auto" latinLnBrk="0" hangingPunct="1">
              <a:lnSpc>
                <a:spcPct val="110000"/>
              </a:lnSpc>
              <a:spcBef>
                <a:spcPts val="1800"/>
              </a:spcBef>
              <a:spcAft>
                <a:spcPts val="400"/>
              </a:spcAft>
              <a:buClrTx/>
              <a:buSzTx/>
              <a:buFontTx/>
              <a:buNone/>
              <a:tabLst/>
              <a:defRPr/>
            </a:pPr>
            <a:r>
              <a:rPr kumimoji="0" lang="en-US" sz="1600" b="1" i="0" u="none" strike="noStrike" kern="1200" cap="none" spc="0" normalizeH="0" baseline="0" noProof="0" dirty="0">
                <a:ln>
                  <a:noFill/>
                </a:ln>
                <a:solidFill>
                  <a:srgbClr val="86BC25"/>
                </a:solidFill>
                <a:effectLst/>
                <a:uLnTx/>
                <a:uFillTx/>
                <a:ea typeface="Chronicle Display Light" charset="0"/>
                <a:cs typeface="Chronicle Display Light" charset="0"/>
                <a:sym typeface="Gotham Book" charset="0"/>
              </a:rPr>
              <a:t>Traceable</a:t>
            </a:r>
          </a:p>
          <a:p>
            <a:pPr marL="0" marR="0" lvl="0" indent="0" algn="l" defTabSz="1088474" rtl="0" eaLnBrk="1" fontAlgn="auto" latinLnBrk="0" hangingPunct="1">
              <a:lnSpc>
                <a:spcPct val="120000"/>
              </a:lnSpc>
              <a:spcBef>
                <a:spcPts val="0"/>
              </a:spcBef>
              <a:spcAft>
                <a:spcPts val="400"/>
              </a:spcAft>
              <a:buClrTx/>
              <a:buSzTx/>
              <a:buFontTx/>
              <a:buNone/>
              <a:tabLst/>
              <a:defRPr/>
            </a:pPr>
            <a:r>
              <a:rPr kumimoji="0" lang="en-US" sz="1400" b="0" i="0" u="none" strike="noStrike" kern="1200" cap="none" spc="0" normalizeH="0" baseline="0" noProof="0" dirty="0">
                <a:ln>
                  <a:noFill/>
                </a:ln>
                <a:solidFill>
                  <a:prstClr val="black"/>
                </a:solidFill>
                <a:effectLst/>
                <a:uLnTx/>
                <a:uFillTx/>
                <a:ea typeface="+mn-ea"/>
                <a:cs typeface="Frutiger Next Pro Light"/>
              </a:rPr>
              <a:t>Tighten unexplained variance in trade terms and discounts across customers</a:t>
            </a:r>
          </a:p>
          <a:p>
            <a:pPr marL="0" marR="0" lvl="0" indent="0" algn="l" defTabSz="1088474" rtl="0" eaLnBrk="1" fontAlgn="auto" latinLnBrk="0" hangingPunct="1">
              <a:lnSpc>
                <a:spcPct val="110000"/>
              </a:lnSpc>
              <a:spcBef>
                <a:spcPts val="1800"/>
              </a:spcBef>
              <a:spcAft>
                <a:spcPts val="400"/>
              </a:spcAft>
              <a:buClrTx/>
              <a:buSzTx/>
              <a:buFontTx/>
              <a:buNone/>
              <a:tabLst/>
              <a:defRPr/>
            </a:pPr>
            <a:r>
              <a:rPr kumimoji="0" lang="en-US" sz="1600" b="1" i="0" u="none" strike="noStrike" kern="1200" cap="none" spc="0" normalizeH="0" baseline="0" noProof="0" dirty="0">
                <a:ln>
                  <a:noFill/>
                </a:ln>
                <a:solidFill>
                  <a:srgbClr val="0097A9"/>
                </a:solidFill>
                <a:effectLst/>
                <a:uLnTx/>
                <a:uFillTx/>
                <a:ea typeface="Chronicle Display Light" charset="0"/>
                <a:cs typeface="Chronicle Display Light" charset="0"/>
                <a:sym typeface="Gotham Book" charset="0"/>
              </a:rPr>
              <a:t>Flexible</a:t>
            </a:r>
          </a:p>
          <a:p>
            <a:pPr marL="0" marR="0" lvl="0" indent="0" algn="l" defTabSz="1219170" rtl="0" eaLnBrk="1" fontAlgn="auto" latinLnBrk="0" hangingPunct="1">
              <a:lnSpc>
                <a:spcPct val="120000"/>
              </a:lnSpc>
              <a:spcBef>
                <a:spcPts val="0"/>
              </a:spcBef>
              <a:spcAft>
                <a:spcPts val="0"/>
              </a:spcAft>
              <a:buClr>
                <a:srgbClr val="787878"/>
              </a:buClr>
              <a:buSzTx/>
              <a:buFontTx/>
              <a:buNone/>
              <a:tabLst/>
              <a:defRPr/>
            </a:pPr>
            <a:r>
              <a:rPr kumimoji="0" lang="en-US" sz="1400" b="0" i="0" u="none" strike="noStrike" kern="1200" cap="none" spc="0" normalizeH="0" baseline="0" noProof="0" dirty="0">
                <a:ln>
                  <a:noFill/>
                </a:ln>
                <a:solidFill>
                  <a:srgbClr val="000000"/>
                </a:solidFill>
                <a:effectLst/>
                <a:uLnTx/>
                <a:uFillTx/>
                <a:ea typeface="Open Sans" charset="0"/>
                <a:cs typeface="Open Sans" charset="0"/>
              </a:rPr>
              <a:t>Ensure there are mechanisms to differentiate service levels to accounts based on identifiable and quantifiable metrics </a:t>
            </a:r>
          </a:p>
          <a:p>
            <a:pPr marL="0" marR="0" lvl="0" indent="0" algn="l" defTabSz="1088474" rtl="0" eaLnBrk="1" fontAlgn="auto" latinLnBrk="0" hangingPunct="1">
              <a:lnSpc>
                <a:spcPct val="110000"/>
              </a:lnSpc>
              <a:spcBef>
                <a:spcPts val="1800"/>
              </a:spcBef>
              <a:spcAft>
                <a:spcPts val="400"/>
              </a:spcAft>
              <a:buClrTx/>
              <a:buSzTx/>
              <a:buFontTx/>
              <a:buNone/>
              <a:tabLst/>
              <a:defRPr/>
            </a:pPr>
            <a:r>
              <a:rPr kumimoji="0" lang="en-US" sz="1600" b="1" i="0" u="none" strike="noStrike" kern="1200" cap="none" spc="0" normalizeH="0" baseline="0" noProof="0" dirty="0">
                <a:ln>
                  <a:noFill/>
                </a:ln>
                <a:solidFill>
                  <a:srgbClr val="046A38"/>
                </a:solidFill>
                <a:effectLst/>
                <a:uLnTx/>
                <a:uFillTx/>
                <a:ea typeface="Chronicle Display Light" charset="0"/>
                <a:cs typeface="Chronicle Display Light" charset="0"/>
                <a:sym typeface="Gotham Book" charset="0"/>
              </a:rPr>
              <a:t>Purposeful and Future-Oriented</a:t>
            </a:r>
          </a:p>
          <a:p>
            <a:pPr marL="0" marR="0" lvl="0" indent="0" algn="l" defTabSz="1088474" rtl="0" eaLnBrk="1" fontAlgn="auto" latinLnBrk="0" hangingPunct="1">
              <a:lnSpc>
                <a:spcPct val="120000"/>
              </a:lnSpc>
              <a:spcBef>
                <a:spcPts val="0"/>
              </a:spcBef>
              <a:spcAft>
                <a:spcPts val="400"/>
              </a:spcAft>
              <a:buClrTx/>
              <a:buSzTx/>
              <a:buFontTx/>
              <a:buNone/>
              <a:tabLst/>
              <a:defRPr/>
            </a:pPr>
            <a:r>
              <a:rPr kumimoji="0" lang="en-US" sz="1400" b="0" i="0" u="none" strike="noStrike" kern="1200" cap="none" spc="0" normalizeH="0" baseline="0" noProof="0" dirty="0">
                <a:ln>
                  <a:noFill/>
                </a:ln>
                <a:solidFill>
                  <a:prstClr val="black"/>
                </a:solidFill>
                <a:effectLst/>
                <a:uLnTx/>
                <a:uFillTx/>
                <a:ea typeface="+mn-ea"/>
                <a:cs typeface="Frutiger Next Pro Light"/>
              </a:rPr>
              <a:t>Reallocate discount dollars to drive desired behaviors and business intent</a:t>
            </a:r>
          </a:p>
          <a:p>
            <a:pPr marL="0" marR="0" lvl="0" indent="0" algn="l" defTabSz="1088474" rtl="0" eaLnBrk="1" fontAlgn="auto" latinLnBrk="0" hangingPunct="1">
              <a:lnSpc>
                <a:spcPct val="110000"/>
              </a:lnSpc>
              <a:spcBef>
                <a:spcPts val="1800"/>
              </a:spcBef>
              <a:spcAft>
                <a:spcPts val="400"/>
              </a:spcAft>
              <a:buClrTx/>
              <a:buSzTx/>
              <a:buFontTx/>
              <a:buNone/>
              <a:tabLst/>
              <a:defRPr/>
            </a:pPr>
            <a:r>
              <a:rPr kumimoji="0" lang="en-US" sz="1600" b="1" i="0" u="none" strike="noStrike" kern="1200" cap="none" spc="0" normalizeH="0" baseline="0" noProof="0" dirty="0">
                <a:ln>
                  <a:noFill/>
                </a:ln>
                <a:solidFill>
                  <a:srgbClr val="62B5E5"/>
                </a:solidFill>
                <a:effectLst/>
                <a:uLnTx/>
                <a:uFillTx/>
                <a:ea typeface="Chronicle Display Light" charset="0"/>
                <a:cs typeface="Chronicle Display Light" charset="0"/>
                <a:sym typeface="Gotham Book" charset="0"/>
              </a:rPr>
              <a:t>Outcomes-Based</a:t>
            </a:r>
          </a:p>
          <a:p>
            <a:pPr marL="0" marR="0" lvl="0" indent="0" algn="l" defTabSz="1088474" rtl="0" eaLnBrk="1" fontAlgn="auto" latinLnBrk="0" hangingPunct="1">
              <a:lnSpc>
                <a:spcPct val="120000"/>
              </a:lnSpc>
              <a:spcBef>
                <a:spcPts val="0"/>
              </a:spcBef>
              <a:spcAft>
                <a:spcPts val="400"/>
              </a:spcAft>
              <a:buClrTx/>
              <a:buSzTx/>
              <a:buFontTx/>
              <a:buNone/>
              <a:tabLst/>
              <a:defRPr/>
            </a:pPr>
            <a:r>
              <a:rPr kumimoji="0" lang="en-US" sz="1400" b="0" i="0" u="none" strike="noStrike" kern="1200" cap="none" spc="0" normalizeH="0" baseline="0" noProof="0" dirty="0">
                <a:ln>
                  <a:noFill/>
                </a:ln>
                <a:solidFill>
                  <a:prstClr val="black"/>
                </a:solidFill>
                <a:effectLst/>
                <a:uLnTx/>
                <a:uFillTx/>
                <a:ea typeface="+mn-ea"/>
                <a:cs typeface="Frutiger Next Pro Light"/>
              </a:rPr>
              <a:t>Explore options to tie trade terms to performance-based incentives where discounts are measurable and reconciled to promised behaviors and marketplace outcomes</a:t>
            </a:r>
          </a:p>
          <a:p>
            <a:pPr marL="0" marR="0" lvl="0" indent="0" algn="l" defTabSz="1088474" rtl="0" eaLnBrk="1" fontAlgn="auto" latinLnBrk="0" hangingPunct="1">
              <a:lnSpc>
                <a:spcPct val="110000"/>
              </a:lnSpc>
              <a:spcBef>
                <a:spcPts val="1800"/>
              </a:spcBef>
              <a:spcAft>
                <a:spcPts val="400"/>
              </a:spcAft>
              <a:buClrTx/>
              <a:buSzTx/>
              <a:buFontTx/>
              <a:buNone/>
              <a:tabLst/>
              <a:defRPr/>
            </a:pPr>
            <a:r>
              <a:rPr kumimoji="0" lang="en-US" sz="1600" b="1" i="0" u="none" strike="noStrike" kern="1200" cap="none" spc="0" normalizeH="0" baseline="0" noProof="0" dirty="0">
                <a:ln>
                  <a:noFill/>
                </a:ln>
                <a:solidFill>
                  <a:srgbClr val="012169"/>
                </a:solidFill>
                <a:effectLst/>
                <a:uLnTx/>
                <a:uFillTx/>
                <a:ea typeface="Chronicle Display Light" charset="0"/>
                <a:cs typeface="Chronicle Display Light" charset="0"/>
                <a:sym typeface="Gotham Book" charset="0"/>
              </a:rPr>
              <a:t>Executable</a:t>
            </a:r>
          </a:p>
          <a:p>
            <a:pPr marL="0" marR="0" lvl="0" indent="0" algn="l" defTabSz="1088474" rtl="0" eaLnBrk="1" fontAlgn="auto" latinLnBrk="0" hangingPunct="1">
              <a:lnSpc>
                <a:spcPct val="120000"/>
              </a:lnSpc>
              <a:spcBef>
                <a:spcPts val="0"/>
              </a:spcBef>
              <a:spcAft>
                <a:spcPts val="400"/>
              </a:spcAft>
              <a:buClrTx/>
              <a:buSzTx/>
              <a:buFontTx/>
              <a:buNone/>
              <a:tabLst/>
              <a:defRPr/>
            </a:pPr>
            <a:r>
              <a:rPr kumimoji="0" lang="en-US" sz="1400" b="0" i="0" u="none" strike="noStrike" kern="1200" cap="none" spc="0" normalizeH="0" baseline="0" noProof="0" dirty="0">
                <a:ln>
                  <a:noFill/>
                </a:ln>
                <a:solidFill>
                  <a:prstClr val="black"/>
                </a:solidFill>
                <a:effectLst/>
                <a:uLnTx/>
                <a:uFillTx/>
                <a:ea typeface="+mn-ea"/>
                <a:cs typeface="Frutiger Next Pro Light"/>
              </a:rPr>
              <a:t>Focus on operations and the front-line, ensuring that the new approach to trade terms is one that can be executed by the sales force and bought into by customers</a:t>
            </a:r>
          </a:p>
          <a:p>
            <a:pPr marL="0" marR="0" lvl="0" indent="0" algn="l" defTabSz="1088474" rtl="0" eaLnBrk="1" fontAlgn="auto" latinLnBrk="0" hangingPunct="1">
              <a:lnSpc>
                <a:spcPct val="120000"/>
              </a:lnSpc>
              <a:spcBef>
                <a:spcPts val="0"/>
              </a:spcBef>
              <a:spcAft>
                <a:spcPts val="40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Frutiger Next Pro Light"/>
            </a:endParaRPr>
          </a:p>
        </p:txBody>
      </p:sp>
    </p:spTree>
    <p:extLst>
      <p:ext uri="{BB962C8B-B14F-4D97-AF65-F5344CB8AC3E}">
        <p14:creationId xmlns:p14="http://schemas.microsoft.com/office/powerpoint/2010/main" val="67770597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928F35C-AC25-4258-B195-72E97B81EFE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6"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1928F35C-AC25-4258-B195-72E97B81EFE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B1AE64C-5D08-4205-9666-3A99925DD29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FA4BC1D3-18DE-4F97-B892-0407D3CCB9A7}"/>
              </a:ext>
            </a:extLst>
          </p:cNvPr>
          <p:cNvSpPr>
            <a:spLocks noGrp="1"/>
          </p:cNvSpPr>
          <p:nvPr>
            <p:ph type="title"/>
          </p:nvPr>
        </p:nvSpPr>
        <p:spPr/>
        <p:txBody>
          <a:bodyPr/>
          <a:lstStyle/>
          <a:p>
            <a:r>
              <a:rPr lang="en-US" dirty="0"/>
              <a:t>Benefits Tracking Approach</a:t>
            </a:r>
          </a:p>
        </p:txBody>
      </p:sp>
      <p:sp>
        <p:nvSpPr>
          <p:cNvPr id="62" name="Text Placeholder 61">
            <a:extLst>
              <a:ext uri="{FF2B5EF4-FFF2-40B4-BE49-F238E27FC236}">
                <a16:creationId xmlns:a16="http://schemas.microsoft.com/office/drawing/2014/main" id="{FF5A3D70-0795-4F86-B1BB-69500AE00083}"/>
              </a:ext>
            </a:extLst>
          </p:cNvPr>
          <p:cNvSpPr>
            <a:spLocks noGrp="1"/>
          </p:cNvSpPr>
          <p:nvPr>
            <p:ph type="body" sz="quarter" idx="14"/>
          </p:nvPr>
        </p:nvSpPr>
        <p:spPr/>
        <p:txBody>
          <a:bodyPr/>
          <a:lstStyle/>
          <a:p>
            <a:r>
              <a:rPr lang="en-US" dirty="0"/>
              <a:t>Subheader</a:t>
            </a:r>
          </a:p>
        </p:txBody>
      </p:sp>
      <p:sp>
        <p:nvSpPr>
          <p:cNvPr id="63" name="Text Placeholder 62">
            <a:extLst>
              <a:ext uri="{FF2B5EF4-FFF2-40B4-BE49-F238E27FC236}">
                <a16:creationId xmlns:a16="http://schemas.microsoft.com/office/drawing/2014/main" id="{2BBEB90A-B4B9-4BC2-80DD-BFFBC1836343}"/>
              </a:ext>
            </a:extLst>
          </p:cNvPr>
          <p:cNvSpPr>
            <a:spLocks noGrp="1"/>
          </p:cNvSpPr>
          <p:nvPr>
            <p:ph type="body" sz="quarter" idx="15"/>
          </p:nvPr>
        </p:nvSpPr>
        <p:spPr/>
        <p:txBody>
          <a:bodyPr/>
          <a:lstStyle/>
          <a:p>
            <a:r>
              <a:rPr lang="en-US" dirty="0"/>
              <a:t>text</a:t>
            </a:r>
          </a:p>
        </p:txBody>
      </p:sp>
      <p:cxnSp>
        <p:nvCxnSpPr>
          <p:cNvPr id="5" name="Straight Connector 4">
            <a:extLst>
              <a:ext uri="{FF2B5EF4-FFF2-40B4-BE49-F238E27FC236}">
                <a16:creationId xmlns:a16="http://schemas.microsoft.com/office/drawing/2014/main" id="{2205D7BF-0ABF-4E29-8327-ECABFEDE38ED}"/>
              </a:ext>
            </a:extLst>
          </p:cNvPr>
          <p:cNvCxnSpPr/>
          <p:nvPr/>
        </p:nvCxnSpPr>
        <p:spPr>
          <a:xfrm flipV="1">
            <a:off x="3247938" y="4002719"/>
            <a:ext cx="7054212" cy="1"/>
          </a:xfrm>
          <a:prstGeom prst="line">
            <a:avLst/>
          </a:prstGeom>
          <a:ln w="19050">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6" name="Oval 5">
            <a:extLst>
              <a:ext uri="{FF2B5EF4-FFF2-40B4-BE49-F238E27FC236}">
                <a16:creationId xmlns:a16="http://schemas.microsoft.com/office/drawing/2014/main" id="{93A523AB-4D13-4A59-BCC4-52A000E3E70E}"/>
              </a:ext>
            </a:extLst>
          </p:cNvPr>
          <p:cNvSpPr/>
          <p:nvPr/>
        </p:nvSpPr>
        <p:spPr>
          <a:xfrm>
            <a:off x="3180671" y="3803315"/>
            <a:ext cx="434603" cy="434603"/>
          </a:xfrm>
          <a:prstGeom prst="ellipse">
            <a:avLst/>
          </a:prstGeom>
          <a:solidFill>
            <a:schemeClr val="bg1"/>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ea typeface="+mn-ea"/>
              <a:cs typeface="+mn-cs"/>
            </a:endParaRPr>
          </a:p>
        </p:txBody>
      </p:sp>
      <p:sp>
        <p:nvSpPr>
          <p:cNvPr id="7" name="Oval 6">
            <a:extLst>
              <a:ext uri="{FF2B5EF4-FFF2-40B4-BE49-F238E27FC236}">
                <a16:creationId xmlns:a16="http://schemas.microsoft.com/office/drawing/2014/main" id="{EFF6BE70-1C40-4DDB-B164-F9C85A8E5300}"/>
              </a:ext>
            </a:extLst>
          </p:cNvPr>
          <p:cNvSpPr/>
          <p:nvPr/>
        </p:nvSpPr>
        <p:spPr>
          <a:xfrm>
            <a:off x="6421653" y="3803315"/>
            <a:ext cx="434603" cy="434603"/>
          </a:xfrm>
          <a:prstGeom prst="ellipse">
            <a:avLst/>
          </a:prstGeom>
          <a:solidFill>
            <a:schemeClr val="bg1"/>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ea typeface="+mn-ea"/>
              <a:cs typeface="+mn-cs"/>
            </a:endParaRPr>
          </a:p>
        </p:txBody>
      </p:sp>
      <p:sp>
        <p:nvSpPr>
          <p:cNvPr id="8" name="Oval 7">
            <a:extLst>
              <a:ext uri="{FF2B5EF4-FFF2-40B4-BE49-F238E27FC236}">
                <a16:creationId xmlns:a16="http://schemas.microsoft.com/office/drawing/2014/main" id="{CF2B828B-22C5-4CD4-98F0-4B2D954B7229}"/>
              </a:ext>
            </a:extLst>
          </p:cNvPr>
          <p:cNvSpPr/>
          <p:nvPr/>
        </p:nvSpPr>
        <p:spPr>
          <a:xfrm>
            <a:off x="9873372" y="3803315"/>
            <a:ext cx="434603" cy="434603"/>
          </a:xfrm>
          <a:prstGeom prst="ellipse">
            <a:avLst/>
          </a:prstGeom>
          <a:solidFill>
            <a:schemeClr val="bg1"/>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ea typeface="+mn-ea"/>
              <a:cs typeface="+mn-cs"/>
            </a:endParaRPr>
          </a:p>
        </p:txBody>
      </p:sp>
      <p:cxnSp>
        <p:nvCxnSpPr>
          <p:cNvPr id="9" name="Straight Connector 8">
            <a:extLst>
              <a:ext uri="{FF2B5EF4-FFF2-40B4-BE49-F238E27FC236}">
                <a16:creationId xmlns:a16="http://schemas.microsoft.com/office/drawing/2014/main" id="{7C9B3B8F-4F42-4A01-9239-A1007B6B11F2}"/>
              </a:ext>
            </a:extLst>
          </p:cNvPr>
          <p:cNvCxnSpPr>
            <a:stCxn id="54" idx="6"/>
            <a:endCxn id="37" idx="8"/>
          </p:cNvCxnSpPr>
          <p:nvPr/>
        </p:nvCxnSpPr>
        <p:spPr>
          <a:xfrm flipV="1">
            <a:off x="3246050" y="1630933"/>
            <a:ext cx="7056100" cy="261"/>
          </a:xfrm>
          <a:prstGeom prst="line">
            <a:avLst/>
          </a:prstGeom>
          <a:ln w="19050">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876796EC-B02E-49F3-8181-6A979E41AC74}"/>
              </a:ext>
            </a:extLst>
          </p:cNvPr>
          <p:cNvSpPr/>
          <p:nvPr/>
        </p:nvSpPr>
        <p:spPr>
          <a:xfrm>
            <a:off x="9924627" y="1438203"/>
            <a:ext cx="376968" cy="376968"/>
          </a:xfrm>
          <a:prstGeom prst="ellipse">
            <a:avLst/>
          </a:prstGeom>
          <a:solidFill>
            <a:schemeClr val="bg1"/>
          </a:solidFill>
          <a:ln w="9525">
            <a:solidFill>
              <a:srgbClr val="E2E2E2"/>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ea typeface="+mn-ea"/>
              <a:cs typeface="+mn-cs"/>
            </a:endParaRPr>
          </a:p>
        </p:txBody>
      </p:sp>
      <p:sp>
        <p:nvSpPr>
          <p:cNvPr id="11" name="Oval 10">
            <a:extLst>
              <a:ext uri="{FF2B5EF4-FFF2-40B4-BE49-F238E27FC236}">
                <a16:creationId xmlns:a16="http://schemas.microsoft.com/office/drawing/2014/main" id="{1642897E-70C4-4CA0-A7C3-69A9EF03586B}"/>
              </a:ext>
            </a:extLst>
          </p:cNvPr>
          <p:cNvSpPr/>
          <p:nvPr/>
        </p:nvSpPr>
        <p:spPr>
          <a:xfrm>
            <a:off x="6450471" y="1438203"/>
            <a:ext cx="376968" cy="376968"/>
          </a:xfrm>
          <a:prstGeom prst="ellipse">
            <a:avLst/>
          </a:prstGeom>
          <a:solidFill>
            <a:schemeClr val="bg1"/>
          </a:solidFill>
          <a:ln w="9525">
            <a:solidFill>
              <a:srgbClr val="E2E2E2"/>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ea typeface="+mn-ea"/>
              <a:cs typeface="+mn-cs"/>
            </a:endParaRPr>
          </a:p>
        </p:txBody>
      </p:sp>
      <p:sp>
        <p:nvSpPr>
          <p:cNvPr id="12" name="Oval 11">
            <a:extLst>
              <a:ext uri="{FF2B5EF4-FFF2-40B4-BE49-F238E27FC236}">
                <a16:creationId xmlns:a16="http://schemas.microsoft.com/office/drawing/2014/main" id="{DC8514A8-7BE1-42CC-8085-1007C8DA3101}"/>
              </a:ext>
            </a:extLst>
          </p:cNvPr>
          <p:cNvSpPr/>
          <p:nvPr/>
        </p:nvSpPr>
        <p:spPr>
          <a:xfrm>
            <a:off x="3227552" y="1438203"/>
            <a:ext cx="376968" cy="376968"/>
          </a:xfrm>
          <a:prstGeom prst="ellipse">
            <a:avLst/>
          </a:prstGeom>
          <a:solidFill>
            <a:schemeClr val="bg1"/>
          </a:solidFill>
          <a:ln w="9525">
            <a:solidFill>
              <a:srgbClr val="E2E2E2"/>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ea typeface="+mn-ea"/>
              <a:cs typeface="+mn-cs"/>
            </a:endParaRPr>
          </a:p>
        </p:txBody>
      </p:sp>
      <p:sp>
        <p:nvSpPr>
          <p:cNvPr id="13" name="Rectangle 12">
            <a:extLst>
              <a:ext uri="{FF2B5EF4-FFF2-40B4-BE49-F238E27FC236}">
                <a16:creationId xmlns:a16="http://schemas.microsoft.com/office/drawing/2014/main" id="{F129CB81-7066-4B9A-A4CD-0019CD03DFE2}"/>
              </a:ext>
            </a:extLst>
          </p:cNvPr>
          <p:cNvSpPr/>
          <p:nvPr/>
        </p:nvSpPr>
        <p:spPr>
          <a:xfrm>
            <a:off x="2223570" y="1921787"/>
            <a:ext cx="2416366" cy="307777"/>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a:ln>
                  <a:noFill/>
                </a:ln>
                <a:solidFill>
                  <a:srgbClr val="000000"/>
                </a:solidFill>
                <a:effectLst/>
                <a:uLnTx/>
                <a:uFillTx/>
                <a:ea typeface="+mn-ea"/>
                <a:cs typeface="+mn-cs"/>
              </a:rPr>
              <a:t>Scope</a:t>
            </a:r>
          </a:p>
        </p:txBody>
      </p:sp>
      <p:sp>
        <p:nvSpPr>
          <p:cNvPr id="14" name="Rectangle 13">
            <a:extLst>
              <a:ext uri="{FF2B5EF4-FFF2-40B4-BE49-F238E27FC236}">
                <a16:creationId xmlns:a16="http://schemas.microsoft.com/office/drawing/2014/main" id="{889D2B26-786D-4F30-ABD7-0E3001E42A9E}"/>
              </a:ext>
            </a:extLst>
          </p:cNvPr>
          <p:cNvSpPr/>
          <p:nvPr/>
        </p:nvSpPr>
        <p:spPr>
          <a:xfrm>
            <a:off x="2118910" y="2387723"/>
            <a:ext cx="2625687" cy="600164"/>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mn-cs"/>
              </a:rPr>
              <a:t>Establish scope of benefits tracking tool including what projects will be tracked and in what format </a:t>
            </a:r>
          </a:p>
        </p:txBody>
      </p:sp>
      <p:sp>
        <p:nvSpPr>
          <p:cNvPr id="15" name="Rectangle 14">
            <a:extLst>
              <a:ext uri="{FF2B5EF4-FFF2-40B4-BE49-F238E27FC236}">
                <a16:creationId xmlns:a16="http://schemas.microsoft.com/office/drawing/2014/main" id="{4E65B8A1-3D9D-4943-BFC4-DC558946FFBE}"/>
              </a:ext>
            </a:extLst>
          </p:cNvPr>
          <p:cNvSpPr/>
          <p:nvPr/>
        </p:nvSpPr>
        <p:spPr>
          <a:xfrm>
            <a:off x="2118910" y="3017183"/>
            <a:ext cx="2625687" cy="600164"/>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accent6"/>
                </a:solidFill>
                <a:effectLst/>
                <a:uLnTx/>
                <a:uFillTx/>
                <a:ea typeface="+mn-ea"/>
                <a:cs typeface="+mn-cs"/>
              </a:rPr>
              <a:t>All initiatives given benefit overlap; Excel for tool, PPT for user guide, Tableau for future project</a:t>
            </a:r>
          </a:p>
        </p:txBody>
      </p:sp>
      <p:sp>
        <p:nvSpPr>
          <p:cNvPr id="16" name="Rectangle 15">
            <a:extLst>
              <a:ext uri="{FF2B5EF4-FFF2-40B4-BE49-F238E27FC236}">
                <a16:creationId xmlns:a16="http://schemas.microsoft.com/office/drawing/2014/main" id="{B3DE2E2F-C653-4BA0-B9EC-6B6064E52B20}"/>
              </a:ext>
            </a:extLst>
          </p:cNvPr>
          <p:cNvSpPr/>
          <p:nvPr/>
        </p:nvSpPr>
        <p:spPr>
          <a:xfrm>
            <a:off x="495904" y="2446930"/>
            <a:ext cx="1046457" cy="261610"/>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Description:</a:t>
            </a:r>
          </a:p>
        </p:txBody>
      </p:sp>
      <p:sp>
        <p:nvSpPr>
          <p:cNvPr id="17" name="Rectangle 16">
            <a:extLst>
              <a:ext uri="{FF2B5EF4-FFF2-40B4-BE49-F238E27FC236}">
                <a16:creationId xmlns:a16="http://schemas.microsoft.com/office/drawing/2014/main" id="{EEF9961B-A085-4FB5-BE9B-F3599FE0DA6C}"/>
              </a:ext>
            </a:extLst>
          </p:cNvPr>
          <p:cNvSpPr/>
          <p:nvPr/>
        </p:nvSpPr>
        <p:spPr>
          <a:xfrm>
            <a:off x="495904" y="3181432"/>
            <a:ext cx="1277812" cy="430887"/>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Our Suggestion:</a:t>
            </a:r>
          </a:p>
        </p:txBody>
      </p:sp>
      <p:sp>
        <p:nvSpPr>
          <p:cNvPr id="18" name="Rectangle 17">
            <a:extLst>
              <a:ext uri="{FF2B5EF4-FFF2-40B4-BE49-F238E27FC236}">
                <a16:creationId xmlns:a16="http://schemas.microsoft.com/office/drawing/2014/main" id="{A32049AB-E841-43AC-B67D-35E7F5D3BEF2}"/>
              </a:ext>
            </a:extLst>
          </p:cNvPr>
          <p:cNvSpPr/>
          <p:nvPr/>
        </p:nvSpPr>
        <p:spPr>
          <a:xfrm>
            <a:off x="5435440" y="1921787"/>
            <a:ext cx="2416366" cy="307777"/>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a:ln>
                  <a:noFill/>
                </a:ln>
                <a:solidFill>
                  <a:srgbClr val="000000"/>
                </a:solidFill>
                <a:effectLst/>
                <a:uLnTx/>
                <a:uFillTx/>
                <a:ea typeface="+mn-ea"/>
                <a:cs typeface="+mn-cs"/>
              </a:rPr>
              <a:t>KPI and Measures</a:t>
            </a:r>
          </a:p>
        </p:txBody>
      </p:sp>
      <p:sp>
        <p:nvSpPr>
          <p:cNvPr id="19" name="Rectangle 18">
            <a:extLst>
              <a:ext uri="{FF2B5EF4-FFF2-40B4-BE49-F238E27FC236}">
                <a16:creationId xmlns:a16="http://schemas.microsoft.com/office/drawing/2014/main" id="{357EA95D-1505-4DFA-9E11-467ECD34B219}"/>
              </a:ext>
            </a:extLst>
          </p:cNvPr>
          <p:cNvSpPr/>
          <p:nvPr/>
        </p:nvSpPr>
        <p:spPr>
          <a:xfrm>
            <a:off x="5330780" y="2387723"/>
            <a:ext cx="2625687" cy="430887"/>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mn-cs"/>
              </a:rPr>
              <a:t>Identify what KPIs and measures to track for each benefit identified</a:t>
            </a:r>
          </a:p>
        </p:txBody>
      </p:sp>
      <p:sp>
        <p:nvSpPr>
          <p:cNvPr id="20" name="Rectangle 19">
            <a:extLst>
              <a:ext uri="{FF2B5EF4-FFF2-40B4-BE49-F238E27FC236}">
                <a16:creationId xmlns:a16="http://schemas.microsoft.com/office/drawing/2014/main" id="{5C43D476-8584-4FA6-AC3B-54738AD68563}"/>
              </a:ext>
            </a:extLst>
          </p:cNvPr>
          <p:cNvSpPr/>
          <p:nvPr/>
        </p:nvSpPr>
        <p:spPr>
          <a:xfrm>
            <a:off x="5330780" y="3017183"/>
            <a:ext cx="2625687" cy="600164"/>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accent6"/>
                </a:solidFill>
                <a:effectLst/>
                <a:uLnTx/>
                <a:uFillTx/>
                <a:ea typeface="+mn-ea"/>
                <a:cs typeface="+mn-cs"/>
              </a:rPr>
              <a:t>Identify KPIs for each Level 3 benefit (lowest level of boxes) and benefit division among initiatives</a:t>
            </a:r>
          </a:p>
        </p:txBody>
      </p:sp>
      <p:sp>
        <p:nvSpPr>
          <p:cNvPr id="21" name="Rectangle 20">
            <a:extLst>
              <a:ext uri="{FF2B5EF4-FFF2-40B4-BE49-F238E27FC236}">
                <a16:creationId xmlns:a16="http://schemas.microsoft.com/office/drawing/2014/main" id="{B7FE85FF-64D7-479D-8AAE-61282D80B4E5}"/>
              </a:ext>
            </a:extLst>
          </p:cNvPr>
          <p:cNvSpPr/>
          <p:nvPr/>
        </p:nvSpPr>
        <p:spPr>
          <a:xfrm>
            <a:off x="8909891" y="1921787"/>
            <a:ext cx="2416366" cy="523220"/>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a:ln>
                  <a:noFill/>
                </a:ln>
                <a:solidFill>
                  <a:srgbClr val="000000"/>
                </a:solidFill>
                <a:effectLst/>
                <a:uLnTx/>
                <a:uFillTx/>
                <a:ea typeface="+mn-ea"/>
                <a:cs typeface="+mn-cs"/>
              </a:rPr>
              <a:t>Reporting Cadence and Distribution</a:t>
            </a:r>
          </a:p>
        </p:txBody>
      </p:sp>
      <p:sp>
        <p:nvSpPr>
          <p:cNvPr id="22" name="Rectangle 21">
            <a:extLst>
              <a:ext uri="{FF2B5EF4-FFF2-40B4-BE49-F238E27FC236}">
                <a16:creationId xmlns:a16="http://schemas.microsoft.com/office/drawing/2014/main" id="{4DEFF602-ADE5-46AC-88CE-826A16F1473A}"/>
              </a:ext>
            </a:extLst>
          </p:cNvPr>
          <p:cNvSpPr/>
          <p:nvPr/>
        </p:nvSpPr>
        <p:spPr>
          <a:xfrm>
            <a:off x="8805231" y="2387723"/>
            <a:ext cx="2625687" cy="430887"/>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mn-cs"/>
              </a:rPr>
              <a:t>Determine feasible reporting cadence for benefits tracking</a:t>
            </a:r>
          </a:p>
        </p:txBody>
      </p:sp>
      <p:sp>
        <p:nvSpPr>
          <p:cNvPr id="23" name="Rectangle 22">
            <a:extLst>
              <a:ext uri="{FF2B5EF4-FFF2-40B4-BE49-F238E27FC236}">
                <a16:creationId xmlns:a16="http://schemas.microsoft.com/office/drawing/2014/main" id="{D06C69D9-3FF9-42B3-A9CD-84F4F2BCB88B}"/>
              </a:ext>
            </a:extLst>
          </p:cNvPr>
          <p:cNvSpPr/>
          <p:nvPr/>
        </p:nvSpPr>
        <p:spPr>
          <a:xfrm>
            <a:off x="8805231" y="3017183"/>
            <a:ext cx="2625687" cy="76944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accent6"/>
                </a:solidFill>
                <a:effectLst/>
                <a:uLnTx/>
                <a:uFillTx/>
                <a:ea typeface="+mn-ea"/>
                <a:cs typeface="+mn-cs"/>
              </a:rPr>
              <a:t>Ideally as often as possible but depends on how often and easily they will be able to pull data – perhaps monthly or quarterly makes sense </a:t>
            </a:r>
          </a:p>
        </p:txBody>
      </p:sp>
      <p:sp>
        <p:nvSpPr>
          <p:cNvPr id="24" name="Rectangle 23">
            <a:extLst>
              <a:ext uri="{FF2B5EF4-FFF2-40B4-BE49-F238E27FC236}">
                <a16:creationId xmlns:a16="http://schemas.microsoft.com/office/drawing/2014/main" id="{79C29252-4347-4642-B91C-AED5B935C123}"/>
              </a:ext>
            </a:extLst>
          </p:cNvPr>
          <p:cNvSpPr/>
          <p:nvPr/>
        </p:nvSpPr>
        <p:spPr>
          <a:xfrm>
            <a:off x="2076683" y="4308480"/>
            <a:ext cx="2710141" cy="523220"/>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a:ln>
                  <a:noFill/>
                </a:ln>
                <a:solidFill>
                  <a:srgbClr val="000000"/>
                </a:solidFill>
                <a:effectLst/>
                <a:uLnTx/>
                <a:uFillTx/>
                <a:ea typeface="+mn-ea"/>
                <a:cs typeface="+mn-cs"/>
              </a:rPr>
              <a:t>Data Availability and </a:t>
            </a:r>
            <a:br>
              <a:rPr kumimoji="0" lang="en-US" sz="1400" b="1" i="0" u="sng" strike="noStrike" kern="1200" cap="none" spc="0" normalizeH="0" baseline="0" noProof="0" dirty="0">
                <a:ln>
                  <a:noFill/>
                </a:ln>
                <a:solidFill>
                  <a:srgbClr val="000000"/>
                </a:solidFill>
                <a:effectLst/>
                <a:uLnTx/>
                <a:uFillTx/>
                <a:ea typeface="+mn-ea"/>
                <a:cs typeface="+mn-cs"/>
              </a:rPr>
            </a:br>
            <a:r>
              <a:rPr kumimoji="0" lang="en-US" sz="1400" b="1" i="0" u="sng" strike="noStrike" kern="1200" cap="none" spc="0" normalizeH="0" baseline="0" noProof="0" dirty="0">
                <a:ln>
                  <a:noFill/>
                </a:ln>
                <a:solidFill>
                  <a:srgbClr val="000000"/>
                </a:solidFill>
                <a:effectLst/>
                <a:uLnTx/>
                <a:uFillTx/>
                <a:ea typeface="+mn-ea"/>
                <a:cs typeface="+mn-cs"/>
              </a:rPr>
              <a:t>Sample Report</a:t>
            </a:r>
          </a:p>
        </p:txBody>
      </p:sp>
      <p:sp>
        <p:nvSpPr>
          <p:cNvPr id="25" name="Rectangle 24">
            <a:extLst>
              <a:ext uri="{FF2B5EF4-FFF2-40B4-BE49-F238E27FC236}">
                <a16:creationId xmlns:a16="http://schemas.microsoft.com/office/drawing/2014/main" id="{4563247A-B25D-4E87-AB75-CB66FD87869A}"/>
              </a:ext>
            </a:extLst>
          </p:cNvPr>
          <p:cNvSpPr/>
          <p:nvPr/>
        </p:nvSpPr>
        <p:spPr>
          <a:xfrm>
            <a:off x="2080352" y="4829016"/>
            <a:ext cx="2702802" cy="76944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mn-cs"/>
              </a:rPr>
              <a:t>Ensure that the data requested is available and accessible. Show a sample of how these reports will be used and displayed.</a:t>
            </a:r>
          </a:p>
        </p:txBody>
      </p:sp>
      <p:sp>
        <p:nvSpPr>
          <p:cNvPr id="26" name="Rectangle 25">
            <a:extLst>
              <a:ext uri="{FF2B5EF4-FFF2-40B4-BE49-F238E27FC236}">
                <a16:creationId xmlns:a16="http://schemas.microsoft.com/office/drawing/2014/main" id="{A2A047EA-2F1B-4C0A-A547-9BF2F960F808}"/>
              </a:ext>
            </a:extLst>
          </p:cNvPr>
          <p:cNvSpPr/>
          <p:nvPr/>
        </p:nvSpPr>
        <p:spPr>
          <a:xfrm>
            <a:off x="2118910" y="5781085"/>
            <a:ext cx="2625687" cy="430887"/>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accent6"/>
                </a:solidFill>
                <a:effectLst/>
                <a:uLnTx/>
                <a:uFillTx/>
                <a:ea typeface="+mn-ea"/>
                <a:cs typeface="+mn-cs"/>
              </a:rPr>
              <a:t>Find available data from business resources and outline gaps in coverage</a:t>
            </a:r>
          </a:p>
        </p:txBody>
      </p:sp>
      <p:sp>
        <p:nvSpPr>
          <p:cNvPr id="27" name="Rectangle 26">
            <a:extLst>
              <a:ext uri="{FF2B5EF4-FFF2-40B4-BE49-F238E27FC236}">
                <a16:creationId xmlns:a16="http://schemas.microsoft.com/office/drawing/2014/main" id="{A9079B5F-FEF6-447F-9BAB-495A83E8150A}"/>
              </a:ext>
            </a:extLst>
          </p:cNvPr>
          <p:cNvSpPr/>
          <p:nvPr/>
        </p:nvSpPr>
        <p:spPr>
          <a:xfrm>
            <a:off x="495904" y="5031930"/>
            <a:ext cx="1046457" cy="261610"/>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Description:</a:t>
            </a:r>
          </a:p>
        </p:txBody>
      </p:sp>
      <p:sp>
        <p:nvSpPr>
          <p:cNvPr id="28" name="Rectangle 27">
            <a:extLst>
              <a:ext uri="{FF2B5EF4-FFF2-40B4-BE49-F238E27FC236}">
                <a16:creationId xmlns:a16="http://schemas.microsoft.com/office/drawing/2014/main" id="{7AF331BE-B1F9-4077-841A-2387678E7A80}"/>
              </a:ext>
            </a:extLst>
          </p:cNvPr>
          <p:cNvSpPr/>
          <p:nvPr/>
        </p:nvSpPr>
        <p:spPr>
          <a:xfrm>
            <a:off x="495904" y="5855883"/>
            <a:ext cx="1277812" cy="430887"/>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Our Suggestion:</a:t>
            </a:r>
          </a:p>
        </p:txBody>
      </p:sp>
      <p:sp>
        <p:nvSpPr>
          <p:cNvPr id="29" name="Rectangle 28">
            <a:extLst>
              <a:ext uri="{FF2B5EF4-FFF2-40B4-BE49-F238E27FC236}">
                <a16:creationId xmlns:a16="http://schemas.microsoft.com/office/drawing/2014/main" id="{1D6DD08F-5CB0-45E7-BE88-2F8A014103E2}"/>
              </a:ext>
            </a:extLst>
          </p:cNvPr>
          <p:cNvSpPr/>
          <p:nvPr/>
        </p:nvSpPr>
        <p:spPr>
          <a:xfrm>
            <a:off x="5435440" y="4308480"/>
            <a:ext cx="2416366" cy="307777"/>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a:ln>
                  <a:noFill/>
                </a:ln>
                <a:solidFill>
                  <a:srgbClr val="000000"/>
                </a:solidFill>
                <a:effectLst/>
                <a:uLnTx/>
                <a:uFillTx/>
                <a:ea typeface="+mn-ea"/>
                <a:cs typeface="+mn-cs"/>
              </a:rPr>
              <a:t>Documentation</a:t>
            </a:r>
          </a:p>
        </p:txBody>
      </p:sp>
      <p:sp>
        <p:nvSpPr>
          <p:cNvPr id="30" name="Rectangle 29">
            <a:extLst>
              <a:ext uri="{FF2B5EF4-FFF2-40B4-BE49-F238E27FC236}">
                <a16:creationId xmlns:a16="http://schemas.microsoft.com/office/drawing/2014/main" id="{F1A554CE-2151-45B7-9FBC-49C066B990BB}"/>
              </a:ext>
            </a:extLst>
          </p:cNvPr>
          <p:cNvSpPr/>
          <p:nvPr/>
        </p:nvSpPr>
        <p:spPr>
          <a:xfrm>
            <a:off x="5330780" y="4829016"/>
            <a:ext cx="2625687" cy="76944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mn-cs"/>
              </a:rPr>
              <a:t>Document approach and steps for client handover and enable repeatability or automation for future tracking</a:t>
            </a:r>
          </a:p>
        </p:txBody>
      </p:sp>
      <p:sp>
        <p:nvSpPr>
          <p:cNvPr id="31" name="Rectangle 30">
            <a:extLst>
              <a:ext uri="{FF2B5EF4-FFF2-40B4-BE49-F238E27FC236}">
                <a16:creationId xmlns:a16="http://schemas.microsoft.com/office/drawing/2014/main" id="{3A96BCDF-54E4-4D78-864C-5E8D12FE31D6}"/>
              </a:ext>
            </a:extLst>
          </p:cNvPr>
          <p:cNvSpPr/>
          <p:nvPr/>
        </p:nvSpPr>
        <p:spPr>
          <a:xfrm>
            <a:off x="5330780" y="5781085"/>
            <a:ext cx="2625687" cy="600164"/>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accent6"/>
                </a:solidFill>
                <a:effectLst/>
                <a:uLnTx/>
                <a:uFillTx/>
                <a:ea typeface="+mn-ea"/>
                <a:cs typeface="+mn-cs"/>
              </a:rPr>
              <a:t>Document benefits tracking process in a user guide that can be transitioned to owners at project end</a:t>
            </a:r>
          </a:p>
        </p:txBody>
      </p:sp>
      <p:sp>
        <p:nvSpPr>
          <p:cNvPr id="32" name="Rectangle 31">
            <a:extLst>
              <a:ext uri="{FF2B5EF4-FFF2-40B4-BE49-F238E27FC236}">
                <a16:creationId xmlns:a16="http://schemas.microsoft.com/office/drawing/2014/main" id="{39E8D769-5241-4EE3-BEEF-FAFC262A7022}"/>
              </a:ext>
            </a:extLst>
          </p:cNvPr>
          <p:cNvSpPr/>
          <p:nvPr/>
        </p:nvSpPr>
        <p:spPr>
          <a:xfrm>
            <a:off x="8909891" y="4308480"/>
            <a:ext cx="2416366" cy="307777"/>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a:ln>
                  <a:noFill/>
                </a:ln>
                <a:solidFill>
                  <a:srgbClr val="000000"/>
                </a:solidFill>
                <a:effectLst/>
                <a:uLnTx/>
                <a:uFillTx/>
                <a:ea typeface="+mn-ea"/>
                <a:cs typeface="+mn-cs"/>
              </a:rPr>
              <a:t>Stakeholders</a:t>
            </a:r>
          </a:p>
        </p:txBody>
      </p:sp>
      <p:sp>
        <p:nvSpPr>
          <p:cNvPr id="33" name="Rectangle 32">
            <a:extLst>
              <a:ext uri="{FF2B5EF4-FFF2-40B4-BE49-F238E27FC236}">
                <a16:creationId xmlns:a16="http://schemas.microsoft.com/office/drawing/2014/main" id="{27C65067-76F7-4F26-A38A-F69A2001B125}"/>
              </a:ext>
            </a:extLst>
          </p:cNvPr>
          <p:cNvSpPr/>
          <p:nvPr/>
        </p:nvSpPr>
        <p:spPr>
          <a:xfrm>
            <a:off x="8805231" y="4829016"/>
            <a:ext cx="2702801" cy="76944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mn-cs"/>
              </a:rPr>
              <a:t>Engage XYZ and Deloitte stakeholders throughout the process. Identify sponsors and business owners to own benefits tracking </a:t>
            </a:r>
          </a:p>
        </p:txBody>
      </p:sp>
      <p:sp>
        <p:nvSpPr>
          <p:cNvPr id="34" name="Rectangle 33">
            <a:extLst>
              <a:ext uri="{FF2B5EF4-FFF2-40B4-BE49-F238E27FC236}">
                <a16:creationId xmlns:a16="http://schemas.microsoft.com/office/drawing/2014/main" id="{D34C5DC1-0E6B-4B47-BEFF-A791E3B236FB}"/>
              </a:ext>
            </a:extLst>
          </p:cNvPr>
          <p:cNvSpPr/>
          <p:nvPr/>
        </p:nvSpPr>
        <p:spPr>
          <a:xfrm>
            <a:off x="8805231" y="5781085"/>
            <a:ext cx="2625687" cy="600164"/>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accent6"/>
                </a:solidFill>
                <a:effectLst/>
                <a:uLnTx/>
                <a:uFillTx/>
                <a:ea typeface="+mn-ea"/>
                <a:cs typeface="+mn-cs"/>
              </a:rPr>
              <a:t>Engage stakeholders throughout process to ensure buy-in on metrics used and process for tracking</a:t>
            </a:r>
          </a:p>
        </p:txBody>
      </p:sp>
      <p:cxnSp>
        <p:nvCxnSpPr>
          <p:cNvPr id="35" name="Straight Connector 34">
            <a:extLst>
              <a:ext uri="{FF2B5EF4-FFF2-40B4-BE49-F238E27FC236}">
                <a16:creationId xmlns:a16="http://schemas.microsoft.com/office/drawing/2014/main" id="{B71B2A78-51BC-4FD0-A686-765AFA221E24}"/>
              </a:ext>
            </a:extLst>
          </p:cNvPr>
          <p:cNvCxnSpPr>
            <a:cxnSpLocks/>
          </p:cNvCxnSpPr>
          <p:nvPr/>
        </p:nvCxnSpPr>
        <p:spPr>
          <a:xfrm>
            <a:off x="1905919" y="2258543"/>
            <a:ext cx="0" cy="629143"/>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36" name="Group 40">
            <a:extLst>
              <a:ext uri="{FF2B5EF4-FFF2-40B4-BE49-F238E27FC236}">
                <a16:creationId xmlns:a16="http://schemas.microsoft.com/office/drawing/2014/main" id="{20EC243B-1B3E-4462-AC91-46DE890D164E}"/>
              </a:ext>
            </a:extLst>
          </p:cNvPr>
          <p:cNvGrpSpPr>
            <a:grpSpLocks noChangeAspect="1"/>
          </p:cNvGrpSpPr>
          <p:nvPr/>
        </p:nvGrpSpPr>
        <p:grpSpPr bwMode="auto">
          <a:xfrm>
            <a:off x="9933998" y="1446857"/>
            <a:ext cx="368152" cy="368152"/>
            <a:chOff x="880" y="418"/>
            <a:chExt cx="3635" cy="3635"/>
          </a:xfrm>
          <a:solidFill>
            <a:schemeClr val="tx1"/>
          </a:solidFill>
        </p:grpSpPr>
        <p:sp>
          <p:nvSpPr>
            <p:cNvPr id="37" name="Freeform 41">
              <a:extLst>
                <a:ext uri="{FF2B5EF4-FFF2-40B4-BE49-F238E27FC236}">
                  <a16:creationId xmlns:a16="http://schemas.microsoft.com/office/drawing/2014/main" id="{E9729B33-A923-41DD-A6D4-70A350FA915D}"/>
                </a:ext>
              </a:extLst>
            </p:cNvPr>
            <p:cNvSpPr>
              <a:spLocks noEditPoints="1"/>
            </p:cNvSpPr>
            <p:nvPr/>
          </p:nvSpPr>
          <p:spPr bwMode="auto">
            <a:xfrm>
              <a:off x="880" y="418"/>
              <a:ext cx="3635"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ea typeface="+mn-ea"/>
                <a:cs typeface="+mn-cs"/>
              </a:endParaRPr>
            </a:p>
          </p:txBody>
        </p:sp>
        <p:sp>
          <p:nvSpPr>
            <p:cNvPr id="38" name="Freeform 42">
              <a:extLst>
                <a:ext uri="{FF2B5EF4-FFF2-40B4-BE49-F238E27FC236}">
                  <a16:creationId xmlns:a16="http://schemas.microsoft.com/office/drawing/2014/main" id="{F6AE62C6-BCEB-4BA8-8428-0B8D8A2037ED}"/>
                </a:ext>
              </a:extLst>
            </p:cNvPr>
            <p:cNvSpPr>
              <a:spLocks noEditPoints="1"/>
            </p:cNvSpPr>
            <p:nvPr/>
          </p:nvSpPr>
          <p:spPr bwMode="auto">
            <a:xfrm>
              <a:off x="1753" y="1270"/>
              <a:ext cx="1889" cy="2023"/>
            </a:xfrm>
            <a:custGeom>
              <a:avLst/>
              <a:gdLst>
                <a:gd name="T0" fmla="*/ 250 w 266"/>
                <a:gd name="T1" fmla="*/ 146 h 285"/>
                <a:gd name="T2" fmla="*/ 133 w 266"/>
                <a:gd name="T3" fmla="*/ 29 h 285"/>
                <a:gd name="T4" fmla="*/ 15 w 266"/>
                <a:gd name="T5" fmla="*/ 146 h 285"/>
                <a:gd name="T6" fmla="*/ 55 w 266"/>
                <a:gd name="T7" fmla="*/ 234 h 285"/>
                <a:gd name="T8" fmla="*/ 38 w 266"/>
                <a:gd name="T9" fmla="*/ 270 h 285"/>
                <a:gd name="T10" fmla="*/ 43 w 266"/>
                <a:gd name="T11" fmla="*/ 284 h 285"/>
                <a:gd name="T12" fmla="*/ 47 w 266"/>
                <a:gd name="T13" fmla="*/ 285 h 285"/>
                <a:gd name="T14" fmla="*/ 57 w 266"/>
                <a:gd name="T15" fmla="*/ 279 h 285"/>
                <a:gd name="T16" fmla="*/ 73 w 266"/>
                <a:gd name="T17" fmla="*/ 247 h 285"/>
                <a:gd name="T18" fmla="*/ 133 w 266"/>
                <a:gd name="T19" fmla="*/ 264 h 285"/>
                <a:gd name="T20" fmla="*/ 192 w 266"/>
                <a:gd name="T21" fmla="*/ 247 h 285"/>
                <a:gd name="T22" fmla="*/ 208 w 266"/>
                <a:gd name="T23" fmla="*/ 279 h 285"/>
                <a:gd name="T24" fmla="*/ 218 w 266"/>
                <a:gd name="T25" fmla="*/ 285 h 285"/>
                <a:gd name="T26" fmla="*/ 223 w 266"/>
                <a:gd name="T27" fmla="*/ 284 h 285"/>
                <a:gd name="T28" fmla="*/ 228 w 266"/>
                <a:gd name="T29" fmla="*/ 270 h 285"/>
                <a:gd name="T30" fmla="*/ 210 w 266"/>
                <a:gd name="T31" fmla="*/ 234 h 285"/>
                <a:gd name="T32" fmla="*/ 250 w 266"/>
                <a:gd name="T33" fmla="*/ 146 h 285"/>
                <a:gd name="T34" fmla="*/ 37 w 266"/>
                <a:gd name="T35" fmla="*/ 146 h 285"/>
                <a:gd name="T36" fmla="*/ 133 w 266"/>
                <a:gd name="T37" fmla="*/ 50 h 285"/>
                <a:gd name="T38" fmla="*/ 229 w 266"/>
                <a:gd name="T39" fmla="*/ 146 h 285"/>
                <a:gd name="T40" fmla="*/ 133 w 266"/>
                <a:gd name="T41" fmla="*/ 242 h 285"/>
                <a:gd name="T42" fmla="*/ 37 w 266"/>
                <a:gd name="T43" fmla="*/ 146 h 285"/>
                <a:gd name="T44" fmla="*/ 162 w 266"/>
                <a:gd name="T45" fmla="*/ 128 h 285"/>
                <a:gd name="T46" fmla="*/ 161 w 266"/>
                <a:gd name="T47" fmla="*/ 143 h 285"/>
                <a:gd name="T48" fmla="*/ 140 w 266"/>
                <a:gd name="T49" fmla="*/ 164 h 285"/>
                <a:gd name="T50" fmla="*/ 140 w 266"/>
                <a:gd name="T51" fmla="*/ 164 h 285"/>
                <a:gd name="T52" fmla="*/ 133 w 266"/>
                <a:gd name="T53" fmla="*/ 167 h 285"/>
                <a:gd name="T54" fmla="*/ 125 w 266"/>
                <a:gd name="T55" fmla="*/ 164 h 285"/>
                <a:gd name="T56" fmla="*/ 83 w 266"/>
                <a:gd name="T57" fmla="*/ 122 h 285"/>
                <a:gd name="T58" fmla="*/ 82 w 266"/>
                <a:gd name="T59" fmla="*/ 107 h 285"/>
                <a:gd name="T60" fmla="*/ 97 w 266"/>
                <a:gd name="T61" fmla="*/ 107 h 285"/>
                <a:gd name="T62" fmla="*/ 133 w 266"/>
                <a:gd name="T63" fmla="*/ 141 h 285"/>
                <a:gd name="T64" fmla="*/ 147 w 266"/>
                <a:gd name="T65" fmla="*/ 128 h 285"/>
                <a:gd name="T66" fmla="*/ 162 w 266"/>
                <a:gd name="T67" fmla="*/ 128 h 285"/>
                <a:gd name="T68" fmla="*/ 16 w 266"/>
                <a:gd name="T69" fmla="*/ 82 h 285"/>
                <a:gd name="T70" fmla="*/ 8 w 266"/>
                <a:gd name="T71" fmla="*/ 79 h 285"/>
                <a:gd name="T72" fmla="*/ 0 w 266"/>
                <a:gd name="T73" fmla="*/ 58 h 285"/>
                <a:gd name="T74" fmla="*/ 8 w 266"/>
                <a:gd name="T75" fmla="*/ 38 h 285"/>
                <a:gd name="T76" fmla="*/ 35 w 266"/>
                <a:gd name="T77" fmla="*/ 11 h 285"/>
                <a:gd name="T78" fmla="*/ 76 w 266"/>
                <a:gd name="T79" fmla="*/ 11 h 285"/>
                <a:gd name="T80" fmla="*/ 76 w 266"/>
                <a:gd name="T81" fmla="*/ 26 h 285"/>
                <a:gd name="T82" fmla="*/ 61 w 266"/>
                <a:gd name="T83" fmla="*/ 26 h 285"/>
                <a:gd name="T84" fmla="*/ 50 w 266"/>
                <a:gd name="T85" fmla="*/ 26 h 285"/>
                <a:gd name="T86" fmla="*/ 23 w 266"/>
                <a:gd name="T87" fmla="*/ 53 h 285"/>
                <a:gd name="T88" fmla="*/ 21 w 266"/>
                <a:gd name="T89" fmla="*/ 58 h 285"/>
                <a:gd name="T90" fmla="*/ 23 w 266"/>
                <a:gd name="T91" fmla="*/ 64 h 285"/>
                <a:gd name="T92" fmla="*/ 23 w 266"/>
                <a:gd name="T93" fmla="*/ 79 h 285"/>
                <a:gd name="T94" fmla="*/ 16 w 266"/>
                <a:gd name="T95" fmla="*/ 82 h 285"/>
                <a:gd name="T96" fmla="*/ 266 w 266"/>
                <a:gd name="T97" fmla="*/ 58 h 285"/>
                <a:gd name="T98" fmla="*/ 257 w 266"/>
                <a:gd name="T99" fmla="*/ 79 h 285"/>
                <a:gd name="T100" fmla="*/ 249 w 266"/>
                <a:gd name="T101" fmla="*/ 82 h 285"/>
                <a:gd name="T102" fmla="*/ 242 w 266"/>
                <a:gd name="T103" fmla="*/ 79 h 285"/>
                <a:gd name="T104" fmla="*/ 242 w 266"/>
                <a:gd name="T105" fmla="*/ 64 h 285"/>
                <a:gd name="T106" fmla="*/ 244 w 266"/>
                <a:gd name="T107" fmla="*/ 58 h 285"/>
                <a:gd name="T108" fmla="*/ 242 w 266"/>
                <a:gd name="T109" fmla="*/ 53 h 285"/>
                <a:gd name="T110" fmla="*/ 216 w 266"/>
                <a:gd name="T111" fmla="*/ 26 h 285"/>
                <a:gd name="T112" fmla="*/ 204 w 266"/>
                <a:gd name="T113" fmla="*/ 26 h 285"/>
                <a:gd name="T114" fmla="*/ 189 w 266"/>
                <a:gd name="T115" fmla="*/ 26 h 285"/>
                <a:gd name="T116" fmla="*/ 189 w 266"/>
                <a:gd name="T117" fmla="*/ 11 h 285"/>
                <a:gd name="T118" fmla="*/ 231 w 266"/>
                <a:gd name="T119" fmla="*/ 11 h 285"/>
                <a:gd name="T120" fmla="*/ 257 w 266"/>
                <a:gd name="T121" fmla="*/ 38 h 285"/>
                <a:gd name="T122" fmla="*/ 266 w 266"/>
                <a:gd name="T123" fmla="*/ 58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6" h="285">
                  <a:moveTo>
                    <a:pt x="250" y="146"/>
                  </a:moveTo>
                  <a:cubicBezTo>
                    <a:pt x="250" y="82"/>
                    <a:pt x="197" y="29"/>
                    <a:pt x="133" y="29"/>
                  </a:cubicBezTo>
                  <a:cubicBezTo>
                    <a:pt x="68" y="29"/>
                    <a:pt x="15" y="82"/>
                    <a:pt x="15" y="146"/>
                  </a:cubicBezTo>
                  <a:cubicBezTo>
                    <a:pt x="15" y="181"/>
                    <a:pt x="31" y="213"/>
                    <a:pt x="55" y="234"/>
                  </a:cubicBezTo>
                  <a:cubicBezTo>
                    <a:pt x="38" y="270"/>
                    <a:pt x="38" y="270"/>
                    <a:pt x="38" y="270"/>
                  </a:cubicBezTo>
                  <a:cubicBezTo>
                    <a:pt x="35" y="275"/>
                    <a:pt x="37" y="281"/>
                    <a:pt x="43" y="284"/>
                  </a:cubicBezTo>
                  <a:cubicBezTo>
                    <a:pt x="44" y="285"/>
                    <a:pt x="46" y="285"/>
                    <a:pt x="47" y="285"/>
                  </a:cubicBezTo>
                  <a:cubicBezTo>
                    <a:pt x="51" y="285"/>
                    <a:pt x="55" y="283"/>
                    <a:pt x="57" y="279"/>
                  </a:cubicBezTo>
                  <a:cubicBezTo>
                    <a:pt x="73" y="247"/>
                    <a:pt x="73" y="247"/>
                    <a:pt x="73" y="247"/>
                  </a:cubicBezTo>
                  <a:cubicBezTo>
                    <a:pt x="90" y="258"/>
                    <a:pt x="111" y="264"/>
                    <a:pt x="133" y="264"/>
                  </a:cubicBezTo>
                  <a:cubicBezTo>
                    <a:pt x="155" y="264"/>
                    <a:pt x="175" y="258"/>
                    <a:pt x="192" y="247"/>
                  </a:cubicBezTo>
                  <a:cubicBezTo>
                    <a:pt x="208" y="279"/>
                    <a:pt x="208" y="279"/>
                    <a:pt x="208" y="279"/>
                  </a:cubicBezTo>
                  <a:cubicBezTo>
                    <a:pt x="210" y="283"/>
                    <a:pt x="214" y="285"/>
                    <a:pt x="218" y="285"/>
                  </a:cubicBezTo>
                  <a:cubicBezTo>
                    <a:pt x="220" y="285"/>
                    <a:pt x="221" y="285"/>
                    <a:pt x="223" y="284"/>
                  </a:cubicBezTo>
                  <a:cubicBezTo>
                    <a:pt x="228" y="281"/>
                    <a:pt x="230" y="275"/>
                    <a:pt x="228" y="270"/>
                  </a:cubicBezTo>
                  <a:cubicBezTo>
                    <a:pt x="210" y="234"/>
                    <a:pt x="210" y="234"/>
                    <a:pt x="210" y="234"/>
                  </a:cubicBezTo>
                  <a:cubicBezTo>
                    <a:pt x="234" y="213"/>
                    <a:pt x="250" y="181"/>
                    <a:pt x="250" y="146"/>
                  </a:cubicBezTo>
                  <a:close/>
                  <a:moveTo>
                    <a:pt x="37" y="146"/>
                  </a:moveTo>
                  <a:cubicBezTo>
                    <a:pt x="37" y="93"/>
                    <a:pt x="80" y="50"/>
                    <a:pt x="133" y="50"/>
                  </a:cubicBezTo>
                  <a:cubicBezTo>
                    <a:pt x="186" y="50"/>
                    <a:pt x="229" y="93"/>
                    <a:pt x="229" y="146"/>
                  </a:cubicBezTo>
                  <a:cubicBezTo>
                    <a:pt x="229" y="199"/>
                    <a:pt x="186" y="242"/>
                    <a:pt x="133" y="242"/>
                  </a:cubicBezTo>
                  <a:cubicBezTo>
                    <a:pt x="80" y="242"/>
                    <a:pt x="37" y="199"/>
                    <a:pt x="37" y="146"/>
                  </a:cubicBezTo>
                  <a:close/>
                  <a:moveTo>
                    <a:pt x="162" y="128"/>
                  </a:moveTo>
                  <a:cubicBezTo>
                    <a:pt x="166" y="133"/>
                    <a:pt x="166" y="139"/>
                    <a:pt x="161" y="143"/>
                  </a:cubicBezTo>
                  <a:cubicBezTo>
                    <a:pt x="140" y="164"/>
                    <a:pt x="140" y="164"/>
                    <a:pt x="140" y="164"/>
                  </a:cubicBezTo>
                  <a:cubicBezTo>
                    <a:pt x="140" y="164"/>
                    <a:pt x="140" y="164"/>
                    <a:pt x="140" y="164"/>
                  </a:cubicBezTo>
                  <a:cubicBezTo>
                    <a:pt x="138" y="166"/>
                    <a:pt x="135" y="167"/>
                    <a:pt x="133" y="167"/>
                  </a:cubicBezTo>
                  <a:cubicBezTo>
                    <a:pt x="130" y="167"/>
                    <a:pt x="127" y="166"/>
                    <a:pt x="125" y="164"/>
                  </a:cubicBezTo>
                  <a:cubicBezTo>
                    <a:pt x="83" y="122"/>
                    <a:pt x="83" y="122"/>
                    <a:pt x="83" y="122"/>
                  </a:cubicBezTo>
                  <a:cubicBezTo>
                    <a:pt x="78" y="118"/>
                    <a:pt x="78" y="111"/>
                    <a:pt x="82" y="107"/>
                  </a:cubicBezTo>
                  <a:cubicBezTo>
                    <a:pt x="87" y="103"/>
                    <a:pt x="93" y="103"/>
                    <a:pt x="97" y="107"/>
                  </a:cubicBezTo>
                  <a:cubicBezTo>
                    <a:pt x="133" y="141"/>
                    <a:pt x="133" y="141"/>
                    <a:pt x="133" y="141"/>
                  </a:cubicBezTo>
                  <a:cubicBezTo>
                    <a:pt x="147" y="128"/>
                    <a:pt x="147" y="128"/>
                    <a:pt x="147" y="128"/>
                  </a:cubicBezTo>
                  <a:cubicBezTo>
                    <a:pt x="151" y="124"/>
                    <a:pt x="158" y="124"/>
                    <a:pt x="162" y="128"/>
                  </a:cubicBezTo>
                  <a:close/>
                  <a:moveTo>
                    <a:pt x="16" y="82"/>
                  </a:moveTo>
                  <a:cubicBezTo>
                    <a:pt x="13" y="82"/>
                    <a:pt x="10" y="81"/>
                    <a:pt x="8" y="79"/>
                  </a:cubicBezTo>
                  <a:cubicBezTo>
                    <a:pt x="3" y="74"/>
                    <a:pt x="0" y="66"/>
                    <a:pt x="0" y="58"/>
                  </a:cubicBezTo>
                  <a:cubicBezTo>
                    <a:pt x="0" y="51"/>
                    <a:pt x="3" y="43"/>
                    <a:pt x="8" y="38"/>
                  </a:cubicBezTo>
                  <a:cubicBezTo>
                    <a:pt x="35" y="11"/>
                    <a:pt x="35" y="11"/>
                    <a:pt x="35" y="11"/>
                  </a:cubicBezTo>
                  <a:cubicBezTo>
                    <a:pt x="46" y="0"/>
                    <a:pt x="65" y="0"/>
                    <a:pt x="76" y="11"/>
                  </a:cubicBezTo>
                  <a:cubicBezTo>
                    <a:pt x="80" y="15"/>
                    <a:pt x="80" y="22"/>
                    <a:pt x="76" y="26"/>
                  </a:cubicBezTo>
                  <a:cubicBezTo>
                    <a:pt x="72" y="31"/>
                    <a:pt x="65" y="31"/>
                    <a:pt x="61" y="26"/>
                  </a:cubicBezTo>
                  <a:cubicBezTo>
                    <a:pt x="58" y="23"/>
                    <a:pt x="53" y="23"/>
                    <a:pt x="50" y="26"/>
                  </a:cubicBezTo>
                  <a:cubicBezTo>
                    <a:pt x="23" y="53"/>
                    <a:pt x="23" y="53"/>
                    <a:pt x="23" y="53"/>
                  </a:cubicBezTo>
                  <a:cubicBezTo>
                    <a:pt x="22" y="54"/>
                    <a:pt x="21" y="56"/>
                    <a:pt x="21" y="58"/>
                  </a:cubicBezTo>
                  <a:cubicBezTo>
                    <a:pt x="21" y="61"/>
                    <a:pt x="22" y="63"/>
                    <a:pt x="23" y="64"/>
                  </a:cubicBezTo>
                  <a:cubicBezTo>
                    <a:pt x="28" y="68"/>
                    <a:pt x="28" y="75"/>
                    <a:pt x="23" y="79"/>
                  </a:cubicBezTo>
                  <a:cubicBezTo>
                    <a:pt x="21" y="81"/>
                    <a:pt x="19" y="82"/>
                    <a:pt x="16" y="82"/>
                  </a:cubicBezTo>
                  <a:close/>
                  <a:moveTo>
                    <a:pt x="266" y="58"/>
                  </a:moveTo>
                  <a:cubicBezTo>
                    <a:pt x="266" y="66"/>
                    <a:pt x="263" y="74"/>
                    <a:pt x="257" y="79"/>
                  </a:cubicBezTo>
                  <a:cubicBezTo>
                    <a:pt x="255" y="81"/>
                    <a:pt x="252" y="82"/>
                    <a:pt x="249" y="82"/>
                  </a:cubicBezTo>
                  <a:cubicBezTo>
                    <a:pt x="247" y="82"/>
                    <a:pt x="244" y="81"/>
                    <a:pt x="242" y="79"/>
                  </a:cubicBezTo>
                  <a:cubicBezTo>
                    <a:pt x="238" y="75"/>
                    <a:pt x="238" y="68"/>
                    <a:pt x="242" y="64"/>
                  </a:cubicBezTo>
                  <a:cubicBezTo>
                    <a:pt x="243" y="63"/>
                    <a:pt x="244" y="61"/>
                    <a:pt x="244" y="58"/>
                  </a:cubicBezTo>
                  <a:cubicBezTo>
                    <a:pt x="244" y="56"/>
                    <a:pt x="243" y="54"/>
                    <a:pt x="242" y="53"/>
                  </a:cubicBezTo>
                  <a:cubicBezTo>
                    <a:pt x="216" y="26"/>
                    <a:pt x="216" y="26"/>
                    <a:pt x="216" y="26"/>
                  </a:cubicBezTo>
                  <a:cubicBezTo>
                    <a:pt x="212" y="23"/>
                    <a:pt x="207" y="23"/>
                    <a:pt x="204" y="26"/>
                  </a:cubicBezTo>
                  <a:cubicBezTo>
                    <a:pt x="200" y="31"/>
                    <a:pt x="193" y="31"/>
                    <a:pt x="189" y="26"/>
                  </a:cubicBezTo>
                  <a:cubicBezTo>
                    <a:pt x="185" y="22"/>
                    <a:pt x="185" y="15"/>
                    <a:pt x="189" y="11"/>
                  </a:cubicBezTo>
                  <a:cubicBezTo>
                    <a:pt x="201" y="0"/>
                    <a:pt x="219" y="0"/>
                    <a:pt x="231" y="11"/>
                  </a:cubicBezTo>
                  <a:cubicBezTo>
                    <a:pt x="257" y="38"/>
                    <a:pt x="257" y="38"/>
                    <a:pt x="257" y="38"/>
                  </a:cubicBezTo>
                  <a:cubicBezTo>
                    <a:pt x="263" y="43"/>
                    <a:pt x="266" y="51"/>
                    <a:pt x="266" y="5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ea typeface="+mn-ea"/>
                <a:cs typeface="+mn-cs"/>
              </a:endParaRPr>
            </a:p>
          </p:txBody>
        </p:sp>
      </p:grpSp>
      <p:grpSp>
        <p:nvGrpSpPr>
          <p:cNvPr id="39" name="Group 735">
            <a:extLst>
              <a:ext uri="{FF2B5EF4-FFF2-40B4-BE49-F238E27FC236}">
                <a16:creationId xmlns:a16="http://schemas.microsoft.com/office/drawing/2014/main" id="{E187D92E-69B7-42E0-B948-F0EEA91AF802}"/>
              </a:ext>
            </a:extLst>
          </p:cNvPr>
          <p:cNvGrpSpPr>
            <a:grpSpLocks noChangeAspect="1"/>
          </p:cNvGrpSpPr>
          <p:nvPr/>
        </p:nvGrpSpPr>
        <p:grpSpPr bwMode="auto">
          <a:xfrm>
            <a:off x="6459632" y="1446401"/>
            <a:ext cx="367982" cy="369064"/>
            <a:chOff x="5238" y="3487"/>
            <a:chExt cx="340" cy="341"/>
          </a:xfrm>
          <a:solidFill>
            <a:schemeClr val="tx1"/>
          </a:solidFill>
        </p:grpSpPr>
        <p:sp>
          <p:nvSpPr>
            <p:cNvPr id="40" name="Freeform 736">
              <a:extLst>
                <a:ext uri="{FF2B5EF4-FFF2-40B4-BE49-F238E27FC236}">
                  <a16:creationId xmlns:a16="http://schemas.microsoft.com/office/drawing/2014/main" id="{DC52E43D-6EF0-4EB2-B328-B46A24585D9B}"/>
                </a:ext>
              </a:extLst>
            </p:cNvPr>
            <p:cNvSpPr>
              <a:spLocks/>
            </p:cNvSpPr>
            <p:nvPr/>
          </p:nvSpPr>
          <p:spPr bwMode="auto">
            <a:xfrm>
              <a:off x="5316" y="3650"/>
              <a:ext cx="184" cy="14"/>
            </a:xfrm>
            <a:custGeom>
              <a:avLst/>
              <a:gdLst>
                <a:gd name="T0" fmla="*/ 267 w 277"/>
                <a:gd name="T1" fmla="*/ 0 h 21"/>
                <a:gd name="T2" fmla="*/ 11 w 277"/>
                <a:gd name="T3" fmla="*/ 0 h 21"/>
                <a:gd name="T4" fmla="*/ 0 w 277"/>
                <a:gd name="T5" fmla="*/ 11 h 21"/>
                <a:gd name="T6" fmla="*/ 11 w 277"/>
                <a:gd name="T7" fmla="*/ 21 h 21"/>
                <a:gd name="T8" fmla="*/ 267 w 277"/>
                <a:gd name="T9" fmla="*/ 21 h 21"/>
                <a:gd name="T10" fmla="*/ 277 w 277"/>
                <a:gd name="T11" fmla="*/ 11 h 21"/>
                <a:gd name="T12" fmla="*/ 267 w 277"/>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77" h="21">
                  <a:moveTo>
                    <a:pt x="267" y="0"/>
                  </a:moveTo>
                  <a:cubicBezTo>
                    <a:pt x="11" y="0"/>
                    <a:pt x="11" y="0"/>
                    <a:pt x="11" y="0"/>
                  </a:cubicBezTo>
                  <a:cubicBezTo>
                    <a:pt x="5" y="0"/>
                    <a:pt x="0" y="5"/>
                    <a:pt x="0" y="11"/>
                  </a:cubicBezTo>
                  <a:cubicBezTo>
                    <a:pt x="0" y="17"/>
                    <a:pt x="5" y="21"/>
                    <a:pt x="11" y="21"/>
                  </a:cubicBezTo>
                  <a:cubicBezTo>
                    <a:pt x="267" y="21"/>
                    <a:pt x="267" y="21"/>
                    <a:pt x="267" y="21"/>
                  </a:cubicBezTo>
                  <a:cubicBezTo>
                    <a:pt x="273" y="21"/>
                    <a:pt x="277" y="17"/>
                    <a:pt x="277" y="11"/>
                  </a:cubicBezTo>
                  <a:cubicBezTo>
                    <a:pt x="277" y="5"/>
                    <a:pt x="273" y="0"/>
                    <a:pt x="26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ea typeface="+mn-ea"/>
                <a:cs typeface="+mn-cs"/>
              </a:endParaRPr>
            </a:p>
          </p:txBody>
        </p:sp>
        <p:sp>
          <p:nvSpPr>
            <p:cNvPr id="41" name="Freeform 737">
              <a:extLst>
                <a:ext uri="{FF2B5EF4-FFF2-40B4-BE49-F238E27FC236}">
                  <a16:creationId xmlns:a16="http://schemas.microsoft.com/office/drawing/2014/main" id="{31651BD2-C83A-4EF5-B563-B8E1FCC8E60C}"/>
                </a:ext>
              </a:extLst>
            </p:cNvPr>
            <p:cNvSpPr>
              <a:spLocks/>
            </p:cNvSpPr>
            <p:nvPr/>
          </p:nvSpPr>
          <p:spPr bwMode="auto">
            <a:xfrm>
              <a:off x="5316" y="3594"/>
              <a:ext cx="184" cy="14"/>
            </a:xfrm>
            <a:custGeom>
              <a:avLst/>
              <a:gdLst>
                <a:gd name="T0" fmla="*/ 11 w 277"/>
                <a:gd name="T1" fmla="*/ 21 h 21"/>
                <a:gd name="T2" fmla="*/ 267 w 277"/>
                <a:gd name="T3" fmla="*/ 21 h 21"/>
                <a:gd name="T4" fmla="*/ 277 w 277"/>
                <a:gd name="T5" fmla="*/ 10 h 21"/>
                <a:gd name="T6" fmla="*/ 267 w 277"/>
                <a:gd name="T7" fmla="*/ 0 h 21"/>
                <a:gd name="T8" fmla="*/ 11 w 277"/>
                <a:gd name="T9" fmla="*/ 0 h 21"/>
                <a:gd name="T10" fmla="*/ 0 w 277"/>
                <a:gd name="T11" fmla="*/ 10 h 21"/>
                <a:gd name="T12" fmla="*/ 11 w 277"/>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77" h="21">
                  <a:moveTo>
                    <a:pt x="11" y="21"/>
                  </a:moveTo>
                  <a:cubicBezTo>
                    <a:pt x="267" y="21"/>
                    <a:pt x="267" y="21"/>
                    <a:pt x="267" y="21"/>
                  </a:cubicBezTo>
                  <a:cubicBezTo>
                    <a:pt x="273" y="21"/>
                    <a:pt x="277" y="16"/>
                    <a:pt x="277" y="10"/>
                  </a:cubicBezTo>
                  <a:cubicBezTo>
                    <a:pt x="277" y="4"/>
                    <a:pt x="273" y="0"/>
                    <a:pt x="267"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ea typeface="+mn-ea"/>
                <a:cs typeface="+mn-cs"/>
              </a:endParaRPr>
            </a:p>
          </p:txBody>
        </p:sp>
        <p:sp>
          <p:nvSpPr>
            <p:cNvPr id="42" name="Freeform 738">
              <a:extLst>
                <a:ext uri="{FF2B5EF4-FFF2-40B4-BE49-F238E27FC236}">
                  <a16:creationId xmlns:a16="http://schemas.microsoft.com/office/drawing/2014/main" id="{1AD02C7E-DD8B-40B1-8074-05B09184555D}"/>
                </a:ext>
              </a:extLst>
            </p:cNvPr>
            <p:cNvSpPr>
              <a:spLocks/>
            </p:cNvSpPr>
            <p:nvPr/>
          </p:nvSpPr>
          <p:spPr bwMode="auto">
            <a:xfrm>
              <a:off x="5316" y="3707"/>
              <a:ext cx="184" cy="14"/>
            </a:xfrm>
            <a:custGeom>
              <a:avLst/>
              <a:gdLst>
                <a:gd name="T0" fmla="*/ 267 w 277"/>
                <a:gd name="T1" fmla="*/ 0 h 22"/>
                <a:gd name="T2" fmla="*/ 11 w 277"/>
                <a:gd name="T3" fmla="*/ 0 h 22"/>
                <a:gd name="T4" fmla="*/ 0 w 277"/>
                <a:gd name="T5" fmla="*/ 11 h 22"/>
                <a:gd name="T6" fmla="*/ 11 w 277"/>
                <a:gd name="T7" fmla="*/ 22 h 22"/>
                <a:gd name="T8" fmla="*/ 267 w 277"/>
                <a:gd name="T9" fmla="*/ 22 h 22"/>
                <a:gd name="T10" fmla="*/ 277 w 277"/>
                <a:gd name="T11" fmla="*/ 11 h 22"/>
                <a:gd name="T12" fmla="*/ 267 w 27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77" h="22">
                  <a:moveTo>
                    <a:pt x="267" y="0"/>
                  </a:moveTo>
                  <a:cubicBezTo>
                    <a:pt x="11" y="0"/>
                    <a:pt x="11" y="0"/>
                    <a:pt x="11" y="0"/>
                  </a:cubicBezTo>
                  <a:cubicBezTo>
                    <a:pt x="5" y="0"/>
                    <a:pt x="0" y="5"/>
                    <a:pt x="0" y="11"/>
                  </a:cubicBezTo>
                  <a:cubicBezTo>
                    <a:pt x="0" y="17"/>
                    <a:pt x="5" y="22"/>
                    <a:pt x="11" y="22"/>
                  </a:cubicBezTo>
                  <a:cubicBezTo>
                    <a:pt x="267" y="22"/>
                    <a:pt x="267" y="22"/>
                    <a:pt x="267" y="22"/>
                  </a:cubicBezTo>
                  <a:cubicBezTo>
                    <a:pt x="273" y="22"/>
                    <a:pt x="277" y="17"/>
                    <a:pt x="277" y="11"/>
                  </a:cubicBezTo>
                  <a:cubicBezTo>
                    <a:pt x="277" y="5"/>
                    <a:pt x="273" y="0"/>
                    <a:pt x="26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ea typeface="+mn-ea"/>
                <a:cs typeface="+mn-cs"/>
              </a:endParaRPr>
            </a:p>
          </p:txBody>
        </p:sp>
        <p:sp>
          <p:nvSpPr>
            <p:cNvPr id="43" name="Freeform 739">
              <a:extLst>
                <a:ext uri="{FF2B5EF4-FFF2-40B4-BE49-F238E27FC236}">
                  <a16:creationId xmlns:a16="http://schemas.microsoft.com/office/drawing/2014/main" id="{E82A0FDE-EA5F-4C6C-AC9F-77C28EF339B6}"/>
                </a:ext>
              </a:extLst>
            </p:cNvPr>
            <p:cNvSpPr>
              <a:spLocks noEditPoints="1"/>
            </p:cNvSpPr>
            <p:nvPr/>
          </p:nvSpPr>
          <p:spPr bwMode="auto">
            <a:xfrm>
              <a:off x="5238" y="348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ea typeface="+mn-ea"/>
                <a:cs typeface="+mn-cs"/>
              </a:endParaRPr>
            </a:p>
          </p:txBody>
        </p:sp>
      </p:grpSp>
      <p:grpSp>
        <p:nvGrpSpPr>
          <p:cNvPr id="44" name="Group 466">
            <a:extLst>
              <a:ext uri="{FF2B5EF4-FFF2-40B4-BE49-F238E27FC236}">
                <a16:creationId xmlns:a16="http://schemas.microsoft.com/office/drawing/2014/main" id="{BA939D4A-938E-4E9E-BFF3-C698C1EB4AC8}"/>
              </a:ext>
            </a:extLst>
          </p:cNvPr>
          <p:cNvGrpSpPr>
            <a:grpSpLocks noChangeAspect="1"/>
          </p:cNvGrpSpPr>
          <p:nvPr/>
        </p:nvGrpSpPr>
        <p:grpSpPr bwMode="auto">
          <a:xfrm>
            <a:off x="6459808" y="3836802"/>
            <a:ext cx="367631" cy="367631"/>
            <a:chOff x="6651" y="1616"/>
            <a:chExt cx="340" cy="340"/>
          </a:xfrm>
          <a:solidFill>
            <a:schemeClr val="tx1"/>
          </a:solidFill>
        </p:grpSpPr>
        <p:sp>
          <p:nvSpPr>
            <p:cNvPr id="45" name="Freeform 467">
              <a:extLst>
                <a:ext uri="{FF2B5EF4-FFF2-40B4-BE49-F238E27FC236}">
                  <a16:creationId xmlns:a16="http://schemas.microsoft.com/office/drawing/2014/main" id="{C82DDC70-D9E0-471F-A99B-0935F99AA6F6}"/>
                </a:ext>
              </a:extLst>
            </p:cNvPr>
            <p:cNvSpPr>
              <a:spLocks noEditPoints="1"/>
            </p:cNvSpPr>
            <p:nvPr/>
          </p:nvSpPr>
          <p:spPr bwMode="auto">
            <a:xfrm>
              <a:off x="6651" y="1616"/>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ea typeface="+mn-ea"/>
                <a:cs typeface="+mn-cs"/>
              </a:endParaRPr>
            </a:p>
          </p:txBody>
        </p:sp>
        <p:sp>
          <p:nvSpPr>
            <p:cNvPr id="46" name="Freeform 468">
              <a:extLst>
                <a:ext uri="{FF2B5EF4-FFF2-40B4-BE49-F238E27FC236}">
                  <a16:creationId xmlns:a16="http://schemas.microsoft.com/office/drawing/2014/main" id="{1D5AFF3F-B544-4166-9910-09307BDEC6EA}"/>
                </a:ext>
              </a:extLst>
            </p:cNvPr>
            <p:cNvSpPr>
              <a:spLocks noEditPoints="1"/>
            </p:cNvSpPr>
            <p:nvPr/>
          </p:nvSpPr>
          <p:spPr bwMode="auto">
            <a:xfrm>
              <a:off x="6736" y="1772"/>
              <a:ext cx="170" cy="29"/>
            </a:xfrm>
            <a:custGeom>
              <a:avLst/>
              <a:gdLst>
                <a:gd name="T0" fmla="*/ 128 w 256"/>
                <a:gd name="T1" fmla="*/ 43 h 43"/>
                <a:gd name="T2" fmla="*/ 107 w 256"/>
                <a:gd name="T3" fmla="*/ 21 h 43"/>
                <a:gd name="T4" fmla="*/ 128 w 256"/>
                <a:gd name="T5" fmla="*/ 0 h 43"/>
                <a:gd name="T6" fmla="*/ 149 w 256"/>
                <a:gd name="T7" fmla="*/ 21 h 43"/>
                <a:gd name="T8" fmla="*/ 128 w 256"/>
                <a:gd name="T9" fmla="*/ 43 h 43"/>
                <a:gd name="T10" fmla="*/ 256 w 256"/>
                <a:gd name="T11" fmla="*/ 21 h 43"/>
                <a:gd name="T12" fmla="*/ 235 w 256"/>
                <a:gd name="T13" fmla="*/ 0 h 43"/>
                <a:gd name="T14" fmla="*/ 213 w 256"/>
                <a:gd name="T15" fmla="*/ 21 h 43"/>
                <a:gd name="T16" fmla="*/ 235 w 256"/>
                <a:gd name="T17" fmla="*/ 43 h 43"/>
                <a:gd name="T18" fmla="*/ 256 w 256"/>
                <a:gd name="T19" fmla="*/ 21 h 43"/>
                <a:gd name="T20" fmla="*/ 43 w 256"/>
                <a:gd name="T21" fmla="*/ 21 h 43"/>
                <a:gd name="T22" fmla="*/ 21 w 256"/>
                <a:gd name="T23" fmla="*/ 0 h 43"/>
                <a:gd name="T24" fmla="*/ 0 w 256"/>
                <a:gd name="T25" fmla="*/ 21 h 43"/>
                <a:gd name="T26" fmla="*/ 21 w 256"/>
                <a:gd name="T27" fmla="*/ 43 h 43"/>
                <a:gd name="T28" fmla="*/ 43 w 256"/>
                <a:gd name="T29"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6" h="43">
                  <a:moveTo>
                    <a:pt x="128" y="43"/>
                  </a:moveTo>
                  <a:cubicBezTo>
                    <a:pt x="116" y="43"/>
                    <a:pt x="107" y="33"/>
                    <a:pt x="107" y="21"/>
                  </a:cubicBezTo>
                  <a:cubicBezTo>
                    <a:pt x="107" y="10"/>
                    <a:pt x="116" y="0"/>
                    <a:pt x="128" y="0"/>
                  </a:cubicBezTo>
                  <a:cubicBezTo>
                    <a:pt x="140" y="0"/>
                    <a:pt x="149" y="10"/>
                    <a:pt x="149" y="21"/>
                  </a:cubicBezTo>
                  <a:cubicBezTo>
                    <a:pt x="149" y="33"/>
                    <a:pt x="140" y="43"/>
                    <a:pt x="128" y="43"/>
                  </a:cubicBezTo>
                  <a:close/>
                  <a:moveTo>
                    <a:pt x="256" y="21"/>
                  </a:moveTo>
                  <a:cubicBezTo>
                    <a:pt x="256" y="10"/>
                    <a:pt x="246" y="0"/>
                    <a:pt x="235" y="0"/>
                  </a:cubicBezTo>
                  <a:cubicBezTo>
                    <a:pt x="223" y="0"/>
                    <a:pt x="213" y="10"/>
                    <a:pt x="213" y="21"/>
                  </a:cubicBezTo>
                  <a:cubicBezTo>
                    <a:pt x="213" y="33"/>
                    <a:pt x="223" y="43"/>
                    <a:pt x="235" y="43"/>
                  </a:cubicBezTo>
                  <a:cubicBezTo>
                    <a:pt x="246" y="43"/>
                    <a:pt x="256" y="33"/>
                    <a:pt x="256" y="21"/>
                  </a:cubicBezTo>
                  <a:close/>
                  <a:moveTo>
                    <a:pt x="43" y="21"/>
                  </a:moveTo>
                  <a:cubicBezTo>
                    <a:pt x="43" y="10"/>
                    <a:pt x="33" y="0"/>
                    <a:pt x="21" y="0"/>
                  </a:cubicBezTo>
                  <a:cubicBezTo>
                    <a:pt x="10" y="0"/>
                    <a:pt x="0" y="10"/>
                    <a:pt x="0" y="21"/>
                  </a:cubicBezTo>
                  <a:cubicBezTo>
                    <a:pt x="0" y="33"/>
                    <a:pt x="10" y="43"/>
                    <a:pt x="21" y="43"/>
                  </a:cubicBezTo>
                  <a:cubicBezTo>
                    <a:pt x="33" y="43"/>
                    <a:pt x="43" y="33"/>
                    <a:pt x="43"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ea typeface="+mn-ea"/>
                <a:cs typeface="+mn-cs"/>
              </a:endParaRPr>
            </a:p>
          </p:txBody>
        </p:sp>
      </p:grpSp>
      <p:grpSp>
        <p:nvGrpSpPr>
          <p:cNvPr id="47" name="Group 480">
            <a:extLst>
              <a:ext uri="{FF2B5EF4-FFF2-40B4-BE49-F238E27FC236}">
                <a16:creationId xmlns:a16="http://schemas.microsoft.com/office/drawing/2014/main" id="{435CD4BA-F296-47E2-A59E-24A14DB13A02}"/>
              </a:ext>
            </a:extLst>
          </p:cNvPr>
          <p:cNvGrpSpPr>
            <a:grpSpLocks noChangeAspect="1"/>
          </p:cNvGrpSpPr>
          <p:nvPr/>
        </p:nvGrpSpPr>
        <p:grpSpPr bwMode="auto">
          <a:xfrm>
            <a:off x="9934554" y="3837097"/>
            <a:ext cx="367041" cy="367041"/>
            <a:chOff x="1027" y="2077"/>
            <a:chExt cx="340" cy="340"/>
          </a:xfrm>
          <a:solidFill>
            <a:schemeClr val="tx1"/>
          </a:solidFill>
        </p:grpSpPr>
        <p:sp>
          <p:nvSpPr>
            <p:cNvPr id="48" name="Freeform 481">
              <a:extLst>
                <a:ext uri="{FF2B5EF4-FFF2-40B4-BE49-F238E27FC236}">
                  <a16:creationId xmlns:a16="http://schemas.microsoft.com/office/drawing/2014/main" id="{9EE97899-1E07-44C4-927B-0E04CA197A1E}"/>
                </a:ext>
              </a:extLst>
            </p:cNvPr>
            <p:cNvSpPr>
              <a:spLocks noEditPoints="1"/>
            </p:cNvSpPr>
            <p:nvPr/>
          </p:nvSpPr>
          <p:spPr bwMode="auto">
            <a:xfrm>
              <a:off x="1147" y="2141"/>
              <a:ext cx="99" cy="212"/>
            </a:xfrm>
            <a:custGeom>
              <a:avLst/>
              <a:gdLst>
                <a:gd name="T0" fmla="*/ 139 w 149"/>
                <a:gd name="T1" fmla="*/ 0 h 320"/>
                <a:gd name="T2" fmla="*/ 128 w 149"/>
                <a:gd name="T3" fmla="*/ 10 h 320"/>
                <a:gd name="T4" fmla="*/ 128 w 149"/>
                <a:gd name="T5" fmla="*/ 53 h 320"/>
                <a:gd name="T6" fmla="*/ 21 w 149"/>
                <a:gd name="T7" fmla="*/ 53 h 320"/>
                <a:gd name="T8" fmla="*/ 21 w 149"/>
                <a:gd name="T9" fmla="*/ 10 h 320"/>
                <a:gd name="T10" fmla="*/ 11 w 149"/>
                <a:gd name="T11" fmla="*/ 0 h 320"/>
                <a:gd name="T12" fmla="*/ 0 w 149"/>
                <a:gd name="T13" fmla="*/ 10 h 320"/>
                <a:gd name="T14" fmla="*/ 0 w 149"/>
                <a:gd name="T15" fmla="*/ 309 h 320"/>
                <a:gd name="T16" fmla="*/ 11 w 149"/>
                <a:gd name="T17" fmla="*/ 320 h 320"/>
                <a:gd name="T18" fmla="*/ 21 w 149"/>
                <a:gd name="T19" fmla="*/ 309 h 320"/>
                <a:gd name="T20" fmla="*/ 21 w 149"/>
                <a:gd name="T21" fmla="*/ 266 h 320"/>
                <a:gd name="T22" fmla="*/ 128 w 149"/>
                <a:gd name="T23" fmla="*/ 266 h 320"/>
                <a:gd name="T24" fmla="*/ 128 w 149"/>
                <a:gd name="T25" fmla="*/ 309 h 320"/>
                <a:gd name="T26" fmla="*/ 139 w 149"/>
                <a:gd name="T27" fmla="*/ 320 h 320"/>
                <a:gd name="T28" fmla="*/ 149 w 149"/>
                <a:gd name="T29" fmla="*/ 309 h 320"/>
                <a:gd name="T30" fmla="*/ 149 w 149"/>
                <a:gd name="T31" fmla="*/ 10 h 320"/>
                <a:gd name="T32" fmla="*/ 139 w 149"/>
                <a:gd name="T33" fmla="*/ 0 h 320"/>
                <a:gd name="T34" fmla="*/ 128 w 149"/>
                <a:gd name="T35" fmla="*/ 74 h 320"/>
                <a:gd name="T36" fmla="*/ 128 w 149"/>
                <a:gd name="T37" fmla="*/ 117 h 320"/>
                <a:gd name="T38" fmla="*/ 21 w 149"/>
                <a:gd name="T39" fmla="*/ 117 h 320"/>
                <a:gd name="T40" fmla="*/ 21 w 149"/>
                <a:gd name="T41" fmla="*/ 74 h 320"/>
                <a:gd name="T42" fmla="*/ 128 w 149"/>
                <a:gd name="T43" fmla="*/ 74 h 320"/>
                <a:gd name="T44" fmla="*/ 128 w 149"/>
                <a:gd name="T45" fmla="*/ 138 h 320"/>
                <a:gd name="T46" fmla="*/ 128 w 149"/>
                <a:gd name="T47" fmla="*/ 181 h 320"/>
                <a:gd name="T48" fmla="*/ 21 w 149"/>
                <a:gd name="T49" fmla="*/ 181 h 320"/>
                <a:gd name="T50" fmla="*/ 21 w 149"/>
                <a:gd name="T51" fmla="*/ 138 h 320"/>
                <a:gd name="T52" fmla="*/ 128 w 149"/>
                <a:gd name="T53" fmla="*/ 138 h 320"/>
                <a:gd name="T54" fmla="*/ 21 w 149"/>
                <a:gd name="T55" fmla="*/ 245 h 320"/>
                <a:gd name="T56" fmla="*/ 21 w 149"/>
                <a:gd name="T57" fmla="*/ 202 h 320"/>
                <a:gd name="T58" fmla="*/ 128 w 149"/>
                <a:gd name="T59" fmla="*/ 202 h 320"/>
                <a:gd name="T60" fmla="*/ 128 w 149"/>
                <a:gd name="T61" fmla="*/ 245 h 320"/>
                <a:gd name="T62" fmla="*/ 21 w 149"/>
                <a:gd name="T63" fmla="*/ 24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320">
                  <a:moveTo>
                    <a:pt x="139" y="0"/>
                  </a:moveTo>
                  <a:cubicBezTo>
                    <a:pt x="133" y="0"/>
                    <a:pt x="128" y="4"/>
                    <a:pt x="128" y="10"/>
                  </a:cubicBezTo>
                  <a:cubicBezTo>
                    <a:pt x="128" y="53"/>
                    <a:pt x="128" y="53"/>
                    <a:pt x="128" y="53"/>
                  </a:cubicBezTo>
                  <a:cubicBezTo>
                    <a:pt x="21" y="53"/>
                    <a:pt x="21" y="53"/>
                    <a:pt x="21" y="53"/>
                  </a:cubicBezTo>
                  <a:cubicBezTo>
                    <a:pt x="21" y="10"/>
                    <a:pt x="21" y="10"/>
                    <a:pt x="21" y="10"/>
                  </a:cubicBezTo>
                  <a:cubicBezTo>
                    <a:pt x="21" y="4"/>
                    <a:pt x="17" y="0"/>
                    <a:pt x="11" y="0"/>
                  </a:cubicBezTo>
                  <a:cubicBezTo>
                    <a:pt x="5" y="0"/>
                    <a:pt x="0" y="4"/>
                    <a:pt x="0" y="10"/>
                  </a:cubicBezTo>
                  <a:cubicBezTo>
                    <a:pt x="0" y="309"/>
                    <a:pt x="0" y="309"/>
                    <a:pt x="0" y="309"/>
                  </a:cubicBezTo>
                  <a:cubicBezTo>
                    <a:pt x="0" y="315"/>
                    <a:pt x="5" y="320"/>
                    <a:pt x="11" y="320"/>
                  </a:cubicBezTo>
                  <a:cubicBezTo>
                    <a:pt x="17" y="320"/>
                    <a:pt x="21" y="315"/>
                    <a:pt x="21" y="309"/>
                  </a:cubicBezTo>
                  <a:cubicBezTo>
                    <a:pt x="21" y="266"/>
                    <a:pt x="21" y="266"/>
                    <a:pt x="21" y="266"/>
                  </a:cubicBezTo>
                  <a:cubicBezTo>
                    <a:pt x="128" y="266"/>
                    <a:pt x="128" y="266"/>
                    <a:pt x="128" y="266"/>
                  </a:cubicBezTo>
                  <a:cubicBezTo>
                    <a:pt x="128" y="309"/>
                    <a:pt x="128" y="309"/>
                    <a:pt x="128" y="309"/>
                  </a:cubicBezTo>
                  <a:cubicBezTo>
                    <a:pt x="128" y="315"/>
                    <a:pt x="133" y="320"/>
                    <a:pt x="139" y="320"/>
                  </a:cubicBezTo>
                  <a:cubicBezTo>
                    <a:pt x="145" y="320"/>
                    <a:pt x="149" y="315"/>
                    <a:pt x="149" y="309"/>
                  </a:cubicBezTo>
                  <a:cubicBezTo>
                    <a:pt x="149" y="10"/>
                    <a:pt x="149" y="10"/>
                    <a:pt x="149" y="10"/>
                  </a:cubicBezTo>
                  <a:cubicBezTo>
                    <a:pt x="149" y="4"/>
                    <a:pt x="145" y="0"/>
                    <a:pt x="139" y="0"/>
                  </a:cubicBezTo>
                  <a:close/>
                  <a:moveTo>
                    <a:pt x="128" y="74"/>
                  </a:moveTo>
                  <a:cubicBezTo>
                    <a:pt x="128" y="117"/>
                    <a:pt x="128" y="117"/>
                    <a:pt x="128" y="117"/>
                  </a:cubicBezTo>
                  <a:cubicBezTo>
                    <a:pt x="21" y="117"/>
                    <a:pt x="21" y="117"/>
                    <a:pt x="21" y="117"/>
                  </a:cubicBezTo>
                  <a:cubicBezTo>
                    <a:pt x="21" y="74"/>
                    <a:pt x="21" y="74"/>
                    <a:pt x="21" y="74"/>
                  </a:cubicBezTo>
                  <a:lnTo>
                    <a:pt x="128" y="74"/>
                  </a:lnTo>
                  <a:close/>
                  <a:moveTo>
                    <a:pt x="128" y="138"/>
                  </a:moveTo>
                  <a:cubicBezTo>
                    <a:pt x="128" y="181"/>
                    <a:pt x="128" y="181"/>
                    <a:pt x="128" y="181"/>
                  </a:cubicBezTo>
                  <a:cubicBezTo>
                    <a:pt x="21" y="181"/>
                    <a:pt x="21" y="181"/>
                    <a:pt x="21" y="181"/>
                  </a:cubicBezTo>
                  <a:cubicBezTo>
                    <a:pt x="21" y="138"/>
                    <a:pt x="21" y="138"/>
                    <a:pt x="21" y="138"/>
                  </a:cubicBezTo>
                  <a:lnTo>
                    <a:pt x="128" y="138"/>
                  </a:lnTo>
                  <a:close/>
                  <a:moveTo>
                    <a:pt x="21" y="245"/>
                  </a:moveTo>
                  <a:cubicBezTo>
                    <a:pt x="21" y="202"/>
                    <a:pt x="21" y="202"/>
                    <a:pt x="21" y="202"/>
                  </a:cubicBezTo>
                  <a:cubicBezTo>
                    <a:pt x="128" y="202"/>
                    <a:pt x="128" y="202"/>
                    <a:pt x="128" y="202"/>
                  </a:cubicBezTo>
                  <a:cubicBezTo>
                    <a:pt x="128" y="245"/>
                    <a:pt x="128" y="245"/>
                    <a:pt x="128" y="245"/>
                  </a:cubicBezTo>
                  <a:lnTo>
                    <a:pt x="21" y="24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ea typeface="+mn-ea"/>
                <a:cs typeface="+mn-cs"/>
              </a:endParaRPr>
            </a:p>
          </p:txBody>
        </p:sp>
        <p:sp>
          <p:nvSpPr>
            <p:cNvPr id="49" name="Freeform 482">
              <a:extLst>
                <a:ext uri="{FF2B5EF4-FFF2-40B4-BE49-F238E27FC236}">
                  <a16:creationId xmlns:a16="http://schemas.microsoft.com/office/drawing/2014/main" id="{5C4776F6-FC06-48FA-9D1D-E7A70990CBC3}"/>
                </a:ext>
              </a:extLst>
            </p:cNvPr>
            <p:cNvSpPr>
              <a:spLocks noEditPoints="1"/>
            </p:cNvSpPr>
            <p:nvPr/>
          </p:nvSpPr>
          <p:spPr bwMode="auto">
            <a:xfrm>
              <a:off x="1027" y="207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ea typeface="+mn-ea"/>
                <a:cs typeface="+mn-cs"/>
              </a:endParaRPr>
            </a:p>
          </p:txBody>
        </p:sp>
      </p:grpSp>
      <p:grpSp>
        <p:nvGrpSpPr>
          <p:cNvPr id="50" name="Group 433">
            <a:extLst>
              <a:ext uri="{FF2B5EF4-FFF2-40B4-BE49-F238E27FC236}">
                <a16:creationId xmlns:a16="http://schemas.microsoft.com/office/drawing/2014/main" id="{8C9AC774-4051-484B-A637-3A441908476B}"/>
              </a:ext>
            </a:extLst>
          </p:cNvPr>
          <p:cNvGrpSpPr>
            <a:grpSpLocks noChangeAspect="1"/>
          </p:cNvGrpSpPr>
          <p:nvPr/>
        </p:nvGrpSpPr>
        <p:grpSpPr bwMode="auto">
          <a:xfrm>
            <a:off x="3248233" y="3837097"/>
            <a:ext cx="367041" cy="367041"/>
            <a:chOff x="4725" y="1820"/>
            <a:chExt cx="340" cy="340"/>
          </a:xfrm>
          <a:solidFill>
            <a:schemeClr val="tx1"/>
          </a:solidFill>
        </p:grpSpPr>
        <p:sp>
          <p:nvSpPr>
            <p:cNvPr id="51" name="Freeform 434">
              <a:extLst>
                <a:ext uri="{FF2B5EF4-FFF2-40B4-BE49-F238E27FC236}">
                  <a16:creationId xmlns:a16="http://schemas.microsoft.com/office/drawing/2014/main" id="{470C15CF-FF8D-4EF9-8DAA-9C0B08EB5125}"/>
                </a:ext>
              </a:extLst>
            </p:cNvPr>
            <p:cNvSpPr>
              <a:spLocks noEditPoints="1"/>
            </p:cNvSpPr>
            <p:nvPr/>
          </p:nvSpPr>
          <p:spPr bwMode="auto">
            <a:xfrm>
              <a:off x="4845" y="1884"/>
              <a:ext cx="100" cy="212"/>
            </a:xfrm>
            <a:custGeom>
              <a:avLst/>
              <a:gdLst>
                <a:gd name="T0" fmla="*/ 139 w 150"/>
                <a:gd name="T1" fmla="*/ 320 h 320"/>
                <a:gd name="T2" fmla="*/ 11 w 150"/>
                <a:gd name="T3" fmla="*/ 320 h 320"/>
                <a:gd name="T4" fmla="*/ 0 w 150"/>
                <a:gd name="T5" fmla="*/ 310 h 320"/>
                <a:gd name="T6" fmla="*/ 0 w 150"/>
                <a:gd name="T7" fmla="*/ 267 h 320"/>
                <a:gd name="T8" fmla="*/ 11 w 150"/>
                <a:gd name="T9" fmla="*/ 256 h 320"/>
                <a:gd name="T10" fmla="*/ 43 w 150"/>
                <a:gd name="T11" fmla="*/ 256 h 320"/>
                <a:gd name="T12" fmla="*/ 43 w 150"/>
                <a:gd name="T13" fmla="*/ 171 h 320"/>
                <a:gd name="T14" fmla="*/ 22 w 150"/>
                <a:gd name="T15" fmla="*/ 171 h 320"/>
                <a:gd name="T16" fmla="*/ 11 w 150"/>
                <a:gd name="T17" fmla="*/ 160 h 320"/>
                <a:gd name="T18" fmla="*/ 11 w 150"/>
                <a:gd name="T19" fmla="*/ 118 h 320"/>
                <a:gd name="T20" fmla="*/ 22 w 150"/>
                <a:gd name="T21" fmla="*/ 107 h 320"/>
                <a:gd name="T22" fmla="*/ 96 w 150"/>
                <a:gd name="T23" fmla="*/ 107 h 320"/>
                <a:gd name="T24" fmla="*/ 107 w 150"/>
                <a:gd name="T25" fmla="*/ 118 h 320"/>
                <a:gd name="T26" fmla="*/ 107 w 150"/>
                <a:gd name="T27" fmla="*/ 256 h 320"/>
                <a:gd name="T28" fmla="*/ 139 w 150"/>
                <a:gd name="T29" fmla="*/ 256 h 320"/>
                <a:gd name="T30" fmla="*/ 150 w 150"/>
                <a:gd name="T31" fmla="*/ 267 h 320"/>
                <a:gd name="T32" fmla="*/ 150 w 150"/>
                <a:gd name="T33" fmla="*/ 310 h 320"/>
                <a:gd name="T34" fmla="*/ 139 w 150"/>
                <a:gd name="T35" fmla="*/ 320 h 320"/>
                <a:gd name="T36" fmla="*/ 22 w 150"/>
                <a:gd name="T37" fmla="*/ 299 h 320"/>
                <a:gd name="T38" fmla="*/ 128 w 150"/>
                <a:gd name="T39" fmla="*/ 299 h 320"/>
                <a:gd name="T40" fmla="*/ 128 w 150"/>
                <a:gd name="T41" fmla="*/ 278 h 320"/>
                <a:gd name="T42" fmla="*/ 96 w 150"/>
                <a:gd name="T43" fmla="*/ 278 h 320"/>
                <a:gd name="T44" fmla="*/ 86 w 150"/>
                <a:gd name="T45" fmla="*/ 267 h 320"/>
                <a:gd name="T46" fmla="*/ 86 w 150"/>
                <a:gd name="T47" fmla="*/ 128 h 320"/>
                <a:gd name="T48" fmla="*/ 32 w 150"/>
                <a:gd name="T49" fmla="*/ 128 h 320"/>
                <a:gd name="T50" fmla="*/ 32 w 150"/>
                <a:gd name="T51" fmla="*/ 150 h 320"/>
                <a:gd name="T52" fmla="*/ 54 w 150"/>
                <a:gd name="T53" fmla="*/ 150 h 320"/>
                <a:gd name="T54" fmla="*/ 64 w 150"/>
                <a:gd name="T55" fmla="*/ 160 h 320"/>
                <a:gd name="T56" fmla="*/ 64 w 150"/>
                <a:gd name="T57" fmla="*/ 267 h 320"/>
                <a:gd name="T58" fmla="*/ 54 w 150"/>
                <a:gd name="T59" fmla="*/ 278 h 320"/>
                <a:gd name="T60" fmla="*/ 22 w 150"/>
                <a:gd name="T61" fmla="*/ 278 h 320"/>
                <a:gd name="T62" fmla="*/ 22 w 150"/>
                <a:gd name="T63" fmla="*/ 299 h 320"/>
                <a:gd name="T64" fmla="*/ 75 w 150"/>
                <a:gd name="T65" fmla="*/ 86 h 320"/>
                <a:gd name="T66" fmla="*/ 32 w 150"/>
                <a:gd name="T67" fmla="*/ 43 h 320"/>
                <a:gd name="T68" fmla="*/ 75 w 150"/>
                <a:gd name="T69" fmla="*/ 0 h 320"/>
                <a:gd name="T70" fmla="*/ 118 w 150"/>
                <a:gd name="T71" fmla="*/ 43 h 320"/>
                <a:gd name="T72" fmla="*/ 75 w 150"/>
                <a:gd name="T73" fmla="*/ 86 h 320"/>
                <a:gd name="T74" fmla="*/ 75 w 150"/>
                <a:gd name="T75" fmla="*/ 22 h 320"/>
                <a:gd name="T76" fmla="*/ 54 w 150"/>
                <a:gd name="T77" fmla="*/ 43 h 320"/>
                <a:gd name="T78" fmla="*/ 75 w 150"/>
                <a:gd name="T79" fmla="*/ 64 h 320"/>
                <a:gd name="T80" fmla="*/ 96 w 150"/>
                <a:gd name="T81" fmla="*/ 43 h 320"/>
                <a:gd name="T82" fmla="*/ 75 w 150"/>
                <a:gd name="T83" fmla="*/ 2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320">
                  <a:moveTo>
                    <a:pt x="139" y="320"/>
                  </a:moveTo>
                  <a:cubicBezTo>
                    <a:pt x="11" y="320"/>
                    <a:pt x="11" y="320"/>
                    <a:pt x="11" y="320"/>
                  </a:cubicBezTo>
                  <a:cubicBezTo>
                    <a:pt x="5" y="320"/>
                    <a:pt x="0" y="316"/>
                    <a:pt x="0" y="310"/>
                  </a:cubicBezTo>
                  <a:cubicBezTo>
                    <a:pt x="0" y="267"/>
                    <a:pt x="0" y="267"/>
                    <a:pt x="0" y="267"/>
                  </a:cubicBezTo>
                  <a:cubicBezTo>
                    <a:pt x="0" y="261"/>
                    <a:pt x="5" y="256"/>
                    <a:pt x="11" y="256"/>
                  </a:cubicBezTo>
                  <a:cubicBezTo>
                    <a:pt x="43" y="256"/>
                    <a:pt x="43" y="256"/>
                    <a:pt x="43" y="256"/>
                  </a:cubicBezTo>
                  <a:cubicBezTo>
                    <a:pt x="43" y="171"/>
                    <a:pt x="43" y="171"/>
                    <a:pt x="43" y="171"/>
                  </a:cubicBezTo>
                  <a:cubicBezTo>
                    <a:pt x="22" y="171"/>
                    <a:pt x="22" y="171"/>
                    <a:pt x="22" y="171"/>
                  </a:cubicBezTo>
                  <a:cubicBezTo>
                    <a:pt x="16" y="171"/>
                    <a:pt x="11" y="166"/>
                    <a:pt x="11" y="160"/>
                  </a:cubicBezTo>
                  <a:cubicBezTo>
                    <a:pt x="11" y="118"/>
                    <a:pt x="11" y="118"/>
                    <a:pt x="11" y="118"/>
                  </a:cubicBezTo>
                  <a:cubicBezTo>
                    <a:pt x="11" y="112"/>
                    <a:pt x="16" y="107"/>
                    <a:pt x="22" y="107"/>
                  </a:cubicBezTo>
                  <a:cubicBezTo>
                    <a:pt x="96" y="107"/>
                    <a:pt x="96" y="107"/>
                    <a:pt x="96" y="107"/>
                  </a:cubicBezTo>
                  <a:cubicBezTo>
                    <a:pt x="102" y="107"/>
                    <a:pt x="107" y="112"/>
                    <a:pt x="107" y="118"/>
                  </a:cubicBezTo>
                  <a:cubicBezTo>
                    <a:pt x="107" y="256"/>
                    <a:pt x="107" y="256"/>
                    <a:pt x="107" y="256"/>
                  </a:cubicBezTo>
                  <a:cubicBezTo>
                    <a:pt x="139" y="256"/>
                    <a:pt x="139" y="256"/>
                    <a:pt x="139" y="256"/>
                  </a:cubicBezTo>
                  <a:cubicBezTo>
                    <a:pt x="145" y="256"/>
                    <a:pt x="150" y="261"/>
                    <a:pt x="150" y="267"/>
                  </a:cubicBezTo>
                  <a:cubicBezTo>
                    <a:pt x="150" y="310"/>
                    <a:pt x="150" y="310"/>
                    <a:pt x="150" y="310"/>
                  </a:cubicBezTo>
                  <a:cubicBezTo>
                    <a:pt x="150" y="316"/>
                    <a:pt x="145" y="320"/>
                    <a:pt x="139" y="320"/>
                  </a:cubicBezTo>
                  <a:close/>
                  <a:moveTo>
                    <a:pt x="22" y="299"/>
                  </a:moveTo>
                  <a:cubicBezTo>
                    <a:pt x="128" y="299"/>
                    <a:pt x="128" y="299"/>
                    <a:pt x="128" y="299"/>
                  </a:cubicBezTo>
                  <a:cubicBezTo>
                    <a:pt x="128" y="278"/>
                    <a:pt x="128" y="278"/>
                    <a:pt x="128" y="278"/>
                  </a:cubicBezTo>
                  <a:cubicBezTo>
                    <a:pt x="96" y="278"/>
                    <a:pt x="96" y="278"/>
                    <a:pt x="96" y="278"/>
                  </a:cubicBezTo>
                  <a:cubicBezTo>
                    <a:pt x="90" y="278"/>
                    <a:pt x="86" y="273"/>
                    <a:pt x="86" y="267"/>
                  </a:cubicBezTo>
                  <a:cubicBezTo>
                    <a:pt x="86" y="128"/>
                    <a:pt x="86" y="128"/>
                    <a:pt x="86" y="128"/>
                  </a:cubicBezTo>
                  <a:cubicBezTo>
                    <a:pt x="32" y="128"/>
                    <a:pt x="32" y="128"/>
                    <a:pt x="32" y="128"/>
                  </a:cubicBezTo>
                  <a:cubicBezTo>
                    <a:pt x="32" y="150"/>
                    <a:pt x="32" y="150"/>
                    <a:pt x="32" y="150"/>
                  </a:cubicBezTo>
                  <a:cubicBezTo>
                    <a:pt x="54" y="150"/>
                    <a:pt x="54" y="150"/>
                    <a:pt x="54" y="150"/>
                  </a:cubicBezTo>
                  <a:cubicBezTo>
                    <a:pt x="60" y="150"/>
                    <a:pt x="64" y="154"/>
                    <a:pt x="64" y="160"/>
                  </a:cubicBezTo>
                  <a:cubicBezTo>
                    <a:pt x="64" y="267"/>
                    <a:pt x="64" y="267"/>
                    <a:pt x="64" y="267"/>
                  </a:cubicBezTo>
                  <a:cubicBezTo>
                    <a:pt x="64" y="273"/>
                    <a:pt x="60" y="278"/>
                    <a:pt x="54" y="278"/>
                  </a:cubicBezTo>
                  <a:cubicBezTo>
                    <a:pt x="22" y="278"/>
                    <a:pt x="22" y="278"/>
                    <a:pt x="22" y="278"/>
                  </a:cubicBezTo>
                  <a:lnTo>
                    <a:pt x="22" y="299"/>
                  </a:lnTo>
                  <a:close/>
                  <a:moveTo>
                    <a:pt x="75" y="86"/>
                  </a:moveTo>
                  <a:cubicBezTo>
                    <a:pt x="51" y="86"/>
                    <a:pt x="32" y="67"/>
                    <a:pt x="32" y="43"/>
                  </a:cubicBezTo>
                  <a:cubicBezTo>
                    <a:pt x="32" y="19"/>
                    <a:pt x="51" y="0"/>
                    <a:pt x="75" y="0"/>
                  </a:cubicBezTo>
                  <a:cubicBezTo>
                    <a:pt x="99" y="0"/>
                    <a:pt x="118" y="19"/>
                    <a:pt x="118" y="43"/>
                  </a:cubicBezTo>
                  <a:cubicBezTo>
                    <a:pt x="118" y="67"/>
                    <a:pt x="99" y="86"/>
                    <a:pt x="75" y="86"/>
                  </a:cubicBezTo>
                  <a:close/>
                  <a:moveTo>
                    <a:pt x="75" y="22"/>
                  </a:moveTo>
                  <a:cubicBezTo>
                    <a:pt x="63" y="22"/>
                    <a:pt x="54" y="31"/>
                    <a:pt x="54" y="43"/>
                  </a:cubicBezTo>
                  <a:cubicBezTo>
                    <a:pt x="54" y="55"/>
                    <a:pt x="63" y="64"/>
                    <a:pt x="75" y="64"/>
                  </a:cubicBezTo>
                  <a:cubicBezTo>
                    <a:pt x="87" y="64"/>
                    <a:pt x="96" y="55"/>
                    <a:pt x="96" y="43"/>
                  </a:cubicBezTo>
                  <a:cubicBezTo>
                    <a:pt x="96" y="31"/>
                    <a:pt x="87" y="22"/>
                    <a:pt x="75"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ea typeface="+mn-ea"/>
                <a:cs typeface="+mn-cs"/>
              </a:endParaRPr>
            </a:p>
          </p:txBody>
        </p:sp>
        <p:sp>
          <p:nvSpPr>
            <p:cNvPr id="52" name="Freeform 435">
              <a:extLst>
                <a:ext uri="{FF2B5EF4-FFF2-40B4-BE49-F238E27FC236}">
                  <a16:creationId xmlns:a16="http://schemas.microsoft.com/office/drawing/2014/main" id="{FB285294-8A8F-4ACE-98E0-D8BFB2E08084}"/>
                </a:ext>
              </a:extLst>
            </p:cNvPr>
            <p:cNvSpPr>
              <a:spLocks noEditPoints="1"/>
            </p:cNvSpPr>
            <p:nvPr/>
          </p:nvSpPr>
          <p:spPr bwMode="auto">
            <a:xfrm>
              <a:off x="4725" y="1820"/>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ea typeface="+mn-ea"/>
                <a:cs typeface="+mn-cs"/>
              </a:endParaRPr>
            </a:p>
          </p:txBody>
        </p:sp>
      </p:grpSp>
      <p:grpSp>
        <p:nvGrpSpPr>
          <p:cNvPr id="53" name="Group 776">
            <a:extLst>
              <a:ext uri="{FF2B5EF4-FFF2-40B4-BE49-F238E27FC236}">
                <a16:creationId xmlns:a16="http://schemas.microsoft.com/office/drawing/2014/main" id="{C199A51E-B093-447F-916B-C00A3FE187A5}"/>
              </a:ext>
            </a:extLst>
          </p:cNvPr>
          <p:cNvGrpSpPr>
            <a:grpSpLocks noChangeAspect="1"/>
          </p:cNvGrpSpPr>
          <p:nvPr/>
        </p:nvGrpSpPr>
        <p:grpSpPr bwMode="auto">
          <a:xfrm>
            <a:off x="3246050" y="1447378"/>
            <a:ext cx="367631" cy="367631"/>
            <a:chOff x="6852" y="3483"/>
            <a:chExt cx="340" cy="340"/>
          </a:xfrm>
          <a:solidFill>
            <a:schemeClr val="tx1"/>
          </a:solidFill>
        </p:grpSpPr>
        <p:sp>
          <p:nvSpPr>
            <p:cNvPr id="54" name="Freeform 777">
              <a:extLst>
                <a:ext uri="{FF2B5EF4-FFF2-40B4-BE49-F238E27FC236}">
                  <a16:creationId xmlns:a16="http://schemas.microsoft.com/office/drawing/2014/main" id="{DE6CA6A4-4C8E-4754-BEB0-DEB96E8011C0}"/>
                </a:ext>
              </a:extLst>
            </p:cNvPr>
            <p:cNvSpPr>
              <a:spLocks noEditPoints="1"/>
            </p:cNvSpPr>
            <p:nvPr/>
          </p:nvSpPr>
          <p:spPr bwMode="auto">
            <a:xfrm>
              <a:off x="6852" y="34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ea typeface="+mn-ea"/>
                <a:cs typeface="+mn-cs"/>
              </a:endParaRPr>
            </a:p>
          </p:txBody>
        </p:sp>
        <p:sp>
          <p:nvSpPr>
            <p:cNvPr id="55" name="Freeform 778">
              <a:extLst>
                <a:ext uri="{FF2B5EF4-FFF2-40B4-BE49-F238E27FC236}">
                  <a16:creationId xmlns:a16="http://schemas.microsoft.com/office/drawing/2014/main" id="{D8CAD4B2-27EA-4886-8DCA-1C4F520C2645}"/>
                </a:ext>
              </a:extLst>
            </p:cNvPr>
            <p:cNvSpPr>
              <a:spLocks noEditPoints="1"/>
            </p:cNvSpPr>
            <p:nvPr/>
          </p:nvSpPr>
          <p:spPr bwMode="auto">
            <a:xfrm>
              <a:off x="6915" y="3575"/>
              <a:ext cx="214" cy="184"/>
            </a:xfrm>
            <a:custGeom>
              <a:avLst/>
              <a:gdLst>
                <a:gd name="T0" fmla="*/ 139 w 322"/>
                <a:gd name="T1" fmla="*/ 278 h 278"/>
                <a:gd name="T2" fmla="*/ 135 w 322"/>
                <a:gd name="T3" fmla="*/ 277 h 278"/>
                <a:gd name="T4" fmla="*/ 129 w 322"/>
                <a:gd name="T5" fmla="*/ 267 h 278"/>
                <a:gd name="T6" fmla="*/ 129 w 322"/>
                <a:gd name="T7" fmla="*/ 123 h 278"/>
                <a:gd name="T8" fmla="*/ 5 w 322"/>
                <a:gd name="T9" fmla="*/ 19 h 278"/>
                <a:gd name="T10" fmla="*/ 1 w 322"/>
                <a:gd name="T11" fmla="*/ 7 h 278"/>
                <a:gd name="T12" fmla="*/ 11 w 322"/>
                <a:gd name="T13" fmla="*/ 0 h 278"/>
                <a:gd name="T14" fmla="*/ 310 w 322"/>
                <a:gd name="T15" fmla="*/ 0 h 278"/>
                <a:gd name="T16" fmla="*/ 320 w 322"/>
                <a:gd name="T17" fmla="*/ 7 h 278"/>
                <a:gd name="T18" fmla="*/ 317 w 322"/>
                <a:gd name="T19" fmla="*/ 19 h 278"/>
                <a:gd name="T20" fmla="*/ 193 w 322"/>
                <a:gd name="T21" fmla="*/ 123 h 278"/>
                <a:gd name="T22" fmla="*/ 193 w 322"/>
                <a:gd name="T23" fmla="*/ 235 h 278"/>
                <a:gd name="T24" fmla="*/ 188 w 322"/>
                <a:gd name="T25" fmla="*/ 244 h 278"/>
                <a:gd name="T26" fmla="*/ 146 w 322"/>
                <a:gd name="T27" fmla="*/ 276 h 278"/>
                <a:gd name="T28" fmla="*/ 139 w 322"/>
                <a:gd name="T29" fmla="*/ 278 h 278"/>
                <a:gd name="T30" fmla="*/ 41 w 322"/>
                <a:gd name="T31" fmla="*/ 22 h 278"/>
                <a:gd name="T32" fmla="*/ 146 w 322"/>
                <a:gd name="T33" fmla="*/ 109 h 278"/>
                <a:gd name="T34" fmla="*/ 150 w 322"/>
                <a:gd name="T35" fmla="*/ 118 h 278"/>
                <a:gd name="T36" fmla="*/ 150 w 322"/>
                <a:gd name="T37" fmla="*/ 246 h 278"/>
                <a:gd name="T38" fmla="*/ 171 w 322"/>
                <a:gd name="T39" fmla="*/ 230 h 278"/>
                <a:gd name="T40" fmla="*/ 171 w 322"/>
                <a:gd name="T41" fmla="*/ 118 h 278"/>
                <a:gd name="T42" fmla="*/ 175 w 322"/>
                <a:gd name="T43" fmla="*/ 109 h 278"/>
                <a:gd name="T44" fmla="*/ 281 w 322"/>
                <a:gd name="T45" fmla="*/ 22 h 278"/>
                <a:gd name="T46" fmla="*/ 41 w 322"/>
                <a:gd name="T47" fmla="*/ 2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2" h="278">
                  <a:moveTo>
                    <a:pt x="139" y="278"/>
                  </a:moveTo>
                  <a:cubicBezTo>
                    <a:pt x="138" y="278"/>
                    <a:pt x="136" y="277"/>
                    <a:pt x="135" y="277"/>
                  </a:cubicBezTo>
                  <a:cubicBezTo>
                    <a:pt x="131" y="275"/>
                    <a:pt x="129" y="271"/>
                    <a:pt x="129" y="267"/>
                  </a:cubicBezTo>
                  <a:cubicBezTo>
                    <a:pt x="129" y="123"/>
                    <a:pt x="129" y="123"/>
                    <a:pt x="129" y="123"/>
                  </a:cubicBezTo>
                  <a:cubicBezTo>
                    <a:pt x="5" y="19"/>
                    <a:pt x="5" y="19"/>
                    <a:pt x="5" y="19"/>
                  </a:cubicBezTo>
                  <a:cubicBezTo>
                    <a:pt x="1" y="16"/>
                    <a:pt x="0" y="12"/>
                    <a:pt x="1" y="7"/>
                  </a:cubicBezTo>
                  <a:cubicBezTo>
                    <a:pt x="3" y="3"/>
                    <a:pt x="7" y="0"/>
                    <a:pt x="11" y="0"/>
                  </a:cubicBezTo>
                  <a:cubicBezTo>
                    <a:pt x="310" y="0"/>
                    <a:pt x="310" y="0"/>
                    <a:pt x="310" y="0"/>
                  </a:cubicBezTo>
                  <a:cubicBezTo>
                    <a:pt x="314" y="0"/>
                    <a:pt x="319" y="3"/>
                    <a:pt x="320" y="7"/>
                  </a:cubicBezTo>
                  <a:cubicBezTo>
                    <a:pt x="322" y="12"/>
                    <a:pt x="320" y="16"/>
                    <a:pt x="317" y="19"/>
                  </a:cubicBezTo>
                  <a:cubicBezTo>
                    <a:pt x="193" y="123"/>
                    <a:pt x="193" y="123"/>
                    <a:pt x="193" y="123"/>
                  </a:cubicBezTo>
                  <a:cubicBezTo>
                    <a:pt x="193" y="235"/>
                    <a:pt x="193" y="235"/>
                    <a:pt x="193" y="235"/>
                  </a:cubicBezTo>
                  <a:cubicBezTo>
                    <a:pt x="193" y="238"/>
                    <a:pt x="191" y="242"/>
                    <a:pt x="188" y="244"/>
                  </a:cubicBezTo>
                  <a:cubicBezTo>
                    <a:pt x="146" y="276"/>
                    <a:pt x="146" y="276"/>
                    <a:pt x="146" y="276"/>
                  </a:cubicBezTo>
                  <a:cubicBezTo>
                    <a:pt x="144" y="277"/>
                    <a:pt x="142" y="278"/>
                    <a:pt x="139" y="278"/>
                  </a:cubicBezTo>
                  <a:close/>
                  <a:moveTo>
                    <a:pt x="41" y="22"/>
                  </a:moveTo>
                  <a:cubicBezTo>
                    <a:pt x="146" y="109"/>
                    <a:pt x="146" y="109"/>
                    <a:pt x="146" y="109"/>
                  </a:cubicBezTo>
                  <a:cubicBezTo>
                    <a:pt x="149" y="112"/>
                    <a:pt x="150" y="115"/>
                    <a:pt x="150" y="118"/>
                  </a:cubicBezTo>
                  <a:cubicBezTo>
                    <a:pt x="150" y="246"/>
                    <a:pt x="150" y="246"/>
                    <a:pt x="150" y="246"/>
                  </a:cubicBezTo>
                  <a:cubicBezTo>
                    <a:pt x="171" y="230"/>
                    <a:pt x="171" y="230"/>
                    <a:pt x="171" y="230"/>
                  </a:cubicBezTo>
                  <a:cubicBezTo>
                    <a:pt x="171" y="118"/>
                    <a:pt x="171" y="118"/>
                    <a:pt x="171" y="118"/>
                  </a:cubicBezTo>
                  <a:cubicBezTo>
                    <a:pt x="171" y="115"/>
                    <a:pt x="173" y="112"/>
                    <a:pt x="175" y="109"/>
                  </a:cubicBezTo>
                  <a:cubicBezTo>
                    <a:pt x="281" y="22"/>
                    <a:pt x="281" y="22"/>
                    <a:pt x="281" y="22"/>
                  </a:cubicBezTo>
                  <a:lnTo>
                    <a:pt x="41"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ea typeface="+mn-ea"/>
                <a:cs typeface="+mn-cs"/>
              </a:endParaRPr>
            </a:p>
          </p:txBody>
        </p:sp>
      </p:grpSp>
      <p:cxnSp>
        <p:nvCxnSpPr>
          <p:cNvPr id="56" name="Straight Connector 55">
            <a:extLst>
              <a:ext uri="{FF2B5EF4-FFF2-40B4-BE49-F238E27FC236}">
                <a16:creationId xmlns:a16="http://schemas.microsoft.com/office/drawing/2014/main" id="{B196EFCE-BABD-4D58-AE22-060EB841E4A3}"/>
              </a:ext>
            </a:extLst>
          </p:cNvPr>
          <p:cNvCxnSpPr>
            <a:cxnSpLocks/>
          </p:cNvCxnSpPr>
          <p:nvPr/>
        </p:nvCxnSpPr>
        <p:spPr>
          <a:xfrm>
            <a:off x="1905919" y="3007244"/>
            <a:ext cx="0" cy="629143"/>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11E668D2-05F3-4336-83CC-2EFAB9A4FB0E}"/>
              </a:ext>
            </a:extLst>
          </p:cNvPr>
          <p:cNvCxnSpPr>
            <a:cxnSpLocks/>
          </p:cNvCxnSpPr>
          <p:nvPr/>
        </p:nvCxnSpPr>
        <p:spPr>
          <a:xfrm>
            <a:off x="1905919" y="4843543"/>
            <a:ext cx="0" cy="629143"/>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C50AAC2F-F739-4B80-A912-BBB65324F089}"/>
              </a:ext>
            </a:extLst>
          </p:cNvPr>
          <p:cNvCxnSpPr>
            <a:cxnSpLocks/>
          </p:cNvCxnSpPr>
          <p:nvPr/>
        </p:nvCxnSpPr>
        <p:spPr>
          <a:xfrm>
            <a:off x="1905919" y="5721451"/>
            <a:ext cx="0" cy="629143"/>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458251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63EEC43-2109-427B-9A93-01C453408F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0" name="think-cell Slide" r:id="rId6" imgW="415" imgH="416" progId="TCLayout.ActiveDocument.1">
                  <p:embed/>
                </p:oleObj>
              </mc:Choice>
              <mc:Fallback>
                <p:oleObj name="think-cell Slide" r:id="rId6" imgW="415" imgH="416" progId="TCLayout.ActiveDocument.1">
                  <p:embed/>
                  <p:pic>
                    <p:nvPicPr>
                      <p:cNvPr id="6" name="Object 5" hidden="1">
                        <a:extLst>
                          <a:ext uri="{FF2B5EF4-FFF2-40B4-BE49-F238E27FC236}">
                            <a16:creationId xmlns:a16="http://schemas.microsoft.com/office/drawing/2014/main" id="{E63EEC43-2109-427B-9A93-01C453408F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671B3AF-511F-4626-9B85-610CF4B129D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800" b="1"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0552C025-CF30-419B-9666-152F4B1732DD}"/>
              </a:ext>
            </a:extLst>
          </p:cNvPr>
          <p:cNvSpPr>
            <a:spLocks noGrp="1"/>
          </p:cNvSpPr>
          <p:nvPr>
            <p:ph type="title"/>
          </p:nvPr>
        </p:nvSpPr>
        <p:spPr/>
        <p:txBody>
          <a:bodyPr/>
          <a:lstStyle/>
          <a:p>
            <a:r>
              <a:rPr lang="en-US" sz="2800" b="1" dirty="0">
                <a:latin typeface="Chronicle Display Black" pitchFamily="2" charset="0"/>
              </a:rPr>
              <a:t>Several retailers developed unique and creative strategies to attract consumers</a:t>
            </a:r>
            <a:endParaRPr lang="en-US" sz="2800" dirty="0"/>
          </a:p>
        </p:txBody>
      </p:sp>
      <p:sp>
        <p:nvSpPr>
          <p:cNvPr id="4" name="Text Placeholder 3">
            <a:extLst>
              <a:ext uri="{FF2B5EF4-FFF2-40B4-BE49-F238E27FC236}">
                <a16:creationId xmlns:a16="http://schemas.microsoft.com/office/drawing/2014/main" id="{CDAF0975-7A84-495F-8D69-2E6988551E6C}"/>
              </a:ext>
            </a:extLst>
          </p:cNvPr>
          <p:cNvSpPr>
            <a:spLocks noGrp="1"/>
          </p:cNvSpPr>
          <p:nvPr>
            <p:ph type="body" sz="quarter" idx="16"/>
          </p:nvPr>
        </p:nvSpPr>
        <p:spPr/>
        <p:txBody>
          <a:bodyPr/>
          <a:lstStyle/>
          <a:p>
            <a:r>
              <a:rPr lang="en-US" dirty="0"/>
              <a:t>Subheader</a:t>
            </a:r>
          </a:p>
        </p:txBody>
      </p:sp>
      <p:sp>
        <p:nvSpPr>
          <p:cNvPr id="7" name="Rectangle 6">
            <a:extLst>
              <a:ext uri="{FF2B5EF4-FFF2-40B4-BE49-F238E27FC236}">
                <a16:creationId xmlns:a16="http://schemas.microsoft.com/office/drawing/2014/main" id="{61588B13-40B0-4F9E-A020-A773E0E2173A}"/>
              </a:ext>
            </a:extLst>
          </p:cNvPr>
          <p:cNvSpPr/>
          <p:nvPr/>
        </p:nvSpPr>
        <p:spPr>
          <a:xfrm>
            <a:off x="8345425" y="6416984"/>
            <a:ext cx="3637308" cy="200055"/>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Open Sans"/>
                <a:ea typeface="+mn-ea"/>
                <a:cs typeface="+mn-cs"/>
              </a:rPr>
              <a:t>1) </a:t>
            </a:r>
            <a:r>
              <a:rPr kumimoji="0" lang="en-US" sz="700" b="0" i="0" u="none" strike="noStrike" kern="1200" cap="none" spc="0" normalizeH="0" baseline="0" noProof="0" dirty="0">
                <a:ln>
                  <a:noFill/>
                </a:ln>
                <a:solidFill>
                  <a:srgbClr val="000000"/>
                </a:solidFill>
                <a:effectLst/>
                <a:uLnTx/>
                <a:uFillTx/>
                <a:latin typeface="Open Sans"/>
                <a:ea typeface="+mn-ea"/>
                <a:cs typeface="+mn-cs"/>
                <a:hlinkClick r:id="rId8"/>
              </a:rPr>
              <a:t>Business Wire</a:t>
            </a:r>
            <a:r>
              <a:rPr kumimoji="0" lang="en-US" sz="700" b="0" i="0" u="none" strike="noStrike" kern="1200" cap="none" spc="0" normalizeH="0" baseline="0" noProof="0" dirty="0">
                <a:ln>
                  <a:noFill/>
                </a:ln>
                <a:solidFill>
                  <a:srgbClr val="000000"/>
                </a:solidFill>
                <a:effectLst/>
                <a:uLnTx/>
                <a:uFillTx/>
                <a:latin typeface="Open Sans"/>
                <a:ea typeface="+mn-ea"/>
                <a:cs typeface="+mn-cs"/>
              </a:rPr>
              <a:t> 2) </a:t>
            </a:r>
            <a:r>
              <a:rPr kumimoji="0" lang="en-US" sz="700" b="0" i="0" u="none" strike="noStrike" kern="1200" cap="none" spc="0" normalizeH="0" baseline="0" noProof="0" dirty="0">
                <a:ln>
                  <a:noFill/>
                </a:ln>
                <a:solidFill>
                  <a:srgbClr val="000000"/>
                </a:solidFill>
                <a:effectLst/>
                <a:uLnTx/>
                <a:uFillTx/>
                <a:latin typeface="Open Sans"/>
                <a:ea typeface="+mn-ea"/>
                <a:cs typeface="+mn-cs"/>
                <a:hlinkClick r:id="rId9"/>
              </a:rPr>
              <a:t>Retail Dive </a:t>
            </a:r>
            <a:r>
              <a:rPr kumimoji="0" lang="en-US" sz="700" b="0" i="0" u="none" strike="noStrike" kern="1200" cap="none" spc="0" normalizeH="0" baseline="0" noProof="0" dirty="0">
                <a:ln>
                  <a:noFill/>
                </a:ln>
                <a:solidFill>
                  <a:srgbClr val="000000"/>
                </a:solidFill>
                <a:effectLst/>
                <a:uLnTx/>
                <a:uFillTx/>
                <a:latin typeface="Open Sans"/>
                <a:ea typeface="+mn-ea"/>
                <a:cs typeface="+mn-cs"/>
              </a:rPr>
              <a:t>3) </a:t>
            </a:r>
            <a:r>
              <a:rPr kumimoji="0" lang="en-US" sz="700" b="0" i="0" u="none" strike="noStrike" kern="1200" cap="none" spc="0" normalizeH="0" baseline="0" noProof="0" dirty="0">
                <a:ln>
                  <a:noFill/>
                </a:ln>
                <a:solidFill>
                  <a:srgbClr val="000000"/>
                </a:solidFill>
                <a:effectLst/>
                <a:uLnTx/>
                <a:uFillTx/>
                <a:latin typeface="Open Sans"/>
                <a:ea typeface="+mn-ea"/>
                <a:cs typeface="+mn-cs"/>
                <a:hlinkClick r:id="rId10"/>
              </a:rPr>
              <a:t>Retail Dive</a:t>
            </a:r>
            <a:r>
              <a:rPr kumimoji="0" lang="en-US" sz="700" b="0" i="0" u="none" strike="noStrike" kern="1200" cap="none" spc="0" normalizeH="0" baseline="0" noProof="0" dirty="0">
                <a:ln>
                  <a:noFill/>
                </a:ln>
                <a:solidFill>
                  <a:srgbClr val="000000"/>
                </a:solidFill>
                <a:effectLst/>
                <a:uLnTx/>
                <a:uFillTx/>
                <a:latin typeface="Open Sans"/>
                <a:ea typeface="+mn-ea"/>
                <a:cs typeface="+mn-cs"/>
              </a:rPr>
              <a:t>, 4) </a:t>
            </a:r>
            <a:r>
              <a:rPr kumimoji="0" lang="en-US" sz="700" b="0" i="0" u="none" strike="noStrike" kern="1200" cap="none" spc="0" normalizeH="0" baseline="0" noProof="0" dirty="0">
                <a:ln>
                  <a:noFill/>
                </a:ln>
                <a:solidFill>
                  <a:srgbClr val="000000"/>
                </a:solidFill>
                <a:effectLst/>
                <a:uLnTx/>
                <a:uFillTx/>
                <a:latin typeface="Open Sans"/>
                <a:ea typeface="+mn-ea"/>
                <a:cs typeface="+mn-cs"/>
                <a:hlinkClick r:id="rId11"/>
              </a:rPr>
              <a:t>Ad Week</a:t>
            </a:r>
            <a:r>
              <a:rPr kumimoji="0" lang="en-US" sz="700" b="0" i="0" u="none" strike="noStrike" kern="1200" cap="none" spc="0" normalizeH="0" baseline="0" noProof="0" dirty="0">
                <a:ln>
                  <a:noFill/>
                </a:ln>
                <a:solidFill>
                  <a:srgbClr val="000000"/>
                </a:solidFill>
                <a:effectLst/>
                <a:uLnTx/>
                <a:uFillTx/>
                <a:latin typeface="Open Sans"/>
                <a:ea typeface="+mn-ea"/>
                <a:cs typeface="+mn-cs"/>
              </a:rPr>
              <a:t> 5) </a:t>
            </a:r>
            <a:r>
              <a:rPr kumimoji="0" lang="en-US" sz="700" b="0" i="0" u="none" strike="noStrike" kern="1200" cap="none" spc="0" normalizeH="0" baseline="0" noProof="0" dirty="0">
                <a:ln>
                  <a:noFill/>
                </a:ln>
                <a:solidFill>
                  <a:srgbClr val="000000"/>
                </a:solidFill>
                <a:effectLst/>
                <a:uLnTx/>
                <a:uFillTx/>
                <a:latin typeface="Open Sans"/>
                <a:ea typeface="+mn-ea"/>
                <a:cs typeface="+mn-cs"/>
                <a:hlinkClick r:id="rId12"/>
              </a:rPr>
              <a:t>Forbes</a:t>
            </a:r>
            <a:endParaRPr kumimoji="0" lang="en-US" sz="700" b="0" i="0" u="none" strike="noStrike" kern="1200" cap="none" spc="0" normalizeH="0" baseline="0" noProof="0" dirty="0">
              <a:ln>
                <a:noFill/>
              </a:ln>
              <a:solidFill>
                <a:srgbClr val="000000"/>
              </a:solidFill>
              <a:effectLst/>
              <a:uLnTx/>
              <a:uFillTx/>
              <a:latin typeface="Open Sans"/>
              <a:ea typeface="+mn-ea"/>
              <a:cs typeface="+mn-cs"/>
            </a:endParaRPr>
          </a:p>
        </p:txBody>
      </p:sp>
      <p:pic>
        <p:nvPicPr>
          <p:cNvPr id="21" name="Picture 20">
            <a:extLst>
              <a:ext uri="{FF2B5EF4-FFF2-40B4-BE49-F238E27FC236}">
                <a16:creationId xmlns:a16="http://schemas.microsoft.com/office/drawing/2014/main" id="{E3DF925F-E374-432D-8090-DF209A32C22E}"/>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a:stretch/>
        </p:blipFill>
        <p:spPr>
          <a:xfrm>
            <a:off x="4652875" y="2381676"/>
            <a:ext cx="2735488" cy="872037"/>
          </a:xfrm>
          <a:prstGeom prst="rect">
            <a:avLst/>
          </a:prstGeom>
        </p:spPr>
      </p:pic>
      <p:pic>
        <p:nvPicPr>
          <p:cNvPr id="23" name="Picture 27" descr="Image result for lyft logo">
            <a:extLst>
              <a:ext uri="{FF2B5EF4-FFF2-40B4-BE49-F238E27FC236}">
                <a16:creationId xmlns:a16="http://schemas.microsoft.com/office/drawing/2014/main" id="{0A19B56A-E1F6-4F41-9624-D712170C2DA1}"/>
              </a:ext>
            </a:extLst>
          </p:cNvPr>
          <p:cNvPicPr>
            <a:picLocks noChangeAspect="1" noChangeArrowheads="1"/>
          </p:cNvPicPr>
          <p:nvPr/>
        </p:nvPicPr>
        <p:blipFill>
          <a:blip r:embed="rId14" cstate="print">
            <a:grayscl/>
            <a:extLst>
              <a:ext uri="{28A0092B-C50C-407E-A947-70E740481C1C}">
                <a14:useLocalDpi xmlns:a14="http://schemas.microsoft.com/office/drawing/2010/main" val="0"/>
              </a:ext>
            </a:extLst>
          </a:blip>
          <a:srcRect/>
          <a:stretch>
            <a:fillRect/>
          </a:stretch>
        </p:blipFill>
        <p:spPr bwMode="auto">
          <a:xfrm>
            <a:off x="6324231" y="2475399"/>
            <a:ext cx="448624" cy="31232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9" descr="Image result for old navy logo">
            <a:extLst>
              <a:ext uri="{FF2B5EF4-FFF2-40B4-BE49-F238E27FC236}">
                <a16:creationId xmlns:a16="http://schemas.microsoft.com/office/drawing/2014/main" id="{813B6FEA-ED09-4C66-B43C-BADD08F228BF}"/>
              </a:ext>
            </a:extLst>
          </p:cNvPr>
          <p:cNvPicPr>
            <a:picLocks noChangeAspect="1" noChangeArrowheads="1"/>
          </p:cNvPicPr>
          <p:nvPr/>
        </p:nvPicPr>
        <p:blipFill>
          <a:blip r:embed="rId15" cstate="print">
            <a:grayscl/>
            <a:extLst>
              <a:ext uri="{28A0092B-C50C-407E-A947-70E740481C1C}">
                <a14:useLocalDpi xmlns:a14="http://schemas.microsoft.com/office/drawing/2010/main" val="0"/>
              </a:ext>
            </a:extLst>
          </a:blip>
          <a:srcRect/>
          <a:stretch>
            <a:fillRect/>
          </a:stretch>
        </p:blipFill>
        <p:spPr bwMode="auto">
          <a:xfrm>
            <a:off x="5124542" y="2507289"/>
            <a:ext cx="785286" cy="280431"/>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25">
            <a:extLst>
              <a:ext uri="{FF2B5EF4-FFF2-40B4-BE49-F238E27FC236}">
                <a16:creationId xmlns:a16="http://schemas.microsoft.com/office/drawing/2014/main" id="{9697E3AB-2186-4FF7-A2A8-06C54B497F55}"/>
              </a:ext>
            </a:extLst>
          </p:cNvPr>
          <p:cNvSpPr/>
          <p:nvPr/>
        </p:nvSpPr>
        <p:spPr>
          <a:xfrm>
            <a:off x="4740459" y="686793"/>
            <a:ext cx="2560320" cy="2560320"/>
          </a:xfrm>
          <a:prstGeom prst="rect">
            <a:avLst/>
          </a:prstGeom>
          <a:no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182880" rIns="27432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Lyft partnered with Old Navy to offer free rides for shoppers that buy online and pick up in store. To further entice customers, Old Navy also offered a free gift wrapping set for BOPIS orders.</a:t>
            </a:r>
            <a:r>
              <a:rPr kumimoji="0" lang="en-US" sz="1000" b="0" i="0" u="none" strike="noStrike" kern="1200" cap="none" spc="0" normalizeH="0" baseline="30000" noProof="0" dirty="0">
                <a:ln>
                  <a:noFill/>
                </a:ln>
                <a:solidFill>
                  <a:srgbClr val="000000"/>
                </a:solidFill>
                <a:effectLst/>
                <a:uLnTx/>
                <a:uFillTx/>
                <a:latin typeface="Open Sans"/>
                <a:ea typeface="Open Sans" panose="020B0606030504020204" pitchFamily="34" charset="0"/>
                <a:cs typeface="Open Sans" panose="020B0606030504020204" pitchFamily="34" charset="0"/>
              </a:rPr>
              <a:t>1</a:t>
            </a:r>
          </a:p>
        </p:txBody>
      </p:sp>
      <p:sp>
        <p:nvSpPr>
          <p:cNvPr id="28" name="Rectangle 27">
            <a:extLst>
              <a:ext uri="{FF2B5EF4-FFF2-40B4-BE49-F238E27FC236}">
                <a16:creationId xmlns:a16="http://schemas.microsoft.com/office/drawing/2014/main" id="{35026113-BB69-4DE9-BB0B-7543AD473B5E}"/>
              </a:ext>
            </a:extLst>
          </p:cNvPr>
          <p:cNvSpPr/>
          <p:nvPr/>
        </p:nvSpPr>
        <p:spPr>
          <a:xfrm>
            <a:off x="7587204" y="686793"/>
            <a:ext cx="2560320" cy="2560320"/>
          </a:xfrm>
          <a:prstGeom prst="rect">
            <a:avLst/>
          </a:prstGeom>
          <a:no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74320" tIns="182880" rIns="182880" rtlCol="0" anchor="t" anchorCtr="0"/>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Burlington Coat Factory kept most locations open until 1 a.m. on Christmas eve, a saving grace for the ultimate last minute shoppers.</a:t>
            </a:r>
            <a:r>
              <a:rPr kumimoji="0" lang="en-US" sz="1000" b="0" i="0" u="none" strike="noStrike" kern="1200" cap="none" spc="0" normalizeH="0" baseline="30000" noProof="0" dirty="0">
                <a:ln>
                  <a:noFill/>
                </a:ln>
                <a:solidFill>
                  <a:srgbClr val="000000"/>
                </a:solidFill>
                <a:effectLst/>
                <a:uLnTx/>
                <a:uFillTx/>
                <a:latin typeface="Open Sans"/>
                <a:ea typeface="Open Sans" panose="020B0606030504020204" pitchFamily="34" charset="0"/>
                <a:cs typeface="Open Sans" panose="020B0606030504020204" pitchFamily="34" charset="0"/>
              </a:rPr>
              <a:t>4</a:t>
            </a:r>
          </a:p>
        </p:txBody>
      </p:sp>
      <p:pic>
        <p:nvPicPr>
          <p:cNvPr id="29" name="Picture 28">
            <a:extLst>
              <a:ext uri="{FF2B5EF4-FFF2-40B4-BE49-F238E27FC236}">
                <a16:creationId xmlns:a16="http://schemas.microsoft.com/office/drawing/2014/main" id="{191DDD85-D670-474E-9E44-552746D83069}"/>
              </a:ext>
            </a:extLst>
          </p:cNvPr>
          <p:cNvPicPr>
            <a:picLocks noChangeAspect="1"/>
          </p:cNvPicPr>
          <p:nvPr/>
        </p:nvPicPr>
        <p:blipFill rotWithShape="1">
          <a:blip r:embed="rId16" cstate="print">
            <a:extLst>
              <a:ext uri="{28A0092B-C50C-407E-A947-70E740481C1C}">
                <a14:useLocalDpi xmlns:a14="http://schemas.microsoft.com/office/drawing/2010/main" val="0"/>
              </a:ext>
            </a:extLst>
          </a:blip>
          <a:srcRect/>
          <a:stretch/>
        </p:blipFill>
        <p:spPr>
          <a:xfrm>
            <a:off x="7641611" y="1903867"/>
            <a:ext cx="2560319" cy="1265346"/>
          </a:xfrm>
          <a:prstGeom prst="rect">
            <a:avLst/>
          </a:prstGeom>
        </p:spPr>
      </p:pic>
      <p:pic>
        <p:nvPicPr>
          <p:cNvPr id="30" name="Picture 9" descr="Image result for burlingtoncoat logo">
            <a:extLst>
              <a:ext uri="{FF2B5EF4-FFF2-40B4-BE49-F238E27FC236}">
                <a16:creationId xmlns:a16="http://schemas.microsoft.com/office/drawing/2014/main" id="{CAB30CA1-019C-4E15-827E-B32F1A5496F9}"/>
              </a:ext>
            </a:extLst>
          </p:cNvPr>
          <p:cNvPicPr>
            <a:picLocks noChangeAspect="1" noChangeArrowheads="1"/>
          </p:cNvPicPr>
          <p:nvPr/>
        </p:nvPicPr>
        <p:blipFill>
          <a:blip r:embed="rId17" cstate="print">
            <a:grayscl/>
            <a:extLst>
              <a:ext uri="{28A0092B-C50C-407E-A947-70E740481C1C}">
                <a14:useLocalDpi xmlns:a14="http://schemas.microsoft.com/office/drawing/2010/main" val="0"/>
              </a:ext>
            </a:extLst>
          </a:blip>
          <a:srcRect/>
          <a:stretch>
            <a:fillRect/>
          </a:stretch>
        </p:blipFill>
        <p:spPr bwMode="auto">
          <a:xfrm>
            <a:off x="8122629" y="2416916"/>
            <a:ext cx="1511243" cy="39079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5BB25074-861E-48D9-AB1C-A3594792A237}"/>
              </a:ext>
            </a:extLst>
          </p:cNvPr>
          <p:cNvPicPr>
            <a:picLocks noChangeAspect="1"/>
          </p:cNvPicPr>
          <p:nvPr/>
        </p:nvPicPr>
        <p:blipFill rotWithShape="1">
          <a:blip r:embed="rId18" cstate="print">
            <a:extLst>
              <a:ext uri="{28A0092B-C50C-407E-A947-70E740481C1C}">
                <a14:useLocalDpi xmlns:a14="http://schemas.microsoft.com/office/drawing/2010/main" val="0"/>
              </a:ext>
            </a:extLst>
          </a:blip>
          <a:srcRect/>
          <a:stretch/>
        </p:blipFill>
        <p:spPr>
          <a:xfrm>
            <a:off x="7570273" y="5260964"/>
            <a:ext cx="2603218" cy="754206"/>
          </a:xfrm>
          <a:prstGeom prst="rect">
            <a:avLst/>
          </a:prstGeom>
        </p:spPr>
      </p:pic>
      <p:pic>
        <p:nvPicPr>
          <p:cNvPr id="12" name="Picture 11">
            <a:extLst>
              <a:ext uri="{FF2B5EF4-FFF2-40B4-BE49-F238E27FC236}">
                <a16:creationId xmlns:a16="http://schemas.microsoft.com/office/drawing/2014/main" id="{795A589F-9363-44BD-9F0D-7ECD810B82C0}"/>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a:stretch/>
        </p:blipFill>
        <p:spPr>
          <a:xfrm>
            <a:off x="4740460" y="5470568"/>
            <a:ext cx="2560319" cy="619607"/>
          </a:xfrm>
          <a:prstGeom prst="rect">
            <a:avLst/>
          </a:prstGeom>
        </p:spPr>
      </p:pic>
      <p:sp>
        <p:nvSpPr>
          <p:cNvPr id="15" name="Rectangle 14">
            <a:extLst>
              <a:ext uri="{FF2B5EF4-FFF2-40B4-BE49-F238E27FC236}">
                <a16:creationId xmlns:a16="http://schemas.microsoft.com/office/drawing/2014/main" id="{00500714-6239-4D95-BE49-ACBC2247F837}"/>
              </a:ext>
            </a:extLst>
          </p:cNvPr>
          <p:cNvSpPr/>
          <p:nvPr/>
        </p:nvSpPr>
        <p:spPr>
          <a:xfrm>
            <a:off x="4740459" y="3572168"/>
            <a:ext cx="2560320" cy="2560320"/>
          </a:xfrm>
          <a:prstGeom prst="rect">
            <a:avLst/>
          </a:prstGeom>
          <a:no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74320" tIns="182880" rIns="274320" rtlCol="0" anchor="t" anchorCtr="0"/>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Saks Fifth Avenue used chatbots to help shoppers with holiday gift ideas. Consumers were able to engage with Saks via Facebook Messenger, where a chat bot provided answers to specific questions and recommend gifts in the Saks digital gift guide.</a:t>
            </a:r>
            <a:r>
              <a:rPr kumimoji="0" lang="en-US" sz="1000" b="0" i="0" u="none" strike="noStrike" kern="1200" cap="none" spc="0" normalizeH="0" baseline="30000" noProof="0" dirty="0">
                <a:ln>
                  <a:noFill/>
                </a:ln>
                <a:solidFill>
                  <a:srgbClr val="000000"/>
                </a:solidFill>
                <a:effectLst/>
                <a:uLnTx/>
                <a:uFillTx/>
                <a:latin typeface="Open Sans"/>
                <a:ea typeface="Open Sans" panose="020B0606030504020204" pitchFamily="34" charset="0"/>
                <a:cs typeface="Open Sans" panose="020B0606030504020204" pitchFamily="34" charset="0"/>
              </a:rPr>
              <a:t>4</a:t>
            </a:r>
          </a:p>
        </p:txBody>
      </p:sp>
      <p:sp>
        <p:nvSpPr>
          <p:cNvPr id="16" name="Rectangle 15">
            <a:extLst>
              <a:ext uri="{FF2B5EF4-FFF2-40B4-BE49-F238E27FC236}">
                <a16:creationId xmlns:a16="http://schemas.microsoft.com/office/drawing/2014/main" id="{72A03642-4204-4765-952E-408CE14C3071}"/>
              </a:ext>
            </a:extLst>
          </p:cNvPr>
          <p:cNvSpPr/>
          <p:nvPr/>
        </p:nvSpPr>
        <p:spPr>
          <a:xfrm>
            <a:off x="7587204" y="3572168"/>
            <a:ext cx="2560320" cy="2560320"/>
          </a:xfrm>
          <a:prstGeom prst="rect">
            <a:avLst/>
          </a:prstGeom>
          <a:no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74320" tIns="182880" rIns="274320" rtlCol="0" anchor="t" anchorCtr="0"/>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Macy’s partnered with Facebook to highlight 150 lesser-known brands through an in-store concept shop called The Market @ Macy’s, intended to appeal to holiday shoppers who prefer to buy new and emerging brands.</a:t>
            </a:r>
            <a:r>
              <a:rPr kumimoji="0" lang="en-US" sz="1000" b="0" i="0" u="none" strike="noStrike" kern="1200" cap="none" spc="0" normalizeH="0" baseline="30000" noProof="0" dirty="0">
                <a:ln>
                  <a:noFill/>
                </a:ln>
                <a:solidFill>
                  <a:srgbClr val="000000"/>
                </a:solidFill>
                <a:effectLst/>
                <a:uLnTx/>
                <a:uFillTx/>
                <a:latin typeface="Open Sans"/>
                <a:ea typeface="Open Sans" panose="020B0606030504020204" pitchFamily="34" charset="0"/>
                <a:cs typeface="Open Sans" panose="020B0606030504020204" pitchFamily="34" charset="0"/>
              </a:rPr>
              <a:t>5</a:t>
            </a:r>
          </a:p>
        </p:txBody>
      </p:sp>
      <p:sp>
        <p:nvSpPr>
          <p:cNvPr id="18" name="Rectangle 17">
            <a:extLst>
              <a:ext uri="{FF2B5EF4-FFF2-40B4-BE49-F238E27FC236}">
                <a16:creationId xmlns:a16="http://schemas.microsoft.com/office/drawing/2014/main" id="{4ACD5622-A191-4F38-AB40-412512FDAE01}"/>
              </a:ext>
            </a:extLst>
          </p:cNvPr>
          <p:cNvSpPr/>
          <p:nvPr/>
        </p:nvSpPr>
        <p:spPr>
          <a:xfrm>
            <a:off x="5627976" y="5428254"/>
            <a:ext cx="750932" cy="5869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pic>
        <p:nvPicPr>
          <p:cNvPr id="19" name="Picture 18">
            <a:extLst>
              <a:ext uri="{FF2B5EF4-FFF2-40B4-BE49-F238E27FC236}">
                <a16:creationId xmlns:a16="http://schemas.microsoft.com/office/drawing/2014/main" id="{93A76775-E6F0-4FBF-85F5-D5CA042AFC47}"/>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5661058" y="5308518"/>
            <a:ext cx="717850" cy="717850"/>
          </a:xfrm>
          <a:prstGeom prst="rect">
            <a:avLst/>
          </a:prstGeom>
        </p:spPr>
      </p:pic>
      <p:pic>
        <p:nvPicPr>
          <p:cNvPr id="20" name="Picture 6" descr="Image result for macys logo">
            <a:extLst>
              <a:ext uri="{FF2B5EF4-FFF2-40B4-BE49-F238E27FC236}">
                <a16:creationId xmlns:a16="http://schemas.microsoft.com/office/drawing/2014/main" id="{30B82B02-9361-4741-A1EB-C9D553A123DA}"/>
              </a:ext>
            </a:extLst>
          </p:cNvPr>
          <p:cNvPicPr>
            <a:picLocks noChangeAspect="1" noChangeArrowheads="1"/>
          </p:cNvPicPr>
          <p:nvPr/>
        </p:nvPicPr>
        <p:blipFill>
          <a:blip r:embed="rId21" cstate="print">
            <a:grayscl/>
            <a:extLst>
              <a:ext uri="{28A0092B-C50C-407E-A947-70E740481C1C}">
                <a14:useLocalDpi xmlns:a14="http://schemas.microsoft.com/office/drawing/2010/main" val="0"/>
              </a:ext>
            </a:extLst>
          </a:blip>
          <a:srcRect/>
          <a:stretch>
            <a:fillRect/>
          </a:stretch>
        </p:blipFill>
        <p:spPr bwMode="auto">
          <a:xfrm>
            <a:off x="8242139" y="4883051"/>
            <a:ext cx="1365732" cy="1365732"/>
          </a:xfrm>
          <a:prstGeom prst="rect">
            <a:avLst/>
          </a:prstGeom>
          <a:noFill/>
          <a:extLst>
            <a:ext uri="{909E8E84-426E-40DD-AFC4-6F175D3DCCD1}">
              <a14:hiddenFill xmlns:a14="http://schemas.microsoft.com/office/drawing/2010/main">
                <a:solidFill>
                  <a:srgbClr val="FFFFFF"/>
                </a:solidFill>
              </a14:hiddenFill>
            </a:ext>
          </a:extLst>
        </p:spPr>
      </p:pic>
      <p:sp>
        <p:nvSpPr>
          <p:cNvPr id="36" name="Text Placeholder 35">
            <a:extLst>
              <a:ext uri="{FF2B5EF4-FFF2-40B4-BE49-F238E27FC236}">
                <a16:creationId xmlns:a16="http://schemas.microsoft.com/office/drawing/2014/main" id="{E89BABCA-ADFF-4CB2-BA6A-28D8BC6CF664}"/>
              </a:ext>
            </a:extLst>
          </p:cNvPr>
          <p:cNvSpPr>
            <a:spLocks noGrp="1"/>
          </p:cNvSpPr>
          <p:nvPr>
            <p:ph type="body" sz="quarter" idx="15"/>
          </p:nvPr>
        </p:nvSpPr>
        <p:spPr/>
        <p:txBody>
          <a:bodyPr/>
          <a:lstStyle/>
          <a:p>
            <a:r>
              <a:rPr lang="en-US" dirty="0"/>
              <a:t>text</a:t>
            </a:r>
          </a:p>
        </p:txBody>
      </p:sp>
    </p:spTree>
    <p:extLst>
      <p:ext uri="{BB962C8B-B14F-4D97-AF65-F5344CB8AC3E}">
        <p14:creationId xmlns:p14="http://schemas.microsoft.com/office/powerpoint/2010/main" val="25571383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16B4D8-6D85-4D6F-8C33-C8E695DFED35}"/>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AFE92643-F619-4535-8357-3914CBD87E81}"/>
              </a:ext>
            </a:extLst>
          </p:cNvPr>
          <p:cNvSpPr>
            <a:spLocks noGrp="1"/>
          </p:cNvSpPr>
          <p:nvPr>
            <p:ph type="body" sz="quarter" idx="15"/>
          </p:nvPr>
        </p:nvSpPr>
        <p:spPr/>
        <p:txBody>
          <a:bodyPr/>
          <a:lstStyle/>
          <a:p>
            <a:endParaRPr lang="en-US"/>
          </a:p>
        </p:txBody>
      </p:sp>
      <p:pic>
        <p:nvPicPr>
          <p:cNvPr id="4" name="Picture 3">
            <a:extLst>
              <a:ext uri="{FF2B5EF4-FFF2-40B4-BE49-F238E27FC236}">
                <a16:creationId xmlns:a16="http://schemas.microsoft.com/office/drawing/2014/main" id="{8B35A6A2-45EC-4FB5-9B7F-AE126C3F53F3}"/>
              </a:ext>
            </a:extLst>
          </p:cNvPr>
          <p:cNvPicPr>
            <a:picLocks noChangeAspect="1"/>
          </p:cNvPicPr>
          <p:nvPr/>
        </p:nvPicPr>
        <p:blipFill rotWithShape="1">
          <a:blip r:embed="rId3" cstate="screen">
            <a:duotone>
              <a:schemeClr val="accent6">
                <a:shade val="45000"/>
                <a:satMod val="135000"/>
              </a:schemeClr>
              <a:prstClr val="white"/>
            </a:duotone>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Rounded Rectangle 16">
            <a:extLst>
              <a:ext uri="{FF2B5EF4-FFF2-40B4-BE49-F238E27FC236}">
                <a16:creationId xmlns:a16="http://schemas.microsoft.com/office/drawing/2014/main" id="{0B41C5D5-94B3-4A7A-922C-AEC4A58F907C}"/>
              </a:ext>
            </a:extLst>
          </p:cNvPr>
          <p:cNvSpPr/>
          <p:nvPr/>
        </p:nvSpPr>
        <p:spPr bwMode="gray">
          <a:xfrm>
            <a:off x="7398218" y="1735875"/>
            <a:ext cx="2242637" cy="3512242"/>
          </a:xfrm>
          <a:prstGeom prst="roundRect">
            <a:avLst>
              <a:gd name="adj" fmla="val 0"/>
            </a:avLst>
          </a:prstGeom>
          <a:noFill/>
          <a:ln w="38100" algn="ctr">
            <a:solidFill>
              <a:schemeClr val="bg1">
                <a:alpha val="66000"/>
              </a:schemeClr>
            </a:solidFill>
            <a:miter lim="800000"/>
            <a:headEnd/>
            <a:tailEnd/>
          </a:ln>
        </p:spPr>
        <p:txBody>
          <a:bodyPr wrap="square" lIns="88900" tIns="18288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2000" b="1" i="0" u="none" strike="noStrike" kern="1200" cap="none" spc="0" normalizeH="0" baseline="0" noProof="0" dirty="0">
              <a:ln>
                <a:noFill/>
              </a:ln>
              <a:solidFill>
                <a:srgbClr val="FFFFFF"/>
              </a:solidFill>
              <a:effectLst/>
              <a:uLnTx/>
              <a:uFillTx/>
              <a:latin typeface="Open Sans"/>
              <a:ea typeface="+mn-ea"/>
              <a:cs typeface="+mn-cs"/>
            </a:endParaRPr>
          </a:p>
        </p:txBody>
      </p:sp>
      <p:sp>
        <p:nvSpPr>
          <p:cNvPr id="6" name="Rounded Rectangle 5">
            <a:extLst>
              <a:ext uri="{FF2B5EF4-FFF2-40B4-BE49-F238E27FC236}">
                <a16:creationId xmlns:a16="http://schemas.microsoft.com/office/drawing/2014/main" id="{B325D801-365E-4FAC-B563-DFEE197387DD}"/>
              </a:ext>
            </a:extLst>
          </p:cNvPr>
          <p:cNvSpPr/>
          <p:nvPr/>
        </p:nvSpPr>
        <p:spPr bwMode="gray">
          <a:xfrm>
            <a:off x="2710256" y="1895523"/>
            <a:ext cx="1934770" cy="3192947"/>
          </a:xfrm>
          <a:prstGeom prst="roundRect">
            <a:avLst>
              <a:gd name="adj" fmla="val 0"/>
            </a:avLst>
          </a:prstGeom>
          <a:solidFill>
            <a:schemeClr val="bg1">
              <a:alpha val="80000"/>
            </a:schemeClr>
          </a:solidFill>
          <a:ln w="19050" algn="ctr">
            <a:noFill/>
            <a:miter lim="800000"/>
            <a:headEnd/>
            <a:tailEnd/>
          </a:ln>
        </p:spPr>
        <p:txBody>
          <a:bodyPr wrap="square" lIns="88900" tIns="18288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srgbClr val="FFFFFF"/>
              </a:solidFill>
              <a:effectLst/>
              <a:uLnTx/>
              <a:uFillTx/>
              <a:latin typeface="Open Sans"/>
              <a:ea typeface="+mn-ea"/>
              <a:cs typeface="+mn-cs"/>
            </a:endParaRPr>
          </a:p>
        </p:txBody>
      </p:sp>
      <p:sp>
        <p:nvSpPr>
          <p:cNvPr id="7" name="Content Placeholder 4">
            <a:extLst>
              <a:ext uri="{FF2B5EF4-FFF2-40B4-BE49-F238E27FC236}">
                <a16:creationId xmlns:a16="http://schemas.microsoft.com/office/drawing/2014/main" id="{3C748541-B274-446D-B580-D8517B587821}"/>
              </a:ext>
            </a:extLst>
          </p:cNvPr>
          <p:cNvSpPr txBox="1">
            <a:spLocks/>
          </p:cNvSpPr>
          <p:nvPr/>
        </p:nvSpPr>
        <p:spPr>
          <a:xfrm>
            <a:off x="2710256" y="2378506"/>
            <a:ext cx="1928415" cy="1193244"/>
          </a:xfrm>
          <a:prstGeom prst="rect">
            <a:avLst/>
          </a:prstGeom>
          <a:effectLst>
            <a:outerShdw blurRad="203200" sx="104000" sy="104000" algn="ctr" rotWithShape="0">
              <a:prstClr val="black">
                <a:alpha val="55000"/>
              </a:prstClr>
            </a:outerShdw>
          </a:effectLst>
        </p:spPr>
        <p:txBody>
          <a:bodyPr vert="horz" lIns="182880" tIns="182880" rIns="182880" bIns="91440" rtlCol="0">
            <a:noAutofit/>
          </a:bodyPr>
          <a:lstStyle>
            <a:lvl1pPr marL="0" indent="0" algn="l" defTabSz="1219170" rtl="0" eaLnBrk="1" latinLnBrk="0" hangingPunct="1">
              <a:lnSpc>
                <a:spcPct val="130000"/>
              </a:lnSpc>
              <a:spcBef>
                <a:spcPts val="0"/>
              </a:spcBef>
              <a:spcAft>
                <a:spcPts val="733"/>
              </a:spcAft>
              <a:buSzPct val="100000"/>
              <a:buFontTx/>
              <a:buNone/>
              <a:tabLst>
                <a:tab pos="6705432" algn="r"/>
              </a:tabLst>
              <a:defRPr sz="1600" b="0" i="0" kern="1200">
                <a:solidFill>
                  <a:schemeClr val="tx1"/>
                </a:solidFill>
                <a:latin typeface="Open Sans Light" charset="0"/>
                <a:ea typeface="+mn-ea"/>
                <a:cs typeface="+mn-cs"/>
              </a:defRPr>
            </a:lvl1pPr>
            <a:lvl2pPr marL="127000" indent="-127000" algn="l" defTabSz="1219170" rtl="0" eaLnBrk="1" latinLnBrk="0" hangingPunct="1">
              <a:lnSpc>
                <a:spcPct val="130000"/>
              </a:lnSpc>
              <a:spcBef>
                <a:spcPts val="0"/>
              </a:spcBef>
              <a:spcAft>
                <a:spcPts val="733"/>
              </a:spcAft>
              <a:buClrTx/>
              <a:buSzPct val="100000"/>
              <a:buFont typeface="Arial" panose="020B0604020202020204" pitchFamily="34" charset="0"/>
              <a:buChar char="•"/>
              <a:tabLst>
                <a:tab pos="6705432" algn="r"/>
              </a:tabLst>
              <a:defRPr lang="en-US" sz="1600" b="0" i="0" kern="1200">
                <a:solidFill>
                  <a:schemeClr val="tx1"/>
                </a:solidFill>
                <a:latin typeface="Open Sans Light" charset="0"/>
                <a:ea typeface="+mn-ea"/>
                <a:cs typeface="+mn-cs"/>
              </a:defRPr>
            </a:lvl2pPr>
            <a:lvl3pPr marL="279400" indent="-127000" algn="l" defTabSz="1219170" rtl="0" eaLnBrk="1" latinLnBrk="0" hangingPunct="1">
              <a:lnSpc>
                <a:spcPct val="130000"/>
              </a:lnSpc>
              <a:spcBef>
                <a:spcPts val="0"/>
              </a:spcBef>
              <a:spcAft>
                <a:spcPts val="733"/>
              </a:spcAft>
              <a:buClrTx/>
              <a:buSzPct val="100000"/>
              <a:buFont typeface="Arial" panose="020B0604020202020204" pitchFamily="34" charset="0"/>
              <a:buChar char="−"/>
              <a:tabLst>
                <a:tab pos="6705432" algn="r"/>
              </a:tabLst>
              <a:defRPr lang="en-US" sz="1600" b="0" i="0" kern="1200">
                <a:solidFill>
                  <a:schemeClr val="tx1"/>
                </a:solidFill>
                <a:latin typeface="Open Sans Light" charset="0"/>
                <a:ea typeface="+mn-ea"/>
                <a:cs typeface="+mn-cs"/>
              </a:defRPr>
            </a:lvl3pPr>
            <a:lvl4pPr marL="431800" indent="-127000" algn="l" defTabSz="1219170" rtl="0" eaLnBrk="1" latinLnBrk="0" hangingPunct="1">
              <a:lnSpc>
                <a:spcPct val="130000"/>
              </a:lnSpc>
              <a:spcBef>
                <a:spcPts val="0"/>
              </a:spcBef>
              <a:spcAft>
                <a:spcPts val="733"/>
              </a:spcAft>
              <a:buClrTx/>
              <a:buSzPct val="100000"/>
              <a:buFont typeface="Arial" panose="020B0604020202020204" pitchFamily="34" charset="0"/>
              <a:buChar char="◦"/>
              <a:tabLst>
                <a:tab pos="6705432" algn="r"/>
              </a:tabLst>
              <a:defRPr lang="en-US" sz="1600" b="0" i="0" kern="1200" baseline="0">
                <a:solidFill>
                  <a:schemeClr val="tx1"/>
                </a:solidFill>
                <a:latin typeface="Open Sans Light" charset="0"/>
                <a:ea typeface="+mn-ea"/>
                <a:cs typeface="+mn-cs"/>
              </a:defRPr>
            </a:lvl4pPr>
            <a:lvl5pPr marL="584200" indent="-127000" algn="l" defTabSz="1064657" rtl="0" eaLnBrk="1" latinLnBrk="0" hangingPunct="1">
              <a:lnSpc>
                <a:spcPct val="130000"/>
              </a:lnSpc>
              <a:spcBef>
                <a:spcPts val="0"/>
              </a:spcBef>
              <a:spcAft>
                <a:spcPts val="733"/>
              </a:spcAft>
              <a:buClrTx/>
              <a:buSzPct val="100000"/>
              <a:buFont typeface="Arial" panose="020B0604020202020204" pitchFamily="34" charset="0"/>
              <a:buChar char="−"/>
              <a:tabLst>
                <a:tab pos="6705432" algn="r"/>
              </a:tabLst>
              <a:defRPr lang="en-US" sz="1600" b="0" i="0" kern="1200" baseline="0">
                <a:solidFill>
                  <a:schemeClr val="tx1"/>
                </a:solidFill>
                <a:latin typeface="Open Sans Light" charset="0"/>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400"/>
              </a:spcAft>
              <a:buClrTx/>
              <a:buSzPct val="100000"/>
              <a:buFontTx/>
              <a:buNone/>
              <a:tabLst>
                <a:tab pos="6705432" algn="r"/>
              </a:tabLst>
              <a:defRPr/>
            </a:pPr>
            <a:r>
              <a:rPr kumimoji="0" lang="en-US" sz="1400" b="1" i="0" u="none" strike="noStrike" kern="1200" cap="none" spc="150" normalizeH="0" baseline="0" noProof="0" dirty="0">
                <a:ln>
                  <a:noFill/>
                </a:ln>
                <a:solidFill>
                  <a:srgbClr val="000000"/>
                </a:solidFill>
                <a:effectLst/>
                <a:uLnTx/>
                <a:uFillTx/>
                <a:latin typeface="Open Sans"/>
                <a:ea typeface="Open Sans Semibold" panose="020B0606030504020204" pitchFamily="34" charset="0"/>
                <a:cs typeface="Open Sans Semibold" panose="020B0606030504020204" pitchFamily="34" charset="0"/>
              </a:rPr>
              <a:t>DISCOVERY</a:t>
            </a:r>
          </a:p>
        </p:txBody>
      </p:sp>
      <p:sp>
        <p:nvSpPr>
          <p:cNvPr id="8" name="Rounded Rectangle 10">
            <a:extLst>
              <a:ext uri="{FF2B5EF4-FFF2-40B4-BE49-F238E27FC236}">
                <a16:creationId xmlns:a16="http://schemas.microsoft.com/office/drawing/2014/main" id="{3DFA8162-2D24-4F4C-AA48-E02C06D336D0}"/>
              </a:ext>
            </a:extLst>
          </p:cNvPr>
          <p:cNvSpPr/>
          <p:nvPr/>
        </p:nvSpPr>
        <p:spPr bwMode="gray">
          <a:xfrm>
            <a:off x="5133792" y="1895523"/>
            <a:ext cx="1934770" cy="3192947"/>
          </a:xfrm>
          <a:prstGeom prst="roundRect">
            <a:avLst>
              <a:gd name="adj" fmla="val 0"/>
            </a:avLst>
          </a:prstGeom>
          <a:solidFill>
            <a:schemeClr val="bg1">
              <a:alpha val="80000"/>
            </a:schemeClr>
          </a:solidFill>
          <a:ln w="19050" algn="ctr">
            <a:noFill/>
            <a:miter lim="800000"/>
            <a:headEnd/>
            <a:tailEnd/>
          </a:ln>
        </p:spPr>
        <p:txBody>
          <a:bodyPr wrap="square" lIns="88900" tIns="18288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srgbClr val="FFFFFF"/>
              </a:solidFill>
              <a:effectLst/>
              <a:uLnTx/>
              <a:uFillTx/>
              <a:latin typeface="Open Sans"/>
              <a:ea typeface="+mn-ea"/>
              <a:cs typeface="+mn-cs"/>
            </a:endParaRPr>
          </a:p>
        </p:txBody>
      </p:sp>
      <p:sp>
        <p:nvSpPr>
          <p:cNvPr id="9" name="Content Placeholder 4">
            <a:extLst>
              <a:ext uri="{FF2B5EF4-FFF2-40B4-BE49-F238E27FC236}">
                <a16:creationId xmlns:a16="http://schemas.microsoft.com/office/drawing/2014/main" id="{58A8AB20-4976-4900-A6E9-B2476AE2B9DF}"/>
              </a:ext>
            </a:extLst>
          </p:cNvPr>
          <p:cNvSpPr txBox="1">
            <a:spLocks/>
          </p:cNvSpPr>
          <p:nvPr/>
        </p:nvSpPr>
        <p:spPr>
          <a:xfrm>
            <a:off x="5133792" y="2378506"/>
            <a:ext cx="1928415" cy="1193244"/>
          </a:xfrm>
          <a:prstGeom prst="rect">
            <a:avLst/>
          </a:prstGeom>
          <a:effectLst>
            <a:outerShdw blurRad="203200" sx="104000" sy="104000" algn="ctr" rotWithShape="0">
              <a:prstClr val="black">
                <a:alpha val="55000"/>
              </a:prstClr>
            </a:outerShdw>
          </a:effectLst>
        </p:spPr>
        <p:txBody>
          <a:bodyPr vert="horz" lIns="182880" tIns="182880" rIns="182880" bIns="91440" rtlCol="0">
            <a:noAutofit/>
          </a:bodyPr>
          <a:lstStyle>
            <a:lvl1pPr marL="0" indent="0" algn="l" defTabSz="1219170" rtl="0" eaLnBrk="1" latinLnBrk="0" hangingPunct="1">
              <a:lnSpc>
                <a:spcPct val="130000"/>
              </a:lnSpc>
              <a:spcBef>
                <a:spcPts val="0"/>
              </a:spcBef>
              <a:spcAft>
                <a:spcPts val="733"/>
              </a:spcAft>
              <a:buSzPct val="100000"/>
              <a:buFontTx/>
              <a:buNone/>
              <a:tabLst>
                <a:tab pos="6705432" algn="r"/>
              </a:tabLst>
              <a:defRPr sz="1600" b="0" i="0" kern="1200">
                <a:solidFill>
                  <a:schemeClr val="tx1"/>
                </a:solidFill>
                <a:latin typeface="Open Sans Light" charset="0"/>
                <a:ea typeface="+mn-ea"/>
                <a:cs typeface="+mn-cs"/>
              </a:defRPr>
            </a:lvl1pPr>
            <a:lvl2pPr marL="127000" indent="-127000" algn="l" defTabSz="1219170" rtl="0" eaLnBrk="1" latinLnBrk="0" hangingPunct="1">
              <a:lnSpc>
                <a:spcPct val="130000"/>
              </a:lnSpc>
              <a:spcBef>
                <a:spcPts val="0"/>
              </a:spcBef>
              <a:spcAft>
                <a:spcPts val="733"/>
              </a:spcAft>
              <a:buClrTx/>
              <a:buSzPct val="100000"/>
              <a:buFont typeface="Arial" panose="020B0604020202020204" pitchFamily="34" charset="0"/>
              <a:buChar char="•"/>
              <a:tabLst>
                <a:tab pos="6705432" algn="r"/>
              </a:tabLst>
              <a:defRPr lang="en-US" sz="1600" b="0" i="0" kern="1200">
                <a:solidFill>
                  <a:schemeClr val="tx1"/>
                </a:solidFill>
                <a:latin typeface="Open Sans Light" charset="0"/>
                <a:ea typeface="+mn-ea"/>
                <a:cs typeface="+mn-cs"/>
              </a:defRPr>
            </a:lvl2pPr>
            <a:lvl3pPr marL="279400" indent="-127000" algn="l" defTabSz="1219170" rtl="0" eaLnBrk="1" latinLnBrk="0" hangingPunct="1">
              <a:lnSpc>
                <a:spcPct val="130000"/>
              </a:lnSpc>
              <a:spcBef>
                <a:spcPts val="0"/>
              </a:spcBef>
              <a:spcAft>
                <a:spcPts val="733"/>
              </a:spcAft>
              <a:buClrTx/>
              <a:buSzPct val="100000"/>
              <a:buFont typeface="Arial" panose="020B0604020202020204" pitchFamily="34" charset="0"/>
              <a:buChar char="−"/>
              <a:tabLst>
                <a:tab pos="6705432" algn="r"/>
              </a:tabLst>
              <a:defRPr lang="en-US" sz="1600" b="0" i="0" kern="1200">
                <a:solidFill>
                  <a:schemeClr val="tx1"/>
                </a:solidFill>
                <a:latin typeface="Open Sans Light" charset="0"/>
                <a:ea typeface="+mn-ea"/>
                <a:cs typeface="+mn-cs"/>
              </a:defRPr>
            </a:lvl3pPr>
            <a:lvl4pPr marL="431800" indent="-127000" algn="l" defTabSz="1219170" rtl="0" eaLnBrk="1" latinLnBrk="0" hangingPunct="1">
              <a:lnSpc>
                <a:spcPct val="130000"/>
              </a:lnSpc>
              <a:spcBef>
                <a:spcPts val="0"/>
              </a:spcBef>
              <a:spcAft>
                <a:spcPts val="733"/>
              </a:spcAft>
              <a:buClrTx/>
              <a:buSzPct val="100000"/>
              <a:buFont typeface="Arial" panose="020B0604020202020204" pitchFamily="34" charset="0"/>
              <a:buChar char="◦"/>
              <a:tabLst>
                <a:tab pos="6705432" algn="r"/>
              </a:tabLst>
              <a:defRPr lang="en-US" sz="1600" b="0" i="0" kern="1200" baseline="0">
                <a:solidFill>
                  <a:schemeClr val="tx1"/>
                </a:solidFill>
                <a:latin typeface="Open Sans Light" charset="0"/>
                <a:ea typeface="+mn-ea"/>
                <a:cs typeface="+mn-cs"/>
              </a:defRPr>
            </a:lvl4pPr>
            <a:lvl5pPr marL="584200" indent="-127000" algn="l" defTabSz="1064657" rtl="0" eaLnBrk="1" latinLnBrk="0" hangingPunct="1">
              <a:lnSpc>
                <a:spcPct val="130000"/>
              </a:lnSpc>
              <a:spcBef>
                <a:spcPts val="0"/>
              </a:spcBef>
              <a:spcAft>
                <a:spcPts val="733"/>
              </a:spcAft>
              <a:buClrTx/>
              <a:buSzPct val="100000"/>
              <a:buFont typeface="Arial" panose="020B0604020202020204" pitchFamily="34" charset="0"/>
              <a:buChar char="−"/>
              <a:tabLst>
                <a:tab pos="6705432" algn="r"/>
              </a:tabLst>
              <a:defRPr lang="en-US" sz="1600" b="0" i="0" kern="1200" baseline="0">
                <a:solidFill>
                  <a:schemeClr val="tx1"/>
                </a:solidFill>
                <a:latin typeface="Open Sans Light" charset="0"/>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400"/>
              </a:spcAft>
              <a:buClrTx/>
              <a:buSzPct val="100000"/>
              <a:buFontTx/>
              <a:buNone/>
              <a:tabLst>
                <a:tab pos="6705432" algn="r"/>
              </a:tabLst>
              <a:defRPr/>
            </a:pPr>
            <a:r>
              <a:rPr kumimoji="0" lang="en-US" sz="1400" b="1" i="0" u="none" strike="noStrike" kern="1200" cap="none" spc="150" normalizeH="0" baseline="0" noProof="0" dirty="0">
                <a:ln>
                  <a:noFill/>
                </a:ln>
                <a:solidFill>
                  <a:srgbClr val="000000"/>
                </a:solidFill>
                <a:effectLst/>
                <a:uLnTx/>
                <a:uFillTx/>
                <a:latin typeface="Open Sans"/>
                <a:ea typeface="Open Sans Semibold" panose="020B0606030504020204" pitchFamily="34" charset="0"/>
                <a:cs typeface="Open Sans Semibold" panose="020B0606030504020204" pitchFamily="34" charset="0"/>
              </a:rPr>
              <a:t>DELIVERY</a:t>
            </a:r>
          </a:p>
        </p:txBody>
      </p:sp>
      <p:sp>
        <p:nvSpPr>
          <p:cNvPr id="10" name="Rounded Rectangle 14">
            <a:extLst>
              <a:ext uri="{FF2B5EF4-FFF2-40B4-BE49-F238E27FC236}">
                <a16:creationId xmlns:a16="http://schemas.microsoft.com/office/drawing/2014/main" id="{9EAA9A5F-31DC-46BD-9BF8-A08C3BCE81E4}"/>
              </a:ext>
            </a:extLst>
          </p:cNvPr>
          <p:cNvSpPr/>
          <p:nvPr/>
        </p:nvSpPr>
        <p:spPr bwMode="gray">
          <a:xfrm>
            <a:off x="7557329" y="1895523"/>
            <a:ext cx="1934770" cy="3192947"/>
          </a:xfrm>
          <a:prstGeom prst="roundRect">
            <a:avLst>
              <a:gd name="adj" fmla="val 0"/>
            </a:avLst>
          </a:prstGeom>
          <a:solidFill>
            <a:schemeClr val="accent2"/>
          </a:solidFill>
          <a:ln w="19050" algn="ctr">
            <a:noFill/>
            <a:miter lim="800000"/>
            <a:headEnd/>
            <a:tailEnd/>
          </a:ln>
        </p:spPr>
        <p:txBody>
          <a:bodyPr wrap="square" lIns="88900" tIns="18288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srgbClr val="FFFFFF"/>
              </a:solidFill>
              <a:effectLst/>
              <a:uLnTx/>
              <a:uFillTx/>
              <a:latin typeface="Open Sans"/>
              <a:ea typeface="+mn-ea"/>
              <a:cs typeface="+mn-cs"/>
            </a:endParaRPr>
          </a:p>
        </p:txBody>
      </p:sp>
      <p:sp>
        <p:nvSpPr>
          <p:cNvPr id="11" name="Content Placeholder 4">
            <a:extLst>
              <a:ext uri="{FF2B5EF4-FFF2-40B4-BE49-F238E27FC236}">
                <a16:creationId xmlns:a16="http://schemas.microsoft.com/office/drawing/2014/main" id="{232A252D-591C-4D20-8142-BF7BBE1DB191}"/>
              </a:ext>
            </a:extLst>
          </p:cNvPr>
          <p:cNvSpPr txBox="1">
            <a:spLocks/>
          </p:cNvSpPr>
          <p:nvPr/>
        </p:nvSpPr>
        <p:spPr>
          <a:xfrm>
            <a:off x="7557329" y="2378506"/>
            <a:ext cx="1928415" cy="1193244"/>
          </a:xfrm>
          <a:prstGeom prst="rect">
            <a:avLst/>
          </a:prstGeom>
          <a:effectLst>
            <a:outerShdw blurRad="203200" sx="104000" sy="104000" algn="ctr" rotWithShape="0">
              <a:prstClr val="black">
                <a:alpha val="55000"/>
              </a:prstClr>
            </a:outerShdw>
          </a:effectLst>
        </p:spPr>
        <p:txBody>
          <a:bodyPr vert="horz" lIns="182880" tIns="182880" rIns="182880" bIns="91440" rtlCol="0">
            <a:noAutofit/>
          </a:bodyPr>
          <a:lstStyle>
            <a:lvl1pPr marL="0" indent="0" algn="l" defTabSz="1219170" rtl="0" eaLnBrk="1" latinLnBrk="0" hangingPunct="1">
              <a:lnSpc>
                <a:spcPct val="130000"/>
              </a:lnSpc>
              <a:spcBef>
                <a:spcPts val="0"/>
              </a:spcBef>
              <a:spcAft>
                <a:spcPts val="733"/>
              </a:spcAft>
              <a:buSzPct val="100000"/>
              <a:buFontTx/>
              <a:buNone/>
              <a:tabLst>
                <a:tab pos="6705432" algn="r"/>
              </a:tabLst>
              <a:defRPr sz="1600" b="0" i="0" kern="1200">
                <a:solidFill>
                  <a:schemeClr val="tx1"/>
                </a:solidFill>
                <a:latin typeface="Open Sans Light" charset="0"/>
                <a:ea typeface="+mn-ea"/>
                <a:cs typeface="+mn-cs"/>
              </a:defRPr>
            </a:lvl1pPr>
            <a:lvl2pPr marL="127000" indent="-127000" algn="l" defTabSz="1219170" rtl="0" eaLnBrk="1" latinLnBrk="0" hangingPunct="1">
              <a:lnSpc>
                <a:spcPct val="130000"/>
              </a:lnSpc>
              <a:spcBef>
                <a:spcPts val="0"/>
              </a:spcBef>
              <a:spcAft>
                <a:spcPts val="733"/>
              </a:spcAft>
              <a:buClrTx/>
              <a:buSzPct val="100000"/>
              <a:buFont typeface="Arial" panose="020B0604020202020204" pitchFamily="34" charset="0"/>
              <a:buChar char="•"/>
              <a:tabLst>
                <a:tab pos="6705432" algn="r"/>
              </a:tabLst>
              <a:defRPr lang="en-US" sz="1600" b="0" i="0" kern="1200">
                <a:solidFill>
                  <a:schemeClr val="tx1"/>
                </a:solidFill>
                <a:latin typeface="Open Sans Light" charset="0"/>
                <a:ea typeface="+mn-ea"/>
                <a:cs typeface="+mn-cs"/>
              </a:defRPr>
            </a:lvl2pPr>
            <a:lvl3pPr marL="279400" indent="-127000" algn="l" defTabSz="1219170" rtl="0" eaLnBrk="1" latinLnBrk="0" hangingPunct="1">
              <a:lnSpc>
                <a:spcPct val="130000"/>
              </a:lnSpc>
              <a:spcBef>
                <a:spcPts val="0"/>
              </a:spcBef>
              <a:spcAft>
                <a:spcPts val="733"/>
              </a:spcAft>
              <a:buClrTx/>
              <a:buSzPct val="100000"/>
              <a:buFont typeface="Arial" panose="020B0604020202020204" pitchFamily="34" charset="0"/>
              <a:buChar char="−"/>
              <a:tabLst>
                <a:tab pos="6705432" algn="r"/>
              </a:tabLst>
              <a:defRPr lang="en-US" sz="1600" b="0" i="0" kern="1200">
                <a:solidFill>
                  <a:schemeClr val="tx1"/>
                </a:solidFill>
                <a:latin typeface="Open Sans Light" charset="0"/>
                <a:ea typeface="+mn-ea"/>
                <a:cs typeface="+mn-cs"/>
              </a:defRPr>
            </a:lvl3pPr>
            <a:lvl4pPr marL="431800" indent="-127000" algn="l" defTabSz="1219170" rtl="0" eaLnBrk="1" latinLnBrk="0" hangingPunct="1">
              <a:lnSpc>
                <a:spcPct val="130000"/>
              </a:lnSpc>
              <a:spcBef>
                <a:spcPts val="0"/>
              </a:spcBef>
              <a:spcAft>
                <a:spcPts val="733"/>
              </a:spcAft>
              <a:buClrTx/>
              <a:buSzPct val="100000"/>
              <a:buFont typeface="Arial" panose="020B0604020202020204" pitchFamily="34" charset="0"/>
              <a:buChar char="◦"/>
              <a:tabLst>
                <a:tab pos="6705432" algn="r"/>
              </a:tabLst>
              <a:defRPr lang="en-US" sz="1600" b="0" i="0" kern="1200" baseline="0">
                <a:solidFill>
                  <a:schemeClr val="tx1"/>
                </a:solidFill>
                <a:latin typeface="Open Sans Light" charset="0"/>
                <a:ea typeface="+mn-ea"/>
                <a:cs typeface="+mn-cs"/>
              </a:defRPr>
            </a:lvl4pPr>
            <a:lvl5pPr marL="584200" indent="-127000" algn="l" defTabSz="1064657" rtl="0" eaLnBrk="1" latinLnBrk="0" hangingPunct="1">
              <a:lnSpc>
                <a:spcPct val="130000"/>
              </a:lnSpc>
              <a:spcBef>
                <a:spcPts val="0"/>
              </a:spcBef>
              <a:spcAft>
                <a:spcPts val="733"/>
              </a:spcAft>
              <a:buClrTx/>
              <a:buSzPct val="100000"/>
              <a:buFont typeface="Arial" panose="020B0604020202020204" pitchFamily="34" charset="0"/>
              <a:buChar char="−"/>
              <a:tabLst>
                <a:tab pos="6705432" algn="r"/>
              </a:tabLst>
              <a:defRPr lang="en-US" sz="1600" b="0" i="0" kern="1200" baseline="0">
                <a:solidFill>
                  <a:schemeClr val="tx1"/>
                </a:solidFill>
                <a:latin typeface="Open Sans Light" charset="0"/>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400"/>
              </a:spcAft>
              <a:buClrTx/>
              <a:buSzPct val="100000"/>
              <a:buFontTx/>
              <a:buNone/>
              <a:tabLst>
                <a:tab pos="6705432" algn="r"/>
              </a:tabLst>
              <a:defRPr/>
            </a:pPr>
            <a:r>
              <a:rPr kumimoji="0" lang="en-US" sz="1400" b="1" i="0" u="none" strike="noStrike" kern="1200" cap="none" spc="150" normalizeH="0" baseline="0" noProof="0" dirty="0">
                <a:ln>
                  <a:noFill/>
                </a:ln>
                <a:solidFill>
                  <a:srgbClr val="000000"/>
                </a:solidFill>
                <a:effectLst/>
                <a:uLnTx/>
                <a:uFillTx/>
                <a:latin typeface="Open Sans"/>
                <a:ea typeface="Open Sans Semibold" panose="020B0606030504020204" pitchFamily="34" charset="0"/>
                <a:cs typeface="Open Sans Semibold" panose="020B0606030504020204" pitchFamily="34" charset="0"/>
              </a:rPr>
              <a:t>ONGOING MAINTENANCE </a:t>
            </a:r>
            <a:br>
              <a:rPr kumimoji="0" lang="en-US" sz="1400" b="1" i="0" u="none" strike="noStrike" kern="1200" cap="none" spc="150" normalizeH="0" baseline="0" noProof="0" dirty="0">
                <a:ln>
                  <a:noFill/>
                </a:ln>
                <a:solidFill>
                  <a:srgbClr val="000000"/>
                </a:solidFill>
                <a:effectLst/>
                <a:uLnTx/>
                <a:uFillTx/>
                <a:latin typeface="Open Sans"/>
                <a:ea typeface="Open Sans Semibold" panose="020B0606030504020204" pitchFamily="34" charset="0"/>
                <a:cs typeface="Open Sans Semibold" panose="020B0606030504020204" pitchFamily="34" charset="0"/>
              </a:rPr>
            </a:br>
            <a:r>
              <a:rPr kumimoji="0" lang="en-US" sz="1400" b="1" i="0" u="none" strike="noStrike" kern="1200" cap="none" spc="150" normalizeH="0" baseline="0" noProof="0" dirty="0">
                <a:ln>
                  <a:noFill/>
                </a:ln>
                <a:solidFill>
                  <a:srgbClr val="000000"/>
                </a:solidFill>
                <a:effectLst/>
                <a:uLnTx/>
                <a:uFillTx/>
                <a:latin typeface="Open Sans"/>
                <a:ea typeface="Open Sans Semibold" panose="020B0606030504020204" pitchFamily="34" charset="0"/>
                <a:cs typeface="Open Sans Semibold" panose="020B0606030504020204" pitchFamily="34" charset="0"/>
              </a:rPr>
              <a:t>&amp; SUPPORT</a:t>
            </a:r>
          </a:p>
        </p:txBody>
      </p:sp>
      <p:sp>
        <p:nvSpPr>
          <p:cNvPr id="12" name="Freeform 802">
            <a:extLst>
              <a:ext uri="{FF2B5EF4-FFF2-40B4-BE49-F238E27FC236}">
                <a16:creationId xmlns:a16="http://schemas.microsoft.com/office/drawing/2014/main" id="{D3A8DA81-92A8-4FB3-B05A-D915E02AD4D5}"/>
              </a:ext>
            </a:extLst>
          </p:cNvPr>
          <p:cNvSpPr>
            <a:spLocks noEditPoints="1"/>
          </p:cNvSpPr>
          <p:nvPr/>
        </p:nvSpPr>
        <p:spPr bwMode="auto">
          <a:xfrm>
            <a:off x="7995382" y="3593206"/>
            <a:ext cx="1050070" cy="105007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18288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prstClr val="black"/>
              </a:solidFill>
              <a:effectLst/>
              <a:uLnTx/>
              <a:uFillTx/>
              <a:latin typeface="Open Sans"/>
              <a:ea typeface="+mn-ea"/>
              <a:cs typeface="+mn-cs"/>
            </a:endParaRPr>
          </a:p>
        </p:txBody>
      </p:sp>
      <p:grpSp>
        <p:nvGrpSpPr>
          <p:cNvPr id="13" name="Group 12">
            <a:extLst>
              <a:ext uri="{FF2B5EF4-FFF2-40B4-BE49-F238E27FC236}">
                <a16:creationId xmlns:a16="http://schemas.microsoft.com/office/drawing/2014/main" id="{A39C15A3-1488-47B3-8754-8292EA7A7B0A}"/>
              </a:ext>
            </a:extLst>
          </p:cNvPr>
          <p:cNvGrpSpPr/>
          <p:nvPr/>
        </p:nvGrpSpPr>
        <p:grpSpPr>
          <a:xfrm>
            <a:off x="8334324" y="3901203"/>
            <a:ext cx="475488" cy="475488"/>
            <a:chOff x="10453126" y="2606611"/>
            <a:chExt cx="308371" cy="266700"/>
          </a:xfrm>
          <a:solidFill>
            <a:schemeClr val="tx1"/>
          </a:solidFill>
        </p:grpSpPr>
        <p:sp>
          <p:nvSpPr>
            <p:cNvPr id="14" name="Freeform 325">
              <a:extLst>
                <a:ext uri="{FF2B5EF4-FFF2-40B4-BE49-F238E27FC236}">
                  <a16:creationId xmlns:a16="http://schemas.microsoft.com/office/drawing/2014/main" id="{93922E8E-49DE-4DB7-9315-4A7B0C0118F7}"/>
                </a:ext>
              </a:extLst>
            </p:cNvPr>
            <p:cNvSpPr>
              <a:spLocks/>
            </p:cNvSpPr>
            <p:nvPr/>
          </p:nvSpPr>
          <p:spPr bwMode="auto">
            <a:xfrm>
              <a:off x="10453126" y="2624946"/>
              <a:ext cx="93345" cy="248365"/>
            </a:xfrm>
            <a:custGeom>
              <a:avLst/>
              <a:gdLst>
                <a:gd name="T0" fmla="*/ 110 w 112"/>
                <a:gd name="T1" fmla="*/ 62 h 300"/>
                <a:gd name="T2" fmla="*/ 6 w 112"/>
                <a:gd name="T3" fmla="*/ 0 h 300"/>
                <a:gd name="T4" fmla="*/ 6 w 112"/>
                <a:gd name="T5" fmla="*/ 0 h 300"/>
                <a:gd name="T6" fmla="*/ 2 w 112"/>
                <a:gd name="T7" fmla="*/ 0 h 300"/>
                <a:gd name="T8" fmla="*/ 2 w 112"/>
                <a:gd name="T9" fmla="*/ 0 h 300"/>
                <a:gd name="T10" fmla="*/ 0 w 112"/>
                <a:gd name="T11" fmla="*/ 1 h 300"/>
                <a:gd name="T12" fmla="*/ 0 w 112"/>
                <a:gd name="T13" fmla="*/ 5 h 300"/>
                <a:gd name="T14" fmla="*/ 0 w 112"/>
                <a:gd name="T15" fmla="*/ 233 h 300"/>
                <a:gd name="T16" fmla="*/ 0 w 112"/>
                <a:gd name="T17" fmla="*/ 233 h 300"/>
                <a:gd name="T18" fmla="*/ 0 w 112"/>
                <a:gd name="T19" fmla="*/ 235 h 300"/>
                <a:gd name="T20" fmla="*/ 2 w 112"/>
                <a:gd name="T21" fmla="*/ 237 h 300"/>
                <a:gd name="T22" fmla="*/ 106 w 112"/>
                <a:gd name="T23" fmla="*/ 300 h 300"/>
                <a:gd name="T24" fmla="*/ 106 w 112"/>
                <a:gd name="T25" fmla="*/ 300 h 300"/>
                <a:gd name="T26" fmla="*/ 108 w 112"/>
                <a:gd name="T27" fmla="*/ 300 h 300"/>
                <a:gd name="T28" fmla="*/ 108 w 112"/>
                <a:gd name="T29" fmla="*/ 300 h 300"/>
                <a:gd name="T30" fmla="*/ 110 w 112"/>
                <a:gd name="T31" fmla="*/ 300 h 300"/>
                <a:gd name="T32" fmla="*/ 110 w 112"/>
                <a:gd name="T33" fmla="*/ 300 h 300"/>
                <a:gd name="T34" fmla="*/ 112 w 112"/>
                <a:gd name="T35" fmla="*/ 297 h 300"/>
                <a:gd name="T36" fmla="*/ 112 w 112"/>
                <a:gd name="T37" fmla="*/ 294 h 300"/>
                <a:gd name="T38" fmla="*/ 112 w 112"/>
                <a:gd name="T39" fmla="*/ 67 h 300"/>
                <a:gd name="T40" fmla="*/ 112 w 112"/>
                <a:gd name="T41" fmla="*/ 67 h 300"/>
                <a:gd name="T42" fmla="*/ 112 w 112"/>
                <a:gd name="T43" fmla="*/ 65 h 300"/>
                <a:gd name="T44" fmla="*/ 110 w 112"/>
                <a:gd name="T45" fmla="*/ 62 h 300"/>
                <a:gd name="T46" fmla="*/ 110 w 112"/>
                <a:gd name="T47" fmla="*/ 62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300">
                  <a:moveTo>
                    <a:pt x="110" y="62"/>
                  </a:moveTo>
                  <a:lnTo>
                    <a:pt x="6" y="0"/>
                  </a:lnTo>
                  <a:lnTo>
                    <a:pt x="6" y="0"/>
                  </a:lnTo>
                  <a:lnTo>
                    <a:pt x="2" y="0"/>
                  </a:lnTo>
                  <a:lnTo>
                    <a:pt x="2" y="0"/>
                  </a:lnTo>
                  <a:lnTo>
                    <a:pt x="0" y="1"/>
                  </a:lnTo>
                  <a:lnTo>
                    <a:pt x="0" y="5"/>
                  </a:lnTo>
                  <a:lnTo>
                    <a:pt x="0" y="233"/>
                  </a:lnTo>
                  <a:lnTo>
                    <a:pt x="0" y="233"/>
                  </a:lnTo>
                  <a:lnTo>
                    <a:pt x="0" y="235"/>
                  </a:lnTo>
                  <a:lnTo>
                    <a:pt x="2" y="237"/>
                  </a:lnTo>
                  <a:lnTo>
                    <a:pt x="106" y="300"/>
                  </a:lnTo>
                  <a:lnTo>
                    <a:pt x="106" y="300"/>
                  </a:lnTo>
                  <a:lnTo>
                    <a:pt x="108" y="300"/>
                  </a:lnTo>
                  <a:lnTo>
                    <a:pt x="108" y="300"/>
                  </a:lnTo>
                  <a:lnTo>
                    <a:pt x="110" y="300"/>
                  </a:lnTo>
                  <a:lnTo>
                    <a:pt x="110" y="300"/>
                  </a:lnTo>
                  <a:lnTo>
                    <a:pt x="112" y="297"/>
                  </a:lnTo>
                  <a:lnTo>
                    <a:pt x="112" y="294"/>
                  </a:lnTo>
                  <a:lnTo>
                    <a:pt x="112" y="67"/>
                  </a:lnTo>
                  <a:lnTo>
                    <a:pt x="112" y="67"/>
                  </a:lnTo>
                  <a:lnTo>
                    <a:pt x="112" y="65"/>
                  </a:lnTo>
                  <a:lnTo>
                    <a:pt x="110" y="62"/>
                  </a:lnTo>
                  <a:lnTo>
                    <a:pt x="11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012" tIns="48006" rIns="96012" bIns="4800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15"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5" name="Freeform 326">
              <a:extLst>
                <a:ext uri="{FF2B5EF4-FFF2-40B4-BE49-F238E27FC236}">
                  <a16:creationId xmlns:a16="http://schemas.microsoft.com/office/drawing/2014/main" id="{696F521C-C4FD-4E7C-9087-4F6F61752E8C}"/>
                </a:ext>
              </a:extLst>
            </p:cNvPr>
            <p:cNvSpPr>
              <a:spLocks/>
            </p:cNvSpPr>
            <p:nvPr/>
          </p:nvSpPr>
          <p:spPr bwMode="auto">
            <a:xfrm>
              <a:off x="10471461" y="2606611"/>
              <a:ext cx="290036" cy="233363"/>
            </a:xfrm>
            <a:custGeom>
              <a:avLst/>
              <a:gdLst>
                <a:gd name="T0" fmla="*/ 345 w 348"/>
                <a:gd name="T1" fmla="*/ 126 h 279"/>
                <a:gd name="T2" fmla="*/ 251 w 348"/>
                <a:gd name="T3" fmla="*/ 32 h 279"/>
                <a:gd name="T4" fmla="*/ 237 w 348"/>
                <a:gd name="T5" fmla="*/ 47 h 279"/>
                <a:gd name="T6" fmla="*/ 312 w 348"/>
                <a:gd name="T7" fmla="*/ 122 h 279"/>
                <a:gd name="T8" fmla="*/ 187 w 348"/>
                <a:gd name="T9" fmla="*/ 122 h 279"/>
                <a:gd name="T10" fmla="*/ 187 w 348"/>
                <a:gd name="T11" fmla="*/ 122 h 279"/>
                <a:gd name="T12" fmla="*/ 187 w 348"/>
                <a:gd name="T13" fmla="*/ 5 h 279"/>
                <a:gd name="T14" fmla="*/ 187 w 348"/>
                <a:gd name="T15" fmla="*/ 5 h 279"/>
                <a:gd name="T16" fmla="*/ 187 w 348"/>
                <a:gd name="T17" fmla="*/ 4 h 279"/>
                <a:gd name="T18" fmla="*/ 186 w 348"/>
                <a:gd name="T19" fmla="*/ 1 h 279"/>
                <a:gd name="T20" fmla="*/ 184 w 348"/>
                <a:gd name="T21" fmla="*/ 0 h 279"/>
                <a:gd name="T22" fmla="*/ 181 w 348"/>
                <a:gd name="T23" fmla="*/ 0 h 279"/>
                <a:gd name="T24" fmla="*/ 0 w 348"/>
                <a:gd name="T25" fmla="*/ 0 h 279"/>
                <a:gd name="T26" fmla="*/ 106 w 348"/>
                <a:gd name="T27" fmla="*/ 63 h 279"/>
                <a:gd name="T28" fmla="*/ 106 w 348"/>
                <a:gd name="T29" fmla="*/ 63 h 279"/>
                <a:gd name="T30" fmla="*/ 109 w 348"/>
                <a:gd name="T31" fmla="*/ 65 h 279"/>
                <a:gd name="T32" fmla="*/ 112 w 348"/>
                <a:gd name="T33" fmla="*/ 69 h 279"/>
                <a:gd name="T34" fmla="*/ 113 w 348"/>
                <a:gd name="T35" fmla="*/ 73 h 279"/>
                <a:gd name="T36" fmla="*/ 114 w 348"/>
                <a:gd name="T37" fmla="*/ 79 h 279"/>
                <a:gd name="T38" fmla="*/ 114 w 348"/>
                <a:gd name="T39" fmla="*/ 279 h 279"/>
                <a:gd name="T40" fmla="*/ 181 w 348"/>
                <a:gd name="T41" fmla="*/ 279 h 279"/>
                <a:gd name="T42" fmla="*/ 181 w 348"/>
                <a:gd name="T43" fmla="*/ 279 h 279"/>
                <a:gd name="T44" fmla="*/ 184 w 348"/>
                <a:gd name="T45" fmla="*/ 279 h 279"/>
                <a:gd name="T46" fmla="*/ 186 w 348"/>
                <a:gd name="T47" fmla="*/ 278 h 279"/>
                <a:gd name="T48" fmla="*/ 187 w 348"/>
                <a:gd name="T49" fmla="*/ 276 h 279"/>
                <a:gd name="T50" fmla="*/ 187 w 348"/>
                <a:gd name="T51" fmla="*/ 274 h 279"/>
                <a:gd name="T52" fmla="*/ 187 w 348"/>
                <a:gd name="T53" fmla="*/ 143 h 279"/>
                <a:gd name="T54" fmla="*/ 312 w 348"/>
                <a:gd name="T55" fmla="*/ 143 h 279"/>
                <a:gd name="T56" fmla="*/ 237 w 348"/>
                <a:gd name="T57" fmla="*/ 213 h 279"/>
                <a:gd name="T58" fmla="*/ 251 w 348"/>
                <a:gd name="T59" fmla="*/ 229 h 279"/>
                <a:gd name="T60" fmla="*/ 345 w 348"/>
                <a:gd name="T61" fmla="*/ 141 h 279"/>
                <a:gd name="T62" fmla="*/ 345 w 348"/>
                <a:gd name="T63" fmla="*/ 141 h 279"/>
                <a:gd name="T64" fmla="*/ 348 w 348"/>
                <a:gd name="T65" fmla="*/ 137 h 279"/>
                <a:gd name="T66" fmla="*/ 348 w 348"/>
                <a:gd name="T67" fmla="*/ 133 h 279"/>
                <a:gd name="T68" fmla="*/ 348 w 348"/>
                <a:gd name="T69" fmla="*/ 133 h 279"/>
                <a:gd name="T70" fmla="*/ 348 w 348"/>
                <a:gd name="T71" fmla="*/ 129 h 279"/>
                <a:gd name="T72" fmla="*/ 345 w 348"/>
                <a:gd name="T73" fmla="*/ 126 h 279"/>
                <a:gd name="T74" fmla="*/ 345 w 348"/>
                <a:gd name="T75" fmla="*/ 126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8" h="279">
                  <a:moveTo>
                    <a:pt x="345" y="126"/>
                  </a:moveTo>
                  <a:lnTo>
                    <a:pt x="251" y="32"/>
                  </a:lnTo>
                  <a:lnTo>
                    <a:pt x="237" y="47"/>
                  </a:lnTo>
                  <a:lnTo>
                    <a:pt x="312" y="122"/>
                  </a:lnTo>
                  <a:lnTo>
                    <a:pt x="187" y="122"/>
                  </a:lnTo>
                  <a:lnTo>
                    <a:pt x="187" y="122"/>
                  </a:lnTo>
                  <a:lnTo>
                    <a:pt x="187" y="5"/>
                  </a:lnTo>
                  <a:lnTo>
                    <a:pt x="187" y="5"/>
                  </a:lnTo>
                  <a:lnTo>
                    <a:pt x="187" y="4"/>
                  </a:lnTo>
                  <a:lnTo>
                    <a:pt x="186" y="1"/>
                  </a:lnTo>
                  <a:lnTo>
                    <a:pt x="184" y="0"/>
                  </a:lnTo>
                  <a:lnTo>
                    <a:pt x="181" y="0"/>
                  </a:lnTo>
                  <a:lnTo>
                    <a:pt x="0" y="0"/>
                  </a:lnTo>
                  <a:lnTo>
                    <a:pt x="106" y="63"/>
                  </a:lnTo>
                  <a:lnTo>
                    <a:pt x="106" y="63"/>
                  </a:lnTo>
                  <a:lnTo>
                    <a:pt x="109" y="65"/>
                  </a:lnTo>
                  <a:lnTo>
                    <a:pt x="112" y="69"/>
                  </a:lnTo>
                  <a:lnTo>
                    <a:pt x="113" y="73"/>
                  </a:lnTo>
                  <a:lnTo>
                    <a:pt x="114" y="79"/>
                  </a:lnTo>
                  <a:lnTo>
                    <a:pt x="114" y="279"/>
                  </a:lnTo>
                  <a:lnTo>
                    <a:pt x="181" y="279"/>
                  </a:lnTo>
                  <a:lnTo>
                    <a:pt x="181" y="279"/>
                  </a:lnTo>
                  <a:lnTo>
                    <a:pt x="184" y="279"/>
                  </a:lnTo>
                  <a:lnTo>
                    <a:pt x="186" y="278"/>
                  </a:lnTo>
                  <a:lnTo>
                    <a:pt x="187" y="276"/>
                  </a:lnTo>
                  <a:lnTo>
                    <a:pt x="187" y="274"/>
                  </a:lnTo>
                  <a:lnTo>
                    <a:pt x="187" y="143"/>
                  </a:lnTo>
                  <a:lnTo>
                    <a:pt x="312" y="143"/>
                  </a:lnTo>
                  <a:lnTo>
                    <a:pt x="237" y="213"/>
                  </a:lnTo>
                  <a:lnTo>
                    <a:pt x="251" y="229"/>
                  </a:lnTo>
                  <a:lnTo>
                    <a:pt x="345" y="141"/>
                  </a:lnTo>
                  <a:lnTo>
                    <a:pt x="345" y="141"/>
                  </a:lnTo>
                  <a:lnTo>
                    <a:pt x="348" y="137"/>
                  </a:lnTo>
                  <a:lnTo>
                    <a:pt x="348" y="133"/>
                  </a:lnTo>
                  <a:lnTo>
                    <a:pt x="348" y="133"/>
                  </a:lnTo>
                  <a:lnTo>
                    <a:pt x="348" y="129"/>
                  </a:lnTo>
                  <a:lnTo>
                    <a:pt x="345" y="126"/>
                  </a:lnTo>
                  <a:lnTo>
                    <a:pt x="345"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012" tIns="48006" rIns="96012" bIns="4800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15" b="0" i="0" u="none" strike="noStrike" kern="1200" cap="none" spc="0" normalizeH="0" baseline="0" noProof="0" dirty="0">
                <a:ln>
                  <a:noFill/>
                </a:ln>
                <a:solidFill>
                  <a:srgbClr val="000000"/>
                </a:solidFill>
                <a:effectLst/>
                <a:uLnTx/>
                <a:uFillTx/>
                <a:latin typeface="Open Sans"/>
                <a:ea typeface="+mn-ea"/>
                <a:cs typeface="+mn-cs"/>
              </a:endParaRPr>
            </a:p>
          </p:txBody>
        </p:sp>
      </p:grpSp>
    </p:spTree>
    <p:extLst>
      <p:ext uri="{BB962C8B-B14F-4D97-AF65-F5344CB8AC3E}">
        <p14:creationId xmlns:p14="http://schemas.microsoft.com/office/powerpoint/2010/main" val="400657854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2B7AC2-8F97-4E5B-92C9-6ADE85140A6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4"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562B7AC2-8F97-4E5B-92C9-6ADE85140A6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388FCEE-22D8-44F9-BF29-CA0D6A75D67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35B02637-A3A2-4469-890E-F300AC4A9A60}"/>
              </a:ext>
            </a:extLst>
          </p:cNvPr>
          <p:cNvSpPr>
            <a:spLocks noGrp="1"/>
          </p:cNvSpPr>
          <p:nvPr>
            <p:ph type="title"/>
          </p:nvPr>
        </p:nvSpPr>
        <p:spPr/>
        <p:txBody>
          <a:bodyPr/>
          <a:lstStyle/>
          <a:p>
            <a:r>
              <a:rPr lang="en-US" altLang="ja-JP" dirty="0"/>
              <a:t>Integrated ORs are gaining market traction</a:t>
            </a:r>
            <a:endParaRPr lang="en-US" dirty="0"/>
          </a:p>
        </p:txBody>
      </p:sp>
      <p:sp>
        <p:nvSpPr>
          <p:cNvPr id="27" name="Text Placeholder 26">
            <a:extLst>
              <a:ext uri="{FF2B5EF4-FFF2-40B4-BE49-F238E27FC236}">
                <a16:creationId xmlns:a16="http://schemas.microsoft.com/office/drawing/2014/main" id="{8F1DEBFA-B62D-4EC1-AFD4-4A40E957281E}"/>
              </a:ext>
            </a:extLst>
          </p:cNvPr>
          <p:cNvSpPr>
            <a:spLocks noGrp="1"/>
          </p:cNvSpPr>
          <p:nvPr>
            <p:ph type="body" sz="quarter" idx="14"/>
          </p:nvPr>
        </p:nvSpPr>
        <p:spPr/>
        <p:txBody>
          <a:bodyPr/>
          <a:lstStyle/>
          <a:p>
            <a:r>
              <a:rPr lang="en-US" dirty="0"/>
              <a:t>Subheader</a:t>
            </a:r>
          </a:p>
        </p:txBody>
      </p:sp>
      <p:sp>
        <p:nvSpPr>
          <p:cNvPr id="28" name="Text Placeholder 27">
            <a:extLst>
              <a:ext uri="{FF2B5EF4-FFF2-40B4-BE49-F238E27FC236}">
                <a16:creationId xmlns:a16="http://schemas.microsoft.com/office/drawing/2014/main" id="{C630A753-842C-420F-9013-683F3828BD2F}"/>
              </a:ext>
            </a:extLst>
          </p:cNvPr>
          <p:cNvSpPr>
            <a:spLocks noGrp="1"/>
          </p:cNvSpPr>
          <p:nvPr>
            <p:ph type="body" sz="quarter" idx="15"/>
          </p:nvPr>
        </p:nvSpPr>
        <p:spPr/>
        <p:txBody>
          <a:bodyPr/>
          <a:lstStyle/>
          <a:p>
            <a:r>
              <a:rPr lang="en-US" dirty="0"/>
              <a:t>text</a:t>
            </a:r>
          </a:p>
        </p:txBody>
      </p:sp>
      <p:sp>
        <p:nvSpPr>
          <p:cNvPr id="5" name="Up Arrow 65">
            <a:extLst>
              <a:ext uri="{FF2B5EF4-FFF2-40B4-BE49-F238E27FC236}">
                <a16:creationId xmlns:a16="http://schemas.microsoft.com/office/drawing/2014/main" id="{30760ADD-AF3B-4BD9-B73D-E5AAFC2E4261}"/>
              </a:ext>
            </a:extLst>
          </p:cNvPr>
          <p:cNvSpPr/>
          <p:nvPr/>
        </p:nvSpPr>
        <p:spPr bwMode="gray">
          <a:xfrm>
            <a:off x="9742492" y="2224656"/>
            <a:ext cx="606280" cy="3192819"/>
          </a:xfrm>
          <a:prstGeom prst="upArrow">
            <a:avLst/>
          </a:prstGeom>
          <a:solidFill>
            <a:schemeClr val="accent1"/>
          </a:solidFill>
          <a:ln w="12700" algn="ctr">
            <a:noFill/>
            <a:miter lim="800000"/>
            <a:headEnd/>
            <a:tailEnd/>
          </a:ln>
          <a:effectLst>
            <a:outerShdw blurRad="50800" dist="38100" dir="8100000" algn="tr" rotWithShape="0">
              <a:prstClr val="black">
                <a:alpha val="40000"/>
              </a:prstClr>
            </a:outerShdw>
          </a:effectLst>
        </p:spPr>
        <p:txBody>
          <a:bodyPr wrap="square" lIns="36000" tIns="36000" rIns="36000" bIns="36000" rtlCol="0" anchor="ctr"/>
          <a:lstStyle/>
          <a:p>
            <a:pPr algn="ctr" fontAlgn="base">
              <a:spcBef>
                <a:spcPct val="0"/>
              </a:spcBef>
              <a:spcAft>
                <a:spcPct val="0"/>
              </a:spcAft>
            </a:pPr>
            <a:endParaRPr kumimoji="1" lang="en-US" sz="1200" dirty="0">
              <a:solidFill>
                <a:prstClr val="black"/>
              </a:solidFill>
              <a:ea typeface="ＭＳ Ｐゴシック"/>
              <a:cs typeface="Arial" charset="0"/>
            </a:endParaRPr>
          </a:p>
        </p:txBody>
      </p:sp>
      <p:sp>
        <p:nvSpPr>
          <p:cNvPr id="6" name="TextBox 5">
            <a:extLst>
              <a:ext uri="{FF2B5EF4-FFF2-40B4-BE49-F238E27FC236}">
                <a16:creationId xmlns:a16="http://schemas.microsoft.com/office/drawing/2014/main" id="{65FE6D77-94D8-4373-8524-4230C87CCCE6}"/>
              </a:ext>
            </a:extLst>
          </p:cNvPr>
          <p:cNvSpPr txBox="1"/>
          <p:nvPr/>
        </p:nvSpPr>
        <p:spPr bwMode="gray">
          <a:xfrm>
            <a:off x="3922788" y="2384686"/>
            <a:ext cx="3955201" cy="553998"/>
          </a:xfrm>
          <a:prstGeom prst="rect">
            <a:avLst/>
          </a:prstGeom>
          <a:noFill/>
        </p:spPr>
        <p:txBody>
          <a:bodyPr wrap="square" lIns="0" tIns="0" rIns="0" bIns="0" rtlCol="0" anchor="ctr">
            <a:spAutoFit/>
          </a:bodyPr>
          <a:lstStyle/>
          <a:p>
            <a:pPr marL="285750" indent="-285750" fontAlgn="base">
              <a:spcBef>
                <a:spcPct val="0"/>
              </a:spcBef>
              <a:spcAft>
                <a:spcPct val="0"/>
              </a:spcAft>
              <a:buFont typeface="Wingdings" panose="05000000000000000000" pitchFamily="2" charset="2"/>
              <a:buChar char="§"/>
            </a:pPr>
            <a:r>
              <a:rPr lang="en-US" sz="1200" dirty="0">
                <a:solidFill>
                  <a:prstClr val="black"/>
                </a:solidFill>
                <a:ea typeface="ＭＳ Ｐゴシック"/>
                <a:cs typeface="Arial" charset="0"/>
              </a:rPr>
              <a:t>Boost </a:t>
            </a:r>
            <a:r>
              <a:rPr lang="en-US" sz="1200" b="1" i="1" dirty="0">
                <a:solidFill>
                  <a:schemeClr val="accent1">
                    <a:lumMod val="75000"/>
                  </a:schemeClr>
                </a:solidFill>
                <a:ea typeface="ＭＳ Ｐゴシック"/>
                <a:cs typeface="Arial" charset="0"/>
              </a:rPr>
              <a:t>time and cost savings</a:t>
            </a:r>
            <a:r>
              <a:rPr lang="en-US" sz="1200" dirty="0">
                <a:solidFill>
                  <a:schemeClr val="accent1">
                    <a:lumMod val="75000"/>
                  </a:schemeClr>
                </a:solidFill>
                <a:ea typeface="ＭＳ Ｐゴシック"/>
                <a:cs typeface="Arial" charset="0"/>
              </a:rPr>
              <a:t> </a:t>
            </a:r>
            <a:r>
              <a:rPr lang="en-US" sz="1200" dirty="0">
                <a:solidFill>
                  <a:prstClr val="black"/>
                </a:solidFill>
                <a:ea typeface="ＭＳ Ｐゴシック"/>
                <a:cs typeface="Arial" charset="0"/>
              </a:rPr>
              <a:t>by lowering procedure times and need for patient relocation during multi-faceted operations</a:t>
            </a:r>
          </a:p>
        </p:txBody>
      </p:sp>
      <p:sp>
        <p:nvSpPr>
          <p:cNvPr id="7" name="TextBox 6">
            <a:extLst>
              <a:ext uri="{FF2B5EF4-FFF2-40B4-BE49-F238E27FC236}">
                <a16:creationId xmlns:a16="http://schemas.microsoft.com/office/drawing/2014/main" id="{25EAC82D-E8DC-41B1-BE98-E9CD8C0DC915}"/>
              </a:ext>
            </a:extLst>
          </p:cNvPr>
          <p:cNvSpPr txBox="1"/>
          <p:nvPr/>
        </p:nvSpPr>
        <p:spPr bwMode="gray">
          <a:xfrm>
            <a:off x="3922788" y="1680082"/>
            <a:ext cx="3955201" cy="369332"/>
          </a:xfrm>
          <a:prstGeom prst="rect">
            <a:avLst/>
          </a:prstGeom>
          <a:noFill/>
        </p:spPr>
        <p:txBody>
          <a:bodyPr wrap="square" lIns="0" tIns="0" rIns="0" bIns="0" rtlCol="0" anchor="ctr">
            <a:spAutoFit/>
          </a:bodyPr>
          <a:lstStyle/>
          <a:p>
            <a:pPr marL="285750" indent="-285750" fontAlgn="base">
              <a:spcBef>
                <a:spcPct val="0"/>
              </a:spcBef>
              <a:spcAft>
                <a:spcPct val="0"/>
              </a:spcAft>
              <a:buFont typeface="Wingdings" panose="05000000000000000000" pitchFamily="2" charset="2"/>
              <a:buChar char="§"/>
            </a:pPr>
            <a:r>
              <a:rPr lang="en-US" sz="1200" dirty="0">
                <a:solidFill>
                  <a:prstClr val="black"/>
                </a:solidFill>
                <a:ea typeface="ＭＳ Ｐゴシック"/>
                <a:cs typeface="Arial" charset="0"/>
              </a:rPr>
              <a:t>Support </a:t>
            </a:r>
            <a:r>
              <a:rPr lang="en-US" sz="1200" b="1" i="1" dirty="0">
                <a:solidFill>
                  <a:schemeClr val="accent1">
                    <a:lumMod val="75000"/>
                  </a:schemeClr>
                </a:solidFill>
                <a:ea typeface="ＭＳ Ｐゴシック"/>
                <a:cs typeface="Arial" charset="0"/>
              </a:rPr>
              <a:t>growing number of complex and minimally invasive</a:t>
            </a:r>
            <a:r>
              <a:rPr lang="en-US" sz="1200" dirty="0">
                <a:solidFill>
                  <a:schemeClr val="accent1">
                    <a:lumMod val="75000"/>
                  </a:schemeClr>
                </a:solidFill>
                <a:ea typeface="ＭＳ Ｐゴシック"/>
                <a:cs typeface="Arial" charset="0"/>
              </a:rPr>
              <a:t> </a:t>
            </a:r>
            <a:r>
              <a:rPr lang="en-US" sz="1200" dirty="0">
                <a:solidFill>
                  <a:prstClr val="black"/>
                </a:solidFill>
                <a:ea typeface="ＭＳ Ｐゴシック"/>
                <a:cs typeface="Arial" charset="0"/>
              </a:rPr>
              <a:t>(MI) surgeries</a:t>
            </a:r>
          </a:p>
        </p:txBody>
      </p:sp>
      <p:sp>
        <p:nvSpPr>
          <p:cNvPr id="8" name="TextBox 7">
            <a:extLst>
              <a:ext uri="{FF2B5EF4-FFF2-40B4-BE49-F238E27FC236}">
                <a16:creationId xmlns:a16="http://schemas.microsoft.com/office/drawing/2014/main" id="{7E0D09C0-F68C-469A-A9CF-521A37E4CF84}"/>
              </a:ext>
            </a:extLst>
          </p:cNvPr>
          <p:cNvSpPr txBox="1"/>
          <p:nvPr/>
        </p:nvSpPr>
        <p:spPr bwMode="gray">
          <a:xfrm>
            <a:off x="3922788" y="3217148"/>
            <a:ext cx="3955201" cy="553998"/>
          </a:xfrm>
          <a:prstGeom prst="rect">
            <a:avLst/>
          </a:prstGeom>
          <a:noFill/>
        </p:spPr>
        <p:txBody>
          <a:bodyPr wrap="square" lIns="0" tIns="0" rIns="0" bIns="0" rtlCol="0" anchor="ctr">
            <a:spAutoFit/>
          </a:bodyPr>
          <a:lstStyle/>
          <a:p>
            <a:pPr marL="285750" indent="-285750" fontAlgn="base">
              <a:spcBef>
                <a:spcPct val="0"/>
              </a:spcBef>
              <a:spcAft>
                <a:spcPct val="0"/>
              </a:spcAft>
              <a:buFont typeface="Wingdings" panose="05000000000000000000" pitchFamily="2" charset="2"/>
              <a:buChar char="§"/>
            </a:pPr>
            <a:r>
              <a:rPr lang="en-US" sz="1200" dirty="0">
                <a:solidFill>
                  <a:prstClr val="black"/>
                </a:solidFill>
                <a:ea typeface="ＭＳ Ｐゴシック"/>
                <a:cs typeface="Arial" charset="0"/>
              </a:rPr>
              <a:t>Improve clinical outcomes </a:t>
            </a:r>
          </a:p>
          <a:p>
            <a:pPr marL="285750" indent="-285750" fontAlgn="base">
              <a:spcBef>
                <a:spcPct val="0"/>
              </a:spcBef>
              <a:spcAft>
                <a:spcPct val="0"/>
              </a:spcAft>
              <a:buFont typeface="Wingdings" panose="05000000000000000000" pitchFamily="2" charset="2"/>
              <a:buChar char="§"/>
            </a:pPr>
            <a:r>
              <a:rPr lang="en-US" sz="1200" dirty="0">
                <a:solidFill>
                  <a:prstClr val="black"/>
                </a:solidFill>
                <a:ea typeface="ＭＳ Ｐゴシック"/>
                <a:cs typeface="Arial" charset="0"/>
              </a:rPr>
              <a:t>Document surgical procedure workflow and patient data for </a:t>
            </a:r>
            <a:r>
              <a:rPr lang="en-US" sz="1200" b="1" i="1" dirty="0">
                <a:solidFill>
                  <a:schemeClr val="accent1">
                    <a:lumMod val="75000"/>
                  </a:schemeClr>
                </a:solidFill>
                <a:ea typeface="ＭＳ Ｐゴシック"/>
                <a:cs typeface="Arial" charset="0"/>
              </a:rPr>
              <a:t>future referencing and analytics </a:t>
            </a:r>
          </a:p>
        </p:txBody>
      </p:sp>
      <p:sp>
        <p:nvSpPr>
          <p:cNvPr id="9" name="TextBox 8">
            <a:extLst>
              <a:ext uri="{FF2B5EF4-FFF2-40B4-BE49-F238E27FC236}">
                <a16:creationId xmlns:a16="http://schemas.microsoft.com/office/drawing/2014/main" id="{9553A813-2A19-4843-9884-4D20AC24C50B}"/>
              </a:ext>
            </a:extLst>
          </p:cNvPr>
          <p:cNvSpPr txBox="1"/>
          <p:nvPr/>
        </p:nvSpPr>
        <p:spPr bwMode="gray">
          <a:xfrm>
            <a:off x="3922787" y="3989111"/>
            <a:ext cx="3955202" cy="553998"/>
          </a:xfrm>
          <a:prstGeom prst="rect">
            <a:avLst/>
          </a:prstGeom>
          <a:noFill/>
        </p:spPr>
        <p:txBody>
          <a:bodyPr wrap="square" lIns="0" tIns="0" rIns="0" bIns="0" rtlCol="0" anchor="ctr">
            <a:spAutoFit/>
          </a:bodyPr>
          <a:lstStyle/>
          <a:p>
            <a:pPr marL="285750" indent="-285750" fontAlgn="base">
              <a:spcBef>
                <a:spcPct val="0"/>
              </a:spcBef>
              <a:spcAft>
                <a:spcPct val="0"/>
              </a:spcAft>
              <a:buFont typeface="Wingdings" panose="05000000000000000000" pitchFamily="2" charset="2"/>
              <a:buChar char="§"/>
            </a:pPr>
            <a:r>
              <a:rPr lang="en-US" sz="1200" dirty="0">
                <a:solidFill>
                  <a:prstClr val="black"/>
                </a:solidFill>
                <a:ea typeface="ＭＳ Ｐゴシック"/>
                <a:cs typeface="Arial" charset="0"/>
              </a:rPr>
              <a:t>Increase </a:t>
            </a:r>
            <a:r>
              <a:rPr lang="en-US" sz="1200" b="1" i="1" dirty="0">
                <a:solidFill>
                  <a:schemeClr val="accent1">
                    <a:lumMod val="75000"/>
                  </a:schemeClr>
                </a:solidFill>
                <a:ea typeface="ＭＳ Ｐゴシック"/>
                <a:cs typeface="Arial" charset="0"/>
              </a:rPr>
              <a:t>patient safety</a:t>
            </a:r>
            <a:r>
              <a:rPr lang="en-US" sz="1200" dirty="0">
                <a:solidFill>
                  <a:schemeClr val="accent1">
                    <a:lumMod val="75000"/>
                  </a:schemeClr>
                </a:solidFill>
                <a:ea typeface="ＭＳ Ｐゴシック"/>
                <a:cs typeface="Arial" charset="0"/>
              </a:rPr>
              <a:t> </a:t>
            </a:r>
            <a:r>
              <a:rPr lang="en-US" sz="1200" dirty="0">
                <a:solidFill>
                  <a:prstClr val="black"/>
                </a:solidFill>
                <a:ea typeface="ＭＳ Ｐゴシック"/>
                <a:cs typeface="Arial" charset="0"/>
              </a:rPr>
              <a:t>by allowing for emergency complications and remote clinician consultations to occur both inside and outside the OR</a:t>
            </a:r>
          </a:p>
        </p:txBody>
      </p:sp>
      <p:sp>
        <p:nvSpPr>
          <p:cNvPr id="10" name="TextBox 9">
            <a:extLst>
              <a:ext uri="{FF2B5EF4-FFF2-40B4-BE49-F238E27FC236}">
                <a16:creationId xmlns:a16="http://schemas.microsoft.com/office/drawing/2014/main" id="{1486A23C-D0B4-4CD0-AB8E-EB27016645ED}"/>
              </a:ext>
            </a:extLst>
          </p:cNvPr>
          <p:cNvSpPr txBox="1"/>
          <p:nvPr/>
        </p:nvSpPr>
        <p:spPr bwMode="gray">
          <a:xfrm>
            <a:off x="3922788" y="4773261"/>
            <a:ext cx="3955201" cy="553998"/>
          </a:xfrm>
          <a:prstGeom prst="rect">
            <a:avLst/>
          </a:prstGeom>
          <a:noFill/>
        </p:spPr>
        <p:txBody>
          <a:bodyPr wrap="square" lIns="0" tIns="0" rIns="0" bIns="0" rtlCol="0" anchor="ctr">
            <a:spAutoFit/>
          </a:bodyPr>
          <a:lstStyle/>
          <a:p>
            <a:pPr marL="285750" indent="-285750" fontAlgn="base">
              <a:spcBef>
                <a:spcPct val="0"/>
              </a:spcBef>
              <a:spcAft>
                <a:spcPct val="0"/>
              </a:spcAft>
              <a:buFont typeface="Wingdings" panose="05000000000000000000" pitchFamily="2" charset="2"/>
              <a:buChar char="§"/>
            </a:pPr>
            <a:r>
              <a:rPr lang="en-US" sz="1200" dirty="0">
                <a:solidFill>
                  <a:prstClr val="black"/>
                </a:solidFill>
                <a:ea typeface="ＭＳ Ｐゴシック"/>
                <a:cs typeface="Arial" charset="0"/>
              </a:rPr>
              <a:t>Streamline use of advanced technologies permeating the OR and </a:t>
            </a:r>
            <a:r>
              <a:rPr lang="en-US" sz="1200" b="1" i="1" dirty="0">
                <a:solidFill>
                  <a:schemeClr val="accent1">
                    <a:lumMod val="75000"/>
                  </a:schemeClr>
                </a:solidFill>
                <a:ea typeface="ＭＳ Ｐゴシック"/>
                <a:cs typeface="Arial" charset="0"/>
              </a:rPr>
              <a:t>automate equipment management</a:t>
            </a:r>
          </a:p>
        </p:txBody>
      </p:sp>
      <p:sp>
        <p:nvSpPr>
          <p:cNvPr id="11" name="TextBox 10">
            <a:extLst>
              <a:ext uri="{FF2B5EF4-FFF2-40B4-BE49-F238E27FC236}">
                <a16:creationId xmlns:a16="http://schemas.microsoft.com/office/drawing/2014/main" id="{92063E46-87EE-4E14-BF2B-F978FAA1C267}"/>
              </a:ext>
            </a:extLst>
          </p:cNvPr>
          <p:cNvSpPr txBox="1"/>
          <p:nvPr/>
        </p:nvSpPr>
        <p:spPr bwMode="gray">
          <a:xfrm>
            <a:off x="3922788" y="5613168"/>
            <a:ext cx="4104001" cy="553998"/>
          </a:xfrm>
          <a:prstGeom prst="rect">
            <a:avLst/>
          </a:prstGeom>
          <a:noFill/>
        </p:spPr>
        <p:txBody>
          <a:bodyPr wrap="square" lIns="0" tIns="0" rIns="0" bIns="0" rtlCol="0" anchor="ctr">
            <a:spAutoFit/>
          </a:bodyPr>
          <a:lstStyle/>
          <a:p>
            <a:pPr marL="285750" indent="-285750" fontAlgn="base">
              <a:spcBef>
                <a:spcPct val="0"/>
              </a:spcBef>
              <a:spcAft>
                <a:spcPct val="0"/>
              </a:spcAft>
              <a:buFont typeface="Wingdings" panose="05000000000000000000" pitchFamily="2" charset="2"/>
              <a:buChar char="§"/>
            </a:pPr>
            <a:r>
              <a:rPr lang="en-US" sz="1200" dirty="0">
                <a:solidFill>
                  <a:prstClr val="black"/>
                </a:solidFill>
                <a:ea typeface="ＭＳ Ｐゴシック"/>
                <a:cs typeface="Arial" charset="0"/>
              </a:rPr>
              <a:t>Provide </a:t>
            </a:r>
            <a:r>
              <a:rPr lang="en-US" sz="1200" b="1" i="1" dirty="0">
                <a:solidFill>
                  <a:schemeClr val="accent1">
                    <a:lumMod val="75000"/>
                  </a:schemeClr>
                </a:solidFill>
                <a:ea typeface="ＭＳ Ｐゴシック"/>
                <a:cs typeface="Arial" charset="0"/>
              </a:rPr>
              <a:t>two-way communication system</a:t>
            </a:r>
            <a:r>
              <a:rPr lang="en-US" sz="1200" dirty="0">
                <a:solidFill>
                  <a:schemeClr val="accent1">
                    <a:lumMod val="75000"/>
                  </a:schemeClr>
                </a:solidFill>
                <a:ea typeface="ＭＳ Ｐゴシック"/>
                <a:cs typeface="Arial" charset="0"/>
              </a:rPr>
              <a:t> </a:t>
            </a:r>
            <a:r>
              <a:rPr lang="en-US" sz="1200" dirty="0">
                <a:solidFill>
                  <a:prstClr val="black"/>
                </a:solidFill>
                <a:ea typeface="ＭＳ Ｐゴシック"/>
                <a:cs typeface="Arial" charset="0"/>
              </a:rPr>
              <a:t>via audio and video with third-party clinical decision makers, educators, and stakeholders</a:t>
            </a:r>
          </a:p>
        </p:txBody>
      </p:sp>
      <p:sp>
        <p:nvSpPr>
          <p:cNvPr id="12" name="Freeform 3">
            <a:extLst>
              <a:ext uri="{FF2B5EF4-FFF2-40B4-BE49-F238E27FC236}">
                <a16:creationId xmlns:a16="http://schemas.microsoft.com/office/drawing/2014/main" id="{EB0BEDFA-F467-4799-A784-67221B01CA4A}"/>
              </a:ext>
            </a:extLst>
          </p:cNvPr>
          <p:cNvSpPr>
            <a:spLocks/>
          </p:cNvSpPr>
          <p:nvPr/>
        </p:nvSpPr>
        <p:spPr bwMode="auto">
          <a:xfrm>
            <a:off x="3930915" y="3887371"/>
            <a:ext cx="5315073" cy="2400713"/>
          </a:xfrm>
          <a:custGeom>
            <a:avLst/>
            <a:gdLst>
              <a:gd name="T0" fmla="*/ 0 w 3783"/>
              <a:gd name="T1" fmla="*/ 1237 h 1144"/>
              <a:gd name="T2" fmla="*/ 4896 w 3783"/>
              <a:gd name="T3" fmla="*/ 1237 h 1144"/>
              <a:gd name="T4" fmla="*/ 6031 w 3783"/>
              <a:gd name="T5" fmla="*/ 0 h 1144"/>
              <a:gd name="T6" fmla="*/ 28 w 3783"/>
              <a:gd name="T7" fmla="*/ 0 h 1144"/>
              <a:gd name="T8" fmla="*/ 0 60000 65536"/>
              <a:gd name="T9" fmla="*/ 0 60000 65536"/>
              <a:gd name="T10" fmla="*/ 0 60000 65536"/>
              <a:gd name="T11" fmla="*/ 0 60000 65536"/>
              <a:gd name="T12" fmla="*/ 0 w 3783"/>
              <a:gd name="T13" fmla="*/ 0 h 1144"/>
              <a:gd name="T14" fmla="*/ 3783 w 3783"/>
              <a:gd name="T15" fmla="*/ 1144 h 1144"/>
              <a:gd name="connsiteX0" fmla="*/ 0 w 9997"/>
              <a:gd name="connsiteY0" fmla="*/ 9991 h 9991"/>
              <a:gd name="connsiteX1" fmla="*/ 8115 w 9997"/>
              <a:gd name="connsiteY1" fmla="*/ 9991 h 9991"/>
              <a:gd name="connsiteX2" fmla="*/ 9997 w 9997"/>
              <a:gd name="connsiteY2" fmla="*/ 0 h 9991"/>
            </a:gdLst>
            <a:ahLst/>
            <a:cxnLst>
              <a:cxn ang="0">
                <a:pos x="connsiteX0" y="connsiteY0"/>
              </a:cxn>
              <a:cxn ang="0">
                <a:pos x="connsiteX1" y="connsiteY1"/>
              </a:cxn>
              <a:cxn ang="0">
                <a:pos x="connsiteX2" y="connsiteY2"/>
              </a:cxn>
            </a:cxnLst>
            <a:rect l="l" t="t" r="r" b="b"/>
            <a:pathLst>
              <a:path w="9997" h="9991">
                <a:moveTo>
                  <a:pt x="0" y="9991"/>
                </a:moveTo>
                <a:lnTo>
                  <a:pt x="8115" y="9991"/>
                </a:lnTo>
                <a:lnTo>
                  <a:pt x="9997" y="0"/>
                </a:lnTo>
              </a:path>
            </a:pathLst>
          </a:custGeom>
          <a:noFill/>
          <a:ln w="6350" cap="rnd">
            <a:solidFill>
              <a:srgbClr val="BBBCBC"/>
            </a:solidFill>
            <a:round/>
            <a:headEnd type="none" w="sm" len="sm"/>
            <a:tailEnd type="none" w="sm" len="sm"/>
          </a:ln>
        </p:spPr>
        <p:txBody>
          <a:bodyPr/>
          <a:lstStyle/>
          <a:p>
            <a:pPr fontAlgn="base">
              <a:spcBef>
                <a:spcPct val="0"/>
              </a:spcBef>
              <a:spcAft>
                <a:spcPct val="0"/>
              </a:spcAft>
              <a:buFont typeface="Arial" pitchFamily="34" charset="0"/>
              <a:buChar char="•"/>
              <a:defRPr/>
            </a:pPr>
            <a:endParaRPr lang="en-GB" sz="1200" dirty="0">
              <a:solidFill>
                <a:srgbClr val="53565A"/>
              </a:solidFill>
              <a:ea typeface="ＭＳ Ｐゴシック"/>
              <a:cs typeface="Arial" charset="0"/>
            </a:endParaRPr>
          </a:p>
        </p:txBody>
      </p:sp>
      <p:sp>
        <p:nvSpPr>
          <p:cNvPr id="13" name="Freeform 4">
            <a:extLst>
              <a:ext uri="{FF2B5EF4-FFF2-40B4-BE49-F238E27FC236}">
                <a16:creationId xmlns:a16="http://schemas.microsoft.com/office/drawing/2014/main" id="{DBF1DFA1-2565-4739-9CF4-36D008AC0B58}"/>
              </a:ext>
            </a:extLst>
          </p:cNvPr>
          <p:cNvSpPr>
            <a:spLocks/>
          </p:cNvSpPr>
          <p:nvPr/>
        </p:nvSpPr>
        <p:spPr bwMode="auto">
          <a:xfrm>
            <a:off x="3875156" y="3878998"/>
            <a:ext cx="4853189" cy="1585855"/>
          </a:xfrm>
          <a:custGeom>
            <a:avLst/>
            <a:gdLst>
              <a:gd name="T0" fmla="*/ 0 w 3455"/>
              <a:gd name="T1" fmla="*/ 789 h 728"/>
              <a:gd name="T2" fmla="*/ 4753 w 3455"/>
              <a:gd name="T3" fmla="*/ 789 h 728"/>
              <a:gd name="T4" fmla="*/ 5506 w 3455"/>
              <a:gd name="T5" fmla="*/ 0 h 728"/>
              <a:gd name="T6" fmla="*/ 15 w 3455"/>
              <a:gd name="T7" fmla="*/ 0 h 728"/>
              <a:gd name="T8" fmla="*/ 0 60000 65536"/>
              <a:gd name="T9" fmla="*/ 0 60000 65536"/>
              <a:gd name="T10" fmla="*/ 0 60000 65536"/>
              <a:gd name="T11" fmla="*/ 0 60000 65536"/>
              <a:gd name="T12" fmla="*/ 0 w 3455"/>
              <a:gd name="T13" fmla="*/ 0 h 728"/>
              <a:gd name="T14" fmla="*/ 3455 w 3455"/>
              <a:gd name="T15" fmla="*/ 728 h 728"/>
              <a:gd name="connsiteX0" fmla="*/ 0 w 9997"/>
              <a:gd name="connsiteY0" fmla="*/ 9986 h 9986"/>
              <a:gd name="connsiteX1" fmla="*/ 8631 w 9997"/>
              <a:gd name="connsiteY1" fmla="*/ 9986 h 9986"/>
              <a:gd name="connsiteX2" fmla="*/ 9997 w 9997"/>
              <a:gd name="connsiteY2" fmla="*/ 0 h 9986"/>
            </a:gdLst>
            <a:ahLst/>
            <a:cxnLst>
              <a:cxn ang="0">
                <a:pos x="connsiteX0" y="connsiteY0"/>
              </a:cxn>
              <a:cxn ang="0">
                <a:pos x="connsiteX1" y="connsiteY1"/>
              </a:cxn>
              <a:cxn ang="0">
                <a:pos x="connsiteX2" y="connsiteY2"/>
              </a:cxn>
            </a:cxnLst>
            <a:rect l="l" t="t" r="r" b="b"/>
            <a:pathLst>
              <a:path w="9997" h="9986">
                <a:moveTo>
                  <a:pt x="0" y="9986"/>
                </a:moveTo>
                <a:lnTo>
                  <a:pt x="8631" y="9986"/>
                </a:lnTo>
                <a:lnTo>
                  <a:pt x="9997" y="0"/>
                </a:lnTo>
              </a:path>
            </a:pathLst>
          </a:custGeom>
          <a:noFill/>
          <a:ln w="6350" cap="rnd">
            <a:solidFill>
              <a:srgbClr val="BBBCBC"/>
            </a:solidFill>
            <a:round/>
            <a:headEnd type="none" w="sm" len="sm"/>
            <a:tailEnd type="none" w="sm" len="sm"/>
          </a:ln>
        </p:spPr>
        <p:txBody>
          <a:bodyPr/>
          <a:lstStyle/>
          <a:p>
            <a:pPr fontAlgn="base">
              <a:spcBef>
                <a:spcPct val="0"/>
              </a:spcBef>
              <a:spcAft>
                <a:spcPct val="0"/>
              </a:spcAft>
              <a:buFont typeface="Arial" pitchFamily="34" charset="0"/>
              <a:buChar char="•"/>
              <a:defRPr/>
            </a:pPr>
            <a:endParaRPr lang="en-GB" sz="1200" dirty="0">
              <a:solidFill>
                <a:srgbClr val="53565A"/>
              </a:solidFill>
              <a:ea typeface="ＭＳ Ｐゴシック"/>
              <a:cs typeface="Arial" charset="0"/>
            </a:endParaRPr>
          </a:p>
        </p:txBody>
      </p:sp>
      <p:sp>
        <p:nvSpPr>
          <p:cNvPr id="14" name="Freeform 6">
            <a:extLst>
              <a:ext uri="{FF2B5EF4-FFF2-40B4-BE49-F238E27FC236}">
                <a16:creationId xmlns:a16="http://schemas.microsoft.com/office/drawing/2014/main" id="{3AF6FFC6-6E02-46A6-B322-BC207F3098D0}"/>
              </a:ext>
            </a:extLst>
          </p:cNvPr>
          <p:cNvSpPr>
            <a:spLocks/>
          </p:cNvSpPr>
          <p:nvPr/>
        </p:nvSpPr>
        <p:spPr bwMode="auto">
          <a:xfrm>
            <a:off x="3922787" y="1446245"/>
            <a:ext cx="5323201" cy="2400713"/>
          </a:xfrm>
          <a:custGeom>
            <a:avLst/>
            <a:gdLst>
              <a:gd name="T0" fmla="*/ 0 w 3789"/>
              <a:gd name="T1" fmla="*/ 0 h 1144"/>
              <a:gd name="T2" fmla="*/ 4905 w 3789"/>
              <a:gd name="T3" fmla="*/ 0 h 1144"/>
              <a:gd name="T4" fmla="*/ 6041 w 3789"/>
              <a:gd name="T5" fmla="*/ 1237 h 1144"/>
              <a:gd name="T6" fmla="*/ 25 w 3789"/>
              <a:gd name="T7" fmla="*/ 1237 h 1144"/>
              <a:gd name="T8" fmla="*/ 0 60000 65536"/>
              <a:gd name="T9" fmla="*/ 0 60000 65536"/>
              <a:gd name="T10" fmla="*/ 0 60000 65536"/>
              <a:gd name="T11" fmla="*/ 0 60000 65536"/>
              <a:gd name="T12" fmla="*/ 0 w 3789"/>
              <a:gd name="T13" fmla="*/ 0 h 1144"/>
              <a:gd name="T14" fmla="*/ 3789 w 3789"/>
              <a:gd name="T15" fmla="*/ 1144 h 1144"/>
              <a:gd name="connsiteX0" fmla="*/ 0 w 9997"/>
              <a:gd name="connsiteY0" fmla="*/ 0 h 9991"/>
              <a:gd name="connsiteX1" fmla="*/ 8116 w 9997"/>
              <a:gd name="connsiteY1" fmla="*/ 0 h 9991"/>
              <a:gd name="connsiteX2" fmla="*/ 9997 w 9997"/>
              <a:gd name="connsiteY2" fmla="*/ 9991 h 9991"/>
            </a:gdLst>
            <a:ahLst/>
            <a:cxnLst>
              <a:cxn ang="0">
                <a:pos x="connsiteX0" y="connsiteY0"/>
              </a:cxn>
              <a:cxn ang="0">
                <a:pos x="connsiteX1" y="connsiteY1"/>
              </a:cxn>
              <a:cxn ang="0">
                <a:pos x="connsiteX2" y="connsiteY2"/>
              </a:cxn>
            </a:cxnLst>
            <a:rect l="l" t="t" r="r" b="b"/>
            <a:pathLst>
              <a:path w="9997" h="9991">
                <a:moveTo>
                  <a:pt x="0" y="0"/>
                </a:moveTo>
                <a:lnTo>
                  <a:pt x="8116" y="0"/>
                </a:lnTo>
                <a:lnTo>
                  <a:pt x="9997" y="9991"/>
                </a:lnTo>
              </a:path>
            </a:pathLst>
          </a:custGeom>
          <a:noFill/>
          <a:ln w="6350" cap="rnd">
            <a:solidFill>
              <a:srgbClr val="BBBCBC"/>
            </a:solidFill>
            <a:round/>
            <a:headEnd type="none" w="sm" len="sm"/>
            <a:tailEnd type="none" w="sm" len="sm"/>
          </a:ln>
        </p:spPr>
        <p:txBody>
          <a:bodyPr/>
          <a:lstStyle/>
          <a:p>
            <a:pPr fontAlgn="base">
              <a:spcBef>
                <a:spcPct val="0"/>
              </a:spcBef>
              <a:spcAft>
                <a:spcPct val="0"/>
              </a:spcAft>
              <a:buFont typeface="Arial" pitchFamily="34" charset="0"/>
              <a:buChar char="•"/>
              <a:defRPr/>
            </a:pPr>
            <a:endParaRPr lang="en-GB" sz="1200" dirty="0">
              <a:solidFill>
                <a:srgbClr val="53565A"/>
              </a:solidFill>
              <a:ea typeface="ＭＳ Ｐゴシック"/>
              <a:cs typeface="Arial" charset="0"/>
            </a:endParaRPr>
          </a:p>
        </p:txBody>
      </p:sp>
      <p:sp>
        <p:nvSpPr>
          <p:cNvPr id="15" name="Freeform 8">
            <a:extLst>
              <a:ext uri="{FF2B5EF4-FFF2-40B4-BE49-F238E27FC236}">
                <a16:creationId xmlns:a16="http://schemas.microsoft.com/office/drawing/2014/main" id="{F74252CC-3090-4EEC-8F6E-E2D3C47B562A}"/>
              </a:ext>
            </a:extLst>
          </p:cNvPr>
          <p:cNvSpPr>
            <a:spLocks/>
          </p:cNvSpPr>
          <p:nvPr/>
        </p:nvSpPr>
        <p:spPr bwMode="auto">
          <a:xfrm>
            <a:off x="3829335" y="3069764"/>
            <a:ext cx="4370984" cy="784356"/>
          </a:xfrm>
          <a:custGeom>
            <a:avLst/>
            <a:gdLst>
              <a:gd name="T0" fmla="*/ 0 w 3111"/>
              <a:gd name="T1" fmla="*/ 0 h 361"/>
              <a:gd name="T2" fmla="*/ 4629 w 3111"/>
              <a:gd name="T3" fmla="*/ 0 h 361"/>
              <a:gd name="T4" fmla="*/ 4960 w 3111"/>
              <a:gd name="T5" fmla="*/ 388 h 361"/>
              <a:gd name="T6" fmla="*/ 13 w 3111"/>
              <a:gd name="T7" fmla="*/ 388 h 361"/>
              <a:gd name="T8" fmla="*/ 0 60000 65536"/>
              <a:gd name="T9" fmla="*/ 0 60000 65536"/>
              <a:gd name="T10" fmla="*/ 0 60000 65536"/>
              <a:gd name="T11" fmla="*/ 0 60000 65536"/>
              <a:gd name="T12" fmla="*/ 0 w 3111"/>
              <a:gd name="T13" fmla="*/ 0 h 361"/>
              <a:gd name="T14" fmla="*/ 3111 w 3111"/>
              <a:gd name="T15" fmla="*/ 361 h 361"/>
              <a:gd name="connsiteX0" fmla="*/ 0 w 9997"/>
              <a:gd name="connsiteY0" fmla="*/ 0 h 9972"/>
              <a:gd name="connsiteX1" fmla="*/ 9328 w 9997"/>
              <a:gd name="connsiteY1" fmla="*/ 0 h 9972"/>
              <a:gd name="connsiteX2" fmla="*/ 9997 w 9997"/>
              <a:gd name="connsiteY2" fmla="*/ 9972 h 9972"/>
            </a:gdLst>
            <a:ahLst/>
            <a:cxnLst>
              <a:cxn ang="0">
                <a:pos x="connsiteX0" y="connsiteY0"/>
              </a:cxn>
              <a:cxn ang="0">
                <a:pos x="connsiteX1" y="connsiteY1"/>
              </a:cxn>
              <a:cxn ang="0">
                <a:pos x="connsiteX2" y="connsiteY2"/>
              </a:cxn>
            </a:cxnLst>
            <a:rect l="l" t="t" r="r" b="b"/>
            <a:pathLst>
              <a:path w="9997" h="9972">
                <a:moveTo>
                  <a:pt x="0" y="0"/>
                </a:moveTo>
                <a:lnTo>
                  <a:pt x="9328" y="0"/>
                </a:lnTo>
                <a:lnTo>
                  <a:pt x="9997" y="9972"/>
                </a:lnTo>
              </a:path>
            </a:pathLst>
          </a:custGeom>
          <a:noFill/>
          <a:ln w="6350" cap="rnd">
            <a:solidFill>
              <a:srgbClr val="BBBCBC"/>
            </a:solidFill>
            <a:round/>
            <a:headEnd type="none" w="sm" len="sm"/>
            <a:tailEnd type="none" w="sm" len="sm"/>
          </a:ln>
        </p:spPr>
        <p:txBody>
          <a:bodyPr/>
          <a:lstStyle/>
          <a:p>
            <a:pPr fontAlgn="base">
              <a:spcBef>
                <a:spcPct val="0"/>
              </a:spcBef>
              <a:spcAft>
                <a:spcPct val="0"/>
              </a:spcAft>
              <a:buFont typeface="Arial" pitchFamily="34" charset="0"/>
              <a:buChar char="•"/>
              <a:defRPr/>
            </a:pPr>
            <a:endParaRPr lang="en-GB" sz="1200" dirty="0">
              <a:solidFill>
                <a:srgbClr val="53565A"/>
              </a:solidFill>
              <a:ea typeface="ＭＳ Ｐゴシック"/>
              <a:cs typeface="Arial" charset="0"/>
            </a:endParaRPr>
          </a:p>
        </p:txBody>
      </p:sp>
      <p:sp>
        <p:nvSpPr>
          <p:cNvPr id="16" name="Freeform 4">
            <a:extLst>
              <a:ext uri="{FF2B5EF4-FFF2-40B4-BE49-F238E27FC236}">
                <a16:creationId xmlns:a16="http://schemas.microsoft.com/office/drawing/2014/main" id="{1AD64643-8154-4A7D-87AA-2F1455E93F98}"/>
              </a:ext>
            </a:extLst>
          </p:cNvPr>
          <p:cNvSpPr>
            <a:spLocks/>
          </p:cNvSpPr>
          <p:nvPr/>
        </p:nvSpPr>
        <p:spPr bwMode="auto">
          <a:xfrm flipV="1">
            <a:off x="3875156" y="2270599"/>
            <a:ext cx="4853189" cy="1585855"/>
          </a:xfrm>
          <a:custGeom>
            <a:avLst/>
            <a:gdLst>
              <a:gd name="T0" fmla="*/ 0 w 3455"/>
              <a:gd name="T1" fmla="*/ 789 h 728"/>
              <a:gd name="T2" fmla="*/ 4753 w 3455"/>
              <a:gd name="T3" fmla="*/ 789 h 728"/>
              <a:gd name="T4" fmla="*/ 5506 w 3455"/>
              <a:gd name="T5" fmla="*/ 0 h 728"/>
              <a:gd name="T6" fmla="*/ 15 w 3455"/>
              <a:gd name="T7" fmla="*/ 0 h 728"/>
              <a:gd name="T8" fmla="*/ 0 60000 65536"/>
              <a:gd name="T9" fmla="*/ 0 60000 65536"/>
              <a:gd name="T10" fmla="*/ 0 60000 65536"/>
              <a:gd name="T11" fmla="*/ 0 60000 65536"/>
              <a:gd name="T12" fmla="*/ 0 w 3455"/>
              <a:gd name="T13" fmla="*/ 0 h 728"/>
              <a:gd name="T14" fmla="*/ 3455 w 3455"/>
              <a:gd name="T15" fmla="*/ 728 h 728"/>
              <a:gd name="connsiteX0" fmla="*/ 0 w 9997"/>
              <a:gd name="connsiteY0" fmla="*/ 9986 h 9986"/>
              <a:gd name="connsiteX1" fmla="*/ 8631 w 9997"/>
              <a:gd name="connsiteY1" fmla="*/ 9986 h 9986"/>
              <a:gd name="connsiteX2" fmla="*/ 9997 w 9997"/>
              <a:gd name="connsiteY2" fmla="*/ 0 h 9986"/>
            </a:gdLst>
            <a:ahLst/>
            <a:cxnLst>
              <a:cxn ang="0">
                <a:pos x="connsiteX0" y="connsiteY0"/>
              </a:cxn>
              <a:cxn ang="0">
                <a:pos x="connsiteX1" y="connsiteY1"/>
              </a:cxn>
              <a:cxn ang="0">
                <a:pos x="connsiteX2" y="connsiteY2"/>
              </a:cxn>
            </a:cxnLst>
            <a:rect l="l" t="t" r="r" b="b"/>
            <a:pathLst>
              <a:path w="9997" h="9986">
                <a:moveTo>
                  <a:pt x="0" y="9986"/>
                </a:moveTo>
                <a:lnTo>
                  <a:pt x="8631" y="9986"/>
                </a:lnTo>
                <a:lnTo>
                  <a:pt x="9997" y="0"/>
                </a:lnTo>
              </a:path>
            </a:pathLst>
          </a:custGeom>
          <a:noFill/>
          <a:ln w="6350" cap="rnd">
            <a:solidFill>
              <a:srgbClr val="BBBCBC"/>
            </a:solidFill>
            <a:round/>
            <a:headEnd type="none" w="sm" len="sm"/>
            <a:tailEnd type="none" w="sm" len="sm"/>
          </a:ln>
        </p:spPr>
        <p:txBody>
          <a:bodyPr/>
          <a:lstStyle/>
          <a:p>
            <a:pPr fontAlgn="base">
              <a:spcBef>
                <a:spcPct val="0"/>
              </a:spcBef>
              <a:spcAft>
                <a:spcPct val="0"/>
              </a:spcAft>
              <a:buFont typeface="Arial" pitchFamily="34" charset="0"/>
              <a:buChar char="•"/>
              <a:defRPr/>
            </a:pPr>
            <a:endParaRPr lang="en-GB" sz="1200" dirty="0">
              <a:solidFill>
                <a:srgbClr val="53565A"/>
              </a:solidFill>
              <a:ea typeface="ＭＳ Ｐゴシック"/>
              <a:cs typeface="Arial" charset="0"/>
            </a:endParaRPr>
          </a:p>
        </p:txBody>
      </p:sp>
      <p:cxnSp>
        <p:nvCxnSpPr>
          <p:cNvPr id="17" name="Straight Connector 16">
            <a:extLst>
              <a:ext uri="{FF2B5EF4-FFF2-40B4-BE49-F238E27FC236}">
                <a16:creationId xmlns:a16="http://schemas.microsoft.com/office/drawing/2014/main" id="{3E26EF14-C3A9-4024-A1D9-E65F1384DD2A}"/>
              </a:ext>
            </a:extLst>
          </p:cNvPr>
          <p:cNvCxnSpPr/>
          <p:nvPr/>
        </p:nvCxnSpPr>
        <p:spPr>
          <a:xfrm flipH="1" flipV="1">
            <a:off x="3829335" y="3854120"/>
            <a:ext cx="5416654" cy="3322"/>
          </a:xfrm>
          <a:prstGeom prst="line">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18" name="Freeform 8">
            <a:extLst>
              <a:ext uri="{FF2B5EF4-FFF2-40B4-BE49-F238E27FC236}">
                <a16:creationId xmlns:a16="http://schemas.microsoft.com/office/drawing/2014/main" id="{0A8D84FD-D1D9-420B-9293-2EA56594CECA}"/>
              </a:ext>
            </a:extLst>
          </p:cNvPr>
          <p:cNvSpPr>
            <a:spLocks/>
          </p:cNvSpPr>
          <p:nvPr/>
        </p:nvSpPr>
        <p:spPr bwMode="auto">
          <a:xfrm flipV="1">
            <a:off x="3829335" y="3870557"/>
            <a:ext cx="4370984" cy="784356"/>
          </a:xfrm>
          <a:custGeom>
            <a:avLst/>
            <a:gdLst>
              <a:gd name="T0" fmla="*/ 0 w 3111"/>
              <a:gd name="T1" fmla="*/ 0 h 361"/>
              <a:gd name="T2" fmla="*/ 4629 w 3111"/>
              <a:gd name="T3" fmla="*/ 0 h 361"/>
              <a:gd name="T4" fmla="*/ 4960 w 3111"/>
              <a:gd name="T5" fmla="*/ 388 h 361"/>
              <a:gd name="T6" fmla="*/ 13 w 3111"/>
              <a:gd name="T7" fmla="*/ 388 h 361"/>
              <a:gd name="T8" fmla="*/ 0 60000 65536"/>
              <a:gd name="T9" fmla="*/ 0 60000 65536"/>
              <a:gd name="T10" fmla="*/ 0 60000 65536"/>
              <a:gd name="T11" fmla="*/ 0 60000 65536"/>
              <a:gd name="T12" fmla="*/ 0 w 3111"/>
              <a:gd name="T13" fmla="*/ 0 h 361"/>
              <a:gd name="T14" fmla="*/ 3111 w 3111"/>
              <a:gd name="T15" fmla="*/ 361 h 361"/>
              <a:gd name="connsiteX0" fmla="*/ 0 w 9997"/>
              <a:gd name="connsiteY0" fmla="*/ 0 h 9972"/>
              <a:gd name="connsiteX1" fmla="*/ 9328 w 9997"/>
              <a:gd name="connsiteY1" fmla="*/ 0 h 9972"/>
              <a:gd name="connsiteX2" fmla="*/ 9997 w 9997"/>
              <a:gd name="connsiteY2" fmla="*/ 9972 h 9972"/>
            </a:gdLst>
            <a:ahLst/>
            <a:cxnLst>
              <a:cxn ang="0">
                <a:pos x="connsiteX0" y="connsiteY0"/>
              </a:cxn>
              <a:cxn ang="0">
                <a:pos x="connsiteX1" y="connsiteY1"/>
              </a:cxn>
              <a:cxn ang="0">
                <a:pos x="connsiteX2" y="connsiteY2"/>
              </a:cxn>
            </a:cxnLst>
            <a:rect l="l" t="t" r="r" b="b"/>
            <a:pathLst>
              <a:path w="9997" h="9972">
                <a:moveTo>
                  <a:pt x="0" y="0"/>
                </a:moveTo>
                <a:lnTo>
                  <a:pt x="9328" y="0"/>
                </a:lnTo>
                <a:lnTo>
                  <a:pt x="9997" y="9972"/>
                </a:lnTo>
              </a:path>
            </a:pathLst>
          </a:custGeom>
          <a:noFill/>
          <a:ln w="6350" cap="rnd">
            <a:solidFill>
              <a:srgbClr val="BBBCBC"/>
            </a:solidFill>
            <a:round/>
            <a:headEnd type="none" w="sm" len="sm"/>
            <a:tailEnd type="none" w="sm" len="sm"/>
          </a:ln>
        </p:spPr>
        <p:txBody>
          <a:bodyPr/>
          <a:lstStyle/>
          <a:p>
            <a:pPr fontAlgn="base">
              <a:spcBef>
                <a:spcPct val="0"/>
              </a:spcBef>
              <a:spcAft>
                <a:spcPct val="0"/>
              </a:spcAft>
              <a:buFont typeface="Arial" pitchFamily="34" charset="0"/>
              <a:buChar char="•"/>
              <a:defRPr/>
            </a:pPr>
            <a:endParaRPr lang="en-GB" sz="1200" dirty="0">
              <a:solidFill>
                <a:srgbClr val="53565A"/>
              </a:solidFill>
              <a:ea typeface="ＭＳ Ｐゴシック"/>
              <a:cs typeface="Arial" charset="0"/>
            </a:endParaRPr>
          </a:p>
        </p:txBody>
      </p:sp>
      <p:sp>
        <p:nvSpPr>
          <p:cNvPr id="19" name="Rounded Rectangle 4">
            <a:extLst>
              <a:ext uri="{FF2B5EF4-FFF2-40B4-BE49-F238E27FC236}">
                <a16:creationId xmlns:a16="http://schemas.microsoft.com/office/drawing/2014/main" id="{CAE08547-792B-4294-9CA4-4F3E71E71833}"/>
              </a:ext>
            </a:extLst>
          </p:cNvPr>
          <p:cNvSpPr/>
          <p:nvPr/>
        </p:nvSpPr>
        <p:spPr bwMode="gray">
          <a:xfrm>
            <a:off x="2172586" y="1446245"/>
            <a:ext cx="1554480" cy="1506773"/>
          </a:xfrm>
          <a:prstGeom prst="roundRect">
            <a:avLst/>
          </a:prstGeom>
          <a:noFill/>
          <a:ln w="38100" algn="ctr">
            <a:solidFill>
              <a:schemeClr val="accent1"/>
            </a:solidFill>
            <a:miter lim="800000"/>
            <a:headEnd/>
            <a:tailEnd/>
          </a:ln>
        </p:spPr>
        <p:txBody>
          <a:bodyPr vert="horz" wrap="square" lIns="36000" tIns="36000" rIns="36000" bIns="36000" rtlCol="0" anchor="ctr"/>
          <a:lstStyle/>
          <a:p>
            <a:pPr algn="ctr" fontAlgn="base">
              <a:spcBef>
                <a:spcPct val="0"/>
              </a:spcBef>
              <a:spcAft>
                <a:spcPct val="0"/>
              </a:spcAft>
            </a:pPr>
            <a:r>
              <a:rPr kumimoji="1" lang="en-US" sz="1400" b="1" dirty="0">
                <a:solidFill>
                  <a:schemeClr val="accent1"/>
                </a:solidFill>
                <a:ea typeface="ＭＳ Ｐゴシック"/>
                <a:cs typeface="Arial" charset="0"/>
              </a:rPr>
              <a:t>Operational Efficiency</a:t>
            </a:r>
          </a:p>
        </p:txBody>
      </p:sp>
      <p:sp>
        <p:nvSpPr>
          <p:cNvPr id="20" name="Rounded Rectangle 29">
            <a:extLst>
              <a:ext uri="{FF2B5EF4-FFF2-40B4-BE49-F238E27FC236}">
                <a16:creationId xmlns:a16="http://schemas.microsoft.com/office/drawing/2014/main" id="{4436BE8C-88F5-44CB-85C5-79E693C4DA8F}"/>
              </a:ext>
            </a:extLst>
          </p:cNvPr>
          <p:cNvSpPr/>
          <p:nvPr/>
        </p:nvSpPr>
        <p:spPr bwMode="gray">
          <a:xfrm>
            <a:off x="2172586" y="3140899"/>
            <a:ext cx="1554480" cy="1480086"/>
          </a:xfrm>
          <a:prstGeom prst="roundRect">
            <a:avLst/>
          </a:prstGeom>
          <a:noFill/>
          <a:ln w="38100" algn="ctr">
            <a:solidFill>
              <a:schemeClr val="accent1"/>
            </a:solidFill>
            <a:miter lim="800000"/>
            <a:headEnd/>
            <a:tailEnd/>
          </a:ln>
        </p:spPr>
        <p:txBody>
          <a:bodyPr vert="horz" wrap="square" lIns="36000" tIns="36000" rIns="36000" bIns="36000" rtlCol="0" anchor="ctr"/>
          <a:lstStyle/>
          <a:p>
            <a:pPr algn="ctr" fontAlgn="base">
              <a:spcBef>
                <a:spcPct val="0"/>
              </a:spcBef>
              <a:spcAft>
                <a:spcPct val="0"/>
              </a:spcAft>
            </a:pPr>
            <a:r>
              <a:rPr kumimoji="1" lang="en-US" sz="1400" b="1" dirty="0">
                <a:solidFill>
                  <a:schemeClr val="accent1"/>
                </a:solidFill>
                <a:ea typeface="ＭＳ Ｐゴシック"/>
                <a:cs typeface="Arial" charset="0"/>
              </a:rPr>
              <a:t>Improved Patient Experience</a:t>
            </a:r>
          </a:p>
        </p:txBody>
      </p:sp>
      <p:sp>
        <p:nvSpPr>
          <p:cNvPr id="21" name="Rounded Rectangle 30">
            <a:extLst>
              <a:ext uri="{FF2B5EF4-FFF2-40B4-BE49-F238E27FC236}">
                <a16:creationId xmlns:a16="http://schemas.microsoft.com/office/drawing/2014/main" id="{BC6AC739-A09E-4035-96C8-C0475D32FF92}"/>
              </a:ext>
            </a:extLst>
          </p:cNvPr>
          <p:cNvSpPr/>
          <p:nvPr/>
        </p:nvSpPr>
        <p:spPr bwMode="gray">
          <a:xfrm>
            <a:off x="2172586" y="4808867"/>
            <a:ext cx="1554480" cy="1494771"/>
          </a:xfrm>
          <a:prstGeom prst="roundRect">
            <a:avLst/>
          </a:prstGeom>
          <a:solidFill>
            <a:schemeClr val="bg1"/>
          </a:solidFill>
          <a:ln w="38100" algn="ctr">
            <a:solidFill>
              <a:schemeClr val="accent1"/>
            </a:solidFill>
            <a:miter lim="800000"/>
            <a:headEnd/>
            <a:tailEnd/>
          </a:ln>
        </p:spPr>
        <p:txBody>
          <a:bodyPr vert="horz" wrap="square" lIns="36000" tIns="36000" rIns="36000" bIns="36000" rtlCol="0" anchor="ctr"/>
          <a:lstStyle/>
          <a:p>
            <a:pPr algn="ctr" fontAlgn="base">
              <a:spcBef>
                <a:spcPct val="0"/>
              </a:spcBef>
              <a:spcAft>
                <a:spcPct val="0"/>
              </a:spcAft>
            </a:pPr>
            <a:r>
              <a:rPr kumimoji="1" lang="en-US" sz="1400" b="1" dirty="0">
                <a:solidFill>
                  <a:schemeClr val="accent1"/>
                </a:solidFill>
                <a:ea typeface="ＭＳ Ｐゴシック"/>
                <a:cs typeface="Arial" charset="0"/>
              </a:rPr>
              <a:t>Seamless Technology Management</a:t>
            </a:r>
          </a:p>
        </p:txBody>
      </p:sp>
      <p:pic>
        <p:nvPicPr>
          <p:cNvPr id="22" name="Picture 21">
            <a:extLst>
              <a:ext uri="{FF2B5EF4-FFF2-40B4-BE49-F238E27FC236}">
                <a16:creationId xmlns:a16="http://schemas.microsoft.com/office/drawing/2014/main" id="{89688594-BB0C-4BA4-B26C-A84296B6918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696825" y="2996550"/>
            <a:ext cx="2580775" cy="1715140"/>
          </a:xfrm>
          <a:prstGeom prst="roundRect">
            <a:avLst>
              <a:gd name="adj" fmla="val 8594"/>
            </a:avLst>
          </a:prstGeom>
          <a:solidFill>
            <a:srgbClr val="FFFFFF">
              <a:shade val="85000"/>
            </a:srgbClr>
          </a:solidFill>
          <a:ln>
            <a:noFill/>
          </a:ln>
          <a:effectLst>
            <a:reflection blurRad="12700" stA="23000" endPos="12000" dist="12700" dir="5400000" sy="-100000" algn="bl" rotWithShape="0"/>
          </a:effectLst>
        </p:spPr>
      </p:pic>
      <p:sp>
        <p:nvSpPr>
          <p:cNvPr id="23" name="Rectangle 22">
            <a:extLst>
              <a:ext uri="{FF2B5EF4-FFF2-40B4-BE49-F238E27FC236}">
                <a16:creationId xmlns:a16="http://schemas.microsoft.com/office/drawing/2014/main" id="{775D9642-A142-4623-B4AE-29A2E7D75D85}"/>
              </a:ext>
            </a:extLst>
          </p:cNvPr>
          <p:cNvSpPr/>
          <p:nvPr/>
        </p:nvSpPr>
        <p:spPr bwMode="gray">
          <a:xfrm>
            <a:off x="8943564" y="5287686"/>
            <a:ext cx="2204137" cy="8497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fontAlgn="base">
              <a:spcBef>
                <a:spcPct val="0"/>
              </a:spcBef>
              <a:spcAft>
                <a:spcPct val="0"/>
              </a:spcAft>
            </a:pPr>
            <a:r>
              <a:rPr lang="en-US" sz="1400" b="1" i="1" dirty="0">
                <a:solidFill>
                  <a:prstClr val="black"/>
                </a:solidFill>
                <a:ea typeface="ＭＳ Ｐゴシック"/>
              </a:rPr>
              <a:t>Accelerated Market Adoption</a:t>
            </a:r>
          </a:p>
        </p:txBody>
      </p:sp>
    </p:spTree>
    <p:extLst>
      <p:ext uri="{BB962C8B-B14F-4D97-AF65-F5344CB8AC3E}">
        <p14:creationId xmlns:p14="http://schemas.microsoft.com/office/powerpoint/2010/main" val="42690805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2B7AC2-8F97-4E5B-92C9-6ADE85140A6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08"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562B7AC2-8F97-4E5B-92C9-6ADE85140A6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388FCEE-22D8-44F9-BF29-CA0D6A75D67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35B02637-A3A2-4469-890E-F300AC4A9A60}"/>
              </a:ext>
            </a:extLst>
          </p:cNvPr>
          <p:cNvSpPr>
            <a:spLocks noGrp="1"/>
          </p:cNvSpPr>
          <p:nvPr>
            <p:ph type="title"/>
          </p:nvPr>
        </p:nvSpPr>
        <p:spPr/>
        <p:txBody>
          <a:bodyPr/>
          <a:lstStyle/>
          <a:p>
            <a:r>
              <a:rPr lang="en-US" altLang="ja-JP" dirty="0"/>
              <a:t>What it will take to do this well – four factors</a:t>
            </a:r>
            <a:endParaRPr lang="en-US" dirty="0"/>
          </a:p>
        </p:txBody>
      </p:sp>
      <p:sp>
        <p:nvSpPr>
          <p:cNvPr id="27" name="Text Placeholder 26">
            <a:extLst>
              <a:ext uri="{FF2B5EF4-FFF2-40B4-BE49-F238E27FC236}">
                <a16:creationId xmlns:a16="http://schemas.microsoft.com/office/drawing/2014/main" id="{8F1DEBFA-B62D-4EC1-AFD4-4A40E957281E}"/>
              </a:ext>
            </a:extLst>
          </p:cNvPr>
          <p:cNvSpPr>
            <a:spLocks noGrp="1"/>
          </p:cNvSpPr>
          <p:nvPr>
            <p:ph type="body" sz="quarter" idx="14"/>
          </p:nvPr>
        </p:nvSpPr>
        <p:spPr/>
        <p:txBody>
          <a:bodyPr/>
          <a:lstStyle/>
          <a:p>
            <a:r>
              <a:rPr lang="en-US" dirty="0"/>
              <a:t>Subheader</a:t>
            </a:r>
          </a:p>
        </p:txBody>
      </p:sp>
      <p:sp>
        <p:nvSpPr>
          <p:cNvPr id="28" name="Text Placeholder 27">
            <a:extLst>
              <a:ext uri="{FF2B5EF4-FFF2-40B4-BE49-F238E27FC236}">
                <a16:creationId xmlns:a16="http://schemas.microsoft.com/office/drawing/2014/main" id="{C630A753-842C-420F-9013-683F3828BD2F}"/>
              </a:ext>
            </a:extLst>
          </p:cNvPr>
          <p:cNvSpPr>
            <a:spLocks noGrp="1"/>
          </p:cNvSpPr>
          <p:nvPr>
            <p:ph type="body" sz="quarter" idx="15"/>
          </p:nvPr>
        </p:nvSpPr>
        <p:spPr/>
        <p:txBody>
          <a:bodyPr/>
          <a:lstStyle/>
          <a:p>
            <a:r>
              <a:rPr lang="en-US" dirty="0"/>
              <a:t>text</a:t>
            </a:r>
          </a:p>
        </p:txBody>
      </p:sp>
      <p:sp>
        <p:nvSpPr>
          <p:cNvPr id="29" name="Text Placeholder 7">
            <a:extLst>
              <a:ext uri="{FF2B5EF4-FFF2-40B4-BE49-F238E27FC236}">
                <a16:creationId xmlns:a16="http://schemas.microsoft.com/office/drawing/2014/main" id="{9D2CB1E3-A848-4573-8A1C-01BD524F545B}"/>
              </a:ext>
            </a:extLst>
          </p:cNvPr>
          <p:cNvSpPr txBox="1">
            <a:spLocks/>
          </p:cNvSpPr>
          <p:nvPr/>
        </p:nvSpPr>
        <p:spPr>
          <a:xfrm>
            <a:off x="1670999" y="1575620"/>
            <a:ext cx="2520000" cy="10800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1000"/>
              </a:spcBef>
              <a:spcAft>
                <a:spcPts val="0"/>
              </a:spcAft>
              <a:buClr>
                <a:srgbClr val="787878"/>
              </a:buClr>
              <a:buSzPct val="75000"/>
              <a:buFont typeface="Wingdings" charset="2"/>
              <a:buNone/>
              <a:tabLst/>
              <a:defRPr/>
            </a:pPr>
            <a:r>
              <a:rPr lang="en-US" sz="1500" b="1" dirty="0">
                <a:solidFill>
                  <a:srgbClr val="000000"/>
                </a:solidFill>
                <a:ea typeface="Chronicle Display Black" charset="0"/>
                <a:cs typeface="Chronicle Display Black" charset="0"/>
              </a:rPr>
              <a:t>E</a:t>
            </a:r>
            <a:r>
              <a:rPr kumimoji="0" lang="en-US" sz="1500" b="1" i="0" u="none" strike="noStrike" kern="1200" cap="none" spc="0" normalizeH="0" baseline="0" noProof="0" dirty="0">
                <a:ln>
                  <a:noFill/>
                </a:ln>
                <a:solidFill>
                  <a:srgbClr val="000000"/>
                </a:solidFill>
                <a:effectLst/>
                <a:uLnTx/>
                <a:uFillTx/>
                <a:ea typeface="Chronicle Display Black" charset="0"/>
                <a:cs typeface="Chronicle Display Black" charset="0"/>
              </a:rPr>
              <a:t>nd-to-end </a:t>
            </a:r>
            <a:r>
              <a:rPr lang="en-US" sz="1500" b="1" dirty="0">
                <a:solidFill>
                  <a:srgbClr val="000000"/>
                </a:solidFill>
                <a:ea typeface="Chronicle Display Black" charset="0"/>
                <a:cs typeface="Chronicle Display Black" charset="0"/>
              </a:rPr>
              <a:t>Digital</a:t>
            </a:r>
            <a:r>
              <a:rPr kumimoji="0" lang="en-US" sz="1500" b="1" i="0" u="none" strike="noStrike" kern="1200" cap="none" spc="0" normalizeH="0" baseline="0" noProof="0" dirty="0">
                <a:ln>
                  <a:noFill/>
                </a:ln>
                <a:solidFill>
                  <a:srgbClr val="000000"/>
                </a:solidFill>
                <a:effectLst/>
                <a:uLnTx/>
                <a:uFillTx/>
                <a:ea typeface="Chronicle Display Black" charset="0"/>
                <a:cs typeface="Chronicle Display Black" charset="0"/>
              </a:rPr>
              <a:t> Transformation expertise</a:t>
            </a:r>
          </a:p>
        </p:txBody>
      </p:sp>
      <p:sp>
        <p:nvSpPr>
          <p:cNvPr id="30" name="Text Placeholder 9">
            <a:extLst>
              <a:ext uri="{FF2B5EF4-FFF2-40B4-BE49-F238E27FC236}">
                <a16:creationId xmlns:a16="http://schemas.microsoft.com/office/drawing/2014/main" id="{D618A922-DDA3-4ED0-9996-A117621FDA2E}"/>
              </a:ext>
            </a:extLst>
          </p:cNvPr>
          <p:cNvSpPr txBox="1">
            <a:spLocks/>
          </p:cNvSpPr>
          <p:nvPr/>
        </p:nvSpPr>
        <p:spPr>
          <a:xfrm>
            <a:off x="1670999" y="2812047"/>
            <a:ext cx="2665431" cy="10800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1000"/>
              </a:spcBef>
              <a:spcAft>
                <a:spcPts val="0"/>
              </a:spcAft>
              <a:buClr>
                <a:srgbClr val="787878"/>
              </a:buClr>
              <a:buSzPct val="75000"/>
              <a:buFont typeface="Wingdings" charset="2"/>
              <a:buNone/>
              <a:tabLst/>
              <a:defRPr/>
            </a:pPr>
            <a:r>
              <a:rPr kumimoji="0" lang="en-US" sz="1500" b="1" i="0" u="none" strike="noStrike" kern="1200" cap="none" spc="0" normalizeH="0" baseline="0" noProof="0" dirty="0">
                <a:ln>
                  <a:noFill/>
                </a:ln>
                <a:solidFill>
                  <a:srgbClr val="000000"/>
                </a:solidFill>
                <a:effectLst/>
                <a:uLnTx/>
                <a:uFillTx/>
                <a:ea typeface="Chronicle Display Black" charset="0"/>
                <a:cs typeface="Chronicle Display Black" charset="0"/>
              </a:rPr>
              <a:t>Deep CPG insight, coupled with knowledge of your business</a:t>
            </a:r>
          </a:p>
        </p:txBody>
      </p:sp>
      <p:sp>
        <p:nvSpPr>
          <p:cNvPr id="31" name="Text Placeholder 11">
            <a:extLst>
              <a:ext uri="{FF2B5EF4-FFF2-40B4-BE49-F238E27FC236}">
                <a16:creationId xmlns:a16="http://schemas.microsoft.com/office/drawing/2014/main" id="{7FB431D2-E185-4709-8F38-CAABF196EF13}"/>
              </a:ext>
            </a:extLst>
          </p:cNvPr>
          <p:cNvSpPr txBox="1">
            <a:spLocks/>
          </p:cNvSpPr>
          <p:nvPr/>
        </p:nvSpPr>
        <p:spPr>
          <a:xfrm>
            <a:off x="1671000" y="5297609"/>
            <a:ext cx="2520000" cy="10800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787878"/>
              </a:buClr>
              <a:buSzPct val="75000"/>
              <a:buFont typeface="Wingdings" charset="2"/>
              <a:buNone/>
              <a:tabLst/>
              <a:defRPr/>
            </a:pPr>
            <a:r>
              <a:rPr kumimoji="0" lang="en-US" sz="1500" b="1" i="0" u="none" strike="noStrike" kern="1200" cap="none" spc="0" normalizeH="0" baseline="0" noProof="0" dirty="0">
                <a:ln>
                  <a:noFill/>
                </a:ln>
                <a:solidFill>
                  <a:srgbClr val="000000"/>
                </a:solidFill>
                <a:effectLst/>
                <a:uLnTx/>
                <a:uFillTx/>
                <a:ea typeface="Chronicle Display Black" charset="0"/>
                <a:cs typeface="Chronicle Display Black" charset="0"/>
              </a:rPr>
              <a:t>Deep strategy experience </a:t>
            </a:r>
            <a:r>
              <a:rPr kumimoji="0" lang="en-US" sz="1500" b="1" u="sng" strike="noStrike" kern="1200" cap="none" spc="0" normalizeH="0" baseline="0" noProof="0" dirty="0">
                <a:ln>
                  <a:noFill/>
                </a:ln>
                <a:solidFill>
                  <a:srgbClr val="000000"/>
                </a:solidFill>
                <a:effectLst/>
                <a:uLnTx/>
                <a:uFillTx/>
                <a:ea typeface="Chronicle Display Black" charset="0"/>
                <a:cs typeface="Chronicle Display Black" charset="0"/>
              </a:rPr>
              <a:t>and</a:t>
            </a:r>
            <a:r>
              <a:rPr kumimoji="0" lang="en-US" sz="1500" b="1" i="0" u="none" strike="noStrike" kern="1200" cap="none" spc="0" normalizeH="0" baseline="0" noProof="0" dirty="0">
                <a:ln>
                  <a:noFill/>
                </a:ln>
                <a:solidFill>
                  <a:srgbClr val="000000"/>
                </a:solidFill>
                <a:effectLst/>
                <a:uLnTx/>
                <a:uFillTx/>
                <a:ea typeface="Chronicle Display Black" charset="0"/>
                <a:cs typeface="Chronicle Display Black" charset="0"/>
              </a:rPr>
              <a:t> a strong bias toward agile execution</a:t>
            </a:r>
          </a:p>
        </p:txBody>
      </p:sp>
      <p:sp>
        <p:nvSpPr>
          <p:cNvPr id="32" name="Text Placeholder 14">
            <a:extLst>
              <a:ext uri="{FF2B5EF4-FFF2-40B4-BE49-F238E27FC236}">
                <a16:creationId xmlns:a16="http://schemas.microsoft.com/office/drawing/2014/main" id="{8FB6E68B-8B08-4AFC-831F-ECBB2F4321A5}"/>
              </a:ext>
            </a:extLst>
          </p:cNvPr>
          <p:cNvSpPr txBox="1">
            <a:spLocks/>
          </p:cNvSpPr>
          <p:nvPr/>
        </p:nvSpPr>
        <p:spPr>
          <a:xfrm>
            <a:off x="4617599" y="1575620"/>
            <a:ext cx="6659985" cy="1080000"/>
          </a:xfrm>
          <a:prstGeom prst="rect">
            <a:avLst/>
          </a:prstGeom>
        </p:spPr>
        <p:txBody>
          <a:bodyPr anchor="ct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130000"/>
              </a:lnSpc>
              <a:buClr>
                <a:srgbClr val="787878"/>
              </a:buClr>
              <a:buNone/>
              <a:tabLst>
                <a:tab pos="182880" algn="l"/>
              </a:tabLst>
              <a:defRPr/>
            </a:pPr>
            <a:r>
              <a:rPr kumimoji="0" lang="en-US" sz="1200" b="0" i="0" u="none" strike="noStrike" kern="1200" cap="none" spc="0" normalizeH="0" baseline="0" noProof="0" dirty="0">
                <a:ln>
                  <a:noFill/>
                </a:ln>
                <a:solidFill>
                  <a:schemeClr val="tx1"/>
                </a:solidFill>
                <a:effectLst/>
                <a:uLnTx/>
                <a:uFillTx/>
                <a:latin typeface="Open Sans"/>
                <a:ea typeface="+mn-ea"/>
                <a:cs typeface="Open Sans"/>
              </a:rPr>
              <a:t>Access to leading edge capabilities across not only digital strategy, </a:t>
            </a:r>
            <a:r>
              <a:rPr lang="en-US" sz="1200" dirty="0">
                <a:solidFill>
                  <a:schemeClr val="tx1"/>
                </a:solidFill>
                <a:cs typeface="Open Sans"/>
              </a:rPr>
              <a:t>eCommerce and digital marketing, but also the underlying technology</a:t>
            </a:r>
            <a:r>
              <a:rPr kumimoji="0" lang="en-US" sz="1200" b="0" i="0" u="none" strike="noStrike" kern="1200" cap="none" spc="0" normalizeH="0" baseline="0" noProof="0" dirty="0">
                <a:ln>
                  <a:noFill/>
                </a:ln>
                <a:solidFill>
                  <a:schemeClr val="tx1"/>
                </a:solidFill>
                <a:effectLst/>
                <a:uLnTx/>
                <a:uFillTx/>
                <a:latin typeface="Open Sans"/>
                <a:ea typeface="+mn-ea"/>
                <a:cs typeface="Open Sans"/>
              </a:rPr>
              <a:t>, operations, analytics and organization implications to make change happen</a:t>
            </a:r>
          </a:p>
        </p:txBody>
      </p:sp>
      <p:cxnSp>
        <p:nvCxnSpPr>
          <p:cNvPr id="33" name="Straight Connector 32"/>
          <p:cNvCxnSpPr/>
          <p:nvPr/>
        </p:nvCxnSpPr>
        <p:spPr>
          <a:xfrm>
            <a:off x="4404299" y="1575620"/>
            <a:ext cx="0" cy="10800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4404299" y="2812047"/>
            <a:ext cx="0" cy="108000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4404299" y="4048474"/>
            <a:ext cx="0" cy="108000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4404299" y="5284901"/>
            <a:ext cx="0" cy="108000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a:xfrm>
            <a:off x="914400" y="1575620"/>
            <a:ext cx="720000"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600" b="1" i="1" u="none" strike="noStrike" kern="1200" cap="none" spc="0" normalizeH="0" baseline="0" noProof="0" dirty="0">
                <a:ln>
                  <a:noFill/>
                </a:ln>
                <a:solidFill>
                  <a:srgbClr val="86F200"/>
                </a:solidFill>
                <a:effectLst/>
                <a:uLnTx/>
                <a:uFillTx/>
                <a:latin typeface="Open Sans"/>
                <a:ea typeface="+mn-ea"/>
                <a:cs typeface="+mn-cs"/>
              </a:rPr>
              <a:t>1</a:t>
            </a:r>
          </a:p>
        </p:txBody>
      </p:sp>
      <p:sp>
        <p:nvSpPr>
          <p:cNvPr id="38" name="Rectangle 37"/>
          <p:cNvSpPr/>
          <p:nvPr/>
        </p:nvSpPr>
        <p:spPr>
          <a:xfrm>
            <a:off x="914400" y="2812047"/>
            <a:ext cx="720000"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600" b="1" i="1" u="none" strike="noStrike" kern="1200" cap="none" spc="0" normalizeH="0" baseline="0" noProof="0" dirty="0">
                <a:ln>
                  <a:noFill/>
                </a:ln>
                <a:solidFill>
                  <a:srgbClr val="34F0FF"/>
                </a:solidFill>
                <a:effectLst/>
                <a:uLnTx/>
                <a:uFillTx/>
                <a:latin typeface="Open Sans"/>
                <a:ea typeface="+mn-ea"/>
                <a:cs typeface="+mn-cs"/>
              </a:rPr>
              <a:t>2</a:t>
            </a:r>
          </a:p>
        </p:txBody>
      </p:sp>
      <p:sp>
        <p:nvSpPr>
          <p:cNvPr id="39" name="Rectangle 38"/>
          <p:cNvSpPr/>
          <p:nvPr/>
        </p:nvSpPr>
        <p:spPr>
          <a:xfrm>
            <a:off x="914400" y="4048474"/>
            <a:ext cx="720000"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600" b="1" i="1" u="none" strike="noStrike" kern="1200" cap="none" spc="0" normalizeH="0" baseline="0" noProof="0" dirty="0">
                <a:ln>
                  <a:noFill/>
                </a:ln>
                <a:solidFill>
                  <a:srgbClr val="FDD300"/>
                </a:solidFill>
                <a:effectLst/>
                <a:uLnTx/>
                <a:uFillTx/>
                <a:latin typeface="Open Sans"/>
                <a:ea typeface="+mn-ea"/>
                <a:cs typeface="+mn-cs"/>
              </a:rPr>
              <a:t>3</a:t>
            </a:r>
          </a:p>
        </p:txBody>
      </p:sp>
      <p:sp>
        <p:nvSpPr>
          <p:cNvPr id="40" name="Rectangle 39"/>
          <p:cNvSpPr/>
          <p:nvPr/>
        </p:nvSpPr>
        <p:spPr>
          <a:xfrm>
            <a:off x="914400" y="5284901"/>
            <a:ext cx="720000"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600" b="1" i="1" u="none" strike="noStrike" kern="1200" cap="none" spc="0" normalizeH="0" baseline="0" noProof="0" dirty="0">
                <a:ln>
                  <a:noFill/>
                </a:ln>
                <a:solidFill>
                  <a:srgbClr val="3EFAC5"/>
                </a:solidFill>
                <a:effectLst/>
                <a:uLnTx/>
                <a:uFillTx/>
                <a:latin typeface="Open Sans"/>
                <a:ea typeface="+mn-ea"/>
                <a:cs typeface="+mn-cs"/>
              </a:rPr>
              <a:t>4</a:t>
            </a:r>
          </a:p>
        </p:txBody>
      </p:sp>
      <p:sp>
        <p:nvSpPr>
          <p:cNvPr id="41" name="Text Placeholder 15">
            <a:extLst>
              <a:ext uri="{FF2B5EF4-FFF2-40B4-BE49-F238E27FC236}">
                <a16:creationId xmlns:a16="http://schemas.microsoft.com/office/drawing/2014/main" id="{AA28663A-58F0-456F-AA14-ECC9FF7A186D}"/>
              </a:ext>
            </a:extLst>
          </p:cNvPr>
          <p:cNvSpPr txBox="1">
            <a:spLocks/>
          </p:cNvSpPr>
          <p:nvPr/>
        </p:nvSpPr>
        <p:spPr>
          <a:xfrm>
            <a:off x="4617599" y="2812047"/>
            <a:ext cx="6659985" cy="1080000"/>
          </a:xfrm>
          <a:prstGeom prst="rect">
            <a:avLst/>
          </a:prstGeom>
        </p:spPr>
        <p:txBody>
          <a:bodyPr anchor="ctr">
            <a:noAutofit/>
          </a:bodyPr>
          <a:lstStyle>
            <a:defPPr>
              <a:defRPr lang="en-US"/>
            </a:defPPr>
            <a:lvl1pPr marL="137160" indent="-137160">
              <a:lnSpc>
                <a:spcPct val="130000"/>
              </a:lnSpc>
              <a:spcBef>
                <a:spcPts val="1000"/>
              </a:spcBef>
              <a:buClr>
                <a:schemeClr val="accent5"/>
              </a:buClr>
              <a:buSzPct val="75000"/>
              <a:buFont typeface="Arial" panose="020B0604020202020204" pitchFamily="34" charset="0"/>
              <a:buChar char="•"/>
              <a:tabLst>
                <a:tab pos="182880" algn="l"/>
              </a:tabLst>
              <a:defRPr sz="1200">
                <a:solidFill>
                  <a:srgbClr val="000000"/>
                </a:solidFill>
                <a:cs typeface="Open Sans"/>
              </a:defRPr>
            </a:lvl1pPr>
            <a:lvl2pPr marL="685800" indent="-228600">
              <a:lnSpc>
                <a:spcPct val="100000"/>
              </a:lnSpc>
              <a:spcBef>
                <a:spcPts val="500"/>
              </a:spcBef>
              <a:buClr>
                <a:schemeClr val="accent5"/>
              </a:buClr>
              <a:buSzPct val="75000"/>
              <a:buFont typeface="Wingdings" charset="2"/>
              <a:buChar char="§"/>
              <a:defRPr>
                <a:solidFill>
                  <a:srgbClr val="3F3F3F"/>
                </a:solidFill>
              </a:defRPr>
            </a:lvl2pPr>
            <a:lvl3pPr marL="1143000" indent="-228600">
              <a:lnSpc>
                <a:spcPct val="100000"/>
              </a:lnSpc>
              <a:spcBef>
                <a:spcPts val="500"/>
              </a:spcBef>
              <a:buClr>
                <a:schemeClr val="accent5"/>
              </a:buClr>
              <a:buSzPct val="75000"/>
              <a:buFont typeface="Wingdings" charset="2"/>
              <a:buChar char="§"/>
              <a:defRPr sz="1600">
                <a:solidFill>
                  <a:srgbClr val="3F3F3F"/>
                </a:solidFill>
              </a:defRPr>
            </a:lvl3pPr>
            <a:lvl4pPr marL="1600200" indent="-228600">
              <a:lnSpc>
                <a:spcPct val="100000"/>
              </a:lnSpc>
              <a:spcBef>
                <a:spcPts val="500"/>
              </a:spcBef>
              <a:buClr>
                <a:schemeClr val="accent5"/>
              </a:buClr>
              <a:buSzPct val="75000"/>
              <a:buFont typeface="Wingdings" charset="2"/>
              <a:buChar char="§"/>
              <a:defRPr sz="1400">
                <a:solidFill>
                  <a:srgbClr val="3F3F3F"/>
                </a:solidFill>
              </a:defRPr>
            </a:lvl4pPr>
            <a:lvl5pPr marL="2057400" indent="-228600">
              <a:lnSpc>
                <a:spcPct val="100000"/>
              </a:lnSpc>
              <a:spcBef>
                <a:spcPts val="500"/>
              </a:spcBef>
              <a:buClr>
                <a:schemeClr val="accent5"/>
              </a:buClr>
              <a:buSzPct val="75000"/>
              <a:buFont typeface="Wingdings" charset="2"/>
              <a:buChar char="§"/>
              <a:defRPr sz="1400">
                <a:solidFill>
                  <a:srgbClr val="3F3F3F"/>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30000"/>
              </a:lnSpc>
              <a:spcBef>
                <a:spcPts val="1000"/>
              </a:spcBef>
              <a:spcAft>
                <a:spcPts val="0"/>
              </a:spcAft>
              <a:buClr>
                <a:srgbClr val="787878"/>
              </a:buClr>
              <a:buSzPct val="75000"/>
              <a:buNone/>
              <a:tabLst>
                <a:tab pos="182880" algn="l"/>
              </a:tabLst>
              <a:defRPr/>
            </a:pPr>
            <a:r>
              <a:rPr lang="en-US" dirty="0">
                <a:solidFill>
                  <a:schemeClr val="tx1"/>
                </a:solidFill>
                <a:latin typeface="Open Sans"/>
              </a:rPr>
              <a:t>Deep knowledge </a:t>
            </a:r>
            <a:r>
              <a:rPr kumimoji="0" lang="en-US" sz="1200" b="0" i="0" u="none" strike="noStrike" kern="1200" cap="none" spc="0" normalizeH="0" baseline="0" noProof="0" dirty="0">
                <a:ln>
                  <a:noFill/>
                </a:ln>
                <a:solidFill>
                  <a:schemeClr val="tx1"/>
                </a:solidFill>
                <a:effectLst/>
                <a:uLnTx/>
                <a:uFillTx/>
                <a:latin typeface="Open Sans"/>
                <a:ea typeface="+mn-ea"/>
                <a:cs typeface="Open Sans"/>
              </a:rPr>
              <a:t>of the right digital </a:t>
            </a:r>
            <a:r>
              <a:rPr lang="en-US" dirty="0">
                <a:solidFill>
                  <a:schemeClr val="tx1"/>
                </a:solidFill>
                <a:latin typeface="Open Sans"/>
              </a:rPr>
              <a:t>models that can be </a:t>
            </a:r>
            <a:r>
              <a:rPr kumimoji="0" lang="en-US" sz="1200" b="0" i="0" u="none" strike="noStrike" kern="1200" cap="none" spc="0" normalizeH="0" baseline="0" noProof="0" dirty="0">
                <a:ln>
                  <a:noFill/>
                </a:ln>
                <a:solidFill>
                  <a:schemeClr val="tx1"/>
                </a:solidFill>
                <a:effectLst/>
                <a:uLnTx/>
                <a:uFillTx/>
                <a:latin typeface="Open Sans"/>
                <a:ea typeface="+mn-ea"/>
                <a:cs typeface="Open Sans"/>
              </a:rPr>
              <a:t>customized to meet </a:t>
            </a:r>
            <a:br>
              <a:rPr kumimoji="0" lang="en-US" sz="1200" b="0" i="0" u="none" strike="noStrike" kern="1200" cap="none" spc="0" normalizeH="0" baseline="0" noProof="0" dirty="0">
                <a:ln>
                  <a:noFill/>
                </a:ln>
                <a:solidFill>
                  <a:schemeClr val="tx1"/>
                </a:solidFill>
                <a:effectLst/>
                <a:uLnTx/>
                <a:uFillTx/>
                <a:latin typeface="Open Sans"/>
                <a:ea typeface="+mn-ea"/>
                <a:cs typeface="Open Sans"/>
              </a:rPr>
            </a:br>
            <a:r>
              <a:rPr kumimoji="0" lang="en-US" sz="1200" b="0" i="0" u="none" strike="noStrike" kern="1200" cap="none" spc="0" normalizeH="0" baseline="0" noProof="0" dirty="0">
                <a:ln>
                  <a:noFill/>
                </a:ln>
                <a:solidFill>
                  <a:schemeClr val="tx1"/>
                </a:solidFill>
                <a:effectLst/>
                <a:uLnTx/>
                <a:uFillTx/>
                <a:latin typeface="Open Sans"/>
                <a:ea typeface="+mn-ea"/>
                <a:cs typeface="Open Sans"/>
              </a:rPr>
              <a:t>both </a:t>
            </a:r>
            <a:r>
              <a:rPr lang="en-US" dirty="0">
                <a:solidFill>
                  <a:schemeClr val="tx1"/>
                </a:solidFill>
                <a:latin typeface="Open Sans"/>
              </a:rPr>
              <a:t>CPG client as an organization </a:t>
            </a:r>
            <a:r>
              <a:rPr kumimoji="0" lang="en-US" sz="1200" b="0" i="0" u="none" strike="noStrike" kern="1200" cap="none" spc="0" normalizeH="0" baseline="0" noProof="0" dirty="0">
                <a:ln>
                  <a:noFill/>
                </a:ln>
                <a:solidFill>
                  <a:schemeClr val="tx1"/>
                </a:solidFill>
                <a:effectLst/>
                <a:uLnTx/>
                <a:uFillTx/>
                <a:latin typeface="Open Sans"/>
                <a:ea typeface="+mn-ea"/>
                <a:cs typeface="Open Sans"/>
              </a:rPr>
              <a:t>and the nuances of each category within </a:t>
            </a:r>
            <a:br>
              <a:rPr kumimoji="0" lang="en-US" sz="1200" b="0" i="0" u="none" strike="noStrike" kern="1200" cap="none" spc="0" normalizeH="0" baseline="0" noProof="0" dirty="0">
                <a:ln>
                  <a:noFill/>
                </a:ln>
                <a:solidFill>
                  <a:schemeClr val="tx1"/>
                </a:solidFill>
                <a:effectLst/>
                <a:uLnTx/>
                <a:uFillTx/>
                <a:latin typeface="Open Sans"/>
                <a:ea typeface="+mn-ea"/>
                <a:cs typeface="Open Sans"/>
              </a:rPr>
            </a:br>
            <a:r>
              <a:rPr kumimoji="0" lang="en-US" sz="1200" b="0" i="0" u="none" strike="noStrike" kern="1200" cap="none" spc="0" normalizeH="0" baseline="0" noProof="0" dirty="0">
                <a:ln>
                  <a:noFill/>
                </a:ln>
                <a:solidFill>
                  <a:schemeClr val="tx1"/>
                </a:solidFill>
                <a:effectLst/>
                <a:uLnTx/>
                <a:uFillTx/>
                <a:latin typeface="Open Sans"/>
                <a:ea typeface="+mn-ea"/>
                <a:cs typeface="Open Sans"/>
              </a:rPr>
              <a:t>your business</a:t>
            </a:r>
          </a:p>
        </p:txBody>
      </p:sp>
      <p:sp>
        <p:nvSpPr>
          <p:cNvPr id="42" name="Text Placeholder 16">
            <a:extLst>
              <a:ext uri="{FF2B5EF4-FFF2-40B4-BE49-F238E27FC236}">
                <a16:creationId xmlns:a16="http://schemas.microsoft.com/office/drawing/2014/main" id="{E587EE34-78FA-485F-9E2B-3858770B7E0A}"/>
              </a:ext>
            </a:extLst>
          </p:cNvPr>
          <p:cNvSpPr txBox="1">
            <a:spLocks/>
          </p:cNvSpPr>
          <p:nvPr/>
        </p:nvSpPr>
        <p:spPr>
          <a:xfrm>
            <a:off x="4617599" y="5297609"/>
            <a:ext cx="6659985" cy="1080000"/>
          </a:xfrm>
          <a:prstGeom prst="rect">
            <a:avLst/>
          </a:prstGeom>
        </p:spPr>
        <p:txBody>
          <a:bodyPr anchor="ctr">
            <a:noAutofit/>
          </a:bodyPr>
          <a:lstStyle>
            <a:defPPr>
              <a:defRPr lang="en-US"/>
            </a:defPPr>
            <a:lvl1pPr marL="137160" indent="-137160">
              <a:lnSpc>
                <a:spcPct val="130000"/>
              </a:lnSpc>
              <a:spcBef>
                <a:spcPts val="1000"/>
              </a:spcBef>
              <a:buClr>
                <a:schemeClr val="accent5"/>
              </a:buClr>
              <a:buSzPct val="75000"/>
              <a:buFont typeface="Arial" panose="020B0604020202020204" pitchFamily="34" charset="0"/>
              <a:buChar char="•"/>
              <a:tabLst>
                <a:tab pos="182880" algn="l"/>
              </a:tabLst>
              <a:defRPr sz="1200">
                <a:solidFill>
                  <a:srgbClr val="000000"/>
                </a:solidFill>
                <a:cs typeface="Open Sans"/>
              </a:defRPr>
            </a:lvl1pPr>
            <a:lvl2pPr marL="685800" indent="-228600">
              <a:lnSpc>
                <a:spcPct val="100000"/>
              </a:lnSpc>
              <a:spcBef>
                <a:spcPts val="500"/>
              </a:spcBef>
              <a:buClr>
                <a:schemeClr val="accent5"/>
              </a:buClr>
              <a:buSzPct val="75000"/>
              <a:buFont typeface="Wingdings" charset="2"/>
              <a:buChar char="§"/>
              <a:defRPr>
                <a:solidFill>
                  <a:srgbClr val="3F3F3F"/>
                </a:solidFill>
              </a:defRPr>
            </a:lvl2pPr>
            <a:lvl3pPr marL="1143000" indent="-228600">
              <a:lnSpc>
                <a:spcPct val="100000"/>
              </a:lnSpc>
              <a:spcBef>
                <a:spcPts val="500"/>
              </a:spcBef>
              <a:buClr>
                <a:schemeClr val="accent5"/>
              </a:buClr>
              <a:buSzPct val="75000"/>
              <a:buFont typeface="Wingdings" charset="2"/>
              <a:buChar char="§"/>
              <a:defRPr sz="1600">
                <a:solidFill>
                  <a:srgbClr val="3F3F3F"/>
                </a:solidFill>
              </a:defRPr>
            </a:lvl3pPr>
            <a:lvl4pPr marL="1600200" indent="-228600">
              <a:lnSpc>
                <a:spcPct val="100000"/>
              </a:lnSpc>
              <a:spcBef>
                <a:spcPts val="500"/>
              </a:spcBef>
              <a:buClr>
                <a:schemeClr val="accent5"/>
              </a:buClr>
              <a:buSzPct val="75000"/>
              <a:buFont typeface="Wingdings" charset="2"/>
              <a:buChar char="§"/>
              <a:defRPr sz="1400">
                <a:solidFill>
                  <a:srgbClr val="3F3F3F"/>
                </a:solidFill>
              </a:defRPr>
            </a:lvl4pPr>
            <a:lvl5pPr marL="2057400" indent="-228600">
              <a:lnSpc>
                <a:spcPct val="100000"/>
              </a:lnSpc>
              <a:spcBef>
                <a:spcPts val="500"/>
              </a:spcBef>
              <a:buClr>
                <a:schemeClr val="accent5"/>
              </a:buClr>
              <a:buSzPct val="75000"/>
              <a:buFont typeface="Wingdings" charset="2"/>
              <a:buChar char="§"/>
              <a:defRPr sz="1400">
                <a:solidFill>
                  <a:srgbClr val="3F3F3F"/>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Clr>
                <a:srgbClr val="787878"/>
              </a:buClr>
              <a:buNone/>
              <a:defRPr/>
            </a:pPr>
            <a:r>
              <a:rPr lang="en-US" dirty="0">
                <a:solidFill>
                  <a:schemeClr val="tx1"/>
                </a:solidFill>
              </a:rPr>
              <a:t>A means to </a:t>
            </a:r>
            <a:r>
              <a:rPr kumimoji="0" lang="en-US" sz="1200" b="0" i="0" u="none" strike="noStrike" kern="1200" cap="none" spc="0" normalizeH="0" baseline="0" noProof="0" dirty="0">
                <a:ln>
                  <a:noFill/>
                </a:ln>
                <a:solidFill>
                  <a:schemeClr val="tx1"/>
                </a:solidFill>
                <a:effectLst/>
                <a:uLnTx/>
                <a:uFillTx/>
                <a:latin typeface="Open Sans"/>
                <a:ea typeface="+mn-ea"/>
                <a:cs typeface="Open Sans"/>
              </a:rPr>
              <a:t>move quickly to define a vision, integrated roadmap and governance model with expertise in how to create alignment across diverse stakeholder groups and organizational complexity</a:t>
            </a:r>
          </a:p>
        </p:txBody>
      </p:sp>
      <p:sp>
        <p:nvSpPr>
          <p:cNvPr id="43" name="Text Placeholder 13">
            <a:extLst>
              <a:ext uri="{FF2B5EF4-FFF2-40B4-BE49-F238E27FC236}">
                <a16:creationId xmlns:a16="http://schemas.microsoft.com/office/drawing/2014/main" id="{2752B1CC-351D-429D-84FB-332BBF58C68C}"/>
              </a:ext>
            </a:extLst>
          </p:cNvPr>
          <p:cNvSpPr txBox="1">
            <a:spLocks/>
          </p:cNvSpPr>
          <p:nvPr/>
        </p:nvSpPr>
        <p:spPr>
          <a:xfrm>
            <a:off x="1671000" y="4019437"/>
            <a:ext cx="2520000" cy="1080000"/>
          </a:xfrm>
          <a:prstGeom prst="rect">
            <a:avLst/>
          </a:prstGeom>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85000"/>
              </a:lnSpc>
              <a:buClr>
                <a:srgbClr val="787878"/>
              </a:buClr>
              <a:buNone/>
              <a:defRPr/>
            </a:pPr>
            <a:r>
              <a:rPr lang="en-US" sz="1500" b="1" dirty="0">
                <a:solidFill>
                  <a:srgbClr val="000000"/>
                </a:solidFill>
                <a:ea typeface="Chronicle Display Black" charset="0"/>
                <a:cs typeface="Chronicle Display Black" charset="0"/>
              </a:rPr>
              <a:t>In-market depth and ability to make a global vision a local reality</a:t>
            </a:r>
          </a:p>
        </p:txBody>
      </p:sp>
      <p:sp>
        <p:nvSpPr>
          <p:cNvPr id="44" name="Text Placeholder 17">
            <a:extLst>
              <a:ext uri="{FF2B5EF4-FFF2-40B4-BE49-F238E27FC236}">
                <a16:creationId xmlns:a16="http://schemas.microsoft.com/office/drawing/2014/main" id="{EB214B4F-8E4A-4D7B-AF87-C34A58CF6D91}"/>
              </a:ext>
            </a:extLst>
          </p:cNvPr>
          <p:cNvSpPr txBox="1">
            <a:spLocks/>
          </p:cNvSpPr>
          <p:nvPr/>
        </p:nvSpPr>
        <p:spPr>
          <a:xfrm>
            <a:off x="4617599" y="4019437"/>
            <a:ext cx="6659985" cy="1080000"/>
          </a:xfrm>
          <a:prstGeom prst="rect">
            <a:avLst/>
          </a:prstGeom>
        </p:spPr>
        <p:txBody>
          <a:bodyPr anchor="ctr">
            <a:noAutofit/>
          </a:bodyPr>
          <a:lstStyle>
            <a:defPPr>
              <a:defRPr lang="en-US"/>
            </a:defPPr>
            <a:lvl1pPr marL="137160" indent="-137160">
              <a:lnSpc>
                <a:spcPct val="130000"/>
              </a:lnSpc>
              <a:spcBef>
                <a:spcPts val="1000"/>
              </a:spcBef>
              <a:buClr>
                <a:schemeClr val="accent5"/>
              </a:buClr>
              <a:buSzPct val="75000"/>
              <a:buFont typeface="Arial" panose="020B0604020202020204" pitchFamily="34" charset="0"/>
              <a:buChar char="•"/>
              <a:tabLst>
                <a:tab pos="182880" algn="l"/>
              </a:tabLst>
              <a:defRPr sz="1200">
                <a:solidFill>
                  <a:srgbClr val="000000"/>
                </a:solidFill>
                <a:cs typeface="Open Sans"/>
              </a:defRPr>
            </a:lvl1pPr>
            <a:lvl2pPr marL="685800" indent="-228600">
              <a:lnSpc>
                <a:spcPct val="100000"/>
              </a:lnSpc>
              <a:spcBef>
                <a:spcPts val="500"/>
              </a:spcBef>
              <a:buClr>
                <a:schemeClr val="accent5"/>
              </a:buClr>
              <a:buSzPct val="75000"/>
              <a:buFont typeface="Wingdings" charset="2"/>
              <a:buChar char="§"/>
              <a:defRPr>
                <a:solidFill>
                  <a:srgbClr val="3F3F3F"/>
                </a:solidFill>
              </a:defRPr>
            </a:lvl2pPr>
            <a:lvl3pPr marL="1143000" indent="-228600">
              <a:lnSpc>
                <a:spcPct val="100000"/>
              </a:lnSpc>
              <a:spcBef>
                <a:spcPts val="500"/>
              </a:spcBef>
              <a:buClr>
                <a:schemeClr val="accent5"/>
              </a:buClr>
              <a:buSzPct val="75000"/>
              <a:buFont typeface="Wingdings" charset="2"/>
              <a:buChar char="§"/>
              <a:defRPr sz="1600">
                <a:solidFill>
                  <a:srgbClr val="3F3F3F"/>
                </a:solidFill>
              </a:defRPr>
            </a:lvl3pPr>
            <a:lvl4pPr marL="1600200" indent="-228600">
              <a:lnSpc>
                <a:spcPct val="100000"/>
              </a:lnSpc>
              <a:spcBef>
                <a:spcPts val="500"/>
              </a:spcBef>
              <a:buClr>
                <a:schemeClr val="accent5"/>
              </a:buClr>
              <a:buSzPct val="75000"/>
              <a:buFont typeface="Wingdings" charset="2"/>
              <a:buChar char="§"/>
              <a:defRPr sz="1400">
                <a:solidFill>
                  <a:srgbClr val="3F3F3F"/>
                </a:solidFill>
              </a:defRPr>
            </a:lvl4pPr>
            <a:lvl5pPr marL="2057400" indent="-228600">
              <a:lnSpc>
                <a:spcPct val="100000"/>
              </a:lnSpc>
              <a:spcBef>
                <a:spcPts val="500"/>
              </a:spcBef>
              <a:buClr>
                <a:schemeClr val="accent5"/>
              </a:buClr>
              <a:buSzPct val="75000"/>
              <a:buFont typeface="Wingdings" charset="2"/>
              <a:buChar char="§"/>
              <a:defRPr sz="1400">
                <a:solidFill>
                  <a:srgbClr val="3F3F3F"/>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30000"/>
              </a:lnSpc>
              <a:spcBef>
                <a:spcPts val="1000"/>
              </a:spcBef>
              <a:spcAft>
                <a:spcPts val="0"/>
              </a:spcAft>
              <a:buClr>
                <a:srgbClr val="787878"/>
              </a:buClr>
              <a:buSzPct val="75000"/>
              <a:buNone/>
              <a:tabLst>
                <a:tab pos="182880" algn="l"/>
              </a:tabLst>
              <a:defRPr/>
            </a:pPr>
            <a:r>
              <a:rPr kumimoji="0" lang="en-US" sz="1200" b="0" i="0" u="none" strike="noStrike" kern="1200" cap="none" spc="0" normalizeH="0" baseline="0" noProof="0" dirty="0">
                <a:ln>
                  <a:noFill/>
                </a:ln>
                <a:solidFill>
                  <a:schemeClr val="tx1"/>
                </a:solidFill>
                <a:effectLst/>
                <a:uLnTx/>
                <a:uFillTx/>
                <a:latin typeface="Open Sans"/>
                <a:ea typeface="+mn-ea"/>
                <a:cs typeface="Open Sans"/>
              </a:rPr>
              <a:t>A way to connect the dots for global and market teams already </a:t>
            </a:r>
            <a:r>
              <a:rPr lang="en-US" dirty="0">
                <a:solidFill>
                  <a:schemeClr val="tx1"/>
                </a:solidFill>
                <a:latin typeface="Open Sans"/>
              </a:rPr>
              <a:t>in </a:t>
            </a:r>
            <a:r>
              <a:rPr kumimoji="0" lang="en-US" sz="1200" b="0" i="0" u="none" strike="noStrike" kern="1200" cap="none" spc="0" normalizeH="0" baseline="0" noProof="0" dirty="0">
                <a:ln>
                  <a:noFill/>
                </a:ln>
                <a:solidFill>
                  <a:schemeClr val="tx1"/>
                </a:solidFill>
                <a:effectLst/>
                <a:uLnTx/>
                <a:uFillTx/>
                <a:latin typeface="Open Sans"/>
                <a:ea typeface="+mn-ea"/>
                <a:cs typeface="Open Sans"/>
              </a:rPr>
              <a:t>activation mode,</a:t>
            </a:r>
            <a:r>
              <a:rPr lang="en-US" dirty="0">
                <a:solidFill>
                  <a:schemeClr val="tx1"/>
                </a:solidFill>
                <a:latin typeface="Open Sans"/>
              </a:rPr>
              <a:t> with resources</a:t>
            </a:r>
            <a:r>
              <a:rPr kumimoji="0" lang="en-US" sz="1200" b="0" i="0" u="none" strike="noStrike" kern="1200" cap="none" spc="0" normalizeH="0" baseline="0" noProof="0" dirty="0">
                <a:ln>
                  <a:noFill/>
                </a:ln>
                <a:solidFill>
                  <a:schemeClr val="tx1"/>
                </a:solidFill>
                <a:effectLst/>
                <a:uLnTx/>
                <a:uFillTx/>
                <a:latin typeface="Open Sans"/>
                <a:ea typeface="+mn-ea"/>
                <a:cs typeface="Open Sans"/>
              </a:rPr>
              <a:t> that can slot seamlessly into place and move you rapidly to execution</a:t>
            </a:r>
          </a:p>
        </p:txBody>
      </p:sp>
    </p:spTree>
    <p:extLst>
      <p:ext uri="{BB962C8B-B14F-4D97-AF65-F5344CB8AC3E}">
        <p14:creationId xmlns:p14="http://schemas.microsoft.com/office/powerpoint/2010/main" val="277892703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2B7AC2-8F97-4E5B-92C9-6ADE85140A6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2"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562B7AC2-8F97-4E5B-92C9-6ADE85140A6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388FCEE-22D8-44F9-BF29-CA0D6A75D67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35B02637-A3A2-4469-890E-F300AC4A9A60}"/>
              </a:ext>
            </a:extLst>
          </p:cNvPr>
          <p:cNvSpPr>
            <a:spLocks noGrp="1"/>
          </p:cNvSpPr>
          <p:nvPr>
            <p:ph type="title"/>
          </p:nvPr>
        </p:nvSpPr>
        <p:spPr/>
        <p:txBody>
          <a:bodyPr/>
          <a:lstStyle/>
          <a:p>
            <a:r>
              <a:rPr lang="en-US" dirty="0"/>
              <a:t>It transcends simple labels</a:t>
            </a:r>
          </a:p>
        </p:txBody>
      </p:sp>
      <p:sp>
        <p:nvSpPr>
          <p:cNvPr id="27" name="Text Placeholder 26">
            <a:extLst>
              <a:ext uri="{FF2B5EF4-FFF2-40B4-BE49-F238E27FC236}">
                <a16:creationId xmlns:a16="http://schemas.microsoft.com/office/drawing/2014/main" id="{8F1DEBFA-B62D-4EC1-AFD4-4A40E957281E}"/>
              </a:ext>
            </a:extLst>
          </p:cNvPr>
          <p:cNvSpPr>
            <a:spLocks noGrp="1"/>
          </p:cNvSpPr>
          <p:nvPr>
            <p:ph type="body" sz="quarter" idx="14"/>
          </p:nvPr>
        </p:nvSpPr>
        <p:spPr/>
        <p:txBody>
          <a:bodyPr/>
          <a:lstStyle/>
          <a:p>
            <a:r>
              <a:rPr lang="en-US" dirty="0"/>
              <a:t>It’s not binary.  There is no “perfect” set of ingredients.  Digital Transformation is a continuum defined across multiple dimensions</a:t>
            </a:r>
          </a:p>
        </p:txBody>
      </p:sp>
      <p:sp>
        <p:nvSpPr>
          <p:cNvPr id="28" name="Text Placeholder 27">
            <a:extLst>
              <a:ext uri="{FF2B5EF4-FFF2-40B4-BE49-F238E27FC236}">
                <a16:creationId xmlns:a16="http://schemas.microsoft.com/office/drawing/2014/main" id="{C630A753-842C-420F-9013-683F3828BD2F}"/>
              </a:ext>
            </a:extLst>
          </p:cNvPr>
          <p:cNvSpPr>
            <a:spLocks noGrp="1"/>
          </p:cNvSpPr>
          <p:nvPr>
            <p:ph type="body" sz="quarter" idx="15"/>
          </p:nvPr>
        </p:nvSpPr>
        <p:spPr/>
        <p:txBody>
          <a:bodyPr/>
          <a:lstStyle/>
          <a:p>
            <a:r>
              <a:rPr lang="en-US" dirty="0"/>
              <a:t>text</a:t>
            </a:r>
          </a:p>
        </p:txBody>
      </p:sp>
      <p:cxnSp>
        <p:nvCxnSpPr>
          <p:cNvPr id="50" name="Straight Connector 49">
            <a:extLst>
              <a:ext uri="{FF2B5EF4-FFF2-40B4-BE49-F238E27FC236}">
                <a16:creationId xmlns:a16="http://schemas.microsoft.com/office/drawing/2014/main" id="{1C1B08DE-05A0-42C7-8239-31FCA4FEB333}"/>
              </a:ext>
            </a:extLst>
          </p:cNvPr>
          <p:cNvCxnSpPr>
            <a:cxnSpLocks/>
          </p:cNvCxnSpPr>
          <p:nvPr/>
        </p:nvCxnSpPr>
        <p:spPr>
          <a:xfrm flipH="1">
            <a:off x="7676958" y="2089258"/>
            <a:ext cx="2288268" cy="0"/>
          </a:xfrm>
          <a:prstGeom prst="line">
            <a:avLst/>
          </a:prstGeom>
          <a:ln w="57150" cmpd="sng">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51" name="Group 50">
            <a:extLst>
              <a:ext uri="{FF2B5EF4-FFF2-40B4-BE49-F238E27FC236}">
                <a16:creationId xmlns:a16="http://schemas.microsoft.com/office/drawing/2014/main" id="{7D493EE0-E05C-445E-8A65-088F94238891}"/>
              </a:ext>
            </a:extLst>
          </p:cNvPr>
          <p:cNvGrpSpPr/>
          <p:nvPr/>
        </p:nvGrpSpPr>
        <p:grpSpPr>
          <a:xfrm>
            <a:off x="7631421" y="2304719"/>
            <a:ext cx="2602895" cy="186954"/>
            <a:chOff x="914400" y="1773353"/>
            <a:chExt cx="8009823" cy="364319"/>
          </a:xfrm>
          <a:solidFill>
            <a:schemeClr val="tx1"/>
          </a:solidFill>
        </p:grpSpPr>
        <p:sp>
          <p:nvSpPr>
            <p:cNvPr id="52" name="Parallelogram 51">
              <a:extLst>
                <a:ext uri="{FF2B5EF4-FFF2-40B4-BE49-F238E27FC236}">
                  <a16:creationId xmlns:a16="http://schemas.microsoft.com/office/drawing/2014/main" id="{E75ACA2E-9021-4539-8FCD-C487F1EB432F}"/>
                </a:ext>
              </a:extLst>
            </p:cNvPr>
            <p:cNvSpPr/>
            <p:nvPr/>
          </p:nvSpPr>
          <p:spPr>
            <a:xfrm>
              <a:off x="914400" y="1773353"/>
              <a:ext cx="2670048" cy="364319"/>
            </a:xfrm>
            <a:prstGeom prst="parallelogram">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spc="300" dirty="0">
                  <a:solidFill>
                    <a:schemeClr val="tx1"/>
                  </a:solidFill>
                </a:rPr>
                <a:t>LOW</a:t>
              </a:r>
            </a:p>
          </p:txBody>
        </p:sp>
        <p:sp>
          <p:nvSpPr>
            <p:cNvPr id="53" name="Parallelogram 52">
              <a:extLst>
                <a:ext uri="{FF2B5EF4-FFF2-40B4-BE49-F238E27FC236}">
                  <a16:creationId xmlns:a16="http://schemas.microsoft.com/office/drawing/2014/main" id="{70027ADE-AABD-4D19-99B2-14F41339A674}"/>
                </a:ext>
              </a:extLst>
            </p:cNvPr>
            <p:cNvSpPr/>
            <p:nvPr/>
          </p:nvSpPr>
          <p:spPr>
            <a:xfrm>
              <a:off x="3584448" y="1773353"/>
              <a:ext cx="2670048" cy="364319"/>
            </a:xfrm>
            <a:prstGeom prst="parallelogram">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spc="300" dirty="0">
                  <a:solidFill>
                    <a:schemeClr val="tx1"/>
                  </a:solidFill>
                </a:rPr>
                <a:t>MED</a:t>
              </a:r>
            </a:p>
          </p:txBody>
        </p:sp>
        <p:sp>
          <p:nvSpPr>
            <p:cNvPr id="54" name="Parallelogram 53">
              <a:extLst>
                <a:ext uri="{FF2B5EF4-FFF2-40B4-BE49-F238E27FC236}">
                  <a16:creationId xmlns:a16="http://schemas.microsoft.com/office/drawing/2014/main" id="{7F9934D8-94E3-4D30-8AF1-95380CECE274}"/>
                </a:ext>
              </a:extLst>
            </p:cNvPr>
            <p:cNvSpPr/>
            <p:nvPr/>
          </p:nvSpPr>
          <p:spPr>
            <a:xfrm>
              <a:off x="6254175" y="1773353"/>
              <a:ext cx="2670048" cy="364319"/>
            </a:xfrm>
            <a:prstGeom prst="parallelogram">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spc="300" dirty="0">
                  <a:solidFill>
                    <a:schemeClr val="tx1"/>
                  </a:solidFill>
                </a:rPr>
                <a:t>HIGH</a:t>
              </a:r>
            </a:p>
          </p:txBody>
        </p:sp>
      </p:grpSp>
      <p:sp>
        <p:nvSpPr>
          <p:cNvPr id="55" name="Rectangle 54">
            <a:extLst>
              <a:ext uri="{FF2B5EF4-FFF2-40B4-BE49-F238E27FC236}">
                <a16:creationId xmlns:a16="http://schemas.microsoft.com/office/drawing/2014/main" id="{437EA753-5545-4CAE-8105-ABE96A3CD327}"/>
              </a:ext>
            </a:extLst>
          </p:cNvPr>
          <p:cNvSpPr/>
          <p:nvPr/>
        </p:nvSpPr>
        <p:spPr>
          <a:xfrm>
            <a:off x="7609910" y="1891288"/>
            <a:ext cx="2849891" cy="286232"/>
          </a:xfrm>
          <a:prstGeom prst="rect">
            <a:avLst/>
          </a:prstGeom>
        </p:spPr>
        <p:txBody>
          <a:bodyPr wrap="square">
            <a:spAutoFit/>
          </a:bodyPr>
          <a:lstStyle/>
          <a:p>
            <a:pPr lvl="0">
              <a:lnSpc>
                <a:spcPct val="90000"/>
              </a:lnSpc>
              <a:spcAft>
                <a:spcPts val="600"/>
              </a:spcAft>
            </a:pPr>
            <a:r>
              <a:rPr lang="en-US" sz="1400" b="1" dirty="0">
                <a:latin typeface="Open Sans" charset="0"/>
                <a:ea typeface="Open Sans" charset="0"/>
                <a:cs typeface="Open Sans" charset="0"/>
              </a:rPr>
              <a:t>Relative Business Impact</a:t>
            </a:r>
            <a:endParaRPr lang="en-US" sz="1400" dirty="0">
              <a:latin typeface="Open Sans" charset="0"/>
              <a:ea typeface="Open Sans" charset="0"/>
              <a:cs typeface="Open Sans" charset="0"/>
            </a:endParaRPr>
          </a:p>
        </p:txBody>
      </p:sp>
      <p:cxnSp>
        <p:nvCxnSpPr>
          <p:cNvPr id="56" name="Straight Connector 55">
            <a:extLst>
              <a:ext uri="{FF2B5EF4-FFF2-40B4-BE49-F238E27FC236}">
                <a16:creationId xmlns:a16="http://schemas.microsoft.com/office/drawing/2014/main" id="{E58BE8DF-3F3B-4264-B40B-3E4B9C790F58}"/>
              </a:ext>
            </a:extLst>
          </p:cNvPr>
          <p:cNvCxnSpPr>
            <a:cxnSpLocks/>
          </p:cNvCxnSpPr>
          <p:nvPr/>
        </p:nvCxnSpPr>
        <p:spPr>
          <a:xfrm flipH="1">
            <a:off x="1469637" y="3417024"/>
            <a:ext cx="8961120" cy="3560"/>
          </a:xfrm>
          <a:prstGeom prst="line">
            <a:avLst/>
          </a:prstGeom>
          <a:ln w="12700"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4A1666C6-A113-498A-A749-FE635D0D1D2C}"/>
              </a:ext>
            </a:extLst>
          </p:cNvPr>
          <p:cNvSpPr/>
          <p:nvPr/>
        </p:nvSpPr>
        <p:spPr>
          <a:xfrm>
            <a:off x="1377533" y="2634388"/>
            <a:ext cx="5486400" cy="369332"/>
          </a:xfrm>
          <a:prstGeom prst="rect">
            <a:avLst/>
          </a:prstGeom>
        </p:spPr>
        <p:txBody>
          <a:bodyPr wrap="square">
            <a:spAutoFit/>
          </a:bodyPr>
          <a:lstStyle/>
          <a:p>
            <a:pPr lvl="0">
              <a:lnSpc>
                <a:spcPct val="90000"/>
              </a:lnSpc>
              <a:spcAft>
                <a:spcPts val="600"/>
              </a:spcAft>
            </a:pPr>
            <a:r>
              <a:rPr lang="en-US" sz="1000" b="1" dirty="0">
                <a:latin typeface="Open Sans" charset="0"/>
                <a:ea typeface="Open Sans" charset="0"/>
                <a:cs typeface="Open Sans" charset="0"/>
              </a:rPr>
              <a:t>Business Model &amp; Ecosystem</a:t>
            </a:r>
            <a:r>
              <a:rPr lang="en-US" sz="1000" dirty="0">
                <a:latin typeface="Open Sans" charset="0"/>
                <a:ea typeface="Open Sans" charset="0"/>
                <a:cs typeface="Open Sans" charset="0"/>
              </a:rPr>
              <a:t> | Creating new business / service models that leverage partners and suppliers in different ways?</a:t>
            </a:r>
          </a:p>
        </p:txBody>
      </p:sp>
      <p:cxnSp>
        <p:nvCxnSpPr>
          <p:cNvPr id="58" name="Straight Connector 57">
            <a:extLst>
              <a:ext uri="{FF2B5EF4-FFF2-40B4-BE49-F238E27FC236}">
                <a16:creationId xmlns:a16="http://schemas.microsoft.com/office/drawing/2014/main" id="{F4CB8CAC-0826-418D-B43A-7EEBD5114442}"/>
              </a:ext>
            </a:extLst>
          </p:cNvPr>
          <p:cNvCxnSpPr>
            <a:cxnSpLocks/>
          </p:cNvCxnSpPr>
          <p:nvPr/>
        </p:nvCxnSpPr>
        <p:spPr>
          <a:xfrm flipH="1">
            <a:off x="1469637" y="3892940"/>
            <a:ext cx="8961120" cy="0"/>
          </a:xfrm>
          <a:prstGeom prst="line">
            <a:avLst/>
          </a:prstGeom>
          <a:ln w="12700"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02B8FDAA-3879-4C2C-B94C-4AFF7DBDA555}"/>
              </a:ext>
            </a:extLst>
          </p:cNvPr>
          <p:cNvSpPr/>
          <p:nvPr/>
        </p:nvSpPr>
        <p:spPr>
          <a:xfrm>
            <a:off x="1383715" y="3555214"/>
            <a:ext cx="5486400" cy="230832"/>
          </a:xfrm>
          <a:prstGeom prst="rect">
            <a:avLst/>
          </a:prstGeom>
        </p:spPr>
        <p:txBody>
          <a:bodyPr wrap="square">
            <a:spAutoFit/>
          </a:bodyPr>
          <a:lstStyle/>
          <a:p>
            <a:pPr lvl="0">
              <a:lnSpc>
                <a:spcPct val="90000"/>
              </a:lnSpc>
              <a:spcAft>
                <a:spcPts val="600"/>
              </a:spcAft>
            </a:pPr>
            <a:r>
              <a:rPr lang="en-US" sz="1000" b="1" dirty="0">
                <a:latin typeface="Open Sans" charset="0"/>
                <a:ea typeface="Open Sans" charset="0"/>
                <a:cs typeface="Open Sans" charset="0"/>
              </a:rPr>
              <a:t>Functional Scope</a:t>
            </a:r>
            <a:r>
              <a:rPr lang="en-US" sz="1000" dirty="0">
                <a:latin typeface="Open Sans" charset="0"/>
                <a:ea typeface="Open Sans" charset="0"/>
                <a:cs typeface="Open Sans" charset="0"/>
              </a:rPr>
              <a:t> |Impacting a single function (e.g., sales) or multiple functions (e.g., sales, supply chain)?</a:t>
            </a:r>
          </a:p>
        </p:txBody>
      </p:sp>
      <p:cxnSp>
        <p:nvCxnSpPr>
          <p:cNvPr id="60" name="Straight Connector 59">
            <a:extLst>
              <a:ext uri="{FF2B5EF4-FFF2-40B4-BE49-F238E27FC236}">
                <a16:creationId xmlns:a16="http://schemas.microsoft.com/office/drawing/2014/main" id="{9DD1467D-CCF9-45C8-A25E-071910F1CF18}"/>
              </a:ext>
            </a:extLst>
          </p:cNvPr>
          <p:cNvCxnSpPr>
            <a:cxnSpLocks/>
          </p:cNvCxnSpPr>
          <p:nvPr/>
        </p:nvCxnSpPr>
        <p:spPr>
          <a:xfrm flipH="1">
            <a:off x="1469637" y="4347882"/>
            <a:ext cx="8961120" cy="0"/>
          </a:xfrm>
          <a:prstGeom prst="line">
            <a:avLst/>
          </a:prstGeom>
          <a:ln w="12700"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9F47E575-B0F0-491E-9710-E3CECDBB6478}"/>
              </a:ext>
            </a:extLst>
          </p:cNvPr>
          <p:cNvSpPr/>
          <p:nvPr/>
        </p:nvSpPr>
        <p:spPr>
          <a:xfrm>
            <a:off x="1383716" y="4094308"/>
            <a:ext cx="5486400" cy="230832"/>
          </a:xfrm>
          <a:prstGeom prst="rect">
            <a:avLst/>
          </a:prstGeom>
        </p:spPr>
        <p:txBody>
          <a:bodyPr wrap="square">
            <a:spAutoFit/>
          </a:bodyPr>
          <a:lstStyle/>
          <a:p>
            <a:pPr lvl="0">
              <a:lnSpc>
                <a:spcPct val="90000"/>
              </a:lnSpc>
              <a:spcAft>
                <a:spcPts val="600"/>
              </a:spcAft>
            </a:pPr>
            <a:r>
              <a:rPr lang="en-US" sz="1000" b="1" dirty="0">
                <a:latin typeface="Open Sans" charset="0"/>
                <a:ea typeface="Open Sans" charset="0"/>
                <a:cs typeface="Open Sans" charset="0"/>
              </a:rPr>
              <a:t>Targeted Benefits</a:t>
            </a:r>
            <a:r>
              <a:rPr lang="en-US" sz="1000" dirty="0">
                <a:latin typeface="Open Sans" charset="0"/>
                <a:ea typeface="Open Sans" charset="0"/>
                <a:cs typeface="Open Sans" charset="0"/>
              </a:rPr>
              <a:t>| Driving significant revenue growth or margin improvement?</a:t>
            </a:r>
          </a:p>
        </p:txBody>
      </p:sp>
      <p:cxnSp>
        <p:nvCxnSpPr>
          <p:cNvPr id="62" name="Straight Connector 61">
            <a:extLst>
              <a:ext uri="{FF2B5EF4-FFF2-40B4-BE49-F238E27FC236}">
                <a16:creationId xmlns:a16="http://schemas.microsoft.com/office/drawing/2014/main" id="{4BDFA93E-308D-4515-8DA6-5B11E1B507C7}"/>
              </a:ext>
            </a:extLst>
          </p:cNvPr>
          <p:cNvCxnSpPr>
            <a:cxnSpLocks/>
          </p:cNvCxnSpPr>
          <p:nvPr/>
        </p:nvCxnSpPr>
        <p:spPr>
          <a:xfrm flipH="1">
            <a:off x="1469637" y="4802824"/>
            <a:ext cx="8961120" cy="0"/>
          </a:xfrm>
          <a:prstGeom prst="line">
            <a:avLst/>
          </a:prstGeom>
          <a:ln w="12700"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2E7439B3-9D84-41FE-A159-F6DEB287CF79}"/>
              </a:ext>
            </a:extLst>
          </p:cNvPr>
          <p:cNvSpPr/>
          <p:nvPr/>
        </p:nvSpPr>
        <p:spPr>
          <a:xfrm>
            <a:off x="1383715" y="4549250"/>
            <a:ext cx="5486400" cy="230832"/>
          </a:xfrm>
          <a:prstGeom prst="rect">
            <a:avLst/>
          </a:prstGeom>
        </p:spPr>
        <p:txBody>
          <a:bodyPr wrap="square">
            <a:spAutoFit/>
          </a:bodyPr>
          <a:lstStyle/>
          <a:p>
            <a:pPr lvl="0">
              <a:lnSpc>
                <a:spcPct val="90000"/>
              </a:lnSpc>
              <a:spcAft>
                <a:spcPts val="600"/>
              </a:spcAft>
            </a:pPr>
            <a:r>
              <a:rPr lang="en-US" sz="1000" b="1" dirty="0">
                <a:latin typeface="Open Sans" charset="0"/>
                <a:ea typeface="Open Sans" charset="0"/>
                <a:cs typeface="Open Sans" charset="0"/>
              </a:rPr>
              <a:t>Operating Model</a:t>
            </a:r>
            <a:r>
              <a:rPr lang="en-US" sz="1000" dirty="0">
                <a:latin typeface="Open Sans" charset="0"/>
                <a:ea typeface="Open Sans" charset="0"/>
                <a:cs typeface="Open Sans" charset="0"/>
              </a:rPr>
              <a:t> |Advancing existing or sparking new operating and talent models?</a:t>
            </a:r>
          </a:p>
        </p:txBody>
      </p:sp>
      <p:cxnSp>
        <p:nvCxnSpPr>
          <p:cNvPr id="64" name="Straight Connector 63">
            <a:extLst>
              <a:ext uri="{FF2B5EF4-FFF2-40B4-BE49-F238E27FC236}">
                <a16:creationId xmlns:a16="http://schemas.microsoft.com/office/drawing/2014/main" id="{C2A84B3A-9D26-4394-AF8B-84E34020F9DE}"/>
              </a:ext>
            </a:extLst>
          </p:cNvPr>
          <p:cNvCxnSpPr>
            <a:cxnSpLocks/>
          </p:cNvCxnSpPr>
          <p:nvPr/>
        </p:nvCxnSpPr>
        <p:spPr>
          <a:xfrm flipH="1">
            <a:off x="1469637" y="5257766"/>
            <a:ext cx="8961120" cy="0"/>
          </a:xfrm>
          <a:prstGeom prst="line">
            <a:avLst/>
          </a:prstGeom>
          <a:ln w="12700"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032B54F1-29F1-40FA-9267-48DAE1D0A475}"/>
              </a:ext>
            </a:extLst>
          </p:cNvPr>
          <p:cNvSpPr/>
          <p:nvPr/>
        </p:nvSpPr>
        <p:spPr>
          <a:xfrm>
            <a:off x="1383716" y="4911019"/>
            <a:ext cx="5486400" cy="230832"/>
          </a:xfrm>
          <a:prstGeom prst="rect">
            <a:avLst/>
          </a:prstGeom>
        </p:spPr>
        <p:txBody>
          <a:bodyPr wrap="square">
            <a:spAutoFit/>
          </a:bodyPr>
          <a:lstStyle/>
          <a:p>
            <a:pPr lvl="0">
              <a:lnSpc>
                <a:spcPct val="90000"/>
              </a:lnSpc>
              <a:spcAft>
                <a:spcPts val="600"/>
              </a:spcAft>
            </a:pPr>
            <a:r>
              <a:rPr lang="en-US" sz="1000" b="1" dirty="0">
                <a:latin typeface="Open Sans" charset="0"/>
                <a:ea typeface="Open Sans" charset="0"/>
                <a:cs typeface="Open Sans" charset="0"/>
              </a:rPr>
              <a:t>Analytics &amp; Technologies</a:t>
            </a:r>
            <a:r>
              <a:rPr lang="en-US" sz="1000" dirty="0">
                <a:latin typeface="Open Sans" charset="0"/>
                <a:ea typeface="Open Sans" charset="0"/>
                <a:cs typeface="Open Sans" charset="0"/>
              </a:rPr>
              <a:t> |Applying basic or advanced analytics/technologies to complex challenges?</a:t>
            </a:r>
          </a:p>
        </p:txBody>
      </p:sp>
      <p:cxnSp>
        <p:nvCxnSpPr>
          <p:cNvPr id="66" name="Straight Connector 65">
            <a:extLst>
              <a:ext uri="{FF2B5EF4-FFF2-40B4-BE49-F238E27FC236}">
                <a16:creationId xmlns:a16="http://schemas.microsoft.com/office/drawing/2014/main" id="{55BF779F-79E7-428F-8B4E-0828E5E7BE8D}"/>
              </a:ext>
            </a:extLst>
          </p:cNvPr>
          <p:cNvCxnSpPr>
            <a:cxnSpLocks/>
          </p:cNvCxnSpPr>
          <p:nvPr/>
        </p:nvCxnSpPr>
        <p:spPr>
          <a:xfrm flipH="1">
            <a:off x="1469637" y="5712710"/>
            <a:ext cx="8961120" cy="0"/>
          </a:xfrm>
          <a:prstGeom prst="line">
            <a:avLst/>
          </a:prstGeom>
          <a:ln w="12700"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B52C1780-83D4-4230-A851-ED9EB4A13719}"/>
              </a:ext>
            </a:extLst>
          </p:cNvPr>
          <p:cNvSpPr/>
          <p:nvPr/>
        </p:nvSpPr>
        <p:spPr>
          <a:xfrm>
            <a:off x="1383715" y="5459136"/>
            <a:ext cx="5486400" cy="230832"/>
          </a:xfrm>
          <a:prstGeom prst="rect">
            <a:avLst/>
          </a:prstGeom>
        </p:spPr>
        <p:txBody>
          <a:bodyPr wrap="square">
            <a:spAutoFit/>
          </a:bodyPr>
          <a:lstStyle/>
          <a:p>
            <a:pPr lvl="0">
              <a:lnSpc>
                <a:spcPct val="90000"/>
              </a:lnSpc>
              <a:spcAft>
                <a:spcPts val="600"/>
              </a:spcAft>
            </a:pPr>
            <a:r>
              <a:rPr lang="en-US" sz="1000" b="1" dirty="0">
                <a:latin typeface="Open Sans" charset="0"/>
                <a:ea typeface="Open Sans" charset="0"/>
                <a:cs typeface="Open Sans" charset="0"/>
              </a:rPr>
              <a:t>Culture &amp; Leadership</a:t>
            </a:r>
            <a:r>
              <a:rPr lang="en-US" sz="1000" dirty="0">
                <a:latin typeface="Open Sans" charset="0"/>
                <a:ea typeface="Open Sans" charset="0"/>
                <a:cs typeface="Open Sans" charset="0"/>
              </a:rPr>
              <a:t> |Requiring fundamental shift in culture and leadership behaviors?</a:t>
            </a:r>
          </a:p>
        </p:txBody>
      </p:sp>
      <p:cxnSp>
        <p:nvCxnSpPr>
          <p:cNvPr id="68" name="Straight Connector 67">
            <a:extLst>
              <a:ext uri="{FF2B5EF4-FFF2-40B4-BE49-F238E27FC236}">
                <a16:creationId xmlns:a16="http://schemas.microsoft.com/office/drawing/2014/main" id="{7F03EAAD-97D5-4228-8D08-DE98F6EDAD59}"/>
              </a:ext>
            </a:extLst>
          </p:cNvPr>
          <p:cNvCxnSpPr>
            <a:cxnSpLocks/>
          </p:cNvCxnSpPr>
          <p:nvPr/>
        </p:nvCxnSpPr>
        <p:spPr>
          <a:xfrm flipH="1">
            <a:off x="1469637" y="2983056"/>
            <a:ext cx="8961120" cy="0"/>
          </a:xfrm>
          <a:prstGeom prst="line">
            <a:avLst/>
          </a:prstGeom>
          <a:ln w="12700"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5D127552-88A9-4BFD-94FC-7701C6A7DAB3}"/>
              </a:ext>
            </a:extLst>
          </p:cNvPr>
          <p:cNvSpPr/>
          <p:nvPr/>
        </p:nvSpPr>
        <p:spPr>
          <a:xfrm>
            <a:off x="1377533" y="3079957"/>
            <a:ext cx="5486400" cy="369332"/>
          </a:xfrm>
          <a:prstGeom prst="rect">
            <a:avLst/>
          </a:prstGeom>
        </p:spPr>
        <p:txBody>
          <a:bodyPr wrap="square">
            <a:spAutoFit/>
          </a:bodyPr>
          <a:lstStyle/>
          <a:p>
            <a:pPr lvl="0">
              <a:lnSpc>
                <a:spcPct val="90000"/>
              </a:lnSpc>
              <a:spcAft>
                <a:spcPts val="600"/>
              </a:spcAft>
            </a:pPr>
            <a:r>
              <a:rPr lang="en-US" sz="1000" b="1" dirty="0">
                <a:latin typeface="Open Sans" charset="0"/>
                <a:ea typeface="Open Sans" charset="0"/>
                <a:cs typeface="Open Sans" charset="0"/>
              </a:rPr>
              <a:t>Experience &amp; Engagement</a:t>
            </a:r>
            <a:r>
              <a:rPr lang="en-US" sz="1000" dirty="0">
                <a:latin typeface="Open Sans" charset="0"/>
                <a:ea typeface="Open Sans" charset="0"/>
                <a:cs typeface="Open Sans" charset="0"/>
              </a:rPr>
              <a:t>| Enhancing existing touchpoints or developing new, meaningful interactions with all users? </a:t>
            </a:r>
          </a:p>
        </p:txBody>
      </p:sp>
      <p:sp>
        <p:nvSpPr>
          <p:cNvPr id="70" name="Oval 69">
            <a:extLst>
              <a:ext uri="{FF2B5EF4-FFF2-40B4-BE49-F238E27FC236}">
                <a16:creationId xmlns:a16="http://schemas.microsoft.com/office/drawing/2014/main" id="{0F7695F6-CCBB-4BF2-AC8E-95E981ED3C23}"/>
              </a:ext>
            </a:extLst>
          </p:cNvPr>
          <p:cNvSpPr/>
          <p:nvPr/>
        </p:nvSpPr>
        <p:spPr>
          <a:xfrm>
            <a:off x="1019978" y="2711765"/>
            <a:ext cx="213185" cy="214578"/>
          </a:xfrm>
          <a:prstGeom prst="ellipse">
            <a:avLst/>
          </a:prstGeom>
          <a:solidFill>
            <a:schemeClr val="accent6">
              <a:lumMod val="20000"/>
              <a:lumOff val="80000"/>
            </a:schemeClr>
          </a:solidFill>
          <a:ln w="28575" cmpd="sng">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algn="ctr"/>
            <a:r>
              <a:rPr lang="en-US" sz="1100" b="1" dirty="0">
                <a:latin typeface="Open Sans" panose="020B0606030504020204" pitchFamily="34" charset="0"/>
                <a:ea typeface="Open Sans" panose="020B0606030504020204" pitchFamily="34" charset="0"/>
                <a:cs typeface="Open Sans" panose="020B0606030504020204" pitchFamily="34" charset="0"/>
              </a:rPr>
              <a:t>1</a:t>
            </a:r>
          </a:p>
        </p:txBody>
      </p:sp>
      <p:sp>
        <p:nvSpPr>
          <p:cNvPr id="71" name="Oval 70">
            <a:extLst>
              <a:ext uri="{FF2B5EF4-FFF2-40B4-BE49-F238E27FC236}">
                <a16:creationId xmlns:a16="http://schemas.microsoft.com/office/drawing/2014/main" id="{634D8C57-EEC9-46C4-9549-B17798F003ED}"/>
              </a:ext>
            </a:extLst>
          </p:cNvPr>
          <p:cNvSpPr/>
          <p:nvPr/>
        </p:nvSpPr>
        <p:spPr>
          <a:xfrm>
            <a:off x="1019979" y="3171015"/>
            <a:ext cx="213185" cy="214578"/>
          </a:xfrm>
          <a:prstGeom prst="ellipse">
            <a:avLst/>
          </a:prstGeom>
          <a:solidFill>
            <a:schemeClr val="accent6">
              <a:lumMod val="20000"/>
              <a:lumOff val="80000"/>
            </a:schemeClr>
          </a:solidFill>
          <a:ln w="28575" cmpd="sng">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algn="ctr"/>
            <a:r>
              <a:rPr lang="en-US" sz="1100" b="1" dirty="0">
                <a:latin typeface="Open Sans" panose="020B0606030504020204" pitchFamily="34" charset="0"/>
                <a:ea typeface="Open Sans" panose="020B0606030504020204" pitchFamily="34" charset="0"/>
                <a:cs typeface="Open Sans" panose="020B0606030504020204" pitchFamily="34" charset="0"/>
              </a:rPr>
              <a:t>2</a:t>
            </a:r>
          </a:p>
        </p:txBody>
      </p:sp>
      <p:sp>
        <p:nvSpPr>
          <p:cNvPr id="72" name="Oval 71">
            <a:extLst>
              <a:ext uri="{FF2B5EF4-FFF2-40B4-BE49-F238E27FC236}">
                <a16:creationId xmlns:a16="http://schemas.microsoft.com/office/drawing/2014/main" id="{86A9C08A-18CE-4F14-AEC8-D47B876A6984}"/>
              </a:ext>
            </a:extLst>
          </p:cNvPr>
          <p:cNvSpPr/>
          <p:nvPr/>
        </p:nvSpPr>
        <p:spPr>
          <a:xfrm>
            <a:off x="1019979" y="3630265"/>
            <a:ext cx="213185" cy="214578"/>
          </a:xfrm>
          <a:prstGeom prst="ellipse">
            <a:avLst/>
          </a:prstGeom>
          <a:solidFill>
            <a:schemeClr val="accent6">
              <a:lumMod val="20000"/>
              <a:lumOff val="80000"/>
            </a:schemeClr>
          </a:solidFill>
          <a:ln w="28575" cmpd="sng">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algn="ctr"/>
            <a:r>
              <a:rPr lang="en-US" sz="1100" b="1" dirty="0">
                <a:latin typeface="Open Sans" panose="020B0606030504020204" pitchFamily="34" charset="0"/>
                <a:ea typeface="Open Sans" panose="020B0606030504020204" pitchFamily="34" charset="0"/>
                <a:cs typeface="Open Sans" panose="020B0606030504020204" pitchFamily="34" charset="0"/>
              </a:rPr>
              <a:t>3</a:t>
            </a:r>
          </a:p>
        </p:txBody>
      </p:sp>
      <p:sp>
        <p:nvSpPr>
          <p:cNvPr id="73" name="Oval 72">
            <a:extLst>
              <a:ext uri="{FF2B5EF4-FFF2-40B4-BE49-F238E27FC236}">
                <a16:creationId xmlns:a16="http://schemas.microsoft.com/office/drawing/2014/main" id="{74B44F97-532F-4724-99F8-C3397EC0077B}"/>
              </a:ext>
            </a:extLst>
          </p:cNvPr>
          <p:cNvSpPr/>
          <p:nvPr/>
        </p:nvSpPr>
        <p:spPr>
          <a:xfrm>
            <a:off x="1019979" y="4089515"/>
            <a:ext cx="213185" cy="214578"/>
          </a:xfrm>
          <a:prstGeom prst="ellipse">
            <a:avLst/>
          </a:prstGeom>
          <a:solidFill>
            <a:schemeClr val="accent6">
              <a:lumMod val="20000"/>
              <a:lumOff val="80000"/>
            </a:schemeClr>
          </a:solidFill>
          <a:ln w="28575" cmpd="sng">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algn="ctr"/>
            <a:r>
              <a:rPr lang="en-US" sz="1100" b="1" dirty="0">
                <a:latin typeface="Open Sans" panose="020B0606030504020204" pitchFamily="34" charset="0"/>
                <a:ea typeface="Open Sans" panose="020B0606030504020204" pitchFamily="34" charset="0"/>
                <a:cs typeface="Open Sans" panose="020B0606030504020204" pitchFamily="34" charset="0"/>
              </a:rPr>
              <a:t>4</a:t>
            </a:r>
          </a:p>
        </p:txBody>
      </p:sp>
      <p:sp>
        <p:nvSpPr>
          <p:cNvPr id="74" name="Oval 73">
            <a:extLst>
              <a:ext uri="{FF2B5EF4-FFF2-40B4-BE49-F238E27FC236}">
                <a16:creationId xmlns:a16="http://schemas.microsoft.com/office/drawing/2014/main" id="{AB092FA4-D9BC-4E11-90A1-AEA41045095B}"/>
              </a:ext>
            </a:extLst>
          </p:cNvPr>
          <p:cNvSpPr/>
          <p:nvPr/>
        </p:nvSpPr>
        <p:spPr>
          <a:xfrm>
            <a:off x="1019979" y="4548765"/>
            <a:ext cx="213185" cy="214578"/>
          </a:xfrm>
          <a:prstGeom prst="ellipse">
            <a:avLst/>
          </a:prstGeom>
          <a:solidFill>
            <a:schemeClr val="accent6">
              <a:lumMod val="20000"/>
              <a:lumOff val="80000"/>
            </a:schemeClr>
          </a:solidFill>
          <a:ln w="28575" cmpd="sng">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algn="ctr"/>
            <a:r>
              <a:rPr lang="en-US" sz="1100" b="1" dirty="0">
                <a:latin typeface="Open Sans" panose="020B0606030504020204" pitchFamily="34" charset="0"/>
                <a:ea typeface="Open Sans" panose="020B0606030504020204" pitchFamily="34" charset="0"/>
                <a:cs typeface="Open Sans" panose="020B0606030504020204" pitchFamily="34" charset="0"/>
              </a:rPr>
              <a:t>5</a:t>
            </a:r>
          </a:p>
        </p:txBody>
      </p:sp>
      <p:sp>
        <p:nvSpPr>
          <p:cNvPr id="75" name="Oval 74">
            <a:extLst>
              <a:ext uri="{FF2B5EF4-FFF2-40B4-BE49-F238E27FC236}">
                <a16:creationId xmlns:a16="http://schemas.microsoft.com/office/drawing/2014/main" id="{92F77328-06AF-4781-86DC-E6CE9A7B7798}"/>
              </a:ext>
            </a:extLst>
          </p:cNvPr>
          <p:cNvSpPr/>
          <p:nvPr/>
        </p:nvSpPr>
        <p:spPr>
          <a:xfrm>
            <a:off x="1019979" y="5008015"/>
            <a:ext cx="213185" cy="214578"/>
          </a:xfrm>
          <a:prstGeom prst="ellipse">
            <a:avLst/>
          </a:prstGeom>
          <a:solidFill>
            <a:schemeClr val="accent6">
              <a:lumMod val="20000"/>
              <a:lumOff val="80000"/>
            </a:schemeClr>
          </a:solidFill>
          <a:ln w="28575" cmpd="sng">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algn="ctr"/>
            <a:r>
              <a:rPr lang="en-US" sz="1100" b="1" dirty="0">
                <a:latin typeface="Open Sans" panose="020B0606030504020204" pitchFamily="34" charset="0"/>
                <a:ea typeface="Open Sans" panose="020B0606030504020204" pitchFamily="34" charset="0"/>
                <a:cs typeface="Open Sans" panose="020B0606030504020204" pitchFamily="34" charset="0"/>
              </a:rPr>
              <a:t>6</a:t>
            </a:r>
          </a:p>
        </p:txBody>
      </p:sp>
      <p:sp>
        <p:nvSpPr>
          <p:cNvPr id="76" name="Oval 75">
            <a:extLst>
              <a:ext uri="{FF2B5EF4-FFF2-40B4-BE49-F238E27FC236}">
                <a16:creationId xmlns:a16="http://schemas.microsoft.com/office/drawing/2014/main" id="{C0D626E7-C846-4353-9694-7BC1823225C7}"/>
              </a:ext>
            </a:extLst>
          </p:cNvPr>
          <p:cNvSpPr/>
          <p:nvPr/>
        </p:nvSpPr>
        <p:spPr>
          <a:xfrm>
            <a:off x="1019979" y="5467263"/>
            <a:ext cx="213185" cy="214578"/>
          </a:xfrm>
          <a:prstGeom prst="ellipse">
            <a:avLst/>
          </a:prstGeom>
          <a:solidFill>
            <a:schemeClr val="accent6">
              <a:lumMod val="20000"/>
              <a:lumOff val="80000"/>
            </a:schemeClr>
          </a:solidFill>
          <a:ln w="28575" cmpd="sng">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algn="ctr"/>
            <a:r>
              <a:rPr lang="en-US" sz="1100" b="1" dirty="0">
                <a:latin typeface="Open Sans" panose="020B0606030504020204" pitchFamily="34" charset="0"/>
                <a:ea typeface="Open Sans" panose="020B0606030504020204" pitchFamily="34" charset="0"/>
                <a:cs typeface="Open Sans" panose="020B0606030504020204" pitchFamily="34" charset="0"/>
              </a:rPr>
              <a:t>7</a:t>
            </a:r>
          </a:p>
        </p:txBody>
      </p:sp>
      <p:cxnSp>
        <p:nvCxnSpPr>
          <p:cNvPr id="118" name="Straight Connector 117">
            <a:extLst>
              <a:ext uri="{FF2B5EF4-FFF2-40B4-BE49-F238E27FC236}">
                <a16:creationId xmlns:a16="http://schemas.microsoft.com/office/drawing/2014/main" id="{CB7E80C1-6807-4B56-9DEE-ADB969EC4DF1}"/>
              </a:ext>
            </a:extLst>
          </p:cNvPr>
          <p:cNvCxnSpPr>
            <a:cxnSpLocks/>
          </p:cNvCxnSpPr>
          <p:nvPr/>
        </p:nvCxnSpPr>
        <p:spPr>
          <a:xfrm flipH="1">
            <a:off x="908004" y="2089258"/>
            <a:ext cx="3592594" cy="0"/>
          </a:xfrm>
          <a:prstGeom prst="line">
            <a:avLst/>
          </a:prstGeom>
          <a:ln w="57150" cmpd="sng">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9" name="Rectangle 118">
            <a:extLst>
              <a:ext uri="{FF2B5EF4-FFF2-40B4-BE49-F238E27FC236}">
                <a16:creationId xmlns:a16="http://schemas.microsoft.com/office/drawing/2014/main" id="{148C52F4-D28B-47FF-86CA-9765ABE77570}"/>
              </a:ext>
            </a:extLst>
          </p:cNvPr>
          <p:cNvSpPr/>
          <p:nvPr/>
        </p:nvSpPr>
        <p:spPr>
          <a:xfrm>
            <a:off x="848216" y="1891288"/>
            <a:ext cx="3894822" cy="286232"/>
          </a:xfrm>
          <a:prstGeom prst="rect">
            <a:avLst/>
          </a:prstGeom>
        </p:spPr>
        <p:txBody>
          <a:bodyPr wrap="square">
            <a:spAutoFit/>
          </a:bodyPr>
          <a:lstStyle/>
          <a:p>
            <a:pPr lvl="0">
              <a:lnSpc>
                <a:spcPct val="90000"/>
              </a:lnSpc>
              <a:spcAft>
                <a:spcPts val="600"/>
              </a:spcAft>
            </a:pPr>
            <a:r>
              <a:rPr lang="en-US" sz="1400" b="1" dirty="0">
                <a:latin typeface="Open Sans" charset="0"/>
                <a:ea typeface="Open Sans" charset="0"/>
                <a:cs typeface="Open Sans" charset="0"/>
              </a:rPr>
              <a:t>Digital Transformation: Key Dimensions</a:t>
            </a:r>
            <a:endParaRPr lang="en-US" sz="1400" dirty="0">
              <a:latin typeface="Open Sans" charset="0"/>
              <a:ea typeface="Open Sans" charset="0"/>
              <a:cs typeface="Open Sans" charset="0"/>
            </a:endParaRPr>
          </a:p>
        </p:txBody>
      </p:sp>
      <p:sp>
        <p:nvSpPr>
          <p:cNvPr id="120" name="Oval 119">
            <a:extLst>
              <a:ext uri="{FF2B5EF4-FFF2-40B4-BE49-F238E27FC236}">
                <a16:creationId xmlns:a16="http://schemas.microsoft.com/office/drawing/2014/main" id="{30FCD5AB-5FCD-4A06-ADE2-845B61AA547C}"/>
              </a:ext>
            </a:extLst>
          </p:cNvPr>
          <p:cNvSpPr/>
          <p:nvPr/>
        </p:nvSpPr>
        <p:spPr>
          <a:xfrm>
            <a:off x="9480734" y="3349988"/>
            <a:ext cx="193805" cy="195071"/>
          </a:xfrm>
          <a:prstGeom prst="ellipse">
            <a:avLst/>
          </a:prstGeom>
          <a:solidFill>
            <a:schemeClr val="bg1"/>
          </a:solidFill>
          <a:ln w="38100" cmpd="sng">
            <a:solidFill>
              <a:schemeClr val="accent3"/>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algn="ctr"/>
            <a:endParaRPr lang="en-US" sz="3700" dirty="0">
              <a:solidFill>
                <a:prstClr val="white"/>
              </a:solidFill>
              <a:latin typeface="Frutiger Next Pro Light"/>
            </a:endParaRPr>
          </a:p>
        </p:txBody>
      </p:sp>
      <p:sp>
        <p:nvSpPr>
          <p:cNvPr id="121" name="Oval 120">
            <a:extLst>
              <a:ext uri="{FF2B5EF4-FFF2-40B4-BE49-F238E27FC236}">
                <a16:creationId xmlns:a16="http://schemas.microsoft.com/office/drawing/2014/main" id="{A8724BD7-2D36-4452-89A9-35B9C2155CEA}"/>
              </a:ext>
            </a:extLst>
          </p:cNvPr>
          <p:cNvSpPr/>
          <p:nvPr/>
        </p:nvSpPr>
        <p:spPr>
          <a:xfrm>
            <a:off x="7970708" y="3804930"/>
            <a:ext cx="193805" cy="195071"/>
          </a:xfrm>
          <a:prstGeom prst="ellipse">
            <a:avLst/>
          </a:prstGeom>
          <a:solidFill>
            <a:schemeClr val="bg1"/>
          </a:solidFill>
          <a:ln w="38100" cmpd="sng">
            <a:solidFill>
              <a:schemeClr val="accent1"/>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algn="ctr"/>
            <a:endParaRPr lang="en-US" sz="3700" dirty="0">
              <a:solidFill>
                <a:prstClr val="white"/>
              </a:solidFill>
              <a:latin typeface="Frutiger Next Pro Light"/>
            </a:endParaRPr>
          </a:p>
        </p:txBody>
      </p:sp>
      <p:sp>
        <p:nvSpPr>
          <p:cNvPr id="122" name="Oval 121">
            <a:extLst>
              <a:ext uri="{FF2B5EF4-FFF2-40B4-BE49-F238E27FC236}">
                <a16:creationId xmlns:a16="http://schemas.microsoft.com/office/drawing/2014/main" id="{1025443C-7F71-466E-8772-36518AF53F93}"/>
              </a:ext>
            </a:extLst>
          </p:cNvPr>
          <p:cNvSpPr/>
          <p:nvPr/>
        </p:nvSpPr>
        <p:spPr>
          <a:xfrm>
            <a:off x="8799785" y="4259872"/>
            <a:ext cx="193805" cy="195071"/>
          </a:xfrm>
          <a:prstGeom prst="ellipse">
            <a:avLst/>
          </a:prstGeom>
          <a:solidFill>
            <a:schemeClr val="bg1"/>
          </a:solidFill>
          <a:ln w="38100" cmpd="sng">
            <a:solidFill>
              <a:schemeClr val="accent2"/>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algn="ctr"/>
            <a:endParaRPr lang="en-US" sz="3700" dirty="0">
              <a:solidFill>
                <a:prstClr val="white"/>
              </a:solidFill>
              <a:latin typeface="Frutiger Next Pro Light"/>
            </a:endParaRPr>
          </a:p>
        </p:txBody>
      </p:sp>
      <p:sp>
        <p:nvSpPr>
          <p:cNvPr id="123" name="Oval 122">
            <a:extLst>
              <a:ext uri="{FF2B5EF4-FFF2-40B4-BE49-F238E27FC236}">
                <a16:creationId xmlns:a16="http://schemas.microsoft.com/office/drawing/2014/main" id="{57F930A9-4324-417E-BDDD-EA19B390E77F}"/>
              </a:ext>
            </a:extLst>
          </p:cNvPr>
          <p:cNvSpPr/>
          <p:nvPr/>
        </p:nvSpPr>
        <p:spPr>
          <a:xfrm>
            <a:off x="10007327" y="4714814"/>
            <a:ext cx="193805" cy="195071"/>
          </a:xfrm>
          <a:prstGeom prst="ellipse">
            <a:avLst/>
          </a:prstGeom>
          <a:solidFill>
            <a:schemeClr val="bg1"/>
          </a:solidFill>
          <a:ln w="38100" cmpd="sng">
            <a:solidFill>
              <a:schemeClr val="accent3"/>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algn="ctr"/>
            <a:endParaRPr lang="en-US" sz="3700" dirty="0">
              <a:solidFill>
                <a:prstClr val="white"/>
              </a:solidFill>
              <a:latin typeface="Frutiger Next Pro Light"/>
            </a:endParaRPr>
          </a:p>
        </p:txBody>
      </p:sp>
      <p:sp>
        <p:nvSpPr>
          <p:cNvPr id="124" name="Oval 123">
            <a:extLst>
              <a:ext uri="{FF2B5EF4-FFF2-40B4-BE49-F238E27FC236}">
                <a16:creationId xmlns:a16="http://schemas.microsoft.com/office/drawing/2014/main" id="{C552F326-9124-4FDD-AD19-9986E413BA19}"/>
              </a:ext>
            </a:extLst>
          </p:cNvPr>
          <p:cNvSpPr/>
          <p:nvPr/>
        </p:nvSpPr>
        <p:spPr>
          <a:xfrm>
            <a:off x="8317473" y="5169756"/>
            <a:ext cx="193805" cy="195071"/>
          </a:xfrm>
          <a:prstGeom prst="ellipse">
            <a:avLst/>
          </a:prstGeom>
          <a:solidFill>
            <a:schemeClr val="bg1"/>
          </a:solidFill>
          <a:ln w="38100" cmpd="sng">
            <a:solidFill>
              <a:schemeClr val="accent1"/>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algn="ctr"/>
            <a:endParaRPr lang="en-US" sz="3700" dirty="0">
              <a:solidFill>
                <a:prstClr val="white"/>
              </a:solidFill>
              <a:latin typeface="Frutiger Next Pro Light"/>
            </a:endParaRPr>
          </a:p>
        </p:txBody>
      </p:sp>
      <p:sp>
        <p:nvSpPr>
          <p:cNvPr id="125" name="Oval 124">
            <a:extLst>
              <a:ext uri="{FF2B5EF4-FFF2-40B4-BE49-F238E27FC236}">
                <a16:creationId xmlns:a16="http://schemas.microsoft.com/office/drawing/2014/main" id="{4D78D315-CE02-420B-9697-497DF1C30F12}"/>
              </a:ext>
            </a:extLst>
          </p:cNvPr>
          <p:cNvSpPr/>
          <p:nvPr/>
        </p:nvSpPr>
        <p:spPr>
          <a:xfrm>
            <a:off x="9144116" y="5596275"/>
            <a:ext cx="193805" cy="195071"/>
          </a:xfrm>
          <a:prstGeom prst="ellipse">
            <a:avLst/>
          </a:prstGeom>
          <a:solidFill>
            <a:schemeClr val="bg1"/>
          </a:solidFill>
          <a:ln w="38100" cmpd="sng">
            <a:solidFill>
              <a:schemeClr val="accent2"/>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algn="ctr"/>
            <a:endParaRPr lang="en-US" sz="3700" dirty="0">
              <a:solidFill>
                <a:prstClr val="white"/>
              </a:solidFill>
              <a:latin typeface="Frutiger Next Pro Light"/>
            </a:endParaRPr>
          </a:p>
        </p:txBody>
      </p:sp>
      <p:sp>
        <p:nvSpPr>
          <p:cNvPr id="126" name="Oval 125">
            <a:extLst>
              <a:ext uri="{FF2B5EF4-FFF2-40B4-BE49-F238E27FC236}">
                <a16:creationId xmlns:a16="http://schemas.microsoft.com/office/drawing/2014/main" id="{B2AB2E6D-9C55-4E99-873B-90AFE248D246}"/>
              </a:ext>
            </a:extLst>
          </p:cNvPr>
          <p:cNvSpPr/>
          <p:nvPr/>
        </p:nvSpPr>
        <p:spPr>
          <a:xfrm>
            <a:off x="8832342" y="2895046"/>
            <a:ext cx="193805" cy="195071"/>
          </a:xfrm>
          <a:prstGeom prst="ellipse">
            <a:avLst/>
          </a:prstGeom>
          <a:solidFill>
            <a:schemeClr val="bg1"/>
          </a:solidFill>
          <a:ln w="38100" cmpd="sng">
            <a:solidFill>
              <a:schemeClr val="accent2"/>
            </a:solidFill>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algn="ctr"/>
            <a:endParaRPr lang="en-US" sz="3700" dirty="0">
              <a:solidFill>
                <a:prstClr val="white"/>
              </a:solidFill>
              <a:latin typeface="Frutiger Next Pro Light"/>
            </a:endParaRPr>
          </a:p>
        </p:txBody>
      </p:sp>
      <p:sp>
        <p:nvSpPr>
          <p:cNvPr id="127" name="TextBox 126"/>
          <p:cNvSpPr txBox="1"/>
          <p:nvPr/>
        </p:nvSpPr>
        <p:spPr>
          <a:xfrm>
            <a:off x="1019979" y="5968862"/>
            <a:ext cx="9632424" cy="215444"/>
          </a:xfrm>
          <a:prstGeom prst="rect">
            <a:avLst/>
          </a:prstGeom>
          <a:noFill/>
        </p:spPr>
        <p:txBody>
          <a:bodyPr wrap="square" rtlCol="0">
            <a:spAutoFit/>
          </a:bodyPr>
          <a:lstStyle/>
          <a:p>
            <a:r>
              <a:rPr lang="en-US" sz="800" b="1" dirty="0"/>
              <a:t>Note: </a:t>
            </a:r>
            <a:r>
              <a:rPr lang="en-US" sz="800" dirty="0"/>
              <a:t>The relative business impact for the above dimensions are illustrative and dependent on client specific business scenario</a:t>
            </a:r>
            <a:endParaRPr lang="en-US" sz="1050" b="1" dirty="0"/>
          </a:p>
        </p:txBody>
      </p:sp>
    </p:spTree>
    <p:extLst>
      <p:ext uri="{BB962C8B-B14F-4D97-AF65-F5344CB8AC3E}">
        <p14:creationId xmlns:p14="http://schemas.microsoft.com/office/powerpoint/2010/main" val="115309341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2B7AC2-8F97-4E5B-92C9-6ADE85140A6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6"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562B7AC2-8F97-4E5B-92C9-6ADE85140A6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388FCEE-22D8-44F9-BF29-CA0D6A75D67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35B02637-A3A2-4469-890E-F300AC4A9A60}"/>
              </a:ext>
            </a:extLst>
          </p:cNvPr>
          <p:cNvSpPr>
            <a:spLocks noGrp="1"/>
          </p:cNvSpPr>
          <p:nvPr>
            <p:ph type="title"/>
          </p:nvPr>
        </p:nvSpPr>
        <p:spPr/>
        <p:txBody>
          <a:bodyPr/>
          <a:lstStyle/>
          <a:p>
            <a:r>
              <a:rPr lang="en-US" dirty="0"/>
              <a:t>Is offshore a good fit for prioritized processes?</a:t>
            </a:r>
          </a:p>
        </p:txBody>
      </p:sp>
      <p:sp>
        <p:nvSpPr>
          <p:cNvPr id="27" name="Text Placeholder 26">
            <a:extLst>
              <a:ext uri="{FF2B5EF4-FFF2-40B4-BE49-F238E27FC236}">
                <a16:creationId xmlns:a16="http://schemas.microsoft.com/office/drawing/2014/main" id="{8F1DEBFA-B62D-4EC1-AFD4-4A40E957281E}"/>
              </a:ext>
            </a:extLst>
          </p:cNvPr>
          <p:cNvSpPr>
            <a:spLocks noGrp="1"/>
          </p:cNvSpPr>
          <p:nvPr>
            <p:ph type="body" sz="quarter" idx="14"/>
          </p:nvPr>
        </p:nvSpPr>
        <p:spPr/>
        <p:txBody>
          <a:bodyPr/>
          <a:lstStyle/>
          <a:p>
            <a:r>
              <a:rPr lang="en-US" dirty="0"/>
              <a:t>Bangalore was a clear frontrunner for the offshore center due to several known advantages, but it was critical to understand whether it would be a good fit for all prioritized processes</a:t>
            </a:r>
          </a:p>
        </p:txBody>
      </p:sp>
      <p:sp>
        <p:nvSpPr>
          <p:cNvPr id="28" name="Text Placeholder 27">
            <a:extLst>
              <a:ext uri="{FF2B5EF4-FFF2-40B4-BE49-F238E27FC236}">
                <a16:creationId xmlns:a16="http://schemas.microsoft.com/office/drawing/2014/main" id="{C630A753-842C-420F-9013-683F3828BD2F}"/>
              </a:ext>
            </a:extLst>
          </p:cNvPr>
          <p:cNvSpPr>
            <a:spLocks noGrp="1"/>
          </p:cNvSpPr>
          <p:nvPr>
            <p:ph type="body" sz="quarter" idx="15"/>
          </p:nvPr>
        </p:nvSpPr>
        <p:spPr/>
        <p:txBody>
          <a:bodyPr/>
          <a:lstStyle/>
          <a:p>
            <a:r>
              <a:rPr lang="en-US" dirty="0"/>
              <a:t>text</a:t>
            </a:r>
          </a:p>
        </p:txBody>
      </p:sp>
      <p:sp>
        <p:nvSpPr>
          <p:cNvPr id="50" name="Rectangle 49">
            <a:extLst>
              <a:ext uri="{FF2B5EF4-FFF2-40B4-BE49-F238E27FC236}">
                <a16:creationId xmlns:a16="http://schemas.microsoft.com/office/drawing/2014/main" id="{DEE205A6-3E6D-46AD-8AED-4E3D0EDF325C}"/>
              </a:ext>
            </a:extLst>
          </p:cNvPr>
          <p:cNvSpPr/>
          <p:nvPr/>
        </p:nvSpPr>
        <p:spPr>
          <a:xfrm>
            <a:off x="5234582" y="2215681"/>
            <a:ext cx="4875197" cy="64008"/>
          </a:xfrm>
          <a:prstGeom prst="rect">
            <a:avLst/>
          </a:prstGeom>
          <a:solidFill>
            <a:schemeClr val="bg1">
              <a:lumMod val="85000"/>
            </a:schemeClr>
          </a:solidFill>
        </p:spPr>
        <p:txBody>
          <a:bodyPr wrap="square" rtlCol="0" anchor="ctr">
            <a:noAutofit/>
          </a:bodyPr>
          <a:lstStyle/>
          <a:p>
            <a:pPr algn="l"/>
            <a:endParaRPr lang="en-US" b="1" i="1" dirty="0">
              <a:latin typeface="Open Sans" panose="020B0606030504020204" pitchFamily="34" charset="0"/>
            </a:endParaRPr>
          </a:p>
        </p:txBody>
      </p:sp>
      <p:sp>
        <p:nvSpPr>
          <p:cNvPr id="51" name="Rectangle 50">
            <a:extLst>
              <a:ext uri="{FF2B5EF4-FFF2-40B4-BE49-F238E27FC236}">
                <a16:creationId xmlns:a16="http://schemas.microsoft.com/office/drawing/2014/main" id="{911792D7-8E32-420D-A41B-547F47070A88}"/>
              </a:ext>
            </a:extLst>
          </p:cNvPr>
          <p:cNvSpPr/>
          <p:nvPr/>
        </p:nvSpPr>
        <p:spPr>
          <a:xfrm>
            <a:off x="10376840" y="6455179"/>
            <a:ext cx="228600" cy="437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a:extLst>
              <a:ext uri="{FF2B5EF4-FFF2-40B4-BE49-F238E27FC236}">
                <a16:creationId xmlns:a16="http://schemas.microsoft.com/office/drawing/2014/main" id="{BEF308AD-17A0-44E2-8B18-7A328A97F1F5}"/>
              </a:ext>
            </a:extLst>
          </p:cNvPr>
          <p:cNvSpPr/>
          <p:nvPr/>
        </p:nvSpPr>
        <p:spPr>
          <a:xfrm>
            <a:off x="9454919" y="6462454"/>
            <a:ext cx="228600" cy="43718"/>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a:extLst>
              <a:ext uri="{FF2B5EF4-FFF2-40B4-BE49-F238E27FC236}">
                <a16:creationId xmlns:a16="http://schemas.microsoft.com/office/drawing/2014/main" id="{0149B0F6-4F60-42D2-900A-C08D05272F86}"/>
              </a:ext>
            </a:extLst>
          </p:cNvPr>
          <p:cNvSpPr/>
          <p:nvPr/>
        </p:nvSpPr>
        <p:spPr>
          <a:xfrm>
            <a:off x="9340153" y="6328976"/>
            <a:ext cx="2101542" cy="247363"/>
          </a:xfrm>
          <a:prstGeom prst="rect">
            <a:avLst/>
          </a:prstGeom>
          <a:no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53">
            <a:extLst>
              <a:ext uri="{FF2B5EF4-FFF2-40B4-BE49-F238E27FC236}">
                <a16:creationId xmlns:a16="http://schemas.microsoft.com/office/drawing/2014/main" id="{F18718A9-3E43-44A1-8701-8F2E5BFFB7BC}"/>
              </a:ext>
            </a:extLst>
          </p:cNvPr>
          <p:cNvSpPr/>
          <p:nvPr/>
        </p:nvSpPr>
        <p:spPr>
          <a:xfrm>
            <a:off x="9727902" y="6369316"/>
            <a:ext cx="623806" cy="215444"/>
          </a:xfrm>
          <a:prstGeom prst="rect">
            <a:avLst/>
          </a:prstGeom>
        </p:spPr>
        <p:txBody>
          <a:bodyPr wrap="square">
            <a:spAutoFit/>
          </a:bodyPr>
          <a:lstStyle/>
          <a:p>
            <a:r>
              <a:rPr lang="en-US" sz="800" dirty="0"/>
              <a:t>Creative</a:t>
            </a:r>
          </a:p>
        </p:txBody>
      </p:sp>
      <p:sp>
        <p:nvSpPr>
          <p:cNvPr id="55" name="Rectangle 54">
            <a:extLst>
              <a:ext uri="{FF2B5EF4-FFF2-40B4-BE49-F238E27FC236}">
                <a16:creationId xmlns:a16="http://schemas.microsoft.com/office/drawing/2014/main" id="{9B133DB3-3844-4D1D-8652-B2B338AF95CD}"/>
              </a:ext>
            </a:extLst>
          </p:cNvPr>
          <p:cNvSpPr/>
          <p:nvPr/>
        </p:nvSpPr>
        <p:spPr>
          <a:xfrm>
            <a:off x="10679412" y="6369316"/>
            <a:ext cx="680371" cy="215444"/>
          </a:xfrm>
          <a:prstGeom prst="rect">
            <a:avLst/>
          </a:prstGeom>
        </p:spPr>
        <p:txBody>
          <a:bodyPr wrap="square">
            <a:spAutoFit/>
          </a:bodyPr>
          <a:lstStyle/>
          <a:p>
            <a:r>
              <a:rPr lang="en-US" sz="800" dirty="0"/>
              <a:t>Analytics</a:t>
            </a:r>
          </a:p>
        </p:txBody>
      </p:sp>
      <p:sp>
        <p:nvSpPr>
          <p:cNvPr id="56" name="Rectangle 55">
            <a:extLst>
              <a:ext uri="{FF2B5EF4-FFF2-40B4-BE49-F238E27FC236}">
                <a16:creationId xmlns:a16="http://schemas.microsoft.com/office/drawing/2014/main" id="{2F16011F-4F57-4FA6-80E3-3D94BDE64F43}"/>
              </a:ext>
            </a:extLst>
          </p:cNvPr>
          <p:cNvSpPr/>
          <p:nvPr/>
        </p:nvSpPr>
        <p:spPr>
          <a:xfrm>
            <a:off x="10109779" y="6262712"/>
            <a:ext cx="562290" cy="147151"/>
          </a:xfrm>
          <a:prstGeom prst="rect">
            <a:avLst/>
          </a:prstGeom>
          <a:solidFill>
            <a:schemeClr val="bg1"/>
          </a:solidFill>
        </p:spPr>
        <p:txBody>
          <a:bodyPr wrap="square" anchor="ctr">
            <a:spAutoFit/>
          </a:bodyPr>
          <a:lstStyle/>
          <a:p>
            <a:pPr algn="ctr"/>
            <a:r>
              <a:rPr lang="en-US" sz="800" b="1" dirty="0"/>
              <a:t>Key</a:t>
            </a:r>
          </a:p>
        </p:txBody>
      </p:sp>
      <p:sp>
        <p:nvSpPr>
          <p:cNvPr id="57" name="Rectangle 56">
            <a:extLst>
              <a:ext uri="{FF2B5EF4-FFF2-40B4-BE49-F238E27FC236}">
                <a16:creationId xmlns:a16="http://schemas.microsoft.com/office/drawing/2014/main" id="{C4855895-7264-4290-8506-83FDE37DCE8F}"/>
              </a:ext>
            </a:extLst>
          </p:cNvPr>
          <p:cNvSpPr/>
          <p:nvPr/>
        </p:nvSpPr>
        <p:spPr>
          <a:xfrm>
            <a:off x="5121351" y="2031786"/>
            <a:ext cx="5550717" cy="307777"/>
          </a:xfrm>
          <a:prstGeom prst="rect">
            <a:avLst/>
          </a:prstGeom>
          <a:noFill/>
        </p:spPr>
        <p:txBody>
          <a:bodyPr wrap="square" lIns="91440" rIns="91440">
            <a:spAutoFit/>
          </a:bodyPr>
          <a:lstStyle/>
          <a:p>
            <a:r>
              <a:rPr lang="en-US" sz="1400" b="1" dirty="0"/>
              <a:t>Criteria for Assessing Bangalore for Each Work Process</a:t>
            </a:r>
            <a:endParaRPr lang="en-US" sz="1400" dirty="0"/>
          </a:p>
        </p:txBody>
      </p:sp>
      <p:sp>
        <p:nvSpPr>
          <p:cNvPr id="58" name="Text Placeholder 2">
            <a:extLst>
              <a:ext uri="{FF2B5EF4-FFF2-40B4-BE49-F238E27FC236}">
                <a16:creationId xmlns:a16="http://schemas.microsoft.com/office/drawing/2014/main" id="{776FA2FF-6006-405E-8287-962F7CF074B6}"/>
              </a:ext>
            </a:extLst>
          </p:cNvPr>
          <p:cNvSpPr txBox="1">
            <a:spLocks/>
          </p:cNvSpPr>
          <p:nvPr/>
        </p:nvSpPr>
        <p:spPr>
          <a:xfrm>
            <a:off x="5607521" y="2510619"/>
            <a:ext cx="1580105" cy="274320"/>
          </a:xfrm>
          <a:prstGeom prst="rect">
            <a:avLst/>
          </a:prstGeom>
          <a:noFill/>
        </p:spPr>
        <p:txBody>
          <a:bodyPr lIns="0" rIns="0" anchor="ct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Clr>
                <a:schemeClr val="tx2"/>
              </a:buClr>
              <a:buSzPct val="100000"/>
              <a:buNone/>
            </a:pPr>
            <a:r>
              <a:rPr lang="en-US" sz="1200" b="1" spc="0" dirty="0"/>
              <a:t>Talent Availability</a:t>
            </a:r>
            <a:endParaRPr lang="en-US" sz="1200" spc="0" dirty="0">
              <a:solidFill>
                <a:srgbClr val="000000"/>
              </a:solidFill>
            </a:endParaRPr>
          </a:p>
        </p:txBody>
      </p:sp>
      <p:sp>
        <p:nvSpPr>
          <p:cNvPr id="59" name="Text Placeholder 2">
            <a:extLst>
              <a:ext uri="{FF2B5EF4-FFF2-40B4-BE49-F238E27FC236}">
                <a16:creationId xmlns:a16="http://schemas.microsoft.com/office/drawing/2014/main" id="{F5FF93D2-7D56-4155-81D6-800EF6DF9604}"/>
              </a:ext>
            </a:extLst>
          </p:cNvPr>
          <p:cNvSpPr txBox="1">
            <a:spLocks/>
          </p:cNvSpPr>
          <p:nvPr/>
        </p:nvSpPr>
        <p:spPr>
          <a:xfrm>
            <a:off x="5339880" y="3343501"/>
            <a:ext cx="2709035" cy="587654"/>
          </a:xfrm>
          <a:prstGeom prst="rect">
            <a:avLst/>
          </a:prstGeom>
          <a:noFill/>
        </p:spPr>
        <p:txBody>
          <a:bodyPr lIns="0" rIns="0"/>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4625" indent="-174625">
              <a:spcBef>
                <a:spcPts val="100"/>
              </a:spcBef>
              <a:spcAft>
                <a:spcPts val="100"/>
              </a:spcAft>
              <a:buClr>
                <a:schemeClr val="tx2"/>
              </a:buClr>
              <a:buSzPct val="100000"/>
            </a:pPr>
            <a:r>
              <a:rPr lang="en-US" sz="1100" spc="0" dirty="0">
                <a:solidFill>
                  <a:schemeClr val="tx2"/>
                </a:solidFill>
              </a:rPr>
              <a:t>Availability of talent / skillsets?</a:t>
            </a:r>
          </a:p>
          <a:p>
            <a:pPr marL="174625" indent="-174625">
              <a:spcBef>
                <a:spcPts val="100"/>
              </a:spcBef>
              <a:spcAft>
                <a:spcPts val="100"/>
              </a:spcAft>
              <a:buClr>
                <a:schemeClr val="tx2"/>
              </a:buClr>
              <a:buSzPct val="100000"/>
            </a:pPr>
            <a:r>
              <a:rPr lang="en-US" sz="1100" spc="0" dirty="0">
                <a:solidFill>
                  <a:schemeClr val="tx2"/>
                </a:solidFill>
              </a:rPr>
              <a:t>Mastery of the English language?</a:t>
            </a:r>
          </a:p>
          <a:p>
            <a:pPr marL="174625" indent="-174625">
              <a:spcBef>
                <a:spcPts val="100"/>
              </a:spcBef>
              <a:spcAft>
                <a:spcPts val="100"/>
              </a:spcAft>
              <a:buClr>
                <a:schemeClr val="tx2"/>
              </a:buClr>
              <a:buSzPct val="100000"/>
            </a:pPr>
            <a:r>
              <a:rPr lang="en-US" sz="1100" spc="0" dirty="0">
                <a:solidFill>
                  <a:schemeClr val="tx2"/>
                </a:solidFill>
              </a:rPr>
              <a:t>Talent attrition rate?</a:t>
            </a:r>
          </a:p>
        </p:txBody>
      </p:sp>
      <p:sp>
        <p:nvSpPr>
          <p:cNvPr id="60" name="Rectangle 59">
            <a:extLst>
              <a:ext uri="{FF2B5EF4-FFF2-40B4-BE49-F238E27FC236}">
                <a16:creationId xmlns:a16="http://schemas.microsoft.com/office/drawing/2014/main" id="{B8CC702A-738F-44D0-93CE-E1813AEDC777}"/>
              </a:ext>
            </a:extLst>
          </p:cNvPr>
          <p:cNvSpPr/>
          <p:nvPr/>
        </p:nvSpPr>
        <p:spPr>
          <a:xfrm>
            <a:off x="5234582" y="2459819"/>
            <a:ext cx="301686" cy="252259"/>
          </a:xfrm>
          <a:prstGeom prst="rect">
            <a:avLst/>
          </a:prstGeom>
        </p:spPr>
        <p:txBody>
          <a:bodyPr wrap="none">
            <a:spAutoFit/>
          </a:bodyPr>
          <a:lstStyle/>
          <a:p>
            <a:pPr algn="r"/>
            <a:r>
              <a:rPr lang="en-US" b="1" dirty="0">
                <a:latin typeface="+mj-lt"/>
              </a:rPr>
              <a:t>1</a:t>
            </a:r>
            <a:endParaRPr lang="en-US" dirty="0">
              <a:latin typeface="+mj-lt"/>
            </a:endParaRPr>
          </a:p>
        </p:txBody>
      </p:sp>
      <p:sp>
        <p:nvSpPr>
          <p:cNvPr id="61" name="Text Placeholder 2">
            <a:extLst>
              <a:ext uri="{FF2B5EF4-FFF2-40B4-BE49-F238E27FC236}">
                <a16:creationId xmlns:a16="http://schemas.microsoft.com/office/drawing/2014/main" id="{606FD366-2879-4F62-B5FC-96CF92542ECE}"/>
              </a:ext>
            </a:extLst>
          </p:cNvPr>
          <p:cNvSpPr txBox="1">
            <a:spLocks/>
          </p:cNvSpPr>
          <p:nvPr/>
        </p:nvSpPr>
        <p:spPr>
          <a:xfrm>
            <a:off x="5607521" y="4215355"/>
            <a:ext cx="1580105" cy="274320"/>
          </a:xfrm>
          <a:prstGeom prst="rect">
            <a:avLst/>
          </a:prstGeom>
          <a:noFill/>
        </p:spPr>
        <p:txBody>
          <a:bodyPr lIns="0" rIns="0" anchor="ct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Clr>
                <a:schemeClr val="tx2"/>
              </a:buClr>
              <a:buSzPct val="100000"/>
              <a:buNone/>
            </a:pPr>
            <a:r>
              <a:rPr lang="en-US" sz="1200" b="1" spc="0" dirty="0"/>
              <a:t>Feasibility</a:t>
            </a:r>
          </a:p>
        </p:txBody>
      </p:sp>
      <p:sp>
        <p:nvSpPr>
          <p:cNvPr id="62" name="Text Placeholder 2">
            <a:extLst>
              <a:ext uri="{FF2B5EF4-FFF2-40B4-BE49-F238E27FC236}">
                <a16:creationId xmlns:a16="http://schemas.microsoft.com/office/drawing/2014/main" id="{10AC8901-1BF0-4EE7-BEE3-A1FE9B868B2B}"/>
              </a:ext>
            </a:extLst>
          </p:cNvPr>
          <p:cNvSpPr txBox="1">
            <a:spLocks/>
          </p:cNvSpPr>
          <p:nvPr/>
        </p:nvSpPr>
        <p:spPr>
          <a:xfrm>
            <a:off x="5339880" y="5018305"/>
            <a:ext cx="2473965" cy="966279"/>
          </a:xfrm>
          <a:prstGeom prst="rect">
            <a:avLst/>
          </a:prstGeom>
          <a:noFill/>
        </p:spPr>
        <p:txBody>
          <a:bodyPr lIns="0" rIns="0"/>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4625" indent="-174625">
              <a:spcBef>
                <a:spcPts val="100"/>
              </a:spcBef>
              <a:spcAft>
                <a:spcPts val="100"/>
              </a:spcAft>
              <a:buClr>
                <a:schemeClr val="tx2"/>
              </a:buClr>
              <a:buSzPct val="100000"/>
            </a:pPr>
            <a:r>
              <a:rPr lang="en-US" sz="1100" spc="0" dirty="0">
                <a:solidFill>
                  <a:schemeClr val="tx2"/>
                </a:solidFill>
              </a:rPr>
              <a:t>Disruption to current business processes?</a:t>
            </a:r>
          </a:p>
          <a:p>
            <a:pPr marL="174625" indent="-174625">
              <a:spcBef>
                <a:spcPts val="100"/>
              </a:spcBef>
              <a:spcAft>
                <a:spcPts val="100"/>
              </a:spcAft>
              <a:buClr>
                <a:schemeClr val="tx2"/>
              </a:buClr>
              <a:buSzPct val="100000"/>
            </a:pPr>
            <a:r>
              <a:rPr lang="en-US" sz="1100" spc="0" dirty="0">
                <a:solidFill>
                  <a:schemeClr val="tx2"/>
                </a:solidFill>
              </a:rPr>
              <a:t>Expected internal stakeholder alignment?</a:t>
            </a:r>
          </a:p>
        </p:txBody>
      </p:sp>
      <p:sp>
        <p:nvSpPr>
          <p:cNvPr id="63" name="Rectangle 62">
            <a:extLst>
              <a:ext uri="{FF2B5EF4-FFF2-40B4-BE49-F238E27FC236}">
                <a16:creationId xmlns:a16="http://schemas.microsoft.com/office/drawing/2014/main" id="{B88383FB-9986-44B9-83C4-D80B53694CAB}"/>
              </a:ext>
            </a:extLst>
          </p:cNvPr>
          <p:cNvSpPr/>
          <p:nvPr/>
        </p:nvSpPr>
        <p:spPr>
          <a:xfrm>
            <a:off x="5269260" y="4139155"/>
            <a:ext cx="232331" cy="252259"/>
          </a:xfrm>
          <a:prstGeom prst="rect">
            <a:avLst/>
          </a:prstGeom>
        </p:spPr>
        <p:txBody>
          <a:bodyPr wrap="none">
            <a:spAutoFit/>
          </a:bodyPr>
          <a:lstStyle/>
          <a:p>
            <a:pPr algn="r"/>
            <a:r>
              <a:rPr lang="en-US" b="1" dirty="0">
                <a:latin typeface="+mj-lt"/>
              </a:rPr>
              <a:t>3</a:t>
            </a:r>
            <a:endParaRPr lang="en-US" dirty="0">
              <a:latin typeface="+mj-lt"/>
            </a:endParaRPr>
          </a:p>
        </p:txBody>
      </p:sp>
      <p:cxnSp>
        <p:nvCxnSpPr>
          <p:cNvPr id="64" name="Straight Connector 63">
            <a:extLst>
              <a:ext uri="{FF2B5EF4-FFF2-40B4-BE49-F238E27FC236}">
                <a16:creationId xmlns:a16="http://schemas.microsoft.com/office/drawing/2014/main" id="{6491579C-B6FE-4FD0-BDBD-E175F6C147A2}"/>
              </a:ext>
            </a:extLst>
          </p:cNvPr>
          <p:cNvCxnSpPr>
            <a:cxnSpLocks/>
          </p:cNvCxnSpPr>
          <p:nvPr/>
        </p:nvCxnSpPr>
        <p:spPr bwMode="auto">
          <a:xfrm>
            <a:off x="5658628" y="3062690"/>
            <a:ext cx="1401651" cy="0"/>
          </a:xfrm>
          <a:prstGeom prst="line">
            <a:avLst/>
          </a:prstGeom>
          <a:solidFill>
            <a:schemeClr val="accent1"/>
          </a:solidFill>
          <a:ln w="28575" cap="flat" cmpd="sng" algn="ctr">
            <a:solidFill>
              <a:schemeClr val="bg1">
                <a:lumMod val="65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5" name="Text Placeholder 2">
            <a:extLst>
              <a:ext uri="{FF2B5EF4-FFF2-40B4-BE49-F238E27FC236}">
                <a16:creationId xmlns:a16="http://schemas.microsoft.com/office/drawing/2014/main" id="{6646170F-5AA8-4DD4-86B6-3DE2682452D2}"/>
              </a:ext>
            </a:extLst>
          </p:cNvPr>
          <p:cNvSpPr txBox="1">
            <a:spLocks/>
          </p:cNvSpPr>
          <p:nvPr/>
        </p:nvSpPr>
        <p:spPr>
          <a:xfrm>
            <a:off x="7059463" y="2925530"/>
            <a:ext cx="503470" cy="274320"/>
          </a:xfrm>
          <a:prstGeom prst="rect">
            <a:avLst/>
          </a:prstGeom>
          <a:noFill/>
        </p:spPr>
        <p:txBody>
          <a:bodyPr lIns="0" rIns="0" anchor="ct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Clr>
                <a:schemeClr val="tx2"/>
              </a:buClr>
              <a:buSzPct val="100000"/>
              <a:buNone/>
            </a:pPr>
            <a:r>
              <a:rPr lang="en-US" sz="800" i="1" spc="0" dirty="0">
                <a:solidFill>
                  <a:schemeClr val="tx1">
                    <a:lumMod val="50000"/>
                    <a:lumOff val="50000"/>
                  </a:schemeClr>
                </a:solidFill>
              </a:rPr>
              <a:t>High</a:t>
            </a:r>
          </a:p>
        </p:txBody>
      </p:sp>
      <p:sp>
        <p:nvSpPr>
          <p:cNvPr id="66" name="Text Placeholder 2">
            <a:extLst>
              <a:ext uri="{FF2B5EF4-FFF2-40B4-BE49-F238E27FC236}">
                <a16:creationId xmlns:a16="http://schemas.microsoft.com/office/drawing/2014/main" id="{CA7999DA-E7EC-4DC0-8044-63472F6CCA18}"/>
              </a:ext>
            </a:extLst>
          </p:cNvPr>
          <p:cNvSpPr txBox="1">
            <a:spLocks/>
          </p:cNvSpPr>
          <p:nvPr/>
        </p:nvSpPr>
        <p:spPr>
          <a:xfrm>
            <a:off x="5135981" y="2925530"/>
            <a:ext cx="503470" cy="274320"/>
          </a:xfrm>
          <a:prstGeom prst="rect">
            <a:avLst/>
          </a:prstGeom>
          <a:noFill/>
        </p:spPr>
        <p:txBody>
          <a:bodyPr lIns="0" rIns="0" anchor="ct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Clr>
                <a:schemeClr val="tx2"/>
              </a:buClr>
              <a:buSzPct val="100000"/>
              <a:buNone/>
            </a:pPr>
            <a:r>
              <a:rPr lang="en-US" sz="800" i="1" spc="0" dirty="0">
                <a:solidFill>
                  <a:schemeClr val="tx1">
                    <a:lumMod val="50000"/>
                    <a:lumOff val="50000"/>
                  </a:schemeClr>
                </a:solidFill>
              </a:rPr>
              <a:t>Low</a:t>
            </a:r>
          </a:p>
        </p:txBody>
      </p:sp>
      <p:cxnSp>
        <p:nvCxnSpPr>
          <p:cNvPr id="67" name="Straight Connector 66">
            <a:extLst>
              <a:ext uri="{FF2B5EF4-FFF2-40B4-BE49-F238E27FC236}">
                <a16:creationId xmlns:a16="http://schemas.microsoft.com/office/drawing/2014/main" id="{15AF0CE2-1115-4332-81E9-27EBDE1C5E1D}"/>
              </a:ext>
            </a:extLst>
          </p:cNvPr>
          <p:cNvCxnSpPr>
            <a:cxnSpLocks/>
          </p:cNvCxnSpPr>
          <p:nvPr/>
        </p:nvCxnSpPr>
        <p:spPr>
          <a:xfrm flipH="1">
            <a:off x="6952727" y="2975822"/>
            <a:ext cx="1" cy="173736"/>
          </a:xfrm>
          <a:prstGeom prst="line">
            <a:avLst/>
          </a:prstGeom>
          <a:ln w="571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8" name="Text Placeholder 2">
            <a:extLst>
              <a:ext uri="{FF2B5EF4-FFF2-40B4-BE49-F238E27FC236}">
                <a16:creationId xmlns:a16="http://schemas.microsoft.com/office/drawing/2014/main" id="{BA8AC22E-6BB2-48E2-98EA-6CB2F99176C2}"/>
              </a:ext>
            </a:extLst>
          </p:cNvPr>
          <p:cNvSpPr txBox="1">
            <a:spLocks/>
          </p:cNvSpPr>
          <p:nvPr/>
        </p:nvSpPr>
        <p:spPr>
          <a:xfrm>
            <a:off x="6670780" y="3085173"/>
            <a:ext cx="503470" cy="274320"/>
          </a:xfrm>
          <a:prstGeom prst="rect">
            <a:avLst/>
          </a:prstGeom>
          <a:noFill/>
        </p:spPr>
        <p:txBody>
          <a:bodyPr lIns="0" rIns="0" anchor="ct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Clr>
                <a:schemeClr val="tx2"/>
              </a:buClr>
              <a:buSzPct val="100000"/>
              <a:buNone/>
            </a:pPr>
            <a:r>
              <a:rPr lang="en-US" sz="800" i="1" spc="0" dirty="0"/>
              <a:t>Analytics</a:t>
            </a:r>
          </a:p>
        </p:txBody>
      </p:sp>
      <p:cxnSp>
        <p:nvCxnSpPr>
          <p:cNvPr id="69" name="Straight Connector 68">
            <a:extLst>
              <a:ext uri="{FF2B5EF4-FFF2-40B4-BE49-F238E27FC236}">
                <a16:creationId xmlns:a16="http://schemas.microsoft.com/office/drawing/2014/main" id="{C4FCF480-C402-48DA-9489-A96753DA2F6F}"/>
              </a:ext>
            </a:extLst>
          </p:cNvPr>
          <p:cNvCxnSpPr>
            <a:cxnSpLocks/>
          </p:cNvCxnSpPr>
          <p:nvPr/>
        </p:nvCxnSpPr>
        <p:spPr>
          <a:xfrm flipH="1">
            <a:off x="6546182" y="2975203"/>
            <a:ext cx="1" cy="174974"/>
          </a:xfrm>
          <a:prstGeom prst="line">
            <a:avLst/>
          </a:prstGeom>
          <a:ln w="5715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70" name="Text Placeholder 2">
            <a:extLst>
              <a:ext uri="{FF2B5EF4-FFF2-40B4-BE49-F238E27FC236}">
                <a16:creationId xmlns:a16="http://schemas.microsoft.com/office/drawing/2014/main" id="{A627F75A-6B19-4ADF-8E95-5F6B0C0B0FB7}"/>
              </a:ext>
            </a:extLst>
          </p:cNvPr>
          <p:cNvSpPr txBox="1">
            <a:spLocks/>
          </p:cNvSpPr>
          <p:nvPr/>
        </p:nvSpPr>
        <p:spPr>
          <a:xfrm>
            <a:off x="6279227" y="2765072"/>
            <a:ext cx="503470" cy="274320"/>
          </a:xfrm>
          <a:prstGeom prst="rect">
            <a:avLst/>
          </a:prstGeom>
          <a:noFill/>
        </p:spPr>
        <p:txBody>
          <a:bodyPr lIns="0" rIns="0" anchor="ct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Clr>
                <a:schemeClr val="tx2"/>
              </a:buClr>
              <a:buSzPct val="100000"/>
              <a:buNone/>
            </a:pPr>
            <a:r>
              <a:rPr lang="en-US" sz="800" i="1" spc="0" dirty="0"/>
              <a:t>Creative</a:t>
            </a:r>
          </a:p>
        </p:txBody>
      </p:sp>
      <p:sp>
        <p:nvSpPr>
          <p:cNvPr id="71" name="Text Placeholder 2">
            <a:extLst>
              <a:ext uri="{FF2B5EF4-FFF2-40B4-BE49-F238E27FC236}">
                <a16:creationId xmlns:a16="http://schemas.microsoft.com/office/drawing/2014/main" id="{40B08D1B-8BD8-432D-95D3-2001A7DC3F96}"/>
              </a:ext>
            </a:extLst>
          </p:cNvPr>
          <p:cNvSpPr txBox="1">
            <a:spLocks/>
          </p:cNvSpPr>
          <p:nvPr/>
        </p:nvSpPr>
        <p:spPr>
          <a:xfrm>
            <a:off x="6393639" y="4446528"/>
            <a:ext cx="503470" cy="274320"/>
          </a:xfrm>
          <a:prstGeom prst="rect">
            <a:avLst/>
          </a:prstGeom>
          <a:noFill/>
        </p:spPr>
        <p:txBody>
          <a:bodyPr lIns="0" rIns="0" anchor="ct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Clr>
                <a:schemeClr val="tx2"/>
              </a:buClr>
              <a:buSzPct val="100000"/>
              <a:buNone/>
            </a:pPr>
            <a:r>
              <a:rPr lang="en-US" sz="800" i="1" spc="0" dirty="0"/>
              <a:t>Creative</a:t>
            </a:r>
          </a:p>
        </p:txBody>
      </p:sp>
      <p:cxnSp>
        <p:nvCxnSpPr>
          <p:cNvPr id="72" name="Straight Connector 71">
            <a:extLst>
              <a:ext uri="{FF2B5EF4-FFF2-40B4-BE49-F238E27FC236}">
                <a16:creationId xmlns:a16="http://schemas.microsoft.com/office/drawing/2014/main" id="{DB7036E6-7B8F-4F1D-A40A-FF18803727D1}"/>
              </a:ext>
            </a:extLst>
          </p:cNvPr>
          <p:cNvCxnSpPr>
            <a:cxnSpLocks/>
          </p:cNvCxnSpPr>
          <p:nvPr/>
        </p:nvCxnSpPr>
        <p:spPr bwMode="auto">
          <a:xfrm>
            <a:off x="5674048" y="4748823"/>
            <a:ext cx="1401651" cy="0"/>
          </a:xfrm>
          <a:prstGeom prst="line">
            <a:avLst/>
          </a:prstGeom>
          <a:solidFill>
            <a:schemeClr val="accent1"/>
          </a:solidFill>
          <a:ln w="28575" cap="flat" cmpd="sng" algn="ctr">
            <a:solidFill>
              <a:schemeClr val="bg1">
                <a:lumMod val="65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3" name="Text Placeholder 2">
            <a:extLst>
              <a:ext uri="{FF2B5EF4-FFF2-40B4-BE49-F238E27FC236}">
                <a16:creationId xmlns:a16="http://schemas.microsoft.com/office/drawing/2014/main" id="{F234B17C-5D33-4C6D-B936-152ACB549565}"/>
              </a:ext>
            </a:extLst>
          </p:cNvPr>
          <p:cNvSpPr txBox="1">
            <a:spLocks/>
          </p:cNvSpPr>
          <p:nvPr/>
        </p:nvSpPr>
        <p:spPr>
          <a:xfrm>
            <a:off x="7059463" y="4611663"/>
            <a:ext cx="503470" cy="274320"/>
          </a:xfrm>
          <a:prstGeom prst="rect">
            <a:avLst/>
          </a:prstGeom>
          <a:noFill/>
        </p:spPr>
        <p:txBody>
          <a:bodyPr lIns="0" rIns="0" anchor="ct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Clr>
                <a:schemeClr val="tx2"/>
              </a:buClr>
              <a:buSzPct val="100000"/>
              <a:buNone/>
            </a:pPr>
            <a:r>
              <a:rPr lang="en-US" sz="800" i="1" spc="0" dirty="0">
                <a:solidFill>
                  <a:schemeClr val="tx1">
                    <a:lumMod val="50000"/>
                    <a:lumOff val="50000"/>
                  </a:schemeClr>
                </a:solidFill>
              </a:rPr>
              <a:t>High</a:t>
            </a:r>
          </a:p>
        </p:txBody>
      </p:sp>
      <p:sp>
        <p:nvSpPr>
          <p:cNvPr id="74" name="Text Placeholder 2">
            <a:extLst>
              <a:ext uri="{FF2B5EF4-FFF2-40B4-BE49-F238E27FC236}">
                <a16:creationId xmlns:a16="http://schemas.microsoft.com/office/drawing/2014/main" id="{7F52689F-FF15-4CA6-984A-687578BB1DFB}"/>
              </a:ext>
            </a:extLst>
          </p:cNvPr>
          <p:cNvSpPr txBox="1">
            <a:spLocks/>
          </p:cNvSpPr>
          <p:nvPr/>
        </p:nvSpPr>
        <p:spPr>
          <a:xfrm>
            <a:off x="5135981" y="4611663"/>
            <a:ext cx="503470" cy="274320"/>
          </a:xfrm>
          <a:prstGeom prst="rect">
            <a:avLst/>
          </a:prstGeom>
          <a:noFill/>
        </p:spPr>
        <p:txBody>
          <a:bodyPr lIns="0" rIns="0" anchor="ct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Clr>
                <a:schemeClr val="tx2"/>
              </a:buClr>
              <a:buSzPct val="100000"/>
              <a:buNone/>
            </a:pPr>
            <a:r>
              <a:rPr lang="en-US" sz="800" i="1" spc="0" dirty="0">
                <a:solidFill>
                  <a:schemeClr val="tx1">
                    <a:lumMod val="50000"/>
                    <a:lumOff val="50000"/>
                  </a:schemeClr>
                </a:solidFill>
              </a:rPr>
              <a:t>Low</a:t>
            </a:r>
          </a:p>
        </p:txBody>
      </p:sp>
      <p:sp>
        <p:nvSpPr>
          <p:cNvPr id="75" name="Text Placeholder 2">
            <a:extLst>
              <a:ext uri="{FF2B5EF4-FFF2-40B4-BE49-F238E27FC236}">
                <a16:creationId xmlns:a16="http://schemas.microsoft.com/office/drawing/2014/main" id="{1BEBCA14-E8E5-4890-ABF5-CC667AB883A7}"/>
              </a:ext>
            </a:extLst>
          </p:cNvPr>
          <p:cNvSpPr txBox="1">
            <a:spLocks/>
          </p:cNvSpPr>
          <p:nvPr/>
        </p:nvSpPr>
        <p:spPr>
          <a:xfrm>
            <a:off x="6567239" y="4771962"/>
            <a:ext cx="503470" cy="274320"/>
          </a:xfrm>
          <a:prstGeom prst="rect">
            <a:avLst/>
          </a:prstGeom>
          <a:noFill/>
        </p:spPr>
        <p:txBody>
          <a:bodyPr lIns="0" rIns="0" anchor="ct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Clr>
                <a:schemeClr val="tx2"/>
              </a:buClr>
              <a:buSzPct val="100000"/>
              <a:buNone/>
            </a:pPr>
            <a:r>
              <a:rPr lang="en-US" sz="800" i="1" spc="0" dirty="0"/>
              <a:t>Analytics</a:t>
            </a:r>
          </a:p>
        </p:txBody>
      </p:sp>
      <p:sp>
        <p:nvSpPr>
          <p:cNvPr id="76" name="Text Placeholder 2">
            <a:extLst>
              <a:ext uri="{FF2B5EF4-FFF2-40B4-BE49-F238E27FC236}">
                <a16:creationId xmlns:a16="http://schemas.microsoft.com/office/drawing/2014/main" id="{169310D6-7E54-40B1-8E96-D768A3B93A99}"/>
              </a:ext>
            </a:extLst>
          </p:cNvPr>
          <p:cNvSpPr txBox="1">
            <a:spLocks/>
          </p:cNvSpPr>
          <p:nvPr/>
        </p:nvSpPr>
        <p:spPr>
          <a:xfrm>
            <a:off x="8365600" y="2510619"/>
            <a:ext cx="1580105" cy="274320"/>
          </a:xfrm>
          <a:prstGeom prst="rect">
            <a:avLst/>
          </a:prstGeom>
          <a:noFill/>
        </p:spPr>
        <p:txBody>
          <a:bodyPr lIns="0" rIns="0" anchor="ct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Clr>
                <a:schemeClr val="tx2"/>
              </a:buClr>
              <a:buSzPct val="100000"/>
              <a:buNone/>
            </a:pPr>
            <a:r>
              <a:rPr lang="en-US" sz="1200" b="1" spc="0" dirty="0"/>
              <a:t>Cost Advantage</a:t>
            </a:r>
            <a:endParaRPr lang="en-US" sz="1200" spc="0" dirty="0">
              <a:solidFill>
                <a:srgbClr val="000000"/>
              </a:solidFill>
            </a:endParaRPr>
          </a:p>
        </p:txBody>
      </p:sp>
      <p:sp>
        <p:nvSpPr>
          <p:cNvPr id="109" name="Text Placeholder 2">
            <a:extLst>
              <a:ext uri="{FF2B5EF4-FFF2-40B4-BE49-F238E27FC236}">
                <a16:creationId xmlns:a16="http://schemas.microsoft.com/office/drawing/2014/main" id="{B9AEF0DE-5B15-428F-8874-1FCF2E192CDA}"/>
              </a:ext>
            </a:extLst>
          </p:cNvPr>
          <p:cNvSpPr txBox="1">
            <a:spLocks/>
          </p:cNvSpPr>
          <p:nvPr/>
        </p:nvSpPr>
        <p:spPr>
          <a:xfrm>
            <a:off x="8151304" y="3343501"/>
            <a:ext cx="2626290" cy="597239"/>
          </a:xfrm>
          <a:prstGeom prst="rect">
            <a:avLst/>
          </a:prstGeom>
          <a:noFill/>
        </p:spPr>
        <p:txBody>
          <a:bodyPr lIns="0" rIns="0"/>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4625" indent="-174625">
              <a:spcBef>
                <a:spcPts val="100"/>
              </a:spcBef>
              <a:spcAft>
                <a:spcPts val="100"/>
              </a:spcAft>
              <a:buClr>
                <a:schemeClr val="tx2"/>
              </a:buClr>
              <a:buSzPct val="100000"/>
            </a:pPr>
            <a:r>
              <a:rPr lang="en-US" sz="1100" spc="0" dirty="0">
                <a:solidFill>
                  <a:schemeClr val="tx2"/>
                </a:solidFill>
              </a:rPr>
              <a:t>Significant labor cost arbitrage? </a:t>
            </a:r>
          </a:p>
          <a:p>
            <a:pPr marL="174625" indent="-174625">
              <a:spcBef>
                <a:spcPts val="100"/>
              </a:spcBef>
              <a:spcAft>
                <a:spcPts val="100"/>
              </a:spcAft>
              <a:buClr>
                <a:schemeClr val="tx2"/>
              </a:buClr>
              <a:buSzPct val="100000"/>
            </a:pPr>
            <a:r>
              <a:rPr lang="en-US" sz="1100" spc="0" dirty="0">
                <a:solidFill>
                  <a:schemeClr val="tx2"/>
                </a:solidFill>
              </a:rPr>
              <a:t>Level of non-labor expenditures, such as facility costs, technology, etc.?</a:t>
            </a:r>
          </a:p>
        </p:txBody>
      </p:sp>
      <p:sp>
        <p:nvSpPr>
          <p:cNvPr id="110" name="Rectangle 109">
            <a:extLst>
              <a:ext uri="{FF2B5EF4-FFF2-40B4-BE49-F238E27FC236}">
                <a16:creationId xmlns:a16="http://schemas.microsoft.com/office/drawing/2014/main" id="{178992CC-F731-4FC3-A3A3-747AC6A604DC}"/>
              </a:ext>
            </a:extLst>
          </p:cNvPr>
          <p:cNvSpPr/>
          <p:nvPr/>
        </p:nvSpPr>
        <p:spPr>
          <a:xfrm>
            <a:off x="8048915" y="2459819"/>
            <a:ext cx="325730" cy="252259"/>
          </a:xfrm>
          <a:prstGeom prst="rect">
            <a:avLst/>
          </a:prstGeom>
        </p:spPr>
        <p:txBody>
          <a:bodyPr wrap="none">
            <a:spAutoFit/>
          </a:bodyPr>
          <a:lstStyle/>
          <a:p>
            <a:pPr algn="r"/>
            <a:r>
              <a:rPr lang="en-US" b="1" dirty="0">
                <a:latin typeface="+mj-lt"/>
              </a:rPr>
              <a:t>2</a:t>
            </a:r>
            <a:endParaRPr lang="en-US" dirty="0">
              <a:latin typeface="+mj-lt"/>
            </a:endParaRPr>
          </a:p>
        </p:txBody>
      </p:sp>
      <p:sp>
        <p:nvSpPr>
          <p:cNvPr id="111" name="Text Placeholder 2">
            <a:extLst>
              <a:ext uri="{FF2B5EF4-FFF2-40B4-BE49-F238E27FC236}">
                <a16:creationId xmlns:a16="http://schemas.microsoft.com/office/drawing/2014/main" id="{1B35DEFB-C393-4E77-A718-2CE5EFB92DDD}"/>
              </a:ext>
            </a:extLst>
          </p:cNvPr>
          <p:cNvSpPr txBox="1">
            <a:spLocks/>
          </p:cNvSpPr>
          <p:nvPr/>
        </p:nvSpPr>
        <p:spPr>
          <a:xfrm>
            <a:off x="8365600" y="4256337"/>
            <a:ext cx="2228259" cy="192357"/>
          </a:xfrm>
          <a:prstGeom prst="rect">
            <a:avLst/>
          </a:prstGeom>
          <a:noFill/>
        </p:spPr>
        <p:txBody>
          <a:bodyPr lIns="0" rIns="0" anchor="ct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Clr>
                <a:schemeClr val="tx2"/>
              </a:buClr>
              <a:buSzPct val="100000"/>
              <a:buNone/>
            </a:pPr>
            <a:r>
              <a:rPr lang="en-US" sz="1200" b="1" spc="0" dirty="0"/>
              <a:t>Proximity to Product Source</a:t>
            </a:r>
            <a:r>
              <a:rPr lang="en-US" sz="1200" b="1" spc="0" baseline="30000" dirty="0"/>
              <a:t>1</a:t>
            </a:r>
          </a:p>
        </p:txBody>
      </p:sp>
      <p:sp>
        <p:nvSpPr>
          <p:cNvPr id="112" name="Text Placeholder 2">
            <a:extLst>
              <a:ext uri="{FF2B5EF4-FFF2-40B4-BE49-F238E27FC236}">
                <a16:creationId xmlns:a16="http://schemas.microsoft.com/office/drawing/2014/main" id="{0289B79B-E563-43DF-B216-14D9F5864C42}"/>
              </a:ext>
            </a:extLst>
          </p:cNvPr>
          <p:cNvSpPr txBox="1">
            <a:spLocks/>
          </p:cNvSpPr>
          <p:nvPr/>
        </p:nvSpPr>
        <p:spPr>
          <a:xfrm>
            <a:off x="8151304" y="5018306"/>
            <a:ext cx="2395918" cy="236132"/>
          </a:xfrm>
          <a:prstGeom prst="rect">
            <a:avLst/>
          </a:prstGeom>
          <a:noFill/>
        </p:spPr>
        <p:txBody>
          <a:bodyPr lIns="0" rIns="0"/>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4625" indent="-174625">
              <a:spcBef>
                <a:spcPts val="100"/>
              </a:spcBef>
              <a:spcAft>
                <a:spcPts val="100"/>
              </a:spcAft>
              <a:buClr>
                <a:schemeClr val="tx2"/>
              </a:buClr>
              <a:buSzPct val="100000"/>
            </a:pPr>
            <a:r>
              <a:rPr lang="en-US" sz="1100" spc="0" dirty="0">
                <a:solidFill>
                  <a:schemeClr val="tx2"/>
                </a:solidFill>
              </a:rPr>
              <a:t>Proximity to manufacturer location?</a:t>
            </a:r>
          </a:p>
        </p:txBody>
      </p:sp>
      <p:sp>
        <p:nvSpPr>
          <p:cNvPr id="113" name="Rectangle 112">
            <a:extLst>
              <a:ext uri="{FF2B5EF4-FFF2-40B4-BE49-F238E27FC236}">
                <a16:creationId xmlns:a16="http://schemas.microsoft.com/office/drawing/2014/main" id="{8764B1AF-6FAA-4856-8C93-281A8ECACDED}"/>
              </a:ext>
            </a:extLst>
          </p:cNvPr>
          <p:cNvSpPr/>
          <p:nvPr/>
        </p:nvSpPr>
        <p:spPr>
          <a:xfrm>
            <a:off x="8048915" y="4139155"/>
            <a:ext cx="325731" cy="369332"/>
          </a:xfrm>
          <a:prstGeom prst="rect">
            <a:avLst/>
          </a:prstGeom>
        </p:spPr>
        <p:txBody>
          <a:bodyPr wrap="none">
            <a:spAutoFit/>
          </a:bodyPr>
          <a:lstStyle/>
          <a:p>
            <a:pPr algn="r"/>
            <a:r>
              <a:rPr lang="en-US" dirty="0">
                <a:latin typeface="+mj-lt"/>
              </a:rPr>
              <a:t>4</a:t>
            </a:r>
          </a:p>
        </p:txBody>
      </p:sp>
      <p:cxnSp>
        <p:nvCxnSpPr>
          <p:cNvPr id="114" name="Straight Connector 113">
            <a:extLst>
              <a:ext uri="{FF2B5EF4-FFF2-40B4-BE49-F238E27FC236}">
                <a16:creationId xmlns:a16="http://schemas.microsoft.com/office/drawing/2014/main" id="{4DA476F1-7B90-44F6-9E09-91E6617932EA}"/>
              </a:ext>
            </a:extLst>
          </p:cNvPr>
          <p:cNvCxnSpPr>
            <a:cxnSpLocks/>
          </p:cNvCxnSpPr>
          <p:nvPr/>
        </p:nvCxnSpPr>
        <p:spPr bwMode="auto">
          <a:xfrm>
            <a:off x="8510071" y="3062690"/>
            <a:ext cx="1401651" cy="0"/>
          </a:xfrm>
          <a:prstGeom prst="line">
            <a:avLst/>
          </a:prstGeom>
          <a:solidFill>
            <a:schemeClr val="accent1"/>
          </a:solidFill>
          <a:ln w="28575" cap="flat" cmpd="sng" algn="ctr">
            <a:solidFill>
              <a:schemeClr val="bg1">
                <a:lumMod val="65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5" name="Text Placeholder 2">
            <a:extLst>
              <a:ext uri="{FF2B5EF4-FFF2-40B4-BE49-F238E27FC236}">
                <a16:creationId xmlns:a16="http://schemas.microsoft.com/office/drawing/2014/main" id="{1FF9C249-11E7-4C6E-A2E2-81C083D16DE9}"/>
              </a:ext>
            </a:extLst>
          </p:cNvPr>
          <p:cNvSpPr txBox="1">
            <a:spLocks/>
          </p:cNvSpPr>
          <p:nvPr/>
        </p:nvSpPr>
        <p:spPr>
          <a:xfrm>
            <a:off x="9867058" y="2925530"/>
            <a:ext cx="503470" cy="274320"/>
          </a:xfrm>
          <a:prstGeom prst="rect">
            <a:avLst/>
          </a:prstGeom>
          <a:noFill/>
        </p:spPr>
        <p:txBody>
          <a:bodyPr lIns="0" rIns="0" anchor="ct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Clr>
                <a:schemeClr val="tx2"/>
              </a:buClr>
              <a:buSzPct val="100000"/>
              <a:buNone/>
            </a:pPr>
            <a:r>
              <a:rPr lang="en-US" sz="800" i="1" spc="0" dirty="0">
                <a:solidFill>
                  <a:schemeClr val="tx1">
                    <a:lumMod val="50000"/>
                    <a:lumOff val="50000"/>
                  </a:schemeClr>
                </a:solidFill>
              </a:rPr>
              <a:t>High</a:t>
            </a:r>
          </a:p>
        </p:txBody>
      </p:sp>
      <p:sp>
        <p:nvSpPr>
          <p:cNvPr id="116" name="Text Placeholder 2">
            <a:extLst>
              <a:ext uri="{FF2B5EF4-FFF2-40B4-BE49-F238E27FC236}">
                <a16:creationId xmlns:a16="http://schemas.microsoft.com/office/drawing/2014/main" id="{7667CD61-E58B-423C-8DFD-FFE0A87E085B}"/>
              </a:ext>
            </a:extLst>
          </p:cNvPr>
          <p:cNvSpPr txBox="1">
            <a:spLocks/>
          </p:cNvSpPr>
          <p:nvPr/>
        </p:nvSpPr>
        <p:spPr>
          <a:xfrm>
            <a:off x="7943576" y="2925530"/>
            <a:ext cx="503470" cy="274320"/>
          </a:xfrm>
          <a:prstGeom prst="rect">
            <a:avLst/>
          </a:prstGeom>
          <a:noFill/>
        </p:spPr>
        <p:txBody>
          <a:bodyPr lIns="0" rIns="0" anchor="ct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Clr>
                <a:schemeClr val="tx2"/>
              </a:buClr>
              <a:buSzPct val="100000"/>
              <a:buNone/>
            </a:pPr>
            <a:r>
              <a:rPr lang="en-US" sz="800" i="1" spc="0" dirty="0">
                <a:solidFill>
                  <a:schemeClr val="tx1">
                    <a:lumMod val="50000"/>
                    <a:lumOff val="50000"/>
                  </a:schemeClr>
                </a:solidFill>
              </a:rPr>
              <a:t>Low</a:t>
            </a:r>
          </a:p>
        </p:txBody>
      </p:sp>
      <p:sp>
        <p:nvSpPr>
          <p:cNvPr id="117" name="Text Placeholder 2">
            <a:extLst>
              <a:ext uri="{FF2B5EF4-FFF2-40B4-BE49-F238E27FC236}">
                <a16:creationId xmlns:a16="http://schemas.microsoft.com/office/drawing/2014/main" id="{433CC8B6-747E-4C29-AE7B-70C448E332DF}"/>
              </a:ext>
            </a:extLst>
          </p:cNvPr>
          <p:cNvSpPr txBox="1">
            <a:spLocks/>
          </p:cNvSpPr>
          <p:nvPr/>
        </p:nvSpPr>
        <p:spPr>
          <a:xfrm>
            <a:off x="9512002" y="2765072"/>
            <a:ext cx="503470" cy="274320"/>
          </a:xfrm>
          <a:prstGeom prst="rect">
            <a:avLst/>
          </a:prstGeom>
          <a:noFill/>
        </p:spPr>
        <p:txBody>
          <a:bodyPr lIns="0" rIns="0" anchor="ct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Clr>
                <a:schemeClr val="tx2"/>
              </a:buClr>
              <a:buSzPct val="100000"/>
              <a:buNone/>
            </a:pPr>
            <a:r>
              <a:rPr lang="en-US" sz="800" i="1" spc="0" dirty="0"/>
              <a:t>Creative</a:t>
            </a:r>
          </a:p>
        </p:txBody>
      </p:sp>
      <p:sp>
        <p:nvSpPr>
          <p:cNvPr id="118" name="Text Placeholder 2">
            <a:extLst>
              <a:ext uri="{FF2B5EF4-FFF2-40B4-BE49-F238E27FC236}">
                <a16:creationId xmlns:a16="http://schemas.microsoft.com/office/drawing/2014/main" id="{44915355-1D3E-49B9-AE8C-DE4071CF92DE}"/>
              </a:ext>
            </a:extLst>
          </p:cNvPr>
          <p:cNvSpPr txBox="1">
            <a:spLocks/>
          </p:cNvSpPr>
          <p:nvPr/>
        </p:nvSpPr>
        <p:spPr>
          <a:xfrm>
            <a:off x="9512002" y="3068916"/>
            <a:ext cx="503470" cy="274320"/>
          </a:xfrm>
          <a:prstGeom prst="rect">
            <a:avLst/>
          </a:prstGeom>
          <a:noFill/>
        </p:spPr>
        <p:txBody>
          <a:bodyPr lIns="0" rIns="0" anchor="ct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Clr>
                <a:schemeClr val="tx2"/>
              </a:buClr>
              <a:buSzPct val="100000"/>
              <a:buNone/>
            </a:pPr>
            <a:r>
              <a:rPr lang="en-US" sz="800" i="1" spc="0" dirty="0"/>
              <a:t>Analytics</a:t>
            </a:r>
          </a:p>
        </p:txBody>
      </p:sp>
      <p:cxnSp>
        <p:nvCxnSpPr>
          <p:cNvPr id="119" name="Straight Connector 118">
            <a:extLst>
              <a:ext uri="{FF2B5EF4-FFF2-40B4-BE49-F238E27FC236}">
                <a16:creationId xmlns:a16="http://schemas.microsoft.com/office/drawing/2014/main" id="{F825F5F7-AA06-4277-A99F-21EE7346BB18}"/>
              </a:ext>
            </a:extLst>
          </p:cNvPr>
          <p:cNvCxnSpPr>
            <a:cxnSpLocks/>
          </p:cNvCxnSpPr>
          <p:nvPr/>
        </p:nvCxnSpPr>
        <p:spPr bwMode="auto">
          <a:xfrm>
            <a:off x="8521808" y="4748823"/>
            <a:ext cx="1401651" cy="0"/>
          </a:xfrm>
          <a:prstGeom prst="line">
            <a:avLst/>
          </a:prstGeom>
          <a:solidFill>
            <a:schemeClr val="accent1"/>
          </a:solidFill>
          <a:ln w="28575" cap="flat" cmpd="sng" algn="ctr">
            <a:solidFill>
              <a:schemeClr val="bg1">
                <a:lumMod val="65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0" name="Text Placeholder 2">
            <a:extLst>
              <a:ext uri="{FF2B5EF4-FFF2-40B4-BE49-F238E27FC236}">
                <a16:creationId xmlns:a16="http://schemas.microsoft.com/office/drawing/2014/main" id="{CEA48B4E-E49C-4B75-8514-72988AEAE8E4}"/>
              </a:ext>
            </a:extLst>
          </p:cNvPr>
          <p:cNvSpPr txBox="1">
            <a:spLocks/>
          </p:cNvSpPr>
          <p:nvPr/>
        </p:nvSpPr>
        <p:spPr>
          <a:xfrm>
            <a:off x="9867058" y="4611663"/>
            <a:ext cx="503470" cy="274320"/>
          </a:xfrm>
          <a:prstGeom prst="rect">
            <a:avLst/>
          </a:prstGeom>
          <a:noFill/>
        </p:spPr>
        <p:txBody>
          <a:bodyPr lIns="0" rIns="0" anchor="ct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Clr>
                <a:schemeClr val="tx2"/>
              </a:buClr>
              <a:buSzPct val="100000"/>
              <a:buNone/>
            </a:pPr>
            <a:r>
              <a:rPr lang="en-US" sz="800" i="1" spc="0" dirty="0">
                <a:solidFill>
                  <a:schemeClr val="tx1">
                    <a:lumMod val="50000"/>
                    <a:lumOff val="50000"/>
                  </a:schemeClr>
                </a:solidFill>
              </a:rPr>
              <a:t>High</a:t>
            </a:r>
          </a:p>
        </p:txBody>
      </p:sp>
      <p:sp>
        <p:nvSpPr>
          <p:cNvPr id="121" name="Text Placeholder 2">
            <a:extLst>
              <a:ext uri="{FF2B5EF4-FFF2-40B4-BE49-F238E27FC236}">
                <a16:creationId xmlns:a16="http://schemas.microsoft.com/office/drawing/2014/main" id="{E7E117E0-844D-40E8-A38B-E08DE39F4F02}"/>
              </a:ext>
            </a:extLst>
          </p:cNvPr>
          <p:cNvSpPr txBox="1">
            <a:spLocks/>
          </p:cNvSpPr>
          <p:nvPr/>
        </p:nvSpPr>
        <p:spPr>
          <a:xfrm>
            <a:off x="7943576" y="4611663"/>
            <a:ext cx="503470" cy="274320"/>
          </a:xfrm>
          <a:prstGeom prst="rect">
            <a:avLst/>
          </a:prstGeom>
          <a:noFill/>
        </p:spPr>
        <p:txBody>
          <a:bodyPr lIns="0" rIns="0" anchor="ct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Clr>
                <a:schemeClr val="tx2"/>
              </a:buClr>
              <a:buSzPct val="100000"/>
              <a:buNone/>
            </a:pPr>
            <a:r>
              <a:rPr lang="en-US" sz="800" i="1" spc="0" dirty="0">
                <a:solidFill>
                  <a:schemeClr val="tx1">
                    <a:lumMod val="50000"/>
                    <a:lumOff val="50000"/>
                  </a:schemeClr>
                </a:solidFill>
              </a:rPr>
              <a:t>Low</a:t>
            </a:r>
          </a:p>
        </p:txBody>
      </p:sp>
      <p:sp>
        <p:nvSpPr>
          <p:cNvPr id="122" name="Text Placeholder 2">
            <a:extLst>
              <a:ext uri="{FF2B5EF4-FFF2-40B4-BE49-F238E27FC236}">
                <a16:creationId xmlns:a16="http://schemas.microsoft.com/office/drawing/2014/main" id="{7C66B986-DCE3-4D0E-88B7-77E1CEAFC315}"/>
              </a:ext>
            </a:extLst>
          </p:cNvPr>
          <p:cNvSpPr txBox="1">
            <a:spLocks/>
          </p:cNvSpPr>
          <p:nvPr/>
        </p:nvSpPr>
        <p:spPr>
          <a:xfrm>
            <a:off x="9007041" y="4446528"/>
            <a:ext cx="503470" cy="274320"/>
          </a:xfrm>
          <a:prstGeom prst="rect">
            <a:avLst/>
          </a:prstGeom>
          <a:noFill/>
        </p:spPr>
        <p:txBody>
          <a:bodyPr lIns="0" rIns="0" anchor="ct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Clr>
                <a:schemeClr val="tx2"/>
              </a:buClr>
              <a:buSzPct val="100000"/>
              <a:buNone/>
            </a:pPr>
            <a:r>
              <a:rPr lang="en-US" sz="800" i="1" spc="0" dirty="0"/>
              <a:t>Creative</a:t>
            </a:r>
          </a:p>
        </p:txBody>
      </p:sp>
      <p:sp>
        <p:nvSpPr>
          <p:cNvPr id="123" name="Rectangle 122">
            <a:extLst>
              <a:ext uri="{FF2B5EF4-FFF2-40B4-BE49-F238E27FC236}">
                <a16:creationId xmlns:a16="http://schemas.microsoft.com/office/drawing/2014/main" id="{6B224579-8044-4EDB-82B9-6DC51ED10AD2}"/>
              </a:ext>
            </a:extLst>
          </p:cNvPr>
          <p:cNvSpPr/>
          <p:nvPr/>
        </p:nvSpPr>
        <p:spPr>
          <a:xfrm>
            <a:off x="5326832" y="6351809"/>
            <a:ext cx="2927404" cy="246221"/>
          </a:xfrm>
          <a:prstGeom prst="rect">
            <a:avLst/>
          </a:prstGeom>
        </p:spPr>
        <p:txBody>
          <a:bodyPr wrap="none">
            <a:spAutoFit/>
          </a:bodyPr>
          <a:lstStyle/>
          <a:p>
            <a:r>
              <a:rPr lang="en-US" sz="1000" dirty="0"/>
              <a:t>(1) Only applicable for Creative work packages</a:t>
            </a:r>
          </a:p>
        </p:txBody>
      </p:sp>
      <p:sp>
        <p:nvSpPr>
          <p:cNvPr id="124" name="Rectangle 123">
            <a:extLst>
              <a:ext uri="{FF2B5EF4-FFF2-40B4-BE49-F238E27FC236}">
                <a16:creationId xmlns:a16="http://schemas.microsoft.com/office/drawing/2014/main" id="{A021863E-8283-41B8-B9B6-EEF40A59D800}"/>
              </a:ext>
            </a:extLst>
          </p:cNvPr>
          <p:cNvSpPr/>
          <p:nvPr/>
        </p:nvSpPr>
        <p:spPr>
          <a:xfrm>
            <a:off x="919628" y="2164312"/>
            <a:ext cx="3774809" cy="3719245"/>
          </a:xfrm>
          <a:prstGeom prst="rect">
            <a:avLst/>
          </a:prstGeom>
          <a:solidFill>
            <a:srgbClr val="EFFFFA"/>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b="1" dirty="0">
              <a:solidFill>
                <a:schemeClr val="tx1"/>
              </a:solidFill>
            </a:endParaRPr>
          </a:p>
        </p:txBody>
      </p:sp>
      <p:sp>
        <p:nvSpPr>
          <p:cNvPr id="125" name="Rectangle 124">
            <a:extLst>
              <a:ext uri="{FF2B5EF4-FFF2-40B4-BE49-F238E27FC236}">
                <a16:creationId xmlns:a16="http://schemas.microsoft.com/office/drawing/2014/main" id="{60564D5C-5FC9-4E6E-9FEE-2DD605014886}"/>
              </a:ext>
            </a:extLst>
          </p:cNvPr>
          <p:cNvSpPr/>
          <p:nvPr/>
        </p:nvSpPr>
        <p:spPr>
          <a:xfrm>
            <a:off x="919626" y="1946373"/>
            <a:ext cx="3777300" cy="501718"/>
          </a:xfrm>
          <a:prstGeom prst="rect">
            <a:avLst/>
          </a:prstGeom>
          <a:solidFill>
            <a:schemeClr val="accent4">
              <a:lumMod val="40000"/>
              <a:lumOff val="60000"/>
            </a:schemeClr>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b="1" dirty="0">
              <a:solidFill>
                <a:schemeClr val="tx1"/>
              </a:solidFill>
            </a:endParaRPr>
          </a:p>
        </p:txBody>
      </p:sp>
      <p:sp>
        <p:nvSpPr>
          <p:cNvPr id="126" name="Rectangle 125">
            <a:extLst>
              <a:ext uri="{FF2B5EF4-FFF2-40B4-BE49-F238E27FC236}">
                <a16:creationId xmlns:a16="http://schemas.microsoft.com/office/drawing/2014/main" id="{5835ADE5-942A-4A7B-B01B-765C94F280F2}"/>
              </a:ext>
            </a:extLst>
          </p:cNvPr>
          <p:cNvSpPr/>
          <p:nvPr/>
        </p:nvSpPr>
        <p:spPr>
          <a:xfrm>
            <a:off x="940090" y="2050205"/>
            <a:ext cx="3025735" cy="270938"/>
          </a:xfrm>
          <a:prstGeom prst="rect">
            <a:avLst/>
          </a:prstGeom>
        </p:spPr>
        <p:txBody>
          <a:bodyPr wrap="square" lIns="91440" rIns="91440" anchor="ctr">
            <a:noAutofit/>
          </a:bodyPr>
          <a:lstStyle/>
          <a:p>
            <a:r>
              <a:rPr lang="en-US" sz="1400" b="1" dirty="0"/>
              <a:t>Why was Bangalore the going-in assumption? </a:t>
            </a:r>
            <a:endParaRPr lang="en-US" sz="1400" dirty="0"/>
          </a:p>
        </p:txBody>
      </p:sp>
      <p:sp>
        <p:nvSpPr>
          <p:cNvPr id="127" name="Rectangle 126">
            <a:extLst>
              <a:ext uri="{FF2B5EF4-FFF2-40B4-BE49-F238E27FC236}">
                <a16:creationId xmlns:a16="http://schemas.microsoft.com/office/drawing/2014/main" id="{4C929F7B-9F33-49F5-99DB-984FFDC6CC3A}"/>
              </a:ext>
            </a:extLst>
          </p:cNvPr>
          <p:cNvSpPr/>
          <p:nvPr/>
        </p:nvSpPr>
        <p:spPr>
          <a:xfrm>
            <a:off x="940091" y="2552412"/>
            <a:ext cx="3756835" cy="3139321"/>
          </a:xfrm>
          <a:prstGeom prst="rect">
            <a:avLst/>
          </a:prstGeom>
        </p:spPr>
        <p:txBody>
          <a:bodyPr wrap="square">
            <a:spAutoFit/>
          </a:bodyPr>
          <a:lstStyle/>
          <a:p>
            <a:pPr lvl="0"/>
            <a:r>
              <a:rPr lang="en-US" sz="1200" b="1" dirty="0">
                <a:solidFill>
                  <a:srgbClr val="000000"/>
                </a:solidFill>
              </a:rPr>
              <a:t>Available Office Space</a:t>
            </a:r>
          </a:p>
          <a:p>
            <a:pPr lvl="0"/>
            <a:r>
              <a:rPr lang="en-US" sz="1200" dirty="0">
                <a:solidFill>
                  <a:srgbClr val="000000"/>
                </a:solidFill>
              </a:rPr>
              <a:t>Recent acquisition of vendor provides an extension of available real estate and office space</a:t>
            </a:r>
            <a:endParaRPr lang="en-US" sz="1200" b="1" dirty="0"/>
          </a:p>
          <a:p>
            <a:endParaRPr lang="en-US" dirty="0"/>
          </a:p>
          <a:p>
            <a:r>
              <a:rPr lang="en-US" sz="1200" b="1" dirty="0"/>
              <a:t>Attractive Labor Costs</a:t>
            </a:r>
          </a:p>
          <a:p>
            <a:r>
              <a:rPr lang="en-US" sz="1200" dirty="0"/>
              <a:t>Significantly lower labor costs presents opportunity to achieve cost efficiencies</a:t>
            </a:r>
          </a:p>
          <a:p>
            <a:endParaRPr lang="en-US" dirty="0"/>
          </a:p>
          <a:p>
            <a:r>
              <a:rPr lang="en-US" sz="1200" b="1" dirty="0"/>
              <a:t>Complimentary Time Zone</a:t>
            </a:r>
          </a:p>
          <a:p>
            <a:r>
              <a:rPr lang="en-US" sz="1200" dirty="0">
                <a:solidFill>
                  <a:srgbClr val="000000"/>
                </a:solidFill>
              </a:rPr>
              <a:t>Location allows for accelerated work through 24-hour cycles</a:t>
            </a:r>
          </a:p>
          <a:p>
            <a:pPr marL="171450" indent="-171450">
              <a:buFont typeface="Arial" panose="020B0604020202020204" pitchFamily="34" charset="0"/>
              <a:buChar char="•"/>
            </a:pPr>
            <a:endParaRPr lang="en-US" dirty="0">
              <a:solidFill>
                <a:srgbClr val="000000"/>
              </a:solidFill>
            </a:endParaRPr>
          </a:p>
          <a:p>
            <a:r>
              <a:rPr lang="en-US" sz="1200" b="1" dirty="0"/>
              <a:t>Available Talent</a:t>
            </a:r>
          </a:p>
          <a:p>
            <a:r>
              <a:rPr lang="en-US" sz="1200" dirty="0"/>
              <a:t>Prevalent analytics talent and relatively available creative talent</a:t>
            </a:r>
          </a:p>
        </p:txBody>
      </p:sp>
      <p:cxnSp>
        <p:nvCxnSpPr>
          <p:cNvPr id="128" name="Straight Connector 127">
            <a:extLst>
              <a:ext uri="{FF2B5EF4-FFF2-40B4-BE49-F238E27FC236}">
                <a16:creationId xmlns:a16="http://schemas.microsoft.com/office/drawing/2014/main" id="{FEE6A460-66A5-4D81-BFE2-3B849B269641}"/>
              </a:ext>
            </a:extLst>
          </p:cNvPr>
          <p:cNvCxnSpPr>
            <a:cxnSpLocks/>
          </p:cNvCxnSpPr>
          <p:nvPr/>
        </p:nvCxnSpPr>
        <p:spPr>
          <a:xfrm flipH="1">
            <a:off x="6609266" y="4661336"/>
            <a:ext cx="1" cy="174974"/>
          </a:xfrm>
          <a:prstGeom prst="line">
            <a:avLst/>
          </a:prstGeom>
          <a:ln w="5715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5E3EF860-38EA-4CA9-995E-72190143670E}"/>
              </a:ext>
            </a:extLst>
          </p:cNvPr>
          <p:cNvCxnSpPr>
            <a:cxnSpLocks/>
          </p:cNvCxnSpPr>
          <p:nvPr/>
        </p:nvCxnSpPr>
        <p:spPr>
          <a:xfrm flipH="1">
            <a:off x="9286613" y="4661336"/>
            <a:ext cx="1" cy="174974"/>
          </a:xfrm>
          <a:prstGeom prst="line">
            <a:avLst/>
          </a:prstGeom>
          <a:ln w="5715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2DB3D2E8-6565-42C4-8780-EA5E0BECC8A8}"/>
              </a:ext>
            </a:extLst>
          </p:cNvPr>
          <p:cNvCxnSpPr>
            <a:cxnSpLocks/>
          </p:cNvCxnSpPr>
          <p:nvPr/>
        </p:nvCxnSpPr>
        <p:spPr>
          <a:xfrm flipH="1">
            <a:off x="9823006" y="2975203"/>
            <a:ext cx="1" cy="174974"/>
          </a:xfrm>
          <a:prstGeom prst="line">
            <a:avLst/>
          </a:prstGeom>
          <a:ln w="5715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69CB0800-56CA-41D4-9116-A970E3CD1ED1}"/>
              </a:ext>
            </a:extLst>
          </p:cNvPr>
          <p:cNvCxnSpPr>
            <a:cxnSpLocks/>
          </p:cNvCxnSpPr>
          <p:nvPr/>
        </p:nvCxnSpPr>
        <p:spPr>
          <a:xfrm flipH="1">
            <a:off x="9777315" y="2975822"/>
            <a:ext cx="1" cy="173736"/>
          </a:xfrm>
          <a:prstGeom prst="line">
            <a:avLst/>
          </a:prstGeom>
          <a:ln w="571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19F9AF77-BF08-4852-95CC-D589F61A736B}"/>
              </a:ext>
            </a:extLst>
          </p:cNvPr>
          <p:cNvCxnSpPr>
            <a:cxnSpLocks/>
          </p:cNvCxnSpPr>
          <p:nvPr/>
        </p:nvCxnSpPr>
        <p:spPr>
          <a:xfrm flipH="1">
            <a:off x="6836799" y="4661955"/>
            <a:ext cx="1" cy="173736"/>
          </a:xfrm>
          <a:prstGeom prst="line">
            <a:avLst/>
          </a:prstGeom>
          <a:ln w="571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021481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90C9C27-055A-4981-9518-C5A9405D892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80" name="think-cell Slide" r:id="rId6" imgW="415" imgH="416" progId="TCLayout.ActiveDocument.1">
                  <p:embed/>
                </p:oleObj>
              </mc:Choice>
              <mc:Fallback>
                <p:oleObj name="think-cell Slide" r:id="rId6" imgW="415" imgH="416" progId="TCLayout.ActiveDocument.1">
                  <p:embed/>
                  <p:pic>
                    <p:nvPicPr>
                      <p:cNvPr id="5" name="Object 4" hidden="1">
                        <a:extLst>
                          <a:ext uri="{FF2B5EF4-FFF2-40B4-BE49-F238E27FC236}">
                            <a16:creationId xmlns:a16="http://schemas.microsoft.com/office/drawing/2014/main" id="{D90C9C27-055A-4981-9518-C5A9405D892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0DEF601-4C08-412B-B799-86B73094AF4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F4F0F7F2-0D63-4802-A0FA-93EFAB5F618A}"/>
              </a:ext>
            </a:extLst>
          </p:cNvPr>
          <p:cNvSpPr>
            <a:spLocks noGrp="1"/>
          </p:cNvSpPr>
          <p:nvPr>
            <p:ph type="title"/>
          </p:nvPr>
        </p:nvSpPr>
        <p:spPr/>
        <p:txBody>
          <a:bodyPr/>
          <a:lstStyle/>
          <a:p>
            <a:r>
              <a:rPr lang="en-US" dirty="0"/>
              <a:t>Client’s Retail Environment </a:t>
            </a:r>
          </a:p>
        </p:txBody>
      </p:sp>
      <p:sp>
        <p:nvSpPr>
          <p:cNvPr id="3" name="Text Placeholder 2">
            <a:extLst>
              <a:ext uri="{FF2B5EF4-FFF2-40B4-BE49-F238E27FC236}">
                <a16:creationId xmlns:a16="http://schemas.microsoft.com/office/drawing/2014/main" id="{C35267BD-8291-4140-9F02-3950D00FB40D}"/>
              </a:ext>
            </a:extLst>
          </p:cNvPr>
          <p:cNvSpPr>
            <a:spLocks noGrp="1"/>
          </p:cNvSpPr>
          <p:nvPr>
            <p:ph type="body" sz="quarter" idx="14"/>
          </p:nvPr>
        </p:nvSpPr>
        <p:spPr/>
        <p:txBody>
          <a:bodyPr/>
          <a:lstStyle/>
          <a:p>
            <a:r>
              <a:rPr lang="en-US"/>
              <a:t>The retail experience is being disrupted across industries through the use of new technology, data analytics, and other customer service cost saving strategies. Clients therefore have to transform to compete more effectively.</a:t>
            </a:r>
            <a:endParaRPr lang="en-US" dirty="0"/>
          </a:p>
        </p:txBody>
      </p:sp>
      <p:sp>
        <p:nvSpPr>
          <p:cNvPr id="6" name="Text Placeholder 5">
            <a:extLst>
              <a:ext uri="{FF2B5EF4-FFF2-40B4-BE49-F238E27FC236}">
                <a16:creationId xmlns:a16="http://schemas.microsoft.com/office/drawing/2014/main" id="{E250186F-7845-437C-95BB-09E69A34AD69}"/>
              </a:ext>
            </a:extLst>
          </p:cNvPr>
          <p:cNvSpPr>
            <a:spLocks noGrp="1"/>
          </p:cNvSpPr>
          <p:nvPr>
            <p:ph type="body" sz="quarter" idx="15"/>
          </p:nvPr>
        </p:nvSpPr>
        <p:spPr>
          <a:xfrm>
            <a:off x="914970" y="466344"/>
            <a:ext cx="5269519" cy="164592"/>
          </a:xfrm>
        </p:spPr>
        <p:txBody>
          <a:bodyPr/>
          <a:lstStyle/>
          <a:p>
            <a:r>
              <a:rPr lang="en-US" dirty="0"/>
              <a:t>text</a:t>
            </a:r>
          </a:p>
        </p:txBody>
      </p:sp>
      <p:grpSp>
        <p:nvGrpSpPr>
          <p:cNvPr id="8" name="Group 7">
            <a:extLst>
              <a:ext uri="{FF2B5EF4-FFF2-40B4-BE49-F238E27FC236}">
                <a16:creationId xmlns:a16="http://schemas.microsoft.com/office/drawing/2014/main" id="{72A2B296-FD35-4E3E-8B78-3DB6EB345481}"/>
              </a:ext>
            </a:extLst>
          </p:cNvPr>
          <p:cNvGrpSpPr/>
          <p:nvPr/>
        </p:nvGrpSpPr>
        <p:grpSpPr>
          <a:xfrm>
            <a:off x="7097006" y="4950309"/>
            <a:ext cx="3961824" cy="1360145"/>
            <a:chOff x="6247210" y="4522374"/>
            <a:chExt cx="4611470" cy="1583177"/>
          </a:xfrm>
        </p:grpSpPr>
        <p:pic>
          <p:nvPicPr>
            <p:cNvPr id="9" name="Picture 8">
              <a:extLst>
                <a:ext uri="{FF2B5EF4-FFF2-40B4-BE49-F238E27FC236}">
                  <a16:creationId xmlns:a16="http://schemas.microsoft.com/office/drawing/2014/main" id="{19A064B4-7F8D-48B8-BE32-A90998C4AE0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286854" y="4522374"/>
              <a:ext cx="2695575" cy="1447800"/>
            </a:xfrm>
            <a:prstGeom prst="rect">
              <a:avLst/>
            </a:prstGeom>
          </p:spPr>
        </p:pic>
        <p:pic>
          <p:nvPicPr>
            <p:cNvPr id="10" name="Picture 9">
              <a:extLst>
                <a:ext uri="{FF2B5EF4-FFF2-40B4-BE49-F238E27FC236}">
                  <a16:creationId xmlns:a16="http://schemas.microsoft.com/office/drawing/2014/main" id="{1E1D0265-74E8-46B6-837A-AE953DA7DE8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247210" y="4569743"/>
              <a:ext cx="1181100" cy="1514475"/>
            </a:xfrm>
            <a:prstGeom prst="rect">
              <a:avLst/>
            </a:prstGeom>
          </p:spPr>
        </p:pic>
        <p:pic>
          <p:nvPicPr>
            <p:cNvPr id="11" name="Picture 10">
              <a:extLst>
                <a:ext uri="{FF2B5EF4-FFF2-40B4-BE49-F238E27FC236}">
                  <a16:creationId xmlns:a16="http://schemas.microsoft.com/office/drawing/2014/main" id="{F212254C-D80B-4907-BA6D-49C247DE95A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782355" y="4972076"/>
              <a:ext cx="1076325" cy="1133475"/>
            </a:xfrm>
            <a:prstGeom prst="rect">
              <a:avLst/>
            </a:prstGeom>
          </p:spPr>
        </p:pic>
      </p:grpSp>
      <p:sp>
        <p:nvSpPr>
          <p:cNvPr id="12" name="TextBox 11">
            <a:extLst>
              <a:ext uri="{FF2B5EF4-FFF2-40B4-BE49-F238E27FC236}">
                <a16:creationId xmlns:a16="http://schemas.microsoft.com/office/drawing/2014/main" id="{247F559C-A0AB-448C-AAA9-8376D7555AD2}"/>
              </a:ext>
            </a:extLst>
          </p:cNvPr>
          <p:cNvSpPr txBox="1"/>
          <p:nvPr/>
        </p:nvSpPr>
        <p:spPr bwMode="gray">
          <a:xfrm>
            <a:off x="7518173" y="2372948"/>
            <a:ext cx="4229299" cy="2362185"/>
          </a:xfrm>
          <a:prstGeom prst="rect">
            <a:avLst/>
          </a:prstGeom>
        </p:spPr>
        <p:txBody>
          <a:bodyPr wrap="square" lIns="0" r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everal disjointed systems and  lack of integrated</a:t>
            </a:r>
          </a:p>
          <a:p>
            <a:pPr marL="192024" marR="0" lvl="1" indent="-173736" algn="l" defTabSz="914400" rtl="0" eaLnBrk="1" fontAlgn="auto" latinLnBrk="0" hangingPunct="1">
              <a:lnSpc>
                <a:spcPct val="100000"/>
              </a:lnSpc>
              <a:spcBef>
                <a:spcPts val="0"/>
              </a:spcBef>
              <a:spcAft>
                <a:spcPts val="300"/>
              </a:spcAft>
              <a:buClrTx/>
              <a:buSzPct val="75000"/>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racking Orders</a:t>
            </a:r>
          </a:p>
          <a:p>
            <a:pPr marL="192024" marR="0" lvl="1" indent="-173736" algn="l" defTabSz="914400" rtl="0" eaLnBrk="1" fontAlgn="auto" latinLnBrk="0" hangingPunct="1">
              <a:lnSpc>
                <a:spcPct val="100000"/>
              </a:lnSpc>
              <a:spcBef>
                <a:spcPts val="0"/>
              </a:spcBef>
              <a:spcAft>
                <a:spcPts val="300"/>
              </a:spcAft>
              <a:buClrTx/>
              <a:buSzPct val="75000"/>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nd to end Order Process</a:t>
            </a:r>
          </a:p>
          <a:p>
            <a:pPr marL="192024" marR="0" lvl="1" indent="-173736" algn="l" defTabSz="914400" rtl="0" eaLnBrk="1" fontAlgn="auto" latinLnBrk="0" hangingPunct="1">
              <a:lnSpc>
                <a:spcPct val="100000"/>
              </a:lnSpc>
              <a:spcBef>
                <a:spcPts val="0"/>
              </a:spcBef>
              <a:spcAft>
                <a:spcPts val="300"/>
              </a:spcAft>
              <a:buClrTx/>
              <a:buSzPct val="75000"/>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iewing Products</a:t>
            </a:r>
          </a:p>
          <a:p>
            <a:pPr marL="192024" marR="0" lvl="1" indent="-173736" algn="l" defTabSz="914400" rtl="0" eaLnBrk="1" fontAlgn="auto" latinLnBrk="0" hangingPunct="1">
              <a:lnSpc>
                <a:spcPct val="100000"/>
              </a:lnSpc>
              <a:spcBef>
                <a:spcPts val="0"/>
              </a:spcBef>
              <a:spcAft>
                <a:spcPts val="300"/>
              </a:spcAft>
              <a:buClrTx/>
              <a:buSzPct val="75000"/>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mparing products</a:t>
            </a:r>
          </a:p>
          <a:p>
            <a:pPr marL="192024" marR="0" lvl="1" indent="-173736" algn="l" defTabSz="914400" rtl="0" eaLnBrk="1" fontAlgn="auto" latinLnBrk="0" hangingPunct="1">
              <a:lnSpc>
                <a:spcPct val="100000"/>
              </a:lnSpc>
              <a:spcBef>
                <a:spcPts val="0"/>
              </a:spcBef>
              <a:spcAft>
                <a:spcPts val="300"/>
              </a:spcAft>
              <a:buClrTx/>
              <a:buSzPct val="75000"/>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stocking Alerts</a:t>
            </a:r>
          </a:p>
          <a:p>
            <a:pPr marL="192024" marR="0" lvl="1" indent="-173736" algn="l" defTabSz="914400" rtl="0" eaLnBrk="1" fontAlgn="auto" latinLnBrk="0" hangingPunct="1">
              <a:lnSpc>
                <a:spcPct val="100000"/>
              </a:lnSpc>
              <a:spcBef>
                <a:spcPts val="0"/>
              </a:spcBef>
              <a:spcAft>
                <a:spcPts val="300"/>
              </a:spcAft>
              <a:buClrTx/>
              <a:buSzPct val="75000"/>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rdering Accessories </a:t>
            </a:r>
          </a:p>
          <a:p>
            <a:pPr marL="192024" marR="0" lvl="1" indent="-173736" algn="l" defTabSz="914400" rtl="0" eaLnBrk="1" fontAlgn="auto" latinLnBrk="0" hangingPunct="1">
              <a:lnSpc>
                <a:spcPct val="100000"/>
              </a:lnSpc>
              <a:spcBef>
                <a:spcPts val="0"/>
              </a:spcBef>
              <a:spcAft>
                <a:spcPts val="300"/>
              </a:spcAft>
              <a:buClrTx/>
              <a:buSzPct val="75000"/>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o Mobile Experience </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ata maintained on legacy systems</a:t>
            </a:r>
          </a:p>
          <a:p>
            <a:pPr marL="192024" marR="0" lvl="1" indent="-173736" algn="l" defTabSz="914400"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ifficulties Updating, Tracking, Accessing, Sharing</a:t>
            </a:r>
          </a:p>
        </p:txBody>
      </p:sp>
      <p:grpSp>
        <p:nvGrpSpPr>
          <p:cNvPr id="13" name="Group 12">
            <a:extLst>
              <a:ext uri="{FF2B5EF4-FFF2-40B4-BE49-F238E27FC236}">
                <a16:creationId xmlns:a16="http://schemas.microsoft.com/office/drawing/2014/main" id="{5A589FC4-F5DD-4990-9829-63AA22537D5B}"/>
              </a:ext>
            </a:extLst>
          </p:cNvPr>
          <p:cNvGrpSpPr/>
          <p:nvPr/>
        </p:nvGrpSpPr>
        <p:grpSpPr>
          <a:xfrm>
            <a:off x="886568" y="1941588"/>
            <a:ext cx="4538100" cy="276999"/>
            <a:chOff x="352352" y="899756"/>
            <a:chExt cx="10727143" cy="277686"/>
          </a:xfrm>
        </p:grpSpPr>
        <p:cxnSp>
          <p:nvCxnSpPr>
            <p:cNvPr id="14" name="Straight Connector 13">
              <a:extLst>
                <a:ext uri="{FF2B5EF4-FFF2-40B4-BE49-F238E27FC236}">
                  <a16:creationId xmlns:a16="http://schemas.microsoft.com/office/drawing/2014/main" id="{90A9130A-93EF-43DF-8662-C3290F907643}"/>
                </a:ext>
              </a:extLst>
            </p:cNvPr>
            <p:cNvCxnSpPr>
              <a:cxnSpLocks/>
            </p:cNvCxnSpPr>
            <p:nvPr/>
          </p:nvCxnSpPr>
          <p:spPr>
            <a:xfrm>
              <a:off x="564403" y="1037387"/>
              <a:ext cx="10515092"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B54678A2-F5BE-410D-B82A-F71D72B85B13}"/>
                </a:ext>
              </a:extLst>
            </p:cNvPr>
            <p:cNvSpPr/>
            <p:nvPr/>
          </p:nvSpPr>
          <p:spPr>
            <a:xfrm>
              <a:off x="352352" y="899756"/>
              <a:ext cx="4241612" cy="277686"/>
            </a:xfrm>
            <a:prstGeom prst="rect">
              <a:avLst/>
            </a:prstGeom>
            <a:solidFill>
              <a:schemeClr val="bg1"/>
            </a:solidFill>
          </p:spPr>
          <p:txBody>
            <a:bodyPr wrap="square">
              <a:spAutoFit/>
            </a:bodyPr>
            <a:lstStyle/>
            <a:p>
              <a:pPr marL="0" marR="0" lvl="0" indent="0" algn="l" defTabSz="121612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dustry Challenges</a:t>
              </a:r>
            </a:p>
          </p:txBody>
        </p:sp>
      </p:grpSp>
      <p:sp>
        <p:nvSpPr>
          <p:cNvPr id="16" name="Rectangle 15">
            <a:extLst>
              <a:ext uri="{FF2B5EF4-FFF2-40B4-BE49-F238E27FC236}">
                <a16:creationId xmlns:a16="http://schemas.microsoft.com/office/drawing/2014/main" id="{CAF0C418-3A88-46FB-9A85-35CC148C42A9}"/>
              </a:ext>
            </a:extLst>
          </p:cNvPr>
          <p:cNvSpPr/>
          <p:nvPr/>
        </p:nvSpPr>
        <p:spPr>
          <a:xfrm>
            <a:off x="1843155" y="2352999"/>
            <a:ext cx="3581513" cy="754053"/>
          </a:xfrm>
          <a:prstGeom prst="rect">
            <a:avLst/>
          </a:prstGeom>
        </p:spPr>
        <p:txBody>
          <a:bodyPr wrap="square">
            <a:spAutoFit/>
          </a:bodyPr>
          <a:lstStyle/>
          <a:p>
            <a:pPr marL="0" marR="0" lvl="0" indent="0" algn="l" defTabSz="1216122"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lat Industry with Profitability</a:t>
            </a:r>
            <a:br>
              <a:rPr kumimoji="0" lang="en-US" sz="11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1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mprovement Commitments</a:t>
            </a:r>
          </a:p>
          <a:p>
            <a:pPr marL="0" marR="0" lvl="0" indent="0" algn="l" defTabSz="1216122"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imited market share change and variable</a:t>
            </a:r>
            <a:br>
              <a:rPr kumimoji="0" lang="en-US" sz="105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05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argin improvements</a:t>
            </a:r>
          </a:p>
        </p:txBody>
      </p:sp>
      <p:grpSp>
        <p:nvGrpSpPr>
          <p:cNvPr id="17" name="Group 16">
            <a:extLst>
              <a:ext uri="{FF2B5EF4-FFF2-40B4-BE49-F238E27FC236}">
                <a16:creationId xmlns:a16="http://schemas.microsoft.com/office/drawing/2014/main" id="{150F642A-2878-4F81-A41B-D7F4EB351FE1}"/>
              </a:ext>
            </a:extLst>
          </p:cNvPr>
          <p:cNvGrpSpPr>
            <a:grpSpLocks noChangeAspect="1"/>
          </p:cNvGrpSpPr>
          <p:nvPr/>
        </p:nvGrpSpPr>
        <p:grpSpPr>
          <a:xfrm>
            <a:off x="900986" y="2469675"/>
            <a:ext cx="520700" cy="520700"/>
            <a:chOff x="1431926" y="1662113"/>
            <a:chExt cx="520700" cy="520700"/>
          </a:xfrm>
          <a:solidFill>
            <a:schemeClr val="tx1"/>
          </a:solidFill>
        </p:grpSpPr>
        <p:sp>
          <p:nvSpPr>
            <p:cNvPr id="18" name="Freeform 19">
              <a:extLst>
                <a:ext uri="{FF2B5EF4-FFF2-40B4-BE49-F238E27FC236}">
                  <a16:creationId xmlns:a16="http://schemas.microsoft.com/office/drawing/2014/main" id="{F4427EDD-3EFA-4696-8DC4-5EE08E1C8108}"/>
                </a:ext>
              </a:extLst>
            </p:cNvPr>
            <p:cNvSpPr>
              <a:spLocks noEditPoints="1"/>
            </p:cNvSpPr>
            <p:nvPr/>
          </p:nvSpPr>
          <p:spPr bwMode="auto">
            <a:xfrm>
              <a:off x="1431926" y="1662113"/>
              <a:ext cx="520700" cy="520700"/>
            </a:xfrm>
            <a:custGeom>
              <a:avLst/>
              <a:gdLst>
                <a:gd name="T0" fmla="*/ 312 w 657"/>
                <a:gd name="T1" fmla="*/ 657 h 657"/>
                <a:gd name="T2" fmla="*/ 262 w 657"/>
                <a:gd name="T3" fmla="*/ 650 h 657"/>
                <a:gd name="T4" fmla="*/ 201 w 657"/>
                <a:gd name="T5" fmla="*/ 631 h 657"/>
                <a:gd name="T6" fmla="*/ 120 w 657"/>
                <a:gd name="T7" fmla="*/ 582 h 657"/>
                <a:gd name="T8" fmla="*/ 57 w 657"/>
                <a:gd name="T9" fmla="*/ 512 h 657"/>
                <a:gd name="T10" fmla="*/ 15 w 657"/>
                <a:gd name="T11" fmla="*/ 426 h 657"/>
                <a:gd name="T12" fmla="*/ 4 w 657"/>
                <a:gd name="T13" fmla="*/ 379 h 657"/>
                <a:gd name="T14" fmla="*/ 0 w 657"/>
                <a:gd name="T15" fmla="*/ 328 h 657"/>
                <a:gd name="T16" fmla="*/ 2 w 657"/>
                <a:gd name="T17" fmla="*/ 294 h 657"/>
                <a:gd name="T18" fmla="*/ 11 w 657"/>
                <a:gd name="T19" fmla="*/ 246 h 657"/>
                <a:gd name="T20" fmla="*/ 39 w 657"/>
                <a:gd name="T21" fmla="*/ 172 h 657"/>
                <a:gd name="T22" fmla="*/ 97 w 657"/>
                <a:gd name="T23" fmla="*/ 95 h 657"/>
                <a:gd name="T24" fmla="*/ 172 w 657"/>
                <a:gd name="T25" fmla="*/ 39 h 657"/>
                <a:gd name="T26" fmla="*/ 246 w 657"/>
                <a:gd name="T27" fmla="*/ 9 h 657"/>
                <a:gd name="T28" fmla="*/ 296 w 657"/>
                <a:gd name="T29" fmla="*/ 1 h 657"/>
                <a:gd name="T30" fmla="*/ 330 w 657"/>
                <a:gd name="T31" fmla="*/ 0 h 657"/>
                <a:gd name="T32" fmla="*/ 379 w 657"/>
                <a:gd name="T33" fmla="*/ 4 h 657"/>
                <a:gd name="T34" fmla="*/ 426 w 657"/>
                <a:gd name="T35" fmla="*/ 15 h 657"/>
                <a:gd name="T36" fmla="*/ 512 w 657"/>
                <a:gd name="T37" fmla="*/ 56 h 657"/>
                <a:gd name="T38" fmla="*/ 582 w 657"/>
                <a:gd name="T39" fmla="*/ 120 h 657"/>
                <a:gd name="T40" fmla="*/ 632 w 657"/>
                <a:gd name="T41" fmla="*/ 200 h 657"/>
                <a:gd name="T42" fmla="*/ 651 w 657"/>
                <a:gd name="T43" fmla="*/ 262 h 657"/>
                <a:gd name="T44" fmla="*/ 657 w 657"/>
                <a:gd name="T45" fmla="*/ 312 h 657"/>
                <a:gd name="T46" fmla="*/ 657 w 657"/>
                <a:gd name="T47" fmla="*/ 345 h 657"/>
                <a:gd name="T48" fmla="*/ 651 w 657"/>
                <a:gd name="T49" fmla="*/ 395 h 657"/>
                <a:gd name="T50" fmla="*/ 632 w 657"/>
                <a:gd name="T51" fmla="*/ 457 h 657"/>
                <a:gd name="T52" fmla="*/ 582 w 657"/>
                <a:gd name="T53" fmla="*/ 537 h 657"/>
                <a:gd name="T54" fmla="*/ 512 w 657"/>
                <a:gd name="T55" fmla="*/ 600 h 657"/>
                <a:gd name="T56" fmla="*/ 426 w 657"/>
                <a:gd name="T57" fmla="*/ 642 h 657"/>
                <a:gd name="T58" fmla="*/ 379 w 657"/>
                <a:gd name="T59" fmla="*/ 653 h 657"/>
                <a:gd name="T60" fmla="*/ 330 w 657"/>
                <a:gd name="T61" fmla="*/ 657 h 657"/>
                <a:gd name="T62" fmla="*/ 330 w 657"/>
                <a:gd name="T63" fmla="*/ 38 h 657"/>
                <a:gd name="T64" fmla="*/ 242 w 657"/>
                <a:gd name="T65" fmla="*/ 50 h 657"/>
                <a:gd name="T66" fmla="*/ 166 w 657"/>
                <a:gd name="T67" fmla="*/ 87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6 w 657"/>
                <a:gd name="T81" fmla="*/ 570 h 657"/>
                <a:gd name="T82" fmla="*/ 242 w 657"/>
                <a:gd name="T83" fmla="*/ 606 h 657"/>
                <a:gd name="T84" fmla="*/ 330 w 657"/>
                <a:gd name="T85" fmla="*/ 619 h 657"/>
                <a:gd name="T86" fmla="*/ 387 w 657"/>
                <a:gd name="T87" fmla="*/ 614 h 657"/>
                <a:gd name="T88" fmla="*/ 468 w 657"/>
                <a:gd name="T89" fmla="*/ 584 h 657"/>
                <a:gd name="T90" fmla="*/ 535 w 657"/>
                <a:gd name="T91" fmla="*/ 535 h 657"/>
                <a:gd name="T92" fmla="*/ 585 w 657"/>
                <a:gd name="T93" fmla="*/ 468 h 657"/>
                <a:gd name="T94" fmla="*/ 614 w 657"/>
                <a:gd name="T95" fmla="*/ 387 h 657"/>
                <a:gd name="T96" fmla="*/ 620 w 657"/>
                <a:gd name="T97" fmla="*/ 328 h 657"/>
                <a:gd name="T98" fmla="*/ 608 w 657"/>
                <a:gd name="T99" fmla="*/ 242 h 657"/>
                <a:gd name="T100" fmla="*/ 570 w 657"/>
                <a:gd name="T101" fmla="*/ 165 h 657"/>
                <a:gd name="T102" fmla="*/ 514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30" y="657"/>
                  </a:moveTo>
                  <a:lnTo>
                    <a:pt x="330" y="657"/>
                  </a:lnTo>
                  <a:lnTo>
                    <a:pt x="312" y="657"/>
                  </a:lnTo>
                  <a:lnTo>
                    <a:pt x="296" y="656"/>
                  </a:lnTo>
                  <a:lnTo>
                    <a:pt x="279" y="653"/>
                  </a:lnTo>
                  <a:lnTo>
                    <a:pt x="262" y="650"/>
                  </a:lnTo>
                  <a:lnTo>
                    <a:pt x="246" y="647"/>
                  </a:lnTo>
                  <a:lnTo>
                    <a:pt x="231" y="642"/>
                  </a:lnTo>
                  <a:lnTo>
                    <a:pt x="201" y="631"/>
                  </a:lnTo>
                  <a:lnTo>
                    <a:pt x="172" y="618"/>
                  </a:lnTo>
                  <a:lnTo>
                    <a:pt x="146" y="600"/>
                  </a:lnTo>
                  <a:lnTo>
                    <a:pt x="120" y="582"/>
                  </a:lnTo>
                  <a:lnTo>
                    <a:pt x="97" y="560"/>
                  </a:lnTo>
                  <a:lnTo>
                    <a:pt x="76" y="537"/>
                  </a:lnTo>
                  <a:lnTo>
                    <a:pt x="57" y="512"/>
                  </a:lnTo>
                  <a:lnTo>
                    <a:pt x="39" y="485"/>
                  </a:lnTo>
                  <a:lnTo>
                    <a:pt x="26" y="457"/>
                  </a:lnTo>
                  <a:lnTo>
                    <a:pt x="15" y="426"/>
                  </a:lnTo>
                  <a:lnTo>
                    <a:pt x="11" y="411"/>
                  </a:lnTo>
                  <a:lnTo>
                    <a:pt x="7" y="395"/>
                  </a:lnTo>
                  <a:lnTo>
                    <a:pt x="4" y="379"/>
                  </a:lnTo>
                  <a:lnTo>
                    <a:pt x="2" y="361"/>
                  </a:lnTo>
                  <a:lnTo>
                    <a:pt x="0" y="345"/>
                  </a:lnTo>
                  <a:lnTo>
                    <a:pt x="0" y="328"/>
                  </a:lnTo>
                  <a:lnTo>
                    <a:pt x="0" y="328"/>
                  </a:lnTo>
                  <a:lnTo>
                    <a:pt x="0" y="312"/>
                  </a:lnTo>
                  <a:lnTo>
                    <a:pt x="2" y="294"/>
                  </a:lnTo>
                  <a:lnTo>
                    <a:pt x="4" y="278"/>
                  </a:lnTo>
                  <a:lnTo>
                    <a:pt x="7" y="262"/>
                  </a:lnTo>
                  <a:lnTo>
                    <a:pt x="11" y="246"/>
                  </a:lnTo>
                  <a:lnTo>
                    <a:pt x="15" y="231"/>
                  </a:lnTo>
                  <a:lnTo>
                    <a:pt x="26" y="200"/>
                  </a:lnTo>
                  <a:lnTo>
                    <a:pt x="39" y="172"/>
                  </a:lnTo>
                  <a:lnTo>
                    <a:pt x="57" y="145"/>
                  </a:lnTo>
                  <a:lnTo>
                    <a:pt x="76" y="120"/>
                  </a:lnTo>
                  <a:lnTo>
                    <a:pt x="97" y="95"/>
                  </a:lnTo>
                  <a:lnTo>
                    <a:pt x="120" y="75"/>
                  </a:lnTo>
                  <a:lnTo>
                    <a:pt x="146" y="56"/>
                  </a:lnTo>
                  <a:lnTo>
                    <a:pt x="172" y="39"/>
                  </a:lnTo>
                  <a:lnTo>
                    <a:pt x="201" y="26"/>
                  </a:lnTo>
                  <a:lnTo>
                    <a:pt x="231" y="15"/>
                  </a:lnTo>
                  <a:lnTo>
                    <a:pt x="246" y="9"/>
                  </a:lnTo>
                  <a:lnTo>
                    <a:pt x="262" y="7"/>
                  </a:lnTo>
                  <a:lnTo>
                    <a:pt x="279" y="4"/>
                  </a:lnTo>
                  <a:lnTo>
                    <a:pt x="296" y="1"/>
                  </a:lnTo>
                  <a:lnTo>
                    <a:pt x="312" y="0"/>
                  </a:lnTo>
                  <a:lnTo>
                    <a:pt x="330" y="0"/>
                  </a:lnTo>
                  <a:lnTo>
                    <a:pt x="330" y="0"/>
                  </a:lnTo>
                  <a:lnTo>
                    <a:pt x="346" y="0"/>
                  </a:lnTo>
                  <a:lnTo>
                    <a:pt x="363" y="1"/>
                  </a:lnTo>
                  <a:lnTo>
                    <a:pt x="379" y="4"/>
                  </a:lnTo>
                  <a:lnTo>
                    <a:pt x="395" y="7"/>
                  </a:lnTo>
                  <a:lnTo>
                    <a:pt x="411" y="9"/>
                  </a:lnTo>
                  <a:lnTo>
                    <a:pt x="426" y="15"/>
                  </a:lnTo>
                  <a:lnTo>
                    <a:pt x="457" y="26"/>
                  </a:lnTo>
                  <a:lnTo>
                    <a:pt x="485" y="39"/>
                  </a:lnTo>
                  <a:lnTo>
                    <a:pt x="512" y="56"/>
                  </a:lnTo>
                  <a:lnTo>
                    <a:pt x="538" y="75"/>
                  </a:lnTo>
                  <a:lnTo>
                    <a:pt x="562" y="95"/>
                  </a:lnTo>
                  <a:lnTo>
                    <a:pt x="582" y="120"/>
                  </a:lnTo>
                  <a:lnTo>
                    <a:pt x="601" y="145"/>
                  </a:lnTo>
                  <a:lnTo>
                    <a:pt x="618" y="172"/>
                  </a:lnTo>
                  <a:lnTo>
                    <a:pt x="632" y="200"/>
                  </a:lnTo>
                  <a:lnTo>
                    <a:pt x="643" y="231"/>
                  </a:lnTo>
                  <a:lnTo>
                    <a:pt x="648" y="246"/>
                  </a:lnTo>
                  <a:lnTo>
                    <a:pt x="651" y="262"/>
                  </a:lnTo>
                  <a:lnTo>
                    <a:pt x="655" y="278"/>
                  </a:lnTo>
                  <a:lnTo>
                    <a:pt x="656" y="294"/>
                  </a:lnTo>
                  <a:lnTo>
                    <a:pt x="657" y="312"/>
                  </a:lnTo>
                  <a:lnTo>
                    <a:pt x="657" y="328"/>
                  </a:lnTo>
                  <a:lnTo>
                    <a:pt x="657" y="328"/>
                  </a:lnTo>
                  <a:lnTo>
                    <a:pt x="657" y="345"/>
                  </a:lnTo>
                  <a:lnTo>
                    <a:pt x="656" y="361"/>
                  </a:lnTo>
                  <a:lnTo>
                    <a:pt x="655" y="379"/>
                  </a:lnTo>
                  <a:lnTo>
                    <a:pt x="651" y="395"/>
                  </a:lnTo>
                  <a:lnTo>
                    <a:pt x="648" y="411"/>
                  </a:lnTo>
                  <a:lnTo>
                    <a:pt x="643" y="426"/>
                  </a:lnTo>
                  <a:lnTo>
                    <a:pt x="632" y="457"/>
                  </a:lnTo>
                  <a:lnTo>
                    <a:pt x="618" y="485"/>
                  </a:lnTo>
                  <a:lnTo>
                    <a:pt x="601" y="512"/>
                  </a:lnTo>
                  <a:lnTo>
                    <a:pt x="582" y="537"/>
                  </a:lnTo>
                  <a:lnTo>
                    <a:pt x="562" y="560"/>
                  </a:lnTo>
                  <a:lnTo>
                    <a:pt x="538" y="582"/>
                  </a:lnTo>
                  <a:lnTo>
                    <a:pt x="512" y="600"/>
                  </a:lnTo>
                  <a:lnTo>
                    <a:pt x="485" y="618"/>
                  </a:lnTo>
                  <a:lnTo>
                    <a:pt x="457" y="631"/>
                  </a:lnTo>
                  <a:lnTo>
                    <a:pt x="426" y="642"/>
                  </a:lnTo>
                  <a:lnTo>
                    <a:pt x="411" y="647"/>
                  </a:lnTo>
                  <a:lnTo>
                    <a:pt x="395" y="650"/>
                  </a:lnTo>
                  <a:lnTo>
                    <a:pt x="379" y="653"/>
                  </a:lnTo>
                  <a:lnTo>
                    <a:pt x="363" y="656"/>
                  </a:lnTo>
                  <a:lnTo>
                    <a:pt x="346" y="657"/>
                  </a:lnTo>
                  <a:lnTo>
                    <a:pt x="330" y="657"/>
                  </a:lnTo>
                  <a:lnTo>
                    <a:pt x="330" y="657"/>
                  </a:lnTo>
                  <a:close/>
                  <a:moveTo>
                    <a:pt x="330" y="38"/>
                  </a:moveTo>
                  <a:lnTo>
                    <a:pt x="330" y="38"/>
                  </a:lnTo>
                  <a:lnTo>
                    <a:pt x="299" y="39"/>
                  </a:lnTo>
                  <a:lnTo>
                    <a:pt x="270" y="43"/>
                  </a:lnTo>
                  <a:lnTo>
                    <a:pt x="242" y="50"/>
                  </a:lnTo>
                  <a:lnTo>
                    <a:pt x="215" y="61"/>
                  </a:lnTo>
                  <a:lnTo>
                    <a:pt x="190" y="73"/>
                  </a:lnTo>
                  <a:lnTo>
                    <a:pt x="166" y="87"/>
                  </a:lnTo>
                  <a:lnTo>
                    <a:pt x="144" y="104"/>
                  </a:lnTo>
                  <a:lnTo>
                    <a:pt x="123" y="122"/>
                  </a:lnTo>
                  <a:lnTo>
                    <a:pt x="104" y="144"/>
                  </a:lnTo>
                  <a:lnTo>
                    <a:pt x="88" y="165"/>
                  </a:lnTo>
                  <a:lnTo>
                    <a:pt x="73" y="189"/>
                  </a:lnTo>
                  <a:lnTo>
                    <a:pt x="61" y="215"/>
                  </a:lnTo>
                  <a:lnTo>
                    <a:pt x="52" y="242"/>
                  </a:lnTo>
                  <a:lnTo>
                    <a:pt x="43" y="270"/>
                  </a:lnTo>
                  <a:lnTo>
                    <a:pt x="39" y="298"/>
                  </a:lnTo>
                  <a:lnTo>
                    <a:pt x="38" y="328"/>
                  </a:lnTo>
                  <a:lnTo>
                    <a:pt x="38" y="328"/>
                  </a:lnTo>
                  <a:lnTo>
                    <a:pt x="39" y="359"/>
                  </a:lnTo>
                  <a:lnTo>
                    <a:pt x="43" y="387"/>
                  </a:lnTo>
                  <a:lnTo>
                    <a:pt x="52" y="415"/>
                  </a:lnTo>
                  <a:lnTo>
                    <a:pt x="61" y="442"/>
                  </a:lnTo>
                  <a:lnTo>
                    <a:pt x="73" y="468"/>
                  </a:lnTo>
                  <a:lnTo>
                    <a:pt x="88" y="492"/>
                  </a:lnTo>
                  <a:lnTo>
                    <a:pt x="104" y="513"/>
                  </a:lnTo>
                  <a:lnTo>
                    <a:pt x="123" y="535"/>
                  </a:lnTo>
                  <a:lnTo>
                    <a:pt x="144" y="553"/>
                  </a:lnTo>
                  <a:lnTo>
                    <a:pt x="166" y="570"/>
                  </a:lnTo>
                  <a:lnTo>
                    <a:pt x="190" y="584"/>
                  </a:lnTo>
                  <a:lnTo>
                    <a:pt x="215" y="596"/>
                  </a:lnTo>
                  <a:lnTo>
                    <a:pt x="242" y="606"/>
                  </a:lnTo>
                  <a:lnTo>
                    <a:pt x="270" y="614"/>
                  </a:lnTo>
                  <a:lnTo>
                    <a:pt x="299" y="618"/>
                  </a:lnTo>
                  <a:lnTo>
                    <a:pt x="330" y="619"/>
                  </a:lnTo>
                  <a:lnTo>
                    <a:pt x="330" y="619"/>
                  </a:lnTo>
                  <a:lnTo>
                    <a:pt x="359" y="618"/>
                  </a:lnTo>
                  <a:lnTo>
                    <a:pt x="387" y="614"/>
                  </a:lnTo>
                  <a:lnTo>
                    <a:pt x="416" y="606"/>
                  </a:lnTo>
                  <a:lnTo>
                    <a:pt x="442" y="596"/>
                  </a:lnTo>
                  <a:lnTo>
                    <a:pt x="468" y="584"/>
                  </a:lnTo>
                  <a:lnTo>
                    <a:pt x="492" y="570"/>
                  </a:lnTo>
                  <a:lnTo>
                    <a:pt x="514" y="553"/>
                  </a:lnTo>
                  <a:lnTo>
                    <a:pt x="535" y="535"/>
                  </a:lnTo>
                  <a:lnTo>
                    <a:pt x="554" y="513"/>
                  </a:lnTo>
                  <a:lnTo>
                    <a:pt x="570" y="492"/>
                  </a:lnTo>
                  <a:lnTo>
                    <a:pt x="585" y="468"/>
                  </a:lnTo>
                  <a:lnTo>
                    <a:pt x="597" y="442"/>
                  </a:lnTo>
                  <a:lnTo>
                    <a:pt x="608" y="415"/>
                  </a:lnTo>
                  <a:lnTo>
                    <a:pt x="614" y="387"/>
                  </a:lnTo>
                  <a:lnTo>
                    <a:pt x="618" y="359"/>
                  </a:lnTo>
                  <a:lnTo>
                    <a:pt x="620" y="328"/>
                  </a:lnTo>
                  <a:lnTo>
                    <a:pt x="620" y="328"/>
                  </a:lnTo>
                  <a:lnTo>
                    <a:pt x="618" y="298"/>
                  </a:lnTo>
                  <a:lnTo>
                    <a:pt x="614" y="270"/>
                  </a:lnTo>
                  <a:lnTo>
                    <a:pt x="608" y="242"/>
                  </a:lnTo>
                  <a:lnTo>
                    <a:pt x="597" y="215"/>
                  </a:lnTo>
                  <a:lnTo>
                    <a:pt x="585" y="189"/>
                  </a:lnTo>
                  <a:lnTo>
                    <a:pt x="570" y="165"/>
                  </a:lnTo>
                  <a:lnTo>
                    <a:pt x="554" y="144"/>
                  </a:lnTo>
                  <a:lnTo>
                    <a:pt x="535" y="122"/>
                  </a:lnTo>
                  <a:lnTo>
                    <a:pt x="514" y="104"/>
                  </a:lnTo>
                  <a:lnTo>
                    <a:pt x="492" y="87"/>
                  </a:lnTo>
                  <a:lnTo>
                    <a:pt x="468" y="73"/>
                  </a:lnTo>
                  <a:lnTo>
                    <a:pt x="442" y="61"/>
                  </a:lnTo>
                  <a:lnTo>
                    <a:pt x="416" y="50"/>
                  </a:lnTo>
                  <a:lnTo>
                    <a:pt x="387" y="43"/>
                  </a:lnTo>
                  <a:lnTo>
                    <a:pt x="359" y="39"/>
                  </a:lnTo>
                  <a:lnTo>
                    <a:pt x="330" y="38"/>
                  </a:lnTo>
                  <a:lnTo>
                    <a:pt x="33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9" name="Freeform 177">
              <a:extLst>
                <a:ext uri="{FF2B5EF4-FFF2-40B4-BE49-F238E27FC236}">
                  <a16:creationId xmlns:a16="http://schemas.microsoft.com/office/drawing/2014/main" id="{FF9F7FC8-64F0-47D4-B760-242D0CFB33BE}"/>
                </a:ext>
              </a:extLst>
            </p:cNvPr>
            <p:cNvSpPr>
              <a:spLocks/>
            </p:cNvSpPr>
            <p:nvPr/>
          </p:nvSpPr>
          <p:spPr bwMode="auto">
            <a:xfrm>
              <a:off x="1562101" y="1982788"/>
              <a:ext cx="266700" cy="77788"/>
            </a:xfrm>
            <a:custGeom>
              <a:avLst/>
              <a:gdLst>
                <a:gd name="T0" fmla="*/ 5 w 335"/>
                <a:gd name="T1" fmla="*/ 0 h 98"/>
                <a:gd name="T2" fmla="*/ 2 w 335"/>
                <a:gd name="T3" fmla="*/ 0 h 98"/>
                <a:gd name="T4" fmla="*/ 0 w 335"/>
                <a:gd name="T5" fmla="*/ 4 h 98"/>
                <a:gd name="T6" fmla="*/ 0 w 335"/>
                <a:gd name="T7" fmla="*/ 16 h 98"/>
                <a:gd name="T8" fmla="*/ 0 w 335"/>
                <a:gd name="T9" fmla="*/ 19 h 98"/>
                <a:gd name="T10" fmla="*/ 2 w 335"/>
                <a:gd name="T11" fmla="*/ 21 h 98"/>
                <a:gd name="T12" fmla="*/ 123 w 335"/>
                <a:gd name="T13" fmla="*/ 21 h 98"/>
                <a:gd name="T14" fmla="*/ 65 w 335"/>
                <a:gd name="T15" fmla="*/ 88 h 98"/>
                <a:gd name="T16" fmla="*/ 64 w 335"/>
                <a:gd name="T17" fmla="*/ 92 h 98"/>
                <a:gd name="T18" fmla="*/ 67 w 335"/>
                <a:gd name="T19" fmla="*/ 96 h 98"/>
                <a:gd name="T20" fmla="*/ 70 w 335"/>
                <a:gd name="T21" fmla="*/ 98 h 98"/>
                <a:gd name="T22" fmla="*/ 72 w 335"/>
                <a:gd name="T23" fmla="*/ 96 h 98"/>
                <a:gd name="T24" fmla="*/ 138 w 335"/>
                <a:gd name="T25" fmla="*/ 21 h 98"/>
                <a:gd name="T26" fmla="*/ 162 w 335"/>
                <a:gd name="T27" fmla="*/ 82 h 98"/>
                <a:gd name="T28" fmla="*/ 162 w 335"/>
                <a:gd name="T29" fmla="*/ 83 h 98"/>
                <a:gd name="T30" fmla="*/ 165 w 335"/>
                <a:gd name="T31" fmla="*/ 86 h 98"/>
                <a:gd name="T32" fmla="*/ 168 w 335"/>
                <a:gd name="T33" fmla="*/ 87 h 98"/>
                <a:gd name="T34" fmla="*/ 172 w 335"/>
                <a:gd name="T35" fmla="*/ 84 h 98"/>
                <a:gd name="T36" fmla="*/ 173 w 335"/>
                <a:gd name="T37" fmla="*/ 82 h 98"/>
                <a:gd name="T38" fmla="*/ 197 w 335"/>
                <a:gd name="T39" fmla="*/ 21 h 98"/>
                <a:gd name="T40" fmla="*/ 262 w 335"/>
                <a:gd name="T41" fmla="*/ 95 h 98"/>
                <a:gd name="T42" fmla="*/ 266 w 335"/>
                <a:gd name="T43" fmla="*/ 98 h 98"/>
                <a:gd name="T44" fmla="*/ 268 w 335"/>
                <a:gd name="T45" fmla="*/ 96 h 98"/>
                <a:gd name="T46" fmla="*/ 270 w 335"/>
                <a:gd name="T47" fmla="*/ 94 h 98"/>
                <a:gd name="T48" fmla="*/ 270 w 335"/>
                <a:gd name="T49" fmla="*/ 90 h 98"/>
                <a:gd name="T50" fmla="*/ 212 w 335"/>
                <a:gd name="T51" fmla="*/ 21 h 98"/>
                <a:gd name="T52" fmla="*/ 330 w 335"/>
                <a:gd name="T53" fmla="*/ 21 h 98"/>
                <a:gd name="T54" fmla="*/ 334 w 335"/>
                <a:gd name="T55" fmla="*/ 20 h 98"/>
                <a:gd name="T56" fmla="*/ 335 w 335"/>
                <a:gd name="T57" fmla="*/ 16 h 98"/>
                <a:gd name="T58" fmla="*/ 335 w 335"/>
                <a:gd name="T59" fmla="*/ 5 h 98"/>
                <a:gd name="T60" fmla="*/ 334 w 335"/>
                <a:gd name="T61" fmla="*/ 1 h 98"/>
                <a:gd name="T62" fmla="*/ 330 w 335"/>
                <a:gd name="T6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5" h="98">
                  <a:moveTo>
                    <a:pt x="330" y="0"/>
                  </a:moveTo>
                  <a:lnTo>
                    <a:pt x="5" y="0"/>
                  </a:lnTo>
                  <a:lnTo>
                    <a:pt x="5" y="0"/>
                  </a:lnTo>
                  <a:lnTo>
                    <a:pt x="2" y="0"/>
                  </a:lnTo>
                  <a:lnTo>
                    <a:pt x="1" y="1"/>
                  </a:lnTo>
                  <a:lnTo>
                    <a:pt x="0" y="4"/>
                  </a:lnTo>
                  <a:lnTo>
                    <a:pt x="0" y="5"/>
                  </a:lnTo>
                  <a:lnTo>
                    <a:pt x="0" y="16"/>
                  </a:lnTo>
                  <a:lnTo>
                    <a:pt x="0" y="16"/>
                  </a:lnTo>
                  <a:lnTo>
                    <a:pt x="0" y="19"/>
                  </a:lnTo>
                  <a:lnTo>
                    <a:pt x="1" y="20"/>
                  </a:lnTo>
                  <a:lnTo>
                    <a:pt x="2" y="21"/>
                  </a:lnTo>
                  <a:lnTo>
                    <a:pt x="5" y="21"/>
                  </a:lnTo>
                  <a:lnTo>
                    <a:pt x="123" y="21"/>
                  </a:lnTo>
                  <a:lnTo>
                    <a:pt x="65" y="88"/>
                  </a:lnTo>
                  <a:lnTo>
                    <a:pt x="65" y="88"/>
                  </a:lnTo>
                  <a:lnTo>
                    <a:pt x="65" y="90"/>
                  </a:lnTo>
                  <a:lnTo>
                    <a:pt x="64" y="92"/>
                  </a:lnTo>
                  <a:lnTo>
                    <a:pt x="65" y="94"/>
                  </a:lnTo>
                  <a:lnTo>
                    <a:pt x="67" y="96"/>
                  </a:lnTo>
                  <a:lnTo>
                    <a:pt x="67" y="96"/>
                  </a:lnTo>
                  <a:lnTo>
                    <a:pt x="70" y="98"/>
                  </a:lnTo>
                  <a:lnTo>
                    <a:pt x="70" y="98"/>
                  </a:lnTo>
                  <a:lnTo>
                    <a:pt x="72" y="96"/>
                  </a:lnTo>
                  <a:lnTo>
                    <a:pt x="74" y="95"/>
                  </a:lnTo>
                  <a:lnTo>
                    <a:pt x="138" y="21"/>
                  </a:lnTo>
                  <a:lnTo>
                    <a:pt x="162" y="21"/>
                  </a:lnTo>
                  <a:lnTo>
                    <a:pt x="162" y="82"/>
                  </a:lnTo>
                  <a:lnTo>
                    <a:pt x="162" y="82"/>
                  </a:lnTo>
                  <a:lnTo>
                    <a:pt x="162" y="83"/>
                  </a:lnTo>
                  <a:lnTo>
                    <a:pt x="164" y="84"/>
                  </a:lnTo>
                  <a:lnTo>
                    <a:pt x="165" y="86"/>
                  </a:lnTo>
                  <a:lnTo>
                    <a:pt x="168" y="87"/>
                  </a:lnTo>
                  <a:lnTo>
                    <a:pt x="168" y="87"/>
                  </a:lnTo>
                  <a:lnTo>
                    <a:pt x="170" y="86"/>
                  </a:lnTo>
                  <a:lnTo>
                    <a:pt x="172" y="84"/>
                  </a:lnTo>
                  <a:lnTo>
                    <a:pt x="173" y="83"/>
                  </a:lnTo>
                  <a:lnTo>
                    <a:pt x="173" y="82"/>
                  </a:lnTo>
                  <a:lnTo>
                    <a:pt x="173" y="21"/>
                  </a:lnTo>
                  <a:lnTo>
                    <a:pt x="197" y="21"/>
                  </a:lnTo>
                  <a:lnTo>
                    <a:pt x="262" y="95"/>
                  </a:lnTo>
                  <a:lnTo>
                    <a:pt x="262" y="95"/>
                  </a:lnTo>
                  <a:lnTo>
                    <a:pt x="263" y="96"/>
                  </a:lnTo>
                  <a:lnTo>
                    <a:pt x="266" y="98"/>
                  </a:lnTo>
                  <a:lnTo>
                    <a:pt x="266" y="98"/>
                  </a:lnTo>
                  <a:lnTo>
                    <a:pt x="268" y="96"/>
                  </a:lnTo>
                  <a:lnTo>
                    <a:pt x="268" y="96"/>
                  </a:lnTo>
                  <a:lnTo>
                    <a:pt x="270" y="94"/>
                  </a:lnTo>
                  <a:lnTo>
                    <a:pt x="271" y="92"/>
                  </a:lnTo>
                  <a:lnTo>
                    <a:pt x="270" y="90"/>
                  </a:lnTo>
                  <a:lnTo>
                    <a:pt x="270" y="88"/>
                  </a:lnTo>
                  <a:lnTo>
                    <a:pt x="212" y="21"/>
                  </a:lnTo>
                  <a:lnTo>
                    <a:pt x="330" y="21"/>
                  </a:lnTo>
                  <a:lnTo>
                    <a:pt x="330" y="21"/>
                  </a:lnTo>
                  <a:lnTo>
                    <a:pt x="333" y="21"/>
                  </a:lnTo>
                  <a:lnTo>
                    <a:pt x="334" y="20"/>
                  </a:lnTo>
                  <a:lnTo>
                    <a:pt x="335" y="19"/>
                  </a:lnTo>
                  <a:lnTo>
                    <a:pt x="335" y="16"/>
                  </a:lnTo>
                  <a:lnTo>
                    <a:pt x="335" y="5"/>
                  </a:lnTo>
                  <a:lnTo>
                    <a:pt x="335" y="5"/>
                  </a:lnTo>
                  <a:lnTo>
                    <a:pt x="335" y="4"/>
                  </a:lnTo>
                  <a:lnTo>
                    <a:pt x="334" y="1"/>
                  </a:lnTo>
                  <a:lnTo>
                    <a:pt x="333" y="0"/>
                  </a:lnTo>
                  <a:lnTo>
                    <a:pt x="330" y="0"/>
                  </a:lnTo>
                  <a:lnTo>
                    <a:pt x="3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0" name="Freeform 178">
              <a:extLst>
                <a:ext uri="{FF2B5EF4-FFF2-40B4-BE49-F238E27FC236}">
                  <a16:creationId xmlns:a16="http://schemas.microsoft.com/office/drawing/2014/main" id="{47B182F0-CB06-4E4E-9E11-0AF9C51867C4}"/>
                </a:ext>
              </a:extLst>
            </p:cNvPr>
            <p:cNvSpPr>
              <a:spLocks noEditPoints="1"/>
            </p:cNvSpPr>
            <p:nvPr/>
          </p:nvSpPr>
          <p:spPr bwMode="auto">
            <a:xfrm>
              <a:off x="1587501" y="1785938"/>
              <a:ext cx="215900" cy="180975"/>
            </a:xfrm>
            <a:custGeom>
              <a:avLst/>
              <a:gdLst>
                <a:gd name="T0" fmla="*/ 266 w 271"/>
                <a:gd name="T1" fmla="*/ 227 h 227"/>
                <a:gd name="T2" fmla="*/ 267 w 271"/>
                <a:gd name="T3" fmla="*/ 227 h 227"/>
                <a:gd name="T4" fmla="*/ 270 w 271"/>
                <a:gd name="T5" fmla="*/ 225 h 227"/>
                <a:gd name="T6" fmla="*/ 271 w 271"/>
                <a:gd name="T7" fmla="*/ 27 h 227"/>
                <a:gd name="T8" fmla="*/ 270 w 271"/>
                <a:gd name="T9" fmla="*/ 24 h 227"/>
                <a:gd name="T10" fmla="*/ 267 w 271"/>
                <a:gd name="T11" fmla="*/ 22 h 227"/>
                <a:gd name="T12" fmla="*/ 162 w 271"/>
                <a:gd name="T13" fmla="*/ 22 h 227"/>
                <a:gd name="T14" fmla="*/ 162 w 271"/>
                <a:gd name="T15" fmla="*/ 6 h 227"/>
                <a:gd name="T16" fmla="*/ 161 w 271"/>
                <a:gd name="T17" fmla="*/ 2 h 227"/>
                <a:gd name="T18" fmla="*/ 157 w 271"/>
                <a:gd name="T19" fmla="*/ 0 h 227"/>
                <a:gd name="T20" fmla="*/ 114 w 271"/>
                <a:gd name="T21" fmla="*/ 0 h 227"/>
                <a:gd name="T22" fmla="*/ 110 w 271"/>
                <a:gd name="T23" fmla="*/ 2 h 227"/>
                <a:gd name="T24" fmla="*/ 109 w 271"/>
                <a:gd name="T25" fmla="*/ 6 h 227"/>
                <a:gd name="T26" fmla="*/ 5 w 271"/>
                <a:gd name="T27" fmla="*/ 22 h 227"/>
                <a:gd name="T28" fmla="*/ 4 w 271"/>
                <a:gd name="T29" fmla="*/ 22 h 227"/>
                <a:gd name="T30" fmla="*/ 1 w 271"/>
                <a:gd name="T31" fmla="*/ 24 h 227"/>
                <a:gd name="T32" fmla="*/ 0 w 271"/>
                <a:gd name="T33" fmla="*/ 222 h 227"/>
                <a:gd name="T34" fmla="*/ 1 w 271"/>
                <a:gd name="T35" fmla="*/ 225 h 227"/>
                <a:gd name="T36" fmla="*/ 4 w 271"/>
                <a:gd name="T37" fmla="*/ 227 h 227"/>
                <a:gd name="T38" fmla="*/ 5 w 271"/>
                <a:gd name="T39" fmla="*/ 227 h 227"/>
                <a:gd name="T40" fmla="*/ 195 w 271"/>
                <a:gd name="T41" fmla="*/ 108 h 227"/>
                <a:gd name="T42" fmla="*/ 197 w 271"/>
                <a:gd name="T43" fmla="*/ 105 h 227"/>
                <a:gd name="T44" fmla="*/ 200 w 271"/>
                <a:gd name="T45" fmla="*/ 102 h 227"/>
                <a:gd name="T46" fmla="*/ 223 w 271"/>
                <a:gd name="T47" fmla="*/ 102 h 227"/>
                <a:gd name="T48" fmla="*/ 226 w 271"/>
                <a:gd name="T49" fmla="*/ 105 h 227"/>
                <a:gd name="T50" fmla="*/ 228 w 271"/>
                <a:gd name="T51" fmla="*/ 108 h 227"/>
                <a:gd name="T52" fmla="*/ 228 w 271"/>
                <a:gd name="T53" fmla="*/ 174 h 227"/>
                <a:gd name="T54" fmla="*/ 226 w 271"/>
                <a:gd name="T55" fmla="*/ 178 h 227"/>
                <a:gd name="T56" fmla="*/ 223 w 271"/>
                <a:gd name="T57" fmla="*/ 179 h 227"/>
                <a:gd name="T58" fmla="*/ 200 w 271"/>
                <a:gd name="T59" fmla="*/ 179 h 227"/>
                <a:gd name="T60" fmla="*/ 197 w 271"/>
                <a:gd name="T61" fmla="*/ 178 h 227"/>
                <a:gd name="T62" fmla="*/ 195 w 271"/>
                <a:gd name="T63" fmla="*/ 174 h 227"/>
                <a:gd name="T64" fmla="*/ 119 w 271"/>
                <a:gd name="T65" fmla="*/ 75 h 227"/>
                <a:gd name="T66" fmla="*/ 119 w 271"/>
                <a:gd name="T67" fmla="*/ 74 h 227"/>
                <a:gd name="T68" fmla="*/ 122 w 271"/>
                <a:gd name="T69" fmla="*/ 70 h 227"/>
                <a:gd name="T70" fmla="*/ 146 w 271"/>
                <a:gd name="T71" fmla="*/ 70 h 227"/>
                <a:gd name="T72" fmla="*/ 149 w 271"/>
                <a:gd name="T73" fmla="*/ 70 h 227"/>
                <a:gd name="T74" fmla="*/ 152 w 271"/>
                <a:gd name="T75" fmla="*/ 74 h 227"/>
                <a:gd name="T76" fmla="*/ 152 w 271"/>
                <a:gd name="T77" fmla="*/ 174 h 227"/>
                <a:gd name="T78" fmla="*/ 152 w 271"/>
                <a:gd name="T79" fmla="*/ 175 h 227"/>
                <a:gd name="T80" fmla="*/ 149 w 271"/>
                <a:gd name="T81" fmla="*/ 178 h 227"/>
                <a:gd name="T82" fmla="*/ 125 w 271"/>
                <a:gd name="T83" fmla="*/ 179 h 227"/>
                <a:gd name="T84" fmla="*/ 122 w 271"/>
                <a:gd name="T85" fmla="*/ 178 h 227"/>
                <a:gd name="T86" fmla="*/ 119 w 271"/>
                <a:gd name="T87" fmla="*/ 175 h 227"/>
                <a:gd name="T88" fmla="*/ 119 w 271"/>
                <a:gd name="T89" fmla="*/ 75 h 227"/>
                <a:gd name="T90" fmla="*/ 43 w 271"/>
                <a:gd name="T91" fmla="*/ 129 h 227"/>
                <a:gd name="T92" fmla="*/ 46 w 271"/>
                <a:gd name="T93" fmla="*/ 126 h 227"/>
                <a:gd name="T94" fmla="*/ 48 w 271"/>
                <a:gd name="T95" fmla="*/ 124 h 227"/>
                <a:gd name="T96" fmla="*/ 71 w 271"/>
                <a:gd name="T97" fmla="*/ 124 h 227"/>
                <a:gd name="T98" fmla="*/ 74 w 271"/>
                <a:gd name="T99" fmla="*/ 126 h 227"/>
                <a:gd name="T100" fmla="*/ 76 w 271"/>
                <a:gd name="T101" fmla="*/ 129 h 227"/>
                <a:gd name="T102" fmla="*/ 76 w 271"/>
                <a:gd name="T103" fmla="*/ 174 h 227"/>
                <a:gd name="T104" fmla="*/ 74 w 271"/>
                <a:gd name="T105" fmla="*/ 178 h 227"/>
                <a:gd name="T106" fmla="*/ 71 w 271"/>
                <a:gd name="T107" fmla="*/ 179 h 227"/>
                <a:gd name="T108" fmla="*/ 48 w 271"/>
                <a:gd name="T109" fmla="*/ 179 h 227"/>
                <a:gd name="T110" fmla="*/ 46 w 271"/>
                <a:gd name="T111" fmla="*/ 178 h 227"/>
                <a:gd name="T112" fmla="*/ 43 w 271"/>
                <a:gd name="T113" fmla="*/ 174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1" h="227">
                  <a:moveTo>
                    <a:pt x="5" y="227"/>
                  </a:moveTo>
                  <a:lnTo>
                    <a:pt x="266" y="227"/>
                  </a:lnTo>
                  <a:lnTo>
                    <a:pt x="266" y="227"/>
                  </a:lnTo>
                  <a:lnTo>
                    <a:pt x="267" y="227"/>
                  </a:lnTo>
                  <a:lnTo>
                    <a:pt x="270" y="226"/>
                  </a:lnTo>
                  <a:lnTo>
                    <a:pt x="270" y="225"/>
                  </a:lnTo>
                  <a:lnTo>
                    <a:pt x="271" y="222"/>
                  </a:lnTo>
                  <a:lnTo>
                    <a:pt x="271" y="27"/>
                  </a:lnTo>
                  <a:lnTo>
                    <a:pt x="271" y="27"/>
                  </a:lnTo>
                  <a:lnTo>
                    <a:pt x="270" y="24"/>
                  </a:lnTo>
                  <a:lnTo>
                    <a:pt x="270" y="23"/>
                  </a:lnTo>
                  <a:lnTo>
                    <a:pt x="267" y="22"/>
                  </a:lnTo>
                  <a:lnTo>
                    <a:pt x="266" y="22"/>
                  </a:lnTo>
                  <a:lnTo>
                    <a:pt x="162" y="22"/>
                  </a:lnTo>
                  <a:lnTo>
                    <a:pt x="162" y="6"/>
                  </a:lnTo>
                  <a:lnTo>
                    <a:pt x="162" y="6"/>
                  </a:lnTo>
                  <a:lnTo>
                    <a:pt x="162" y="3"/>
                  </a:lnTo>
                  <a:lnTo>
                    <a:pt x="161" y="2"/>
                  </a:lnTo>
                  <a:lnTo>
                    <a:pt x="160" y="0"/>
                  </a:lnTo>
                  <a:lnTo>
                    <a:pt x="157" y="0"/>
                  </a:lnTo>
                  <a:lnTo>
                    <a:pt x="114" y="0"/>
                  </a:lnTo>
                  <a:lnTo>
                    <a:pt x="114" y="0"/>
                  </a:lnTo>
                  <a:lnTo>
                    <a:pt x="111" y="0"/>
                  </a:lnTo>
                  <a:lnTo>
                    <a:pt x="110" y="2"/>
                  </a:lnTo>
                  <a:lnTo>
                    <a:pt x="109" y="3"/>
                  </a:lnTo>
                  <a:lnTo>
                    <a:pt x="109" y="6"/>
                  </a:lnTo>
                  <a:lnTo>
                    <a:pt x="109" y="22"/>
                  </a:lnTo>
                  <a:lnTo>
                    <a:pt x="5" y="22"/>
                  </a:lnTo>
                  <a:lnTo>
                    <a:pt x="5" y="22"/>
                  </a:lnTo>
                  <a:lnTo>
                    <a:pt x="4" y="22"/>
                  </a:lnTo>
                  <a:lnTo>
                    <a:pt x="1" y="23"/>
                  </a:lnTo>
                  <a:lnTo>
                    <a:pt x="1" y="24"/>
                  </a:lnTo>
                  <a:lnTo>
                    <a:pt x="0" y="27"/>
                  </a:lnTo>
                  <a:lnTo>
                    <a:pt x="0" y="222"/>
                  </a:lnTo>
                  <a:lnTo>
                    <a:pt x="0" y="222"/>
                  </a:lnTo>
                  <a:lnTo>
                    <a:pt x="1" y="225"/>
                  </a:lnTo>
                  <a:lnTo>
                    <a:pt x="1" y="226"/>
                  </a:lnTo>
                  <a:lnTo>
                    <a:pt x="4" y="227"/>
                  </a:lnTo>
                  <a:lnTo>
                    <a:pt x="5" y="227"/>
                  </a:lnTo>
                  <a:lnTo>
                    <a:pt x="5" y="227"/>
                  </a:lnTo>
                  <a:close/>
                  <a:moveTo>
                    <a:pt x="195" y="108"/>
                  </a:moveTo>
                  <a:lnTo>
                    <a:pt x="195" y="108"/>
                  </a:lnTo>
                  <a:lnTo>
                    <a:pt x="196" y="106"/>
                  </a:lnTo>
                  <a:lnTo>
                    <a:pt x="197" y="105"/>
                  </a:lnTo>
                  <a:lnTo>
                    <a:pt x="199" y="104"/>
                  </a:lnTo>
                  <a:lnTo>
                    <a:pt x="200" y="102"/>
                  </a:lnTo>
                  <a:lnTo>
                    <a:pt x="223" y="102"/>
                  </a:lnTo>
                  <a:lnTo>
                    <a:pt x="223" y="102"/>
                  </a:lnTo>
                  <a:lnTo>
                    <a:pt x="224" y="104"/>
                  </a:lnTo>
                  <a:lnTo>
                    <a:pt x="226" y="105"/>
                  </a:lnTo>
                  <a:lnTo>
                    <a:pt x="227" y="106"/>
                  </a:lnTo>
                  <a:lnTo>
                    <a:pt x="228" y="108"/>
                  </a:lnTo>
                  <a:lnTo>
                    <a:pt x="228" y="174"/>
                  </a:lnTo>
                  <a:lnTo>
                    <a:pt x="228" y="174"/>
                  </a:lnTo>
                  <a:lnTo>
                    <a:pt x="227" y="175"/>
                  </a:lnTo>
                  <a:lnTo>
                    <a:pt x="226" y="178"/>
                  </a:lnTo>
                  <a:lnTo>
                    <a:pt x="224" y="178"/>
                  </a:lnTo>
                  <a:lnTo>
                    <a:pt x="223" y="179"/>
                  </a:lnTo>
                  <a:lnTo>
                    <a:pt x="200" y="179"/>
                  </a:lnTo>
                  <a:lnTo>
                    <a:pt x="200" y="179"/>
                  </a:lnTo>
                  <a:lnTo>
                    <a:pt x="199" y="178"/>
                  </a:lnTo>
                  <a:lnTo>
                    <a:pt x="197" y="178"/>
                  </a:lnTo>
                  <a:lnTo>
                    <a:pt x="196" y="175"/>
                  </a:lnTo>
                  <a:lnTo>
                    <a:pt x="195" y="174"/>
                  </a:lnTo>
                  <a:lnTo>
                    <a:pt x="195" y="108"/>
                  </a:lnTo>
                  <a:close/>
                  <a:moveTo>
                    <a:pt x="119" y="75"/>
                  </a:moveTo>
                  <a:lnTo>
                    <a:pt x="119" y="75"/>
                  </a:lnTo>
                  <a:lnTo>
                    <a:pt x="119" y="74"/>
                  </a:lnTo>
                  <a:lnTo>
                    <a:pt x="121" y="71"/>
                  </a:lnTo>
                  <a:lnTo>
                    <a:pt x="122" y="70"/>
                  </a:lnTo>
                  <a:lnTo>
                    <a:pt x="125" y="70"/>
                  </a:lnTo>
                  <a:lnTo>
                    <a:pt x="146" y="70"/>
                  </a:lnTo>
                  <a:lnTo>
                    <a:pt x="146" y="70"/>
                  </a:lnTo>
                  <a:lnTo>
                    <a:pt x="149" y="70"/>
                  </a:lnTo>
                  <a:lnTo>
                    <a:pt x="150" y="71"/>
                  </a:lnTo>
                  <a:lnTo>
                    <a:pt x="152" y="74"/>
                  </a:lnTo>
                  <a:lnTo>
                    <a:pt x="152" y="75"/>
                  </a:lnTo>
                  <a:lnTo>
                    <a:pt x="152" y="174"/>
                  </a:lnTo>
                  <a:lnTo>
                    <a:pt x="152" y="174"/>
                  </a:lnTo>
                  <a:lnTo>
                    <a:pt x="152" y="175"/>
                  </a:lnTo>
                  <a:lnTo>
                    <a:pt x="150" y="178"/>
                  </a:lnTo>
                  <a:lnTo>
                    <a:pt x="149" y="178"/>
                  </a:lnTo>
                  <a:lnTo>
                    <a:pt x="146" y="179"/>
                  </a:lnTo>
                  <a:lnTo>
                    <a:pt x="125" y="179"/>
                  </a:lnTo>
                  <a:lnTo>
                    <a:pt x="125" y="179"/>
                  </a:lnTo>
                  <a:lnTo>
                    <a:pt x="122" y="178"/>
                  </a:lnTo>
                  <a:lnTo>
                    <a:pt x="121" y="178"/>
                  </a:lnTo>
                  <a:lnTo>
                    <a:pt x="119" y="175"/>
                  </a:lnTo>
                  <a:lnTo>
                    <a:pt x="119" y="174"/>
                  </a:lnTo>
                  <a:lnTo>
                    <a:pt x="119" y="75"/>
                  </a:lnTo>
                  <a:close/>
                  <a:moveTo>
                    <a:pt x="43" y="129"/>
                  </a:moveTo>
                  <a:lnTo>
                    <a:pt x="43" y="129"/>
                  </a:lnTo>
                  <a:lnTo>
                    <a:pt x="44" y="128"/>
                  </a:lnTo>
                  <a:lnTo>
                    <a:pt x="46" y="126"/>
                  </a:lnTo>
                  <a:lnTo>
                    <a:pt x="47" y="125"/>
                  </a:lnTo>
                  <a:lnTo>
                    <a:pt x="48" y="124"/>
                  </a:lnTo>
                  <a:lnTo>
                    <a:pt x="71" y="124"/>
                  </a:lnTo>
                  <a:lnTo>
                    <a:pt x="71" y="124"/>
                  </a:lnTo>
                  <a:lnTo>
                    <a:pt x="72" y="125"/>
                  </a:lnTo>
                  <a:lnTo>
                    <a:pt x="74" y="126"/>
                  </a:lnTo>
                  <a:lnTo>
                    <a:pt x="75" y="128"/>
                  </a:lnTo>
                  <a:lnTo>
                    <a:pt x="76" y="129"/>
                  </a:lnTo>
                  <a:lnTo>
                    <a:pt x="76" y="174"/>
                  </a:lnTo>
                  <a:lnTo>
                    <a:pt x="76" y="174"/>
                  </a:lnTo>
                  <a:lnTo>
                    <a:pt x="75" y="175"/>
                  </a:lnTo>
                  <a:lnTo>
                    <a:pt x="74" y="178"/>
                  </a:lnTo>
                  <a:lnTo>
                    <a:pt x="72" y="178"/>
                  </a:lnTo>
                  <a:lnTo>
                    <a:pt x="71" y="179"/>
                  </a:lnTo>
                  <a:lnTo>
                    <a:pt x="48" y="179"/>
                  </a:lnTo>
                  <a:lnTo>
                    <a:pt x="48" y="179"/>
                  </a:lnTo>
                  <a:lnTo>
                    <a:pt x="47" y="178"/>
                  </a:lnTo>
                  <a:lnTo>
                    <a:pt x="46" y="178"/>
                  </a:lnTo>
                  <a:lnTo>
                    <a:pt x="44" y="175"/>
                  </a:lnTo>
                  <a:lnTo>
                    <a:pt x="43" y="174"/>
                  </a:lnTo>
                  <a:lnTo>
                    <a:pt x="43" y="1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cxnSp>
        <p:nvCxnSpPr>
          <p:cNvPr id="21" name="Straight Connector 20">
            <a:extLst>
              <a:ext uri="{FF2B5EF4-FFF2-40B4-BE49-F238E27FC236}">
                <a16:creationId xmlns:a16="http://schemas.microsoft.com/office/drawing/2014/main" id="{DBD1A211-C670-423F-B77A-0431CBB48F65}"/>
              </a:ext>
            </a:extLst>
          </p:cNvPr>
          <p:cNvCxnSpPr/>
          <p:nvPr/>
        </p:nvCxnSpPr>
        <p:spPr>
          <a:xfrm>
            <a:off x="1642112" y="2362760"/>
            <a:ext cx="0" cy="73453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D5E45E5D-AAEA-4AF5-A415-CBA0AF29ED73}"/>
              </a:ext>
            </a:extLst>
          </p:cNvPr>
          <p:cNvGrpSpPr/>
          <p:nvPr/>
        </p:nvGrpSpPr>
        <p:grpSpPr>
          <a:xfrm>
            <a:off x="886568" y="3394275"/>
            <a:ext cx="4538101" cy="734530"/>
            <a:chOff x="886568" y="3344602"/>
            <a:chExt cx="4538101" cy="734530"/>
          </a:xfrm>
        </p:grpSpPr>
        <p:sp>
          <p:nvSpPr>
            <p:cNvPr id="23" name="Rectangle 22">
              <a:extLst>
                <a:ext uri="{FF2B5EF4-FFF2-40B4-BE49-F238E27FC236}">
                  <a16:creationId xmlns:a16="http://schemas.microsoft.com/office/drawing/2014/main" id="{DBDD3AC6-A480-4CDB-A0C9-AA49F8F2FD86}"/>
                </a:ext>
              </a:extLst>
            </p:cNvPr>
            <p:cNvSpPr/>
            <p:nvPr/>
          </p:nvSpPr>
          <p:spPr>
            <a:xfrm>
              <a:off x="1814277" y="3419480"/>
              <a:ext cx="3610392" cy="584775"/>
            </a:xfrm>
            <a:prstGeom prst="rect">
              <a:avLst/>
            </a:prstGeom>
          </p:spPr>
          <p:txBody>
            <a:bodyPr wrap="square">
              <a:spAutoFit/>
            </a:bodyPr>
            <a:lstStyle/>
            <a:p>
              <a:pPr marL="0" marR="0" lvl="0" indent="0" algn="l" defTabSz="1216122"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hanges in Channel</a:t>
              </a:r>
            </a:p>
            <a:p>
              <a:pPr marL="0" marR="0" lvl="0" indent="0" algn="l" defTabSz="1216122"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mpetitor retail presence has grown 8 to 1 compared to Client’s retail presence</a:t>
              </a:r>
            </a:p>
          </p:txBody>
        </p:sp>
        <p:grpSp>
          <p:nvGrpSpPr>
            <p:cNvPr id="24" name="Group 23">
              <a:extLst>
                <a:ext uri="{FF2B5EF4-FFF2-40B4-BE49-F238E27FC236}">
                  <a16:creationId xmlns:a16="http://schemas.microsoft.com/office/drawing/2014/main" id="{BC057BC6-6FED-4623-B7FB-8915684F7EAA}"/>
                </a:ext>
              </a:extLst>
            </p:cNvPr>
            <p:cNvGrpSpPr>
              <a:grpSpLocks noChangeAspect="1"/>
            </p:cNvGrpSpPr>
            <p:nvPr/>
          </p:nvGrpSpPr>
          <p:grpSpPr>
            <a:xfrm>
              <a:off x="886568" y="3450723"/>
              <a:ext cx="522288" cy="522288"/>
              <a:chOff x="6716713" y="4183698"/>
              <a:chExt cx="522288" cy="522288"/>
            </a:xfrm>
            <a:solidFill>
              <a:schemeClr val="tx1"/>
            </a:solidFill>
          </p:grpSpPr>
          <p:sp>
            <p:nvSpPr>
              <p:cNvPr id="26" name="Freeform 73">
                <a:extLst>
                  <a:ext uri="{FF2B5EF4-FFF2-40B4-BE49-F238E27FC236}">
                    <a16:creationId xmlns:a16="http://schemas.microsoft.com/office/drawing/2014/main" id="{50A765F9-64FD-40C7-8514-31899BCAF89C}"/>
                  </a:ext>
                </a:extLst>
              </p:cNvPr>
              <p:cNvSpPr>
                <a:spLocks noEditPoints="1"/>
              </p:cNvSpPr>
              <p:nvPr/>
            </p:nvSpPr>
            <p:spPr bwMode="auto">
              <a:xfrm>
                <a:off x="6716713" y="4183698"/>
                <a:ext cx="522288" cy="522288"/>
              </a:xfrm>
              <a:custGeom>
                <a:avLst/>
                <a:gdLst>
                  <a:gd name="T0" fmla="*/ 312 w 657"/>
                  <a:gd name="T1" fmla="*/ 657 h 657"/>
                  <a:gd name="T2" fmla="*/ 262 w 657"/>
                  <a:gd name="T3" fmla="*/ 650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8 h 657"/>
                  <a:gd name="T16" fmla="*/ 2 w 657"/>
                  <a:gd name="T17" fmla="*/ 294 h 657"/>
                  <a:gd name="T18" fmla="*/ 10 w 657"/>
                  <a:gd name="T19" fmla="*/ 246 h 657"/>
                  <a:gd name="T20" fmla="*/ 39 w 657"/>
                  <a:gd name="T21" fmla="*/ 172 h 657"/>
                  <a:gd name="T22" fmla="*/ 96 w 657"/>
                  <a:gd name="T23" fmla="*/ 95 h 657"/>
                  <a:gd name="T24" fmla="*/ 172 w 657"/>
                  <a:gd name="T25" fmla="*/ 39 h 657"/>
                  <a:gd name="T26" fmla="*/ 246 w 657"/>
                  <a:gd name="T27" fmla="*/ 9 h 657"/>
                  <a:gd name="T28" fmla="*/ 295 w 657"/>
                  <a:gd name="T29" fmla="*/ 1 h 657"/>
                  <a:gd name="T30" fmla="*/ 328 w 657"/>
                  <a:gd name="T31" fmla="*/ 0 h 657"/>
                  <a:gd name="T32" fmla="*/ 379 w 657"/>
                  <a:gd name="T33" fmla="*/ 4 h 657"/>
                  <a:gd name="T34" fmla="*/ 426 w 657"/>
                  <a:gd name="T35" fmla="*/ 15 h 657"/>
                  <a:gd name="T36" fmla="*/ 512 w 657"/>
                  <a:gd name="T37" fmla="*/ 56 h 657"/>
                  <a:gd name="T38" fmla="*/ 582 w 657"/>
                  <a:gd name="T39" fmla="*/ 119 h 657"/>
                  <a:gd name="T40" fmla="*/ 632 w 657"/>
                  <a:gd name="T41" fmla="*/ 200 h 657"/>
                  <a:gd name="T42" fmla="*/ 651 w 657"/>
                  <a:gd name="T43" fmla="*/ 262 h 657"/>
                  <a:gd name="T44" fmla="*/ 657 w 657"/>
                  <a:gd name="T45" fmla="*/ 312 h 657"/>
                  <a:gd name="T46" fmla="*/ 657 w 657"/>
                  <a:gd name="T47" fmla="*/ 345 h 657"/>
                  <a:gd name="T48" fmla="*/ 651 w 657"/>
                  <a:gd name="T49" fmla="*/ 395 h 657"/>
                  <a:gd name="T50" fmla="*/ 632 w 657"/>
                  <a:gd name="T51" fmla="*/ 457 h 657"/>
                  <a:gd name="T52" fmla="*/ 582 w 657"/>
                  <a:gd name="T53" fmla="*/ 537 h 657"/>
                  <a:gd name="T54" fmla="*/ 512 w 657"/>
                  <a:gd name="T55" fmla="*/ 601 h 657"/>
                  <a:gd name="T56" fmla="*/ 426 w 657"/>
                  <a:gd name="T57" fmla="*/ 642 h 657"/>
                  <a:gd name="T58" fmla="*/ 379 w 657"/>
                  <a:gd name="T59" fmla="*/ 653 h 657"/>
                  <a:gd name="T60" fmla="*/ 328 w 657"/>
                  <a:gd name="T61" fmla="*/ 657 h 657"/>
                  <a:gd name="T62" fmla="*/ 328 w 657"/>
                  <a:gd name="T63" fmla="*/ 37 h 657"/>
                  <a:gd name="T64" fmla="*/ 242 w 657"/>
                  <a:gd name="T65" fmla="*/ 50 h 657"/>
                  <a:gd name="T66" fmla="*/ 166 w 657"/>
                  <a:gd name="T67" fmla="*/ 87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6 w 657"/>
                  <a:gd name="T81" fmla="*/ 570 h 657"/>
                  <a:gd name="T82" fmla="*/ 242 w 657"/>
                  <a:gd name="T83" fmla="*/ 606 h 657"/>
                  <a:gd name="T84" fmla="*/ 328 w 657"/>
                  <a:gd name="T85" fmla="*/ 619 h 657"/>
                  <a:gd name="T86" fmla="*/ 387 w 657"/>
                  <a:gd name="T87" fmla="*/ 614 h 657"/>
                  <a:gd name="T88" fmla="*/ 468 w 657"/>
                  <a:gd name="T89" fmla="*/ 585 h 657"/>
                  <a:gd name="T90" fmla="*/ 535 w 657"/>
                  <a:gd name="T91" fmla="*/ 535 h 657"/>
                  <a:gd name="T92" fmla="*/ 585 w 657"/>
                  <a:gd name="T93" fmla="*/ 468 h 657"/>
                  <a:gd name="T94" fmla="*/ 614 w 657"/>
                  <a:gd name="T95" fmla="*/ 387 h 657"/>
                  <a:gd name="T96" fmla="*/ 620 w 657"/>
                  <a:gd name="T97" fmla="*/ 328 h 657"/>
                  <a:gd name="T98" fmla="*/ 606 w 657"/>
                  <a:gd name="T99" fmla="*/ 242 h 657"/>
                  <a:gd name="T100" fmla="*/ 570 w 657"/>
                  <a:gd name="T101" fmla="*/ 165 h 657"/>
                  <a:gd name="T102" fmla="*/ 514 w 657"/>
                  <a:gd name="T103" fmla="*/ 103 h 657"/>
                  <a:gd name="T104" fmla="*/ 442 w 657"/>
                  <a:gd name="T105" fmla="*/ 60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5" y="656"/>
                    </a:lnTo>
                    <a:lnTo>
                      <a:pt x="278" y="653"/>
                    </a:lnTo>
                    <a:lnTo>
                      <a:pt x="262" y="650"/>
                    </a:lnTo>
                    <a:lnTo>
                      <a:pt x="246" y="646"/>
                    </a:lnTo>
                    <a:lnTo>
                      <a:pt x="231" y="642"/>
                    </a:lnTo>
                    <a:lnTo>
                      <a:pt x="200" y="632"/>
                    </a:lnTo>
                    <a:lnTo>
                      <a:pt x="172" y="618"/>
                    </a:lnTo>
                    <a:lnTo>
                      <a:pt x="145" y="601"/>
                    </a:lnTo>
                    <a:lnTo>
                      <a:pt x="120" y="582"/>
                    </a:lnTo>
                    <a:lnTo>
                      <a:pt x="96" y="560"/>
                    </a:lnTo>
                    <a:lnTo>
                      <a:pt x="75" y="537"/>
                    </a:lnTo>
                    <a:lnTo>
                      <a:pt x="57" y="512"/>
                    </a:lnTo>
                    <a:lnTo>
                      <a:pt x="39" y="485"/>
                    </a:lnTo>
                    <a:lnTo>
                      <a:pt x="26" y="457"/>
                    </a:lnTo>
                    <a:lnTo>
                      <a:pt x="15" y="426"/>
                    </a:lnTo>
                    <a:lnTo>
                      <a:pt x="10" y="411"/>
                    </a:lnTo>
                    <a:lnTo>
                      <a:pt x="7" y="395"/>
                    </a:lnTo>
                    <a:lnTo>
                      <a:pt x="4" y="379"/>
                    </a:lnTo>
                    <a:lnTo>
                      <a:pt x="2" y="361"/>
                    </a:lnTo>
                    <a:lnTo>
                      <a:pt x="0" y="345"/>
                    </a:lnTo>
                    <a:lnTo>
                      <a:pt x="0" y="328"/>
                    </a:lnTo>
                    <a:lnTo>
                      <a:pt x="0" y="328"/>
                    </a:lnTo>
                    <a:lnTo>
                      <a:pt x="0" y="312"/>
                    </a:lnTo>
                    <a:lnTo>
                      <a:pt x="2" y="294"/>
                    </a:lnTo>
                    <a:lnTo>
                      <a:pt x="4" y="278"/>
                    </a:lnTo>
                    <a:lnTo>
                      <a:pt x="7" y="262"/>
                    </a:lnTo>
                    <a:lnTo>
                      <a:pt x="10" y="246"/>
                    </a:lnTo>
                    <a:lnTo>
                      <a:pt x="15" y="231"/>
                    </a:lnTo>
                    <a:lnTo>
                      <a:pt x="26" y="200"/>
                    </a:lnTo>
                    <a:lnTo>
                      <a:pt x="39" y="172"/>
                    </a:lnTo>
                    <a:lnTo>
                      <a:pt x="57" y="145"/>
                    </a:lnTo>
                    <a:lnTo>
                      <a:pt x="75" y="119"/>
                    </a:lnTo>
                    <a:lnTo>
                      <a:pt x="96" y="95"/>
                    </a:lnTo>
                    <a:lnTo>
                      <a:pt x="120" y="75"/>
                    </a:lnTo>
                    <a:lnTo>
                      <a:pt x="145" y="56"/>
                    </a:lnTo>
                    <a:lnTo>
                      <a:pt x="172" y="39"/>
                    </a:lnTo>
                    <a:lnTo>
                      <a:pt x="200" y="25"/>
                    </a:lnTo>
                    <a:lnTo>
                      <a:pt x="231" y="15"/>
                    </a:lnTo>
                    <a:lnTo>
                      <a:pt x="246" y="9"/>
                    </a:lnTo>
                    <a:lnTo>
                      <a:pt x="262" y="7"/>
                    </a:lnTo>
                    <a:lnTo>
                      <a:pt x="278" y="4"/>
                    </a:lnTo>
                    <a:lnTo>
                      <a:pt x="295" y="1"/>
                    </a:lnTo>
                    <a:lnTo>
                      <a:pt x="312" y="0"/>
                    </a:lnTo>
                    <a:lnTo>
                      <a:pt x="328" y="0"/>
                    </a:lnTo>
                    <a:lnTo>
                      <a:pt x="328" y="0"/>
                    </a:lnTo>
                    <a:lnTo>
                      <a:pt x="346" y="0"/>
                    </a:lnTo>
                    <a:lnTo>
                      <a:pt x="362" y="1"/>
                    </a:lnTo>
                    <a:lnTo>
                      <a:pt x="379" y="4"/>
                    </a:lnTo>
                    <a:lnTo>
                      <a:pt x="395" y="7"/>
                    </a:lnTo>
                    <a:lnTo>
                      <a:pt x="411" y="9"/>
                    </a:lnTo>
                    <a:lnTo>
                      <a:pt x="426" y="15"/>
                    </a:lnTo>
                    <a:lnTo>
                      <a:pt x="457" y="25"/>
                    </a:lnTo>
                    <a:lnTo>
                      <a:pt x="485" y="39"/>
                    </a:lnTo>
                    <a:lnTo>
                      <a:pt x="512" y="56"/>
                    </a:lnTo>
                    <a:lnTo>
                      <a:pt x="538" y="75"/>
                    </a:lnTo>
                    <a:lnTo>
                      <a:pt x="561" y="95"/>
                    </a:lnTo>
                    <a:lnTo>
                      <a:pt x="582" y="119"/>
                    </a:lnTo>
                    <a:lnTo>
                      <a:pt x="601" y="145"/>
                    </a:lnTo>
                    <a:lnTo>
                      <a:pt x="618" y="172"/>
                    </a:lnTo>
                    <a:lnTo>
                      <a:pt x="632" y="200"/>
                    </a:lnTo>
                    <a:lnTo>
                      <a:pt x="643" y="231"/>
                    </a:lnTo>
                    <a:lnTo>
                      <a:pt x="648" y="246"/>
                    </a:lnTo>
                    <a:lnTo>
                      <a:pt x="651" y="262"/>
                    </a:lnTo>
                    <a:lnTo>
                      <a:pt x="653" y="278"/>
                    </a:lnTo>
                    <a:lnTo>
                      <a:pt x="656" y="294"/>
                    </a:lnTo>
                    <a:lnTo>
                      <a:pt x="657" y="312"/>
                    </a:lnTo>
                    <a:lnTo>
                      <a:pt x="657" y="328"/>
                    </a:lnTo>
                    <a:lnTo>
                      <a:pt x="657" y="328"/>
                    </a:lnTo>
                    <a:lnTo>
                      <a:pt x="657" y="345"/>
                    </a:lnTo>
                    <a:lnTo>
                      <a:pt x="656" y="361"/>
                    </a:lnTo>
                    <a:lnTo>
                      <a:pt x="653" y="379"/>
                    </a:lnTo>
                    <a:lnTo>
                      <a:pt x="651" y="395"/>
                    </a:lnTo>
                    <a:lnTo>
                      <a:pt x="648" y="411"/>
                    </a:lnTo>
                    <a:lnTo>
                      <a:pt x="643" y="426"/>
                    </a:lnTo>
                    <a:lnTo>
                      <a:pt x="632" y="457"/>
                    </a:lnTo>
                    <a:lnTo>
                      <a:pt x="618" y="485"/>
                    </a:lnTo>
                    <a:lnTo>
                      <a:pt x="601" y="512"/>
                    </a:lnTo>
                    <a:lnTo>
                      <a:pt x="582" y="537"/>
                    </a:lnTo>
                    <a:lnTo>
                      <a:pt x="561" y="560"/>
                    </a:lnTo>
                    <a:lnTo>
                      <a:pt x="538" y="582"/>
                    </a:lnTo>
                    <a:lnTo>
                      <a:pt x="512" y="601"/>
                    </a:lnTo>
                    <a:lnTo>
                      <a:pt x="485" y="618"/>
                    </a:lnTo>
                    <a:lnTo>
                      <a:pt x="457" y="632"/>
                    </a:lnTo>
                    <a:lnTo>
                      <a:pt x="426" y="642"/>
                    </a:lnTo>
                    <a:lnTo>
                      <a:pt x="411" y="646"/>
                    </a:lnTo>
                    <a:lnTo>
                      <a:pt x="395" y="650"/>
                    </a:lnTo>
                    <a:lnTo>
                      <a:pt x="379" y="653"/>
                    </a:lnTo>
                    <a:lnTo>
                      <a:pt x="362" y="656"/>
                    </a:lnTo>
                    <a:lnTo>
                      <a:pt x="346" y="657"/>
                    </a:lnTo>
                    <a:lnTo>
                      <a:pt x="328" y="657"/>
                    </a:lnTo>
                    <a:lnTo>
                      <a:pt x="328" y="657"/>
                    </a:lnTo>
                    <a:close/>
                    <a:moveTo>
                      <a:pt x="328" y="37"/>
                    </a:moveTo>
                    <a:lnTo>
                      <a:pt x="328" y="37"/>
                    </a:lnTo>
                    <a:lnTo>
                      <a:pt x="299" y="39"/>
                    </a:lnTo>
                    <a:lnTo>
                      <a:pt x="270" y="43"/>
                    </a:lnTo>
                    <a:lnTo>
                      <a:pt x="242" y="50"/>
                    </a:lnTo>
                    <a:lnTo>
                      <a:pt x="215" y="60"/>
                    </a:lnTo>
                    <a:lnTo>
                      <a:pt x="190" y="72"/>
                    </a:lnTo>
                    <a:lnTo>
                      <a:pt x="166" y="87"/>
                    </a:lnTo>
                    <a:lnTo>
                      <a:pt x="144" y="103"/>
                    </a:lnTo>
                    <a:lnTo>
                      <a:pt x="123" y="122"/>
                    </a:lnTo>
                    <a:lnTo>
                      <a:pt x="104" y="144"/>
                    </a:lnTo>
                    <a:lnTo>
                      <a:pt x="88" y="165"/>
                    </a:lnTo>
                    <a:lnTo>
                      <a:pt x="73" y="189"/>
                    </a:lnTo>
                    <a:lnTo>
                      <a:pt x="61" y="215"/>
                    </a:lnTo>
                    <a:lnTo>
                      <a:pt x="50" y="242"/>
                    </a:lnTo>
                    <a:lnTo>
                      <a:pt x="43" y="270"/>
                    </a:lnTo>
                    <a:lnTo>
                      <a:pt x="39" y="298"/>
                    </a:lnTo>
                    <a:lnTo>
                      <a:pt x="38" y="328"/>
                    </a:lnTo>
                    <a:lnTo>
                      <a:pt x="38" y="328"/>
                    </a:lnTo>
                    <a:lnTo>
                      <a:pt x="39" y="359"/>
                    </a:lnTo>
                    <a:lnTo>
                      <a:pt x="43" y="387"/>
                    </a:lnTo>
                    <a:lnTo>
                      <a:pt x="50" y="415"/>
                    </a:lnTo>
                    <a:lnTo>
                      <a:pt x="61" y="442"/>
                    </a:lnTo>
                    <a:lnTo>
                      <a:pt x="73" y="468"/>
                    </a:lnTo>
                    <a:lnTo>
                      <a:pt x="88" y="492"/>
                    </a:lnTo>
                    <a:lnTo>
                      <a:pt x="104" y="513"/>
                    </a:lnTo>
                    <a:lnTo>
                      <a:pt x="123" y="535"/>
                    </a:lnTo>
                    <a:lnTo>
                      <a:pt x="144" y="554"/>
                    </a:lnTo>
                    <a:lnTo>
                      <a:pt x="166" y="570"/>
                    </a:lnTo>
                    <a:lnTo>
                      <a:pt x="190" y="585"/>
                    </a:lnTo>
                    <a:lnTo>
                      <a:pt x="215" y="597"/>
                    </a:lnTo>
                    <a:lnTo>
                      <a:pt x="242" y="606"/>
                    </a:lnTo>
                    <a:lnTo>
                      <a:pt x="270" y="614"/>
                    </a:lnTo>
                    <a:lnTo>
                      <a:pt x="299" y="618"/>
                    </a:lnTo>
                    <a:lnTo>
                      <a:pt x="328" y="619"/>
                    </a:lnTo>
                    <a:lnTo>
                      <a:pt x="328" y="619"/>
                    </a:lnTo>
                    <a:lnTo>
                      <a:pt x="359" y="618"/>
                    </a:lnTo>
                    <a:lnTo>
                      <a:pt x="387" y="614"/>
                    </a:lnTo>
                    <a:lnTo>
                      <a:pt x="415" y="606"/>
                    </a:lnTo>
                    <a:lnTo>
                      <a:pt x="442" y="597"/>
                    </a:lnTo>
                    <a:lnTo>
                      <a:pt x="468" y="585"/>
                    </a:lnTo>
                    <a:lnTo>
                      <a:pt x="492" y="570"/>
                    </a:lnTo>
                    <a:lnTo>
                      <a:pt x="514" y="554"/>
                    </a:lnTo>
                    <a:lnTo>
                      <a:pt x="535" y="535"/>
                    </a:lnTo>
                    <a:lnTo>
                      <a:pt x="554" y="513"/>
                    </a:lnTo>
                    <a:lnTo>
                      <a:pt x="570" y="492"/>
                    </a:lnTo>
                    <a:lnTo>
                      <a:pt x="585" y="468"/>
                    </a:lnTo>
                    <a:lnTo>
                      <a:pt x="597" y="442"/>
                    </a:lnTo>
                    <a:lnTo>
                      <a:pt x="606" y="415"/>
                    </a:lnTo>
                    <a:lnTo>
                      <a:pt x="614" y="387"/>
                    </a:lnTo>
                    <a:lnTo>
                      <a:pt x="618" y="359"/>
                    </a:lnTo>
                    <a:lnTo>
                      <a:pt x="620" y="328"/>
                    </a:lnTo>
                    <a:lnTo>
                      <a:pt x="620" y="328"/>
                    </a:lnTo>
                    <a:lnTo>
                      <a:pt x="618" y="298"/>
                    </a:lnTo>
                    <a:lnTo>
                      <a:pt x="614" y="270"/>
                    </a:lnTo>
                    <a:lnTo>
                      <a:pt x="606" y="242"/>
                    </a:lnTo>
                    <a:lnTo>
                      <a:pt x="597" y="215"/>
                    </a:lnTo>
                    <a:lnTo>
                      <a:pt x="585" y="189"/>
                    </a:lnTo>
                    <a:lnTo>
                      <a:pt x="570" y="165"/>
                    </a:lnTo>
                    <a:lnTo>
                      <a:pt x="554" y="144"/>
                    </a:lnTo>
                    <a:lnTo>
                      <a:pt x="535" y="122"/>
                    </a:lnTo>
                    <a:lnTo>
                      <a:pt x="514" y="103"/>
                    </a:lnTo>
                    <a:lnTo>
                      <a:pt x="492" y="87"/>
                    </a:lnTo>
                    <a:lnTo>
                      <a:pt x="468" y="72"/>
                    </a:lnTo>
                    <a:lnTo>
                      <a:pt x="442" y="60"/>
                    </a:lnTo>
                    <a:lnTo>
                      <a:pt x="415" y="50"/>
                    </a:lnTo>
                    <a:lnTo>
                      <a:pt x="387" y="43"/>
                    </a:lnTo>
                    <a:lnTo>
                      <a:pt x="359" y="39"/>
                    </a:lnTo>
                    <a:lnTo>
                      <a:pt x="328" y="37"/>
                    </a:lnTo>
                    <a:lnTo>
                      <a:pt x="328"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7" name="Freeform 216">
                <a:extLst>
                  <a:ext uri="{FF2B5EF4-FFF2-40B4-BE49-F238E27FC236}">
                    <a16:creationId xmlns:a16="http://schemas.microsoft.com/office/drawing/2014/main" id="{21B42331-3223-4465-8EA7-D650ADB1CA70}"/>
                  </a:ext>
                </a:extLst>
              </p:cNvPr>
              <p:cNvSpPr>
                <a:spLocks noEditPoints="1"/>
              </p:cNvSpPr>
              <p:nvPr/>
            </p:nvSpPr>
            <p:spPr bwMode="auto">
              <a:xfrm>
                <a:off x="6831013" y="4294823"/>
                <a:ext cx="296863" cy="298450"/>
              </a:xfrm>
              <a:custGeom>
                <a:avLst/>
                <a:gdLst>
                  <a:gd name="T0" fmla="*/ 321 w 374"/>
                  <a:gd name="T1" fmla="*/ 151 h 375"/>
                  <a:gd name="T2" fmla="*/ 336 w 374"/>
                  <a:gd name="T3" fmla="*/ 81 h 375"/>
                  <a:gd name="T4" fmla="*/ 336 w 374"/>
                  <a:gd name="T5" fmla="*/ 73 h 375"/>
                  <a:gd name="T6" fmla="*/ 298 w 374"/>
                  <a:gd name="T7" fmla="*/ 36 h 375"/>
                  <a:gd name="T8" fmla="*/ 255 w 374"/>
                  <a:gd name="T9" fmla="*/ 67 h 375"/>
                  <a:gd name="T10" fmla="*/ 216 w 374"/>
                  <a:gd name="T11" fmla="*/ 5 h 375"/>
                  <a:gd name="T12" fmla="*/ 211 w 374"/>
                  <a:gd name="T13" fmla="*/ 0 h 375"/>
                  <a:gd name="T14" fmla="*/ 159 w 374"/>
                  <a:gd name="T15" fmla="*/ 1 h 375"/>
                  <a:gd name="T16" fmla="*/ 151 w 374"/>
                  <a:gd name="T17" fmla="*/ 54 h 375"/>
                  <a:gd name="T18" fmla="*/ 79 w 374"/>
                  <a:gd name="T19" fmla="*/ 38 h 375"/>
                  <a:gd name="T20" fmla="*/ 71 w 374"/>
                  <a:gd name="T21" fmla="*/ 38 h 375"/>
                  <a:gd name="T22" fmla="*/ 35 w 374"/>
                  <a:gd name="T23" fmla="*/ 77 h 375"/>
                  <a:gd name="T24" fmla="*/ 66 w 374"/>
                  <a:gd name="T25" fmla="*/ 118 h 375"/>
                  <a:gd name="T26" fmla="*/ 5 w 374"/>
                  <a:gd name="T27" fmla="*/ 157 h 375"/>
                  <a:gd name="T28" fmla="*/ 0 w 374"/>
                  <a:gd name="T29" fmla="*/ 163 h 375"/>
                  <a:gd name="T30" fmla="*/ 1 w 374"/>
                  <a:gd name="T31" fmla="*/ 215 h 375"/>
                  <a:gd name="T32" fmla="*/ 52 w 374"/>
                  <a:gd name="T33" fmla="*/ 224 h 375"/>
                  <a:gd name="T34" fmla="*/ 36 w 374"/>
                  <a:gd name="T35" fmla="*/ 294 h 375"/>
                  <a:gd name="T36" fmla="*/ 38 w 374"/>
                  <a:gd name="T37" fmla="*/ 302 h 375"/>
                  <a:gd name="T38" fmla="*/ 74 w 374"/>
                  <a:gd name="T39" fmla="*/ 339 h 375"/>
                  <a:gd name="T40" fmla="*/ 79 w 374"/>
                  <a:gd name="T41" fmla="*/ 337 h 375"/>
                  <a:gd name="T42" fmla="*/ 133 w 374"/>
                  <a:gd name="T43" fmla="*/ 316 h 375"/>
                  <a:gd name="T44" fmla="*/ 156 w 374"/>
                  <a:gd name="T45" fmla="*/ 370 h 375"/>
                  <a:gd name="T46" fmla="*/ 211 w 374"/>
                  <a:gd name="T47" fmla="*/ 375 h 375"/>
                  <a:gd name="T48" fmla="*/ 216 w 374"/>
                  <a:gd name="T49" fmla="*/ 370 h 375"/>
                  <a:gd name="T50" fmla="*/ 239 w 374"/>
                  <a:gd name="T51" fmla="*/ 316 h 375"/>
                  <a:gd name="T52" fmla="*/ 294 w 374"/>
                  <a:gd name="T53" fmla="*/ 337 h 375"/>
                  <a:gd name="T54" fmla="*/ 300 w 374"/>
                  <a:gd name="T55" fmla="*/ 339 h 375"/>
                  <a:gd name="T56" fmla="*/ 336 w 374"/>
                  <a:gd name="T57" fmla="*/ 302 h 375"/>
                  <a:gd name="T58" fmla="*/ 308 w 374"/>
                  <a:gd name="T59" fmla="*/ 257 h 375"/>
                  <a:gd name="T60" fmla="*/ 321 w 374"/>
                  <a:gd name="T61" fmla="*/ 224 h 375"/>
                  <a:gd name="T62" fmla="*/ 372 w 374"/>
                  <a:gd name="T63" fmla="*/ 215 h 375"/>
                  <a:gd name="T64" fmla="*/ 374 w 374"/>
                  <a:gd name="T65" fmla="*/ 163 h 375"/>
                  <a:gd name="T66" fmla="*/ 368 w 374"/>
                  <a:gd name="T67" fmla="*/ 157 h 375"/>
                  <a:gd name="T68" fmla="*/ 179 w 374"/>
                  <a:gd name="T69" fmla="*/ 266 h 375"/>
                  <a:gd name="T70" fmla="*/ 142 w 374"/>
                  <a:gd name="T71" fmla="*/ 254 h 375"/>
                  <a:gd name="T72" fmla="*/ 113 w 374"/>
                  <a:gd name="T73" fmla="*/ 219 h 375"/>
                  <a:gd name="T74" fmla="*/ 108 w 374"/>
                  <a:gd name="T75" fmla="*/ 187 h 375"/>
                  <a:gd name="T76" fmla="*/ 109 w 374"/>
                  <a:gd name="T77" fmla="*/ 171 h 375"/>
                  <a:gd name="T78" fmla="*/ 130 w 374"/>
                  <a:gd name="T79" fmla="*/ 132 h 375"/>
                  <a:gd name="T80" fmla="*/ 171 w 374"/>
                  <a:gd name="T81" fmla="*/ 109 h 375"/>
                  <a:gd name="T82" fmla="*/ 187 w 374"/>
                  <a:gd name="T83" fmla="*/ 108 h 375"/>
                  <a:gd name="T84" fmla="*/ 218 w 374"/>
                  <a:gd name="T85" fmla="*/ 114 h 375"/>
                  <a:gd name="T86" fmla="*/ 253 w 374"/>
                  <a:gd name="T87" fmla="*/ 142 h 375"/>
                  <a:gd name="T88" fmla="*/ 266 w 374"/>
                  <a:gd name="T89" fmla="*/ 179 h 375"/>
                  <a:gd name="T90" fmla="*/ 266 w 374"/>
                  <a:gd name="T91" fmla="*/ 196 h 375"/>
                  <a:gd name="T92" fmla="*/ 253 w 374"/>
                  <a:gd name="T93" fmla="*/ 233 h 375"/>
                  <a:gd name="T94" fmla="*/ 218 w 374"/>
                  <a:gd name="T95" fmla="*/ 261 h 375"/>
                  <a:gd name="T96" fmla="*/ 187 w 374"/>
                  <a:gd name="T97" fmla="*/ 267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74" h="375">
                    <a:moveTo>
                      <a:pt x="368" y="157"/>
                    </a:moveTo>
                    <a:lnTo>
                      <a:pt x="321" y="151"/>
                    </a:lnTo>
                    <a:lnTo>
                      <a:pt x="321" y="151"/>
                    </a:lnTo>
                    <a:lnTo>
                      <a:pt x="314" y="134"/>
                    </a:lnTo>
                    <a:lnTo>
                      <a:pt x="308" y="118"/>
                    </a:lnTo>
                    <a:lnTo>
                      <a:pt x="336" y="81"/>
                    </a:lnTo>
                    <a:lnTo>
                      <a:pt x="336" y="81"/>
                    </a:lnTo>
                    <a:lnTo>
                      <a:pt x="337" y="77"/>
                    </a:lnTo>
                    <a:lnTo>
                      <a:pt x="336" y="73"/>
                    </a:lnTo>
                    <a:lnTo>
                      <a:pt x="302" y="38"/>
                    </a:lnTo>
                    <a:lnTo>
                      <a:pt x="302" y="38"/>
                    </a:lnTo>
                    <a:lnTo>
                      <a:pt x="298" y="36"/>
                    </a:lnTo>
                    <a:lnTo>
                      <a:pt x="294" y="38"/>
                    </a:lnTo>
                    <a:lnTo>
                      <a:pt x="255" y="67"/>
                    </a:lnTo>
                    <a:lnTo>
                      <a:pt x="255" y="67"/>
                    </a:lnTo>
                    <a:lnTo>
                      <a:pt x="239" y="59"/>
                    </a:lnTo>
                    <a:lnTo>
                      <a:pt x="223" y="54"/>
                    </a:lnTo>
                    <a:lnTo>
                      <a:pt x="216" y="5"/>
                    </a:lnTo>
                    <a:lnTo>
                      <a:pt x="216" y="5"/>
                    </a:lnTo>
                    <a:lnTo>
                      <a:pt x="215" y="1"/>
                    </a:lnTo>
                    <a:lnTo>
                      <a:pt x="211" y="0"/>
                    </a:lnTo>
                    <a:lnTo>
                      <a:pt x="163" y="0"/>
                    </a:lnTo>
                    <a:lnTo>
                      <a:pt x="163" y="0"/>
                    </a:lnTo>
                    <a:lnTo>
                      <a:pt x="159" y="1"/>
                    </a:lnTo>
                    <a:lnTo>
                      <a:pt x="156" y="5"/>
                    </a:lnTo>
                    <a:lnTo>
                      <a:pt x="151" y="54"/>
                    </a:lnTo>
                    <a:lnTo>
                      <a:pt x="151" y="54"/>
                    </a:lnTo>
                    <a:lnTo>
                      <a:pt x="133" y="59"/>
                    </a:lnTo>
                    <a:lnTo>
                      <a:pt x="118" y="67"/>
                    </a:lnTo>
                    <a:lnTo>
                      <a:pt x="79" y="38"/>
                    </a:lnTo>
                    <a:lnTo>
                      <a:pt x="79" y="38"/>
                    </a:lnTo>
                    <a:lnTo>
                      <a:pt x="75" y="36"/>
                    </a:lnTo>
                    <a:lnTo>
                      <a:pt x="71" y="38"/>
                    </a:lnTo>
                    <a:lnTo>
                      <a:pt x="38" y="73"/>
                    </a:lnTo>
                    <a:lnTo>
                      <a:pt x="38" y="73"/>
                    </a:lnTo>
                    <a:lnTo>
                      <a:pt x="35" y="77"/>
                    </a:lnTo>
                    <a:lnTo>
                      <a:pt x="36" y="81"/>
                    </a:lnTo>
                    <a:lnTo>
                      <a:pt x="66" y="118"/>
                    </a:lnTo>
                    <a:lnTo>
                      <a:pt x="66" y="118"/>
                    </a:lnTo>
                    <a:lnTo>
                      <a:pt x="58" y="134"/>
                    </a:lnTo>
                    <a:lnTo>
                      <a:pt x="52" y="151"/>
                    </a:lnTo>
                    <a:lnTo>
                      <a:pt x="5" y="157"/>
                    </a:lnTo>
                    <a:lnTo>
                      <a:pt x="5" y="157"/>
                    </a:lnTo>
                    <a:lnTo>
                      <a:pt x="1" y="160"/>
                    </a:lnTo>
                    <a:lnTo>
                      <a:pt x="0" y="163"/>
                    </a:lnTo>
                    <a:lnTo>
                      <a:pt x="0" y="211"/>
                    </a:lnTo>
                    <a:lnTo>
                      <a:pt x="0" y="211"/>
                    </a:lnTo>
                    <a:lnTo>
                      <a:pt x="1" y="215"/>
                    </a:lnTo>
                    <a:lnTo>
                      <a:pt x="5" y="218"/>
                    </a:lnTo>
                    <a:lnTo>
                      <a:pt x="52" y="224"/>
                    </a:lnTo>
                    <a:lnTo>
                      <a:pt x="52" y="224"/>
                    </a:lnTo>
                    <a:lnTo>
                      <a:pt x="58" y="241"/>
                    </a:lnTo>
                    <a:lnTo>
                      <a:pt x="66" y="257"/>
                    </a:lnTo>
                    <a:lnTo>
                      <a:pt x="36" y="294"/>
                    </a:lnTo>
                    <a:lnTo>
                      <a:pt x="36" y="294"/>
                    </a:lnTo>
                    <a:lnTo>
                      <a:pt x="35" y="298"/>
                    </a:lnTo>
                    <a:lnTo>
                      <a:pt x="38" y="302"/>
                    </a:lnTo>
                    <a:lnTo>
                      <a:pt x="71" y="337"/>
                    </a:lnTo>
                    <a:lnTo>
                      <a:pt x="71" y="337"/>
                    </a:lnTo>
                    <a:lnTo>
                      <a:pt x="74" y="339"/>
                    </a:lnTo>
                    <a:lnTo>
                      <a:pt x="75" y="339"/>
                    </a:lnTo>
                    <a:lnTo>
                      <a:pt x="75" y="339"/>
                    </a:lnTo>
                    <a:lnTo>
                      <a:pt x="79" y="337"/>
                    </a:lnTo>
                    <a:lnTo>
                      <a:pt x="118" y="308"/>
                    </a:lnTo>
                    <a:lnTo>
                      <a:pt x="118" y="308"/>
                    </a:lnTo>
                    <a:lnTo>
                      <a:pt x="133" y="316"/>
                    </a:lnTo>
                    <a:lnTo>
                      <a:pt x="151" y="321"/>
                    </a:lnTo>
                    <a:lnTo>
                      <a:pt x="156" y="370"/>
                    </a:lnTo>
                    <a:lnTo>
                      <a:pt x="156" y="370"/>
                    </a:lnTo>
                    <a:lnTo>
                      <a:pt x="159" y="374"/>
                    </a:lnTo>
                    <a:lnTo>
                      <a:pt x="163" y="375"/>
                    </a:lnTo>
                    <a:lnTo>
                      <a:pt x="211" y="375"/>
                    </a:lnTo>
                    <a:lnTo>
                      <a:pt x="211" y="375"/>
                    </a:lnTo>
                    <a:lnTo>
                      <a:pt x="215" y="374"/>
                    </a:lnTo>
                    <a:lnTo>
                      <a:pt x="216" y="370"/>
                    </a:lnTo>
                    <a:lnTo>
                      <a:pt x="223" y="321"/>
                    </a:lnTo>
                    <a:lnTo>
                      <a:pt x="223" y="321"/>
                    </a:lnTo>
                    <a:lnTo>
                      <a:pt x="239" y="316"/>
                    </a:lnTo>
                    <a:lnTo>
                      <a:pt x="255" y="308"/>
                    </a:lnTo>
                    <a:lnTo>
                      <a:pt x="294" y="337"/>
                    </a:lnTo>
                    <a:lnTo>
                      <a:pt x="294" y="337"/>
                    </a:lnTo>
                    <a:lnTo>
                      <a:pt x="297" y="339"/>
                    </a:lnTo>
                    <a:lnTo>
                      <a:pt x="297" y="339"/>
                    </a:lnTo>
                    <a:lnTo>
                      <a:pt x="300" y="339"/>
                    </a:lnTo>
                    <a:lnTo>
                      <a:pt x="302" y="337"/>
                    </a:lnTo>
                    <a:lnTo>
                      <a:pt x="336" y="302"/>
                    </a:lnTo>
                    <a:lnTo>
                      <a:pt x="336" y="302"/>
                    </a:lnTo>
                    <a:lnTo>
                      <a:pt x="337" y="298"/>
                    </a:lnTo>
                    <a:lnTo>
                      <a:pt x="336" y="294"/>
                    </a:lnTo>
                    <a:lnTo>
                      <a:pt x="308" y="257"/>
                    </a:lnTo>
                    <a:lnTo>
                      <a:pt x="308" y="257"/>
                    </a:lnTo>
                    <a:lnTo>
                      <a:pt x="314" y="241"/>
                    </a:lnTo>
                    <a:lnTo>
                      <a:pt x="321" y="224"/>
                    </a:lnTo>
                    <a:lnTo>
                      <a:pt x="368" y="218"/>
                    </a:lnTo>
                    <a:lnTo>
                      <a:pt x="368" y="218"/>
                    </a:lnTo>
                    <a:lnTo>
                      <a:pt x="372" y="215"/>
                    </a:lnTo>
                    <a:lnTo>
                      <a:pt x="374" y="211"/>
                    </a:lnTo>
                    <a:lnTo>
                      <a:pt x="374" y="163"/>
                    </a:lnTo>
                    <a:lnTo>
                      <a:pt x="374" y="163"/>
                    </a:lnTo>
                    <a:lnTo>
                      <a:pt x="372" y="160"/>
                    </a:lnTo>
                    <a:lnTo>
                      <a:pt x="368" y="157"/>
                    </a:lnTo>
                    <a:lnTo>
                      <a:pt x="368" y="157"/>
                    </a:lnTo>
                    <a:close/>
                    <a:moveTo>
                      <a:pt x="187" y="267"/>
                    </a:moveTo>
                    <a:lnTo>
                      <a:pt x="187" y="267"/>
                    </a:lnTo>
                    <a:lnTo>
                      <a:pt x="179" y="266"/>
                    </a:lnTo>
                    <a:lnTo>
                      <a:pt x="171" y="266"/>
                    </a:lnTo>
                    <a:lnTo>
                      <a:pt x="156" y="261"/>
                    </a:lnTo>
                    <a:lnTo>
                      <a:pt x="142" y="254"/>
                    </a:lnTo>
                    <a:lnTo>
                      <a:pt x="130" y="243"/>
                    </a:lnTo>
                    <a:lnTo>
                      <a:pt x="121" y="233"/>
                    </a:lnTo>
                    <a:lnTo>
                      <a:pt x="113" y="219"/>
                    </a:lnTo>
                    <a:lnTo>
                      <a:pt x="109" y="203"/>
                    </a:lnTo>
                    <a:lnTo>
                      <a:pt x="108" y="196"/>
                    </a:lnTo>
                    <a:lnTo>
                      <a:pt x="108" y="187"/>
                    </a:lnTo>
                    <a:lnTo>
                      <a:pt x="108" y="187"/>
                    </a:lnTo>
                    <a:lnTo>
                      <a:pt x="108" y="179"/>
                    </a:lnTo>
                    <a:lnTo>
                      <a:pt x="109" y="171"/>
                    </a:lnTo>
                    <a:lnTo>
                      <a:pt x="113" y="156"/>
                    </a:lnTo>
                    <a:lnTo>
                      <a:pt x="121" y="142"/>
                    </a:lnTo>
                    <a:lnTo>
                      <a:pt x="130" y="132"/>
                    </a:lnTo>
                    <a:lnTo>
                      <a:pt x="142" y="121"/>
                    </a:lnTo>
                    <a:lnTo>
                      <a:pt x="156" y="114"/>
                    </a:lnTo>
                    <a:lnTo>
                      <a:pt x="171" y="109"/>
                    </a:lnTo>
                    <a:lnTo>
                      <a:pt x="179" y="108"/>
                    </a:lnTo>
                    <a:lnTo>
                      <a:pt x="187" y="108"/>
                    </a:lnTo>
                    <a:lnTo>
                      <a:pt x="187" y="108"/>
                    </a:lnTo>
                    <a:lnTo>
                      <a:pt x="195" y="108"/>
                    </a:lnTo>
                    <a:lnTo>
                      <a:pt x="203" y="109"/>
                    </a:lnTo>
                    <a:lnTo>
                      <a:pt x="218" y="114"/>
                    </a:lnTo>
                    <a:lnTo>
                      <a:pt x="231" y="121"/>
                    </a:lnTo>
                    <a:lnTo>
                      <a:pt x="243" y="132"/>
                    </a:lnTo>
                    <a:lnTo>
                      <a:pt x="253" y="142"/>
                    </a:lnTo>
                    <a:lnTo>
                      <a:pt x="259" y="156"/>
                    </a:lnTo>
                    <a:lnTo>
                      <a:pt x="265" y="171"/>
                    </a:lnTo>
                    <a:lnTo>
                      <a:pt x="266" y="179"/>
                    </a:lnTo>
                    <a:lnTo>
                      <a:pt x="266" y="187"/>
                    </a:lnTo>
                    <a:lnTo>
                      <a:pt x="266" y="187"/>
                    </a:lnTo>
                    <a:lnTo>
                      <a:pt x="266" y="196"/>
                    </a:lnTo>
                    <a:lnTo>
                      <a:pt x="265" y="203"/>
                    </a:lnTo>
                    <a:lnTo>
                      <a:pt x="259" y="219"/>
                    </a:lnTo>
                    <a:lnTo>
                      <a:pt x="253" y="233"/>
                    </a:lnTo>
                    <a:lnTo>
                      <a:pt x="243" y="243"/>
                    </a:lnTo>
                    <a:lnTo>
                      <a:pt x="231" y="254"/>
                    </a:lnTo>
                    <a:lnTo>
                      <a:pt x="218" y="261"/>
                    </a:lnTo>
                    <a:lnTo>
                      <a:pt x="203" y="266"/>
                    </a:lnTo>
                    <a:lnTo>
                      <a:pt x="195" y="266"/>
                    </a:lnTo>
                    <a:lnTo>
                      <a:pt x="187" y="267"/>
                    </a:lnTo>
                    <a:lnTo>
                      <a:pt x="187" y="2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cxnSp>
          <p:nvCxnSpPr>
            <p:cNvPr id="25" name="Straight Connector 24">
              <a:extLst>
                <a:ext uri="{FF2B5EF4-FFF2-40B4-BE49-F238E27FC236}">
                  <a16:creationId xmlns:a16="http://schemas.microsoft.com/office/drawing/2014/main" id="{3E7183D7-FBD1-465D-BEB2-EA5526E10DC9}"/>
                </a:ext>
              </a:extLst>
            </p:cNvPr>
            <p:cNvCxnSpPr/>
            <p:nvPr/>
          </p:nvCxnSpPr>
          <p:spPr>
            <a:xfrm>
              <a:off x="1642112" y="3344602"/>
              <a:ext cx="0" cy="73453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33350AF2-445D-4316-9BEC-3538F1030454}"/>
              </a:ext>
            </a:extLst>
          </p:cNvPr>
          <p:cNvGrpSpPr/>
          <p:nvPr/>
        </p:nvGrpSpPr>
        <p:grpSpPr>
          <a:xfrm>
            <a:off x="904690" y="4416028"/>
            <a:ext cx="4519979" cy="734530"/>
            <a:chOff x="904690" y="4401675"/>
            <a:chExt cx="4519979" cy="734530"/>
          </a:xfrm>
        </p:grpSpPr>
        <p:sp>
          <p:nvSpPr>
            <p:cNvPr id="29" name="Rectangle 28">
              <a:extLst>
                <a:ext uri="{FF2B5EF4-FFF2-40B4-BE49-F238E27FC236}">
                  <a16:creationId xmlns:a16="http://schemas.microsoft.com/office/drawing/2014/main" id="{FE7B8FF9-DD71-4A9A-856C-5BCFBF02CA48}"/>
                </a:ext>
              </a:extLst>
            </p:cNvPr>
            <p:cNvSpPr/>
            <p:nvPr/>
          </p:nvSpPr>
          <p:spPr>
            <a:xfrm>
              <a:off x="1814277" y="4476553"/>
              <a:ext cx="3610392" cy="584775"/>
            </a:xfrm>
            <a:prstGeom prst="rect">
              <a:avLst/>
            </a:prstGeom>
          </p:spPr>
          <p:txBody>
            <a:bodyPr wrap="square">
              <a:spAutoFit/>
            </a:bodyPr>
            <a:lstStyle/>
            <a:p>
              <a:pPr marL="0" marR="0" lvl="0" indent="0" algn="l" defTabSz="1216122"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dverse Purchasing Behavior</a:t>
              </a:r>
            </a:p>
            <a:p>
              <a:pPr marL="0" marR="0" lvl="0" indent="0" algn="l" defTabSz="1216122"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ustomer profile composed of undersized companies with below target purchase amounts</a:t>
              </a:r>
            </a:p>
          </p:txBody>
        </p:sp>
        <p:grpSp>
          <p:nvGrpSpPr>
            <p:cNvPr id="30" name="Group 29">
              <a:extLst>
                <a:ext uri="{FF2B5EF4-FFF2-40B4-BE49-F238E27FC236}">
                  <a16:creationId xmlns:a16="http://schemas.microsoft.com/office/drawing/2014/main" id="{9D541958-22BB-4DB7-A695-D2414A16AEDF}"/>
                </a:ext>
              </a:extLst>
            </p:cNvPr>
            <p:cNvGrpSpPr>
              <a:grpSpLocks noChangeAspect="1"/>
            </p:cNvGrpSpPr>
            <p:nvPr/>
          </p:nvGrpSpPr>
          <p:grpSpPr>
            <a:xfrm>
              <a:off x="904690" y="4507796"/>
              <a:ext cx="522288" cy="522288"/>
              <a:chOff x="1435101" y="5849938"/>
              <a:chExt cx="522288" cy="522288"/>
            </a:xfrm>
            <a:solidFill>
              <a:schemeClr val="tx1"/>
            </a:solidFill>
          </p:grpSpPr>
          <p:sp>
            <p:nvSpPr>
              <p:cNvPr id="32" name="Freeform 73">
                <a:extLst>
                  <a:ext uri="{FF2B5EF4-FFF2-40B4-BE49-F238E27FC236}">
                    <a16:creationId xmlns:a16="http://schemas.microsoft.com/office/drawing/2014/main" id="{2B9949CF-75C7-4C95-90AC-47596DFEECD8}"/>
                  </a:ext>
                </a:extLst>
              </p:cNvPr>
              <p:cNvSpPr>
                <a:spLocks noEditPoints="1"/>
              </p:cNvSpPr>
              <p:nvPr/>
            </p:nvSpPr>
            <p:spPr bwMode="auto">
              <a:xfrm>
                <a:off x="1435101" y="5849938"/>
                <a:ext cx="522288" cy="522288"/>
              </a:xfrm>
              <a:custGeom>
                <a:avLst/>
                <a:gdLst>
                  <a:gd name="T0" fmla="*/ 312 w 659"/>
                  <a:gd name="T1" fmla="*/ 657 h 657"/>
                  <a:gd name="T2" fmla="*/ 262 w 659"/>
                  <a:gd name="T3" fmla="*/ 651 h 657"/>
                  <a:gd name="T4" fmla="*/ 202 w 659"/>
                  <a:gd name="T5" fmla="*/ 632 h 657"/>
                  <a:gd name="T6" fmla="*/ 120 w 659"/>
                  <a:gd name="T7" fmla="*/ 582 h 657"/>
                  <a:gd name="T8" fmla="*/ 57 w 659"/>
                  <a:gd name="T9" fmla="*/ 512 h 657"/>
                  <a:gd name="T10" fmla="*/ 15 w 659"/>
                  <a:gd name="T11" fmla="*/ 426 h 657"/>
                  <a:gd name="T12" fmla="*/ 5 w 659"/>
                  <a:gd name="T13" fmla="*/ 379 h 657"/>
                  <a:gd name="T14" fmla="*/ 0 w 659"/>
                  <a:gd name="T15" fmla="*/ 328 h 657"/>
                  <a:gd name="T16" fmla="*/ 2 w 659"/>
                  <a:gd name="T17" fmla="*/ 296 h 657"/>
                  <a:gd name="T18" fmla="*/ 11 w 659"/>
                  <a:gd name="T19" fmla="*/ 246 h 657"/>
                  <a:gd name="T20" fmla="*/ 41 w 659"/>
                  <a:gd name="T21" fmla="*/ 172 h 657"/>
                  <a:gd name="T22" fmla="*/ 97 w 659"/>
                  <a:gd name="T23" fmla="*/ 97 h 657"/>
                  <a:gd name="T24" fmla="*/ 172 w 659"/>
                  <a:gd name="T25" fmla="*/ 39 h 657"/>
                  <a:gd name="T26" fmla="*/ 248 w 659"/>
                  <a:gd name="T27" fmla="*/ 10 h 657"/>
                  <a:gd name="T28" fmla="*/ 296 w 659"/>
                  <a:gd name="T29" fmla="*/ 2 h 657"/>
                  <a:gd name="T30" fmla="*/ 330 w 659"/>
                  <a:gd name="T31" fmla="*/ 0 h 657"/>
                  <a:gd name="T32" fmla="*/ 379 w 659"/>
                  <a:gd name="T33" fmla="*/ 4 h 657"/>
                  <a:gd name="T34" fmla="*/ 426 w 659"/>
                  <a:gd name="T35" fmla="*/ 15 h 657"/>
                  <a:gd name="T36" fmla="*/ 514 w 659"/>
                  <a:gd name="T37" fmla="*/ 57 h 657"/>
                  <a:gd name="T38" fmla="*/ 583 w 659"/>
                  <a:gd name="T39" fmla="*/ 120 h 657"/>
                  <a:gd name="T40" fmla="*/ 632 w 659"/>
                  <a:gd name="T41" fmla="*/ 201 h 657"/>
                  <a:gd name="T42" fmla="*/ 652 w 659"/>
                  <a:gd name="T43" fmla="*/ 262 h 657"/>
                  <a:gd name="T44" fmla="*/ 657 w 659"/>
                  <a:gd name="T45" fmla="*/ 312 h 657"/>
                  <a:gd name="T46" fmla="*/ 657 w 659"/>
                  <a:gd name="T47" fmla="*/ 346 h 657"/>
                  <a:gd name="T48" fmla="*/ 652 w 659"/>
                  <a:gd name="T49" fmla="*/ 395 h 657"/>
                  <a:gd name="T50" fmla="*/ 632 w 659"/>
                  <a:gd name="T51" fmla="*/ 457 h 657"/>
                  <a:gd name="T52" fmla="*/ 583 w 659"/>
                  <a:gd name="T53" fmla="*/ 538 h 657"/>
                  <a:gd name="T54" fmla="*/ 514 w 659"/>
                  <a:gd name="T55" fmla="*/ 601 h 657"/>
                  <a:gd name="T56" fmla="*/ 426 w 659"/>
                  <a:gd name="T57" fmla="*/ 642 h 657"/>
                  <a:gd name="T58" fmla="*/ 379 w 659"/>
                  <a:gd name="T59" fmla="*/ 653 h 657"/>
                  <a:gd name="T60" fmla="*/ 330 w 659"/>
                  <a:gd name="T61" fmla="*/ 657 h 657"/>
                  <a:gd name="T62" fmla="*/ 330 w 659"/>
                  <a:gd name="T63" fmla="*/ 38 h 657"/>
                  <a:gd name="T64" fmla="*/ 242 w 659"/>
                  <a:gd name="T65" fmla="*/ 50 h 657"/>
                  <a:gd name="T66" fmla="*/ 167 w 659"/>
                  <a:gd name="T67" fmla="*/ 88 h 657"/>
                  <a:gd name="T68" fmla="*/ 105 w 659"/>
                  <a:gd name="T69" fmla="*/ 144 h 657"/>
                  <a:gd name="T70" fmla="*/ 61 w 659"/>
                  <a:gd name="T71" fmla="*/ 215 h 657"/>
                  <a:gd name="T72" fmla="*/ 39 w 659"/>
                  <a:gd name="T73" fmla="*/ 299 h 657"/>
                  <a:gd name="T74" fmla="*/ 39 w 659"/>
                  <a:gd name="T75" fmla="*/ 359 h 657"/>
                  <a:gd name="T76" fmla="*/ 61 w 659"/>
                  <a:gd name="T77" fmla="*/ 442 h 657"/>
                  <a:gd name="T78" fmla="*/ 105 w 659"/>
                  <a:gd name="T79" fmla="*/ 514 h 657"/>
                  <a:gd name="T80" fmla="*/ 167 w 659"/>
                  <a:gd name="T81" fmla="*/ 570 h 657"/>
                  <a:gd name="T82" fmla="*/ 242 w 659"/>
                  <a:gd name="T83" fmla="*/ 608 h 657"/>
                  <a:gd name="T84" fmla="*/ 330 w 659"/>
                  <a:gd name="T85" fmla="*/ 620 h 657"/>
                  <a:gd name="T86" fmla="*/ 387 w 659"/>
                  <a:gd name="T87" fmla="*/ 614 h 657"/>
                  <a:gd name="T88" fmla="*/ 468 w 659"/>
                  <a:gd name="T89" fmla="*/ 585 h 657"/>
                  <a:gd name="T90" fmla="*/ 535 w 659"/>
                  <a:gd name="T91" fmla="*/ 535 h 657"/>
                  <a:gd name="T92" fmla="*/ 585 w 659"/>
                  <a:gd name="T93" fmla="*/ 468 h 657"/>
                  <a:gd name="T94" fmla="*/ 614 w 659"/>
                  <a:gd name="T95" fmla="*/ 387 h 657"/>
                  <a:gd name="T96" fmla="*/ 621 w 659"/>
                  <a:gd name="T97" fmla="*/ 328 h 657"/>
                  <a:gd name="T98" fmla="*/ 608 w 659"/>
                  <a:gd name="T99" fmla="*/ 242 h 657"/>
                  <a:gd name="T100" fmla="*/ 570 w 659"/>
                  <a:gd name="T101" fmla="*/ 166 h 657"/>
                  <a:gd name="T102" fmla="*/ 515 w 659"/>
                  <a:gd name="T103" fmla="*/ 104 h 657"/>
                  <a:gd name="T104" fmla="*/ 442 w 659"/>
                  <a:gd name="T105" fmla="*/ 61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6"/>
                    </a:lnTo>
                    <a:lnTo>
                      <a:pt x="280" y="653"/>
                    </a:lnTo>
                    <a:lnTo>
                      <a:pt x="262" y="651"/>
                    </a:lnTo>
                    <a:lnTo>
                      <a:pt x="248" y="648"/>
                    </a:lnTo>
                    <a:lnTo>
                      <a:pt x="232" y="642"/>
                    </a:lnTo>
                    <a:lnTo>
                      <a:pt x="202" y="632"/>
                    </a:lnTo>
                    <a:lnTo>
                      <a:pt x="172" y="618"/>
                    </a:lnTo>
                    <a:lnTo>
                      <a:pt x="146" y="601"/>
                    </a:lnTo>
                    <a:lnTo>
                      <a:pt x="120" y="582"/>
                    </a:lnTo>
                    <a:lnTo>
                      <a:pt x="97" y="561"/>
                    </a:lnTo>
                    <a:lnTo>
                      <a:pt x="76" y="538"/>
                    </a:lnTo>
                    <a:lnTo>
                      <a:pt x="57" y="512"/>
                    </a:lnTo>
                    <a:lnTo>
                      <a:pt x="41" y="485"/>
                    </a:lnTo>
                    <a:lnTo>
                      <a:pt x="26" y="457"/>
                    </a:lnTo>
                    <a:lnTo>
                      <a:pt x="15" y="426"/>
                    </a:lnTo>
                    <a:lnTo>
                      <a:pt x="11" y="411"/>
                    </a:lnTo>
                    <a:lnTo>
                      <a:pt x="7" y="395"/>
                    </a:lnTo>
                    <a:lnTo>
                      <a:pt x="5" y="379"/>
                    </a:lnTo>
                    <a:lnTo>
                      <a:pt x="2" y="362"/>
                    </a:lnTo>
                    <a:lnTo>
                      <a:pt x="0" y="346"/>
                    </a:lnTo>
                    <a:lnTo>
                      <a:pt x="0" y="328"/>
                    </a:lnTo>
                    <a:lnTo>
                      <a:pt x="0" y="328"/>
                    </a:lnTo>
                    <a:lnTo>
                      <a:pt x="0" y="312"/>
                    </a:lnTo>
                    <a:lnTo>
                      <a:pt x="2" y="296"/>
                    </a:lnTo>
                    <a:lnTo>
                      <a:pt x="5" y="278"/>
                    </a:lnTo>
                    <a:lnTo>
                      <a:pt x="7" y="262"/>
                    </a:lnTo>
                    <a:lnTo>
                      <a:pt x="11" y="246"/>
                    </a:lnTo>
                    <a:lnTo>
                      <a:pt x="15" y="231"/>
                    </a:lnTo>
                    <a:lnTo>
                      <a:pt x="26" y="201"/>
                    </a:lnTo>
                    <a:lnTo>
                      <a:pt x="41" y="172"/>
                    </a:lnTo>
                    <a:lnTo>
                      <a:pt x="57" y="146"/>
                    </a:lnTo>
                    <a:lnTo>
                      <a:pt x="76" y="120"/>
                    </a:lnTo>
                    <a:lnTo>
                      <a:pt x="97" y="97"/>
                    </a:lnTo>
                    <a:lnTo>
                      <a:pt x="120" y="76"/>
                    </a:lnTo>
                    <a:lnTo>
                      <a:pt x="146" y="57"/>
                    </a:lnTo>
                    <a:lnTo>
                      <a:pt x="172" y="39"/>
                    </a:lnTo>
                    <a:lnTo>
                      <a:pt x="202" y="26"/>
                    </a:lnTo>
                    <a:lnTo>
                      <a:pt x="232" y="15"/>
                    </a:lnTo>
                    <a:lnTo>
                      <a:pt x="248" y="10"/>
                    </a:lnTo>
                    <a:lnTo>
                      <a:pt x="262" y="7"/>
                    </a:lnTo>
                    <a:lnTo>
                      <a:pt x="280" y="4"/>
                    </a:lnTo>
                    <a:lnTo>
                      <a:pt x="296" y="2"/>
                    </a:lnTo>
                    <a:lnTo>
                      <a:pt x="312" y="0"/>
                    </a:lnTo>
                    <a:lnTo>
                      <a:pt x="330" y="0"/>
                    </a:lnTo>
                    <a:lnTo>
                      <a:pt x="330" y="0"/>
                    </a:lnTo>
                    <a:lnTo>
                      <a:pt x="346" y="0"/>
                    </a:lnTo>
                    <a:lnTo>
                      <a:pt x="363" y="2"/>
                    </a:lnTo>
                    <a:lnTo>
                      <a:pt x="379" y="4"/>
                    </a:lnTo>
                    <a:lnTo>
                      <a:pt x="395" y="7"/>
                    </a:lnTo>
                    <a:lnTo>
                      <a:pt x="412" y="10"/>
                    </a:lnTo>
                    <a:lnTo>
                      <a:pt x="426" y="15"/>
                    </a:lnTo>
                    <a:lnTo>
                      <a:pt x="457" y="26"/>
                    </a:lnTo>
                    <a:lnTo>
                      <a:pt x="485" y="39"/>
                    </a:lnTo>
                    <a:lnTo>
                      <a:pt x="514" y="57"/>
                    </a:lnTo>
                    <a:lnTo>
                      <a:pt x="538" y="76"/>
                    </a:lnTo>
                    <a:lnTo>
                      <a:pt x="562" y="97"/>
                    </a:lnTo>
                    <a:lnTo>
                      <a:pt x="583" y="120"/>
                    </a:lnTo>
                    <a:lnTo>
                      <a:pt x="602" y="146"/>
                    </a:lnTo>
                    <a:lnTo>
                      <a:pt x="618" y="172"/>
                    </a:lnTo>
                    <a:lnTo>
                      <a:pt x="632" y="201"/>
                    </a:lnTo>
                    <a:lnTo>
                      <a:pt x="643" y="231"/>
                    </a:lnTo>
                    <a:lnTo>
                      <a:pt x="648" y="246"/>
                    </a:lnTo>
                    <a:lnTo>
                      <a:pt x="652" y="262"/>
                    </a:lnTo>
                    <a:lnTo>
                      <a:pt x="655" y="278"/>
                    </a:lnTo>
                    <a:lnTo>
                      <a:pt x="656" y="296"/>
                    </a:lnTo>
                    <a:lnTo>
                      <a:pt x="657" y="312"/>
                    </a:lnTo>
                    <a:lnTo>
                      <a:pt x="659" y="328"/>
                    </a:lnTo>
                    <a:lnTo>
                      <a:pt x="659" y="328"/>
                    </a:lnTo>
                    <a:lnTo>
                      <a:pt x="657" y="346"/>
                    </a:lnTo>
                    <a:lnTo>
                      <a:pt x="656" y="362"/>
                    </a:lnTo>
                    <a:lnTo>
                      <a:pt x="655" y="379"/>
                    </a:lnTo>
                    <a:lnTo>
                      <a:pt x="652" y="395"/>
                    </a:lnTo>
                    <a:lnTo>
                      <a:pt x="648" y="411"/>
                    </a:lnTo>
                    <a:lnTo>
                      <a:pt x="643" y="426"/>
                    </a:lnTo>
                    <a:lnTo>
                      <a:pt x="632" y="457"/>
                    </a:lnTo>
                    <a:lnTo>
                      <a:pt x="618" y="485"/>
                    </a:lnTo>
                    <a:lnTo>
                      <a:pt x="602" y="512"/>
                    </a:lnTo>
                    <a:lnTo>
                      <a:pt x="583" y="538"/>
                    </a:lnTo>
                    <a:lnTo>
                      <a:pt x="562" y="561"/>
                    </a:lnTo>
                    <a:lnTo>
                      <a:pt x="538" y="582"/>
                    </a:lnTo>
                    <a:lnTo>
                      <a:pt x="514" y="601"/>
                    </a:lnTo>
                    <a:lnTo>
                      <a:pt x="485" y="618"/>
                    </a:lnTo>
                    <a:lnTo>
                      <a:pt x="457" y="632"/>
                    </a:lnTo>
                    <a:lnTo>
                      <a:pt x="426" y="642"/>
                    </a:lnTo>
                    <a:lnTo>
                      <a:pt x="412" y="648"/>
                    </a:lnTo>
                    <a:lnTo>
                      <a:pt x="395" y="651"/>
                    </a:lnTo>
                    <a:lnTo>
                      <a:pt x="379" y="653"/>
                    </a:lnTo>
                    <a:lnTo>
                      <a:pt x="363" y="656"/>
                    </a:lnTo>
                    <a:lnTo>
                      <a:pt x="346" y="657"/>
                    </a:lnTo>
                    <a:lnTo>
                      <a:pt x="330" y="657"/>
                    </a:lnTo>
                    <a:lnTo>
                      <a:pt x="330" y="657"/>
                    </a:lnTo>
                    <a:close/>
                    <a:moveTo>
                      <a:pt x="330" y="38"/>
                    </a:moveTo>
                    <a:lnTo>
                      <a:pt x="330" y="38"/>
                    </a:lnTo>
                    <a:lnTo>
                      <a:pt x="300" y="39"/>
                    </a:lnTo>
                    <a:lnTo>
                      <a:pt x="270" y="43"/>
                    </a:lnTo>
                    <a:lnTo>
                      <a:pt x="242" y="50"/>
                    </a:lnTo>
                    <a:lnTo>
                      <a:pt x="215" y="61"/>
                    </a:lnTo>
                    <a:lnTo>
                      <a:pt x="191" y="73"/>
                    </a:lnTo>
                    <a:lnTo>
                      <a:pt x="167" y="88"/>
                    </a:lnTo>
                    <a:lnTo>
                      <a:pt x="144" y="104"/>
                    </a:lnTo>
                    <a:lnTo>
                      <a:pt x="124" y="123"/>
                    </a:lnTo>
                    <a:lnTo>
                      <a:pt x="105" y="144"/>
                    </a:lnTo>
                    <a:lnTo>
                      <a:pt x="88" y="166"/>
                    </a:lnTo>
                    <a:lnTo>
                      <a:pt x="73" y="190"/>
                    </a:lnTo>
                    <a:lnTo>
                      <a:pt x="61" y="215"/>
                    </a:lnTo>
                    <a:lnTo>
                      <a:pt x="52" y="242"/>
                    </a:lnTo>
                    <a:lnTo>
                      <a:pt x="43" y="270"/>
                    </a:lnTo>
                    <a:lnTo>
                      <a:pt x="39" y="299"/>
                    </a:lnTo>
                    <a:lnTo>
                      <a:pt x="38" y="328"/>
                    </a:lnTo>
                    <a:lnTo>
                      <a:pt x="38" y="328"/>
                    </a:lnTo>
                    <a:lnTo>
                      <a:pt x="39" y="359"/>
                    </a:lnTo>
                    <a:lnTo>
                      <a:pt x="43" y="387"/>
                    </a:lnTo>
                    <a:lnTo>
                      <a:pt x="52" y="415"/>
                    </a:lnTo>
                    <a:lnTo>
                      <a:pt x="61" y="442"/>
                    </a:lnTo>
                    <a:lnTo>
                      <a:pt x="73" y="468"/>
                    </a:lnTo>
                    <a:lnTo>
                      <a:pt x="88" y="492"/>
                    </a:lnTo>
                    <a:lnTo>
                      <a:pt x="105" y="514"/>
                    </a:lnTo>
                    <a:lnTo>
                      <a:pt x="124" y="535"/>
                    </a:lnTo>
                    <a:lnTo>
                      <a:pt x="144" y="554"/>
                    </a:lnTo>
                    <a:lnTo>
                      <a:pt x="167" y="570"/>
                    </a:lnTo>
                    <a:lnTo>
                      <a:pt x="191" y="585"/>
                    </a:lnTo>
                    <a:lnTo>
                      <a:pt x="215" y="597"/>
                    </a:lnTo>
                    <a:lnTo>
                      <a:pt x="242" y="608"/>
                    </a:lnTo>
                    <a:lnTo>
                      <a:pt x="270" y="614"/>
                    </a:lnTo>
                    <a:lnTo>
                      <a:pt x="300" y="618"/>
                    </a:lnTo>
                    <a:lnTo>
                      <a:pt x="330" y="620"/>
                    </a:lnTo>
                    <a:lnTo>
                      <a:pt x="330" y="620"/>
                    </a:lnTo>
                    <a:lnTo>
                      <a:pt x="359" y="618"/>
                    </a:lnTo>
                    <a:lnTo>
                      <a:pt x="387" y="614"/>
                    </a:lnTo>
                    <a:lnTo>
                      <a:pt x="416" y="608"/>
                    </a:lnTo>
                    <a:lnTo>
                      <a:pt x="442" y="597"/>
                    </a:lnTo>
                    <a:lnTo>
                      <a:pt x="468" y="585"/>
                    </a:lnTo>
                    <a:lnTo>
                      <a:pt x="492" y="570"/>
                    </a:lnTo>
                    <a:lnTo>
                      <a:pt x="515" y="554"/>
                    </a:lnTo>
                    <a:lnTo>
                      <a:pt x="535" y="535"/>
                    </a:lnTo>
                    <a:lnTo>
                      <a:pt x="554" y="514"/>
                    </a:lnTo>
                    <a:lnTo>
                      <a:pt x="570" y="492"/>
                    </a:lnTo>
                    <a:lnTo>
                      <a:pt x="585" y="468"/>
                    </a:lnTo>
                    <a:lnTo>
                      <a:pt x="597" y="442"/>
                    </a:lnTo>
                    <a:lnTo>
                      <a:pt x="608" y="415"/>
                    </a:lnTo>
                    <a:lnTo>
                      <a:pt x="614" y="387"/>
                    </a:lnTo>
                    <a:lnTo>
                      <a:pt x="618" y="359"/>
                    </a:lnTo>
                    <a:lnTo>
                      <a:pt x="621" y="328"/>
                    </a:lnTo>
                    <a:lnTo>
                      <a:pt x="621" y="328"/>
                    </a:lnTo>
                    <a:lnTo>
                      <a:pt x="618" y="299"/>
                    </a:lnTo>
                    <a:lnTo>
                      <a:pt x="614" y="270"/>
                    </a:lnTo>
                    <a:lnTo>
                      <a:pt x="608" y="242"/>
                    </a:lnTo>
                    <a:lnTo>
                      <a:pt x="597" y="215"/>
                    </a:lnTo>
                    <a:lnTo>
                      <a:pt x="585" y="190"/>
                    </a:lnTo>
                    <a:lnTo>
                      <a:pt x="570" y="166"/>
                    </a:lnTo>
                    <a:lnTo>
                      <a:pt x="554" y="144"/>
                    </a:lnTo>
                    <a:lnTo>
                      <a:pt x="535" y="123"/>
                    </a:lnTo>
                    <a:lnTo>
                      <a:pt x="515" y="104"/>
                    </a:lnTo>
                    <a:lnTo>
                      <a:pt x="492" y="88"/>
                    </a:lnTo>
                    <a:lnTo>
                      <a:pt x="468" y="73"/>
                    </a:lnTo>
                    <a:lnTo>
                      <a:pt x="442" y="61"/>
                    </a:lnTo>
                    <a:lnTo>
                      <a:pt x="416" y="50"/>
                    </a:lnTo>
                    <a:lnTo>
                      <a:pt x="387" y="43"/>
                    </a:lnTo>
                    <a:lnTo>
                      <a:pt x="359" y="39"/>
                    </a:lnTo>
                    <a:lnTo>
                      <a:pt x="330" y="38"/>
                    </a:lnTo>
                    <a:lnTo>
                      <a:pt x="33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3" name="Freeform 287">
                <a:extLst>
                  <a:ext uri="{FF2B5EF4-FFF2-40B4-BE49-F238E27FC236}">
                    <a16:creationId xmlns:a16="http://schemas.microsoft.com/office/drawing/2014/main" id="{43F7527D-CD6E-49EC-86B0-C7AC74010096}"/>
                  </a:ext>
                </a:extLst>
              </p:cNvPr>
              <p:cNvSpPr>
                <a:spLocks/>
              </p:cNvSpPr>
              <p:nvPr/>
            </p:nvSpPr>
            <p:spPr bwMode="auto">
              <a:xfrm>
                <a:off x="1608138" y="6022975"/>
                <a:ext cx="174625" cy="188913"/>
              </a:xfrm>
              <a:custGeom>
                <a:avLst/>
                <a:gdLst>
                  <a:gd name="T0" fmla="*/ 215 w 219"/>
                  <a:gd name="T1" fmla="*/ 0 h 238"/>
                  <a:gd name="T2" fmla="*/ 172 w 219"/>
                  <a:gd name="T3" fmla="*/ 0 h 238"/>
                  <a:gd name="T4" fmla="*/ 172 w 219"/>
                  <a:gd name="T5" fmla="*/ 34 h 238"/>
                  <a:gd name="T6" fmla="*/ 172 w 219"/>
                  <a:gd name="T7" fmla="*/ 34 h 238"/>
                  <a:gd name="T8" fmla="*/ 171 w 219"/>
                  <a:gd name="T9" fmla="*/ 39 h 238"/>
                  <a:gd name="T10" fmla="*/ 168 w 219"/>
                  <a:gd name="T11" fmla="*/ 44 h 238"/>
                  <a:gd name="T12" fmla="*/ 163 w 219"/>
                  <a:gd name="T13" fmla="*/ 47 h 238"/>
                  <a:gd name="T14" fmla="*/ 158 w 219"/>
                  <a:gd name="T15" fmla="*/ 48 h 238"/>
                  <a:gd name="T16" fmla="*/ 158 w 219"/>
                  <a:gd name="T17" fmla="*/ 48 h 238"/>
                  <a:gd name="T18" fmla="*/ 152 w 219"/>
                  <a:gd name="T19" fmla="*/ 47 h 238"/>
                  <a:gd name="T20" fmla="*/ 148 w 219"/>
                  <a:gd name="T21" fmla="*/ 44 h 238"/>
                  <a:gd name="T22" fmla="*/ 144 w 219"/>
                  <a:gd name="T23" fmla="*/ 39 h 238"/>
                  <a:gd name="T24" fmla="*/ 144 w 219"/>
                  <a:gd name="T25" fmla="*/ 34 h 238"/>
                  <a:gd name="T26" fmla="*/ 144 w 219"/>
                  <a:gd name="T27" fmla="*/ 0 h 238"/>
                  <a:gd name="T28" fmla="*/ 77 w 219"/>
                  <a:gd name="T29" fmla="*/ 0 h 238"/>
                  <a:gd name="T30" fmla="*/ 77 w 219"/>
                  <a:gd name="T31" fmla="*/ 34 h 238"/>
                  <a:gd name="T32" fmla="*/ 77 w 219"/>
                  <a:gd name="T33" fmla="*/ 34 h 238"/>
                  <a:gd name="T34" fmla="*/ 76 w 219"/>
                  <a:gd name="T35" fmla="*/ 39 h 238"/>
                  <a:gd name="T36" fmla="*/ 73 w 219"/>
                  <a:gd name="T37" fmla="*/ 44 h 238"/>
                  <a:gd name="T38" fmla="*/ 69 w 219"/>
                  <a:gd name="T39" fmla="*/ 47 h 238"/>
                  <a:gd name="T40" fmla="*/ 62 w 219"/>
                  <a:gd name="T41" fmla="*/ 48 h 238"/>
                  <a:gd name="T42" fmla="*/ 62 w 219"/>
                  <a:gd name="T43" fmla="*/ 48 h 238"/>
                  <a:gd name="T44" fmla="*/ 57 w 219"/>
                  <a:gd name="T45" fmla="*/ 47 h 238"/>
                  <a:gd name="T46" fmla="*/ 53 w 219"/>
                  <a:gd name="T47" fmla="*/ 44 h 238"/>
                  <a:gd name="T48" fmla="*/ 50 w 219"/>
                  <a:gd name="T49" fmla="*/ 39 h 238"/>
                  <a:gd name="T50" fmla="*/ 49 w 219"/>
                  <a:gd name="T51" fmla="*/ 34 h 238"/>
                  <a:gd name="T52" fmla="*/ 49 w 219"/>
                  <a:gd name="T53" fmla="*/ 0 h 238"/>
                  <a:gd name="T54" fmla="*/ 6 w 219"/>
                  <a:gd name="T55" fmla="*/ 0 h 238"/>
                  <a:gd name="T56" fmla="*/ 6 w 219"/>
                  <a:gd name="T57" fmla="*/ 0 h 238"/>
                  <a:gd name="T58" fmla="*/ 2 w 219"/>
                  <a:gd name="T59" fmla="*/ 1 h 238"/>
                  <a:gd name="T60" fmla="*/ 0 w 219"/>
                  <a:gd name="T61" fmla="*/ 5 h 238"/>
                  <a:gd name="T62" fmla="*/ 0 w 219"/>
                  <a:gd name="T63" fmla="*/ 234 h 238"/>
                  <a:gd name="T64" fmla="*/ 0 w 219"/>
                  <a:gd name="T65" fmla="*/ 234 h 238"/>
                  <a:gd name="T66" fmla="*/ 2 w 219"/>
                  <a:gd name="T67" fmla="*/ 236 h 238"/>
                  <a:gd name="T68" fmla="*/ 6 w 219"/>
                  <a:gd name="T69" fmla="*/ 238 h 238"/>
                  <a:gd name="T70" fmla="*/ 215 w 219"/>
                  <a:gd name="T71" fmla="*/ 238 h 238"/>
                  <a:gd name="T72" fmla="*/ 215 w 219"/>
                  <a:gd name="T73" fmla="*/ 238 h 238"/>
                  <a:gd name="T74" fmla="*/ 218 w 219"/>
                  <a:gd name="T75" fmla="*/ 236 h 238"/>
                  <a:gd name="T76" fmla="*/ 219 w 219"/>
                  <a:gd name="T77" fmla="*/ 234 h 238"/>
                  <a:gd name="T78" fmla="*/ 219 w 219"/>
                  <a:gd name="T79" fmla="*/ 5 h 238"/>
                  <a:gd name="T80" fmla="*/ 219 w 219"/>
                  <a:gd name="T81" fmla="*/ 5 h 238"/>
                  <a:gd name="T82" fmla="*/ 218 w 219"/>
                  <a:gd name="T83" fmla="*/ 1 h 238"/>
                  <a:gd name="T84" fmla="*/ 215 w 219"/>
                  <a:gd name="T85" fmla="*/ 0 h 238"/>
                  <a:gd name="T86" fmla="*/ 215 w 219"/>
                  <a:gd name="T87"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9" h="238">
                    <a:moveTo>
                      <a:pt x="215" y="0"/>
                    </a:moveTo>
                    <a:lnTo>
                      <a:pt x="172" y="0"/>
                    </a:lnTo>
                    <a:lnTo>
                      <a:pt x="172" y="34"/>
                    </a:lnTo>
                    <a:lnTo>
                      <a:pt x="172" y="34"/>
                    </a:lnTo>
                    <a:lnTo>
                      <a:pt x="171" y="39"/>
                    </a:lnTo>
                    <a:lnTo>
                      <a:pt x="168" y="44"/>
                    </a:lnTo>
                    <a:lnTo>
                      <a:pt x="163" y="47"/>
                    </a:lnTo>
                    <a:lnTo>
                      <a:pt x="158" y="48"/>
                    </a:lnTo>
                    <a:lnTo>
                      <a:pt x="158" y="48"/>
                    </a:lnTo>
                    <a:lnTo>
                      <a:pt x="152" y="47"/>
                    </a:lnTo>
                    <a:lnTo>
                      <a:pt x="148" y="44"/>
                    </a:lnTo>
                    <a:lnTo>
                      <a:pt x="144" y="39"/>
                    </a:lnTo>
                    <a:lnTo>
                      <a:pt x="144" y="34"/>
                    </a:lnTo>
                    <a:lnTo>
                      <a:pt x="144" y="0"/>
                    </a:lnTo>
                    <a:lnTo>
                      <a:pt x="77" y="0"/>
                    </a:lnTo>
                    <a:lnTo>
                      <a:pt x="77" y="34"/>
                    </a:lnTo>
                    <a:lnTo>
                      <a:pt x="77" y="34"/>
                    </a:lnTo>
                    <a:lnTo>
                      <a:pt x="76" y="39"/>
                    </a:lnTo>
                    <a:lnTo>
                      <a:pt x="73" y="44"/>
                    </a:lnTo>
                    <a:lnTo>
                      <a:pt x="69" y="47"/>
                    </a:lnTo>
                    <a:lnTo>
                      <a:pt x="62" y="48"/>
                    </a:lnTo>
                    <a:lnTo>
                      <a:pt x="62" y="48"/>
                    </a:lnTo>
                    <a:lnTo>
                      <a:pt x="57" y="47"/>
                    </a:lnTo>
                    <a:lnTo>
                      <a:pt x="53" y="44"/>
                    </a:lnTo>
                    <a:lnTo>
                      <a:pt x="50" y="39"/>
                    </a:lnTo>
                    <a:lnTo>
                      <a:pt x="49" y="34"/>
                    </a:lnTo>
                    <a:lnTo>
                      <a:pt x="49" y="0"/>
                    </a:lnTo>
                    <a:lnTo>
                      <a:pt x="6" y="0"/>
                    </a:lnTo>
                    <a:lnTo>
                      <a:pt x="6" y="0"/>
                    </a:lnTo>
                    <a:lnTo>
                      <a:pt x="2" y="1"/>
                    </a:lnTo>
                    <a:lnTo>
                      <a:pt x="0" y="5"/>
                    </a:lnTo>
                    <a:lnTo>
                      <a:pt x="0" y="234"/>
                    </a:lnTo>
                    <a:lnTo>
                      <a:pt x="0" y="234"/>
                    </a:lnTo>
                    <a:lnTo>
                      <a:pt x="2" y="236"/>
                    </a:lnTo>
                    <a:lnTo>
                      <a:pt x="6" y="238"/>
                    </a:lnTo>
                    <a:lnTo>
                      <a:pt x="215" y="238"/>
                    </a:lnTo>
                    <a:lnTo>
                      <a:pt x="215" y="238"/>
                    </a:lnTo>
                    <a:lnTo>
                      <a:pt x="218" y="236"/>
                    </a:lnTo>
                    <a:lnTo>
                      <a:pt x="219" y="234"/>
                    </a:lnTo>
                    <a:lnTo>
                      <a:pt x="219" y="5"/>
                    </a:lnTo>
                    <a:lnTo>
                      <a:pt x="219" y="5"/>
                    </a:lnTo>
                    <a:lnTo>
                      <a:pt x="218" y="1"/>
                    </a:lnTo>
                    <a:lnTo>
                      <a:pt x="215" y="0"/>
                    </a:lnTo>
                    <a:lnTo>
                      <a:pt x="2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4" name="Freeform 288">
                <a:extLst>
                  <a:ext uri="{FF2B5EF4-FFF2-40B4-BE49-F238E27FC236}">
                    <a16:creationId xmlns:a16="http://schemas.microsoft.com/office/drawing/2014/main" id="{1DD2AB76-D082-40FF-A9F7-AC08669B04CC}"/>
                  </a:ext>
                </a:extLst>
              </p:cNvPr>
              <p:cNvSpPr>
                <a:spLocks/>
              </p:cNvSpPr>
              <p:nvPr/>
            </p:nvSpPr>
            <p:spPr bwMode="auto">
              <a:xfrm>
                <a:off x="1654176" y="5978525"/>
                <a:ext cx="82550" cy="74613"/>
              </a:xfrm>
              <a:custGeom>
                <a:avLst/>
                <a:gdLst>
                  <a:gd name="T0" fmla="*/ 100 w 105"/>
                  <a:gd name="T1" fmla="*/ 95 h 95"/>
                  <a:gd name="T2" fmla="*/ 100 w 105"/>
                  <a:gd name="T3" fmla="*/ 95 h 95"/>
                  <a:gd name="T4" fmla="*/ 97 w 105"/>
                  <a:gd name="T5" fmla="*/ 94 h 95"/>
                  <a:gd name="T6" fmla="*/ 96 w 105"/>
                  <a:gd name="T7" fmla="*/ 90 h 95"/>
                  <a:gd name="T8" fmla="*/ 96 w 105"/>
                  <a:gd name="T9" fmla="*/ 52 h 95"/>
                  <a:gd name="T10" fmla="*/ 96 w 105"/>
                  <a:gd name="T11" fmla="*/ 52 h 95"/>
                  <a:gd name="T12" fmla="*/ 94 w 105"/>
                  <a:gd name="T13" fmla="*/ 43 h 95"/>
                  <a:gd name="T14" fmla="*/ 92 w 105"/>
                  <a:gd name="T15" fmla="*/ 35 h 95"/>
                  <a:gd name="T16" fmla="*/ 88 w 105"/>
                  <a:gd name="T17" fmla="*/ 28 h 95"/>
                  <a:gd name="T18" fmla="*/ 82 w 105"/>
                  <a:gd name="T19" fmla="*/ 21 h 95"/>
                  <a:gd name="T20" fmla="*/ 77 w 105"/>
                  <a:gd name="T21" fmla="*/ 16 h 95"/>
                  <a:gd name="T22" fmla="*/ 69 w 105"/>
                  <a:gd name="T23" fmla="*/ 12 h 95"/>
                  <a:gd name="T24" fmla="*/ 61 w 105"/>
                  <a:gd name="T25" fmla="*/ 9 h 95"/>
                  <a:gd name="T26" fmla="*/ 53 w 105"/>
                  <a:gd name="T27" fmla="*/ 9 h 95"/>
                  <a:gd name="T28" fmla="*/ 53 w 105"/>
                  <a:gd name="T29" fmla="*/ 9 h 95"/>
                  <a:gd name="T30" fmla="*/ 43 w 105"/>
                  <a:gd name="T31" fmla="*/ 9 h 95"/>
                  <a:gd name="T32" fmla="*/ 35 w 105"/>
                  <a:gd name="T33" fmla="*/ 12 h 95"/>
                  <a:gd name="T34" fmla="*/ 28 w 105"/>
                  <a:gd name="T35" fmla="*/ 16 h 95"/>
                  <a:gd name="T36" fmla="*/ 22 w 105"/>
                  <a:gd name="T37" fmla="*/ 21 h 95"/>
                  <a:gd name="T38" fmla="*/ 16 w 105"/>
                  <a:gd name="T39" fmla="*/ 28 h 95"/>
                  <a:gd name="T40" fmla="*/ 12 w 105"/>
                  <a:gd name="T41" fmla="*/ 35 h 95"/>
                  <a:gd name="T42" fmla="*/ 11 w 105"/>
                  <a:gd name="T43" fmla="*/ 43 h 95"/>
                  <a:gd name="T44" fmla="*/ 10 w 105"/>
                  <a:gd name="T45" fmla="*/ 52 h 95"/>
                  <a:gd name="T46" fmla="*/ 10 w 105"/>
                  <a:gd name="T47" fmla="*/ 90 h 95"/>
                  <a:gd name="T48" fmla="*/ 10 w 105"/>
                  <a:gd name="T49" fmla="*/ 90 h 95"/>
                  <a:gd name="T50" fmla="*/ 8 w 105"/>
                  <a:gd name="T51" fmla="*/ 94 h 95"/>
                  <a:gd name="T52" fmla="*/ 4 w 105"/>
                  <a:gd name="T53" fmla="*/ 95 h 95"/>
                  <a:gd name="T54" fmla="*/ 4 w 105"/>
                  <a:gd name="T55" fmla="*/ 95 h 95"/>
                  <a:gd name="T56" fmla="*/ 2 w 105"/>
                  <a:gd name="T57" fmla="*/ 94 h 95"/>
                  <a:gd name="T58" fmla="*/ 0 w 105"/>
                  <a:gd name="T59" fmla="*/ 90 h 95"/>
                  <a:gd name="T60" fmla="*/ 0 w 105"/>
                  <a:gd name="T61" fmla="*/ 52 h 95"/>
                  <a:gd name="T62" fmla="*/ 0 w 105"/>
                  <a:gd name="T63" fmla="*/ 52 h 95"/>
                  <a:gd name="T64" fmla="*/ 2 w 105"/>
                  <a:gd name="T65" fmla="*/ 41 h 95"/>
                  <a:gd name="T66" fmla="*/ 4 w 105"/>
                  <a:gd name="T67" fmla="*/ 31 h 95"/>
                  <a:gd name="T68" fmla="*/ 8 w 105"/>
                  <a:gd name="T69" fmla="*/ 22 h 95"/>
                  <a:gd name="T70" fmla="*/ 15 w 105"/>
                  <a:gd name="T71" fmla="*/ 14 h 95"/>
                  <a:gd name="T72" fmla="*/ 23 w 105"/>
                  <a:gd name="T73" fmla="*/ 8 h 95"/>
                  <a:gd name="T74" fmla="*/ 32 w 105"/>
                  <a:gd name="T75" fmla="*/ 4 h 95"/>
                  <a:gd name="T76" fmla="*/ 42 w 105"/>
                  <a:gd name="T77" fmla="*/ 1 h 95"/>
                  <a:gd name="T78" fmla="*/ 53 w 105"/>
                  <a:gd name="T79" fmla="*/ 0 h 95"/>
                  <a:gd name="T80" fmla="*/ 53 w 105"/>
                  <a:gd name="T81" fmla="*/ 0 h 95"/>
                  <a:gd name="T82" fmla="*/ 63 w 105"/>
                  <a:gd name="T83" fmla="*/ 1 h 95"/>
                  <a:gd name="T84" fmla="*/ 73 w 105"/>
                  <a:gd name="T85" fmla="*/ 4 h 95"/>
                  <a:gd name="T86" fmla="*/ 82 w 105"/>
                  <a:gd name="T87" fmla="*/ 8 h 95"/>
                  <a:gd name="T88" fmla="*/ 89 w 105"/>
                  <a:gd name="T89" fmla="*/ 14 h 95"/>
                  <a:gd name="T90" fmla="*/ 96 w 105"/>
                  <a:gd name="T91" fmla="*/ 22 h 95"/>
                  <a:gd name="T92" fmla="*/ 101 w 105"/>
                  <a:gd name="T93" fmla="*/ 31 h 95"/>
                  <a:gd name="T94" fmla="*/ 104 w 105"/>
                  <a:gd name="T95" fmla="*/ 41 h 95"/>
                  <a:gd name="T96" fmla="*/ 105 w 105"/>
                  <a:gd name="T97" fmla="*/ 52 h 95"/>
                  <a:gd name="T98" fmla="*/ 105 w 105"/>
                  <a:gd name="T99" fmla="*/ 90 h 95"/>
                  <a:gd name="T100" fmla="*/ 105 w 105"/>
                  <a:gd name="T101" fmla="*/ 90 h 95"/>
                  <a:gd name="T102" fmla="*/ 104 w 105"/>
                  <a:gd name="T103" fmla="*/ 94 h 95"/>
                  <a:gd name="T104" fmla="*/ 100 w 105"/>
                  <a:gd name="T105" fmla="*/ 95 h 95"/>
                  <a:gd name="T106" fmla="*/ 100 w 105"/>
                  <a:gd name="T107"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5" h="95">
                    <a:moveTo>
                      <a:pt x="100" y="95"/>
                    </a:moveTo>
                    <a:lnTo>
                      <a:pt x="100" y="95"/>
                    </a:lnTo>
                    <a:lnTo>
                      <a:pt x="97" y="94"/>
                    </a:lnTo>
                    <a:lnTo>
                      <a:pt x="96" y="90"/>
                    </a:lnTo>
                    <a:lnTo>
                      <a:pt x="96" y="52"/>
                    </a:lnTo>
                    <a:lnTo>
                      <a:pt x="96" y="52"/>
                    </a:lnTo>
                    <a:lnTo>
                      <a:pt x="94" y="43"/>
                    </a:lnTo>
                    <a:lnTo>
                      <a:pt x="92" y="35"/>
                    </a:lnTo>
                    <a:lnTo>
                      <a:pt x="88" y="28"/>
                    </a:lnTo>
                    <a:lnTo>
                      <a:pt x="82" y="21"/>
                    </a:lnTo>
                    <a:lnTo>
                      <a:pt x="77" y="16"/>
                    </a:lnTo>
                    <a:lnTo>
                      <a:pt x="69" y="12"/>
                    </a:lnTo>
                    <a:lnTo>
                      <a:pt x="61" y="9"/>
                    </a:lnTo>
                    <a:lnTo>
                      <a:pt x="53" y="9"/>
                    </a:lnTo>
                    <a:lnTo>
                      <a:pt x="53" y="9"/>
                    </a:lnTo>
                    <a:lnTo>
                      <a:pt x="43" y="9"/>
                    </a:lnTo>
                    <a:lnTo>
                      <a:pt x="35" y="12"/>
                    </a:lnTo>
                    <a:lnTo>
                      <a:pt x="28" y="16"/>
                    </a:lnTo>
                    <a:lnTo>
                      <a:pt x="22" y="21"/>
                    </a:lnTo>
                    <a:lnTo>
                      <a:pt x="16" y="28"/>
                    </a:lnTo>
                    <a:lnTo>
                      <a:pt x="12" y="35"/>
                    </a:lnTo>
                    <a:lnTo>
                      <a:pt x="11" y="43"/>
                    </a:lnTo>
                    <a:lnTo>
                      <a:pt x="10" y="52"/>
                    </a:lnTo>
                    <a:lnTo>
                      <a:pt x="10" y="90"/>
                    </a:lnTo>
                    <a:lnTo>
                      <a:pt x="10" y="90"/>
                    </a:lnTo>
                    <a:lnTo>
                      <a:pt x="8" y="94"/>
                    </a:lnTo>
                    <a:lnTo>
                      <a:pt x="4" y="95"/>
                    </a:lnTo>
                    <a:lnTo>
                      <a:pt x="4" y="95"/>
                    </a:lnTo>
                    <a:lnTo>
                      <a:pt x="2" y="94"/>
                    </a:lnTo>
                    <a:lnTo>
                      <a:pt x="0" y="90"/>
                    </a:lnTo>
                    <a:lnTo>
                      <a:pt x="0" y="52"/>
                    </a:lnTo>
                    <a:lnTo>
                      <a:pt x="0" y="52"/>
                    </a:lnTo>
                    <a:lnTo>
                      <a:pt x="2" y="41"/>
                    </a:lnTo>
                    <a:lnTo>
                      <a:pt x="4" y="31"/>
                    </a:lnTo>
                    <a:lnTo>
                      <a:pt x="8" y="22"/>
                    </a:lnTo>
                    <a:lnTo>
                      <a:pt x="15" y="14"/>
                    </a:lnTo>
                    <a:lnTo>
                      <a:pt x="23" y="8"/>
                    </a:lnTo>
                    <a:lnTo>
                      <a:pt x="32" y="4"/>
                    </a:lnTo>
                    <a:lnTo>
                      <a:pt x="42" y="1"/>
                    </a:lnTo>
                    <a:lnTo>
                      <a:pt x="53" y="0"/>
                    </a:lnTo>
                    <a:lnTo>
                      <a:pt x="53" y="0"/>
                    </a:lnTo>
                    <a:lnTo>
                      <a:pt x="63" y="1"/>
                    </a:lnTo>
                    <a:lnTo>
                      <a:pt x="73" y="4"/>
                    </a:lnTo>
                    <a:lnTo>
                      <a:pt x="82" y="8"/>
                    </a:lnTo>
                    <a:lnTo>
                      <a:pt x="89" y="14"/>
                    </a:lnTo>
                    <a:lnTo>
                      <a:pt x="96" y="22"/>
                    </a:lnTo>
                    <a:lnTo>
                      <a:pt x="101" y="31"/>
                    </a:lnTo>
                    <a:lnTo>
                      <a:pt x="104" y="41"/>
                    </a:lnTo>
                    <a:lnTo>
                      <a:pt x="105" y="52"/>
                    </a:lnTo>
                    <a:lnTo>
                      <a:pt x="105" y="90"/>
                    </a:lnTo>
                    <a:lnTo>
                      <a:pt x="105" y="90"/>
                    </a:lnTo>
                    <a:lnTo>
                      <a:pt x="104" y="94"/>
                    </a:lnTo>
                    <a:lnTo>
                      <a:pt x="100" y="95"/>
                    </a:lnTo>
                    <a:lnTo>
                      <a:pt x="100" y="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cxnSp>
          <p:nvCxnSpPr>
            <p:cNvPr id="31" name="Straight Connector 30">
              <a:extLst>
                <a:ext uri="{FF2B5EF4-FFF2-40B4-BE49-F238E27FC236}">
                  <a16:creationId xmlns:a16="http://schemas.microsoft.com/office/drawing/2014/main" id="{A6CA44D4-3720-41D0-92B9-3E3E7AF8F226}"/>
                </a:ext>
              </a:extLst>
            </p:cNvPr>
            <p:cNvCxnSpPr/>
            <p:nvPr/>
          </p:nvCxnSpPr>
          <p:spPr>
            <a:xfrm>
              <a:off x="1642112" y="4401675"/>
              <a:ext cx="0" cy="73453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35" name="Group 34">
            <a:extLst>
              <a:ext uri="{FF2B5EF4-FFF2-40B4-BE49-F238E27FC236}">
                <a16:creationId xmlns:a16="http://schemas.microsoft.com/office/drawing/2014/main" id="{2BF1E342-AE7D-4E6C-B11B-38964FE2CDBB}"/>
              </a:ext>
            </a:extLst>
          </p:cNvPr>
          <p:cNvGrpSpPr/>
          <p:nvPr/>
        </p:nvGrpSpPr>
        <p:grpSpPr>
          <a:xfrm>
            <a:off x="886568" y="5437782"/>
            <a:ext cx="4642963" cy="734530"/>
            <a:chOff x="886568" y="5362904"/>
            <a:chExt cx="4642963" cy="734530"/>
          </a:xfrm>
        </p:grpSpPr>
        <p:sp>
          <p:nvSpPr>
            <p:cNvPr id="36" name="Rectangle 35">
              <a:extLst>
                <a:ext uri="{FF2B5EF4-FFF2-40B4-BE49-F238E27FC236}">
                  <a16:creationId xmlns:a16="http://schemas.microsoft.com/office/drawing/2014/main" id="{10DF3C9E-F948-481E-9FEF-BE4F2D2A01AC}"/>
                </a:ext>
              </a:extLst>
            </p:cNvPr>
            <p:cNvSpPr/>
            <p:nvPr/>
          </p:nvSpPr>
          <p:spPr>
            <a:xfrm>
              <a:off x="1814276" y="5437782"/>
              <a:ext cx="3715255" cy="584775"/>
            </a:xfrm>
            <a:prstGeom prst="rect">
              <a:avLst/>
            </a:prstGeom>
          </p:spPr>
          <p:txBody>
            <a:bodyPr wrap="square">
              <a:spAutoFit/>
            </a:bodyPr>
            <a:lstStyle/>
            <a:p>
              <a:pPr marL="0" marR="0" lvl="0" indent="0" algn="l" defTabSz="1216122"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Brand Perception</a:t>
              </a:r>
            </a:p>
            <a:p>
              <a:pPr marL="0" marR="0" lvl="0" indent="0" algn="l" defTabSz="1216122"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effective communication of brand positioning through overall customer experience and pricing</a:t>
              </a:r>
              <a:r>
                <a:rPr kumimoji="0" lang="en-US" sz="105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p>
          </p:txBody>
        </p:sp>
        <p:grpSp>
          <p:nvGrpSpPr>
            <p:cNvPr id="37" name="Group 36">
              <a:extLst>
                <a:ext uri="{FF2B5EF4-FFF2-40B4-BE49-F238E27FC236}">
                  <a16:creationId xmlns:a16="http://schemas.microsoft.com/office/drawing/2014/main" id="{84FBBA55-052F-4C2B-8798-5E690143EF7B}"/>
                </a:ext>
              </a:extLst>
            </p:cNvPr>
            <p:cNvGrpSpPr>
              <a:grpSpLocks noChangeAspect="1"/>
            </p:cNvGrpSpPr>
            <p:nvPr/>
          </p:nvGrpSpPr>
          <p:grpSpPr>
            <a:xfrm>
              <a:off x="886568" y="5469025"/>
              <a:ext cx="522288" cy="522288"/>
              <a:chOff x="3194051" y="2502535"/>
              <a:chExt cx="522288" cy="522288"/>
            </a:xfrm>
            <a:solidFill>
              <a:schemeClr val="tx1"/>
            </a:solidFill>
          </p:grpSpPr>
          <p:sp>
            <p:nvSpPr>
              <p:cNvPr id="39" name="Freeform 28">
                <a:extLst>
                  <a:ext uri="{FF2B5EF4-FFF2-40B4-BE49-F238E27FC236}">
                    <a16:creationId xmlns:a16="http://schemas.microsoft.com/office/drawing/2014/main" id="{776FFFF0-5B89-4F3E-895D-F51185ECD16D}"/>
                  </a:ext>
                </a:extLst>
              </p:cNvPr>
              <p:cNvSpPr>
                <a:spLocks noEditPoints="1"/>
              </p:cNvSpPr>
              <p:nvPr/>
            </p:nvSpPr>
            <p:spPr bwMode="auto">
              <a:xfrm>
                <a:off x="3194051" y="2502535"/>
                <a:ext cx="522288" cy="522288"/>
              </a:xfrm>
              <a:custGeom>
                <a:avLst/>
                <a:gdLst>
                  <a:gd name="T0" fmla="*/ 312 w 659"/>
                  <a:gd name="T1" fmla="*/ 657 h 657"/>
                  <a:gd name="T2" fmla="*/ 262 w 659"/>
                  <a:gd name="T3" fmla="*/ 652 h 657"/>
                  <a:gd name="T4" fmla="*/ 202 w 659"/>
                  <a:gd name="T5" fmla="*/ 632 h 657"/>
                  <a:gd name="T6" fmla="*/ 120 w 659"/>
                  <a:gd name="T7" fmla="*/ 583 h 657"/>
                  <a:gd name="T8" fmla="*/ 57 w 659"/>
                  <a:gd name="T9" fmla="*/ 512 h 657"/>
                  <a:gd name="T10" fmla="*/ 15 w 659"/>
                  <a:gd name="T11" fmla="*/ 426 h 657"/>
                  <a:gd name="T12" fmla="*/ 4 w 659"/>
                  <a:gd name="T13" fmla="*/ 379 h 657"/>
                  <a:gd name="T14" fmla="*/ 0 w 659"/>
                  <a:gd name="T15" fmla="*/ 329 h 657"/>
                  <a:gd name="T16" fmla="*/ 2 w 659"/>
                  <a:gd name="T17" fmla="*/ 296 h 657"/>
                  <a:gd name="T18" fmla="*/ 11 w 659"/>
                  <a:gd name="T19" fmla="*/ 247 h 657"/>
                  <a:gd name="T20" fmla="*/ 41 w 659"/>
                  <a:gd name="T21" fmla="*/ 172 h 657"/>
                  <a:gd name="T22" fmla="*/ 97 w 659"/>
                  <a:gd name="T23" fmla="*/ 97 h 657"/>
                  <a:gd name="T24" fmla="*/ 172 w 659"/>
                  <a:gd name="T25" fmla="*/ 40 h 657"/>
                  <a:gd name="T26" fmla="*/ 248 w 659"/>
                  <a:gd name="T27" fmla="*/ 11 h 657"/>
                  <a:gd name="T28" fmla="*/ 296 w 659"/>
                  <a:gd name="T29" fmla="*/ 1 h 657"/>
                  <a:gd name="T30" fmla="*/ 330 w 659"/>
                  <a:gd name="T31" fmla="*/ 0 h 657"/>
                  <a:gd name="T32" fmla="*/ 379 w 659"/>
                  <a:gd name="T33" fmla="*/ 4 h 657"/>
                  <a:gd name="T34" fmla="*/ 426 w 659"/>
                  <a:gd name="T35" fmla="*/ 15 h 657"/>
                  <a:gd name="T36" fmla="*/ 514 w 659"/>
                  <a:gd name="T37" fmla="*/ 56 h 657"/>
                  <a:gd name="T38" fmla="*/ 584 w 659"/>
                  <a:gd name="T39" fmla="*/ 120 h 657"/>
                  <a:gd name="T40" fmla="*/ 632 w 659"/>
                  <a:gd name="T41" fmla="*/ 202 h 657"/>
                  <a:gd name="T42" fmla="*/ 652 w 659"/>
                  <a:gd name="T43" fmla="*/ 262 h 657"/>
                  <a:gd name="T44" fmla="*/ 658 w 659"/>
                  <a:gd name="T45" fmla="*/ 312 h 657"/>
                  <a:gd name="T46" fmla="*/ 658 w 659"/>
                  <a:gd name="T47" fmla="*/ 345 h 657"/>
                  <a:gd name="T48" fmla="*/ 652 w 659"/>
                  <a:gd name="T49" fmla="*/ 395 h 657"/>
                  <a:gd name="T50" fmla="*/ 632 w 659"/>
                  <a:gd name="T51" fmla="*/ 457 h 657"/>
                  <a:gd name="T52" fmla="*/ 584 w 659"/>
                  <a:gd name="T53" fmla="*/ 538 h 657"/>
                  <a:gd name="T54" fmla="*/ 514 w 659"/>
                  <a:gd name="T55" fmla="*/ 602 h 657"/>
                  <a:gd name="T56" fmla="*/ 426 w 659"/>
                  <a:gd name="T57" fmla="*/ 642 h 657"/>
                  <a:gd name="T58" fmla="*/ 379 w 659"/>
                  <a:gd name="T59" fmla="*/ 654 h 657"/>
                  <a:gd name="T60" fmla="*/ 330 w 659"/>
                  <a:gd name="T61" fmla="*/ 657 h 657"/>
                  <a:gd name="T62" fmla="*/ 330 w 659"/>
                  <a:gd name="T63" fmla="*/ 38 h 657"/>
                  <a:gd name="T64" fmla="*/ 242 w 659"/>
                  <a:gd name="T65" fmla="*/ 51 h 657"/>
                  <a:gd name="T66" fmla="*/ 167 w 659"/>
                  <a:gd name="T67" fmla="*/ 87 h 657"/>
                  <a:gd name="T68" fmla="*/ 105 w 659"/>
                  <a:gd name="T69" fmla="*/ 144 h 657"/>
                  <a:gd name="T70" fmla="*/ 61 w 659"/>
                  <a:gd name="T71" fmla="*/ 215 h 657"/>
                  <a:gd name="T72" fmla="*/ 39 w 659"/>
                  <a:gd name="T73" fmla="*/ 300 h 657"/>
                  <a:gd name="T74" fmla="*/ 39 w 659"/>
                  <a:gd name="T75" fmla="*/ 359 h 657"/>
                  <a:gd name="T76" fmla="*/ 61 w 659"/>
                  <a:gd name="T77" fmla="*/ 442 h 657"/>
                  <a:gd name="T78" fmla="*/ 105 w 659"/>
                  <a:gd name="T79" fmla="*/ 515 h 657"/>
                  <a:gd name="T80" fmla="*/ 167 w 659"/>
                  <a:gd name="T81" fmla="*/ 570 h 657"/>
                  <a:gd name="T82" fmla="*/ 242 w 659"/>
                  <a:gd name="T83" fmla="*/ 607 h 657"/>
                  <a:gd name="T84" fmla="*/ 330 w 659"/>
                  <a:gd name="T85" fmla="*/ 620 h 657"/>
                  <a:gd name="T86" fmla="*/ 387 w 659"/>
                  <a:gd name="T87" fmla="*/ 614 h 657"/>
                  <a:gd name="T88" fmla="*/ 468 w 659"/>
                  <a:gd name="T89" fmla="*/ 585 h 657"/>
                  <a:gd name="T90" fmla="*/ 535 w 659"/>
                  <a:gd name="T91" fmla="*/ 535 h 657"/>
                  <a:gd name="T92" fmla="*/ 585 w 659"/>
                  <a:gd name="T93" fmla="*/ 468 h 657"/>
                  <a:gd name="T94" fmla="*/ 615 w 659"/>
                  <a:gd name="T95" fmla="*/ 387 h 657"/>
                  <a:gd name="T96" fmla="*/ 621 w 659"/>
                  <a:gd name="T97" fmla="*/ 329 h 657"/>
                  <a:gd name="T98" fmla="*/ 608 w 659"/>
                  <a:gd name="T99" fmla="*/ 242 h 657"/>
                  <a:gd name="T100" fmla="*/ 570 w 659"/>
                  <a:gd name="T101" fmla="*/ 167 h 657"/>
                  <a:gd name="T102" fmla="*/ 515 w 659"/>
                  <a:gd name="T103" fmla="*/ 105 h 657"/>
                  <a:gd name="T104" fmla="*/ 443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6"/>
                    </a:lnTo>
                    <a:lnTo>
                      <a:pt x="280" y="654"/>
                    </a:lnTo>
                    <a:lnTo>
                      <a:pt x="262" y="652"/>
                    </a:lnTo>
                    <a:lnTo>
                      <a:pt x="248" y="648"/>
                    </a:lnTo>
                    <a:lnTo>
                      <a:pt x="232" y="642"/>
                    </a:lnTo>
                    <a:lnTo>
                      <a:pt x="202" y="632"/>
                    </a:lnTo>
                    <a:lnTo>
                      <a:pt x="172" y="618"/>
                    </a:lnTo>
                    <a:lnTo>
                      <a:pt x="146" y="602"/>
                    </a:lnTo>
                    <a:lnTo>
                      <a:pt x="120" y="583"/>
                    </a:lnTo>
                    <a:lnTo>
                      <a:pt x="97" y="562"/>
                    </a:lnTo>
                    <a:lnTo>
                      <a:pt x="76" y="538"/>
                    </a:lnTo>
                    <a:lnTo>
                      <a:pt x="57" y="512"/>
                    </a:lnTo>
                    <a:lnTo>
                      <a:pt x="41" y="485"/>
                    </a:lnTo>
                    <a:lnTo>
                      <a:pt x="26" y="457"/>
                    </a:lnTo>
                    <a:lnTo>
                      <a:pt x="15" y="426"/>
                    </a:lnTo>
                    <a:lnTo>
                      <a:pt x="11" y="411"/>
                    </a:lnTo>
                    <a:lnTo>
                      <a:pt x="7" y="395"/>
                    </a:lnTo>
                    <a:lnTo>
                      <a:pt x="4" y="379"/>
                    </a:lnTo>
                    <a:lnTo>
                      <a:pt x="2" y="363"/>
                    </a:lnTo>
                    <a:lnTo>
                      <a:pt x="0" y="345"/>
                    </a:lnTo>
                    <a:lnTo>
                      <a:pt x="0" y="329"/>
                    </a:lnTo>
                    <a:lnTo>
                      <a:pt x="0" y="329"/>
                    </a:lnTo>
                    <a:lnTo>
                      <a:pt x="0" y="312"/>
                    </a:lnTo>
                    <a:lnTo>
                      <a:pt x="2" y="296"/>
                    </a:lnTo>
                    <a:lnTo>
                      <a:pt x="4" y="279"/>
                    </a:lnTo>
                    <a:lnTo>
                      <a:pt x="7" y="262"/>
                    </a:lnTo>
                    <a:lnTo>
                      <a:pt x="11" y="247"/>
                    </a:lnTo>
                    <a:lnTo>
                      <a:pt x="15" y="231"/>
                    </a:lnTo>
                    <a:lnTo>
                      <a:pt x="26" y="202"/>
                    </a:lnTo>
                    <a:lnTo>
                      <a:pt x="41" y="172"/>
                    </a:lnTo>
                    <a:lnTo>
                      <a:pt x="57" y="145"/>
                    </a:lnTo>
                    <a:lnTo>
                      <a:pt x="76" y="120"/>
                    </a:lnTo>
                    <a:lnTo>
                      <a:pt x="97" y="97"/>
                    </a:lnTo>
                    <a:lnTo>
                      <a:pt x="120" y="75"/>
                    </a:lnTo>
                    <a:lnTo>
                      <a:pt x="146" y="56"/>
                    </a:lnTo>
                    <a:lnTo>
                      <a:pt x="172" y="40"/>
                    </a:lnTo>
                    <a:lnTo>
                      <a:pt x="202" y="25"/>
                    </a:lnTo>
                    <a:lnTo>
                      <a:pt x="232" y="15"/>
                    </a:lnTo>
                    <a:lnTo>
                      <a:pt x="248" y="11"/>
                    </a:lnTo>
                    <a:lnTo>
                      <a:pt x="262" y="7"/>
                    </a:lnTo>
                    <a:lnTo>
                      <a:pt x="280" y="4"/>
                    </a:lnTo>
                    <a:lnTo>
                      <a:pt x="296" y="1"/>
                    </a:lnTo>
                    <a:lnTo>
                      <a:pt x="312" y="0"/>
                    </a:lnTo>
                    <a:lnTo>
                      <a:pt x="330" y="0"/>
                    </a:lnTo>
                    <a:lnTo>
                      <a:pt x="330" y="0"/>
                    </a:lnTo>
                    <a:lnTo>
                      <a:pt x="346" y="0"/>
                    </a:lnTo>
                    <a:lnTo>
                      <a:pt x="363" y="1"/>
                    </a:lnTo>
                    <a:lnTo>
                      <a:pt x="379" y="4"/>
                    </a:lnTo>
                    <a:lnTo>
                      <a:pt x="395" y="7"/>
                    </a:lnTo>
                    <a:lnTo>
                      <a:pt x="412" y="11"/>
                    </a:lnTo>
                    <a:lnTo>
                      <a:pt x="426" y="15"/>
                    </a:lnTo>
                    <a:lnTo>
                      <a:pt x="457" y="25"/>
                    </a:lnTo>
                    <a:lnTo>
                      <a:pt x="486" y="40"/>
                    </a:lnTo>
                    <a:lnTo>
                      <a:pt x="514" y="56"/>
                    </a:lnTo>
                    <a:lnTo>
                      <a:pt x="538" y="75"/>
                    </a:lnTo>
                    <a:lnTo>
                      <a:pt x="562" y="97"/>
                    </a:lnTo>
                    <a:lnTo>
                      <a:pt x="584" y="120"/>
                    </a:lnTo>
                    <a:lnTo>
                      <a:pt x="602" y="145"/>
                    </a:lnTo>
                    <a:lnTo>
                      <a:pt x="619" y="172"/>
                    </a:lnTo>
                    <a:lnTo>
                      <a:pt x="632" y="202"/>
                    </a:lnTo>
                    <a:lnTo>
                      <a:pt x="644" y="231"/>
                    </a:lnTo>
                    <a:lnTo>
                      <a:pt x="648" y="247"/>
                    </a:lnTo>
                    <a:lnTo>
                      <a:pt x="652" y="262"/>
                    </a:lnTo>
                    <a:lnTo>
                      <a:pt x="655" y="279"/>
                    </a:lnTo>
                    <a:lnTo>
                      <a:pt x="656" y="296"/>
                    </a:lnTo>
                    <a:lnTo>
                      <a:pt x="658" y="312"/>
                    </a:lnTo>
                    <a:lnTo>
                      <a:pt x="659" y="329"/>
                    </a:lnTo>
                    <a:lnTo>
                      <a:pt x="659" y="329"/>
                    </a:lnTo>
                    <a:lnTo>
                      <a:pt x="658" y="345"/>
                    </a:lnTo>
                    <a:lnTo>
                      <a:pt x="656" y="363"/>
                    </a:lnTo>
                    <a:lnTo>
                      <a:pt x="655" y="379"/>
                    </a:lnTo>
                    <a:lnTo>
                      <a:pt x="652" y="395"/>
                    </a:lnTo>
                    <a:lnTo>
                      <a:pt x="648" y="411"/>
                    </a:lnTo>
                    <a:lnTo>
                      <a:pt x="644" y="426"/>
                    </a:lnTo>
                    <a:lnTo>
                      <a:pt x="632" y="457"/>
                    </a:lnTo>
                    <a:lnTo>
                      <a:pt x="619" y="485"/>
                    </a:lnTo>
                    <a:lnTo>
                      <a:pt x="602" y="512"/>
                    </a:lnTo>
                    <a:lnTo>
                      <a:pt x="584" y="538"/>
                    </a:lnTo>
                    <a:lnTo>
                      <a:pt x="562" y="562"/>
                    </a:lnTo>
                    <a:lnTo>
                      <a:pt x="538" y="583"/>
                    </a:lnTo>
                    <a:lnTo>
                      <a:pt x="514" y="602"/>
                    </a:lnTo>
                    <a:lnTo>
                      <a:pt x="486" y="618"/>
                    </a:lnTo>
                    <a:lnTo>
                      <a:pt x="457" y="632"/>
                    </a:lnTo>
                    <a:lnTo>
                      <a:pt x="426" y="642"/>
                    </a:lnTo>
                    <a:lnTo>
                      <a:pt x="412" y="648"/>
                    </a:lnTo>
                    <a:lnTo>
                      <a:pt x="395" y="652"/>
                    </a:lnTo>
                    <a:lnTo>
                      <a:pt x="379" y="654"/>
                    </a:lnTo>
                    <a:lnTo>
                      <a:pt x="363" y="656"/>
                    </a:lnTo>
                    <a:lnTo>
                      <a:pt x="346" y="657"/>
                    </a:lnTo>
                    <a:lnTo>
                      <a:pt x="330" y="657"/>
                    </a:lnTo>
                    <a:lnTo>
                      <a:pt x="330" y="657"/>
                    </a:lnTo>
                    <a:close/>
                    <a:moveTo>
                      <a:pt x="330" y="38"/>
                    </a:moveTo>
                    <a:lnTo>
                      <a:pt x="330" y="38"/>
                    </a:lnTo>
                    <a:lnTo>
                      <a:pt x="300" y="39"/>
                    </a:lnTo>
                    <a:lnTo>
                      <a:pt x="271" y="43"/>
                    </a:lnTo>
                    <a:lnTo>
                      <a:pt x="242" y="51"/>
                    </a:lnTo>
                    <a:lnTo>
                      <a:pt x="215" y="60"/>
                    </a:lnTo>
                    <a:lnTo>
                      <a:pt x="191" y="73"/>
                    </a:lnTo>
                    <a:lnTo>
                      <a:pt x="167" y="87"/>
                    </a:lnTo>
                    <a:lnTo>
                      <a:pt x="144" y="105"/>
                    </a:lnTo>
                    <a:lnTo>
                      <a:pt x="124" y="124"/>
                    </a:lnTo>
                    <a:lnTo>
                      <a:pt x="105" y="144"/>
                    </a:lnTo>
                    <a:lnTo>
                      <a:pt x="88" y="167"/>
                    </a:lnTo>
                    <a:lnTo>
                      <a:pt x="73" y="189"/>
                    </a:lnTo>
                    <a:lnTo>
                      <a:pt x="61" y="215"/>
                    </a:lnTo>
                    <a:lnTo>
                      <a:pt x="51" y="242"/>
                    </a:lnTo>
                    <a:lnTo>
                      <a:pt x="43" y="270"/>
                    </a:lnTo>
                    <a:lnTo>
                      <a:pt x="39" y="300"/>
                    </a:lnTo>
                    <a:lnTo>
                      <a:pt x="38" y="329"/>
                    </a:lnTo>
                    <a:lnTo>
                      <a:pt x="38" y="329"/>
                    </a:lnTo>
                    <a:lnTo>
                      <a:pt x="39" y="359"/>
                    </a:lnTo>
                    <a:lnTo>
                      <a:pt x="43" y="387"/>
                    </a:lnTo>
                    <a:lnTo>
                      <a:pt x="51" y="415"/>
                    </a:lnTo>
                    <a:lnTo>
                      <a:pt x="61" y="442"/>
                    </a:lnTo>
                    <a:lnTo>
                      <a:pt x="73" y="468"/>
                    </a:lnTo>
                    <a:lnTo>
                      <a:pt x="88" y="492"/>
                    </a:lnTo>
                    <a:lnTo>
                      <a:pt x="105" y="515"/>
                    </a:lnTo>
                    <a:lnTo>
                      <a:pt x="124" y="535"/>
                    </a:lnTo>
                    <a:lnTo>
                      <a:pt x="144" y="554"/>
                    </a:lnTo>
                    <a:lnTo>
                      <a:pt x="167" y="570"/>
                    </a:lnTo>
                    <a:lnTo>
                      <a:pt x="191" y="585"/>
                    </a:lnTo>
                    <a:lnTo>
                      <a:pt x="215" y="597"/>
                    </a:lnTo>
                    <a:lnTo>
                      <a:pt x="242" y="607"/>
                    </a:lnTo>
                    <a:lnTo>
                      <a:pt x="271" y="614"/>
                    </a:lnTo>
                    <a:lnTo>
                      <a:pt x="300" y="618"/>
                    </a:lnTo>
                    <a:lnTo>
                      <a:pt x="330" y="620"/>
                    </a:lnTo>
                    <a:lnTo>
                      <a:pt x="330" y="620"/>
                    </a:lnTo>
                    <a:lnTo>
                      <a:pt x="359" y="618"/>
                    </a:lnTo>
                    <a:lnTo>
                      <a:pt x="387" y="614"/>
                    </a:lnTo>
                    <a:lnTo>
                      <a:pt x="416" y="607"/>
                    </a:lnTo>
                    <a:lnTo>
                      <a:pt x="443" y="597"/>
                    </a:lnTo>
                    <a:lnTo>
                      <a:pt x="468" y="585"/>
                    </a:lnTo>
                    <a:lnTo>
                      <a:pt x="492" y="570"/>
                    </a:lnTo>
                    <a:lnTo>
                      <a:pt x="515" y="554"/>
                    </a:lnTo>
                    <a:lnTo>
                      <a:pt x="535" y="535"/>
                    </a:lnTo>
                    <a:lnTo>
                      <a:pt x="554" y="515"/>
                    </a:lnTo>
                    <a:lnTo>
                      <a:pt x="570" y="492"/>
                    </a:lnTo>
                    <a:lnTo>
                      <a:pt x="585" y="468"/>
                    </a:lnTo>
                    <a:lnTo>
                      <a:pt x="597" y="442"/>
                    </a:lnTo>
                    <a:lnTo>
                      <a:pt x="608" y="415"/>
                    </a:lnTo>
                    <a:lnTo>
                      <a:pt x="615" y="387"/>
                    </a:lnTo>
                    <a:lnTo>
                      <a:pt x="619" y="359"/>
                    </a:lnTo>
                    <a:lnTo>
                      <a:pt x="621" y="329"/>
                    </a:lnTo>
                    <a:lnTo>
                      <a:pt x="621" y="329"/>
                    </a:lnTo>
                    <a:lnTo>
                      <a:pt x="619" y="300"/>
                    </a:lnTo>
                    <a:lnTo>
                      <a:pt x="615" y="270"/>
                    </a:lnTo>
                    <a:lnTo>
                      <a:pt x="608" y="242"/>
                    </a:lnTo>
                    <a:lnTo>
                      <a:pt x="597" y="215"/>
                    </a:lnTo>
                    <a:lnTo>
                      <a:pt x="585" y="189"/>
                    </a:lnTo>
                    <a:lnTo>
                      <a:pt x="570" y="167"/>
                    </a:lnTo>
                    <a:lnTo>
                      <a:pt x="554" y="144"/>
                    </a:lnTo>
                    <a:lnTo>
                      <a:pt x="535" y="124"/>
                    </a:lnTo>
                    <a:lnTo>
                      <a:pt x="515" y="105"/>
                    </a:lnTo>
                    <a:lnTo>
                      <a:pt x="492" y="87"/>
                    </a:lnTo>
                    <a:lnTo>
                      <a:pt x="468" y="73"/>
                    </a:lnTo>
                    <a:lnTo>
                      <a:pt x="443" y="60"/>
                    </a:lnTo>
                    <a:lnTo>
                      <a:pt x="416" y="51"/>
                    </a:lnTo>
                    <a:lnTo>
                      <a:pt x="387" y="43"/>
                    </a:lnTo>
                    <a:lnTo>
                      <a:pt x="359" y="39"/>
                    </a:lnTo>
                    <a:lnTo>
                      <a:pt x="330" y="38"/>
                    </a:lnTo>
                    <a:lnTo>
                      <a:pt x="33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0" name="Freeform 132">
                <a:extLst>
                  <a:ext uri="{FF2B5EF4-FFF2-40B4-BE49-F238E27FC236}">
                    <a16:creationId xmlns:a16="http://schemas.microsoft.com/office/drawing/2014/main" id="{03AC3F96-203A-4075-9061-2472099CA158}"/>
                  </a:ext>
                </a:extLst>
              </p:cNvPr>
              <p:cNvSpPr>
                <a:spLocks/>
              </p:cNvSpPr>
              <p:nvPr/>
            </p:nvSpPr>
            <p:spPr bwMode="auto">
              <a:xfrm>
                <a:off x="3317876" y="2734310"/>
                <a:ext cx="77788" cy="136525"/>
              </a:xfrm>
              <a:custGeom>
                <a:avLst/>
                <a:gdLst>
                  <a:gd name="T0" fmla="*/ 86 w 97"/>
                  <a:gd name="T1" fmla="*/ 92 h 172"/>
                  <a:gd name="T2" fmla="*/ 86 w 97"/>
                  <a:gd name="T3" fmla="*/ 0 h 172"/>
                  <a:gd name="T4" fmla="*/ 6 w 97"/>
                  <a:gd name="T5" fmla="*/ 0 h 172"/>
                  <a:gd name="T6" fmla="*/ 6 w 97"/>
                  <a:gd name="T7" fmla="*/ 0 h 172"/>
                  <a:gd name="T8" fmla="*/ 4 w 97"/>
                  <a:gd name="T9" fmla="*/ 2 h 172"/>
                  <a:gd name="T10" fmla="*/ 3 w 97"/>
                  <a:gd name="T11" fmla="*/ 3 h 172"/>
                  <a:gd name="T12" fmla="*/ 2 w 97"/>
                  <a:gd name="T13" fmla="*/ 4 h 172"/>
                  <a:gd name="T14" fmla="*/ 0 w 97"/>
                  <a:gd name="T15" fmla="*/ 6 h 172"/>
                  <a:gd name="T16" fmla="*/ 0 w 97"/>
                  <a:gd name="T17" fmla="*/ 59 h 172"/>
                  <a:gd name="T18" fmla="*/ 0 w 97"/>
                  <a:gd name="T19" fmla="*/ 59 h 172"/>
                  <a:gd name="T20" fmla="*/ 2 w 97"/>
                  <a:gd name="T21" fmla="*/ 62 h 172"/>
                  <a:gd name="T22" fmla="*/ 3 w 97"/>
                  <a:gd name="T23" fmla="*/ 63 h 172"/>
                  <a:gd name="T24" fmla="*/ 33 w 97"/>
                  <a:gd name="T25" fmla="*/ 94 h 172"/>
                  <a:gd name="T26" fmla="*/ 33 w 97"/>
                  <a:gd name="T27" fmla="*/ 167 h 172"/>
                  <a:gd name="T28" fmla="*/ 33 w 97"/>
                  <a:gd name="T29" fmla="*/ 167 h 172"/>
                  <a:gd name="T30" fmla="*/ 34 w 97"/>
                  <a:gd name="T31" fmla="*/ 170 h 172"/>
                  <a:gd name="T32" fmla="*/ 35 w 97"/>
                  <a:gd name="T33" fmla="*/ 171 h 172"/>
                  <a:gd name="T34" fmla="*/ 37 w 97"/>
                  <a:gd name="T35" fmla="*/ 172 h 172"/>
                  <a:gd name="T36" fmla="*/ 38 w 97"/>
                  <a:gd name="T37" fmla="*/ 172 h 172"/>
                  <a:gd name="T38" fmla="*/ 92 w 97"/>
                  <a:gd name="T39" fmla="*/ 172 h 172"/>
                  <a:gd name="T40" fmla="*/ 92 w 97"/>
                  <a:gd name="T41" fmla="*/ 172 h 172"/>
                  <a:gd name="T42" fmla="*/ 94 w 97"/>
                  <a:gd name="T43" fmla="*/ 172 h 172"/>
                  <a:gd name="T44" fmla="*/ 96 w 97"/>
                  <a:gd name="T45" fmla="*/ 171 h 172"/>
                  <a:gd name="T46" fmla="*/ 97 w 97"/>
                  <a:gd name="T47" fmla="*/ 170 h 172"/>
                  <a:gd name="T48" fmla="*/ 97 w 97"/>
                  <a:gd name="T49" fmla="*/ 167 h 172"/>
                  <a:gd name="T50" fmla="*/ 97 w 97"/>
                  <a:gd name="T51" fmla="*/ 109 h 172"/>
                  <a:gd name="T52" fmla="*/ 92 w 97"/>
                  <a:gd name="T53" fmla="*/ 104 h 172"/>
                  <a:gd name="T54" fmla="*/ 92 w 97"/>
                  <a:gd name="T55" fmla="*/ 104 h 172"/>
                  <a:gd name="T56" fmla="*/ 88 w 97"/>
                  <a:gd name="T57" fmla="*/ 98 h 172"/>
                  <a:gd name="T58" fmla="*/ 86 w 97"/>
                  <a:gd name="T59" fmla="*/ 92 h 172"/>
                  <a:gd name="T60" fmla="*/ 86 w 97"/>
                  <a:gd name="T61" fmla="*/ 9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86" y="92"/>
                    </a:moveTo>
                    <a:lnTo>
                      <a:pt x="86" y="0"/>
                    </a:lnTo>
                    <a:lnTo>
                      <a:pt x="6" y="0"/>
                    </a:lnTo>
                    <a:lnTo>
                      <a:pt x="6" y="0"/>
                    </a:lnTo>
                    <a:lnTo>
                      <a:pt x="4" y="2"/>
                    </a:lnTo>
                    <a:lnTo>
                      <a:pt x="3" y="3"/>
                    </a:lnTo>
                    <a:lnTo>
                      <a:pt x="2" y="4"/>
                    </a:lnTo>
                    <a:lnTo>
                      <a:pt x="0" y="6"/>
                    </a:lnTo>
                    <a:lnTo>
                      <a:pt x="0" y="59"/>
                    </a:lnTo>
                    <a:lnTo>
                      <a:pt x="0" y="59"/>
                    </a:lnTo>
                    <a:lnTo>
                      <a:pt x="2" y="62"/>
                    </a:lnTo>
                    <a:lnTo>
                      <a:pt x="3" y="63"/>
                    </a:lnTo>
                    <a:lnTo>
                      <a:pt x="33" y="94"/>
                    </a:lnTo>
                    <a:lnTo>
                      <a:pt x="33" y="167"/>
                    </a:lnTo>
                    <a:lnTo>
                      <a:pt x="33" y="167"/>
                    </a:lnTo>
                    <a:lnTo>
                      <a:pt x="34" y="170"/>
                    </a:lnTo>
                    <a:lnTo>
                      <a:pt x="35" y="171"/>
                    </a:lnTo>
                    <a:lnTo>
                      <a:pt x="37" y="172"/>
                    </a:lnTo>
                    <a:lnTo>
                      <a:pt x="38" y="172"/>
                    </a:lnTo>
                    <a:lnTo>
                      <a:pt x="92" y="172"/>
                    </a:lnTo>
                    <a:lnTo>
                      <a:pt x="92" y="172"/>
                    </a:lnTo>
                    <a:lnTo>
                      <a:pt x="94" y="172"/>
                    </a:lnTo>
                    <a:lnTo>
                      <a:pt x="96" y="171"/>
                    </a:lnTo>
                    <a:lnTo>
                      <a:pt x="97" y="170"/>
                    </a:lnTo>
                    <a:lnTo>
                      <a:pt x="97" y="167"/>
                    </a:lnTo>
                    <a:lnTo>
                      <a:pt x="97" y="109"/>
                    </a:lnTo>
                    <a:lnTo>
                      <a:pt x="92" y="104"/>
                    </a:lnTo>
                    <a:lnTo>
                      <a:pt x="92" y="104"/>
                    </a:lnTo>
                    <a:lnTo>
                      <a:pt x="88" y="98"/>
                    </a:lnTo>
                    <a:lnTo>
                      <a:pt x="86" y="92"/>
                    </a:lnTo>
                    <a:lnTo>
                      <a:pt x="86"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1" name="Freeform 133">
                <a:extLst>
                  <a:ext uri="{FF2B5EF4-FFF2-40B4-BE49-F238E27FC236}">
                    <a16:creationId xmlns:a16="http://schemas.microsoft.com/office/drawing/2014/main" id="{68208B67-5EEC-4966-B350-4F0D59E3CD96}"/>
                  </a:ext>
                </a:extLst>
              </p:cNvPr>
              <p:cNvSpPr>
                <a:spLocks/>
              </p:cNvSpPr>
              <p:nvPr/>
            </p:nvSpPr>
            <p:spPr bwMode="auto">
              <a:xfrm>
                <a:off x="3514726" y="2734310"/>
                <a:ext cx="77788" cy="136525"/>
              </a:xfrm>
              <a:custGeom>
                <a:avLst/>
                <a:gdLst>
                  <a:gd name="T0" fmla="*/ 91 w 97"/>
                  <a:gd name="T1" fmla="*/ 0 h 172"/>
                  <a:gd name="T2" fmla="*/ 11 w 97"/>
                  <a:gd name="T3" fmla="*/ 0 h 172"/>
                  <a:gd name="T4" fmla="*/ 11 w 97"/>
                  <a:gd name="T5" fmla="*/ 92 h 172"/>
                  <a:gd name="T6" fmla="*/ 11 w 97"/>
                  <a:gd name="T7" fmla="*/ 92 h 172"/>
                  <a:gd name="T8" fmla="*/ 9 w 97"/>
                  <a:gd name="T9" fmla="*/ 98 h 172"/>
                  <a:gd name="T10" fmla="*/ 7 w 97"/>
                  <a:gd name="T11" fmla="*/ 104 h 172"/>
                  <a:gd name="T12" fmla="*/ 0 w 97"/>
                  <a:gd name="T13" fmla="*/ 109 h 172"/>
                  <a:gd name="T14" fmla="*/ 0 w 97"/>
                  <a:gd name="T15" fmla="*/ 167 h 172"/>
                  <a:gd name="T16" fmla="*/ 0 w 97"/>
                  <a:gd name="T17" fmla="*/ 167 h 172"/>
                  <a:gd name="T18" fmla="*/ 1 w 97"/>
                  <a:gd name="T19" fmla="*/ 170 h 172"/>
                  <a:gd name="T20" fmla="*/ 1 w 97"/>
                  <a:gd name="T21" fmla="*/ 171 h 172"/>
                  <a:gd name="T22" fmla="*/ 4 w 97"/>
                  <a:gd name="T23" fmla="*/ 172 h 172"/>
                  <a:gd name="T24" fmla="*/ 5 w 97"/>
                  <a:gd name="T25" fmla="*/ 172 h 172"/>
                  <a:gd name="T26" fmla="*/ 59 w 97"/>
                  <a:gd name="T27" fmla="*/ 172 h 172"/>
                  <a:gd name="T28" fmla="*/ 59 w 97"/>
                  <a:gd name="T29" fmla="*/ 172 h 172"/>
                  <a:gd name="T30" fmla="*/ 62 w 97"/>
                  <a:gd name="T31" fmla="*/ 172 h 172"/>
                  <a:gd name="T32" fmla="*/ 63 w 97"/>
                  <a:gd name="T33" fmla="*/ 171 h 172"/>
                  <a:gd name="T34" fmla="*/ 64 w 97"/>
                  <a:gd name="T35" fmla="*/ 170 h 172"/>
                  <a:gd name="T36" fmla="*/ 64 w 97"/>
                  <a:gd name="T37" fmla="*/ 167 h 172"/>
                  <a:gd name="T38" fmla="*/ 64 w 97"/>
                  <a:gd name="T39" fmla="*/ 94 h 172"/>
                  <a:gd name="T40" fmla="*/ 95 w 97"/>
                  <a:gd name="T41" fmla="*/ 63 h 172"/>
                  <a:gd name="T42" fmla="*/ 95 w 97"/>
                  <a:gd name="T43" fmla="*/ 63 h 172"/>
                  <a:gd name="T44" fmla="*/ 97 w 97"/>
                  <a:gd name="T45" fmla="*/ 62 h 172"/>
                  <a:gd name="T46" fmla="*/ 97 w 97"/>
                  <a:gd name="T47" fmla="*/ 59 h 172"/>
                  <a:gd name="T48" fmla="*/ 97 w 97"/>
                  <a:gd name="T49" fmla="*/ 6 h 172"/>
                  <a:gd name="T50" fmla="*/ 97 w 97"/>
                  <a:gd name="T51" fmla="*/ 6 h 172"/>
                  <a:gd name="T52" fmla="*/ 97 w 97"/>
                  <a:gd name="T53" fmla="*/ 4 h 172"/>
                  <a:gd name="T54" fmla="*/ 95 w 97"/>
                  <a:gd name="T55" fmla="*/ 3 h 172"/>
                  <a:gd name="T56" fmla="*/ 94 w 97"/>
                  <a:gd name="T57" fmla="*/ 2 h 172"/>
                  <a:gd name="T58" fmla="*/ 91 w 97"/>
                  <a:gd name="T59" fmla="*/ 0 h 172"/>
                  <a:gd name="T60" fmla="*/ 91 w 97"/>
                  <a:gd name="T6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91" y="0"/>
                    </a:moveTo>
                    <a:lnTo>
                      <a:pt x="11" y="0"/>
                    </a:lnTo>
                    <a:lnTo>
                      <a:pt x="11" y="92"/>
                    </a:lnTo>
                    <a:lnTo>
                      <a:pt x="11" y="92"/>
                    </a:lnTo>
                    <a:lnTo>
                      <a:pt x="9" y="98"/>
                    </a:lnTo>
                    <a:lnTo>
                      <a:pt x="7" y="104"/>
                    </a:lnTo>
                    <a:lnTo>
                      <a:pt x="0" y="109"/>
                    </a:lnTo>
                    <a:lnTo>
                      <a:pt x="0" y="167"/>
                    </a:lnTo>
                    <a:lnTo>
                      <a:pt x="0" y="167"/>
                    </a:lnTo>
                    <a:lnTo>
                      <a:pt x="1" y="170"/>
                    </a:lnTo>
                    <a:lnTo>
                      <a:pt x="1" y="171"/>
                    </a:lnTo>
                    <a:lnTo>
                      <a:pt x="4" y="172"/>
                    </a:lnTo>
                    <a:lnTo>
                      <a:pt x="5" y="172"/>
                    </a:lnTo>
                    <a:lnTo>
                      <a:pt x="59" y="172"/>
                    </a:lnTo>
                    <a:lnTo>
                      <a:pt x="59" y="172"/>
                    </a:lnTo>
                    <a:lnTo>
                      <a:pt x="62" y="172"/>
                    </a:lnTo>
                    <a:lnTo>
                      <a:pt x="63" y="171"/>
                    </a:lnTo>
                    <a:lnTo>
                      <a:pt x="64" y="170"/>
                    </a:lnTo>
                    <a:lnTo>
                      <a:pt x="64" y="167"/>
                    </a:lnTo>
                    <a:lnTo>
                      <a:pt x="64" y="94"/>
                    </a:lnTo>
                    <a:lnTo>
                      <a:pt x="95" y="63"/>
                    </a:lnTo>
                    <a:lnTo>
                      <a:pt x="95" y="63"/>
                    </a:lnTo>
                    <a:lnTo>
                      <a:pt x="97" y="62"/>
                    </a:lnTo>
                    <a:lnTo>
                      <a:pt x="97" y="59"/>
                    </a:lnTo>
                    <a:lnTo>
                      <a:pt x="97" y="6"/>
                    </a:lnTo>
                    <a:lnTo>
                      <a:pt x="97" y="6"/>
                    </a:lnTo>
                    <a:lnTo>
                      <a:pt x="97" y="4"/>
                    </a:lnTo>
                    <a:lnTo>
                      <a:pt x="95" y="3"/>
                    </a:lnTo>
                    <a:lnTo>
                      <a:pt x="94" y="2"/>
                    </a:lnTo>
                    <a:lnTo>
                      <a:pt x="91" y="0"/>
                    </a:lnTo>
                    <a:lnTo>
                      <a:pt x="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2" name="Freeform 134">
                <a:extLst>
                  <a:ext uri="{FF2B5EF4-FFF2-40B4-BE49-F238E27FC236}">
                    <a16:creationId xmlns:a16="http://schemas.microsoft.com/office/drawing/2014/main" id="{FB626C0B-B8F5-433B-A9EA-F0C7ED6BB285}"/>
                  </a:ext>
                </a:extLst>
              </p:cNvPr>
              <p:cNvSpPr>
                <a:spLocks/>
              </p:cNvSpPr>
              <p:nvPr/>
            </p:nvSpPr>
            <p:spPr bwMode="auto">
              <a:xfrm>
                <a:off x="3400426" y="2734310"/>
                <a:ext cx="111125" cy="171450"/>
              </a:xfrm>
              <a:custGeom>
                <a:avLst/>
                <a:gdLst>
                  <a:gd name="T0" fmla="*/ 134 w 140"/>
                  <a:gd name="T1" fmla="*/ 0 h 215"/>
                  <a:gd name="T2" fmla="*/ 5 w 140"/>
                  <a:gd name="T3" fmla="*/ 0 h 215"/>
                  <a:gd name="T4" fmla="*/ 5 w 140"/>
                  <a:gd name="T5" fmla="*/ 0 h 215"/>
                  <a:gd name="T6" fmla="*/ 2 w 140"/>
                  <a:gd name="T7" fmla="*/ 1 h 215"/>
                  <a:gd name="T8" fmla="*/ 1 w 140"/>
                  <a:gd name="T9" fmla="*/ 1 h 215"/>
                  <a:gd name="T10" fmla="*/ 0 w 140"/>
                  <a:gd name="T11" fmla="*/ 4 h 215"/>
                  <a:gd name="T12" fmla="*/ 0 w 140"/>
                  <a:gd name="T13" fmla="*/ 5 h 215"/>
                  <a:gd name="T14" fmla="*/ 0 w 140"/>
                  <a:gd name="T15" fmla="*/ 91 h 215"/>
                  <a:gd name="T16" fmla="*/ 0 w 140"/>
                  <a:gd name="T17" fmla="*/ 91 h 215"/>
                  <a:gd name="T18" fmla="*/ 0 w 140"/>
                  <a:gd name="T19" fmla="*/ 94 h 215"/>
                  <a:gd name="T20" fmla="*/ 1 w 140"/>
                  <a:gd name="T21" fmla="*/ 95 h 215"/>
                  <a:gd name="T22" fmla="*/ 32 w 140"/>
                  <a:gd name="T23" fmla="*/ 126 h 215"/>
                  <a:gd name="T24" fmla="*/ 32 w 140"/>
                  <a:gd name="T25" fmla="*/ 209 h 215"/>
                  <a:gd name="T26" fmla="*/ 32 w 140"/>
                  <a:gd name="T27" fmla="*/ 209 h 215"/>
                  <a:gd name="T28" fmla="*/ 32 w 140"/>
                  <a:gd name="T29" fmla="*/ 211 h 215"/>
                  <a:gd name="T30" fmla="*/ 33 w 140"/>
                  <a:gd name="T31" fmla="*/ 213 h 215"/>
                  <a:gd name="T32" fmla="*/ 35 w 140"/>
                  <a:gd name="T33" fmla="*/ 215 h 215"/>
                  <a:gd name="T34" fmla="*/ 37 w 140"/>
                  <a:gd name="T35" fmla="*/ 215 h 215"/>
                  <a:gd name="T36" fmla="*/ 102 w 140"/>
                  <a:gd name="T37" fmla="*/ 215 h 215"/>
                  <a:gd name="T38" fmla="*/ 102 w 140"/>
                  <a:gd name="T39" fmla="*/ 215 h 215"/>
                  <a:gd name="T40" fmla="*/ 103 w 140"/>
                  <a:gd name="T41" fmla="*/ 215 h 215"/>
                  <a:gd name="T42" fmla="*/ 106 w 140"/>
                  <a:gd name="T43" fmla="*/ 213 h 215"/>
                  <a:gd name="T44" fmla="*/ 106 w 140"/>
                  <a:gd name="T45" fmla="*/ 211 h 215"/>
                  <a:gd name="T46" fmla="*/ 107 w 140"/>
                  <a:gd name="T47" fmla="*/ 209 h 215"/>
                  <a:gd name="T48" fmla="*/ 107 w 140"/>
                  <a:gd name="T49" fmla="*/ 126 h 215"/>
                  <a:gd name="T50" fmla="*/ 137 w 140"/>
                  <a:gd name="T51" fmla="*/ 95 h 215"/>
                  <a:gd name="T52" fmla="*/ 137 w 140"/>
                  <a:gd name="T53" fmla="*/ 95 h 215"/>
                  <a:gd name="T54" fmla="*/ 138 w 140"/>
                  <a:gd name="T55" fmla="*/ 94 h 215"/>
                  <a:gd name="T56" fmla="*/ 140 w 140"/>
                  <a:gd name="T57" fmla="*/ 91 h 215"/>
                  <a:gd name="T58" fmla="*/ 140 w 140"/>
                  <a:gd name="T59" fmla="*/ 5 h 215"/>
                  <a:gd name="T60" fmla="*/ 140 w 140"/>
                  <a:gd name="T61" fmla="*/ 5 h 215"/>
                  <a:gd name="T62" fmla="*/ 138 w 140"/>
                  <a:gd name="T63" fmla="*/ 4 h 215"/>
                  <a:gd name="T64" fmla="*/ 137 w 140"/>
                  <a:gd name="T65" fmla="*/ 1 h 215"/>
                  <a:gd name="T66" fmla="*/ 135 w 140"/>
                  <a:gd name="T67" fmla="*/ 1 h 215"/>
                  <a:gd name="T68" fmla="*/ 134 w 140"/>
                  <a:gd name="T69" fmla="*/ 0 h 215"/>
                  <a:gd name="T70" fmla="*/ 134 w 140"/>
                  <a:gd name="T71"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0" h="215">
                    <a:moveTo>
                      <a:pt x="134" y="0"/>
                    </a:moveTo>
                    <a:lnTo>
                      <a:pt x="5" y="0"/>
                    </a:lnTo>
                    <a:lnTo>
                      <a:pt x="5" y="0"/>
                    </a:lnTo>
                    <a:lnTo>
                      <a:pt x="2" y="1"/>
                    </a:lnTo>
                    <a:lnTo>
                      <a:pt x="1" y="1"/>
                    </a:lnTo>
                    <a:lnTo>
                      <a:pt x="0" y="4"/>
                    </a:lnTo>
                    <a:lnTo>
                      <a:pt x="0" y="5"/>
                    </a:lnTo>
                    <a:lnTo>
                      <a:pt x="0" y="91"/>
                    </a:lnTo>
                    <a:lnTo>
                      <a:pt x="0" y="91"/>
                    </a:lnTo>
                    <a:lnTo>
                      <a:pt x="0" y="94"/>
                    </a:lnTo>
                    <a:lnTo>
                      <a:pt x="1" y="95"/>
                    </a:lnTo>
                    <a:lnTo>
                      <a:pt x="32" y="126"/>
                    </a:lnTo>
                    <a:lnTo>
                      <a:pt x="32" y="209"/>
                    </a:lnTo>
                    <a:lnTo>
                      <a:pt x="32" y="209"/>
                    </a:lnTo>
                    <a:lnTo>
                      <a:pt x="32" y="211"/>
                    </a:lnTo>
                    <a:lnTo>
                      <a:pt x="33" y="213"/>
                    </a:lnTo>
                    <a:lnTo>
                      <a:pt x="35" y="215"/>
                    </a:lnTo>
                    <a:lnTo>
                      <a:pt x="37" y="215"/>
                    </a:lnTo>
                    <a:lnTo>
                      <a:pt x="102" y="215"/>
                    </a:lnTo>
                    <a:lnTo>
                      <a:pt x="102" y="215"/>
                    </a:lnTo>
                    <a:lnTo>
                      <a:pt x="103" y="215"/>
                    </a:lnTo>
                    <a:lnTo>
                      <a:pt x="106" y="213"/>
                    </a:lnTo>
                    <a:lnTo>
                      <a:pt x="106" y="211"/>
                    </a:lnTo>
                    <a:lnTo>
                      <a:pt x="107" y="209"/>
                    </a:lnTo>
                    <a:lnTo>
                      <a:pt x="107" y="126"/>
                    </a:lnTo>
                    <a:lnTo>
                      <a:pt x="137" y="95"/>
                    </a:lnTo>
                    <a:lnTo>
                      <a:pt x="137" y="95"/>
                    </a:lnTo>
                    <a:lnTo>
                      <a:pt x="138" y="94"/>
                    </a:lnTo>
                    <a:lnTo>
                      <a:pt x="140" y="91"/>
                    </a:lnTo>
                    <a:lnTo>
                      <a:pt x="140" y="5"/>
                    </a:lnTo>
                    <a:lnTo>
                      <a:pt x="140" y="5"/>
                    </a:lnTo>
                    <a:lnTo>
                      <a:pt x="138" y="4"/>
                    </a:lnTo>
                    <a:lnTo>
                      <a:pt x="137" y="1"/>
                    </a:lnTo>
                    <a:lnTo>
                      <a:pt x="135" y="1"/>
                    </a:lnTo>
                    <a:lnTo>
                      <a:pt x="134" y="0"/>
                    </a:lnTo>
                    <a:lnTo>
                      <a:pt x="1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3" name="Freeform 135">
                <a:extLst>
                  <a:ext uri="{FF2B5EF4-FFF2-40B4-BE49-F238E27FC236}">
                    <a16:creationId xmlns:a16="http://schemas.microsoft.com/office/drawing/2014/main" id="{9D173602-A0E8-4196-B0F7-59C2434301C7}"/>
                  </a:ext>
                </a:extLst>
              </p:cNvPr>
              <p:cNvSpPr>
                <a:spLocks/>
              </p:cNvSpPr>
              <p:nvPr/>
            </p:nvSpPr>
            <p:spPr bwMode="auto">
              <a:xfrm>
                <a:off x="3513138" y="2650173"/>
                <a:ext cx="63500" cy="61913"/>
              </a:xfrm>
              <a:custGeom>
                <a:avLst/>
                <a:gdLst>
                  <a:gd name="T0" fmla="*/ 41 w 80"/>
                  <a:gd name="T1" fmla="*/ 79 h 79"/>
                  <a:gd name="T2" fmla="*/ 41 w 80"/>
                  <a:gd name="T3" fmla="*/ 79 h 79"/>
                  <a:gd name="T4" fmla="*/ 49 w 80"/>
                  <a:gd name="T5" fmla="*/ 79 h 79"/>
                  <a:gd name="T6" fmla="*/ 55 w 80"/>
                  <a:gd name="T7" fmla="*/ 77 h 79"/>
                  <a:gd name="T8" fmla="*/ 62 w 80"/>
                  <a:gd name="T9" fmla="*/ 73 h 79"/>
                  <a:gd name="T10" fmla="*/ 69 w 80"/>
                  <a:gd name="T11" fmla="*/ 69 h 79"/>
                  <a:gd name="T12" fmla="*/ 73 w 80"/>
                  <a:gd name="T13" fmla="*/ 62 h 79"/>
                  <a:gd name="T14" fmla="*/ 77 w 80"/>
                  <a:gd name="T15" fmla="*/ 55 h 79"/>
                  <a:gd name="T16" fmla="*/ 80 w 80"/>
                  <a:gd name="T17" fmla="*/ 48 h 79"/>
                  <a:gd name="T18" fmla="*/ 80 w 80"/>
                  <a:gd name="T19" fmla="*/ 40 h 79"/>
                  <a:gd name="T20" fmla="*/ 80 w 80"/>
                  <a:gd name="T21" fmla="*/ 40 h 79"/>
                  <a:gd name="T22" fmla="*/ 80 w 80"/>
                  <a:gd name="T23" fmla="*/ 32 h 79"/>
                  <a:gd name="T24" fmla="*/ 77 w 80"/>
                  <a:gd name="T25" fmla="*/ 24 h 79"/>
                  <a:gd name="T26" fmla="*/ 73 w 80"/>
                  <a:gd name="T27" fmla="*/ 18 h 79"/>
                  <a:gd name="T28" fmla="*/ 69 w 80"/>
                  <a:gd name="T29" fmla="*/ 12 h 79"/>
                  <a:gd name="T30" fmla="*/ 62 w 80"/>
                  <a:gd name="T31" fmla="*/ 7 h 79"/>
                  <a:gd name="T32" fmla="*/ 55 w 80"/>
                  <a:gd name="T33" fmla="*/ 4 h 79"/>
                  <a:gd name="T34" fmla="*/ 49 w 80"/>
                  <a:gd name="T35" fmla="*/ 1 h 79"/>
                  <a:gd name="T36" fmla="*/ 41 w 80"/>
                  <a:gd name="T37" fmla="*/ 0 h 79"/>
                  <a:gd name="T38" fmla="*/ 41 w 80"/>
                  <a:gd name="T39" fmla="*/ 0 h 79"/>
                  <a:gd name="T40" fmla="*/ 32 w 80"/>
                  <a:gd name="T41" fmla="*/ 1 h 79"/>
                  <a:gd name="T42" fmla="*/ 24 w 80"/>
                  <a:gd name="T43" fmla="*/ 4 h 79"/>
                  <a:gd name="T44" fmla="*/ 18 w 80"/>
                  <a:gd name="T45" fmla="*/ 7 h 79"/>
                  <a:gd name="T46" fmla="*/ 12 w 80"/>
                  <a:gd name="T47" fmla="*/ 12 h 79"/>
                  <a:gd name="T48" fmla="*/ 7 w 80"/>
                  <a:gd name="T49" fmla="*/ 18 h 79"/>
                  <a:gd name="T50" fmla="*/ 4 w 80"/>
                  <a:gd name="T51" fmla="*/ 24 h 79"/>
                  <a:gd name="T52" fmla="*/ 2 w 80"/>
                  <a:gd name="T53" fmla="*/ 32 h 79"/>
                  <a:gd name="T54" fmla="*/ 0 w 80"/>
                  <a:gd name="T55" fmla="*/ 40 h 79"/>
                  <a:gd name="T56" fmla="*/ 0 w 80"/>
                  <a:gd name="T57" fmla="*/ 40 h 79"/>
                  <a:gd name="T58" fmla="*/ 2 w 80"/>
                  <a:gd name="T59" fmla="*/ 48 h 79"/>
                  <a:gd name="T60" fmla="*/ 4 w 80"/>
                  <a:gd name="T61" fmla="*/ 55 h 79"/>
                  <a:gd name="T62" fmla="*/ 7 w 80"/>
                  <a:gd name="T63" fmla="*/ 62 h 79"/>
                  <a:gd name="T64" fmla="*/ 12 w 80"/>
                  <a:gd name="T65" fmla="*/ 69 h 79"/>
                  <a:gd name="T66" fmla="*/ 18 w 80"/>
                  <a:gd name="T67" fmla="*/ 73 h 79"/>
                  <a:gd name="T68" fmla="*/ 24 w 80"/>
                  <a:gd name="T69" fmla="*/ 77 h 79"/>
                  <a:gd name="T70" fmla="*/ 32 w 80"/>
                  <a:gd name="T71" fmla="*/ 79 h 79"/>
                  <a:gd name="T72" fmla="*/ 41 w 80"/>
                  <a:gd name="T73" fmla="*/ 79 h 79"/>
                  <a:gd name="T74" fmla="*/ 41 w 80"/>
                  <a:gd name="T75"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79"/>
                    </a:moveTo>
                    <a:lnTo>
                      <a:pt x="41" y="79"/>
                    </a:lnTo>
                    <a:lnTo>
                      <a:pt x="49" y="79"/>
                    </a:lnTo>
                    <a:lnTo>
                      <a:pt x="55"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5" y="4"/>
                    </a:lnTo>
                    <a:lnTo>
                      <a:pt x="49" y="1"/>
                    </a:lnTo>
                    <a:lnTo>
                      <a:pt x="41" y="0"/>
                    </a:lnTo>
                    <a:lnTo>
                      <a:pt x="41" y="0"/>
                    </a:lnTo>
                    <a:lnTo>
                      <a:pt x="32" y="1"/>
                    </a:lnTo>
                    <a:lnTo>
                      <a:pt x="24" y="4"/>
                    </a:lnTo>
                    <a:lnTo>
                      <a:pt x="18" y="7"/>
                    </a:lnTo>
                    <a:lnTo>
                      <a:pt x="12" y="12"/>
                    </a:lnTo>
                    <a:lnTo>
                      <a:pt x="7" y="18"/>
                    </a:lnTo>
                    <a:lnTo>
                      <a:pt x="4" y="24"/>
                    </a:lnTo>
                    <a:lnTo>
                      <a:pt x="2" y="32"/>
                    </a:lnTo>
                    <a:lnTo>
                      <a:pt x="0" y="40"/>
                    </a:lnTo>
                    <a:lnTo>
                      <a:pt x="0" y="40"/>
                    </a:lnTo>
                    <a:lnTo>
                      <a:pt x="2" y="48"/>
                    </a:lnTo>
                    <a:lnTo>
                      <a:pt x="4" y="55"/>
                    </a:lnTo>
                    <a:lnTo>
                      <a:pt x="7" y="62"/>
                    </a:lnTo>
                    <a:lnTo>
                      <a:pt x="12" y="69"/>
                    </a:lnTo>
                    <a:lnTo>
                      <a:pt x="18" y="73"/>
                    </a:lnTo>
                    <a:lnTo>
                      <a:pt x="24" y="77"/>
                    </a:lnTo>
                    <a:lnTo>
                      <a:pt x="32" y="79"/>
                    </a:lnTo>
                    <a:lnTo>
                      <a:pt x="41" y="79"/>
                    </a:lnTo>
                    <a:lnTo>
                      <a:pt x="4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4" name="Freeform 136">
                <a:extLst>
                  <a:ext uri="{FF2B5EF4-FFF2-40B4-BE49-F238E27FC236}">
                    <a16:creationId xmlns:a16="http://schemas.microsoft.com/office/drawing/2014/main" id="{23DE118A-C1FF-48E5-A21B-3732A1068160}"/>
                  </a:ext>
                </a:extLst>
              </p:cNvPr>
              <p:cNvSpPr>
                <a:spLocks/>
              </p:cNvSpPr>
              <p:nvPr/>
            </p:nvSpPr>
            <p:spPr bwMode="auto">
              <a:xfrm>
                <a:off x="3333751" y="2650173"/>
                <a:ext cx="63500" cy="61913"/>
              </a:xfrm>
              <a:custGeom>
                <a:avLst/>
                <a:gdLst>
                  <a:gd name="T0" fmla="*/ 41 w 80"/>
                  <a:gd name="T1" fmla="*/ 0 h 79"/>
                  <a:gd name="T2" fmla="*/ 41 w 80"/>
                  <a:gd name="T3" fmla="*/ 0 h 79"/>
                  <a:gd name="T4" fmla="*/ 33 w 80"/>
                  <a:gd name="T5" fmla="*/ 1 h 79"/>
                  <a:gd name="T6" fmla="*/ 25 w 80"/>
                  <a:gd name="T7" fmla="*/ 4 h 79"/>
                  <a:gd name="T8" fmla="*/ 18 w 80"/>
                  <a:gd name="T9" fmla="*/ 7 h 79"/>
                  <a:gd name="T10" fmla="*/ 13 w 80"/>
                  <a:gd name="T11" fmla="*/ 12 h 79"/>
                  <a:gd name="T12" fmla="*/ 7 w 80"/>
                  <a:gd name="T13" fmla="*/ 18 h 79"/>
                  <a:gd name="T14" fmla="*/ 4 w 80"/>
                  <a:gd name="T15" fmla="*/ 24 h 79"/>
                  <a:gd name="T16" fmla="*/ 2 w 80"/>
                  <a:gd name="T17" fmla="*/ 32 h 79"/>
                  <a:gd name="T18" fmla="*/ 0 w 80"/>
                  <a:gd name="T19" fmla="*/ 40 h 79"/>
                  <a:gd name="T20" fmla="*/ 0 w 80"/>
                  <a:gd name="T21" fmla="*/ 40 h 79"/>
                  <a:gd name="T22" fmla="*/ 2 w 80"/>
                  <a:gd name="T23" fmla="*/ 48 h 79"/>
                  <a:gd name="T24" fmla="*/ 4 w 80"/>
                  <a:gd name="T25" fmla="*/ 55 h 79"/>
                  <a:gd name="T26" fmla="*/ 7 w 80"/>
                  <a:gd name="T27" fmla="*/ 62 h 79"/>
                  <a:gd name="T28" fmla="*/ 13 w 80"/>
                  <a:gd name="T29" fmla="*/ 69 h 79"/>
                  <a:gd name="T30" fmla="*/ 18 w 80"/>
                  <a:gd name="T31" fmla="*/ 73 h 79"/>
                  <a:gd name="T32" fmla="*/ 25 w 80"/>
                  <a:gd name="T33" fmla="*/ 77 h 79"/>
                  <a:gd name="T34" fmla="*/ 33 w 80"/>
                  <a:gd name="T35" fmla="*/ 79 h 79"/>
                  <a:gd name="T36" fmla="*/ 41 w 80"/>
                  <a:gd name="T37" fmla="*/ 79 h 79"/>
                  <a:gd name="T38" fmla="*/ 41 w 80"/>
                  <a:gd name="T39" fmla="*/ 79 h 79"/>
                  <a:gd name="T40" fmla="*/ 49 w 80"/>
                  <a:gd name="T41" fmla="*/ 79 h 79"/>
                  <a:gd name="T42" fmla="*/ 56 w 80"/>
                  <a:gd name="T43" fmla="*/ 77 h 79"/>
                  <a:gd name="T44" fmla="*/ 62 w 80"/>
                  <a:gd name="T45" fmla="*/ 73 h 79"/>
                  <a:gd name="T46" fmla="*/ 69 w 80"/>
                  <a:gd name="T47" fmla="*/ 69 h 79"/>
                  <a:gd name="T48" fmla="*/ 73 w 80"/>
                  <a:gd name="T49" fmla="*/ 62 h 79"/>
                  <a:gd name="T50" fmla="*/ 77 w 80"/>
                  <a:gd name="T51" fmla="*/ 55 h 79"/>
                  <a:gd name="T52" fmla="*/ 80 w 80"/>
                  <a:gd name="T53" fmla="*/ 48 h 79"/>
                  <a:gd name="T54" fmla="*/ 80 w 80"/>
                  <a:gd name="T55" fmla="*/ 40 h 79"/>
                  <a:gd name="T56" fmla="*/ 80 w 80"/>
                  <a:gd name="T57" fmla="*/ 40 h 79"/>
                  <a:gd name="T58" fmla="*/ 80 w 80"/>
                  <a:gd name="T59" fmla="*/ 32 h 79"/>
                  <a:gd name="T60" fmla="*/ 77 w 80"/>
                  <a:gd name="T61" fmla="*/ 24 h 79"/>
                  <a:gd name="T62" fmla="*/ 73 w 80"/>
                  <a:gd name="T63" fmla="*/ 18 h 79"/>
                  <a:gd name="T64" fmla="*/ 69 w 80"/>
                  <a:gd name="T65" fmla="*/ 12 h 79"/>
                  <a:gd name="T66" fmla="*/ 62 w 80"/>
                  <a:gd name="T67" fmla="*/ 7 h 79"/>
                  <a:gd name="T68" fmla="*/ 56 w 80"/>
                  <a:gd name="T69" fmla="*/ 4 h 79"/>
                  <a:gd name="T70" fmla="*/ 49 w 80"/>
                  <a:gd name="T71" fmla="*/ 1 h 79"/>
                  <a:gd name="T72" fmla="*/ 41 w 80"/>
                  <a:gd name="T73" fmla="*/ 0 h 79"/>
                  <a:gd name="T74" fmla="*/ 41 w 80"/>
                  <a:gd name="T75"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0"/>
                    </a:moveTo>
                    <a:lnTo>
                      <a:pt x="41" y="0"/>
                    </a:lnTo>
                    <a:lnTo>
                      <a:pt x="33" y="1"/>
                    </a:lnTo>
                    <a:lnTo>
                      <a:pt x="25" y="4"/>
                    </a:lnTo>
                    <a:lnTo>
                      <a:pt x="18" y="7"/>
                    </a:lnTo>
                    <a:lnTo>
                      <a:pt x="13" y="12"/>
                    </a:lnTo>
                    <a:lnTo>
                      <a:pt x="7" y="18"/>
                    </a:lnTo>
                    <a:lnTo>
                      <a:pt x="4" y="24"/>
                    </a:lnTo>
                    <a:lnTo>
                      <a:pt x="2" y="32"/>
                    </a:lnTo>
                    <a:lnTo>
                      <a:pt x="0" y="40"/>
                    </a:lnTo>
                    <a:lnTo>
                      <a:pt x="0" y="40"/>
                    </a:lnTo>
                    <a:lnTo>
                      <a:pt x="2" y="48"/>
                    </a:lnTo>
                    <a:lnTo>
                      <a:pt x="4" y="55"/>
                    </a:lnTo>
                    <a:lnTo>
                      <a:pt x="7" y="62"/>
                    </a:lnTo>
                    <a:lnTo>
                      <a:pt x="13" y="69"/>
                    </a:lnTo>
                    <a:lnTo>
                      <a:pt x="18" y="73"/>
                    </a:lnTo>
                    <a:lnTo>
                      <a:pt x="25" y="77"/>
                    </a:lnTo>
                    <a:lnTo>
                      <a:pt x="33" y="79"/>
                    </a:lnTo>
                    <a:lnTo>
                      <a:pt x="41" y="79"/>
                    </a:lnTo>
                    <a:lnTo>
                      <a:pt x="41" y="79"/>
                    </a:lnTo>
                    <a:lnTo>
                      <a:pt x="49" y="79"/>
                    </a:lnTo>
                    <a:lnTo>
                      <a:pt x="56"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6" y="4"/>
                    </a:lnTo>
                    <a:lnTo>
                      <a:pt x="49" y="1"/>
                    </a:lnTo>
                    <a:lnTo>
                      <a:pt x="41" y="0"/>
                    </a:lnTo>
                    <a:lnTo>
                      <a:pt x="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5" name="Freeform 137">
                <a:extLst>
                  <a:ext uri="{FF2B5EF4-FFF2-40B4-BE49-F238E27FC236}">
                    <a16:creationId xmlns:a16="http://schemas.microsoft.com/office/drawing/2014/main" id="{51415ACE-180D-4722-982C-ABB0C59D552C}"/>
                  </a:ext>
                </a:extLst>
              </p:cNvPr>
              <p:cNvSpPr>
                <a:spLocks/>
              </p:cNvSpPr>
              <p:nvPr/>
            </p:nvSpPr>
            <p:spPr bwMode="auto">
              <a:xfrm>
                <a:off x="3414713" y="2632710"/>
                <a:ext cx="80963" cy="79375"/>
              </a:xfrm>
              <a:custGeom>
                <a:avLst/>
                <a:gdLst>
                  <a:gd name="T0" fmla="*/ 51 w 102"/>
                  <a:gd name="T1" fmla="*/ 100 h 100"/>
                  <a:gd name="T2" fmla="*/ 51 w 102"/>
                  <a:gd name="T3" fmla="*/ 100 h 100"/>
                  <a:gd name="T4" fmla="*/ 60 w 102"/>
                  <a:gd name="T5" fmla="*/ 99 h 100"/>
                  <a:gd name="T6" fmla="*/ 69 w 102"/>
                  <a:gd name="T7" fmla="*/ 96 h 100"/>
                  <a:gd name="T8" fmla="*/ 79 w 102"/>
                  <a:gd name="T9" fmla="*/ 92 h 100"/>
                  <a:gd name="T10" fmla="*/ 86 w 102"/>
                  <a:gd name="T11" fmla="*/ 86 h 100"/>
                  <a:gd name="T12" fmla="*/ 92 w 102"/>
                  <a:gd name="T13" fmla="*/ 78 h 100"/>
                  <a:gd name="T14" fmla="*/ 98 w 102"/>
                  <a:gd name="T15" fmla="*/ 69 h 100"/>
                  <a:gd name="T16" fmla="*/ 100 w 102"/>
                  <a:gd name="T17" fmla="*/ 60 h 100"/>
                  <a:gd name="T18" fmla="*/ 102 w 102"/>
                  <a:gd name="T19" fmla="*/ 49 h 100"/>
                  <a:gd name="T20" fmla="*/ 102 w 102"/>
                  <a:gd name="T21" fmla="*/ 49 h 100"/>
                  <a:gd name="T22" fmla="*/ 100 w 102"/>
                  <a:gd name="T23" fmla="*/ 40 h 100"/>
                  <a:gd name="T24" fmla="*/ 98 w 102"/>
                  <a:gd name="T25" fmla="*/ 30 h 100"/>
                  <a:gd name="T26" fmla="*/ 92 w 102"/>
                  <a:gd name="T27" fmla="*/ 21 h 100"/>
                  <a:gd name="T28" fmla="*/ 86 w 102"/>
                  <a:gd name="T29" fmla="*/ 14 h 100"/>
                  <a:gd name="T30" fmla="*/ 79 w 102"/>
                  <a:gd name="T31" fmla="*/ 8 h 100"/>
                  <a:gd name="T32" fmla="*/ 69 w 102"/>
                  <a:gd name="T33" fmla="*/ 4 h 100"/>
                  <a:gd name="T34" fmla="*/ 60 w 102"/>
                  <a:gd name="T35" fmla="*/ 0 h 100"/>
                  <a:gd name="T36" fmla="*/ 51 w 102"/>
                  <a:gd name="T37" fmla="*/ 0 h 100"/>
                  <a:gd name="T38" fmla="*/ 51 w 102"/>
                  <a:gd name="T39" fmla="*/ 0 h 100"/>
                  <a:gd name="T40" fmla="*/ 40 w 102"/>
                  <a:gd name="T41" fmla="*/ 0 h 100"/>
                  <a:gd name="T42" fmla="*/ 30 w 102"/>
                  <a:gd name="T43" fmla="*/ 4 h 100"/>
                  <a:gd name="T44" fmla="*/ 22 w 102"/>
                  <a:gd name="T45" fmla="*/ 8 h 100"/>
                  <a:gd name="T46" fmla="*/ 14 w 102"/>
                  <a:gd name="T47" fmla="*/ 14 h 100"/>
                  <a:gd name="T48" fmla="*/ 8 w 102"/>
                  <a:gd name="T49" fmla="*/ 21 h 100"/>
                  <a:gd name="T50" fmla="*/ 4 w 102"/>
                  <a:gd name="T51" fmla="*/ 30 h 100"/>
                  <a:gd name="T52" fmla="*/ 1 w 102"/>
                  <a:gd name="T53" fmla="*/ 40 h 100"/>
                  <a:gd name="T54" fmla="*/ 0 w 102"/>
                  <a:gd name="T55" fmla="*/ 49 h 100"/>
                  <a:gd name="T56" fmla="*/ 0 w 102"/>
                  <a:gd name="T57" fmla="*/ 49 h 100"/>
                  <a:gd name="T58" fmla="*/ 1 w 102"/>
                  <a:gd name="T59" fmla="*/ 60 h 100"/>
                  <a:gd name="T60" fmla="*/ 4 w 102"/>
                  <a:gd name="T61" fmla="*/ 69 h 100"/>
                  <a:gd name="T62" fmla="*/ 8 w 102"/>
                  <a:gd name="T63" fmla="*/ 78 h 100"/>
                  <a:gd name="T64" fmla="*/ 14 w 102"/>
                  <a:gd name="T65" fmla="*/ 86 h 100"/>
                  <a:gd name="T66" fmla="*/ 22 w 102"/>
                  <a:gd name="T67" fmla="*/ 92 h 100"/>
                  <a:gd name="T68" fmla="*/ 30 w 102"/>
                  <a:gd name="T69" fmla="*/ 96 h 100"/>
                  <a:gd name="T70" fmla="*/ 40 w 102"/>
                  <a:gd name="T71" fmla="*/ 99 h 100"/>
                  <a:gd name="T72" fmla="*/ 51 w 102"/>
                  <a:gd name="T73" fmla="*/ 100 h 100"/>
                  <a:gd name="T74" fmla="*/ 51 w 102"/>
                  <a:gd name="T75"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0">
                    <a:moveTo>
                      <a:pt x="51" y="100"/>
                    </a:moveTo>
                    <a:lnTo>
                      <a:pt x="51" y="100"/>
                    </a:lnTo>
                    <a:lnTo>
                      <a:pt x="60" y="99"/>
                    </a:lnTo>
                    <a:lnTo>
                      <a:pt x="69" y="96"/>
                    </a:lnTo>
                    <a:lnTo>
                      <a:pt x="79" y="92"/>
                    </a:lnTo>
                    <a:lnTo>
                      <a:pt x="86" y="86"/>
                    </a:lnTo>
                    <a:lnTo>
                      <a:pt x="92" y="78"/>
                    </a:lnTo>
                    <a:lnTo>
                      <a:pt x="98" y="69"/>
                    </a:lnTo>
                    <a:lnTo>
                      <a:pt x="100" y="60"/>
                    </a:lnTo>
                    <a:lnTo>
                      <a:pt x="102" y="49"/>
                    </a:lnTo>
                    <a:lnTo>
                      <a:pt x="102" y="49"/>
                    </a:lnTo>
                    <a:lnTo>
                      <a:pt x="100" y="40"/>
                    </a:lnTo>
                    <a:lnTo>
                      <a:pt x="98" y="30"/>
                    </a:lnTo>
                    <a:lnTo>
                      <a:pt x="92" y="21"/>
                    </a:lnTo>
                    <a:lnTo>
                      <a:pt x="86" y="14"/>
                    </a:lnTo>
                    <a:lnTo>
                      <a:pt x="79" y="8"/>
                    </a:lnTo>
                    <a:lnTo>
                      <a:pt x="69" y="4"/>
                    </a:lnTo>
                    <a:lnTo>
                      <a:pt x="60" y="0"/>
                    </a:lnTo>
                    <a:lnTo>
                      <a:pt x="51" y="0"/>
                    </a:lnTo>
                    <a:lnTo>
                      <a:pt x="51" y="0"/>
                    </a:lnTo>
                    <a:lnTo>
                      <a:pt x="40" y="0"/>
                    </a:lnTo>
                    <a:lnTo>
                      <a:pt x="30" y="4"/>
                    </a:lnTo>
                    <a:lnTo>
                      <a:pt x="22" y="8"/>
                    </a:lnTo>
                    <a:lnTo>
                      <a:pt x="14" y="14"/>
                    </a:lnTo>
                    <a:lnTo>
                      <a:pt x="8" y="21"/>
                    </a:lnTo>
                    <a:lnTo>
                      <a:pt x="4" y="30"/>
                    </a:lnTo>
                    <a:lnTo>
                      <a:pt x="1" y="40"/>
                    </a:lnTo>
                    <a:lnTo>
                      <a:pt x="0" y="49"/>
                    </a:lnTo>
                    <a:lnTo>
                      <a:pt x="0" y="49"/>
                    </a:lnTo>
                    <a:lnTo>
                      <a:pt x="1" y="60"/>
                    </a:lnTo>
                    <a:lnTo>
                      <a:pt x="4" y="69"/>
                    </a:lnTo>
                    <a:lnTo>
                      <a:pt x="8" y="78"/>
                    </a:lnTo>
                    <a:lnTo>
                      <a:pt x="14" y="86"/>
                    </a:lnTo>
                    <a:lnTo>
                      <a:pt x="22" y="92"/>
                    </a:lnTo>
                    <a:lnTo>
                      <a:pt x="30" y="96"/>
                    </a:lnTo>
                    <a:lnTo>
                      <a:pt x="40" y="99"/>
                    </a:lnTo>
                    <a:lnTo>
                      <a:pt x="51" y="100"/>
                    </a:lnTo>
                    <a:lnTo>
                      <a:pt x="51"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cxnSp>
          <p:nvCxnSpPr>
            <p:cNvPr id="38" name="Straight Connector 37">
              <a:extLst>
                <a:ext uri="{FF2B5EF4-FFF2-40B4-BE49-F238E27FC236}">
                  <a16:creationId xmlns:a16="http://schemas.microsoft.com/office/drawing/2014/main" id="{8086F4F2-D33D-4E9B-ADBA-66DC80DEA1C9}"/>
                </a:ext>
              </a:extLst>
            </p:cNvPr>
            <p:cNvCxnSpPr/>
            <p:nvPr/>
          </p:nvCxnSpPr>
          <p:spPr>
            <a:xfrm>
              <a:off x="1642112" y="5362904"/>
              <a:ext cx="0" cy="73453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6FA9AC3F-A6B6-41AF-9299-EDF82FDA8177}"/>
              </a:ext>
            </a:extLst>
          </p:cNvPr>
          <p:cNvGrpSpPr/>
          <p:nvPr/>
        </p:nvGrpSpPr>
        <p:grpSpPr>
          <a:xfrm>
            <a:off x="6418362" y="1941588"/>
            <a:ext cx="4859237" cy="276999"/>
            <a:chOff x="352352" y="899756"/>
            <a:chExt cx="10727143" cy="277686"/>
          </a:xfrm>
        </p:grpSpPr>
        <p:cxnSp>
          <p:nvCxnSpPr>
            <p:cNvPr id="47" name="Straight Connector 46">
              <a:extLst>
                <a:ext uri="{FF2B5EF4-FFF2-40B4-BE49-F238E27FC236}">
                  <a16:creationId xmlns:a16="http://schemas.microsoft.com/office/drawing/2014/main" id="{A0704741-135E-49E6-B190-DA991EFFA187}"/>
                </a:ext>
              </a:extLst>
            </p:cNvPr>
            <p:cNvCxnSpPr>
              <a:cxnSpLocks/>
            </p:cNvCxnSpPr>
            <p:nvPr/>
          </p:nvCxnSpPr>
          <p:spPr>
            <a:xfrm>
              <a:off x="564403" y="1037387"/>
              <a:ext cx="10515092"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6F1AA596-F518-44D0-B362-322C74F6A389}"/>
                </a:ext>
              </a:extLst>
            </p:cNvPr>
            <p:cNvSpPr/>
            <p:nvPr/>
          </p:nvSpPr>
          <p:spPr>
            <a:xfrm>
              <a:off x="352352" y="899756"/>
              <a:ext cx="4241612" cy="277686"/>
            </a:xfrm>
            <a:prstGeom prst="rect">
              <a:avLst/>
            </a:prstGeom>
            <a:solidFill>
              <a:schemeClr val="bg1"/>
            </a:solidFill>
          </p:spPr>
          <p:txBody>
            <a:bodyPr wrap="square">
              <a:spAutoFit/>
            </a:bodyPr>
            <a:lstStyle/>
            <a:p>
              <a:pPr marL="0" marR="0" lvl="0" indent="0" algn="l" defTabSz="121612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entral Pain Points</a:t>
              </a:r>
            </a:p>
          </p:txBody>
        </p:sp>
      </p:grpSp>
      <p:cxnSp>
        <p:nvCxnSpPr>
          <p:cNvPr id="49" name="Straight Connector 48">
            <a:extLst>
              <a:ext uri="{FF2B5EF4-FFF2-40B4-BE49-F238E27FC236}">
                <a16:creationId xmlns:a16="http://schemas.microsoft.com/office/drawing/2014/main" id="{9B3E3B49-28EF-4E0C-8415-3F03267A4D70}"/>
              </a:ext>
            </a:extLst>
          </p:cNvPr>
          <p:cNvCxnSpPr>
            <a:cxnSpLocks/>
          </p:cNvCxnSpPr>
          <p:nvPr/>
        </p:nvCxnSpPr>
        <p:spPr>
          <a:xfrm>
            <a:off x="7225788" y="2362760"/>
            <a:ext cx="0" cy="1397986"/>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EB1D276-7029-4BF7-B1E3-2D27F14E6611}"/>
              </a:ext>
            </a:extLst>
          </p:cNvPr>
          <p:cNvCxnSpPr>
            <a:cxnSpLocks/>
          </p:cNvCxnSpPr>
          <p:nvPr/>
        </p:nvCxnSpPr>
        <p:spPr>
          <a:xfrm>
            <a:off x="7225788" y="4189425"/>
            <a:ext cx="0" cy="602963"/>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51" name="Group 50">
            <a:extLst>
              <a:ext uri="{FF2B5EF4-FFF2-40B4-BE49-F238E27FC236}">
                <a16:creationId xmlns:a16="http://schemas.microsoft.com/office/drawing/2014/main" id="{860542D1-689E-461A-B49E-41A0BB95B689}"/>
              </a:ext>
            </a:extLst>
          </p:cNvPr>
          <p:cNvGrpSpPr>
            <a:grpSpLocks noChangeAspect="1"/>
          </p:cNvGrpSpPr>
          <p:nvPr/>
        </p:nvGrpSpPr>
        <p:grpSpPr>
          <a:xfrm>
            <a:off x="6484661" y="2468087"/>
            <a:ext cx="520700" cy="522288"/>
            <a:chOff x="3201988" y="5008563"/>
            <a:chExt cx="520700" cy="522288"/>
          </a:xfrm>
        </p:grpSpPr>
        <p:sp>
          <p:nvSpPr>
            <p:cNvPr id="52" name="Freeform 6">
              <a:extLst>
                <a:ext uri="{FF2B5EF4-FFF2-40B4-BE49-F238E27FC236}">
                  <a16:creationId xmlns:a16="http://schemas.microsoft.com/office/drawing/2014/main" id="{26324201-C28E-4D37-8EEC-231B60944547}"/>
                </a:ext>
              </a:extLst>
            </p:cNvPr>
            <p:cNvSpPr>
              <a:spLocks noEditPoints="1"/>
            </p:cNvSpPr>
            <p:nvPr/>
          </p:nvSpPr>
          <p:spPr bwMode="auto">
            <a:xfrm>
              <a:off x="3201988" y="5008563"/>
              <a:ext cx="520700" cy="522288"/>
            </a:xfrm>
            <a:custGeom>
              <a:avLst/>
              <a:gdLst>
                <a:gd name="T0" fmla="*/ 311 w 656"/>
                <a:gd name="T1" fmla="*/ 657 h 659"/>
                <a:gd name="T2" fmla="*/ 261 w 656"/>
                <a:gd name="T3" fmla="*/ 652 h 659"/>
                <a:gd name="T4" fmla="*/ 200 w 656"/>
                <a:gd name="T5" fmla="*/ 632 h 659"/>
                <a:gd name="T6" fmla="*/ 119 w 656"/>
                <a:gd name="T7" fmla="*/ 583 h 659"/>
                <a:gd name="T8" fmla="*/ 56 w 656"/>
                <a:gd name="T9" fmla="*/ 514 h 659"/>
                <a:gd name="T10" fmla="*/ 14 w 656"/>
                <a:gd name="T11" fmla="*/ 428 h 659"/>
                <a:gd name="T12" fmla="*/ 4 w 656"/>
                <a:gd name="T13" fmla="*/ 379 h 659"/>
                <a:gd name="T14" fmla="*/ 0 w 656"/>
                <a:gd name="T15" fmla="*/ 329 h 659"/>
                <a:gd name="T16" fmla="*/ 1 w 656"/>
                <a:gd name="T17" fmla="*/ 296 h 659"/>
                <a:gd name="T18" fmla="*/ 10 w 656"/>
                <a:gd name="T19" fmla="*/ 248 h 659"/>
                <a:gd name="T20" fmla="*/ 38 w 656"/>
                <a:gd name="T21" fmla="*/ 172 h 659"/>
                <a:gd name="T22" fmla="*/ 96 w 656"/>
                <a:gd name="T23" fmla="*/ 97 h 659"/>
                <a:gd name="T24" fmla="*/ 171 w 656"/>
                <a:gd name="T25" fmla="*/ 41 h 659"/>
                <a:gd name="T26" fmla="*/ 247 w 656"/>
                <a:gd name="T27" fmla="*/ 11 h 659"/>
                <a:gd name="T28" fmla="*/ 295 w 656"/>
                <a:gd name="T29" fmla="*/ 2 h 659"/>
                <a:gd name="T30" fmla="*/ 329 w 656"/>
                <a:gd name="T31" fmla="*/ 0 h 659"/>
                <a:gd name="T32" fmla="*/ 378 w 656"/>
                <a:gd name="T33" fmla="*/ 4 h 659"/>
                <a:gd name="T34" fmla="*/ 425 w 656"/>
                <a:gd name="T35" fmla="*/ 15 h 659"/>
                <a:gd name="T36" fmla="*/ 511 w 656"/>
                <a:gd name="T37" fmla="*/ 57 h 659"/>
                <a:gd name="T38" fmla="*/ 581 w 656"/>
                <a:gd name="T39" fmla="*/ 120 h 659"/>
                <a:gd name="T40" fmla="*/ 631 w 656"/>
                <a:gd name="T41" fmla="*/ 202 h 659"/>
                <a:gd name="T42" fmla="*/ 650 w 656"/>
                <a:gd name="T43" fmla="*/ 264 h 659"/>
                <a:gd name="T44" fmla="*/ 656 w 656"/>
                <a:gd name="T45" fmla="*/ 312 h 659"/>
                <a:gd name="T46" fmla="*/ 656 w 656"/>
                <a:gd name="T47" fmla="*/ 346 h 659"/>
                <a:gd name="T48" fmla="*/ 650 w 656"/>
                <a:gd name="T49" fmla="*/ 395 h 659"/>
                <a:gd name="T50" fmla="*/ 631 w 656"/>
                <a:gd name="T51" fmla="*/ 457 h 659"/>
                <a:gd name="T52" fmla="*/ 581 w 656"/>
                <a:gd name="T53" fmla="*/ 539 h 659"/>
                <a:gd name="T54" fmla="*/ 511 w 656"/>
                <a:gd name="T55" fmla="*/ 602 h 659"/>
                <a:gd name="T56" fmla="*/ 425 w 656"/>
                <a:gd name="T57" fmla="*/ 644 h 659"/>
                <a:gd name="T58" fmla="*/ 378 w 656"/>
                <a:gd name="T59" fmla="*/ 655 h 659"/>
                <a:gd name="T60" fmla="*/ 329 w 656"/>
                <a:gd name="T61" fmla="*/ 659 h 659"/>
                <a:gd name="T62" fmla="*/ 329 w 656"/>
                <a:gd name="T63" fmla="*/ 38 h 659"/>
                <a:gd name="T64" fmla="*/ 241 w 656"/>
                <a:gd name="T65" fmla="*/ 51 h 659"/>
                <a:gd name="T66" fmla="*/ 166 w 656"/>
                <a:gd name="T67" fmla="*/ 88 h 659"/>
                <a:gd name="T68" fmla="*/ 103 w 656"/>
                <a:gd name="T69" fmla="*/ 144 h 659"/>
                <a:gd name="T70" fmla="*/ 60 w 656"/>
                <a:gd name="T71" fmla="*/ 217 h 659"/>
                <a:gd name="T72" fmla="*/ 38 w 656"/>
                <a:gd name="T73" fmla="*/ 300 h 659"/>
                <a:gd name="T74" fmla="*/ 38 w 656"/>
                <a:gd name="T75" fmla="*/ 359 h 659"/>
                <a:gd name="T76" fmla="*/ 60 w 656"/>
                <a:gd name="T77" fmla="*/ 442 h 659"/>
                <a:gd name="T78" fmla="*/ 103 w 656"/>
                <a:gd name="T79" fmla="*/ 515 h 659"/>
                <a:gd name="T80" fmla="*/ 166 w 656"/>
                <a:gd name="T81" fmla="*/ 571 h 659"/>
                <a:gd name="T82" fmla="*/ 241 w 656"/>
                <a:gd name="T83" fmla="*/ 608 h 659"/>
                <a:gd name="T84" fmla="*/ 329 w 656"/>
                <a:gd name="T85" fmla="*/ 621 h 659"/>
                <a:gd name="T86" fmla="*/ 386 w 656"/>
                <a:gd name="T87" fmla="*/ 614 h 659"/>
                <a:gd name="T88" fmla="*/ 467 w 656"/>
                <a:gd name="T89" fmla="*/ 585 h 659"/>
                <a:gd name="T90" fmla="*/ 534 w 656"/>
                <a:gd name="T91" fmla="*/ 535 h 659"/>
                <a:gd name="T92" fmla="*/ 584 w 656"/>
                <a:gd name="T93" fmla="*/ 468 h 659"/>
                <a:gd name="T94" fmla="*/ 613 w 656"/>
                <a:gd name="T95" fmla="*/ 389 h 659"/>
                <a:gd name="T96" fmla="*/ 619 w 656"/>
                <a:gd name="T97" fmla="*/ 329 h 659"/>
                <a:gd name="T98" fmla="*/ 607 w 656"/>
                <a:gd name="T99" fmla="*/ 244 h 659"/>
                <a:gd name="T100" fmla="*/ 569 w 656"/>
                <a:gd name="T101" fmla="*/ 167 h 659"/>
                <a:gd name="T102" fmla="*/ 513 w 656"/>
                <a:gd name="T103" fmla="*/ 105 h 659"/>
                <a:gd name="T104" fmla="*/ 441 w 656"/>
                <a:gd name="T105" fmla="*/ 61 h 659"/>
                <a:gd name="T106" fmla="*/ 358 w 656"/>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6" h="659">
                  <a:moveTo>
                    <a:pt x="329" y="659"/>
                  </a:moveTo>
                  <a:lnTo>
                    <a:pt x="329" y="659"/>
                  </a:lnTo>
                  <a:lnTo>
                    <a:pt x="311" y="657"/>
                  </a:lnTo>
                  <a:lnTo>
                    <a:pt x="295" y="656"/>
                  </a:lnTo>
                  <a:lnTo>
                    <a:pt x="278" y="655"/>
                  </a:lnTo>
                  <a:lnTo>
                    <a:pt x="261" y="652"/>
                  </a:lnTo>
                  <a:lnTo>
                    <a:pt x="247" y="648"/>
                  </a:lnTo>
                  <a:lnTo>
                    <a:pt x="231" y="644"/>
                  </a:lnTo>
                  <a:lnTo>
                    <a:pt x="200" y="632"/>
                  </a:lnTo>
                  <a:lnTo>
                    <a:pt x="171" y="618"/>
                  </a:lnTo>
                  <a:lnTo>
                    <a:pt x="145" y="602"/>
                  </a:lnTo>
                  <a:lnTo>
                    <a:pt x="119" y="583"/>
                  </a:lnTo>
                  <a:lnTo>
                    <a:pt x="96" y="562"/>
                  </a:lnTo>
                  <a:lnTo>
                    <a:pt x="75" y="539"/>
                  </a:lnTo>
                  <a:lnTo>
                    <a:pt x="56" y="514"/>
                  </a:lnTo>
                  <a:lnTo>
                    <a:pt x="38" y="485"/>
                  </a:lnTo>
                  <a:lnTo>
                    <a:pt x="25" y="457"/>
                  </a:lnTo>
                  <a:lnTo>
                    <a:pt x="14" y="428"/>
                  </a:lnTo>
                  <a:lnTo>
                    <a:pt x="10" y="411"/>
                  </a:lnTo>
                  <a:lnTo>
                    <a:pt x="6" y="395"/>
                  </a:lnTo>
                  <a:lnTo>
                    <a:pt x="4" y="379"/>
                  </a:lnTo>
                  <a:lnTo>
                    <a:pt x="1" y="363"/>
                  </a:lnTo>
                  <a:lnTo>
                    <a:pt x="0" y="346"/>
                  </a:lnTo>
                  <a:lnTo>
                    <a:pt x="0" y="329"/>
                  </a:lnTo>
                  <a:lnTo>
                    <a:pt x="0" y="329"/>
                  </a:lnTo>
                  <a:lnTo>
                    <a:pt x="0" y="312"/>
                  </a:lnTo>
                  <a:lnTo>
                    <a:pt x="1" y="296"/>
                  </a:lnTo>
                  <a:lnTo>
                    <a:pt x="4" y="280"/>
                  </a:lnTo>
                  <a:lnTo>
                    <a:pt x="6" y="264"/>
                  </a:lnTo>
                  <a:lnTo>
                    <a:pt x="10" y="248"/>
                  </a:lnTo>
                  <a:lnTo>
                    <a:pt x="14" y="231"/>
                  </a:lnTo>
                  <a:lnTo>
                    <a:pt x="25" y="202"/>
                  </a:lnTo>
                  <a:lnTo>
                    <a:pt x="38" y="172"/>
                  </a:lnTo>
                  <a:lnTo>
                    <a:pt x="56" y="145"/>
                  </a:lnTo>
                  <a:lnTo>
                    <a:pt x="75" y="120"/>
                  </a:lnTo>
                  <a:lnTo>
                    <a:pt x="96" y="97"/>
                  </a:lnTo>
                  <a:lnTo>
                    <a:pt x="119" y="76"/>
                  </a:lnTo>
                  <a:lnTo>
                    <a:pt x="145" y="57"/>
                  </a:lnTo>
                  <a:lnTo>
                    <a:pt x="171" y="41"/>
                  </a:lnTo>
                  <a:lnTo>
                    <a:pt x="200" y="26"/>
                  </a:lnTo>
                  <a:lnTo>
                    <a:pt x="231" y="15"/>
                  </a:lnTo>
                  <a:lnTo>
                    <a:pt x="247" y="11"/>
                  </a:lnTo>
                  <a:lnTo>
                    <a:pt x="261" y="7"/>
                  </a:lnTo>
                  <a:lnTo>
                    <a:pt x="278" y="4"/>
                  </a:lnTo>
                  <a:lnTo>
                    <a:pt x="295" y="2"/>
                  </a:lnTo>
                  <a:lnTo>
                    <a:pt x="311" y="0"/>
                  </a:lnTo>
                  <a:lnTo>
                    <a:pt x="329" y="0"/>
                  </a:lnTo>
                  <a:lnTo>
                    <a:pt x="329" y="0"/>
                  </a:lnTo>
                  <a:lnTo>
                    <a:pt x="345" y="0"/>
                  </a:lnTo>
                  <a:lnTo>
                    <a:pt x="362" y="2"/>
                  </a:lnTo>
                  <a:lnTo>
                    <a:pt x="378" y="4"/>
                  </a:lnTo>
                  <a:lnTo>
                    <a:pt x="394" y="7"/>
                  </a:lnTo>
                  <a:lnTo>
                    <a:pt x="411" y="11"/>
                  </a:lnTo>
                  <a:lnTo>
                    <a:pt x="425" y="15"/>
                  </a:lnTo>
                  <a:lnTo>
                    <a:pt x="456" y="26"/>
                  </a:lnTo>
                  <a:lnTo>
                    <a:pt x="484" y="41"/>
                  </a:lnTo>
                  <a:lnTo>
                    <a:pt x="511" y="57"/>
                  </a:lnTo>
                  <a:lnTo>
                    <a:pt x="537" y="76"/>
                  </a:lnTo>
                  <a:lnTo>
                    <a:pt x="561" y="97"/>
                  </a:lnTo>
                  <a:lnTo>
                    <a:pt x="581" y="120"/>
                  </a:lnTo>
                  <a:lnTo>
                    <a:pt x="601" y="145"/>
                  </a:lnTo>
                  <a:lnTo>
                    <a:pt x="617" y="172"/>
                  </a:lnTo>
                  <a:lnTo>
                    <a:pt x="631" y="202"/>
                  </a:lnTo>
                  <a:lnTo>
                    <a:pt x="642" y="231"/>
                  </a:lnTo>
                  <a:lnTo>
                    <a:pt x="647" y="248"/>
                  </a:lnTo>
                  <a:lnTo>
                    <a:pt x="650" y="264"/>
                  </a:lnTo>
                  <a:lnTo>
                    <a:pt x="654" y="280"/>
                  </a:lnTo>
                  <a:lnTo>
                    <a:pt x="655" y="296"/>
                  </a:lnTo>
                  <a:lnTo>
                    <a:pt x="656" y="312"/>
                  </a:lnTo>
                  <a:lnTo>
                    <a:pt x="656" y="329"/>
                  </a:lnTo>
                  <a:lnTo>
                    <a:pt x="656" y="329"/>
                  </a:lnTo>
                  <a:lnTo>
                    <a:pt x="656" y="346"/>
                  </a:lnTo>
                  <a:lnTo>
                    <a:pt x="655" y="363"/>
                  </a:lnTo>
                  <a:lnTo>
                    <a:pt x="654" y="379"/>
                  </a:lnTo>
                  <a:lnTo>
                    <a:pt x="650" y="395"/>
                  </a:lnTo>
                  <a:lnTo>
                    <a:pt x="647" y="411"/>
                  </a:lnTo>
                  <a:lnTo>
                    <a:pt x="642" y="428"/>
                  </a:lnTo>
                  <a:lnTo>
                    <a:pt x="631" y="457"/>
                  </a:lnTo>
                  <a:lnTo>
                    <a:pt x="617" y="485"/>
                  </a:lnTo>
                  <a:lnTo>
                    <a:pt x="601" y="514"/>
                  </a:lnTo>
                  <a:lnTo>
                    <a:pt x="581" y="539"/>
                  </a:lnTo>
                  <a:lnTo>
                    <a:pt x="561" y="562"/>
                  </a:lnTo>
                  <a:lnTo>
                    <a:pt x="537" y="583"/>
                  </a:lnTo>
                  <a:lnTo>
                    <a:pt x="511" y="602"/>
                  </a:lnTo>
                  <a:lnTo>
                    <a:pt x="484" y="618"/>
                  </a:lnTo>
                  <a:lnTo>
                    <a:pt x="456" y="632"/>
                  </a:lnTo>
                  <a:lnTo>
                    <a:pt x="425" y="644"/>
                  </a:lnTo>
                  <a:lnTo>
                    <a:pt x="411" y="648"/>
                  </a:lnTo>
                  <a:lnTo>
                    <a:pt x="394" y="652"/>
                  </a:lnTo>
                  <a:lnTo>
                    <a:pt x="378" y="655"/>
                  </a:lnTo>
                  <a:lnTo>
                    <a:pt x="362" y="656"/>
                  </a:lnTo>
                  <a:lnTo>
                    <a:pt x="345" y="657"/>
                  </a:lnTo>
                  <a:lnTo>
                    <a:pt x="329" y="659"/>
                  </a:lnTo>
                  <a:lnTo>
                    <a:pt x="329" y="659"/>
                  </a:lnTo>
                  <a:close/>
                  <a:moveTo>
                    <a:pt x="329" y="38"/>
                  </a:moveTo>
                  <a:lnTo>
                    <a:pt x="329" y="38"/>
                  </a:lnTo>
                  <a:lnTo>
                    <a:pt x="299" y="39"/>
                  </a:lnTo>
                  <a:lnTo>
                    <a:pt x="270" y="45"/>
                  </a:lnTo>
                  <a:lnTo>
                    <a:pt x="241" y="51"/>
                  </a:lnTo>
                  <a:lnTo>
                    <a:pt x="214" y="61"/>
                  </a:lnTo>
                  <a:lnTo>
                    <a:pt x="189" y="73"/>
                  </a:lnTo>
                  <a:lnTo>
                    <a:pt x="166" y="88"/>
                  </a:lnTo>
                  <a:lnTo>
                    <a:pt x="143" y="105"/>
                  </a:lnTo>
                  <a:lnTo>
                    <a:pt x="122" y="124"/>
                  </a:lnTo>
                  <a:lnTo>
                    <a:pt x="103" y="144"/>
                  </a:lnTo>
                  <a:lnTo>
                    <a:pt x="87" y="167"/>
                  </a:lnTo>
                  <a:lnTo>
                    <a:pt x="72" y="191"/>
                  </a:lnTo>
                  <a:lnTo>
                    <a:pt x="60" y="217"/>
                  </a:lnTo>
                  <a:lnTo>
                    <a:pt x="51" y="244"/>
                  </a:lnTo>
                  <a:lnTo>
                    <a:pt x="42" y="270"/>
                  </a:lnTo>
                  <a:lnTo>
                    <a:pt x="38" y="300"/>
                  </a:lnTo>
                  <a:lnTo>
                    <a:pt x="37" y="329"/>
                  </a:lnTo>
                  <a:lnTo>
                    <a:pt x="37" y="329"/>
                  </a:lnTo>
                  <a:lnTo>
                    <a:pt x="38" y="359"/>
                  </a:lnTo>
                  <a:lnTo>
                    <a:pt x="42" y="389"/>
                  </a:lnTo>
                  <a:lnTo>
                    <a:pt x="51" y="415"/>
                  </a:lnTo>
                  <a:lnTo>
                    <a:pt x="60" y="442"/>
                  </a:lnTo>
                  <a:lnTo>
                    <a:pt x="72" y="468"/>
                  </a:lnTo>
                  <a:lnTo>
                    <a:pt x="87" y="492"/>
                  </a:lnTo>
                  <a:lnTo>
                    <a:pt x="103" y="515"/>
                  </a:lnTo>
                  <a:lnTo>
                    <a:pt x="122" y="535"/>
                  </a:lnTo>
                  <a:lnTo>
                    <a:pt x="143" y="554"/>
                  </a:lnTo>
                  <a:lnTo>
                    <a:pt x="166" y="571"/>
                  </a:lnTo>
                  <a:lnTo>
                    <a:pt x="189" y="585"/>
                  </a:lnTo>
                  <a:lnTo>
                    <a:pt x="214" y="598"/>
                  </a:lnTo>
                  <a:lnTo>
                    <a:pt x="241" y="608"/>
                  </a:lnTo>
                  <a:lnTo>
                    <a:pt x="270" y="614"/>
                  </a:lnTo>
                  <a:lnTo>
                    <a:pt x="299" y="620"/>
                  </a:lnTo>
                  <a:lnTo>
                    <a:pt x="329" y="621"/>
                  </a:lnTo>
                  <a:lnTo>
                    <a:pt x="329" y="621"/>
                  </a:lnTo>
                  <a:lnTo>
                    <a:pt x="358" y="620"/>
                  </a:lnTo>
                  <a:lnTo>
                    <a:pt x="386" y="614"/>
                  </a:lnTo>
                  <a:lnTo>
                    <a:pt x="415" y="608"/>
                  </a:lnTo>
                  <a:lnTo>
                    <a:pt x="441" y="598"/>
                  </a:lnTo>
                  <a:lnTo>
                    <a:pt x="467" y="585"/>
                  </a:lnTo>
                  <a:lnTo>
                    <a:pt x="491" y="571"/>
                  </a:lnTo>
                  <a:lnTo>
                    <a:pt x="513" y="554"/>
                  </a:lnTo>
                  <a:lnTo>
                    <a:pt x="534" y="535"/>
                  </a:lnTo>
                  <a:lnTo>
                    <a:pt x="553" y="515"/>
                  </a:lnTo>
                  <a:lnTo>
                    <a:pt x="569" y="492"/>
                  </a:lnTo>
                  <a:lnTo>
                    <a:pt x="584" y="468"/>
                  </a:lnTo>
                  <a:lnTo>
                    <a:pt x="596" y="442"/>
                  </a:lnTo>
                  <a:lnTo>
                    <a:pt x="607" y="415"/>
                  </a:lnTo>
                  <a:lnTo>
                    <a:pt x="613" y="389"/>
                  </a:lnTo>
                  <a:lnTo>
                    <a:pt x="617" y="359"/>
                  </a:lnTo>
                  <a:lnTo>
                    <a:pt x="619" y="329"/>
                  </a:lnTo>
                  <a:lnTo>
                    <a:pt x="619" y="329"/>
                  </a:lnTo>
                  <a:lnTo>
                    <a:pt x="617" y="300"/>
                  </a:lnTo>
                  <a:lnTo>
                    <a:pt x="613" y="270"/>
                  </a:lnTo>
                  <a:lnTo>
                    <a:pt x="607" y="244"/>
                  </a:lnTo>
                  <a:lnTo>
                    <a:pt x="596" y="217"/>
                  </a:lnTo>
                  <a:lnTo>
                    <a:pt x="584" y="191"/>
                  </a:lnTo>
                  <a:lnTo>
                    <a:pt x="569" y="167"/>
                  </a:lnTo>
                  <a:lnTo>
                    <a:pt x="553" y="144"/>
                  </a:lnTo>
                  <a:lnTo>
                    <a:pt x="534" y="124"/>
                  </a:lnTo>
                  <a:lnTo>
                    <a:pt x="513" y="105"/>
                  </a:lnTo>
                  <a:lnTo>
                    <a:pt x="491" y="88"/>
                  </a:lnTo>
                  <a:lnTo>
                    <a:pt x="467" y="73"/>
                  </a:lnTo>
                  <a:lnTo>
                    <a:pt x="441" y="61"/>
                  </a:lnTo>
                  <a:lnTo>
                    <a:pt x="415" y="51"/>
                  </a:lnTo>
                  <a:lnTo>
                    <a:pt x="386" y="45"/>
                  </a:lnTo>
                  <a:lnTo>
                    <a:pt x="358"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3" name="Freeform 125">
              <a:extLst>
                <a:ext uri="{FF2B5EF4-FFF2-40B4-BE49-F238E27FC236}">
                  <a16:creationId xmlns:a16="http://schemas.microsoft.com/office/drawing/2014/main" id="{2E2939D0-691C-4043-A3C2-4646F3346BFB}"/>
                </a:ext>
              </a:extLst>
            </p:cNvPr>
            <p:cNvSpPr>
              <a:spLocks noEditPoints="1"/>
            </p:cNvSpPr>
            <p:nvPr/>
          </p:nvSpPr>
          <p:spPr bwMode="auto">
            <a:xfrm>
              <a:off x="3332163" y="5143500"/>
              <a:ext cx="260350" cy="258763"/>
            </a:xfrm>
            <a:custGeom>
              <a:avLst/>
              <a:gdLst>
                <a:gd name="T0" fmla="*/ 146 w 326"/>
                <a:gd name="T1" fmla="*/ 0 h 326"/>
                <a:gd name="T2" fmla="*/ 99 w 326"/>
                <a:gd name="T3" fmla="*/ 12 h 326"/>
                <a:gd name="T4" fmla="*/ 59 w 326"/>
                <a:gd name="T5" fmla="*/ 37 h 326"/>
                <a:gd name="T6" fmla="*/ 28 w 326"/>
                <a:gd name="T7" fmla="*/ 71 h 326"/>
                <a:gd name="T8" fmla="*/ 6 w 326"/>
                <a:gd name="T9" fmla="*/ 114 h 326"/>
                <a:gd name="T10" fmla="*/ 0 w 326"/>
                <a:gd name="T11" fmla="*/ 162 h 326"/>
                <a:gd name="T12" fmla="*/ 2 w 326"/>
                <a:gd name="T13" fmla="*/ 196 h 326"/>
                <a:gd name="T14" fmla="*/ 20 w 326"/>
                <a:gd name="T15" fmla="*/ 240 h 326"/>
                <a:gd name="T16" fmla="*/ 48 w 326"/>
                <a:gd name="T17" fmla="*/ 278 h 326"/>
                <a:gd name="T18" fmla="*/ 86 w 326"/>
                <a:gd name="T19" fmla="*/ 306 h 326"/>
                <a:gd name="T20" fmla="*/ 130 w 326"/>
                <a:gd name="T21" fmla="*/ 323 h 326"/>
                <a:gd name="T22" fmla="*/ 164 w 326"/>
                <a:gd name="T23" fmla="*/ 326 h 326"/>
                <a:gd name="T24" fmla="*/ 212 w 326"/>
                <a:gd name="T25" fmla="*/ 319 h 326"/>
                <a:gd name="T26" fmla="*/ 255 w 326"/>
                <a:gd name="T27" fmla="*/ 298 h 326"/>
                <a:gd name="T28" fmla="*/ 289 w 326"/>
                <a:gd name="T29" fmla="*/ 267 h 326"/>
                <a:gd name="T30" fmla="*/ 314 w 326"/>
                <a:gd name="T31" fmla="*/ 227 h 326"/>
                <a:gd name="T32" fmla="*/ 326 w 326"/>
                <a:gd name="T33" fmla="*/ 180 h 326"/>
                <a:gd name="T34" fmla="*/ 326 w 326"/>
                <a:gd name="T35" fmla="*/ 146 h 326"/>
                <a:gd name="T36" fmla="*/ 314 w 326"/>
                <a:gd name="T37" fmla="*/ 99 h 326"/>
                <a:gd name="T38" fmla="*/ 289 w 326"/>
                <a:gd name="T39" fmla="*/ 59 h 326"/>
                <a:gd name="T40" fmla="*/ 255 w 326"/>
                <a:gd name="T41" fmla="*/ 28 h 326"/>
                <a:gd name="T42" fmla="*/ 212 w 326"/>
                <a:gd name="T43" fmla="*/ 6 h 326"/>
                <a:gd name="T44" fmla="*/ 164 w 326"/>
                <a:gd name="T45" fmla="*/ 0 h 326"/>
                <a:gd name="T46" fmla="*/ 268 w 326"/>
                <a:gd name="T47" fmla="*/ 75 h 326"/>
                <a:gd name="T48" fmla="*/ 287 w 326"/>
                <a:gd name="T49" fmla="*/ 106 h 326"/>
                <a:gd name="T50" fmla="*/ 298 w 326"/>
                <a:gd name="T51" fmla="*/ 139 h 326"/>
                <a:gd name="T52" fmla="*/ 301 w 326"/>
                <a:gd name="T53" fmla="*/ 162 h 326"/>
                <a:gd name="T54" fmla="*/ 294 w 326"/>
                <a:gd name="T55" fmla="*/ 204 h 326"/>
                <a:gd name="T56" fmla="*/ 276 w 326"/>
                <a:gd name="T57" fmla="*/ 239 h 326"/>
                <a:gd name="T58" fmla="*/ 251 w 326"/>
                <a:gd name="T59" fmla="*/ 268 h 326"/>
                <a:gd name="T60" fmla="*/ 216 w 326"/>
                <a:gd name="T61" fmla="*/ 290 h 326"/>
                <a:gd name="T62" fmla="*/ 177 w 326"/>
                <a:gd name="T63" fmla="*/ 299 h 326"/>
                <a:gd name="T64" fmla="*/ 152 w 326"/>
                <a:gd name="T65" fmla="*/ 299 h 326"/>
                <a:gd name="T66" fmla="*/ 117 w 326"/>
                <a:gd name="T67" fmla="*/ 292 h 326"/>
                <a:gd name="T68" fmla="*/ 86 w 326"/>
                <a:gd name="T69" fmla="*/ 275 h 326"/>
                <a:gd name="T70" fmla="*/ 251 w 326"/>
                <a:gd name="T71" fmla="*/ 57 h 326"/>
                <a:gd name="T72" fmla="*/ 51 w 326"/>
                <a:gd name="T73" fmla="*/ 240 h 326"/>
                <a:gd name="T74" fmla="*/ 33 w 326"/>
                <a:gd name="T75" fmla="*/ 209 h 326"/>
                <a:gd name="T76" fmla="*/ 27 w 326"/>
                <a:gd name="T77" fmla="*/ 174 h 326"/>
                <a:gd name="T78" fmla="*/ 27 w 326"/>
                <a:gd name="T79" fmla="*/ 149 h 326"/>
                <a:gd name="T80" fmla="*/ 36 w 326"/>
                <a:gd name="T81" fmla="*/ 110 h 326"/>
                <a:gd name="T82" fmla="*/ 58 w 326"/>
                <a:gd name="T83" fmla="*/ 75 h 326"/>
                <a:gd name="T84" fmla="*/ 87 w 326"/>
                <a:gd name="T85" fmla="*/ 49 h 326"/>
                <a:gd name="T86" fmla="*/ 122 w 326"/>
                <a:gd name="T87" fmla="*/ 32 h 326"/>
                <a:gd name="T88" fmla="*/ 164 w 326"/>
                <a:gd name="T89" fmla="*/ 25 h 326"/>
                <a:gd name="T90" fmla="*/ 186 w 326"/>
                <a:gd name="T91" fmla="*/ 28 h 326"/>
                <a:gd name="T92" fmla="*/ 220 w 326"/>
                <a:gd name="T93" fmla="*/ 39 h 326"/>
                <a:gd name="T94" fmla="*/ 251 w 326"/>
                <a:gd name="T95" fmla="*/ 57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6" h="326">
                  <a:moveTo>
                    <a:pt x="164" y="0"/>
                  </a:moveTo>
                  <a:lnTo>
                    <a:pt x="164" y="0"/>
                  </a:lnTo>
                  <a:lnTo>
                    <a:pt x="146" y="0"/>
                  </a:lnTo>
                  <a:lnTo>
                    <a:pt x="130" y="2"/>
                  </a:lnTo>
                  <a:lnTo>
                    <a:pt x="114" y="6"/>
                  </a:lnTo>
                  <a:lnTo>
                    <a:pt x="99" y="12"/>
                  </a:lnTo>
                  <a:lnTo>
                    <a:pt x="86" y="18"/>
                  </a:lnTo>
                  <a:lnTo>
                    <a:pt x="72" y="28"/>
                  </a:lnTo>
                  <a:lnTo>
                    <a:pt x="59" y="37"/>
                  </a:lnTo>
                  <a:lnTo>
                    <a:pt x="48" y="47"/>
                  </a:lnTo>
                  <a:lnTo>
                    <a:pt x="37" y="59"/>
                  </a:lnTo>
                  <a:lnTo>
                    <a:pt x="28" y="71"/>
                  </a:lnTo>
                  <a:lnTo>
                    <a:pt x="20" y="84"/>
                  </a:lnTo>
                  <a:lnTo>
                    <a:pt x="13" y="99"/>
                  </a:lnTo>
                  <a:lnTo>
                    <a:pt x="6" y="114"/>
                  </a:lnTo>
                  <a:lnTo>
                    <a:pt x="2" y="130"/>
                  </a:lnTo>
                  <a:lnTo>
                    <a:pt x="1" y="146"/>
                  </a:lnTo>
                  <a:lnTo>
                    <a:pt x="0" y="162"/>
                  </a:lnTo>
                  <a:lnTo>
                    <a:pt x="0" y="162"/>
                  </a:lnTo>
                  <a:lnTo>
                    <a:pt x="1" y="180"/>
                  </a:lnTo>
                  <a:lnTo>
                    <a:pt x="2" y="196"/>
                  </a:lnTo>
                  <a:lnTo>
                    <a:pt x="6" y="211"/>
                  </a:lnTo>
                  <a:lnTo>
                    <a:pt x="13" y="227"/>
                  </a:lnTo>
                  <a:lnTo>
                    <a:pt x="20" y="240"/>
                  </a:lnTo>
                  <a:lnTo>
                    <a:pt x="28" y="254"/>
                  </a:lnTo>
                  <a:lnTo>
                    <a:pt x="37" y="267"/>
                  </a:lnTo>
                  <a:lnTo>
                    <a:pt x="48" y="278"/>
                  </a:lnTo>
                  <a:lnTo>
                    <a:pt x="59" y="288"/>
                  </a:lnTo>
                  <a:lnTo>
                    <a:pt x="72" y="298"/>
                  </a:lnTo>
                  <a:lnTo>
                    <a:pt x="86" y="306"/>
                  </a:lnTo>
                  <a:lnTo>
                    <a:pt x="99" y="313"/>
                  </a:lnTo>
                  <a:lnTo>
                    <a:pt x="114" y="319"/>
                  </a:lnTo>
                  <a:lnTo>
                    <a:pt x="130" y="323"/>
                  </a:lnTo>
                  <a:lnTo>
                    <a:pt x="146" y="325"/>
                  </a:lnTo>
                  <a:lnTo>
                    <a:pt x="164" y="326"/>
                  </a:lnTo>
                  <a:lnTo>
                    <a:pt x="164" y="326"/>
                  </a:lnTo>
                  <a:lnTo>
                    <a:pt x="180" y="325"/>
                  </a:lnTo>
                  <a:lnTo>
                    <a:pt x="196" y="323"/>
                  </a:lnTo>
                  <a:lnTo>
                    <a:pt x="212" y="319"/>
                  </a:lnTo>
                  <a:lnTo>
                    <a:pt x="227" y="313"/>
                  </a:lnTo>
                  <a:lnTo>
                    <a:pt x="242" y="306"/>
                  </a:lnTo>
                  <a:lnTo>
                    <a:pt x="255" y="298"/>
                  </a:lnTo>
                  <a:lnTo>
                    <a:pt x="267" y="288"/>
                  </a:lnTo>
                  <a:lnTo>
                    <a:pt x="279" y="278"/>
                  </a:lnTo>
                  <a:lnTo>
                    <a:pt x="289" y="267"/>
                  </a:lnTo>
                  <a:lnTo>
                    <a:pt x="298" y="254"/>
                  </a:lnTo>
                  <a:lnTo>
                    <a:pt x="307" y="240"/>
                  </a:lnTo>
                  <a:lnTo>
                    <a:pt x="314" y="227"/>
                  </a:lnTo>
                  <a:lnTo>
                    <a:pt x="319" y="211"/>
                  </a:lnTo>
                  <a:lnTo>
                    <a:pt x="323" y="196"/>
                  </a:lnTo>
                  <a:lnTo>
                    <a:pt x="326" y="180"/>
                  </a:lnTo>
                  <a:lnTo>
                    <a:pt x="326" y="162"/>
                  </a:lnTo>
                  <a:lnTo>
                    <a:pt x="326" y="162"/>
                  </a:lnTo>
                  <a:lnTo>
                    <a:pt x="326" y="146"/>
                  </a:lnTo>
                  <a:lnTo>
                    <a:pt x="323" y="130"/>
                  </a:lnTo>
                  <a:lnTo>
                    <a:pt x="319" y="114"/>
                  </a:lnTo>
                  <a:lnTo>
                    <a:pt x="314" y="99"/>
                  </a:lnTo>
                  <a:lnTo>
                    <a:pt x="307" y="84"/>
                  </a:lnTo>
                  <a:lnTo>
                    <a:pt x="298" y="71"/>
                  </a:lnTo>
                  <a:lnTo>
                    <a:pt x="289" y="59"/>
                  </a:lnTo>
                  <a:lnTo>
                    <a:pt x="279" y="47"/>
                  </a:lnTo>
                  <a:lnTo>
                    <a:pt x="267" y="37"/>
                  </a:lnTo>
                  <a:lnTo>
                    <a:pt x="255" y="28"/>
                  </a:lnTo>
                  <a:lnTo>
                    <a:pt x="242" y="18"/>
                  </a:lnTo>
                  <a:lnTo>
                    <a:pt x="227" y="12"/>
                  </a:lnTo>
                  <a:lnTo>
                    <a:pt x="212" y="6"/>
                  </a:lnTo>
                  <a:lnTo>
                    <a:pt x="196" y="2"/>
                  </a:lnTo>
                  <a:lnTo>
                    <a:pt x="180" y="0"/>
                  </a:lnTo>
                  <a:lnTo>
                    <a:pt x="164" y="0"/>
                  </a:lnTo>
                  <a:lnTo>
                    <a:pt x="164" y="0"/>
                  </a:lnTo>
                  <a:close/>
                  <a:moveTo>
                    <a:pt x="268" y="75"/>
                  </a:moveTo>
                  <a:lnTo>
                    <a:pt x="268" y="75"/>
                  </a:lnTo>
                  <a:lnTo>
                    <a:pt x="276" y="84"/>
                  </a:lnTo>
                  <a:lnTo>
                    <a:pt x="282" y="95"/>
                  </a:lnTo>
                  <a:lnTo>
                    <a:pt x="287" y="106"/>
                  </a:lnTo>
                  <a:lnTo>
                    <a:pt x="293" y="116"/>
                  </a:lnTo>
                  <a:lnTo>
                    <a:pt x="295" y="127"/>
                  </a:lnTo>
                  <a:lnTo>
                    <a:pt x="298" y="139"/>
                  </a:lnTo>
                  <a:lnTo>
                    <a:pt x="299" y="150"/>
                  </a:lnTo>
                  <a:lnTo>
                    <a:pt x="301" y="162"/>
                  </a:lnTo>
                  <a:lnTo>
                    <a:pt x="301" y="162"/>
                  </a:lnTo>
                  <a:lnTo>
                    <a:pt x="299" y="177"/>
                  </a:lnTo>
                  <a:lnTo>
                    <a:pt x="298" y="190"/>
                  </a:lnTo>
                  <a:lnTo>
                    <a:pt x="294" y="204"/>
                  </a:lnTo>
                  <a:lnTo>
                    <a:pt x="290" y="216"/>
                  </a:lnTo>
                  <a:lnTo>
                    <a:pt x="283" y="228"/>
                  </a:lnTo>
                  <a:lnTo>
                    <a:pt x="276" y="239"/>
                  </a:lnTo>
                  <a:lnTo>
                    <a:pt x="268" y="249"/>
                  </a:lnTo>
                  <a:lnTo>
                    <a:pt x="260" y="260"/>
                  </a:lnTo>
                  <a:lnTo>
                    <a:pt x="251" y="268"/>
                  </a:lnTo>
                  <a:lnTo>
                    <a:pt x="240" y="276"/>
                  </a:lnTo>
                  <a:lnTo>
                    <a:pt x="228" y="283"/>
                  </a:lnTo>
                  <a:lnTo>
                    <a:pt x="216" y="290"/>
                  </a:lnTo>
                  <a:lnTo>
                    <a:pt x="204" y="294"/>
                  </a:lnTo>
                  <a:lnTo>
                    <a:pt x="190" y="297"/>
                  </a:lnTo>
                  <a:lnTo>
                    <a:pt x="177" y="299"/>
                  </a:lnTo>
                  <a:lnTo>
                    <a:pt x="164" y="301"/>
                  </a:lnTo>
                  <a:lnTo>
                    <a:pt x="164" y="301"/>
                  </a:lnTo>
                  <a:lnTo>
                    <a:pt x="152" y="299"/>
                  </a:lnTo>
                  <a:lnTo>
                    <a:pt x="139" y="298"/>
                  </a:lnTo>
                  <a:lnTo>
                    <a:pt x="127" y="295"/>
                  </a:lnTo>
                  <a:lnTo>
                    <a:pt x="117" y="292"/>
                  </a:lnTo>
                  <a:lnTo>
                    <a:pt x="106" y="287"/>
                  </a:lnTo>
                  <a:lnTo>
                    <a:pt x="95" y="282"/>
                  </a:lnTo>
                  <a:lnTo>
                    <a:pt x="86" y="275"/>
                  </a:lnTo>
                  <a:lnTo>
                    <a:pt x="76" y="268"/>
                  </a:lnTo>
                  <a:lnTo>
                    <a:pt x="268" y="75"/>
                  </a:lnTo>
                  <a:close/>
                  <a:moveTo>
                    <a:pt x="251" y="57"/>
                  </a:moveTo>
                  <a:lnTo>
                    <a:pt x="58" y="249"/>
                  </a:lnTo>
                  <a:lnTo>
                    <a:pt x="58" y="249"/>
                  </a:lnTo>
                  <a:lnTo>
                    <a:pt x="51" y="240"/>
                  </a:lnTo>
                  <a:lnTo>
                    <a:pt x="44" y="231"/>
                  </a:lnTo>
                  <a:lnTo>
                    <a:pt x="39" y="220"/>
                  </a:lnTo>
                  <a:lnTo>
                    <a:pt x="33" y="209"/>
                  </a:lnTo>
                  <a:lnTo>
                    <a:pt x="31" y="198"/>
                  </a:lnTo>
                  <a:lnTo>
                    <a:pt x="28" y="186"/>
                  </a:lnTo>
                  <a:lnTo>
                    <a:pt x="27" y="174"/>
                  </a:lnTo>
                  <a:lnTo>
                    <a:pt x="25" y="162"/>
                  </a:lnTo>
                  <a:lnTo>
                    <a:pt x="25" y="162"/>
                  </a:lnTo>
                  <a:lnTo>
                    <a:pt x="27" y="149"/>
                  </a:lnTo>
                  <a:lnTo>
                    <a:pt x="28" y="135"/>
                  </a:lnTo>
                  <a:lnTo>
                    <a:pt x="32" y="122"/>
                  </a:lnTo>
                  <a:lnTo>
                    <a:pt x="36" y="110"/>
                  </a:lnTo>
                  <a:lnTo>
                    <a:pt x="43" y="98"/>
                  </a:lnTo>
                  <a:lnTo>
                    <a:pt x="49" y="86"/>
                  </a:lnTo>
                  <a:lnTo>
                    <a:pt x="58" y="75"/>
                  </a:lnTo>
                  <a:lnTo>
                    <a:pt x="66" y="65"/>
                  </a:lnTo>
                  <a:lnTo>
                    <a:pt x="76" y="57"/>
                  </a:lnTo>
                  <a:lnTo>
                    <a:pt x="87" y="49"/>
                  </a:lnTo>
                  <a:lnTo>
                    <a:pt x="98" y="41"/>
                  </a:lnTo>
                  <a:lnTo>
                    <a:pt x="110" y="36"/>
                  </a:lnTo>
                  <a:lnTo>
                    <a:pt x="122" y="32"/>
                  </a:lnTo>
                  <a:lnTo>
                    <a:pt x="135" y="28"/>
                  </a:lnTo>
                  <a:lnTo>
                    <a:pt x="149" y="26"/>
                  </a:lnTo>
                  <a:lnTo>
                    <a:pt x="164" y="25"/>
                  </a:lnTo>
                  <a:lnTo>
                    <a:pt x="164" y="25"/>
                  </a:lnTo>
                  <a:lnTo>
                    <a:pt x="174" y="26"/>
                  </a:lnTo>
                  <a:lnTo>
                    <a:pt x="186" y="28"/>
                  </a:lnTo>
                  <a:lnTo>
                    <a:pt x="199" y="31"/>
                  </a:lnTo>
                  <a:lnTo>
                    <a:pt x="209" y="33"/>
                  </a:lnTo>
                  <a:lnTo>
                    <a:pt x="220" y="39"/>
                  </a:lnTo>
                  <a:lnTo>
                    <a:pt x="231" y="44"/>
                  </a:lnTo>
                  <a:lnTo>
                    <a:pt x="242" y="49"/>
                  </a:lnTo>
                  <a:lnTo>
                    <a:pt x="251" y="57"/>
                  </a:lnTo>
                  <a:lnTo>
                    <a:pt x="251" y="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54" name="Group 53">
            <a:extLst>
              <a:ext uri="{FF2B5EF4-FFF2-40B4-BE49-F238E27FC236}">
                <a16:creationId xmlns:a16="http://schemas.microsoft.com/office/drawing/2014/main" id="{5C53B8DD-EEF3-458D-97DB-671188025C18}"/>
              </a:ext>
            </a:extLst>
          </p:cNvPr>
          <p:cNvGrpSpPr>
            <a:grpSpLocks noChangeAspect="1"/>
          </p:cNvGrpSpPr>
          <p:nvPr/>
        </p:nvGrpSpPr>
        <p:grpSpPr>
          <a:xfrm>
            <a:off x="6484662" y="4232270"/>
            <a:ext cx="520700" cy="522288"/>
            <a:chOff x="11117263" y="4176713"/>
            <a:chExt cx="520700" cy="522288"/>
          </a:xfrm>
        </p:grpSpPr>
        <p:sp>
          <p:nvSpPr>
            <p:cNvPr id="55" name="Freeform 67">
              <a:extLst>
                <a:ext uri="{FF2B5EF4-FFF2-40B4-BE49-F238E27FC236}">
                  <a16:creationId xmlns:a16="http://schemas.microsoft.com/office/drawing/2014/main" id="{DDAF5819-7CFA-474C-8532-C9E5A099328C}"/>
                </a:ext>
              </a:extLst>
            </p:cNvPr>
            <p:cNvSpPr>
              <a:spLocks noEditPoints="1"/>
            </p:cNvSpPr>
            <p:nvPr/>
          </p:nvSpPr>
          <p:spPr bwMode="auto">
            <a:xfrm>
              <a:off x="11117263" y="4176713"/>
              <a:ext cx="520700" cy="522288"/>
            </a:xfrm>
            <a:custGeom>
              <a:avLst/>
              <a:gdLst>
                <a:gd name="T0" fmla="*/ 312 w 657"/>
                <a:gd name="T1" fmla="*/ 657 h 658"/>
                <a:gd name="T2" fmla="*/ 262 w 657"/>
                <a:gd name="T3" fmla="*/ 652 h 658"/>
                <a:gd name="T4" fmla="*/ 200 w 657"/>
                <a:gd name="T5" fmla="*/ 633 h 658"/>
                <a:gd name="T6" fmla="*/ 120 w 657"/>
                <a:gd name="T7" fmla="*/ 583 h 658"/>
                <a:gd name="T8" fmla="*/ 57 w 657"/>
                <a:gd name="T9" fmla="*/ 513 h 658"/>
                <a:gd name="T10" fmla="*/ 15 w 657"/>
                <a:gd name="T11" fmla="*/ 427 h 658"/>
                <a:gd name="T12" fmla="*/ 4 w 657"/>
                <a:gd name="T13" fmla="*/ 379 h 658"/>
                <a:gd name="T14" fmla="*/ 0 w 657"/>
                <a:gd name="T15" fmla="*/ 329 h 658"/>
                <a:gd name="T16" fmla="*/ 2 w 657"/>
                <a:gd name="T17" fmla="*/ 296 h 658"/>
                <a:gd name="T18" fmla="*/ 11 w 657"/>
                <a:gd name="T19" fmla="*/ 247 h 658"/>
                <a:gd name="T20" fmla="*/ 39 w 657"/>
                <a:gd name="T21" fmla="*/ 172 h 658"/>
                <a:gd name="T22" fmla="*/ 97 w 657"/>
                <a:gd name="T23" fmla="*/ 97 h 658"/>
                <a:gd name="T24" fmla="*/ 172 w 657"/>
                <a:gd name="T25" fmla="*/ 41 h 658"/>
                <a:gd name="T26" fmla="*/ 246 w 657"/>
                <a:gd name="T27" fmla="*/ 11 h 658"/>
                <a:gd name="T28" fmla="*/ 296 w 657"/>
                <a:gd name="T29" fmla="*/ 3 h 658"/>
                <a:gd name="T30" fmla="*/ 329 w 657"/>
                <a:gd name="T31" fmla="*/ 0 h 658"/>
                <a:gd name="T32" fmla="*/ 379 w 657"/>
                <a:gd name="T33" fmla="*/ 4 h 658"/>
                <a:gd name="T34" fmla="*/ 426 w 657"/>
                <a:gd name="T35" fmla="*/ 15 h 658"/>
                <a:gd name="T36" fmla="*/ 512 w 657"/>
                <a:gd name="T37" fmla="*/ 57 h 658"/>
                <a:gd name="T38" fmla="*/ 582 w 657"/>
                <a:gd name="T39" fmla="*/ 120 h 658"/>
                <a:gd name="T40" fmla="*/ 631 w 657"/>
                <a:gd name="T41" fmla="*/ 202 h 658"/>
                <a:gd name="T42" fmla="*/ 650 w 657"/>
                <a:gd name="T43" fmla="*/ 263 h 658"/>
                <a:gd name="T44" fmla="*/ 657 w 657"/>
                <a:gd name="T45" fmla="*/ 312 h 658"/>
                <a:gd name="T46" fmla="*/ 657 w 657"/>
                <a:gd name="T47" fmla="*/ 347 h 658"/>
                <a:gd name="T48" fmla="*/ 650 w 657"/>
                <a:gd name="T49" fmla="*/ 395 h 658"/>
                <a:gd name="T50" fmla="*/ 631 w 657"/>
                <a:gd name="T51" fmla="*/ 457 h 658"/>
                <a:gd name="T52" fmla="*/ 582 w 657"/>
                <a:gd name="T53" fmla="*/ 539 h 658"/>
                <a:gd name="T54" fmla="*/ 512 w 657"/>
                <a:gd name="T55" fmla="*/ 602 h 658"/>
                <a:gd name="T56" fmla="*/ 426 w 657"/>
                <a:gd name="T57" fmla="*/ 644 h 658"/>
                <a:gd name="T58" fmla="*/ 379 w 657"/>
                <a:gd name="T59" fmla="*/ 654 h 658"/>
                <a:gd name="T60" fmla="*/ 329 w 657"/>
                <a:gd name="T61" fmla="*/ 658 h 658"/>
                <a:gd name="T62" fmla="*/ 329 w 657"/>
                <a:gd name="T63" fmla="*/ 38 h 658"/>
                <a:gd name="T64" fmla="*/ 242 w 657"/>
                <a:gd name="T65" fmla="*/ 51 h 658"/>
                <a:gd name="T66" fmla="*/ 166 w 657"/>
                <a:gd name="T67" fmla="*/ 88 h 658"/>
                <a:gd name="T68" fmla="*/ 104 w 657"/>
                <a:gd name="T69" fmla="*/ 144 h 658"/>
                <a:gd name="T70" fmla="*/ 61 w 657"/>
                <a:gd name="T71" fmla="*/ 216 h 658"/>
                <a:gd name="T72" fmla="*/ 39 w 657"/>
                <a:gd name="T73" fmla="*/ 300 h 658"/>
                <a:gd name="T74" fmla="*/ 39 w 657"/>
                <a:gd name="T75" fmla="*/ 359 h 658"/>
                <a:gd name="T76" fmla="*/ 61 w 657"/>
                <a:gd name="T77" fmla="*/ 442 h 658"/>
                <a:gd name="T78" fmla="*/ 104 w 657"/>
                <a:gd name="T79" fmla="*/ 515 h 658"/>
                <a:gd name="T80" fmla="*/ 166 w 657"/>
                <a:gd name="T81" fmla="*/ 571 h 658"/>
                <a:gd name="T82" fmla="*/ 242 w 657"/>
                <a:gd name="T83" fmla="*/ 607 h 658"/>
                <a:gd name="T84" fmla="*/ 329 w 657"/>
                <a:gd name="T85" fmla="*/ 621 h 658"/>
                <a:gd name="T86" fmla="*/ 387 w 657"/>
                <a:gd name="T87" fmla="*/ 614 h 658"/>
                <a:gd name="T88" fmla="*/ 468 w 657"/>
                <a:gd name="T89" fmla="*/ 586 h 658"/>
                <a:gd name="T90" fmla="*/ 535 w 657"/>
                <a:gd name="T91" fmla="*/ 535 h 658"/>
                <a:gd name="T92" fmla="*/ 584 w 657"/>
                <a:gd name="T93" fmla="*/ 468 h 658"/>
                <a:gd name="T94" fmla="*/ 614 w 657"/>
                <a:gd name="T95" fmla="*/ 388 h 658"/>
                <a:gd name="T96" fmla="*/ 619 w 657"/>
                <a:gd name="T97" fmla="*/ 329 h 658"/>
                <a:gd name="T98" fmla="*/ 607 w 657"/>
                <a:gd name="T99" fmla="*/ 243 h 658"/>
                <a:gd name="T100" fmla="*/ 570 w 657"/>
                <a:gd name="T101" fmla="*/ 167 h 658"/>
                <a:gd name="T102" fmla="*/ 513 w 657"/>
                <a:gd name="T103" fmla="*/ 105 h 658"/>
                <a:gd name="T104" fmla="*/ 442 w 657"/>
                <a:gd name="T105" fmla="*/ 61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7"/>
                  </a:lnTo>
                  <a:lnTo>
                    <a:pt x="296" y="657"/>
                  </a:lnTo>
                  <a:lnTo>
                    <a:pt x="278" y="654"/>
                  </a:lnTo>
                  <a:lnTo>
                    <a:pt x="262" y="652"/>
                  </a:lnTo>
                  <a:lnTo>
                    <a:pt x="246" y="648"/>
                  </a:lnTo>
                  <a:lnTo>
                    <a:pt x="231" y="644"/>
                  </a:lnTo>
                  <a:lnTo>
                    <a:pt x="200" y="633"/>
                  </a:lnTo>
                  <a:lnTo>
                    <a:pt x="172" y="618"/>
                  </a:lnTo>
                  <a:lnTo>
                    <a:pt x="145" y="602"/>
                  </a:lnTo>
                  <a:lnTo>
                    <a:pt x="120" y="583"/>
                  </a:lnTo>
                  <a:lnTo>
                    <a:pt x="97" y="562"/>
                  </a:lnTo>
                  <a:lnTo>
                    <a:pt x="76" y="539"/>
                  </a:lnTo>
                  <a:lnTo>
                    <a:pt x="57" y="513"/>
                  </a:lnTo>
                  <a:lnTo>
                    <a:pt x="39" y="486"/>
                  </a:lnTo>
                  <a:lnTo>
                    <a:pt x="26" y="457"/>
                  </a:lnTo>
                  <a:lnTo>
                    <a:pt x="15" y="427"/>
                  </a:lnTo>
                  <a:lnTo>
                    <a:pt x="11" y="411"/>
                  </a:lnTo>
                  <a:lnTo>
                    <a:pt x="7" y="395"/>
                  </a:lnTo>
                  <a:lnTo>
                    <a:pt x="4" y="379"/>
                  </a:lnTo>
                  <a:lnTo>
                    <a:pt x="2" y="363"/>
                  </a:lnTo>
                  <a:lnTo>
                    <a:pt x="0" y="347"/>
                  </a:lnTo>
                  <a:lnTo>
                    <a:pt x="0" y="329"/>
                  </a:lnTo>
                  <a:lnTo>
                    <a:pt x="0" y="329"/>
                  </a:lnTo>
                  <a:lnTo>
                    <a:pt x="0" y="312"/>
                  </a:lnTo>
                  <a:lnTo>
                    <a:pt x="2" y="296"/>
                  </a:lnTo>
                  <a:lnTo>
                    <a:pt x="4" y="280"/>
                  </a:lnTo>
                  <a:lnTo>
                    <a:pt x="7" y="263"/>
                  </a:lnTo>
                  <a:lnTo>
                    <a:pt x="11" y="247"/>
                  </a:lnTo>
                  <a:lnTo>
                    <a:pt x="15" y="231"/>
                  </a:lnTo>
                  <a:lnTo>
                    <a:pt x="26" y="202"/>
                  </a:lnTo>
                  <a:lnTo>
                    <a:pt x="39" y="172"/>
                  </a:lnTo>
                  <a:lnTo>
                    <a:pt x="57" y="145"/>
                  </a:lnTo>
                  <a:lnTo>
                    <a:pt x="76" y="120"/>
                  </a:lnTo>
                  <a:lnTo>
                    <a:pt x="97" y="97"/>
                  </a:lnTo>
                  <a:lnTo>
                    <a:pt x="120" y="75"/>
                  </a:lnTo>
                  <a:lnTo>
                    <a:pt x="145" y="57"/>
                  </a:lnTo>
                  <a:lnTo>
                    <a:pt x="172" y="41"/>
                  </a:lnTo>
                  <a:lnTo>
                    <a:pt x="200" y="27"/>
                  </a:lnTo>
                  <a:lnTo>
                    <a:pt x="231" y="15"/>
                  </a:lnTo>
                  <a:lnTo>
                    <a:pt x="246" y="11"/>
                  </a:lnTo>
                  <a:lnTo>
                    <a:pt x="262" y="7"/>
                  </a:lnTo>
                  <a:lnTo>
                    <a:pt x="278" y="4"/>
                  </a:lnTo>
                  <a:lnTo>
                    <a:pt x="296" y="3"/>
                  </a:lnTo>
                  <a:lnTo>
                    <a:pt x="312" y="2"/>
                  </a:lnTo>
                  <a:lnTo>
                    <a:pt x="329" y="0"/>
                  </a:lnTo>
                  <a:lnTo>
                    <a:pt x="329" y="0"/>
                  </a:lnTo>
                  <a:lnTo>
                    <a:pt x="345" y="2"/>
                  </a:lnTo>
                  <a:lnTo>
                    <a:pt x="363" y="3"/>
                  </a:lnTo>
                  <a:lnTo>
                    <a:pt x="379" y="4"/>
                  </a:lnTo>
                  <a:lnTo>
                    <a:pt x="395" y="7"/>
                  </a:lnTo>
                  <a:lnTo>
                    <a:pt x="411" y="11"/>
                  </a:lnTo>
                  <a:lnTo>
                    <a:pt x="426" y="15"/>
                  </a:lnTo>
                  <a:lnTo>
                    <a:pt x="457" y="27"/>
                  </a:lnTo>
                  <a:lnTo>
                    <a:pt x="485" y="41"/>
                  </a:lnTo>
                  <a:lnTo>
                    <a:pt x="512" y="57"/>
                  </a:lnTo>
                  <a:lnTo>
                    <a:pt x="538" y="75"/>
                  </a:lnTo>
                  <a:lnTo>
                    <a:pt x="562" y="97"/>
                  </a:lnTo>
                  <a:lnTo>
                    <a:pt x="582" y="120"/>
                  </a:lnTo>
                  <a:lnTo>
                    <a:pt x="601" y="145"/>
                  </a:lnTo>
                  <a:lnTo>
                    <a:pt x="618" y="172"/>
                  </a:lnTo>
                  <a:lnTo>
                    <a:pt x="631" y="202"/>
                  </a:lnTo>
                  <a:lnTo>
                    <a:pt x="642" y="231"/>
                  </a:lnTo>
                  <a:lnTo>
                    <a:pt x="648" y="247"/>
                  </a:lnTo>
                  <a:lnTo>
                    <a:pt x="650" y="263"/>
                  </a:lnTo>
                  <a:lnTo>
                    <a:pt x="654" y="280"/>
                  </a:lnTo>
                  <a:lnTo>
                    <a:pt x="656" y="296"/>
                  </a:lnTo>
                  <a:lnTo>
                    <a:pt x="657" y="312"/>
                  </a:lnTo>
                  <a:lnTo>
                    <a:pt x="657" y="329"/>
                  </a:lnTo>
                  <a:lnTo>
                    <a:pt x="657" y="329"/>
                  </a:lnTo>
                  <a:lnTo>
                    <a:pt x="657" y="347"/>
                  </a:lnTo>
                  <a:lnTo>
                    <a:pt x="656" y="363"/>
                  </a:lnTo>
                  <a:lnTo>
                    <a:pt x="654" y="379"/>
                  </a:lnTo>
                  <a:lnTo>
                    <a:pt x="650" y="395"/>
                  </a:lnTo>
                  <a:lnTo>
                    <a:pt x="648" y="411"/>
                  </a:lnTo>
                  <a:lnTo>
                    <a:pt x="642" y="427"/>
                  </a:lnTo>
                  <a:lnTo>
                    <a:pt x="631" y="457"/>
                  </a:lnTo>
                  <a:lnTo>
                    <a:pt x="618" y="486"/>
                  </a:lnTo>
                  <a:lnTo>
                    <a:pt x="601" y="513"/>
                  </a:lnTo>
                  <a:lnTo>
                    <a:pt x="582" y="539"/>
                  </a:lnTo>
                  <a:lnTo>
                    <a:pt x="562" y="562"/>
                  </a:lnTo>
                  <a:lnTo>
                    <a:pt x="538" y="583"/>
                  </a:lnTo>
                  <a:lnTo>
                    <a:pt x="512" y="602"/>
                  </a:lnTo>
                  <a:lnTo>
                    <a:pt x="485" y="618"/>
                  </a:lnTo>
                  <a:lnTo>
                    <a:pt x="457" y="633"/>
                  </a:lnTo>
                  <a:lnTo>
                    <a:pt x="426" y="644"/>
                  </a:lnTo>
                  <a:lnTo>
                    <a:pt x="411" y="648"/>
                  </a:lnTo>
                  <a:lnTo>
                    <a:pt x="395" y="652"/>
                  </a:lnTo>
                  <a:lnTo>
                    <a:pt x="379" y="654"/>
                  </a:lnTo>
                  <a:lnTo>
                    <a:pt x="363" y="657"/>
                  </a:lnTo>
                  <a:lnTo>
                    <a:pt x="345" y="657"/>
                  </a:lnTo>
                  <a:lnTo>
                    <a:pt x="329" y="658"/>
                  </a:lnTo>
                  <a:lnTo>
                    <a:pt x="329" y="658"/>
                  </a:lnTo>
                  <a:close/>
                  <a:moveTo>
                    <a:pt x="329" y="38"/>
                  </a:moveTo>
                  <a:lnTo>
                    <a:pt x="329" y="38"/>
                  </a:lnTo>
                  <a:lnTo>
                    <a:pt x="299" y="39"/>
                  </a:lnTo>
                  <a:lnTo>
                    <a:pt x="270" y="45"/>
                  </a:lnTo>
                  <a:lnTo>
                    <a:pt x="242" y="51"/>
                  </a:lnTo>
                  <a:lnTo>
                    <a:pt x="215" y="61"/>
                  </a:lnTo>
                  <a:lnTo>
                    <a:pt x="190" y="73"/>
                  </a:lnTo>
                  <a:lnTo>
                    <a:pt x="166" y="88"/>
                  </a:lnTo>
                  <a:lnTo>
                    <a:pt x="144" y="105"/>
                  </a:lnTo>
                  <a:lnTo>
                    <a:pt x="123" y="124"/>
                  </a:lnTo>
                  <a:lnTo>
                    <a:pt x="104" y="144"/>
                  </a:lnTo>
                  <a:lnTo>
                    <a:pt x="88" y="167"/>
                  </a:lnTo>
                  <a:lnTo>
                    <a:pt x="73" y="191"/>
                  </a:lnTo>
                  <a:lnTo>
                    <a:pt x="61" y="216"/>
                  </a:lnTo>
                  <a:lnTo>
                    <a:pt x="51" y="243"/>
                  </a:lnTo>
                  <a:lnTo>
                    <a:pt x="43" y="270"/>
                  </a:lnTo>
                  <a:lnTo>
                    <a:pt x="39" y="300"/>
                  </a:lnTo>
                  <a:lnTo>
                    <a:pt x="38" y="329"/>
                  </a:lnTo>
                  <a:lnTo>
                    <a:pt x="38" y="329"/>
                  </a:lnTo>
                  <a:lnTo>
                    <a:pt x="39" y="359"/>
                  </a:lnTo>
                  <a:lnTo>
                    <a:pt x="43" y="388"/>
                  </a:lnTo>
                  <a:lnTo>
                    <a:pt x="51" y="415"/>
                  </a:lnTo>
                  <a:lnTo>
                    <a:pt x="61" y="442"/>
                  </a:lnTo>
                  <a:lnTo>
                    <a:pt x="73" y="468"/>
                  </a:lnTo>
                  <a:lnTo>
                    <a:pt x="88" y="492"/>
                  </a:lnTo>
                  <a:lnTo>
                    <a:pt x="104" y="515"/>
                  </a:lnTo>
                  <a:lnTo>
                    <a:pt x="123" y="535"/>
                  </a:lnTo>
                  <a:lnTo>
                    <a:pt x="144" y="554"/>
                  </a:lnTo>
                  <a:lnTo>
                    <a:pt x="166" y="571"/>
                  </a:lnTo>
                  <a:lnTo>
                    <a:pt x="190" y="586"/>
                  </a:lnTo>
                  <a:lnTo>
                    <a:pt x="215" y="598"/>
                  </a:lnTo>
                  <a:lnTo>
                    <a:pt x="242" y="607"/>
                  </a:lnTo>
                  <a:lnTo>
                    <a:pt x="270" y="614"/>
                  </a:lnTo>
                  <a:lnTo>
                    <a:pt x="299" y="619"/>
                  </a:lnTo>
                  <a:lnTo>
                    <a:pt x="329" y="621"/>
                  </a:lnTo>
                  <a:lnTo>
                    <a:pt x="329" y="621"/>
                  </a:lnTo>
                  <a:lnTo>
                    <a:pt x="359" y="619"/>
                  </a:lnTo>
                  <a:lnTo>
                    <a:pt x="387" y="614"/>
                  </a:lnTo>
                  <a:lnTo>
                    <a:pt x="415" y="607"/>
                  </a:lnTo>
                  <a:lnTo>
                    <a:pt x="442" y="598"/>
                  </a:lnTo>
                  <a:lnTo>
                    <a:pt x="468" y="586"/>
                  </a:lnTo>
                  <a:lnTo>
                    <a:pt x="492" y="571"/>
                  </a:lnTo>
                  <a:lnTo>
                    <a:pt x="513" y="554"/>
                  </a:lnTo>
                  <a:lnTo>
                    <a:pt x="535" y="535"/>
                  </a:lnTo>
                  <a:lnTo>
                    <a:pt x="554" y="515"/>
                  </a:lnTo>
                  <a:lnTo>
                    <a:pt x="570" y="492"/>
                  </a:lnTo>
                  <a:lnTo>
                    <a:pt x="584" y="468"/>
                  </a:lnTo>
                  <a:lnTo>
                    <a:pt x="597" y="442"/>
                  </a:lnTo>
                  <a:lnTo>
                    <a:pt x="607" y="415"/>
                  </a:lnTo>
                  <a:lnTo>
                    <a:pt x="614" y="388"/>
                  </a:lnTo>
                  <a:lnTo>
                    <a:pt x="618" y="359"/>
                  </a:lnTo>
                  <a:lnTo>
                    <a:pt x="619" y="329"/>
                  </a:lnTo>
                  <a:lnTo>
                    <a:pt x="619" y="329"/>
                  </a:lnTo>
                  <a:lnTo>
                    <a:pt x="618" y="300"/>
                  </a:lnTo>
                  <a:lnTo>
                    <a:pt x="614" y="270"/>
                  </a:lnTo>
                  <a:lnTo>
                    <a:pt x="607" y="243"/>
                  </a:lnTo>
                  <a:lnTo>
                    <a:pt x="597" y="216"/>
                  </a:lnTo>
                  <a:lnTo>
                    <a:pt x="584" y="191"/>
                  </a:lnTo>
                  <a:lnTo>
                    <a:pt x="570" y="167"/>
                  </a:lnTo>
                  <a:lnTo>
                    <a:pt x="554" y="144"/>
                  </a:lnTo>
                  <a:lnTo>
                    <a:pt x="535" y="124"/>
                  </a:lnTo>
                  <a:lnTo>
                    <a:pt x="513" y="105"/>
                  </a:lnTo>
                  <a:lnTo>
                    <a:pt x="492" y="88"/>
                  </a:lnTo>
                  <a:lnTo>
                    <a:pt x="468" y="73"/>
                  </a:lnTo>
                  <a:lnTo>
                    <a:pt x="442" y="61"/>
                  </a:lnTo>
                  <a:lnTo>
                    <a:pt x="415" y="51"/>
                  </a:lnTo>
                  <a:lnTo>
                    <a:pt x="387" y="45"/>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6" name="Freeform 254">
              <a:extLst>
                <a:ext uri="{FF2B5EF4-FFF2-40B4-BE49-F238E27FC236}">
                  <a16:creationId xmlns:a16="http://schemas.microsoft.com/office/drawing/2014/main" id="{3FF0256D-8E2A-4256-8BA5-B744C0E9A6F1}"/>
                </a:ext>
              </a:extLst>
            </p:cNvPr>
            <p:cNvSpPr>
              <a:spLocks/>
            </p:cNvSpPr>
            <p:nvPr/>
          </p:nvSpPr>
          <p:spPr bwMode="auto">
            <a:xfrm>
              <a:off x="11303001" y="4319588"/>
              <a:ext cx="174625" cy="204788"/>
            </a:xfrm>
            <a:custGeom>
              <a:avLst/>
              <a:gdLst>
                <a:gd name="T0" fmla="*/ 217 w 221"/>
                <a:gd name="T1" fmla="*/ 0 h 258"/>
                <a:gd name="T2" fmla="*/ 4 w 221"/>
                <a:gd name="T3" fmla="*/ 0 h 258"/>
                <a:gd name="T4" fmla="*/ 4 w 221"/>
                <a:gd name="T5" fmla="*/ 0 h 258"/>
                <a:gd name="T6" fmla="*/ 2 w 221"/>
                <a:gd name="T7" fmla="*/ 2 h 258"/>
                <a:gd name="T8" fmla="*/ 0 w 221"/>
                <a:gd name="T9" fmla="*/ 6 h 258"/>
                <a:gd name="T10" fmla="*/ 0 w 221"/>
                <a:gd name="T11" fmla="*/ 24 h 258"/>
                <a:gd name="T12" fmla="*/ 0 w 221"/>
                <a:gd name="T13" fmla="*/ 24 h 258"/>
                <a:gd name="T14" fmla="*/ 2 w 221"/>
                <a:gd name="T15" fmla="*/ 27 h 258"/>
                <a:gd name="T16" fmla="*/ 4 w 221"/>
                <a:gd name="T17" fmla="*/ 28 h 258"/>
                <a:gd name="T18" fmla="*/ 194 w 221"/>
                <a:gd name="T19" fmla="*/ 28 h 258"/>
                <a:gd name="T20" fmla="*/ 194 w 221"/>
                <a:gd name="T21" fmla="*/ 254 h 258"/>
                <a:gd name="T22" fmla="*/ 194 w 221"/>
                <a:gd name="T23" fmla="*/ 254 h 258"/>
                <a:gd name="T24" fmla="*/ 194 w 221"/>
                <a:gd name="T25" fmla="*/ 257 h 258"/>
                <a:gd name="T26" fmla="*/ 198 w 221"/>
                <a:gd name="T27" fmla="*/ 258 h 258"/>
                <a:gd name="T28" fmla="*/ 217 w 221"/>
                <a:gd name="T29" fmla="*/ 258 h 258"/>
                <a:gd name="T30" fmla="*/ 217 w 221"/>
                <a:gd name="T31" fmla="*/ 258 h 258"/>
                <a:gd name="T32" fmla="*/ 219 w 221"/>
                <a:gd name="T33" fmla="*/ 257 h 258"/>
                <a:gd name="T34" fmla="*/ 221 w 221"/>
                <a:gd name="T35" fmla="*/ 254 h 258"/>
                <a:gd name="T36" fmla="*/ 221 w 221"/>
                <a:gd name="T37" fmla="*/ 6 h 258"/>
                <a:gd name="T38" fmla="*/ 221 w 221"/>
                <a:gd name="T39" fmla="*/ 6 h 258"/>
                <a:gd name="T40" fmla="*/ 219 w 221"/>
                <a:gd name="T41" fmla="*/ 2 h 258"/>
                <a:gd name="T42" fmla="*/ 217 w 221"/>
                <a:gd name="T43" fmla="*/ 0 h 258"/>
                <a:gd name="T44" fmla="*/ 217 w 221"/>
                <a:gd name="T45"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1" h="258">
                  <a:moveTo>
                    <a:pt x="217" y="0"/>
                  </a:moveTo>
                  <a:lnTo>
                    <a:pt x="4" y="0"/>
                  </a:lnTo>
                  <a:lnTo>
                    <a:pt x="4" y="0"/>
                  </a:lnTo>
                  <a:lnTo>
                    <a:pt x="2" y="2"/>
                  </a:lnTo>
                  <a:lnTo>
                    <a:pt x="0" y="6"/>
                  </a:lnTo>
                  <a:lnTo>
                    <a:pt x="0" y="24"/>
                  </a:lnTo>
                  <a:lnTo>
                    <a:pt x="0" y="24"/>
                  </a:lnTo>
                  <a:lnTo>
                    <a:pt x="2" y="27"/>
                  </a:lnTo>
                  <a:lnTo>
                    <a:pt x="4" y="28"/>
                  </a:lnTo>
                  <a:lnTo>
                    <a:pt x="194" y="28"/>
                  </a:lnTo>
                  <a:lnTo>
                    <a:pt x="194" y="254"/>
                  </a:lnTo>
                  <a:lnTo>
                    <a:pt x="194" y="254"/>
                  </a:lnTo>
                  <a:lnTo>
                    <a:pt x="194" y="257"/>
                  </a:lnTo>
                  <a:lnTo>
                    <a:pt x="198" y="258"/>
                  </a:lnTo>
                  <a:lnTo>
                    <a:pt x="217" y="258"/>
                  </a:lnTo>
                  <a:lnTo>
                    <a:pt x="217" y="258"/>
                  </a:lnTo>
                  <a:lnTo>
                    <a:pt x="219" y="257"/>
                  </a:lnTo>
                  <a:lnTo>
                    <a:pt x="221" y="254"/>
                  </a:lnTo>
                  <a:lnTo>
                    <a:pt x="221" y="6"/>
                  </a:lnTo>
                  <a:lnTo>
                    <a:pt x="221" y="6"/>
                  </a:lnTo>
                  <a:lnTo>
                    <a:pt x="219" y="2"/>
                  </a:lnTo>
                  <a:lnTo>
                    <a:pt x="217" y="0"/>
                  </a:lnTo>
                  <a:lnTo>
                    <a:pt x="2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7" name="Freeform 255">
              <a:extLst>
                <a:ext uri="{FF2B5EF4-FFF2-40B4-BE49-F238E27FC236}">
                  <a16:creationId xmlns:a16="http://schemas.microsoft.com/office/drawing/2014/main" id="{A77D796A-D8F5-4ACD-9810-45798D3D6C26}"/>
                </a:ext>
              </a:extLst>
            </p:cNvPr>
            <p:cNvSpPr>
              <a:spLocks noEditPoints="1"/>
            </p:cNvSpPr>
            <p:nvPr/>
          </p:nvSpPr>
          <p:spPr bwMode="auto">
            <a:xfrm>
              <a:off x="11272838" y="4357688"/>
              <a:ext cx="168275" cy="198438"/>
            </a:xfrm>
            <a:custGeom>
              <a:avLst/>
              <a:gdLst>
                <a:gd name="T0" fmla="*/ 6 w 213"/>
                <a:gd name="T1" fmla="*/ 0 h 248"/>
                <a:gd name="T2" fmla="*/ 2 w 213"/>
                <a:gd name="T3" fmla="*/ 1 h 248"/>
                <a:gd name="T4" fmla="*/ 0 w 213"/>
                <a:gd name="T5" fmla="*/ 243 h 248"/>
                <a:gd name="T6" fmla="*/ 2 w 213"/>
                <a:gd name="T7" fmla="*/ 247 h 248"/>
                <a:gd name="T8" fmla="*/ 207 w 213"/>
                <a:gd name="T9" fmla="*/ 248 h 248"/>
                <a:gd name="T10" fmla="*/ 211 w 213"/>
                <a:gd name="T11" fmla="*/ 247 h 248"/>
                <a:gd name="T12" fmla="*/ 213 w 213"/>
                <a:gd name="T13" fmla="*/ 4 h 248"/>
                <a:gd name="T14" fmla="*/ 211 w 213"/>
                <a:gd name="T15" fmla="*/ 1 h 248"/>
                <a:gd name="T16" fmla="*/ 207 w 213"/>
                <a:gd name="T17" fmla="*/ 0 h 248"/>
                <a:gd name="T18" fmla="*/ 47 w 213"/>
                <a:gd name="T19" fmla="*/ 177 h 248"/>
                <a:gd name="T20" fmla="*/ 43 w 213"/>
                <a:gd name="T21" fmla="*/ 177 h 248"/>
                <a:gd name="T22" fmla="*/ 39 w 213"/>
                <a:gd name="T23" fmla="*/ 173 h 248"/>
                <a:gd name="T24" fmla="*/ 39 w 213"/>
                <a:gd name="T25" fmla="*/ 169 h 248"/>
                <a:gd name="T26" fmla="*/ 41 w 213"/>
                <a:gd name="T27" fmla="*/ 163 h 248"/>
                <a:gd name="T28" fmla="*/ 47 w 213"/>
                <a:gd name="T29" fmla="*/ 161 h 248"/>
                <a:gd name="T30" fmla="*/ 88 w 213"/>
                <a:gd name="T31" fmla="*/ 161 h 248"/>
                <a:gd name="T32" fmla="*/ 94 w 213"/>
                <a:gd name="T33" fmla="*/ 163 h 248"/>
                <a:gd name="T34" fmla="*/ 96 w 213"/>
                <a:gd name="T35" fmla="*/ 169 h 248"/>
                <a:gd name="T36" fmla="*/ 96 w 213"/>
                <a:gd name="T37" fmla="*/ 173 h 248"/>
                <a:gd name="T38" fmla="*/ 92 w 213"/>
                <a:gd name="T39" fmla="*/ 177 h 248"/>
                <a:gd name="T40" fmla="*/ 88 w 213"/>
                <a:gd name="T41" fmla="*/ 177 h 248"/>
                <a:gd name="T42" fmla="*/ 47 w 213"/>
                <a:gd name="T43" fmla="*/ 131 h 248"/>
                <a:gd name="T44" fmla="*/ 43 w 213"/>
                <a:gd name="T45" fmla="*/ 131 h 248"/>
                <a:gd name="T46" fmla="*/ 39 w 213"/>
                <a:gd name="T47" fmla="*/ 127 h 248"/>
                <a:gd name="T48" fmla="*/ 39 w 213"/>
                <a:gd name="T49" fmla="*/ 123 h 248"/>
                <a:gd name="T50" fmla="*/ 41 w 213"/>
                <a:gd name="T51" fmla="*/ 118 h 248"/>
                <a:gd name="T52" fmla="*/ 47 w 213"/>
                <a:gd name="T53" fmla="*/ 115 h 248"/>
                <a:gd name="T54" fmla="*/ 162 w 213"/>
                <a:gd name="T55" fmla="*/ 115 h 248"/>
                <a:gd name="T56" fmla="*/ 167 w 213"/>
                <a:gd name="T57" fmla="*/ 118 h 248"/>
                <a:gd name="T58" fmla="*/ 170 w 213"/>
                <a:gd name="T59" fmla="*/ 123 h 248"/>
                <a:gd name="T60" fmla="*/ 170 w 213"/>
                <a:gd name="T61" fmla="*/ 127 h 248"/>
                <a:gd name="T62" fmla="*/ 164 w 213"/>
                <a:gd name="T63" fmla="*/ 131 h 248"/>
                <a:gd name="T64" fmla="*/ 162 w 213"/>
                <a:gd name="T65" fmla="*/ 131 h 248"/>
                <a:gd name="T66" fmla="*/ 47 w 213"/>
                <a:gd name="T67" fmla="*/ 86 h 248"/>
                <a:gd name="T68" fmla="*/ 43 w 213"/>
                <a:gd name="T69" fmla="*/ 86 h 248"/>
                <a:gd name="T70" fmla="*/ 39 w 213"/>
                <a:gd name="T71" fmla="*/ 80 h 248"/>
                <a:gd name="T72" fmla="*/ 39 w 213"/>
                <a:gd name="T73" fmla="*/ 77 h 248"/>
                <a:gd name="T74" fmla="*/ 41 w 213"/>
                <a:gd name="T75" fmla="*/ 72 h 248"/>
                <a:gd name="T76" fmla="*/ 47 w 213"/>
                <a:gd name="T77" fmla="*/ 69 h 248"/>
                <a:gd name="T78" fmla="*/ 162 w 213"/>
                <a:gd name="T79" fmla="*/ 69 h 248"/>
                <a:gd name="T80" fmla="*/ 167 w 213"/>
                <a:gd name="T81" fmla="*/ 72 h 248"/>
                <a:gd name="T82" fmla="*/ 170 w 213"/>
                <a:gd name="T83" fmla="*/ 77 h 248"/>
                <a:gd name="T84" fmla="*/ 170 w 213"/>
                <a:gd name="T85" fmla="*/ 80 h 248"/>
                <a:gd name="T86" fmla="*/ 164 w 213"/>
                <a:gd name="T87" fmla="*/ 86 h 248"/>
                <a:gd name="T88" fmla="*/ 162 w 213"/>
                <a:gd name="T89" fmla="*/ 86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3" h="248">
                  <a:moveTo>
                    <a:pt x="207" y="0"/>
                  </a:moveTo>
                  <a:lnTo>
                    <a:pt x="6" y="0"/>
                  </a:lnTo>
                  <a:lnTo>
                    <a:pt x="6" y="0"/>
                  </a:lnTo>
                  <a:lnTo>
                    <a:pt x="2" y="1"/>
                  </a:lnTo>
                  <a:lnTo>
                    <a:pt x="0" y="4"/>
                  </a:lnTo>
                  <a:lnTo>
                    <a:pt x="0" y="243"/>
                  </a:lnTo>
                  <a:lnTo>
                    <a:pt x="0" y="243"/>
                  </a:lnTo>
                  <a:lnTo>
                    <a:pt x="2" y="247"/>
                  </a:lnTo>
                  <a:lnTo>
                    <a:pt x="6" y="248"/>
                  </a:lnTo>
                  <a:lnTo>
                    <a:pt x="207" y="248"/>
                  </a:lnTo>
                  <a:lnTo>
                    <a:pt x="207" y="248"/>
                  </a:lnTo>
                  <a:lnTo>
                    <a:pt x="211" y="247"/>
                  </a:lnTo>
                  <a:lnTo>
                    <a:pt x="213" y="243"/>
                  </a:lnTo>
                  <a:lnTo>
                    <a:pt x="213" y="4"/>
                  </a:lnTo>
                  <a:lnTo>
                    <a:pt x="213" y="4"/>
                  </a:lnTo>
                  <a:lnTo>
                    <a:pt x="211" y="1"/>
                  </a:lnTo>
                  <a:lnTo>
                    <a:pt x="207" y="0"/>
                  </a:lnTo>
                  <a:lnTo>
                    <a:pt x="207" y="0"/>
                  </a:lnTo>
                  <a:close/>
                  <a:moveTo>
                    <a:pt x="88" y="177"/>
                  </a:moveTo>
                  <a:lnTo>
                    <a:pt x="47" y="177"/>
                  </a:lnTo>
                  <a:lnTo>
                    <a:pt x="47" y="177"/>
                  </a:lnTo>
                  <a:lnTo>
                    <a:pt x="43" y="177"/>
                  </a:lnTo>
                  <a:lnTo>
                    <a:pt x="41" y="176"/>
                  </a:lnTo>
                  <a:lnTo>
                    <a:pt x="39" y="173"/>
                  </a:lnTo>
                  <a:lnTo>
                    <a:pt x="39" y="169"/>
                  </a:lnTo>
                  <a:lnTo>
                    <a:pt x="39" y="169"/>
                  </a:lnTo>
                  <a:lnTo>
                    <a:pt x="39" y="166"/>
                  </a:lnTo>
                  <a:lnTo>
                    <a:pt x="41" y="163"/>
                  </a:lnTo>
                  <a:lnTo>
                    <a:pt x="43" y="162"/>
                  </a:lnTo>
                  <a:lnTo>
                    <a:pt x="47" y="161"/>
                  </a:lnTo>
                  <a:lnTo>
                    <a:pt x="88" y="161"/>
                  </a:lnTo>
                  <a:lnTo>
                    <a:pt x="88" y="161"/>
                  </a:lnTo>
                  <a:lnTo>
                    <a:pt x="92" y="162"/>
                  </a:lnTo>
                  <a:lnTo>
                    <a:pt x="94" y="163"/>
                  </a:lnTo>
                  <a:lnTo>
                    <a:pt x="96" y="166"/>
                  </a:lnTo>
                  <a:lnTo>
                    <a:pt x="96" y="169"/>
                  </a:lnTo>
                  <a:lnTo>
                    <a:pt x="96" y="169"/>
                  </a:lnTo>
                  <a:lnTo>
                    <a:pt x="96" y="173"/>
                  </a:lnTo>
                  <a:lnTo>
                    <a:pt x="94" y="176"/>
                  </a:lnTo>
                  <a:lnTo>
                    <a:pt x="92" y="177"/>
                  </a:lnTo>
                  <a:lnTo>
                    <a:pt x="88" y="177"/>
                  </a:lnTo>
                  <a:lnTo>
                    <a:pt x="88" y="177"/>
                  </a:lnTo>
                  <a:close/>
                  <a:moveTo>
                    <a:pt x="162" y="131"/>
                  </a:moveTo>
                  <a:lnTo>
                    <a:pt x="47" y="131"/>
                  </a:lnTo>
                  <a:lnTo>
                    <a:pt x="47" y="131"/>
                  </a:lnTo>
                  <a:lnTo>
                    <a:pt x="43" y="131"/>
                  </a:lnTo>
                  <a:lnTo>
                    <a:pt x="41" y="129"/>
                  </a:lnTo>
                  <a:lnTo>
                    <a:pt x="39" y="127"/>
                  </a:lnTo>
                  <a:lnTo>
                    <a:pt x="39" y="123"/>
                  </a:lnTo>
                  <a:lnTo>
                    <a:pt x="39" y="123"/>
                  </a:lnTo>
                  <a:lnTo>
                    <a:pt x="39" y="120"/>
                  </a:lnTo>
                  <a:lnTo>
                    <a:pt x="41" y="118"/>
                  </a:lnTo>
                  <a:lnTo>
                    <a:pt x="43" y="116"/>
                  </a:lnTo>
                  <a:lnTo>
                    <a:pt x="47" y="115"/>
                  </a:lnTo>
                  <a:lnTo>
                    <a:pt x="162" y="115"/>
                  </a:lnTo>
                  <a:lnTo>
                    <a:pt x="162" y="115"/>
                  </a:lnTo>
                  <a:lnTo>
                    <a:pt x="164" y="116"/>
                  </a:lnTo>
                  <a:lnTo>
                    <a:pt x="167" y="118"/>
                  </a:lnTo>
                  <a:lnTo>
                    <a:pt x="170" y="120"/>
                  </a:lnTo>
                  <a:lnTo>
                    <a:pt x="170" y="123"/>
                  </a:lnTo>
                  <a:lnTo>
                    <a:pt x="170" y="123"/>
                  </a:lnTo>
                  <a:lnTo>
                    <a:pt x="170" y="127"/>
                  </a:lnTo>
                  <a:lnTo>
                    <a:pt x="167" y="129"/>
                  </a:lnTo>
                  <a:lnTo>
                    <a:pt x="164" y="131"/>
                  </a:lnTo>
                  <a:lnTo>
                    <a:pt x="162" y="131"/>
                  </a:lnTo>
                  <a:lnTo>
                    <a:pt x="162" y="131"/>
                  </a:lnTo>
                  <a:close/>
                  <a:moveTo>
                    <a:pt x="162" y="86"/>
                  </a:moveTo>
                  <a:lnTo>
                    <a:pt x="47" y="86"/>
                  </a:lnTo>
                  <a:lnTo>
                    <a:pt x="47" y="86"/>
                  </a:lnTo>
                  <a:lnTo>
                    <a:pt x="43" y="86"/>
                  </a:lnTo>
                  <a:lnTo>
                    <a:pt x="41" y="83"/>
                  </a:lnTo>
                  <a:lnTo>
                    <a:pt x="39" y="80"/>
                  </a:lnTo>
                  <a:lnTo>
                    <a:pt x="39" y="77"/>
                  </a:lnTo>
                  <a:lnTo>
                    <a:pt x="39" y="77"/>
                  </a:lnTo>
                  <a:lnTo>
                    <a:pt x="39" y="75"/>
                  </a:lnTo>
                  <a:lnTo>
                    <a:pt x="41" y="72"/>
                  </a:lnTo>
                  <a:lnTo>
                    <a:pt x="43" y="69"/>
                  </a:lnTo>
                  <a:lnTo>
                    <a:pt x="47" y="69"/>
                  </a:lnTo>
                  <a:lnTo>
                    <a:pt x="162" y="69"/>
                  </a:lnTo>
                  <a:lnTo>
                    <a:pt x="162" y="69"/>
                  </a:lnTo>
                  <a:lnTo>
                    <a:pt x="164" y="69"/>
                  </a:lnTo>
                  <a:lnTo>
                    <a:pt x="167" y="72"/>
                  </a:lnTo>
                  <a:lnTo>
                    <a:pt x="170" y="75"/>
                  </a:lnTo>
                  <a:lnTo>
                    <a:pt x="170" y="77"/>
                  </a:lnTo>
                  <a:lnTo>
                    <a:pt x="170" y="77"/>
                  </a:lnTo>
                  <a:lnTo>
                    <a:pt x="170" y="80"/>
                  </a:lnTo>
                  <a:lnTo>
                    <a:pt x="167" y="83"/>
                  </a:lnTo>
                  <a:lnTo>
                    <a:pt x="164" y="86"/>
                  </a:lnTo>
                  <a:lnTo>
                    <a:pt x="162" y="86"/>
                  </a:lnTo>
                  <a:lnTo>
                    <a:pt x="162" y="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Tree>
    <p:extLst>
      <p:ext uri="{BB962C8B-B14F-4D97-AF65-F5344CB8AC3E}">
        <p14:creationId xmlns:p14="http://schemas.microsoft.com/office/powerpoint/2010/main" val="157971586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133D16D-751B-42ED-A477-C59FE16A7053}"/>
              </a:ext>
            </a:extLst>
          </p:cNvPr>
          <p:cNvSpPr>
            <a:spLocks noGrp="1"/>
          </p:cNvSpPr>
          <p:nvPr>
            <p:ph type="body" sz="quarter" idx="10"/>
          </p:nvPr>
        </p:nvSpPr>
        <p:spPr/>
        <p:txBody>
          <a:bodyPr/>
          <a:lstStyle/>
          <a:p>
            <a:r>
              <a:rPr lang="en-US" dirty="0"/>
              <a:t>Process &amp; Customer Journey</a:t>
            </a:r>
          </a:p>
        </p:txBody>
      </p:sp>
      <p:grpSp>
        <p:nvGrpSpPr>
          <p:cNvPr id="3" name="Group 2">
            <a:extLst>
              <a:ext uri="{FF2B5EF4-FFF2-40B4-BE49-F238E27FC236}">
                <a16:creationId xmlns:a16="http://schemas.microsoft.com/office/drawing/2014/main" id="{BF50829B-063A-4557-BE87-01DCB9D7EBFE}"/>
              </a:ext>
            </a:extLst>
          </p:cNvPr>
          <p:cNvGrpSpPr/>
          <p:nvPr/>
        </p:nvGrpSpPr>
        <p:grpSpPr>
          <a:xfrm>
            <a:off x="2277508" y="6274108"/>
            <a:ext cx="7636984" cy="501266"/>
            <a:chOff x="2277508" y="6274107"/>
            <a:chExt cx="7636984" cy="583893"/>
          </a:xfrm>
        </p:grpSpPr>
        <p:sp>
          <p:nvSpPr>
            <p:cNvPr id="4" name="Text Placeholder 1">
              <a:extLst>
                <a:ext uri="{FF2B5EF4-FFF2-40B4-BE49-F238E27FC236}">
                  <a16:creationId xmlns:a16="http://schemas.microsoft.com/office/drawing/2014/main" id="{6B50AA53-928A-4FBB-827F-871B1F184513}"/>
                </a:ext>
              </a:extLst>
            </p:cNvPr>
            <p:cNvSpPr txBox="1">
              <a:spLocks/>
            </p:cNvSpPr>
            <p:nvPr/>
          </p:nvSpPr>
          <p:spPr>
            <a:xfrm>
              <a:off x="2277508" y="6274107"/>
              <a:ext cx="7636984" cy="583893"/>
            </a:xfrm>
            <a:prstGeom prst="rect">
              <a:avLst/>
            </a:prstGeom>
          </p:spPr>
          <p:txBody>
            <a:bodyPr vert="horz"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800" dirty="0">
                  <a:solidFill>
                    <a:srgbClr val="000000"/>
                  </a:solidFill>
                  <a:latin typeface="+mn-lt"/>
                </a:rPr>
                <a:t>Click Here to Return to the Table of Contents</a:t>
              </a:r>
              <a:endParaRPr lang="en-US" sz="2800" dirty="0">
                <a:latin typeface="+mn-lt"/>
              </a:endParaRPr>
            </a:p>
          </p:txBody>
        </p:sp>
        <p:sp>
          <p:nvSpPr>
            <p:cNvPr id="5" name="Rectangle 4">
              <a:hlinkClick r:id="rId2" action="ppaction://hlinksldjump"/>
              <a:extLst>
                <a:ext uri="{FF2B5EF4-FFF2-40B4-BE49-F238E27FC236}">
                  <a16:creationId xmlns:a16="http://schemas.microsoft.com/office/drawing/2014/main" id="{0B411DB7-EAE7-4503-A82C-DAF930F1B8BB}"/>
                </a:ext>
              </a:extLst>
            </p:cNvPr>
            <p:cNvSpPr/>
            <p:nvPr/>
          </p:nvSpPr>
          <p:spPr>
            <a:xfrm>
              <a:off x="2401677" y="6274107"/>
              <a:ext cx="7425369" cy="4792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spTree>
    <p:extLst>
      <p:ext uri="{BB962C8B-B14F-4D97-AF65-F5344CB8AC3E}">
        <p14:creationId xmlns:p14="http://schemas.microsoft.com/office/powerpoint/2010/main" val="85503939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C475325-0CF6-4A86-A2DF-D2880A90805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4" name="think-cell Slide" r:id="rId6" imgW="415" imgH="416" progId="TCLayout.ActiveDocument.1">
                  <p:embed/>
                </p:oleObj>
              </mc:Choice>
              <mc:Fallback>
                <p:oleObj name="think-cell Slide" r:id="rId6" imgW="415" imgH="416" progId="TCLayout.ActiveDocument.1">
                  <p:embed/>
                  <p:pic>
                    <p:nvPicPr>
                      <p:cNvPr id="6" name="Object 5" hidden="1">
                        <a:extLst>
                          <a:ext uri="{FF2B5EF4-FFF2-40B4-BE49-F238E27FC236}">
                            <a16:creationId xmlns:a16="http://schemas.microsoft.com/office/drawing/2014/main" id="{0C475325-0CF6-4A86-A2DF-D2880A90805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04ADA3D-05B4-4833-922F-16A6BFCF0BF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8F347133-3EBB-407D-BDA3-6C02F8ECF8E3}"/>
              </a:ext>
            </a:extLst>
          </p:cNvPr>
          <p:cNvSpPr>
            <a:spLocks noGrp="1"/>
          </p:cNvSpPr>
          <p:nvPr>
            <p:ph type="title"/>
          </p:nvPr>
        </p:nvSpPr>
        <p:spPr/>
        <p:txBody>
          <a:bodyPr/>
          <a:lstStyle/>
          <a:p>
            <a:r>
              <a:rPr lang="en-US" dirty="0"/>
              <a:t>Experience in return value chain analytics</a:t>
            </a:r>
          </a:p>
        </p:txBody>
      </p:sp>
      <p:sp>
        <p:nvSpPr>
          <p:cNvPr id="3" name="Text Placeholder 2">
            <a:extLst>
              <a:ext uri="{FF2B5EF4-FFF2-40B4-BE49-F238E27FC236}">
                <a16:creationId xmlns:a16="http://schemas.microsoft.com/office/drawing/2014/main" id="{F419102B-5550-4696-8EAB-C2297D3B62A1}"/>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2FBEE55F-BD9D-4791-AC18-9C391ADC20BC}"/>
              </a:ext>
            </a:extLst>
          </p:cNvPr>
          <p:cNvSpPr>
            <a:spLocks noGrp="1"/>
          </p:cNvSpPr>
          <p:nvPr>
            <p:ph type="body" sz="quarter" idx="15"/>
          </p:nvPr>
        </p:nvSpPr>
        <p:spPr/>
        <p:txBody>
          <a:bodyPr/>
          <a:lstStyle/>
          <a:p>
            <a:r>
              <a:rPr lang="en-US" dirty="0"/>
              <a:t>Process &amp; customer journey</a:t>
            </a:r>
          </a:p>
        </p:txBody>
      </p:sp>
      <p:grpSp>
        <p:nvGrpSpPr>
          <p:cNvPr id="88" name="Group 87">
            <a:extLst>
              <a:ext uri="{FF2B5EF4-FFF2-40B4-BE49-F238E27FC236}">
                <a16:creationId xmlns:a16="http://schemas.microsoft.com/office/drawing/2014/main" id="{1F95CF49-0C0C-4308-9BCF-BCD8EEB76C02}"/>
              </a:ext>
            </a:extLst>
          </p:cNvPr>
          <p:cNvGrpSpPr/>
          <p:nvPr/>
        </p:nvGrpSpPr>
        <p:grpSpPr>
          <a:xfrm>
            <a:off x="882508" y="1970170"/>
            <a:ext cx="10100526" cy="4471945"/>
            <a:chOff x="882508" y="1970170"/>
            <a:chExt cx="10100526" cy="4471945"/>
          </a:xfrm>
        </p:grpSpPr>
        <p:cxnSp>
          <p:nvCxnSpPr>
            <p:cNvPr id="8" name="Straight Connector 7">
              <a:extLst>
                <a:ext uri="{FF2B5EF4-FFF2-40B4-BE49-F238E27FC236}">
                  <a16:creationId xmlns:a16="http://schemas.microsoft.com/office/drawing/2014/main" id="{A95AA29D-B335-4514-8AFA-89FDA48A95D0}"/>
                </a:ext>
              </a:extLst>
            </p:cNvPr>
            <p:cNvCxnSpPr>
              <a:cxnSpLocks/>
            </p:cNvCxnSpPr>
            <p:nvPr/>
          </p:nvCxnSpPr>
          <p:spPr>
            <a:xfrm>
              <a:off x="9243623" y="2587222"/>
              <a:ext cx="1603291" cy="0"/>
            </a:xfrm>
            <a:prstGeom prst="line">
              <a:avLst/>
            </a:prstGeom>
            <a:ln w="317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00DC0B-2F56-4DFB-B834-8799111699DE}"/>
                </a:ext>
              </a:extLst>
            </p:cNvPr>
            <p:cNvCxnSpPr>
              <a:cxnSpLocks/>
            </p:cNvCxnSpPr>
            <p:nvPr/>
          </p:nvCxnSpPr>
          <p:spPr>
            <a:xfrm>
              <a:off x="1142166" y="2583047"/>
              <a:ext cx="7943679" cy="0"/>
            </a:xfrm>
            <a:prstGeom prst="line">
              <a:avLst/>
            </a:prstGeom>
            <a:ln w="317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Curved Connector 39">
              <a:extLst>
                <a:ext uri="{FF2B5EF4-FFF2-40B4-BE49-F238E27FC236}">
                  <a16:creationId xmlns:a16="http://schemas.microsoft.com/office/drawing/2014/main" id="{E9C2BDD4-1B09-4D47-B076-85C91A2FE01D}"/>
                </a:ext>
              </a:extLst>
            </p:cNvPr>
            <p:cNvCxnSpPr/>
            <p:nvPr/>
          </p:nvCxnSpPr>
          <p:spPr>
            <a:xfrm flipV="1">
              <a:off x="4890006" y="2583047"/>
              <a:ext cx="652015" cy="634876"/>
            </a:xfrm>
            <a:prstGeom prst="curvedConnector3">
              <a:avLst>
                <a:gd name="adj1" fmla="val 50000"/>
              </a:avLst>
            </a:prstGeom>
            <a:ln w="317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 name="Rounded Rectangle 40">
              <a:extLst>
                <a:ext uri="{FF2B5EF4-FFF2-40B4-BE49-F238E27FC236}">
                  <a16:creationId xmlns:a16="http://schemas.microsoft.com/office/drawing/2014/main" id="{973DC1C5-259E-40AA-85AC-08F0BECAE8EF}"/>
                </a:ext>
              </a:extLst>
            </p:cNvPr>
            <p:cNvSpPr/>
            <p:nvPr/>
          </p:nvSpPr>
          <p:spPr bwMode="gray">
            <a:xfrm>
              <a:off x="1190926" y="1970170"/>
              <a:ext cx="1739411" cy="257287"/>
            </a:xfrm>
            <a:prstGeom prst="roundRect">
              <a:avLst>
                <a:gd name="adj" fmla="val 0"/>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Store Returns</a:t>
              </a:r>
            </a:p>
          </p:txBody>
        </p:sp>
        <p:sp>
          <p:nvSpPr>
            <p:cNvPr id="12" name="Rounded Rectangle 41">
              <a:extLst>
                <a:ext uri="{FF2B5EF4-FFF2-40B4-BE49-F238E27FC236}">
                  <a16:creationId xmlns:a16="http://schemas.microsoft.com/office/drawing/2014/main" id="{C41C7263-5E66-4F64-A847-D677DB226236}"/>
                </a:ext>
              </a:extLst>
            </p:cNvPr>
            <p:cNvSpPr/>
            <p:nvPr/>
          </p:nvSpPr>
          <p:spPr bwMode="gray">
            <a:xfrm>
              <a:off x="3204100" y="2723273"/>
              <a:ext cx="1739411" cy="241505"/>
            </a:xfrm>
            <a:prstGeom prst="roundRect">
              <a:avLst>
                <a:gd name="adj" fmla="val 0"/>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nline Returns</a:t>
              </a:r>
            </a:p>
          </p:txBody>
        </p:sp>
        <p:cxnSp>
          <p:nvCxnSpPr>
            <p:cNvPr id="13" name="Straight Connector 12">
              <a:extLst>
                <a:ext uri="{FF2B5EF4-FFF2-40B4-BE49-F238E27FC236}">
                  <a16:creationId xmlns:a16="http://schemas.microsoft.com/office/drawing/2014/main" id="{EF963F48-6AD1-4AC2-8E02-251A0420888D}"/>
                </a:ext>
              </a:extLst>
            </p:cNvPr>
            <p:cNvCxnSpPr/>
            <p:nvPr/>
          </p:nvCxnSpPr>
          <p:spPr>
            <a:xfrm>
              <a:off x="3204100" y="3217922"/>
              <a:ext cx="1739411" cy="0"/>
            </a:xfrm>
            <a:prstGeom prst="line">
              <a:avLst/>
            </a:prstGeom>
            <a:ln w="317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 name="Rounded Rectangle 43">
              <a:extLst>
                <a:ext uri="{FF2B5EF4-FFF2-40B4-BE49-F238E27FC236}">
                  <a16:creationId xmlns:a16="http://schemas.microsoft.com/office/drawing/2014/main" id="{E1989D90-BA13-4941-91F5-AA6BC3959B0B}"/>
                </a:ext>
              </a:extLst>
            </p:cNvPr>
            <p:cNvSpPr/>
            <p:nvPr/>
          </p:nvSpPr>
          <p:spPr bwMode="gray">
            <a:xfrm>
              <a:off x="5217274" y="1970170"/>
              <a:ext cx="1739411" cy="257287"/>
            </a:xfrm>
            <a:prstGeom prst="roundRect">
              <a:avLst>
                <a:gd name="adj" fmla="val 0"/>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reight</a:t>
              </a:r>
            </a:p>
          </p:txBody>
        </p:sp>
        <p:sp>
          <p:nvSpPr>
            <p:cNvPr id="15" name="Rounded Rectangle 44">
              <a:extLst>
                <a:ext uri="{FF2B5EF4-FFF2-40B4-BE49-F238E27FC236}">
                  <a16:creationId xmlns:a16="http://schemas.microsoft.com/office/drawing/2014/main" id="{01D7CC52-5A1B-4268-A507-47411077AF76}"/>
                </a:ext>
              </a:extLst>
            </p:cNvPr>
            <p:cNvSpPr/>
            <p:nvPr/>
          </p:nvSpPr>
          <p:spPr bwMode="gray">
            <a:xfrm>
              <a:off x="7230448" y="1970170"/>
              <a:ext cx="1739411" cy="257287"/>
            </a:xfrm>
            <a:prstGeom prst="roundRect">
              <a:avLst>
                <a:gd name="adj" fmla="val 0"/>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istribution Center</a:t>
              </a:r>
            </a:p>
          </p:txBody>
        </p:sp>
        <p:sp>
          <p:nvSpPr>
            <p:cNvPr id="16" name="Rounded Rectangle 45">
              <a:extLst>
                <a:ext uri="{FF2B5EF4-FFF2-40B4-BE49-F238E27FC236}">
                  <a16:creationId xmlns:a16="http://schemas.microsoft.com/office/drawing/2014/main" id="{281565C4-1C5A-49F1-9196-A53A1EDB7269}"/>
                </a:ext>
              </a:extLst>
            </p:cNvPr>
            <p:cNvSpPr/>
            <p:nvPr/>
          </p:nvSpPr>
          <p:spPr bwMode="gray">
            <a:xfrm>
              <a:off x="9243623" y="1970170"/>
              <a:ext cx="1739411" cy="257287"/>
            </a:xfrm>
            <a:prstGeom prst="roundRect">
              <a:avLst>
                <a:gd name="adj" fmla="val 0"/>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Home Office</a:t>
              </a:r>
            </a:p>
          </p:txBody>
        </p:sp>
        <p:sp>
          <p:nvSpPr>
            <p:cNvPr id="17" name="TextBox 16">
              <a:extLst>
                <a:ext uri="{FF2B5EF4-FFF2-40B4-BE49-F238E27FC236}">
                  <a16:creationId xmlns:a16="http://schemas.microsoft.com/office/drawing/2014/main" id="{5AC65B33-C28E-4CF3-8D7D-6AC034976DB9}"/>
                </a:ext>
              </a:extLst>
            </p:cNvPr>
            <p:cNvSpPr txBox="1"/>
            <p:nvPr/>
          </p:nvSpPr>
          <p:spPr>
            <a:xfrm>
              <a:off x="2388173" y="2755135"/>
              <a:ext cx="623849" cy="123111"/>
            </a:xfrm>
            <a:prstGeom prst="rect">
              <a:avLst/>
            </a:prstGeom>
            <a:noFill/>
          </p:spPr>
          <p:txBody>
            <a:bodyPr vert="horz" wrap="square" lIns="0" tIns="0" rIns="0" bIns="0" rtlCol="0">
              <a:spAutoFit/>
            </a:bodyPr>
            <a:lstStyle/>
            <a:p>
              <a:pPr marL="0" marR="0" lvl="0" indent="0" algn="ctr" defTabSz="914400" rtl="0" eaLnBrk="1" fontAlgn="base" latinLnBrk="0" hangingPunct="1">
                <a:lnSpc>
                  <a:spcPct val="100000"/>
                </a:lnSpc>
                <a:spcBef>
                  <a:spcPts val="200"/>
                </a:spcBef>
                <a:spcAft>
                  <a:spcPct val="0"/>
                </a:spcAft>
                <a:buClrTx/>
                <a:buSzPct val="100000"/>
                <a:buFontTx/>
                <a:buNone/>
                <a:tabLst/>
                <a:defRPr/>
              </a:pPr>
              <a:r>
                <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C Return</a:t>
              </a:r>
            </a:p>
          </p:txBody>
        </p:sp>
        <p:sp>
          <p:nvSpPr>
            <p:cNvPr id="18" name="TextBox 17">
              <a:extLst>
                <a:ext uri="{FF2B5EF4-FFF2-40B4-BE49-F238E27FC236}">
                  <a16:creationId xmlns:a16="http://schemas.microsoft.com/office/drawing/2014/main" id="{BB1366C5-9881-40C2-B8B5-3157CB14FEBE}"/>
                </a:ext>
              </a:extLst>
            </p:cNvPr>
            <p:cNvSpPr txBox="1"/>
            <p:nvPr/>
          </p:nvSpPr>
          <p:spPr>
            <a:xfrm rot="16200000">
              <a:off x="575929" y="3994850"/>
              <a:ext cx="1034703" cy="123111"/>
            </a:xfrm>
            <a:prstGeom prst="rect">
              <a:avLst/>
            </a:prstGeom>
            <a:noFill/>
          </p:spPr>
          <p:txBody>
            <a:bodyPr vert="horz" wrap="square" lIns="0" tIns="0" rIns="0" bIns="0" rtlCol="0">
              <a:spAutoFit/>
            </a:bodyPr>
            <a:lstStyle/>
            <a:p>
              <a:pPr marL="0" marR="0" lvl="0" indent="0" algn="ctr" defTabSz="914400" rtl="0" eaLnBrk="1" fontAlgn="base" latinLnBrk="0" hangingPunct="1">
                <a:lnSpc>
                  <a:spcPct val="100000"/>
                </a:lnSpc>
                <a:spcBef>
                  <a:spcPts val="200"/>
                </a:spcBef>
                <a:spcAft>
                  <a:spcPct val="0"/>
                </a:spcAft>
                <a:buClrTx/>
                <a:buSzPct val="100000"/>
                <a:buFontTx/>
                <a:buNone/>
                <a:tabLst/>
                <a:defRPr/>
              </a:pPr>
              <a:r>
                <a:rPr kumimoji="0" lang="en-US" sz="8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ata Req’d</a:t>
              </a:r>
            </a:p>
          </p:txBody>
        </p:sp>
        <p:sp>
          <p:nvSpPr>
            <p:cNvPr id="19" name="TextBox 18">
              <a:extLst>
                <a:ext uri="{FF2B5EF4-FFF2-40B4-BE49-F238E27FC236}">
                  <a16:creationId xmlns:a16="http://schemas.microsoft.com/office/drawing/2014/main" id="{F3A6BDB8-91B8-4B13-BD19-17FC3F19FB9A}"/>
                </a:ext>
              </a:extLst>
            </p:cNvPr>
            <p:cNvSpPr txBox="1"/>
            <p:nvPr/>
          </p:nvSpPr>
          <p:spPr>
            <a:xfrm rot="16200000">
              <a:off x="707301" y="4628443"/>
              <a:ext cx="660419" cy="246221"/>
            </a:xfrm>
            <a:prstGeom prst="rect">
              <a:avLst/>
            </a:prstGeom>
            <a:noFill/>
          </p:spPr>
          <p:txBody>
            <a:bodyPr vert="horz" wrap="square" lIns="0" tIns="0" rIns="0" bIns="0" rtlCol="0">
              <a:spAutoFit/>
            </a:bodyPr>
            <a:lstStyle/>
            <a:p>
              <a:pPr marL="0" marR="0" lvl="0" indent="0" algn="ctr" defTabSz="914400" rtl="0" eaLnBrk="1" fontAlgn="base" latinLnBrk="0" hangingPunct="1">
                <a:lnSpc>
                  <a:spcPct val="100000"/>
                </a:lnSpc>
                <a:spcBef>
                  <a:spcPts val="200"/>
                </a:spcBef>
                <a:spcAft>
                  <a:spcPct val="0"/>
                </a:spcAft>
                <a:buClrTx/>
                <a:buSzPct val="100000"/>
                <a:buFontTx/>
                <a:buNone/>
                <a:tabLst/>
                <a:defRPr/>
              </a:pPr>
              <a:r>
                <a:rPr kumimoji="0" lang="en-US" sz="8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mmon Pitfalls</a:t>
              </a:r>
            </a:p>
          </p:txBody>
        </p:sp>
        <p:sp>
          <p:nvSpPr>
            <p:cNvPr id="20" name="TextBox 19">
              <a:extLst>
                <a:ext uri="{FF2B5EF4-FFF2-40B4-BE49-F238E27FC236}">
                  <a16:creationId xmlns:a16="http://schemas.microsoft.com/office/drawing/2014/main" id="{63B4A98C-F6AF-4962-8245-D51857EEC651}"/>
                </a:ext>
              </a:extLst>
            </p:cNvPr>
            <p:cNvSpPr txBox="1"/>
            <p:nvPr/>
          </p:nvSpPr>
          <p:spPr>
            <a:xfrm rot="16200000">
              <a:off x="707302" y="5453892"/>
              <a:ext cx="660419" cy="246221"/>
            </a:xfrm>
            <a:prstGeom prst="rect">
              <a:avLst/>
            </a:prstGeom>
            <a:noFill/>
          </p:spPr>
          <p:txBody>
            <a:bodyPr vert="horz" wrap="square" lIns="0" tIns="0" rIns="0" bIns="0" rtlCol="0">
              <a:spAutoFit/>
            </a:bodyPr>
            <a:lstStyle/>
            <a:p>
              <a:pPr marL="0" marR="0" lvl="0" indent="0" algn="ctr" defTabSz="914400" rtl="0" eaLnBrk="1" fontAlgn="base" latinLnBrk="0" hangingPunct="1">
                <a:lnSpc>
                  <a:spcPct val="100000"/>
                </a:lnSpc>
                <a:spcBef>
                  <a:spcPts val="200"/>
                </a:spcBef>
                <a:spcAft>
                  <a:spcPct val="0"/>
                </a:spcAft>
                <a:buClrTx/>
                <a:buSzPct val="100000"/>
                <a:buFontTx/>
                <a:buNone/>
                <a:tabLst/>
                <a:defRPr/>
              </a:pPr>
              <a:r>
                <a:rPr kumimoji="0" lang="en-US" sz="8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KPIs / Analytics</a:t>
              </a:r>
            </a:p>
          </p:txBody>
        </p:sp>
        <p:sp>
          <p:nvSpPr>
            <p:cNvPr id="21" name="object 34">
              <a:extLst>
                <a:ext uri="{FF2B5EF4-FFF2-40B4-BE49-F238E27FC236}">
                  <a16:creationId xmlns:a16="http://schemas.microsoft.com/office/drawing/2014/main" id="{D620A17C-4BCB-4350-9432-D0EE299F6192}"/>
                </a:ext>
              </a:extLst>
            </p:cNvPr>
            <p:cNvSpPr txBox="1"/>
            <p:nvPr/>
          </p:nvSpPr>
          <p:spPr>
            <a:xfrm>
              <a:off x="9489951" y="2707174"/>
              <a:ext cx="665563" cy="123111"/>
            </a:xfrm>
            <a:prstGeom prst="rect">
              <a:avLst/>
            </a:prstGeom>
          </p:spPr>
          <p:txBody>
            <a:bodyPr vert="horz" wrap="square" lIns="0" tIns="0" rIns="0" bIns="0" rtlCol="0">
              <a:spAutoFit/>
            </a:bodyPr>
            <a:lstStyle/>
            <a:p>
              <a:pPr marL="12700" marR="0" lvl="0" indent="0" algn="l"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urchasing</a:t>
              </a:r>
              <a:endParaRPr kumimoji="0"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2" name="object 37">
              <a:extLst>
                <a:ext uri="{FF2B5EF4-FFF2-40B4-BE49-F238E27FC236}">
                  <a16:creationId xmlns:a16="http://schemas.microsoft.com/office/drawing/2014/main" id="{B359134B-C5B8-4C22-A9FA-007FAA583F7D}"/>
                </a:ext>
              </a:extLst>
            </p:cNvPr>
            <p:cNvSpPr txBox="1"/>
            <p:nvPr/>
          </p:nvSpPr>
          <p:spPr>
            <a:xfrm>
              <a:off x="10252734" y="2707174"/>
              <a:ext cx="600644" cy="123111"/>
            </a:xfrm>
            <a:prstGeom prst="rect">
              <a:avLst/>
            </a:prstGeom>
          </p:spPr>
          <p:txBody>
            <a:bodyPr vert="horz" wrap="square" lIns="0" tIns="0" rIns="0" bIns="0" rtlCol="0">
              <a:spAutoFit/>
            </a:bodyPr>
            <a:lstStyle/>
            <a:p>
              <a:pPr marL="12700" marR="0" lvl="0" indent="0" algn="ct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1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P</a:t>
              </a:r>
              <a:endParaRPr kumimoji="0"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3" name="TextBox 22">
              <a:extLst>
                <a:ext uri="{FF2B5EF4-FFF2-40B4-BE49-F238E27FC236}">
                  <a16:creationId xmlns:a16="http://schemas.microsoft.com/office/drawing/2014/main" id="{2839C2A7-7BFC-4AD1-96F9-9E2145497B80}"/>
                </a:ext>
              </a:extLst>
            </p:cNvPr>
            <p:cNvSpPr txBox="1"/>
            <p:nvPr/>
          </p:nvSpPr>
          <p:spPr>
            <a:xfrm>
              <a:off x="1731980" y="2744535"/>
              <a:ext cx="623849" cy="123111"/>
            </a:xfrm>
            <a:prstGeom prst="rect">
              <a:avLst/>
            </a:prstGeom>
            <a:noFill/>
          </p:spPr>
          <p:txBody>
            <a:bodyPr vert="horz" wrap="square" lIns="0" tIns="0" rIns="0" bIns="0" rtlCol="0">
              <a:spAutoFit/>
            </a:bodyPr>
            <a:lstStyle/>
            <a:p>
              <a:pPr marL="0" marR="0" lvl="0" indent="0" algn="ctr" defTabSz="914400" rtl="0" eaLnBrk="1" fontAlgn="base" latinLnBrk="0" hangingPunct="1">
                <a:lnSpc>
                  <a:spcPct val="100000"/>
                </a:lnSpc>
                <a:spcBef>
                  <a:spcPts val="200"/>
                </a:spcBef>
                <a:spcAft>
                  <a:spcPct val="0"/>
                </a:spcAft>
                <a:buClrTx/>
                <a:buSzPct val="100000"/>
                <a:buFontTx/>
                <a:buNone/>
                <a:tabLst/>
                <a:defRPr/>
              </a:pPr>
              <a:r>
                <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stock</a:t>
              </a:r>
            </a:p>
          </p:txBody>
        </p:sp>
        <p:sp>
          <p:nvSpPr>
            <p:cNvPr id="24" name="TextBox 23">
              <a:extLst>
                <a:ext uri="{FF2B5EF4-FFF2-40B4-BE49-F238E27FC236}">
                  <a16:creationId xmlns:a16="http://schemas.microsoft.com/office/drawing/2014/main" id="{AFEE5505-FE76-4215-9072-2C7BE9DE6F83}"/>
                </a:ext>
              </a:extLst>
            </p:cNvPr>
            <p:cNvSpPr txBox="1"/>
            <p:nvPr/>
          </p:nvSpPr>
          <p:spPr>
            <a:xfrm>
              <a:off x="1089266" y="2744535"/>
              <a:ext cx="623849" cy="123111"/>
            </a:xfrm>
            <a:prstGeom prst="rect">
              <a:avLst/>
            </a:prstGeom>
            <a:noFill/>
          </p:spPr>
          <p:txBody>
            <a:bodyPr vert="horz" wrap="square" lIns="0" tIns="0" rIns="0" bIns="0" rtlCol="0">
              <a:spAutoFit/>
            </a:bodyPr>
            <a:lstStyle/>
            <a:p>
              <a:pPr marL="0" marR="0" lvl="0" indent="0" algn="ctr" defTabSz="914400" rtl="0" eaLnBrk="1" fontAlgn="base" latinLnBrk="0" hangingPunct="1">
                <a:lnSpc>
                  <a:spcPct val="100000"/>
                </a:lnSpc>
                <a:spcBef>
                  <a:spcPts val="200"/>
                </a:spcBef>
                <a:spcAft>
                  <a:spcPct val="0"/>
                </a:spcAft>
                <a:buClrTx/>
                <a:buSzPct val="100000"/>
                <a:buFontTx/>
                <a:buNone/>
                <a:tabLst/>
                <a:defRPr/>
              </a:pPr>
              <a:r>
                <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ust. Return</a:t>
              </a:r>
            </a:p>
          </p:txBody>
        </p:sp>
        <p:sp>
          <p:nvSpPr>
            <p:cNvPr id="25" name="TextBox 24">
              <a:extLst>
                <a:ext uri="{FF2B5EF4-FFF2-40B4-BE49-F238E27FC236}">
                  <a16:creationId xmlns:a16="http://schemas.microsoft.com/office/drawing/2014/main" id="{37F84CF7-E710-4255-84FF-77580BDA670E}"/>
                </a:ext>
              </a:extLst>
            </p:cNvPr>
            <p:cNvSpPr txBox="1"/>
            <p:nvPr/>
          </p:nvSpPr>
          <p:spPr>
            <a:xfrm>
              <a:off x="4378885" y="3362096"/>
              <a:ext cx="623849" cy="123111"/>
            </a:xfrm>
            <a:prstGeom prst="rect">
              <a:avLst/>
            </a:prstGeom>
            <a:noFill/>
          </p:spPr>
          <p:txBody>
            <a:bodyPr vert="horz" wrap="square" lIns="0" tIns="0" rIns="0" bIns="0" rtlCol="0">
              <a:spAutoFit/>
            </a:bodyPr>
            <a:lstStyle/>
            <a:p>
              <a:pPr marL="0" marR="0" lvl="0" indent="0" algn="ctr" defTabSz="914400" rtl="0" eaLnBrk="1" fontAlgn="base" latinLnBrk="0" hangingPunct="1">
                <a:lnSpc>
                  <a:spcPct val="100000"/>
                </a:lnSpc>
                <a:spcBef>
                  <a:spcPts val="200"/>
                </a:spcBef>
                <a:spcAft>
                  <a:spcPct val="0"/>
                </a:spcAft>
                <a:buClrTx/>
                <a:buSzPct val="100000"/>
                <a:buFontTx/>
                <a:buNone/>
                <a:tabLst/>
                <a:defRPr/>
              </a:pPr>
              <a:r>
                <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turn Claim</a:t>
              </a:r>
            </a:p>
          </p:txBody>
        </p:sp>
        <p:sp>
          <p:nvSpPr>
            <p:cNvPr id="26" name="TextBox 25">
              <a:extLst>
                <a:ext uri="{FF2B5EF4-FFF2-40B4-BE49-F238E27FC236}">
                  <a16:creationId xmlns:a16="http://schemas.microsoft.com/office/drawing/2014/main" id="{6B072852-8941-4AE3-B5EE-C8FE8266BA65}"/>
                </a:ext>
              </a:extLst>
            </p:cNvPr>
            <p:cNvSpPr txBox="1"/>
            <p:nvPr/>
          </p:nvSpPr>
          <p:spPr>
            <a:xfrm>
              <a:off x="3700479" y="3369180"/>
              <a:ext cx="623849" cy="246221"/>
            </a:xfrm>
            <a:prstGeom prst="rect">
              <a:avLst/>
            </a:prstGeom>
            <a:noFill/>
          </p:spPr>
          <p:txBody>
            <a:bodyPr vert="horz" wrap="square" lIns="0" tIns="0" rIns="0" bIns="0" rtlCol="0">
              <a:spAutoFit/>
            </a:bodyPr>
            <a:lstStyle/>
            <a:p>
              <a:pPr marL="0" marR="0" lvl="0" indent="0" algn="ctr" defTabSz="914400" rtl="0" eaLnBrk="1" fontAlgn="base" latinLnBrk="0" hangingPunct="1">
                <a:lnSpc>
                  <a:spcPct val="100000"/>
                </a:lnSpc>
                <a:spcBef>
                  <a:spcPts val="200"/>
                </a:spcBef>
                <a:spcAft>
                  <a:spcPct val="0"/>
                </a:spcAft>
                <a:buClrTx/>
                <a:buSzPct val="100000"/>
                <a:buFontTx/>
                <a:buNone/>
                <a:tabLst/>
                <a:defRPr/>
              </a:pPr>
              <a:r>
                <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ustomer Service</a:t>
              </a:r>
            </a:p>
          </p:txBody>
        </p:sp>
        <p:sp>
          <p:nvSpPr>
            <p:cNvPr id="27" name="TextBox 26">
              <a:extLst>
                <a:ext uri="{FF2B5EF4-FFF2-40B4-BE49-F238E27FC236}">
                  <a16:creationId xmlns:a16="http://schemas.microsoft.com/office/drawing/2014/main" id="{10BEE7FE-52EB-400D-992F-6E44DC7DD100}"/>
                </a:ext>
              </a:extLst>
            </p:cNvPr>
            <p:cNvSpPr txBox="1"/>
            <p:nvPr/>
          </p:nvSpPr>
          <p:spPr>
            <a:xfrm>
              <a:off x="3057765" y="3362096"/>
              <a:ext cx="623849" cy="123111"/>
            </a:xfrm>
            <a:prstGeom prst="rect">
              <a:avLst/>
            </a:prstGeom>
            <a:noFill/>
          </p:spPr>
          <p:txBody>
            <a:bodyPr vert="horz" wrap="square" lIns="0" tIns="0" rIns="0" bIns="0" rtlCol="0">
              <a:spAutoFit/>
            </a:bodyPr>
            <a:lstStyle/>
            <a:p>
              <a:pPr marL="0" marR="0" lvl="0" indent="0" algn="ctr" defTabSz="914400" rtl="0" eaLnBrk="1" fontAlgn="base" latinLnBrk="0" hangingPunct="1">
                <a:lnSpc>
                  <a:spcPct val="100000"/>
                </a:lnSpc>
                <a:spcBef>
                  <a:spcPts val="200"/>
                </a:spcBef>
                <a:spcAft>
                  <a:spcPct val="0"/>
                </a:spcAft>
                <a:buClrTx/>
                <a:buSzPct val="100000"/>
                <a:buFontTx/>
                <a:buNone/>
                <a:tabLst/>
                <a:defRPr/>
              </a:pPr>
              <a:r>
                <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ebsite</a:t>
              </a:r>
            </a:p>
          </p:txBody>
        </p:sp>
        <p:sp>
          <p:nvSpPr>
            <p:cNvPr id="28" name="TextBox 27">
              <a:extLst>
                <a:ext uri="{FF2B5EF4-FFF2-40B4-BE49-F238E27FC236}">
                  <a16:creationId xmlns:a16="http://schemas.microsoft.com/office/drawing/2014/main" id="{39707521-A8D4-4A72-AF92-48DB831B5597}"/>
                </a:ext>
              </a:extLst>
            </p:cNvPr>
            <p:cNvSpPr txBox="1"/>
            <p:nvPr/>
          </p:nvSpPr>
          <p:spPr>
            <a:xfrm>
              <a:off x="1492548" y="2359969"/>
              <a:ext cx="623849" cy="123111"/>
            </a:xfrm>
            <a:prstGeom prst="rect">
              <a:avLst/>
            </a:prstGeom>
            <a:noFill/>
          </p:spPr>
          <p:txBody>
            <a:bodyPr vert="horz" wrap="square" lIns="0" tIns="0" rIns="0" bIns="0" rtlCol="0">
              <a:spAutoFit/>
            </a:bodyPr>
            <a:lstStyle/>
            <a:p>
              <a:pPr marL="0" marR="0" lvl="0" indent="0" algn="ctr" defTabSz="914400" rtl="0" eaLnBrk="1" fontAlgn="base" latinLnBrk="0" hangingPunct="1">
                <a:lnSpc>
                  <a:spcPct val="100000"/>
                </a:lnSpc>
                <a:spcBef>
                  <a:spcPts val="200"/>
                </a:spcBef>
                <a:spcAft>
                  <a:spcPct val="0"/>
                </a:spcAft>
                <a:buClrTx/>
                <a:buSzPct val="100000"/>
                <a:buFontTx/>
                <a:buNone/>
                <a:tabLst/>
                <a:defRPr/>
              </a:pPr>
              <a:r>
                <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orting</a:t>
              </a:r>
            </a:p>
          </p:txBody>
        </p:sp>
        <p:sp>
          <p:nvSpPr>
            <p:cNvPr id="29" name="TextBox 28">
              <a:extLst>
                <a:ext uri="{FF2B5EF4-FFF2-40B4-BE49-F238E27FC236}">
                  <a16:creationId xmlns:a16="http://schemas.microsoft.com/office/drawing/2014/main" id="{DEED3070-6CF2-43F2-B52E-DF96634963EE}"/>
                </a:ext>
              </a:extLst>
            </p:cNvPr>
            <p:cNvSpPr txBox="1"/>
            <p:nvPr/>
          </p:nvSpPr>
          <p:spPr>
            <a:xfrm>
              <a:off x="2033036" y="2346426"/>
              <a:ext cx="623849" cy="123111"/>
            </a:xfrm>
            <a:prstGeom prst="rect">
              <a:avLst/>
            </a:prstGeom>
            <a:noFill/>
          </p:spPr>
          <p:txBody>
            <a:bodyPr vert="horz" wrap="square" lIns="0" tIns="0" rIns="0" bIns="0" rtlCol="0">
              <a:spAutoFit/>
            </a:bodyPr>
            <a:lstStyle/>
            <a:p>
              <a:pPr marL="0" marR="0" lvl="0" indent="0" algn="ctr" defTabSz="914400" rtl="0" eaLnBrk="1" fontAlgn="base" latinLnBrk="0" hangingPunct="1">
                <a:lnSpc>
                  <a:spcPct val="100000"/>
                </a:lnSpc>
                <a:spcBef>
                  <a:spcPts val="200"/>
                </a:spcBef>
                <a:spcAft>
                  <a:spcPct val="0"/>
                </a:spcAft>
                <a:buClrTx/>
                <a:buSzPct val="100000"/>
                <a:buFontTx/>
                <a:buNone/>
                <a:tabLst/>
                <a:defRPr/>
              </a:pPr>
              <a:r>
                <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ispose</a:t>
              </a:r>
            </a:p>
          </p:txBody>
        </p:sp>
        <p:sp>
          <p:nvSpPr>
            <p:cNvPr id="30" name="TextBox 29">
              <a:extLst>
                <a:ext uri="{FF2B5EF4-FFF2-40B4-BE49-F238E27FC236}">
                  <a16:creationId xmlns:a16="http://schemas.microsoft.com/office/drawing/2014/main" id="{841C9FBB-6E6D-4C35-801C-2B62AAF293DC}"/>
                </a:ext>
              </a:extLst>
            </p:cNvPr>
            <p:cNvSpPr txBox="1"/>
            <p:nvPr/>
          </p:nvSpPr>
          <p:spPr>
            <a:xfrm>
              <a:off x="7091912" y="2346925"/>
              <a:ext cx="623849" cy="123111"/>
            </a:xfrm>
            <a:prstGeom prst="rect">
              <a:avLst/>
            </a:prstGeom>
            <a:noFill/>
          </p:spPr>
          <p:txBody>
            <a:bodyPr vert="horz" wrap="square" lIns="0" tIns="0" rIns="0" bIns="0" rtlCol="0">
              <a:spAutoFit/>
            </a:bodyPr>
            <a:lstStyle/>
            <a:p>
              <a:pPr marL="0" marR="0" lvl="0" indent="0" algn="ctr" defTabSz="914400" rtl="0" eaLnBrk="1" fontAlgn="base" latinLnBrk="0" hangingPunct="1">
                <a:lnSpc>
                  <a:spcPct val="100000"/>
                </a:lnSpc>
                <a:spcBef>
                  <a:spcPts val="200"/>
                </a:spcBef>
                <a:spcAft>
                  <a:spcPct val="0"/>
                </a:spcAft>
                <a:buClrTx/>
                <a:buSzPct val="100000"/>
                <a:buFontTx/>
                <a:buNone/>
                <a:tabLst/>
                <a:defRPr/>
              </a:pPr>
              <a:r>
                <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ceiving</a:t>
              </a:r>
            </a:p>
          </p:txBody>
        </p:sp>
        <p:sp>
          <p:nvSpPr>
            <p:cNvPr id="31" name="TextBox 30">
              <a:extLst>
                <a:ext uri="{FF2B5EF4-FFF2-40B4-BE49-F238E27FC236}">
                  <a16:creationId xmlns:a16="http://schemas.microsoft.com/office/drawing/2014/main" id="{4D1D7E1C-7AE3-4F49-8534-44AB2214EDFB}"/>
                </a:ext>
              </a:extLst>
            </p:cNvPr>
            <p:cNvSpPr txBox="1"/>
            <p:nvPr/>
          </p:nvSpPr>
          <p:spPr>
            <a:xfrm>
              <a:off x="7471017" y="2707174"/>
              <a:ext cx="623849" cy="123111"/>
            </a:xfrm>
            <a:prstGeom prst="rect">
              <a:avLst/>
            </a:prstGeom>
            <a:noFill/>
          </p:spPr>
          <p:txBody>
            <a:bodyPr vert="horz" wrap="square" lIns="0" tIns="0" rIns="0" bIns="0" rtlCol="0">
              <a:spAutoFit/>
            </a:bodyPr>
            <a:lstStyle/>
            <a:p>
              <a:pPr marL="0" marR="0" lvl="0" indent="0" algn="ctr" defTabSz="914400" rtl="0" eaLnBrk="1" fontAlgn="base" latinLnBrk="0" hangingPunct="1">
                <a:lnSpc>
                  <a:spcPct val="100000"/>
                </a:lnSpc>
                <a:spcBef>
                  <a:spcPts val="200"/>
                </a:spcBef>
                <a:spcAft>
                  <a:spcPct val="0"/>
                </a:spcAft>
                <a:buClrTx/>
                <a:buSzPct val="100000"/>
                <a:buFontTx/>
                <a:buNone/>
                <a:tabLst/>
                <a:defRPr/>
              </a:pPr>
              <a:r>
                <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orting</a:t>
              </a:r>
            </a:p>
          </p:txBody>
        </p:sp>
        <p:sp>
          <p:nvSpPr>
            <p:cNvPr id="32" name="TextBox 31">
              <a:extLst>
                <a:ext uri="{FF2B5EF4-FFF2-40B4-BE49-F238E27FC236}">
                  <a16:creationId xmlns:a16="http://schemas.microsoft.com/office/drawing/2014/main" id="{0F578A0E-01C5-4B50-9CE5-10D81467D8A5}"/>
                </a:ext>
              </a:extLst>
            </p:cNvPr>
            <p:cNvSpPr txBox="1"/>
            <p:nvPr/>
          </p:nvSpPr>
          <p:spPr>
            <a:xfrm>
              <a:off x="7803187" y="2346925"/>
              <a:ext cx="623849" cy="123111"/>
            </a:xfrm>
            <a:prstGeom prst="rect">
              <a:avLst/>
            </a:prstGeom>
            <a:noFill/>
          </p:spPr>
          <p:txBody>
            <a:bodyPr vert="horz" wrap="square" lIns="0" tIns="0" rIns="0" bIns="0" rtlCol="0">
              <a:spAutoFit/>
            </a:bodyPr>
            <a:lstStyle/>
            <a:p>
              <a:pPr marL="0" marR="0" lvl="0" indent="0" algn="ctr" defTabSz="914400" rtl="0" eaLnBrk="1" fontAlgn="base" latinLnBrk="0" hangingPunct="1">
                <a:lnSpc>
                  <a:spcPct val="100000"/>
                </a:lnSpc>
                <a:spcBef>
                  <a:spcPts val="200"/>
                </a:spcBef>
                <a:spcAft>
                  <a:spcPct val="0"/>
                </a:spcAft>
                <a:buClrTx/>
                <a:buSzPct val="100000"/>
                <a:buFontTx/>
                <a:buNone/>
                <a:tabLst/>
                <a:defRPr/>
              </a:pPr>
              <a:r>
                <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furb</a:t>
              </a:r>
            </a:p>
          </p:txBody>
        </p:sp>
        <p:sp>
          <p:nvSpPr>
            <p:cNvPr id="33" name="TextBox 32">
              <a:extLst>
                <a:ext uri="{FF2B5EF4-FFF2-40B4-BE49-F238E27FC236}">
                  <a16:creationId xmlns:a16="http://schemas.microsoft.com/office/drawing/2014/main" id="{E0ABEAE7-5246-46A2-819B-66F9357282F0}"/>
                </a:ext>
              </a:extLst>
            </p:cNvPr>
            <p:cNvSpPr txBox="1"/>
            <p:nvPr/>
          </p:nvSpPr>
          <p:spPr>
            <a:xfrm>
              <a:off x="8132592" y="2707174"/>
              <a:ext cx="623849" cy="123111"/>
            </a:xfrm>
            <a:prstGeom prst="rect">
              <a:avLst/>
            </a:prstGeom>
            <a:noFill/>
          </p:spPr>
          <p:txBody>
            <a:bodyPr vert="horz" wrap="square" lIns="0" tIns="0" rIns="0" bIns="0" rtlCol="0">
              <a:spAutoFit/>
            </a:bodyPr>
            <a:lstStyle/>
            <a:p>
              <a:pPr marL="0" marR="0" lvl="0" indent="0" algn="ctr" defTabSz="914400" rtl="0" eaLnBrk="1" fontAlgn="base" latinLnBrk="0" hangingPunct="1">
                <a:lnSpc>
                  <a:spcPct val="100000"/>
                </a:lnSpc>
                <a:spcBef>
                  <a:spcPts val="200"/>
                </a:spcBef>
                <a:spcAft>
                  <a:spcPct val="0"/>
                </a:spcAft>
                <a:buClrTx/>
                <a:buSzPct val="100000"/>
                <a:buFontTx/>
                <a:buNone/>
                <a:tabLst/>
                <a:defRPr/>
              </a:pPr>
              <a:r>
                <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ispose</a:t>
              </a:r>
            </a:p>
          </p:txBody>
        </p:sp>
        <p:sp>
          <p:nvSpPr>
            <p:cNvPr id="34" name="TextBox 33">
              <a:extLst>
                <a:ext uri="{FF2B5EF4-FFF2-40B4-BE49-F238E27FC236}">
                  <a16:creationId xmlns:a16="http://schemas.microsoft.com/office/drawing/2014/main" id="{6B1BDA7A-021F-4CCD-8D5A-04A14BBB0F18}"/>
                </a:ext>
              </a:extLst>
            </p:cNvPr>
            <p:cNvSpPr txBox="1"/>
            <p:nvPr/>
          </p:nvSpPr>
          <p:spPr>
            <a:xfrm>
              <a:off x="8461995" y="2346925"/>
              <a:ext cx="623849" cy="123111"/>
            </a:xfrm>
            <a:prstGeom prst="rect">
              <a:avLst/>
            </a:prstGeom>
            <a:noFill/>
          </p:spPr>
          <p:txBody>
            <a:bodyPr vert="horz" wrap="square" lIns="0" tIns="0" rIns="0" bIns="0" rtlCol="0">
              <a:spAutoFit/>
            </a:bodyPr>
            <a:lstStyle/>
            <a:p>
              <a:pPr marL="0" marR="0" lvl="0" indent="0" algn="ctr" defTabSz="914400" rtl="0" eaLnBrk="1" fontAlgn="base" latinLnBrk="0" hangingPunct="1">
                <a:lnSpc>
                  <a:spcPct val="100000"/>
                </a:lnSpc>
                <a:spcBef>
                  <a:spcPts val="200"/>
                </a:spcBef>
                <a:spcAft>
                  <a:spcPct val="0"/>
                </a:spcAft>
                <a:buClrTx/>
                <a:buSzPct val="100000"/>
                <a:buFontTx/>
                <a:buNone/>
                <a:tabLst/>
                <a:defRPr/>
              </a:pPr>
              <a:r>
                <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stock</a:t>
              </a:r>
            </a:p>
          </p:txBody>
        </p:sp>
        <p:sp>
          <p:nvSpPr>
            <p:cNvPr id="35" name="TextBox 34">
              <a:extLst>
                <a:ext uri="{FF2B5EF4-FFF2-40B4-BE49-F238E27FC236}">
                  <a16:creationId xmlns:a16="http://schemas.microsoft.com/office/drawing/2014/main" id="{40CAA7E2-6A0F-4413-99CB-8C4892856EB1}"/>
                </a:ext>
              </a:extLst>
            </p:cNvPr>
            <p:cNvSpPr txBox="1"/>
            <p:nvPr/>
          </p:nvSpPr>
          <p:spPr>
            <a:xfrm>
              <a:off x="5265912" y="2346925"/>
              <a:ext cx="623849" cy="123111"/>
            </a:xfrm>
            <a:prstGeom prst="rect">
              <a:avLst/>
            </a:prstGeom>
            <a:noFill/>
          </p:spPr>
          <p:txBody>
            <a:bodyPr vert="horz" wrap="square" lIns="0" tIns="0" rIns="0" bIns="0" rtlCol="0">
              <a:spAutoFit/>
            </a:bodyPr>
            <a:lstStyle/>
            <a:p>
              <a:pPr marL="0" marR="0" lvl="0" indent="0" algn="ctr" defTabSz="914400" rtl="0" eaLnBrk="1" fontAlgn="base" latinLnBrk="0" hangingPunct="1">
                <a:lnSpc>
                  <a:spcPct val="100000"/>
                </a:lnSpc>
                <a:spcBef>
                  <a:spcPts val="200"/>
                </a:spcBef>
                <a:spcAft>
                  <a:spcPct val="0"/>
                </a:spcAft>
                <a:buClrTx/>
                <a:buSzPct val="100000"/>
                <a:buFontTx/>
                <a:buNone/>
                <a:tabLst/>
                <a:defRPr/>
              </a:pPr>
              <a:r>
                <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ickup</a:t>
              </a:r>
            </a:p>
          </p:txBody>
        </p:sp>
        <p:sp>
          <p:nvSpPr>
            <p:cNvPr id="36" name="TextBox 35">
              <a:extLst>
                <a:ext uri="{FF2B5EF4-FFF2-40B4-BE49-F238E27FC236}">
                  <a16:creationId xmlns:a16="http://schemas.microsoft.com/office/drawing/2014/main" id="{67588988-9D51-4F85-A881-423B438A37F4}"/>
                </a:ext>
              </a:extLst>
            </p:cNvPr>
            <p:cNvSpPr txBox="1"/>
            <p:nvPr/>
          </p:nvSpPr>
          <p:spPr>
            <a:xfrm>
              <a:off x="6131576" y="2346925"/>
              <a:ext cx="623849" cy="123111"/>
            </a:xfrm>
            <a:prstGeom prst="rect">
              <a:avLst/>
            </a:prstGeom>
            <a:noFill/>
          </p:spPr>
          <p:txBody>
            <a:bodyPr vert="horz" wrap="square" lIns="0" tIns="0" rIns="0" bIns="0" rtlCol="0">
              <a:spAutoFit/>
            </a:bodyPr>
            <a:lstStyle/>
            <a:p>
              <a:pPr marL="0" marR="0" lvl="0" indent="0" algn="ctr" defTabSz="914400" rtl="0" eaLnBrk="1" fontAlgn="base" latinLnBrk="0" hangingPunct="1">
                <a:lnSpc>
                  <a:spcPct val="100000"/>
                </a:lnSpc>
                <a:spcBef>
                  <a:spcPts val="200"/>
                </a:spcBef>
                <a:spcAft>
                  <a:spcPct val="0"/>
                </a:spcAft>
                <a:buClrTx/>
                <a:buSzPct val="100000"/>
                <a:buFontTx/>
                <a:buNone/>
                <a:tabLst/>
                <a:defRPr/>
              </a:pPr>
              <a:r>
                <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rop off</a:t>
              </a:r>
            </a:p>
          </p:txBody>
        </p:sp>
        <p:cxnSp>
          <p:nvCxnSpPr>
            <p:cNvPr id="37" name="Straight Connector 36">
              <a:extLst>
                <a:ext uri="{FF2B5EF4-FFF2-40B4-BE49-F238E27FC236}">
                  <a16:creationId xmlns:a16="http://schemas.microsoft.com/office/drawing/2014/main" id="{E01D1908-AA4A-4CC7-B039-8CD9B17CEDE3}"/>
                </a:ext>
              </a:extLst>
            </p:cNvPr>
            <p:cNvCxnSpPr/>
            <p:nvPr/>
          </p:nvCxnSpPr>
          <p:spPr>
            <a:xfrm>
              <a:off x="3059965" y="3605364"/>
              <a:ext cx="0" cy="2349206"/>
            </a:xfrm>
            <a:prstGeom prst="line">
              <a:avLst/>
            </a:prstGeom>
            <a:ln w="952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D012597-4E1E-4B74-B1C9-BC703E0ADF51}"/>
                </a:ext>
              </a:extLst>
            </p:cNvPr>
            <p:cNvCxnSpPr/>
            <p:nvPr/>
          </p:nvCxnSpPr>
          <p:spPr>
            <a:xfrm>
              <a:off x="4890006" y="3592264"/>
              <a:ext cx="0" cy="2349206"/>
            </a:xfrm>
            <a:prstGeom prst="line">
              <a:avLst/>
            </a:prstGeom>
            <a:ln w="952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0104BAF4-65D6-453A-8D13-603333457FB0}"/>
                </a:ext>
              </a:extLst>
            </p:cNvPr>
            <p:cNvCxnSpPr/>
            <p:nvPr/>
          </p:nvCxnSpPr>
          <p:spPr>
            <a:xfrm>
              <a:off x="6891698" y="3605364"/>
              <a:ext cx="0" cy="2349206"/>
            </a:xfrm>
            <a:prstGeom prst="line">
              <a:avLst/>
            </a:prstGeom>
            <a:ln w="952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542A4C0-2762-4E3B-A2F0-C5325ECAF4B9}"/>
                </a:ext>
              </a:extLst>
            </p:cNvPr>
            <p:cNvCxnSpPr/>
            <p:nvPr/>
          </p:nvCxnSpPr>
          <p:spPr>
            <a:xfrm>
              <a:off x="8899159" y="3605364"/>
              <a:ext cx="0" cy="2349206"/>
            </a:xfrm>
            <a:prstGeom prst="line">
              <a:avLst/>
            </a:prstGeom>
            <a:ln w="952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sp>
          <p:nvSpPr>
            <p:cNvPr id="41" name="object 91">
              <a:extLst>
                <a:ext uri="{FF2B5EF4-FFF2-40B4-BE49-F238E27FC236}">
                  <a16:creationId xmlns:a16="http://schemas.microsoft.com/office/drawing/2014/main" id="{B55A9AE1-D480-470E-87A7-AA0B2C8D7ADC}"/>
                </a:ext>
              </a:extLst>
            </p:cNvPr>
            <p:cNvSpPr txBox="1"/>
            <p:nvPr/>
          </p:nvSpPr>
          <p:spPr>
            <a:xfrm>
              <a:off x="1285460" y="3723199"/>
              <a:ext cx="1761543" cy="866904"/>
            </a:xfrm>
            <a:prstGeom prst="rect">
              <a:avLst/>
            </a:prstGeom>
          </p:spPr>
          <p:txBody>
            <a:bodyPr vert="horz" wrap="square" lIns="0" tIns="0" rIns="0" bIns="0" rtlCol="0">
              <a:spAutoFit/>
            </a:bodyPr>
            <a:lstStyle/>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venue/COGS</a:t>
              </a:r>
              <a:endPar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17475" marR="0" lvl="0" indent="-104775" algn="l" defTabSz="914400" rtl="0" eaLnBrk="1" fontAlgn="base" latinLnBrk="0" hangingPunct="1">
                <a:lnSpc>
                  <a:spcPct val="100000"/>
                </a:lnSpc>
                <a:spcBef>
                  <a:spcPts val="195"/>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KU ID/Product Category</a:t>
              </a:r>
              <a:endPar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17475" marR="0" lvl="0" indent="-104775" algn="l" defTabSz="914400" rtl="0" eaLnBrk="1" fontAlgn="base" latinLnBrk="0" hangingPunct="1">
                <a:lnSpc>
                  <a:spcPct val="100000"/>
                </a:lnSpc>
                <a:spcBef>
                  <a:spcPts val="20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Quantity of Returns</a:t>
              </a:r>
            </a:p>
            <a:p>
              <a:pPr marL="117475" marR="0" lvl="0" indent="-104775" algn="l" defTabSz="914400" rtl="0" eaLnBrk="1" fontAlgn="base" latinLnBrk="0" hangingPunct="1">
                <a:lnSpc>
                  <a:spcPct val="100000"/>
                </a:lnSpc>
                <a:spcBef>
                  <a:spcPts val="20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turn Category</a:t>
              </a:r>
            </a:p>
            <a:p>
              <a:pPr marL="117475" marR="0" lvl="0" indent="-104775" algn="l" defTabSz="914400" rtl="0" eaLnBrk="1" fontAlgn="base" latinLnBrk="0" hangingPunct="1">
                <a:lnSpc>
                  <a:spcPct val="100000"/>
                </a:lnSpc>
                <a:spcBef>
                  <a:spcPts val="20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partment Labor Hours</a:t>
              </a:r>
            </a:p>
            <a:p>
              <a:pPr marL="184785" marR="0" lvl="0" indent="-172085" algn="l" defTabSz="914400" rtl="0" eaLnBrk="1" fontAlgn="base" latinLnBrk="0" hangingPunct="1">
                <a:lnSpc>
                  <a:spcPct val="100000"/>
                </a:lnSpc>
                <a:spcBef>
                  <a:spcPts val="200"/>
                </a:spcBef>
                <a:spcAft>
                  <a:spcPct val="0"/>
                </a:spcAft>
                <a:buClrTx/>
                <a:buSzPct val="75000"/>
                <a:buFont typeface="Arial"/>
                <a:buChar char="•"/>
                <a:tabLst>
                  <a:tab pos="185420" algn="l"/>
                </a:tabLst>
                <a:defRPr/>
              </a:pPr>
              <a:endPar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2" name="object 91">
              <a:extLst>
                <a:ext uri="{FF2B5EF4-FFF2-40B4-BE49-F238E27FC236}">
                  <a16:creationId xmlns:a16="http://schemas.microsoft.com/office/drawing/2014/main" id="{FB6C4BA2-2B75-428D-89D5-B3FD754FF790}"/>
                </a:ext>
              </a:extLst>
            </p:cNvPr>
            <p:cNvSpPr txBox="1"/>
            <p:nvPr/>
          </p:nvSpPr>
          <p:spPr>
            <a:xfrm>
              <a:off x="3172821" y="3723199"/>
              <a:ext cx="1761543" cy="866904"/>
            </a:xfrm>
            <a:prstGeom prst="rect">
              <a:avLst/>
            </a:prstGeom>
          </p:spPr>
          <p:txBody>
            <a:bodyPr vert="horz" wrap="square" lIns="0" tIns="0" rIns="0" bIns="0" rtlCol="0">
              <a:spAutoFit/>
            </a:bodyPr>
            <a:lstStyle/>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venue/COGS</a:t>
              </a:r>
            </a:p>
            <a:p>
              <a:pPr marL="117475" marR="0" lvl="0" indent="-104775" algn="l" defTabSz="914400" rtl="0" eaLnBrk="1" fontAlgn="base" latinLnBrk="0" hangingPunct="1">
                <a:lnSpc>
                  <a:spcPct val="100000"/>
                </a:lnSpc>
                <a:spcBef>
                  <a:spcPts val="195"/>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KU ID/Product Category</a:t>
              </a:r>
            </a:p>
            <a:p>
              <a:pPr marL="117475" marR="0" lvl="0" indent="-104775" algn="l" defTabSz="914400" rtl="0" eaLnBrk="1" fontAlgn="base" latinLnBrk="0" hangingPunct="1">
                <a:lnSpc>
                  <a:spcPct val="100000"/>
                </a:lnSpc>
                <a:spcBef>
                  <a:spcPts val="20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Quantity of Returns</a:t>
              </a:r>
            </a:p>
            <a:p>
              <a:pPr marL="117475" marR="0" lvl="0" indent="-104775" algn="l" defTabSz="914400" rtl="0" eaLnBrk="1" fontAlgn="base" latinLnBrk="0" hangingPunct="1">
                <a:lnSpc>
                  <a:spcPct val="100000"/>
                </a:lnSpc>
                <a:spcBef>
                  <a:spcPts val="20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turn Category</a:t>
              </a:r>
            </a:p>
            <a:p>
              <a:pPr marL="117475" marR="0" lvl="0" indent="-104775" algn="l" defTabSz="914400" rtl="0" eaLnBrk="1" fontAlgn="base" latinLnBrk="0" hangingPunct="1">
                <a:lnSpc>
                  <a:spcPct val="100000"/>
                </a:lnSpc>
                <a:spcBef>
                  <a:spcPts val="20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Geographic Data</a:t>
              </a:r>
            </a:p>
            <a:p>
              <a:pPr marL="117475" marR="0" lvl="0" indent="-104775" algn="l" defTabSz="914400" rtl="0" eaLnBrk="1" fontAlgn="base" latinLnBrk="0" hangingPunct="1">
                <a:lnSpc>
                  <a:spcPct val="100000"/>
                </a:lnSpc>
                <a:spcBef>
                  <a:spcPts val="200"/>
                </a:spcBef>
                <a:spcAft>
                  <a:spcPct val="0"/>
                </a:spcAft>
                <a:buClrTx/>
                <a:buSzPct val="75000"/>
                <a:buFont typeface="Arial"/>
                <a:buChar char="•"/>
                <a:tabLst>
                  <a:tab pos="117475" algn="l"/>
                </a:tabLst>
                <a:defRPr/>
              </a:pPr>
              <a:endPar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3" name="object 92">
              <a:extLst>
                <a:ext uri="{FF2B5EF4-FFF2-40B4-BE49-F238E27FC236}">
                  <a16:creationId xmlns:a16="http://schemas.microsoft.com/office/drawing/2014/main" id="{1833AFB2-57F9-4E2D-9351-AC695A727E4B}"/>
                </a:ext>
              </a:extLst>
            </p:cNvPr>
            <p:cNvSpPr txBox="1"/>
            <p:nvPr/>
          </p:nvSpPr>
          <p:spPr>
            <a:xfrm>
              <a:off x="5071410" y="3723199"/>
              <a:ext cx="1155262" cy="718145"/>
            </a:xfrm>
            <a:prstGeom prst="rect">
              <a:avLst/>
            </a:prstGeom>
          </p:spPr>
          <p:txBody>
            <a:bodyPr vert="horz" wrap="square" lIns="0" tIns="0" rIns="0" bIns="0" rtlCol="0">
              <a:spAutoFit/>
            </a:bodyPr>
            <a:lstStyle/>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top Time</a:t>
              </a:r>
            </a:p>
            <a:p>
              <a:pPr marL="117475" marR="0" lvl="0" indent="-104775" algn="l" defTabSz="914400" rtl="0" eaLnBrk="1" fontAlgn="base" latinLnBrk="0" hangingPunct="1">
                <a:lnSpc>
                  <a:spcPct val="100000"/>
                </a:lnSpc>
                <a:spcBef>
                  <a:spcPts val="195"/>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ileage</a:t>
              </a:r>
            </a:p>
            <a:p>
              <a:pPr marL="117475" marR="0" lvl="0" indent="-104775" algn="l" defTabSz="914400" rtl="0" eaLnBrk="1" fontAlgn="base" latinLnBrk="0" hangingPunct="1">
                <a:lnSpc>
                  <a:spcPct val="100000"/>
                </a:lnSpc>
                <a:spcBef>
                  <a:spcPts val="20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ube/Weight</a:t>
              </a:r>
            </a:p>
            <a:p>
              <a:pPr marL="117475" marR="0" lvl="0" indent="-104775" algn="l" defTabSz="914400" rtl="0" eaLnBrk="1" fontAlgn="base" latinLnBrk="0" hangingPunct="1">
                <a:lnSpc>
                  <a:spcPct val="100000"/>
                </a:lnSpc>
                <a:spcBef>
                  <a:spcPts val="20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reight Charge</a:t>
              </a:r>
            </a:p>
            <a:p>
              <a:pPr marL="117475" marR="0" lvl="0" indent="-104775" algn="l" defTabSz="914400" rtl="0" eaLnBrk="1" fontAlgn="base" latinLnBrk="0" hangingPunct="1">
                <a:lnSpc>
                  <a:spcPct val="100000"/>
                </a:lnSpc>
                <a:spcBef>
                  <a:spcPts val="20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oute ID</a:t>
              </a:r>
            </a:p>
          </p:txBody>
        </p:sp>
        <p:sp>
          <p:nvSpPr>
            <p:cNvPr id="44" name="object 93">
              <a:extLst>
                <a:ext uri="{FF2B5EF4-FFF2-40B4-BE49-F238E27FC236}">
                  <a16:creationId xmlns:a16="http://schemas.microsoft.com/office/drawing/2014/main" id="{A1DDEC69-A451-4560-BB98-1DC4D64E9FC3}"/>
                </a:ext>
              </a:extLst>
            </p:cNvPr>
            <p:cNvSpPr txBox="1"/>
            <p:nvPr/>
          </p:nvSpPr>
          <p:spPr>
            <a:xfrm>
              <a:off x="7028821" y="3723199"/>
              <a:ext cx="1807113" cy="718145"/>
            </a:xfrm>
            <a:prstGeom prst="rect">
              <a:avLst/>
            </a:prstGeom>
          </p:spPr>
          <p:txBody>
            <a:bodyPr vert="horz" wrap="square" lIns="0" tIns="0" rIns="0" bIns="0" rtlCol="0">
              <a:spAutoFit/>
            </a:bodyPr>
            <a:lstStyle/>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Quantity</a:t>
              </a:r>
            </a:p>
            <a:p>
              <a:pPr marL="117475" marR="0" lvl="0" indent="-104775" algn="l" defTabSz="914400" rtl="0" eaLnBrk="1" fontAlgn="base" latinLnBrk="0" hangingPunct="1">
                <a:lnSpc>
                  <a:spcPct val="100000"/>
                </a:lnSpc>
                <a:spcBef>
                  <a:spcPts val="195"/>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KU ID/Product Category</a:t>
              </a:r>
            </a:p>
            <a:p>
              <a:pPr marL="117475" marR="0" lvl="0" indent="-104775" algn="l" defTabSz="914400" rtl="0" eaLnBrk="1" fontAlgn="base" latinLnBrk="0" hangingPunct="1">
                <a:lnSpc>
                  <a:spcPct val="100000"/>
                </a:lnSpc>
                <a:spcBef>
                  <a:spcPts val="195"/>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abor Standards</a:t>
              </a:r>
            </a:p>
            <a:p>
              <a:pPr marL="117475" marR="0" lvl="0" indent="-104775" algn="l" defTabSz="914400" rtl="0" eaLnBrk="1" fontAlgn="base" latinLnBrk="0" hangingPunct="1">
                <a:lnSpc>
                  <a:spcPct val="100000"/>
                </a:lnSpc>
                <a:spcBef>
                  <a:spcPts val="195"/>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upplier ID</a:t>
              </a:r>
            </a:p>
            <a:p>
              <a:pPr marL="117475" marR="0" lvl="0" indent="-104775" algn="l" defTabSz="914400" rtl="0" eaLnBrk="1" fontAlgn="base" latinLnBrk="0" hangingPunct="1">
                <a:lnSpc>
                  <a:spcPct val="100000"/>
                </a:lnSpc>
                <a:spcBef>
                  <a:spcPts val="195"/>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hysical Condition</a:t>
              </a:r>
            </a:p>
          </p:txBody>
        </p:sp>
        <p:sp>
          <p:nvSpPr>
            <p:cNvPr id="45" name="object 94">
              <a:extLst>
                <a:ext uri="{FF2B5EF4-FFF2-40B4-BE49-F238E27FC236}">
                  <a16:creationId xmlns:a16="http://schemas.microsoft.com/office/drawing/2014/main" id="{72B38F90-97FC-47DC-B4EB-7AF2BC406658}"/>
                </a:ext>
              </a:extLst>
            </p:cNvPr>
            <p:cNvSpPr txBox="1"/>
            <p:nvPr/>
          </p:nvSpPr>
          <p:spPr>
            <a:xfrm>
              <a:off x="9043408" y="3723199"/>
              <a:ext cx="1336682" cy="518091"/>
            </a:xfrm>
            <a:prstGeom prst="rect">
              <a:avLst/>
            </a:prstGeom>
          </p:spPr>
          <p:txBody>
            <a:bodyPr vert="horz" wrap="square" lIns="0" tIns="0" rIns="0" bIns="0" rtlCol="0">
              <a:spAutoFit/>
            </a:bodyPr>
            <a:lstStyle/>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upplier Terms (Returns)</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hargebacks</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umber of Credits</a:t>
              </a:r>
            </a:p>
            <a:p>
              <a:pPr marL="117475" marR="0" lvl="0" indent="-104775" algn="l" defTabSz="914400" rtl="0" eaLnBrk="1" fontAlgn="base" latinLnBrk="0" hangingPunct="1">
                <a:lnSpc>
                  <a:spcPct val="100000"/>
                </a:lnSpc>
                <a:spcBef>
                  <a:spcPts val="20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Volume Rebates</a:t>
              </a:r>
              <a:endParaRPr kumimoji="0"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6" name="object 91">
              <a:extLst>
                <a:ext uri="{FF2B5EF4-FFF2-40B4-BE49-F238E27FC236}">
                  <a16:creationId xmlns:a16="http://schemas.microsoft.com/office/drawing/2014/main" id="{B5089DC1-675D-44BE-A9AC-6879714999DB}"/>
                </a:ext>
              </a:extLst>
            </p:cNvPr>
            <p:cNvSpPr txBox="1"/>
            <p:nvPr/>
          </p:nvSpPr>
          <p:spPr>
            <a:xfrm>
              <a:off x="1285460" y="4526989"/>
              <a:ext cx="1761543" cy="492443"/>
            </a:xfrm>
            <a:prstGeom prst="rect">
              <a:avLst/>
            </a:prstGeom>
          </p:spPr>
          <p:txBody>
            <a:bodyPr vert="horz" wrap="square" lIns="0" tIns="0" rIns="0" bIns="0" rtlCol="0">
              <a:spAutoFit/>
            </a:bodyPr>
            <a:lstStyle/>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58738"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complete Information for front-line associates</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58738"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consistent customer experience</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58738"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complete policy adherence</a:t>
              </a:r>
            </a:p>
          </p:txBody>
        </p:sp>
        <p:sp>
          <p:nvSpPr>
            <p:cNvPr id="47" name="object 92">
              <a:extLst>
                <a:ext uri="{FF2B5EF4-FFF2-40B4-BE49-F238E27FC236}">
                  <a16:creationId xmlns:a16="http://schemas.microsoft.com/office/drawing/2014/main" id="{F78D8313-67A6-4AB3-A8D4-3B87DF08505B}"/>
                </a:ext>
              </a:extLst>
            </p:cNvPr>
            <p:cNvSpPr txBox="1"/>
            <p:nvPr/>
          </p:nvSpPr>
          <p:spPr>
            <a:xfrm>
              <a:off x="5071409" y="4526989"/>
              <a:ext cx="1670200" cy="369332"/>
            </a:xfrm>
            <a:prstGeom prst="rect">
              <a:avLst/>
            </a:prstGeom>
          </p:spPr>
          <p:txBody>
            <a:bodyPr vert="horz" wrap="square" lIns="0" tIns="0" rIns="0" bIns="0" rtlCol="0">
              <a:spAutoFit/>
            </a:bodyPr>
            <a:lstStyle/>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complete freight data</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complete route data</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ost/damaged packages</a:t>
              </a:r>
            </a:p>
          </p:txBody>
        </p:sp>
        <p:sp>
          <p:nvSpPr>
            <p:cNvPr id="48" name="object 93">
              <a:extLst>
                <a:ext uri="{FF2B5EF4-FFF2-40B4-BE49-F238E27FC236}">
                  <a16:creationId xmlns:a16="http://schemas.microsoft.com/office/drawing/2014/main" id="{AD72C347-8E29-412F-AF3E-A29F06A999AC}"/>
                </a:ext>
              </a:extLst>
            </p:cNvPr>
            <p:cNvSpPr txBox="1"/>
            <p:nvPr/>
          </p:nvSpPr>
          <p:spPr>
            <a:xfrm>
              <a:off x="7028821" y="4526989"/>
              <a:ext cx="1807113" cy="615553"/>
            </a:xfrm>
            <a:prstGeom prst="rect">
              <a:avLst/>
            </a:prstGeom>
          </p:spPr>
          <p:txBody>
            <a:bodyPr vert="horz" wrap="square" lIns="0" tIns="0" rIns="0" bIns="0" rtlCol="0">
              <a:spAutoFit/>
            </a:bodyPr>
            <a:lstStyle/>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acking labor standards</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ystems do not track time by SKU</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consistent documentation between return reason and SKU physical condition</a:t>
              </a:r>
            </a:p>
          </p:txBody>
        </p:sp>
        <p:sp>
          <p:nvSpPr>
            <p:cNvPr id="49" name="object 94">
              <a:extLst>
                <a:ext uri="{FF2B5EF4-FFF2-40B4-BE49-F238E27FC236}">
                  <a16:creationId xmlns:a16="http://schemas.microsoft.com/office/drawing/2014/main" id="{6D5B6717-0F5E-4251-ACDD-7B1F5E783146}"/>
                </a:ext>
              </a:extLst>
            </p:cNvPr>
            <p:cNvSpPr txBox="1"/>
            <p:nvPr/>
          </p:nvSpPr>
          <p:spPr>
            <a:xfrm>
              <a:off x="9043408" y="4526989"/>
              <a:ext cx="1336682" cy="615553"/>
            </a:xfrm>
            <a:prstGeom prst="rect">
              <a:avLst/>
            </a:prstGeom>
          </p:spPr>
          <p:txBody>
            <a:bodyPr vert="horz" wrap="square" lIns="0" tIns="0" rIns="0" bIns="0" rtlCol="0">
              <a:spAutoFit/>
            </a:bodyPr>
            <a:lstStyle/>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Varying policies among suppliers for returns submission (ex. Amount of documentation) </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low refund credit</a:t>
              </a:r>
            </a:p>
          </p:txBody>
        </p:sp>
        <p:sp>
          <p:nvSpPr>
            <p:cNvPr id="50" name="object 91">
              <a:extLst>
                <a:ext uri="{FF2B5EF4-FFF2-40B4-BE49-F238E27FC236}">
                  <a16:creationId xmlns:a16="http://schemas.microsoft.com/office/drawing/2014/main" id="{4EAFFEBC-D907-4358-A4EB-A7EF2573566B}"/>
                </a:ext>
              </a:extLst>
            </p:cNvPr>
            <p:cNvSpPr txBox="1"/>
            <p:nvPr/>
          </p:nvSpPr>
          <p:spPr>
            <a:xfrm>
              <a:off x="1285460" y="5210253"/>
              <a:ext cx="1761543" cy="738664"/>
            </a:xfrm>
            <a:prstGeom prst="rect">
              <a:avLst/>
            </a:prstGeom>
          </p:spPr>
          <p:txBody>
            <a:bodyPr vert="horz" wrap="square" lIns="0" tIns="0" rIns="0" bIns="0" rtlCol="0">
              <a:spAutoFit/>
            </a:bodyPr>
            <a:lstStyle/>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ime per return transaction</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ustomer satisfaction scores</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turns as a % of Sales</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vg. vs. Actual # Returns per Store</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st per Return by store, category and return type</a:t>
              </a:r>
            </a:p>
          </p:txBody>
        </p:sp>
        <p:sp>
          <p:nvSpPr>
            <p:cNvPr id="51" name="object 92">
              <a:extLst>
                <a:ext uri="{FF2B5EF4-FFF2-40B4-BE49-F238E27FC236}">
                  <a16:creationId xmlns:a16="http://schemas.microsoft.com/office/drawing/2014/main" id="{B91A3E1F-321D-4A68-9BA1-CE0EAB49AB50}"/>
                </a:ext>
              </a:extLst>
            </p:cNvPr>
            <p:cNvSpPr txBox="1"/>
            <p:nvPr/>
          </p:nvSpPr>
          <p:spPr>
            <a:xfrm>
              <a:off x="5071409" y="5210253"/>
              <a:ext cx="1685060" cy="861774"/>
            </a:xfrm>
            <a:prstGeom prst="rect">
              <a:avLst/>
            </a:prstGeom>
          </p:spPr>
          <p:txBody>
            <a:bodyPr vert="horz" wrap="square" lIns="0" tIns="0" rIns="0" bIns="0" rtlCol="0">
              <a:spAutoFit/>
            </a:bodyPr>
            <a:lstStyle/>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llocated freight cost by product and shipper</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vg. vs. Actual Cost per </a:t>
              </a:r>
            </a:p>
            <a:p>
              <a:pPr marL="346075" marR="0" lvl="1" indent="-171450" algn="l" defTabSz="914400" rtl="0" eaLnBrk="1" fontAlgn="base" latinLnBrk="0" hangingPunct="1">
                <a:lnSpc>
                  <a:spcPct val="100000"/>
                </a:lnSpc>
                <a:spcBef>
                  <a:spcPct val="0"/>
                </a:spcBef>
                <a:spcAft>
                  <a:spcPct val="0"/>
                </a:spcAft>
                <a:buClrTx/>
                <a:buSzPct val="75000"/>
                <a:buFont typeface="Arial"/>
                <a:buChar char="•"/>
                <a:tabLst>
                  <a:tab pos="185420"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ile</a:t>
              </a:r>
            </a:p>
            <a:p>
              <a:pPr marL="346075" marR="0" lvl="1" indent="-171450" algn="l" defTabSz="914400" rtl="0" eaLnBrk="1" fontAlgn="base" latinLnBrk="0" hangingPunct="1">
                <a:lnSpc>
                  <a:spcPct val="100000"/>
                </a:lnSpc>
                <a:spcBef>
                  <a:spcPct val="0"/>
                </a:spcBef>
                <a:spcAft>
                  <a:spcPct val="0"/>
                </a:spcAft>
                <a:buClrTx/>
                <a:buSzPct val="75000"/>
                <a:buFont typeface="Arial"/>
                <a:buChar char="•"/>
                <a:tabLst>
                  <a:tab pos="185420"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b.</a:t>
              </a:r>
            </a:p>
            <a:p>
              <a:pPr marL="346075" marR="0" lvl="1" indent="-171450" algn="l" defTabSz="914400" rtl="0" eaLnBrk="1" fontAlgn="base" latinLnBrk="0" hangingPunct="1">
                <a:lnSpc>
                  <a:spcPct val="100000"/>
                </a:lnSpc>
                <a:spcBef>
                  <a:spcPct val="0"/>
                </a:spcBef>
                <a:spcAft>
                  <a:spcPct val="0"/>
                </a:spcAft>
                <a:buClrTx/>
                <a:buSzPct val="75000"/>
                <a:buFont typeface="Arial"/>
                <a:buChar char="•"/>
                <a:tabLst>
                  <a:tab pos="185420"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q. Ft.</a:t>
              </a:r>
              <a:endPar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20650" marR="0" lvl="0" indent="-120650" algn="l" defTabSz="914400" rtl="0" eaLnBrk="1" fontAlgn="base" latinLnBrk="0" hangingPunct="1">
                <a:lnSpc>
                  <a:spcPct val="100000"/>
                </a:lnSpc>
                <a:spcBef>
                  <a:spcPct val="0"/>
                </a:spcBef>
                <a:spcAft>
                  <a:spcPct val="0"/>
                </a:spcAft>
                <a:buClrTx/>
                <a:buSzPct val="75000"/>
                <a:buFont typeface="Arial" panose="020B0604020202020204" pitchFamily="34" charset="0"/>
                <a:buChar char="•"/>
                <a:tabLst>
                  <a:tab pos="185420" algn="l"/>
                </a:tabLst>
                <a:defRPr/>
              </a:pPr>
              <a:endPar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2" name="object 93">
              <a:extLst>
                <a:ext uri="{FF2B5EF4-FFF2-40B4-BE49-F238E27FC236}">
                  <a16:creationId xmlns:a16="http://schemas.microsoft.com/office/drawing/2014/main" id="{B4C56F92-3B92-41B7-9C4F-0AE86821279E}"/>
                </a:ext>
              </a:extLst>
            </p:cNvPr>
            <p:cNvSpPr txBox="1"/>
            <p:nvPr/>
          </p:nvSpPr>
          <p:spPr>
            <a:xfrm>
              <a:off x="7028821" y="5210253"/>
              <a:ext cx="1807113" cy="738664"/>
            </a:xfrm>
            <a:prstGeom prst="rect">
              <a:avLst/>
            </a:prstGeom>
          </p:spPr>
          <p:txBody>
            <a:bodyPr vert="horz" wrap="square" lIns="0" tIns="0" rIns="0" bIns="0" rtlCol="0">
              <a:spAutoFit/>
            </a:bodyPr>
            <a:lstStyle/>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otal repair / refurbishment, recycle, and scrap costs</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KU Profitability</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ocess Benchmarking Data</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otal Returns by Supplier</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turns under warranty</a:t>
              </a:r>
            </a:p>
          </p:txBody>
        </p:sp>
        <p:sp>
          <p:nvSpPr>
            <p:cNvPr id="53" name="object 94">
              <a:extLst>
                <a:ext uri="{FF2B5EF4-FFF2-40B4-BE49-F238E27FC236}">
                  <a16:creationId xmlns:a16="http://schemas.microsoft.com/office/drawing/2014/main" id="{F722D6C2-3086-4CBC-B7C4-D32162B7C83B}"/>
                </a:ext>
              </a:extLst>
            </p:cNvPr>
            <p:cNvSpPr txBox="1"/>
            <p:nvPr/>
          </p:nvSpPr>
          <p:spPr>
            <a:xfrm>
              <a:off x="9043407" y="5210253"/>
              <a:ext cx="1739411" cy="984885"/>
            </a:xfrm>
            <a:prstGeom prst="rect">
              <a:avLst/>
            </a:prstGeom>
          </p:spPr>
          <p:txBody>
            <a:bodyPr vert="horz" wrap="square" lIns="0" tIns="0" rIns="0" bIns="0" rtlCol="0">
              <a:spAutoFit/>
            </a:bodyPr>
            <a:lstStyle/>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mpliance with returns </a:t>
              </a:r>
              <a:b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olicy and procedures</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st to manage return compliance</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vg. vs. Actual Cost per Credit </a:t>
              </a:r>
              <a:b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by Supplier</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Variance between auto vs. manual</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otal # Credits by Supplier</a:t>
              </a:r>
            </a:p>
          </p:txBody>
        </p:sp>
        <p:sp>
          <p:nvSpPr>
            <p:cNvPr id="54" name="object 91">
              <a:extLst>
                <a:ext uri="{FF2B5EF4-FFF2-40B4-BE49-F238E27FC236}">
                  <a16:creationId xmlns:a16="http://schemas.microsoft.com/office/drawing/2014/main" id="{F1453345-CFE6-47FC-8075-833040205D4C}"/>
                </a:ext>
              </a:extLst>
            </p:cNvPr>
            <p:cNvSpPr txBox="1"/>
            <p:nvPr/>
          </p:nvSpPr>
          <p:spPr>
            <a:xfrm>
              <a:off x="3174685" y="4526989"/>
              <a:ext cx="1828048" cy="492443"/>
            </a:xfrm>
            <a:prstGeom prst="rect">
              <a:avLst/>
            </a:prstGeom>
          </p:spPr>
          <p:txBody>
            <a:bodyPr vert="horz" wrap="square" lIns="0" tIns="0" rIns="0" bIns="0" rtlCol="0">
              <a:spAutoFit/>
            </a:bodyPr>
            <a:lstStyle/>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low refund credit</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eed for associate intervention</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consistent call center procedures </a:t>
              </a:r>
              <a:b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vs. associate</a:t>
              </a:r>
            </a:p>
          </p:txBody>
        </p:sp>
        <p:sp>
          <p:nvSpPr>
            <p:cNvPr id="55" name="object 91">
              <a:extLst>
                <a:ext uri="{FF2B5EF4-FFF2-40B4-BE49-F238E27FC236}">
                  <a16:creationId xmlns:a16="http://schemas.microsoft.com/office/drawing/2014/main" id="{ACF047F2-2DD1-4CC9-B7DB-D7D3462079AC}"/>
                </a:ext>
              </a:extLst>
            </p:cNvPr>
            <p:cNvSpPr txBox="1"/>
            <p:nvPr/>
          </p:nvSpPr>
          <p:spPr>
            <a:xfrm>
              <a:off x="3174685" y="5210253"/>
              <a:ext cx="1537258" cy="861774"/>
            </a:xfrm>
            <a:prstGeom prst="rect">
              <a:avLst/>
            </a:prstGeom>
          </p:spPr>
          <p:txBody>
            <a:bodyPr vert="horz" wrap="square" lIns="0" tIns="0" rIns="0" bIns="0" rtlCol="0">
              <a:spAutoFit/>
            </a:bodyPr>
            <a:lstStyle/>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ustomer satisfaction scores</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st per Customer Service Call</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vg. vs. Actual # Returns by Geography</a:t>
              </a:r>
            </a:p>
            <a:p>
              <a:pPr marL="117475" marR="0" lvl="0" indent="-104775" algn="l" defTabSz="914400" rtl="0" eaLnBrk="1" fontAlgn="base" latinLnBrk="0" hangingPunct="1">
                <a:lnSpc>
                  <a:spcPct val="100000"/>
                </a:lnSpc>
                <a:spcBef>
                  <a:spcPct val="0"/>
                </a:spcBef>
                <a:spcAft>
                  <a:spcPct val="0"/>
                </a:spcAft>
                <a:buClrTx/>
                <a:buSzPct val="75000"/>
                <a:buFont typeface="Arial"/>
                <a:buChar char="•"/>
                <a:tabLst>
                  <a:tab pos="117475" algn="l"/>
                </a:tabLst>
                <a:defRPr/>
              </a:pPr>
              <a:r>
                <a:rPr kumimoji="0" lang="en-US" sz="8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st per Online Return by category and return type</a:t>
              </a:r>
            </a:p>
          </p:txBody>
        </p:sp>
        <p:sp>
          <p:nvSpPr>
            <p:cNvPr id="56" name="TextBox 55">
              <a:extLst>
                <a:ext uri="{FF2B5EF4-FFF2-40B4-BE49-F238E27FC236}">
                  <a16:creationId xmlns:a16="http://schemas.microsoft.com/office/drawing/2014/main" id="{0F80C73B-B52B-45D3-98ED-F4ADEB3A4C43}"/>
                </a:ext>
              </a:extLst>
            </p:cNvPr>
            <p:cNvSpPr txBox="1"/>
            <p:nvPr/>
          </p:nvSpPr>
          <p:spPr>
            <a:xfrm>
              <a:off x="5835653" y="3220589"/>
              <a:ext cx="2656808" cy="230832"/>
            </a:xfrm>
            <a:prstGeom prst="rect">
              <a:avLst/>
            </a:prstGeom>
            <a:solidFill>
              <a:schemeClr val="bg1"/>
            </a:solid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Highest likelihood of Return savings</a:t>
              </a:r>
              <a:r>
                <a:rPr kumimoji="0" lang="en-US" sz="900" b="1" i="0" u="none" strike="noStrike" kern="1200" cap="none" spc="0" normalizeH="0" baseline="3000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1</a:t>
              </a:r>
            </a:p>
          </p:txBody>
        </p:sp>
        <p:sp>
          <p:nvSpPr>
            <p:cNvPr id="57" name="TextBox 56">
              <a:extLst>
                <a:ext uri="{FF2B5EF4-FFF2-40B4-BE49-F238E27FC236}">
                  <a16:creationId xmlns:a16="http://schemas.microsoft.com/office/drawing/2014/main" id="{B8A1B73E-2974-4BE7-8456-FC8A60E35B78}"/>
                </a:ext>
              </a:extLst>
            </p:cNvPr>
            <p:cNvSpPr txBox="1"/>
            <p:nvPr/>
          </p:nvSpPr>
          <p:spPr>
            <a:xfrm>
              <a:off x="1225027" y="3220589"/>
              <a:ext cx="1632116" cy="369332"/>
            </a:xfrm>
            <a:prstGeom prst="rect">
              <a:avLst/>
            </a:prstGeom>
            <a:solidFill>
              <a:schemeClr val="bg1"/>
            </a:solid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High potential for operational changes</a:t>
              </a:r>
              <a:r>
                <a:rPr kumimoji="0" lang="en-US" sz="900" b="1" i="0" u="none" strike="noStrike" kern="1200" cap="none" spc="0" normalizeH="0" baseline="3000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1</a:t>
              </a:r>
              <a:endParaRPr kumimoji="0" lang="en-US" sz="9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8" name="TextBox 57">
              <a:extLst>
                <a:ext uri="{FF2B5EF4-FFF2-40B4-BE49-F238E27FC236}">
                  <a16:creationId xmlns:a16="http://schemas.microsoft.com/office/drawing/2014/main" id="{7D0BF274-AD46-47E8-9349-A2FB1938F949}"/>
                </a:ext>
              </a:extLst>
            </p:cNvPr>
            <p:cNvSpPr txBox="1"/>
            <p:nvPr/>
          </p:nvSpPr>
          <p:spPr>
            <a:xfrm>
              <a:off x="4630621" y="6226671"/>
              <a:ext cx="1796266" cy="215444"/>
            </a:xfrm>
            <a:prstGeom prst="rect">
              <a:avLst/>
            </a:prstGeom>
            <a:noFill/>
            <a:ln w="12700">
              <a:solidFill>
                <a:schemeClr val="accent2"/>
              </a:solid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1 – Based on Deloitte Experience</a:t>
              </a:r>
            </a:p>
          </p:txBody>
        </p:sp>
        <p:sp>
          <p:nvSpPr>
            <p:cNvPr id="59" name="Oval 58">
              <a:extLst>
                <a:ext uri="{FF2B5EF4-FFF2-40B4-BE49-F238E27FC236}">
                  <a16:creationId xmlns:a16="http://schemas.microsoft.com/office/drawing/2014/main" id="{548A9680-476B-44AF-B363-FC23115F8639}"/>
                </a:ext>
              </a:extLst>
            </p:cNvPr>
            <p:cNvSpPr/>
            <p:nvPr/>
          </p:nvSpPr>
          <p:spPr bwMode="gray">
            <a:xfrm>
              <a:off x="1403927" y="2511614"/>
              <a:ext cx="161574" cy="161574"/>
            </a:xfrm>
            <a:prstGeom prst="ellipse">
              <a:avLst/>
            </a:prstGeom>
            <a:solidFill>
              <a:schemeClr val="bg1"/>
            </a:solidFill>
            <a:ln w="22225" algn="ctr">
              <a:solidFill>
                <a:schemeClr val="accent2"/>
              </a:solid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0" name="Oval 59">
              <a:extLst>
                <a:ext uri="{FF2B5EF4-FFF2-40B4-BE49-F238E27FC236}">
                  <a16:creationId xmlns:a16="http://schemas.microsoft.com/office/drawing/2014/main" id="{3087B66F-6105-4200-983A-80A69548E605}"/>
                </a:ext>
              </a:extLst>
            </p:cNvPr>
            <p:cNvSpPr/>
            <p:nvPr/>
          </p:nvSpPr>
          <p:spPr bwMode="gray">
            <a:xfrm>
              <a:off x="1696544" y="2511614"/>
              <a:ext cx="161574" cy="161574"/>
            </a:xfrm>
            <a:prstGeom prst="ellipse">
              <a:avLst/>
            </a:prstGeom>
            <a:solidFill>
              <a:schemeClr val="bg1"/>
            </a:solidFill>
            <a:ln w="22225" algn="ctr">
              <a:solidFill>
                <a:schemeClr val="accent2"/>
              </a:solid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1" name="Oval 60">
              <a:extLst>
                <a:ext uri="{FF2B5EF4-FFF2-40B4-BE49-F238E27FC236}">
                  <a16:creationId xmlns:a16="http://schemas.microsoft.com/office/drawing/2014/main" id="{DFBF2327-3751-4697-9F27-F7A0EDAF27AF}"/>
                </a:ext>
              </a:extLst>
            </p:cNvPr>
            <p:cNvSpPr/>
            <p:nvPr/>
          </p:nvSpPr>
          <p:spPr bwMode="gray">
            <a:xfrm>
              <a:off x="1989161" y="2511614"/>
              <a:ext cx="161574" cy="161574"/>
            </a:xfrm>
            <a:prstGeom prst="ellipse">
              <a:avLst/>
            </a:prstGeom>
            <a:solidFill>
              <a:schemeClr val="bg1"/>
            </a:solidFill>
            <a:ln w="22225" algn="ctr">
              <a:solidFill>
                <a:schemeClr val="accent2"/>
              </a:solid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2" name="Oval 61">
              <a:extLst>
                <a:ext uri="{FF2B5EF4-FFF2-40B4-BE49-F238E27FC236}">
                  <a16:creationId xmlns:a16="http://schemas.microsoft.com/office/drawing/2014/main" id="{EE6C43B2-B0AF-43E0-BA65-FE824334CAB0}"/>
                </a:ext>
              </a:extLst>
            </p:cNvPr>
            <p:cNvSpPr/>
            <p:nvPr/>
          </p:nvSpPr>
          <p:spPr bwMode="gray">
            <a:xfrm>
              <a:off x="2281778" y="2511614"/>
              <a:ext cx="161574" cy="161574"/>
            </a:xfrm>
            <a:prstGeom prst="ellipse">
              <a:avLst/>
            </a:prstGeom>
            <a:solidFill>
              <a:schemeClr val="bg1"/>
            </a:solidFill>
            <a:ln w="22225" algn="ctr">
              <a:solidFill>
                <a:schemeClr val="accent2"/>
              </a:solid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3" name="Oval 62">
              <a:extLst>
                <a:ext uri="{FF2B5EF4-FFF2-40B4-BE49-F238E27FC236}">
                  <a16:creationId xmlns:a16="http://schemas.microsoft.com/office/drawing/2014/main" id="{78897EFA-D225-49CF-9862-72046BF0727E}"/>
                </a:ext>
              </a:extLst>
            </p:cNvPr>
            <p:cNvSpPr/>
            <p:nvPr/>
          </p:nvSpPr>
          <p:spPr bwMode="gray">
            <a:xfrm>
              <a:off x="2574393" y="2511614"/>
              <a:ext cx="161574" cy="161574"/>
            </a:xfrm>
            <a:prstGeom prst="ellipse">
              <a:avLst/>
            </a:prstGeom>
            <a:solidFill>
              <a:schemeClr val="bg1"/>
            </a:solidFill>
            <a:ln w="22225" algn="ctr">
              <a:solidFill>
                <a:schemeClr val="accent2"/>
              </a:solid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4" name="Oval 63">
              <a:extLst>
                <a:ext uri="{FF2B5EF4-FFF2-40B4-BE49-F238E27FC236}">
                  <a16:creationId xmlns:a16="http://schemas.microsoft.com/office/drawing/2014/main" id="{AEE98DC0-F7DD-4178-82D2-EC6ED0F25C6A}"/>
                </a:ext>
              </a:extLst>
            </p:cNvPr>
            <p:cNvSpPr/>
            <p:nvPr/>
          </p:nvSpPr>
          <p:spPr bwMode="gray">
            <a:xfrm>
              <a:off x="3297390" y="3129245"/>
              <a:ext cx="161574" cy="161574"/>
            </a:xfrm>
            <a:prstGeom prst="ellipse">
              <a:avLst/>
            </a:prstGeom>
            <a:solidFill>
              <a:schemeClr val="bg1"/>
            </a:solidFill>
            <a:ln w="22225" algn="ctr">
              <a:solidFill>
                <a:schemeClr val="accent2"/>
              </a:solid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5" name="Oval 64">
              <a:extLst>
                <a:ext uri="{FF2B5EF4-FFF2-40B4-BE49-F238E27FC236}">
                  <a16:creationId xmlns:a16="http://schemas.microsoft.com/office/drawing/2014/main" id="{077B1ACD-61FD-4519-98FD-267FFA8407DC}"/>
                </a:ext>
              </a:extLst>
            </p:cNvPr>
            <p:cNvSpPr/>
            <p:nvPr/>
          </p:nvSpPr>
          <p:spPr bwMode="gray">
            <a:xfrm>
              <a:off x="3892257" y="3137136"/>
              <a:ext cx="161574" cy="161574"/>
            </a:xfrm>
            <a:prstGeom prst="ellipse">
              <a:avLst/>
            </a:prstGeom>
            <a:solidFill>
              <a:schemeClr val="bg1"/>
            </a:solidFill>
            <a:ln w="22225" algn="ctr">
              <a:solidFill>
                <a:schemeClr val="accent2"/>
              </a:solid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6" name="Oval 65">
              <a:extLst>
                <a:ext uri="{FF2B5EF4-FFF2-40B4-BE49-F238E27FC236}">
                  <a16:creationId xmlns:a16="http://schemas.microsoft.com/office/drawing/2014/main" id="{CBF2FD88-316E-4B84-99AD-BE8679F6594D}"/>
                </a:ext>
              </a:extLst>
            </p:cNvPr>
            <p:cNvSpPr/>
            <p:nvPr/>
          </p:nvSpPr>
          <p:spPr bwMode="gray">
            <a:xfrm>
              <a:off x="4613340" y="3139802"/>
              <a:ext cx="161574" cy="161574"/>
            </a:xfrm>
            <a:prstGeom prst="ellipse">
              <a:avLst/>
            </a:prstGeom>
            <a:solidFill>
              <a:schemeClr val="bg1"/>
            </a:solidFill>
            <a:ln w="22225" algn="ctr">
              <a:solidFill>
                <a:schemeClr val="accent2"/>
              </a:solid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7" name="Oval 66">
              <a:extLst>
                <a:ext uri="{FF2B5EF4-FFF2-40B4-BE49-F238E27FC236}">
                  <a16:creationId xmlns:a16="http://schemas.microsoft.com/office/drawing/2014/main" id="{8D9B524B-A3DB-425B-B827-411AE10A3855}"/>
                </a:ext>
              </a:extLst>
            </p:cNvPr>
            <p:cNvSpPr/>
            <p:nvPr/>
          </p:nvSpPr>
          <p:spPr bwMode="gray">
            <a:xfrm>
              <a:off x="5513247" y="2501976"/>
              <a:ext cx="161574" cy="161574"/>
            </a:xfrm>
            <a:prstGeom prst="ellipse">
              <a:avLst/>
            </a:prstGeom>
            <a:solidFill>
              <a:schemeClr val="bg1"/>
            </a:solidFill>
            <a:ln w="22225" algn="ctr">
              <a:solidFill>
                <a:schemeClr val="accent2"/>
              </a:solid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8" name="Oval 67">
              <a:extLst>
                <a:ext uri="{FF2B5EF4-FFF2-40B4-BE49-F238E27FC236}">
                  <a16:creationId xmlns:a16="http://schemas.microsoft.com/office/drawing/2014/main" id="{891D3B01-37AC-4EF7-BC31-082D6501E6B7}"/>
                </a:ext>
              </a:extLst>
            </p:cNvPr>
            <p:cNvSpPr/>
            <p:nvPr/>
          </p:nvSpPr>
          <p:spPr bwMode="gray">
            <a:xfrm>
              <a:off x="6362713" y="2501976"/>
              <a:ext cx="161574" cy="161574"/>
            </a:xfrm>
            <a:prstGeom prst="ellipse">
              <a:avLst/>
            </a:prstGeom>
            <a:solidFill>
              <a:schemeClr val="bg1"/>
            </a:solidFill>
            <a:ln w="22225" algn="ctr">
              <a:solidFill>
                <a:schemeClr val="accent2"/>
              </a:solid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9" name="Oval 68">
              <a:extLst>
                <a:ext uri="{FF2B5EF4-FFF2-40B4-BE49-F238E27FC236}">
                  <a16:creationId xmlns:a16="http://schemas.microsoft.com/office/drawing/2014/main" id="{4B36544A-B643-42B1-A5F6-86EAD1389DFE}"/>
                </a:ext>
              </a:extLst>
            </p:cNvPr>
            <p:cNvSpPr/>
            <p:nvPr/>
          </p:nvSpPr>
          <p:spPr bwMode="gray">
            <a:xfrm>
              <a:off x="7323050" y="2505727"/>
              <a:ext cx="161574" cy="161574"/>
            </a:xfrm>
            <a:prstGeom prst="ellipse">
              <a:avLst/>
            </a:prstGeom>
            <a:solidFill>
              <a:schemeClr val="bg1"/>
            </a:solidFill>
            <a:ln w="22225" algn="ctr">
              <a:solidFill>
                <a:schemeClr val="accent2"/>
              </a:solid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0" name="Oval 69">
              <a:extLst>
                <a:ext uri="{FF2B5EF4-FFF2-40B4-BE49-F238E27FC236}">
                  <a16:creationId xmlns:a16="http://schemas.microsoft.com/office/drawing/2014/main" id="{AD6EF188-3631-420C-84A7-4742C11ED8E2}"/>
                </a:ext>
              </a:extLst>
            </p:cNvPr>
            <p:cNvSpPr/>
            <p:nvPr/>
          </p:nvSpPr>
          <p:spPr bwMode="gray">
            <a:xfrm>
              <a:off x="7673484" y="2505727"/>
              <a:ext cx="161574" cy="161574"/>
            </a:xfrm>
            <a:prstGeom prst="ellipse">
              <a:avLst/>
            </a:prstGeom>
            <a:solidFill>
              <a:schemeClr val="bg1"/>
            </a:solidFill>
            <a:ln w="22225" algn="ctr">
              <a:solidFill>
                <a:schemeClr val="accent2"/>
              </a:solid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1" name="Oval 70">
              <a:extLst>
                <a:ext uri="{FF2B5EF4-FFF2-40B4-BE49-F238E27FC236}">
                  <a16:creationId xmlns:a16="http://schemas.microsoft.com/office/drawing/2014/main" id="{7F862D07-C303-4785-BF46-DDF414F60B79}"/>
                </a:ext>
              </a:extLst>
            </p:cNvPr>
            <p:cNvSpPr/>
            <p:nvPr/>
          </p:nvSpPr>
          <p:spPr bwMode="gray">
            <a:xfrm>
              <a:off x="8023919" y="2505727"/>
              <a:ext cx="161574" cy="161574"/>
            </a:xfrm>
            <a:prstGeom prst="ellipse">
              <a:avLst/>
            </a:prstGeom>
            <a:solidFill>
              <a:schemeClr val="bg1"/>
            </a:solidFill>
            <a:ln w="22225" algn="ctr">
              <a:solidFill>
                <a:schemeClr val="accent2"/>
              </a:solid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2" name="Oval 71">
              <a:extLst>
                <a:ext uri="{FF2B5EF4-FFF2-40B4-BE49-F238E27FC236}">
                  <a16:creationId xmlns:a16="http://schemas.microsoft.com/office/drawing/2014/main" id="{4055261D-25F8-4CF7-AB37-154C2BB0A7A4}"/>
                </a:ext>
              </a:extLst>
            </p:cNvPr>
            <p:cNvSpPr/>
            <p:nvPr/>
          </p:nvSpPr>
          <p:spPr bwMode="gray">
            <a:xfrm>
              <a:off x="8374353" y="2505727"/>
              <a:ext cx="161574" cy="161574"/>
            </a:xfrm>
            <a:prstGeom prst="ellipse">
              <a:avLst/>
            </a:prstGeom>
            <a:solidFill>
              <a:schemeClr val="bg1"/>
            </a:solidFill>
            <a:ln w="22225" algn="ctr">
              <a:solidFill>
                <a:schemeClr val="accent2"/>
              </a:solid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3" name="Oval 72">
              <a:extLst>
                <a:ext uri="{FF2B5EF4-FFF2-40B4-BE49-F238E27FC236}">
                  <a16:creationId xmlns:a16="http://schemas.microsoft.com/office/drawing/2014/main" id="{DC65F948-2B37-44CC-880D-C7C2A9B4E0E5}"/>
                </a:ext>
              </a:extLst>
            </p:cNvPr>
            <p:cNvSpPr/>
            <p:nvPr/>
          </p:nvSpPr>
          <p:spPr bwMode="gray">
            <a:xfrm>
              <a:off x="8724787" y="2505727"/>
              <a:ext cx="161574" cy="161574"/>
            </a:xfrm>
            <a:prstGeom prst="ellipse">
              <a:avLst/>
            </a:prstGeom>
            <a:solidFill>
              <a:schemeClr val="bg1"/>
            </a:solidFill>
            <a:ln w="22225" algn="ctr">
              <a:solidFill>
                <a:schemeClr val="accent2"/>
              </a:solid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4" name="Oval 73">
              <a:extLst>
                <a:ext uri="{FF2B5EF4-FFF2-40B4-BE49-F238E27FC236}">
                  <a16:creationId xmlns:a16="http://schemas.microsoft.com/office/drawing/2014/main" id="{C00DBE61-E8C6-4424-B9C4-E6AEE9A59241}"/>
                </a:ext>
              </a:extLst>
            </p:cNvPr>
            <p:cNvSpPr/>
            <p:nvPr/>
          </p:nvSpPr>
          <p:spPr bwMode="gray">
            <a:xfrm>
              <a:off x="9669943" y="2495484"/>
              <a:ext cx="161574" cy="161574"/>
            </a:xfrm>
            <a:prstGeom prst="ellipse">
              <a:avLst/>
            </a:prstGeom>
            <a:solidFill>
              <a:schemeClr val="bg1"/>
            </a:solidFill>
            <a:ln w="22225" algn="ctr">
              <a:solidFill>
                <a:schemeClr val="accent2"/>
              </a:solid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5" name="Oval 74">
              <a:extLst>
                <a:ext uri="{FF2B5EF4-FFF2-40B4-BE49-F238E27FC236}">
                  <a16:creationId xmlns:a16="http://schemas.microsoft.com/office/drawing/2014/main" id="{B2DDD27D-25B0-40FE-9678-A134C71E798D}"/>
                </a:ext>
              </a:extLst>
            </p:cNvPr>
            <p:cNvSpPr/>
            <p:nvPr/>
          </p:nvSpPr>
          <p:spPr bwMode="gray">
            <a:xfrm>
              <a:off x="10416311" y="2506435"/>
              <a:ext cx="161574" cy="161574"/>
            </a:xfrm>
            <a:prstGeom prst="ellipse">
              <a:avLst/>
            </a:prstGeom>
            <a:solidFill>
              <a:schemeClr val="bg1"/>
            </a:solidFill>
            <a:ln w="22225" algn="ctr">
              <a:solidFill>
                <a:schemeClr val="accent2"/>
              </a:solid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76" name="Group 75">
              <a:extLst>
                <a:ext uri="{FF2B5EF4-FFF2-40B4-BE49-F238E27FC236}">
                  <a16:creationId xmlns:a16="http://schemas.microsoft.com/office/drawing/2014/main" id="{EA582800-EB1C-468C-8A13-212EDC7FE623}"/>
                </a:ext>
              </a:extLst>
            </p:cNvPr>
            <p:cNvGrpSpPr/>
            <p:nvPr/>
          </p:nvGrpSpPr>
          <p:grpSpPr>
            <a:xfrm>
              <a:off x="1160780" y="3011138"/>
              <a:ext cx="1822298" cy="193159"/>
              <a:chOff x="881127" y="2854325"/>
              <a:chExt cx="1980604" cy="213193"/>
            </a:xfrm>
          </p:grpSpPr>
          <p:cxnSp>
            <p:nvCxnSpPr>
              <p:cNvPr id="84" name="Straight Connector 83">
                <a:extLst>
                  <a:ext uri="{FF2B5EF4-FFF2-40B4-BE49-F238E27FC236}">
                    <a16:creationId xmlns:a16="http://schemas.microsoft.com/office/drawing/2014/main" id="{29F884EE-E99F-4D9E-A748-F74B7704EBA1}"/>
                  </a:ext>
                </a:extLst>
              </p:cNvPr>
              <p:cNvCxnSpPr>
                <a:cxnSpLocks/>
              </p:cNvCxnSpPr>
              <p:nvPr/>
            </p:nvCxnSpPr>
            <p:spPr>
              <a:xfrm>
                <a:off x="881127" y="2854325"/>
                <a:ext cx="0" cy="109802"/>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FDC01963-586F-47ED-92ED-C5CDB1008784}"/>
                  </a:ext>
                </a:extLst>
              </p:cNvPr>
              <p:cNvCxnSpPr>
                <a:cxnSpLocks/>
              </p:cNvCxnSpPr>
              <p:nvPr/>
            </p:nvCxnSpPr>
            <p:spPr>
              <a:xfrm>
                <a:off x="2861731" y="2854325"/>
                <a:ext cx="0" cy="109802"/>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04ABFDD4-B8B7-4D17-96CE-5E8E03F989CC}"/>
                  </a:ext>
                </a:extLst>
              </p:cNvPr>
              <p:cNvCxnSpPr/>
              <p:nvPr/>
            </p:nvCxnSpPr>
            <p:spPr>
              <a:xfrm>
                <a:off x="881127" y="2960891"/>
                <a:ext cx="1980604"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3EB01066-8007-43BD-B613-93D882348DF7}"/>
                  </a:ext>
                </a:extLst>
              </p:cNvPr>
              <p:cNvCxnSpPr>
                <a:cxnSpLocks/>
              </p:cNvCxnSpPr>
              <p:nvPr/>
            </p:nvCxnSpPr>
            <p:spPr>
              <a:xfrm>
                <a:off x="1866852" y="2957716"/>
                <a:ext cx="0" cy="109802"/>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77" name="Group 76">
              <a:extLst>
                <a:ext uri="{FF2B5EF4-FFF2-40B4-BE49-F238E27FC236}">
                  <a16:creationId xmlns:a16="http://schemas.microsoft.com/office/drawing/2014/main" id="{5F615425-4ADF-430B-940A-5D4DE56F6184}"/>
                </a:ext>
              </a:extLst>
            </p:cNvPr>
            <p:cNvGrpSpPr/>
            <p:nvPr/>
          </p:nvGrpSpPr>
          <p:grpSpPr>
            <a:xfrm>
              <a:off x="5532352" y="3011138"/>
              <a:ext cx="3354010" cy="193159"/>
              <a:chOff x="881127" y="2854325"/>
              <a:chExt cx="1980604" cy="213193"/>
            </a:xfrm>
          </p:grpSpPr>
          <p:cxnSp>
            <p:nvCxnSpPr>
              <p:cNvPr id="80" name="Straight Connector 79">
                <a:extLst>
                  <a:ext uri="{FF2B5EF4-FFF2-40B4-BE49-F238E27FC236}">
                    <a16:creationId xmlns:a16="http://schemas.microsoft.com/office/drawing/2014/main" id="{0689A017-223B-4011-9315-C8898F252D90}"/>
                  </a:ext>
                </a:extLst>
              </p:cNvPr>
              <p:cNvCxnSpPr>
                <a:cxnSpLocks/>
              </p:cNvCxnSpPr>
              <p:nvPr/>
            </p:nvCxnSpPr>
            <p:spPr>
              <a:xfrm>
                <a:off x="881127" y="2854325"/>
                <a:ext cx="0" cy="109802"/>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217C1AB0-11FC-43E1-B580-35E877609180}"/>
                  </a:ext>
                </a:extLst>
              </p:cNvPr>
              <p:cNvCxnSpPr>
                <a:cxnSpLocks/>
              </p:cNvCxnSpPr>
              <p:nvPr/>
            </p:nvCxnSpPr>
            <p:spPr>
              <a:xfrm>
                <a:off x="2861731" y="2854325"/>
                <a:ext cx="0" cy="109802"/>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C4259906-A373-4DA9-BCF0-74019A018967}"/>
                  </a:ext>
                </a:extLst>
              </p:cNvPr>
              <p:cNvCxnSpPr/>
              <p:nvPr/>
            </p:nvCxnSpPr>
            <p:spPr>
              <a:xfrm>
                <a:off x="881127" y="2960891"/>
                <a:ext cx="1980604"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C83D942D-133D-4E5E-A223-728AB02C0A0B}"/>
                  </a:ext>
                </a:extLst>
              </p:cNvPr>
              <p:cNvCxnSpPr>
                <a:cxnSpLocks/>
              </p:cNvCxnSpPr>
              <p:nvPr/>
            </p:nvCxnSpPr>
            <p:spPr>
              <a:xfrm>
                <a:off x="1866852" y="2957716"/>
                <a:ext cx="0" cy="109802"/>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cxnSp>
          <p:nvCxnSpPr>
            <p:cNvPr id="78" name="Straight Connector 77">
              <a:extLst>
                <a:ext uri="{FF2B5EF4-FFF2-40B4-BE49-F238E27FC236}">
                  <a16:creationId xmlns:a16="http://schemas.microsoft.com/office/drawing/2014/main" id="{68F6F8B2-92B7-4AC3-A478-D6C3596FCC97}"/>
                </a:ext>
              </a:extLst>
            </p:cNvPr>
            <p:cNvCxnSpPr>
              <a:cxnSpLocks/>
            </p:cNvCxnSpPr>
            <p:nvPr/>
          </p:nvCxnSpPr>
          <p:spPr>
            <a:xfrm>
              <a:off x="925968" y="4451002"/>
              <a:ext cx="9750990" cy="0"/>
            </a:xfrm>
            <a:prstGeom prst="line">
              <a:avLst/>
            </a:prstGeom>
            <a:ln w="952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5F322EAF-8BEE-463B-B93B-D7144C37683D}"/>
                </a:ext>
              </a:extLst>
            </p:cNvPr>
            <p:cNvCxnSpPr>
              <a:cxnSpLocks/>
            </p:cNvCxnSpPr>
            <p:nvPr/>
          </p:nvCxnSpPr>
          <p:spPr>
            <a:xfrm>
              <a:off x="882508" y="5162407"/>
              <a:ext cx="9794451" cy="0"/>
            </a:xfrm>
            <a:prstGeom prst="line">
              <a:avLst/>
            </a:prstGeom>
            <a:ln w="952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0018218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F8CF925-FD14-4CEA-B3CA-5D5214731F0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28" name="think-cell Slide" r:id="rId6" imgW="415" imgH="416" progId="TCLayout.ActiveDocument.1">
                  <p:embed/>
                </p:oleObj>
              </mc:Choice>
              <mc:Fallback>
                <p:oleObj name="think-cell Slide" r:id="rId6" imgW="415" imgH="416" progId="TCLayout.ActiveDocument.1">
                  <p:embed/>
                  <p:pic>
                    <p:nvPicPr>
                      <p:cNvPr id="6" name="Object 5" hidden="1">
                        <a:extLst>
                          <a:ext uri="{FF2B5EF4-FFF2-40B4-BE49-F238E27FC236}">
                            <a16:creationId xmlns:a16="http://schemas.microsoft.com/office/drawing/2014/main" id="{DF8CF925-FD14-4CEA-B3CA-5D5214731F0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115946E-D529-4099-A621-A42A5FC5137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5E7F7C00-4680-4954-B922-33F1CC41BE1F}"/>
              </a:ext>
            </a:extLst>
          </p:cNvPr>
          <p:cNvSpPr>
            <a:spLocks noGrp="1"/>
          </p:cNvSpPr>
          <p:nvPr>
            <p:ph type="title"/>
          </p:nvPr>
        </p:nvSpPr>
        <p:spPr>
          <a:xfrm>
            <a:off x="914400" y="694944"/>
            <a:ext cx="10363200" cy="594360"/>
          </a:xfrm>
        </p:spPr>
        <p:txBody>
          <a:bodyPr/>
          <a:lstStyle/>
          <a:p>
            <a:r>
              <a:rPr lang="en-US" dirty="0"/>
              <a:t>Align on approach to cascade our vision to the org</a:t>
            </a:r>
          </a:p>
        </p:txBody>
      </p:sp>
      <p:sp>
        <p:nvSpPr>
          <p:cNvPr id="3" name="Text Placeholder 2">
            <a:extLst>
              <a:ext uri="{FF2B5EF4-FFF2-40B4-BE49-F238E27FC236}">
                <a16:creationId xmlns:a16="http://schemas.microsoft.com/office/drawing/2014/main" id="{D0A1C2F7-3417-48E5-A748-20DB87E6FF94}"/>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22CD0B35-E94E-453B-A23D-00EC66F31212}"/>
              </a:ext>
            </a:extLst>
          </p:cNvPr>
          <p:cNvSpPr>
            <a:spLocks noGrp="1"/>
          </p:cNvSpPr>
          <p:nvPr>
            <p:ph type="body" sz="quarter" idx="15"/>
          </p:nvPr>
        </p:nvSpPr>
        <p:spPr/>
        <p:txBody>
          <a:bodyPr/>
          <a:lstStyle/>
          <a:p>
            <a:r>
              <a:rPr lang="en-US" dirty="0"/>
              <a:t>Process &amp; customer journey</a:t>
            </a:r>
          </a:p>
        </p:txBody>
      </p:sp>
      <p:cxnSp>
        <p:nvCxnSpPr>
          <p:cNvPr id="10" name="Straight Connector 9">
            <a:extLst>
              <a:ext uri="{FF2B5EF4-FFF2-40B4-BE49-F238E27FC236}">
                <a16:creationId xmlns:a16="http://schemas.microsoft.com/office/drawing/2014/main" id="{F13FF65B-5D15-4D25-800B-FF9B11C9A7F1}"/>
              </a:ext>
            </a:extLst>
          </p:cNvPr>
          <p:cNvCxnSpPr>
            <a:cxnSpLocks/>
          </p:cNvCxnSpPr>
          <p:nvPr/>
        </p:nvCxnSpPr>
        <p:spPr>
          <a:xfrm flipV="1">
            <a:off x="1588" y="2812324"/>
            <a:ext cx="12161520" cy="7621"/>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sp>
        <p:nvSpPr>
          <p:cNvPr id="79" name="Freeform 220">
            <a:extLst>
              <a:ext uri="{FF2B5EF4-FFF2-40B4-BE49-F238E27FC236}">
                <a16:creationId xmlns:a16="http://schemas.microsoft.com/office/drawing/2014/main" id="{32BC958B-3BE3-45BF-A94A-151E5426B805}"/>
              </a:ext>
            </a:extLst>
          </p:cNvPr>
          <p:cNvSpPr>
            <a:spLocks/>
          </p:cNvSpPr>
          <p:nvPr/>
        </p:nvSpPr>
        <p:spPr bwMode="auto">
          <a:xfrm rot="10800000" flipH="1">
            <a:off x="7501703" y="1952645"/>
            <a:ext cx="1347789" cy="434988"/>
          </a:xfrm>
          <a:custGeom>
            <a:avLst/>
            <a:gdLst>
              <a:gd name="T0" fmla="*/ 77 w 162"/>
              <a:gd name="T1" fmla="*/ 36 h 51"/>
              <a:gd name="T2" fmla="*/ 61 w 162"/>
              <a:gd name="T3" fmla="*/ 36 h 51"/>
              <a:gd name="T4" fmla="*/ 50 w 162"/>
              <a:gd name="T5" fmla="*/ 35 h 51"/>
              <a:gd name="T6" fmla="*/ 41 w 162"/>
              <a:gd name="T7" fmla="*/ 35 h 51"/>
              <a:gd name="T8" fmla="*/ 14 w 162"/>
              <a:gd name="T9" fmla="*/ 29 h 51"/>
              <a:gd name="T10" fmla="*/ 14 w 162"/>
              <a:gd name="T11" fmla="*/ 29 h 51"/>
              <a:gd name="T12" fmla="*/ 6 w 162"/>
              <a:gd name="T13" fmla="*/ 19 h 51"/>
              <a:gd name="T14" fmla="*/ 11 w 162"/>
              <a:gd name="T15" fmla="*/ 19 h 51"/>
              <a:gd name="T16" fmla="*/ 15 w 162"/>
              <a:gd name="T17" fmla="*/ 21 h 51"/>
              <a:gd name="T18" fmla="*/ 26 w 162"/>
              <a:gd name="T19" fmla="*/ 23 h 51"/>
              <a:gd name="T20" fmla="*/ 41 w 162"/>
              <a:gd name="T21" fmla="*/ 25 h 51"/>
              <a:gd name="T22" fmla="*/ 43 w 162"/>
              <a:gd name="T23" fmla="*/ 26 h 51"/>
              <a:gd name="T24" fmla="*/ 62 w 162"/>
              <a:gd name="T25" fmla="*/ 27 h 51"/>
              <a:gd name="T26" fmla="*/ 63 w 162"/>
              <a:gd name="T27" fmla="*/ 27 h 51"/>
              <a:gd name="T28" fmla="*/ 81 w 162"/>
              <a:gd name="T29" fmla="*/ 27 h 51"/>
              <a:gd name="T30" fmla="*/ 81 w 162"/>
              <a:gd name="T31" fmla="*/ 27 h 51"/>
              <a:gd name="T32" fmla="*/ 105 w 162"/>
              <a:gd name="T33" fmla="*/ 23 h 51"/>
              <a:gd name="T34" fmla="*/ 106 w 162"/>
              <a:gd name="T35" fmla="*/ 23 h 51"/>
              <a:gd name="T36" fmla="*/ 126 w 162"/>
              <a:gd name="T37" fmla="*/ 18 h 51"/>
              <a:gd name="T38" fmla="*/ 108 w 162"/>
              <a:gd name="T39" fmla="*/ 10 h 51"/>
              <a:gd name="T40" fmla="*/ 107 w 162"/>
              <a:gd name="T41" fmla="*/ 8 h 51"/>
              <a:gd name="T42" fmla="*/ 107 w 162"/>
              <a:gd name="T43" fmla="*/ 7 h 51"/>
              <a:gd name="T44" fmla="*/ 113 w 162"/>
              <a:gd name="T45" fmla="*/ 0 h 51"/>
              <a:gd name="T46" fmla="*/ 126 w 162"/>
              <a:gd name="T47" fmla="*/ 4 h 51"/>
              <a:gd name="T48" fmla="*/ 126 w 162"/>
              <a:gd name="T49" fmla="*/ 4 h 51"/>
              <a:gd name="T50" fmla="*/ 137 w 162"/>
              <a:gd name="T51" fmla="*/ 6 h 51"/>
              <a:gd name="T52" fmla="*/ 138 w 162"/>
              <a:gd name="T53" fmla="*/ 6 h 51"/>
              <a:gd name="T54" fmla="*/ 138 w 162"/>
              <a:gd name="T55" fmla="*/ 7 h 51"/>
              <a:gd name="T56" fmla="*/ 156 w 162"/>
              <a:gd name="T57" fmla="*/ 4 h 51"/>
              <a:gd name="T58" fmla="*/ 157 w 162"/>
              <a:gd name="T59" fmla="*/ 4 h 51"/>
              <a:gd name="T60" fmla="*/ 160 w 162"/>
              <a:gd name="T61" fmla="*/ 17 h 51"/>
              <a:gd name="T62" fmla="*/ 160 w 162"/>
              <a:gd name="T63" fmla="*/ 18 h 51"/>
              <a:gd name="T64" fmla="*/ 150 w 162"/>
              <a:gd name="T65" fmla="*/ 24 h 51"/>
              <a:gd name="T66" fmla="*/ 149 w 162"/>
              <a:gd name="T67" fmla="*/ 24 h 51"/>
              <a:gd name="T68" fmla="*/ 127 w 162"/>
              <a:gd name="T69" fmla="*/ 51 h 51"/>
              <a:gd name="T70" fmla="*/ 123 w 162"/>
              <a:gd name="T71" fmla="*/ 46 h 51"/>
              <a:gd name="T72" fmla="*/ 123 w 162"/>
              <a:gd name="T73" fmla="*/ 45 h 51"/>
              <a:gd name="T74" fmla="*/ 124 w 162"/>
              <a:gd name="T75" fmla="*/ 45 h 51"/>
              <a:gd name="T76" fmla="*/ 133 w 162"/>
              <a:gd name="T77" fmla="*/ 26 h 51"/>
              <a:gd name="T78" fmla="*/ 126 w 162"/>
              <a:gd name="T79" fmla="*/ 28 h 51"/>
              <a:gd name="T80" fmla="*/ 126 w 162"/>
              <a:gd name="T81" fmla="*/ 28 h 51"/>
              <a:gd name="T82" fmla="*/ 77 w 162"/>
              <a:gd name="T83" fmla="*/ 3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2" h="51">
                <a:moveTo>
                  <a:pt x="77" y="36"/>
                </a:moveTo>
                <a:cubicBezTo>
                  <a:pt x="73" y="38"/>
                  <a:pt x="68" y="35"/>
                  <a:pt x="61" y="36"/>
                </a:cubicBezTo>
                <a:cubicBezTo>
                  <a:pt x="58" y="34"/>
                  <a:pt x="52" y="35"/>
                  <a:pt x="50" y="35"/>
                </a:cubicBezTo>
                <a:cubicBezTo>
                  <a:pt x="46" y="34"/>
                  <a:pt x="44" y="37"/>
                  <a:pt x="41" y="35"/>
                </a:cubicBezTo>
                <a:cubicBezTo>
                  <a:pt x="33" y="33"/>
                  <a:pt x="21" y="30"/>
                  <a:pt x="14" y="29"/>
                </a:cubicBezTo>
                <a:cubicBezTo>
                  <a:pt x="14" y="29"/>
                  <a:pt x="14" y="29"/>
                  <a:pt x="14" y="29"/>
                </a:cubicBezTo>
                <a:cubicBezTo>
                  <a:pt x="11" y="27"/>
                  <a:pt x="0" y="25"/>
                  <a:pt x="6" y="19"/>
                </a:cubicBezTo>
                <a:cubicBezTo>
                  <a:pt x="8" y="19"/>
                  <a:pt x="9" y="19"/>
                  <a:pt x="11" y="19"/>
                </a:cubicBezTo>
                <a:cubicBezTo>
                  <a:pt x="12" y="21"/>
                  <a:pt x="14" y="21"/>
                  <a:pt x="15" y="21"/>
                </a:cubicBezTo>
                <a:cubicBezTo>
                  <a:pt x="17" y="23"/>
                  <a:pt x="24" y="24"/>
                  <a:pt x="26" y="23"/>
                </a:cubicBezTo>
                <a:cubicBezTo>
                  <a:pt x="32" y="23"/>
                  <a:pt x="37" y="26"/>
                  <a:pt x="41" y="25"/>
                </a:cubicBezTo>
                <a:cubicBezTo>
                  <a:pt x="41" y="26"/>
                  <a:pt x="42" y="26"/>
                  <a:pt x="43" y="26"/>
                </a:cubicBezTo>
                <a:cubicBezTo>
                  <a:pt x="50" y="27"/>
                  <a:pt x="56" y="28"/>
                  <a:pt x="62" y="27"/>
                </a:cubicBezTo>
                <a:cubicBezTo>
                  <a:pt x="63" y="27"/>
                  <a:pt x="63" y="27"/>
                  <a:pt x="63" y="27"/>
                </a:cubicBezTo>
                <a:cubicBezTo>
                  <a:pt x="67" y="28"/>
                  <a:pt x="77" y="28"/>
                  <a:pt x="81" y="27"/>
                </a:cubicBezTo>
                <a:cubicBezTo>
                  <a:pt x="81" y="27"/>
                  <a:pt x="81" y="27"/>
                  <a:pt x="81" y="27"/>
                </a:cubicBezTo>
                <a:cubicBezTo>
                  <a:pt x="87" y="27"/>
                  <a:pt x="99" y="25"/>
                  <a:pt x="105" y="23"/>
                </a:cubicBezTo>
                <a:cubicBezTo>
                  <a:pt x="106" y="23"/>
                  <a:pt x="106" y="23"/>
                  <a:pt x="106" y="23"/>
                </a:cubicBezTo>
                <a:cubicBezTo>
                  <a:pt x="113" y="23"/>
                  <a:pt x="120" y="20"/>
                  <a:pt x="126" y="18"/>
                </a:cubicBezTo>
                <a:cubicBezTo>
                  <a:pt x="122" y="13"/>
                  <a:pt x="114" y="13"/>
                  <a:pt x="108" y="10"/>
                </a:cubicBezTo>
                <a:cubicBezTo>
                  <a:pt x="108" y="10"/>
                  <a:pt x="108" y="8"/>
                  <a:pt x="107" y="8"/>
                </a:cubicBezTo>
                <a:cubicBezTo>
                  <a:pt x="107" y="8"/>
                  <a:pt x="107" y="8"/>
                  <a:pt x="107" y="7"/>
                </a:cubicBezTo>
                <a:cubicBezTo>
                  <a:pt x="110" y="6"/>
                  <a:pt x="107" y="0"/>
                  <a:pt x="113" y="0"/>
                </a:cubicBezTo>
                <a:cubicBezTo>
                  <a:pt x="116" y="2"/>
                  <a:pt x="123" y="4"/>
                  <a:pt x="126" y="4"/>
                </a:cubicBezTo>
                <a:cubicBezTo>
                  <a:pt x="126" y="4"/>
                  <a:pt x="126" y="4"/>
                  <a:pt x="126" y="4"/>
                </a:cubicBezTo>
                <a:cubicBezTo>
                  <a:pt x="129" y="5"/>
                  <a:pt x="136" y="6"/>
                  <a:pt x="137" y="6"/>
                </a:cubicBezTo>
                <a:cubicBezTo>
                  <a:pt x="138" y="6"/>
                  <a:pt x="138" y="6"/>
                  <a:pt x="138" y="6"/>
                </a:cubicBezTo>
                <a:cubicBezTo>
                  <a:pt x="138" y="6"/>
                  <a:pt x="138" y="6"/>
                  <a:pt x="138" y="7"/>
                </a:cubicBezTo>
                <a:cubicBezTo>
                  <a:pt x="146" y="5"/>
                  <a:pt x="150" y="7"/>
                  <a:pt x="156" y="4"/>
                </a:cubicBezTo>
                <a:cubicBezTo>
                  <a:pt x="156" y="4"/>
                  <a:pt x="156" y="4"/>
                  <a:pt x="157" y="4"/>
                </a:cubicBezTo>
                <a:cubicBezTo>
                  <a:pt x="162" y="5"/>
                  <a:pt x="159" y="14"/>
                  <a:pt x="160" y="17"/>
                </a:cubicBezTo>
                <a:cubicBezTo>
                  <a:pt x="160" y="17"/>
                  <a:pt x="160" y="17"/>
                  <a:pt x="160" y="18"/>
                </a:cubicBezTo>
                <a:cubicBezTo>
                  <a:pt x="157" y="20"/>
                  <a:pt x="152" y="20"/>
                  <a:pt x="150" y="24"/>
                </a:cubicBezTo>
                <a:cubicBezTo>
                  <a:pt x="150" y="24"/>
                  <a:pt x="150" y="24"/>
                  <a:pt x="149" y="24"/>
                </a:cubicBezTo>
                <a:cubicBezTo>
                  <a:pt x="141" y="28"/>
                  <a:pt x="137" y="44"/>
                  <a:pt x="127" y="51"/>
                </a:cubicBezTo>
                <a:cubicBezTo>
                  <a:pt x="125" y="50"/>
                  <a:pt x="124" y="47"/>
                  <a:pt x="123" y="46"/>
                </a:cubicBezTo>
                <a:cubicBezTo>
                  <a:pt x="123" y="46"/>
                  <a:pt x="123" y="45"/>
                  <a:pt x="123" y="45"/>
                </a:cubicBezTo>
                <a:cubicBezTo>
                  <a:pt x="123" y="45"/>
                  <a:pt x="123" y="45"/>
                  <a:pt x="124" y="45"/>
                </a:cubicBezTo>
                <a:cubicBezTo>
                  <a:pt x="127" y="39"/>
                  <a:pt x="133" y="32"/>
                  <a:pt x="133" y="26"/>
                </a:cubicBezTo>
                <a:cubicBezTo>
                  <a:pt x="131" y="26"/>
                  <a:pt x="128" y="26"/>
                  <a:pt x="126" y="28"/>
                </a:cubicBezTo>
                <a:cubicBezTo>
                  <a:pt x="126" y="28"/>
                  <a:pt x="126" y="28"/>
                  <a:pt x="126" y="28"/>
                </a:cubicBezTo>
                <a:cubicBezTo>
                  <a:pt x="113" y="31"/>
                  <a:pt x="92" y="35"/>
                  <a:pt x="77" y="3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grpSp>
        <p:nvGrpSpPr>
          <p:cNvPr id="89" name="Group 88">
            <a:extLst>
              <a:ext uri="{FF2B5EF4-FFF2-40B4-BE49-F238E27FC236}">
                <a16:creationId xmlns:a16="http://schemas.microsoft.com/office/drawing/2014/main" id="{35049F50-F7FF-43C4-957A-887155FF3EB1}"/>
              </a:ext>
            </a:extLst>
          </p:cNvPr>
          <p:cNvGrpSpPr/>
          <p:nvPr/>
        </p:nvGrpSpPr>
        <p:grpSpPr>
          <a:xfrm>
            <a:off x="1276895" y="1804319"/>
            <a:ext cx="3059241" cy="4004281"/>
            <a:chOff x="1276895" y="1804319"/>
            <a:chExt cx="3059241" cy="4004281"/>
          </a:xfrm>
        </p:grpSpPr>
        <p:cxnSp>
          <p:nvCxnSpPr>
            <p:cNvPr id="9" name="Straight Connector 8">
              <a:extLst>
                <a:ext uri="{FF2B5EF4-FFF2-40B4-BE49-F238E27FC236}">
                  <a16:creationId xmlns:a16="http://schemas.microsoft.com/office/drawing/2014/main" id="{8DEC89E0-C921-41E7-A7DC-895441693B36}"/>
                </a:ext>
              </a:extLst>
            </p:cNvPr>
            <p:cNvCxnSpPr>
              <a:cxnSpLocks/>
              <a:stCxn id="17" idx="43"/>
              <a:endCxn id="80" idx="0"/>
            </p:cNvCxnSpPr>
            <p:nvPr/>
          </p:nvCxnSpPr>
          <p:spPr>
            <a:xfrm>
              <a:off x="2806514" y="3136173"/>
              <a:ext cx="2" cy="2072263"/>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grpSp>
          <p:nvGrpSpPr>
            <p:cNvPr id="87" name="Group 86">
              <a:extLst>
                <a:ext uri="{FF2B5EF4-FFF2-40B4-BE49-F238E27FC236}">
                  <a16:creationId xmlns:a16="http://schemas.microsoft.com/office/drawing/2014/main" id="{E3C7BDCB-D7EB-4950-A502-3BE42FB4EE67}"/>
                </a:ext>
              </a:extLst>
            </p:cNvPr>
            <p:cNvGrpSpPr/>
            <p:nvPr/>
          </p:nvGrpSpPr>
          <p:grpSpPr>
            <a:xfrm>
              <a:off x="1276895" y="1804319"/>
              <a:ext cx="3059241" cy="4004281"/>
              <a:chOff x="1276895" y="1804319"/>
              <a:chExt cx="3059241" cy="4004281"/>
            </a:xfrm>
          </p:grpSpPr>
          <p:sp>
            <p:nvSpPr>
              <p:cNvPr id="11" name="TextBox 10">
                <a:extLst>
                  <a:ext uri="{FF2B5EF4-FFF2-40B4-BE49-F238E27FC236}">
                    <a16:creationId xmlns:a16="http://schemas.microsoft.com/office/drawing/2014/main" id="{24A2190F-9989-4669-AA26-BE307DEA037C}"/>
                  </a:ext>
                </a:extLst>
              </p:cNvPr>
              <p:cNvSpPr txBox="1"/>
              <p:nvPr/>
            </p:nvSpPr>
            <p:spPr>
              <a:xfrm>
                <a:off x="1576278" y="1804319"/>
                <a:ext cx="2530154" cy="523220"/>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teerCo. </a:t>
                </a:r>
              </a:p>
              <a:p>
                <a:pPr marL="0" marR="0" lvl="0" indent="0" algn="ctr" defTabSz="1219170" rtl="0" eaLnBrk="1" fontAlgn="auto" latinLnBrk="0" hangingPunct="1">
                  <a:lnSpc>
                    <a:spcPct val="100000"/>
                  </a:lnSpc>
                  <a:spcBef>
                    <a:spcPts val="0"/>
                  </a:spcBef>
                  <a:spcAft>
                    <a:spcPts val="10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lignment</a:t>
                </a:r>
              </a:p>
            </p:txBody>
          </p:sp>
          <p:sp>
            <p:nvSpPr>
              <p:cNvPr id="12" name="TextBox 11">
                <a:extLst>
                  <a:ext uri="{FF2B5EF4-FFF2-40B4-BE49-F238E27FC236}">
                    <a16:creationId xmlns:a16="http://schemas.microsoft.com/office/drawing/2014/main" id="{CC8050A3-2BEB-49CD-B4B1-AAE687D20468}"/>
                  </a:ext>
                </a:extLst>
              </p:cNvPr>
              <p:cNvSpPr txBox="1"/>
              <p:nvPr/>
            </p:nvSpPr>
            <p:spPr>
              <a:xfrm>
                <a:off x="1276895" y="3497211"/>
                <a:ext cx="3059241" cy="430887"/>
              </a:xfrm>
              <a:prstGeom prst="rect">
                <a:avLst/>
              </a:prstGeom>
              <a:solidFill>
                <a:schemeClr val="bg1"/>
              </a:solidFill>
            </p:spPr>
            <p:txBody>
              <a:bodyPr wrap="square" rtlCol="0">
                <a:spAutoFit/>
              </a:bodyPr>
              <a:lstStyle/>
              <a:p>
                <a:pPr marL="0" marR="0" lvl="0" indent="0" algn="ctr" defTabSz="1219170" rtl="0" eaLnBrk="1" fontAlgn="auto" latinLnBrk="0" hangingPunct="1">
                  <a:lnSpc>
                    <a:spcPct val="100000"/>
                  </a:lnSpc>
                  <a:spcBef>
                    <a:spcPts val="0"/>
                  </a:spcBef>
                  <a:spcAft>
                    <a:spcPts val="10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e will recommit to the tenets of the Program</a:t>
                </a:r>
              </a:p>
            </p:txBody>
          </p:sp>
          <p:grpSp>
            <p:nvGrpSpPr>
              <p:cNvPr id="15" name="Group 14">
                <a:extLst>
                  <a:ext uri="{FF2B5EF4-FFF2-40B4-BE49-F238E27FC236}">
                    <a16:creationId xmlns:a16="http://schemas.microsoft.com/office/drawing/2014/main" id="{1FDDAB7A-D62C-4241-85EA-BC0BC2E80E86}"/>
                  </a:ext>
                </a:extLst>
              </p:cNvPr>
              <p:cNvGrpSpPr/>
              <p:nvPr/>
            </p:nvGrpSpPr>
            <p:grpSpPr>
              <a:xfrm>
                <a:off x="2486474" y="2496093"/>
                <a:ext cx="640080" cy="640080"/>
                <a:chOff x="1892335" y="2797129"/>
                <a:chExt cx="640080" cy="640080"/>
              </a:xfrm>
            </p:grpSpPr>
            <p:sp>
              <p:nvSpPr>
                <p:cNvPr id="16" name="Oval 15">
                  <a:extLst>
                    <a:ext uri="{FF2B5EF4-FFF2-40B4-BE49-F238E27FC236}">
                      <a16:creationId xmlns:a16="http://schemas.microsoft.com/office/drawing/2014/main" id="{4BA65BD0-C04C-4873-ABB6-312FEE40FA6B}"/>
                    </a:ext>
                  </a:extLst>
                </p:cNvPr>
                <p:cNvSpPr/>
                <p:nvPr/>
              </p:nvSpPr>
              <p:spPr>
                <a:xfrm>
                  <a:off x="1892335" y="2797129"/>
                  <a:ext cx="640080" cy="64008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Open Sans"/>
                    <a:ea typeface="Microsoft YaHei"/>
                    <a:cs typeface="+mn-cs"/>
                  </a:endParaRPr>
                </a:p>
              </p:txBody>
            </p:sp>
            <p:sp>
              <p:nvSpPr>
                <p:cNvPr id="17" name="Freeform 66">
                  <a:extLst>
                    <a:ext uri="{FF2B5EF4-FFF2-40B4-BE49-F238E27FC236}">
                      <a16:creationId xmlns:a16="http://schemas.microsoft.com/office/drawing/2014/main" id="{1B7EB113-0673-4BA2-842B-63CF7075BF21}"/>
                    </a:ext>
                  </a:extLst>
                </p:cNvPr>
                <p:cNvSpPr>
                  <a:spLocks noChangeAspect="1" noEditPoints="1"/>
                </p:cNvSpPr>
                <p:nvPr/>
              </p:nvSpPr>
              <p:spPr bwMode="auto">
                <a:xfrm>
                  <a:off x="1892335" y="2797129"/>
                  <a:ext cx="640080" cy="640080"/>
                </a:xfrm>
                <a:custGeom>
                  <a:avLst/>
                  <a:gdLst>
                    <a:gd name="T0" fmla="*/ 275 w 512"/>
                    <a:gd name="T1" fmla="*/ 260 h 512"/>
                    <a:gd name="T2" fmla="*/ 295 w 512"/>
                    <a:gd name="T3" fmla="*/ 217 h 512"/>
                    <a:gd name="T4" fmla="*/ 251 w 512"/>
                    <a:gd name="T5" fmla="*/ 236 h 512"/>
                    <a:gd name="T6" fmla="*/ 275 w 512"/>
                    <a:gd name="T7" fmla="*/ 260 h 512"/>
                    <a:gd name="T8" fmla="*/ 384 w 512"/>
                    <a:gd name="T9" fmla="*/ 245 h 512"/>
                    <a:gd name="T10" fmla="*/ 394 w 512"/>
                    <a:gd name="T11" fmla="*/ 245 h 512"/>
                    <a:gd name="T12" fmla="*/ 266 w 512"/>
                    <a:gd name="T13" fmla="*/ 118 h 512"/>
                    <a:gd name="T14" fmla="*/ 266 w 512"/>
                    <a:gd name="T15" fmla="*/ 128 h 512"/>
                    <a:gd name="T16" fmla="*/ 256 w 512"/>
                    <a:gd name="T17" fmla="*/ 138 h 512"/>
                    <a:gd name="T18" fmla="*/ 245 w 512"/>
                    <a:gd name="T19" fmla="*/ 128 h 512"/>
                    <a:gd name="T20" fmla="*/ 245 w 512"/>
                    <a:gd name="T21" fmla="*/ 118 h 512"/>
                    <a:gd name="T22" fmla="*/ 118 w 512"/>
                    <a:gd name="T23" fmla="*/ 245 h 512"/>
                    <a:gd name="T24" fmla="*/ 128 w 512"/>
                    <a:gd name="T25" fmla="*/ 245 h 512"/>
                    <a:gd name="T26" fmla="*/ 138 w 512"/>
                    <a:gd name="T27" fmla="*/ 256 h 512"/>
                    <a:gd name="T28" fmla="*/ 128 w 512"/>
                    <a:gd name="T29" fmla="*/ 266 h 512"/>
                    <a:gd name="T30" fmla="*/ 118 w 512"/>
                    <a:gd name="T31" fmla="*/ 266 h 512"/>
                    <a:gd name="T32" fmla="*/ 245 w 512"/>
                    <a:gd name="T33" fmla="*/ 394 h 512"/>
                    <a:gd name="T34" fmla="*/ 245 w 512"/>
                    <a:gd name="T35" fmla="*/ 384 h 512"/>
                    <a:gd name="T36" fmla="*/ 256 w 512"/>
                    <a:gd name="T37" fmla="*/ 373 h 512"/>
                    <a:gd name="T38" fmla="*/ 266 w 512"/>
                    <a:gd name="T39" fmla="*/ 384 h 512"/>
                    <a:gd name="T40" fmla="*/ 266 w 512"/>
                    <a:gd name="T41" fmla="*/ 394 h 512"/>
                    <a:gd name="T42" fmla="*/ 394 w 512"/>
                    <a:gd name="T43" fmla="*/ 266 h 512"/>
                    <a:gd name="T44" fmla="*/ 384 w 512"/>
                    <a:gd name="T45" fmla="*/ 266 h 512"/>
                    <a:gd name="T46" fmla="*/ 373 w 512"/>
                    <a:gd name="T47" fmla="*/ 256 h 512"/>
                    <a:gd name="T48" fmla="*/ 384 w 512"/>
                    <a:gd name="T49" fmla="*/ 245 h 512"/>
                    <a:gd name="T50" fmla="*/ 326 w 512"/>
                    <a:gd name="T51" fmla="*/ 200 h 512"/>
                    <a:gd name="T52" fmla="*/ 288 w 512"/>
                    <a:gd name="T53" fmla="*/ 283 h 512"/>
                    <a:gd name="T54" fmla="*/ 283 w 512"/>
                    <a:gd name="T55" fmla="*/ 288 h 512"/>
                    <a:gd name="T56" fmla="*/ 200 w 512"/>
                    <a:gd name="T57" fmla="*/ 326 h 512"/>
                    <a:gd name="T58" fmla="*/ 195 w 512"/>
                    <a:gd name="T59" fmla="*/ 327 h 512"/>
                    <a:gd name="T60" fmla="*/ 188 w 512"/>
                    <a:gd name="T61" fmla="*/ 324 h 512"/>
                    <a:gd name="T62" fmla="*/ 186 w 512"/>
                    <a:gd name="T63" fmla="*/ 312 h 512"/>
                    <a:gd name="T64" fmla="*/ 223 w 512"/>
                    <a:gd name="T65" fmla="*/ 229 h 512"/>
                    <a:gd name="T66" fmla="*/ 229 w 512"/>
                    <a:gd name="T67" fmla="*/ 223 h 512"/>
                    <a:gd name="T68" fmla="*/ 312 w 512"/>
                    <a:gd name="T69" fmla="*/ 186 h 512"/>
                    <a:gd name="T70" fmla="*/ 324 w 512"/>
                    <a:gd name="T71" fmla="*/ 188 h 512"/>
                    <a:gd name="T72" fmla="*/ 326 w 512"/>
                    <a:gd name="T73" fmla="*/ 200 h 512"/>
                    <a:gd name="T74" fmla="*/ 217 w 512"/>
                    <a:gd name="T75" fmla="*/ 295 h 512"/>
                    <a:gd name="T76" fmla="*/ 260 w 512"/>
                    <a:gd name="T77" fmla="*/ 275 h 512"/>
                    <a:gd name="T78" fmla="*/ 236 w 512"/>
                    <a:gd name="T79" fmla="*/ 251 h 512"/>
                    <a:gd name="T80" fmla="*/ 217 w 512"/>
                    <a:gd name="T81" fmla="*/ 295 h 512"/>
                    <a:gd name="T82" fmla="*/ 256 w 512"/>
                    <a:gd name="T83" fmla="*/ 0 h 512"/>
                    <a:gd name="T84" fmla="*/ 0 w 512"/>
                    <a:gd name="T85" fmla="*/ 256 h 512"/>
                    <a:gd name="T86" fmla="*/ 256 w 512"/>
                    <a:gd name="T87" fmla="*/ 512 h 512"/>
                    <a:gd name="T88" fmla="*/ 512 w 512"/>
                    <a:gd name="T89" fmla="*/ 256 h 512"/>
                    <a:gd name="T90" fmla="*/ 256 w 512"/>
                    <a:gd name="T91" fmla="*/ 0 h 512"/>
                    <a:gd name="T92" fmla="*/ 256 w 512"/>
                    <a:gd name="T93" fmla="*/ 416 h 512"/>
                    <a:gd name="T94" fmla="*/ 96 w 512"/>
                    <a:gd name="T95" fmla="*/ 256 h 512"/>
                    <a:gd name="T96" fmla="*/ 256 w 512"/>
                    <a:gd name="T97" fmla="*/ 96 h 512"/>
                    <a:gd name="T98" fmla="*/ 416 w 512"/>
                    <a:gd name="T99" fmla="*/ 256 h 512"/>
                    <a:gd name="T100" fmla="*/ 256 w 512"/>
                    <a:gd name="T10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75" y="260"/>
                      </a:moveTo>
                      <a:cubicBezTo>
                        <a:pt x="295" y="217"/>
                        <a:pt x="295" y="217"/>
                        <a:pt x="295" y="217"/>
                      </a:cubicBezTo>
                      <a:cubicBezTo>
                        <a:pt x="251" y="236"/>
                        <a:pt x="251" y="236"/>
                        <a:pt x="251" y="236"/>
                      </a:cubicBezTo>
                      <a:lnTo>
                        <a:pt x="275" y="260"/>
                      </a:lnTo>
                      <a:close/>
                      <a:moveTo>
                        <a:pt x="384" y="245"/>
                      </a:moveTo>
                      <a:cubicBezTo>
                        <a:pt x="394" y="245"/>
                        <a:pt x="394" y="245"/>
                        <a:pt x="394" y="245"/>
                      </a:cubicBezTo>
                      <a:cubicBezTo>
                        <a:pt x="389" y="177"/>
                        <a:pt x="334" y="123"/>
                        <a:pt x="266" y="118"/>
                      </a:cubicBezTo>
                      <a:cubicBezTo>
                        <a:pt x="266" y="128"/>
                        <a:pt x="266" y="128"/>
                        <a:pt x="266" y="128"/>
                      </a:cubicBezTo>
                      <a:cubicBezTo>
                        <a:pt x="266" y="134"/>
                        <a:pt x="262" y="138"/>
                        <a:pt x="256" y="138"/>
                      </a:cubicBezTo>
                      <a:cubicBezTo>
                        <a:pt x="250" y="138"/>
                        <a:pt x="245" y="134"/>
                        <a:pt x="245" y="128"/>
                      </a:cubicBezTo>
                      <a:cubicBezTo>
                        <a:pt x="245" y="118"/>
                        <a:pt x="245" y="118"/>
                        <a:pt x="245" y="118"/>
                      </a:cubicBezTo>
                      <a:cubicBezTo>
                        <a:pt x="177" y="123"/>
                        <a:pt x="123" y="177"/>
                        <a:pt x="118" y="245"/>
                      </a:cubicBezTo>
                      <a:cubicBezTo>
                        <a:pt x="128" y="245"/>
                        <a:pt x="128" y="245"/>
                        <a:pt x="128" y="245"/>
                      </a:cubicBezTo>
                      <a:cubicBezTo>
                        <a:pt x="134" y="245"/>
                        <a:pt x="138" y="250"/>
                        <a:pt x="138" y="256"/>
                      </a:cubicBezTo>
                      <a:cubicBezTo>
                        <a:pt x="138" y="262"/>
                        <a:pt x="134" y="266"/>
                        <a:pt x="128" y="266"/>
                      </a:cubicBezTo>
                      <a:cubicBezTo>
                        <a:pt x="118" y="266"/>
                        <a:pt x="118" y="266"/>
                        <a:pt x="118" y="266"/>
                      </a:cubicBezTo>
                      <a:cubicBezTo>
                        <a:pt x="123" y="334"/>
                        <a:pt x="177" y="389"/>
                        <a:pt x="245" y="394"/>
                      </a:cubicBezTo>
                      <a:cubicBezTo>
                        <a:pt x="245" y="384"/>
                        <a:pt x="245" y="384"/>
                        <a:pt x="245" y="384"/>
                      </a:cubicBezTo>
                      <a:cubicBezTo>
                        <a:pt x="245" y="378"/>
                        <a:pt x="250" y="373"/>
                        <a:pt x="256" y="373"/>
                      </a:cubicBezTo>
                      <a:cubicBezTo>
                        <a:pt x="262" y="373"/>
                        <a:pt x="266" y="378"/>
                        <a:pt x="266" y="384"/>
                      </a:cubicBezTo>
                      <a:cubicBezTo>
                        <a:pt x="266" y="394"/>
                        <a:pt x="266" y="394"/>
                        <a:pt x="266" y="394"/>
                      </a:cubicBezTo>
                      <a:cubicBezTo>
                        <a:pt x="334" y="389"/>
                        <a:pt x="389" y="334"/>
                        <a:pt x="394" y="266"/>
                      </a:cubicBezTo>
                      <a:cubicBezTo>
                        <a:pt x="384" y="266"/>
                        <a:pt x="384" y="266"/>
                        <a:pt x="384" y="266"/>
                      </a:cubicBezTo>
                      <a:cubicBezTo>
                        <a:pt x="378" y="266"/>
                        <a:pt x="373" y="262"/>
                        <a:pt x="373" y="256"/>
                      </a:cubicBezTo>
                      <a:cubicBezTo>
                        <a:pt x="373" y="250"/>
                        <a:pt x="378" y="245"/>
                        <a:pt x="384" y="245"/>
                      </a:cubicBezTo>
                      <a:close/>
                      <a:moveTo>
                        <a:pt x="326" y="200"/>
                      </a:moveTo>
                      <a:cubicBezTo>
                        <a:pt x="288" y="283"/>
                        <a:pt x="288" y="283"/>
                        <a:pt x="288" y="283"/>
                      </a:cubicBezTo>
                      <a:cubicBezTo>
                        <a:pt x="287" y="285"/>
                        <a:pt x="285" y="287"/>
                        <a:pt x="283" y="288"/>
                      </a:cubicBezTo>
                      <a:cubicBezTo>
                        <a:pt x="200" y="326"/>
                        <a:pt x="200" y="326"/>
                        <a:pt x="200" y="326"/>
                      </a:cubicBezTo>
                      <a:cubicBezTo>
                        <a:pt x="198" y="326"/>
                        <a:pt x="197" y="327"/>
                        <a:pt x="195" y="327"/>
                      </a:cubicBezTo>
                      <a:cubicBezTo>
                        <a:pt x="193" y="327"/>
                        <a:pt x="190" y="326"/>
                        <a:pt x="188" y="324"/>
                      </a:cubicBezTo>
                      <a:cubicBezTo>
                        <a:pt x="185" y="320"/>
                        <a:pt x="184" y="316"/>
                        <a:pt x="186" y="312"/>
                      </a:cubicBezTo>
                      <a:cubicBezTo>
                        <a:pt x="223" y="229"/>
                        <a:pt x="223" y="229"/>
                        <a:pt x="223" y="229"/>
                      </a:cubicBezTo>
                      <a:cubicBezTo>
                        <a:pt x="224" y="226"/>
                        <a:pt x="226" y="224"/>
                        <a:pt x="229" y="223"/>
                      </a:cubicBezTo>
                      <a:cubicBezTo>
                        <a:pt x="312" y="186"/>
                        <a:pt x="312" y="186"/>
                        <a:pt x="312" y="186"/>
                      </a:cubicBezTo>
                      <a:cubicBezTo>
                        <a:pt x="316" y="184"/>
                        <a:pt x="320" y="185"/>
                        <a:pt x="324" y="188"/>
                      </a:cubicBezTo>
                      <a:cubicBezTo>
                        <a:pt x="327" y="191"/>
                        <a:pt x="328" y="196"/>
                        <a:pt x="326" y="200"/>
                      </a:cubicBezTo>
                      <a:close/>
                      <a:moveTo>
                        <a:pt x="217" y="295"/>
                      </a:moveTo>
                      <a:cubicBezTo>
                        <a:pt x="260" y="275"/>
                        <a:pt x="260" y="275"/>
                        <a:pt x="260" y="275"/>
                      </a:cubicBezTo>
                      <a:cubicBezTo>
                        <a:pt x="236" y="251"/>
                        <a:pt x="236" y="251"/>
                        <a:pt x="236" y="251"/>
                      </a:cubicBezTo>
                      <a:lnTo>
                        <a:pt x="217" y="295"/>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167" y="416"/>
                        <a:pt x="96" y="344"/>
                        <a:pt x="96" y="256"/>
                      </a:cubicBezTo>
                      <a:cubicBezTo>
                        <a:pt x="96" y="167"/>
                        <a:pt x="167" y="96"/>
                        <a:pt x="256" y="96"/>
                      </a:cubicBezTo>
                      <a:cubicBezTo>
                        <a:pt x="344" y="96"/>
                        <a:pt x="416" y="167"/>
                        <a:pt x="416" y="256"/>
                      </a:cubicBezTo>
                      <a:cubicBezTo>
                        <a:pt x="416" y="344"/>
                        <a:pt x="344" y="416"/>
                        <a:pt x="256" y="416"/>
                      </a:cubicBezTo>
                      <a:close/>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Open Sans"/>
                    <a:ea typeface="Microsoft YaHei"/>
                    <a:cs typeface="+mn-cs"/>
                  </a:endParaRPr>
                </a:p>
              </p:txBody>
            </p:sp>
          </p:grpSp>
          <p:sp>
            <p:nvSpPr>
              <p:cNvPr id="80" name="TextBox 79">
                <a:extLst>
                  <a:ext uri="{FF2B5EF4-FFF2-40B4-BE49-F238E27FC236}">
                    <a16:creationId xmlns:a16="http://schemas.microsoft.com/office/drawing/2014/main" id="{ACEE7346-9E70-4180-8CAB-51511E247C44}"/>
                  </a:ext>
                </a:extLst>
              </p:cNvPr>
              <p:cNvSpPr txBox="1"/>
              <p:nvPr/>
            </p:nvSpPr>
            <p:spPr>
              <a:xfrm>
                <a:off x="1292040" y="5208436"/>
                <a:ext cx="3028951" cy="600164"/>
              </a:xfrm>
              <a:prstGeom prst="rect">
                <a:avLst/>
              </a:prstGeom>
              <a:solidFill>
                <a:schemeClr val="bg1"/>
              </a:solidFill>
            </p:spPr>
            <p:txBody>
              <a:bodyPr wrap="square" rtlCol="0">
                <a:spAutoFit/>
              </a:bodyPr>
              <a:lstStyle/>
              <a:p>
                <a:pPr marL="0" marR="0" lvl="0" indent="0" algn="ctr" defTabSz="1219170" rtl="0" eaLnBrk="1" fontAlgn="auto" latinLnBrk="0" hangingPunct="1">
                  <a:lnSpc>
                    <a:spcPct val="100000"/>
                  </a:lnSpc>
                  <a:spcBef>
                    <a:spcPts val="0"/>
                  </a:spcBef>
                  <a:spcAft>
                    <a:spcPts val="100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orientation </a:t>
                </a:r>
                <a:r>
                  <a:rPr kumimoji="0" lang="en-US" sz="11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o vision and outcomes with a constant eye towards the end state vision</a:t>
                </a:r>
              </a:p>
            </p:txBody>
          </p:sp>
        </p:grpSp>
      </p:grpSp>
      <p:grpSp>
        <p:nvGrpSpPr>
          <p:cNvPr id="90" name="Group 89">
            <a:extLst>
              <a:ext uri="{FF2B5EF4-FFF2-40B4-BE49-F238E27FC236}">
                <a16:creationId xmlns:a16="http://schemas.microsoft.com/office/drawing/2014/main" id="{F475D526-FB32-4A71-AD1A-A9FBF5DB7D90}"/>
              </a:ext>
            </a:extLst>
          </p:cNvPr>
          <p:cNvGrpSpPr/>
          <p:nvPr/>
        </p:nvGrpSpPr>
        <p:grpSpPr>
          <a:xfrm>
            <a:off x="8337679" y="1827933"/>
            <a:ext cx="3244684" cy="4004281"/>
            <a:chOff x="8425377" y="1804319"/>
            <a:chExt cx="3244684" cy="4004281"/>
          </a:xfrm>
        </p:grpSpPr>
        <p:cxnSp>
          <p:nvCxnSpPr>
            <p:cNvPr id="8" name="Straight Connector 7">
              <a:extLst>
                <a:ext uri="{FF2B5EF4-FFF2-40B4-BE49-F238E27FC236}">
                  <a16:creationId xmlns:a16="http://schemas.microsoft.com/office/drawing/2014/main" id="{2F13A1C4-C3F4-429E-B6C7-5BEFFC7D6C48}"/>
                </a:ext>
              </a:extLst>
            </p:cNvPr>
            <p:cNvCxnSpPr>
              <a:cxnSpLocks/>
              <a:stCxn id="31" idx="4"/>
              <a:endCxn id="81" idx="0"/>
            </p:cNvCxnSpPr>
            <p:nvPr/>
          </p:nvCxnSpPr>
          <p:spPr>
            <a:xfrm>
              <a:off x="10047719" y="3136173"/>
              <a:ext cx="1" cy="2072263"/>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3F3EDEE2-8655-47BD-A138-DE48296A0482}"/>
                </a:ext>
              </a:extLst>
            </p:cNvPr>
            <p:cNvSpPr txBox="1"/>
            <p:nvPr/>
          </p:nvSpPr>
          <p:spPr>
            <a:xfrm>
              <a:off x="8425377" y="3497211"/>
              <a:ext cx="3244684" cy="430887"/>
            </a:xfrm>
            <a:prstGeom prst="rect">
              <a:avLst/>
            </a:prstGeom>
            <a:solidFill>
              <a:schemeClr val="bg1"/>
            </a:solidFill>
          </p:spPr>
          <p:txBody>
            <a:bodyPr wrap="square" rtlCol="0">
              <a:spAutoFit/>
            </a:bodyPr>
            <a:lstStyle/>
            <a:p>
              <a:pPr marL="0" marR="0" lvl="0" indent="0" algn="ctr" defTabSz="1219170" rtl="0" eaLnBrk="1" fontAlgn="auto" latinLnBrk="0" hangingPunct="1">
                <a:lnSpc>
                  <a:spcPct val="100000"/>
                </a:lnSpc>
                <a:spcBef>
                  <a:spcPts val="0"/>
                </a:spcBef>
                <a:spcAft>
                  <a:spcPts val="10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e will discuss vision at organization wide meetings</a:t>
              </a:r>
            </a:p>
          </p:txBody>
        </p:sp>
        <p:sp>
          <p:nvSpPr>
            <p:cNvPr id="14" name="TextBox 13">
              <a:extLst>
                <a:ext uri="{FF2B5EF4-FFF2-40B4-BE49-F238E27FC236}">
                  <a16:creationId xmlns:a16="http://schemas.microsoft.com/office/drawing/2014/main" id="{9D5EC917-650C-4106-B64E-E300CCD84F78}"/>
                </a:ext>
              </a:extLst>
            </p:cNvPr>
            <p:cNvSpPr txBox="1"/>
            <p:nvPr/>
          </p:nvSpPr>
          <p:spPr>
            <a:xfrm>
              <a:off x="8782642" y="1804319"/>
              <a:ext cx="2530154" cy="523220"/>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rganization Wide</a:t>
              </a:r>
            </a:p>
            <a:p>
              <a:pPr marL="0" marR="0" lvl="0" indent="0" algn="ctr" defTabSz="1219170" rtl="0" eaLnBrk="1" fontAlgn="auto" latinLnBrk="0" hangingPunct="1">
                <a:lnSpc>
                  <a:spcPct val="100000"/>
                </a:lnSpc>
                <a:spcBef>
                  <a:spcPts val="0"/>
                </a:spcBef>
                <a:spcAft>
                  <a:spcPts val="10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lignment</a:t>
              </a:r>
            </a:p>
          </p:txBody>
        </p:sp>
        <p:grpSp>
          <p:nvGrpSpPr>
            <p:cNvPr id="30" name="Group 29">
              <a:extLst>
                <a:ext uri="{FF2B5EF4-FFF2-40B4-BE49-F238E27FC236}">
                  <a16:creationId xmlns:a16="http://schemas.microsoft.com/office/drawing/2014/main" id="{324F5A80-8C03-4122-8699-2FBF9445C2C8}"/>
                </a:ext>
              </a:extLst>
            </p:cNvPr>
            <p:cNvGrpSpPr/>
            <p:nvPr/>
          </p:nvGrpSpPr>
          <p:grpSpPr>
            <a:xfrm>
              <a:off x="9727679" y="2496093"/>
              <a:ext cx="640080" cy="640080"/>
              <a:chOff x="9683095" y="2360151"/>
              <a:chExt cx="640080" cy="640080"/>
            </a:xfrm>
          </p:grpSpPr>
          <p:sp>
            <p:nvSpPr>
              <p:cNvPr id="31" name="Oval 30">
                <a:extLst>
                  <a:ext uri="{FF2B5EF4-FFF2-40B4-BE49-F238E27FC236}">
                    <a16:creationId xmlns:a16="http://schemas.microsoft.com/office/drawing/2014/main" id="{66A34D2F-A678-4B31-8738-E5FBB4ADF414}"/>
                  </a:ext>
                </a:extLst>
              </p:cNvPr>
              <p:cNvSpPr/>
              <p:nvPr/>
            </p:nvSpPr>
            <p:spPr>
              <a:xfrm>
                <a:off x="9683095" y="2360151"/>
                <a:ext cx="640080" cy="64008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Open Sans"/>
                  <a:ea typeface="Microsoft YaHei"/>
                  <a:cs typeface="+mn-cs"/>
                </a:endParaRPr>
              </a:p>
            </p:txBody>
          </p:sp>
          <p:grpSp>
            <p:nvGrpSpPr>
              <p:cNvPr id="32" name="Group 31">
                <a:extLst>
                  <a:ext uri="{FF2B5EF4-FFF2-40B4-BE49-F238E27FC236}">
                    <a16:creationId xmlns:a16="http://schemas.microsoft.com/office/drawing/2014/main" id="{013D5A8B-0745-49D7-9387-031A49EEBD44}"/>
                  </a:ext>
                </a:extLst>
              </p:cNvPr>
              <p:cNvGrpSpPr/>
              <p:nvPr/>
            </p:nvGrpSpPr>
            <p:grpSpPr>
              <a:xfrm>
                <a:off x="9844754" y="2424695"/>
                <a:ext cx="316762" cy="510993"/>
                <a:chOff x="12070008" y="762000"/>
                <a:chExt cx="2819400" cy="5100644"/>
              </a:xfrm>
              <a:solidFill>
                <a:schemeClr val="accent1"/>
              </a:solidFill>
            </p:grpSpPr>
            <p:sp>
              <p:nvSpPr>
                <p:cNvPr id="33" name="Freeform 5">
                  <a:extLst>
                    <a:ext uri="{FF2B5EF4-FFF2-40B4-BE49-F238E27FC236}">
                      <a16:creationId xmlns:a16="http://schemas.microsoft.com/office/drawing/2014/main" id="{B2387F43-4249-4340-8D84-F9DAC3DC44EE}"/>
                    </a:ext>
                  </a:extLst>
                </p:cNvPr>
                <p:cNvSpPr>
                  <a:spLocks/>
                </p:cNvSpPr>
                <p:nvPr/>
              </p:nvSpPr>
              <p:spPr bwMode="auto">
                <a:xfrm>
                  <a:off x="12466013" y="931233"/>
                  <a:ext cx="666774" cy="1045852"/>
                </a:xfrm>
                <a:custGeom>
                  <a:avLst/>
                  <a:gdLst>
                    <a:gd name="T0" fmla="*/ 197 w 197"/>
                    <a:gd name="T1" fmla="*/ 162 h 309"/>
                    <a:gd name="T2" fmla="*/ 171 w 197"/>
                    <a:gd name="T3" fmla="*/ 0 h 309"/>
                    <a:gd name="T4" fmla="*/ 37 w 197"/>
                    <a:gd name="T5" fmla="*/ 114 h 309"/>
                    <a:gd name="T6" fmla="*/ 0 w 197"/>
                    <a:gd name="T7" fmla="*/ 219 h 309"/>
                    <a:gd name="T8" fmla="*/ 41 w 197"/>
                    <a:gd name="T9" fmla="*/ 309 h 309"/>
                    <a:gd name="T10" fmla="*/ 197 w 197"/>
                    <a:gd name="T11" fmla="*/ 162 h 309"/>
                  </a:gdLst>
                  <a:ahLst/>
                  <a:cxnLst>
                    <a:cxn ang="0">
                      <a:pos x="T0" y="T1"/>
                    </a:cxn>
                    <a:cxn ang="0">
                      <a:pos x="T2" y="T3"/>
                    </a:cxn>
                    <a:cxn ang="0">
                      <a:pos x="T4" y="T5"/>
                    </a:cxn>
                    <a:cxn ang="0">
                      <a:pos x="T6" y="T7"/>
                    </a:cxn>
                    <a:cxn ang="0">
                      <a:pos x="T8" y="T9"/>
                    </a:cxn>
                    <a:cxn ang="0">
                      <a:pos x="T10" y="T11"/>
                    </a:cxn>
                  </a:cxnLst>
                  <a:rect l="0" t="0" r="r" b="b"/>
                  <a:pathLst>
                    <a:path w="197" h="309">
                      <a:moveTo>
                        <a:pt x="197" y="162"/>
                      </a:moveTo>
                      <a:lnTo>
                        <a:pt x="171" y="0"/>
                      </a:lnTo>
                      <a:lnTo>
                        <a:pt x="37" y="114"/>
                      </a:lnTo>
                      <a:lnTo>
                        <a:pt x="0" y="219"/>
                      </a:lnTo>
                      <a:lnTo>
                        <a:pt x="41" y="309"/>
                      </a:lnTo>
                      <a:lnTo>
                        <a:pt x="197" y="16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34" name="Freeform 6">
                  <a:extLst>
                    <a:ext uri="{FF2B5EF4-FFF2-40B4-BE49-F238E27FC236}">
                      <a16:creationId xmlns:a16="http://schemas.microsoft.com/office/drawing/2014/main" id="{37678238-5B9D-4B1A-9E73-27877F43E5C6}"/>
                    </a:ext>
                  </a:extLst>
                </p:cNvPr>
                <p:cNvSpPr>
                  <a:spLocks/>
                </p:cNvSpPr>
                <p:nvPr/>
              </p:nvSpPr>
              <p:spPr bwMode="auto">
                <a:xfrm>
                  <a:off x="12466013" y="931233"/>
                  <a:ext cx="666774" cy="1045852"/>
                </a:xfrm>
                <a:custGeom>
                  <a:avLst/>
                  <a:gdLst>
                    <a:gd name="T0" fmla="*/ 197 w 197"/>
                    <a:gd name="T1" fmla="*/ 162 h 309"/>
                    <a:gd name="T2" fmla="*/ 171 w 197"/>
                    <a:gd name="T3" fmla="*/ 0 h 309"/>
                    <a:gd name="T4" fmla="*/ 37 w 197"/>
                    <a:gd name="T5" fmla="*/ 114 h 309"/>
                    <a:gd name="T6" fmla="*/ 0 w 197"/>
                    <a:gd name="T7" fmla="*/ 219 h 309"/>
                    <a:gd name="T8" fmla="*/ 41 w 197"/>
                    <a:gd name="T9" fmla="*/ 309 h 309"/>
                    <a:gd name="T10" fmla="*/ 197 w 197"/>
                    <a:gd name="T11" fmla="*/ 162 h 309"/>
                  </a:gdLst>
                  <a:ahLst/>
                  <a:cxnLst>
                    <a:cxn ang="0">
                      <a:pos x="T0" y="T1"/>
                    </a:cxn>
                    <a:cxn ang="0">
                      <a:pos x="T2" y="T3"/>
                    </a:cxn>
                    <a:cxn ang="0">
                      <a:pos x="T4" y="T5"/>
                    </a:cxn>
                    <a:cxn ang="0">
                      <a:pos x="T6" y="T7"/>
                    </a:cxn>
                    <a:cxn ang="0">
                      <a:pos x="T8" y="T9"/>
                    </a:cxn>
                    <a:cxn ang="0">
                      <a:pos x="T10" y="T11"/>
                    </a:cxn>
                  </a:cxnLst>
                  <a:rect l="0" t="0" r="r" b="b"/>
                  <a:pathLst>
                    <a:path w="197" h="309">
                      <a:moveTo>
                        <a:pt x="197" y="162"/>
                      </a:moveTo>
                      <a:lnTo>
                        <a:pt x="171" y="0"/>
                      </a:lnTo>
                      <a:lnTo>
                        <a:pt x="37" y="114"/>
                      </a:lnTo>
                      <a:lnTo>
                        <a:pt x="0" y="219"/>
                      </a:lnTo>
                      <a:lnTo>
                        <a:pt x="41" y="309"/>
                      </a:lnTo>
                      <a:lnTo>
                        <a:pt x="197" y="162"/>
                      </a:lnTo>
                      <a:close/>
                    </a:path>
                  </a:pathLst>
                </a:custGeom>
                <a:grp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35" name="Freeform 7">
                  <a:extLst>
                    <a:ext uri="{FF2B5EF4-FFF2-40B4-BE49-F238E27FC236}">
                      <a16:creationId xmlns:a16="http://schemas.microsoft.com/office/drawing/2014/main" id="{76597F7A-6400-441E-AB20-5272713F6B50}"/>
                    </a:ext>
                  </a:extLst>
                </p:cNvPr>
                <p:cNvSpPr>
                  <a:spLocks/>
                </p:cNvSpPr>
                <p:nvPr/>
              </p:nvSpPr>
              <p:spPr bwMode="auto">
                <a:xfrm>
                  <a:off x="13051552" y="762000"/>
                  <a:ext cx="778465" cy="836007"/>
                </a:xfrm>
                <a:custGeom>
                  <a:avLst/>
                  <a:gdLst>
                    <a:gd name="T0" fmla="*/ 0 w 230"/>
                    <a:gd name="T1" fmla="*/ 50 h 247"/>
                    <a:gd name="T2" fmla="*/ 137 w 230"/>
                    <a:gd name="T3" fmla="*/ 0 h 247"/>
                    <a:gd name="T4" fmla="*/ 230 w 230"/>
                    <a:gd name="T5" fmla="*/ 68 h 247"/>
                    <a:gd name="T6" fmla="*/ 194 w 230"/>
                    <a:gd name="T7" fmla="*/ 218 h 247"/>
                    <a:gd name="T8" fmla="*/ 98 w 230"/>
                    <a:gd name="T9" fmla="*/ 247 h 247"/>
                    <a:gd name="T10" fmla="*/ 27 w 230"/>
                    <a:gd name="T11" fmla="*/ 211 h 247"/>
                    <a:gd name="T12" fmla="*/ 0 w 230"/>
                    <a:gd name="T13" fmla="*/ 50 h 247"/>
                  </a:gdLst>
                  <a:ahLst/>
                  <a:cxnLst>
                    <a:cxn ang="0">
                      <a:pos x="T0" y="T1"/>
                    </a:cxn>
                    <a:cxn ang="0">
                      <a:pos x="T2" y="T3"/>
                    </a:cxn>
                    <a:cxn ang="0">
                      <a:pos x="T4" y="T5"/>
                    </a:cxn>
                    <a:cxn ang="0">
                      <a:pos x="T6" y="T7"/>
                    </a:cxn>
                    <a:cxn ang="0">
                      <a:pos x="T8" y="T9"/>
                    </a:cxn>
                    <a:cxn ang="0">
                      <a:pos x="T10" y="T11"/>
                    </a:cxn>
                    <a:cxn ang="0">
                      <a:pos x="T12" y="T13"/>
                    </a:cxn>
                  </a:cxnLst>
                  <a:rect l="0" t="0" r="r" b="b"/>
                  <a:pathLst>
                    <a:path w="230" h="247">
                      <a:moveTo>
                        <a:pt x="0" y="50"/>
                      </a:moveTo>
                      <a:lnTo>
                        <a:pt x="137" y="0"/>
                      </a:lnTo>
                      <a:lnTo>
                        <a:pt x="230" y="68"/>
                      </a:lnTo>
                      <a:lnTo>
                        <a:pt x="194" y="218"/>
                      </a:lnTo>
                      <a:lnTo>
                        <a:pt x="98" y="247"/>
                      </a:lnTo>
                      <a:lnTo>
                        <a:pt x="27" y="211"/>
                      </a:lnTo>
                      <a:lnTo>
                        <a:pt x="0" y="5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36" name="Freeform 8">
                  <a:extLst>
                    <a:ext uri="{FF2B5EF4-FFF2-40B4-BE49-F238E27FC236}">
                      <a16:creationId xmlns:a16="http://schemas.microsoft.com/office/drawing/2014/main" id="{5921C46E-B201-4016-BFFC-E4B3625FB404}"/>
                    </a:ext>
                  </a:extLst>
                </p:cNvPr>
                <p:cNvSpPr>
                  <a:spLocks/>
                </p:cNvSpPr>
                <p:nvPr/>
              </p:nvSpPr>
              <p:spPr bwMode="auto">
                <a:xfrm>
                  <a:off x="13051552" y="762001"/>
                  <a:ext cx="778465" cy="836007"/>
                </a:xfrm>
                <a:custGeom>
                  <a:avLst/>
                  <a:gdLst>
                    <a:gd name="T0" fmla="*/ 0 w 230"/>
                    <a:gd name="T1" fmla="*/ 50 h 247"/>
                    <a:gd name="T2" fmla="*/ 137 w 230"/>
                    <a:gd name="T3" fmla="*/ 0 h 247"/>
                    <a:gd name="T4" fmla="*/ 230 w 230"/>
                    <a:gd name="T5" fmla="*/ 68 h 247"/>
                    <a:gd name="T6" fmla="*/ 194 w 230"/>
                    <a:gd name="T7" fmla="*/ 218 h 247"/>
                    <a:gd name="T8" fmla="*/ 98 w 230"/>
                    <a:gd name="T9" fmla="*/ 247 h 247"/>
                    <a:gd name="T10" fmla="*/ 27 w 230"/>
                    <a:gd name="T11" fmla="*/ 211 h 247"/>
                    <a:gd name="T12" fmla="*/ 0 w 230"/>
                    <a:gd name="T13" fmla="*/ 50 h 247"/>
                  </a:gdLst>
                  <a:ahLst/>
                  <a:cxnLst>
                    <a:cxn ang="0">
                      <a:pos x="T0" y="T1"/>
                    </a:cxn>
                    <a:cxn ang="0">
                      <a:pos x="T2" y="T3"/>
                    </a:cxn>
                    <a:cxn ang="0">
                      <a:pos x="T4" y="T5"/>
                    </a:cxn>
                    <a:cxn ang="0">
                      <a:pos x="T6" y="T7"/>
                    </a:cxn>
                    <a:cxn ang="0">
                      <a:pos x="T8" y="T9"/>
                    </a:cxn>
                    <a:cxn ang="0">
                      <a:pos x="T10" y="T11"/>
                    </a:cxn>
                    <a:cxn ang="0">
                      <a:pos x="T12" y="T13"/>
                    </a:cxn>
                  </a:cxnLst>
                  <a:rect l="0" t="0" r="r" b="b"/>
                  <a:pathLst>
                    <a:path w="230" h="247">
                      <a:moveTo>
                        <a:pt x="0" y="50"/>
                      </a:moveTo>
                      <a:lnTo>
                        <a:pt x="137" y="0"/>
                      </a:lnTo>
                      <a:lnTo>
                        <a:pt x="230" y="68"/>
                      </a:lnTo>
                      <a:lnTo>
                        <a:pt x="194" y="218"/>
                      </a:lnTo>
                      <a:lnTo>
                        <a:pt x="98" y="247"/>
                      </a:lnTo>
                      <a:lnTo>
                        <a:pt x="27" y="211"/>
                      </a:lnTo>
                      <a:lnTo>
                        <a:pt x="0" y="50"/>
                      </a:lnTo>
                      <a:close/>
                    </a:path>
                  </a:pathLst>
                </a:custGeom>
                <a:grp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37" name="Freeform 9">
                  <a:extLst>
                    <a:ext uri="{FF2B5EF4-FFF2-40B4-BE49-F238E27FC236}">
                      <a16:creationId xmlns:a16="http://schemas.microsoft.com/office/drawing/2014/main" id="{F70A8940-5B78-4AF3-8ABC-7D5DE1C7763B}"/>
                    </a:ext>
                  </a:extLst>
                </p:cNvPr>
                <p:cNvSpPr>
                  <a:spLocks/>
                </p:cNvSpPr>
                <p:nvPr/>
              </p:nvSpPr>
              <p:spPr bwMode="auto">
                <a:xfrm>
                  <a:off x="12604781" y="1482927"/>
                  <a:ext cx="771696" cy="494157"/>
                </a:xfrm>
                <a:custGeom>
                  <a:avLst/>
                  <a:gdLst>
                    <a:gd name="T0" fmla="*/ 0 w 228"/>
                    <a:gd name="T1" fmla="*/ 146 h 146"/>
                    <a:gd name="T2" fmla="*/ 175 w 228"/>
                    <a:gd name="T3" fmla="*/ 146 h 146"/>
                    <a:gd name="T4" fmla="*/ 228 w 228"/>
                    <a:gd name="T5" fmla="*/ 36 h 146"/>
                    <a:gd name="T6" fmla="*/ 157 w 228"/>
                    <a:gd name="T7" fmla="*/ 0 h 146"/>
                    <a:gd name="T8" fmla="*/ 0 w 228"/>
                    <a:gd name="T9" fmla="*/ 146 h 146"/>
                  </a:gdLst>
                  <a:ahLst/>
                  <a:cxnLst>
                    <a:cxn ang="0">
                      <a:pos x="T0" y="T1"/>
                    </a:cxn>
                    <a:cxn ang="0">
                      <a:pos x="T2" y="T3"/>
                    </a:cxn>
                    <a:cxn ang="0">
                      <a:pos x="T4" y="T5"/>
                    </a:cxn>
                    <a:cxn ang="0">
                      <a:pos x="T6" y="T7"/>
                    </a:cxn>
                    <a:cxn ang="0">
                      <a:pos x="T8" y="T9"/>
                    </a:cxn>
                  </a:cxnLst>
                  <a:rect l="0" t="0" r="r" b="b"/>
                  <a:pathLst>
                    <a:path w="228" h="146">
                      <a:moveTo>
                        <a:pt x="0" y="146"/>
                      </a:moveTo>
                      <a:lnTo>
                        <a:pt x="175" y="146"/>
                      </a:lnTo>
                      <a:lnTo>
                        <a:pt x="228" y="36"/>
                      </a:lnTo>
                      <a:lnTo>
                        <a:pt x="157" y="0"/>
                      </a:lnTo>
                      <a:lnTo>
                        <a:pt x="0" y="14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38" name="Freeform 10">
                  <a:extLst>
                    <a:ext uri="{FF2B5EF4-FFF2-40B4-BE49-F238E27FC236}">
                      <a16:creationId xmlns:a16="http://schemas.microsoft.com/office/drawing/2014/main" id="{704C10EF-23F6-4E29-BA72-0A71A3C189E5}"/>
                    </a:ext>
                  </a:extLst>
                </p:cNvPr>
                <p:cNvSpPr>
                  <a:spLocks/>
                </p:cNvSpPr>
                <p:nvPr/>
              </p:nvSpPr>
              <p:spPr bwMode="auto">
                <a:xfrm>
                  <a:off x="12604781" y="1482927"/>
                  <a:ext cx="771696" cy="494157"/>
                </a:xfrm>
                <a:custGeom>
                  <a:avLst/>
                  <a:gdLst>
                    <a:gd name="T0" fmla="*/ 0 w 228"/>
                    <a:gd name="T1" fmla="*/ 146 h 146"/>
                    <a:gd name="T2" fmla="*/ 175 w 228"/>
                    <a:gd name="T3" fmla="*/ 146 h 146"/>
                    <a:gd name="T4" fmla="*/ 228 w 228"/>
                    <a:gd name="T5" fmla="*/ 36 h 146"/>
                    <a:gd name="T6" fmla="*/ 157 w 228"/>
                    <a:gd name="T7" fmla="*/ 0 h 146"/>
                    <a:gd name="T8" fmla="*/ 0 w 228"/>
                    <a:gd name="T9" fmla="*/ 146 h 146"/>
                  </a:gdLst>
                  <a:ahLst/>
                  <a:cxnLst>
                    <a:cxn ang="0">
                      <a:pos x="T0" y="T1"/>
                    </a:cxn>
                    <a:cxn ang="0">
                      <a:pos x="T2" y="T3"/>
                    </a:cxn>
                    <a:cxn ang="0">
                      <a:pos x="T4" y="T5"/>
                    </a:cxn>
                    <a:cxn ang="0">
                      <a:pos x="T6" y="T7"/>
                    </a:cxn>
                    <a:cxn ang="0">
                      <a:pos x="T8" y="T9"/>
                    </a:cxn>
                  </a:cxnLst>
                  <a:rect l="0" t="0" r="r" b="b"/>
                  <a:pathLst>
                    <a:path w="228" h="146">
                      <a:moveTo>
                        <a:pt x="0" y="146"/>
                      </a:moveTo>
                      <a:lnTo>
                        <a:pt x="175" y="146"/>
                      </a:lnTo>
                      <a:lnTo>
                        <a:pt x="228" y="36"/>
                      </a:lnTo>
                      <a:lnTo>
                        <a:pt x="157" y="0"/>
                      </a:lnTo>
                      <a:lnTo>
                        <a:pt x="0" y="146"/>
                      </a:lnTo>
                      <a:close/>
                    </a:path>
                  </a:pathLst>
                </a:custGeom>
                <a:grp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39" name="Freeform 11">
                  <a:extLst>
                    <a:ext uri="{FF2B5EF4-FFF2-40B4-BE49-F238E27FC236}">
                      <a16:creationId xmlns:a16="http://schemas.microsoft.com/office/drawing/2014/main" id="{F3861EF2-7505-47BA-80DA-BDD3BB579F33}"/>
                    </a:ext>
                  </a:extLst>
                </p:cNvPr>
                <p:cNvSpPr>
                  <a:spLocks/>
                </p:cNvSpPr>
                <p:nvPr/>
              </p:nvSpPr>
              <p:spPr bwMode="auto">
                <a:xfrm>
                  <a:off x="13203862" y="1510006"/>
                  <a:ext cx="717543" cy="467078"/>
                </a:xfrm>
                <a:custGeom>
                  <a:avLst/>
                  <a:gdLst>
                    <a:gd name="T0" fmla="*/ 0 w 212"/>
                    <a:gd name="T1" fmla="*/ 138 h 138"/>
                    <a:gd name="T2" fmla="*/ 212 w 212"/>
                    <a:gd name="T3" fmla="*/ 138 h 138"/>
                    <a:gd name="T4" fmla="*/ 150 w 212"/>
                    <a:gd name="T5" fmla="*/ 0 h 138"/>
                    <a:gd name="T6" fmla="*/ 53 w 212"/>
                    <a:gd name="T7" fmla="*/ 28 h 138"/>
                    <a:gd name="T8" fmla="*/ 0 w 212"/>
                    <a:gd name="T9" fmla="*/ 138 h 138"/>
                  </a:gdLst>
                  <a:ahLst/>
                  <a:cxnLst>
                    <a:cxn ang="0">
                      <a:pos x="T0" y="T1"/>
                    </a:cxn>
                    <a:cxn ang="0">
                      <a:pos x="T2" y="T3"/>
                    </a:cxn>
                    <a:cxn ang="0">
                      <a:pos x="T4" y="T5"/>
                    </a:cxn>
                    <a:cxn ang="0">
                      <a:pos x="T6" y="T7"/>
                    </a:cxn>
                    <a:cxn ang="0">
                      <a:pos x="T8" y="T9"/>
                    </a:cxn>
                  </a:cxnLst>
                  <a:rect l="0" t="0" r="r" b="b"/>
                  <a:pathLst>
                    <a:path w="212" h="138">
                      <a:moveTo>
                        <a:pt x="0" y="138"/>
                      </a:moveTo>
                      <a:lnTo>
                        <a:pt x="212" y="138"/>
                      </a:lnTo>
                      <a:lnTo>
                        <a:pt x="150" y="0"/>
                      </a:lnTo>
                      <a:lnTo>
                        <a:pt x="53" y="28"/>
                      </a:lnTo>
                      <a:lnTo>
                        <a:pt x="0" y="13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40" name="Freeform 12">
                  <a:extLst>
                    <a:ext uri="{FF2B5EF4-FFF2-40B4-BE49-F238E27FC236}">
                      <a16:creationId xmlns:a16="http://schemas.microsoft.com/office/drawing/2014/main" id="{B3671F39-B425-4A97-8D1D-C90976B179CD}"/>
                    </a:ext>
                  </a:extLst>
                </p:cNvPr>
                <p:cNvSpPr>
                  <a:spLocks/>
                </p:cNvSpPr>
                <p:nvPr/>
              </p:nvSpPr>
              <p:spPr bwMode="auto">
                <a:xfrm>
                  <a:off x="13203862" y="1510006"/>
                  <a:ext cx="717543" cy="467078"/>
                </a:xfrm>
                <a:custGeom>
                  <a:avLst/>
                  <a:gdLst>
                    <a:gd name="T0" fmla="*/ 0 w 212"/>
                    <a:gd name="T1" fmla="*/ 138 h 138"/>
                    <a:gd name="T2" fmla="*/ 212 w 212"/>
                    <a:gd name="T3" fmla="*/ 138 h 138"/>
                    <a:gd name="T4" fmla="*/ 150 w 212"/>
                    <a:gd name="T5" fmla="*/ 0 h 138"/>
                    <a:gd name="T6" fmla="*/ 53 w 212"/>
                    <a:gd name="T7" fmla="*/ 28 h 138"/>
                    <a:gd name="T8" fmla="*/ 0 w 212"/>
                    <a:gd name="T9" fmla="*/ 138 h 138"/>
                  </a:gdLst>
                  <a:ahLst/>
                  <a:cxnLst>
                    <a:cxn ang="0">
                      <a:pos x="T0" y="T1"/>
                    </a:cxn>
                    <a:cxn ang="0">
                      <a:pos x="T2" y="T3"/>
                    </a:cxn>
                    <a:cxn ang="0">
                      <a:pos x="T4" y="T5"/>
                    </a:cxn>
                    <a:cxn ang="0">
                      <a:pos x="T6" y="T7"/>
                    </a:cxn>
                    <a:cxn ang="0">
                      <a:pos x="T8" y="T9"/>
                    </a:cxn>
                  </a:cxnLst>
                  <a:rect l="0" t="0" r="r" b="b"/>
                  <a:pathLst>
                    <a:path w="212" h="138">
                      <a:moveTo>
                        <a:pt x="0" y="138"/>
                      </a:moveTo>
                      <a:lnTo>
                        <a:pt x="212" y="138"/>
                      </a:lnTo>
                      <a:lnTo>
                        <a:pt x="150" y="0"/>
                      </a:lnTo>
                      <a:lnTo>
                        <a:pt x="53" y="28"/>
                      </a:lnTo>
                      <a:lnTo>
                        <a:pt x="0" y="138"/>
                      </a:lnTo>
                      <a:close/>
                    </a:path>
                  </a:pathLst>
                </a:custGeom>
                <a:grp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41" name="Freeform 13">
                  <a:extLst>
                    <a:ext uri="{FF2B5EF4-FFF2-40B4-BE49-F238E27FC236}">
                      <a16:creationId xmlns:a16="http://schemas.microsoft.com/office/drawing/2014/main" id="{95D10D5D-E298-4E64-9441-78D321DA940F}"/>
                    </a:ext>
                  </a:extLst>
                </p:cNvPr>
                <p:cNvSpPr>
                  <a:spLocks/>
                </p:cNvSpPr>
                <p:nvPr/>
              </p:nvSpPr>
              <p:spPr bwMode="auto">
                <a:xfrm>
                  <a:off x="13718326" y="995542"/>
                  <a:ext cx="704005" cy="981542"/>
                </a:xfrm>
                <a:custGeom>
                  <a:avLst/>
                  <a:gdLst>
                    <a:gd name="T0" fmla="*/ 35 w 208"/>
                    <a:gd name="T1" fmla="*/ 0 h 290"/>
                    <a:gd name="T2" fmla="*/ 131 w 208"/>
                    <a:gd name="T3" fmla="*/ 6 h 290"/>
                    <a:gd name="T4" fmla="*/ 208 w 208"/>
                    <a:gd name="T5" fmla="*/ 129 h 290"/>
                    <a:gd name="T6" fmla="*/ 122 w 208"/>
                    <a:gd name="T7" fmla="*/ 290 h 290"/>
                    <a:gd name="T8" fmla="*/ 62 w 208"/>
                    <a:gd name="T9" fmla="*/ 290 h 290"/>
                    <a:gd name="T10" fmla="*/ 0 w 208"/>
                    <a:gd name="T11" fmla="*/ 150 h 290"/>
                    <a:gd name="T12" fmla="*/ 35 w 208"/>
                    <a:gd name="T13" fmla="*/ 0 h 290"/>
                  </a:gdLst>
                  <a:ahLst/>
                  <a:cxnLst>
                    <a:cxn ang="0">
                      <a:pos x="T0" y="T1"/>
                    </a:cxn>
                    <a:cxn ang="0">
                      <a:pos x="T2" y="T3"/>
                    </a:cxn>
                    <a:cxn ang="0">
                      <a:pos x="T4" y="T5"/>
                    </a:cxn>
                    <a:cxn ang="0">
                      <a:pos x="T6" y="T7"/>
                    </a:cxn>
                    <a:cxn ang="0">
                      <a:pos x="T8" y="T9"/>
                    </a:cxn>
                    <a:cxn ang="0">
                      <a:pos x="T10" y="T11"/>
                    </a:cxn>
                    <a:cxn ang="0">
                      <a:pos x="T12" y="T13"/>
                    </a:cxn>
                  </a:cxnLst>
                  <a:rect l="0" t="0" r="r" b="b"/>
                  <a:pathLst>
                    <a:path w="208" h="290">
                      <a:moveTo>
                        <a:pt x="35" y="0"/>
                      </a:moveTo>
                      <a:lnTo>
                        <a:pt x="131" y="6"/>
                      </a:lnTo>
                      <a:lnTo>
                        <a:pt x="208" y="129"/>
                      </a:lnTo>
                      <a:lnTo>
                        <a:pt x="122" y="290"/>
                      </a:lnTo>
                      <a:lnTo>
                        <a:pt x="62" y="290"/>
                      </a:lnTo>
                      <a:lnTo>
                        <a:pt x="0" y="150"/>
                      </a:lnTo>
                      <a:lnTo>
                        <a:pt x="35"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42" name="Freeform 14">
                  <a:extLst>
                    <a:ext uri="{FF2B5EF4-FFF2-40B4-BE49-F238E27FC236}">
                      <a16:creationId xmlns:a16="http://schemas.microsoft.com/office/drawing/2014/main" id="{B9970AE8-EF18-443C-ADDC-1F5907B171E4}"/>
                    </a:ext>
                  </a:extLst>
                </p:cNvPr>
                <p:cNvSpPr>
                  <a:spLocks/>
                </p:cNvSpPr>
                <p:nvPr/>
              </p:nvSpPr>
              <p:spPr bwMode="auto">
                <a:xfrm>
                  <a:off x="13718326" y="995542"/>
                  <a:ext cx="704005" cy="981542"/>
                </a:xfrm>
                <a:custGeom>
                  <a:avLst/>
                  <a:gdLst>
                    <a:gd name="T0" fmla="*/ 35 w 208"/>
                    <a:gd name="T1" fmla="*/ 0 h 290"/>
                    <a:gd name="T2" fmla="*/ 131 w 208"/>
                    <a:gd name="T3" fmla="*/ 6 h 290"/>
                    <a:gd name="T4" fmla="*/ 208 w 208"/>
                    <a:gd name="T5" fmla="*/ 129 h 290"/>
                    <a:gd name="T6" fmla="*/ 122 w 208"/>
                    <a:gd name="T7" fmla="*/ 290 h 290"/>
                    <a:gd name="T8" fmla="*/ 62 w 208"/>
                    <a:gd name="T9" fmla="*/ 290 h 290"/>
                    <a:gd name="T10" fmla="*/ 0 w 208"/>
                    <a:gd name="T11" fmla="*/ 150 h 290"/>
                    <a:gd name="T12" fmla="*/ 35 w 208"/>
                    <a:gd name="T13" fmla="*/ 0 h 290"/>
                  </a:gdLst>
                  <a:ahLst/>
                  <a:cxnLst>
                    <a:cxn ang="0">
                      <a:pos x="T0" y="T1"/>
                    </a:cxn>
                    <a:cxn ang="0">
                      <a:pos x="T2" y="T3"/>
                    </a:cxn>
                    <a:cxn ang="0">
                      <a:pos x="T4" y="T5"/>
                    </a:cxn>
                    <a:cxn ang="0">
                      <a:pos x="T6" y="T7"/>
                    </a:cxn>
                    <a:cxn ang="0">
                      <a:pos x="T8" y="T9"/>
                    </a:cxn>
                    <a:cxn ang="0">
                      <a:pos x="T10" y="T11"/>
                    </a:cxn>
                    <a:cxn ang="0">
                      <a:pos x="T12" y="T13"/>
                    </a:cxn>
                  </a:cxnLst>
                  <a:rect l="0" t="0" r="r" b="b"/>
                  <a:pathLst>
                    <a:path w="208" h="290">
                      <a:moveTo>
                        <a:pt x="35" y="0"/>
                      </a:moveTo>
                      <a:lnTo>
                        <a:pt x="131" y="6"/>
                      </a:lnTo>
                      <a:lnTo>
                        <a:pt x="208" y="129"/>
                      </a:lnTo>
                      <a:lnTo>
                        <a:pt x="122" y="290"/>
                      </a:lnTo>
                      <a:lnTo>
                        <a:pt x="62" y="290"/>
                      </a:lnTo>
                      <a:lnTo>
                        <a:pt x="0" y="150"/>
                      </a:lnTo>
                      <a:lnTo>
                        <a:pt x="35" y="0"/>
                      </a:lnTo>
                      <a:close/>
                    </a:path>
                  </a:pathLst>
                </a:custGeom>
                <a:grp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43" name="Freeform 15">
                  <a:extLst>
                    <a:ext uri="{FF2B5EF4-FFF2-40B4-BE49-F238E27FC236}">
                      <a16:creationId xmlns:a16="http://schemas.microsoft.com/office/drawing/2014/main" id="{7B08AE98-BF83-4A49-BFA7-0897CD10258A}"/>
                    </a:ext>
                  </a:extLst>
                </p:cNvPr>
                <p:cNvSpPr>
                  <a:spLocks/>
                </p:cNvSpPr>
                <p:nvPr/>
              </p:nvSpPr>
              <p:spPr bwMode="auto">
                <a:xfrm>
                  <a:off x="14134635" y="1438926"/>
                  <a:ext cx="341849" cy="538158"/>
                </a:xfrm>
                <a:custGeom>
                  <a:avLst/>
                  <a:gdLst>
                    <a:gd name="T0" fmla="*/ 0 w 101"/>
                    <a:gd name="T1" fmla="*/ 159 h 159"/>
                    <a:gd name="T2" fmla="*/ 101 w 101"/>
                    <a:gd name="T3" fmla="*/ 159 h 159"/>
                    <a:gd name="T4" fmla="*/ 101 w 101"/>
                    <a:gd name="T5" fmla="*/ 4 h 159"/>
                    <a:gd name="T6" fmla="*/ 87 w 101"/>
                    <a:gd name="T7" fmla="*/ 0 h 159"/>
                    <a:gd name="T8" fmla="*/ 0 w 101"/>
                    <a:gd name="T9" fmla="*/ 159 h 159"/>
                  </a:gdLst>
                  <a:ahLst/>
                  <a:cxnLst>
                    <a:cxn ang="0">
                      <a:pos x="T0" y="T1"/>
                    </a:cxn>
                    <a:cxn ang="0">
                      <a:pos x="T2" y="T3"/>
                    </a:cxn>
                    <a:cxn ang="0">
                      <a:pos x="T4" y="T5"/>
                    </a:cxn>
                    <a:cxn ang="0">
                      <a:pos x="T6" y="T7"/>
                    </a:cxn>
                    <a:cxn ang="0">
                      <a:pos x="T8" y="T9"/>
                    </a:cxn>
                  </a:cxnLst>
                  <a:rect l="0" t="0" r="r" b="b"/>
                  <a:pathLst>
                    <a:path w="101" h="159">
                      <a:moveTo>
                        <a:pt x="0" y="159"/>
                      </a:moveTo>
                      <a:lnTo>
                        <a:pt x="101" y="159"/>
                      </a:lnTo>
                      <a:lnTo>
                        <a:pt x="101" y="4"/>
                      </a:lnTo>
                      <a:lnTo>
                        <a:pt x="87" y="0"/>
                      </a:lnTo>
                      <a:lnTo>
                        <a:pt x="0" y="15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44" name="Freeform 16">
                  <a:extLst>
                    <a:ext uri="{FF2B5EF4-FFF2-40B4-BE49-F238E27FC236}">
                      <a16:creationId xmlns:a16="http://schemas.microsoft.com/office/drawing/2014/main" id="{2D898F1F-1263-47F4-919E-D1170F255DF6}"/>
                    </a:ext>
                  </a:extLst>
                </p:cNvPr>
                <p:cNvSpPr>
                  <a:spLocks/>
                </p:cNvSpPr>
                <p:nvPr/>
              </p:nvSpPr>
              <p:spPr bwMode="auto">
                <a:xfrm>
                  <a:off x="14134635" y="1438926"/>
                  <a:ext cx="754773" cy="538158"/>
                </a:xfrm>
                <a:custGeom>
                  <a:avLst/>
                  <a:gdLst>
                    <a:gd name="T0" fmla="*/ 87 w 223"/>
                    <a:gd name="T1" fmla="*/ 0 h 159"/>
                    <a:gd name="T2" fmla="*/ 148 w 223"/>
                    <a:gd name="T3" fmla="*/ 15 h 159"/>
                    <a:gd name="T4" fmla="*/ 223 w 223"/>
                    <a:gd name="T5" fmla="*/ 159 h 159"/>
                    <a:gd name="T6" fmla="*/ 0 w 223"/>
                    <a:gd name="T7" fmla="*/ 159 h 159"/>
                    <a:gd name="T8" fmla="*/ 87 w 223"/>
                    <a:gd name="T9" fmla="*/ 0 h 159"/>
                  </a:gdLst>
                  <a:ahLst/>
                  <a:cxnLst>
                    <a:cxn ang="0">
                      <a:pos x="T0" y="T1"/>
                    </a:cxn>
                    <a:cxn ang="0">
                      <a:pos x="T2" y="T3"/>
                    </a:cxn>
                    <a:cxn ang="0">
                      <a:pos x="T4" y="T5"/>
                    </a:cxn>
                    <a:cxn ang="0">
                      <a:pos x="T6" y="T7"/>
                    </a:cxn>
                    <a:cxn ang="0">
                      <a:pos x="T8" y="T9"/>
                    </a:cxn>
                  </a:cxnLst>
                  <a:rect l="0" t="0" r="r" b="b"/>
                  <a:pathLst>
                    <a:path w="223" h="159">
                      <a:moveTo>
                        <a:pt x="87" y="0"/>
                      </a:moveTo>
                      <a:lnTo>
                        <a:pt x="148" y="15"/>
                      </a:lnTo>
                      <a:lnTo>
                        <a:pt x="223" y="159"/>
                      </a:lnTo>
                      <a:lnTo>
                        <a:pt x="0" y="159"/>
                      </a:lnTo>
                      <a:lnTo>
                        <a:pt x="87" y="0"/>
                      </a:lnTo>
                      <a:close/>
                    </a:path>
                  </a:pathLst>
                </a:custGeom>
                <a:grp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45" name="Freeform 17">
                  <a:extLst>
                    <a:ext uri="{FF2B5EF4-FFF2-40B4-BE49-F238E27FC236}">
                      <a16:creationId xmlns:a16="http://schemas.microsoft.com/office/drawing/2014/main" id="{1D8EBFEB-12EB-45E5-8704-AEE6163FDD5D}"/>
                    </a:ext>
                  </a:extLst>
                </p:cNvPr>
                <p:cNvSpPr>
                  <a:spLocks/>
                </p:cNvSpPr>
                <p:nvPr/>
              </p:nvSpPr>
              <p:spPr bwMode="auto">
                <a:xfrm>
                  <a:off x="12070009" y="1675850"/>
                  <a:ext cx="528003" cy="301234"/>
                </a:xfrm>
                <a:custGeom>
                  <a:avLst/>
                  <a:gdLst>
                    <a:gd name="T0" fmla="*/ 115 w 156"/>
                    <a:gd name="T1" fmla="*/ 0 h 89"/>
                    <a:gd name="T2" fmla="*/ 23 w 156"/>
                    <a:gd name="T3" fmla="*/ 38 h 89"/>
                    <a:gd name="T4" fmla="*/ 0 w 156"/>
                    <a:gd name="T5" fmla="*/ 89 h 89"/>
                    <a:gd name="T6" fmla="*/ 156 w 156"/>
                    <a:gd name="T7" fmla="*/ 89 h 89"/>
                    <a:gd name="T8" fmla="*/ 115 w 156"/>
                    <a:gd name="T9" fmla="*/ 0 h 89"/>
                  </a:gdLst>
                  <a:ahLst/>
                  <a:cxnLst>
                    <a:cxn ang="0">
                      <a:pos x="T0" y="T1"/>
                    </a:cxn>
                    <a:cxn ang="0">
                      <a:pos x="T2" y="T3"/>
                    </a:cxn>
                    <a:cxn ang="0">
                      <a:pos x="T4" y="T5"/>
                    </a:cxn>
                    <a:cxn ang="0">
                      <a:pos x="T6" y="T7"/>
                    </a:cxn>
                    <a:cxn ang="0">
                      <a:pos x="T8" y="T9"/>
                    </a:cxn>
                  </a:cxnLst>
                  <a:rect l="0" t="0" r="r" b="b"/>
                  <a:pathLst>
                    <a:path w="156" h="89">
                      <a:moveTo>
                        <a:pt x="115" y="0"/>
                      </a:moveTo>
                      <a:lnTo>
                        <a:pt x="23" y="38"/>
                      </a:lnTo>
                      <a:lnTo>
                        <a:pt x="0" y="89"/>
                      </a:lnTo>
                      <a:lnTo>
                        <a:pt x="156" y="89"/>
                      </a:lnTo>
                      <a:lnTo>
                        <a:pt x="115"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46" name="Freeform 18">
                  <a:extLst>
                    <a:ext uri="{FF2B5EF4-FFF2-40B4-BE49-F238E27FC236}">
                      <a16:creationId xmlns:a16="http://schemas.microsoft.com/office/drawing/2014/main" id="{7018934C-4887-4656-8AAB-6563FB82DD5E}"/>
                    </a:ext>
                  </a:extLst>
                </p:cNvPr>
                <p:cNvSpPr>
                  <a:spLocks/>
                </p:cNvSpPr>
                <p:nvPr/>
              </p:nvSpPr>
              <p:spPr bwMode="auto">
                <a:xfrm>
                  <a:off x="12070009" y="1675850"/>
                  <a:ext cx="528003" cy="301234"/>
                </a:xfrm>
                <a:custGeom>
                  <a:avLst/>
                  <a:gdLst>
                    <a:gd name="T0" fmla="*/ 115 w 156"/>
                    <a:gd name="T1" fmla="*/ 0 h 89"/>
                    <a:gd name="T2" fmla="*/ 23 w 156"/>
                    <a:gd name="T3" fmla="*/ 38 h 89"/>
                    <a:gd name="T4" fmla="*/ 0 w 156"/>
                    <a:gd name="T5" fmla="*/ 89 h 89"/>
                    <a:gd name="T6" fmla="*/ 156 w 156"/>
                    <a:gd name="T7" fmla="*/ 89 h 89"/>
                    <a:gd name="T8" fmla="*/ 115 w 156"/>
                    <a:gd name="T9" fmla="*/ 0 h 89"/>
                  </a:gdLst>
                  <a:ahLst/>
                  <a:cxnLst>
                    <a:cxn ang="0">
                      <a:pos x="T0" y="T1"/>
                    </a:cxn>
                    <a:cxn ang="0">
                      <a:pos x="T2" y="T3"/>
                    </a:cxn>
                    <a:cxn ang="0">
                      <a:pos x="T4" y="T5"/>
                    </a:cxn>
                    <a:cxn ang="0">
                      <a:pos x="T6" y="T7"/>
                    </a:cxn>
                    <a:cxn ang="0">
                      <a:pos x="T8" y="T9"/>
                    </a:cxn>
                  </a:cxnLst>
                  <a:rect l="0" t="0" r="r" b="b"/>
                  <a:pathLst>
                    <a:path w="156" h="89">
                      <a:moveTo>
                        <a:pt x="115" y="0"/>
                      </a:moveTo>
                      <a:lnTo>
                        <a:pt x="23" y="38"/>
                      </a:lnTo>
                      <a:lnTo>
                        <a:pt x="0" y="89"/>
                      </a:lnTo>
                      <a:lnTo>
                        <a:pt x="156" y="89"/>
                      </a:lnTo>
                      <a:lnTo>
                        <a:pt x="115" y="0"/>
                      </a:lnTo>
                      <a:close/>
                    </a:path>
                  </a:pathLst>
                </a:custGeom>
                <a:grp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47" name="Freeform 19">
                  <a:extLst>
                    <a:ext uri="{FF2B5EF4-FFF2-40B4-BE49-F238E27FC236}">
                      <a16:creationId xmlns:a16="http://schemas.microsoft.com/office/drawing/2014/main" id="{2E2A339A-AD8C-4B69-84C1-862962C128D9}"/>
                    </a:ext>
                  </a:extLst>
                </p:cNvPr>
                <p:cNvSpPr>
                  <a:spLocks/>
                </p:cNvSpPr>
                <p:nvPr/>
              </p:nvSpPr>
              <p:spPr bwMode="auto">
                <a:xfrm>
                  <a:off x="12070009" y="1987238"/>
                  <a:ext cx="1127083" cy="419696"/>
                </a:xfrm>
                <a:custGeom>
                  <a:avLst/>
                  <a:gdLst>
                    <a:gd name="T0" fmla="*/ 0 w 333"/>
                    <a:gd name="T1" fmla="*/ 0 h 124"/>
                    <a:gd name="T2" fmla="*/ 137 w 333"/>
                    <a:gd name="T3" fmla="*/ 124 h 124"/>
                    <a:gd name="T4" fmla="*/ 233 w 333"/>
                    <a:gd name="T5" fmla="*/ 79 h 124"/>
                    <a:gd name="T6" fmla="*/ 333 w 333"/>
                    <a:gd name="T7" fmla="*/ 0 h 124"/>
                    <a:gd name="T8" fmla="*/ 0 w 333"/>
                    <a:gd name="T9" fmla="*/ 0 h 124"/>
                  </a:gdLst>
                  <a:ahLst/>
                  <a:cxnLst>
                    <a:cxn ang="0">
                      <a:pos x="T0" y="T1"/>
                    </a:cxn>
                    <a:cxn ang="0">
                      <a:pos x="T2" y="T3"/>
                    </a:cxn>
                    <a:cxn ang="0">
                      <a:pos x="T4" y="T5"/>
                    </a:cxn>
                    <a:cxn ang="0">
                      <a:pos x="T6" y="T7"/>
                    </a:cxn>
                    <a:cxn ang="0">
                      <a:pos x="T8" y="T9"/>
                    </a:cxn>
                  </a:cxnLst>
                  <a:rect l="0" t="0" r="r" b="b"/>
                  <a:pathLst>
                    <a:path w="333" h="124">
                      <a:moveTo>
                        <a:pt x="0" y="0"/>
                      </a:moveTo>
                      <a:lnTo>
                        <a:pt x="137" y="124"/>
                      </a:lnTo>
                      <a:lnTo>
                        <a:pt x="233" y="79"/>
                      </a:lnTo>
                      <a:lnTo>
                        <a:pt x="333"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48" name="Freeform 20">
                  <a:extLst>
                    <a:ext uri="{FF2B5EF4-FFF2-40B4-BE49-F238E27FC236}">
                      <a16:creationId xmlns:a16="http://schemas.microsoft.com/office/drawing/2014/main" id="{868639D6-8D26-48D6-A58C-D62D2F9B3294}"/>
                    </a:ext>
                  </a:extLst>
                </p:cNvPr>
                <p:cNvSpPr>
                  <a:spLocks/>
                </p:cNvSpPr>
                <p:nvPr/>
              </p:nvSpPr>
              <p:spPr bwMode="auto">
                <a:xfrm>
                  <a:off x="12070008" y="1987238"/>
                  <a:ext cx="1127083" cy="419696"/>
                </a:xfrm>
                <a:custGeom>
                  <a:avLst/>
                  <a:gdLst>
                    <a:gd name="T0" fmla="*/ 0 w 333"/>
                    <a:gd name="T1" fmla="*/ 0 h 124"/>
                    <a:gd name="T2" fmla="*/ 137 w 333"/>
                    <a:gd name="T3" fmla="*/ 124 h 124"/>
                    <a:gd name="T4" fmla="*/ 233 w 333"/>
                    <a:gd name="T5" fmla="*/ 79 h 124"/>
                    <a:gd name="T6" fmla="*/ 333 w 333"/>
                    <a:gd name="T7" fmla="*/ 0 h 124"/>
                    <a:gd name="T8" fmla="*/ 0 w 333"/>
                    <a:gd name="T9" fmla="*/ 0 h 124"/>
                  </a:gdLst>
                  <a:ahLst/>
                  <a:cxnLst>
                    <a:cxn ang="0">
                      <a:pos x="T0" y="T1"/>
                    </a:cxn>
                    <a:cxn ang="0">
                      <a:pos x="T2" y="T3"/>
                    </a:cxn>
                    <a:cxn ang="0">
                      <a:pos x="T4" y="T5"/>
                    </a:cxn>
                    <a:cxn ang="0">
                      <a:pos x="T6" y="T7"/>
                    </a:cxn>
                    <a:cxn ang="0">
                      <a:pos x="T8" y="T9"/>
                    </a:cxn>
                  </a:cxnLst>
                  <a:rect l="0" t="0" r="r" b="b"/>
                  <a:pathLst>
                    <a:path w="333" h="124">
                      <a:moveTo>
                        <a:pt x="0" y="0"/>
                      </a:moveTo>
                      <a:lnTo>
                        <a:pt x="137" y="124"/>
                      </a:lnTo>
                      <a:lnTo>
                        <a:pt x="233" y="79"/>
                      </a:lnTo>
                      <a:lnTo>
                        <a:pt x="333" y="0"/>
                      </a:lnTo>
                      <a:lnTo>
                        <a:pt x="0" y="0"/>
                      </a:lnTo>
                      <a:close/>
                    </a:path>
                  </a:pathLst>
                </a:custGeom>
                <a:grp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49" name="Freeform 21">
                  <a:extLst>
                    <a:ext uri="{FF2B5EF4-FFF2-40B4-BE49-F238E27FC236}">
                      <a16:creationId xmlns:a16="http://schemas.microsoft.com/office/drawing/2014/main" id="{89DF88B3-6FEA-4E0E-99BF-35D160B96411}"/>
                    </a:ext>
                  </a:extLst>
                </p:cNvPr>
                <p:cNvSpPr>
                  <a:spLocks/>
                </p:cNvSpPr>
                <p:nvPr/>
              </p:nvSpPr>
              <p:spPr bwMode="auto">
                <a:xfrm>
                  <a:off x="12862012" y="1987238"/>
                  <a:ext cx="1245545" cy="748005"/>
                </a:xfrm>
                <a:custGeom>
                  <a:avLst/>
                  <a:gdLst>
                    <a:gd name="T0" fmla="*/ 0 w 368"/>
                    <a:gd name="T1" fmla="*/ 80 h 221"/>
                    <a:gd name="T2" fmla="*/ 154 w 368"/>
                    <a:gd name="T3" fmla="*/ 221 h 221"/>
                    <a:gd name="T4" fmla="*/ 301 w 368"/>
                    <a:gd name="T5" fmla="*/ 169 h 221"/>
                    <a:gd name="T6" fmla="*/ 368 w 368"/>
                    <a:gd name="T7" fmla="*/ 67 h 221"/>
                    <a:gd name="T8" fmla="*/ 314 w 368"/>
                    <a:gd name="T9" fmla="*/ 0 h 221"/>
                    <a:gd name="T10" fmla="*/ 100 w 368"/>
                    <a:gd name="T11" fmla="*/ 0 h 221"/>
                    <a:gd name="T12" fmla="*/ 0 w 368"/>
                    <a:gd name="T13" fmla="*/ 80 h 221"/>
                  </a:gdLst>
                  <a:ahLst/>
                  <a:cxnLst>
                    <a:cxn ang="0">
                      <a:pos x="T0" y="T1"/>
                    </a:cxn>
                    <a:cxn ang="0">
                      <a:pos x="T2" y="T3"/>
                    </a:cxn>
                    <a:cxn ang="0">
                      <a:pos x="T4" y="T5"/>
                    </a:cxn>
                    <a:cxn ang="0">
                      <a:pos x="T6" y="T7"/>
                    </a:cxn>
                    <a:cxn ang="0">
                      <a:pos x="T8" y="T9"/>
                    </a:cxn>
                    <a:cxn ang="0">
                      <a:pos x="T10" y="T11"/>
                    </a:cxn>
                    <a:cxn ang="0">
                      <a:pos x="T12" y="T13"/>
                    </a:cxn>
                  </a:cxnLst>
                  <a:rect l="0" t="0" r="r" b="b"/>
                  <a:pathLst>
                    <a:path w="368" h="221">
                      <a:moveTo>
                        <a:pt x="0" y="80"/>
                      </a:moveTo>
                      <a:lnTo>
                        <a:pt x="154" y="221"/>
                      </a:lnTo>
                      <a:lnTo>
                        <a:pt x="301" y="169"/>
                      </a:lnTo>
                      <a:lnTo>
                        <a:pt x="368" y="67"/>
                      </a:lnTo>
                      <a:lnTo>
                        <a:pt x="314" y="0"/>
                      </a:lnTo>
                      <a:lnTo>
                        <a:pt x="100" y="0"/>
                      </a:lnTo>
                      <a:lnTo>
                        <a:pt x="0" y="8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50" name="Freeform 22">
                  <a:extLst>
                    <a:ext uri="{FF2B5EF4-FFF2-40B4-BE49-F238E27FC236}">
                      <a16:creationId xmlns:a16="http://schemas.microsoft.com/office/drawing/2014/main" id="{90CFC7C2-D65A-47E0-ABA2-193E3203B30B}"/>
                    </a:ext>
                  </a:extLst>
                </p:cNvPr>
                <p:cNvSpPr>
                  <a:spLocks/>
                </p:cNvSpPr>
                <p:nvPr/>
              </p:nvSpPr>
              <p:spPr bwMode="auto">
                <a:xfrm>
                  <a:off x="12862012" y="1987238"/>
                  <a:ext cx="1245545" cy="748005"/>
                </a:xfrm>
                <a:custGeom>
                  <a:avLst/>
                  <a:gdLst>
                    <a:gd name="T0" fmla="*/ 0 w 368"/>
                    <a:gd name="T1" fmla="*/ 80 h 221"/>
                    <a:gd name="T2" fmla="*/ 154 w 368"/>
                    <a:gd name="T3" fmla="*/ 221 h 221"/>
                    <a:gd name="T4" fmla="*/ 301 w 368"/>
                    <a:gd name="T5" fmla="*/ 169 h 221"/>
                    <a:gd name="T6" fmla="*/ 368 w 368"/>
                    <a:gd name="T7" fmla="*/ 67 h 221"/>
                    <a:gd name="T8" fmla="*/ 314 w 368"/>
                    <a:gd name="T9" fmla="*/ 0 h 221"/>
                    <a:gd name="T10" fmla="*/ 100 w 368"/>
                    <a:gd name="T11" fmla="*/ 0 h 221"/>
                    <a:gd name="T12" fmla="*/ 0 w 368"/>
                    <a:gd name="T13" fmla="*/ 80 h 221"/>
                  </a:gdLst>
                  <a:ahLst/>
                  <a:cxnLst>
                    <a:cxn ang="0">
                      <a:pos x="T0" y="T1"/>
                    </a:cxn>
                    <a:cxn ang="0">
                      <a:pos x="T2" y="T3"/>
                    </a:cxn>
                    <a:cxn ang="0">
                      <a:pos x="T4" y="T5"/>
                    </a:cxn>
                    <a:cxn ang="0">
                      <a:pos x="T6" y="T7"/>
                    </a:cxn>
                    <a:cxn ang="0">
                      <a:pos x="T8" y="T9"/>
                    </a:cxn>
                    <a:cxn ang="0">
                      <a:pos x="T10" y="T11"/>
                    </a:cxn>
                    <a:cxn ang="0">
                      <a:pos x="T12" y="T13"/>
                    </a:cxn>
                  </a:cxnLst>
                  <a:rect l="0" t="0" r="r" b="b"/>
                  <a:pathLst>
                    <a:path w="368" h="221">
                      <a:moveTo>
                        <a:pt x="0" y="80"/>
                      </a:moveTo>
                      <a:lnTo>
                        <a:pt x="154" y="221"/>
                      </a:lnTo>
                      <a:lnTo>
                        <a:pt x="301" y="169"/>
                      </a:lnTo>
                      <a:lnTo>
                        <a:pt x="368" y="67"/>
                      </a:lnTo>
                      <a:lnTo>
                        <a:pt x="314" y="0"/>
                      </a:lnTo>
                      <a:lnTo>
                        <a:pt x="100" y="0"/>
                      </a:lnTo>
                      <a:lnTo>
                        <a:pt x="0" y="80"/>
                      </a:lnTo>
                      <a:close/>
                    </a:path>
                  </a:pathLst>
                </a:custGeom>
                <a:grp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51" name="Freeform 23">
                  <a:extLst>
                    <a:ext uri="{FF2B5EF4-FFF2-40B4-BE49-F238E27FC236}">
                      <a16:creationId xmlns:a16="http://schemas.microsoft.com/office/drawing/2014/main" id="{1D1A0491-A96E-4D28-AFFD-A9405C866160}"/>
                    </a:ext>
                  </a:extLst>
                </p:cNvPr>
                <p:cNvSpPr>
                  <a:spLocks/>
                </p:cNvSpPr>
                <p:nvPr/>
              </p:nvSpPr>
              <p:spPr bwMode="auto">
                <a:xfrm>
                  <a:off x="13931556" y="1987238"/>
                  <a:ext cx="544927" cy="328312"/>
                </a:xfrm>
                <a:custGeom>
                  <a:avLst/>
                  <a:gdLst>
                    <a:gd name="T0" fmla="*/ 0 w 161"/>
                    <a:gd name="T1" fmla="*/ 0 h 97"/>
                    <a:gd name="T2" fmla="*/ 54 w 161"/>
                    <a:gd name="T3" fmla="*/ 66 h 97"/>
                    <a:gd name="T4" fmla="*/ 161 w 161"/>
                    <a:gd name="T5" fmla="*/ 97 h 97"/>
                    <a:gd name="T6" fmla="*/ 161 w 161"/>
                    <a:gd name="T7" fmla="*/ 0 h 97"/>
                    <a:gd name="T8" fmla="*/ 0 w 161"/>
                    <a:gd name="T9" fmla="*/ 0 h 97"/>
                  </a:gdLst>
                  <a:ahLst/>
                  <a:cxnLst>
                    <a:cxn ang="0">
                      <a:pos x="T0" y="T1"/>
                    </a:cxn>
                    <a:cxn ang="0">
                      <a:pos x="T2" y="T3"/>
                    </a:cxn>
                    <a:cxn ang="0">
                      <a:pos x="T4" y="T5"/>
                    </a:cxn>
                    <a:cxn ang="0">
                      <a:pos x="T6" y="T7"/>
                    </a:cxn>
                    <a:cxn ang="0">
                      <a:pos x="T8" y="T9"/>
                    </a:cxn>
                  </a:cxnLst>
                  <a:rect l="0" t="0" r="r" b="b"/>
                  <a:pathLst>
                    <a:path w="161" h="97">
                      <a:moveTo>
                        <a:pt x="0" y="0"/>
                      </a:moveTo>
                      <a:lnTo>
                        <a:pt x="54" y="66"/>
                      </a:lnTo>
                      <a:lnTo>
                        <a:pt x="161" y="97"/>
                      </a:lnTo>
                      <a:lnTo>
                        <a:pt x="161"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52" name="Freeform 24">
                  <a:extLst>
                    <a:ext uri="{FF2B5EF4-FFF2-40B4-BE49-F238E27FC236}">
                      <a16:creationId xmlns:a16="http://schemas.microsoft.com/office/drawing/2014/main" id="{834DE228-D03F-42BF-A436-88D664FBCCF9}"/>
                    </a:ext>
                  </a:extLst>
                </p:cNvPr>
                <p:cNvSpPr>
                  <a:spLocks/>
                </p:cNvSpPr>
                <p:nvPr/>
              </p:nvSpPr>
              <p:spPr bwMode="auto">
                <a:xfrm>
                  <a:off x="13931556" y="1987238"/>
                  <a:ext cx="957851" cy="368926"/>
                </a:xfrm>
                <a:custGeom>
                  <a:avLst/>
                  <a:gdLst>
                    <a:gd name="T0" fmla="*/ 54 w 283"/>
                    <a:gd name="T1" fmla="*/ 66 h 109"/>
                    <a:gd name="T2" fmla="*/ 203 w 283"/>
                    <a:gd name="T3" fmla="*/ 109 h 109"/>
                    <a:gd name="T4" fmla="*/ 283 w 283"/>
                    <a:gd name="T5" fmla="*/ 0 h 109"/>
                    <a:gd name="T6" fmla="*/ 0 w 283"/>
                    <a:gd name="T7" fmla="*/ 0 h 109"/>
                    <a:gd name="T8" fmla="*/ 54 w 283"/>
                    <a:gd name="T9" fmla="*/ 66 h 109"/>
                  </a:gdLst>
                  <a:ahLst/>
                  <a:cxnLst>
                    <a:cxn ang="0">
                      <a:pos x="T0" y="T1"/>
                    </a:cxn>
                    <a:cxn ang="0">
                      <a:pos x="T2" y="T3"/>
                    </a:cxn>
                    <a:cxn ang="0">
                      <a:pos x="T4" y="T5"/>
                    </a:cxn>
                    <a:cxn ang="0">
                      <a:pos x="T6" y="T7"/>
                    </a:cxn>
                    <a:cxn ang="0">
                      <a:pos x="T8" y="T9"/>
                    </a:cxn>
                  </a:cxnLst>
                  <a:rect l="0" t="0" r="r" b="b"/>
                  <a:pathLst>
                    <a:path w="283" h="109">
                      <a:moveTo>
                        <a:pt x="54" y="66"/>
                      </a:moveTo>
                      <a:lnTo>
                        <a:pt x="203" y="109"/>
                      </a:lnTo>
                      <a:lnTo>
                        <a:pt x="283" y="0"/>
                      </a:lnTo>
                      <a:lnTo>
                        <a:pt x="0" y="0"/>
                      </a:lnTo>
                      <a:lnTo>
                        <a:pt x="54" y="66"/>
                      </a:lnTo>
                      <a:close/>
                    </a:path>
                  </a:pathLst>
                </a:custGeom>
                <a:grp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53" name="Freeform 25">
                  <a:extLst>
                    <a:ext uri="{FF2B5EF4-FFF2-40B4-BE49-F238E27FC236}">
                      <a16:creationId xmlns:a16="http://schemas.microsoft.com/office/drawing/2014/main" id="{CB607342-6102-431F-9912-57F765845BAA}"/>
                    </a:ext>
                  </a:extLst>
                </p:cNvPr>
                <p:cNvSpPr>
                  <a:spLocks/>
                </p:cNvSpPr>
                <p:nvPr/>
              </p:nvSpPr>
              <p:spPr bwMode="auto">
                <a:xfrm>
                  <a:off x="12070009" y="1983855"/>
                  <a:ext cx="456926" cy="1980011"/>
                </a:xfrm>
                <a:custGeom>
                  <a:avLst/>
                  <a:gdLst>
                    <a:gd name="T0" fmla="*/ 135 w 135"/>
                    <a:gd name="T1" fmla="*/ 128 h 585"/>
                    <a:gd name="T2" fmla="*/ 0 w 135"/>
                    <a:gd name="T3" fmla="*/ 0 h 585"/>
                    <a:gd name="T4" fmla="*/ 120 w 135"/>
                    <a:gd name="T5" fmla="*/ 585 h 585"/>
                    <a:gd name="T6" fmla="*/ 135 w 135"/>
                    <a:gd name="T7" fmla="*/ 128 h 585"/>
                  </a:gdLst>
                  <a:ahLst/>
                  <a:cxnLst>
                    <a:cxn ang="0">
                      <a:pos x="T0" y="T1"/>
                    </a:cxn>
                    <a:cxn ang="0">
                      <a:pos x="T2" y="T3"/>
                    </a:cxn>
                    <a:cxn ang="0">
                      <a:pos x="T4" y="T5"/>
                    </a:cxn>
                    <a:cxn ang="0">
                      <a:pos x="T6" y="T7"/>
                    </a:cxn>
                  </a:cxnLst>
                  <a:rect l="0" t="0" r="r" b="b"/>
                  <a:pathLst>
                    <a:path w="135" h="585">
                      <a:moveTo>
                        <a:pt x="135" y="128"/>
                      </a:moveTo>
                      <a:lnTo>
                        <a:pt x="0" y="0"/>
                      </a:lnTo>
                      <a:lnTo>
                        <a:pt x="120" y="585"/>
                      </a:lnTo>
                      <a:lnTo>
                        <a:pt x="135" y="128"/>
                      </a:lnTo>
                      <a:close/>
                    </a:path>
                  </a:pathLst>
                </a:custGeom>
                <a:grp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54" name="Freeform 26">
                  <a:extLst>
                    <a:ext uri="{FF2B5EF4-FFF2-40B4-BE49-F238E27FC236}">
                      <a16:creationId xmlns:a16="http://schemas.microsoft.com/office/drawing/2014/main" id="{284DF6F4-D842-4E98-9446-B4C68224C1C5}"/>
                    </a:ext>
                  </a:extLst>
                </p:cNvPr>
                <p:cNvSpPr>
                  <a:spLocks/>
                </p:cNvSpPr>
                <p:nvPr/>
              </p:nvSpPr>
              <p:spPr bwMode="auto">
                <a:xfrm>
                  <a:off x="12482934" y="3141400"/>
                  <a:ext cx="399387" cy="924005"/>
                </a:xfrm>
                <a:custGeom>
                  <a:avLst/>
                  <a:gdLst>
                    <a:gd name="T0" fmla="*/ 0 w 118"/>
                    <a:gd name="T1" fmla="*/ 243 h 273"/>
                    <a:gd name="T2" fmla="*/ 65 w 118"/>
                    <a:gd name="T3" fmla="*/ 273 h 273"/>
                    <a:gd name="T4" fmla="*/ 118 w 118"/>
                    <a:gd name="T5" fmla="*/ 176 h 273"/>
                    <a:gd name="T6" fmla="*/ 9 w 118"/>
                    <a:gd name="T7" fmla="*/ 0 h 273"/>
                    <a:gd name="T8" fmla="*/ 0 w 118"/>
                    <a:gd name="T9" fmla="*/ 243 h 273"/>
                  </a:gdLst>
                  <a:ahLst/>
                  <a:cxnLst>
                    <a:cxn ang="0">
                      <a:pos x="T0" y="T1"/>
                    </a:cxn>
                    <a:cxn ang="0">
                      <a:pos x="T2" y="T3"/>
                    </a:cxn>
                    <a:cxn ang="0">
                      <a:pos x="T4" y="T5"/>
                    </a:cxn>
                    <a:cxn ang="0">
                      <a:pos x="T6" y="T7"/>
                    </a:cxn>
                    <a:cxn ang="0">
                      <a:pos x="T8" y="T9"/>
                    </a:cxn>
                  </a:cxnLst>
                  <a:rect l="0" t="0" r="r" b="b"/>
                  <a:pathLst>
                    <a:path w="118" h="273">
                      <a:moveTo>
                        <a:pt x="0" y="243"/>
                      </a:moveTo>
                      <a:lnTo>
                        <a:pt x="65" y="273"/>
                      </a:lnTo>
                      <a:lnTo>
                        <a:pt x="118" y="176"/>
                      </a:lnTo>
                      <a:lnTo>
                        <a:pt x="9" y="0"/>
                      </a:lnTo>
                      <a:lnTo>
                        <a:pt x="0" y="24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55" name="Freeform 27">
                  <a:extLst>
                    <a:ext uri="{FF2B5EF4-FFF2-40B4-BE49-F238E27FC236}">
                      <a16:creationId xmlns:a16="http://schemas.microsoft.com/office/drawing/2014/main" id="{B1F04DB9-0168-4E67-B880-9B740A7067C2}"/>
                    </a:ext>
                  </a:extLst>
                </p:cNvPr>
                <p:cNvSpPr>
                  <a:spLocks/>
                </p:cNvSpPr>
                <p:nvPr/>
              </p:nvSpPr>
              <p:spPr bwMode="auto">
                <a:xfrm>
                  <a:off x="12482934" y="3141400"/>
                  <a:ext cx="399387" cy="924005"/>
                </a:xfrm>
                <a:custGeom>
                  <a:avLst/>
                  <a:gdLst>
                    <a:gd name="T0" fmla="*/ 0 w 118"/>
                    <a:gd name="T1" fmla="*/ 243 h 273"/>
                    <a:gd name="T2" fmla="*/ 65 w 118"/>
                    <a:gd name="T3" fmla="*/ 273 h 273"/>
                    <a:gd name="T4" fmla="*/ 118 w 118"/>
                    <a:gd name="T5" fmla="*/ 176 h 273"/>
                    <a:gd name="T6" fmla="*/ 9 w 118"/>
                    <a:gd name="T7" fmla="*/ 0 h 273"/>
                    <a:gd name="T8" fmla="*/ 0 w 118"/>
                    <a:gd name="T9" fmla="*/ 243 h 273"/>
                  </a:gdLst>
                  <a:ahLst/>
                  <a:cxnLst>
                    <a:cxn ang="0">
                      <a:pos x="T0" y="T1"/>
                    </a:cxn>
                    <a:cxn ang="0">
                      <a:pos x="T2" y="T3"/>
                    </a:cxn>
                    <a:cxn ang="0">
                      <a:pos x="T4" y="T5"/>
                    </a:cxn>
                    <a:cxn ang="0">
                      <a:pos x="T6" y="T7"/>
                    </a:cxn>
                    <a:cxn ang="0">
                      <a:pos x="T8" y="T9"/>
                    </a:cxn>
                  </a:cxnLst>
                  <a:rect l="0" t="0" r="r" b="b"/>
                  <a:pathLst>
                    <a:path w="118" h="273">
                      <a:moveTo>
                        <a:pt x="0" y="243"/>
                      </a:moveTo>
                      <a:lnTo>
                        <a:pt x="65" y="273"/>
                      </a:lnTo>
                      <a:lnTo>
                        <a:pt x="118" y="176"/>
                      </a:lnTo>
                      <a:lnTo>
                        <a:pt x="9" y="0"/>
                      </a:lnTo>
                      <a:lnTo>
                        <a:pt x="0" y="243"/>
                      </a:lnTo>
                      <a:close/>
                    </a:path>
                  </a:pathLst>
                </a:custGeom>
                <a:grp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56" name="Freeform 28">
                  <a:extLst>
                    <a:ext uri="{FF2B5EF4-FFF2-40B4-BE49-F238E27FC236}">
                      <a16:creationId xmlns:a16="http://schemas.microsoft.com/office/drawing/2014/main" id="{610BB534-0B6B-45B8-8E5C-622E8ABC1B1C}"/>
                    </a:ext>
                  </a:extLst>
                </p:cNvPr>
                <p:cNvSpPr>
                  <a:spLocks/>
                </p:cNvSpPr>
                <p:nvPr/>
              </p:nvSpPr>
              <p:spPr bwMode="auto">
                <a:xfrm>
                  <a:off x="12513397" y="2258009"/>
                  <a:ext cx="863082" cy="1479085"/>
                </a:xfrm>
                <a:custGeom>
                  <a:avLst/>
                  <a:gdLst>
                    <a:gd name="T0" fmla="*/ 110 w 255"/>
                    <a:gd name="T1" fmla="*/ 437 h 437"/>
                    <a:gd name="T2" fmla="*/ 189 w 255"/>
                    <a:gd name="T3" fmla="*/ 402 h 437"/>
                    <a:gd name="T4" fmla="*/ 255 w 255"/>
                    <a:gd name="T5" fmla="*/ 143 h 437"/>
                    <a:gd name="T6" fmla="*/ 102 w 255"/>
                    <a:gd name="T7" fmla="*/ 0 h 437"/>
                    <a:gd name="T8" fmla="*/ 7 w 255"/>
                    <a:gd name="T9" fmla="*/ 47 h 437"/>
                    <a:gd name="T10" fmla="*/ 0 w 255"/>
                    <a:gd name="T11" fmla="*/ 260 h 437"/>
                    <a:gd name="T12" fmla="*/ 110 w 255"/>
                    <a:gd name="T13" fmla="*/ 437 h 437"/>
                  </a:gdLst>
                  <a:ahLst/>
                  <a:cxnLst>
                    <a:cxn ang="0">
                      <a:pos x="T0" y="T1"/>
                    </a:cxn>
                    <a:cxn ang="0">
                      <a:pos x="T2" y="T3"/>
                    </a:cxn>
                    <a:cxn ang="0">
                      <a:pos x="T4" y="T5"/>
                    </a:cxn>
                    <a:cxn ang="0">
                      <a:pos x="T6" y="T7"/>
                    </a:cxn>
                    <a:cxn ang="0">
                      <a:pos x="T8" y="T9"/>
                    </a:cxn>
                    <a:cxn ang="0">
                      <a:pos x="T10" y="T11"/>
                    </a:cxn>
                    <a:cxn ang="0">
                      <a:pos x="T12" y="T13"/>
                    </a:cxn>
                  </a:cxnLst>
                  <a:rect l="0" t="0" r="r" b="b"/>
                  <a:pathLst>
                    <a:path w="255" h="437">
                      <a:moveTo>
                        <a:pt x="110" y="437"/>
                      </a:moveTo>
                      <a:lnTo>
                        <a:pt x="189" y="402"/>
                      </a:lnTo>
                      <a:lnTo>
                        <a:pt x="255" y="143"/>
                      </a:lnTo>
                      <a:lnTo>
                        <a:pt x="102" y="0"/>
                      </a:lnTo>
                      <a:lnTo>
                        <a:pt x="7" y="47"/>
                      </a:lnTo>
                      <a:lnTo>
                        <a:pt x="0" y="260"/>
                      </a:lnTo>
                      <a:lnTo>
                        <a:pt x="110" y="43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57" name="Freeform 29">
                  <a:extLst>
                    <a:ext uri="{FF2B5EF4-FFF2-40B4-BE49-F238E27FC236}">
                      <a16:creationId xmlns:a16="http://schemas.microsoft.com/office/drawing/2014/main" id="{0C119492-EC0C-45A1-AEC4-9DBA76DCB741}"/>
                    </a:ext>
                  </a:extLst>
                </p:cNvPr>
                <p:cNvSpPr>
                  <a:spLocks/>
                </p:cNvSpPr>
                <p:nvPr/>
              </p:nvSpPr>
              <p:spPr bwMode="auto">
                <a:xfrm>
                  <a:off x="12513397" y="2258009"/>
                  <a:ext cx="863082" cy="1479085"/>
                </a:xfrm>
                <a:custGeom>
                  <a:avLst/>
                  <a:gdLst>
                    <a:gd name="T0" fmla="*/ 110 w 255"/>
                    <a:gd name="T1" fmla="*/ 437 h 437"/>
                    <a:gd name="T2" fmla="*/ 189 w 255"/>
                    <a:gd name="T3" fmla="*/ 402 h 437"/>
                    <a:gd name="T4" fmla="*/ 255 w 255"/>
                    <a:gd name="T5" fmla="*/ 143 h 437"/>
                    <a:gd name="T6" fmla="*/ 102 w 255"/>
                    <a:gd name="T7" fmla="*/ 0 h 437"/>
                    <a:gd name="T8" fmla="*/ 7 w 255"/>
                    <a:gd name="T9" fmla="*/ 47 h 437"/>
                    <a:gd name="T10" fmla="*/ 0 w 255"/>
                    <a:gd name="T11" fmla="*/ 260 h 437"/>
                    <a:gd name="T12" fmla="*/ 110 w 255"/>
                    <a:gd name="T13" fmla="*/ 437 h 437"/>
                  </a:gdLst>
                  <a:ahLst/>
                  <a:cxnLst>
                    <a:cxn ang="0">
                      <a:pos x="T0" y="T1"/>
                    </a:cxn>
                    <a:cxn ang="0">
                      <a:pos x="T2" y="T3"/>
                    </a:cxn>
                    <a:cxn ang="0">
                      <a:pos x="T4" y="T5"/>
                    </a:cxn>
                    <a:cxn ang="0">
                      <a:pos x="T6" y="T7"/>
                    </a:cxn>
                    <a:cxn ang="0">
                      <a:pos x="T8" y="T9"/>
                    </a:cxn>
                    <a:cxn ang="0">
                      <a:pos x="T10" y="T11"/>
                    </a:cxn>
                    <a:cxn ang="0">
                      <a:pos x="T12" y="T13"/>
                    </a:cxn>
                  </a:cxnLst>
                  <a:rect l="0" t="0" r="r" b="b"/>
                  <a:pathLst>
                    <a:path w="255" h="437">
                      <a:moveTo>
                        <a:pt x="110" y="437"/>
                      </a:moveTo>
                      <a:lnTo>
                        <a:pt x="189" y="402"/>
                      </a:lnTo>
                      <a:lnTo>
                        <a:pt x="255" y="143"/>
                      </a:lnTo>
                      <a:lnTo>
                        <a:pt x="102" y="0"/>
                      </a:lnTo>
                      <a:lnTo>
                        <a:pt x="7" y="47"/>
                      </a:lnTo>
                      <a:lnTo>
                        <a:pt x="0" y="260"/>
                      </a:lnTo>
                      <a:lnTo>
                        <a:pt x="110" y="437"/>
                      </a:lnTo>
                      <a:close/>
                    </a:path>
                  </a:pathLst>
                </a:custGeom>
                <a:grp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58" name="Freeform 30">
                  <a:extLst>
                    <a:ext uri="{FF2B5EF4-FFF2-40B4-BE49-F238E27FC236}">
                      <a16:creationId xmlns:a16="http://schemas.microsoft.com/office/drawing/2014/main" id="{9AD26561-8243-41C9-9B17-B17CF88CB409}"/>
                    </a:ext>
                  </a:extLst>
                </p:cNvPr>
                <p:cNvSpPr>
                  <a:spLocks/>
                </p:cNvSpPr>
                <p:nvPr/>
              </p:nvSpPr>
              <p:spPr bwMode="auto">
                <a:xfrm>
                  <a:off x="13274938" y="2566012"/>
                  <a:ext cx="602464" cy="1066161"/>
                </a:xfrm>
                <a:custGeom>
                  <a:avLst/>
                  <a:gdLst>
                    <a:gd name="T0" fmla="*/ 0 w 178"/>
                    <a:gd name="T1" fmla="*/ 180 h 315"/>
                    <a:gd name="T2" fmla="*/ 105 w 178"/>
                    <a:gd name="T3" fmla="*/ 315 h 315"/>
                    <a:gd name="T4" fmla="*/ 178 w 178"/>
                    <a:gd name="T5" fmla="*/ 0 h 315"/>
                    <a:gd name="T6" fmla="*/ 32 w 178"/>
                    <a:gd name="T7" fmla="*/ 52 h 315"/>
                    <a:gd name="T8" fmla="*/ 0 w 178"/>
                    <a:gd name="T9" fmla="*/ 180 h 315"/>
                  </a:gdLst>
                  <a:ahLst/>
                  <a:cxnLst>
                    <a:cxn ang="0">
                      <a:pos x="T0" y="T1"/>
                    </a:cxn>
                    <a:cxn ang="0">
                      <a:pos x="T2" y="T3"/>
                    </a:cxn>
                    <a:cxn ang="0">
                      <a:pos x="T4" y="T5"/>
                    </a:cxn>
                    <a:cxn ang="0">
                      <a:pos x="T6" y="T7"/>
                    </a:cxn>
                    <a:cxn ang="0">
                      <a:pos x="T8" y="T9"/>
                    </a:cxn>
                  </a:cxnLst>
                  <a:rect l="0" t="0" r="r" b="b"/>
                  <a:pathLst>
                    <a:path w="178" h="315">
                      <a:moveTo>
                        <a:pt x="0" y="180"/>
                      </a:moveTo>
                      <a:lnTo>
                        <a:pt x="105" y="315"/>
                      </a:lnTo>
                      <a:lnTo>
                        <a:pt x="178" y="0"/>
                      </a:lnTo>
                      <a:lnTo>
                        <a:pt x="32" y="52"/>
                      </a:lnTo>
                      <a:lnTo>
                        <a:pt x="0" y="18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59" name="Freeform 31">
                  <a:extLst>
                    <a:ext uri="{FF2B5EF4-FFF2-40B4-BE49-F238E27FC236}">
                      <a16:creationId xmlns:a16="http://schemas.microsoft.com/office/drawing/2014/main" id="{C6368C5F-1973-4086-BEF5-B3F76289E015}"/>
                    </a:ext>
                  </a:extLst>
                </p:cNvPr>
                <p:cNvSpPr>
                  <a:spLocks/>
                </p:cNvSpPr>
                <p:nvPr/>
              </p:nvSpPr>
              <p:spPr bwMode="auto">
                <a:xfrm>
                  <a:off x="13274938" y="2566012"/>
                  <a:ext cx="602464" cy="1066161"/>
                </a:xfrm>
                <a:custGeom>
                  <a:avLst/>
                  <a:gdLst>
                    <a:gd name="T0" fmla="*/ 0 w 178"/>
                    <a:gd name="T1" fmla="*/ 180 h 315"/>
                    <a:gd name="T2" fmla="*/ 105 w 178"/>
                    <a:gd name="T3" fmla="*/ 315 h 315"/>
                    <a:gd name="T4" fmla="*/ 178 w 178"/>
                    <a:gd name="T5" fmla="*/ 0 h 315"/>
                    <a:gd name="T6" fmla="*/ 32 w 178"/>
                    <a:gd name="T7" fmla="*/ 52 h 315"/>
                    <a:gd name="T8" fmla="*/ 0 w 178"/>
                    <a:gd name="T9" fmla="*/ 180 h 315"/>
                  </a:gdLst>
                  <a:ahLst/>
                  <a:cxnLst>
                    <a:cxn ang="0">
                      <a:pos x="T0" y="T1"/>
                    </a:cxn>
                    <a:cxn ang="0">
                      <a:pos x="T2" y="T3"/>
                    </a:cxn>
                    <a:cxn ang="0">
                      <a:pos x="T4" y="T5"/>
                    </a:cxn>
                    <a:cxn ang="0">
                      <a:pos x="T6" y="T7"/>
                    </a:cxn>
                    <a:cxn ang="0">
                      <a:pos x="T8" y="T9"/>
                    </a:cxn>
                  </a:cxnLst>
                  <a:rect l="0" t="0" r="r" b="b"/>
                  <a:pathLst>
                    <a:path w="178" h="315">
                      <a:moveTo>
                        <a:pt x="0" y="180"/>
                      </a:moveTo>
                      <a:lnTo>
                        <a:pt x="105" y="315"/>
                      </a:lnTo>
                      <a:lnTo>
                        <a:pt x="178" y="0"/>
                      </a:lnTo>
                      <a:lnTo>
                        <a:pt x="32" y="52"/>
                      </a:lnTo>
                      <a:lnTo>
                        <a:pt x="0" y="180"/>
                      </a:lnTo>
                      <a:close/>
                    </a:path>
                  </a:pathLst>
                </a:custGeom>
                <a:grp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60" name="Freeform 32">
                  <a:extLst>
                    <a:ext uri="{FF2B5EF4-FFF2-40B4-BE49-F238E27FC236}">
                      <a16:creationId xmlns:a16="http://schemas.microsoft.com/office/drawing/2014/main" id="{D07E98F4-5301-4AB4-8926-6F2E647A62E3}"/>
                    </a:ext>
                  </a:extLst>
                </p:cNvPr>
                <p:cNvSpPr>
                  <a:spLocks/>
                </p:cNvSpPr>
                <p:nvPr/>
              </p:nvSpPr>
              <p:spPr bwMode="auto">
                <a:xfrm>
                  <a:off x="13159861" y="3178628"/>
                  <a:ext cx="467079" cy="731081"/>
                </a:xfrm>
                <a:custGeom>
                  <a:avLst/>
                  <a:gdLst>
                    <a:gd name="T0" fmla="*/ 0 w 138"/>
                    <a:gd name="T1" fmla="*/ 131 h 216"/>
                    <a:gd name="T2" fmla="*/ 66 w 138"/>
                    <a:gd name="T3" fmla="*/ 216 h 216"/>
                    <a:gd name="T4" fmla="*/ 138 w 138"/>
                    <a:gd name="T5" fmla="*/ 135 h 216"/>
                    <a:gd name="T6" fmla="*/ 33 w 138"/>
                    <a:gd name="T7" fmla="*/ 0 h 216"/>
                    <a:gd name="T8" fmla="*/ 0 w 138"/>
                    <a:gd name="T9" fmla="*/ 131 h 216"/>
                  </a:gdLst>
                  <a:ahLst/>
                  <a:cxnLst>
                    <a:cxn ang="0">
                      <a:pos x="T0" y="T1"/>
                    </a:cxn>
                    <a:cxn ang="0">
                      <a:pos x="T2" y="T3"/>
                    </a:cxn>
                    <a:cxn ang="0">
                      <a:pos x="T4" y="T5"/>
                    </a:cxn>
                    <a:cxn ang="0">
                      <a:pos x="T6" y="T7"/>
                    </a:cxn>
                    <a:cxn ang="0">
                      <a:pos x="T8" y="T9"/>
                    </a:cxn>
                  </a:cxnLst>
                  <a:rect l="0" t="0" r="r" b="b"/>
                  <a:pathLst>
                    <a:path w="138" h="216">
                      <a:moveTo>
                        <a:pt x="0" y="131"/>
                      </a:moveTo>
                      <a:lnTo>
                        <a:pt x="66" y="216"/>
                      </a:lnTo>
                      <a:lnTo>
                        <a:pt x="138" y="135"/>
                      </a:lnTo>
                      <a:lnTo>
                        <a:pt x="33" y="0"/>
                      </a:lnTo>
                      <a:lnTo>
                        <a:pt x="0" y="131"/>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61" name="Freeform 33">
                  <a:extLst>
                    <a:ext uri="{FF2B5EF4-FFF2-40B4-BE49-F238E27FC236}">
                      <a16:creationId xmlns:a16="http://schemas.microsoft.com/office/drawing/2014/main" id="{65EA0E01-6FE0-4C50-A4DF-77E3C522DD28}"/>
                    </a:ext>
                  </a:extLst>
                </p:cNvPr>
                <p:cNvSpPr>
                  <a:spLocks/>
                </p:cNvSpPr>
                <p:nvPr/>
              </p:nvSpPr>
              <p:spPr bwMode="auto">
                <a:xfrm>
                  <a:off x="13159861" y="3178628"/>
                  <a:ext cx="467079" cy="731081"/>
                </a:xfrm>
                <a:custGeom>
                  <a:avLst/>
                  <a:gdLst>
                    <a:gd name="T0" fmla="*/ 0 w 138"/>
                    <a:gd name="T1" fmla="*/ 131 h 216"/>
                    <a:gd name="T2" fmla="*/ 66 w 138"/>
                    <a:gd name="T3" fmla="*/ 216 h 216"/>
                    <a:gd name="T4" fmla="*/ 138 w 138"/>
                    <a:gd name="T5" fmla="*/ 135 h 216"/>
                    <a:gd name="T6" fmla="*/ 33 w 138"/>
                    <a:gd name="T7" fmla="*/ 0 h 216"/>
                    <a:gd name="T8" fmla="*/ 0 w 138"/>
                    <a:gd name="T9" fmla="*/ 131 h 216"/>
                  </a:gdLst>
                  <a:ahLst/>
                  <a:cxnLst>
                    <a:cxn ang="0">
                      <a:pos x="T0" y="T1"/>
                    </a:cxn>
                    <a:cxn ang="0">
                      <a:pos x="T2" y="T3"/>
                    </a:cxn>
                    <a:cxn ang="0">
                      <a:pos x="T4" y="T5"/>
                    </a:cxn>
                    <a:cxn ang="0">
                      <a:pos x="T6" y="T7"/>
                    </a:cxn>
                    <a:cxn ang="0">
                      <a:pos x="T8" y="T9"/>
                    </a:cxn>
                  </a:cxnLst>
                  <a:rect l="0" t="0" r="r" b="b"/>
                  <a:pathLst>
                    <a:path w="138" h="216">
                      <a:moveTo>
                        <a:pt x="0" y="131"/>
                      </a:moveTo>
                      <a:lnTo>
                        <a:pt x="66" y="216"/>
                      </a:lnTo>
                      <a:lnTo>
                        <a:pt x="138" y="135"/>
                      </a:lnTo>
                      <a:lnTo>
                        <a:pt x="33" y="0"/>
                      </a:lnTo>
                      <a:lnTo>
                        <a:pt x="0" y="131"/>
                      </a:lnTo>
                      <a:close/>
                    </a:path>
                  </a:pathLst>
                </a:custGeom>
                <a:grp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62" name="Freeform 34">
                  <a:extLst>
                    <a:ext uri="{FF2B5EF4-FFF2-40B4-BE49-F238E27FC236}">
                      <a16:creationId xmlns:a16="http://schemas.microsoft.com/office/drawing/2014/main" id="{A84F9F3B-81D5-4A9A-9216-1654341BCC32}"/>
                    </a:ext>
                  </a:extLst>
                </p:cNvPr>
                <p:cNvSpPr>
                  <a:spLocks/>
                </p:cNvSpPr>
                <p:nvPr/>
              </p:nvSpPr>
              <p:spPr bwMode="auto">
                <a:xfrm>
                  <a:off x="12702937" y="3743863"/>
                  <a:ext cx="467079" cy="1336931"/>
                </a:xfrm>
                <a:custGeom>
                  <a:avLst/>
                  <a:gdLst>
                    <a:gd name="T0" fmla="*/ 0 w 138"/>
                    <a:gd name="T1" fmla="*/ 97 h 395"/>
                    <a:gd name="T2" fmla="*/ 71 w 138"/>
                    <a:gd name="T3" fmla="*/ 343 h 395"/>
                    <a:gd name="T4" fmla="*/ 138 w 138"/>
                    <a:gd name="T5" fmla="*/ 395 h 395"/>
                    <a:gd name="T6" fmla="*/ 103 w 138"/>
                    <a:gd name="T7" fmla="*/ 73 h 395"/>
                    <a:gd name="T8" fmla="*/ 54 w 138"/>
                    <a:gd name="T9" fmla="*/ 0 h 395"/>
                    <a:gd name="T10" fmla="*/ 0 w 138"/>
                    <a:gd name="T11" fmla="*/ 97 h 395"/>
                  </a:gdLst>
                  <a:ahLst/>
                  <a:cxnLst>
                    <a:cxn ang="0">
                      <a:pos x="T0" y="T1"/>
                    </a:cxn>
                    <a:cxn ang="0">
                      <a:pos x="T2" y="T3"/>
                    </a:cxn>
                    <a:cxn ang="0">
                      <a:pos x="T4" y="T5"/>
                    </a:cxn>
                    <a:cxn ang="0">
                      <a:pos x="T6" y="T7"/>
                    </a:cxn>
                    <a:cxn ang="0">
                      <a:pos x="T8" y="T9"/>
                    </a:cxn>
                    <a:cxn ang="0">
                      <a:pos x="T10" y="T11"/>
                    </a:cxn>
                  </a:cxnLst>
                  <a:rect l="0" t="0" r="r" b="b"/>
                  <a:pathLst>
                    <a:path w="138" h="395">
                      <a:moveTo>
                        <a:pt x="0" y="97"/>
                      </a:moveTo>
                      <a:lnTo>
                        <a:pt x="71" y="343"/>
                      </a:lnTo>
                      <a:lnTo>
                        <a:pt x="138" y="395"/>
                      </a:lnTo>
                      <a:lnTo>
                        <a:pt x="103" y="73"/>
                      </a:lnTo>
                      <a:lnTo>
                        <a:pt x="54" y="0"/>
                      </a:lnTo>
                      <a:lnTo>
                        <a:pt x="0" y="9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63" name="Freeform 35">
                  <a:extLst>
                    <a:ext uri="{FF2B5EF4-FFF2-40B4-BE49-F238E27FC236}">
                      <a16:creationId xmlns:a16="http://schemas.microsoft.com/office/drawing/2014/main" id="{1FF2AA92-86C9-4EE7-A6D7-78E84A7895AC}"/>
                    </a:ext>
                  </a:extLst>
                </p:cNvPr>
                <p:cNvSpPr>
                  <a:spLocks/>
                </p:cNvSpPr>
                <p:nvPr/>
              </p:nvSpPr>
              <p:spPr bwMode="auto">
                <a:xfrm>
                  <a:off x="12702937" y="3743863"/>
                  <a:ext cx="467079" cy="1336931"/>
                </a:xfrm>
                <a:custGeom>
                  <a:avLst/>
                  <a:gdLst>
                    <a:gd name="T0" fmla="*/ 0 w 138"/>
                    <a:gd name="T1" fmla="*/ 97 h 395"/>
                    <a:gd name="T2" fmla="*/ 71 w 138"/>
                    <a:gd name="T3" fmla="*/ 343 h 395"/>
                    <a:gd name="T4" fmla="*/ 138 w 138"/>
                    <a:gd name="T5" fmla="*/ 395 h 395"/>
                    <a:gd name="T6" fmla="*/ 103 w 138"/>
                    <a:gd name="T7" fmla="*/ 73 h 395"/>
                    <a:gd name="T8" fmla="*/ 54 w 138"/>
                    <a:gd name="T9" fmla="*/ 0 h 395"/>
                    <a:gd name="T10" fmla="*/ 0 w 138"/>
                    <a:gd name="T11" fmla="*/ 97 h 395"/>
                  </a:gdLst>
                  <a:ahLst/>
                  <a:cxnLst>
                    <a:cxn ang="0">
                      <a:pos x="T0" y="T1"/>
                    </a:cxn>
                    <a:cxn ang="0">
                      <a:pos x="T2" y="T3"/>
                    </a:cxn>
                    <a:cxn ang="0">
                      <a:pos x="T4" y="T5"/>
                    </a:cxn>
                    <a:cxn ang="0">
                      <a:pos x="T6" y="T7"/>
                    </a:cxn>
                    <a:cxn ang="0">
                      <a:pos x="T8" y="T9"/>
                    </a:cxn>
                    <a:cxn ang="0">
                      <a:pos x="T10" y="T11"/>
                    </a:cxn>
                  </a:cxnLst>
                  <a:rect l="0" t="0" r="r" b="b"/>
                  <a:pathLst>
                    <a:path w="138" h="395">
                      <a:moveTo>
                        <a:pt x="0" y="97"/>
                      </a:moveTo>
                      <a:lnTo>
                        <a:pt x="71" y="343"/>
                      </a:lnTo>
                      <a:lnTo>
                        <a:pt x="138" y="395"/>
                      </a:lnTo>
                      <a:lnTo>
                        <a:pt x="103" y="73"/>
                      </a:lnTo>
                      <a:lnTo>
                        <a:pt x="54" y="0"/>
                      </a:lnTo>
                      <a:lnTo>
                        <a:pt x="0" y="97"/>
                      </a:lnTo>
                      <a:close/>
                    </a:path>
                  </a:pathLst>
                </a:custGeom>
                <a:grp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64" name="Freeform 36">
                  <a:extLst>
                    <a:ext uri="{FF2B5EF4-FFF2-40B4-BE49-F238E27FC236}">
                      <a16:creationId xmlns:a16="http://schemas.microsoft.com/office/drawing/2014/main" id="{F0100C2C-E6D1-455D-9BC3-0B2CFB38B8D5}"/>
                    </a:ext>
                  </a:extLst>
                </p:cNvPr>
                <p:cNvSpPr>
                  <a:spLocks/>
                </p:cNvSpPr>
                <p:nvPr/>
              </p:nvSpPr>
              <p:spPr bwMode="auto">
                <a:xfrm>
                  <a:off x="12889089" y="3628785"/>
                  <a:ext cx="592312" cy="2057856"/>
                </a:xfrm>
                <a:custGeom>
                  <a:avLst/>
                  <a:gdLst>
                    <a:gd name="T0" fmla="*/ 84 w 175"/>
                    <a:gd name="T1" fmla="*/ 430 h 608"/>
                    <a:gd name="T2" fmla="*/ 108 w 175"/>
                    <a:gd name="T3" fmla="*/ 608 h 608"/>
                    <a:gd name="T4" fmla="*/ 175 w 175"/>
                    <a:gd name="T5" fmla="*/ 268 h 608"/>
                    <a:gd name="T6" fmla="*/ 144 w 175"/>
                    <a:gd name="T7" fmla="*/ 85 h 608"/>
                    <a:gd name="T8" fmla="*/ 79 w 175"/>
                    <a:gd name="T9" fmla="*/ 0 h 608"/>
                    <a:gd name="T10" fmla="*/ 0 w 175"/>
                    <a:gd name="T11" fmla="*/ 34 h 608"/>
                    <a:gd name="T12" fmla="*/ 49 w 175"/>
                    <a:gd name="T13" fmla="*/ 107 h 608"/>
                    <a:gd name="T14" fmla="*/ 84 w 175"/>
                    <a:gd name="T15" fmla="*/ 430 h 6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5" h="608">
                      <a:moveTo>
                        <a:pt x="84" y="430"/>
                      </a:moveTo>
                      <a:lnTo>
                        <a:pt x="108" y="608"/>
                      </a:lnTo>
                      <a:lnTo>
                        <a:pt x="175" y="268"/>
                      </a:lnTo>
                      <a:lnTo>
                        <a:pt x="144" y="85"/>
                      </a:lnTo>
                      <a:lnTo>
                        <a:pt x="79" y="0"/>
                      </a:lnTo>
                      <a:lnTo>
                        <a:pt x="0" y="34"/>
                      </a:lnTo>
                      <a:lnTo>
                        <a:pt x="49" y="107"/>
                      </a:lnTo>
                      <a:lnTo>
                        <a:pt x="84" y="43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65" name="Freeform 37">
                  <a:extLst>
                    <a:ext uri="{FF2B5EF4-FFF2-40B4-BE49-F238E27FC236}">
                      <a16:creationId xmlns:a16="http://schemas.microsoft.com/office/drawing/2014/main" id="{BD178049-08B3-4A38-A5EB-762B2206883C}"/>
                    </a:ext>
                  </a:extLst>
                </p:cNvPr>
                <p:cNvSpPr>
                  <a:spLocks/>
                </p:cNvSpPr>
                <p:nvPr/>
              </p:nvSpPr>
              <p:spPr bwMode="auto">
                <a:xfrm>
                  <a:off x="12889089" y="3628785"/>
                  <a:ext cx="592312" cy="2057856"/>
                </a:xfrm>
                <a:custGeom>
                  <a:avLst/>
                  <a:gdLst>
                    <a:gd name="T0" fmla="*/ 84 w 175"/>
                    <a:gd name="T1" fmla="*/ 430 h 608"/>
                    <a:gd name="T2" fmla="*/ 108 w 175"/>
                    <a:gd name="T3" fmla="*/ 608 h 608"/>
                    <a:gd name="T4" fmla="*/ 175 w 175"/>
                    <a:gd name="T5" fmla="*/ 268 h 608"/>
                    <a:gd name="T6" fmla="*/ 144 w 175"/>
                    <a:gd name="T7" fmla="*/ 85 h 608"/>
                    <a:gd name="T8" fmla="*/ 79 w 175"/>
                    <a:gd name="T9" fmla="*/ 0 h 608"/>
                    <a:gd name="T10" fmla="*/ 0 w 175"/>
                    <a:gd name="T11" fmla="*/ 34 h 608"/>
                    <a:gd name="T12" fmla="*/ 49 w 175"/>
                    <a:gd name="T13" fmla="*/ 107 h 608"/>
                    <a:gd name="T14" fmla="*/ 84 w 175"/>
                    <a:gd name="T15" fmla="*/ 430 h 6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5" h="608">
                      <a:moveTo>
                        <a:pt x="84" y="430"/>
                      </a:moveTo>
                      <a:lnTo>
                        <a:pt x="108" y="608"/>
                      </a:lnTo>
                      <a:lnTo>
                        <a:pt x="175" y="268"/>
                      </a:lnTo>
                      <a:lnTo>
                        <a:pt x="144" y="85"/>
                      </a:lnTo>
                      <a:lnTo>
                        <a:pt x="79" y="0"/>
                      </a:lnTo>
                      <a:lnTo>
                        <a:pt x="0" y="34"/>
                      </a:lnTo>
                      <a:lnTo>
                        <a:pt x="49" y="107"/>
                      </a:lnTo>
                      <a:lnTo>
                        <a:pt x="84" y="430"/>
                      </a:lnTo>
                      <a:close/>
                    </a:path>
                  </a:pathLst>
                </a:custGeom>
                <a:grp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66" name="Freeform 38">
                  <a:extLst>
                    <a:ext uri="{FF2B5EF4-FFF2-40B4-BE49-F238E27FC236}">
                      <a16:creationId xmlns:a16="http://schemas.microsoft.com/office/drawing/2014/main" id="{337F4E7F-D937-4137-80BF-9802640331FD}"/>
                    </a:ext>
                  </a:extLst>
                </p:cNvPr>
                <p:cNvSpPr>
                  <a:spLocks/>
                </p:cNvSpPr>
                <p:nvPr/>
              </p:nvSpPr>
              <p:spPr bwMode="auto">
                <a:xfrm>
                  <a:off x="13633709" y="2217392"/>
                  <a:ext cx="842775" cy="1414776"/>
                </a:xfrm>
                <a:custGeom>
                  <a:avLst/>
                  <a:gdLst>
                    <a:gd name="T0" fmla="*/ 74 w 249"/>
                    <a:gd name="T1" fmla="*/ 102 h 418"/>
                    <a:gd name="T2" fmla="*/ 0 w 249"/>
                    <a:gd name="T3" fmla="*/ 418 h 418"/>
                    <a:gd name="T4" fmla="*/ 121 w 249"/>
                    <a:gd name="T5" fmla="*/ 363 h 418"/>
                    <a:gd name="T6" fmla="*/ 249 w 249"/>
                    <a:gd name="T7" fmla="*/ 121 h 418"/>
                    <a:gd name="T8" fmla="*/ 249 w 249"/>
                    <a:gd name="T9" fmla="*/ 32 h 418"/>
                    <a:gd name="T10" fmla="*/ 141 w 249"/>
                    <a:gd name="T11" fmla="*/ 0 h 418"/>
                    <a:gd name="T12" fmla="*/ 74 w 249"/>
                    <a:gd name="T13" fmla="*/ 102 h 418"/>
                  </a:gdLst>
                  <a:ahLst/>
                  <a:cxnLst>
                    <a:cxn ang="0">
                      <a:pos x="T0" y="T1"/>
                    </a:cxn>
                    <a:cxn ang="0">
                      <a:pos x="T2" y="T3"/>
                    </a:cxn>
                    <a:cxn ang="0">
                      <a:pos x="T4" y="T5"/>
                    </a:cxn>
                    <a:cxn ang="0">
                      <a:pos x="T6" y="T7"/>
                    </a:cxn>
                    <a:cxn ang="0">
                      <a:pos x="T8" y="T9"/>
                    </a:cxn>
                    <a:cxn ang="0">
                      <a:pos x="T10" y="T11"/>
                    </a:cxn>
                    <a:cxn ang="0">
                      <a:pos x="T12" y="T13"/>
                    </a:cxn>
                  </a:cxnLst>
                  <a:rect l="0" t="0" r="r" b="b"/>
                  <a:pathLst>
                    <a:path w="249" h="418">
                      <a:moveTo>
                        <a:pt x="74" y="102"/>
                      </a:moveTo>
                      <a:lnTo>
                        <a:pt x="0" y="418"/>
                      </a:lnTo>
                      <a:lnTo>
                        <a:pt x="121" y="363"/>
                      </a:lnTo>
                      <a:lnTo>
                        <a:pt x="249" y="121"/>
                      </a:lnTo>
                      <a:lnTo>
                        <a:pt x="249" y="32"/>
                      </a:lnTo>
                      <a:lnTo>
                        <a:pt x="141" y="0"/>
                      </a:lnTo>
                      <a:lnTo>
                        <a:pt x="74" y="10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67" name="Freeform 39">
                  <a:extLst>
                    <a:ext uri="{FF2B5EF4-FFF2-40B4-BE49-F238E27FC236}">
                      <a16:creationId xmlns:a16="http://schemas.microsoft.com/office/drawing/2014/main" id="{C7F61D05-82AA-4290-91F4-A6DC0401BA4E}"/>
                    </a:ext>
                  </a:extLst>
                </p:cNvPr>
                <p:cNvSpPr>
                  <a:spLocks/>
                </p:cNvSpPr>
                <p:nvPr/>
              </p:nvSpPr>
              <p:spPr bwMode="auto">
                <a:xfrm>
                  <a:off x="13633709" y="2217392"/>
                  <a:ext cx="981543" cy="1414776"/>
                </a:xfrm>
                <a:custGeom>
                  <a:avLst/>
                  <a:gdLst>
                    <a:gd name="T0" fmla="*/ 290 w 290"/>
                    <a:gd name="T1" fmla="*/ 44 h 418"/>
                    <a:gd name="T2" fmla="*/ 121 w 290"/>
                    <a:gd name="T3" fmla="*/ 363 h 418"/>
                    <a:gd name="T4" fmla="*/ 0 w 290"/>
                    <a:gd name="T5" fmla="*/ 418 h 418"/>
                    <a:gd name="T6" fmla="*/ 74 w 290"/>
                    <a:gd name="T7" fmla="*/ 102 h 418"/>
                    <a:gd name="T8" fmla="*/ 141 w 290"/>
                    <a:gd name="T9" fmla="*/ 0 h 418"/>
                    <a:gd name="T10" fmla="*/ 290 w 290"/>
                    <a:gd name="T11" fmla="*/ 44 h 418"/>
                  </a:gdLst>
                  <a:ahLst/>
                  <a:cxnLst>
                    <a:cxn ang="0">
                      <a:pos x="T0" y="T1"/>
                    </a:cxn>
                    <a:cxn ang="0">
                      <a:pos x="T2" y="T3"/>
                    </a:cxn>
                    <a:cxn ang="0">
                      <a:pos x="T4" y="T5"/>
                    </a:cxn>
                    <a:cxn ang="0">
                      <a:pos x="T6" y="T7"/>
                    </a:cxn>
                    <a:cxn ang="0">
                      <a:pos x="T8" y="T9"/>
                    </a:cxn>
                    <a:cxn ang="0">
                      <a:pos x="T10" y="T11"/>
                    </a:cxn>
                  </a:cxnLst>
                  <a:rect l="0" t="0" r="r" b="b"/>
                  <a:pathLst>
                    <a:path w="290" h="418">
                      <a:moveTo>
                        <a:pt x="290" y="44"/>
                      </a:moveTo>
                      <a:lnTo>
                        <a:pt x="121" y="363"/>
                      </a:lnTo>
                      <a:lnTo>
                        <a:pt x="0" y="418"/>
                      </a:lnTo>
                      <a:lnTo>
                        <a:pt x="74" y="102"/>
                      </a:lnTo>
                      <a:lnTo>
                        <a:pt x="141" y="0"/>
                      </a:lnTo>
                      <a:lnTo>
                        <a:pt x="290" y="44"/>
                      </a:lnTo>
                      <a:close/>
                    </a:path>
                  </a:pathLst>
                </a:custGeom>
                <a:grp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68" name="Freeform 40">
                  <a:extLst>
                    <a:ext uri="{FF2B5EF4-FFF2-40B4-BE49-F238E27FC236}">
                      <a16:creationId xmlns:a16="http://schemas.microsoft.com/office/drawing/2014/main" id="{063C90FB-FE8C-4352-AE51-7AEB25F0B0FE}"/>
                    </a:ext>
                  </a:extLst>
                </p:cNvPr>
                <p:cNvSpPr>
                  <a:spLocks/>
                </p:cNvSpPr>
                <p:nvPr/>
              </p:nvSpPr>
              <p:spPr bwMode="auto">
                <a:xfrm>
                  <a:off x="14046634" y="2626935"/>
                  <a:ext cx="429850" cy="1238776"/>
                </a:xfrm>
                <a:custGeom>
                  <a:avLst/>
                  <a:gdLst>
                    <a:gd name="T0" fmla="*/ 0 w 127"/>
                    <a:gd name="T1" fmla="*/ 243 h 366"/>
                    <a:gd name="T2" fmla="*/ 24 w 127"/>
                    <a:gd name="T3" fmla="*/ 324 h 366"/>
                    <a:gd name="T4" fmla="*/ 62 w 127"/>
                    <a:gd name="T5" fmla="*/ 366 h 366"/>
                    <a:gd name="T6" fmla="*/ 127 w 127"/>
                    <a:gd name="T7" fmla="*/ 187 h 366"/>
                    <a:gd name="T8" fmla="*/ 127 w 127"/>
                    <a:gd name="T9" fmla="*/ 0 h 366"/>
                    <a:gd name="T10" fmla="*/ 0 w 127"/>
                    <a:gd name="T11" fmla="*/ 243 h 366"/>
                  </a:gdLst>
                  <a:ahLst/>
                  <a:cxnLst>
                    <a:cxn ang="0">
                      <a:pos x="T0" y="T1"/>
                    </a:cxn>
                    <a:cxn ang="0">
                      <a:pos x="T2" y="T3"/>
                    </a:cxn>
                    <a:cxn ang="0">
                      <a:pos x="T4" y="T5"/>
                    </a:cxn>
                    <a:cxn ang="0">
                      <a:pos x="T6" y="T7"/>
                    </a:cxn>
                    <a:cxn ang="0">
                      <a:pos x="T8" y="T9"/>
                    </a:cxn>
                    <a:cxn ang="0">
                      <a:pos x="T10" y="T11"/>
                    </a:cxn>
                  </a:cxnLst>
                  <a:rect l="0" t="0" r="r" b="b"/>
                  <a:pathLst>
                    <a:path w="127" h="366">
                      <a:moveTo>
                        <a:pt x="0" y="243"/>
                      </a:moveTo>
                      <a:lnTo>
                        <a:pt x="24" y="324"/>
                      </a:lnTo>
                      <a:lnTo>
                        <a:pt x="62" y="366"/>
                      </a:lnTo>
                      <a:lnTo>
                        <a:pt x="127" y="187"/>
                      </a:lnTo>
                      <a:lnTo>
                        <a:pt x="127" y="0"/>
                      </a:lnTo>
                      <a:lnTo>
                        <a:pt x="0" y="243"/>
                      </a:lnTo>
                      <a:close/>
                    </a:path>
                  </a:pathLst>
                </a:custGeom>
                <a:grp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69" name="Freeform 41">
                  <a:extLst>
                    <a:ext uri="{FF2B5EF4-FFF2-40B4-BE49-F238E27FC236}">
                      <a16:creationId xmlns:a16="http://schemas.microsoft.com/office/drawing/2014/main" id="{69E09E0A-03A4-4413-B75D-FE2978A12A4E}"/>
                    </a:ext>
                  </a:extLst>
                </p:cNvPr>
                <p:cNvSpPr>
                  <a:spLocks/>
                </p:cNvSpPr>
                <p:nvPr/>
              </p:nvSpPr>
              <p:spPr bwMode="auto">
                <a:xfrm>
                  <a:off x="13386632" y="3456168"/>
                  <a:ext cx="734466" cy="1228622"/>
                </a:xfrm>
                <a:custGeom>
                  <a:avLst/>
                  <a:gdLst>
                    <a:gd name="T0" fmla="*/ 217 w 217"/>
                    <a:gd name="T1" fmla="*/ 80 h 363"/>
                    <a:gd name="T2" fmla="*/ 87 w 217"/>
                    <a:gd name="T3" fmla="*/ 363 h 363"/>
                    <a:gd name="T4" fmla="*/ 30 w 217"/>
                    <a:gd name="T5" fmla="*/ 317 h 363"/>
                    <a:gd name="T6" fmla="*/ 0 w 217"/>
                    <a:gd name="T7" fmla="*/ 136 h 363"/>
                    <a:gd name="T8" fmla="*/ 73 w 217"/>
                    <a:gd name="T9" fmla="*/ 53 h 363"/>
                    <a:gd name="T10" fmla="*/ 193 w 217"/>
                    <a:gd name="T11" fmla="*/ 0 h 363"/>
                    <a:gd name="T12" fmla="*/ 217 w 217"/>
                    <a:gd name="T13" fmla="*/ 80 h 363"/>
                  </a:gdLst>
                  <a:ahLst/>
                  <a:cxnLst>
                    <a:cxn ang="0">
                      <a:pos x="T0" y="T1"/>
                    </a:cxn>
                    <a:cxn ang="0">
                      <a:pos x="T2" y="T3"/>
                    </a:cxn>
                    <a:cxn ang="0">
                      <a:pos x="T4" y="T5"/>
                    </a:cxn>
                    <a:cxn ang="0">
                      <a:pos x="T6" y="T7"/>
                    </a:cxn>
                    <a:cxn ang="0">
                      <a:pos x="T8" y="T9"/>
                    </a:cxn>
                    <a:cxn ang="0">
                      <a:pos x="T10" y="T11"/>
                    </a:cxn>
                    <a:cxn ang="0">
                      <a:pos x="T12" y="T13"/>
                    </a:cxn>
                  </a:cxnLst>
                  <a:rect l="0" t="0" r="r" b="b"/>
                  <a:pathLst>
                    <a:path w="217" h="363">
                      <a:moveTo>
                        <a:pt x="217" y="80"/>
                      </a:moveTo>
                      <a:lnTo>
                        <a:pt x="87" y="363"/>
                      </a:lnTo>
                      <a:lnTo>
                        <a:pt x="30" y="317"/>
                      </a:lnTo>
                      <a:lnTo>
                        <a:pt x="0" y="136"/>
                      </a:lnTo>
                      <a:lnTo>
                        <a:pt x="73" y="53"/>
                      </a:lnTo>
                      <a:lnTo>
                        <a:pt x="193" y="0"/>
                      </a:lnTo>
                      <a:lnTo>
                        <a:pt x="217" y="8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70" name="Freeform 42">
                  <a:extLst>
                    <a:ext uri="{FF2B5EF4-FFF2-40B4-BE49-F238E27FC236}">
                      <a16:creationId xmlns:a16="http://schemas.microsoft.com/office/drawing/2014/main" id="{0C9B70B2-C285-40EC-A70A-C37B3F4C723C}"/>
                    </a:ext>
                  </a:extLst>
                </p:cNvPr>
                <p:cNvSpPr>
                  <a:spLocks/>
                </p:cNvSpPr>
                <p:nvPr/>
              </p:nvSpPr>
              <p:spPr bwMode="auto">
                <a:xfrm>
                  <a:off x="13386632" y="3456168"/>
                  <a:ext cx="734466" cy="1228622"/>
                </a:xfrm>
                <a:custGeom>
                  <a:avLst/>
                  <a:gdLst>
                    <a:gd name="T0" fmla="*/ 217 w 217"/>
                    <a:gd name="T1" fmla="*/ 80 h 363"/>
                    <a:gd name="T2" fmla="*/ 87 w 217"/>
                    <a:gd name="T3" fmla="*/ 363 h 363"/>
                    <a:gd name="T4" fmla="*/ 30 w 217"/>
                    <a:gd name="T5" fmla="*/ 317 h 363"/>
                    <a:gd name="T6" fmla="*/ 0 w 217"/>
                    <a:gd name="T7" fmla="*/ 136 h 363"/>
                    <a:gd name="T8" fmla="*/ 73 w 217"/>
                    <a:gd name="T9" fmla="*/ 53 h 363"/>
                    <a:gd name="T10" fmla="*/ 193 w 217"/>
                    <a:gd name="T11" fmla="*/ 0 h 363"/>
                    <a:gd name="T12" fmla="*/ 217 w 217"/>
                    <a:gd name="T13" fmla="*/ 80 h 363"/>
                  </a:gdLst>
                  <a:ahLst/>
                  <a:cxnLst>
                    <a:cxn ang="0">
                      <a:pos x="T0" y="T1"/>
                    </a:cxn>
                    <a:cxn ang="0">
                      <a:pos x="T2" y="T3"/>
                    </a:cxn>
                    <a:cxn ang="0">
                      <a:pos x="T4" y="T5"/>
                    </a:cxn>
                    <a:cxn ang="0">
                      <a:pos x="T6" y="T7"/>
                    </a:cxn>
                    <a:cxn ang="0">
                      <a:pos x="T8" y="T9"/>
                    </a:cxn>
                    <a:cxn ang="0">
                      <a:pos x="T10" y="T11"/>
                    </a:cxn>
                    <a:cxn ang="0">
                      <a:pos x="T12" y="T13"/>
                    </a:cxn>
                  </a:cxnLst>
                  <a:rect l="0" t="0" r="r" b="b"/>
                  <a:pathLst>
                    <a:path w="217" h="363">
                      <a:moveTo>
                        <a:pt x="217" y="80"/>
                      </a:moveTo>
                      <a:lnTo>
                        <a:pt x="87" y="363"/>
                      </a:lnTo>
                      <a:lnTo>
                        <a:pt x="30" y="317"/>
                      </a:lnTo>
                      <a:lnTo>
                        <a:pt x="0" y="136"/>
                      </a:lnTo>
                      <a:lnTo>
                        <a:pt x="73" y="53"/>
                      </a:lnTo>
                      <a:lnTo>
                        <a:pt x="193" y="0"/>
                      </a:lnTo>
                      <a:lnTo>
                        <a:pt x="217" y="80"/>
                      </a:lnTo>
                      <a:close/>
                    </a:path>
                  </a:pathLst>
                </a:custGeom>
                <a:grp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71" name="Freeform 43">
                  <a:extLst>
                    <a:ext uri="{FF2B5EF4-FFF2-40B4-BE49-F238E27FC236}">
                      <a16:creationId xmlns:a16="http://schemas.microsoft.com/office/drawing/2014/main" id="{33DD99A5-F4A2-4FCE-B971-D6858CC3E5D1}"/>
                    </a:ext>
                  </a:extLst>
                </p:cNvPr>
                <p:cNvSpPr>
                  <a:spLocks/>
                </p:cNvSpPr>
                <p:nvPr/>
              </p:nvSpPr>
              <p:spPr bwMode="auto">
                <a:xfrm>
                  <a:off x="13637095" y="3726938"/>
                  <a:ext cx="484003" cy="2135706"/>
                </a:xfrm>
                <a:custGeom>
                  <a:avLst/>
                  <a:gdLst>
                    <a:gd name="T0" fmla="*/ 143 w 143"/>
                    <a:gd name="T1" fmla="*/ 0 h 631"/>
                    <a:gd name="T2" fmla="*/ 0 w 143"/>
                    <a:gd name="T3" fmla="*/ 631 h 631"/>
                    <a:gd name="T4" fmla="*/ 14 w 143"/>
                    <a:gd name="T5" fmla="*/ 284 h 631"/>
                    <a:gd name="T6" fmla="*/ 143 w 143"/>
                    <a:gd name="T7" fmla="*/ 0 h 631"/>
                  </a:gdLst>
                  <a:ahLst/>
                  <a:cxnLst>
                    <a:cxn ang="0">
                      <a:pos x="T0" y="T1"/>
                    </a:cxn>
                    <a:cxn ang="0">
                      <a:pos x="T2" y="T3"/>
                    </a:cxn>
                    <a:cxn ang="0">
                      <a:pos x="T4" y="T5"/>
                    </a:cxn>
                    <a:cxn ang="0">
                      <a:pos x="T6" y="T7"/>
                    </a:cxn>
                  </a:cxnLst>
                  <a:rect l="0" t="0" r="r" b="b"/>
                  <a:pathLst>
                    <a:path w="143" h="631">
                      <a:moveTo>
                        <a:pt x="143" y="0"/>
                      </a:moveTo>
                      <a:lnTo>
                        <a:pt x="0" y="631"/>
                      </a:lnTo>
                      <a:lnTo>
                        <a:pt x="14" y="284"/>
                      </a:lnTo>
                      <a:lnTo>
                        <a:pt x="143"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72" name="Freeform 44">
                  <a:extLst>
                    <a:ext uri="{FF2B5EF4-FFF2-40B4-BE49-F238E27FC236}">
                      <a16:creationId xmlns:a16="http://schemas.microsoft.com/office/drawing/2014/main" id="{1B5B5810-3B6D-4920-A275-8AC77DE435AB}"/>
                    </a:ext>
                  </a:extLst>
                </p:cNvPr>
                <p:cNvSpPr>
                  <a:spLocks/>
                </p:cNvSpPr>
                <p:nvPr/>
              </p:nvSpPr>
              <p:spPr bwMode="auto">
                <a:xfrm>
                  <a:off x="13637095" y="3763522"/>
                  <a:ext cx="471806" cy="2099122"/>
                </a:xfrm>
                <a:custGeom>
                  <a:avLst/>
                  <a:gdLst>
                    <a:gd name="T0" fmla="*/ 143 w 143"/>
                    <a:gd name="T1" fmla="*/ 0 h 631"/>
                    <a:gd name="T2" fmla="*/ 0 w 143"/>
                    <a:gd name="T3" fmla="*/ 631 h 631"/>
                    <a:gd name="T4" fmla="*/ 14 w 143"/>
                    <a:gd name="T5" fmla="*/ 284 h 631"/>
                    <a:gd name="T6" fmla="*/ 143 w 143"/>
                    <a:gd name="T7" fmla="*/ 0 h 631"/>
                    <a:gd name="connsiteX0" fmla="*/ 9748 w 9748"/>
                    <a:gd name="connsiteY0" fmla="*/ 0 h 9895"/>
                    <a:gd name="connsiteX1" fmla="*/ 0 w 9748"/>
                    <a:gd name="connsiteY1" fmla="*/ 9895 h 9895"/>
                    <a:gd name="connsiteX2" fmla="*/ 979 w 9748"/>
                    <a:gd name="connsiteY2" fmla="*/ 4396 h 9895"/>
                    <a:gd name="connsiteX3" fmla="*/ 9748 w 9748"/>
                    <a:gd name="connsiteY3" fmla="*/ 0 h 9895"/>
                    <a:gd name="connsiteX0" fmla="*/ 10000 w 10000"/>
                    <a:gd name="connsiteY0" fmla="*/ 0 h 9933"/>
                    <a:gd name="connsiteX1" fmla="*/ 0 w 10000"/>
                    <a:gd name="connsiteY1" fmla="*/ 9933 h 9933"/>
                    <a:gd name="connsiteX2" fmla="*/ 1004 w 10000"/>
                    <a:gd name="connsiteY2" fmla="*/ 4376 h 9933"/>
                    <a:gd name="connsiteX3" fmla="*/ 10000 w 10000"/>
                    <a:gd name="connsiteY3" fmla="*/ 0 h 9933"/>
                  </a:gdLst>
                  <a:ahLst/>
                  <a:cxnLst>
                    <a:cxn ang="0">
                      <a:pos x="connsiteX0" y="connsiteY0"/>
                    </a:cxn>
                    <a:cxn ang="0">
                      <a:pos x="connsiteX1" y="connsiteY1"/>
                    </a:cxn>
                    <a:cxn ang="0">
                      <a:pos x="connsiteX2" y="connsiteY2"/>
                    </a:cxn>
                    <a:cxn ang="0">
                      <a:pos x="connsiteX3" y="connsiteY3"/>
                    </a:cxn>
                  </a:cxnLst>
                  <a:rect l="l" t="t" r="r" b="b"/>
                  <a:pathLst>
                    <a:path w="10000" h="9933">
                      <a:moveTo>
                        <a:pt x="10000" y="0"/>
                      </a:moveTo>
                      <a:lnTo>
                        <a:pt x="0" y="9933"/>
                      </a:lnTo>
                      <a:lnTo>
                        <a:pt x="1004" y="4376"/>
                      </a:lnTo>
                      <a:lnTo>
                        <a:pt x="10000" y="0"/>
                      </a:lnTo>
                      <a:close/>
                    </a:path>
                  </a:pathLst>
                </a:custGeom>
                <a:grp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73" name="Freeform 45">
                  <a:extLst>
                    <a:ext uri="{FF2B5EF4-FFF2-40B4-BE49-F238E27FC236}">
                      <a16:creationId xmlns:a16="http://schemas.microsoft.com/office/drawing/2014/main" id="{CCC2A7AE-D12C-4222-A702-332F4A08989F}"/>
                    </a:ext>
                  </a:extLst>
                </p:cNvPr>
                <p:cNvSpPr>
                  <a:spLocks/>
                </p:cNvSpPr>
                <p:nvPr/>
              </p:nvSpPr>
              <p:spPr bwMode="auto">
                <a:xfrm>
                  <a:off x="13258015" y="4535868"/>
                  <a:ext cx="416310" cy="1323392"/>
                </a:xfrm>
                <a:custGeom>
                  <a:avLst/>
                  <a:gdLst>
                    <a:gd name="T0" fmla="*/ 0 w 123"/>
                    <a:gd name="T1" fmla="*/ 340 h 391"/>
                    <a:gd name="T2" fmla="*/ 109 w 123"/>
                    <a:gd name="T3" fmla="*/ 391 h 391"/>
                    <a:gd name="T4" fmla="*/ 123 w 123"/>
                    <a:gd name="T5" fmla="*/ 45 h 391"/>
                    <a:gd name="T6" fmla="*/ 67 w 123"/>
                    <a:gd name="T7" fmla="*/ 0 h 391"/>
                    <a:gd name="T8" fmla="*/ 0 w 123"/>
                    <a:gd name="T9" fmla="*/ 340 h 391"/>
                  </a:gdLst>
                  <a:ahLst/>
                  <a:cxnLst>
                    <a:cxn ang="0">
                      <a:pos x="T0" y="T1"/>
                    </a:cxn>
                    <a:cxn ang="0">
                      <a:pos x="T2" y="T3"/>
                    </a:cxn>
                    <a:cxn ang="0">
                      <a:pos x="T4" y="T5"/>
                    </a:cxn>
                    <a:cxn ang="0">
                      <a:pos x="T6" y="T7"/>
                    </a:cxn>
                    <a:cxn ang="0">
                      <a:pos x="T8" y="T9"/>
                    </a:cxn>
                  </a:cxnLst>
                  <a:rect l="0" t="0" r="r" b="b"/>
                  <a:pathLst>
                    <a:path w="123" h="391">
                      <a:moveTo>
                        <a:pt x="0" y="340"/>
                      </a:moveTo>
                      <a:lnTo>
                        <a:pt x="109" y="391"/>
                      </a:lnTo>
                      <a:lnTo>
                        <a:pt x="123" y="45"/>
                      </a:lnTo>
                      <a:lnTo>
                        <a:pt x="67" y="0"/>
                      </a:lnTo>
                      <a:lnTo>
                        <a:pt x="0" y="34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74" name="Freeform 46">
                  <a:extLst>
                    <a:ext uri="{FF2B5EF4-FFF2-40B4-BE49-F238E27FC236}">
                      <a16:creationId xmlns:a16="http://schemas.microsoft.com/office/drawing/2014/main" id="{88C60845-330F-46A0-9BAB-B502B032355B}"/>
                    </a:ext>
                  </a:extLst>
                </p:cNvPr>
                <p:cNvSpPr>
                  <a:spLocks/>
                </p:cNvSpPr>
                <p:nvPr/>
              </p:nvSpPr>
              <p:spPr bwMode="auto">
                <a:xfrm>
                  <a:off x="13258015" y="4535868"/>
                  <a:ext cx="416310" cy="1323392"/>
                </a:xfrm>
                <a:custGeom>
                  <a:avLst/>
                  <a:gdLst>
                    <a:gd name="T0" fmla="*/ 0 w 123"/>
                    <a:gd name="T1" fmla="*/ 340 h 391"/>
                    <a:gd name="T2" fmla="*/ 109 w 123"/>
                    <a:gd name="T3" fmla="*/ 391 h 391"/>
                    <a:gd name="T4" fmla="*/ 123 w 123"/>
                    <a:gd name="T5" fmla="*/ 45 h 391"/>
                    <a:gd name="T6" fmla="*/ 67 w 123"/>
                    <a:gd name="T7" fmla="*/ 0 h 391"/>
                    <a:gd name="T8" fmla="*/ 0 w 123"/>
                    <a:gd name="T9" fmla="*/ 340 h 391"/>
                  </a:gdLst>
                  <a:ahLst/>
                  <a:cxnLst>
                    <a:cxn ang="0">
                      <a:pos x="T0" y="T1"/>
                    </a:cxn>
                    <a:cxn ang="0">
                      <a:pos x="T2" y="T3"/>
                    </a:cxn>
                    <a:cxn ang="0">
                      <a:pos x="T4" y="T5"/>
                    </a:cxn>
                    <a:cxn ang="0">
                      <a:pos x="T6" y="T7"/>
                    </a:cxn>
                    <a:cxn ang="0">
                      <a:pos x="T8" y="T9"/>
                    </a:cxn>
                  </a:cxnLst>
                  <a:rect l="0" t="0" r="r" b="b"/>
                  <a:pathLst>
                    <a:path w="123" h="391">
                      <a:moveTo>
                        <a:pt x="0" y="340"/>
                      </a:moveTo>
                      <a:lnTo>
                        <a:pt x="109" y="391"/>
                      </a:lnTo>
                      <a:lnTo>
                        <a:pt x="123" y="45"/>
                      </a:lnTo>
                      <a:lnTo>
                        <a:pt x="67" y="0"/>
                      </a:lnTo>
                      <a:lnTo>
                        <a:pt x="0" y="340"/>
                      </a:lnTo>
                      <a:close/>
                    </a:path>
                  </a:pathLst>
                </a:custGeom>
                <a:grpFill/>
                <a:ln w="1111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cxnSp>
              <p:nvCxnSpPr>
                <p:cNvPr id="75" name="Straight Connector 74">
                  <a:extLst>
                    <a:ext uri="{FF2B5EF4-FFF2-40B4-BE49-F238E27FC236}">
                      <a16:creationId xmlns:a16="http://schemas.microsoft.com/office/drawing/2014/main" id="{F4C6535D-19AF-4903-8F76-55487722E445}"/>
                    </a:ext>
                  </a:extLst>
                </p:cNvPr>
                <p:cNvCxnSpPr>
                  <a:stCxn id="57" idx="5"/>
                  <a:endCxn id="59" idx="3"/>
                </p:cNvCxnSpPr>
                <p:nvPr/>
              </p:nvCxnSpPr>
              <p:spPr>
                <a:xfrm flipV="1">
                  <a:off x="12513397" y="2742013"/>
                  <a:ext cx="869849" cy="396001"/>
                </a:xfrm>
                <a:prstGeom prst="line">
                  <a:avLst/>
                </a:prstGeom>
                <a:grpFill/>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0E32D0DC-040A-4C72-90E8-8B2068AE76C8}"/>
                    </a:ext>
                  </a:extLst>
                </p:cNvPr>
                <p:cNvCxnSpPr>
                  <a:endCxn id="67" idx="1"/>
                </p:cNvCxnSpPr>
                <p:nvPr/>
              </p:nvCxnSpPr>
              <p:spPr>
                <a:xfrm>
                  <a:off x="13769096" y="3036474"/>
                  <a:ext cx="274152" cy="409539"/>
                </a:xfrm>
                <a:prstGeom prst="line">
                  <a:avLst/>
                </a:prstGeom>
                <a:grpFill/>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77" name="Rectangle 180">
                  <a:extLst>
                    <a:ext uri="{FF2B5EF4-FFF2-40B4-BE49-F238E27FC236}">
                      <a16:creationId xmlns:a16="http://schemas.microsoft.com/office/drawing/2014/main" id="{60BE850B-B34A-43E2-8A76-128C5CEBEA3B}"/>
                    </a:ext>
                  </a:extLst>
                </p:cNvPr>
                <p:cNvSpPr/>
                <p:nvPr/>
              </p:nvSpPr>
              <p:spPr>
                <a:xfrm>
                  <a:off x="14492221" y="2015922"/>
                  <a:ext cx="395813" cy="1226004"/>
                </a:xfrm>
                <a:custGeom>
                  <a:avLst/>
                  <a:gdLst>
                    <a:gd name="connsiteX0" fmla="*/ 0 w 302481"/>
                    <a:gd name="connsiteY0" fmla="*/ 0 h 228600"/>
                    <a:gd name="connsiteX1" fmla="*/ 302481 w 302481"/>
                    <a:gd name="connsiteY1" fmla="*/ 0 h 228600"/>
                    <a:gd name="connsiteX2" fmla="*/ 302481 w 302481"/>
                    <a:gd name="connsiteY2" fmla="*/ 228600 h 228600"/>
                    <a:gd name="connsiteX3" fmla="*/ 0 w 302481"/>
                    <a:gd name="connsiteY3" fmla="*/ 228600 h 228600"/>
                    <a:gd name="connsiteX4" fmla="*/ 0 w 302481"/>
                    <a:gd name="connsiteY4" fmla="*/ 0 h 228600"/>
                    <a:gd name="connsiteX0" fmla="*/ 0 w 302481"/>
                    <a:gd name="connsiteY0" fmla="*/ 285750 h 514350"/>
                    <a:gd name="connsiteX1" fmla="*/ 194531 w 302481"/>
                    <a:gd name="connsiteY1" fmla="*/ 0 h 514350"/>
                    <a:gd name="connsiteX2" fmla="*/ 302481 w 302481"/>
                    <a:gd name="connsiteY2" fmla="*/ 514350 h 514350"/>
                    <a:gd name="connsiteX3" fmla="*/ 0 w 302481"/>
                    <a:gd name="connsiteY3" fmla="*/ 514350 h 514350"/>
                    <a:gd name="connsiteX4" fmla="*/ 0 w 302481"/>
                    <a:gd name="connsiteY4" fmla="*/ 285750 h 514350"/>
                    <a:gd name="connsiteX0" fmla="*/ 0 w 310418"/>
                    <a:gd name="connsiteY0" fmla="*/ 271462 h 514350"/>
                    <a:gd name="connsiteX1" fmla="*/ 202468 w 310418"/>
                    <a:gd name="connsiteY1" fmla="*/ 0 h 514350"/>
                    <a:gd name="connsiteX2" fmla="*/ 310418 w 310418"/>
                    <a:gd name="connsiteY2" fmla="*/ 514350 h 514350"/>
                    <a:gd name="connsiteX3" fmla="*/ 7937 w 310418"/>
                    <a:gd name="connsiteY3" fmla="*/ 514350 h 514350"/>
                    <a:gd name="connsiteX4" fmla="*/ 0 w 310418"/>
                    <a:gd name="connsiteY4" fmla="*/ 271462 h 514350"/>
                    <a:gd name="connsiteX0" fmla="*/ 100013 w 410431"/>
                    <a:gd name="connsiteY0" fmla="*/ 271462 h 514350"/>
                    <a:gd name="connsiteX1" fmla="*/ 302481 w 410431"/>
                    <a:gd name="connsiteY1" fmla="*/ 0 h 514350"/>
                    <a:gd name="connsiteX2" fmla="*/ 410431 w 410431"/>
                    <a:gd name="connsiteY2" fmla="*/ 514350 h 514350"/>
                    <a:gd name="connsiteX3" fmla="*/ 0 w 410431"/>
                    <a:gd name="connsiteY3" fmla="*/ 469900 h 514350"/>
                    <a:gd name="connsiteX4" fmla="*/ 100013 w 410431"/>
                    <a:gd name="connsiteY4" fmla="*/ 271462 h 514350"/>
                    <a:gd name="connsiteX0" fmla="*/ 107095 w 309563"/>
                    <a:gd name="connsiteY0" fmla="*/ 271462 h 958850"/>
                    <a:gd name="connsiteX1" fmla="*/ 309563 w 309563"/>
                    <a:gd name="connsiteY1" fmla="*/ 0 h 958850"/>
                    <a:gd name="connsiteX2" fmla="*/ 0 w 309563"/>
                    <a:gd name="connsiteY2" fmla="*/ 958850 h 958850"/>
                    <a:gd name="connsiteX3" fmla="*/ 7082 w 309563"/>
                    <a:gd name="connsiteY3" fmla="*/ 469900 h 958850"/>
                    <a:gd name="connsiteX4" fmla="*/ 107095 w 309563"/>
                    <a:gd name="connsiteY4" fmla="*/ 271462 h 958850"/>
                    <a:gd name="connsiteX0" fmla="*/ 111858 w 309563"/>
                    <a:gd name="connsiteY0" fmla="*/ 273050 h 958850"/>
                    <a:gd name="connsiteX1" fmla="*/ 309563 w 309563"/>
                    <a:gd name="connsiteY1" fmla="*/ 0 h 958850"/>
                    <a:gd name="connsiteX2" fmla="*/ 0 w 309563"/>
                    <a:gd name="connsiteY2" fmla="*/ 958850 h 958850"/>
                    <a:gd name="connsiteX3" fmla="*/ 7082 w 309563"/>
                    <a:gd name="connsiteY3" fmla="*/ 469900 h 958850"/>
                    <a:gd name="connsiteX4" fmla="*/ 111858 w 309563"/>
                    <a:gd name="connsiteY4" fmla="*/ 273050 h 958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3" h="958850">
                      <a:moveTo>
                        <a:pt x="111858" y="273050"/>
                      </a:moveTo>
                      <a:lnTo>
                        <a:pt x="309563" y="0"/>
                      </a:lnTo>
                      <a:lnTo>
                        <a:pt x="0" y="958850"/>
                      </a:lnTo>
                      <a:lnTo>
                        <a:pt x="7082" y="469900"/>
                      </a:lnTo>
                      <a:lnTo>
                        <a:pt x="111858" y="273050"/>
                      </a:ln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Open Sans"/>
                    <a:ea typeface="Microsoft YaHei"/>
                    <a:cs typeface="+mn-cs"/>
                  </a:endParaRPr>
                </a:p>
              </p:txBody>
            </p:sp>
            <p:sp>
              <p:nvSpPr>
                <p:cNvPr id="78" name="Isosceles Triangle 181">
                  <a:extLst>
                    <a:ext uri="{FF2B5EF4-FFF2-40B4-BE49-F238E27FC236}">
                      <a16:creationId xmlns:a16="http://schemas.microsoft.com/office/drawing/2014/main" id="{9364C1EC-9FB8-4C07-9CCE-4A40BF956728}"/>
                    </a:ext>
                  </a:extLst>
                </p:cNvPr>
                <p:cNvSpPr/>
                <p:nvPr/>
              </p:nvSpPr>
              <p:spPr>
                <a:xfrm>
                  <a:off x="14067607" y="3758936"/>
                  <a:ext cx="172299" cy="250073"/>
                </a:xfrm>
                <a:custGeom>
                  <a:avLst/>
                  <a:gdLst>
                    <a:gd name="connsiteX0" fmla="*/ 0 w 170738"/>
                    <a:gd name="connsiteY0" fmla="*/ 161714 h 161714"/>
                    <a:gd name="connsiteX1" fmla="*/ 85369 w 170738"/>
                    <a:gd name="connsiteY1" fmla="*/ 0 h 161714"/>
                    <a:gd name="connsiteX2" fmla="*/ 170738 w 170738"/>
                    <a:gd name="connsiteY2" fmla="*/ 161714 h 161714"/>
                    <a:gd name="connsiteX3" fmla="*/ 0 w 170738"/>
                    <a:gd name="connsiteY3" fmla="*/ 161714 h 161714"/>
                    <a:gd name="connsiteX0" fmla="*/ 0 w 170738"/>
                    <a:gd name="connsiteY0" fmla="*/ 168064 h 168064"/>
                    <a:gd name="connsiteX1" fmla="*/ 72669 w 170738"/>
                    <a:gd name="connsiteY1" fmla="*/ 0 h 168064"/>
                    <a:gd name="connsiteX2" fmla="*/ 170738 w 170738"/>
                    <a:gd name="connsiteY2" fmla="*/ 168064 h 168064"/>
                    <a:gd name="connsiteX3" fmla="*/ 0 w 170738"/>
                    <a:gd name="connsiteY3" fmla="*/ 168064 h 168064"/>
                    <a:gd name="connsiteX0" fmla="*/ 0 w 153804"/>
                    <a:gd name="connsiteY0" fmla="*/ 168064 h 168064"/>
                    <a:gd name="connsiteX1" fmla="*/ 72669 w 153804"/>
                    <a:gd name="connsiteY1" fmla="*/ 0 h 168064"/>
                    <a:gd name="connsiteX2" fmla="*/ 153804 w 153804"/>
                    <a:gd name="connsiteY2" fmla="*/ 91864 h 168064"/>
                    <a:gd name="connsiteX3" fmla="*/ 0 w 153804"/>
                    <a:gd name="connsiteY3" fmla="*/ 168064 h 168064"/>
                    <a:gd name="connsiteX0" fmla="*/ 0 w 134754"/>
                    <a:gd name="connsiteY0" fmla="*/ 191348 h 191348"/>
                    <a:gd name="connsiteX1" fmla="*/ 53619 w 134754"/>
                    <a:gd name="connsiteY1" fmla="*/ 0 h 191348"/>
                    <a:gd name="connsiteX2" fmla="*/ 134754 w 134754"/>
                    <a:gd name="connsiteY2" fmla="*/ 91864 h 191348"/>
                    <a:gd name="connsiteX3" fmla="*/ 0 w 134754"/>
                    <a:gd name="connsiteY3" fmla="*/ 191348 h 191348"/>
                    <a:gd name="connsiteX0" fmla="*/ 0 w 134754"/>
                    <a:gd name="connsiteY0" fmla="*/ 195581 h 195581"/>
                    <a:gd name="connsiteX1" fmla="*/ 47269 w 134754"/>
                    <a:gd name="connsiteY1" fmla="*/ 0 h 195581"/>
                    <a:gd name="connsiteX2" fmla="*/ 134754 w 134754"/>
                    <a:gd name="connsiteY2" fmla="*/ 96097 h 195581"/>
                    <a:gd name="connsiteX3" fmla="*/ 0 w 134754"/>
                    <a:gd name="connsiteY3" fmla="*/ 195581 h 195581"/>
                  </a:gdLst>
                  <a:ahLst/>
                  <a:cxnLst>
                    <a:cxn ang="0">
                      <a:pos x="connsiteX0" y="connsiteY0"/>
                    </a:cxn>
                    <a:cxn ang="0">
                      <a:pos x="connsiteX1" y="connsiteY1"/>
                    </a:cxn>
                    <a:cxn ang="0">
                      <a:pos x="connsiteX2" y="connsiteY2"/>
                    </a:cxn>
                    <a:cxn ang="0">
                      <a:pos x="connsiteX3" y="connsiteY3"/>
                    </a:cxn>
                  </a:cxnLst>
                  <a:rect l="l" t="t" r="r" b="b"/>
                  <a:pathLst>
                    <a:path w="134754" h="195581">
                      <a:moveTo>
                        <a:pt x="0" y="195581"/>
                      </a:moveTo>
                      <a:lnTo>
                        <a:pt x="47269" y="0"/>
                      </a:lnTo>
                      <a:lnTo>
                        <a:pt x="134754" y="96097"/>
                      </a:lnTo>
                      <a:lnTo>
                        <a:pt x="0" y="195581"/>
                      </a:ln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Open Sans"/>
                    <a:ea typeface="Microsoft YaHei"/>
                    <a:cs typeface="+mn-cs"/>
                  </a:endParaRPr>
                </a:p>
              </p:txBody>
            </p:sp>
          </p:grpSp>
        </p:grpSp>
        <p:sp>
          <p:nvSpPr>
            <p:cNvPr id="81" name="TextBox 80">
              <a:extLst>
                <a:ext uri="{FF2B5EF4-FFF2-40B4-BE49-F238E27FC236}">
                  <a16:creationId xmlns:a16="http://schemas.microsoft.com/office/drawing/2014/main" id="{A1E213A4-FC3D-494F-BD5D-C84A81DBECA7}"/>
                </a:ext>
              </a:extLst>
            </p:cNvPr>
            <p:cNvSpPr txBox="1"/>
            <p:nvPr/>
          </p:nvSpPr>
          <p:spPr>
            <a:xfrm>
              <a:off x="8473091" y="5208436"/>
              <a:ext cx="3149257" cy="600164"/>
            </a:xfrm>
            <a:prstGeom prst="rect">
              <a:avLst/>
            </a:prstGeom>
            <a:solidFill>
              <a:schemeClr val="bg1"/>
            </a:solidFill>
          </p:spPr>
          <p:txBody>
            <a:bodyPr wrap="square" rtlCol="0">
              <a:spAutoFit/>
            </a:bodyPr>
            <a:lstStyle/>
            <a:p>
              <a:pPr marL="0" marR="0" lvl="0" indent="0" algn="ctr" defTabSz="1219170" rtl="0" eaLnBrk="1" fontAlgn="auto" latinLnBrk="0" hangingPunct="1">
                <a:lnSpc>
                  <a:spcPct val="100000"/>
                </a:lnSpc>
                <a:spcBef>
                  <a:spcPts val="0"/>
                </a:spcBef>
                <a:spcAft>
                  <a:spcPts val="100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nergized stakeholders </a:t>
              </a:r>
              <a:r>
                <a:rPr kumimoji="0" lang="en-US" sz="11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ho identify the gaps to close in order to achieve the vision and corresponding outcomes</a:t>
              </a:r>
            </a:p>
          </p:txBody>
        </p:sp>
      </p:grpSp>
      <p:grpSp>
        <p:nvGrpSpPr>
          <p:cNvPr id="88" name="Group 87">
            <a:extLst>
              <a:ext uri="{FF2B5EF4-FFF2-40B4-BE49-F238E27FC236}">
                <a16:creationId xmlns:a16="http://schemas.microsoft.com/office/drawing/2014/main" id="{AD018BF2-2492-4AED-B376-DB1852A4AD9B}"/>
              </a:ext>
            </a:extLst>
          </p:cNvPr>
          <p:cNvGrpSpPr/>
          <p:nvPr/>
        </p:nvGrpSpPr>
        <p:grpSpPr>
          <a:xfrm>
            <a:off x="4660301" y="1804319"/>
            <a:ext cx="3353214" cy="4004281"/>
            <a:chOff x="4405801" y="1804319"/>
            <a:chExt cx="3353214" cy="4004281"/>
          </a:xfrm>
        </p:grpSpPr>
        <p:cxnSp>
          <p:nvCxnSpPr>
            <p:cNvPr id="7" name="Straight Connector 6">
              <a:extLst>
                <a:ext uri="{FF2B5EF4-FFF2-40B4-BE49-F238E27FC236}">
                  <a16:creationId xmlns:a16="http://schemas.microsoft.com/office/drawing/2014/main" id="{4E817C83-BDEC-4C03-BAD1-FC1FA2B47FA9}"/>
                </a:ext>
              </a:extLst>
            </p:cNvPr>
            <p:cNvCxnSpPr>
              <a:cxnSpLocks/>
              <a:stCxn id="21" idx="4"/>
              <a:endCxn id="82" idx="0"/>
            </p:cNvCxnSpPr>
            <p:nvPr/>
          </p:nvCxnSpPr>
          <p:spPr>
            <a:xfrm flipH="1">
              <a:off x="6082408" y="3136173"/>
              <a:ext cx="13593" cy="2072263"/>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755330E3-6299-427C-9FDD-D3F98349D377}"/>
                </a:ext>
              </a:extLst>
            </p:cNvPr>
            <p:cNvSpPr txBox="1"/>
            <p:nvPr/>
          </p:nvSpPr>
          <p:spPr>
            <a:xfrm>
              <a:off x="4473658" y="3497211"/>
              <a:ext cx="3244684" cy="430887"/>
            </a:xfrm>
            <a:prstGeom prst="rect">
              <a:avLst/>
            </a:prstGeom>
            <a:solidFill>
              <a:schemeClr val="bg1"/>
            </a:solidFill>
          </p:spPr>
          <p:txBody>
            <a:bodyPr wrap="square" rtlCol="0">
              <a:spAutoFit/>
            </a:bodyPr>
            <a:lstStyle/>
            <a:p>
              <a:pPr marL="0" marR="0" lvl="0" indent="0" algn="ctr" defTabSz="1219170" rtl="0" eaLnBrk="1" fontAlgn="auto" latinLnBrk="0" hangingPunct="1">
                <a:lnSpc>
                  <a:spcPct val="100000"/>
                </a:lnSpc>
                <a:spcBef>
                  <a:spcPts val="0"/>
                </a:spcBef>
                <a:spcAft>
                  <a:spcPts val="10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e will socialize the refreshed vision and end state with Workstream Leads</a:t>
              </a:r>
            </a:p>
          </p:txBody>
        </p:sp>
        <p:sp>
          <p:nvSpPr>
            <p:cNvPr id="19" name="TextBox 18">
              <a:extLst>
                <a:ext uri="{FF2B5EF4-FFF2-40B4-BE49-F238E27FC236}">
                  <a16:creationId xmlns:a16="http://schemas.microsoft.com/office/drawing/2014/main" id="{30499746-EB5F-4954-AE59-CD7E36227F59}"/>
                </a:ext>
              </a:extLst>
            </p:cNvPr>
            <p:cNvSpPr txBox="1"/>
            <p:nvPr/>
          </p:nvSpPr>
          <p:spPr>
            <a:xfrm>
              <a:off x="4830923" y="1804319"/>
              <a:ext cx="2530154" cy="307777"/>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10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orkstream Alignment</a:t>
              </a:r>
            </a:p>
          </p:txBody>
        </p:sp>
        <p:grpSp>
          <p:nvGrpSpPr>
            <p:cNvPr id="20" name="Group 19">
              <a:extLst>
                <a:ext uri="{FF2B5EF4-FFF2-40B4-BE49-F238E27FC236}">
                  <a16:creationId xmlns:a16="http://schemas.microsoft.com/office/drawing/2014/main" id="{3947B31B-DCA9-4370-A2C2-580022BC0741}"/>
                </a:ext>
              </a:extLst>
            </p:cNvPr>
            <p:cNvGrpSpPr/>
            <p:nvPr/>
          </p:nvGrpSpPr>
          <p:grpSpPr>
            <a:xfrm>
              <a:off x="5774345" y="2496093"/>
              <a:ext cx="643313" cy="640080"/>
              <a:chOff x="5772755" y="2360151"/>
              <a:chExt cx="643313" cy="640080"/>
            </a:xfrm>
          </p:grpSpPr>
          <p:sp>
            <p:nvSpPr>
              <p:cNvPr id="21" name="Oval 20">
                <a:extLst>
                  <a:ext uri="{FF2B5EF4-FFF2-40B4-BE49-F238E27FC236}">
                    <a16:creationId xmlns:a16="http://schemas.microsoft.com/office/drawing/2014/main" id="{12937B50-65F9-4F00-946E-6297A833A827}"/>
                  </a:ext>
                </a:extLst>
              </p:cNvPr>
              <p:cNvSpPr/>
              <p:nvPr/>
            </p:nvSpPr>
            <p:spPr>
              <a:xfrm>
                <a:off x="5774371" y="2360151"/>
                <a:ext cx="640080" cy="64008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Open Sans"/>
                  <a:ea typeface="Microsoft YaHei"/>
                  <a:cs typeface="+mn-cs"/>
                </a:endParaRPr>
              </a:p>
            </p:txBody>
          </p:sp>
          <p:grpSp>
            <p:nvGrpSpPr>
              <p:cNvPr id="22" name="Group 21">
                <a:extLst>
                  <a:ext uri="{FF2B5EF4-FFF2-40B4-BE49-F238E27FC236}">
                    <a16:creationId xmlns:a16="http://schemas.microsoft.com/office/drawing/2014/main" id="{3E30D5B2-B943-4E9F-B7D0-B52B38F60C11}"/>
                  </a:ext>
                </a:extLst>
              </p:cNvPr>
              <p:cNvGrpSpPr>
                <a:grpSpLocks noChangeAspect="1"/>
              </p:cNvGrpSpPr>
              <p:nvPr/>
            </p:nvGrpSpPr>
            <p:grpSpPr>
              <a:xfrm>
                <a:off x="5772755" y="2360151"/>
                <a:ext cx="643313" cy="640080"/>
                <a:chOff x="5672138" y="4513263"/>
                <a:chExt cx="1579562" cy="1571625"/>
              </a:xfrm>
              <a:solidFill>
                <a:schemeClr val="accent1"/>
              </a:solidFill>
            </p:grpSpPr>
            <p:sp>
              <p:nvSpPr>
                <p:cNvPr id="23" name="Rectangle 5">
                  <a:extLst>
                    <a:ext uri="{FF2B5EF4-FFF2-40B4-BE49-F238E27FC236}">
                      <a16:creationId xmlns:a16="http://schemas.microsoft.com/office/drawing/2014/main" id="{456E4256-372F-4467-8A6D-8F0C970656B7}"/>
                    </a:ext>
                  </a:extLst>
                </p:cNvPr>
                <p:cNvSpPr>
                  <a:spLocks noChangeArrowheads="1"/>
                </p:cNvSpPr>
                <p:nvPr/>
              </p:nvSpPr>
              <p:spPr bwMode="auto">
                <a:xfrm>
                  <a:off x="6067425" y="5135563"/>
                  <a:ext cx="131762" cy="196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24" name="Oval 6">
                  <a:extLst>
                    <a:ext uri="{FF2B5EF4-FFF2-40B4-BE49-F238E27FC236}">
                      <a16:creationId xmlns:a16="http://schemas.microsoft.com/office/drawing/2014/main" id="{CADE9029-CFF1-4981-8AD7-6D21AF87890A}"/>
                    </a:ext>
                  </a:extLst>
                </p:cNvPr>
                <p:cNvSpPr>
                  <a:spLocks noChangeArrowheads="1"/>
                </p:cNvSpPr>
                <p:nvPr/>
              </p:nvSpPr>
              <p:spPr bwMode="auto">
                <a:xfrm>
                  <a:off x="6100763" y="4873626"/>
                  <a:ext cx="65087"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25" name="Rectangle 7">
                  <a:extLst>
                    <a:ext uri="{FF2B5EF4-FFF2-40B4-BE49-F238E27FC236}">
                      <a16:creationId xmlns:a16="http://schemas.microsoft.com/office/drawing/2014/main" id="{AF30521C-15DB-45E6-86FF-0A02D4FF9271}"/>
                    </a:ext>
                  </a:extLst>
                </p:cNvPr>
                <p:cNvSpPr>
                  <a:spLocks noChangeArrowheads="1"/>
                </p:cNvSpPr>
                <p:nvPr/>
              </p:nvSpPr>
              <p:spPr bwMode="auto">
                <a:xfrm>
                  <a:off x="6396038" y="5135563"/>
                  <a:ext cx="131762" cy="196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26" name="Oval 8">
                  <a:extLst>
                    <a:ext uri="{FF2B5EF4-FFF2-40B4-BE49-F238E27FC236}">
                      <a16:creationId xmlns:a16="http://schemas.microsoft.com/office/drawing/2014/main" id="{C8DE2004-3C71-45A0-A5A4-60C4AD9C352E}"/>
                    </a:ext>
                  </a:extLst>
                </p:cNvPr>
                <p:cNvSpPr>
                  <a:spLocks noChangeArrowheads="1"/>
                </p:cNvSpPr>
                <p:nvPr/>
              </p:nvSpPr>
              <p:spPr bwMode="auto">
                <a:xfrm>
                  <a:off x="6429375" y="4873626"/>
                  <a:ext cx="65087"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27" name="Oval 9">
                  <a:extLst>
                    <a:ext uri="{FF2B5EF4-FFF2-40B4-BE49-F238E27FC236}">
                      <a16:creationId xmlns:a16="http://schemas.microsoft.com/office/drawing/2014/main" id="{BB482DC4-592C-4ADE-BE54-B45D21238C8C}"/>
                    </a:ext>
                  </a:extLst>
                </p:cNvPr>
                <p:cNvSpPr>
                  <a:spLocks noChangeArrowheads="1"/>
                </p:cNvSpPr>
                <p:nvPr/>
              </p:nvSpPr>
              <p:spPr bwMode="auto">
                <a:xfrm>
                  <a:off x="6757988" y="4873626"/>
                  <a:ext cx="66675"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28" name="Freeform 10">
                  <a:extLst>
                    <a:ext uri="{FF2B5EF4-FFF2-40B4-BE49-F238E27FC236}">
                      <a16:creationId xmlns:a16="http://schemas.microsoft.com/office/drawing/2014/main" id="{903AC0EC-A02B-4C25-8981-B5FD0CA68EA4}"/>
                    </a:ext>
                  </a:extLst>
                </p:cNvPr>
                <p:cNvSpPr>
                  <a:spLocks noEditPoints="1"/>
                </p:cNvSpPr>
                <p:nvPr/>
              </p:nvSpPr>
              <p:spPr bwMode="auto">
                <a:xfrm>
                  <a:off x="5672138" y="4513263"/>
                  <a:ext cx="1579562" cy="1571625"/>
                </a:xfrm>
                <a:custGeom>
                  <a:avLst/>
                  <a:gdLst>
                    <a:gd name="T0" fmla="*/ 0 w 384"/>
                    <a:gd name="T1" fmla="*/ 192 h 384"/>
                    <a:gd name="T2" fmla="*/ 384 w 384"/>
                    <a:gd name="T3" fmla="*/ 192 h 384"/>
                    <a:gd name="T4" fmla="*/ 272 w 384"/>
                    <a:gd name="T5" fmla="*/ 72 h 384"/>
                    <a:gd name="T6" fmla="*/ 272 w 384"/>
                    <a:gd name="T7" fmla="*/ 120 h 384"/>
                    <a:gd name="T8" fmla="*/ 272 w 384"/>
                    <a:gd name="T9" fmla="*/ 72 h 384"/>
                    <a:gd name="T10" fmla="*/ 216 w 384"/>
                    <a:gd name="T11" fmla="*/ 96 h 384"/>
                    <a:gd name="T12" fmla="*/ 168 w 384"/>
                    <a:gd name="T13" fmla="*/ 96 h 384"/>
                    <a:gd name="T14" fmla="*/ 112 w 384"/>
                    <a:gd name="T15" fmla="*/ 72 h 384"/>
                    <a:gd name="T16" fmla="*/ 112 w 384"/>
                    <a:gd name="T17" fmla="*/ 120 h 384"/>
                    <a:gd name="T18" fmla="*/ 112 w 384"/>
                    <a:gd name="T19" fmla="*/ 72 h 384"/>
                    <a:gd name="T20" fmla="*/ 136 w 384"/>
                    <a:gd name="T21" fmla="*/ 216 h 384"/>
                    <a:gd name="T22" fmla="*/ 128 w 384"/>
                    <a:gd name="T23" fmla="*/ 296 h 384"/>
                    <a:gd name="T24" fmla="*/ 120 w 384"/>
                    <a:gd name="T25" fmla="*/ 216 h 384"/>
                    <a:gd name="T26" fmla="*/ 104 w 384"/>
                    <a:gd name="T27" fmla="*/ 288 h 384"/>
                    <a:gd name="T28" fmla="*/ 88 w 384"/>
                    <a:gd name="T29" fmla="*/ 288 h 384"/>
                    <a:gd name="T30" fmla="*/ 80 w 384"/>
                    <a:gd name="T31" fmla="*/ 208 h 384"/>
                    <a:gd name="T32" fmla="*/ 88 w 384"/>
                    <a:gd name="T33" fmla="*/ 136 h 384"/>
                    <a:gd name="T34" fmla="*/ 144 w 384"/>
                    <a:gd name="T35" fmla="*/ 144 h 384"/>
                    <a:gd name="T36" fmla="*/ 224 w 384"/>
                    <a:gd name="T37" fmla="*/ 208 h 384"/>
                    <a:gd name="T38" fmla="*/ 216 w 384"/>
                    <a:gd name="T39" fmla="*/ 288 h 384"/>
                    <a:gd name="T40" fmla="*/ 200 w 384"/>
                    <a:gd name="T41" fmla="*/ 288 h 384"/>
                    <a:gd name="T42" fmla="*/ 184 w 384"/>
                    <a:gd name="T43" fmla="*/ 216 h 384"/>
                    <a:gd name="T44" fmla="*/ 176 w 384"/>
                    <a:gd name="T45" fmla="*/ 296 h 384"/>
                    <a:gd name="T46" fmla="*/ 168 w 384"/>
                    <a:gd name="T47" fmla="*/ 216 h 384"/>
                    <a:gd name="T48" fmla="*/ 160 w 384"/>
                    <a:gd name="T49" fmla="*/ 144 h 384"/>
                    <a:gd name="T50" fmla="*/ 216 w 384"/>
                    <a:gd name="T51" fmla="*/ 136 h 384"/>
                    <a:gd name="T52" fmla="*/ 224 w 384"/>
                    <a:gd name="T53" fmla="*/ 208 h 384"/>
                    <a:gd name="T54" fmla="*/ 296 w 384"/>
                    <a:gd name="T55" fmla="*/ 232 h 384"/>
                    <a:gd name="T56" fmla="*/ 288 w 384"/>
                    <a:gd name="T57" fmla="*/ 296 h 384"/>
                    <a:gd name="T58" fmla="*/ 280 w 384"/>
                    <a:gd name="T59" fmla="*/ 232 h 384"/>
                    <a:gd name="T60" fmla="*/ 264 w 384"/>
                    <a:gd name="T61" fmla="*/ 288 h 384"/>
                    <a:gd name="T62" fmla="*/ 248 w 384"/>
                    <a:gd name="T63" fmla="*/ 288 h 384"/>
                    <a:gd name="T64" fmla="*/ 241 w 384"/>
                    <a:gd name="T65" fmla="*/ 229 h 384"/>
                    <a:gd name="T66" fmla="*/ 256 w 384"/>
                    <a:gd name="T67" fmla="*/ 142 h 384"/>
                    <a:gd name="T68" fmla="*/ 280 w 384"/>
                    <a:gd name="T69" fmla="*/ 136 h 384"/>
                    <a:gd name="T70" fmla="*/ 304 w 384"/>
                    <a:gd name="T71" fmla="*/ 22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272" y="72"/>
                      </a:moveTo>
                      <a:cubicBezTo>
                        <a:pt x="285" y="72"/>
                        <a:pt x="296" y="82"/>
                        <a:pt x="296" y="96"/>
                      </a:cubicBezTo>
                      <a:cubicBezTo>
                        <a:pt x="296" y="109"/>
                        <a:pt x="285" y="120"/>
                        <a:pt x="272" y="120"/>
                      </a:cubicBezTo>
                      <a:cubicBezTo>
                        <a:pt x="258" y="120"/>
                        <a:pt x="248" y="109"/>
                        <a:pt x="248" y="96"/>
                      </a:cubicBezTo>
                      <a:cubicBezTo>
                        <a:pt x="248" y="82"/>
                        <a:pt x="258" y="72"/>
                        <a:pt x="272" y="72"/>
                      </a:cubicBezTo>
                      <a:close/>
                      <a:moveTo>
                        <a:pt x="192" y="72"/>
                      </a:moveTo>
                      <a:cubicBezTo>
                        <a:pt x="205" y="72"/>
                        <a:pt x="216" y="82"/>
                        <a:pt x="216" y="96"/>
                      </a:cubicBezTo>
                      <a:cubicBezTo>
                        <a:pt x="216" y="109"/>
                        <a:pt x="205" y="120"/>
                        <a:pt x="192" y="120"/>
                      </a:cubicBezTo>
                      <a:cubicBezTo>
                        <a:pt x="178" y="120"/>
                        <a:pt x="168" y="109"/>
                        <a:pt x="168" y="96"/>
                      </a:cubicBezTo>
                      <a:cubicBezTo>
                        <a:pt x="168" y="82"/>
                        <a:pt x="178" y="72"/>
                        <a:pt x="192" y="72"/>
                      </a:cubicBezTo>
                      <a:close/>
                      <a:moveTo>
                        <a:pt x="112" y="72"/>
                      </a:moveTo>
                      <a:cubicBezTo>
                        <a:pt x="125" y="72"/>
                        <a:pt x="136" y="82"/>
                        <a:pt x="136" y="96"/>
                      </a:cubicBezTo>
                      <a:cubicBezTo>
                        <a:pt x="136" y="109"/>
                        <a:pt x="125" y="120"/>
                        <a:pt x="112" y="120"/>
                      </a:cubicBezTo>
                      <a:cubicBezTo>
                        <a:pt x="98" y="120"/>
                        <a:pt x="88" y="109"/>
                        <a:pt x="88" y="96"/>
                      </a:cubicBezTo>
                      <a:cubicBezTo>
                        <a:pt x="88" y="82"/>
                        <a:pt x="98" y="72"/>
                        <a:pt x="112" y="72"/>
                      </a:cubicBezTo>
                      <a:close/>
                      <a:moveTo>
                        <a:pt x="144" y="208"/>
                      </a:moveTo>
                      <a:cubicBezTo>
                        <a:pt x="144" y="212"/>
                        <a:pt x="140" y="216"/>
                        <a:pt x="136" y="216"/>
                      </a:cubicBezTo>
                      <a:cubicBezTo>
                        <a:pt x="136" y="288"/>
                        <a:pt x="136" y="288"/>
                        <a:pt x="136" y="288"/>
                      </a:cubicBezTo>
                      <a:cubicBezTo>
                        <a:pt x="136" y="292"/>
                        <a:pt x="132" y="296"/>
                        <a:pt x="128" y="296"/>
                      </a:cubicBezTo>
                      <a:cubicBezTo>
                        <a:pt x="123" y="296"/>
                        <a:pt x="120" y="292"/>
                        <a:pt x="120" y="288"/>
                      </a:cubicBezTo>
                      <a:cubicBezTo>
                        <a:pt x="120" y="216"/>
                        <a:pt x="120" y="216"/>
                        <a:pt x="120" y="216"/>
                      </a:cubicBezTo>
                      <a:cubicBezTo>
                        <a:pt x="104" y="216"/>
                        <a:pt x="104" y="216"/>
                        <a:pt x="104" y="216"/>
                      </a:cubicBezTo>
                      <a:cubicBezTo>
                        <a:pt x="104" y="288"/>
                        <a:pt x="104" y="288"/>
                        <a:pt x="104" y="288"/>
                      </a:cubicBezTo>
                      <a:cubicBezTo>
                        <a:pt x="104" y="292"/>
                        <a:pt x="100" y="296"/>
                        <a:pt x="96" y="296"/>
                      </a:cubicBezTo>
                      <a:cubicBezTo>
                        <a:pt x="91" y="296"/>
                        <a:pt x="88" y="292"/>
                        <a:pt x="88" y="288"/>
                      </a:cubicBezTo>
                      <a:cubicBezTo>
                        <a:pt x="88" y="216"/>
                        <a:pt x="88" y="216"/>
                        <a:pt x="88" y="216"/>
                      </a:cubicBezTo>
                      <a:cubicBezTo>
                        <a:pt x="84" y="216"/>
                        <a:pt x="80" y="212"/>
                        <a:pt x="80" y="208"/>
                      </a:cubicBezTo>
                      <a:cubicBezTo>
                        <a:pt x="80" y="144"/>
                        <a:pt x="80" y="144"/>
                        <a:pt x="80" y="144"/>
                      </a:cubicBezTo>
                      <a:cubicBezTo>
                        <a:pt x="80" y="139"/>
                        <a:pt x="83" y="136"/>
                        <a:pt x="88" y="136"/>
                      </a:cubicBezTo>
                      <a:cubicBezTo>
                        <a:pt x="136" y="136"/>
                        <a:pt x="136" y="136"/>
                        <a:pt x="136" y="136"/>
                      </a:cubicBezTo>
                      <a:cubicBezTo>
                        <a:pt x="140" y="136"/>
                        <a:pt x="144" y="139"/>
                        <a:pt x="144" y="144"/>
                      </a:cubicBezTo>
                      <a:lnTo>
                        <a:pt x="144" y="208"/>
                      </a:lnTo>
                      <a:close/>
                      <a:moveTo>
                        <a:pt x="224" y="208"/>
                      </a:moveTo>
                      <a:cubicBezTo>
                        <a:pt x="224" y="212"/>
                        <a:pt x="224" y="216"/>
                        <a:pt x="216" y="216"/>
                      </a:cubicBezTo>
                      <a:cubicBezTo>
                        <a:pt x="216" y="288"/>
                        <a:pt x="216" y="288"/>
                        <a:pt x="216" y="288"/>
                      </a:cubicBezTo>
                      <a:cubicBezTo>
                        <a:pt x="216" y="292"/>
                        <a:pt x="212" y="296"/>
                        <a:pt x="208" y="296"/>
                      </a:cubicBezTo>
                      <a:cubicBezTo>
                        <a:pt x="203" y="296"/>
                        <a:pt x="200" y="292"/>
                        <a:pt x="200" y="288"/>
                      </a:cubicBezTo>
                      <a:cubicBezTo>
                        <a:pt x="200" y="216"/>
                        <a:pt x="200" y="216"/>
                        <a:pt x="200" y="216"/>
                      </a:cubicBezTo>
                      <a:cubicBezTo>
                        <a:pt x="184" y="216"/>
                        <a:pt x="184" y="216"/>
                        <a:pt x="184" y="216"/>
                      </a:cubicBezTo>
                      <a:cubicBezTo>
                        <a:pt x="184" y="288"/>
                        <a:pt x="184" y="288"/>
                        <a:pt x="184" y="288"/>
                      </a:cubicBezTo>
                      <a:cubicBezTo>
                        <a:pt x="184" y="292"/>
                        <a:pt x="180" y="296"/>
                        <a:pt x="176" y="296"/>
                      </a:cubicBezTo>
                      <a:cubicBezTo>
                        <a:pt x="171" y="296"/>
                        <a:pt x="168" y="292"/>
                        <a:pt x="168" y="288"/>
                      </a:cubicBezTo>
                      <a:cubicBezTo>
                        <a:pt x="168" y="216"/>
                        <a:pt x="168" y="216"/>
                        <a:pt x="168" y="216"/>
                      </a:cubicBezTo>
                      <a:cubicBezTo>
                        <a:pt x="160" y="216"/>
                        <a:pt x="160" y="212"/>
                        <a:pt x="160" y="208"/>
                      </a:cubicBezTo>
                      <a:cubicBezTo>
                        <a:pt x="160" y="144"/>
                        <a:pt x="160" y="144"/>
                        <a:pt x="160" y="144"/>
                      </a:cubicBezTo>
                      <a:cubicBezTo>
                        <a:pt x="160" y="139"/>
                        <a:pt x="163" y="136"/>
                        <a:pt x="168" y="136"/>
                      </a:cubicBezTo>
                      <a:cubicBezTo>
                        <a:pt x="216" y="136"/>
                        <a:pt x="216" y="136"/>
                        <a:pt x="216" y="136"/>
                      </a:cubicBezTo>
                      <a:cubicBezTo>
                        <a:pt x="220" y="136"/>
                        <a:pt x="224" y="139"/>
                        <a:pt x="224" y="144"/>
                      </a:cubicBezTo>
                      <a:lnTo>
                        <a:pt x="224" y="208"/>
                      </a:lnTo>
                      <a:close/>
                      <a:moveTo>
                        <a:pt x="302" y="229"/>
                      </a:moveTo>
                      <a:cubicBezTo>
                        <a:pt x="300" y="231"/>
                        <a:pt x="296" y="232"/>
                        <a:pt x="296" y="232"/>
                      </a:cubicBezTo>
                      <a:cubicBezTo>
                        <a:pt x="296" y="288"/>
                        <a:pt x="296" y="288"/>
                        <a:pt x="296" y="288"/>
                      </a:cubicBezTo>
                      <a:cubicBezTo>
                        <a:pt x="296" y="292"/>
                        <a:pt x="292" y="296"/>
                        <a:pt x="288" y="296"/>
                      </a:cubicBezTo>
                      <a:cubicBezTo>
                        <a:pt x="283" y="296"/>
                        <a:pt x="280" y="292"/>
                        <a:pt x="280" y="288"/>
                      </a:cubicBezTo>
                      <a:cubicBezTo>
                        <a:pt x="280" y="232"/>
                        <a:pt x="280" y="232"/>
                        <a:pt x="280" y="232"/>
                      </a:cubicBezTo>
                      <a:cubicBezTo>
                        <a:pt x="264" y="232"/>
                        <a:pt x="264" y="232"/>
                        <a:pt x="264" y="232"/>
                      </a:cubicBezTo>
                      <a:cubicBezTo>
                        <a:pt x="264" y="288"/>
                        <a:pt x="264" y="288"/>
                        <a:pt x="264" y="288"/>
                      </a:cubicBezTo>
                      <a:cubicBezTo>
                        <a:pt x="264" y="292"/>
                        <a:pt x="260" y="296"/>
                        <a:pt x="256" y="296"/>
                      </a:cubicBezTo>
                      <a:cubicBezTo>
                        <a:pt x="251" y="296"/>
                        <a:pt x="248" y="292"/>
                        <a:pt x="248" y="288"/>
                      </a:cubicBezTo>
                      <a:cubicBezTo>
                        <a:pt x="248" y="232"/>
                        <a:pt x="248" y="232"/>
                        <a:pt x="248" y="232"/>
                      </a:cubicBezTo>
                      <a:cubicBezTo>
                        <a:pt x="248" y="232"/>
                        <a:pt x="243" y="231"/>
                        <a:pt x="241" y="229"/>
                      </a:cubicBezTo>
                      <a:cubicBezTo>
                        <a:pt x="240" y="227"/>
                        <a:pt x="239" y="224"/>
                        <a:pt x="240" y="222"/>
                      </a:cubicBezTo>
                      <a:cubicBezTo>
                        <a:pt x="256" y="142"/>
                        <a:pt x="256" y="142"/>
                        <a:pt x="256" y="142"/>
                      </a:cubicBezTo>
                      <a:cubicBezTo>
                        <a:pt x="257" y="138"/>
                        <a:pt x="260" y="136"/>
                        <a:pt x="264" y="136"/>
                      </a:cubicBezTo>
                      <a:cubicBezTo>
                        <a:pt x="280" y="136"/>
                        <a:pt x="280" y="136"/>
                        <a:pt x="280" y="136"/>
                      </a:cubicBezTo>
                      <a:cubicBezTo>
                        <a:pt x="283" y="136"/>
                        <a:pt x="287" y="138"/>
                        <a:pt x="288" y="142"/>
                      </a:cubicBezTo>
                      <a:cubicBezTo>
                        <a:pt x="304" y="222"/>
                        <a:pt x="304" y="222"/>
                        <a:pt x="304" y="222"/>
                      </a:cubicBezTo>
                      <a:cubicBezTo>
                        <a:pt x="304" y="224"/>
                        <a:pt x="303" y="227"/>
                        <a:pt x="302" y="2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
              <p:nvSpPr>
                <p:cNvPr id="29" name="Freeform 11">
                  <a:extLst>
                    <a:ext uri="{FF2B5EF4-FFF2-40B4-BE49-F238E27FC236}">
                      <a16:creationId xmlns:a16="http://schemas.microsoft.com/office/drawing/2014/main" id="{A38CE385-88C5-44BB-8BEE-1555B759BD96}"/>
                    </a:ext>
                  </a:extLst>
                </p:cNvPr>
                <p:cNvSpPr>
                  <a:spLocks/>
                </p:cNvSpPr>
                <p:nvPr/>
              </p:nvSpPr>
              <p:spPr bwMode="auto">
                <a:xfrm>
                  <a:off x="6729413" y="5135563"/>
                  <a:ext cx="119062" cy="261938"/>
                </a:xfrm>
                <a:custGeom>
                  <a:avLst/>
                  <a:gdLst>
                    <a:gd name="T0" fmla="*/ 34 w 75"/>
                    <a:gd name="T1" fmla="*/ 0 h 165"/>
                    <a:gd name="T2" fmla="*/ 0 w 75"/>
                    <a:gd name="T3" fmla="*/ 165 h 165"/>
                    <a:gd name="T4" fmla="*/ 75 w 75"/>
                    <a:gd name="T5" fmla="*/ 165 h 165"/>
                    <a:gd name="T6" fmla="*/ 41 w 75"/>
                    <a:gd name="T7" fmla="*/ 0 h 165"/>
                    <a:gd name="T8" fmla="*/ 34 w 75"/>
                    <a:gd name="T9" fmla="*/ 0 h 165"/>
                  </a:gdLst>
                  <a:ahLst/>
                  <a:cxnLst>
                    <a:cxn ang="0">
                      <a:pos x="T0" y="T1"/>
                    </a:cxn>
                    <a:cxn ang="0">
                      <a:pos x="T2" y="T3"/>
                    </a:cxn>
                    <a:cxn ang="0">
                      <a:pos x="T4" y="T5"/>
                    </a:cxn>
                    <a:cxn ang="0">
                      <a:pos x="T6" y="T7"/>
                    </a:cxn>
                    <a:cxn ang="0">
                      <a:pos x="T8" y="T9"/>
                    </a:cxn>
                  </a:cxnLst>
                  <a:rect l="0" t="0" r="r" b="b"/>
                  <a:pathLst>
                    <a:path w="75" h="165">
                      <a:moveTo>
                        <a:pt x="34" y="0"/>
                      </a:moveTo>
                      <a:lnTo>
                        <a:pt x="0" y="165"/>
                      </a:lnTo>
                      <a:lnTo>
                        <a:pt x="75" y="165"/>
                      </a:lnTo>
                      <a:lnTo>
                        <a:pt x="41"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grpSp>
        </p:grpSp>
        <p:sp>
          <p:nvSpPr>
            <p:cNvPr id="82" name="TextBox 81">
              <a:extLst>
                <a:ext uri="{FF2B5EF4-FFF2-40B4-BE49-F238E27FC236}">
                  <a16:creationId xmlns:a16="http://schemas.microsoft.com/office/drawing/2014/main" id="{8F4E4D74-ABE7-438E-A041-B0EF3F799F84}"/>
                </a:ext>
              </a:extLst>
            </p:cNvPr>
            <p:cNvSpPr txBox="1"/>
            <p:nvPr/>
          </p:nvSpPr>
          <p:spPr>
            <a:xfrm>
              <a:off x="4405801" y="5208436"/>
              <a:ext cx="3353214" cy="600164"/>
            </a:xfrm>
            <a:prstGeom prst="rect">
              <a:avLst/>
            </a:prstGeom>
            <a:solidFill>
              <a:schemeClr val="bg1"/>
            </a:solidFill>
          </p:spPr>
          <p:txBody>
            <a:bodyPr wrap="square" rtlCol="0">
              <a:spAutoFit/>
            </a:bodyPr>
            <a:lstStyle/>
            <a:p>
              <a:pPr marL="0" marR="0" lvl="0" indent="0" algn="ctr" defTabSz="1219170" rtl="0" eaLnBrk="1" fontAlgn="auto" latinLnBrk="0" hangingPunct="1">
                <a:lnSpc>
                  <a:spcPct val="100000"/>
                </a:lnSpc>
                <a:spcBef>
                  <a:spcPts val="0"/>
                </a:spcBef>
                <a:spcAft>
                  <a:spcPts val="100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mpowered Workstream Leads </a:t>
              </a:r>
              <a:r>
                <a:rPr kumimoji="0" lang="en-US" sz="11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ho work towards achieving outcomes and are able to quantify progress</a:t>
              </a:r>
            </a:p>
          </p:txBody>
        </p:sp>
      </p:grpSp>
      <p:sp>
        <p:nvSpPr>
          <p:cNvPr id="83" name="TextBox 82">
            <a:extLst>
              <a:ext uri="{FF2B5EF4-FFF2-40B4-BE49-F238E27FC236}">
                <a16:creationId xmlns:a16="http://schemas.microsoft.com/office/drawing/2014/main" id="{F0235ABB-E1AF-498F-8153-297522EA749C}"/>
              </a:ext>
            </a:extLst>
          </p:cNvPr>
          <p:cNvSpPr txBox="1"/>
          <p:nvPr/>
        </p:nvSpPr>
        <p:spPr>
          <a:xfrm rot="16200000">
            <a:off x="322457" y="3581849"/>
            <a:ext cx="1447781" cy="261610"/>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ction</a:t>
            </a:r>
          </a:p>
        </p:txBody>
      </p:sp>
      <p:sp>
        <p:nvSpPr>
          <p:cNvPr id="84" name="TextBox 83">
            <a:extLst>
              <a:ext uri="{FF2B5EF4-FFF2-40B4-BE49-F238E27FC236}">
                <a16:creationId xmlns:a16="http://schemas.microsoft.com/office/drawing/2014/main" id="{B43193C0-FA5F-413C-A9F2-8023056BA540}"/>
              </a:ext>
            </a:extLst>
          </p:cNvPr>
          <p:cNvSpPr txBox="1"/>
          <p:nvPr/>
        </p:nvSpPr>
        <p:spPr>
          <a:xfrm rot="16200000">
            <a:off x="322456" y="5377713"/>
            <a:ext cx="1447781" cy="261610"/>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utcome</a:t>
            </a:r>
          </a:p>
        </p:txBody>
      </p:sp>
      <p:sp>
        <p:nvSpPr>
          <p:cNvPr id="85" name="Freeform 220">
            <a:extLst>
              <a:ext uri="{FF2B5EF4-FFF2-40B4-BE49-F238E27FC236}">
                <a16:creationId xmlns:a16="http://schemas.microsoft.com/office/drawing/2014/main" id="{8348C3F9-72E6-4A11-898F-642350A3274B}"/>
              </a:ext>
            </a:extLst>
          </p:cNvPr>
          <p:cNvSpPr>
            <a:spLocks/>
          </p:cNvSpPr>
          <p:nvPr/>
        </p:nvSpPr>
        <p:spPr bwMode="auto">
          <a:xfrm rot="10800000" flipH="1">
            <a:off x="3824324" y="1952645"/>
            <a:ext cx="1347789" cy="434988"/>
          </a:xfrm>
          <a:custGeom>
            <a:avLst/>
            <a:gdLst>
              <a:gd name="T0" fmla="*/ 77 w 162"/>
              <a:gd name="T1" fmla="*/ 36 h 51"/>
              <a:gd name="T2" fmla="*/ 61 w 162"/>
              <a:gd name="T3" fmla="*/ 36 h 51"/>
              <a:gd name="T4" fmla="*/ 50 w 162"/>
              <a:gd name="T5" fmla="*/ 35 h 51"/>
              <a:gd name="T6" fmla="*/ 41 w 162"/>
              <a:gd name="T7" fmla="*/ 35 h 51"/>
              <a:gd name="T8" fmla="*/ 14 w 162"/>
              <a:gd name="T9" fmla="*/ 29 h 51"/>
              <a:gd name="T10" fmla="*/ 14 w 162"/>
              <a:gd name="T11" fmla="*/ 29 h 51"/>
              <a:gd name="T12" fmla="*/ 6 w 162"/>
              <a:gd name="T13" fmla="*/ 19 h 51"/>
              <a:gd name="T14" fmla="*/ 11 w 162"/>
              <a:gd name="T15" fmla="*/ 19 h 51"/>
              <a:gd name="T16" fmla="*/ 15 w 162"/>
              <a:gd name="T17" fmla="*/ 21 h 51"/>
              <a:gd name="T18" fmla="*/ 26 w 162"/>
              <a:gd name="T19" fmla="*/ 23 h 51"/>
              <a:gd name="T20" fmla="*/ 41 w 162"/>
              <a:gd name="T21" fmla="*/ 25 h 51"/>
              <a:gd name="T22" fmla="*/ 43 w 162"/>
              <a:gd name="T23" fmla="*/ 26 h 51"/>
              <a:gd name="T24" fmla="*/ 62 w 162"/>
              <a:gd name="T25" fmla="*/ 27 h 51"/>
              <a:gd name="T26" fmla="*/ 63 w 162"/>
              <a:gd name="T27" fmla="*/ 27 h 51"/>
              <a:gd name="T28" fmla="*/ 81 w 162"/>
              <a:gd name="T29" fmla="*/ 27 h 51"/>
              <a:gd name="T30" fmla="*/ 81 w 162"/>
              <a:gd name="T31" fmla="*/ 27 h 51"/>
              <a:gd name="T32" fmla="*/ 105 w 162"/>
              <a:gd name="T33" fmla="*/ 23 h 51"/>
              <a:gd name="T34" fmla="*/ 106 w 162"/>
              <a:gd name="T35" fmla="*/ 23 h 51"/>
              <a:gd name="T36" fmla="*/ 126 w 162"/>
              <a:gd name="T37" fmla="*/ 18 h 51"/>
              <a:gd name="T38" fmla="*/ 108 w 162"/>
              <a:gd name="T39" fmla="*/ 10 h 51"/>
              <a:gd name="T40" fmla="*/ 107 w 162"/>
              <a:gd name="T41" fmla="*/ 8 h 51"/>
              <a:gd name="T42" fmla="*/ 107 w 162"/>
              <a:gd name="T43" fmla="*/ 7 h 51"/>
              <a:gd name="T44" fmla="*/ 113 w 162"/>
              <a:gd name="T45" fmla="*/ 0 h 51"/>
              <a:gd name="T46" fmla="*/ 126 w 162"/>
              <a:gd name="T47" fmla="*/ 4 h 51"/>
              <a:gd name="T48" fmla="*/ 126 w 162"/>
              <a:gd name="T49" fmla="*/ 4 h 51"/>
              <a:gd name="T50" fmla="*/ 137 w 162"/>
              <a:gd name="T51" fmla="*/ 6 h 51"/>
              <a:gd name="T52" fmla="*/ 138 w 162"/>
              <a:gd name="T53" fmla="*/ 6 h 51"/>
              <a:gd name="T54" fmla="*/ 138 w 162"/>
              <a:gd name="T55" fmla="*/ 7 h 51"/>
              <a:gd name="T56" fmla="*/ 156 w 162"/>
              <a:gd name="T57" fmla="*/ 4 h 51"/>
              <a:gd name="T58" fmla="*/ 157 w 162"/>
              <a:gd name="T59" fmla="*/ 4 h 51"/>
              <a:gd name="T60" fmla="*/ 160 w 162"/>
              <a:gd name="T61" fmla="*/ 17 h 51"/>
              <a:gd name="T62" fmla="*/ 160 w 162"/>
              <a:gd name="T63" fmla="*/ 18 h 51"/>
              <a:gd name="T64" fmla="*/ 150 w 162"/>
              <a:gd name="T65" fmla="*/ 24 h 51"/>
              <a:gd name="T66" fmla="*/ 149 w 162"/>
              <a:gd name="T67" fmla="*/ 24 h 51"/>
              <a:gd name="T68" fmla="*/ 127 w 162"/>
              <a:gd name="T69" fmla="*/ 51 h 51"/>
              <a:gd name="T70" fmla="*/ 123 w 162"/>
              <a:gd name="T71" fmla="*/ 46 h 51"/>
              <a:gd name="T72" fmla="*/ 123 w 162"/>
              <a:gd name="T73" fmla="*/ 45 h 51"/>
              <a:gd name="T74" fmla="*/ 124 w 162"/>
              <a:gd name="T75" fmla="*/ 45 h 51"/>
              <a:gd name="T76" fmla="*/ 133 w 162"/>
              <a:gd name="T77" fmla="*/ 26 h 51"/>
              <a:gd name="T78" fmla="*/ 126 w 162"/>
              <a:gd name="T79" fmla="*/ 28 h 51"/>
              <a:gd name="T80" fmla="*/ 126 w 162"/>
              <a:gd name="T81" fmla="*/ 28 h 51"/>
              <a:gd name="T82" fmla="*/ 77 w 162"/>
              <a:gd name="T83" fmla="*/ 3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2" h="51">
                <a:moveTo>
                  <a:pt x="77" y="36"/>
                </a:moveTo>
                <a:cubicBezTo>
                  <a:pt x="73" y="38"/>
                  <a:pt x="68" y="35"/>
                  <a:pt x="61" y="36"/>
                </a:cubicBezTo>
                <a:cubicBezTo>
                  <a:pt x="58" y="34"/>
                  <a:pt x="52" y="35"/>
                  <a:pt x="50" y="35"/>
                </a:cubicBezTo>
                <a:cubicBezTo>
                  <a:pt x="46" y="34"/>
                  <a:pt x="44" y="37"/>
                  <a:pt x="41" y="35"/>
                </a:cubicBezTo>
                <a:cubicBezTo>
                  <a:pt x="33" y="33"/>
                  <a:pt x="21" y="30"/>
                  <a:pt x="14" y="29"/>
                </a:cubicBezTo>
                <a:cubicBezTo>
                  <a:pt x="14" y="29"/>
                  <a:pt x="14" y="29"/>
                  <a:pt x="14" y="29"/>
                </a:cubicBezTo>
                <a:cubicBezTo>
                  <a:pt x="11" y="27"/>
                  <a:pt x="0" y="25"/>
                  <a:pt x="6" y="19"/>
                </a:cubicBezTo>
                <a:cubicBezTo>
                  <a:pt x="8" y="19"/>
                  <a:pt x="9" y="19"/>
                  <a:pt x="11" y="19"/>
                </a:cubicBezTo>
                <a:cubicBezTo>
                  <a:pt x="12" y="21"/>
                  <a:pt x="14" y="21"/>
                  <a:pt x="15" y="21"/>
                </a:cubicBezTo>
                <a:cubicBezTo>
                  <a:pt x="17" y="23"/>
                  <a:pt x="24" y="24"/>
                  <a:pt x="26" y="23"/>
                </a:cubicBezTo>
                <a:cubicBezTo>
                  <a:pt x="32" y="23"/>
                  <a:pt x="37" y="26"/>
                  <a:pt x="41" y="25"/>
                </a:cubicBezTo>
                <a:cubicBezTo>
                  <a:pt x="41" y="26"/>
                  <a:pt x="42" y="26"/>
                  <a:pt x="43" y="26"/>
                </a:cubicBezTo>
                <a:cubicBezTo>
                  <a:pt x="50" y="27"/>
                  <a:pt x="56" y="28"/>
                  <a:pt x="62" y="27"/>
                </a:cubicBezTo>
                <a:cubicBezTo>
                  <a:pt x="63" y="27"/>
                  <a:pt x="63" y="27"/>
                  <a:pt x="63" y="27"/>
                </a:cubicBezTo>
                <a:cubicBezTo>
                  <a:pt x="67" y="28"/>
                  <a:pt x="77" y="28"/>
                  <a:pt x="81" y="27"/>
                </a:cubicBezTo>
                <a:cubicBezTo>
                  <a:pt x="81" y="27"/>
                  <a:pt x="81" y="27"/>
                  <a:pt x="81" y="27"/>
                </a:cubicBezTo>
                <a:cubicBezTo>
                  <a:pt x="87" y="27"/>
                  <a:pt x="99" y="25"/>
                  <a:pt x="105" y="23"/>
                </a:cubicBezTo>
                <a:cubicBezTo>
                  <a:pt x="106" y="23"/>
                  <a:pt x="106" y="23"/>
                  <a:pt x="106" y="23"/>
                </a:cubicBezTo>
                <a:cubicBezTo>
                  <a:pt x="113" y="23"/>
                  <a:pt x="120" y="20"/>
                  <a:pt x="126" y="18"/>
                </a:cubicBezTo>
                <a:cubicBezTo>
                  <a:pt x="122" y="13"/>
                  <a:pt x="114" y="13"/>
                  <a:pt x="108" y="10"/>
                </a:cubicBezTo>
                <a:cubicBezTo>
                  <a:pt x="108" y="10"/>
                  <a:pt x="108" y="8"/>
                  <a:pt x="107" y="8"/>
                </a:cubicBezTo>
                <a:cubicBezTo>
                  <a:pt x="107" y="8"/>
                  <a:pt x="107" y="8"/>
                  <a:pt x="107" y="7"/>
                </a:cubicBezTo>
                <a:cubicBezTo>
                  <a:pt x="110" y="6"/>
                  <a:pt x="107" y="0"/>
                  <a:pt x="113" y="0"/>
                </a:cubicBezTo>
                <a:cubicBezTo>
                  <a:pt x="116" y="2"/>
                  <a:pt x="123" y="4"/>
                  <a:pt x="126" y="4"/>
                </a:cubicBezTo>
                <a:cubicBezTo>
                  <a:pt x="126" y="4"/>
                  <a:pt x="126" y="4"/>
                  <a:pt x="126" y="4"/>
                </a:cubicBezTo>
                <a:cubicBezTo>
                  <a:pt x="129" y="5"/>
                  <a:pt x="136" y="6"/>
                  <a:pt x="137" y="6"/>
                </a:cubicBezTo>
                <a:cubicBezTo>
                  <a:pt x="138" y="6"/>
                  <a:pt x="138" y="6"/>
                  <a:pt x="138" y="6"/>
                </a:cubicBezTo>
                <a:cubicBezTo>
                  <a:pt x="138" y="6"/>
                  <a:pt x="138" y="6"/>
                  <a:pt x="138" y="7"/>
                </a:cubicBezTo>
                <a:cubicBezTo>
                  <a:pt x="146" y="5"/>
                  <a:pt x="150" y="7"/>
                  <a:pt x="156" y="4"/>
                </a:cubicBezTo>
                <a:cubicBezTo>
                  <a:pt x="156" y="4"/>
                  <a:pt x="156" y="4"/>
                  <a:pt x="157" y="4"/>
                </a:cubicBezTo>
                <a:cubicBezTo>
                  <a:pt x="162" y="5"/>
                  <a:pt x="159" y="14"/>
                  <a:pt x="160" y="17"/>
                </a:cubicBezTo>
                <a:cubicBezTo>
                  <a:pt x="160" y="17"/>
                  <a:pt x="160" y="17"/>
                  <a:pt x="160" y="18"/>
                </a:cubicBezTo>
                <a:cubicBezTo>
                  <a:pt x="157" y="20"/>
                  <a:pt x="152" y="20"/>
                  <a:pt x="150" y="24"/>
                </a:cubicBezTo>
                <a:cubicBezTo>
                  <a:pt x="150" y="24"/>
                  <a:pt x="150" y="24"/>
                  <a:pt x="149" y="24"/>
                </a:cubicBezTo>
                <a:cubicBezTo>
                  <a:pt x="141" y="28"/>
                  <a:pt x="137" y="44"/>
                  <a:pt x="127" y="51"/>
                </a:cubicBezTo>
                <a:cubicBezTo>
                  <a:pt x="125" y="50"/>
                  <a:pt x="124" y="47"/>
                  <a:pt x="123" y="46"/>
                </a:cubicBezTo>
                <a:cubicBezTo>
                  <a:pt x="123" y="46"/>
                  <a:pt x="123" y="45"/>
                  <a:pt x="123" y="45"/>
                </a:cubicBezTo>
                <a:cubicBezTo>
                  <a:pt x="123" y="45"/>
                  <a:pt x="123" y="45"/>
                  <a:pt x="124" y="45"/>
                </a:cubicBezTo>
                <a:cubicBezTo>
                  <a:pt x="127" y="39"/>
                  <a:pt x="133" y="32"/>
                  <a:pt x="133" y="26"/>
                </a:cubicBezTo>
                <a:cubicBezTo>
                  <a:pt x="131" y="26"/>
                  <a:pt x="128" y="26"/>
                  <a:pt x="126" y="28"/>
                </a:cubicBezTo>
                <a:cubicBezTo>
                  <a:pt x="126" y="28"/>
                  <a:pt x="126" y="28"/>
                  <a:pt x="126" y="28"/>
                </a:cubicBezTo>
                <a:cubicBezTo>
                  <a:pt x="113" y="31"/>
                  <a:pt x="92" y="35"/>
                  <a:pt x="77" y="3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icrosoft YaHei"/>
              <a:cs typeface="+mn-cs"/>
            </a:endParaRPr>
          </a:p>
        </p:txBody>
      </p:sp>
    </p:spTree>
    <p:extLst>
      <p:ext uri="{BB962C8B-B14F-4D97-AF65-F5344CB8AC3E}">
        <p14:creationId xmlns:p14="http://schemas.microsoft.com/office/powerpoint/2010/main" val="39252286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FF49F27-BF40-4E6A-AD29-3BADEFF5A3A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2" name="think-cell Slide" r:id="rId6" imgW="415" imgH="416" progId="TCLayout.ActiveDocument.1">
                  <p:embed/>
                </p:oleObj>
              </mc:Choice>
              <mc:Fallback>
                <p:oleObj name="think-cell Slide" r:id="rId6" imgW="415" imgH="416" progId="TCLayout.ActiveDocument.1">
                  <p:embed/>
                  <p:pic>
                    <p:nvPicPr>
                      <p:cNvPr id="7" name="Object 6" hidden="1">
                        <a:extLst>
                          <a:ext uri="{FF2B5EF4-FFF2-40B4-BE49-F238E27FC236}">
                            <a16:creationId xmlns:a16="http://schemas.microsoft.com/office/drawing/2014/main" id="{FFF49F27-BF40-4E6A-AD29-3BADEFF5A3A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9ADFD4F2-C40F-4A33-97F4-11236EF88A1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4" name="Title 3">
            <a:extLst>
              <a:ext uri="{FF2B5EF4-FFF2-40B4-BE49-F238E27FC236}">
                <a16:creationId xmlns:a16="http://schemas.microsoft.com/office/drawing/2014/main" id="{232D8B3D-571B-456D-BE9F-8B10C3D6B2CD}"/>
              </a:ext>
            </a:extLst>
          </p:cNvPr>
          <p:cNvSpPr>
            <a:spLocks noGrp="1"/>
          </p:cNvSpPr>
          <p:nvPr>
            <p:ph type="title"/>
          </p:nvPr>
        </p:nvSpPr>
        <p:spPr/>
        <p:txBody>
          <a:bodyPr/>
          <a:lstStyle/>
          <a:p>
            <a:r>
              <a:rPr lang="en-US" dirty="0"/>
              <a:t>Growth Pathways</a:t>
            </a:r>
          </a:p>
        </p:txBody>
      </p:sp>
      <p:sp>
        <p:nvSpPr>
          <p:cNvPr id="5" name="Text Placeholder 4">
            <a:extLst>
              <a:ext uri="{FF2B5EF4-FFF2-40B4-BE49-F238E27FC236}">
                <a16:creationId xmlns:a16="http://schemas.microsoft.com/office/drawing/2014/main" id="{8DBAA4E6-C530-4601-961F-B847E6065F21}"/>
              </a:ext>
            </a:extLst>
          </p:cNvPr>
          <p:cNvSpPr>
            <a:spLocks noGrp="1"/>
          </p:cNvSpPr>
          <p:nvPr>
            <p:ph type="body" sz="quarter" idx="14"/>
          </p:nvPr>
        </p:nvSpPr>
        <p:spPr/>
        <p:txBody>
          <a:bodyPr/>
          <a:lstStyle/>
          <a:p>
            <a:r>
              <a:rPr lang="en-US" dirty="0"/>
              <a:t>The activation phase focuses on proving out Base Play and BP1 to gain confidence before making larger investments</a:t>
            </a:r>
          </a:p>
        </p:txBody>
      </p:sp>
      <p:sp>
        <p:nvSpPr>
          <p:cNvPr id="6" name="Text Placeholder 5">
            <a:extLst>
              <a:ext uri="{FF2B5EF4-FFF2-40B4-BE49-F238E27FC236}">
                <a16:creationId xmlns:a16="http://schemas.microsoft.com/office/drawing/2014/main" id="{0617510E-5BC6-45BE-BF4E-EE68202DEC6E}"/>
              </a:ext>
            </a:extLst>
          </p:cNvPr>
          <p:cNvSpPr>
            <a:spLocks noGrp="1"/>
          </p:cNvSpPr>
          <p:nvPr>
            <p:ph type="body" sz="quarter" idx="15"/>
          </p:nvPr>
        </p:nvSpPr>
        <p:spPr/>
        <p:txBody>
          <a:bodyPr/>
          <a:lstStyle/>
          <a:p>
            <a:r>
              <a:rPr lang="en-US" dirty="0"/>
              <a:t>Process &amp; customer journey</a:t>
            </a:r>
          </a:p>
        </p:txBody>
      </p:sp>
      <p:grpSp>
        <p:nvGrpSpPr>
          <p:cNvPr id="9" name="Group 8">
            <a:extLst>
              <a:ext uri="{FF2B5EF4-FFF2-40B4-BE49-F238E27FC236}">
                <a16:creationId xmlns:a16="http://schemas.microsoft.com/office/drawing/2014/main" id="{07327EF6-F74F-44D1-B840-03841102CA8B}"/>
              </a:ext>
            </a:extLst>
          </p:cNvPr>
          <p:cNvGrpSpPr/>
          <p:nvPr/>
        </p:nvGrpSpPr>
        <p:grpSpPr>
          <a:xfrm>
            <a:off x="1480922" y="1592323"/>
            <a:ext cx="9109921" cy="4342431"/>
            <a:chOff x="1480922" y="1592323"/>
            <a:chExt cx="9109921" cy="4342431"/>
          </a:xfrm>
        </p:grpSpPr>
        <p:sp>
          <p:nvSpPr>
            <p:cNvPr id="10" name="object 14">
              <a:extLst>
                <a:ext uri="{FF2B5EF4-FFF2-40B4-BE49-F238E27FC236}">
                  <a16:creationId xmlns:a16="http://schemas.microsoft.com/office/drawing/2014/main" id="{ECAF9F2D-B888-4B9A-8FB0-840BF1B26924}"/>
                </a:ext>
              </a:extLst>
            </p:cNvPr>
            <p:cNvSpPr/>
            <p:nvPr/>
          </p:nvSpPr>
          <p:spPr>
            <a:xfrm>
              <a:off x="1892614" y="3105712"/>
              <a:ext cx="0" cy="2372360"/>
            </a:xfrm>
            <a:custGeom>
              <a:avLst/>
              <a:gdLst/>
              <a:ahLst/>
              <a:cxnLst/>
              <a:rect l="l" t="t" r="r" b="b"/>
              <a:pathLst>
                <a:path h="2372360">
                  <a:moveTo>
                    <a:pt x="0" y="0"/>
                  </a:moveTo>
                  <a:lnTo>
                    <a:pt x="0" y="2372106"/>
                  </a:lnTo>
                </a:path>
              </a:pathLst>
            </a:custGeom>
            <a:ln w="6350">
              <a:solidFill>
                <a:srgbClr val="8C8C8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dirty="0">
                <a:ln>
                  <a:noFill/>
                </a:ln>
                <a:solidFill>
                  <a:prstClr val="black"/>
                </a:solidFill>
                <a:effectLst/>
                <a:uLnTx/>
                <a:uFillTx/>
                <a:ea typeface="+mn-ea"/>
                <a:cs typeface="+mn-cs"/>
              </a:endParaRPr>
            </a:p>
          </p:txBody>
        </p:sp>
        <p:sp>
          <p:nvSpPr>
            <p:cNvPr id="11" name="object 16">
              <a:extLst>
                <a:ext uri="{FF2B5EF4-FFF2-40B4-BE49-F238E27FC236}">
                  <a16:creationId xmlns:a16="http://schemas.microsoft.com/office/drawing/2014/main" id="{42897BA1-D5A7-44E3-A3D0-8E46325C5C60}"/>
                </a:ext>
              </a:extLst>
            </p:cNvPr>
            <p:cNvSpPr/>
            <p:nvPr/>
          </p:nvSpPr>
          <p:spPr>
            <a:xfrm>
              <a:off x="1900860" y="2043483"/>
              <a:ext cx="4104640" cy="0"/>
            </a:xfrm>
            <a:custGeom>
              <a:avLst/>
              <a:gdLst/>
              <a:ahLst/>
              <a:cxnLst/>
              <a:rect l="l" t="t" r="r" b="b"/>
              <a:pathLst>
                <a:path w="4104640">
                  <a:moveTo>
                    <a:pt x="0" y="0"/>
                  </a:moveTo>
                  <a:lnTo>
                    <a:pt x="4104132" y="0"/>
                  </a:lnTo>
                </a:path>
              </a:pathLst>
            </a:custGeom>
            <a:ln w="3810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dirty="0">
                <a:ln>
                  <a:noFill/>
                </a:ln>
                <a:solidFill>
                  <a:prstClr val="black"/>
                </a:solidFill>
                <a:effectLst/>
                <a:uLnTx/>
                <a:uFillTx/>
                <a:ea typeface="+mn-ea"/>
                <a:cs typeface="+mn-cs"/>
              </a:endParaRPr>
            </a:p>
          </p:txBody>
        </p:sp>
        <p:sp>
          <p:nvSpPr>
            <p:cNvPr id="12" name="object 20">
              <a:extLst>
                <a:ext uri="{FF2B5EF4-FFF2-40B4-BE49-F238E27FC236}">
                  <a16:creationId xmlns:a16="http://schemas.microsoft.com/office/drawing/2014/main" id="{44970C6F-392F-4182-9002-86EA3908CF5D}"/>
                </a:ext>
              </a:extLst>
            </p:cNvPr>
            <p:cNvSpPr txBox="1"/>
            <p:nvPr/>
          </p:nvSpPr>
          <p:spPr>
            <a:xfrm>
              <a:off x="1653684" y="1592323"/>
              <a:ext cx="158120" cy="662400"/>
            </a:xfrm>
            <a:prstGeom prst="rect">
              <a:avLst/>
            </a:prstGeom>
          </p:spPr>
          <p:txBody>
            <a:bodyPr vert="vert270" wrap="square" lIns="0" tIns="0" rIns="0" bIns="0" rtlCol="0">
              <a:spAutoFit/>
            </a:bodyPr>
            <a:lstStyle/>
            <a:p>
              <a:pPr marL="12700" marR="0" lvl="0" indent="0" algn="ctr" defTabSz="914400" rtl="0" eaLnBrk="1" fontAlgn="auto" latinLnBrk="0" hangingPunct="1">
                <a:lnSpc>
                  <a:spcPts val="1315"/>
                </a:lnSpc>
                <a:spcBef>
                  <a:spcPts val="0"/>
                </a:spcBef>
                <a:spcAft>
                  <a:spcPts val="0"/>
                </a:spcAft>
                <a:buClrTx/>
                <a:buSzTx/>
                <a:buFontTx/>
                <a:buNone/>
                <a:tabLst/>
                <a:defRPr/>
              </a:pPr>
              <a:r>
                <a:rPr kumimoji="0" lang="en-US" sz="1000" b="0" i="0" u="none" strike="noStrike" kern="1200" cap="none" spc="-5" normalizeH="0" baseline="0" noProof="0" dirty="0">
                  <a:ln>
                    <a:noFill/>
                  </a:ln>
                  <a:solidFill>
                    <a:prstClr val="black"/>
                  </a:solidFill>
                  <a:effectLst/>
                  <a:uLnTx/>
                  <a:uFillTx/>
                  <a:ea typeface="+mn-ea"/>
                  <a:cs typeface="Arial"/>
                </a:rPr>
                <a:t>High</a:t>
              </a:r>
              <a:endParaRPr kumimoji="0" sz="1000" b="0" i="0" u="none" strike="noStrike" kern="1200" cap="none" spc="0" normalizeH="0" baseline="0" noProof="0" dirty="0">
                <a:ln>
                  <a:noFill/>
                </a:ln>
                <a:solidFill>
                  <a:prstClr val="black"/>
                </a:solidFill>
                <a:effectLst/>
                <a:uLnTx/>
                <a:uFillTx/>
                <a:ea typeface="+mn-ea"/>
                <a:cs typeface="Arial"/>
              </a:endParaRPr>
            </a:p>
          </p:txBody>
        </p:sp>
        <p:sp>
          <p:nvSpPr>
            <p:cNvPr id="13" name="object 22">
              <a:extLst>
                <a:ext uri="{FF2B5EF4-FFF2-40B4-BE49-F238E27FC236}">
                  <a16:creationId xmlns:a16="http://schemas.microsoft.com/office/drawing/2014/main" id="{7A646BB7-C4D4-40BA-89EE-746A67718287}"/>
                </a:ext>
              </a:extLst>
            </p:cNvPr>
            <p:cNvSpPr txBox="1"/>
            <p:nvPr/>
          </p:nvSpPr>
          <p:spPr>
            <a:xfrm>
              <a:off x="1646091" y="4952834"/>
              <a:ext cx="158120" cy="514984"/>
            </a:xfrm>
            <a:prstGeom prst="rect">
              <a:avLst/>
            </a:prstGeom>
          </p:spPr>
          <p:txBody>
            <a:bodyPr vert="vert270" wrap="square" lIns="0" tIns="0" rIns="0" bIns="0" rtlCol="0">
              <a:spAutoFit/>
            </a:bodyPr>
            <a:lstStyle/>
            <a:p>
              <a:pPr marL="12700" marR="0" lvl="0" indent="0" algn="l" defTabSz="914400" rtl="0" eaLnBrk="1" fontAlgn="auto" latinLnBrk="0" hangingPunct="1">
                <a:lnSpc>
                  <a:spcPts val="1315"/>
                </a:lnSpc>
                <a:spcBef>
                  <a:spcPts val="0"/>
                </a:spcBef>
                <a:spcAft>
                  <a:spcPts val="0"/>
                </a:spcAft>
                <a:buClrTx/>
                <a:buSzTx/>
                <a:buFontTx/>
                <a:buNone/>
                <a:tabLst/>
                <a:defRPr/>
              </a:pPr>
              <a:r>
                <a:rPr kumimoji="0" lang="en-US" sz="1000" b="0" i="0" u="none" strike="noStrike" kern="1200" cap="none" spc="-5" normalizeH="0" baseline="0" noProof="0" dirty="0">
                  <a:ln>
                    <a:noFill/>
                  </a:ln>
                  <a:solidFill>
                    <a:prstClr val="black"/>
                  </a:solidFill>
                  <a:effectLst/>
                  <a:uLnTx/>
                  <a:uFillTx/>
                  <a:ea typeface="+mn-ea"/>
                  <a:cs typeface="Arial"/>
                </a:rPr>
                <a:t>Low</a:t>
              </a:r>
              <a:endParaRPr kumimoji="0" sz="1000" b="0" i="0" u="none" strike="noStrike" kern="1200" cap="none" spc="0" normalizeH="0" baseline="0" noProof="0" dirty="0">
                <a:ln>
                  <a:noFill/>
                </a:ln>
                <a:solidFill>
                  <a:prstClr val="black"/>
                </a:solidFill>
                <a:effectLst/>
                <a:uLnTx/>
                <a:uFillTx/>
                <a:ea typeface="+mn-ea"/>
                <a:cs typeface="Arial"/>
              </a:endParaRPr>
            </a:p>
          </p:txBody>
        </p:sp>
        <p:sp>
          <p:nvSpPr>
            <p:cNvPr id="14" name="object 27">
              <a:extLst>
                <a:ext uri="{FF2B5EF4-FFF2-40B4-BE49-F238E27FC236}">
                  <a16:creationId xmlns:a16="http://schemas.microsoft.com/office/drawing/2014/main" id="{53CABF13-7ABD-4454-9B9A-C7E36E9FA075}"/>
                </a:ext>
              </a:extLst>
            </p:cNvPr>
            <p:cNvSpPr/>
            <p:nvPr/>
          </p:nvSpPr>
          <p:spPr>
            <a:xfrm>
              <a:off x="1904043" y="5503945"/>
              <a:ext cx="8686800" cy="76200"/>
            </a:xfrm>
            <a:custGeom>
              <a:avLst/>
              <a:gdLst/>
              <a:ahLst/>
              <a:cxnLst/>
              <a:rect l="l" t="t" r="r" b="b"/>
              <a:pathLst>
                <a:path w="4160520" h="76200">
                  <a:moveTo>
                    <a:pt x="4097274" y="44957"/>
                  </a:moveTo>
                  <a:lnTo>
                    <a:pt x="4097274" y="32003"/>
                  </a:lnTo>
                  <a:lnTo>
                    <a:pt x="0" y="32003"/>
                  </a:lnTo>
                  <a:lnTo>
                    <a:pt x="0" y="44957"/>
                  </a:lnTo>
                  <a:lnTo>
                    <a:pt x="4097274" y="44957"/>
                  </a:lnTo>
                  <a:close/>
                </a:path>
                <a:path w="4160520" h="76200">
                  <a:moveTo>
                    <a:pt x="4160520" y="38100"/>
                  </a:moveTo>
                  <a:lnTo>
                    <a:pt x="4084320" y="0"/>
                  </a:lnTo>
                  <a:lnTo>
                    <a:pt x="4084320" y="32003"/>
                  </a:lnTo>
                  <a:lnTo>
                    <a:pt x="4097274" y="32003"/>
                  </a:lnTo>
                  <a:lnTo>
                    <a:pt x="4097274" y="69723"/>
                  </a:lnTo>
                  <a:lnTo>
                    <a:pt x="4160520" y="38100"/>
                  </a:lnTo>
                  <a:close/>
                </a:path>
                <a:path w="4160520" h="76200">
                  <a:moveTo>
                    <a:pt x="4097274" y="69723"/>
                  </a:moveTo>
                  <a:lnTo>
                    <a:pt x="4097274" y="44957"/>
                  </a:lnTo>
                  <a:lnTo>
                    <a:pt x="4084320" y="44957"/>
                  </a:lnTo>
                  <a:lnTo>
                    <a:pt x="4084320" y="76200"/>
                  </a:lnTo>
                  <a:lnTo>
                    <a:pt x="4097274" y="69723"/>
                  </a:lnTo>
                  <a:close/>
                </a:path>
              </a:pathLst>
            </a:custGeom>
            <a:solidFill>
              <a:srgbClr val="5C5C5C"/>
            </a:solidFill>
            <a:ln w="28575">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dirty="0">
                <a:ln>
                  <a:noFill/>
                </a:ln>
                <a:solidFill>
                  <a:prstClr val="black"/>
                </a:solidFill>
                <a:effectLst/>
                <a:uLnTx/>
                <a:uFillTx/>
                <a:ea typeface="+mn-ea"/>
                <a:cs typeface="+mn-cs"/>
              </a:endParaRPr>
            </a:p>
          </p:txBody>
        </p:sp>
        <p:sp>
          <p:nvSpPr>
            <p:cNvPr id="15" name="Rectangle 14">
              <a:extLst>
                <a:ext uri="{FF2B5EF4-FFF2-40B4-BE49-F238E27FC236}">
                  <a16:creationId xmlns:a16="http://schemas.microsoft.com/office/drawing/2014/main" id="{CAEDCA4F-45BA-4718-8599-7C93F1609347}"/>
                </a:ext>
              </a:extLst>
            </p:cNvPr>
            <p:cNvSpPr/>
            <p:nvPr/>
          </p:nvSpPr>
          <p:spPr>
            <a:xfrm>
              <a:off x="5645714" y="5673144"/>
              <a:ext cx="1130438" cy="261610"/>
            </a:xfrm>
            <a:prstGeom prst="rect">
              <a:avLst/>
            </a:prstGeom>
          </p:spPr>
          <p:txBody>
            <a:bodyPr wrap="none">
              <a:spAutoFit/>
            </a:bodyPr>
            <a:lstStyle/>
            <a:p>
              <a:pPr marL="12700" marR="0" lvl="0" indent="0" algn="ctr" defTabSz="914400" rtl="0" eaLnBrk="1" fontAlgn="auto" latinLnBrk="0" hangingPunct="1">
                <a:lnSpc>
                  <a:spcPct val="100000"/>
                </a:lnSpc>
                <a:spcBef>
                  <a:spcPts val="915"/>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Arial"/>
                </a:rPr>
                <a:t>Time Horizon</a:t>
              </a:r>
              <a:endParaRPr kumimoji="0" lang="en-US" sz="1100" b="0" i="0" u="none" strike="noStrike" kern="1200" cap="none" spc="0" normalizeH="0" baseline="0" noProof="0" dirty="0">
                <a:ln>
                  <a:noFill/>
                </a:ln>
                <a:solidFill>
                  <a:prstClr val="black"/>
                </a:solidFill>
                <a:effectLst/>
                <a:uLnTx/>
                <a:uFillTx/>
                <a:ea typeface="+mn-ea"/>
                <a:cs typeface="Arial"/>
              </a:endParaRPr>
            </a:p>
          </p:txBody>
        </p:sp>
        <p:sp>
          <p:nvSpPr>
            <p:cNvPr id="16" name="Rectangle 15">
              <a:extLst>
                <a:ext uri="{FF2B5EF4-FFF2-40B4-BE49-F238E27FC236}">
                  <a16:creationId xmlns:a16="http://schemas.microsoft.com/office/drawing/2014/main" id="{1A55E81C-D20C-4D03-B725-835DDAA91B6D}"/>
                </a:ext>
              </a:extLst>
            </p:cNvPr>
            <p:cNvSpPr/>
            <p:nvPr/>
          </p:nvSpPr>
          <p:spPr>
            <a:xfrm rot="16200000">
              <a:off x="1114636" y="3683644"/>
              <a:ext cx="994182" cy="261610"/>
            </a:xfrm>
            <a:prstGeom prst="rect">
              <a:avLst/>
            </a:prstGeom>
          </p:spPr>
          <p:txBody>
            <a:bodyPr wrap="none">
              <a:spAutoFit/>
            </a:bodyPr>
            <a:lstStyle/>
            <a:p>
              <a:pPr marL="12700" marR="0" lvl="0" indent="0" algn="ctr" defTabSz="914400" rtl="0" eaLnBrk="1" fontAlgn="auto" latinLnBrk="0" hangingPunct="1">
                <a:lnSpc>
                  <a:spcPct val="100000"/>
                </a:lnSpc>
                <a:spcBef>
                  <a:spcPts val="915"/>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Arial"/>
                </a:rPr>
                <a:t>Complexity</a:t>
              </a:r>
              <a:endParaRPr kumimoji="0" lang="en-US" sz="1100" b="0" i="0" u="none" strike="noStrike" kern="1200" cap="none" spc="0" normalizeH="0" baseline="30000" noProof="0" dirty="0">
                <a:ln>
                  <a:noFill/>
                </a:ln>
                <a:solidFill>
                  <a:prstClr val="black"/>
                </a:solidFill>
                <a:effectLst/>
                <a:uLnTx/>
                <a:uFillTx/>
                <a:ea typeface="+mn-ea"/>
                <a:cs typeface="Arial"/>
              </a:endParaRPr>
            </a:p>
          </p:txBody>
        </p:sp>
        <p:sp>
          <p:nvSpPr>
            <p:cNvPr id="17" name="object 23">
              <a:extLst>
                <a:ext uri="{FF2B5EF4-FFF2-40B4-BE49-F238E27FC236}">
                  <a16:creationId xmlns:a16="http://schemas.microsoft.com/office/drawing/2014/main" id="{4551BDC4-218B-4868-998D-13139AD5C3CC}"/>
                </a:ext>
              </a:extLst>
            </p:cNvPr>
            <p:cNvSpPr/>
            <p:nvPr/>
          </p:nvSpPr>
          <p:spPr>
            <a:xfrm>
              <a:off x="1861386" y="1739572"/>
              <a:ext cx="76200" cy="3807408"/>
            </a:xfrm>
            <a:custGeom>
              <a:avLst/>
              <a:gdLst/>
              <a:ahLst/>
              <a:cxnLst/>
              <a:rect l="l" t="t" r="r" b="b"/>
              <a:pathLst>
                <a:path w="76200" h="3566160">
                  <a:moveTo>
                    <a:pt x="76199" y="76199"/>
                  </a:moveTo>
                  <a:lnTo>
                    <a:pt x="38099" y="0"/>
                  </a:lnTo>
                  <a:lnTo>
                    <a:pt x="0" y="76199"/>
                  </a:lnTo>
                  <a:lnTo>
                    <a:pt x="31241" y="76199"/>
                  </a:lnTo>
                  <a:lnTo>
                    <a:pt x="31241" y="64007"/>
                  </a:lnTo>
                  <a:lnTo>
                    <a:pt x="44195" y="64007"/>
                  </a:lnTo>
                  <a:lnTo>
                    <a:pt x="44195" y="76199"/>
                  </a:lnTo>
                  <a:lnTo>
                    <a:pt x="76199" y="76199"/>
                  </a:lnTo>
                  <a:close/>
                </a:path>
                <a:path w="76200" h="3566160">
                  <a:moveTo>
                    <a:pt x="44195" y="76199"/>
                  </a:moveTo>
                  <a:lnTo>
                    <a:pt x="44195" y="64007"/>
                  </a:lnTo>
                  <a:lnTo>
                    <a:pt x="31241" y="64007"/>
                  </a:lnTo>
                  <a:lnTo>
                    <a:pt x="31241" y="76199"/>
                  </a:lnTo>
                  <a:lnTo>
                    <a:pt x="44195" y="76199"/>
                  </a:lnTo>
                  <a:close/>
                </a:path>
                <a:path w="76200" h="3566160">
                  <a:moveTo>
                    <a:pt x="44196" y="3566159"/>
                  </a:moveTo>
                  <a:lnTo>
                    <a:pt x="44195" y="76199"/>
                  </a:lnTo>
                  <a:lnTo>
                    <a:pt x="31241" y="76199"/>
                  </a:lnTo>
                  <a:lnTo>
                    <a:pt x="31242" y="3566159"/>
                  </a:lnTo>
                  <a:lnTo>
                    <a:pt x="44196" y="3566159"/>
                  </a:lnTo>
                  <a:close/>
                </a:path>
              </a:pathLst>
            </a:custGeom>
            <a:solidFill>
              <a:srgbClr val="5C5C5C"/>
            </a:solidFill>
            <a:ln w="28575">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dirty="0">
                <a:ln>
                  <a:noFill/>
                </a:ln>
                <a:solidFill>
                  <a:prstClr val="black"/>
                </a:solidFill>
                <a:effectLst/>
                <a:uLnTx/>
                <a:uFillTx/>
                <a:ea typeface="+mn-ea"/>
                <a:cs typeface="+mn-cs"/>
              </a:endParaRPr>
            </a:p>
          </p:txBody>
        </p:sp>
        <p:sp>
          <p:nvSpPr>
            <p:cNvPr id="18" name="Oval 17">
              <a:extLst>
                <a:ext uri="{FF2B5EF4-FFF2-40B4-BE49-F238E27FC236}">
                  <a16:creationId xmlns:a16="http://schemas.microsoft.com/office/drawing/2014/main" id="{DFC6B4CD-5C10-4183-9B65-BFA2804B000F}"/>
                </a:ext>
              </a:extLst>
            </p:cNvPr>
            <p:cNvSpPr/>
            <p:nvPr/>
          </p:nvSpPr>
          <p:spPr>
            <a:xfrm>
              <a:off x="2293844" y="4829707"/>
              <a:ext cx="274320" cy="27432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ea typeface="+mn-ea"/>
                <a:cs typeface="+mn-cs"/>
              </a:endParaRPr>
            </a:p>
          </p:txBody>
        </p:sp>
        <p:sp>
          <p:nvSpPr>
            <p:cNvPr id="19" name="TextBox 18">
              <a:extLst>
                <a:ext uri="{FF2B5EF4-FFF2-40B4-BE49-F238E27FC236}">
                  <a16:creationId xmlns:a16="http://schemas.microsoft.com/office/drawing/2014/main" id="{8769084E-9C25-4B21-9CAC-BE619DF6630D}"/>
                </a:ext>
              </a:extLst>
            </p:cNvPr>
            <p:cNvSpPr txBox="1"/>
            <p:nvPr/>
          </p:nvSpPr>
          <p:spPr>
            <a:xfrm>
              <a:off x="1797218" y="5104027"/>
              <a:ext cx="1302356"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1"/>
                  </a:solidFill>
                  <a:effectLst/>
                  <a:uLnTx/>
                  <a:uFillTx/>
                  <a:ea typeface="+mn-ea"/>
                  <a:cs typeface="+mn-cs"/>
                </a:rPr>
                <a:t>Activation</a:t>
              </a:r>
            </a:p>
          </p:txBody>
        </p:sp>
        <p:cxnSp>
          <p:nvCxnSpPr>
            <p:cNvPr id="20" name="Curved Connector 66">
              <a:extLst>
                <a:ext uri="{FF2B5EF4-FFF2-40B4-BE49-F238E27FC236}">
                  <a16:creationId xmlns:a16="http://schemas.microsoft.com/office/drawing/2014/main" id="{29DA2E5B-75C6-4E24-AA62-ABFF18562EC5}"/>
                </a:ext>
              </a:extLst>
            </p:cNvPr>
            <p:cNvCxnSpPr>
              <a:cxnSpLocks/>
              <a:stCxn id="18" idx="0"/>
            </p:cNvCxnSpPr>
            <p:nvPr/>
          </p:nvCxnSpPr>
          <p:spPr>
            <a:xfrm rot="5400000" flipH="1" flipV="1">
              <a:off x="2725796" y="4359909"/>
              <a:ext cx="175007" cy="764591"/>
            </a:xfrm>
            <a:prstGeom prst="curvedConnector2">
              <a:avLst/>
            </a:prstGeom>
            <a:ln w="19050">
              <a:solidFill>
                <a:schemeClr val="accent1">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A3156C86-D8D7-4E6B-8096-E222539B8379}"/>
                </a:ext>
              </a:extLst>
            </p:cNvPr>
            <p:cNvSpPr/>
            <p:nvPr/>
          </p:nvSpPr>
          <p:spPr>
            <a:xfrm>
              <a:off x="3643675" y="3679617"/>
              <a:ext cx="1334778" cy="531628"/>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1"/>
                  </a:solidFill>
                  <a:effectLst/>
                  <a:uLnTx/>
                  <a:uFillTx/>
                  <a:ea typeface="+mn-ea"/>
                  <a:cs typeface="+mn-cs"/>
                </a:rPr>
                <a:t>BP1: Int. Mfg.</a:t>
              </a:r>
            </a:p>
          </p:txBody>
        </p:sp>
        <p:cxnSp>
          <p:nvCxnSpPr>
            <p:cNvPr id="22" name="Curved Connector 66">
              <a:extLst>
                <a:ext uri="{FF2B5EF4-FFF2-40B4-BE49-F238E27FC236}">
                  <a16:creationId xmlns:a16="http://schemas.microsoft.com/office/drawing/2014/main" id="{A4295F08-186B-4CC1-AFEC-21A30D4F0F67}"/>
                </a:ext>
              </a:extLst>
            </p:cNvPr>
            <p:cNvCxnSpPr>
              <a:cxnSpLocks/>
              <a:stCxn id="18" idx="2"/>
              <a:endCxn id="21" idx="2"/>
            </p:cNvCxnSpPr>
            <p:nvPr/>
          </p:nvCxnSpPr>
          <p:spPr>
            <a:xfrm rot="10800000" flipH="1">
              <a:off x="2293843" y="3945431"/>
              <a:ext cx="1349831" cy="1021436"/>
            </a:xfrm>
            <a:prstGeom prst="curvedConnector3">
              <a:avLst>
                <a:gd name="adj1" fmla="val -16935"/>
              </a:avLst>
            </a:prstGeom>
            <a:ln w="19050">
              <a:solidFill>
                <a:schemeClr val="accent1">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2A9E75C-32FD-481B-A2BB-C9B26D984BFB}"/>
                </a:ext>
              </a:extLst>
            </p:cNvPr>
            <p:cNvCxnSpPr/>
            <p:nvPr/>
          </p:nvCxnSpPr>
          <p:spPr>
            <a:xfrm>
              <a:off x="5508196" y="2120665"/>
              <a:ext cx="0" cy="338328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4" name="Diamond 23">
              <a:extLst>
                <a:ext uri="{FF2B5EF4-FFF2-40B4-BE49-F238E27FC236}">
                  <a16:creationId xmlns:a16="http://schemas.microsoft.com/office/drawing/2014/main" id="{8543B3AE-BCE8-4D2C-AA48-5AC39FDA9203}"/>
                </a:ext>
              </a:extLst>
            </p:cNvPr>
            <p:cNvSpPr/>
            <p:nvPr/>
          </p:nvSpPr>
          <p:spPr>
            <a:xfrm>
              <a:off x="5329912" y="3084413"/>
              <a:ext cx="365760" cy="365760"/>
            </a:xfrm>
            <a:prstGeom prst="diamond">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ea typeface="+mn-ea"/>
                <a:cs typeface="+mn-cs"/>
              </a:endParaRPr>
            </a:p>
          </p:txBody>
        </p:sp>
        <p:cxnSp>
          <p:nvCxnSpPr>
            <p:cNvPr id="25" name="Curved Connector 66">
              <a:extLst>
                <a:ext uri="{FF2B5EF4-FFF2-40B4-BE49-F238E27FC236}">
                  <a16:creationId xmlns:a16="http://schemas.microsoft.com/office/drawing/2014/main" id="{FFD04E2F-0F62-47CD-915C-5251792624C6}"/>
                </a:ext>
              </a:extLst>
            </p:cNvPr>
            <p:cNvCxnSpPr>
              <a:cxnSpLocks/>
              <a:stCxn id="21" idx="0"/>
              <a:endCxn id="24" idx="1"/>
            </p:cNvCxnSpPr>
            <p:nvPr/>
          </p:nvCxnSpPr>
          <p:spPr>
            <a:xfrm rot="5400000" flipH="1" flipV="1">
              <a:off x="4614326" y="2964031"/>
              <a:ext cx="412324" cy="1018848"/>
            </a:xfrm>
            <a:prstGeom prst="curvedConnector2">
              <a:avLst/>
            </a:prstGeom>
            <a:ln w="19050">
              <a:solidFill>
                <a:schemeClr val="accent1">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8B83AA15-BD96-4025-955C-F181C53A7F9E}"/>
                </a:ext>
              </a:extLst>
            </p:cNvPr>
            <p:cNvSpPr txBox="1"/>
            <p:nvPr/>
          </p:nvSpPr>
          <p:spPr>
            <a:xfrm>
              <a:off x="3324130" y="2797618"/>
              <a:ext cx="2165684" cy="24622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ea typeface="+mn-ea"/>
                  <a:cs typeface="+mn-cs"/>
                </a:rPr>
                <a:t>Strategic Optionality</a:t>
              </a:r>
            </a:p>
          </p:txBody>
        </p:sp>
        <p:sp>
          <p:nvSpPr>
            <p:cNvPr id="27" name="Oval 26">
              <a:extLst>
                <a:ext uri="{FF2B5EF4-FFF2-40B4-BE49-F238E27FC236}">
                  <a16:creationId xmlns:a16="http://schemas.microsoft.com/office/drawing/2014/main" id="{9E8AD46A-C98F-4A43-9607-E6D78F624DB2}"/>
                </a:ext>
              </a:extLst>
            </p:cNvPr>
            <p:cNvSpPr/>
            <p:nvPr/>
          </p:nvSpPr>
          <p:spPr>
            <a:xfrm>
              <a:off x="7214108" y="2257451"/>
              <a:ext cx="565661" cy="531628"/>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1"/>
                  </a:solidFill>
                  <a:effectLst/>
                  <a:uLnTx/>
                  <a:uFillTx/>
                  <a:ea typeface="+mn-ea"/>
                  <a:cs typeface="+mn-cs"/>
                </a:rPr>
                <a:t>BP2</a:t>
              </a:r>
            </a:p>
          </p:txBody>
        </p:sp>
        <p:sp>
          <p:nvSpPr>
            <p:cNvPr id="28" name="Oval 27">
              <a:extLst>
                <a:ext uri="{FF2B5EF4-FFF2-40B4-BE49-F238E27FC236}">
                  <a16:creationId xmlns:a16="http://schemas.microsoft.com/office/drawing/2014/main" id="{0462A212-7E52-42D1-930A-6C8AC8DB46D1}"/>
                </a:ext>
              </a:extLst>
            </p:cNvPr>
            <p:cNvSpPr/>
            <p:nvPr/>
          </p:nvSpPr>
          <p:spPr>
            <a:xfrm>
              <a:off x="7884303" y="3253432"/>
              <a:ext cx="1248975" cy="419174"/>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1"/>
                  </a:solidFill>
                  <a:effectLst/>
                  <a:uLnTx/>
                  <a:uFillTx/>
                  <a:ea typeface="+mn-ea"/>
                  <a:cs typeface="+mn-cs"/>
                </a:rPr>
                <a:t>BP1: OEM </a:t>
              </a:r>
            </a:p>
          </p:txBody>
        </p:sp>
        <p:cxnSp>
          <p:nvCxnSpPr>
            <p:cNvPr id="29" name="Curved Connector 66">
              <a:extLst>
                <a:ext uri="{FF2B5EF4-FFF2-40B4-BE49-F238E27FC236}">
                  <a16:creationId xmlns:a16="http://schemas.microsoft.com/office/drawing/2014/main" id="{1B915110-7EFF-4E9A-88B3-EE4DEF6D7F48}"/>
                </a:ext>
              </a:extLst>
            </p:cNvPr>
            <p:cNvCxnSpPr>
              <a:cxnSpLocks/>
              <a:stCxn id="24" idx="2"/>
              <a:endCxn id="28" idx="4"/>
            </p:cNvCxnSpPr>
            <p:nvPr/>
          </p:nvCxnSpPr>
          <p:spPr>
            <a:xfrm rot="16200000" flipH="1">
              <a:off x="6899575" y="2063389"/>
              <a:ext cx="222433" cy="2995999"/>
            </a:xfrm>
            <a:prstGeom prst="curvedConnector3">
              <a:avLst>
                <a:gd name="adj1" fmla="val 202773"/>
              </a:avLst>
            </a:prstGeom>
            <a:ln>
              <a:solidFill>
                <a:schemeClr val="accent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CE288CDE-21FC-482E-89B2-45D78334A600}"/>
                </a:ext>
              </a:extLst>
            </p:cNvPr>
            <p:cNvSpPr/>
            <p:nvPr/>
          </p:nvSpPr>
          <p:spPr>
            <a:xfrm>
              <a:off x="9008024" y="1847967"/>
              <a:ext cx="1248975" cy="419174"/>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1"/>
                  </a:solidFill>
                  <a:effectLst/>
                  <a:uLnTx/>
                  <a:uFillTx/>
                  <a:ea typeface="+mn-ea"/>
                  <a:cs typeface="+mn-cs"/>
                </a:rPr>
                <a:t>Platform</a:t>
              </a:r>
            </a:p>
          </p:txBody>
        </p:sp>
        <p:sp>
          <p:nvSpPr>
            <p:cNvPr id="31" name="Oval 30">
              <a:extLst>
                <a:ext uri="{FF2B5EF4-FFF2-40B4-BE49-F238E27FC236}">
                  <a16:creationId xmlns:a16="http://schemas.microsoft.com/office/drawing/2014/main" id="{6D107024-7942-4CC1-91A4-96CC13B3CB34}"/>
                </a:ext>
              </a:extLst>
            </p:cNvPr>
            <p:cNvSpPr/>
            <p:nvPr/>
          </p:nvSpPr>
          <p:spPr>
            <a:xfrm>
              <a:off x="8490409" y="2640952"/>
              <a:ext cx="1248975" cy="419174"/>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1"/>
                  </a:solidFill>
                  <a:effectLst/>
                  <a:uLnTx/>
                  <a:uFillTx/>
                  <a:ea typeface="+mn-ea"/>
                  <a:cs typeface="+mn-cs"/>
                </a:rPr>
                <a:t>BP1: End Customer</a:t>
              </a:r>
            </a:p>
          </p:txBody>
        </p:sp>
        <p:cxnSp>
          <p:nvCxnSpPr>
            <p:cNvPr id="32" name="Curved Connector 66">
              <a:extLst>
                <a:ext uri="{FF2B5EF4-FFF2-40B4-BE49-F238E27FC236}">
                  <a16:creationId xmlns:a16="http://schemas.microsoft.com/office/drawing/2014/main" id="{FB13A1AE-DD45-4562-A446-35309150778E}"/>
                </a:ext>
              </a:extLst>
            </p:cNvPr>
            <p:cNvCxnSpPr>
              <a:cxnSpLocks/>
              <a:stCxn id="24" idx="0"/>
              <a:endCxn id="30" idx="2"/>
            </p:cNvCxnSpPr>
            <p:nvPr/>
          </p:nvCxnSpPr>
          <p:spPr>
            <a:xfrm rot="5400000" flipH="1" flipV="1">
              <a:off x="6746979" y="823368"/>
              <a:ext cx="1026859" cy="3495232"/>
            </a:xfrm>
            <a:prstGeom prst="curvedConnector2">
              <a:avLst/>
            </a:prstGeom>
            <a:ln>
              <a:solidFill>
                <a:schemeClr val="accent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3" name="object 20">
              <a:extLst>
                <a:ext uri="{FF2B5EF4-FFF2-40B4-BE49-F238E27FC236}">
                  <a16:creationId xmlns:a16="http://schemas.microsoft.com/office/drawing/2014/main" id="{77BA4BD5-A8D5-4CB2-8CC3-504EDE686CDA}"/>
                </a:ext>
              </a:extLst>
            </p:cNvPr>
            <p:cNvSpPr txBox="1"/>
            <p:nvPr/>
          </p:nvSpPr>
          <p:spPr>
            <a:xfrm rot="5400000">
              <a:off x="4535427" y="4854578"/>
              <a:ext cx="158120" cy="1718093"/>
            </a:xfrm>
            <a:prstGeom prst="rect">
              <a:avLst/>
            </a:prstGeom>
          </p:spPr>
          <p:txBody>
            <a:bodyPr vert="vert270" wrap="square" lIns="0" tIns="0" rIns="0" bIns="0" rtlCol="0">
              <a:spAutoFit/>
            </a:bodyPr>
            <a:lstStyle/>
            <a:p>
              <a:pPr marL="12700" marR="0" lvl="0" indent="0" algn="ctr" defTabSz="914400" rtl="0" eaLnBrk="1" fontAlgn="auto" latinLnBrk="0" hangingPunct="1">
                <a:lnSpc>
                  <a:spcPts val="1315"/>
                </a:lnSpc>
                <a:spcBef>
                  <a:spcPts val="0"/>
                </a:spcBef>
                <a:spcAft>
                  <a:spcPts val="0"/>
                </a:spcAft>
                <a:buClrTx/>
                <a:buSzTx/>
                <a:buFontTx/>
                <a:buNone/>
                <a:tabLst/>
                <a:defRPr/>
              </a:pPr>
              <a:r>
                <a:rPr kumimoji="0" lang="en-US" sz="1000" b="0" i="0" u="none" strike="noStrike" kern="1200" cap="none" spc="-5" normalizeH="0" baseline="0" noProof="0" dirty="0">
                  <a:ln>
                    <a:noFill/>
                  </a:ln>
                  <a:solidFill>
                    <a:prstClr val="black"/>
                  </a:solidFill>
                  <a:effectLst/>
                  <a:uLnTx/>
                  <a:uFillTx/>
                  <a:ea typeface="+mn-ea"/>
                  <a:cs typeface="Arial"/>
                </a:rPr>
                <a:t>&lt;Year 1</a:t>
              </a:r>
              <a:endParaRPr kumimoji="0" sz="1000" b="0" i="0" u="none" strike="noStrike" kern="1200" cap="none" spc="0" normalizeH="0" baseline="0" noProof="0" dirty="0">
                <a:ln>
                  <a:noFill/>
                </a:ln>
                <a:solidFill>
                  <a:prstClr val="black"/>
                </a:solidFill>
                <a:effectLst/>
                <a:uLnTx/>
                <a:uFillTx/>
                <a:ea typeface="+mn-ea"/>
                <a:cs typeface="Arial"/>
              </a:endParaRPr>
            </a:p>
          </p:txBody>
        </p:sp>
        <p:cxnSp>
          <p:nvCxnSpPr>
            <p:cNvPr id="34" name="Curved Connector 66">
              <a:extLst>
                <a:ext uri="{FF2B5EF4-FFF2-40B4-BE49-F238E27FC236}">
                  <a16:creationId xmlns:a16="http://schemas.microsoft.com/office/drawing/2014/main" id="{59BDE96A-018D-44BD-BACD-310D36D91147}"/>
                </a:ext>
              </a:extLst>
            </p:cNvPr>
            <p:cNvCxnSpPr>
              <a:cxnSpLocks/>
              <a:stCxn id="24" idx="3"/>
              <a:endCxn id="27" idx="2"/>
            </p:cNvCxnSpPr>
            <p:nvPr/>
          </p:nvCxnSpPr>
          <p:spPr>
            <a:xfrm flipV="1">
              <a:off x="5695672" y="2523265"/>
              <a:ext cx="1518436" cy="744028"/>
            </a:xfrm>
            <a:prstGeom prst="curvedConnector3">
              <a:avLst>
                <a:gd name="adj1" fmla="val 50000"/>
              </a:avLst>
            </a:prstGeom>
            <a:ln w="19050">
              <a:solidFill>
                <a:schemeClr val="accent1">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35" name="Curved Connector 66">
              <a:extLst>
                <a:ext uri="{FF2B5EF4-FFF2-40B4-BE49-F238E27FC236}">
                  <a16:creationId xmlns:a16="http://schemas.microsoft.com/office/drawing/2014/main" id="{B40DFDED-A638-4CDB-860C-39DA46A016EC}"/>
                </a:ext>
              </a:extLst>
            </p:cNvPr>
            <p:cNvCxnSpPr>
              <a:cxnSpLocks/>
              <a:stCxn id="24" idx="2"/>
              <a:endCxn id="31" idx="2"/>
            </p:cNvCxnSpPr>
            <p:nvPr/>
          </p:nvCxnSpPr>
          <p:spPr>
            <a:xfrm rot="5400000" flipH="1" flipV="1">
              <a:off x="6701783" y="1661547"/>
              <a:ext cx="599634" cy="2977617"/>
            </a:xfrm>
            <a:prstGeom prst="curvedConnector4">
              <a:avLst>
                <a:gd name="adj1" fmla="val -38123"/>
                <a:gd name="adj2" fmla="val 53071"/>
              </a:avLst>
            </a:prstGeom>
            <a:ln>
              <a:solidFill>
                <a:schemeClr val="accent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6" name="object 20">
              <a:extLst>
                <a:ext uri="{FF2B5EF4-FFF2-40B4-BE49-F238E27FC236}">
                  <a16:creationId xmlns:a16="http://schemas.microsoft.com/office/drawing/2014/main" id="{27D2B174-8345-4CD2-A3D2-5F1FF53C2D22}"/>
                </a:ext>
              </a:extLst>
            </p:cNvPr>
            <p:cNvSpPr txBox="1"/>
            <p:nvPr/>
          </p:nvSpPr>
          <p:spPr>
            <a:xfrm rot="5400000">
              <a:off x="7423815" y="4854578"/>
              <a:ext cx="158120" cy="1718093"/>
            </a:xfrm>
            <a:prstGeom prst="rect">
              <a:avLst/>
            </a:prstGeom>
          </p:spPr>
          <p:txBody>
            <a:bodyPr vert="vert270" wrap="square" lIns="0" tIns="0" rIns="0" bIns="0" rtlCol="0">
              <a:spAutoFit/>
            </a:bodyPr>
            <a:lstStyle/>
            <a:p>
              <a:pPr marL="12700" marR="0" lvl="0" indent="0" algn="ctr" defTabSz="914400" rtl="0" eaLnBrk="1" fontAlgn="auto" latinLnBrk="0" hangingPunct="1">
                <a:lnSpc>
                  <a:spcPts val="1315"/>
                </a:lnSpc>
                <a:spcBef>
                  <a:spcPts val="0"/>
                </a:spcBef>
                <a:spcAft>
                  <a:spcPts val="0"/>
                </a:spcAft>
                <a:buClrTx/>
                <a:buSzTx/>
                <a:buFontTx/>
                <a:buNone/>
                <a:tabLst/>
                <a:defRPr/>
              </a:pPr>
              <a:r>
                <a:rPr kumimoji="0" lang="en-US" sz="1000" b="0" i="0" u="none" strike="noStrike" kern="1200" cap="none" spc="-5" normalizeH="0" baseline="0" noProof="0" dirty="0">
                  <a:ln>
                    <a:noFill/>
                  </a:ln>
                  <a:solidFill>
                    <a:prstClr val="black"/>
                  </a:solidFill>
                  <a:effectLst/>
                  <a:uLnTx/>
                  <a:uFillTx/>
                  <a:ea typeface="+mn-ea"/>
                  <a:cs typeface="Arial"/>
                </a:rPr>
                <a:t>Year 1+</a:t>
              </a:r>
              <a:endParaRPr kumimoji="0" sz="1000" b="0" i="0" u="none" strike="noStrike" kern="1200" cap="none" spc="0" normalizeH="0" baseline="0" noProof="0" dirty="0">
                <a:ln>
                  <a:noFill/>
                </a:ln>
                <a:solidFill>
                  <a:prstClr val="black"/>
                </a:solidFill>
                <a:effectLst/>
                <a:uLnTx/>
                <a:uFillTx/>
                <a:ea typeface="+mn-ea"/>
                <a:cs typeface="Arial"/>
              </a:endParaRPr>
            </a:p>
          </p:txBody>
        </p:sp>
        <p:cxnSp>
          <p:nvCxnSpPr>
            <p:cNvPr id="37" name="Curved Connector 66">
              <a:extLst>
                <a:ext uri="{FF2B5EF4-FFF2-40B4-BE49-F238E27FC236}">
                  <a16:creationId xmlns:a16="http://schemas.microsoft.com/office/drawing/2014/main" id="{D1B14E36-BAB5-45FA-BD4B-D424447E6E3F}"/>
                </a:ext>
              </a:extLst>
            </p:cNvPr>
            <p:cNvCxnSpPr>
              <a:cxnSpLocks/>
              <a:stCxn id="27" idx="6"/>
              <a:endCxn id="30" idx="4"/>
            </p:cNvCxnSpPr>
            <p:nvPr/>
          </p:nvCxnSpPr>
          <p:spPr>
            <a:xfrm flipV="1">
              <a:off x="7779769" y="2267141"/>
              <a:ext cx="1852743" cy="256124"/>
            </a:xfrm>
            <a:prstGeom prst="curvedConnector2">
              <a:avLst/>
            </a:prstGeom>
            <a:ln w="19050">
              <a:solidFill>
                <a:schemeClr val="accent1">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38" name="Freeform 944">
              <a:extLst>
                <a:ext uri="{FF2B5EF4-FFF2-40B4-BE49-F238E27FC236}">
                  <a16:creationId xmlns:a16="http://schemas.microsoft.com/office/drawing/2014/main" id="{EE6E710C-D458-46A8-9277-E6E9C0E4B00B}"/>
                </a:ext>
              </a:extLst>
            </p:cNvPr>
            <p:cNvSpPr>
              <a:spLocks noChangeAspect="1" noEditPoints="1"/>
            </p:cNvSpPr>
            <p:nvPr/>
          </p:nvSpPr>
          <p:spPr bwMode="auto">
            <a:xfrm>
              <a:off x="5311930" y="3074496"/>
              <a:ext cx="397129" cy="367982"/>
            </a:xfrm>
            <a:custGeom>
              <a:avLst/>
              <a:gdLst>
                <a:gd name="T0" fmla="*/ 330 w 512"/>
                <a:gd name="T1" fmla="*/ 362 h 512"/>
                <a:gd name="T2" fmla="*/ 181 w 512"/>
                <a:gd name="T3" fmla="*/ 384 h 512"/>
                <a:gd name="T4" fmla="*/ 335 w 512"/>
                <a:gd name="T5" fmla="*/ 227 h 512"/>
                <a:gd name="T6" fmla="*/ 320 w 512"/>
                <a:gd name="T7" fmla="*/ 209 h 512"/>
                <a:gd name="T8" fmla="*/ 308 w 512"/>
                <a:gd name="T9" fmla="*/ 186 h 512"/>
                <a:gd name="T10" fmla="*/ 306 w 512"/>
                <a:gd name="T11" fmla="*/ 149 h 512"/>
                <a:gd name="T12" fmla="*/ 271 w 512"/>
                <a:gd name="T13" fmla="*/ 147 h 512"/>
                <a:gd name="T14" fmla="*/ 245 w 512"/>
                <a:gd name="T15" fmla="*/ 149 h 512"/>
                <a:gd name="T16" fmla="*/ 142 w 512"/>
                <a:gd name="T17" fmla="*/ 217 h 512"/>
                <a:gd name="T18" fmla="*/ 221 w 512"/>
                <a:gd name="T19" fmla="*/ 224 h 512"/>
                <a:gd name="T20" fmla="*/ 252 w 512"/>
                <a:gd name="T21" fmla="*/ 246 h 512"/>
                <a:gd name="T22" fmla="*/ 203 w 512"/>
                <a:gd name="T23" fmla="*/ 341 h 512"/>
                <a:gd name="T24" fmla="*/ 309 w 512"/>
                <a:gd name="T25" fmla="*/ 320 h 512"/>
                <a:gd name="T26" fmla="*/ 321 w 512"/>
                <a:gd name="T27" fmla="*/ 309 h 512"/>
                <a:gd name="T28" fmla="*/ 310 w 512"/>
                <a:gd name="T29" fmla="*/ 284 h 512"/>
                <a:gd name="T30" fmla="*/ 334 w 512"/>
                <a:gd name="T31" fmla="*/ 272 h 512"/>
                <a:gd name="T32" fmla="*/ 323 w 512"/>
                <a:gd name="T33" fmla="*/ 242 h 512"/>
                <a:gd name="T34" fmla="*/ 512 w 512"/>
                <a:gd name="T35" fmla="*/ 256 h 512"/>
                <a:gd name="T36" fmla="*/ 0 w 512"/>
                <a:gd name="T37" fmla="*/ 256 h 512"/>
                <a:gd name="T38" fmla="*/ 512 w 512"/>
                <a:gd name="T39" fmla="*/ 256 h 512"/>
                <a:gd name="T40" fmla="*/ 345 w 512"/>
                <a:gd name="T41" fmla="*/ 249 h 512"/>
                <a:gd name="T42" fmla="*/ 362 w 512"/>
                <a:gd name="T43" fmla="*/ 221 h 512"/>
                <a:gd name="T44" fmla="*/ 344 w 512"/>
                <a:gd name="T45" fmla="*/ 208 h 512"/>
                <a:gd name="T46" fmla="*/ 350 w 512"/>
                <a:gd name="T47" fmla="*/ 179 h 512"/>
                <a:gd name="T48" fmla="*/ 324 w 512"/>
                <a:gd name="T49" fmla="*/ 168 h 512"/>
                <a:gd name="T50" fmla="*/ 328 w 512"/>
                <a:gd name="T51" fmla="*/ 132 h 512"/>
                <a:gd name="T52" fmla="*/ 281 w 512"/>
                <a:gd name="T53" fmla="*/ 128 h 512"/>
                <a:gd name="T54" fmla="*/ 230 w 512"/>
                <a:gd name="T55" fmla="*/ 97 h 512"/>
                <a:gd name="T56" fmla="*/ 224 w 512"/>
                <a:gd name="T57" fmla="*/ 143 h 512"/>
                <a:gd name="T58" fmla="*/ 118 w 512"/>
                <a:gd name="T59" fmla="*/ 218 h 512"/>
                <a:gd name="T60" fmla="*/ 152 w 512"/>
                <a:gd name="T61" fmla="*/ 266 h 512"/>
                <a:gd name="T62" fmla="*/ 231 w 512"/>
                <a:gd name="T63" fmla="*/ 252 h 512"/>
                <a:gd name="T64" fmla="*/ 182 w 512"/>
                <a:gd name="T65" fmla="*/ 341 h 512"/>
                <a:gd name="T66" fmla="*/ 160 w 512"/>
                <a:gd name="T67" fmla="*/ 352 h 512"/>
                <a:gd name="T68" fmla="*/ 170 w 512"/>
                <a:gd name="T69" fmla="*/ 405 h 512"/>
                <a:gd name="T70" fmla="*/ 352 w 512"/>
                <a:gd name="T71" fmla="*/ 394 h 512"/>
                <a:gd name="T72" fmla="*/ 341 w 512"/>
                <a:gd name="T73" fmla="*/ 341 h 512"/>
                <a:gd name="T74" fmla="*/ 330 w 512"/>
                <a:gd name="T75" fmla="*/ 330 h 512"/>
                <a:gd name="T76" fmla="*/ 350 w 512"/>
                <a:gd name="T77" fmla="*/ 325 h 512"/>
                <a:gd name="T78" fmla="*/ 336 w 512"/>
                <a:gd name="T79" fmla="*/ 293 h 512"/>
                <a:gd name="T80" fmla="*/ 362 w 512"/>
                <a:gd name="T81" fmla="*/ 28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181" y="362"/>
                  </a:moveTo>
                  <a:cubicBezTo>
                    <a:pt x="330" y="362"/>
                    <a:pt x="330" y="362"/>
                    <a:pt x="330" y="362"/>
                  </a:cubicBezTo>
                  <a:cubicBezTo>
                    <a:pt x="330" y="384"/>
                    <a:pt x="330" y="384"/>
                    <a:pt x="330" y="384"/>
                  </a:cubicBezTo>
                  <a:cubicBezTo>
                    <a:pt x="181" y="384"/>
                    <a:pt x="181" y="384"/>
                    <a:pt x="181" y="384"/>
                  </a:cubicBezTo>
                  <a:lnTo>
                    <a:pt x="181" y="362"/>
                  </a:lnTo>
                  <a:close/>
                  <a:moveTo>
                    <a:pt x="335" y="227"/>
                  </a:moveTo>
                  <a:cubicBezTo>
                    <a:pt x="326" y="223"/>
                    <a:pt x="326" y="223"/>
                    <a:pt x="326" y="223"/>
                  </a:cubicBezTo>
                  <a:cubicBezTo>
                    <a:pt x="321" y="220"/>
                    <a:pt x="318" y="215"/>
                    <a:pt x="320" y="209"/>
                  </a:cubicBezTo>
                  <a:cubicBezTo>
                    <a:pt x="327" y="191"/>
                    <a:pt x="327" y="191"/>
                    <a:pt x="327" y="191"/>
                  </a:cubicBezTo>
                  <a:cubicBezTo>
                    <a:pt x="308" y="186"/>
                    <a:pt x="308" y="186"/>
                    <a:pt x="308" y="186"/>
                  </a:cubicBezTo>
                  <a:cubicBezTo>
                    <a:pt x="303" y="184"/>
                    <a:pt x="300" y="178"/>
                    <a:pt x="301" y="173"/>
                  </a:cubicBezTo>
                  <a:cubicBezTo>
                    <a:pt x="306" y="149"/>
                    <a:pt x="306" y="149"/>
                    <a:pt x="306" y="149"/>
                  </a:cubicBezTo>
                  <a:cubicBezTo>
                    <a:pt x="277" y="149"/>
                    <a:pt x="277" y="149"/>
                    <a:pt x="277" y="149"/>
                  </a:cubicBezTo>
                  <a:cubicBezTo>
                    <a:pt x="275" y="149"/>
                    <a:pt x="272" y="148"/>
                    <a:pt x="271" y="147"/>
                  </a:cubicBezTo>
                  <a:cubicBezTo>
                    <a:pt x="245" y="128"/>
                    <a:pt x="245" y="128"/>
                    <a:pt x="245" y="128"/>
                  </a:cubicBezTo>
                  <a:cubicBezTo>
                    <a:pt x="245" y="149"/>
                    <a:pt x="245" y="149"/>
                    <a:pt x="245" y="149"/>
                  </a:cubicBezTo>
                  <a:cubicBezTo>
                    <a:pt x="245" y="153"/>
                    <a:pt x="243" y="156"/>
                    <a:pt x="240" y="158"/>
                  </a:cubicBezTo>
                  <a:cubicBezTo>
                    <a:pt x="142" y="217"/>
                    <a:pt x="142" y="217"/>
                    <a:pt x="142" y="217"/>
                  </a:cubicBezTo>
                  <a:cubicBezTo>
                    <a:pt x="155" y="243"/>
                    <a:pt x="155" y="243"/>
                    <a:pt x="155" y="243"/>
                  </a:cubicBezTo>
                  <a:cubicBezTo>
                    <a:pt x="221" y="224"/>
                    <a:pt x="221" y="224"/>
                    <a:pt x="221" y="224"/>
                  </a:cubicBezTo>
                  <a:cubicBezTo>
                    <a:pt x="223" y="224"/>
                    <a:pt x="225" y="224"/>
                    <a:pt x="227" y="224"/>
                  </a:cubicBezTo>
                  <a:cubicBezTo>
                    <a:pt x="229" y="225"/>
                    <a:pt x="248" y="231"/>
                    <a:pt x="252" y="246"/>
                  </a:cubicBezTo>
                  <a:cubicBezTo>
                    <a:pt x="254" y="253"/>
                    <a:pt x="253" y="263"/>
                    <a:pt x="242" y="274"/>
                  </a:cubicBezTo>
                  <a:cubicBezTo>
                    <a:pt x="218" y="298"/>
                    <a:pt x="206" y="319"/>
                    <a:pt x="203" y="341"/>
                  </a:cubicBezTo>
                  <a:cubicBezTo>
                    <a:pt x="309" y="341"/>
                    <a:pt x="309" y="341"/>
                    <a:pt x="309" y="341"/>
                  </a:cubicBezTo>
                  <a:cubicBezTo>
                    <a:pt x="309" y="320"/>
                    <a:pt x="309" y="320"/>
                    <a:pt x="309" y="320"/>
                  </a:cubicBezTo>
                  <a:cubicBezTo>
                    <a:pt x="309" y="314"/>
                    <a:pt x="314" y="309"/>
                    <a:pt x="320" y="309"/>
                  </a:cubicBezTo>
                  <a:cubicBezTo>
                    <a:pt x="321" y="309"/>
                    <a:pt x="321" y="309"/>
                    <a:pt x="321" y="309"/>
                  </a:cubicBezTo>
                  <a:cubicBezTo>
                    <a:pt x="311" y="294"/>
                    <a:pt x="311" y="294"/>
                    <a:pt x="311" y="294"/>
                  </a:cubicBezTo>
                  <a:cubicBezTo>
                    <a:pt x="309" y="291"/>
                    <a:pt x="309" y="287"/>
                    <a:pt x="310" y="284"/>
                  </a:cubicBezTo>
                  <a:cubicBezTo>
                    <a:pt x="311" y="281"/>
                    <a:pt x="313" y="279"/>
                    <a:pt x="316" y="278"/>
                  </a:cubicBezTo>
                  <a:cubicBezTo>
                    <a:pt x="334" y="272"/>
                    <a:pt x="334" y="272"/>
                    <a:pt x="334" y="272"/>
                  </a:cubicBezTo>
                  <a:cubicBezTo>
                    <a:pt x="323" y="256"/>
                    <a:pt x="323" y="256"/>
                    <a:pt x="323" y="256"/>
                  </a:cubicBezTo>
                  <a:cubicBezTo>
                    <a:pt x="320" y="252"/>
                    <a:pt x="320" y="246"/>
                    <a:pt x="323" y="242"/>
                  </a:cubicBezTo>
                  <a:lnTo>
                    <a:pt x="335" y="22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0" y="271"/>
                  </a:moveTo>
                  <a:cubicBezTo>
                    <a:pt x="345" y="249"/>
                    <a:pt x="345" y="249"/>
                    <a:pt x="345" y="249"/>
                  </a:cubicBezTo>
                  <a:cubicBezTo>
                    <a:pt x="360" y="230"/>
                    <a:pt x="360" y="230"/>
                    <a:pt x="360" y="230"/>
                  </a:cubicBezTo>
                  <a:cubicBezTo>
                    <a:pt x="362" y="228"/>
                    <a:pt x="363" y="225"/>
                    <a:pt x="362" y="221"/>
                  </a:cubicBezTo>
                  <a:cubicBezTo>
                    <a:pt x="361" y="218"/>
                    <a:pt x="359" y="216"/>
                    <a:pt x="356" y="214"/>
                  </a:cubicBezTo>
                  <a:cubicBezTo>
                    <a:pt x="344" y="208"/>
                    <a:pt x="344" y="208"/>
                    <a:pt x="344" y="208"/>
                  </a:cubicBezTo>
                  <a:cubicBezTo>
                    <a:pt x="351" y="187"/>
                    <a:pt x="351" y="187"/>
                    <a:pt x="351" y="187"/>
                  </a:cubicBezTo>
                  <a:cubicBezTo>
                    <a:pt x="352" y="184"/>
                    <a:pt x="351" y="181"/>
                    <a:pt x="350" y="179"/>
                  </a:cubicBezTo>
                  <a:cubicBezTo>
                    <a:pt x="349" y="176"/>
                    <a:pt x="346" y="174"/>
                    <a:pt x="344" y="173"/>
                  </a:cubicBezTo>
                  <a:cubicBezTo>
                    <a:pt x="324" y="168"/>
                    <a:pt x="324" y="168"/>
                    <a:pt x="324" y="168"/>
                  </a:cubicBezTo>
                  <a:cubicBezTo>
                    <a:pt x="330" y="141"/>
                    <a:pt x="330" y="141"/>
                    <a:pt x="330" y="141"/>
                  </a:cubicBezTo>
                  <a:cubicBezTo>
                    <a:pt x="331" y="138"/>
                    <a:pt x="330" y="134"/>
                    <a:pt x="328" y="132"/>
                  </a:cubicBezTo>
                  <a:cubicBezTo>
                    <a:pt x="326" y="129"/>
                    <a:pt x="323" y="128"/>
                    <a:pt x="320" y="128"/>
                  </a:cubicBezTo>
                  <a:cubicBezTo>
                    <a:pt x="281" y="128"/>
                    <a:pt x="281" y="128"/>
                    <a:pt x="281" y="128"/>
                  </a:cubicBezTo>
                  <a:cubicBezTo>
                    <a:pt x="241" y="98"/>
                    <a:pt x="241" y="98"/>
                    <a:pt x="241" y="98"/>
                  </a:cubicBezTo>
                  <a:cubicBezTo>
                    <a:pt x="237" y="95"/>
                    <a:pt x="233" y="95"/>
                    <a:pt x="230" y="97"/>
                  </a:cubicBezTo>
                  <a:cubicBezTo>
                    <a:pt x="226" y="99"/>
                    <a:pt x="224" y="102"/>
                    <a:pt x="224" y="106"/>
                  </a:cubicBezTo>
                  <a:cubicBezTo>
                    <a:pt x="224" y="143"/>
                    <a:pt x="224" y="143"/>
                    <a:pt x="224" y="143"/>
                  </a:cubicBezTo>
                  <a:cubicBezTo>
                    <a:pt x="122" y="204"/>
                    <a:pt x="122" y="204"/>
                    <a:pt x="122" y="204"/>
                  </a:cubicBezTo>
                  <a:cubicBezTo>
                    <a:pt x="117" y="207"/>
                    <a:pt x="116" y="213"/>
                    <a:pt x="118" y="218"/>
                  </a:cubicBezTo>
                  <a:cubicBezTo>
                    <a:pt x="139" y="260"/>
                    <a:pt x="139" y="260"/>
                    <a:pt x="139" y="260"/>
                  </a:cubicBezTo>
                  <a:cubicBezTo>
                    <a:pt x="142" y="265"/>
                    <a:pt x="147" y="267"/>
                    <a:pt x="152" y="266"/>
                  </a:cubicBezTo>
                  <a:cubicBezTo>
                    <a:pt x="223" y="246"/>
                    <a:pt x="223" y="246"/>
                    <a:pt x="223" y="246"/>
                  </a:cubicBezTo>
                  <a:cubicBezTo>
                    <a:pt x="227" y="247"/>
                    <a:pt x="231" y="250"/>
                    <a:pt x="231" y="252"/>
                  </a:cubicBezTo>
                  <a:cubicBezTo>
                    <a:pt x="231" y="252"/>
                    <a:pt x="231" y="255"/>
                    <a:pt x="227" y="259"/>
                  </a:cubicBezTo>
                  <a:cubicBezTo>
                    <a:pt x="209" y="277"/>
                    <a:pt x="186" y="304"/>
                    <a:pt x="182" y="341"/>
                  </a:cubicBezTo>
                  <a:cubicBezTo>
                    <a:pt x="170" y="341"/>
                    <a:pt x="170" y="341"/>
                    <a:pt x="170" y="341"/>
                  </a:cubicBezTo>
                  <a:cubicBezTo>
                    <a:pt x="164" y="341"/>
                    <a:pt x="160" y="346"/>
                    <a:pt x="160" y="352"/>
                  </a:cubicBezTo>
                  <a:cubicBezTo>
                    <a:pt x="160" y="394"/>
                    <a:pt x="160" y="394"/>
                    <a:pt x="160" y="394"/>
                  </a:cubicBezTo>
                  <a:cubicBezTo>
                    <a:pt x="160" y="400"/>
                    <a:pt x="164" y="405"/>
                    <a:pt x="170" y="405"/>
                  </a:cubicBezTo>
                  <a:cubicBezTo>
                    <a:pt x="341" y="405"/>
                    <a:pt x="341" y="405"/>
                    <a:pt x="341" y="405"/>
                  </a:cubicBezTo>
                  <a:cubicBezTo>
                    <a:pt x="347" y="405"/>
                    <a:pt x="352" y="400"/>
                    <a:pt x="352" y="394"/>
                  </a:cubicBezTo>
                  <a:cubicBezTo>
                    <a:pt x="352" y="352"/>
                    <a:pt x="352" y="352"/>
                    <a:pt x="352" y="352"/>
                  </a:cubicBezTo>
                  <a:cubicBezTo>
                    <a:pt x="352" y="346"/>
                    <a:pt x="347" y="341"/>
                    <a:pt x="341" y="341"/>
                  </a:cubicBezTo>
                  <a:cubicBezTo>
                    <a:pt x="330" y="341"/>
                    <a:pt x="330" y="341"/>
                    <a:pt x="330" y="341"/>
                  </a:cubicBezTo>
                  <a:cubicBezTo>
                    <a:pt x="330" y="330"/>
                    <a:pt x="330" y="330"/>
                    <a:pt x="330" y="330"/>
                  </a:cubicBezTo>
                  <a:cubicBezTo>
                    <a:pt x="341" y="330"/>
                    <a:pt x="341" y="330"/>
                    <a:pt x="341" y="330"/>
                  </a:cubicBezTo>
                  <a:cubicBezTo>
                    <a:pt x="345" y="330"/>
                    <a:pt x="349" y="328"/>
                    <a:pt x="350" y="325"/>
                  </a:cubicBezTo>
                  <a:cubicBezTo>
                    <a:pt x="352" y="321"/>
                    <a:pt x="352" y="317"/>
                    <a:pt x="350" y="314"/>
                  </a:cubicBezTo>
                  <a:cubicBezTo>
                    <a:pt x="336" y="293"/>
                    <a:pt x="336" y="293"/>
                    <a:pt x="336" y="293"/>
                  </a:cubicBezTo>
                  <a:cubicBezTo>
                    <a:pt x="355" y="287"/>
                    <a:pt x="355" y="287"/>
                    <a:pt x="355" y="287"/>
                  </a:cubicBezTo>
                  <a:cubicBezTo>
                    <a:pt x="358" y="286"/>
                    <a:pt x="361" y="283"/>
                    <a:pt x="362" y="280"/>
                  </a:cubicBezTo>
                  <a:cubicBezTo>
                    <a:pt x="363" y="277"/>
                    <a:pt x="362" y="273"/>
                    <a:pt x="360" y="27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C5C5C"/>
                </a:solidFill>
                <a:effectLst/>
                <a:uLnTx/>
                <a:uFillTx/>
                <a:ea typeface="+mn-ea"/>
                <a:cs typeface="+mn-cs"/>
              </a:endParaRPr>
            </a:p>
          </p:txBody>
        </p:sp>
      </p:grpSp>
      <p:cxnSp>
        <p:nvCxnSpPr>
          <p:cNvPr id="47" name="Straight Arrow Connector 46">
            <a:extLst>
              <a:ext uri="{FF2B5EF4-FFF2-40B4-BE49-F238E27FC236}">
                <a16:creationId xmlns:a16="http://schemas.microsoft.com/office/drawing/2014/main" id="{22215391-9275-4739-AB8C-F54485FFCD16}"/>
              </a:ext>
            </a:extLst>
          </p:cNvPr>
          <p:cNvCxnSpPr/>
          <p:nvPr/>
        </p:nvCxnSpPr>
        <p:spPr>
          <a:xfrm>
            <a:off x="5215814" y="6184129"/>
            <a:ext cx="283885" cy="0"/>
          </a:xfrm>
          <a:prstGeom prst="straightConnector1">
            <a:avLst/>
          </a:prstGeom>
          <a:ln w="12700">
            <a:solidFill>
              <a:schemeClr val="accent1">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6B5C3FFE-B983-4258-BB36-7C5DE124CFA8}"/>
              </a:ext>
            </a:extLst>
          </p:cNvPr>
          <p:cNvSpPr txBox="1"/>
          <p:nvPr/>
        </p:nvSpPr>
        <p:spPr>
          <a:xfrm>
            <a:off x="5483994" y="6049900"/>
            <a:ext cx="1291300"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ea typeface="+mn-ea"/>
                <a:cs typeface="+mn-cs"/>
              </a:rPr>
              <a:t>Alternative path</a:t>
            </a:r>
          </a:p>
        </p:txBody>
      </p:sp>
      <p:cxnSp>
        <p:nvCxnSpPr>
          <p:cNvPr id="45" name="Straight Arrow Connector 44">
            <a:extLst>
              <a:ext uri="{FF2B5EF4-FFF2-40B4-BE49-F238E27FC236}">
                <a16:creationId xmlns:a16="http://schemas.microsoft.com/office/drawing/2014/main" id="{516AA6DF-AACF-42C5-9CEC-1D7C4C79D19D}"/>
              </a:ext>
            </a:extLst>
          </p:cNvPr>
          <p:cNvCxnSpPr/>
          <p:nvPr/>
        </p:nvCxnSpPr>
        <p:spPr>
          <a:xfrm>
            <a:off x="6840197" y="6184129"/>
            <a:ext cx="283885" cy="0"/>
          </a:xfrm>
          <a:prstGeom prst="straightConnector1">
            <a:avLst/>
          </a:prstGeom>
          <a:ln w="12700">
            <a:solidFill>
              <a:schemeClr val="accent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E6B49DEF-7583-4A38-A209-E3F6EBE2AE4D}"/>
              </a:ext>
            </a:extLst>
          </p:cNvPr>
          <p:cNvSpPr txBox="1"/>
          <p:nvPr/>
        </p:nvSpPr>
        <p:spPr>
          <a:xfrm>
            <a:off x="7103585" y="6049901"/>
            <a:ext cx="1569314"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ea typeface="+mn-ea"/>
                <a:cs typeface="+mn-cs"/>
              </a:rPr>
              <a:t>Recommended path</a:t>
            </a:r>
          </a:p>
        </p:txBody>
      </p:sp>
      <p:sp>
        <p:nvSpPr>
          <p:cNvPr id="43" name="Oval 42">
            <a:extLst>
              <a:ext uri="{FF2B5EF4-FFF2-40B4-BE49-F238E27FC236}">
                <a16:creationId xmlns:a16="http://schemas.microsoft.com/office/drawing/2014/main" id="{D90B96E5-49D8-42F6-B919-87A1624D3D08}"/>
              </a:ext>
            </a:extLst>
          </p:cNvPr>
          <p:cNvSpPr/>
          <p:nvPr/>
        </p:nvSpPr>
        <p:spPr>
          <a:xfrm>
            <a:off x="3312877" y="6077417"/>
            <a:ext cx="226711" cy="226711"/>
          </a:xfrm>
          <a:prstGeom prst="ellipse">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noProof="0" dirty="0">
              <a:ln>
                <a:noFill/>
              </a:ln>
              <a:solidFill>
                <a:srgbClr val="81BC00"/>
              </a:solidFill>
              <a:effectLst/>
              <a:uLnTx/>
              <a:uFillTx/>
              <a:ea typeface="+mn-ea"/>
              <a:cs typeface="+mn-cs"/>
            </a:endParaRPr>
          </a:p>
        </p:txBody>
      </p:sp>
      <p:sp>
        <p:nvSpPr>
          <p:cNvPr id="44" name="TextBox 43">
            <a:extLst>
              <a:ext uri="{FF2B5EF4-FFF2-40B4-BE49-F238E27FC236}">
                <a16:creationId xmlns:a16="http://schemas.microsoft.com/office/drawing/2014/main" id="{97752DB3-B050-4168-B036-F3903EEB82D7}"/>
              </a:ext>
            </a:extLst>
          </p:cNvPr>
          <p:cNvSpPr txBox="1"/>
          <p:nvPr/>
        </p:nvSpPr>
        <p:spPr>
          <a:xfrm>
            <a:off x="3489168" y="6049901"/>
            <a:ext cx="1661742"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ea typeface="+mn-ea"/>
                <a:cs typeface="+mn-cs"/>
              </a:rPr>
              <a:t>Market ready solution</a:t>
            </a:r>
          </a:p>
        </p:txBody>
      </p:sp>
      <p:sp>
        <p:nvSpPr>
          <p:cNvPr id="49" name="Oval 48">
            <a:extLst>
              <a:ext uri="{FF2B5EF4-FFF2-40B4-BE49-F238E27FC236}">
                <a16:creationId xmlns:a16="http://schemas.microsoft.com/office/drawing/2014/main" id="{88CCA4FD-7901-40FB-AAE9-F47C8727B0F5}"/>
              </a:ext>
            </a:extLst>
          </p:cNvPr>
          <p:cNvSpPr/>
          <p:nvPr/>
        </p:nvSpPr>
        <p:spPr>
          <a:xfrm>
            <a:off x="3236446" y="4402288"/>
            <a:ext cx="1499980" cy="531628"/>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1"/>
                </a:solidFill>
                <a:effectLst/>
                <a:uLnTx/>
                <a:uFillTx/>
                <a:ea typeface="+mn-ea"/>
                <a:cs typeface="+mn-cs"/>
              </a:rPr>
              <a:t>Base Play</a:t>
            </a:r>
          </a:p>
        </p:txBody>
      </p:sp>
    </p:spTree>
    <p:extLst>
      <p:ext uri="{BB962C8B-B14F-4D97-AF65-F5344CB8AC3E}">
        <p14:creationId xmlns:p14="http://schemas.microsoft.com/office/powerpoint/2010/main" val="105603079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4029C99-62D1-43BC-9CAF-3A952AAD26AE}"/>
              </a:ext>
            </a:extLst>
          </p:cNvPr>
          <p:cNvGraphicFramePr>
            <a:graphicFrameLocks noChangeAspect="1"/>
          </p:cNvGraphicFramePr>
          <p:nvPr>
            <p:custDataLst>
              <p:tags r:id="rId2"/>
            </p:custDataLst>
            <p:extLst>
              <p:ext uri="{D42A27DB-BD31-4B8C-83A1-F6EECF244321}">
                <p14:modId xmlns:p14="http://schemas.microsoft.com/office/powerpoint/2010/main" val="1751066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76" name="think-cell Slide" r:id="rId6" imgW="415" imgH="416" progId="TCLayout.ActiveDocument.1">
                  <p:embed/>
                </p:oleObj>
              </mc:Choice>
              <mc:Fallback>
                <p:oleObj name="think-cell Slide" r:id="rId6" imgW="415" imgH="416" progId="TCLayout.ActiveDocument.1">
                  <p:embed/>
                  <p:pic>
                    <p:nvPicPr>
                      <p:cNvPr id="6" name="Object 5" hidden="1">
                        <a:extLst>
                          <a:ext uri="{FF2B5EF4-FFF2-40B4-BE49-F238E27FC236}">
                            <a16:creationId xmlns:a16="http://schemas.microsoft.com/office/drawing/2014/main" id="{74029C99-62D1-43BC-9CAF-3A952AAD26A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8B3C108-599D-451F-B72E-19CA91ECCB5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3EB3827E-CC26-4B3D-9508-BFDAD6A072BF}"/>
              </a:ext>
            </a:extLst>
          </p:cNvPr>
          <p:cNvSpPr>
            <a:spLocks noGrp="1"/>
          </p:cNvSpPr>
          <p:nvPr>
            <p:ph type="title"/>
          </p:nvPr>
        </p:nvSpPr>
        <p:spPr/>
        <p:txBody>
          <a:bodyPr/>
          <a:lstStyle/>
          <a:p>
            <a:r>
              <a:rPr lang="en-US" dirty="0"/>
              <a:t>Retail Cockpit</a:t>
            </a:r>
          </a:p>
        </p:txBody>
      </p:sp>
      <p:sp>
        <p:nvSpPr>
          <p:cNvPr id="3" name="Text Placeholder 2">
            <a:extLst>
              <a:ext uri="{FF2B5EF4-FFF2-40B4-BE49-F238E27FC236}">
                <a16:creationId xmlns:a16="http://schemas.microsoft.com/office/drawing/2014/main" id="{5CE8FB13-E749-4161-A132-D0EB11340A14}"/>
              </a:ext>
            </a:extLst>
          </p:cNvPr>
          <p:cNvSpPr>
            <a:spLocks noGrp="1"/>
          </p:cNvSpPr>
          <p:nvPr>
            <p:ph type="body" sz="quarter" idx="15"/>
          </p:nvPr>
        </p:nvSpPr>
        <p:spPr/>
        <p:txBody>
          <a:bodyPr/>
          <a:lstStyle/>
          <a:p>
            <a:r>
              <a:rPr lang="en-US" dirty="0"/>
              <a:t>Process &amp; customer journey</a:t>
            </a:r>
          </a:p>
        </p:txBody>
      </p:sp>
      <p:sp>
        <p:nvSpPr>
          <p:cNvPr id="7" name="Rectangle 6">
            <a:extLst>
              <a:ext uri="{FF2B5EF4-FFF2-40B4-BE49-F238E27FC236}">
                <a16:creationId xmlns:a16="http://schemas.microsoft.com/office/drawing/2014/main" id="{45EF81B6-8B44-4157-8814-ED79CC90118E}"/>
              </a:ext>
            </a:extLst>
          </p:cNvPr>
          <p:cNvSpPr/>
          <p:nvPr/>
        </p:nvSpPr>
        <p:spPr>
          <a:xfrm>
            <a:off x="914400" y="1335362"/>
            <a:ext cx="9789231" cy="90697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8" name="Rectangle 7">
            <a:extLst>
              <a:ext uri="{FF2B5EF4-FFF2-40B4-BE49-F238E27FC236}">
                <a16:creationId xmlns:a16="http://schemas.microsoft.com/office/drawing/2014/main" id="{51658F7C-2236-43B2-ADF6-E89FCCF37059}"/>
              </a:ext>
            </a:extLst>
          </p:cNvPr>
          <p:cNvSpPr/>
          <p:nvPr/>
        </p:nvSpPr>
        <p:spPr>
          <a:xfrm>
            <a:off x="1126076" y="2367880"/>
            <a:ext cx="9125956" cy="3982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9" name="Group 8">
            <a:extLst>
              <a:ext uri="{FF2B5EF4-FFF2-40B4-BE49-F238E27FC236}">
                <a16:creationId xmlns:a16="http://schemas.microsoft.com/office/drawing/2014/main" id="{954223EE-0A54-4215-AB17-8D84545C127E}"/>
              </a:ext>
            </a:extLst>
          </p:cNvPr>
          <p:cNvGrpSpPr/>
          <p:nvPr/>
        </p:nvGrpSpPr>
        <p:grpSpPr>
          <a:xfrm>
            <a:off x="4392952" y="2153532"/>
            <a:ext cx="3173051" cy="162126"/>
            <a:chOff x="4393738" y="2153532"/>
            <a:chExt cx="3042875" cy="162126"/>
          </a:xfrm>
        </p:grpSpPr>
        <p:cxnSp>
          <p:nvCxnSpPr>
            <p:cNvPr id="10" name="Straight Connector 9">
              <a:extLst>
                <a:ext uri="{FF2B5EF4-FFF2-40B4-BE49-F238E27FC236}">
                  <a16:creationId xmlns:a16="http://schemas.microsoft.com/office/drawing/2014/main" id="{0987A12E-CFD0-40DD-8073-9BCA2FEEE09C}"/>
                </a:ext>
              </a:extLst>
            </p:cNvPr>
            <p:cNvCxnSpPr>
              <a:cxnSpLocks/>
            </p:cNvCxnSpPr>
            <p:nvPr/>
          </p:nvCxnSpPr>
          <p:spPr>
            <a:xfrm flipV="1">
              <a:off x="7436613" y="2162522"/>
              <a:ext cx="0" cy="153136"/>
            </a:xfrm>
            <a:prstGeom prst="line">
              <a:avLst/>
            </a:prstGeom>
            <a:ln w="12700" cmpd="sng">
              <a:solidFill>
                <a:schemeClr val="tx1">
                  <a:lumMod val="75000"/>
                </a:schemeClr>
              </a:solidFill>
              <a:prstDash val="dot"/>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0205EB65-73E3-461C-AE07-CB264175E884}"/>
                </a:ext>
              </a:extLst>
            </p:cNvPr>
            <p:cNvCxnSpPr>
              <a:cxnSpLocks/>
            </p:cNvCxnSpPr>
            <p:nvPr/>
          </p:nvCxnSpPr>
          <p:spPr>
            <a:xfrm flipV="1">
              <a:off x="4393738" y="2153532"/>
              <a:ext cx="0" cy="153136"/>
            </a:xfrm>
            <a:prstGeom prst="line">
              <a:avLst/>
            </a:prstGeom>
            <a:ln w="12700" cmpd="sng">
              <a:solidFill>
                <a:schemeClr val="tx1">
                  <a:lumMod val="75000"/>
                </a:schemeClr>
              </a:solidFill>
              <a:prstDash val="dot"/>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0B2ACB44-C340-4AC1-9C6D-1B1185E05D68}"/>
                </a:ext>
              </a:extLst>
            </p:cNvPr>
            <p:cNvCxnSpPr>
              <a:cxnSpLocks/>
            </p:cNvCxnSpPr>
            <p:nvPr/>
          </p:nvCxnSpPr>
          <p:spPr>
            <a:xfrm flipH="1" flipV="1">
              <a:off x="4417116" y="2305932"/>
              <a:ext cx="2989538" cy="8241"/>
            </a:xfrm>
            <a:prstGeom prst="line">
              <a:avLst/>
            </a:prstGeom>
            <a:ln w="12700" cmpd="sng">
              <a:solidFill>
                <a:schemeClr val="tx1">
                  <a:lumMod val="75000"/>
                </a:schemeClr>
              </a:solidFill>
              <a:prstDash val="dot"/>
            </a:ln>
          </p:spPr>
          <p:style>
            <a:lnRef idx="2">
              <a:schemeClr val="accent1"/>
            </a:lnRef>
            <a:fillRef idx="0">
              <a:schemeClr val="accent1"/>
            </a:fillRef>
            <a:effectRef idx="1">
              <a:schemeClr val="accent1"/>
            </a:effectRef>
            <a:fontRef idx="minor">
              <a:schemeClr val="tx1"/>
            </a:fontRef>
          </p:style>
        </p:cxnSp>
      </p:grpSp>
      <p:sp>
        <p:nvSpPr>
          <p:cNvPr id="13" name="Rectangle 12">
            <a:extLst>
              <a:ext uri="{FF2B5EF4-FFF2-40B4-BE49-F238E27FC236}">
                <a16:creationId xmlns:a16="http://schemas.microsoft.com/office/drawing/2014/main" id="{42C601FE-63E5-473E-A659-F9E3D8B8A6B4}"/>
              </a:ext>
            </a:extLst>
          </p:cNvPr>
          <p:cNvSpPr/>
          <p:nvPr/>
        </p:nvSpPr>
        <p:spPr>
          <a:xfrm>
            <a:off x="5604917" y="1466392"/>
            <a:ext cx="925548" cy="687140"/>
          </a:xfrm>
          <a:prstGeom prst="rect">
            <a:avLst/>
          </a:prstGeom>
          <a:solidFill>
            <a:schemeClr val="bg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Order Director (CMOPS)</a:t>
            </a:r>
          </a:p>
        </p:txBody>
      </p:sp>
      <p:sp>
        <p:nvSpPr>
          <p:cNvPr id="15" name="Rectangle 14">
            <a:extLst>
              <a:ext uri="{FF2B5EF4-FFF2-40B4-BE49-F238E27FC236}">
                <a16:creationId xmlns:a16="http://schemas.microsoft.com/office/drawing/2014/main" id="{1DBDB1F0-718D-41C4-8860-21D04E424F46}"/>
              </a:ext>
            </a:extLst>
          </p:cNvPr>
          <p:cNvSpPr/>
          <p:nvPr/>
        </p:nvSpPr>
        <p:spPr>
          <a:xfrm>
            <a:off x="6922578" y="1466392"/>
            <a:ext cx="925548" cy="687140"/>
          </a:xfrm>
          <a:prstGeom prst="rect">
            <a:avLst/>
          </a:prstGeom>
          <a:solidFill>
            <a:schemeClr val="bg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GSN Portal</a:t>
            </a:r>
          </a:p>
        </p:txBody>
      </p:sp>
      <p:sp>
        <p:nvSpPr>
          <p:cNvPr id="17" name="Rectangle 16">
            <a:extLst>
              <a:ext uri="{FF2B5EF4-FFF2-40B4-BE49-F238E27FC236}">
                <a16:creationId xmlns:a16="http://schemas.microsoft.com/office/drawing/2014/main" id="{0718DD5A-AAA3-410D-A8C0-0E2D1455C720}"/>
              </a:ext>
            </a:extLst>
          </p:cNvPr>
          <p:cNvSpPr/>
          <p:nvPr/>
        </p:nvSpPr>
        <p:spPr>
          <a:xfrm>
            <a:off x="4143045" y="1466392"/>
            <a:ext cx="1069759" cy="687140"/>
          </a:xfrm>
          <a:prstGeom prst="rect">
            <a:avLst/>
          </a:prstGeom>
          <a:solidFill>
            <a:schemeClr val="bg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pic>
        <p:nvPicPr>
          <p:cNvPr id="18" name="Picture 17">
            <a:extLst>
              <a:ext uri="{FF2B5EF4-FFF2-40B4-BE49-F238E27FC236}">
                <a16:creationId xmlns:a16="http://schemas.microsoft.com/office/drawing/2014/main" id="{3BE21B04-7EC6-4090-B448-44D8734CC51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348799" y="1627033"/>
            <a:ext cx="649451" cy="388696"/>
          </a:xfrm>
          <a:prstGeom prst="rect">
            <a:avLst/>
          </a:prstGeom>
        </p:spPr>
      </p:pic>
      <p:sp>
        <p:nvSpPr>
          <p:cNvPr id="19" name="Rectangle 18">
            <a:extLst>
              <a:ext uri="{FF2B5EF4-FFF2-40B4-BE49-F238E27FC236}">
                <a16:creationId xmlns:a16="http://schemas.microsoft.com/office/drawing/2014/main" id="{9AF0E178-196C-4DB2-9072-3F6176C91308}"/>
              </a:ext>
            </a:extLst>
          </p:cNvPr>
          <p:cNvSpPr/>
          <p:nvPr/>
        </p:nvSpPr>
        <p:spPr>
          <a:xfrm>
            <a:off x="1158405" y="1466392"/>
            <a:ext cx="916100" cy="687140"/>
          </a:xfrm>
          <a:prstGeom prst="rect">
            <a:avLst/>
          </a:prstGeom>
          <a:solidFill>
            <a:schemeClr val="bg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pic>
        <p:nvPicPr>
          <p:cNvPr id="20" name="Picture 19">
            <a:extLst>
              <a:ext uri="{FF2B5EF4-FFF2-40B4-BE49-F238E27FC236}">
                <a16:creationId xmlns:a16="http://schemas.microsoft.com/office/drawing/2014/main" id="{AC699566-0B85-465E-9101-DE99F9F33D23}"/>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3601" t="9192" r="6972" b="5035"/>
          <a:stretch/>
        </p:blipFill>
        <p:spPr>
          <a:xfrm>
            <a:off x="1190624" y="1533525"/>
            <a:ext cx="800101" cy="581025"/>
          </a:xfrm>
          <a:prstGeom prst="rect">
            <a:avLst/>
          </a:prstGeom>
          <a:ln>
            <a:noFill/>
          </a:ln>
        </p:spPr>
      </p:pic>
      <p:sp>
        <p:nvSpPr>
          <p:cNvPr id="21" name="Rectangle 20">
            <a:extLst>
              <a:ext uri="{FF2B5EF4-FFF2-40B4-BE49-F238E27FC236}">
                <a16:creationId xmlns:a16="http://schemas.microsoft.com/office/drawing/2014/main" id="{D6C71473-DDB9-434F-A675-72E2BC2364ED}"/>
              </a:ext>
            </a:extLst>
          </p:cNvPr>
          <p:cNvSpPr/>
          <p:nvPr/>
        </p:nvSpPr>
        <p:spPr>
          <a:xfrm>
            <a:off x="8240239" y="1466392"/>
            <a:ext cx="925548" cy="687140"/>
          </a:xfrm>
          <a:prstGeom prst="rect">
            <a:avLst/>
          </a:prstGeom>
          <a:solidFill>
            <a:schemeClr val="bg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Tableau</a:t>
            </a:r>
          </a:p>
        </p:txBody>
      </p:sp>
      <p:pic>
        <p:nvPicPr>
          <p:cNvPr id="22" name="Picture 21">
            <a:extLst>
              <a:ext uri="{FF2B5EF4-FFF2-40B4-BE49-F238E27FC236}">
                <a16:creationId xmlns:a16="http://schemas.microsoft.com/office/drawing/2014/main" id="{0C997C18-0B16-4B89-B346-9798AED8F587}"/>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8311191" y="1819753"/>
            <a:ext cx="783643" cy="203768"/>
          </a:xfrm>
          <a:prstGeom prst="rect">
            <a:avLst/>
          </a:prstGeom>
        </p:spPr>
      </p:pic>
      <p:sp>
        <p:nvSpPr>
          <p:cNvPr id="23" name="Rectangle 22">
            <a:extLst>
              <a:ext uri="{FF2B5EF4-FFF2-40B4-BE49-F238E27FC236}">
                <a16:creationId xmlns:a16="http://schemas.microsoft.com/office/drawing/2014/main" id="{A3948AF7-3639-4709-956D-571BF8CB4A11}"/>
              </a:ext>
            </a:extLst>
          </p:cNvPr>
          <p:cNvSpPr/>
          <p:nvPr/>
        </p:nvSpPr>
        <p:spPr>
          <a:xfrm>
            <a:off x="9557901" y="1466392"/>
            <a:ext cx="987525" cy="687140"/>
          </a:xfrm>
          <a:prstGeom prst="rect">
            <a:avLst/>
          </a:prstGeom>
          <a:solidFill>
            <a:schemeClr val="bg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Value Estimation Tool</a:t>
            </a:r>
          </a:p>
        </p:txBody>
      </p:sp>
      <p:sp>
        <p:nvSpPr>
          <p:cNvPr id="24" name="TextBox 23">
            <a:extLst>
              <a:ext uri="{FF2B5EF4-FFF2-40B4-BE49-F238E27FC236}">
                <a16:creationId xmlns:a16="http://schemas.microsoft.com/office/drawing/2014/main" id="{5F64D2D2-4792-4E1F-8E31-C1430EA057A2}"/>
              </a:ext>
            </a:extLst>
          </p:cNvPr>
          <p:cNvSpPr txBox="1"/>
          <p:nvPr/>
        </p:nvSpPr>
        <p:spPr>
          <a:xfrm>
            <a:off x="9789127" y="1766927"/>
            <a:ext cx="6953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Open Sans"/>
                <a:ea typeface="+mn-ea"/>
                <a:cs typeface="+mn-cs"/>
              </a:rPr>
              <a:t>VET</a:t>
            </a:r>
          </a:p>
        </p:txBody>
      </p:sp>
      <p:cxnSp>
        <p:nvCxnSpPr>
          <p:cNvPr id="25" name="Straight Connector 24">
            <a:extLst>
              <a:ext uri="{FF2B5EF4-FFF2-40B4-BE49-F238E27FC236}">
                <a16:creationId xmlns:a16="http://schemas.microsoft.com/office/drawing/2014/main" id="{0EB33393-A718-4871-B02D-533BDAFE639F}"/>
              </a:ext>
            </a:extLst>
          </p:cNvPr>
          <p:cNvCxnSpPr>
            <a:cxnSpLocks/>
          </p:cNvCxnSpPr>
          <p:nvPr/>
        </p:nvCxnSpPr>
        <p:spPr>
          <a:xfrm>
            <a:off x="6064501" y="2162522"/>
            <a:ext cx="2924" cy="625128"/>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2A8F98E-17F1-445D-AC9A-6A1213A32673}"/>
              </a:ext>
            </a:extLst>
          </p:cNvPr>
          <p:cNvCxnSpPr>
            <a:cxnSpLocks/>
          </p:cNvCxnSpPr>
          <p:nvPr/>
        </p:nvCxnSpPr>
        <p:spPr>
          <a:xfrm>
            <a:off x="4681994" y="2983227"/>
            <a:ext cx="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14E0B456-29CB-4734-83EE-41D24C300F6D}"/>
              </a:ext>
            </a:extLst>
          </p:cNvPr>
          <p:cNvGrpSpPr/>
          <p:nvPr/>
        </p:nvGrpSpPr>
        <p:grpSpPr>
          <a:xfrm>
            <a:off x="4680972" y="2162522"/>
            <a:ext cx="367059" cy="917274"/>
            <a:chOff x="4680972" y="2162522"/>
            <a:chExt cx="367059" cy="917274"/>
          </a:xfrm>
        </p:grpSpPr>
        <p:cxnSp>
          <p:nvCxnSpPr>
            <p:cNvPr id="28" name="Straight Connector 27">
              <a:extLst>
                <a:ext uri="{FF2B5EF4-FFF2-40B4-BE49-F238E27FC236}">
                  <a16:creationId xmlns:a16="http://schemas.microsoft.com/office/drawing/2014/main" id="{3A938EAD-4C06-49F9-98E1-684F32E86C9D}"/>
                </a:ext>
              </a:extLst>
            </p:cNvPr>
            <p:cNvCxnSpPr>
              <a:cxnSpLocks/>
            </p:cNvCxnSpPr>
            <p:nvPr/>
          </p:nvCxnSpPr>
          <p:spPr>
            <a:xfrm>
              <a:off x="4680972" y="2162522"/>
              <a:ext cx="0" cy="917274"/>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F9D7A9C-15FC-4633-A22D-63AC9230CBDF}"/>
                </a:ext>
              </a:extLst>
            </p:cNvPr>
            <p:cNvCxnSpPr>
              <a:cxnSpLocks/>
            </p:cNvCxnSpPr>
            <p:nvPr/>
          </p:nvCxnSpPr>
          <p:spPr>
            <a:xfrm>
              <a:off x="4683016" y="3073446"/>
              <a:ext cx="365015"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C73B6B93-DB74-4F7F-A7E0-F67480FEAD1F}"/>
              </a:ext>
            </a:extLst>
          </p:cNvPr>
          <p:cNvGrpSpPr/>
          <p:nvPr/>
        </p:nvGrpSpPr>
        <p:grpSpPr>
          <a:xfrm flipH="1">
            <a:off x="7046472" y="2162522"/>
            <a:ext cx="258699" cy="917274"/>
            <a:chOff x="4680972" y="2162522"/>
            <a:chExt cx="367059" cy="917274"/>
          </a:xfrm>
        </p:grpSpPr>
        <p:cxnSp>
          <p:nvCxnSpPr>
            <p:cNvPr id="31" name="Straight Connector 30">
              <a:extLst>
                <a:ext uri="{FF2B5EF4-FFF2-40B4-BE49-F238E27FC236}">
                  <a16:creationId xmlns:a16="http://schemas.microsoft.com/office/drawing/2014/main" id="{3F82F818-4EF4-4580-B1DB-731954798183}"/>
                </a:ext>
              </a:extLst>
            </p:cNvPr>
            <p:cNvCxnSpPr>
              <a:cxnSpLocks/>
            </p:cNvCxnSpPr>
            <p:nvPr/>
          </p:nvCxnSpPr>
          <p:spPr>
            <a:xfrm>
              <a:off x="4680972" y="2162522"/>
              <a:ext cx="0" cy="917274"/>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E14D01F3-80A9-4C1B-812A-E1E4B9CBCAD3}"/>
                </a:ext>
              </a:extLst>
            </p:cNvPr>
            <p:cNvCxnSpPr>
              <a:cxnSpLocks/>
            </p:cNvCxnSpPr>
            <p:nvPr/>
          </p:nvCxnSpPr>
          <p:spPr>
            <a:xfrm>
              <a:off x="4683016" y="3073446"/>
              <a:ext cx="365015"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3" name="Group 32">
            <a:extLst>
              <a:ext uri="{FF2B5EF4-FFF2-40B4-BE49-F238E27FC236}">
                <a16:creationId xmlns:a16="http://schemas.microsoft.com/office/drawing/2014/main" id="{39931A74-7B6D-421D-BDB9-C9F73A1084F1}"/>
              </a:ext>
            </a:extLst>
          </p:cNvPr>
          <p:cNvGrpSpPr/>
          <p:nvPr/>
        </p:nvGrpSpPr>
        <p:grpSpPr>
          <a:xfrm>
            <a:off x="6637449" y="2160502"/>
            <a:ext cx="3449594" cy="627148"/>
            <a:chOff x="6637449" y="2160502"/>
            <a:chExt cx="3449594" cy="627148"/>
          </a:xfrm>
        </p:grpSpPr>
        <p:cxnSp>
          <p:nvCxnSpPr>
            <p:cNvPr id="34" name="Straight Connector 33">
              <a:extLst>
                <a:ext uri="{FF2B5EF4-FFF2-40B4-BE49-F238E27FC236}">
                  <a16:creationId xmlns:a16="http://schemas.microsoft.com/office/drawing/2014/main" id="{A599D084-1FFD-4B0F-BA77-89C5C297B2F8}"/>
                </a:ext>
              </a:extLst>
            </p:cNvPr>
            <p:cNvCxnSpPr>
              <a:cxnSpLocks/>
            </p:cNvCxnSpPr>
            <p:nvPr/>
          </p:nvCxnSpPr>
          <p:spPr>
            <a:xfrm flipH="1">
              <a:off x="10084850" y="2160502"/>
              <a:ext cx="0" cy="439315"/>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F279DEE-69B4-41D1-AFD3-0FC660CF7264}"/>
                </a:ext>
              </a:extLst>
            </p:cNvPr>
            <p:cNvCxnSpPr>
              <a:cxnSpLocks/>
            </p:cNvCxnSpPr>
            <p:nvPr/>
          </p:nvCxnSpPr>
          <p:spPr>
            <a:xfrm flipH="1">
              <a:off x="6637449" y="2596776"/>
              <a:ext cx="3449594"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D06670B-5C38-44CA-B768-B703061EA58C}"/>
                </a:ext>
              </a:extLst>
            </p:cNvPr>
            <p:cNvCxnSpPr>
              <a:cxnSpLocks/>
            </p:cNvCxnSpPr>
            <p:nvPr/>
          </p:nvCxnSpPr>
          <p:spPr>
            <a:xfrm>
              <a:off x="6638797" y="2594438"/>
              <a:ext cx="0" cy="193212"/>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7" name="Group 36">
            <a:extLst>
              <a:ext uri="{FF2B5EF4-FFF2-40B4-BE49-F238E27FC236}">
                <a16:creationId xmlns:a16="http://schemas.microsoft.com/office/drawing/2014/main" id="{1C29A481-833C-4324-8A14-A3BC1BCDF3EF}"/>
              </a:ext>
            </a:extLst>
          </p:cNvPr>
          <p:cNvGrpSpPr/>
          <p:nvPr/>
        </p:nvGrpSpPr>
        <p:grpSpPr>
          <a:xfrm flipH="1">
            <a:off x="1640769" y="2150656"/>
            <a:ext cx="3402403" cy="1252751"/>
            <a:chOff x="6626514" y="2160502"/>
            <a:chExt cx="3458336" cy="440053"/>
          </a:xfrm>
        </p:grpSpPr>
        <p:cxnSp>
          <p:nvCxnSpPr>
            <p:cNvPr id="38" name="Straight Connector 37">
              <a:extLst>
                <a:ext uri="{FF2B5EF4-FFF2-40B4-BE49-F238E27FC236}">
                  <a16:creationId xmlns:a16="http://schemas.microsoft.com/office/drawing/2014/main" id="{27BEAE4B-4C76-4A68-BD82-B8023541E06C}"/>
                </a:ext>
              </a:extLst>
            </p:cNvPr>
            <p:cNvCxnSpPr>
              <a:cxnSpLocks/>
            </p:cNvCxnSpPr>
            <p:nvPr/>
          </p:nvCxnSpPr>
          <p:spPr>
            <a:xfrm flipH="1">
              <a:off x="10084850" y="2160502"/>
              <a:ext cx="0" cy="439315"/>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892DC52-ED4B-40E7-A380-13F809FEC3F7}"/>
                </a:ext>
              </a:extLst>
            </p:cNvPr>
            <p:cNvCxnSpPr>
              <a:cxnSpLocks/>
            </p:cNvCxnSpPr>
            <p:nvPr/>
          </p:nvCxnSpPr>
          <p:spPr>
            <a:xfrm flipH="1">
              <a:off x="6626514" y="2600555"/>
              <a:ext cx="3449594"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307BD9F4-F7E9-4236-BE1E-8440E187BD2C}"/>
              </a:ext>
            </a:extLst>
          </p:cNvPr>
          <p:cNvGrpSpPr/>
          <p:nvPr/>
        </p:nvGrpSpPr>
        <p:grpSpPr>
          <a:xfrm flipV="1">
            <a:off x="3215658" y="2162517"/>
            <a:ext cx="2439613" cy="625132"/>
            <a:chOff x="6637449" y="2364390"/>
            <a:chExt cx="3449594" cy="423260"/>
          </a:xfrm>
        </p:grpSpPr>
        <p:cxnSp>
          <p:nvCxnSpPr>
            <p:cNvPr id="41" name="Straight Connector 40">
              <a:extLst>
                <a:ext uri="{FF2B5EF4-FFF2-40B4-BE49-F238E27FC236}">
                  <a16:creationId xmlns:a16="http://schemas.microsoft.com/office/drawing/2014/main" id="{3C650038-0611-4693-8969-07BF7213A424}"/>
                </a:ext>
              </a:extLst>
            </p:cNvPr>
            <p:cNvCxnSpPr>
              <a:cxnSpLocks/>
            </p:cNvCxnSpPr>
            <p:nvPr/>
          </p:nvCxnSpPr>
          <p:spPr>
            <a:xfrm flipH="1">
              <a:off x="10084850" y="2364390"/>
              <a:ext cx="2193" cy="235427"/>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1FC2F364-8D9D-47EF-ADE7-1316C6DA75C6}"/>
                </a:ext>
              </a:extLst>
            </p:cNvPr>
            <p:cNvCxnSpPr>
              <a:cxnSpLocks/>
            </p:cNvCxnSpPr>
            <p:nvPr/>
          </p:nvCxnSpPr>
          <p:spPr>
            <a:xfrm flipH="1">
              <a:off x="6637449" y="2596776"/>
              <a:ext cx="3449594"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141C80C-B758-4F6E-B68C-14B79737B271}"/>
                </a:ext>
              </a:extLst>
            </p:cNvPr>
            <p:cNvCxnSpPr>
              <a:cxnSpLocks/>
            </p:cNvCxnSpPr>
            <p:nvPr/>
          </p:nvCxnSpPr>
          <p:spPr>
            <a:xfrm>
              <a:off x="6638797" y="2594438"/>
              <a:ext cx="0" cy="193212"/>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44" name="Group 43">
            <a:extLst>
              <a:ext uri="{FF2B5EF4-FFF2-40B4-BE49-F238E27FC236}">
                <a16:creationId xmlns:a16="http://schemas.microsoft.com/office/drawing/2014/main" id="{655A62B3-0C5D-40F6-98C3-910E8254C883}"/>
              </a:ext>
            </a:extLst>
          </p:cNvPr>
          <p:cNvGrpSpPr/>
          <p:nvPr/>
        </p:nvGrpSpPr>
        <p:grpSpPr>
          <a:xfrm flipH="1" flipV="1">
            <a:off x="6379285" y="2164988"/>
            <a:ext cx="2316736" cy="625132"/>
            <a:chOff x="6637449" y="2364390"/>
            <a:chExt cx="3449594" cy="423260"/>
          </a:xfrm>
        </p:grpSpPr>
        <p:cxnSp>
          <p:nvCxnSpPr>
            <p:cNvPr id="45" name="Straight Connector 44">
              <a:extLst>
                <a:ext uri="{FF2B5EF4-FFF2-40B4-BE49-F238E27FC236}">
                  <a16:creationId xmlns:a16="http://schemas.microsoft.com/office/drawing/2014/main" id="{E608E8DD-C6D5-482F-8B49-827A0B073DD3}"/>
                </a:ext>
              </a:extLst>
            </p:cNvPr>
            <p:cNvCxnSpPr>
              <a:cxnSpLocks/>
            </p:cNvCxnSpPr>
            <p:nvPr/>
          </p:nvCxnSpPr>
          <p:spPr>
            <a:xfrm flipH="1">
              <a:off x="10084850" y="2364390"/>
              <a:ext cx="2193" cy="235427"/>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0690A35-5207-4AF3-A6BF-64165FF7DDC4}"/>
                </a:ext>
              </a:extLst>
            </p:cNvPr>
            <p:cNvCxnSpPr>
              <a:cxnSpLocks/>
            </p:cNvCxnSpPr>
            <p:nvPr/>
          </p:nvCxnSpPr>
          <p:spPr>
            <a:xfrm flipH="1">
              <a:off x="6637449" y="2596776"/>
              <a:ext cx="3449594"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B1E2F913-00BE-4B65-B931-A7483FEDA2B4}"/>
                </a:ext>
              </a:extLst>
            </p:cNvPr>
            <p:cNvCxnSpPr>
              <a:cxnSpLocks/>
            </p:cNvCxnSpPr>
            <p:nvPr/>
          </p:nvCxnSpPr>
          <p:spPr>
            <a:xfrm>
              <a:off x="6638797" y="2594438"/>
              <a:ext cx="0" cy="193212"/>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cxnSp>
        <p:nvCxnSpPr>
          <p:cNvPr id="48" name="Straight Connector 47">
            <a:extLst>
              <a:ext uri="{FF2B5EF4-FFF2-40B4-BE49-F238E27FC236}">
                <a16:creationId xmlns:a16="http://schemas.microsoft.com/office/drawing/2014/main" id="{AE19A1BF-CE19-43CE-966A-9E4BB4DEFD19}"/>
              </a:ext>
            </a:extLst>
          </p:cNvPr>
          <p:cNvCxnSpPr>
            <a:cxnSpLocks/>
          </p:cNvCxnSpPr>
          <p:nvPr/>
        </p:nvCxnSpPr>
        <p:spPr>
          <a:xfrm flipH="1">
            <a:off x="7036222" y="3231331"/>
            <a:ext cx="1301036"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08520A22-5D76-44E7-92F6-B5510A93306C}"/>
              </a:ext>
            </a:extLst>
          </p:cNvPr>
          <p:cNvGrpSpPr/>
          <p:nvPr/>
        </p:nvGrpSpPr>
        <p:grpSpPr>
          <a:xfrm rot="5400000">
            <a:off x="6700452" y="3858490"/>
            <a:ext cx="1992707" cy="1301063"/>
            <a:chOff x="6637449" y="2554950"/>
            <a:chExt cx="3449593" cy="230916"/>
          </a:xfrm>
        </p:grpSpPr>
        <p:cxnSp>
          <p:nvCxnSpPr>
            <p:cNvPr id="50" name="Straight Connector 49">
              <a:extLst>
                <a:ext uri="{FF2B5EF4-FFF2-40B4-BE49-F238E27FC236}">
                  <a16:creationId xmlns:a16="http://schemas.microsoft.com/office/drawing/2014/main" id="{1ACE3F8D-0951-4054-8818-AD1B0926E4AE}"/>
                </a:ext>
              </a:extLst>
            </p:cNvPr>
            <p:cNvCxnSpPr>
              <a:cxnSpLocks/>
            </p:cNvCxnSpPr>
            <p:nvPr/>
          </p:nvCxnSpPr>
          <p:spPr>
            <a:xfrm rot="16200000" flipH="1">
              <a:off x="10065850" y="2573954"/>
              <a:ext cx="38008"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6924D3A5-9E4A-4A7E-AF69-E4C12AEA86F6}"/>
                </a:ext>
              </a:extLst>
            </p:cNvPr>
            <p:cNvCxnSpPr>
              <a:cxnSpLocks/>
            </p:cNvCxnSpPr>
            <p:nvPr/>
          </p:nvCxnSpPr>
          <p:spPr>
            <a:xfrm flipH="1">
              <a:off x="6637449" y="2592958"/>
              <a:ext cx="3449593"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53060A65-F466-4CA8-8096-5975C05C7A85}"/>
                </a:ext>
              </a:extLst>
            </p:cNvPr>
            <p:cNvCxnSpPr>
              <a:cxnSpLocks/>
            </p:cNvCxnSpPr>
            <p:nvPr/>
          </p:nvCxnSpPr>
          <p:spPr>
            <a:xfrm>
              <a:off x="6647494" y="2592654"/>
              <a:ext cx="0" cy="193212"/>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1C109AAD-BE0A-4E11-87CB-E6D7C99B5703}"/>
              </a:ext>
            </a:extLst>
          </p:cNvPr>
          <p:cNvGrpSpPr/>
          <p:nvPr/>
        </p:nvGrpSpPr>
        <p:grpSpPr>
          <a:xfrm rot="5400000">
            <a:off x="7377020" y="3365575"/>
            <a:ext cx="609847" cy="1310632"/>
            <a:chOff x="6637449" y="2525361"/>
            <a:chExt cx="3449598" cy="262289"/>
          </a:xfrm>
        </p:grpSpPr>
        <p:cxnSp>
          <p:nvCxnSpPr>
            <p:cNvPr id="54" name="Straight Connector 53">
              <a:extLst>
                <a:ext uri="{FF2B5EF4-FFF2-40B4-BE49-F238E27FC236}">
                  <a16:creationId xmlns:a16="http://schemas.microsoft.com/office/drawing/2014/main" id="{B66325AC-ADC7-4B5A-8839-5B71551033E3}"/>
                </a:ext>
              </a:extLst>
            </p:cNvPr>
            <p:cNvCxnSpPr>
              <a:cxnSpLocks/>
            </p:cNvCxnSpPr>
            <p:nvPr/>
          </p:nvCxnSpPr>
          <p:spPr>
            <a:xfrm rot="16200000" flipH="1">
              <a:off x="10053989" y="2558419"/>
              <a:ext cx="66116"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9CC5334E-D433-4D06-BA99-A3F8309CBBFB}"/>
                </a:ext>
              </a:extLst>
            </p:cNvPr>
            <p:cNvCxnSpPr>
              <a:cxnSpLocks/>
            </p:cNvCxnSpPr>
            <p:nvPr/>
          </p:nvCxnSpPr>
          <p:spPr>
            <a:xfrm flipH="1">
              <a:off x="6637449" y="2592958"/>
              <a:ext cx="3449593"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B0F32B3-2DAC-4C62-88F1-1F62D284EDF3}"/>
                </a:ext>
              </a:extLst>
            </p:cNvPr>
            <p:cNvCxnSpPr>
              <a:cxnSpLocks/>
            </p:cNvCxnSpPr>
            <p:nvPr/>
          </p:nvCxnSpPr>
          <p:spPr>
            <a:xfrm>
              <a:off x="6638797" y="2594438"/>
              <a:ext cx="0" cy="193212"/>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A5E5A585-E3E1-47B3-B5C1-9BF3C45FEF5B}"/>
              </a:ext>
            </a:extLst>
          </p:cNvPr>
          <p:cNvGrpSpPr/>
          <p:nvPr/>
        </p:nvGrpSpPr>
        <p:grpSpPr>
          <a:xfrm rot="16200000" flipV="1">
            <a:off x="3274931" y="4061346"/>
            <a:ext cx="2257611" cy="1288588"/>
            <a:chOff x="6637449" y="2075617"/>
            <a:chExt cx="3449594" cy="718028"/>
          </a:xfrm>
        </p:grpSpPr>
        <p:cxnSp>
          <p:nvCxnSpPr>
            <p:cNvPr id="58" name="Straight Connector 57">
              <a:extLst>
                <a:ext uri="{FF2B5EF4-FFF2-40B4-BE49-F238E27FC236}">
                  <a16:creationId xmlns:a16="http://schemas.microsoft.com/office/drawing/2014/main" id="{43969A92-5BE6-4CEE-AAE4-7A3D83256041}"/>
                </a:ext>
              </a:extLst>
            </p:cNvPr>
            <p:cNvCxnSpPr>
              <a:cxnSpLocks/>
            </p:cNvCxnSpPr>
            <p:nvPr/>
          </p:nvCxnSpPr>
          <p:spPr>
            <a:xfrm rot="16200000" flipH="1" flipV="1">
              <a:off x="9822751" y="2337717"/>
              <a:ext cx="5242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0500F80-BC53-4346-8DB2-00D29C2F2F54}"/>
                </a:ext>
              </a:extLst>
            </p:cNvPr>
            <p:cNvCxnSpPr>
              <a:cxnSpLocks/>
            </p:cNvCxnSpPr>
            <p:nvPr/>
          </p:nvCxnSpPr>
          <p:spPr>
            <a:xfrm flipH="1">
              <a:off x="6637449" y="2596776"/>
              <a:ext cx="3449594"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79D503F5-0F1B-48C5-9EF1-F953A3503509}"/>
                </a:ext>
              </a:extLst>
            </p:cNvPr>
            <p:cNvCxnSpPr>
              <a:cxnSpLocks/>
            </p:cNvCxnSpPr>
            <p:nvPr/>
          </p:nvCxnSpPr>
          <p:spPr>
            <a:xfrm>
              <a:off x="6638797" y="2600433"/>
              <a:ext cx="0" cy="193212"/>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1" name="Group 60">
            <a:extLst>
              <a:ext uri="{FF2B5EF4-FFF2-40B4-BE49-F238E27FC236}">
                <a16:creationId xmlns:a16="http://schemas.microsoft.com/office/drawing/2014/main" id="{8520B190-ABFC-4C45-AE2A-9DB0C062BFFF}"/>
              </a:ext>
            </a:extLst>
          </p:cNvPr>
          <p:cNvGrpSpPr/>
          <p:nvPr/>
        </p:nvGrpSpPr>
        <p:grpSpPr>
          <a:xfrm rot="16200000" flipV="1">
            <a:off x="3815427" y="3681687"/>
            <a:ext cx="1161192" cy="1294305"/>
            <a:chOff x="6637449" y="2262065"/>
            <a:chExt cx="3449594" cy="531580"/>
          </a:xfrm>
        </p:grpSpPr>
        <p:cxnSp>
          <p:nvCxnSpPr>
            <p:cNvPr id="62" name="Straight Connector 61">
              <a:extLst>
                <a:ext uri="{FF2B5EF4-FFF2-40B4-BE49-F238E27FC236}">
                  <a16:creationId xmlns:a16="http://schemas.microsoft.com/office/drawing/2014/main" id="{ED1D2228-49DD-4572-A009-79BC9F544E07}"/>
                </a:ext>
              </a:extLst>
            </p:cNvPr>
            <p:cNvCxnSpPr>
              <a:cxnSpLocks/>
            </p:cNvCxnSpPr>
            <p:nvPr/>
          </p:nvCxnSpPr>
          <p:spPr>
            <a:xfrm rot="16200000" flipH="1" flipV="1">
              <a:off x="9918185" y="2428732"/>
              <a:ext cx="333333"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79D8B25-CE5A-4965-B8F4-32166A07E020}"/>
                </a:ext>
              </a:extLst>
            </p:cNvPr>
            <p:cNvCxnSpPr>
              <a:cxnSpLocks/>
            </p:cNvCxnSpPr>
            <p:nvPr/>
          </p:nvCxnSpPr>
          <p:spPr>
            <a:xfrm flipH="1">
              <a:off x="6637449" y="2596776"/>
              <a:ext cx="3449594"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72DD84CC-E908-428D-B9E4-545375C60D22}"/>
                </a:ext>
              </a:extLst>
            </p:cNvPr>
            <p:cNvCxnSpPr>
              <a:cxnSpLocks/>
            </p:cNvCxnSpPr>
            <p:nvPr/>
          </p:nvCxnSpPr>
          <p:spPr>
            <a:xfrm>
              <a:off x="6638797" y="2600433"/>
              <a:ext cx="0" cy="193212"/>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cxnSp>
        <p:nvCxnSpPr>
          <p:cNvPr id="65" name="Straight Connector 64">
            <a:extLst>
              <a:ext uri="{FF2B5EF4-FFF2-40B4-BE49-F238E27FC236}">
                <a16:creationId xmlns:a16="http://schemas.microsoft.com/office/drawing/2014/main" id="{D88BE961-A476-47A4-9241-3B6BA85C1C8C}"/>
              </a:ext>
            </a:extLst>
          </p:cNvPr>
          <p:cNvCxnSpPr>
            <a:cxnSpLocks/>
          </p:cNvCxnSpPr>
          <p:nvPr/>
        </p:nvCxnSpPr>
        <p:spPr>
          <a:xfrm>
            <a:off x="3748870" y="3931057"/>
            <a:ext cx="1294304"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66" name="Group 65">
            <a:extLst>
              <a:ext uri="{FF2B5EF4-FFF2-40B4-BE49-F238E27FC236}">
                <a16:creationId xmlns:a16="http://schemas.microsoft.com/office/drawing/2014/main" id="{55AB91B4-1DD1-470A-9FFC-01DEE3EA1967}"/>
              </a:ext>
            </a:extLst>
          </p:cNvPr>
          <p:cNvGrpSpPr/>
          <p:nvPr/>
        </p:nvGrpSpPr>
        <p:grpSpPr>
          <a:xfrm flipH="1">
            <a:off x="5574065" y="4112615"/>
            <a:ext cx="186881" cy="1659902"/>
            <a:chOff x="4680972" y="2162522"/>
            <a:chExt cx="367059" cy="917274"/>
          </a:xfrm>
        </p:grpSpPr>
        <p:cxnSp>
          <p:nvCxnSpPr>
            <p:cNvPr id="67" name="Straight Connector 66">
              <a:extLst>
                <a:ext uri="{FF2B5EF4-FFF2-40B4-BE49-F238E27FC236}">
                  <a16:creationId xmlns:a16="http://schemas.microsoft.com/office/drawing/2014/main" id="{A5B3C4C0-AD82-476C-AC55-4E857C390797}"/>
                </a:ext>
              </a:extLst>
            </p:cNvPr>
            <p:cNvCxnSpPr>
              <a:cxnSpLocks/>
            </p:cNvCxnSpPr>
            <p:nvPr/>
          </p:nvCxnSpPr>
          <p:spPr>
            <a:xfrm>
              <a:off x="4680972" y="2162522"/>
              <a:ext cx="0" cy="917274"/>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CFDA59D6-EE3E-4848-A207-C81752AB923E}"/>
                </a:ext>
              </a:extLst>
            </p:cNvPr>
            <p:cNvCxnSpPr>
              <a:cxnSpLocks/>
            </p:cNvCxnSpPr>
            <p:nvPr/>
          </p:nvCxnSpPr>
          <p:spPr>
            <a:xfrm>
              <a:off x="4683016" y="3073446"/>
              <a:ext cx="365015"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9" name="Group 68">
            <a:extLst>
              <a:ext uri="{FF2B5EF4-FFF2-40B4-BE49-F238E27FC236}">
                <a16:creationId xmlns:a16="http://schemas.microsoft.com/office/drawing/2014/main" id="{4914F546-1FEF-4604-AEDA-63511CCC06B7}"/>
              </a:ext>
            </a:extLst>
          </p:cNvPr>
          <p:cNvGrpSpPr/>
          <p:nvPr/>
        </p:nvGrpSpPr>
        <p:grpSpPr>
          <a:xfrm>
            <a:off x="5966513" y="4113535"/>
            <a:ext cx="240476" cy="1659902"/>
            <a:chOff x="4680972" y="2162522"/>
            <a:chExt cx="367059" cy="917274"/>
          </a:xfrm>
        </p:grpSpPr>
        <p:cxnSp>
          <p:nvCxnSpPr>
            <p:cNvPr id="70" name="Straight Connector 69">
              <a:extLst>
                <a:ext uri="{FF2B5EF4-FFF2-40B4-BE49-F238E27FC236}">
                  <a16:creationId xmlns:a16="http://schemas.microsoft.com/office/drawing/2014/main" id="{9EA0160A-8E5D-4AF9-8A1F-D2C30DEC4490}"/>
                </a:ext>
              </a:extLst>
            </p:cNvPr>
            <p:cNvCxnSpPr>
              <a:cxnSpLocks/>
            </p:cNvCxnSpPr>
            <p:nvPr/>
          </p:nvCxnSpPr>
          <p:spPr>
            <a:xfrm>
              <a:off x="4680972" y="2162522"/>
              <a:ext cx="0" cy="917274"/>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77BA6967-B747-4347-A9AA-590D6DDEEB9A}"/>
                </a:ext>
              </a:extLst>
            </p:cNvPr>
            <p:cNvCxnSpPr>
              <a:cxnSpLocks/>
            </p:cNvCxnSpPr>
            <p:nvPr/>
          </p:nvCxnSpPr>
          <p:spPr>
            <a:xfrm>
              <a:off x="4683016" y="3073446"/>
              <a:ext cx="365015"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cxnSp>
        <p:nvCxnSpPr>
          <p:cNvPr id="72" name="Straight Connector 71">
            <a:extLst>
              <a:ext uri="{FF2B5EF4-FFF2-40B4-BE49-F238E27FC236}">
                <a16:creationId xmlns:a16="http://schemas.microsoft.com/office/drawing/2014/main" id="{FB705279-86A0-4576-9910-6DFD70584F99}"/>
              </a:ext>
            </a:extLst>
          </p:cNvPr>
          <p:cNvCxnSpPr>
            <a:cxnSpLocks/>
          </p:cNvCxnSpPr>
          <p:nvPr/>
        </p:nvCxnSpPr>
        <p:spPr>
          <a:xfrm>
            <a:off x="6637449" y="4088331"/>
            <a:ext cx="0" cy="410528"/>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2E27BCA6-022D-4027-B005-CC3BF2EA3856}"/>
              </a:ext>
            </a:extLst>
          </p:cNvPr>
          <p:cNvCxnSpPr>
            <a:cxnSpLocks/>
          </p:cNvCxnSpPr>
          <p:nvPr/>
        </p:nvCxnSpPr>
        <p:spPr>
          <a:xfrm>
            <a:off x="5246851" y="4113535"/>
            <a:ext cx="0" cy="388437"/>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E1AEFC01-F479-4BE0-8336-CFAB28C7E16E}"/>
              </a:ext>
            </a:extLst>
          </p:cNvPr>
          <p:cNvSpPr/>
          <p:nvPr/>
        </p:nvSpPr>
        <p:spPr>
          <a:xfrm>
            <a:off x="10376941" y="3802456"/>
            <a:ext cx="1330235" cy="56335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75" name="Rectangle 74">
            <a:extLst>
              <a:ext uri="{FF2B5EF4-FFF2-40B4-BE49-F238E27FC236}">
                <a16:creationId xmlns:a16="http://schemas.microsoft.com/office/drawing/2014/main" id="{5E70C3FE-86A4-480F-859F-C04B8D97A235}"/>
              </a:ext>
            </a:extLst>
          </p:cNvPr>
          <p:cNvSpPr/>
          <p:nvPr/>
        </p:nvSpPr>
        <p:spPr>
          <a:xfrm>
            <a:off x="10519078" y="3912791"/>
            <a:ext cx="1071527" cy="350487"/>
          </a:xfrm>
          <a:prstGeom prst="rect">
            <a:avLst/>
          </a:prstGeom>
          <a:solidFill>
            <a:schemeClr val="bg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Upstream</a:t>
            </a:r>
          </a:p>
        </p:txBody>
      </p:sp>
      <p:sp>
        <p:nvSpPr>
          <p:cNvPr id="76" name="Rectangle 75">
            <a:extLst>
              <a:ext uri="{FF2B5EF4-FFF2-40B4-BE49-F238E27FC236}">
                <a16:creationId xmlns:a16="http://schemas.microsoft.com/office/drawing/2014/main" id="{D30A31CA-3304-43F1-A302-784EBCC71500}"/>
              </a:ext>
            </a:extLst>
          </p:cNvPr>
          <p:cNvSpPr/>
          <p:nvPr/>
        </p:nvSpPr>
        <p:spPr>
          <a:xfrm>
            <a:off x="10364377" y="4481149"/>
            <a:ext cx="1330235" cy="56335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77" name="Rectangle 76">
            <a:extLst>
              <a:ext uri="{FF2B5EF4-FFF2-40B4-BE49-F238E27FC236}">
                <a16:creationId xmlns:a16="http://schemas.microsoft.com/office/drawing/2014/main" id="{E6EB2BFA-5B55-4CBD-B6B6-EA93E7E023B4}"/>
              </a:ext>
            </a:extLst>
          </p:cNvPr>
          <p:cNvSpPr/>
          <p:nvPr/>
        </p:nvSpPr>
        <p:spPr>
          <a:xfrm>
            <a:off x="10506514" y="4591484"/>
            <a:ext cx="1071527" cy="350487"/>
          </a:xfrm>
          <a:prstGeom prst="rect">
            <a:avLst/>
          </a:prstGeom>
          <a:solidFill>
            <a:schemeClr val="bg1"/>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Downstream</a:t>
            </a:r>
          </a:p>
        </p:txBody>
      </p:sp>
      <p:grpSp>
        <p:nvGrpSpPr>
          <p:cNvPr id="78" name="Group 77">
            <a:extLst>
              <a:ext uri="{FF2B5EF4-FFF2-40B4-BE49-F238E27FC236}">
                <a16:creationId xmlns:a16="http://schemas.microsoft.com/office/drawing/2014/main" id="{8CA0A3EC-BEF5-4E2E-A977-FE3854BD847D}"/>
              </a:ext>
            </a:extLst>
          </p:cNvPr>
          <p:cNvGrpSpPr/>
          <p:nvPr/>
        </p:nvGrpSpPr>
        <p:grpSpPr>
          <a:xfrm rot="16200000" flipH="1" flipV="1">
            <a:off x="4207029" y="2397908"/>
            <a:ext cx="382106" cy="1294305"/>
            <a:chOff x="6637449" y="2262065"/>
            <a:chExt cx="3449594" cy="531580"/>
          </a:xfrm>
        </p:grpSpPr>
        <p:cxnSp>
          <p:nvCxnSpPr>
            <p:cNvPr id="79" name="Straight Connector 78">
              <a:extLst>
                <a:ext uri="{FF2B5EF4-FFF2-40B4-BE49-F238E27FC236}">
                  <a16:creationId xmlns:a16="http://schemas.microsoft.com/office/drawing/2014/main" id="{126B8B8F-1A49-40FD-A8BA-E789B6A6CDB4}"/>
                </a:ext>
              </a:extLst>
            </p:cNvPr>
            <p:cNvCxnSpPr>
              <a:cxnSpLocks/>
            </p:cNvCxnSpPr>
            <p:nvPr/>
          </p:nvCxnSpPr>
          <p:spPr>
            <a:xfrm rot="16200000" flipH="1" flipV="1">
              <a:off x="9918185" y="2428732"/>
              <a:ext cx="333333"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FA93C9E5-F094-4348-8FE4-FAE9C7456800}"/>
                </a:ext>
              </a:extLst>
            </p:cNvPr>
            <p:cNvCxnSpPr>
              <a:cxnSpLocks/>
            </p:cNvCxnSpPr>
            <p:nvPr/>
          </p:nvCxnSpPr>
          <p:spPr>
            <a:xfrm flipH="1">
              <a:off x="6637449" y="2596776"/>
              <a:ext cx="3449594"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F9534DE7-E390-4187-B579-575CF8A0AAFB}"/>
                </a:ext>
              </a:extLst>
            </p:cNvPr>
            <p:cNvCxnSpPr>
              <a:cxnSpLocks/>
            </p:cNvCxnSpPr>
            <p:nvPr/>
          </p:nvCxnSpPr>
          <p:spPr>
            <a:xfrm>
              <a:off x="6638797" y="2600433"/>
              <a:ext cx="0" cy="193212"/>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63E31E07-8B7A-4E4E-91DE-C1B95EF2BDC4}"/>
              </a:ext>
            </a:extLst>
          </p:cNvPr>
          <p:cNvGrpSpPr/>
          <p:nvPr/>
        </p:nvGrpSpPr>
        <p:grpSpPr>
          <a:xfrm>
            <a:off x="5048031" y="2799686"/>
            <a:ext cx="1988191" cy="1312929"/>
            <a:chOff x="5101904" y="3561075"/>
            <a:chExt cx="1988191" cy="1312929"/>
          </a:xfrm>
        </p:grpSpPr>
        <p:sp>
          <p:nvSpPr>
            <p:cNvPr id="83" name="Rectangle 82">
              <a:extLst>
                <a:ext uri="{FF2B5EF4-FFF2-40B4-BE49-F238E27FC236}">
                  <a16:creationId xmlns:a16="http://schemas.microsoft.com/office/drawing/2014/main" id="{34A435F5-8EF5-43B9-A334-5ADBC88F8B98}"/>
                </a:ext>
              </a:extLst>
            </p:cNvPr>
            <p:cNvSpPr/>
            <p:nvPr/>
          </p:nvSpPr>
          <p:spPr>
            <a:xfrm>
              <a:off x="5101904" y="3561075"/>
              <a:ext cx="1988191" cy="1312929"/>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Hybris Commerce Platform</a:t>
              </a:r>
            </a:p>
          </p:txBody>
        </p:sp>
        <p:pic>
          <p:nvPicPr>
            <p:cNvPr id="84" name="Picture 83">
              <a:extLst>
                <a:ext uri="{FF2B5EF4-FFF2-40B4-BE49-F238E27FC236}">
                  <a16:creationId xmlns:a16="http://schemas.microsoft.com/office/drawing/2014/main" id="{84DD367A-5E85-489C-B471-2243564885AE}"/>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t="41955" b="33244"/>
            <a:stretch/>
          </p:blipFill>
          <p:spPr>
            <a:xfrm>
              <a:off x="5397100" y="4338224"/>
              <a:ext cx="1448317" cy="359196"/>
            </a:xfrm>
            <a:prstGeom prst="rect">
              <a:avLst/>
            </a:prstGeom>
          </p:spPr>
        </p:pic>
      </p:grpSp>
      <p:sp>
        <p:nvSpPr>
          <p:cNvPr id="85" name="Rectangle 84">
            <a:extLst>
              <a:ext uri="{FF2B5EF4-FFF2-40B4-BE49-F238E27FC236}">
                <a16:creationId xmlns:a16="http://schemas.microsoft.com/office/drawing/2014/main" id="{A0A92141-8520-4147-BA58-8D403675D1C1}"/>
              </a:ext>
            </a:extLst>
          </p:cNvPr>
          <p:cNvSpPr/>
          <p:nvPr/>
        </p:nvSpPr>
        <p:spPr>
          <a:xfrm>
            <a:off x="8337258" y="2678213"/>
            <a:ext cx="1329435" cy="750616"/>
          </a:xfrm>
          <a:prstGeom prst="rect">
            <a:avLst/>
          </a:prstGeom>
          <a:solidFill>
            <a:schemeClr val="bg1"/>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Point of Service / Warehouse</a:t>
            </a:r>
          </a:p>
        </p:txBody>
      </p:sp>
      <p:sp>
        <p:nvSpPr>
          <p:cNvPr id="87" name="Rectangle 86">
            <a:extLst>
              <a:ext uri="{FF2B5EF4-FFF2-40B4-BE49-F238E27FC236}">
                <a16:creationId xmlns:a16="http://schemas.microsoft.com/office/drawing/2014/main" id="{9A9165E3-255B-4BD6-A298-6424D8E91605}"/>
              </a:ext>
            </a:extLst>
          </p:cNvPr>
          <p:cNvSpPr/>
          <p:nvPr/>
        </p:nvSpPr>
        <p:spPr>
          <a:xfrm>
            <a:off x="8351749" y="3887970"/>
            <a:ext cx="1329436" cy="750616"/>
          </a:xfrm>
          <a:prstGeom prst="rect">
            <a:avLst/>
          </a:prstGeom>
          <a:solidFill>
            <a:schemeClr val="bg1"/>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Inventory Stock (EDH/C3 IOT)</a:t>
            </a:r>
          </a:p>
        </p:txBody>
      </p:sp>
      <p:pic>
        <p:nvPicPr>
          <p:cNvPr id="88" name="Picture 87">
            <a:extLst>
              <a:ext uri="{FF2B5EF4-FFF2-40B4-BE49-F238E27FC236}">
                <a16:creationId xmlns:a16="http://schemas.microsoft.com/office/drawing/2014/main" id="{9878DC2B-729A-43D8-894F-0AF5FEFC4353}"/>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105963" y="4365810"/>
            <a:ext cx="324566" cy="177747"/>
          </a:xfrm>
          <a:prstGeom prst="rect">
            <a:avLst/>
          </a:prstGeom>
        </p:spPr>
      </p:pic>
      <p:pic>
        <p:nvPicPr>
          <p:cNvPr id="89" name="Picture 88">
            <a:extLst>
              <a:ext uri="{FF2B5EF4-FFF2-40B4-BE49-F238E27FC236}">
                <a16:creationId xmlns:a16="http://schemas.microsoft.com/office/drawing/2014/main" id="{4270CE32-382A-4B9C-B2E2-245B6F3B3D69}"/>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569321" y="4365810"/>
            <a:ext cx="389966" cy="136162"/>
          </a:xfrm>
          <a:prstGeom prst="rect">
            <a:avLst/>
          </a:prstGeom>
        </p:spPr>
      </p:pic>
      <p:sp>
        <p:nvSpPr>
          <p:cNvPr id="90" name="Rectangle 89">
            <a:extLst>
              <a:ext uri="{FF2B5EF4-FFF2-40B4-BE49-F238E27FC236}">
                <a16:creationId xmlns:a16="http://schemas.microsoft.com/office/drawing/2014/main" id="{F303D9AF-FB0F-4384-A459-D65588855DBC}"/>
              </a:ext>
            </a:extLst>
          </p:cNvPr>
          <p:cNvSpPr/>
          <p:nvPr/>
        </p:nvSpPr>
        <p:spPr>
          <a:xfrm>
            <a:off x="8351749" y="5107806"/>
            <a:ext cx="1329437" cy="687140"/>
          </a:xfrm>
          <a:prstGeom prst="rect">
            <a:avLst/>
          </a:prstGeom>
          <a:solidFill>
            <a:schemeClr val="bg1"/>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Product Comparison</a:t>
            </a:r>
          </a:p>
        </p:txBody>
      </p:sp>
      <p:pic>
        <p:nvPicPr>
          <p:cNvPr id="91" name="Picture 90">
            <a:extLst>
              <a:ext uri="{FF2B5EF4-FFF2-40B4-BE49-F238E27FC236}">
                <a16:creationId xmlns:a16="http://schemas.microsoft.com/office/drawing/2014/main" id="{FD013D1A-C2B6-4A38-8C78-82FE532D28FD}"/>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586831" y="5292212"/>
            <a:ext cx="834188" cy="502735"/>
          </a:xfrm>
          <a:prstGeom prst="rect">
            <a:avLst/>
          </a:prstGeom>
        </p:spPr>
      </p:pic>
      <p:sp>
        <p:nvSpPr>
          <p:cNvPr id="92" name="Rectangle 91">
            <a:extLst>
              <a:ext uri="{FF2B5EF4-FFF2-40B4-BE49-F238E27FC236}">
                <a16:creationId xmlns:a16="http://schemas.microsoft.com/office/drawing/2014/main" id="{EE6ED47D-1614-4CF9-BA02-CDDB2DF8A14B}"/>
              </a:ext>
            </a:extLst>
          </p:cNvPr>
          <p:cNvSpPr/>
          <p:nvPr/>
        </p:nvSpPr>
        <p:spPr>
          <a:xfrm>
            <a:off x="6208031" y="4498861"/>
            <a:ext cx="1616194" cy="717557"/>
          </a:xfrm>
          <a:prstGeom prst="rect">
            <a:avLst/>
          </a:prstGeom>
          <a:solidFill>
            <a:schemeClr val="bg1"/>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Feature-Based Configurator (Product Compatibility)</a:t>
            </a:r>
          </a:p>
        </p:txBody>
      </p:sp>
      <p:sp>
        <p:nvSpPr>
          <p:cNvPr id="94" name="Rectangle 93">
            <a:extLst>
              <a:ext uri="{FF2B5EF4-FFF2-40B4-BE49-F238E27FC236}">
                <a16:creationId xmlns:a16="http://schemas.microsoft.com/office/drawing/2014/main" id="{6B22CB3C-82C2-49DB-93BE-2C637E7361B6}"/>
              </a:ext>
            </a:extLst>
          </p:cNvPr>
          <p:cNvSpPr/>
          <p:nvPr/>
        </p:nvSpPr>
        <p:spPr>
          <a:xfrm>
            <a:off x="6216694" y="5438755"/>
            <a:ext cx="1607532" cy="717557"/>
          </a:xfrm>
          <a:prstGeom prst="rect">
            <a:avLst/>
          </a:prstGeom>
          <a:solidFill>
            <a:schemeClr val="bg1"/>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SAP ECC </a:t>
            </a:r>
            <a:br>
              <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br>
            <a:r>
              <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Customer Master) </a:t>
            </a:r>
          </a:p>
        </p:txBody>
      </p:sp>
      <p:pic>
        <p:nvPicPr>
          <p:cNvPr id="95" name="Picture 94">
            <a:extLst>
              <a:ext uri="{FF2B5EF4-FFF2-40B4-BE49-F238E27FC236}">
                <a16:creationId xmlns:a16="http://schemas.microsoft.com/office/drawing/2014/main" id="{7AA3070A-0D2D-4D75-B789-851333BB0252}"/>
              </a:ext>
            </a:extLst>
          </p:cNvPr>
          <p:cNvPicPr>
            <a:picLocks noChangeAspect="1"/>
          </p:cNvPicPr>
          <p:nvPr/>
        </p:nvPicPr>
        <p:blipFill>
          <a:blip r:embed="rId15" cstate="hqprint">
            <a:extLst>
              <a:ext uri="{28A0092B-C50C-407E-A947-70E740481C1C}">
                <a14:useLocalDpi xmlns:a14="http://schemas.microsoft.com/office/drawing/2010/main" val="0"/>
              </a:ext>
            </a:extLst>
          </a:blip>
          <a:stretch>
            <a:fillRect/>
          </a:stretch>
        </p:blipFill>
        <p:spPr>
          <a:xfrm>
            <a:off x="6878562" y="5813160"/>
            <a:ext cx="275131" cy="279261"/>
          </a:xfrm>
          <a:prstGeom prst="rect">
            <a:avLst/>
          </a:prstGeom>
        </p:spPr>
      </p:pic>
      <p:sp>
        <p:nvSpPr>
          <p:cNvPr id="96" name="Rectangle 95">
            <a:extLst>
              <a:ext uri="{FF2B5EF4-FFF2-40B4-BE49-F238E27FC236}">
                <a16:creationId xmlns:a16="http://schemas.microsoft.com/office/drawing/2014/main" id="{8009722A-7F50-49AB-865E-04C581C7E483}"/>
              </a:ext>
            </a:extLst>
          </p:cNvPr>
          <p:cNvSpPr/>
          <p:nvPr/>
        </p:nvSpPr>
        <p:spPr>
          <a:xfrm>
            <a:off x="4374253" y="4498860"/>
            <a:ext cx="1201257" cy="717557"/>
          </a:xfrm>
          <a:prstGeom prst="rect">
            <a:avLst/>
          </a:prstGeom>
          <a:solidFill>
            <a:schemeClr val="bg1"/>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Product Master</a:t>
            </a:r>
          </a:p>
        </p:txBody>
      </p:sp>
      <p:sp>
        <p:nvSpPr>
          <p:cNvPr id="98" name="Rectangle 97">
            <a:extLst>
              <a:ext uri="{FF2B5EF4-FFF2-40B4-BE49-F238E27FC236}">
                <a16:creationId xmlns:a16="http://schemas.microsoft.com/office/drawing/2014/main" id="{3DEEDA0E-E6CA-454C-8B1F-B12EC994B46C}"/>
              </a:ext>
            </a:extLst>
          </p:cNvPr>
          <p:cNvSpPr/>
          <p:nvPr/>
        </p:nvSpPr>
        <p:spPr>
          <a:xfrm>
            <a:off x="4374248" y="5467330"/>
            <a:ext cx="1201258" cy="628233"/>
          </a:xfrm>
          <a:prstGeom prst="rect">
            <a:avLst/>
          </a:prstGeom>
          <a:solidFill>
            <a:schemeClr val="bg1"/>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Product Price </a:t>
            </a:r>
            <a:br>
              <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br>
            <a:r>
              <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CPS /POPL)</a:t>
            </a:r>
          </a:p>
        </p:txBody>
      </p:sp>
      <p:sp>
        <p:nvSpPr>
          <p:cNvPr id="100" name="Rectangle 99">
            <a:extLst>
              <a:ext uri="{FF2B5EF4-FFF2-40B4-BE49-F238E27FC236}">
                <a16:creationId xmlns:a16="http://schemas.microsoft.com/office/drawing/2014/main" id="{6ADEFB53-2B87-4616-9B67-DBCEA06381A8}"/>
              </a:ext>
            </a:extLst>
          </p:cNvPr>
          <p:cNvSpPr/>
          <p:nvPr/>
        </p:nvSpPr>
        <p:spPr>
          <a:xfrm>
            <a:off x="2459367" y="5471452"/>
            <a:ext cx="1291563" cy="628232"/>
          </a:xfrm>
          <a:prstGeom prst="rect">
            <a:avLst/>
          </a:prstGeom>
          <a:solidFill>
            <a:schemeClr val="bg1"/>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B2C Customer</a:t>
            </a:r>
          </a:p>
        </p:txBody>
      </p:sp>
      <p:sp>
        <p:nvSpPr>
          <p:cNvPr id="102" name="Rectangle 101">
            <a:extLst>
              <a:ext uri="{FF2B5EF4-FFF2-40B4-BE49-F238E27FC236}">
                <a16:creationId xmlns:a16="http://schemas.microsoft.com/office/drawing/2014/main" id="{4C2B4211-2A50-44B9-9DF3-9E31CD8CE9DB}"/>
              </a:ext>
            </a:extLst>
          </p:cNvPr>
          <p:cNvSpPr/>
          <p:nvPr/>
        </p:nvSpPr>
        <p:spPr>
          <a:xfrm>
            <a:off x="2464649" y="3512662"/>
            <a:ext cx="1284314" cy="750616"/>
          </a:xfrm>
          <a:prstGeom prst="rect">
            <a:avLst/>
          </a:prstGeom>
          <a:solidFill>
            <a:schemeClr val="bg1"/>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Caterpillar Product Content (CPC)</a:t>
            </a:r>
          </a:p>
        </p:txBody>
      </p:sp>
      <p:sp>
        <p:nvSpPr>
          <p:cNvPr id="104" name="Rectangle 103">
            <a:extLst>
              <a:ext uri="{FF2B5EF4-FFF2-40B4-BE49-F238E27FC236}">
                <a16:creationId xmlns:a16="http://schemas.microsoft.com/office/drawing/2014/main" id="{6EAEEB3F-4815-45C4-B98A-047B38E1FF21}"/>
              </a:ext>
            </a:extLst>
          </p:cNvPr>
          <p:cNvSpPr/>
          <p:nvPr/>
        </p:nvSpPr>
        <p:spPr>
          <a:xfrm>
            <a:off x="2464649" y="4498859"/>
            <a:ext cx="1264044" cy="717557"/>
          </a:xfrm>
          <a:prstGeom prst="rect">
            <a:avLst/>
          </a:prstGeom>
          <a:solidFill>
            <a:schemeClr val="bg1"/>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Product Media Images (CPC/Scene 7)</a:t>
            </a:r>
          </a:p>
        </p:txBody>
      </p:sp>
      <p:pic>
        <p:nvPicPr>
          <p:cNvPr id="105" name="Picture 104">
            <a:extLst>
              <a:ext uri="{FF2B5EF4-FFF2-40B4-BE49-F238E27FC236}">
                <a16:creationId xmlns:a16="http://schemas.microsoft.com/office/drawing/2014/main" id="{824245F1-181D-4C78-9FB8-795C5F53A58A}"/>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921395" y="4877160"/>
            <a:ext cx="294264" cy="298681"/>
          </a:xfrm>
          <a:prstGeom prst="rect">
            <a:avLst/>
          </a:prstGeom>
        </p:spPr>
      </p:pic>
      <p:sp>
        <p:nvSpPr>
          <p:cNvPr id="106" name="Rectangle 105">
            <a:extLst>
              <a:ext uri="{FF2B5EF4-FFF2-40B4-BE49-F238E27FC236}">
                <a16:creationId xmlns:a16="http://schemas.microsoft.com/office/drawing/2014/main" id="{33371DD7-7AD9-4C2A-B2BE-B3DADD635CD6}"/>
              </a:ext>
            </a:extLst>
          </p:cNvPr>
          <p:cNvSpPr/>
          <p:nvPr/>
        </p:nvSpPr>
        <p:spPr>
          <a:xfrm>
            <a:off x="2466618" y="2576053"/>
            <a:ext cx="1284314" cy="717557"/>
          </a:xfrm>
          <a:prstGeom prst="rect">
            <a:avLst/>
          </a:prstGeom>
          <a:solidFill>
            <a:schemeClr val="bg1"/>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SAP ECC </a:t>
            </a:r>
            <a:br>
              <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br>
            <a:r>
              <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Customer Master) </a:t>
            </a:r>
          </a:p>
        </p:txBody>
      </p:sp>
      <p:pic>
        <p:nvPicPr>
          <p:cNvPr id="107" name="Picture 106">
            <a:extLst>
              <a:ext uri="{FF2B5EF4-FFF2-40B4-BE49-F238E27FC236}">
                <a16:creationId xmlns:a16="http://schemas.microsoft.com/office/drawing/2014/main" id="{C0E1AE69-1D1B-43B7-8B74-38E42F6EF3E0}"/>
              </a:ext>
            </a:extLst>
          </p:cNvPr>
          <p:cNvPicPr>
            <a:picLocks noChangeAspect="1"/>
          </p:cNvPicPr>
          <p:nvPr/>
        </p:nvPicPr>
        <p:blipFill>
          <a:blip r:embed="rId17" cstate="hqprint">
            <a:extLst>
              <a:ext uri="{28A0092B-C50C-407E-A947-70E740481C1C}">
                <a14:useLocalDpi xmlns:a14="http://schemas.microsoft.com/office/drawing/2010/main" val="0"/>
              </a:ext>
            </a:extLst>
          </a:blip>
          <a:stretch>
            <a:fillRect/>
          </a:stretch>
        </p:blipFill>
        <p:spPr>
          <a:xfrm>
            <a:off x="2850684" y="2983227"/>
            <a:ext cx="622866" cy="252886"/>
          </a:xfrm>
          <a:prstGeom prst="rect">
            <a:avLst/>
          </a:prstGeom>
        </p:spPr>
      </p:pic>
      <p:sp>
        <p:nvSpPr>
          <p:cNvPr id="108" name="Rectangle 107">
            <a:extLst>
              <a:ext uri="{FF2B5EF4-FFF2-40B4-BE49-F238E27FC236}">
                <a16:creationId xmlns:a16="http://schemas.microsoft.com/office/drawing/2014/main" id="{EBAE4B49-8C9F-40AA-BBC2-CE3B376C500D}"/>
              </a:ext>
            </a:extLst>
          </p:cNvPr>
          <p:cNvSpPr/>
          <p:nvPr/>
        </p:nvSpPr>
        <p:spPr>
          <a:xfrm>
            <a:off x="2466618" y="1466392"/>
            <a:ext cx="1284314" cy="687140"/>
          </a:xfrm>
          <a:prstGeom prst="rect">
            <a:avLst/>
          </a:prstGeom>
          <a:solidFill>
            <a:schemeClr val="bg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HP Loadrunner (Performance Testing)</a:t>
            </a:r>
          </a:p>
        </p:txBody>
      </p:sp>
      <p:pic>
        <p:nvPicPr>
          <p:cNvPr id="109" name="Picture 108">
            <a:extLst>
              <a:ext uri="{FF2B5EF4-FFF2-40B4-BE49-F238E27FC236}">
                <a16:creationId xmlns:a16="http://schemas.microsoft.com/office/drawing/2014/main" id="{515EA049-0A90-4B84-96AF-C7DBA15480A3}"/>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2874322" y="1809962"/>
            <a:ext cx="484454" cy="324945"/>
          </a:xfrm>
          <a:prstGeom prst="rect">
            <a:avLst/>
          </a:prstGeom>
        </p:spPr>
      </p:pic>
      <p:sp>
        <p:nvSpPr>
          <p:cNvPr id="110" name="TextBox 109">
            <a:extLst>
              <a:ext uri="{FF2B5EF4-FFF2-40B4-BE49-F238E27FC236}">
                <a16:creationId xmlns:a16="http://schemas.microsoft.com/office/drawing/2014/main" id="{F8D4BFD5-8C76-443E-AA9E-38737689D854}"/>
              </a:ext>
            </a:extLst>
          </p:cNvPr>
          <p:cNvSpPr txBox="1"/>
          <p:nvPr/>
        </p:nvSpPr>
        <p:spPr>
          <a:xfrm>
            <a:off x="6955423" y="1814978"/>
            <a:ext cx="859858" cy="338554"/>
          </a:xfrm>
          <a:prstGeom prst="rect">
            <a:avLst/>
          </a:prstGeom>
          <a:noFill/>
        </p:spPr>
        <p:txBody>
          <a:bodyPr wrap="square" rtlCol="0">
            <a:spAutoFit/>
          </a:bodyPr>
          <a:lstStyle/>
          <a:p>
            <a:pPr algn="ctr"/>
            <a:r>
              <a:rPr lang="en-US" sz="800" b="1" dirty="0"/>
              <a:t>[CLIENT LOGO]</a:t>
            </a:r>
          </a:p>
        </p:txBody>
      </p:sp>
      <p:sp>
        <p:nvSpPr>
          <p:cNvPr id="111" name="TextBox 110">
            <a:extLst>
              <a:ext uri="{FF2B5EF4-FFF2-40B4-BE49-F238E27FC236}">
                <a16:creationId xmlns:a16="http://schemas.microsoft.com/office/drawing/2014/main" id="{0984FC18-8ABB-41D3-8977-82D3FB6BEE7C}"/>
              </a:ext>
            </a:extLst>
          </p:cNvPr>
          <p:cNvSpPr txBox="1"/>
          <p:nvPr/>
        </p:nvSpPr>
        <p:spPr>
          <a:xfrm>
            <a:off x="5637762" y="1814978"/>
            <a:ext cx="859858" cy="338554"/>
          </a:xfrm>
          <a:prstGeom prst="rect">
            <a:avLst/>
          </a:prstGeom>
          <a:noFill/>
        </p:spPr>
        <p:txBody>
          <a:bodyPr wrap="square" rtlCol="0">
            <a:spAutoFit/>
          </a:bodyPr>
          <a:lstStyle/>
          <a:p>
            <a:pPr algn="ctr"/>
            <a:r>
              <a:rPr lang="en-US" sz="800" b="1" dirty="0"/>
              <a:t>[CLIENT LOGO]</a:t>
            </a:r>
          </a:p>
        </p:txBody>
      </p:sp>
      <p:sp>
        <p:nvSpPr>
          <p:cNvPr id="112" name="TextBox 111">
            <a:extLst>
              <a:ext uri="{FF2B5EF4-FFF2-40B4-BE49-F238E27FC236}">
                <a16:creationId xmlns:a16="http://schemas.microsoft.com/office/drawing/2014/main" id="{89B0458F-01F6-4447-A6F6-0D6736E3247A}"/>
              </a:ext>
            </a:extLst>
          </p:cNvPr>
          <p:cNvSpPr txBox="1"/>
          <p:nvPr/>
        </p:nvSpPr>
        <p:spPr>
          <a:xfrm>
            <a:off x="8572046" y="3069761"/>
            <a:ext cx="859858" cy="338554"/>
          </a:xfrm>
          <a:prstGeom prst="rect">
            <a:avLst/>
          </a:prstGeom>
          <a:noFill/>
        </p:spPr>
        <p:txBody>
          <a:bodyPr wrap="square" rtlCol="0">
            <a:spAutoFit/>
          </a:bodyPr>
          <a:lstStyle/>
          <a:p>
            <a:pPr algn="ctr"/>
            <a:r>
              <a:rPr lang="en-US" sz="800" b="1" dirty="0"/>
              <a:t>[CLIENT LOGO]</a:t>
            </a:r>
          </a:p>
        </p:txBody>
      </p:sp>
      <p:sp>
        <p:nvSpPr>
          <p:cNvPr id="119" name="TextBox 118">
            <a:extLst>
              <a:ext uri="{FF2B5EF4-FFF2-40B4-BE49-F238E27FC236}">
                <a16:creationId xmlns:a16="http://schemas.microsoft.com/office/drawing/2014/main" id="{2490875E-C23B-4190-87CA-A05DE04B0EA3}"/>
              </a:ext>
            </a:extLst>
          </p:cNvPr>
          <p:cNvSpPr txBox="1"/>
          <p:nvPr/>
        </p:nvSpPr>
        <p:spPr>
          <a:xfrm>
            <a:off x="6549287" y="4852550"/>
            <a:ext cx="859858" cy="338554"/>
          </a:xfrm>
          <a:prstGeom prst="rect">
            <a:avLst/>
          </a:prstGeom>
          <a:noFill/>
        </p:spPr>
        <p:txBody>
          <a:bodyPr wrap="square" rtlCol="0">
            <a:spAutoFit/>
          </a:bodyPr>
          <a:lstStyle/>
          <a:p>
            <a:pPr algn="ctr"/>
            <a:r>
              <a:rPr lang="en-US" sz="800" b="1" dirty="0"/>
              <a:t>[CLIENT LOGO]</a:t>
            </a:r>
          </a:p>
        </p:txBody>
      </p:sp>
      <p:sp>
        <p:nvSpPr>
          <p:cNvPr id="120" name="TextBox 119">
            <a:extLst>
              <a:ext uri="{FF2B5EF4-FFF2-40B4-BE49-F238E27FC236}">
                <a16:creationId xmlns:a16="http://schemas.microsoft.com/office/drawing/2014/main" id="{E7D5E437-F244-4413-8099-72DE06C814D3}"/>
              </a:ext>
            </a:extLst>
          </p:cNvPr>
          <p:cNvSpPr txBox="1"/>
          <p:nvPr/>
        </p:nvSpPr>
        <p:spPr>
          <a:xfrm>
            <a:off x="4544952" y="4877863"/>
            <a:ext cx="859858" cy="338554"/>
          </a:xfrm>
          <a:prstGeom prst="rect">
            <a:avLst/>
          </a:prstGeom>
          <a:noFill/>
        </p:spPr>
        <p:txBody>
          <a:bodyPr wrap="square" rtlCol="0">
            <a:spAutoFit/>
          </a:bodyPr>
          <a:lstStyle/>
          <a:p>
            <a:pPr algn="ctr"/>
            <a:r>
              <a:rPr lang="en-US" sz="800" b="1" dirty="0"/>
              <a:t>[CLIENT LOGO]</a:t>
            </a:r>
          </a:p>
        </p:txBody>
      </p:sp>
      <p:sp>
        <p:nvSpPr>
          <p:cNvPr id="121" name="TextBox 120">
            <a:extLst>
              <a:ext uri="{FF2B5EF4-FFF2-40B4-BE49-F238E27FC236}">
                <a16:creationId xmlns:a16="http://schemas.microsoft.com/office/drawing/2014/main" id="{AE114AF0-1832-4C81-89AB-B06D13B8D016}"/>
              </a:ext>
            </a:extLst>
          </p:cNvPr>
          <p:cNvSpPr txBox="1"/>
          <p:nvPr/>
        </p:nvSpPr>
        <p:spPr>
          <a:xfrm>
            <a:off x="4544948" y="5762356"/>
            <a:ext cx="859858" cy="338554"/>
          </a:xfrm>
          <a:prstGeom prst="rect">
            <a:avLst/>
          </a:prstGeom>
          <a:noFill/>
        </p:spPr>
        <p:txBody>
          <a:bodyPr wrap="square" rtlCol="0">
            <a:spAutoFit/>
          </a:bodyPr>
          <a:lstStyle/>
          <a:p>
            <a:pPr algn="ctr"/>
            <a:r>
              <a:rPr lang="en-US" sz="800" b="1" dirty="0"/>
              <a:t>[CLIENT LOGO]</a:t>
            </a:r>
          </a:p>
        </p:txBody>
      </p:sp>
      <p:sp>
        <p:nvSpPr>
          <p:cNvPr id="122" name="TextBox 121">
            <a:extLst>
              <a:ext uri="{FF2B5EF4-FFF2-40B4-BE49-F238E27FC236}">
                <a16:creationId xmlns:a16="http://schemas.microsoft.com/office/drawing/2014/main" id="{6810DE49-ACDA-4548-B58C-2C0B340E7D59}"/>
              </a:ext>
            </a:extLst>
          </p:cNvPr>
          <p:cNvSpPr txBox="1"/>
          <p:nvPr/>
        </p:nvSpPr>
        <p:spPr>
          <a:xfrm>
            <a:off x="2675219" y="5761130"/>
            <a:ext cx="859858" cy="338554"/>
          </a:xfrm>
          <a:prstGeom prst="rect">
            <a:avLst/>
          </a:prstGeom>
          <a:noFill/>
        </p:spPr>
        <p:txBody>
          <a:bodyPr wrap="square" rtlCol="0">
            <a:spAutoFit/>
          </a:bodyPr>
          <a:lstStyle/>
          <a:p>
            <a:pPr algn="ctr"/>
            <a:r>
              <a:rPr lang="en-US" sz="800" b="1" dirty="0"/>
              <a:t>[CLIENT LOGO]</a:t>
            </a:r>
          </a:p>
        </p:txBody>
      </p:sp>
      <p:sp>
        <p:nvSpPr>
          <p:cNvPr id="125" name="TextBox 124">
            <a:extLst>
              <a:ext uri="{FF2B5EF4-FFF2-40B4-BE49-F238E27FC236}">
                <a16:creationId xmlns:a16="http://schemas.microsoft.com/office/drawing/2014/main" id="{57F4B737-A2A3-4B88-B979-DC217FFB7F67}"/>
              </a:ext>
            </a:extLst>
          </p:cNvPr>
          <p:cNvSpPr txBox="1"/>
          <p:nvPr/>
        </p:nvSpPr>
        <p:spPr>
          <a:xfrm>
            <a:off x="2676877" y="3924724"/>
            <a:ext cx="859858" cy="338554"/>
          </a:xfrm>
          <a:prstGeom prst="rect">
            <a:avLst/>
          </a:prstGeom>
          <a:noFill/>
        </p:spPr>
        <p:txBody>
          <a:bodyPr wrap="square" rtlCol="0">
            <a:spAutoFit/>
          </a:bodyPr>
          <a:lstStyle/>
          <a:p>
            <a:pPr algn="ctr"/>
            <a:r>
              <a:rPr lang="en-US" sz="800" b="1" dirty="0"/>
              <a:t>[CLIENT LOGO]</a:t>
            </a:r>
          </a:p>
        </p:txBody>
      </p:sp>
    </p:spTree>
    <p:extLst>
      <p:ext uri="{BB962C8B-B14F-4D97-AF65-F5344CB8AC3E}">
        <p14:creationId xmlns:p14="http://schemas.microsoft.com/office/powerpoint/2010/main" val="4925733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ct 50" hidden="1">
            <a:extLst>
              <a:ext uri="{FF2B5EF4-FFF2-40B4-BE49-F238E27FC236}">
                <a16:creationId xmlns:a16="http://schemas.microsoft.com/office/drawing/2014/main" id="{755577B1-D478-4143-99F1-489907A7B29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0" name="think-cell Slide" r:id="rId5" imgW="415" imgH="416" progId="TCLayout.ActiveDocument.1">
                  <p:embed/>
                </p:oleObj>
              </mc:Choice>
              <mc:Fallback>
                <p:oleObj name="think-cell Slide" r:id="rId5" imgW="415" imgH="416" progId="TCLayout.ActiveDocument.1">
                  <p:embed/>
                  <p:pic>
                    <p:nvPicPr>
                      <p:cNvPr id="51" name="Object 50" hidden="1">
                        <a:extLst>
                          <a:ext uri="{FF2B5EF4-FFF2-40B4-BE49-F238E27FC236}">
                            <a16:creationId xmlns:a16="http://schemas.microsoft.com/office/drawing/2014/main" id="{755577B1-D478-4143-99F1-489907A7B2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3" name="Picture 52">
            <a:extLst>
              <a:ext uri="{FF2B5EF4-FFF2-40B4-BE49-F238E27FC236}">
                <a16:creationId xmlns:a16="http://schemas.microsoft.com/office/drawing/2014/main" id="{3E50C708-FDB3-44AB-81C1-9CE36ECD83FD}"/>
              </a:ext>
            </a:extLst>
          </p:cNvPr>
          <p:cNvPicPr>
            <a:picLocks noChangeAspect="1"/>
          </p:cNvPicPr>
          <p:nvPr/>
        </p:nvPicPr>
        <p:blipFill rotWithShape="1">
          <a:blip r:embed="rId7"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A15B6C58-1CEC-4182-9461-C1C6A86A2064}"/>
              </a:ext>
            </a:extLst>
          </p:cNvPr>
          <p:cNvSpPr/>
          <p:nvPr/>
        </p:nvSpPr>
        <p:spPr>
          <a:xfrm>
            <a:off x="7937679" y="886888"/>
            <a:ext cx="3797121" cy="59711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 name="Title 7">
            <a:extLst>
              <a:ext uri="{FF2B5EF4-FFF2-40B4-BE49-F238E27FC236}">
                <a16:creationId xmlns:a16="http://schemas.microsoft.com/office/drawing/2014/main" id="{5A37A243-C3AD-4BE3-B589-4F629FA7037D}"/>
              </a:ext>
            </a:extLst>
          </p:cNvPr>
          <p:cNvSpPr txBox="1">
            <a:spLocks/>
          </p:cNvSpPr>
          <p:nvPr/>
        </p:nvSpPr>
        <p:spPr>
          <a:xfrm>
            <a:off x="8272815" y="2924531"/>
            <a:ext cx="3128965" cy="1063974"/>
          </a:xfrm>
          <a:prstGeom prst="rect">
            <a:avLst/>
          </a:prstGeom>
          <a:noFill/>
        </p:spPr>
        <p:txBody>
          <a:bodyPr vert="horz" lIns="182880" tIns="45720" rIns="182880" bIns="0" rtlCol="0" anchor="t" anchorCtr="0">
            <a:noAutofit/>
          </a:bodyPr>
          <a:lstStyle>
            <a:lvl1pPr algn="l" defTabSz="914400" rtl="0" eaLnBrk="1" latinLnBrk="0" hangingPunct="1">
              <a:lnSpc>
                <a:spcPct val="80000"/>
              </a:lnSpc>
              <a:spcBef>
                <a:spcPct val="0"/>
              </a:spcBef>
              <a:buNone/>
              <a:defRPr lang="en-US" sz="3600" b="0" i="0" kern="1200" cap="none" spc="0" baseline="0" dirty="0">
                <a:solidFill>
                  <a:schemeClr val="tx1"/>
                </a:solidFill>
                <a:latin typeface="+mj-lt"/>
                <a:ea typeface="Bebas Neue" charset="0"/>
                <a:cs typeface="Chronicle Display Black"/>
              </a:defRPr>
            </a:lvl1pPr>
          </a:lstStyle>
          <a:p>
            <a:pPr marL="0" marR="0" lvl="1" indent="0" algn="l" defTabSz="914400" rtl="0" eaLnBrk="0" fontAlgn="auto" latinLnBrk="0" hangingPunct="0">
              <a:lnSpc>
                <a:spcPct val="110000"/>
              </a:lnSpc>
              <a:spcBef>
                <a:spcPts val="0"/>
              </a:spcBef>
              <a:spcAft>
                <a:spcPts val="1000"/>
              </a:spcAft>
              <a:buClrTx/>
              <a:buSzPct val="100000"/>
              <a:buFontTx/>
              <a:buNone/>
              <a:tabLst>
                <a:tab pos="1544187" algn="l"/>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Arial" charset="0"/>
              </a:rPr>
              <a:t>With change comes opportunity. Client is positioning itself to “blow the roof” off its business. Here’s what we think is most important for our Client:</a:t>
            </a:r>
            <a:endParaRPr kumimoji="0" lang="en-US" sz="1400" b="1" i="0" u="none" strike="noStrike" kern="0" cap="none" spc="0" normalizeH="0" baseline="0" noProof="0" dirty="0">
              <a:ln>
                <a:noFill/>
              </a:ln>
              <a:solidFill>
                <a:sysClr val="windowText" lastClr="000000"/>
              </a:solidFill>
              <a:effectLst/>
              <a:uLnTx/>
              <a:uFillTx/>
              <a:latin typeface="Open Sans"/>
              <a:ea typeface="+mn-ea"/>
              <a:cs typeface="+mn-cs"/>
            </a:endParaRPr>
          </a:p>
        </p:txBody>
      </p:sp>
      <p:sp>
        <p:nvSpPr>
          <p:cNvPr id="5" name="Rectangle 4">
            <a:extLst>
              <a:ext uri="{FF2B5EF4-FFF2-40B4-BE49-F238E27FC236}">
                <a16:creationId xmlns:a16="http://schemas.microsoft.com/office/drawing/2014/main" id="{908EB55D-0232-4377-8745-43F750A8695A}"/>
              </a:ext>
            </a:extLst>
          </p:cNvPr>
          <p:cNvSpPr/>
          <p:nvPr/>
        </p:nvSpPr>
        <p:spPr>
          <a:xfrm>
            <a:off x="8317967" y="1417648"/>
            <a:ext cx="2908345" cy="1581972"/>
          </a:xfrm>
          <a:prstGeom prst="rect">
            <a:avLst/>
          </a:prstGeom>
        </p:spPr>
        <p:txBody>
          <a:bodyPr wrap="square">
            <a:spAutoFit/>
          </a:bodyPr>
          <a:lstStyle/>
          <a:p>
            <a:pPr marL="0" marR="0" lvl="0" indent="0" algn="l" defTabSz="914400" rtl="0" eaLnBrk="1" fontAlgn="auto" latinLnBrk="0" hangingPunct="1">
              <a:lnSpc>
                <a:spcPct val="85000"/>
              </a:lnSpc>
              <a:spcBef>
                <a:spcPts val="0"/>
              </a:spcBef>
              <a:spcAft>
                <a:spcPts val="400"/>
              </a:spcAft>
              <a:buClrTx/>
              <a:buSzTx/>
              <a:buFontTx/>
              <a:buNone/>
              <a:tabLst/>
              <a:defRPr/>
            </a:pPr>
            <a:r>
              <a:rPr kumimoji="0" lang="en-US" sz="3600" b="0" i="0" u="none" strike="noStrike" kern="1200" cap="none" spc="0" normalizeH="0" baseline="0" noProof="0" dirty="0">
                <a:ln>
                  <a:noFill/>
                </a:ln>
                <a:solidFill>
                  <a:srgbClr val="000000"/>
                </a:solidFill>
                <a:effectLst/>
                <a:uLnTx/>
                <a:uFillTx/>
                <a:latin typeface="Chronicle Display Black"/>
                <a:ea typeface="+mn-ea"/>
                <a:cs typeface="+mn-cs"/>
              </a:rPr>
              <a:t>Your value </a:t>
            </a:r>
            <a:br>
              <a:rPr kumimoji="0" lang="en-US" sz="3600" b="0" i="0" u="none" strike="noStrike" kern="1200" cap="none" spc="0" normalizeH="0" baseline="0" noProof="0" dirty="0">
                <a:ln>
                  <a:noFill/>
                </a:ln>
                <a:solidFill>
                  <a:srgbClr val="000000"/>
                </a:solidFill>
                <a:effectLst/>
                <a:uLnTx/>
                <a:uFillTx/>
                <a:latin typeface="Chronicle Display Black"/>
                <a:ea typeface="+mn-ea"/>
                <a:cs typeface="+mn-cs"/>
              </a:rPr>
            </a:br>
            <a:r>
              <a:rPr kumimoji="0" lang="en-US" sz="3600" b="0" i="0" u="none" strike="noStrike" kern="1200" cap="none" spc="0" normalizeH="0" baseline="0" noProof="0" dirty="0">
                <a:ln>
                  <a:noFill/>
                </a:ln>
                <a:solidFill>
                  <a:srgbClr val="000000"/>
                </a:solidFill>
                <a:effectLst/>
                <a:uLnTx/>
                <a:uFillTx/>
                <a:latin typeface="Chronicle Display Black"/>
                <a:ea typeface="+mn-ea"/>
                <a:cs typeface="+mn-cs"/>
              </a:rPr>
              <a:t>is about to </a:t>
            </a:r>
          </a:p>
          <a:p>
            <a:pPr marL="0" marR="0" lvl="0" indent="0" algn="l" defTabSz="914400" rtl="0" eaLnBrk="1" fontAlgn="auto" latinLnBrk="0" hangingPunct="1">
              <a:lnSpc>
                <a:spcPct val="85000"/>
              </a:lnSpc>
              <a:spcBef>
                <a:spcPts val="0"/>
              </a:spcBef>
              <a:spcAft>
                <a:spcPts val="400"/>
              </a:spcAft>
              <a:buClrTx/>
              <a:buSzTx/>
              <a:buFontTx/>
              <a:buNone/>
              <a:tabLst/>
              <a:defRPr/>
            </a:pPr>
            <a:r>
              <a:rPr kumimoji="0" lang="en-US" sz="3600" b="0" i="0" u="none" strike="noStrike" kern="1200" cap="none" spc="20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XPLODE.</a:t>
            </a:r>
          </a:p>
        </p:txBody>
      </p:sp>
      <p:grpSp>
        <p:nvGrpSpPr>
          <p:cNvPr id="6" name="Group 5">
            <a:extLst>
              <a:ext uri="{FF2B5EF4-FFF2-40B4-BE49-F238E27FC236}">
                <a16:creationId xmlns:a16="http://schemas.microsoft.com/office/drawing/2014/main" id="{52EEF6B1-8047-497D-A398-B04F2AF3B02C}"/>
              </a:ext>
            </a:extLst>
          </p:cNvPr>
          <p:cNvGrpSpPr/>
          <p:nvPr/>
        </p:nvGrpSpPr>
        <p:grpSpPr>
          <a:xfrm>
            <a:off x="8496300" y="4767008"/>
            <a:ext cx="2563703" cy="353943"/>
            <a:chOff x="8569966" y="4323755"/>
            <a:chExt cx="2563703" cy="353943"/>
          </a:xfrm>
        </p:grpSpPr>
        <p:sp>
          <p:nvSpPr>
            <p:cNvPr id="7" name="TextBox 6">
              <a:extLst>
                <a:ext uri="{FF2B5EF4-FFF2-40B4-BE49-F238E27FC236}">
                  <a16:creationId xmlns:a16="http://schemas.microsoft.com/office/drawing/2014/main" id="{04CD776B-22D4-4CFE-B873-01B4E93B14D9}"/>
                </a:ext>
              </a:extLst>
            </p:cNvPr>
            <p:cNvSpPr txBox="1"/>
            <p:nvPr/>
          </p:nvSpPr>
          <p:spPr>
            <a:xfrm>
              <a:off x="8776122" y="4323755"/>
              <a:ext cx="2357547" cy="3539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100" normalizeH="0" baseline="0" noProof="0" dirty="0">
                  <a:ln>
                    <a:noFill/>
                  </a:ln>
                  <a:solidFill>
                    <a:srgbClr val="FFFFFF">
                      <a:lumMod val="50000"/>
                    </a:srgbClr>
                  </a:solidFill>
                  <a:effectLst/>
                  <a:uLnTx/>
                  <a:uFillTx/>
                  <a:latin typeface="Open Sans"/>
                  <a:ea typeface="+mn-ea"/>
                  <a:cs typeface="+mn-cs"/>
                </a:rPr>
                <a:t>CX MARKETING ROI MEASUREMENT AND PLANNING</a:t>
              </a:r>
            </a:p>
          </p:txBody>
        </p:sp>
        <p:grpSp>
          <p:nvGrpSpPr>
            <p:cNvPr id="8" name="Group 7">
              <a:extLst>
                <a:ext uri="{FF2B5EF4-FFF2-40B4-BE49-F238E27FC236}">
                  <a16:creationId xmlns:a16="http://schemas.microsoft.com/office/drawing/2014/main" id="{300FB0DD-CC52-427F-BAFA-55B2CC81BD0C}"/>
                </a:ext>
              </a:extLst>
            </p:cNvPr>
            <p:cNvGrpSpPr/>
            <p:nvPr/>
          </p:nvGrpSpPr>
          <p:grpSpPr>
            <a:xfrm>
              <a:off x="8569966" y="4385129"/>
              <a:ext cx="203494" cy="203494"/>
              <a:chOff x="8294511" y="4382911"/>
              <a:chExt cx="524933" cy="524933"/>
            </a:xfrm>
          </p:grpSpPr>
          <p:sp>
            <p:nvSpPr>
              <p:cNvPr id="9" name="Oval 8">
                <a:extLst>
                  <a:ext uri="{FF2B5EF4-FFF2-40B4-BE49-F238E27FC236}">
                    <a16:creationId xmlns:a16="http://schemas.microsoft.com/office/drawing/2014/main" id="{01E71696-E894-4FFA-8281-FFF33F322F39}"/>
                  </a:ext>
                </a:extLst>
              </p:cNvPr>
              <p:cNvSpPr/>
              <p:nvPr/>
            </p:nvSpPr>
            <p:spPr>
              <a:xfrm>
                <a:off x="8294511" y="4382911"/>
                <a:ext cx="524933" cy="5249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0" normalizeH="0" baseline="0" noProof="0" dirty="0">
                  <a:ln>
                    <a:noFill/>
                  </a:ln>
                  <a:solidFill>
                    <a:srgbClr val="FFFFFF">
                      <a:lumMod val="50000"/>
                    </a:srgbClr>
                  </a:solidFill>
                  <a:effectLst/>
                  <a:uLnTx/>
                  <a:uFillTx/>
                  <a:latin typeface="Open Sans"/>
                  <a:ea typeface="+mn-ea"/>
                  <a:cs typeface="+mn-cs"/>
                </a:endParaRPr>
              </a:p>
            </p:txBody>
          </p:sp>
          <p:grpSp>
            <p:nvGrpSpPr>
              <p:cNvPr id="10" name="Group 9">
                <a:extLst>
                  <a:ext uri="{FF2B5EF4-FFF2-40B4-BE49-F238E27FC236}">
                    <a16:creationId xmlns:a16="http://schemas.microsoft.com/office/drawing/2014/main" id="{9A0179B3-79DC-460A-BF7A-7F0882558BD5}"/>
                  </a:ext>
                </a:extLst>
              </p:cNvPr>
              <p:cNvGrpSpPr/>
              <p:nvPr/>
            </p:nvGrpSpPr>
            <p:grpSpPr>
              <a:xfrm rot="2700000">
                <a:off x="8482833" y="4489850"/>
                <a:ext cx="165934" cy="286093"/>
                <a:chOff x="9659410" y="3134207"/>
                <a:chExt cx="202974" cy="349955"/>
              </a:xfrm>
              <a:solidFill>
                <a:schemeClr val="bg1"/>
              </a:solidFill>
            </p:grpSpPr>
            <p:sp>
              <p:nvSpPr>
                <p:cNvPr id="11" name="Rectangle 10">
                  <a:extLst>
                    <a:ext uri="{FF2B5EF4-FFF2-40B4-BE49-F238E27FC236}">
                      <a16:creationId xmlns:a16="http://schemas.microsoft.com/office/drawing/2014/main" id="{22CD0476-4F45-4EE3-A7A0-E097285C328F}"/>
                    </a:ext>
                  </a:extLst>
                </p:cNvPr>
                <p:cNvSpPr/>
                <p:nvPr/>
              </p:nvSpPr>
              <p:spPr>
                <a:xfrm>
                  <a:off x="9659410" y="3390771"/>
                  <a:ext cx="180751" cy="93391"/>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0" normalizeH="0" baseline="0" noProof="0" dirty="0">
                    <a:ln>
                      <a:noFill/>
                    </a:ln>
                    <a:solidFill>
                      <a:srgbClr val="FFFFFF">
                        <a:lumMod val="50000"/>
                      </a:srgbClr>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B09B9C87-F5D8-47E7-9261-BD74E9489469}"/>
                    </a:ext>
                  </a:extLst>
                </p:cNvPr>
                <p:cNvSpPr/>
                <p:nvPr/>
              </p:nvSpPr>
              <p:spPr>
                <a:xfrm rot="5400000">
                  <a:off x="9640711" y="3262489"/>
                  <a:ext cx="349955" cy="93391"/>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0" normalizeH="0" baseline="0" noProof="0" dirty="0">
                    <a:ln>
                      <a:noFill/>
                    </a:ln>
                    <a:solidFill>
                      <a:srgbClr val="FFFFFF">
                        <a:lumMod val="50000"/>
                      </a:srgbClr>
                    </a:solidFill>
                    <a:effectLst/>
                    <a:uLnTx/>
                    <a:uFillTx/>
                    <a:latin typeface="Open Sans"/>
                    <a:ea typeface="+mn-ea"/>
                    <a:cs typeface="+mn-cs"/>
                  </a:endParaRPr>
                </a:p>
              </p:txBody>
            </p:sp>
          </p:grpSp>
        </p:grpSp>
      </p:grpSp>
      <p:grpSp>
        <p:nvGrpSpPr>
          <p:cNvPr id="13" name="Group 12">
            <a:extLst>
              <a:ext uri="{FF2B5EF4-FFF2-40B4-BE49-F238E27FC236}">
                <a16:creationId xmlns:a16="http://schemas.microsoft.com/office/drawing/2014/main" id="{71A86A85-AF66-41E9-9B81-96101F3810A0}"/>
              </a:ext>
            </a:extLst>
          </p:cNvPr>
          <p:cNvGrpSpPr/>
          <p:nvPr/>
        </p:nvGrpSpPr>
        <p:grpSpPr>
          <a:xfrm>
            <a:off x="8496300" y="6148028"/>
            <a:ext cx="2797049" cy="216598"/>
            <a:chOff x="8569966" y="4829604"/>
            <a:chExt cx="2797049" cy="216598"/>
          </a:xfrm>
        </p:grpSpPr>
        <p:sp>
          <p:nvSpPr>
            <p:cNvPr id="14" name="TextBox 13">
              <a:extLst>
                <a:ext uri="{FF2B5EF4-FFF2-40B4-BE49-F238E27FC236}">
                  <a16:creationId xmlns:a16="http://schemas.microsoft.com/office/drawing/2014/main" id="{A88F1A0D-34BB-4E35-8345-EEE0E7D94579}"/>
                </a:ext>
              </a:extLst>
            </p:cNvPr>
            <p:cNvSpPr txBox="1"/>
            <p:nvPr/>
          </p:nvSpPr>
          <p:spPr>
            <a:xfrm>
              <a:off x="8776123" y="4829604"/>
              <a:ext cx="2590892" cy="216598"/>
            </a:xfrm>
            <a:prstGeom prst="rect">
              <a:avLst/>
            </a:prstGeom>
            <a:noFill/>
          </p:spPr>
          <p:txBody>
            <a:bodyPr wrap="square" rtlCol="0">
              <a:spAutoFit/>
            </a:bodyPr>
            <a:lstStyle>
              <a:defPPr>
                <a:defRPr lang="en-US"/>
              </a:defPPr>
              <a:lvl1pPr>
                <a:lnSpc>
                  <a:spcPct val="95000"/>
                </a:lnSpc>
                <a:defRPr sz="800" b="1" spc="150">
                  <a:solidFill>
                    <a:srgbClr val="000000"/>
                  </a:solidFill>
                </a:defRPr>
              </a:lvl1p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850" b="1" i="0" u="none" strike="noStrike" kern="1200" cap="none" spc="100" normalizeH="0" baseline="0" noProof="0" dirty="0">
                  <a:ln>
                    <a:noFill/>
                  </a:ln>
                  <a:solidFill>
                    <a:srgbClr val="FFFFFF">
                      <a:lumMod val="50000"/>
                    </a:srgbClr>
                  </a:solidFill>
                  <a:effectLst/>
                  <a:uLnTx/>
                  <a:uFillTx/>
                  <a:latin typeface="Open Sans"/>
                  <a:ea typeface="+mn-ea"/>
                  <a:cs typeface="+mn-cs"/>
                </a:rPr>
                <a:t>DATA INTEGRATION</a:t>
              </a:r>
            </a:p>
          </p:txBody>
        </p:sp>
        <p:grpSp>
          <p:nvGrpSpPr>
            <p:cNvPr id="15" name="Group 14">
              <a:extLst>
                <a:ext uri="{FF2B5EF4-FFF2-40B4-BE49-F238E27FC236}">
                  <a16:creationId xmlns:a16="http://schemas.microsoft.com/office/drawing/2014/main" id="{C93BE938-C992-462A-B09A-52B5CAE46505}"/>
                </a:ext>
              </a:extLst>
            </p:cNvPr>
            <p:cNvGrpSpPr/>
            <p:nvPr/>
          </p:nvGrpSpPr>
          <p:grpSpPr>
            <a:xfrm>
              <a:off x="8569966" y="4832501"/>
              <a:ext cx="203494" cy="203494"/>
              <a:chOff x="8294511" y="4382911"/>
              <a:chExt cx="524933" cy="524933"/>
            </a:xfrm>
          </p:grpSpPr>
          <p:sp>
            <p:nvSpPr>
              <p:cNvPr id="16" name="Oval 15">
                <a:extLst>
                  <a:ext uri="{FF2B5EF4-FFF2-40B4-BE49-F238E27FC236}">
                    <a16:creationId xmlns:a16="http://schemas.microsoft.com/office/drawing/2014/main" id="{78121172-33A3-46B2-A93B-387E241C863C}"/>
                  </a:ext>
                </a:extLst>
              </p:cNvPr>
              <p:cNvSpPr/>
              <p:nvPr/>
            </p:nvSpPr>
            <p:spPr>
              <a:xfrm>
                <a:off x="8294511" y="4382911"/>
                <a:ext cx="524933" cy="5249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0" normalizeH="0" baseline="0" noProof="0" dirty="0">
                  <a:ln>
                    <a:noFill/>
                  </a:ln>
                  <a:solidFill>
                    <a:srgbClr val="FFFFFF">
                      <a:lumMod val="50000"/>
                    </a:srgbClr>
                  </a:solidFill>
                  <a:effectLst/>
                  <a:uLnTx/>
                  <a:uFillTx/>
                  <a:latin typeface="Open Sans"/>
                  <a:ea typeface="+mn-ea"/>
                  <a:cs typeface="+mn-cs"/>
                </a:endParaRPr>
              </a:p>
            </p:txBody>
          </p:sp>
          <p:grpSp>
            <p:nvGrpSpPr>
              <p:cNvPr id="17" name="Group 16">
                <a:extLst>
                  <a:ext uri="{FF2B5EF4-FFF2-40B4-BE49-F238E27FC236}">
                    <a16:creationId xmlns:a16="http://schemas.microsoft.com/office/drawing/2014/main" id="{5858918D-D1BF-49EA-A0BB-5D7E6AE32036}"/>
                  </a:ext>
                </a:extLst>
              </p:cNvPr>
              <p:cNvGrpSpPr/>
              <p:nvPr/>
            </p:nvGrpSpPr>
            <p:grpSpPr>
              <a:xfrm rot="2700000">
                <a:off x="8482833" y="4489850"/>
                <a:ext cx="165934" cy="286093"/>
                <a:chOff x="9659410" y="3134207"/>
                <a:chExt cx="202974" cy="349955"/>
              </a:xfrm>
              <a:solidFill>
                <a:schemeClr val="bg1"/>
              </a:solidFill>
            </p:grpSpPr>
            <p:sp>
              <p:nvSpPr>
                <p:cNvPr id="18" name="Rectangle 17">
                  <a:extLst>
                    <a:ext uri="{FF2B5EF4-FFF2-40B4-BE49-F238E27FC236}">
                      <a16:creationId xmlns:a16="http://schemas.microsoft.com/office/drawing/2014/main" id="{9191F79F-4948-4AD2-89AE-E41BE478298F}"/>
                    </a:ext>
                  </a:extLst>
                </p:cNvPr>
                <p:cNvSpPr/>
                <p:nvPr/>
              </p:nvSpPr>
              <p:spPr>
                <a:xfrm>
                  <a:off x="9659410" y="3390771"/>
                  <a:ext cx="180751" cy="93391"/>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0" normalizeH="0" baseline="0" noProof="0" dirty="0">
                    <a:ln>
                      <a:noFill/>
                    </a:ln>
                    <a:solidFill>
                      <a:srgbClr val="FFFFFF">
                        <a:lumMod val="50000"/>
                      </a:srgbClr>
                    </a:solidFill>
                    <a:effectLst/>
                    <a:uLnTx/>
                    <a:uFillTx/>
                    <a:latin typeface="Open Sans"/>
                    <a:ea typeface="+mn-ea"/>
                    <a:cs typeface="+mn-cs"/>
                  </a:endParaRPr>
                </a:p>
              </p:txBody>
            </p:sp>
            <p:sp>
              <p:nvSpPr>
                <p:cNvPr id="19" name="Rectangle 18">
                  <a:extLst>
                    <a:ext uri="{FF2B5EF4-FFF2-40B4-BE49-F238E27FC236}">
                      <a16:creationId xmlns:a16="http://schemas.microsoft.com/office/drawing/2014/main" id="{8E13BB02-1981-483E-A5FB-F332C2D24142}"/>
                    </a:ext>
                  </a:extLst>
                </p:cNvPr>
                <p:cNvSpPr/>
                <p:nvPr/>
              </p:nvSpPr>
              <p:spPr>
                <a:xfrm rot="5400000">
                  <a:off x="9640711" y="3262489"/>
                  <a:ext cx="349955" cy="93391"/>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0" normalizeH="0" baseline="0" noProof="0" dirty="0">
                    <a:ln>
                      <a:noFill/>
                    </a:ln>
                    <a:solidFill>
                      <a:srgbClr val="FFFFFF">
                        <a:lumMod val="50000"/>
                      </a:srgbClr>
                    </a:solidFill>
                    <a:effectLst/>
                    <a:uLnTx/>
                    <a:uFillTx/>
                    <a:latin typeface="Open Sans"/>
                    <a:ea typeface="+mn-ea"/>
                    <a:cs typeface="+mn-cs"/>
                  </a:endParaRPr>
                </a:p>
              </p:txBody>
            </p:sp>
          </p:grpSp>
        </p:grpSp>
      </p:grpSp>
      <p:grpSp>
        <p:nvGrpSpPr>
          <p:cNvPr id="20" name="Group 19">
            <a:extLst>
              <a:ext uri="{FF2B5EF4-FFF2-40B4-BE49-F238E27FC236}">
                <a16:creationId xmlns:a16="http://schemas.microsoft.com/office/drawing/2014/main" id="{B0A74E3D-A2CE-485D-839D-B363B13189AD}"/>
              </a:ext>
            </a:extLst>
          </p:cNvPr>
          <p:cNvGrpSpPr/>
          <p:nvPr/>
        </p:nvGrpSpPr>
        <p:grpSpPr>
          <a:xfrm>
            <a:off x="8496300" y="4383956"/>
            <a:ext cx="2788213" cy="216598"/>
            <a:chOff x="8569966" y="5273192"/>
            <a:chExt cx="2788213" cy="216598"/>
          </a:xfrm>
        </p:grpSpPr>
        <p:sp>
          <p:nvSpPr>
            <p:cNvPr id="21" name="TextBox 20">
              <a:extLst>
                <a:ext uri="{FF2B5EF4-FFF2-40B4-BE49-F238E27FC236}">
                  <a16:creationId xmlns:a16="http://schemas.microsoft.com/office/drawing/2014/main" id="{76F9C515-D786-4BC9-8533-5B163190E86D}"/>
                </a:ext>
              </a:extLst>
            </p:cNvPr>
            <p:cNvSpPr txBox="1"/>
            <p:nvPr/>
          </p:nvSpPr>
          <p:spPr>
            <a:xfrm>
              <a:off x="8776122" y="5273192"/>
              <a:ext cx="2582057" cy="216598"/>
            </a:xfrm>
            <a:prstGeom prst="rect">
              <a:avLst/>
            </a:prstGeom>
            <a:noFill/>
          </p:spPr>
          <p:txBody>
            <a:bodyPr wrap="square" rtlCol="0">
              <a:spAutoFit/>
            </a:bodyPr>
            <a:lstStyle>
              <a:defPPr>
                <a:defRPr lang="en-US"/>
              </a:defPPr>
              <a:lvl1pPr>
                <a:lnSpc>
                  <a:spcPct val="95000"/>
                </a:lnSpc>
                <a:defRPr sz="800" b="1" spc="150">
                  <a:solidFill>
                    <a:srgbClr val="000000"/>
                  </a:solidFill>
                </a:defRPr>
              </a:lvl1p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850" b="1" i="0" u="none" strike="noStrike" kern="1200" cap="none" spc="100" normalizeH="0" baseline="0" noProof="0" dirty="0">
                  <a:ln>
                    <a:noFill/>
                  </a:ln>
                  <a:solidFill>
                    <a:srgbClr val="FFFFFF">
                      <a:lumMod val="50000"/>
                    </a:srgbClr>
                  </a:solidFill>
                  <a:effectLst/>
                  <a:uLnTx/>
                  <a:uFillTx/>
                  <a:latin typeface="Open Sans"/>
                  <a:ea typeface="+mn-ea"/>
                  <a:cs typeface="+mn-cs"/>
                </a:rPr>
                <a:t>TARGETING AND PERSONALIZATION</a:t>
              </a:r>
            </a:p>
          </p:txBody>
        </p:sp>
        <p:grpSp>
          <p:nvGrpSpPr>
            <p:cNvPr id="22" name="Group 21">
              <a:extLst>
                <a:ext uri="{FF2B5EF4-FFF2-40B4-BE49-F238E27FC236}">
                  <a16:creationId xmlns:a16="http://schemas.microsoft.com/office/drawing/2014/main" id="{CF3E99B3-37B1-4BB8-B353-AE0A47855C66}"/>
                </a:ext>
              </a:extLst>
            </p:cNvPr>
            <p:cNvGrpSpPr/>
            <p:nvPr/>
          </p:nvGrpSpPr>
          <p:grpSpPr>
            <a:xfrm>
              <a:off x="8569966" y="5276089"/>
              <a:ext cx="203494" cy="203494"/>
              <a:chOff x="8294511" y="4382911"/>
              <a:chExt cx="524933" cy="524933"/>
            </a:xfrm>
          </p:grpSpPr>
          <p:sp>
            <p:nvSpPr>
              <p:cNvPr id="23" name="Oval 22">
                <a:extLst>
                  <a:ext uri="{FF2B5EF4-FFF2-40B4-BE49-F238E27FC236}">
                    <a16:creationId xmlns:a16="http://schemas.microsoft.com/office/drawing/2014/main" id="{10AC0781-AD35-479E-B76A-1313E92C30B1}"/>
                  </a:ext>
                </a:extLst>
              </p:cNvPr>
              <p:cNvSpPr/>
              <p:nvPr/>
            </p:nvSpPr>
            <p:spPr>
              <a:xfrm>
                <a:off x="8294511" y="4382911"/>
                <a:ext cx="524933" cy="5249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0" normalizeH="0" baseline="0" noProof="0" dirty="0">
                  <a:ln>
                    <a:noFill/>
                  </a:ln>
                  <a:solidFill>
                    <a:srgbClr val="FFFFFF">
                      <a:lumMod val="50000"/>
                    </a:srgbClr>
                  </a:solidFill>
                  <a:effectLst/>
                  <a:uLnTx/>
                  <a:uFillTx/>
                  <a:latin typeface="Open Sans"/>
                  <a:ea typeface="+mn-ea"/>
                  <a:cs typeface="+mn-cs"/>
                </a:endParaRPr>
              </a:p>
            </p:txBody>
          </p:sp>
          <p:grpSp>
            <p:nvGrpSpPr>
              <p:cNvPr id="24" name="Group 23">
                <a:extLst>
                  <a:ext uri="{FF2B5EF4-FFF2-40B4-BE49-F238E27FC236}">
                    <a16:creationId xmlns:a16="http://schemas.microsoft.com/office/drawing/2014/main" id="{8E6DBA21-9F88-4FDC-950F-4ACC3CBBDE28}"/>
                  </a:ext>
                </a:extLst>
              </p:cNvPr>
              <p:cNvGrpSpPr/>
              <p:nvPr/>
            </p:nvGrpSpPr>
            <p:grpSpPr>
              <a:xfrm rot="2700000">
                <a:off x="8482833" y="4489850"/>
                <a:ext cx="165934" cy="286093"/>
                <a:chOff x="9659410" y="3134207"/>
                <a:chExt cx="202974" cy="349955"/>
              </a:xfrm>
              <a:solidFill>
                <a:schemeClr val="bg1"/>
              </a:solidFill>
            </p:grpSpPr>
            <p:sp>
              <p:nvSpPr>
                <p:cNvPr id="25" name="Rectangle 24">
                  <a:extLst>
                    <a:ext uri="{FF2B5EF4-FFF2-40B4-BE49-F238E27FC236}">
                      <a16:creationId xmlns:a16="http://schemas.microsoft.com/office/drawing/2014/main" id="{7ED2FA8B-6D57-4EA0-8575-7967D4D6E890}"/>
                    </a:ext>
                  </a:extLst>
                </p:cNvPr>
                <p:cNvSpPr/>
                <p:nvPr/>
              </p:nvSpPr>
              <p:spPr>
                <a:xfrm>
                  <a:off x="9659410" y="3390771"/>
                  <a:ext cx="180751" cy="93391"/>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0" normalizeH="0" baseline="0" noProof="0" dirty="0">
                    <a:ln>
                      <a:noFill/>
                    </a:ln>
                    <a:solidFill>
                      <a:srgbClr val="FFFFFF">
                        <a:lumMod val="50000"/>
                      </a:srgbClr>
                    </a:solidFill>
                    <a:effectLst/>
                    <a:uLnTx/>
                    <a:uFillTx/>
                    <a:latin typeface="Open Sans"/>
                    <a:ea typeface="+mn-ea"/>
                    <a:cs typeface="+mn-cs"/>
                  </a:endParaRPr>
                </a:p>
              </p:txBody>
            </p:sp>
            <p:sp>
              <p:nvSpPr>
                <p:cNvPr id="26" name="Rectangle 25">
                  <a:extLst>
                    <a:ext uri="{FF2B5EF4-FFF2-40B4-BE49-F238E27FC236}">
                      <a16:creationId xmlns:a16="http://schemas.microsoft.com/office/drawing/2014/main" id="{6D8105DA-CB50-4299-9B07-5BE3C534F17F}"/>
                    </a:ext>
                  </a:extLst>
                </p:cNvPr>
                <p:cNvSpPr/>
                <p:nvPr/>
              </p:nvSpPr>
              <p:spPr>
                <a:xfrm rot="5400000">
                  <a:off x="9640711" y="3262489"/>
                  <a:ext cx="349955" cy="93391"/>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0" normalizeH="0" baseline="0" noProof="0" dirty="0">
                    <a:ln>
                      <a:noFill/>
                    </a:ln>
                    <a:solidFill>
                      <a:srgbClr val="FFFFFF">
                        <a:lumMod val="50000"/>
                      </a:srgbClr>
                    </a:solidFill>
                    <a:effectLst/>
                    <a:uLnTx/>
                    <a:uFillTx/>
                    <a:latin typeface="Open Sans"/>
                    <a:ea typeface="+mn-ea"/>
                    <a:cs typeface="+mn-cs"/>
                  </a:endParaRPr>
                </a:p>
              </p:txBody>
            </p:sp>
          </p:grpSp>
        </p:grpSp>
      </p:grpSp>
      <p:sp>
        <p:nvSpPr>
          <p:cNvPr id="27" name="TextBox 26">
            <a:extLst>
              <a:ext uri="{FF2B5EF4-FFF2-40B4-BE49-F238E27FC236}">
                <a16:creationId xmlns:a16="http://schemas.microsoft.com/office/drawing/2014/main" id="{99FB4E3D-4FFA-4B51-B1C6-56B613F06AFE}"/>
              </a:ext>
            </a:extLst>
          </p:cNvPr>
          <p:cNvSpPr txBox="1"/>
          <p:nvPr/>
        </p:nvSpPr>
        <p:spPr>
          <a:xfrm>
            <a:off x="8708390" y="5662852"/>
            <a:ext cx="2357546" cy="353943"/>
          </a:xfrm>
          <a:prstGeom prst="rect">
            <a:avLst/>
          </a:prstGeom>
          <a:noFill/>
        </p:spPr>
        <p:txBody>
          <a:bodyPr wrap="square" rtlCol="0">
            <a:spAutoFit/>
          </a:bodyPr>
          <a:lstStyle>
            <a:defPPr>
              <a:defRPr lang="en-US"/>
            </a:defPPr>
            <a:lvl1pPr>
              <a:lnSpc>
                <a:spcPct val="95000"/>
              </a:lnSpc>
              <a:defRPr sz="800" b="1" spc="150">
                <a:solidFill>
                  <a:srgbClr val="000000"/>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100" normalizeH="0" baseline="0" noProof="0" dirty="0">
                <a:ln>
                  <a:noFill/>
                </a:ln>
                <a:solidFill>
                  <a:srgbClr val="FFFFFF">
                    <a:lumMod val="50000"/>
                  </a:srgbClr>
                </a:solidFill>
                <a:effectLst/>
                <a:uLnTx/>
                <a:uFillTx/>
                <a:latin typeface="Open Sans"/>
                <a:ea typeface="+mn-ea"/>
                <a:cs typeface="+mn-cs"/>
              </a:rPr>
              <a:t>MARKETING TECHNOLOGY SYSTEMS INTEGRATION</a:t>
            </a:r>
          </a:p>
        </p:txBody>
      </p:sp>
      <p:grpSp>
        <p:nvGrpSpPr>
          <p:cNvPr id="28" name="Group 27">
            <a:extLst>
              <a:ext uri="{FF2B5EF4-FFF2-40B4-BE49-F238E27FC236}">
                <a16:creationId xmlns:a16="http://schemas.microsoft.com/office/drawing/2014/main" id="{838BE754-45D9-4D35-A5EC-298D4905872E}"/>
              </a:ext>
            </a:extLst>
          </p:cNvPr>
          <p:cNvGrpSpPr/>
          <p:nvPr/>
        </p:nvGrpSpPr>
        <p:grpSpPr>
          <a:xfrm>
            <a:off x="8502233" y="5724226"/>
            <a:ext cx="203494" cy="203494"/>
            <a:chOff x="8294511" y="4382911"/>
            <a:chExt cx="524933" cy="524933"/>
          </a:xfrm>
        </p:grpSpPr>
        <p:sp>
          <p:nvSpPr>
            <p:cNvPr id="29" name="Oval 28">
              <a:extLst>
                <a:ext uri="{FF2B5EF4-FFF2-40B4-BE49-F238E27FC236}">
                  <a16:creationId xmlns:a16="http://schemas.microsoft.com/office/drawing/2014/main" id="{CD980FD7-2236-4A9A-BF5E-52CD0EE2F92B}"/>
                </a:ext>
              </a:extLst>
            </p:cNvPr>
            <p:cNvSpPr/>
            <p:nvPr/>
          </p:nvSpPr>
          <p:spPr>
            <a:xfrm>
              <a:off x="8294511" y="4382911"/>
              <a:ext cx="524933" cy="5249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0" normalizeH="0" baseline="0" noProof="0" dirty="0">
                <a:ln>
                  <a:noFill/>
                </a:ln>
                <a:solidFill>
                  <a:srgbClr val="FFFFFF">
                    <a:lumMod val="65000"/>
                  </a:srgbClr>
                </a:solidFill>
                <a:effectLst/>
                <a:uLnTx/>
                <a:uFillTx/>
                <a:latin typeface="Open Sans"/>
                <a:ea typeface="+mn-ea"/>
                <a:cs typeface="+mn-cs"/>
              </a:endParaRPr>
            </a:p>
          </p:txBody>
        </p:sp>
        <p:grpSp>
          <p:nvGrpSpPr>
            <p:cNvPr id="30" name="Group 29">
              <a:extLst>
                <a:ext uri="{FF2B5EF4-FFF2-40B4-BE49-F238E27FC236}">
                  <a16:creationId xmlns:a16="http://schemas.microsoft.com/office/drawing/2014/main" id="{5C21B135-1E03-424F-B714-AE103631FBF8}"/>
                </a:ext>
              </a:extLst>
            </p:cNvPr>
            <p:cNvGrpSpPr/>
            <p:nvPr/>
          </p:nvGrpSpPr>
          <p:grpSpPr>
            <a:xfrm rot="2700000">
              <a:off x="8482833" y="4489850"/>
              <a:ext cx="165934" cy="286093"/>
              <a:chOff x="9659410" y="3134207"/>
              <a:chExt cx="202974" cy="349955"/>
            </a:xfrm>
            <a:solidFill>
              <a:schemeClr val="bg1"/>
            </a:solidFill>
          </p:grpSpPr>
          <p:sp>
            <p:nvSpPr>
              <p:cNvPr id="31" name="Rectangle 30">
                <a:extLst>
                  <a:ext uri="{FF2B5EF4-FFF2-40B4-BE49-F238E27FC236}">
                    <a16:creationId xmlns:a16="http://schemas.microsoft.com/office/drawing/2014/main" id="{F077442D-8E56-4B25-85BF-3C5F128D39D5}"/>
                  </a:ext>
                </a:extLst>
              </p:cNvPr>
              <p:cNvSpPr/>
              <p:nvPr/>
            </p:nvSpPr>
            <p:spPr>
              <a:xfrm>
                <a:off x="9659410" y="3390771"/>
                <a:ext cx="180751" cy="93391"/>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0" normalizeH="0" baseline="0" noProof="0" dirty="0">
                  <a:ln>
                    <a:noFill/>
                  </a:ln>
                  <a:solidFill>
                    <a:srgbClr val="FFFFFF">
                      <a:lumMod val="65000"/>
                    </a:srgbClr>
                  </a:solidFill>
                  <a:effectLst/>
                  <a:uLnTx/>
                  <a:uFillTx/>
                  <a:latin typeface="Open Sans"/>
                  <a:ea typeface="+mn-ea"/>
                  <a:cs typeface="+mn-cs"/>
                </a:endParaRPr>
              </a:p>
            </p:txBody>
          </p:sp>
          <p:sp>
            <p:nvSpPr>
              <p:cNvPr id="32" name="Rectangle 31">
                <a:extLst>
                  <a:ext uri="{FF2B5EF4-FFF2-40B4-BE49-F238E27FC236}">
                    <a16:creationId xmlns:a16="http://schemas.microsoft.com/office/drawing/2014/main" id="{96D91DE9-0670-4A41-AFB8-3883C377475F}"/>
                  </a:ext>
                </a:extLst>
              </p:cNvPr>
              <p:cNvSpPr/>
              <p:nvPr/>
            </p:nvSpPr>
            <p:spPr>
              <a:xfrm rot="5400000">
                <a:off x="9640711" y="3262489"/>
                <a:ext cx="349955" cy="93391"/>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0" normalizeH="0" baseline="0" noProof="0" dirty="0">
                  <a:ln>
                    <a:noFill/>
                  </a:ln>
                  <a:solidFill>
                    <a:srgbClr val="FFFFFF">
                      <a:lumMod val="65000"/>
                    </a:srgbClr>
                  </a:solidFill>
                  <a:effectLst/>
                  <a:uLnTx/>
                  <a:uFillTx/>
                  <a:latin typeface="Open Sans"/>
                  <a:ea typeface="+mn-ea"/>
                  <a:cs typeface="+mn-cs"/>
                </a:endParaRPr>
              </a:p>
            </p:txBody>
          </p:sp>
        </p:grpSp>
      </p:grpSp>
      <p:grpSp>
        <p:nvGrpSpPr>
          <p:cNvPr id="33" name="Group 32">
            <a:extLst>
              <a:ext uri="{FF2B5EF4-FFF2-40B4-BE49-F238E27FC236}">
                <a16:creationId xmlns:a16="http://schemas.microsoft.com/office/drawing/2014/main" id="{E54B6636-6343-4898-9D8C-26833DBE32B1}"/>
              </a:ext>
            </a:extLst>
          </p:cNvPr>
          <p:cNvGrpSpPr/>
          <p:nvPr/>
        </p:nvGrpSpPr>
        <p:grpSpPr>
          <a:xfrm>
            <a:off x="8496300" y="5211508"/>
            <a:ext cx="2733039" cy="353943"/>
            <a:chOff x="8569966" y="6090398"/>
            <a:chExt cx="2733039" cy="353943"/>
          </a:xfrm>
        </p:grpSpPr>
        <p:sp>
          <p:nvSpPr>
            <p:cNvPr id="34" name="TextBox 33">
              <a:extLst>
                <a:ext uri="{FF2B5EF4-FFF2-40B4-BE49-F238E27FC236}">
                  <a16:creationId xmlns:a16="http://schemas.microsoft.com/office/drawing/2014/main" id="{9551ADA6-C9B6-4C7B-A576-80FAA0ABA405}"/>
                </a:ext>
              </a:extLst>
            </p:cNvPr>
            <p:cNvSpPr txBox="1"/>
            <p:nvPr/>
          </p:nvSpPr>
          <p:spPr>
            <a:xfrm>
              <a:off x="8776123" y="6090398"/>
              <a:ext cx="2526882" cy="353943"/>
            </a:xfrm>
            <a:prstGeom prst="rect">
              <a:avLst/>
            </a:prstGeom>
            <a:noFill/>
          </p:spPr>
          <p:txBody>
            <a:bodyPr wrap="square" rtlCol="0">
              <a:spAutoFit/>
            </a:bodyPr>
            <a:lstStyle>
              <a:defPPr>
                <a:defRPr lang="en-US"/>
              </a:defPPr>
              <a:lvl1pPr>
                <a:lnSpc>
                  <a:spcPct val="95000"/>
                </a:lnSpc>
                <a:defRPr sz="800" b="1" spc="150">
                  <a:solidFill>
                    <a:srgbClr val="000000"/>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100" normalizeH="0" baseline="0" noProof="0" dirty="0">
                  <a:ln>
                    <a:noFill/>
                  </a:ln>
                  <a:solidFill>
                    <a:srgbClr val="FFFFFF">
                      <a:lumMod val="50000"/>
                    </a:srgbClr>
                  </a:solidFill>
                  <a:effectLst/>
                  <a:uLnTx/>
                  <a:uFillTx/>
                  <a:latin typeface="Open Sans"/>
                  <a:ea typeface="+mn-ea"/>
                  <a:cs typeface="+mn-cs"/>
                </a:rPr>
                <a:t>INDUSTRY EXPERTISE/</a:t>
              </a:r>
              <a:br>
                <a:rPr kumimoji="0" lang="en-US" sz="850" b="1" i="0" u="none" strike="noStrike" kern="1200" cap="none" spc="100" normalizeH="0" baseline="0" noProof="0" dirty="0">
                  <a:ln>
                    <a:noFill/>
                  </a:ln>
                  <a:solidFill>
                    <a:srgbClr val="FFFFFF">
                      <a:lumMod val="50000"/>
                    </a:srgbClr>
                  </a:solidFill>
                  <a:effectLst/>
                  <a:uLnTx/>
                  <a:uFillTx/>
                  <a:latin typeface="Open Sans"/>
                  <a:ea typeface="+mn-ea"/>
                  <a:cs typeface="+mn-cs"/>
                </a:rPr>
              </a:br>
              <a:r>
                <a:rPr kumimoji="0" lang="en-US" sz="850" b="1" i="0" u="none" strike="noStrike" kern="1200" cap="none" spc="100" normalizeH="0" baseline="0" noProof="0" dirty="0">
                  <a:ln>
                    <a:noFill/>
                  </a:ln>
                  <a:solidFill>
                    <a:srgbClr val="FFFFFF">
                      <a:lumMod val="50000"/>
                    </a:srgbClr>
                  </a:solidFill>
                  <a:effectLst/>
                  <a:uLnTx/>
                  <a:uFillTx/>
                  <a:latin typeface="Open Sans"/>
                  <a:ea typeface="+mn-ea"/>
                  <a:cs typeface="+mn-cs"/>
                </a:rPr>
                <a:t>ORGANIZATIONAL KNOWLEDGE</a:t>
              </a:r>
            </a:p>
          </p:txBody>
        </p:sp>
        <p:grpSp>
          <p:nvGrpSpPr>
            <p:cNvPr id="35" name="Group 34">
              <a:extLst>
                <a:ext uri="{FF2B5EF4-FFF2-40B4-BE49-F238E27FC236}">
                  <a16:creationId xmlns:a16="http://schemas.microsoft.com/office/drawing/2014/main" id="{99F54E0A-74DA-4437-AB5F-CAA4089A53C4}"/>
                </a:ext>
              </a:extLst>
            </p:cNvPr>
            <p:cNvGrpSpPr/>
            <p:nvPr/>
          </p:nvGrpSpPr>
          <p:grpSpPr>
            <a:xfrm>
              <a:off x="8569966" y="6151772"/>
              <a:ext cx="203494" cy="203494"/>
              <a:chOff x="8294511" y="4382911"/>
              <a:chExt cx="524933" cy="524933"/>
            </a:xfrm>
          </p:grpSpPr>
          <p:sp>
            <p:nvSpPr>
              <p:cNvPr id="36" name="Oval 35">
                <a:extLst>
                  <a:ext uri="{FF2B5EF4-FFF2-40B4-BE49-F238E27FC236}">
                    <a16:creationId xmlns:a16="http://schemas.microsoft.com/office/drawing/2014/main" id="{7D1D5E43-DB67-464D-9748-238FCE87134C}"/>
                  </a:ext>
                </a:extLst>
              </p:cNvPr>
              <p:cNvSpPr/>
              <p:nvPr/>
            </p:nvSpPr>
            <p:spPr>
              <a:xfrm>
                <a:off x="8294511" y="4382911"/>
                <a:ext cx="524933" cy="5249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0" normalizeH="0" baseline="0" noProof="0" dirty="0">
                  <a:ln>
                    <a:noFill/>
                  </a:ln>
                  <a:solidFill>
                    <a:srgbClr val="FFFFFF">
                      <a:lumMod val="50000"/>
                    </a:srgbClr>
                  </a:solidFill>
                  <a:effectLst/>
                  <a:uLnTx/>
                  <a:uFillTx/>
                  <a:latin typeface="Open Sans"/>
                  <a:ea typeface="+mn-ea"/>
                  <a:cs typeface="+mn-cs"/>
                </a:endParaRPr>
              </a:p>
            </p:txBody>
          </p:sp>
          <p:grpSp>
            <p:nvGrpSpPr>
              <p:cNvPr id="37" name="Group 36">
                <a:extLst>
                  <a:ext uri="{FF2B5EF4-FFF2-40B4-BE49-F238E27FC236}">
                    <a16:creationId xmlns:a16="http://schemas.microsoft.com/office/drawing/2014/main" id="{33F797D5-B03D-4BDE-92E4-F8A831535EFD}"/>
                  </a:ext>
                </a:extLst>
              </p:cNvPr>
              <p:cNvGrpSpPr/>
              <p:nvPr/>
            </p:nvGrpSpPr>
            <p:grpSpPr>
              <a:xfrm rot="2700000">
                <a:off x="8482833" y="4489850"/>
                <a:ext cx="165934" cy="286093"/>
                <a:chOff x="9659410" y="3134207"/>
                <a:chExt cx="202974" cy="349955"/>
              </a:xfrm>
              <a:solidFill>
                <a:schemeClr val="bg1"/>
              </a:solidFill>
            </p:grpSpPr>
            <p:sp>
              <p:nvSpPr>
                <p:cNvPr id="38" name="Rectangle 37">
                  <a:extLst>
                    <a:ext uri="{FF2B5EF4-FFF2-40B4-BE49-F238E27FC236}">
                      <a16:creationId xmlns:a16="http://schemas.microsoft.com/office/drawing/2014/main" id="{6C1065EE-0F1F-4EB1-8A8B-6BD6A0176F98}"/>
                    </a:ext>
                  </a:extLst>
                </p:cNvPr>
                <p:cNvSpPr/>
                <p:nvPr/>
              </p:nvSpPr>
              <p:spPr>
                <a:xfrm>
                  <a:off x="9659410" y="3390771"/>
                  <a:ext cx="180751" cy="93391"/>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0" normalizeH="0" baseline="0" noProof="0" dirty="0">
                    <a:ln>
                      <a:noFill/>
                    </a:ln>
                    <a:solidFill>
                      <a:srgbClr val="FFFFFF">
                        <a:lumMod val="50000"/>
                      </a:srgbClr>
                    </a:solidFill>
                    <a:effectLst/>
                    <a:uLnTx/>
                    <a:uFillTx/>
                    <a:latin typeface="Open Sans"/>
                    <a:ea typeface="+mn-ea"/>
                    <a:cs typeface="+mn-cs"/>
                  </a:endParaRPr>
                </a:p>
              </p:txBody>
            </p:sp>
            <p:sp>
              <p:nvSpPr>
                <p:cNvPr id="39" name="Rectangle 38">
                  <a:extLst>
                    <a:ext uri="{FF2B5EF4-FFF2-40B4-BE49-F238E27FC236}">
                      <a16:creationId xmlns:a16="http://schemas.microsoft.com/office/drawing/2014/main" id="{ACAEC2CD-1CB2-4088-AA25-F5BED8E8AD04}"/>
                    </a:ext>
                  </a:extLst>
                </p:cNvPr>
                <p:cNvSpPr/>
                <p:nvPr/>
              </p:nvSpPr>
              <p:spPr>
                <a:xfrm rot="5400000">
                  <a:off x="9640711" y="3262489"/>
                  <a:ext cx="349955" cy="93391"/>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00" normalizeH="0" baseline="0" noProof="0" dirty="0">
                    <a:ln>
                      <a:noFill/>
                    </a:ln>
                    <a:solidFill>
                      <a:srgbClr val="FFFFFF">
                        <a:lumMod val="50000"/>
                      </a:srgbClr>
                    </a:solidFill>
                    <a:effectLst/>
                    <a:uLnTx/>
                    <a:uFillTx/>
                    <a:latin typeface="Open Sans"/>
                    <a:ea typeface="+mn-ea"/>
                    <a:cs typeface="+mn-cs"/>
                  </a:endParaRPr>
                </a:p>
              </p:txBody>
            </p:sp>
          </p:grpSp>
        </p:grpSp>
      </p:grpSp>
      <p:grpSp>
        <p:nvGrpSpPr>
          <p:cNvPr id="40" name="Group 39">
            <a:extLst>
              <a:ext uri="{FF2B5EF4-FFF2-40B4-BE49-F238E27FC236}">
                <a16:creationId xmlns:a16="http://schemas.microsoft.com/office/drawing/2014/main" id="{DDE3E84D-F67A-418A-92AF-730DF4172E69}"/>
              </a:ext>
            </a:extLst>
          </p:cNvPr>
          <p:cNvGrpSpPr/>
          <p:nvPr/>
        </p:nvGrpSpPr>
        <p:grpSpPr>
          <a:xfrm>
            <a:off x="8456245" y="4279233"/>
            <a:ext cx="2719755" cy="2169298"/>
            <a:chOff x="8523978" y="4301029"/>
            <a:chExt cx="2635089" cy="2169298"/>
          </a:xfrm>
        </p:grpSpPr>
        <p:cxnSp>
          <p:nvCxnSpPr>
            <p:cNvPr id="41" name="Straight Connector 40">
              <a:extLst>
                <a:ext uri="{FF2B5EF4-FFF2-40B4-BE49-F238E27FC236}">
                  <a16:creationId xmlns:a16="http://schemas.microsoft.com/office/drawing/2014/main" id="{8027F984-3691-45F0-9121-6D94687D04A0}"/>
                </a:ext>
              </a:extLst>
            </p:cNvPr>
            <p:cNvCxnSpPr>
              <a:cxnSpLocks/>
            </p:cNvCxnSpPr>
            <p:nvPr/>
          </p:nvCxnSpPr>
          <p:spPr>
            <a:xfrm>
              <a:off x="8523978" y="4713259"/>
              <a:ext cx="263508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192FAA6A-EE7A-4DB1-8A1D-88E5BCF69075}"/>
                </a:ext>
              </a:extLst>
            </p:cNvPr>
            <p:cNvCxnSpPr>
              <a:cxnSpLocks/>
            </p:cNvCxnSpPr>
            <p:nvPr/>
          </p:nvCxnSpPr>
          <p:spPr>
            <a:xfrm>
              <a:off x="8523978" y="5164817"/>
              <a:ext cx="263508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7EA3697-ABCB-4275-9FA6-0CA8669FFE44}"/>
                </a:ext>
              </a:extLst>
            </p:cNvPr>
            <p:cNvCxnSpPr>
              <a:cxnSpLocks/>
            </p:cNvCxnSpPr>
            <p:nvPr/>
          </p:nvCxnSpPr>
          <p:spPr>
            <a:xfrm>
              <a:off x="8523978" y="5616375"/>
              <a:ext cx="263508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AB6D0BA-430D-4FB8-9B5F-E7EDF751EBE0}"/>
                </a:ext>
              </a:extLst>
            </p:cNvPr>
            <p:cNvCxnSpPr>
              <a:cxnSpLocks/>
            </p:cNvCxnSpPr>
            <p:nvPr/>
          </p:nvCxnSpPr>
          <p:spPr>
            <a:xfrm>
              <a:off x="8523978" y="6067933"/>
              <a:ext cx="263508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80461579-9C9B-4AC2-ADBD-A70DD1B9ED81}"/>
                </a:ext>
              </a:extLst>
            </p:cNvPr>
            <p:cNvCxnSpPr>
              <a:cxnSpLocks/>
            </p:cNvCxnSpPr>
            <p:nvPr/>
          </p:nvCxnSpPr>
          <p:spPr>
            <a:xfrm>
              <a:off x="8523978" y="6470327"/>
              <a:ext cx="263508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B22C6FC1-1829-4B6D-A60F-43E7340D69F4}"/>
                </a:ext>
              </a:extLst>
            </p:cNvPr>
            <p:cNvCxnSpPr>
              <a:cxnSpLocks/>
            </p:cNvCxnSpPr>
            <p:nvPr/>
          </p:nvCxnSpPr>
          <p:spPr>
            <a:xfrm>
              <a:off x="8523978" y="4301029"/>
              <a:ext cx="263508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2733998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E0F83F6-456E-4896-AD39-A66B67FFF5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00" name="think-cell Slide" r:id="rId6" imgW="415" imgH="416" progId="TCLayout.ActiveDocument.1">
                  <p:embed/>
                </p:oleObj>
              </mc:Choice>
              <mc:Fallback>
                <p:oleObj name="think-cell Slide" r:id="rId6" imgW="415" imgH="416" progId="TCLayout.ActiveDocument.1">
                  <p:embed/>
                  <p:pic>
                    <p:nvPicPr>
                      <p:cNvPr id="6" name="Object 5" hidden="1">
                        <a:extLst>
                          <a:ext uri="{FF2B5EF4-FFF2-40B4-BE49-F238E27FC236}">
                            <a16:creationId xmlns:a16="http://schemas.microsoft.com/office/drawing/2014/main" id="{4E0F83F6-456E-4896-AD39-A66B67FFF52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A86BC0A-2BAE-4759-84B8-E75D9DFAD04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DDB7AE31-B1FB-4CC9-9E46-35B6C0514E04}"/>
              </a:ext>
            </a:extLst>
          </p:cNvPr>
          <p:cNvSpPr>
            <a:spLocks noGrp="1"/>
          </p:cNvSpPr>
          <p:nvPr>
            <p:ph type="title"/>
          </p:nvPr>
        </p:nvSpPr>
        <p:spPr/>
        <p:txBody>
          <a:bodyPr/>
          <a:lstStyle/>
          <a:p>
            <a:r>
              <a:rPr lang="en-US" dirty="0"/>
              <a:t>Summary of the journey</a:t>
            </a:r>
          </a:p>
        </p:txBody>
      </p:sp>
      <p:sp>
        <p:nvSpPr>
          <p:cNvPr id="3" name="Text Placeholder 2">
            <a:extLst>
              <a:ext uri="{FF2B5EF4-FFF2-40B4-BE49-F238E27FC236}">
                <a16:creationId xmlns:a16="http://schemas.microsoft.com/office/drawing/2014/main" id="{EC1EC861-56D8-45DB-A945-F576A3C93B58}"/>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ABDE7E6F-15C3-4826-BF1A-D38757076FBA}"/>
              </a:ext>
            </a:extLst>
          </p:cNvPr>
          <p:cNvSpPr>
            <a:spLocks noGrp="1"/>
          </p:cNvSpPr>
          <p:nvPr>
            <p:ph type="body" sz="quarter" idx="15"/>
          </p:nvPr>
        </p:nvSpPr>
        <p:spPr/>
        <p:txBody>
          <a:bodyPr/>
          <a:lstStyle/>
          <a:p>
            <a:r>
              <a:rPr lang="en-US" dirty="0"/>
              <a:t>Process &amp; customer journey</a:t>
            </a:r>
          </a:p>
        </p:txBody>
      </p:sp>
      <p:sp>
        <p:nvSpPr>
          <p:cNvPr id="7" name="Freeform 4">
            <a:extLst>
              <a:ext uri="{FF2B5EF4-FFF2-40B4-BE49-F238E27FC236}">
                <a16:creationId xmlns:a16="http://schemas.microsoft.com/office/drawing/2014/main" id="{8450954B-7079-4CBF-9543-3A3576DA25F0}"/>
              </a:ext>
            </a:extLst>
          </p:cNvPr>
          <p:cNvSpPr/>
          <p:nvPr/>
        </p:nvSpPr>
        <p:spPr>
          <a:xfrm>
            <a:off x="7008213" y="3946554"/>
            <a:ext cx="3838552" cy="1051283"/>
          </a:xfrm>
          <a:custGeom>
            <a:avLst/>
            <a:gdLst>
              <a:gd name="connsiteX0" fmla="*/ 0 w 2609850"/>
              <a:gd name="connsiteY0" fmla="*/ 156296 h 738049"/>
              <a:gd name="connsiteX1" fmla="*/ 762000 w 2609850"/>
              <a:gd name="connsiteY1" fmla="*/ 737321 h 738049"/>
              <a:gd name="connsiteX2" fmla="*/ 1828800 w 2609850"/>
              <a:gd name="connsiteY2" fmla="*/ 51521 h 738049"/>
              <a:gd name="connsiteX3" fmla="*/ 2609850 w 2609850"/>
              <a:gd name="connsiteY3" fmla="*/ 61046 h 738049"/>
            </a:gdLst>
            <a:ahLst/>
            <a:cxnLst>
              <a:cxn ang="0">
                <a:pos x="connsiteX0" y="connsiteY0"/>
              </a:cxn>
              <a:cxn ang="0">
                <a:pos x="connsiteX1" y="connsiteY1"/>
              </a:cxn>
              <a:cxn ang="0">
                <a:pos x="connsiteX2" y="connsiteY2"/>
              </a:cxn>
              <a:cxn ang="0">
                <a:pos x="connsiteX3" y="connsiteY3"/>
              </a:cxn>
            </a:cxnLst>
            <a:rect l="l" t="t" r="r" b="b"/>
            <a:pathLst>
              <a:path w="2609850" h="738049">
                <a:moveTo>
                  <a:pt x="0" y="156296"/>
                </a:moveTo>
                <a:cubicBezTo>
                  <a:pt x="228600" y="455539"/>
                  <a:pt x="457200" y="754783"/>
                  <a:pt x="762000" y="737321"/>
                </a:cubicBezTo>
                <a:cubicBezTo>
                  <a:pt x="1066800" y="719859"/>
                  <a:pt x="1520825" y="164233"/>
                  <a:pt x="1828800" y="51521"/>
                </a:cubicBezTo>
                <a:cubicBezTo>
                  <a:pt x="2136775" y="-61191"/>
                  <a:pt x="2486025" y="43583"/>
                  <a:pt x="2609850" y="61046"/>
                </a:cubicBezTo>
              </a:path>
            </a:pathLst>
          </a:custGeom>
          <a:noFill/>
          <a:ln w="76200">
            <a:solidFill>
              <a:schemeClr val="accent2"/>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aphicFrame>
        <p:nvGraphicFramePr>
          <p:cNvPr id="8" name="Table 7">
            <a:extLst>
              <a:ext uri="{FF2B5EF4-FFF2-40B4-BE49-F238E27FC236}">
                <a16:creationId xmlns:a16="http://schemas.microsoft.com/office/drawing/2014/main" id="{F01686F1-323D-4EDE-B968-827ABEB44329}"/>
              </a:ext>
            </a:extLst>
          </p:cNvPr>
          <p:cNvGraphicFramePr>
            <a:graphicFrameLocks noGrp="1"/>
          </p:cNvGraphicFramePr>
          <p:nvPr/>
        </p:nvGraphicFramePr>
        <p:xfrm>
          <a:off x="914077" y="2016542"/>
          <a:ext cx="10363202" cy="762000"/>
        </p:xfrm>
        <a:graphic>
          <a:graphicData uri="http://schemas.openxmlformats.org/drawingml/2006/table">
            <a:tbl>
              <a:tblPr firstRow="1" bandRow="1">
                <a:tableStyleId>{5C22544A-7EE6-4342-B048-85BDC9FD1C3A}</a:tableStyleId>
              </a:tblPr>
              <a:tblGrid>
                <a:gridCol w="5181601">
                  <a:extLst>
                    <a:ext uri="{9D8B030D-6E8A-4147-A177-3AD203B41FA5}">
                      <a16:colId xmlns:a16="http://schemas.microsoft.com/office/drawing/2014/main" val="1884453088"/>
                    </a:ext>
                  </a:extLst>
                </a:gridCol>
                <a:gridCol w="5181601">
                  <a:extLst>
                    <a:ext uri="{9D8B030D-6E8A-4147-A177-3AD203B41FA5}">
                      <a16:colId xmlns:a16="http://schemas.microsoft.com/office/drawing/2014/main" val="273920604"/>
                    </a:ext>
                  </a:extLst>
                </a:gridCol>
              </a:tblGrid>
              <a:tr h="0">
                <a:tc>
                  <a:txBody>
                    <a:bodyPr/>
                    <a:lstStyle/>
                    <a:p>
                      <a:pPr algn="ctr"/>
                      <a:r>
                        <a:rPr lang="en-US" sz="1400" u="none" spc="300" dirty="0">
                          <a:solidFill>
                            <a:schemeClr val="tx1"/>
                          </a:solidFill>
                        </a:rPr>
                        <a:t>BEFORE</a:t>
                      </a:r>
                    </a:p>
                  </a:txBody>
                  <a:tcPr anchor="ctr">
                    <a:lnR w="38100" cap="flat" cmpd="sng" algn="ctr">
                      <a:solidFill>
                        <a:schemeClr val="bg1"/>
                      </a:solidFill>
                      <a:prstDash val="solid"/>
                      <a:round/>
                      <a:headEnd type="none" w="med" len="med"/>
                      <a:tailEnd type="none" w="med" len="med"/>
                    </a:lnR>
                    <a:solidFill>
                      <a:schemeClr val="bg1">
                        <a:lumMod val="95000"/>
                      </a:schemeClr>
                    </a:solidFill>
                  </a:tcPr>
                </a:tc>
                <a:tc>
                  <a:txBody>
                    <a:bodyPr/>
                    <a:lstStyle/>
                    <a:p>
                      <a:pPr algn="ctr"/>
                      <a:r>
                        <a:rPr lang="en-US" sz="1400" u="none" spc="300" dirty="0">
                          <a:solidFill>
                            <a:schemeClr val="tx1"/>
                          </a:solidFill>
                        </a:rPr>
                        <a:t>AFTER</a:t>
                      </a:r>
                    </a:p>
                  </a:txBody>
                  <a:tcPr anchor="ctr">
                    <a:lnL w="38100" cap="flat" cmpd="sng" algn="ctr">
                      <a:solidFill>
                        <a:schemeClr val="bg1"/>
                      </a:solidFill>
                      <a:prstDash val="solid"/>
                      <a:round/>
                      <a:headEnd type="none" w="med" len="med"/>
                      <a:tailEnd type="none" w="med" len="med"/>
                    </a:lnL>
                    <a:solidFill>
                      <a:schemeClr val="bg1">
                        <a:lumMod val="95000"/>
                      </a:schemeClr>
                    </a:solidFill>
                  </a:tcPr>
                </a:tc>
                <a:extLst>
                  <a:ext uri="{0D108BD9-81ED-4DB2-BD59-A6C34878D82A}">
                    <a16:rowId xmlns:a16="http://schemas.microsoft.com/office/drawing/2014/main" val="3926041530"/>
                  </a:ext>
                </a:extLst>
              </a:tr>
              <a:tr h="405380">
                <a:tc>
                  <a:txBody>
                    <a:bodyPr/>
                    <a:lstStyle/>
                    <a:p>
                      <a:pPr algn="ctr"/>
                      <a:r>
                        <a:rPr lang="en-US" sz="1200" i="0" u="none" dirty="0">
                          <a:solidFill>
                            <a:schemeClr val="tx1"/>
                          </a:solidFill>
                        </a:rPr>
                        <a:t>Static and low visibility into actual lift from strategic</a:t>
                      </a:r>
                      <a:r>
                        <a:rPr lang="en-US" sz="1200" i="0" u="none" baseline="0" dirty="0">
                          <a:solidFill>
                            <a:schemeClr val="tx1"/>
                          </a:solidFill>
                        </a:rPr>
                        <a:t> pricing does                   not allow for optimal decision making</a:t>
                      </a:r>
                      <a:endParaRPr lang="en-US" sz="1200" i="0" u="none" dirty="0">
                        <a:solidFill>
                          <a:schemeClr val="tx1"/>
                        </a:solidFill>
                      </a:endParaRPr>
                    </a:p>
                  </a:txBody>
                  <a:tcPr anchor="ctr">
                    <a:solidFill>
                      <a:schemeClr val="bg1"/>
                    </a:solidFill>
                  </a:tcPr>
                </a:tc>
                <a:tc>
                  <a:txBody>
                    <a:bodyPr/>
                    <a:lstStyle/>
                    <a:p>
                      <a:pPr algn="ctr"/>
                      <a:r>
                        <a:rPr lang="en-US" sz="1200" i="0" u="none" dirty="0">
                          <a:solidFill>
                            <a:schemeClr val="tx1"/>
                          </a:solidFill>
                        </a:rPr>
                        <a:t>Transparent,</a:t>
                      </a:r>
                      <a:r>
                        <a:rPr lang="en-US" sz="1200" i="0" u="none" baseline="0" dirty="0">
                          <a:solidFill>
                            <a:schemeClr val="tx1"/>
                          </a:solidFill>
                        </a:rPr>
                        <a:t> real-time visibility into the effects of pricing on sales, margin and traffic enables decision making to maximize lift</a:t>
                      </a:r>
                      <a:endParaRPr lang="en-US" sz="1200" i="0" u="none" dirty="0">
                        <a:solidFill>
                          <a:schemeClr val="tx1"/>
                        </a:solidFill>
                      </a:endParaRPr>
                    </a:p>
                  </a:txBody>
                  <a:tcPr anchor="ctr">
                    <a:solidFill>
                      <a:schemeClr val="bg1"/>
                    </a:solidFill>
                  </a:tcPr>
                </a:tc>
                <a:extLst>
                  <a:ext uri="{0D108BD9-81ED-4DB2-BD59-A6C34878D82A}">
                    <a16:rowId xmlns:a16="http://schemas.microsoft.com/office/drawing/2014/main" val="1295480581"/>
                  </a:ext>
                </a:extLst>
              </a:tr>
            </a:tbl>
          </a:graphicData>
        </a:graphic>
      </p:graphicFrame>
      <p:sp>
        <p:nvSpPr>
          <p:cNvPr id="9" name="Freeform 6">
            <a:extLst>
              <a:ext uri="{FF2B5EF4-FFF2-40B4-BE49-F238E27FC236}">
                <a16:creationId xmlns:a16="http://schemas.microsoft.com/office/drawing/2014/main" id="{1D3B2435-53E9-4537-B469-0D1D1C11005C}"/>
              </a:ext>
            </a:extLst>
          </p:cNvPr>
          <p:cNvSpPr/>
          <p:nvPr/>
        </p:nvSpPr>
        <p:spPr>
          <a:xfrm>
            <a:off x="1333490" y="4010132"/>
            <a:ext cx="3838552" cy="1051283"/>
          </a:xfrm>
          <a:custGeom>
            <a:avLst/>
            <a:gdLst>
              <a:gd name="connsiteX0" fmla="*/ 0 w 2609850"/>
              <a:gd name="connsiteY0" fmla="*/ 156296 h 738049"/>
              <a:gd name="connsiteX1" fmla="*/ 762000 w 2609850"/>
              <a:gd name="connsiteY1" fmla="*/ 737321 h 738049"/>
              <a:gd name="connsiteX2" fmla="*/ 1828800 w 2609850"/>
              <a:gd name="connsiteY2" fmla="*/ 51521 h 738049"/>
              <a:gd name="connsiteX3" fmla="*/ 2609850 w 2609850"/>
              <a:gd name="connsiteY3" fmla="*/ 61046 h 738049"/>
            </a:gdLst>
            <a:ahLst/>
            <a:cxnLst>
              <a:cxn ang="0">
                <a:pos x="connsiteX0" y="connsiteY0"/>
              </a:cxn>
              <a:cxn ang="0">
                <a:pos x="connsiteX1" y="connsiteY1"/>
              </a:cxn>
              <a:cxn ang="0">
                <a:pos x="connsiteX2" y="connsiteY2"/>
              </a:cxn>
              <a:cxn ang="0">
                <a:pos x="connsiteX3" y="connsiteY3"/>
              </a:cxn>
            </a:cxnLst>
            <a:rect l="l" t="t" r="r" b="b"/>
            <a:pathLst>
              <a:path w="2609850" h="738049">
                <a:moveTo>
                  <a:pt x="0" y="156296"/>
                </a:moveTo>
                <a:cubicBezTo>
                  <a:pt x="228600" y="455539"/>
                  <a:pt x="457200" y="754783"/>
                  <a:pt x="762000" y="737321"/>
                </a:cubicBezTo>
                <a:cubicBezTo>
                  <a:pt x="1066800" y="719859"/>
                  <a:pt x="1520825" y="164233"/>
                  <a:pt x="1828800" y="51521"/>
                </a:cubicBezTo>
                <a:cubicBezTo>
                  <a:pt x="2136775" y="-61191"/>
                  <a:pt x="2486025" y="43583"/>
                  <a:pt x="2609850" y="61046"/>
                </a:cubicBezTo>
              </a:path>
            </a:pathLst>
          </a:custGeom>
          <a:noFill/>
          <a:ln w="76200">
            <a:solidFill>
              <a:schemeClr val="accent1"/>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0" name="Oval 9">
            <a:extLst>
              <a:ext uri="{FF2B5EF4-FFF2-40B4-BE49-F238E27FC236}">
                <a16:creationId xmlns:a16="http://schemas.microsoft.com/office/drawing/2014/main" id="{E3B241E8-D819-4AC7-B487-DB16EDE8487B}"/>
              </a:ext>
            </a:extLst>
          </p:cNvPr>
          <p:cNvSpPr/>
          <p:nvPr/>
        </p:nvSpPr>
        <p:spPr>
          <a:xfrm>
            <a:off x="5181278" y="3228475"/>
            <a:ext cx="1828800" cy="1828800"/>
          </a:xfrm>
          <a:prstGeom prst="ellipse">
            <a:avLst/>
          </a:prstGeom>
          <a:noFill/>
          <a:ln w="76200" cap="flat" cmpd="sng" algn="ctr">
            <a:solidFill>
              <a:schemeClr val="accent3"/>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sp>
        <p:nvSpPr>
          <p:cNvPr id="11" name="Freeform 905">
            <a:extLst>
              <a:ext uri="{FF2B5EF4-FFF2-40B4-BE49-F238E27FC236}">
                <a16:creationId xmlns:a16="http://schemas.microsoft.com/office/drawing/2014/main" id="{DCBFB0D4-5936-4B31-9208-590AD6EBAEB6}"/>
              </a:ext>
            </a:extLst>
          </p:cNvPr>
          <p:cNvSpPr>
            <a:spLocks noEditPoints="1"/>
          </p:cNvSpPr>
          <p:nvPr/>
        </p:nvSpPr>
        <p:spPr bwMode="auto">
          <a:xfrm>
            <a:off x="900000" y="3846645"/>
            <a:ext cx="595202" cy="595202"/>
          </a:xfrm>
          <a:prstGeom prst="ellipse">
            <a:avLst/>
          </a:prstGeom>
          <a:solidFill>
            <a:srgbClr val="86F2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2" name="TextBox 11">
            <a:extLst>
              <a:ext uri="{FF2B5EF4-FFF2-40B4-BE49-F238E27FC236}">
                <a16:creationId xmlns:a16="http://schemas.microsoft.com/office/drawing/2014/main" id="{4FD8E0EE-B51C-451B-AEBF-BD048BFADEE0}"/>
              </a:ext>
            </a:extLst>
          </p:cNvPr>
          <p:cNvSpPr txBox="1"/>
          <p:nvPr/>
        </p:nvSpPr>
        <p:spPr>
          <a:xfrm>
            <a:off x="882588" y="4041770"/>
            <a:ext cx="680535" cy="200055"/>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300" normalizeH="0" baseline="0" noProof="0" dirty="0">
                <a:ln>
                  <a:noFill/>
                </a:ln>
                <a:solidFill>
                  <a:srgbClr val="000000"/>
                </a:solidFill>
                <a:effectLst/>
                <a:uLnTx/>
                <a:uFillTx/>
                <a:latin typeface="Open Sans"/>
                <a:ea typeface="+mn-ea"/>
                <a:cs typeface="+mn-cs"/>
              </a:rPr>
              <a:t>START</a:t>
            </a:r>
          </a:p>
        </p:txBody>
      </p:sp>
      <p:sp>
        <p:nvSpPr>
          <p:cNvPr id="13" name="TextBox 12">
            <a:extLst>
              <a:ext uri="{FF2B5EF4-FFF2-40B4-BE49-F238E27FC236}">
                <a16:creationId xmlns:a16="http://schemas.microsoft.com/office/drawing/2014/main" id="{1F6F598B-6783-4C27-A15F-C90353B58E77}"/>
              </a:ext>
            </a:extLst>
          </p:cNvPr>
          <p:cNvSpPr txBox="1"/>
          <p:nvPr/>
        </p:nvSpPr>
        <p:spPr>
          <a:xfrm>
            <a:off x="5135136" y="3773543"/>
            <a:ext cx="1921084" cy="738664"/>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Open Sans"/>
                <a:ea typeface="+mn-ea"/>
                <a:cs typeface="+mn-cs"/>
              </a:rPr>
              <a:t>Pricing Optimization Program</a:t>
            </a:r>
          </a:p>
        </p:txBody>
      </p:sp>
      <p:sp>
        <p:nvSpPr>
          <p:cNvPr id="14" name="Freeform 356">
            <a:extLst>
              <a:ext uri="{FF2B5EF4-FFF2-40B4-BE49-F238E27FC236}">
                <a16:creationId xmlns:a16="http://schemas.microsoft.com/office/drawing/2014/main" id="{EC8D1F1E-8A65-4E78-A3D5-F122DBBB23C8}"/>
              </a:ext>
            </a:extLst>
          </p:cNvPr>
          <p:cNvSpPr>
            <a:spLocks/>
          </p:cNvSpPr>
          <p:nvPr/>
        </p:nvSpPr>
        <p:spPr bwMode="auto">
          <a:xfrm>
            <a:off x="1791961" y="4664863"/>
            <a:ext cx="37759" cy="36307"/>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solidFill>
            <a:srgbClr val="99CA4A"/>
          </a:solidFill>
          <a:ln w="19050">
            <a:solidFill>
              <a:srgbClr val="FFFFFF"/>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Open Sans"/>
              <a:ea typeface="+mn-ea"/>
              <a:cs typeface="+mn-cs"/>
            </a:endParaRPr>
          </a:p>
        </p:txBody>
      </p:sp>
      <p:sp>
        <p:nvSpPr>
          <p:cNvPr id="15" name="TextBox 14">
            <a:extLst>
              <a:ext uri="{FF2B5EF4-FFF2-40B4-BE49-F238E27FC236}">
                <a16:creationId xmlns:a16="http://schemas.microsoft.com/office/drawing/2014/main" id="{AA30BD2B-11DB-4AC6-91E3-A03066F19CF9}"/>
              </a:ext>
            </a:extLst>
          </p:cNvPr>
          <p:cNvSpPr txBox="1"/>
          <p:nvPr/>
        </p:nvSpPr>
        <p:spPr>
          <a:xfrm>
            <a:off x="1645586" y="4064854"/>
            <a:ext cx="911432" cy="430887"/>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Static Reporting</a:t>
            </a:r>
          </a:p>
        </p:txBody>
      </p:sp>
      <p:sp>
        <p:nvSpPr>
          <p:cNvPr id="16" name="TextBox 15">
            <a:extLst>
              <a:ext uri="{FF2B5EF4-FFF2-40B4-BE49-F238E27FC236}">
                <a16:creationId xmlns:a16="http://schemas.microsoft.com/office/drawing/2014/main" id="{B49D18A0-B4B3-4D00-939E-E3AA6EB71703}"/>
              </a:ext>
            </a:extLst>
          </p:cNvPr>
          <p:cNvSpPr txBox="1"/>
          <p:nvPr/>
        </p:nvSpPr>
        <p:spPr>
          <a:xfrm>
            <a:off x="10606476" y="3318038"/>
            <a:ext cx="1163525" cy="461665"/>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Quantifiable Margin Lift</a:t>
            </a:r>
          </a:p>
        </p:txBody>
      </p:sp>
      <p:sp>
        <p:nvSpPr>
          <p:cNvPr id="17" name="TextBox 16">
            <a:extLst>
              <a:ext uri="{FF2B5EF4-FFF2-40B4-BE49-F238E27FC236}">
                <a16:creationId xmlns:a16="http://schemas.microsoft.com/office/drawing/2014/main" id="{356030E3-0DF7-45B9-81C8-3B6A780B1595}"/>
              </a:ext>
            </a:extLst>
          </p:cNvPr>
          <p:cNvSpPr txBox="1"/>
          <p:nvPr/>
        </p:nvSpPr>
        <p:spPr>
          <a:xfrm>
            <a:off x="3649015" y="4344414"/>
            <a:ext cx="1255489" cy="430887"/>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Inflexible Optimization</a:t>
            </a:r>
          </a:p>
        </p:txBody>
      </p:sp>
      <p:sp>
        <p:nvSpPr>
          <p:cNvPr id="18" name="TextBox 17">
            <a:extLst>
              <a:ext uri="{FF2B5EF4-FFF2-40B4-BE49-F238E27FC236}">
                <a16:creationId xmlns:a16="http://schemas.microsoft.com/office/drawing/2014/main" id="{1BD1C8EE-1FC8-4A81-B97D-5CF4199E898A}"/>
              </a:ext>
            </a:extLst>
          </p:cNvPr>
          <p:cNvSpPr txBox="1"/>
          <p:nvPr/>
        </p:nvSpPr>
        <p:spPr>
          <a:xfrm>
            <a:off x="2569791" y="3571719"/>
            <a:ext cx="1255489" cy="600164"/>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No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Mobile Enablement</a:t>
            </a:r>
          </a:p>
        </p:txBody>
      </p:sp>
      <p:sp>
        <p:nvSpPr>
          <p:cNvPr id="19" name="TextBox 18">
            <a:extLst>
              <a:ext uri="{FF2B5EF4-FFF2-40B4-BE49-F238E27FC236}">
                <a16:creationId xmlns:a16="http://schemas.microsoft.com/office/drawing/2014/main" id="{173F3540-0291-4C9B-9F98-3EED3F602E16}"/>
              </a:ext>
            </a:extLst>
          </p:cNvPr>
          <p:cNvSpPr txBox="1"/>
          <p:nvPr/>
        </p:nvSpPr>
        <p:spPr>
          <a:xfrm>
            <a:off x="2048482" y="5279532"/>
            <a:ext cx="1190660" cy="600164"/>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None/minimal        Scenario Planning</a:t>
            </a:r>
          </a:p>
        </p:txBody>
      </p:sp>
      <p:sp>
        <p:nvSpPr>
          <p:cNvPr id="20" name="TextBox 19">
            <a:extLst>
              <a:ext uri="{FF2B5EF4-FFF2-40B4-BE49-F238E27FC236}">
                <a16:creationId xmlns:a16="http://schemas.microsoft.com/office/drawing/2014/main" id="{5AA9FCEC-036C-4873-89A3-210C2F14CD3E}"/>
              </a:ext>
            </a:extLst>
          </p:cNvPr>
          <p:cNvSpPr txBox="1"/>
          <p:nvPr/>
        </p:nvSpPr>
        <p:spPr>
          <a:xfrm>
            <a:off x="7272480" y="3980981"/>
            <a:ext cx="911432" cy="430887"/>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Dynamic Reporting</a:t>
            </a:r>
          </a:p>
        </p:txBody>
      </p:sp>
      <p:sp>
        <p:nvSpPr>
          <p:cNvPr id="21" name="TextBox 20">
            <a:extLst>
              <a:ext uri="{FF2B5EF4-FFF2-40B4-BE49-F238E27FC236}">
                <a16:creationId xmlns:a16="http://schemas.microsoft.com/office/drawing/2014/main" id="{79BE0EBE-3E20-4D4A-B982-A85A492631F4}"/>
              </a:ext>
            </a:extLst>
          </p:cNvPr>
          <p:cNvSpPr txBox="1"/>
          <p:nvPr/>
        </p:nvSpPr>
        <p:spPr>
          <a:xfrm>
            <a:off x="8445057" y="3402442"/>
            <a:ext cx="1125612" cy="769441"/>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Mobile Interaction with Customer</a:t>
            </a:r>
          </a:p>
        </p:txBody>
      </p:sp>
      <p:sp>
        <p:nvSpPr>
          <p:cNvPr id="22" name="TextBox 21">
            <a:extLst>
              <a:ext uri="{FF2B5EF4-FFF2-40B4-BE49-F238E27FC236}">
                <a16:creationId xmlns:a16="http://schemas.microsoft.com/office/drawing/2014/main" id="{8E8F5788-B89E-419A-9AB9-16EF0D7C06E7}"/>
              </a:ext>
            </a:extLst>
          </p:cNvPr>
          <p:cNvSpPr txBox="1"/>
          <p:nvPr/>
        </p:nvSpPr>
        <p:spPr>
          <a:xfrm>
            <a:off x="7860628" y="5309007"/>
            <a:ext cx="1028631" cy="600164"/>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Advanced Scenario Analysis</a:t>
            </a:r>
          </a:p>
        </p:txBody>
      </p:sp>
      <p:sp>
        <p:nvSpPr>
          <p:cNvPr id="23" name="TextBox 22">
            <a:extLst>
              <a:ext uri="{FF2B5EF4-FFF2-40B4-BE49-F238E27FC236}">
                <a16:creationId xmlns:a16="http://schemas.microsoft.com/office/drawing/2014/main" id="{3F8E65AE-8BED-47F9-9F2D-F3EDA4AD4E19}"/>
              </a:ext>
            </a:extLst>
          </p:cNvPr>
          <p:cNvSpPr txBox="1"/>
          <p:nvPr/>
        </p:nvSpPr>
        <p:spPr>
          <a:xfrm>
            <a:off x="9421903" y="4285671"/>
            <a:ext cx="1322896" cy="600164"/>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Optimize KPIs (avg. check, store traffic, etc.)</a:t>
            </a:r>
          </a:p>
        </p:txBody>
      </p:sp>
      <p:sp>
        <p:nvSpPr>
          <p:cNvPr id="24" name="Freeform 905">
            <a:extLst>
              <a:ext uri="{FF2B5EF4-FFF2-40B4-BE49-F238E27FC236}">
                <a16:creationId xmlns:a16="http://schemas.microsoft.com/office/drawing/2014/main" id="{C216A1AD-CDCA-4698-A085-A02AAFB08219}"/>
              </a:ext>
            </a:extLst>
          </p:cNvPr>
          <p:cNvSpPr>
            <a:spLocks noEditPoints="1"/>
          </p:cNvSpPr>
          <p:nvPr/>
        </p:nvSpPr>
        <p:spPr bwMode="auto">
          <a:xfrm>
            <a:off x="2369426" y="4716188"/>
            <a:ext cx="493776" cy="504612"/>
          </a:xfrm>
          <a:prstGeom prst="ellipse">
            <a:avLst/>
          </a:pr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25" name="Group 24">
            <a:extLst>
              <a:ext uri="{FF2B5EF4-FFF2-40B4-BE49-F238E27FC236}">
                <a16:creationId xmlns:a16="http://schemas.microsoft.com/office/drawing/2014/main" id="{1D3E8DCF-0990-4DBD-A60D-8F84FF379843}"/>
              </a:ext>
            </a:extLst>
          </p:cNvPr>
          <p:cNvGrpSpPr>
            <a:grpSpLocks noChangeAspect="1"/>
          </p:cNvGrpSpPr>
          <p:nvPr/>
        </p:nvGrpSpPr>
        <p:grpSpPr>
          <a:xfrm>
            <a:off x="2369425" y="4713858"/>
            <a:ext cx="522288" cy="522288"/>
            <a:chOff x="554038" y="5853748"/>
            <a:chExt cx="522288" cy="522288"/>
          </a:xfrm>
        </p:grpSpPr>
        <p:sp>
          <p:nvSpPr>
            <p:cNvPr id="26" name="Freeform 90">
              <a:extLst>
                <a:ext uri="{FF2B5EF4-FFF2-40B4-BE49-F238E27FC236}">
                  <a16:creationId xmlns:a16="http://schemas.microsoft.com/office/drawing/2014/main" id="{057D6386-5938-411C-9489-5A5F66A46261}"/>
                </a:ext>
              </a:extLst>
            </p:cNvPr>
            <p:cNvSpPr>
              <a:spLocks noEditPoints="1"/>
            </p:cNvSpPr>
            <p:nvPr/>
          </p:nvSpPr>
          <p:spPr bwMode="auto">
            <a:xfrm>
              <a:off x="554038" y="5853748"/>
              <a:ext cx="522288" cy="522288"/>
            </a:xfrm>
            <a:custGeom>
              <a:avLst/>
              <a:gdLst>
                <a:gd name="T0" fmla="*/ 312 w 659"/>
                <a:gd name="T1" fmla="*/ 657 h 657"/>
                <a:gd name="T2" fmla="*/ 262 w 659"/>
                <a:gd name="T3" fmla="*/ 650 h 657"/>
                <a:gd name="T4" fmla="*/ 202 w 659"/>
                <a:gd name="T5" fmla="*/ 631 h 657"/>
                <a:gd name="T6" fmla="*/ 120 w 659"/>
                <a:gd name="T7" fmla="*/ 582 h 657"/>
                <a:gd name="T8" fmla="*/ 56 w 659"/>
                <a:gd name="T9" fmla="*/ 512 h 657"/>
                <a:gd name="T10" fmla="*/ 15 w 659"/>
                <a:gd name="T11" fmla="*/ 426 h 657"/>
                <a:gd name="T12" fmla="*/ 4 w 659"/>
                <a:gd name="T13" fmla="*/ 379 h 657"/>
                <a:gd name="T14" fmla="*/ 0 w 659"/>
                <a:gd name="T15" fmla="*/ 329 h 657"/>
                <a:gd name="T16" fmla="*/ 1 w 659"/>
                <a:gd name="T17" fmla="*/ 295 h 657"/>
                <a:gd name="T18" fmla="*/ 11 w 659"/>
                <a:gd name="T19" fmla="*/ 247 h 657"/>
                <a:gd name="T20" fmla="*/ 40 w 659"/>
                <a:gd name="T21" fmla="*/ 172 h 657"/>
                <a:gd name="T22" fmla="*/ 97 w 659"/>
                <a:gd name="T23" fmla="*/ 96 h 657"/>
                <a:gd name="T24" fmla="*/ 172 w 659"/>
                <a:gd name="T25" fmla="*/ 39 h 657"/>
                <a:gd name="T26" fmla="*/ 247 w 659"/>
                <a:gd name="T27" fmla="*/ 10 h 657"/>
                <a:gd name="T28" fmla="*/ 296 w 659"/>
                <a:gd name="T29" fmla="*/ 1 h 657"/>
                <a:gd name="T30" fmla="*/ 329 w 659"/>
                <a:gd name="T31" fmla="*/ 0 h 657"/>
                <a:gd name="T32" fmla="*/ 379 w 659"/>
                <a:gd name="T33" fmla="*/ 4 h 657"/>
                <a:gd name="T34" fmla="*/ 426 w 659"/>
                <a:gd name="T35" fmla="*/ 14 h 657"/>
                <a:gd name="T36" fmla="*/ 513 w 659"/>
                <a:gd name="T37" fmla="*/ 56 h 657"/>
                <a:gd name="T38" fmla="*/ 583 w 659"/>
                <a:gd name="T39" fmla="*/ 119 h 657"/>
                <a:gd name="T40" fmla="*/ 632 w 659"/>
                <a:gd name="T41" fmla="*/ 200 h 657"/>
                <a:gd name="T42" fmla="*/ 652 w 659"/>
                <a:gd name="T43" fmla="*/ 262 h 657"/>
                <a:gd name="T44" fmla="*/ 657 w 659"/>
                <a:gd name="T45" fmla="*/ 312 h 657"/>
                <a:gd name="T46" fmla="*/ 657 w 659"/>
                <a:gd name="T47" fmla="*/ 345 h 657"/>
                <a:gd name="T48" fmla="*/ 652 w 659"/>
                <a:gd name="T49" fmla="*/ 395 h 657"/>
                <a:gd name="T50" fmla="*/ 632 w 659"/>
                <a:gd name="T51" fmla="*/ 457 h 657"/>
                <a:gd name="T52" fmla="*/ 583 w 659"/>
                <a:gd name="T53" fmla="*/ 537 h 657"/>
                <a:gd name="T54" fmla="*/ 513 w 659"/>
                <a:gd name="T55" fmla="*/ 602 h 657"/>
                <a:gd name="T56" fmla="*/ 426 w 659"/>
                <a:gd name="T57" fmla="*/ 642 h 657"/>
                <a:gd name="T58" fmla="*/ 379 w 659"/>
                <a:gd name="T59" fmla="*/ 654 h 657"/>
                <a:gd name="T60" fmla="*/ 329 w 659"/>
                <a:gd name="T61" fmla="*/ 657 h 657"/>
                <a:gd name="T62" fmla="*/ 329 w 659"/>
                <a:gd name="T63" fmla="*/ 37 h 657"/>
                <a:gd name="T64" fmla="*/ 242 w 659"/>
                <a:gd name="T65" fmla="*/ 51 h 657"/>
                <a:gd name="T66" fmla="*/ 167 w 659"/>
                <a:gd name="T67" fmla="*/ 87 h 657"/>
                <a:gd name="T68" fmla="*/ 105 w 659"/>
                <a:gd name="T69" fmla="*/ 143 h 657"/>
                <a:gd name="T70" fmla="*/ 60 w 659"/>
                <a:gd name="T71" fmla="*/ 215 h 657"/>
                <a:gd name="T72" fmla="*/ 39 w 659"/>
                <a:gd name="T73" fmla="*/ 299 h 657"/>
                <a:gd name="T74" fmla="*/ 39 w 659"/>
                <a:gd name="T75" fmla="*/ 359 h 657"/>
                <a:gd name="T76" fmla="*/ 60 w 659"/>
                <a:gd name="T77" fmla="*/ 442 h 657"/>
                <a:gd name="T78" fmla="*/ 105 w 659"/>
                <a:gd name="T79" fmla="*/ 513 h 657"/>
                <a:gd name="T80" fmla="*/ 167 w 659"/>
                <a:gd name="T81" fmla="*/ 570 h 657"/>
                <a:gd name="T82" fmla="*/ 242 w 659"/>
                <a:gd name="T83" fmla="*/ 607 h 657"/>
                <a:gd name="T84" fmla="*/ 329 w 659"/>
                <a:gd name="T85" fmla="*/ 619 h 657"/>
                <a:gd name="T86" fmla="*/ 387 w 659"/>
                <a:gd name="T87" fmla="*/ 614 h 657"/>
                <a:gd name="T88" fmla="*/ 468 w 659"/>
                <a:gd name="T89" fmla="*/ 584 h 657"/>
                <a:gd name="T90" fmla="*/ 535 w 659"/>
                <a:gd name="T91" fmla="*/ 535 h 657"/>
                <a:gd name="T92" fmla="*/ 585 w 659"/>
                <a:gd name="T93" fmla="*/ 467 h 657"/>
                <a:gd name="T94" fmla="*/ 614 w 659"/>
                <a:gd name="T95" fmla="*/ 387 h 657"/>
                <a:gd name="T96" fmla="*/ 621 w 659"/>
                <a:gd name="T97" fmla="*/ 329 h 657"/>
                <a:gd name="T98" fmla="*/ 607 w 659"/>
                <a:gd name="T99" fmla="*/ 242 h 657"/>
                <a:gd name="T100" fmla="*/ 570 w 659"/>
                <a:gd name="T101" fmla="*/ 166 h 657"/>
                <a:gd name="T102" fmla="*/ 515 w 659"/>
                <a:gd name="T103" fmla="*/ 103 h 657"/>
                <a:gd name="T104" fmla="*/ 442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29" y="657"/>
                  </a:moveTo>
                  <a:lnTo>
                    <a:pt x="329" y="657"/>
                  </a:lnTo>
                  <a:lnTo>
                    <a:pt x="312" y="657"/>
                  </a:lnTo>
                  <a:lnTo>
                    <a:pt x="296" y="656"/>
                  </a:lnTo>
                  <a:lnTo>
                    <a:pt x="280" y="654"/>
                  </a:lnTo>
                  <a:lnTo>
                    <a:pt x="262" y="650"/>
                  </a:lnTo>
                  <a:lnTo>
                    <a:pt x="247" y="648"/>
                  </a:lnTo>
                  <a:lnTo>
                    <a:pt x="231" y="642"/>
                  </a:lnTo>
                  <a:lnTo>
                    <a:pt x="202" y="631"/>
                  </a:lnTo>
                  <a:lnTo>
                    <a:pt x="172" y="618"/>
                  </a:lnTo>
                  <a:lnTo>
                    <a:pt x="145" y="602"/>
                  </a:lnTo>
                  <a:lnTo>
                    <a:pt x="120" y="582"/>
                  </a:lnTo>
                  <a:lnTo>
                    <a:pt x="97" y="562"/>
                  </a:lnTo>
                  <a:lnTo>
                    <a:pt x="75" y="537"/>
                  </a:lnTo>
                  <a:lnTo>
                    <a:pt x="56" y="512"/>
                  </a:lnTo>
                  <a:lnTo>
                    <a:pt x="40" y="485"/>
                  </a:lnTo>
                  <a:lnTo>
                    <a:pt x="26" y="457"/>
                  </a:lnTo>
                  <a:lnTo>
                    <a:pt x="15" y="426"/>
                  </a:lnTo>
                  <a:lnTo>
                    <a:pt x="11" y="411"/>
                  </a:lnTo>
                  <a:lnTo>
                    <a:pt x="7" y="395"/>
                  </a:lnTo>
                  <a:lnTo>
                    <a:pt x="4" y="379"/>
                  </a:lnTo>
                  <a:lnTo>
                    <a:pt x="1" y="363"/>
                  </a:lnTo>
                  <a:lnTo>
                    <a:pt x="0" y="345"/>
                  </a:lnTo>
                  <a:lnTo>
                    <a:pt x="0" y="329"/>
                  </a:lnTo>
                  <a:lnTo>
                    <a:pt x="0" y="329"/>
                  </a:lnTo>
                  <a:lnTo>
                    <a:pt x="0" y="312"/>
                  </a:lnTo>
                  <a:lnTo>
                    <a:pt x="1" y="295"/>
                  </a:lnTo>
                  <a:lnTo>
                    <a:pt x="4" y="278"/>
                  </a:lnTo>
                  <a:lnTo>
                    <a:pt x="7" y="262"/>
                  </a:lnTo>
                  <a:lnTo>
                    <a:pt x="11" y="247"/>
                  </a:lnTo>
                  <a:lnTo>
                    <a:pt x="15" y="231"/>
                  </a:lnTo>
                  <a:lnTo>
                    <a:pt x="26" y="200"/>
                  </a:lnTo>
                  <a:lnTo>
                    <a:pt x="40" y="172"/>
                  </a:lnTo>
                  <a:lnTo>
                    <a:pt x="56" y="145"/>
                  </a:lnTo>
                  <a:lnTo>
                    <a:pt x="75" y="119"/>
                  </a:lnTo>
                  <a:lnTo>
                    <a:pt x="97" y="96"/>
                  </a:lnTo>
                  <a:lnTo>
                    <a:pt x="120" y="75"/>
                  </a:lnTo>
                  <a:lnTo>
                    <a:pt x="145" y="56"/>
                  </a:lnTo>
                  <a:lnTo>
                    <a:pt x="172" y="39"/>
                  </a:lnTo>
                  <a:lnTo>
                    <a:pt x="202" y="25"/>
                  </a:lnTo>
                  <a:lnTo>
                    <a:pt x="231" y="14"/>
                  </a:lnTo>
                  <a:lnTo>
                    <a:pt x="247" y="10"/>
                  </a:lnTo>
                  <a:lnTo>
                    <a:pt x="262" y="6"/>
                  </a:lnTo>
                  <a:lnTo>
                    <a:pt x="280" y="4"/>
                  </a:lnTo>
                  <a:lnTo>
                    <a:pt x="296" y="1"/>
                  </a:lnTo>
                  <a:lnTo>
                    <a:pt x="312" y="0"/>
                  </a:lnTo>
                  <a:lnTo>
                    <a:pt x="329" y="0"/>
                  </a:lnTo>
                  <a:lnTo>
                    <a:pt x="329" y="0"/>
                  </a:lnTo>
                  <a:lnTo>
                    <a:pt x="345" y="0"/>
                  </a:lnTo>
                  <a:lnTo>
                    <a:pt x="363" y="1"/>
                  </a:lnTo>
                  <a:lnTo>
                    <a:pt x="379" y="4"/>
                  </a:lnTo>
                  <a:lnTo>
                    <a:pt x="395" y="6"/>
                  </a:lnTo>
                  <a:lnTo>
                    <a:pt x="411" y="10"/>
                  </a:lnTo>
                  <a:lnTo>
                    <a:pt x="426" y="14"/>
                  </a:lnTo>
                  <a:lnTo>
                    <a:pt x="457" y="25"/>
                  </a:lnTo>
                  <a:lnTo>
                    <a:pt x="485" y="39"/>
                  </a:lnTo>
                  <a:lnTo>
                    <a:pt x="513" y="56"/>
                  </a:lnTo>
                  <a:lnTo>
                    <a:pt x="538" y="75"/>
                  </a:lnTo>
                  <a:lnTo>
                    <a:pt x="562" y="96"/>
                  </a:lnTo>
                  <a:lnTo>
                    <a:pt x="583" y="119"/>
                  </a:lnTo>
                  <a:lnTo>
                    <a:pt x="602" y="145"/>
                  </a:lnTo>
                  <a:lnTo>
                    <a:pt x="618" y="172"/>
                  </a:lnTo>
                  <a:lnTo>
                    <a:pt x="632" y="200"/>
                  </a:lnTo>
                  <a:lnTo>
                    <a:pt x="644" y="231"/>
                  </a:lnTo>
                  <a:lnTo>
                    <a:pt x="648" y="247"/>
                  </a:lnTo>
                  <a:lnTo>
                    <a:pt x="652" y="262"/>
                  </a:lnTo>
                  <a:lnTo>
                    <a:pt x="655" y="278"/>
                  </a:lnTo>
                  <a:lnTo>
                    <a:pt x="656" y="295"/>
                  </a:lnTo>
                  <a:lnTo>
                    <a:pt x="657" y="312"/>
                  </a:lnTo>
                  <a:lnTo>
                    <a:pt x="659" y="329"/>
                  </a:lnTo>
                  <a:lnTo>
                    <a:pt x="659" y="329"/>
                  </a:lnTo>
                  <a:lnTo>
                    <a:pt x="657" y="345"/>
                  </a:lnTo>
                  <a:lnTo>
                    <a:pt x="656" y="363"/>
                  </a:lnTo>
                  <a:lnTo>
                    <a:pt x="655" y="379"/>
                  </a:lnTo>
                  <a:lnTo>
                    <a:pt x="652" y="395"/>
                  </a:lnTo>
                  <a:lnTo>
                    <a:pt x="648" y="411"/>
                  </a:lnTo>
                  <a:lnTo>
                    <a:pt x="644" y="426"/>
                  </a:lnTo>
                  <a:lnTo>
                    <a:pt x="632" y="457"/>
                  </a:lnTo>
                  <a:lnTo>
                    <a:pt x="618" y="485"/>
                  </a:lnTo>
                  <a:lnTo>
                    <a:pt x="602" y="512"/>
                  </a:lnTo>
                  <a:lnTo>
                    <a:pt x="583" y="537"/>
                  </a:lnTo>
                  <a:lnTo>
                    <a:pt x="562" y="562"/>
                  </a:lnTo>
                  <a:lnTo>
                    <a:pt x="538" y="582"/>
                  </a:lnTo>
                  <a:lnTo>
                    <a:pt x="513" y="602"/>
                  </a:lnTo>
                  <a:lnTo>
                    <a:pt x="485" y="618"/>
                  </a:lnTo>
                  <a:lnTo>
                    <a:pt x="457" y="631"/>
                  </a:lnTo>
                  <a:lnTo>
                    <a:pt x="426" y="642"/>
                  </a:lnTo>
                  <a:lnTo>
                    <a:pt x="411" y="648"/>
                  </a:lnTo>
                  <a:lnTo>
                    <a:pt x="395" y="650"/>
                  </a:lnTo>
                  <a:lnTo>
                    <a:pt x="379" y="654"/>
                  </a:lnTo>
                  <a:lnTo>
                    <a:pt x="363" y="656"/>
                  </a:lnTo>
                  <a:lnTo>
                    <a:pt x="345" y="657"/>
                  </a:lnTo>
                  <a:lnTo>
                    <a:pt x="329" y="657"/>
                  </a:lnTo>
                  <a:lnTo>
                    <a:pt x="329" y="657"/>
                  </a:lnTo>
                  <a:close/>
                  <a:moveTo>
                    <a:pt x="329" y="37"/>
                  </a:moveTo>
                  <a:lnTo>
                    <a:pt x="329" y="37"/>
                  </a:lnTo>
                  <a:lnTo>
                    <a:pt x="300" y="39"/>
                  </a:lnTo>
                  <a:lnTo>
                    <a:pt x="270" y="43"/>
                  </a:lnTo>
                  <a:lnTo>
                    <a:pt x="242" y="51"/>
                  </a:lnTo>
                  <a:lnTo>
                    <a:pt x="215" y="60"/>
                  </a:lnTo>
                  <a:lnTo>
                    <a:pt x="191" y="72"/>
                  </a:lnTo>
                  <a:lnTo>
                    <a:pt x="167" y="87"/>
                  </a:lnTo>
                  <a:lnTo>
                    <a:pt x="144" y="103"/>
                  </a:lnTo>
                  <a:lnTo>
                    <a:pt x="124" y="122"/>
                  </a:lnTo>
                  <a:lnTo>
                    <a:pt x="105" y="143"/>
                  </a:lnTo>
                  <a:lnTo>
                    <a:pt x="87" y="166"/>
                  </a:lnTo>
                  <a:lnTo>
                    <a:pt x="73" y="189"/>
                  </a:lnTo>
                  <a:lnTo>
                    <a:pt x="60" y="215"/>
                  </a:lnTo>
                  <a:lnTo>
                    <a:pt x="51" y="242"/>
                  </a:lnTo>
                  <a:lnTo>
                    <a:pt x="43" y="270"/>
                  </a:lnTo>
                  <a:lnTo>
                    <a:pt x="39" y="299"/>
                  </a:lnTo>
                  <a:lnTo>
                    <a:pt x="38" y="329"/>
                  </a:lnTo>
                  <a:lnTo>
                    <a:pt x="38" y="329"/>
                  </a:lnTo>
                  <a:lnTo>
                    <a:pt x="39" y="359"/>
                  </a:lnTo>
                  <a:lnTo>
                    <a:pt x="43" y="387"/>
                  </a:lnTo>
                  <a:lnTo>
                    <a:pt x="51" y="415"/>
                  </a:lnTo>
                  <a:lnTo>
                    <a:pt x="60" y="442"/>
                  </a:lnTo>
                  <a:lnTo>
                    <a:pt x="73" y="467"/>
                  </a:lnTo>
                  <a:lnTo>
                    <a:pt x="87" y="492"/>
                  </a:lnTo>
                  <a:lnTo>
                    <a:pt x="105" y="513"/>
                  </a:lnTo>
                  <a:lnTo>
                    <a:pt x="124" y="535"/>
                  </a:lnTo>
                  <a:lnTo>
                    <a:pt x="144" y="553"/>
                  </a:lnTo>
                  <a:lnTo>
                    <a:pt x="167" y="570"/>
                  </a:lnTo>
                  <a:lnTo>
                    <a:pt x="191" y="584"/>
                  </a:lnTo>
                  <a:lnTo>
                    <a:pt x="215" y="596"/>
                  </a:lnTo>
                  <a:lnTo>
                    <a:pt x="242" y="607"/>
                  </a:lnTo>
                  <a:lnTo>
                    <a:pt x="270" y="614"/>
                  </a:lnTo>
                  <a:lnTo>
                    <a:pt x="300" y="618"/>
                  </a:lnTo>
                  <a:lnTo>
                    <a:pt x="329" y="619"/>
                  </a:lnTo>
                  <a:lnTo>
                    <a:pt x="329" y="619"/>
                  </a:lnTo>
                  <a:lnTo>
                    <a:pt x="359" y="618"/>
                  </a:lnTo>
                  <a:lnTo>
                    <a:pt x="387" y="614"/>
                  </a:lnTo>
                  <a:lnTo>
                    <a:pt x="415" y="607"/>
                  </a:lnTo>
                  <a:lnTo>
                    <a:pt x="442" y="596"/>
                  </a:lnTo>
                  <a:lnTo>
                    <a:pt x="468" y="584"/>
                  </a:lnTo>
                  <a:lnTo>
                    <a:pt x="492" y="570"/>
                  </a:lnTo>
                  <a:lnTo>
                    <a:pt x="515" y="553"/>
                  </a:lnTo>
                  <a:lnTo>
                    <a:pt x="535" y="535"/>
                  </a:lnTo>
                  <a:lnTo>
                    <a:pt x="554" y="513"/>
                  </a:lnTo>
                  <a:lnTo>
                    <a:pt x="570" y="492"/>
                  </a:lnTo>
                  <a:lnTo>
                    <a:pt x="585" y="467"/>
                  </a:lnTo>
                  <a:lnTo>
                    <a:pt x="597" y="442"/>
                  </a:lnTo>
                  <a:lnTo>
                    <a:pt x="607" y="415"/>
                  </a:lnTo>
                  <a:lnTo>
                    <a:pt x="614" y="387"/>
                  </a:lnTo>
                  <a:lnTo>
                    <a:pt x="618" y="359"/>
                  </a:lnTo>
                  <a:lnTo>
                    <a:pt x="621" y="329"/>
                  </a:lnTo>
                  <a:lnTo>
                    <a:pt x="621" y="329"/>
                  </a:lnTo>
                  <a:lnTo>
                    <a:pt x="618" y="299"/>
                  </a:lnTo>
                  <a:lnTo>
                    <a:pt x="614" y="270"/>
                  </a:lnTo>
                  <a:lnTo>
                    <a:pt x="607" y="242"/>
                  </a:lnTo>
                  <a:lnTo>
                    <a:pt x="597" y="215"/>
                  </a:lnTo>
                  <a:lnTo>
                    <a:pt x="585" y="189"/>
                  </a:lnTo>
                  <a:lnTo>
                    <a:pt x="570" y="166"/>
                  </a:lnTo>
                  <a:lnTo>
                    <a:pt x="554" y="143"/>
                  </a:lnTo>
                  <a:lnTo>
                    <a:pt x="535" y="122"/>
                  </a:lnTo>
                  <a:lnTo>
                    <a:pt x="515" y="103"/>
                  </a:lnTo>
                  <a:lnTo>
                    <a:pt x="492" y="87"/>
                  </a:lnTo>
                  <a:lnTo>
                    <a:pt x="468" y="72"/>
                  </a:lnTo>
                  <a:lnTo>
                    <a:pt x="442" y="60"/>
                  </a:lnTo>
                  <a:lnTo>
                    <a:pt x="415" y="51"/>
                  </a:lnTo>
                  <a:lnTo>
                    <a:pt x="387" y="43"/>
                  </a:lnTo>
                  <a:lnTo>
                    <a:pt x="359"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94">
              <a:extLst>
                <a:ext uri="{FF2B5EF4-FFF2-40B4-BE49-F238E27FC236}">
                  <a16:creationId xmlns:a16="http://schemas.microsoft.com/office/drawing/2014/main" id="{2461EF7A-937E-43C2-B014-BE834635B702}"/>
                </a:ext>
              </a:extLst>
            </p:cNvPr>
            <p:cNvSpPr>
              <a:spLocks/>
            </p:cNvSpPr>
            <p:nvPr/>
          </p:nvSpPr>
          <p:spPr bwMode="auto">
            <a:xfrm>
              <a:off x="676276" y="5998210"/>
              <a:ext cx="53975" cy="53975"/>
            </a:xfrm>
            <a:custGeom>
              <a:avLst/>
              <a:gdLst>
                <a:gd name="T0" fmla="*/ 33 w 67"/>
                <a:gd name="T1" fmla="*/ 0 h 67"/>
                <a:gd name="T2" fmla="*/ 33 w 67"/>
                <a:gd name="T3" fmla="*/ 0 h 67"/>
                <a:gd name="T4" fmla="*/ 40 w 67"/>
                <a:gd name="T5" fmla="*/ 1 h 67"/>
                <a:gd name="T6" fmla="*/ 47 w 67"/>
                <a:gd name="T7" fmla="*/ 3 h 67"/>
                <a:gd name="T8" fmla="*/ 52 w 67"/>
                <a:gd name="T9" fmla="*/ 7 h 67"/>
                <a:gd name="T10" fmla="*/ 56 w 67"/>
                <a:gd name="T11" fmla="*/ 11 h 67"/>
                <a:gd name="T12" fmla="*/ 61 w 67"/>
                <a:gd name="T13" fmla="*/ 15 h 67"/>
                <a:gd name="T14" fmla="*/ 64 w 67"/>
                <a:gd name="T15" fmla="*/ 22 h 67"/>
                <a:gd name="T16" fmla="*/ 65 w 67"/>
                <a:gd name="T17" fmla="*/ 27 h 67"/>
                <a:gd name="T18" fmla="*/ 67 w 67"/>
                <a:gd name="T19" fmla="*/ 34 h 67"/>
                <a:gd name="T20" fmla="*/ 67 w 67"/>
                <a:gd name="T21" fmla="*/ 34 h 67"/>
                <a:gd name="T22" fmla="*/ 65 w 67"/>
                <a:gd name="T23" fmla="*/ 40 h 67"/>
                <a:gd name="T24" fmla="*/ 64 w 67"/>
                <a:gd name="T25" fmla="*/ 47 h 67"/>
                <a:gd name="T26" fmla="*/ 61 w 67"/>
                <a:gd name="T27" fmla="*/ 53 h 67"/>
                <a:gd name="T28" fmla="*/ 56 w 67"/>
                <a:gd name="T29" fmla="*/ 58 h 67"/>
                <a:gd name="T30" fmla="*/ 52 w 67"/>
                <a:gd name="T31" fmla="*/ 62 h 67"/>
                <a:gd name="T32" fmla="*/ 47 w 67"/>
                <a:gd name="T33" fmla="*/ 65 h 67"/>
                <a:gd name="T34" fmla="*/ 40 w 67"/>
                <a:gd name="T35" fmla="*/ 67 h 67"/>
                <a:gd name="T36" fmla="*/ 33 w 67"/>
                <a:gd name="T37" fmla="*/ 67 h 67"/>
                <a:gd name="T38" fmla="*/ 33 w 67"/>
                <a:gd name="T39" fmla="*/ 67 h 67"/>
                <a:gd name="T40" fmla="*/ 26 w 67"/>
                <a:gd name="T41" fmla="*/ 67 h 67"/>
                <a:gd name="T42" fmla="*/ 20 w 67"/>
                <a:gd name="T43" fmla="*/ 65 h 67"/>
                <a:gd name="T44" fmla="*/ 14 w 67"/>
                <a:gd name="T45" fmla="*/ 62 h 67"/>
                <a:gd name="T46" fmla="*/ 9 w 67"/>
                <a:gd name="T47" fmla="*/ 58 h 67"/>
                <a:gd name="T48" fmla="*/ 5 w 67"/>
                <a:gd name="T49" fmla="*/ 53 h 67"/>
                <a:gd name="T50" fmla="*/ 2 w 67"/>
                <a:gd name="T51" fmla="*/ 47 h 67"/>
                <a:gd name="T52" fmla="*/ 1 w 67"/>
                <a:gd name="T53" fmla="*/ 40 h 67"/>
                <a:gd name="T54" fmla="*/ 0 w 67"/>
                <a:gd name="T55" fmla="*/ 34 h 67"/>
                <a:gd name="T56" fmla="*/ 0 w 67"/>
                <a:gd name="T57" fmla="*/ 34 h 67"/>
                <a:gd name="T58" fmla="*/ 1 w 67"/>
                <a:gd name="T59" fmla="*/ 27 h 67"/>
                <a:gd name="T60" fmla="*/ 2 w 67"/>
                <a:gd name="T61" fmla="*/ 22 h 67"/>
                <a:gd name="T62" fmla="*/ 5 w 67"/>
                <a:gd name="T63" fmla="*/ 15 h 67"/>
                <a:gd name="T64" fmla="*/ 9 w 67"/>
                <a:gd name="T65" fmla="*/ 11 h 67"/>
                <a:gd name="T66" fmla="*/ 14 w 67"/>
                <a:gd name="T67" fmla="*/ 7 h 67"/>
                <a:gd name="T68" fmla="*/ 20 w 67"/>
                <a:gd name="T69" fmla="*/ 3 h 67"/>
                <a:gd name="T70" fmla="*/ 26 w 67"/>
                <a:gd name="T71" fmla="*/ 1 h 67"/>
                <a:gd name="T72" fmla="*/ 33 w 67"/>
                <a:gd name="T73" fmla="*/ 0 h 67"/>
                <a:gd name="T74" fmla="*/ 33 w 67"/>
                <a:gd name="T75"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67">
                  <a:moveTo>
                    <a:pt x="33" y="0"/>
                  </a:moveTo>
                  <a:lnTo>
                    <a:pt x="33" y="0"/>
                  </a:lnTo>
                  <a:lnTo>
                    <a:pt x="40" y="1"/>
                  </a:lnTo>
                  <a:lnTo>
                    <a:pt x="47" y="3"/>
                  </a:lnTo>
                  <a:lnTo>
                    <a:pt x="52" y="7"/>
                  </a:lnTo>
                  <a:lnTo>
                    <a:pt x="56" y="11"/>
                  </a:lnTo>
                  <a:lnTo>
                    <a:pt x="61" y="15"/>
                  </a:lnTo>
                  <a:lnTo>
                    <a:pt x="64" y="22"/>
                  </a:lnTo>
                  <a:lnTo>
                    <a:pt x="65" y="27"/>
                  </a:lnTo>
                  <a:lnTo>
                    <a:pt x="67" y="34"/>
                  </a:lnTo>
                  <a:lnTo>
                    <a:pt x="67" y="34"/>
                  </a:lnTo>
                  <a:lnTo>
                    <a:pt x="65" y="40"/>
                  </a:lnTo>
                  <a:lnTo>
                    <a:pt x="64" y="47"/>
                  </a:lnTo>
                  <a:lnTo>
                    <a:pt x="61" y="53"/>
                  </a:lnTo>
                  <a:lnTo>
                    <a:pt x="56" y="58"/>
                  </a:lnTo>
                  <a:lnTo>
                    <a:pt x="52" y="62"/>
                  </a:lnTo>
                  <a:lnTo>
                    <a:pt x="47" y="65"/>
                  </a:lnTo>
                  <a:lnTo>
                    <a:pt x="40" y="67"/>
                  </a:lnTo>
                  <a:lnTo>
                    <a:pt x="33" y="67"/>
                  </a:lnTo>
                  <a:lnTo>
                    <a:pt x="33" y="67"/>
                  </a:lnTo>
                  <a:lnTo>
                    <a:pt x="26" y="67"/>
                  </a:lnTo>
                  <a:lnTo>
                    <a:pt x="20" y="65"/>
                  </a:lnTo>
                  <a:lnTo>
                    <a:pt x="14" y="62"/>
                  </a:lnTo>
                  <a:lnTo>
                    <a:pt x="9" y="58"/>
                  </a:lnTo>
                  <a:lnTo>
                    <a:pt x="5" y="53"/>
                  </a:lnTo>
                  <a:lnTo>
                    <a:pt x="2" y="47"/>
                  </a:lnTo>
                  <a:lnTo>
                    <a:pt x="1" y="40"/>
                  </a:lnTo>
                  <a:lnTo>
                    <a:pt x="0" y="34"/>
                  </a:lnTo>
                  <a:lnTo>
                    <a:pt x="0" y="34"/>
                  </a:lnTo>
                  <a:lnTo>
                    <a:pt x="1" y="27"/>
                  </a:lnTo>
                  <a:lnTo>
                    <a:pt x="2" y="22"/>
                  </a:lnTo>
                  <a:lnTo>
                    <a:pt x="5" y="15"/>
                  </a:lnTo>
                  <a:lnTo>
                    <a:pt x="9" y="11"/>
                  </a:lnTo>
                  <a:lnTo>
                    <a:pt x="14" y="7"/>
                  </a:lnTo>
                  <a:lnTo>
                    <a:pt x="20" y="3"/>
                  </a:lnTo>
                  <a:lnTo>
                    <a:pt x="26" y="1"/>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95">
              <a:extLst>
                <a:ext uri="{FF2B5EF4-FFF2-40B4-BE49-F238E27FC236}">
                  <a16:creationId xmlns:a16="http://schemas.microsoft.com/office/drawing/2014/main" id="{E4420F51-AD4D-4AC2-92AB-3F62D88F7F17}"/>
                </a:ext>
              </a:extLst>
            </p:cNvPr>
            <p:cNvSpPr>
              <a:spLocks/>
            </p:cNvSpPr>
            <p:nvPr/>
          </p:nvSpPr>
          <p:spPr bwMode="auto">
            <a:xfrm>
              <a:off x="757238" y="6015673"/>
              <a:ext cx="185738" cy="19050"/>
            </a:xfrm>
            <a:custGeom>
              <a:avLst/>
              <a:gdLst>
                <a:gd name="T0" fmla="*/ 227 w 234"/>
                <a:gd name="T1" fmla="*/ 23 h 23"/>
                <a:gd name="T2" fmla="*/ 6 w 234"/>
                <a:gd name="T3" fmla="*/ 23 h 23"/>
                <a:gd name="T4" fmla="*/ 6 w 234"/>
                <a:gd name="T5" fmla="*/ 23 h 23"/>
                <a:gd name="T6" fmla="*/ 3 w 234"/>
                <a:gd name="T7" fmla="*/ 21 h 23"/>
                <a:gd name="T8" fmla="*/ 2 w 234"/>
                <a:gd name="T9" fmla="*/ 20 h 23"/>
                <a:gd name="T10" fmla="*/ 0 w 234"/>
                <a:gd name="T11" fmla="*/ 19 h 23"/>
                <a:gd name="T12" fmla="*/ 0 w 234"/>
                <a:gd name="T13" fmla="*/ 16 h 23"/>
                <a:gd name="T14" fmla="*/ 0 w 234"/>
                <a:gd name="T15" fmla="*/ 5 h 23"/>
                <a:gd name="T16" fmla="*/ 0 w 234"/>
                <a:gd name="T17" fmla="*/ 5 h 23"/>
                <a:gd name="T18" fmla="*/ 0 w 234"/>
                <a:gd name="T19" fmla="*/ 3 h 23"/>
                <a:gd name="T20" fmla="*/ 2 w 234"/>
                <a:gd name="T21" fmla="*/ 1 h 23"/>
                <a:gd name="T22" fmla="*/ 3 w 234"/>
                <a:gd name="T23" fmla="*/ 0 h 23"/>
                <a:gd name="T24" fmla="*/ 6 w 234"/>
                <a:gd name="T25" fmla="*/ 0 h 23"/>
                <a:gd name="T26" fmla="*/ 227 w 234"/>
                <a:gd name="T27" fmla="*/ 0 h 23"/>
                <a:gd name="T28" fmla="*/ 227 w 234"/>
                <a:gd name="T29" fmla="*/ 0 h 23"/>
                <a:gd name="T30" fmla="*/ 230 w 234"/>
                <a:gd name="T31" fmla="*/ 0 h 23"/>
                <a:gd name="T32" fmla="*/ 232 w 234"/>
                <a:gd name="T33" fmla="*/ 1 h 23"/>
                <a:gd name="T34" fmla="*/ 233 w 234"/>
                <a:gd name="T35" fmla="*/ 3 h 23"/>
                <a:gd name="T36" fmla="*/ 234 w 234"/>
                <a:gd name="T37" fmla="*/ 5 h 23"/>
                <a:gd name="T38" fmla="*/ 234 w 234"/>
                <a:gd name="T39" fmla="*/ 16 h 23"/>
                <a:gd name="T40" fmla="*/ 234 w 234"/>
                <a:gd name="T41" fmla="*/ 16 h 23"/>
                <a:gd name="T42" fmla="*/ 233 w 234"/>
                <a:gd name="T43" fmla="*/ 19 h 23"/>
                <a:gd name="T44" fmla="*/ 232 w 234"/>
                <a:gd name="T45" fmla="*/ 20 h 23"/>
                <a:gd name="T46" fmla="*/ 230 w 234"/>
                <a:gd name="T47" fmla="*/ 21 h 23"/>
                <a:gd name="T48" fmla="*/ 227 w 234"/>
                <a:gd name="T49" fmla="*/ 23 h 23"/>
                <a:gd name="T50" fmla="*/ 227 w 234"/>
                <a:gd name="T5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4" h="23">
                  <a:moveTo>
                    <a:pt x="227" y="23"/>
                  </a:moveTo>
                  <a:lnTo>
                    <a:pt x="6" y="23"/>
                  </a:lnTo>
                  <a:lnTo>
                    <a:pt x="6" y="23"/>
                  </a:lnTo>
                  <a:lnTo>
                    <a:pt x="3" y="21"/>
                  </a:lnTo>
                  <a:lnTo>
                    <a:pt x="2" y="20"/>
                  </a:lnTo>
                  <a:lnTo>
                    <a:pt x="0" y="19"/>
                  </a:lnTo>
                  <a:lnTo>
                    <a:pt x="0" y="16"/>
                  </a:lnTo>
                  <a:lnTo>
                    <a:pt x="0" y="5"/>
                  </a:lnTo>
                  <a:lnTo>
                    <a:pt x="0" y="5"/>
                  </a:lnTo>
                  <a:lnTo>
                    <a:pt x="0" y="3"/>
                  </a:lnTo>
                  <a:lnTo>
                    <a:pt x="2" y="1"/>
                  </a:lnTo>
                  <a:lnTo>
                    <a:pt x="3" y="0"/>
                  </a:lnTo>
                  <a:lnTo>
                    <a:pt x="6" y="0"/>
                  </a:lnTo>
                  <a:lnTo>
                    <a:pt x="227" y="0"/>
                  </a:lnTo>
                  <a:lnTo>
                    <a:pt x="227" y="0"/>
                  </a:lnTo>
                  <a:lnTo>
                    <a:pt x="230" y="0"/>
                  </a:lnTo>
                  <a:lnTo>
                    <a:pt x="232" y="1"/>
                  </a:lnTo>
                  <a:lnTo>
                    <a:pt x="233" y="3"/>
                  </a:lnTo>
                  <a:lnTo>
                    <a:pt x="234" y="5"/>
                  </a:lnTo>
                  <a:lnTo>
                    <a:pt x="234" y="16"/>
                  </a:lnTo>
                  <a:lnTo>
                    <a:pt x="234" y="16"/>
                  </a:lnTo>
                  <a:lnTo>
                    <a:pt x="233" y="19"/>
                  </a:lnTo>
                  <a:lnTo>
                    <a:pt x="232" y="20"/>
                  </a:lnTo>
                  <a:lnTo>
                    <a:pt x="230" y="21"/>
                  </a:lnTo>
                  <a:lnTo>
                    <a:pt x="227" y="23"/>
                  </a:lnTo>
                  <a:lnTo>
                    <a:pt x="227"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96">
              <a:extLst>
                <a:ext uri="{FF2B5EF4-FFF2-40B4-BE49-F238E27FC236}">
                  <a16:creationId xmlns:a16="http://schemas.microsoft.com/office/drawing/2014/main" id="{37623E54-7762-44B6-B6A2-464AC1F17CE5}"/>
                </a:ext>
              </a:extLst>
            </p:cNvPr>
            <p:cNvSpPr>
              <a:spLocks/>
            </p:cNvSpPr>
            <p:nvPr/>
          </p:nvSpPr>
          <p:spPr bwMode="auto">
            <a:xfrm>
              <a:off x="676276" y="6087110"/>
              <a:ext cx="53975" cy="52388"/>
            </a:xfrm>
            <a:custGeom>
              <a:avLst/>
              <a:gdLst>
                <a:gd name="T0" fmla="*/ 33 w 67"/>
                <a:gd name="T1" fmla="*/ 0 h 67"/>
                <a:gd name="T2" fmla="*/ 33 w 67"/>
                <a:gd name="T3" fmla="*/ 0 h 67"/>
                <a:gd name="T4" fmla="*/ 40 w 67"/>
                <a:gd name="T5" fmla="*/ 1 h 67"/>
                <a:gd name="T6" fmla="*/ 47 w 67"/>
                <a:gd name="T7" fmla="*/ 2 h 67"/>
                <a:gd name="T8" fmla="*/ 52 w 67"/>
                <a:gd name="T9" fmla="*/ 5 h 67"/>
                <a:gd name="T10" fmla="*/ 56 w 67"/>
                <a:gd name="T11" fmla="*/ 10 h 67"/>
                <a:gd name="T12" fmla="*/ 61 w 67"/>
                <a:gd name="T13" fmla="*/ 14 h 67"/>
                <a:gd name="T14" fmla="*/ 64 w 67"/>
                <a:gd name="T15" fmla="*/ 20 h 67"/>
                <a:gd name="T16" fmla="*/ 65 w 67"/>
                <a:gd name="T17" fmla="*/ 27 h 67"/>
                <a:gd name="T18" fmla="*/ 67 w 67"/>
                <a:gd name="T19" fmla="*/ 33 h 67"/>
                <a:gd name="T20" fmla="*/ 67 w 67"/>
                <a:gd name="T21" fmla="*/ 33 h 67"/>
                <a:gd name="T22" fmla="*/ 65 w 67"/>
                <a:gd name="T23" fmla="*/ 40 h 67"/>
                <a:gd name="T24" fmla="*/ 64 w 67"/>
                <a:gd name="T25" fmla="*/ 47 h 67"/>
                <a:gd name="T26" fmla="*/ 61 w 67"/>
                <a:gd name="T27" fmla="*/ 52 h 67"/>
                <a:gd name="T28" fmla="*/ 56 w 67"/>
                <a:gd name="T29" fmla="*/ 57 h 67"/>
                <a:gd name="T30" fmla="*/ 52 w 67"/>
                <a:gd name="T31" fmla="*/ 62 h 67"/>
                <a:gd name="T32" fmla="*/ 47 w 67"/>
                <a:gd name="T33" fmla="*/ 64 h 67"/>
                <a:gd name="T34" fmla="*/ 40 w 67"/>
                <a:gd name="T35" fmla="*/ 66 h 67"/>
                <a:gd name="T36" fmla="*/ 33 w 67"/>
                <a:gd name="T37" fmla="*/ 67 h 67"/>
                <a:gd name="T38" fmla="*/ 33 w 67"/>
                <a:gd name="T39" fmla="*/ 67 h 67"/>
                <a:gd name="T40" fmla="*/ 26 w 67"/>
                <a:gd name="T41" fmla="*/ 66 h 67"/>
                <a:gd name="T42" fmla="*/ 20 w 67"/>
                <a:gd name="T43" fmla="*/ 64 h 67"/>
                <a:gd name="T44" fmla="*/ 14 w 67"/>
                <a:gd name="T45" fmla="*/ 62 h 67"/>
                <a:gd name="T46" fmla="*/ 9 w 67"/>
                <a:gd name="T47" fmla="*/ 57 h 67"/>
                <a:gd name="T48" fmla="*/ 5 w 67"/>
                <a:gd name="T49" fmla="*/ 52 h 67"/>
                <a:gd name="T50" fmla="*/ 2 w 67"/>
                <a:gd name="T51" fmla="*/ 47 h 67"/>
                <a:gd name="T52" fmla="*/ 1 w 67"/>
                <a:gd name="T53" fmla="*/ 40 h 67"/>
                <a:gd name="T54" fmla="*/ 0 w 67"/>
                <a:gd name="T55" fmla="*/ 33 h 67"/>
                <a:gd name="T56" fmla="*/ 0 w 67"/>
                <a:gd name="T57" fmla="*/ 33 h 67"/>
                <a:gd name="T58" fmla="*/ 1 w 67"/>
                <a:gd name="T59" fmla="*/ 27 h 67"/>
                <a:gd name="T60" fmla="*/ 2 w 67"/>
                <a:gd name="T61" fmla="*/ 20 h 67"/>
                <a:gd name="T62" fmla="*/ 5 w 67"/>
                <a:gd name="T63" fmla="*/ 14 h 67"/>
                <a:gd name="T64" fmla="*/ 9 w 67"/>
                <a:gd name="T65" fmla="*/ 10 h 67"/>
                <a:gd name="T66" fmla="*/ 14 w 67"/>
                <a:gd name="T67" fmla="*/ 5 h 67"/>
                <a:gd name="T68" fmla="*/ 20 w 67"/>
                <a:gd name="T69" fmla="*/ 2 h 67"/>
                <a:gd name="T70" fmla="*/ 26 w 67"/>
                <a:gd name="T71" fmla="*/ 1 h 67"/>
                <a:gd name="T72" fmla="*/ 33 w 67"/>
                <a:gd name="T73" fmla="*/ 0 h 67"/>
                <a:gd name="T74" fmla="*/ 33 w 67"/>
                <a:gd name="T75"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67">
                  <a:moveTo>
                    <a:pt x="33" y="0"/>
                  </a:moveTo>
                  <a:lnTo>
                    <a:pt x="33" y="0"/>
                  </a:lnTo>
                  <a:lnTo>
                    <a:pt x="40" y="1"/>
                  </a:lnTo>
                  <a:lnTo>
                    <a:pt x="47" y="2"/>
                  </a:lnTo>
                  <a:lnTo>
                    <a:pt x="52" y="5"/>
                  </a:lnTo>
                  <a:lnTo>
                    <a:pt x="56" y="10"/>
                  </a:lnTo>
                  <a:lnTo>
                    <a:pt x="61" y="14"/>
                  </a:lnTo>
                  <a:lnTo>
                    <a:pt x="64" y="20"/>
                  </a:lnTo>
                  <a:lnTo>
                    <a:pt x="65" y="27"/>
                  </a:lnTo>
                  <a:lnTo>
                    <a:pt x="67" y="33"/>
                  </a:lnTo>
                  <a:lnTo>
                    <a:pt x="67" y="33"/>
                  </a:lnTo>
                  <a:lnTo>
                    <a:pt x="65" y="40"/>
                  </a:lnTo>
                  <a:lnTo>
                    <a:pt x="64" y="47"/>
                  </a:lnTo>
                  <a:lnTo>
                    <a:pt x="61" y="52"/>
                  </a:lnTo>
                  <a:lnTo>
                    <a:pt x="56" y="57"/>
                  </a:lnTo>
                  <a:lnTo>
                    <a:pt x="52" y="62"/>
                  </a:lnTo>
                  <a:lnTo>
                    <a:pt x="47" y="64"/>
                  </a:lnTo>
                  <a:lnTo>
                    <a:pt x="40" y="66"/>
                  </a:lnTo>
                  <a:lnTo>
                    <a:pt x="33" y="67"/>
                  </a:lnTo>
                  <a:lnTo>
                    <a:pt x="33" y="67"/>
                  </a:lnTo>
                  <a:lnTo>
                    <a:pt x="26" y="66"/>
                  </a:lnTo>
                  <a:lnTo>
                    <a:pt x="20" y="64"/>
                  </a:lnTo>
                  <a:lnTo>
                    <a:pt x="14" y="62"/>
                  </a:lnTo>
                  <a:lnTo>
                    <a:pt x="9" y="57"/>
                  </a:lnTo>
                  <a:lnTo>
                    <a:pt x="5" y="52"/>
                  </a:lnTo>
                  <a:lnTo>
                    <a:pt x="2" y="47"/>
                  </a:lnTo>
                  <a:lnTo>
                    <a:pt x="1" y="40"/>
                  </a:lnTo>
                  <a:lnTo>
                    <a:pt x="0" y="33"/>
                  </a:lnTo>
                  <a:lnTo>
                    <a:pt x="0" y="33"/>
                  </a:lnTo>
                  <a:lnTo>
                    <a:pt x="1" y="27"/>
                  </a:lnTo>
                  <a:lnTo>
                    <a:pt x="2" y="20"/>
                  </a:lnTo>
                  <a:lnTo>
                    <a:pt x="5" y="14"/>
                  </a:lnTo>
                  <a:lnTo>
                    <a:pt x="9" y="10"/>
                  </a:lnTo>
                  <a:lnTo>
                    <a:pt x="14" y="5"/>
                  </a:lnTo>
                  <a:lnTo>
                    <a:pt x="20" y="2"/>
                  </a:lnTo>
                  <a:lnTo>
                    <a:pt x="26" y="1"/>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0" name="Freeform 297">
              <a:extLst>
                <a:ext uri="{FF2B5EF4-FFF2-40B4-BE49-F238E27FC236}">
                  <a16:creationId xmlns:a16="http://schemas.microsoft.com/office/drawing/2014/main" id="{63DB3112-A103-4183-AE46-9BA68EA93484}"/>
                </a:ext>
              </a:extLst>
            </p:cNvPr>
            <p:cNvSpPr>
              <a:spLocks/>
            </p:cNvSpPr>
            <p:nvPr/>
          </p:nvSpPr>
          <p:spPr bwMode="auto">
            <a:xfrm>
              <a:off x="757238" y="6104573"/>
              <a:ext cx="185738" cy="17463"/>
            </a:xfrm>
            <a:custGeom>
              <a:avLst/>
              <a:gdLst>
                <a:gd name="T0" fmla="*/ 227 w 234"/>
                <a:gd name="T1" fmla="*/ 21 h 21"/>
                <a:gd name="T2" fmla="*/ 6 w 234"/>
                <a:gd name="T3" fmla="*/ 21 h 21"/>
                <a:gd name="T4" fmla="*/ 6 w 234"/>
                <a:gd name="T5" fmla="*/ 21 h 21"/>
                <a:gd name="T6" fmla="*/ 3 w 234"/>
                <a:gd name="T7" fmla="*/ 21 h 21"/>
                <a:gd name="T8" fmla="*/ 2 w 234"/>
                <a:gd name="T9" fmla="*/ 20 h 21"/>
                <a:gd name="T10" fmla="*/ 0 w 234"/>
                <a:gd name="T11" fmla="*/ 18 h 21"/>
                <a:gd name="T12" fmla="*/ 0 w 234"/>
                <a:gd name="T13" fmla="*/ 16 h 21"/>
                <a:gd name="T14" fmla="*/ 0 w 234"/>
                <a:gd name="T15" fmla="*/ 5 h 21"/>
                <a:gd name="T16" fmla="*/ 0 w 234"/>
                <a:gd name="T17" fmla="*/ 5 h 21"/>
                <a:gd name="T18" fmla="*/ 0 w 234"/>
                <a:gd name="T19" fmla="*/ 2 h 21"/>
                <a:gd name="T20" fmla="*/ 2 w 234"/>
                <a:gd name="T21" fmla="*/ 1 h 21"/>
                <a:gd name="T22" fmla="*/ 3 w 234"/>
                <a:gd name="T23" fmla="*/ 0 h 21"/>
                <a:gd name="T24" fmla="*/ 6 w 234"/>
                <a:gd name="T25" fmla="*/ 0 h 21"/>
                <a:gd name="T26" fmla="*/ 227 w 234"/>
                <a:gd name="T27" fmla="*/ 0 h 21"/>
                <a:gd name="T28" fmla="*/ 227 w 234"/>
                <a:gd name="T29" fmla="*/ 0 h 21"/>
                <a:gd name="T30" fmla="*/ 230 w 234"/>
                <a:gd name="T31" fmla="*/ 0 h 21"/>
                <a:gd name="T32" fmla="*/ 232 w 234"/>
                <a:gd name="T33" fmla="*/ 1 h 21"/>
                <a:gd name="T34" fmla="*/ 233 w 234"/>
                <a:gd name="T35" fmla="*/ 2 h 21"/>
                <a:gd name="T36" fmla="*/ 234 w 234"/>
                <a:gd name="T37" fmla="*/ 5 h 21"/>
                <a:gd name="T38" fmla="*/ 234 w 234"/>
                <a:gd name="T39" fmla="*/ 16 h 21"/>
                <a:gd name="T40" fmla="*/ 234 w 234"/>
                <a:gd name="T41" fmla="*/ 16 h 21"/>
                <a:gd name="T42" fmla="*/ 233 w 234"/>
                <a:gd name="T43" fmla="*/ 18 h 21"/>
                <a:gd name="T44" fmla="*/ 232 w 234"/>
                <a:gd name="T45" fmla="*/ 20 h 21"/>
                <a:gd name="T46" fmla="*/ 230 w 234"/>
                <a:gd name="T47" fmla="*/ 21 h 21"/>
                <a:gd name="T48" fmla="*/ 227 w 234"/>
                <a:gd name="T49" fmla="*/ 21 h 21"/>
                <a:gd name="T50" fmla="*/ 227 w 234"/>
                <a:gd name="T51"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4" h="21">
                  <a:moveTo>
                    <a:pt x="227" y="21"/>
                  </a:moveTo>
                  <a:lnTo>
                    <a:pt x="6" y="21"/>
                  </a:lnTo>
                  <a:lnTo>
                    <a:pt x="6" y="21"/>
                  </a:lnTo>
                  <a:lnTo>
                    <a:pt x="3" y="21"/>
                  </a:lnTo>
                  <a:lnTo>
                    <a:pt x="2" y="20"/>
                  </a:lnTo>
                  <a:lnTo>
                    <a:pt x="0" y="18"/>
                  </a:lnTo>
                  <a:lnTo>
                    <a:pt x="0" y="16"/>
                  </a:lnTo>
                  <a:lnTo>
                    <a:pt x="0" y="5"/>
                  </a:lnTo>
                  <a:lnTo>
                    <a:pt x="0" y="5"/>
                  </a:lnTo>
                  <a:lnTo>
                    <a:pt x="0" y="2"/>
                  </a:lnTo>
                  <a:lnTo>
                    <a:pt x="2" y="1"/>
                  </a:lnTo>
                  <a:lnTo>
                    <a:pt x="3" y="0"/>
                  </a:lnTo>
                  <a:lnTo>
                    <a:pt x="6" y="0"/>
                  </a:lnTo>
                  <a:lnTo>
                    <a:pt x="227" y="0"/>
                  </a:lnTo>
                  <a:lnTo>
                    <a:pt x="227" y="0"/>
                  </a:lnTo>
                  <a:lnTo>
                    <a:pt x="230" y="0"/>
                  </a:lnTo>
                  <a:lnTo>
                    <a:pt x="232" y="1"/>
                  </a:lnTo>
                  <a:lnTo>
                    <a:pt x="233" y="2"/>
                  </a:lnTo>
                  <a:lnTo>
                    <a:pt x="234" y="5"/>
                  </a:lnTo>
                  <a:lnTo>
                    <a:pt x="234" y="16"/>
                  </a:lnTo>
                  <a:lnTo>
                    <a:pt x="234" y="16"/>
                  </a:lnTo>
                  <a:lnTo>
                    <a:pt x="233" y="18"/>
                  </a:lnTo>
                  <a:lnTo>
                    <a:pt x="232" y="20"/>
                  </a:lnTo>
                  <a:lnTo>
                    <a:pt x="230" y="21"/>
                  </a:lnTo>
                  <a:lnTo>
                    <a:pt x="227" y="21"/>
                  </a:lnTo>
                  <a:lnTo>
                    <a:pt x="227"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98">
              <a:extLst>
                <a:ext uri="{FF2B5EF4-FFF2-40B4-BE49-F238E27FC236}">
                  <a16:creationId xmlns:a16="http://schemas.microsoft.com/office/drawing/2014/main" id="{12EFC1DF-CC5B-43DA-BFDE-E594D4F22846}"/>
                </a:ext>
              </a:extLst>
            </p:cNvPr>
            <p:cNvSpPr>
              <a:spLocks/>
            </p:cNvSpPr>
            <p:nvPr/>
          </p:nvSpPr>
          <p:spPr bwMode="auto">
            <a:xfrm>
              <a:off x="676276" y="6176010"/>
              <a:ext cx="53975" cy="52388"/>
            </a:xfrm>
            <a:custGeom>
              <a:avLst/>
              <a:gdLst>
                <a:gd name="T0" fmla="*/ 33 w 67"/>
                <a:gd name="T1" fmla="*/ 0 h 67"/>
                <a:gd name="T2" fmla="*/ 33 w 67"/>
                <a:gd name="T3" fmla="*/ 0 h 67"/>
                <a:gd name="T4" fmla="*/ 40 w 67"/>
                <a:gd name="T5" fmla="*/ 2 h 67"/>
                <a:gd name="T6" fmla="*/ 47 w 67"/>
                <a:gd name="T7" fmla="*/ 3 h 67"/>
                <a:gd name="T8" fmla="*/ 52 w 67"/>
                <a:gd name="T9" fmla="*/ 6 h 67"/>
                <a:gd name="T10" fmla="*/ 56 w 67"/>
                <a:gd name="T11" fmla="*/ 10 h 67"/>
                <a:gd name="T12" fmla="*/ 61 w 67"/>
                <a:gd name="T13" fmla="*/ 15 h 67"/>
                <a:gd name="T14" fmla="*/ 64 w 67"/>
                <a:gd name="T15" fmla="*/ 20 h 67"/>
                <a:gd name="T16" fmla="*/ 65 w 67"/>
                <a:gd name="T17" fmla="*/ 27 h 67"/>
                <a:gd name="T18" fmla="*/ 67 w 67"/>
                <a:gd name="T19" fmla="*/ 34 h 67"/>
                <a:gd name="T20" fmla="*/ 67 w 67"/>
                <a:gd name="T21" fmla="*/ 34 h 67"/>
                <a:gd name="T22" fmla="*/ 65 w 67"/>
                <a:gd name="T23" fmla="*/ 41 h 67"/>
                <a:gd name="T24" fmla="*/ 64 w 67"/>
                <a:gd name="T25" fmla="*/ 47 h 67"/>
                <a:gd name="T26" fmla="*/ 61 w 67"/>
                <a:gd name="T27" fmla="*/ 53 h 67"/>
                <a:gd name="T28" fmla="*/ 56 w 67"/>
                <a:gd name="T29" fmla="*/ 57 h 67"/>
                <a:gd name="T30" fmla="*/ 52 w 67"/>
                <a:gd name="T31" fmla="*/ 62 h 67"/>
                <a:gd name="T32" fmla="*/ 47 w 67"/>
                <a:gd name="T33" fmla="*/ 65 h 67"/>
                <a:gd name="T34" fmla="*/ 40 w 67"/>
                <a:gd name="T35" fmla="*/ 66 h 67"/>
                <a:gd name="T36" fmla="*/ 33 w 67"/>
                <a:gd name="T37" fmla="*/ 67 h 67"/>
                <a:gd name="T38" fmla="*/ 33 w 67"/>
                <a:gd name="T39" fmla="*/ 67 h 67"/>
                <a:gd name="T40" fmla="*/ 26 w 67"/>
                <a:gd name="T41" fmla="*/ 66 h 67"/>
                <a:gd name="T42" fmla="*/ 20 w 67"/>
                <a:gd name="T43" fmla="*/ 65 h 67"/>
                <a:gd name="T44" fmla="*/ 14 w 67"/>
                <a:gd name="T45" fmla="*/ 62 h 67"/>
                <a:gd name="T46" fmla="*/ 9 w 67"/>
                <a:gd name="T47" fmla="*/ 57 h 67"/>
                <a:gd name="T48" fmla="*/ 5 w 67"/>
                <a:gd name="T49" fmla="*/ 53 h 67"/>
                <a:gd name="T50" fmla="*/ 2 w 67"/>
                <a:gd name="T51" fmla="*/ 47 h 67"/>
                <a:gd name="T52" fmla="*/ 1 w 67"/>
                <a:gd name="T53" fmla="*/ 41 h 67"/>
                <a:gd name="T54" fmla="*/ 0 w 67"/>
                <a:gd name="T55" fmla="*/ 34 h 67"/>
                <a:gd name="T56" fmla="*/ 0 w 67"/>
                <a:gd name="T57" fmla="*/ 34 h 67"/>
                <a:gd name="T58" fmla="*/ 1 w 67"/>
                <a:gd name="T59" fmla="*/ 27 h 67"/>
                <a:gd name="T60" fmla="*/ 2 w 67"/>
                <a:gd name="T61" fmla="*/ 20 h 67"/>
                <a:gd name="T62" fmla="*/ 5 w 67"/>
                <a:gd name="T63" fmla="*/ 15 h 67"/>
                <a:gd name="T64" fmla="*/ 9 w 67"/>
                <a:gd name="T65" fmla="*/ 10 h 67"/>
                <a:gd name="T66" fmla="*/ 14 w 67"/>
                <a:gd name="T67" fmla="*/ 6 h 67"/>
                <a:gd name="T68" fmla="*/ 20 w 67"/>
                <a:gd name="T69" fmla="*/ 3 h 67"/>
                <a:gd name="T70" fmla="*/ 26 w 67"/>
                <a:gd name="T71" fmla="*/ 2 h 67"/>
                <a:gd name="T72" fmla="*/ 33 w 67"/>
                <a:gd name="T73" fmla="*/ 0 h 67"/>
                <a:gd name="T74" fmla="*/ 33 w 67"/>
                <a:gd name="T75"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67">
                  <a:moveTo>
                    <a:pt x="33" y="0"/>
                  </a:moveTo>
                  <a:lnTo>
                    <a:pt x="33" y="0"/>
                  </a:lnTo>
                  <a:lnTo>
                    <a:pt x="40" y="2"/>
                  </a:lnTo>
                  <a:lnTo>
                    <a:pt x="47" y="3"/>
                  </a:lnTo>
                  <a:lnTo>
                    <a:pt x="52" y="6"/>
                  </a:lnTo>
                  <a:lnTo>
                    <a:pt x="56" y="10"/>
                  </a:lnTo>
                  <a:lnTo>
                    <a:pt x="61" y="15"/>
                  </a:lnTo>
                  <a:lnTo>
                    <a:pt x="64" y="20"/>
                  </a:lnTo>
                  <a:lnTo>
                    <a:pt x="65" y="27"/>
                  </a:lnTo>
                  <a:lnTo>
                    <a:pt x="67" y="34"/>
                  </a:lnTo>
                  <a:lnTo>
                    <a:pt x="67" y="34"/>
                  </a:lnTo>
                  <a:lnTo>
                    <a:pt x="65" y="41"/>
                  </a:lnTo>
                  <a:lnTo>
                    <a:pt x="64" y="47"/>
                  </a:lnTo>
                  <a:lnTo>
                    <a:pt x="61" y="53"/>
                  </a:lnTo>
                  <a:lnTo>
                    <a:pt x="56" y="57"/>
                  </a:lnTo>
                  <a:lnTo>
                    <a:pt x="52" y="62"/>
                  </a:lnTo>
                  <a:lnTo>
                    <a:pt x="47" y="65"/>
                  </a:lnTo>
                  <a:lnTo>
                    <a:pt x="40" y="66"/>
                  </a:lnTo>
                  <a:lnTo>
                    <a:pt x="33" y="67"/>
                  </a:lnTo>
                  <a:lnTo>
                    <a:pt x="33" y="67"/>
                  </a:lnTo>
                  <a:lnTo>
                    <a:pt x="26" y="66"/>
                  </a:lnTo>
                  <a:lnTo>
                    <a:pt x="20" y="65"/>
                  </a:lnTo>
                  <a:lnTo>
                    <a:pt x="14" y="62"/>
                  </a:lnTo>
                  <a:lnTo>
                    <a:pt x="9" y="57"/>
                  </a:lnTo>
                  <a:lnTo>
                    <a:pt x="5" y="53"/>
                  </a:lnTo>
                  <a:lnTo>
                    <a:pt x="2" y="47"/>
                  </a:lnTo>
                  <a:lnTo>
                    <a:pt x="1" y="41"/>
                  </a:lnTo>
                  <a:lnTo>
                    <a:pt x="0" y="34"/>
                  </a:lnTo>
                  <a:lnTo>
                    <a:pt x="0" y="34"/>
                  </a:lnTo>
                  <a:lnTo>
                    <a:pt x="1" y="27"/>
                  </a:lnTo>
                  <a:lnTo>
                    <a:pt x="2" y="20"/>
                  </a:lnTo>
                  <a:lnTo>
                    <a:pt x="5" y="15"/>
                  </a:lnTo>
                  <a:lnTo>
                    <a:pt x="9" y="10"/>
                  </a:lnTo>
                  <a:lnTo>
                    <a:pt x="14" y="6"/>
                  </a:lnTo>
                  <a:lnTo>
                    <a:pt x="20" y="3"/>
                  </a:lnTo>
                  <a:lnTo>
                    <a:pt x="26" y="2"/>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99">
              <a:extLst>
                <a:ext uri="{FF2B5EF4-FFF2-40B4-BE49-F238E27FC236}">
                  <a16:creationId xmlns:a16="http://schemas.microsoft.com/office/drawing/2014/main" id="{23F37F9A-4802-43A9-92E3-88C9AE845BBD}"/>
                </a:ext>
              </a:extLst>
            </p:cNvPr>
            <p:cNvSpPr>
              <a:spLocks/>
            </p:cNvSpPr>
            <p:nvPr/>
          </p:nvSpPr>
          <p:spPr bwMode="auto">
            <a:xfrm>
              <a:off x="757238" y="6193473"/>
              <a:ext cx="185738" cy="17463"/>
            </a:xfrm>
            <a:custGeom>
              <a:avLst/>
              <a:gdLst>
                <a:gd name="T0" fmla="*/ 227 w 234"/>
                <a:gd name="T1" fmla="*/ 22 h 22"/>
                <a:gd name="T2" fmla="*/ 6 w 234"/>
                <a:gd name="T3" fmla="*/ 22 h 22"/>
                <a:gd name="T4" fmla="*/ 6 w 234"/>
                <a:gd name="T5" fmla="*/ 22 h 22"/>
                <a:gd name="T6" fmla="*/ 3 w 234"/>
                <a:gd name="T7" fmla="*/ 22 h 22"/>
                <a:gd name="T8" fmla="*/ 2 w 234"/>
                <a:gd name="T9" fmla="*/ 20 h 22"/>
                <a:gd name="T10" fmla="*/ 0 w 234"/>
                <a:gd name="T11" fmla="*/ 19 h 22"/>
                <a:gd name="T12" fmla="*/ 0 w 234"/>
                <a:gd name="T13" fmla="*/ 16 h 22"/>
                <a:gd name="T14" fmla="*/ 0 w 234"/>
                <a:gd name="T15" fmla="*/ 5 h 22"/>
                <a:gd name="T16" fmla="*/ 0 w 234"/>
                <a:gd name="T17" fmla="*/ 5 h 22"/>
                <a:gd name="T18" fmla="*/ 0 w 234"/>
                <a:gd name="T19" fmla="*/ 3 h 22"/>
                <a:gd name="T20" fmla="*/ 2 w 234"/>
                <a:gd name="T21" fmla="*/ 1 h 22"/>
                <a:gd name="T22" fmla="*/ 3 w 234"/>
                <a:gd name="T23" fmla="*/ 0 h 22"/>
                <a:gd name="T24" fmla="*/ 6 w 234"/>
                <a:gd name="T25" fmla="*/ 0 h 22"/>
                <a:gd name="T26" fmla="*/ 227 w 234"/>
                <a:gd name="T27" fmla="*/ 0 h 22"/>
                <a:gd name="T28" fmla="*/ 227 w 234"/>
                <a:gd name="T29" fmla="*/ 0 h 22"/>
                <a:gd name="T30" fmla="*/ 230 w 234"/>
                <a:gd name="T31" fmla="*/ 0 h 22"/>
                <a:gd name="T32" fmla="*/ 232 w 234"/>
                <a:gd name="T33" fmla="*/ 1 h 22"/>
                <a:gd name="T34" fmla="*/ 233 w 234"/>
                <a:gd name="T35" fmla="*/ 3 h 22"/>
                <a:gd name="T36" fmla="*/ 234 w 234"/>
                <a:gd name="T37" fmla="*/ 5 h 22"/>
                <a:gd name="T38" fmla="*/ 234 w 234"/>
                <a:gd name="T39" fmla="*/ 16 h 22"/>
                <a:gd name="T40" fmla="*/ 234 w 234"/>
                <a:gd name="T41" fmla="*/ 16 h 22"/>
                <a:gd name="T42" fmla="*/ 233 w 234"/>
                <a:gd name="T43" fmla="*/ 19 h 22"/>
                <a:gd name="T44" fmla="*/ 232 w 234"/>
                <a:gd name="T45" fmla="*/ 20 h 22"/>
                <a:gd name="T46" fmla="*/ 230 w 234"/>
                <a:gd name="T47" fmla="*/ 22 h 22"/>
                <a:gd name="T48" fmla="*/ 227 w 234"/>
                <a:gd name="T49" fmla="*/ 22 h 22"/>
                <a:gd name="T50" fmla="*/ 227 w 234"/>
                <a:gd name="T5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4" h="22">
                  <a:moveTo>
                    <a:pt x="227" y="22"/>
                  </a:moveTo>
                  <a:lnTo>
                    <a:pt x="6" y="22"/>
                  </a:lnTo>
                  <a:lnTo>
                    <a:pt x="6" y="22"/>
                  </a:lnTo>
                  <a:lnTo>
                    <a:pt x="3" y="22"/>
                  </a:lnTo>
                  <a:lnTo>
                    <a:pt x="2" y="20"/>
                  </a:lnTo>
                  <a:lnTo>
                    <a:pt x="0" y="19"/>
                  </a:lnTo>
                  <a:lnTo>
                    <a:pt x="0" y="16"/>
                  </a:lnTo>
                  <a:lnTo>
                    <a:pt x="0" y="5"/>
                  </a:lnTo>
                  <a:lnTo>
                    <a:pt x="0" y="5"/>
                  </a:lnTo>
                  <a:lnTo>
                    <a:pt x="0" y="3"/>
                  </a:lnTo>
                  <a:lnTo>
                    <a:pt x="2" y="1"/>
                  </a:lnTo>
                  <a:lnTo>
                    <a:pt x="3" y="0"/>
                  </a:lnTo>
                  <a:lnTo>
                    <a:pt x="6" y="0"/>
                  </a:lnTo>
                  <a:lnTo>
                    <a:pt x="227" y="0"/>
                  </a:lnTo>
                  <a:lnTo>
                    <a:pt x="227" y="0"/>
                  </a:lnTo>
                  <a:lnTo>
                    <a:pt x="230" y="0"/>
                  </a:lnTo>
                  <a:lnTo>
                    <a:pt x="232" y="1"/>
                  </a:lnTo>
                  <a:lnTo>
                    <a:pt x="233" y="3"/>
                  </a:lnTo>
                  <a:lnTo>
                    <a:pt x="234" y="5"/>
                  </a:lnTo>
                  <a:lnTo>
                    <a:pt x="234" y="16"/>
                  </a:lnTo>
                  <a:lnTo>
                    <a:pt x="234" y="16"/>
                  </a:lnTo>
                  <a:lnTo>
                    <a:pt x="233" y="19"/>
                  </a:lnTo>
                  <a:lnTo>
                    <a:pt x="232" y="20"/>
                  </a:lnTo>
                  <a:lnTo>
                    <a:pt x="230" y="22"/>
                  </a:lnTo>
                  <a:lnTo>
                    <a:pt x="227" y="22"/>
                  </a:lnTo>
                  <a:lnTo>
                    <a:pt x="227"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33" name="Freeform 905">
            <a:extLst>
              <a:ext uri="{FF2B5EF4-FFF2-40B4-BE49-F238E27FC236}">
                <a16:creationId xmlns:a16="http://schemas.microsoft.com/office/drawing/2014/main" id="{07DE910A-F111-4756-AC6F-7D21B7974F0A}"/>
              </a:ext>
            </a:extLst>
          </p:cNvPr>
          <p:cNvSpPr>
            <a:spLocks noEditPoints="1"/>
          </p:cNvSpPr>
          <p:nvPr/>
        </p:nvSpPr>
        <p:spPr bwMode="auto">
          <a:xfrm>
            <a:off x="1475126" y="4512207"/>
            <a:ext cx="493776" cy="504612"/>
          </a:xfrm>
          <a:prstGeom prst="ellipse">
            <a:avLst/>
          </a:pr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34" name="Group 33">
            <a:extLst>
              <a:ext uri="{FF2B5EF4-FFF2-40B4-BE49-F238E27FC236}">
                <a16:creationId xmlns:a16="http://schemas.microsoft.com/office/drawing/2014/main" id="{7AF09ACD-5786-4033-9963-9023700CC85F}"/>
              </a:ext>
            </a:extLst>
          </p:cNvPr>
          <p:cNvGrpSpPr>
            <a:grpSpLocks noChangeAspect="1"/>
          </p:cNvGrpSpPr>
          <p:nvPr/>
        </p:nvGrpSpPr>
        <p:grpSpPr>
          <a:xfrm>
            <a:off x="1477557" y="4485114"/>
            <a:ext cx="520700" cy="522288"/>
            <a:chOff x="6721476" y="4181475"/>
            <a:chExt cx="520700" cy="522288"/>
          </a:xfrm>
        </p:grpSpPr>
        <p:sp>
          <p:nvSpPr>
            <p:cNvPr id="35" name="Freeform 70">
              <a:extLst>
                <a:ext uri="{FF2B5EF4-FFF2-40B4-BE49-F238E27FC236}">
                  <a16:creationId xmlns:a16="http://schemas.microsoft.com/office/drawing/2014/main" id="{BB54EF80-5DB4-4FD1-AB22-9141E70FEFBC}"/>
                </a:ext>
              </a:extLst>
            </p:cNvPr>
            <p:cNvSpPr>
              <a:spLocks noEditPoints="1"/>
            </p:cNvSpPr>
            <p:nvPr/>
          </p:nvSpPr>
          <p:spPr bwMode="auto">
            <a:xfrm>
              <a:off x="6721476" y="4181475"/>
              <a:ext cx="520700" cy="522288"/>
            </a:xfrm>
            <a:custGeom>
              <a:avLst/>
              <a:gdLst>
                <a:gd name="T0" fmla="*/ 312 w 657"/>
                <a:gd name="T1" fmla="*/ 657 h 657"/>
                <a:gd name="T2" fmla="*/ 262 w 657"/>
                <a:gd name="T3" fmla="*/ 650 h 657"/>
                <a:gd name="T4" fmla="*/ 200 w 657"/>
                <a:gd name="T5" fmla="*/ 631 h 657"/>
                <a:gd name="T6" fmla="*/ 120 w 657"/>
                <a:gd name="T7" fmla="*/ 581 h 657"/>
                <a:gd name="T8" fmla="*/ 55 w 657"/>
                <a:gd name="T9" fmla="*/ 512 h 657"/>
                <a:gd name="T10" fmla="*/ 15 w 657"/>
                <a:gd name="T11" fmla="*/ 426 h 657"/>
                <a:gd name="T12" fmla="*/ 3 w 657"/>
                <a:gd name="T13" fmla="*/ 379 h 657"/>
                <a:gd name="T14" fmla="*/ 0 w 657"/>
                <a:gd name="T15" fmla="*/ 328 h 657"/>
                <a:gd name="T16" fmla="*/ 2 w 657"/>
                <a:gd name="T17" fmla="*/ 294 h 657"/>
                <a:gd name="T18" fmla="*/ 10 w 657"/>
                <a:gd name="T19" fmla="*/ 246 h 657"/>
                <a:gd name="T20" fmla="*/ 39 w 657"/>
                <a:gd name="T21" fmla="*/ 172 h 657"/>
                <a:gd name="T22" fmla="*/ 95 w 657"/>
                <a:gd name="T23" fmla="*/ 95 h 657"/>
                <a:gd name="T24" fmla="*/ 172 w 657"/>
                <a:gd name="T25" fmla="*/ 39 h 657"/>
                <a:gd name="T26" fmla="*/ 246 w 657"/>
                <a:gd name="T27" fmla="*/ 9 h 657"/>
                <a:gd name="T28" fmla="*/ 294 w 657"/>
                <a:gd name="T29" fmla="*/ 1 h 657"/>
                <a:gd name="T30" fmla="*/ 328 w 657"/>
                <a:gd name="T31" fmla="*/ 0 h 657"/>
                <a:gd name="T32" fmla="*/ 379 w 657"/>
                <a:gd name="T33" fmla="*/ 3 h 657"/>
                <a:gd name="T34" fmla="*/ 426 w 657"/>
                <a:gd name="T35" fmla="*/ 15 h 657"/>
                <a:gd name="T36" fmla="*/ 512 w 657"/>
                <a:gd name="T37" fmla="*/ 55 h 657"/>
                <a:gd name="T38" fmla="*/ 582 w 657"/>
                <a:gd name="T39" fmla="*/ 120 h 657"/>
                <a:gd name="T40" fmla="*/ 631 w 657"/>
                <a:gd name="T41" fmla="*/ 200 h 657"/>
                <a:gd name="T42" fmla="*/ 650 w 657"/>
                <a:gd name="T43" fmla="*/ 262 h 657"/>
                <a:gd name="T44" fmla="*/ 657 w 657"/>
                <a:gd name="T45" fmla="*/ 312 h 657"/>
                <a:gd name="T46" fmla="*/ 657 w 657"/>
                <a:gd name="T47" fmla="*/ 345 h 657"/>
                <a:gd name="T48" fmla="*/ 650 w 657"/>
                <a:gd name="T49" fmla="*/ 395 h 657"/>
                <a:gd name="T50" fmla="*/ 631 w 657"/>
                <a:gd name="T51" fmla="*/ 455 h 657"/>
                <a:gd name="T52" fmla="*/ 582 w 657"/>
                <a:gd name="T53" fmla="*/ 537 h 657"/>
                <a:gd name="T54" fmla="*/ 512 w 657"/>
                <a:gd name="T55" fmla="*/ 600 h 657"/>
                <a:gd name="T56" fmla="*/ 426 w 657"/>
                <a:gd name="T57" fmla="*/ 642 h 657"/>
                <a:gd name="T58" fmla="*/ 379 w 657"/>
                <a:gd name="T59" fmla="*/ 653 h 657"/>
                <a:gd name="T60" fmla="*/ 328 w 657"/>
                <a:gd name="T61" fmla="*/ 657 h 657"/>
                <a:gd name="T62" fmla="*/ 328 w 657"/>
                <a:gd name="T63" fmla="*/ 38 h 657"/>
                <a:gd name="T64" fmla="*/ 242 w 657"/>
                <a:gd name="T65" fmla="*/ 50 h 657"/>
                <a:gd name="T66" fmla="*/ 165 w 657"/>
                <a:gd name="T67" fmla="*/ 87 h 657"/>
                <a:gd name="T68" fmla="*/ 104 w 657"/>
                <a:gd name="T69" fmla="*/ 144 h 657"/>
                <a:gd name="T70" fmla="*/ 61 w 657"/>
                <a:gd name="T71" fmla="*/ 215 h 657"/>
                <a:gd name="T72" fmla="*/ 39 w 657"/>
                <a:gd name="T73" fmla="*/ 298 h 657"/>
                <a:gd name="T74" fmla="*/ 39 w 657"/>
                <a:gd name="T75" fmla="*/ 357 h 657"/>
                <a:gd name="T76" fmla="*/ 61 w 657"/>
                <a:gd name="T77" fmla="*/ 442 h 657"/>
                <a:gd name="T78" fmla="*/ 104 w 657"/>
                <a:gd name="T79" fmla="*/ 513 h 657"/>
                <a:gd name="T80" fmla="*/ 165 w 657"/>
                <a:gd name="T81" fmla="*/ 569 h 657"/>
                <a:gd name="T82" fmla="*/ 242 w 657"/>
                <a:gd name="T83" fmla="*/ 606 h 657"/>
                <a:gd name="T84" fmla="*/ 328 w 657"/>
                <a:gd name="T85" fmla="*/ 619 h 657"/>
                <a:gd name="T86" fmla="*/ 387 w 657"/>
                <a:gd name="T87" fmla="*/ 614 h 657"/>
                <a:gd name="T88" fmla="*/ 467 w 657"/>
                <a:gd name="T89" fmla="*/ 584 h 657"/>
                <a:gd name="T90" fmla="*/ 535 w 657"/>
                <a:gd name="T91" fmla="*/ 534 h 657"/>
                <a:gd name="T92" fmla="*/ 584 w 657"/>
                <a:gd name="T93" fmla="*/ 467 h 657"/>
                <a:gd name="T94" fmla="*/ 614 w 657"/>
                <a:gd name="T95" fmla="*/ 387 h 657"/>
                <a:gd name="T96" fmla="*/ 619 w 657"/>
                <a:gd name="T97" fmla="*/ 328 h 657"/>
                <a:gd name="T98" fmla="*/ 606 w 657"/>
                <a:gd name="T99" fmla="*/ 242 h 657"/>
                <a:gd name="T100" fmla="*/ 569 w 657"/>
                <a:gd name="T101" fmla="*/ 165 h 657"/>
                <a:gd name="T102" fmla="*/ 513 w 657"/>
                <a:gd name="T103" fmla="*/ 103 h 657"/>
                <a:gd name="T104" fmla="*/ 442 w 657"/>
                <a:gd name="T105" fmla="*/ 60 h 657"/>
                <a:gd name="T106" fmla="*/ 357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4" y="655"/>
                  </a:lnTo>
                  <a:lnTo>
                    <a:pt x="278" y="653"/>
                  </a:lnTo>
                  <a:lnTo>
                    <a:pt x="262" y="650"/>
                  </a:lnTo>
                  <a:lnTo>
                    <a:pt x="246" y="646"/>
                  </a:lnTo>
                  <a:lnTo>
                    <a:pt x="231" y="642"/>
                  </a:lnTo>
                  <a:lnTo>
                    <a:pt x="200" y="631"/>
                  </a:lnTo>
                  <a:lnTo>
                    <a:pt x="172" y="616"/>
                  </a:lnTo>
                  <a:lnTo>
                    <a:pt x="145" y="600"/>
                  </a:lnTo>
                  <a:lnTo>
                    <a:pt x="120" y="581"/>
                  </a:lnTo>
                  <a:lnTo>
                    <a:pt x="95" y="560"/>
                  </a:lnTo>
                  <a:lnTo>
                    <a:pt x="75" y="537"/>
                  </a:lnTo>
                  <a:lnTo>
                    <a:pt x="55" y="512"/>
                  </a:lnTo>
                  <a:lnTo>
                    <a:pt x="39" y="485"/>
                  </a:lnTo>
                  <a:lnTo>
                    <a:pt x="26" y="455"/>
                  </a:lnTo>
                  <a:lnTo>
                    <a:pt x="15" y="426"/>
                  </a:lnTo>
                  <a:lnTo>
                    <a:pt x="10" y="410"/>
                  </a:lnTo>
                  <a:lnTo>
                    <a:pt x="7" y="395"/>
                  </a:lnTo>
                  <a:lnTo>
                    <a:pt x="3" y="379"/>
                  </a:lnTo>
                  <a:lnTo>
                    <a:pt x="2" y="361"/>
                  </a:lnTo>
                  <a:lnTo>
                    <a:pt x="0" y="345"/>
                  </a:lnTo>
                  <a:lnTo>
                    <a:pt x="0" y="328"/>
                  </a:lnTo>
                  <a:lnTo>
                    <a:pt x="0" y="328"/>
                  </a:lnTo>
                  <a:lnTo>
                    <a:pt x="0" y="312"/>
                  </a:lnTo>
                  <a:lnTo>
                    <a:pt x="2" y="294"/>
                  </a:lnTo>
                  <a:lnTo>
                    <a:pt x="3" y="278"/>
                  </a:lnTo>
                  <a:lnTo>
                    <a:pt x="7" y="262"/>
                  </a:lnTo>
                  <a:lnTo>
                    <a:pt x="10" y="246"/>
                  </a:lnTo>
                  <a:lnTo>
                    <a:pt x="15" y="231"/>
                  </a:lnTo>
                  <a:lnTo>
                    <a:pt x="26" y="200"/>
                  </a:lnTo>
                  <a:lnTo>
                    <a:pt x="39" y="172"/>
                  </a:lnTo>
                  <a:lnTo>
                    <a:pt x="55" y="145"/>
                  </a:lnTo>
                  <a:lnTo>
                    <a:pt x="75" y="120"/>
                  </a:lnTo>
                  <a:lnTo>
                    <a:pt x="95" y="95"/>
                  </a:lnTo>
                  <a:lnTo>
                    <a:pt x="120" y="75"/>
                  </a:lnTo>
                  <a:lnTo>
                    <a:pt x="145" y="55"/>
                  </a:lnTo>
                  <a:lnTo>
                    <a:pt x="172" y="39"/>
                  </a:lnTo>
                  <a:lnTo>
                    <a:pt x="200" y="26"/>
                  </a:lnTo>
                  <a:lnTo>
                    <a:pt x="231" y="15"/>
                  </a:lnTo>
                  <a:lnTo>
                    <a:pt x="246" y="9"/>
                  </a:lnTo>
                  <a:lnTo>
                    <a:pt x="262" y="7"/>
                  </a:lnTo>
                  <a:lnTo>
                    <a:pt x="278" y="3"/>
                  </a:lnTo>
                  <a:lnTo>
                    <a:pt x="294" y="1"/>
                  </a:lnTo>
                  <a:lnTo>
                    <a:pt x="312" y="0"/>
                  </a:lnTo>
                  <a:lnTo>
                    <a:pt x="328" y="0"/>
                  </a:lnTo>
                  <a:lnTo>
                    <a:pt x="328" y="0"/>
                  </a:lnTo>
                  <a:lnTo>
                    <a:pt x="345" y="0"/>
                  </a:lnTo>
                  <a:lnTo>
                    <a:pt x="361" y="1"/>
                  </a:lnTo>
                  <a:lnTo>
                    <a:pt x="379" y="3"/>
                  </a:lnTo>
                  <a:lnTo>
                    <a:pt x="395" y="7"/>
                  </a:lnTo>
                  <a:lnTo>
                    <a:pt x="410" y="9"/>
                  </a:lnTo>
                  <a:lnTo>
                    <a:pt x="426" y="15"/>
                  </a:lnTo>
                  <a:lnTo>
                    <a:pt x="455" y="26"/>
                  </a:lnTo>
                  <a:lnTo>
                    <a:pt x="485" y="39"/>
                  </a:lnTo>
                  <a:lnTo>
                    <a:pt x="512" y="55"/>
                  </a:lnTo>
                  <a:lnTo>
                    <a:pt x="537" y="75"/>
                  </a:lnTo>
                  <a:lnTo>
                    <a:pt x="560" y="95"/>
                  </a:lnTo>
                  <a:lnTo>
                    <a:pt x="582" y="120"/>
                  </a:lnTo>
                  <a:lnTo>
                    <a:pt x="600" y="145"/>
                  </a:lnTo>
                  <a:lnTo>
                    <a:pt x="616" y="172"/>
                  </a:lnTo>
                  <a:lnTo>
                    <a:pt x="631" y="200"/>
                  </a:lnTo>
                  <a:lnTo>
                    <a:pt x="642" y="231"/>
                  </a:lnTo>
                  <a:lnTo>
                    <a:pt x="646" y="246"/>
                  </a:lnTo>
                  <a:lnTo>
                    <a:pt x="650" y="262"/>
                  </a:lnTo>
                  <a:lnTo>
                    <a:pt x="653" y="278"/>
                  </a:lnTo>
                  <a:lnTo>
                    <a:pt x="655" y="294"/>
                  </a:lnTo>
                  <a:lnTo>
                    <a:pt x="657" y="312"/>
                  </a:lnTo>
                  <a:lnTo>
                    <a:pt x="657" y="328"/>
                  </a:lnTo>
                  <a:lnTo>
                    <a:pt x="657" y="328"/>
                  </a:lnTo>
                  <a:lnTo>
                    <a:pt x="657" y="345"/>
                  </a:lnTo>
                  <a:lnTo>
                    <a:pt x="655" y="361"/>
                  </a:lnTo>
                  <a:lnTo>
                    <a:pt x="653" y="379"/>
                  </a:lnTo>
                  <a:lnTo>
                    <a:pt x="650" y="395"/>
                  </a:lnTo>
                  <a:lnTo>
                    <a:pt x="646" y="410"/>
                  </a:lnTo>
                  <a:lnTo>
                    <a:pt x="642" y="426"/>
                  </a:lnTo>
                  <a:lnTo>
                    <a:pt x="631" y="455"/>
                  </a:lnTo>
                  <a:lnTo>
                    <a:pt x="616" y="485"/>
                  </a:lnTo>
                  <a:lnTo>
                    <a:pt x="600" y="512"/>
                  </a:lnTo>
                  <a:lnTo>
                    <a:pt x="582" y="537"/>
                  </a:lnTo>
                  <a:lnTo>
                    <a:pt x="560" y="560"/>
                  </a:lnTo>
                  <a:lnTo>
                    <a:pt x="537" y="581"/>
                  </a:lnTo>
                  <a:lnTo>
                    <a:pt x="512" y="600"/>
                  </a:lnTo>
                  <a:lnTo>
                    <a:pt x="485" y="616"/>
                  </a:lnTo>
                  <a:lnTo>
                    <a:pt x="455" y="631"/>
                  </a:lnTo>
                  <a:lnTo>
                    <a:pt x="426" y="642"/>
                  </a:lnTo>
                  <a:lnTo>
                    <a:pt x="410" y="646"/>
                  </a:lnTo>
                  <a:lnTo>
                    <a:pt x="395" y="650"/>
                  </a:lnTo>
                  <a:lnTo>
                    <a:pt x="379" y="653"/>
                  </a:lnTo>
                  <a:lnTo>
                    <a:pt x="361" y="655"/>
                  </a:lnTo>
                  <a:lnTo>
                    <a:pt x="345" y="657"/>
                  </a:lnTo>
                  <a:lnTo>
                    <a:pt x="328" y="657"/>
                  </a:lnTo>
                  <a:lnTo>
                    <a:pt x="328" y="657"/>
                  </a:lnTo>
                  <a:close/>
                  <a:moveTo>
                    <a:pt x="328" y="38"/>
                  </a:moveTo>
                  <a:lnTo>
                    <a:pt x="328" y="38"/>
                  </a:lnTo>
                  <a:lnTo>
                    <a:pt x="298" y="39"/>
                  </a:lnTo>
                  <a:lnTo>
                    <a:pt x="270" y="43"/>
                  </a:lnTo>
                  <a:lnTo>
                    <a:pt x="242" y="50"/>
                  </a:lnTo>
                  <a:lnTo>
                    <a:pt x="215" y="60"/>
                  </a:lnTo>
                  <a:lnTo>
                    <a:pt x="189" y="73"/>
                  </a:lnTo>
                  <a:lnTo>
                    <a:pt x="165" y="87"/>
                  </a:lnTo>
                  <a:lnTo>
                    <a:pt x="144" y="103"/>
                  </a:lnTo>
                  <a:lnTo>
                    <a:pt x="122" y="122"/>
                  </a:lnTo>
                  <a:lnTo>
                    <a:pt x="104" y="144"/>
                  </a:lnTo>
                  <a:lnTo>
                    <a:pt x="87" y="165"/>
                  </a:lnTo>
                  <a:lnTo>
                    <a:pt x="73" y="189"/>
                  </a:lnTo>
                  <a:lnTo>
                    <a:pt x="61" y="215"/>
                  </a:lnTo>
                  <a:lnTo>
                    <a:pt x="50" y="242"/>
                  </a:lnTo>
                  <a:lnTo>
                    <a:pt x="43" y="270"/>
                  </a:lnTo>
                  <a:lnTo>
                    <a:pt x="39" y="298"/>
                  </a:lnTo>
                  <a:lnTo>
                    <a:pt x="38" y="328"/>
                  </a:lnTo>
                  <a:lnTo>
                    <a:pt x="38" y="328"/>
                  </a:lnTo>
                  <a:lnTo>
                    <a:pt x="39" y="357"/>
                  </a:lnTo>
                  <a:lnTo>
                    <a:pt x="43" y="387"/>
                  </a:lnTo>
                  <a:lnTo>
                    <a:pt x="50" y="415"/>
                  </a:lnTo>
                  <a:lnTo>
                    <a:pt x="61" y="442"/>
                  </a:lnTo>
                  <a:lnTo>
                    <a:pt x="73" y="467"/>
                  </a:lnTo>
                  <a:lnTo>
                    <a:pt x="87" y="490"/>
                  </a:lnTo>
                  <a:lnTo>
                    <a:pt x="104" y="513"/>
                  </a:lnTo>
                  <a:lnTo>
                    <a:pt x="122" y="534"/>
                  </a:lnTo>
                  <a:lnTo>
                    <a:pt x="144" y="553"/>
                  </a:lnTo>
                  <a:lnTo>
                    <a:pt x="165" y="569"/>
                  </a:lnTo>
                  <a:lnTo>
                    <a:pt x="189" y="584"/>
                  </a:lnTo>
                  <a:lnTo>
                    <a:pt x="215" y="596"/>
                  </a:lnTo>
                  <a:lnTo>
                    <a:pt x="242" y="606"/>
                  </a:lnTo>
                  <a:lnTo>
                    <a:pt x="270" y="614"/>
                  </a:lnTo>
                  <a:lnTo>
                    <a:pt x="298" y="618"/>
                  </a:lnTo>
                  <a:lnTo>
                    <a:pt x="328" y="619"/>
                  </a:lnTo>
                  <a:lnTo>
                    <a:pt x="328" y="619"/>
                  </a:lnTo>
                  <a:lnTo>
                    <a:pt x="357" y="618"/>
                  </a:lnTo>
                  <a:lnTo>
                    <a:pt x="387" y="614"/>
                  </a:lnTo>
                  <a:lnTo>
                    <a:pt x="415" y="606"/>
                  </a:lnTo>
                  <a:lnTo>
                    <a:pt x="442" y="596"/>
                  </a:lnTo>
                  <a:lnTo>
                    <a:pt x="467" y="584"/>
                  </a:lnTo>
                  <a:lnTo>
                    <a:pt x="490" y="569"/>
                  </a:lnTo>
                  <a:lnTo>
                    <a:pt x="513" y="553"/>
                  </a:lnTo>
                  <a:lnTo>
                    <a:pt x="535" y="534"/>
                  </a:lnTo>
                  <a:lnTo>
                    <a:pt x="553" y="513"/>
                  </a:lnTo>
                  <a:lnTo>
                    <a:pt x="569" y="490"/>
                  </a:lnTo>
                  <a:lnTo>
                    <a:pt x="584" y="467"/>
                  </a:lnTo>
                  <a:lnTo>
                    <a:pt x="596" y="442"/>
                  </a:lnTo>
                  <a:lnTo>
                    <a:pt x="606" y="415"/>
                  </a:lnTo>
                  <a:lnTo>
                    <a:pt x="614" y="387"/>
                  </a:lnTo>
                  <a:lnTo>
                    <a:pt x="618" y="357"/>
                  </a:lnTo>
                  <a:lnTo>
                    <a:pt x="619" y="328"/>
                  </a:lnTo>
                  <a:lnTo>
                    <a:pt x="619" y="328"/>
                  </a:lnTo>
                  <a:lnTo>
                    <a:pt x="618" y="298"/>
                  </a:lnTo>
                  <a:lnTo>
                    <a:pt x="614" y="270"/>
                  </a:lnTo>
                  <a:lnTo>
                    <a:pt x="606" y="242"/>
                  </a:lnTo>
                  <a:lnTo>
                    <a:pt x="596" y="215"/>
                  </a:lnTo>
                  <a:lnTo>
                    <a:pt x="584" y="189"/>
                  </a:lnTo>
                  <a:lnTo>
                    <a:pt x="569" y="165"/>
                  </a:lnTo>
                  <a:lnTo>
                    <a:pt x="553" y="144"/>
                  </a:lnTo>
                  <a:lnTo>
                    <a:pt x="535" y="122"/>
                  </a:lnTo>
                  <a:lnTo>
                    <a:pt x="513" y="103"/>
                  </a:lnTo>
                  <a:lnTo>
                    <a:pt x="490" y="87"/>
                  </a:lnTo>
                  <a:lnTo>
                    <a:pt x="467" y="73"/>
                  </a:lnTo>
                  <a:lnTo>
                    <a:pt x="442" y="60"/>
                  </a:lnTo>
                  <a:lnTo>
                    <a:pt x="415" y="50"/>
                  </a:lnTo>
                  <a:lnTo>
                    <a:pt x="387" y="43"/>
                  </a:lnTo>
                  <a:lnTo>
                    <a:pt x="357" y="39"/>
                  </a:lnTo>
                  <a:lnTo>
                    <a:pt x="328" y="38"/>
                  </a:lnTo>
                  <a:lnTo>
                    <a:pt x="328"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164">
              <a:extLst>
                <a:ext uri="{FF2B5EF4-FFF2-40B4-BE49-F238E27FC236}">
                  <a16:creationId xmlns:a16="http://schemas.microsoft.com/office/drawing/2014/main" id="{F9A28E55-AC58-465D-AFC0-F410D5A1E8DD}"/>
                </a:ext>
              </a:extLst>
            </p:cNvPr>
            <p:cNvSpPr>
              <a:spLocks/>
            </p:cNvSpPr>
            <p:nvPr/>
          </p:nvSpPr>
          <p:spPr bwMode="auto">
            <a:xfrm>
              <a:off x="6888163" y="4322763"/>
              <a:ext cx="188913" cy="233363"/>
            </a:xfrm>
            <a:custGeom>
              <a:avLst/>
              <a:gdLst>
                <a:gd name="T0" fmla="*/ 157 w 238"/>
                <a:gd name="T1" fmla="*/ 75 h 294"/>
                <a:gd name="T2" fmla="*/ 157 w 238"/>
                <a:gd name="T3" fmla="*/ 0 h 294"/>
                <a:gd name="T4" fmla="*/ 4 w 238"/>
                <a:gd name="T5" fmla="*/ 0 h 294"/>
                <a:gd name="T6" fmla="*/ 4 w 238"/>
                <a:gd name="T7" fmla="*/ 0 h 294"/>
                <a:gd name="T8" fmla="*/ 1 w 238"/>
                <a:gd name="T9" fmla="*/ 0 h 294"/>
                <a:gd name="T10" fmla="*/ 0 w 238"/>
                <a:gd name="T11" fmla="*/ 4 h 294"/>
                <a:gd name="T12" fmla="*/ 0 w 238"/>
                <a:gd name="T13" fmla="*/ 289 h 294"/>
                <a:gd name="T14" fmla="*/ 0 w 238"/>
                <a:gd name="T15" fmla="*/ 289 h 294"/>
                <a:gd name="T16" fmla="*/ 1 w 238"/>
                <a:gd name="T17" fmla="*/ 293 h 294"/>
                <a:gd name="T18" fmla="*/ 4 w 238"/>
                <a:gd name="T19" fmla="*/ 294 h 294"/>
                <a:gd name="T20" fmla="*/ 232 w 238"/>
                <a:gd name="T21" fmla="*/ 294 h 294"/>
                <a:gd name="T22" fmla="*/ 232 w 238"/>
                <a:gd name="T23" fmla="*/ 294 h 294"/>
                <a:gd name="T24" fmla="*/ 236 w 238"/>
                <a:gd name="T25" fmla="*/ 293 h 294"/>
                <a:gd name="T26" fmla="*/ 238 w 238"/>
                <a:gd name="T27" fmla="*/ 289 h 294"/>
                <a:gd name="T28" fmla="*/ 238 w 238"/>
                <a:gd name="T29" fmla="*/ 81 h 294"/>
                <a:gd name="T30" fmla="*/ 161 w 238"/>
                <a:gd name="T31" fmla="*/ 81 h 294"/>
                <a:gd name="T32" fmla="*/ 161 w 238"/>
                <a:gd name="T33" fmla="*/ 81 h 294"/>
                <a:gd name="T34" fmla="*/ 158 w 238"/>
                <a:gd name="T35" fmla="*/ 79 h 294"/>
                <a:gd name="T36" fmla="*/ 157 w 238"/>
                <a:gd name="T37" fmla="*/ 75 h 294"/>
                <a:gd name="T38" fmla="*/ 157 w 238"/>
                <a:gd name="T39" fmla="*/ 75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8" h="294">
                  <a:moveTo>
                    <a:pt x="157" y="75"/>
                  </a:moveTo>
                  <a:lnTo>
                    <a:pt x="157" y="0"/>
                  </a:lnTo>
                  <a:lnTo>
                    <a:pt x="4" y="0"/>
                  </a:lnTo>
                  <a:lnTo>
                    <a:pt x="4" y="0"/>
                  </a:lnTo>
                  <a:lnTo>
                    <a:pt x="1" y="0"/>
                  </a:lnTo>
                  <a:lnTo>
                    <a:pt x="0" y="4"/>
                  </a:lnTo>
                  <a:lnTo>
                    <a:pt x="0" y="289"/>
                  </a:lnTo>
                  <a:lnTo>
                    <a:pt x="0" y="289"/>
                  </a:lnTo>
                  <a:lnTo>
                    <a:pt x="1" y="293"/>
                  </a:lnTo>
                  <a:lnTo>
                    <a:pt x="4" y="294"/>
                  </a:lnTo>
                  <a:lnTo>
                    <a:pt x="232" y="294"/>
                  </a:lnTo>
                  <a:lnTo>
                    <a:pt x="232" y="294"/>
                  </a:lnTo>
                  <a:lnTo>
                    <a:pt x="236" y="293"/>
                  </a:lnTo>
                  <a:lnTo>
                    <a:pt x="238" y="289"/>
                  </a:lnTo>
                  <a:lnTo>
                    <a:pt x="238" y="81"/>
                  </a:lnTo>
                  <a:lnTo>
                    <a:pt x="161" y="81"/>
                  </a:lnTo>
                  <a:lnTo>
                    <a:pt x="161" y="81"/>
                  </a:lnTo>
                  <a:lnTo>
                    <a:pt x="158" y="79"/>
                  </a:lnTo>
                  <a:lnTo>
                    <a:pt x="157" y="75"/>
                  </a:lnTo>
                  <a:lnTo>
                    <a:pt x="157" y="7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165">
              <a:extLst>
                <a:ext uri="{FF2B5EF4-FFF2-40B4-BE49-F238E27FC236}">
                  <a16:creationId xmlns:a16="http://schemas.microsoft.com/office/drawing/2014/main" id="{5BE0D3E5-93CC-4140-8C8A-8957227F1A31}"/>
                </a:ext>
              </a:extLst>
            </p:cNvPr>
            <p:cNvSpPr>
              <a:spLocks/>
            </p:cNvSpPr>
            <p:nvPr/>
          </p:nvSpPr>
          <p:spPr bwMode="auto">
            <a:xfrm>
              <a:off x="7021513" y="4327525"/>
              <a:ext cx="49213" cy="52388"/>
            </a:xfrm>
            <a:custGeom>
              <a:avLst/>
              <a:gdLst>
                <a:gd name="T0" fmla="*/ 0 w 64"/>
                <a:gd name="T1" fmla="*/ 0 h 64"/>
                <a:gd name="T2" fmla="*/ 0 w 64"/>
                <a:gd name="T3" fmla="*/ 64 h 64"/>
                <a:gd name="T4" fmla="*/ 64 w 64"/>
                <a:gd name="T5" fmla="*/ 64 h 64"/>
                <a:gd name="T6" fmla="*/ 0 w 64"/>
                <a:gd name="T7" fmla="*/ 0 h 64"/>
              </a:gdLst>
              <a:ahLst/>
              <a:cxnLst>
                <a:cxn ang="0">
                  <a:pos x="T0" y="T1"/>
                </a:cxn>
                <a:cxn ang="0">
                  <a:pos x="T2" y="T3"/>
                </a:cxn>
                <a:cxn ang="0">
                  <a:pos x="T4" y="T5"/>
                </a:cxn>
                <a:cxn ang="0">
                  <a:pos x="T6" y="T7"/>
                </a:cxn>
              </a:cxnLst>
              <a:rect l="0" t="0" r="r" b="b"/>
              <a:pathLst>
                <a:path w="64" h="64">
                  <a:moveTo>
                    <a:pt x="0" y="0"/>
                  </a:moveTo>
                  <a:lnTo>
                    <a:pt x="0" y="64"/>
                  </a:lnTo>
                  <a:lnTo>
                    <a:pt x="64" y="64"/>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38" name="Freeform 905">
            <a:extLst>
              <a:ext uri="{FF2B5EF4-FFF2-40B4-BE49-F238E27FC236}">
                <a16:creationId xmlns:a16="http://schemas.microsoft.com/office/drawing/2014/main" id="{14F4BD43-90CA-448E-8D53-8436BB8A0656}"/>
              </a:ext>
            </a:extLst>
          </p:cNvPr>
          <p:cNvSpPr>
            <a:spLocks noEditPoints="1"/>
          </p:cNvSpPr>
          <p:nvPr/>
        </p:nvSpPr>
        <p:spPr bwMode="auto">
          <a:xfrm>
            <a:off x="3108276" y="4215269"/>
            <a:ext cx="493776" cy="504612"/>
          </a:xfrm>
          <a:prstGeom prst="ellipse">
            <a:avLst/>
          </a:pr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39" name="Freeform 905">
            <a:extLst>
              <a:ext uri="{FF2B5EF4-FFF2-40B4-BE49-F238E27FC236}">
                <a16:creationId xmlns:a16="http://schemas.microsoft.com/office/drawing/2014/main" id="{4DFB9B43-011B-4C2F-953E-7180DB83143D}"/>
              </a:ext>
            </a:extLst>
          </p:cNvPr>
          <p:cNvSpPr>
            <a:spLocks noEditPoints="1"/>
          </p:cNvSpPr>
          <p:nvPr/>
        </p:nvSpPr>
        <p:spPr bwMode="auto">
          <a:xfrm>
            <a:off x="4019991" y="3792007"/>
            <a:ext cx="493776" cy="504612"/>
          </a:xfrm>
          <a:prstGeom prst="ellipse">
            <a:avLst/>
          </a:pr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40" name="Group 39">
            <a:extLst>
              <a:ext uri="{FF2B5EF4-FFF2-40B4-BE49-F238E27FC236}">
                <a16:creationId xmlns:a16="http://schemas.microsoft.com/office/drawing/2014/main" id="{684BF33C-79AC-4377-B2DB-DC5F89EDA060}"/>
              </a:ext>
            </a:extLst>
          </p:cNvPr>
          <p:cNvGrpSpPr>
            <a:grpSpLocks noChangeAspect="1"/>
          </p:cNvGrpSpPr>
          <p:nvPr/>
        </p:nvGrpSpPr>
        <p:grpSpPr>
          <a:xfrm>
            <a:off x="3094987" y="4219467"/>
            <a:ext cx="522288" cy="520700"/>
            <a:chOff x="7596188" y="822325"/>
            <a:chExt cx="522288" cy="520700"/>
          </a:xfrm>
        </p:grpSpPr>
        <p:sp>
          <p:nvSpPr>
            <p:cNvPr id="41" name="Freeform 41">
              <a:extLst>
                <a:ext uri="{FF2B5EF4-FFF2-40B4-BE49-F238E27FC236}">
                  <a16:creationId xmlns:a16="http://schemas.microsoft.com/office/drawing/2014/main" id="{83C3418C-AACA-4980-8037-F83BD136AC01}"/>
                </a:ext>
              </a:extLst>
            </p:cNvPr>
            <p:cNvSpPr>
              <a:spLocks noEditPoints="1"/>
            </p:cNvSpPr>
            <p:nvPr/>
          </p:nvSpPr>
          <p:spPr bwMode="auto">
            <a:xfrm>
              <a:off x="7596188" y="822325"/>
              <a:ext cx="522288" cy="520700"/>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5 w 658"/>
                <a:gd name="T11" fmla="*/ 426 h 657"/>
                <a:gd name="T12" fmla="*/ 4 w 658"/>
                <a:gd name="T13" fmla="*/ 379 h 657"/>
                <a:gd name="T14" fmla="*/ 0 w 658"/>
                <a:gd name="T15" fmla="*/ 329 h 657"/>
                <a:gd name="T16" fmla="*/ 2 w 658"/>
                <a:gd name="T17" fmla="*/ 296 h 657"/>
                <a:gd name="T18" fmla="*/ 10 w 658"/>
                <a:gd name="T19" fmla="*/ 246 h 657"/>
                <a:gd name="T20" fmla="*/ 40 w 658"/>
                <a:gd name="T21" fmla="*/ 172 h 657"/>
                <a:gd name="T22" fmla="*/ 96 w 658"/>
                <a:gd name="T23" fmla="*/ 97 h 657"/>
                <a:gd name="T24" fmla="*/ 172 w 658"/>
                <a:gd name="T25" fmla="*/ 39 h 657"/>
                <a:gd name="T26" fmla="*/ 247 w 658"/>
                <a:gd name="T27" fmla="*/ 9 h 657"/>
                <a:gd name="T28" fmla="*/ 295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2 w 658"/>
                <a:gd name="T41" fmla="*/ 200 h 657"/>
                <a:gd name="T42" fmla="*/ 651 w 658"/>
                <a:gd name="T43" fmla="*/ 262 h 657"/>
                <a:gd name="T44" fmla="*/ 657 w 658"/>
                <a:gd name="T45" fmla="*/ 312 h 657"/>
                <a:gd name="T46" fmla="*/ 657 w 658"/>
                <a:gd name="T47" fmla="*/ 345 h 657"/>
                <a:gd name="T48" fmla="*/ 651 w 658"/>
                <a:gd name="T49" fmla="*/ 395 h 657"/>
                <a:gd name="T50" fmla="*/ 632 w 658"/>
                <a:gd name="T51" fmla="*/ 457 h 657"/>
                <a:gd name="T52" fmla="*/ 583 w 658"/>
                <a:gd name="T53" fmla="*/ 537 h 657"/>
                <a:gd name="T54" fmla="*/ 513 w 658"/>
                <a:gd name="T55" fmla="*/ 601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6 w 658"/>
                <a:gd name="T67" fmla="*/ 87 h 657"/>
                <a:gd name="T68" fmla="*/ 105 w 658"/>
                <a:gd name="T69" fmla="*/ 144 h 657"/>
                <a:gd name="T70" fmla="*/ 60 w 658"/>
                <a:gd name="T71" fmla="*/ 215 h 657"/>
                <a:gd name="T72" fmla="*/ 39 w 658"/>
                <a:gd name="T73" fmla="*/ 298 h 657"/>
                <a:gd name="T74" fmla="*/ 39 w 658"/>
                <a:gd name="T75" fmla="*/ 359 h 657"/>
                <a:gd name="T76" fmla="*/ 60 w 658"/>
                <a:gd name="T77" fmla="*/ 442 h 657"/>
                <a:gd name="T78" fmla="*/ 105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5 w 658"/>
                <a:gd name="T93" fmla="*/ 468 h 657"/>
                <a:gd name="T94" fmla="*/ 614 w 658"/>
                <a:gd name="T95" fmla="*/ 387 h 657"/>
                <a:gd name="T96" fmla="*/ 620 w 658"/>
                <a:gd name="T97" fmla="*/ 329 h 657"/>
                <a:gd name="T98" fmla="*/ 607 w 658"/>
                <a:gd name="T99" fmla="*/ 242 h 657"/>
                <a:gd name="T100" fmla="*/ 571 w 658"/>
                <a:gd name="T101" fmla="*/ 165 h 657"/>
                <a:gd name="T102" fmla="*/ 514 w 658"/>
                <a:gd name="T103" fmla="*/ 103 h 657"/>
                <a:gd name="T104" fmla="*/ 442 w 658"/>
                <a:gd name="T105" fmla="*/ 60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6"/>
                  </a:lnTo>
                  <a:lnTo>
                    <a:pt x="279" y="653"/>
                  </a:lnTo>
                  <a:lnTo>
                    <a:pt x="263" y="650"/>
                  </a:lnTo>
                  <a:lnTo>
                    <a:pt x="247" y="648"/>
                  </a:lnTo>
                  <a:lnTo>
                    <a:pt x="231" y="642"/>
                  </a:lnTo>
                  <a:lnTo>
                    <a:pt x="201" y="631"/>
                  </a:lnTo>
                  <a:lnTo>
                    <a:pt x="172" y="618"/>
                  </a:lnTo>
                  <a:lnTo>
                    <a:pt x="145" y="601"/>
                  </a:lnTo>
                  <a:lnTo>
                    <a:pt x="119" y="582"/>
                  </a:lnTo>
                  <a:lnTo>
                    <a:pt x="96" y="562"/>
                  </a:lnTo>
                  <a:lnTo>
                    <a:pt x="75" y="537"/>
                  </a:lnTo>
                  <a:lnTo>
                    <a:pt x="56" y="512"/>
                  </a:lnTo>
                  <a:lnTo>
                    <a:pt x="40" y="485"/>
                  </a:lnTo>
                  <a:lnTo>
                    <a:pt x="25" y="457"/>
                  </a:lnTo>
                  <a:lnTo>
                    <a:pt x="15" y="426"/>
                  </a:lnTo>
                  <a:lnTo>
                    <a:pt x="10" y="411"/>
                  </a:lnTo>
                  <a:lnTo>
                    <a:pt x="6" y="395"/>
                  </a:lnTo>
                  <a:lnTo>
                    <a:pt x="4" y="379"/>
                  </a:lnTo>
                  <a:lnTo>
                    <a:pt x="2" y="363"/>
                  </a:lnTo>
                  <a:lnTo>
                    <a:pt x="1" y="345"/>
                  </a:lnTo>
                  <a:lnTo>
                    <a:pt x="0" y="329"/>
                  </a:lnTo>
                  <a:lnTo>
                    <a:pt x="0" y="329"/>
                  </a:lnTo>
                  <a:lnTo>
                    <a:pt x="1" y="312"/>
                  </a:lnTo>
                  <a:lnTo>
                    <a:pt x="2" y="296"/>
                  </a:lnTo>
                  <a:lnTo>
                    <a:pt x="4" y="278"/>
                  </a:lnTo>
                  <a:lnTo>
                    <a:pt x="6" y="262"/>
                  </a:lnTo>
                  <a:lnTo>
                    <a:pt x="10" y="246"/>
                  </a:lnTo>
                  <a:lnTo>
                    <a:pt x="15" y="231"/>
                  </a:lnTo>
                  <a:lnTo>
                    <a:pt x="25" y="200"/>
                  </a:lnTo>
                  <a:lnTo>
                    <a:pt x="40" y="172"/>
                  </a:lnTo>
                  <a:lnTo>
                    <a:pt x="56" y="145"/>
                  </a:lnTo>
                  <a:lnTo>
                    <a:pt x="75" y="120"/>
                  </a:lnTo>
                  <a:lnTo>
                    <a:pt x="96" y="97"/>
                  </a:lnTo>
                  <a:lnTo>
                    <a:pt x="119" y="75"/>
                  </a:lnTo>
                  <a:lnTo>
                    <a:pt x="145" y="56"/>
                  </a:lnTo>
                  <a:lnTo>
                    <a:pt x="172" y="39"/>
                  </a:lnTo>
                  <a:lnTo>
                    <a:pt x="201" y="26"/>
                  </a:lnTo>
                  <a:lnTo>
                    <a:pt x="231" y="15"/>
                  </a:lnTo>
                  <a:lnTo>
                    <a:pt x="247" y="9"/>
                  </a:lnTo>
                  <a:lnTo>
                    <a:pt x="263" y="7"/>
                  </a:lnTo>
                  <a:lnTo>
                    <a:pt x="279" y="4"/>
                  </a:lnTo>
                  <a:lnTo>
                    <a:pt x="295" y="1"/>
                  </a:lnTo>
                  <a:lnTo>
                    <a:pt x="311" y="0"/>
                  </a:lnTo>
                  <a:lnTo>
                    <a:pt x="329" y="0"/>
                  </a:lnTo>
                  <a:lnTo>
                    <a:pt x="329" y="0"/>
                  </a:lnTo>
                  <a:lnTo>
                    <a:pt x="346" y="0"/>
                  </a:lnTo>
                  <a:lnTo>
                    <a:pt x="362" y="1"/>
                  </a:lnTo>
                  <a:lnTo>
                    <a:pt x="379" y="4"/>
                  </a:lnTo>
                  <a:lnTo>
                    <a:pt x="395" y="7"/>
                  </a:lnTo>
                  <a:lnTo>
                    <a:pt x="411" y="9"/>
                  </a:lnTo>
                  <a:lnTo>
                    <a:pt x="427" y="15"/>
                  </a:lnTo>
                  <a:lnTo>
                    <a:pt x="456" y="26"/>
                  </a:lnTo>
                  <a:lnTo>
                    <a:pt x="486" y="39"/>
                  </a:lnTo>
                  <a:lnTo>
                    <a:pt x="513" y="56"/>
                  </a:lnTo>
                  <a:lnTo>
                    <a:pt x="538" y="75"/>
                  </a:lnTo>
                  <a:lnTo>
                    <a:pt x="561" y="97"/>
                  </a:lnTo>
                  <a:lnTo>
                    <a:pt x="583" y="120"/>
                  </a:lnTo>
                  <a:lnTo>
                    <a:pt x="602" y="145"/>
                  </a:lnTo>
                  <a:lnTo>
                    <a:pt x="618" y="172"/>
                  </a:lnTo>
                  <a:lnTo>
                    <a:pt x="632" y="200"/>
                  </a:lnTo>
                  <a:lnTo>
                    <a:pt x="643" y="231"/>
                  </a:lnTo>
                  <a:lnTo>
                    <a:pt x="647" y="246"/>
                  </a:lnTo>
                  <a:lnTo>
                    <a:pt x="651" y="262"/>
                  </a:lnTo>
                  <a:lnTo>
                    <a:pt x="654" y="278"/>
                  </a:lnTo>
                  <a:lnTo>
                    <a:pt x="655" y="296"/>
                  </a:lnTo>
                  <a:lnTo>
                    <a:pt x="657" y="312"/>
                  </a:lnTo>
                  <a:lnTo>
                    <a:pt x="658" y="329"/>
                  </a:lnTo>
                  <a:lnTo>
                    <a:pt x="658" y="329"/>
                  </a:lnTo>
                  <a:lnTo>
                    <a:pt x="657" y="345"/>
                  </a:lnTo>
                  <a:lnTo>
                    <a:pt x="655" y="363"/>
                  </a:lnTo>
                  <a:lnTo>
                    <a:pt x="654" y="379"/>
                  </a:lnTo>
                  <a:lnTo>
                    <a:pt x="651" y="395"/>
                  </a:lnTo>
                  <a:lnTo>
                    <a:pt x="647" y="411"/>
                  </a:lnTo>
                  <a:lnTo>
                    <a:pt x="643" y="426"/>
                  </a:lnTo>
                  <a:lnTo>
                    <a:pt x="632" y="457"/>
                  </a:lnTo>
                  <a:lnTo>
                    <a:pt x="618" y="485"/>
                  </a:lnTo>
                  <a:lnTo>
                    <a:pt x="602" y="512"/>
                  </a:lnTo>
                  <a:lnTo>
                    <a:pt x="583" y="537"/>
                  </a:lnTo>
                  <a:lnTo>
                    <a:pt x="561" y="562"/>
                  </a:lnTo>
                  <a:lnTo>
                    <a:pt x="538" y="582"/>
                  </a:lnTo>
                  <a:lnTo>
                    <a:pt x="513" y="601"/>
                  </a:lnTo>
                  <a:lnTo>
                    <a:pt x="486" y="618"/>
                  </a:lnTo>
                  <a:lnTo>
                    <a:pt x="456" y="631"/>
                  </a:lnTo>
                  <a:lnTo>
                    <a:pt x="427" y="642"/>
                  </a:lnTo>
                  <a:lnTo>
                    <a:pt x="411" y="648"/>
                  </a:lnTo>
                  <a:lnTo>
                    <a:pt x="395" y="650"/>
                  </a:lnTo>
                  <a:lnTo>
                    <a:pt x="379" y="653"/>
                  </a:lnTo>
                  <a:lnTo>
                    <a:pt x="362" y="656"/>
                  </a:lnTo>
                  <a:lnTo>
                    <a:pt x="346" y="657"/>
                  </a:lnTo>
                  <a:lnTo>
                    <a:pt x="329" y="657"/>
                  </a:lnTo>
                  <a:lnTo>
                    <a:pt x="329" y="657"/>
                  </a:lnTo>
                  <a:close/>
                  <a:moveTo>
                    <a:pt x="329" y="38"/>
                  </a:moveTo>
                  <a:lnTo>
                    <a:pt x="329" y="38"/>
                  </a:lnTo>
                  <a:lnTo>
                    <a:pt x="299" y="39"/>
                  </a:lnTo>
                  <a:lnTo>
                    <a:pt x="270" y="43"/>
                  </a:lnTo>
                  <a:lnTo>
                    <a:pt x="243" y="51"/>
                  </a:lnTo>
                  <a:lnTo>
                    <a:pt x="216" y="60"/>
                  </a:lnTo>
                  <a:lnTo>
                    <a:pt x="191" y="73"/>
                  </a:lnTo>
                  <a:lnTo>
                    <a:pt x="166" y="87"/>
                  </a:lnTo>
                  <a:lnTo>
                    <a:pt x="143" y="103"/>
                  </a:lnTo>
                  <a:lnTo>
                    <a:pt x="123" y="122"/>
                  </a:lnTo>
                  <a:lnTo>
                    <a:pt x="105" y="144"/>
                  </a:lnTo>
                  <a:lnTo>
                    <a:pt x="87" y="165"/>
                  </a:lnTo>
                  <a:lnTo>
                    <a:pt x="72" y="189"/>
                  </a:lnTo>
                  <a:lnTo>
                    <a:pt x="60" y="215"/>
                  </a:lnTo>
                  <a:lnTo>
                    <a:pt x="51" y="242"/>
                  </a:lnTo>
                  <a:lnTo>
                    <a:pt x="44" y="270"/>
                  </a:lnTo>
                  <a:lnTo>
                    <a:pt x="39" y="298"/>
                  </a:lnTo>
                  <a:lnTo>
                    <a:pt x="37" y="329"/>
                  </a:lnTo>
                  <a:lnTo>
                    <a:pt x="37" y="329"/>
                  </a:lnTo>
                  <a:lnTo>
                    <a:pt x="39" y="359"/>
                  </a:lnTo>
                  <a:lnTo>
                    <a:pt x="44" y="387"/>
                  </a:lnTo>
                  <a:lnTo>
                    <a:pt x="51" y="415"/>
                  </a:lnTo>
                  <a:lnTo>
                    <a:pt x="60" y="442"/>
                  </a:lnTo>
                  <a:lnTo>
                    <a:pt x="72" y="468"/>
                  </a:lnTo>
                  <a:lnTo>
                    <a:pt x="87" y="492"/>
                  </a:lnTo>
                  <a:lnTo>
                    <a:pt x="105" y="513"/>
                  </a:lnTo>
                  <a:lnTo>
                    <a:pt x="123" y="535"/>
                  </a:lnTo>
                  <a:lnTo>
                    <a:pt x="143" y="553"/>
                  </a:lnTo>
                  <a:lnTo>
                    <a:pt x="166" y="570"/>
                  </a:lnTo>
                  <a:lnTo>
                    <a:pt x="191" y="584"/>
                  </a:lnTo>
                  <a:lnTo>
                    <a:pt x="216" y="596"/>
                  </a:lnTo>
                  <a:lnTo>
                    <a:pt x="243" y="607"/>
                  </a:lnTo>
                  <a:lnTo>
                    <a:pt x="270" y="614"/>
                  </a:lnTo>
                  <a:lnTo>
                    <a:pt x="299" y="618"/>
                  </a:lnTo>
                  <a:lnTo>
                    <a:pt x="329" y="619"/>
                  </a:lnTo>
                  <a:lnTo>
                    <a:pt x="329" y="619"/>
                  </a:lnTo>
                  <a:lnTo>
                    <a:pt x="358" y="618"/>
                  </a:lnTo>
                  <a:lnTo>
                    <a:pt x="388" y="614"/>
                  </a:lnTo>
                  <a:lnTo>
                    <a:pt x="415" y="607"/>
                  </a:lnTo>
                  <a:lnTo>
                    <a:pt x="442" y="596"/>
                  </a:lnTo>
                  <a:lnTo>
                    <a:pt x="467" y="584"/>
                  </a:lnTo>
                  <a:lnTo>
                    <a:pt x="491" y="570"/>
                  </a:lnTo>
                  <a:lnTo>
                    <a:pt x="514" y="553"/>
                  </a:lnTo>
                  <a:lnTo>
                    <a:pt x="534" y="535"/>
                  </a:lnTo>
                  <a:lnTo>
                    <a:pt x="553" y="513"/>
                  </a:lnTo>
                  <a:lnTo>
                    <a:pt x="571" y="492"/>
                  </a:lnTo>
                  <a:lnTo>
                    <a:pt x="585" y="468"/>
                  </a:lnTo>
                  <a:lnTo>
                    <a:pt x="598" y="442"/>
                  </a:lnTo>
                  <a:lnTo>
                    <a:pt x="607" y="415"/>
                  </a:lnTo>
                  <a:lnTo>
                    <a:pt x="614" y="387"/>
                  </a:lnTo>
                  <a:lnTo>
                    <a:pt x="619" y="359"/>
                  </a:lnTo>
                  <a:lnTo>
                    <a:pt x="620" y="329"/>
                  </a:lnTo>
                  <a:lnTo>
                    <a:pt x="620" y="329"/>
                  </a:lnTo>
                  <a:lnTo>
                    <a:pt x="619" y="298"/>
                  </a:lnTo>
                  <a:lnTo>
                    <a:pt x="614" y="270"/>
                  </a:lnTo>
                  <a:lnTo>
                    <a:pt x="607" y="242"/>
                  </a:lnTo>
                  <a:lnTo>
                    <a:pt x="598" y="215"/>
                  </a:lnTo>
                  <a:lnTo>
                    <a:pt x="585" y="189"/>
                  </a:lnTo>
                  <a:lnTo>
                    <a:pt x="571" y="165"/>
                  </a:lnTo>
                  <a:lnTo>
                    <a:pt x="553" y="144"/>
                  </a:lnTo>
                  <a:lnTo>
                    <a:pt x="534" y="122"/>
                  </a:lnTo>
                  <a:lnTo>
                    <a:pt x="514" y="103"/>
                  </a:lnTo>
                  <a:lnTo>
                    <a:pt x="491" y="87"/>
                  </a:lnTo>
                  <a:lnTo>
                    <a:pt x="467" y="73"/>
                  </a:lnTo>
                  <a:lnTo>
                    <a:pt x="442" y="60"/>
                  </a:lnTo>
                  <a:lnTo>
                    <a:pt x="415" y="51"/>
                  </a:lnTo>
                  <a:lnTo>
                    <a:pt x="388" y="43"/>
                  </a:lnTo>
                  <a:lnTo>
                    <a:pt x="358"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180">
              <a:extLst>
                <a:ext uri="{FF2B5EF4-FFF2-40B4-BE49-F238E27FC236}">
                  <a16:creationId xmlns:a16="http://schemas.microsoft.com/office/drawing/2014/main" id="{62146555-E60B-425F-82D0-9F2157AD7A28}"/>
                </a:ext>
              </a:extLst>
            </p:cNvPr>
            <p:cNvSpPr>
              <a:spLocks noEditPoints="1"/>
            </p:cNvSpPr>
            <p:nvPr/>
          </p:nvSpPr>
          <p:spPr bwMode="auto">
            <a:xfrm>
              <a:off x="7732713" y="974725"/>
              <a:ext cx="250825" cy="234950"/>
            </a:xfrm>
            <a:custGeom>
              <a:avLst/>
              <a:gdLst>
                <a:gd name="T0" fmla="*/ 6 w 317"/>
                <a:gd name="T1" fmla="*/ 0 h 296"/>
                <a:gd name="T2" fmla="*/ 4 w 317"/>
                <a:gd name="T3" fmla="*/ 1 h 296"/>
                <a:gd name="T4" fmla="*/ 2 w 317"/>
                <a:gd name="T5" fmla="*/ 4 h 296"/>
                <a:gd name="T6" fmla="*/ 0 w 317"/>
                <a:gd name="T7" fmla="*/ 241 h 296"/>
                <a:gd name="T8" fmla="*/ 2 w 317"/>
                <a:gd name="T9" fmla="*/ 242 h 296"/>
                <a:gd name="T10" fmla="*/ 4 w 317"/>
                <a:gd name="T11" fmla="*/ 245 h 296"/>
                <a:gd name="T12" fmla="*/ 123 w 317"/>
                <a:gd name="T13" fmla="*/ 245 h 296"/>
                <a:gd name="T14" fmla="*/ 88 w 317"/>
                <a:gd name="T15" fmla="*/ 286 h 296"/>
                <a:gd name="T16" fmla="*/ 85 w 317"/>
                <a:gd name="T17" fmla="*/ 286 h 296"/>
                <a:gd name="T18" fmla="*/ 82 w 317"/>
                <a:gd name="T19" fmla="*/ 289 h 296"/>
                <a:gd name="T20" fmla="*/ 82 w 317"/>
                <a:gd name="T21" fmla="*/ 292 h 296"/>
                <a:gd name="T22" fmla="*/ 84 w 317"/>
                <a:gd name="T23" fmla="*/ 294 h 296"/>
                <a:gd name="T24" fmla="*/ 88 w 317"/>
                <a:gd name="T25" fmla="*/ 296 h 296"/>
                <a:gd name="T26" fmla="*/ 190 w 317"/>
                <a:gd name="T27" fmla="*/ 296 h 296"/>
                <a:gd name="T28" fmla="*/ 230 w 317"/>
                <a:gd name="T29" fmla="*/ 296 h 296"/>
                <a:gd name="T30" fmla="*/ 234 w 317"/>
                <a:gd name="T31" fmla="*/ 294 h 296"/>
                <a:gd name="T32" fmla="*/ 235 w 317"/>
                <a:gd name="T33" fmla="*/ 292 h 296"/>
                <a:gd name="T34" fmla="*/ 235 w 317"/>
                <a:gd name="T35" fmla="*/ 289 h 296"/>
                <a:gd name="T36" fmla="*/ 233 w 317"/>
                <a:gd name="T37" fmla="*/ 286 h 296"/>
                <a:gd name="T38" fmla="*/ 195 w 317"/>
                <a:gd name="T39" fmla="*/ 286 h 296"/>
                <a:gd name="T40" fmla="*/ 312 w 317"/>
                <a:gd name="T41" fmla="*/ 245 h 296"/>
                <a:gd name="T42" fmla="*/ 313 w 317"/>
                <a:gd name="T43" fmla="*/ 245 h 296"/>
                <a:gd name="T44" fmla="*/ 316 w 317"/>
                <a:gd name="T45" fmla="*/ 242 h 296"/>
                <a:gd name="T46" fmla="*/ 317 w 317"/>
                <a:gd name="T47" fmla="*/ 5 h 296"/>
                <a:gd name="T48" fmla="*/ 316 w 317"/>
                <a:gd name="T49" fmla="*/ 4 h 296"/>
                <a:gd name="T50" fmla="*/ 313 w 317"/>
                <a:gd name="T51" fmla="*/ 1 h 296"/>
                <a:gd name="T52" fmla="*/ 312 w 317"/>
                <a:gd name="T53" fmla="*/ 0 h 296"/>
                <a:gd name="T54" fmla="*/ 299 w 317"/>
                <a:gd name="T55" fmla="*/ 220 h 296"/>
                <a:gd name="T56" fmla="*/ 296 w 317"/>
                <a:gd name="T57" fmla="*/ 224 h 296"/>
                <a:gd name="T58" fmla="*/ 293 w 317"/>
                <a:gd name="T59" fmla="*/ 226 h 296"/>
                <a:gd name="T60" fmla="*/ 25 w 317"/>
                <a:gd name="T61" fmla="*/ 226 h 296"/>
                <a:gd name="T62" fmla="*/ 22 w 317"/>
                <a:gd name="T63" fmla="*/ 224 h 296"/>
                <a:gd name="T64" fmla="*/ 19 w 317"/>
                <a:gd name="T65" fmla="*/ 220 h 296"/>
                <a:gd name="T66" fmla="*/ 19 w 317"/>
                <a:gd name="T67" fmla="*/ 26 h 296"/>
                <a:gd name="T68" fmla="*/ 22 w 317"/>
                <a:gd name="T69" fmla="*/ 22 h 296"/>
                <a:gd name="T70" fmla="*/ 25 w 317"/>
                <a:gd name="T71" fmla="*/ 20 h 296"/>
                <a:gd name="T72" fmla="*/ 293 w 317"/>
                <a:gd name="T73" fmla="*/ 20 h 296"/>
                <a:gd name="T74" fmla="*/ 296 w 317"/>
                <a:gd name="T75" fmla="*/ 22 h 296"/>
                <a:gd name="T76" fmla="*/ 299 w 317"/>
                <a:gd name="T77" fmla="*/ 2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17" h="296">
                  <a:moveTo>
                    <a:pt x="312" y="0"/>
                  </a:moveTo>
                  <a:lnTo>
                    <a:pt x="6" y="0"/>
                  </a:lnTo>
                  <a:lnTo>
                    <a:pt x="6" y="0"/>
                  </a:lnTo>
                  <a:lnTo>
                    <a:pt x="4" y="1"/>
                  </a:lnTo>
                  <a:lnTo>
                    <a:pt x="3" y="1"/>
                  </a:lnTo>
                  <a:lnTo>
                    <a:pt x="2" y="4"/>
                  </a:lnTo>
                  <a:lnTo>
                    <a:pt x="0" y="5"/>
                  </a:lnTo>
                  <a:lnTo>
                    <a:pt x="0" y="241"/>
                  </a:lnTo>
                  <a:lnTo>
                    <a:pt x="0" y="241"/>
                  </a:lnTo>
                  <a:lnTo>
                    <a:pt x="2" y="242"/>
                  </a:lnTo>
                  <a:lnTo>
                    <a:pt x="3" y="243"/>
                  </a:lnTo>
                  <a:lnTo>
                    <a:pt x="4" y="245"/>
                  </a:lnTo>
                  <a:lnTo>
                    <a:pt x="6" y="245"/>
                  </a:lnTo>
                  <a:lnTo>
                    <a:pt x="123" y="245"/>
                  </a:lnTo>
                  <a:lnTo>
                    <a:pt x="123" y="286"/>
                  </a:lnTo>
                  <a:lnTo>
                    <a:pt x="88" y="286"/>
                  </a:lnTo>
                  <a:lnTo>
                    <a:pt x="88" y="286"/>
                  </a:lnTo>
                  <a:lnTo>
                    <a:pt x="85" y="286"/>
                  </a:lnTo>
                  <a:lnTo>
                    <a:pt x="84" y="288"/>
                  </a:lnTo>
                  <a:lnTo>
                    <a:pt x="82" y="289"/>
                  </a:lnTo>
                  <a:lnTo>
                    <a:pt x="82" y="292"/>
                  </a:lnTo>
                  <a:lnTo>
                    <a:pt x="82" y="292"/>
                  </a:lnTo>
                  <a:lnTo>
                    <a:pt x="82" y="293"/>
                  </a:lnTo>
                  <a:lnTo>
                    <a:pt x="84" y="294"/>
                  </a:lnTo>
                  <a:lnTo>
                    <a:pt x="85" y="296"/>
                  </a:lnTo>
                  <a:lnTo>
                    <a:pt x="88" y="296"/>
                  </a:lnTo>
                  <a:lnTo>
                    <a:pt x="128" y="296"/>
                  </a:lnTo>
                  <a:lnTo>
                    <a:pt x="190" y="296"/>
                  </a:lnTo>
                  <a:lnTo>
                    <a:pt x="230" y="296"/>
                  </a:lnTo>
                  <a:lnTo>
                    <a:pt x="230" y="296"/>
                  </a:lnTo>
                  <a:lnTo>
                    <a:pt x="233" y="296"/>
                  </a:lnTo>
                  <a:lnTo>
                    <a:pt x="234" y="294"/>
                  </a:lnTo>
                  <a:lnTo>
                    <a:pt x="235" y="293"/>
                  </a:lnTo>
                  <a:lnTo>
                    <a:pt x="235" y="292"/>
                  </a:lnTo>
                  <a:lnTo>
                    <a:pt x="235" y="292"/>
                  </a:lnTo>
                  <a:lnTo>
                    <a:pt x="235" y="289"/>
                  </a:lnTo>
                  <a:lnTo>
                    <a:pt x="234" y="288"/>
                  </a:lnTo>
                  <a:lnTo>
                    <a:pt x="233" y="286"/>
                  </a:lnTo>
                  <a:lnTo>
                    <a:pt x="230" y="286"/>
                  </a:lnTo>
                  <a:lnTo>
                    <a:pt x="195" y="286"/>
                  </a:lnTo>
                  <a:lnTo>
                    <a:pt x="195" y="245"/>
                  </a:lnTo>
                  <a:lnTo>
                    <a:pt x="312" y="245"/>
                  </a:lnTo>
                  <a:lnTo>
                    <a:pt x="312" y="245"/>
                  </a:lnTo>
                  <a:lnTo>
                    <a:pt x="313" y="245"/>
                  </a:lnTo>
                  <a:lnTo>
                    <a:pt x="315" y="243"/>
                  </a:lnTo>
                  <a:lnTo>
                    <a:pt x="316" y="242"/>
                  </a:lnTo>
                  <a:lnTo>
                    <a:pt x="317" y="241"/>
                  </a:lnTo>
                  <a:lnTo>
                    <a:pt x="317" y="5"/>
                  </a:lnTo>
                  <a:lnTo>
                    <a:pt x="317" y="5"/>
                  </a:lnTo>
                  <a:lnTo>
                    <a:pt x="316" y="4"/>
                  </a:lnTo>
                  <a:lnTo>
                    <a:pt x="315" y="1"/>
                  </a:lnTo>
                  <a:lnTo>
                    <a:pt x="313" y="1"/>
                  </a:lnTo>
                  <a:lnTo>
                    <a:pt x="312" y="0"/>
                  </a:lnTo>
                  <a:lnTo>
                    <a:pt x="312" y="0"/>
                  </a:lnTo>
                  <a:close/>
                  <a:moveTo>
                    <a:pt x="299" y="220"/>
                  </a:moveTo>
                  <a:lnTo>
                    <a:pt x="299" y="220"/>
                  </a:lnTo>
                  <a:lnTo>
                    <a:pt x="297" y="223"/>
                  </a:lnTo>
                  <a:lnTo>
                    <a:pt x="296" y="224"/>
                  </a:lnTo>
                  <a:lnTo>
                    <a:pt x="295" y="226"/>
                  </a:lnTo>
                  <a:lnTo>
                    <a:pt x="293" y="226"/>
                  </a:lnTo>
                  <a:lnTo>
                    <a:pt x="25" y="226"/>
                  </a:lnTo>
                  <a:lnTo>
                    <a:pt x="25" y="226"/>
                  </a:lnTo>
                  <a:lnTo>
                    <a:pt x="23" y="226"/>
                  </a:lnTo>
                  <a:lnTo>
                    <a:pt x="22" y="224"/>
                  </a:lnTo>
                  <a:lnTo>
                    <a:pt x="21" y="223"/>
                  </a:lnTo>
                  <a:lnTo>
                    <a:pt x="19" y="220"/>
                  </a:lnTo>
                  <a:lnTo>
                    <a:pt x="19" y="26"/>
                  </a:lnTo>
                  <a:lnTo>
                    <a:pt x="19" y="26"/>
                  </a:lnTo>
                  <a:lnTo>
                    <a:pt x="21" y="23"/>
                  </a:lnTo>
                  <a:lnTo>
                    <a:pt x="22" y="22"/>
                  </a:lnTo>
                  <a:lnTo>
                    <a:pt x="23" y="20"/>
                  </a:lnTo>
                  <a:lnTo>
                    <a:pt x="25" y="20"/>
                  </a:lnTo>
                  <a:lnTo>
                    <a:pt x="293" y="20"/>
                  </a:lnTo>
                  <a:lnTo>
                    <a:pt x="293" y="20"/>
                  </a:lnTo>
                  <a:lnTo>
                    <a:pt x="295" y="20"/>
                  </a:lnTo>
                  <a:lnTo>
                    <a:pt x="296" y="22"/>
                  </a:lnTo>
                  <a:lnTo>
                    <a:pt x="297" y="23"/>
                  </a:lnTo>
                  <a:lnTo>
                    <a:pt x="299" y="26"/>
                  </a:lnTo>
                  <a:lnTo>
                    <a:pt x="299" y="2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43" name="Group 42">
            <a:extLst>
              <a:ext uri="{FF2B5EF4-FFF2-40B4-BE49-F238E27FC236}">
                <a16:creationId xmlns:a16="http://schemas.microsoft.com/office/drawing/2014/main" id="{48ADDC24-6321-4A88-AB89-73BE550767C4}"/>
              </a:ext>
            </a:extLst>
          </p:cNvPr>
          <p:cNvGrpSpPr>
            <a:grpSpLocks noChangeAspect="1"/>
          </p:cNvGrpSpPr>
          <p:nvPr/>
        </p:nvGrpSpPr>
        <p:grpSpPr>
          <a:xfrm>
            <a:off x="4007170" y="3773543"/>
            <a:ext cx="522288" cy="522288"/>
            <a:chOff x="3200401" y="5856288"/>
            <a:chExt cx="522288" cy="522288"/>
          </a:xfrm>
        </p:grpSpPr>
        <p:sp>
          <p:nvSpPr>
            <p:cNvPr id="44" name="Freeform 52">
              <a:extLst>
                <a:ext uri="{FF2B5EF4-FFF2-40B4-BE49-F238E27FC236}">
                  <a16:creationId xmlns:a16="http://schemas.microsoft.com/office/drawing/2014/main" id="{E36BE0E9-D37A-4C76-AFA5-6D75D0243B77}"/>
                </a:ext>
              </a:extLst>
            </p:cNvPr>
            <p:cNvSpPr>
              <a:spLocks noEditPoints="1"/>
            </p:cNvSpPr>
            <p:nvPr/>
          </p:nvSpPr>
          <p:spPr bwMode="auto">
            <a:xfrm>
              <a:off x="3200401" y="5856288"/>
              <a:ext cx="522288" cy="522288"/>
            </a:xfrm>
            <a:custGeom>
              <a:avLst/>
              <a:gdLst>
                <a:gd name="T0" fmla="*/ 312 w 657"/>
                <a:gd name="T1" fmla="*/ 657 h 657"/>
                <a:gd name="T2" fmla="*/ 262 w 657"/>
                <a:gd name="T3" fmla="*/ 651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8 h 657"/>
                <a:gd name="T16" fmla="*/ 2 w 657"/>
                <a:gd name="T17" fmla="*/ 295 h 657"/>
                <a:gd name="T18" fmla="*/ 11 w 657"/>
                <a:gd name="T19" fmla="*/ 246 h 657"/>
                <a:gd name="T20" fmla="*/ 39 w 657"/>
                <a:gd name="T21" fmla="*/ 172 h 657"/>
                <a:gd name="T22" fmla="*/ 97 w 657"/>
                <a:gd name="T23" fmla="*/ 96 h 657"/>
                <a:gd name="T24" fmla="*/ 172 w 657"/>
                <a:gd name="T25" fmla="*/ 39 h 657"/>
                <a:gd name="T26" fmla="*/ 246 w 657"/>
                <a:gd name="T27" fmla="*/ 10 h 657"/>
                <a:gd name="T28" fmla="*/ 296 w 657"/>
                <a:gd name="T29" fmla="*/ 2 h 657"/>
                <a:gd name="T30" fmla="*/ 329 w 657"/>
                <a:gd name="T31" fmla="*/ 0 h 657"/>
                <a:gd name="T32" fmla="*/ 379 w 657"/>
                <a:gd name="T33" fmla="*/ 3 h 657"/>
                <a:gd name="T34" fmla="*/ 426 w 657"/>
                <a:gd name="T35" fmla="*/ 15 h 657"/>
                <a:gd name="T36" fmla="*/ 512 w 657"/>
                <a:gd name="T37" fmla="*/ 55 h 657"/>
                <a:gd name="T38" fmla="*/ 582 w 657"/>
                <a:gd name="T39" fmla="*/ 120 h 657"/>
                <a:gd name="T40" fmla="*/ 632 w 657"/>
                <a:gd name="T41" fmla="*/ 201 h 657"/>
                <a:gd name="T42" fmla="*/ 650 w 657"/>
                <a:gd name="T43" fmla="*/ 262 h 657"/>
                <a:gd name="T44" fmla="*/ 657 w 657"/>
                <a:gd name="T45" fmla="*/ 312 h 657"/>
                <a:gd name="T46" fmla="*/ 657 w 657"/>
                <a:gd name="T47" fmla="*/ 346 h 657"/>
                <a:gd name="T48" fmla="*/ 650 w 657"/>
                <a:gd name="T49" fmla="*/ 395 h 657"/>
                <a:gd name="T50" fmla="*/ 632 w 657"/>
                <a:gd name="T51" fmla="*/ 457 h 657"/>
                <a:gd name="T52" fmla="*/ 582 w 657"/>
                <a:gd name="T53" fmla="*/ 538 h 657"/>
                <a:gd name="T54" fmla="*/ 512 w 657"/>
                <a:gd name="T55" fmla="*/ 601 h 657"/>
                <a:gd name="T56" fmla="*/ 426 w 657"/>
                <a:gd name="T57" fmla="*/ 643 h 657"/>
                <a:gd name="T58" fmla="*/ 379 w 657"/>
                <a:gd name="T59" fmla="*/ 653 h 657"/>
                <a:gd name="T60" fmla="*/ 329 w 657"/>
                <a:gd name="T61" fmla="*/ 657 h 657"/>
                <a:gd name="T62" fmla="*/ 329 w 657"/>
                <a:gd name="T63" fmla="*/ 38 h 657"/>
                <a:gd name="T64" fmla="*/ 242 w 657"/>
                <a:gd name="T65" fmla="*/ 50 h 657"/>
                <a:gd name="T66" fmla="*/ 165 w 657"/>
                <a:gd name="T67" fmla="*/ 88 h 657"/>
                <a:gd name="T68" fmla="*/ 104 w 657"/>
                <a:gd name="T69" fmla="*/ 144 h 657"/>
                <a:gd name="T70" fmla="*/ 61 w 657"/>
                <a:gd name="T71" fmla="*/ 215 h 657"/>
                <a:gd name="T72" fmla="*/ 39 w 657"/>
                <a:gd name="T73" fmla="*/ 299 h 657"/>
                <a:gd name="T74" fmla="*/ 39 w 657"/>
                <a:gd name="T75" fmla="*/ 359 h 657"/>
                <a:gd name="T76" fmla="*/ 61 w 657"/>
                <a:gd name="T77" fmla="*/ 442 h 657"/>
                <a:gd name="T78" fmla="*/ 104 w 657"/>
                <a:gd name="T79" fmla="*/ 514 h 657"/>
                <a:gd name="T80" fmla="*/ 165 w 657"/>
                <a:gd name="T81" fmla="*/ 570 h 657"/>
                <a:gd name="T82" fmla="*/ 242 w 657"/>
                <a:gd name="T83" fmla="*/ 606 h 657"/>
                <a:gd name="T84" fmla="*/ 329 w 657"/>
                <a:gd name="T85" fmla="*/ 620 h 657"/>
                <a:gd name="T86" fmla="*/ 387 w 657"/>
                <a:gd name="T87" fmla="*/ 614 h 657"/>
                <a:gd name="T88" fmla="*/ 468 w 657"/>
                <a:gd name="T89" fmla="*/ 585 h 657"/>
                <a:gd name="T90" fmla="*/ 535 w 657"/>
                <a:gd name="T91" fmla="*/ 535 h 657"/>
                <a:gd name="T92" fmla="*/ 585 w 657"/>
                <a:gd name="T93" fmla="*/ 468 h 657"/>
                <a:gd name="T94" fmla="*/ 614 w 657"/>
                <a:gd name="T95" fmla="*/ 387 h 657"/>
                <a:gd name="T96" fmla="*/ 619 w 657"/>
                <a:gd name="T97" fmla="*/ 328 h 657"/>
                <a:gd name="T98" fmla="*/ 607 w 657"/>
                <a:gd name="T99" fmla="*/ 242 h 657"/>
                <a:gd name="T100" fmla="*/ 570 w 657"/>
                <a:gd name="T101" fmla="*/ 166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6"/>
                  </a:lnTo>
                  <a:lnTo>
                    <a:pt x="278" y="653"/>
                  </a:lnTo>
                  <a:lnTo>
                    <a:pt x="262" y="651"/>
                  </a:lnTo>
                  <a:lnTo>
                    <a:pt x="246" y="647"/>
                  </a:lnTo>
                  <a:lnTo>
                    <a:pt x="231" y="643"/>
                  </a:lnTo>
                  <a:lnTo>
                    <a:pt x="200" y="632"/>
                  </a:lnTo>
                  <a:lnTo>
                    <a:pt x="172" y="618"/>
                  </a:lnTo>
                  <a:lnTo>
                    <a:pt x="145" y="601"/>
                  </a:lnTo>
                  <a:lnTo>
                    <a:pt x="120" y="582"/>
                  </a:lnTo>
                  <a:lnTo>
                    <a:pt x="97" y="561"/>
                  </a:lnTo>
                  <a:lnTo>
                    <a:pt x="75" y="538"/>
                  </a:lnTo>
                  <a:lnTo>
                    <a:pt x="57" y="512"/>
                  </a:lnTo>
                  <a:lnTo>
                    <a:pt x="39" y="485"/>
                  </a:lnTo>
                  <a:lnTo>
                    <a:pt x="26" y="457"/>
                  </a:lnTo>
                  <a:lnTo>
                    <a:pt x="15" y="426"/>
                  </a:lnTo>
                  <a:lnTo>
                    <a:pt x="11" y="410"/>
                  </a:lnTo>
                  <a:lnTo>
                    <a:pt x="7" y="395"/>
                  </a:lnTo>
                  <a:lnTo>
                    <a:pt x="4" y="379"/>
                  </a:lnTo>
                  <a:lnTo>
                    <a:pt x="2" y="362"/>
                  </a:lnTo>
                  <a:lnTo>
                    <a:pt x="0" y="346"/>
                  </a:lnTo>
                  <a:lnTo>
                    <a:pt x="0" y="328"/>
                  </a:lnTo>
                  <a:lnTo>
                    <a:pt x="0" y="328"/>
                  </a:lnTo>
                  <a:lnTo>
                    <a:pt x="0" y="312"/>
                  </a:lnTo>
                  <a:lnTo>
                    <a:pt x="2" y="295"/>
                  </a:lnTo>
                  <a:lnTo>
                    <a:pt x="4" y="278"/>
                  </a:lnTo>
                  <a:lnTo>
                    <a:pt x="7" y="262"/>
                  </a:lnTo>
                  <a:lnTo>
                    <a:pt x="11" y="246"/>
                  </a:lnTo>
                  <a:lnTo>
                    <a:pt x="15" y="231"/>
                  </a:lnTo>
                  <a:lnTo>
                    <a:pt x="26" y="201"/>
                  </a:lnTo>
                  <a:lnTo>
                    <a:pt x="39" y="172"/>
                  </a:lnTo>
                  <a:lnTo>
                    <a:pt x="57" y="145"/>
                  </a:lnTo>
                  <a:lnTo>
                    <a:pt x="75" y="120"/>
                  </a:lnTo>
                  <a:lnTo>
                    <a:pt x="97" y="96"/>
                  </a:lnTo>
                  <a:lnTo>
                    <a:pt x="120" y="76"/>
                  </a:lnTo>
                  <a:lnTo>
                    <a:pt x="145" y="55"/>
                  </a:lnTo>
                  <a:lnTo>
                    <a:pt x="172" y="39"/>
                  </a:lnTo>
                  <a:lnTo>
                    <a:pt x="200" y="26"/>
                  </a:lnTo>
                  <a:lnTo>
                    <a:pt x="231" y="15"/>
                  </a:lnTo>
                  <a:lnTo>
                    <a:pt x="246" y="10"/>
                  </a:lnTo>
                  <a:lnTo>
                    <a:pt x="262" y="7"/>
                  </a:lnTo>
                  <a:lnTo>
                    <a:pt x="278" y="3"/>
                  </a:lnTo>
                  <a:lnTo>
                    <a:pt x="296" y="2"/>
                  </a:lnTo>
                  <a:lnTo>
                    <a:pt x="312" y="0"/>
                  </a:lnTo>
                  <a:lnTo>
                    <a:pt x="329" y="0"/>
                  </a:lnTo>
                  <a:lnTo>
                    <a:pt x="329" y="0"/>
                  </a:lnTo>
                  <a:lnTo>
                    <a:pt x="345" y="0"/>
                  </a:lnTo>
                  <a:lnTo>
                    <a:pt x="363" y="2"/>
                  </a:lnTo>
                  <a:lnTo>
                    <a:pt x="379" y="3"/>
                  </a:lnTo>
                  <a:lnTo>
                    <a:pt x="395" y="7"/>
                  </a:lnTo>
                  <a:lnTo>
                    <a:pt x="411" y="10"/>
                  </a:lnTo>
                  <a:lnTo>
                    <a:pt x="426" y="15"/>
                  </a:lnTo>
                  <a:lnTo>
                    <a:pt x="457" y="26"/>
                  </a:lnTo>
                  <a:lnTo>
                    <a:pt x="485" y="39"/>
                  </a:lnTo>
                  <a:lnTo>
                    <a:pt x="512" y="55"/>
                  </a:lnTo>
                  <a:lnTo>
                    <a:pt x="538" y="76"/>
                  </a:lnTo>
                  <a:lnTo>
                    <a:pt x="562" y="96"/>
                  </a:lnTo>
                  <a:lnTo>
                    <a:pt x="582" y="120"/>
                  </a:lnTo>
                  <a:lnTo>
                    <a:pt x="601" y="145"/>
                  </a:lnTo>
                  <a:lnTo>
                    <a:pt x="618" y="172"/>
                  </a:lnTo>
                  <a:lnTo>
                    <a:pt x="632" y="201"/>
                  </a:lnTo>
                  <a:lnTo>
                    <a:pt x="642" y="231"/>
                  </a:lnTo>
                  <a:lnTo>
                    <a:pt x="648" y="246"/>
                  </a:lnTo>
                  <a:lnTo>
                    <a:pt x="650" y="262"/>
                  </a:lnTo>
                  <a:lnTo>
                    <a:pt x="654" y="278"/>
                  </a:lnTo>
                  <a:lnTo>
                    <a:pt x="656" y="295"/>
                  </a:lnTo>
                  <a:lnTo>
                    <a:pt x="657" y="312"/>
                  </a:lnTo>
                  <a:lnTo>
                    <a:pt x="657" y="328"/>
                  </a:lnTo>
                  <a:lnTo>
                    <a:pt x="657" y="328"/>
                  </a:lnTo>
                  <a:lnTo>
                    <a:pt x="657" y="346"/>
                  </a:lnTo>
                  <a:lnTo>
                    <a:pt x="656" y="362"/>
                  </a:lnTo>
                  <a:lnTo>
                    <a:pt x="654" y="379"/>
                  </a:lnTo>
                  <a:lnTo>
                    <a:pt x="650" y="395"/>
                  </a:lnTo>
                  <a:lnTo>
                    <a:pt x="648" y="410"/>
                  </a:lnTo>
                  <a:lnTo>
                    <a:pt x="642" y="426"/>
                  </a:lnTo>
                  <a:lnTo>
                    <a:pt x="632" y="457"/>
                  </a:lnTo>
                  <a:lnTo>
                    <a:pt x="618" y="485"/>
                  </a:lnTo>
                  <a:lnTo>
                    <a:pt x="601" y="512"/>
                  </a:lnTo>
                  <a:lnTo>
                    <a:pt x="582" y="538"/>
                  </a:lnTo>
                  <a:lnTo>
                    <a:pt x="562" y="561"/>
                  </a:lnTo>
                  <a:lnTo>
                    <a:pt x="538" y="582"/>
                  </a:lnTo>
                  <a:lnTo>
                    <a:pt x="512" y="601"/>
                  </a:lnTo>
                  <a:lnTo>
                    <a:pt x="485" y="618"/>
                  </a:lnTo>
                  <a:lnTo>
                    <a:pt x="457" y="632"/>
                  </a:lnTo>
                  <a:lnTo>
                    <a:pt x="426" y="643"/>
                  </a:lnTo>
                  <a:lnTo>
                    <a:pt x="411" y="647"/>
                  </a:lnTo>
                  <a:lnTo>
                    <a:pt x="395" y="651"/>
                  </a:lnTo>
                  <a:lnTo>
                    <a:pt x="379" y="653"/>
                  </a:lnTo>
                  <a:lnTo>
                    <a:pt x="363" y="656"/>
                  </a:lnTo>
                  <a:lnTo>
                    <a:pt x="345" y="657"/>
                  </a:lnTo>
                  <a:lnTo>
                    <a:pt x="329" y="657"/>
                  </a:lnTo>
                  <a:lnTo>
                    <a:pt x="329" y="657"/>
                  </a:lnTo>
                  <a:close/>
                  <a:moveTo>
                    <a:pt x="329" y="38"/>
                  </a:moveTo>
                  <a:lnTo>
                    <a:pt x="329" y="38"/>
                  </a:lnTo>
                  <a:lnTo>
                    <a:pt x="298" y="39"/>
                  </a:lnTo>
                  <a:lnTo>
                    <a:pt x="270" y="43"/>
                  </a:lnTo>
                  <a:lnTo>
                    <a:pt x="242" y="50"/>
                  </a:lnTo>
                  <a:lnTo>
                    <a:pt x="215" y="61"/>
                  </a:lnTo>
                  <a:lnTo>
                    <a:pt x="190" y="73"/>
                  </a:lnTo>
                  <a:lnTo>
                    <a:pt x="165" y="88"/>
                  </a:lnTo>
                  <a:lnTo>
                    <a:pt x="144" y="104"/>
                  </a:lnTo>
                  <a:lnTo>
                    <a:pt x="122" y="123"/>
                  </a:lnTo>
                  <a:lnTo>
                    <a:pt x="104" y="144"/>
                  </a:lnTo>
                  <a:lnTo>
                    <a:pt x="87" y="166"/>
                  </a:lnTo>
                  <a:lnTo>
                    <a:pt x="73" y="190"/>
                  </a:lnTo>
                  <a:lnTo>
                    <a:pt x="61" y="215"/>
                  </a:lnTo>
                  <a:lnTo>
                    <a:pt x="51" y="242"/>
                  </a:lnTo>
                  <a:lnTo>
                    <a:pt x="43" y="270"/>
                  </a:lnTo>
                  <a:lnTo>
                    <a:pt x="39" y="299"/>
                  </a:lnTo>
                  <a:lnTo>
                    <a:pt x="38" y="328"/>
                  </a:lnTo>
                  <a:lnTo>
                    <a:pt x="38" y="328"/>
                  </a:lnTo>
                  <a:lnTo>
                    <a:pt x="39" y="359"/>
                  </a:lnTo>
                  <a:lnTo>
                    <a:pt x="43" y="387"/>
                  </a:lnTo>
                  <a:lnTo>
                    <a:pt x="51" y="415"/>
                  </a:lnTo>
                  <a:lnTo>
                    <a:pt x="61" y="442"/>
                  </a:lnTo>
                  <a:lnTo>
                    <a:pt x="73" y="468"/>
                  </a:lnTo>
                  <a:lnTo>
                    <a:pt x="87" y="491"/>
                  </a:lnTo>
                  <a:lnTo>
                    <a:pt x="104" y="514"/>
                  </a:lnTo>
                  <a:lnTo>
                    <a:pt x="122" y="535"/>
                  </a:lnTo>
                  <a:lnTo>
                    <a:pt x="144" y="554"/>
                  </a:lnTo>
                  <a:lnTo>
                    <a:pt x="165" y="570"/>
                  </a:lnTo>
                  <a:lnTo>
                    <a:pt x="190" y="585"/>
                  </a:lnTo>
                  <a:lnTo>
                    <a:pt x="215" y="597"/>
                  </a:lnTo>
                  <a:lnTo>
                    <a:pt x="242" y="606"/>
                  </a:lnTo>
                  <a:lnTo>
                    <a:pt x="270" y="614"/>
                  </a:lnTo>
                  <a:lnTo>
                    <a:pt x="298" y="618"/>
                  </a:lnTo>
                  <a:lnTo>
                    <a:pt x="329" y="620"/>
                  </a:lnTo>
                  <a:lnTo>
                    <a:pt x="329" y="620"/>
                  </a:lnTo>
                  <a:lnTo>
                    <a:pt x="359" y="618"/>
                  </a:lnTo>
                  <a:lnTo>
                    <a:pt x="387" y="614"/>
                  </a:lnTo>
                  <a:lnTo>
                    <a:pt x="415" y="606"/>
                  </a:lnTo>
                  <a:lnTo>
                    <a:pt x="442" y="597"/>
                  </a:lnTo>
                  <a:lnTo>
                    <a:pt x="468" y="585"/>
                  </a:lnTo>
                  <a:lnTo>
                    <a:pt x="492" y="570"/>
                  </a:lnTo>
                  <a:lnTo>
                    <a:pt x="513" y="554"/>
                  </a:lnTo>
                  <a:lnTo>
                    <a:pt x="535" y="535"/>
                  </a:lnTo>
                  <a:lnTo>
                    <a:pt x="554" y="514"/>
                  </a:lnTo>
                  <a:lnTo>
                    <a:pt x="570" y="491"/>
                  </a:lnTo>
                  <a:lnTo>
                    <a:pt x="585" y="468"/>
                  </a:lnTo>
                  <a:lnTo>
                    <a:pt x="597" y="442"/>
                  </a:lnTo>
                  <a:lnTo>
                    <a:pt x="607" y="415"/>
                  </a:lnTo>
                  <a:lnTo>
                    <a:pt x="614" y="387"/>
                  </a:lnTo>
                  <a:lnTo>
                    <a:pt x="618" y="359"/>
                  </a:lnTo>
                  <a:lnTo>
                    <a:pt x="619" y="328"/>
                  </a:lnTo>
                  <a:lnTo>
                    <a:pt x="619" y="328"/>
                  </a:lnTo>
                  <a:lnTo>
                    <a:pt x="618" y="299"/>
                  </a:lnTo>
                  <a:lnTo>
                    <a:pt x="614" y="270"/>
                  </a:lnTo>
                  <a:lnTo>
                    <a:pt x="607" y="242"/>
                  </a:lnTo>
                  <a:lnTo>
                    <a:pt x="597" y="215"/>
                  </a:lnTo>
                  <a:lnTo>
                    <a:pt x="585" y="190"/>
                  </a:lnTo>
                  <a:lnTo>
                    <a:pt x="570" y="166"/>
                  </a:lnTo>
                  <a:lnTo>
                    <a:pt x="554" y="144"/>
                  </a:lnTo>
                  <a:lnTo>
                    <a:pt x="535" y="123"/>
                  </a:lnTo>
                  <a:lnTo>
                    <a:pt x="513" y="104"/>
                  </a:lnTo>
                  <a:lnTo>
                    <a:pt x="492" y="88"/>
                  </a:lnTo>
                  <a:lnTo>
                    <a:pt x="468" y="73"/>
                  </a:lnTo>
                  <a:lnTo>
                    <a:pt x="442" y="61"/>
                  </a:lnTo>
                  <a:lnTo>
                    <a:pt x="415" y="50"/>
                  </a:lnTo>
                  <a:lnTo>
                    <a:pt x="387" y="43"/>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07">
              <a:extLst>
                <a:ext uri="{FF2B5EF4-FFF2-40B4-BE49-F238E27FC236}">
                  <a16:creationId xmlns:a16="http://schemas.microsoft.com/office/drawing/2014/main" id="{2D00885F-79F6-4788-8708-98AEB00300B1}"/>
                </a:ext>
              </a:extLst>
            </p:cNvPr>
            <p:cNvSpPr>
              <a:spLocks/>
            </p:cNvSpPr>
            <p:nvPr/>
          </p:nvSpPr>
          <p:spPr bwMode="auto">
            <a:xfrm>
              <a:off x="3327401" y="6226175"/>
              <a:ext cx="280988" cy="12700"/>
            </a:xfrm>
            <a:custGeom>
              <a:avLst/>
              <a:gdLst>
                <a:gd name="T0" fmla="*/ 345 w 353"/>
                <a:gd name="T1" fmla="*/ 0 h 16"/>
                <a:gd name="T2" fmla="*/ 8 w 353"/>
                <a:gd name="T3" fmla="*/ 0 h 16"/>
                <a:gd name="T4" fmla="*/ 8 w 353"/>
                <a:gd name="T5" fmla="*/ 0 h 16"/>
                <a:gd name="T6" fmla="*/ 4 w 353"/>
                <a:gd name="T7" fmla="*/ 0 h 16"/>
                <a:gd name="T8" fmla="*/ 1 w 353"/>
                <a:gd name="T9" fmla="*/ 3 h 16"/>
                <a:gd name="T10" fmla="*/ 0 w 353"/>
                <a:gd name="T11" fmla="*/ 6 h 16"/>
                <a:gd name="T12" fmla="*/ 0 w 353"/>
                <a:gd name="T13" fmla="*/ 8 h 16"/>
                <a:gd name="T14" fmla="*/ 0 w 353"/>
                <a:gd name="T15" fmla="*/ 8 h 16"/>
                <a:gd name="T16" fmla="*/ 0 w 353"/>
                <a:gd name="T17" fmla="*/ 11 h 16"/>
                <a:gd name="T18" fmla="*/ 1 w 353"/>
                <a:gd name="T19" fmla="*/ 14 h 16"/>
                <a:gd name="T20" fmla="*/ 4 w 353"/>
                <a:gd name="T21" fmla="*/ 16 h 16"/>
                <a:gd name="T22" fmla="*/ 8 w 353"/>
                <a:gd name="T23" fmla="*/ 16 h 16"/>
                <a:gd name="T24" fmla="*/ 345 w 353"/>
                <a:gd name="T25" fmla="*/ 16 h 16"/>
                <a:gd name="T26" fmla="*/ 345 w 353"/>
                <a:gd name="T27" fmla="*/ 16 h 16"/>
                <a:gd name="T28" fmla="*/ 348 w 353"/>
                <a:gd name="T29" fmla="*/ 16 h 16"/>
                <a:gd name="T30" fmla="*/ 351 w 353"/>
                <a:gd name="T31" fmla="*/ 14 h 16"/>
                <a:gd name="T32" fmla="*/ 352 w 353"/>
                <a:gd name="T33" fmla="*/ 11 h 16"/>
                <a:gd name="T34" fmla="*/ 353 w 353"/>
                <a:gd name="T35" fmla="*/ 8 h 16"/>
                <a:gd name="T36" fmla="*/ 353 w 353"/>
                <a:gd name="T37" fmla="*/ 8 h 16"/>
                <a:gd name="T38" fmla="*/ 352 w 353"/>
                <a:gd name="T39" fmla="*/ 6 h 16"/>
                <a:gd name="T40" fmla="*/ 351 w 353"/>
                <a:gd name="T41" fmla="*/ 3 h 16"/>
                <a:gd name="T42" fmla="*/ 348 w 353"/>
                <a:gd name="T43" fmla="*/ 0 h 16"/>
                <a:gd name="T44" fmla="*/ 345 w 353"/>
                <a:gd name="T45" fmla="*/ 0 h 16"/>
                <a:gd name="T46" fmla="*/ 345 w 353"/>
                <a:gd name="T4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3" h="16">
                  <a:moveTo>
                    <a:pt x="345" y="0"/>
                  </a:moveTo>
                  <a:lnTo>
                    <a:pt x="8" y="0"/>
                  </a:lnTo>
                  <a:lnTo>
                    <a:pt x="8" y="0"/>
                  </a:lnTo>
                  <a:lnTo>
                    <a:pt x="4" y="0"/>
                  </a:lnTo>
                  <a:lnTo>
                    <a:pt x="1" y="3"/>
                  </a:lnTo>
                  <a:lnTo>
                    <a:pt x="0" y="6"/>
                  </a:lnTo>
                  <a:lnTo>
                    <a:pt x="0" y="8"/>
                  </a:lnTo>
                  <a:lnTo>
                    <a:pt x="0" y="8"/>
                  </a:lnTo>
                  <a:lnTo>
                    <a:pt x="0" y="11"/>
                  </a:lnTo>
                  <a:lnTo>
                    <a:pt x="1" y="14"/>
                  </a:lnTo>
                  <a:lnTo>
                    <a:pt x="4" y="16"/>
                  </a:lnTo>
                  <a:lnTo>
                    <a:pt x="8" y="16"/>
                  </a:lnTo>
                  <a:lnTo>
                    <a:pt x="345" y="16"/>
                  </a:lnTo>
                  <a:lnTo>
                    <a:pt x="345" y="16"/>
                  </a:lnTo>
                  <a:lnTo>
                    <a:pt x="348" y="16"/>
                  </a:lnTo>
                  <a:lnTo>
                    <a:pt x="351" y="14"/>
                  </a:lnTo>
                  <a:lnTo>
                    <a:pt x="352" y="11"/>
                  </a:lnTo>
                  <a:lnTo>
                    <a:pt x="353" y="8"/>
                  </a:lnTo>
                  <a:lnTo>
                    <a:pt x="353" y="8"/>
                  </a:lnTo>
                  <a:lnTo>
                    <a:pt x="352" y="6"/>
                  </a:lnTo>
                  <a:lnTo>
                    <a:pt x="351" y="3"/>
                  </a:lnTo>
                  <a:lnTo>
                    <a:pt x="348" y="0"/>
                  </a:lnTo>
                  <a:lnTo>
                    <a:pt x="345" y="0"/>
                  </a:lnTo>
                  <a:lnTo>
                    <a:pt x="34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08">
              <a:extLst>
                <a:ext uri="{FF2B5EF4-FFF2-40B4-BE49-F238E27FC236}">
                  <a16:creationId xmlns:a16="http://schemas.microsoft.com/office/drawing/2014/main" id="{490910BF-5D6B-42C7-963D-2AA8B44D1458}"/>
                </a:ext>
              </a:extLst>
            </p:cNvPr>
            <p:cNvSpPr>
              <a:spLocks/>
            </p:cNvSpPr>
            <p:nvPr/>
          </p:nvSpPr>
          <p:spPr bwMode="auto">
            <a:xfrm>
              <a:off x="3338513" y="6067425"/>
              <a:ext cx="61913" cy="125413"/>
            </a:xfrm>
            <a:custGeom>
              <a:avLst/>
              <a:gdLst>
                <a:gd name="T0" fmla="*/ 6 w 80"/>
                <a:gd name="T1" fmla="*/ 158 h 158"/>
                <a:gd name="T2" fmla="*/ 73 w 80"/>
                <a:gd name="T3" fmla="*/ 158 h 158"/>
                <a:gd name="T4" fmla="*/ 73 w 80"/>
                <a:gd name="T5" fmla="*/ 158 h 158"/>
                <a:gd name="T6" fmla="*/ 76 w 80"/>
                <a:gd name="T7" fmla="*/ 156 h 158"/>
                <a:gd name="T8" fmla="*/ 77 w 80"/>
                <a:gd name="T9" fmla="*/ 155 h 158"/>
                <a:gd name="T10" fmla="*/ 78 w 80"/>
                <a:gd name="T11" fmla="*/ 154 h 158"/>
                <a:gd name="T12" fmla="*/ 80 w 80"/>
                <a:gd name="T13" fmla="*/ 152 h 158"/>
                <a:gd name="T14" fmla="*/ 80 w 80"/>
                <a:gd name="T15" fmla="*/ 6 h 158"/>
                <a:gd name="T16" fmla="*/ 80 w 80"/>
                <a:gd name="T17" fmla="*/ 6 h 158"/>
                <a:gd name="T18" fmla="*/ 78 w 80"/>
                <a:gd name="T19" fmla="*/ 3 h 158"/>
                <a:gd name="T20" fmla="*/ 77 w 80"/>
                <a:gd name="T21" fmla="*/ 2 h 158"/>
                <a:gd name="T22" fmla="*/ 76 w 80"/>
                <a:gd name="T23" fmla="*/ 0 h 158"/>
                <a:gd name="T24" fmla="*/ 73 w 80"/>
                <a:gd name="T25" fmla="*/ 0 h 158"/>
                <a:gd name="T26" fmla="*/ 6 w 80"/>
                <a:gd name="T27" fmla="*/ 0 h 158"/>
                <a:gd name="T28" fmla="*/ 6 w 80"/>
                <a:gd name="T29" fmla="*/ 0 h 158"/>
                <a:gd name="T30" fmla="*/ 4 w 80"/>
                <a:gd name="T31" fmla="*/ 0 h 158"/>
                <a:gd name="T32" fmla="*/ 2 w 80"/>
                <a:gd name="T33" fmla="*/ 2 h 158"/>
                <a:gd name="T34" fmla="*/ 0 w 80"/>
                <a:gd name="T35" fmla="*/ 3 h 158"/>
                <a:gd name="T36" fmla="*/ 0 w 80"/>
                <a:gd name="T37" fmla="*/ 6 h 158"/>
                <a:gd name="T38" fmla="*/ 0 w 80"/>
                <a:gd name="T39" fmla="*/ 152 h 158"/>
                <a:gd name="T40" fmla="*/ 0 w 80"/>
                <a:gd name="T41" fmla="*/ 152 h 158"/>
                <a:gd name="T42" fmla="*/ 0 w 80"/>
                <a:gd name="T43" fmla="*/ 154 h 158"/>
                <a:gd name="T44" fmla="*/ 2 w 80"/>
                <a:gd name="T45" fmla="*/ 155 h 158"/>
                <a:gd name="T46" fmla="*/ 4 w 80"/>
                <a:gd name="T47" fmla="*/ 156 h 158"/>
                <a:gd name="T48" fmla="*/ 6 w 80"/>
                <a:gd name="T49" fmla="*/ 158 h 158"/>
                <a:gd name="T50" fmla="*/ 6 w 80"/>
                <a:gd name="T51"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0" h="158">
                  <a:moveTo>
                    <a:pt x="6" y="158"/>
                  </a:moveTo>
                  <a:lnTo>
                    <a:pt x="73" y="158"/>
                  </a:lnTo>
                  <a:lnTo>
                    <a:pt x="73" y="158"/>
                  </a:lnTo>
                  <a:lnTo>
                    <a:pt x="76" y="156"/>
                  </a:lnTo>
                  <a:lnTo>
                    <a:pt x="77" y="155"/>
                  </a:lnTo>
                  <a:lnTo>
                    <a:pt x="78" y="154"/>
                  </a:lnTo>
                  <a:lnTo>
                    <a:pt x="80" y="152"/>
                  </a:lnTo>
                  <a:lnTo>
                    <a:pt x="80" y="6"/>
                  </a:lnTo>
                  <a:lnTo>
                    <a:pt x="80" y="6"/>
                  </a:lnTo>
                  <a:lnTo>
                    <a:pt x="78" y="3"/>
                  </a:lnTo>
                  <a:lnTo>
                    <a:pt x="77" y="2"/>
                  </a:lnTo>
                  <a:lnTo>
                    <a:pt x="76" y="0"/>
                  </a:lnTo>
                  <a:lnTo>
                    <a:pt x="73" y="0"/>
                  </a:lnTo>
                  <a:lnTo>
                    <a:pt x="6" y="0"/>
                  </a:lnTo>
                  <a:lnTo>
                    <a:pt x="6" y="0"/>
                  </a:lnTo>
                  <a:lnTo>
                    <a:pt x="4" y="0"/>
                  </a:lnTo>
                  <a:lnTo>
                    <a:pt x="2" y="2"/>
                  </a:lnTo>
                  <a:lnTo>
                    <a:pt x="0" y="3"/>
                  </a:lnTo>
                  <a:lnTo>
                    <a:pt x="0" y="6"/>
                  </a:lnTo>
                  <a:lnTo>
                    <a:pt x="0" y="152"/>
                  </a:lnTo>
                  <a:lnTo>
                    <a:pt x="0" y="152"/>
                  </a:lnTo>
                  <a:lnTo>
                    <a:pt x="0" y="154"/>
                  </a:lnTo>
                  <a:lnTo>
                    <a:pt x="2" y="155"/>
                  </a:lnTo>
                  <a:lnTo>
                    <a:pt x="4" y="156"/>
                  </a:lnTo>
                  <a:lnTo>
                    <a:pt x="6" y="158"/>
                  </a:lnTo>
                  <a:lnTo>
                    <a:pt x="6" y="1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09">
              <a:extLst>
                <a:ext uri="{FF2B5EF4-FFF2-40B4-BE49-F238E27FC236}">
                  <a16:creationId xmlns:a16="http://schemas.microsoft.com/office/drawing/2014/main" id="{901C8906-63DB-492F-B548-D5DB5C216F8C}"/>
                </a:ext>
              </a:extLst>
            </p:cNvPr>
            <p:cNvSpPr>
              <a:spLocks/>
            </p:cNvSpPr>
            <p:nvPr/>
          </p:nvSpPr>
          <p:spPr bwMode="auto">
            <a:xfrm>
              <a:off x="3436938" y="5986463"/>
              <a:ext cx="61913" cy="206375"/>
            </a:xfrm>
            <a:custGeom>
              <a:avLst/>
              <a:gdLst>
                <a:gd name="T0" fmla="*/ 5 w 79"/>
                <a:gd name="T1" fmla="*/ 260 h 260"/>
                <a:gd name="T2" fmla="*/ 73 w 79"/>
                <a:gd name="T3" fmla="*/ 260 h 260"/>
                <a:gd name="T4" fmla="*/ 73 w 79"/>
                <a:gd name="T5" fmla="*/ 260 h 260"/>
                <a:gd name="T6" fmla="*/ 75 w 79"/>
                <a:gd name="T7" fmla="*/ 258 h 260"/>
                <a:gd name="T8" fmla="*/ 77 w 79"/>
                <a:gd name="T9" fmla="*/ 257 h 260"/>
                <a:gd name="T10" fmla="*/ 78 w 79"/>
                <a:gd name="T11" fmla="*/ 256 h 260"/>
                <a:gd name="T12" fmla="*/ 79 w 79"/>
                <a:gd name="T13" fmla="*/ 254 h 260"/>
                <a:gd name="T14" fmla="*/ 79 w 79"/>
                <a:gd name="T15" fmla="*/ 6 h 260"/>
                <a:gd name="T16" fmla="*/ 79 w 79"/>
                <a:gd name="T17" fmla="*/ 6 h 260"/>
                <a:gd name="T18" fmla="*/ 78 w 79"/>
                <a:gd name="T19" fmla="*/ 4 h 260"/>
                <a:gd name="T20" fmla="*/ 77 w 79"/>
                <a:gd name="T21" fmla="*/ 3 h 260"/>
                <a:gd name="T22" fmla="*/ 75 w 79"/>
                <a:gd name="T23" fmla="*/ 2 h 260"/>
                <a:gd name="T24" fmla="*/ 73 w 79"/>
                <a:gd name="T25" fmla="*/ 0 h 260"/>
                <a:gd name="T26" fmla="*/ 5 w 79"/>
                <a:gd name="T27" fmla="*/ 0 h 260"/>
                <a:gd name="T28" fmla="*/ 5 w 79"/>
                <a:gd name="T29" fmla="*/ 0 h 260"/>
                <a:gd name="T30" fmla="*/ 4 w 79"/>
                <a:gd name="T31" fmla="*/ 2 h 260"/>
                <a:gd name="T32" fmla="*/ 1 w 79"/>
                <a:gd name="T33" fmla="*/ 3 h 260"/>
                <a:gd name="T34" fmla="*/ 0 w 79"/>
                <a:gd name="T35" fmla="*/ 4 h 260"/>
                <a:gd name="T36" fmla="*/ 0 w 79"/>
                <a:gd name="T37" fmla="*/ 6 h 260"/>
                <a:gd name="T38" fmla="*/ 0 w 79"/>
                <a:gd name="T39" fmla="*/ 254 h 260"/>
                <a:gd name="T40" fmla="*/ 0 w 79"/>
                <a:gd name="T41" fmla="*/ 254 h 260"/>
                <a:gd name="T42" fmla="*/ 0 w 79"/>
                <a:gd name="T43" fmla="*/ 256 h 260"/>
                <a:gd name="T44" fmla="*/ 1 w 79"/>
                <a:gd name="T45" fmla="*/ 257 h 260"/>
                <a:gd name="T46" fmla="*/ 4 w 79"/>
                <a:gd name="T47" fmla="*/ 258 h 260"/>
                <a:gd name="T48" fmla="*/ 5 w 79"/>
                <a:gd name="T49" fmla="*/ 260 h 260"/>
                <a:gd name="T50" fmla="*/ 5 w 79"/>
                <a:gd name="T51" fmla="*/ 26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260">
                  <a:moveTo>
                    <a:pt x="5" y="260"/>
                  </a:moveTo>
                  <a:lnTo>
                    <a:pt x="73" y="260"/>
                  </a:lnTo>
                  <a:lnTo>
                    <a:pt x="73" y="260"/>
                  </a:lnTo>
                  <a:lnTo>
                    <a:pt x="75" y="258"/>
                  </a:lnTo>
                  <a:lnTo>
                    <a:pt x="77" y="257"/>
                  </a:lnTo>
                  <a:lnTo>
                    <a:pt x="78" y="256"/>
                  </a:lnTo>
                  <a:lnTo>
                    <a:pt x="79" y="254"/>
                  </a:lnTo>
                  <a:lnTo>
                    <a:pt x="79" y="6"/>
                  </a:lnTo>
                  <a:lnTo>
                    <a:pt x="79" y="6"/>
                  </a:lnTo>
                  <a:lnTo>
                    <a:pt x="78" y="4"/>
                  </a:lnTo>
                  <a:lnTo>
                    <a:pt x="77" y="3"/>
                  </a:lnTo>
                  <a:lnTo>
                    <a:pt x="75" y="2"/>
                  </a:lnTo>
                  <a:lnTo>
                    <a:pt x="73" y="0"/>
                  </a:lnTo>
                  <a:lnTo>
                    <a:pt x="5" y="0"/>
                  </a:lnTo>
                  <a:lnTo>
                    <a:pt x="5" y="0"/>
                  </a:lnTo>
                  <a:lnTo>
                    <a:pt x="4" y="2"/>
                  </a:lnTo>
                  <a:lnTo>
                    <a:pt x="1" y="3"/>
                  </a:lnTo>
                  <a:lnTo>
                    <a:pt x="0" y="4"/>
                  </a:lnTo>
                  <a:lnTo>
                    <a:pt x="0" y="6"/>
                  </a:lnTo>
                  <a:lnTo>
                    <a:pt x="0" y="254"/>
                  </a:lnTo>
                  <a:lnTo>
                    <a:pt x="0" y="254"/>
                  </a:lnTo>
                  <a:lnTo>
                    <a:pt x="0" y="256"/>
                  </a:lnTo>
                  <a:lnTo>
                    <a:pt x="1" y="257"/>
                  </a:lnTo>
                  <a:lnTo>
                    <a:pt x="4" y="258"/>
                  </a:lnTo>
                  <a:lnTo>
                    <a:pt x="5" y="260"/>
                  </a:lnTo>
                  <a:lnTo>
                    <a:pt x="5" y="26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10">
              <a:extLst>
                <a:ext uri="{FF2B5EF4-FFF2-40B4-BE49-F238E27FC236}">
                  <a16:creationId xmlns:a16="http://schemas.microsoft.com/office/drawing/2014/main" id="{D625BA6E-B418-46C3-9BC4-05DCEFD9ECC5}"/>
                </a:ext>
              </a:extLst>
            </p:cNvPr>
            <p:cNvSpPr>
              <a:spLocks/>
            </p:cNvSpPr>
            <p:nvPr/>
          </p:nvSpPr>
          <p:spPr bwMode="auto">
            <a:xfrm>
              <a:off x="3533776" y="6111875"/>
              <a:ext cx="63500" cy="80963"/>
            </a:xfrm>
            <a:custGeom>
              <a:avLst/>
              <a:gdLst>
                <a:gd name="T0" fmla="*/ 5 w 79"/>
                <a:gd name="T1" fmla="*/ 103 h 103"/>
                <a:gd name="T2" fmla="*/ 72 w 79"/>
                <a:gd name="T3" fmla="*/ 103 h 103"/>
                <a:gd name="T4" fmla="*/ 72 w 79"/>
                <a:gd name="T5" fmla="*/ 103 h 103"/>
                <a:gd name="T6" fmla="*/ 75 w 79"/>
                <a:gd name="T7" fmla="*/ 101 h 103"/>
                <a:gd name="T8" fmla="*/ 76 w 79"/>
                <a:gd name="T9" fmla="*/ 100 h 103"/>
                <a:gd name="T10" fmla="*/ 78 w 79"/>
                <a:gd name="T11" fmla="*/ 99 h 103"/>
                <a:gd name="T12" fmla="*/ 79 w 79"/>
                <a:gd name="T13" fmla="*/ 97 h 103"/>
                <a:gd name="T14" fmla="*/ 79 w 79"/>
                <a:gd name="T15" fmla="*/ 7 h 103"/>
                <a:gd name="T16" fmla="*/ 79 w 79"/>
                <a:gd name="T17" fmla="*/ 7 h 103"/>
                <a:gd name="T18" fmla="*/ 78 w 79"/>
                <a:gd name="T19" fmla="*/ 4 h 103"/>
                <a:gd name="T20" fmla="*/ 76 w 79"/>
                <a:gd name="T21" fmla="*/ 3 h 103"/>
                <a:gd name="T22" fmla="*/ 75 w 79"/>
                <a:gd name="T23" fmla="*/ 2 h 103"/>
                <a:gd name="T24" fmla="*/ 72 w 79"/>
                <a:gd name="T25" fmla="*/ 0 h 103"/>
                <a:gd name="T26" fmla="*/ 5 w 79"/>
                <a:gd name="T27" fmla="*/ 0 h 103"/>
                <a:gd name="T28" fmla="*/ 5 w 79"/>
                <a:gd name="T29" fmla="*/ 0 h 103"/>
                <a:gd name="T30" fmla="*/ 4 w 79"/>
                <a:gd name="T31" fmla="*/ 2 h 103"/>
                <a:gd name="T32" fmla="*/ 1 w 79"/>
                <a:gd name="T33" fmla="*/ 3 h 103"/>
                <a:gd name="T34" fmla="*/ 0 w 79"/>
                <a:gd name="T35" fmla="*/ 4 h 103"/>
                <a:gd name="T36" fmla="*/ 0 w 79"/>
                <a:gd name="T37" fmla="*/ 7 h 103"/>
                <a:gd name="T38" fmla="*/ 0 w 79"/>
                <a:gd name="T39" fmla="*/ 97 h 103"/>
                <a:gd name="T40" fmla="*/ 0 w 79"/>
                <a:gd name="T41" fmla="*/ 97 h 103"/>
                <a:gd name="T42" fmla="*/ 0 w 79"/>
                <a:gd name="T43" fmla="*/ 99 h 103"/>
                <a:gd name="T44" fmla="*/ 1 w 79"/>
                <a:gd name="T45" fmla="*/ 100 h 103"/>
                <a:gd name="T46" fmla="*/ 4 w 79"/>
                <a:gd name="T47" fmla="*/ 101 h 103"/>
                <a:gd name="T48" fmla="*/ 5 w 79"/>
                <a:gd name="T49" fmla="*/ 103 h 103"/>
                <a:gd name="T50" fmla="*/ 5 w 79"/>
                <a:gd name="T51"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103">
                  <a:moveTo>
                    <a:pt x="5" y="103"/>
                  </a:moveTo>
                  <a:lnTo>
                    <a:pt x="72" y="103"/>
                  </a:lnTo>
                  <a:lnTo>
                    <a:pt x="72" y="103"/>
                  </a:lnTo>
                  <a:lnTo>
                    <a:pt x="75" y="101"/>
                  </a:lnTo>
                  <a:lnTo>
                    <a:pt x="76" y="100"/>
                  </a:lnTo>
                  <a:lnTo>
                    <a:pt x="78" y="99"/>
                  </a:lnTo>
                  <a:lnTo>
                    <a:pt x="79" y="97"/>
                  </a:lnTo>
                  <a:lnTo>
                    <a:pt x="79" y="7"/>
                  </a:lnTo>
                  <a:lnTo>
                    <a:pt x="79" y="7"/>
                  </a:lnTo>
                  <a:lnTo>
                    <a:pt x="78" y="4"/>
                  </a:lnTo>
                  <a:lnTo>
                    <a:pt x="76" y="3"/>
                  </a:lnTo>
                  <a:lnTo>
                    <a:pt x="75" y="2"/>
                  </a:lnTo>
                  <a:lnTo>
                    <a:pt x="72" y="0"/>
                  </a:lnTo>
                  <a:lnTo>
                    <a:pt x="5" y="0"/>
                  </a:lnTo>
                  <a:lnTo>
                    <a:pt x="5" y="0"/>
                  </a:lnTo>
                  <a:lnTo>
                    <a:pt x="4" y="2"/>
                  </a:lnTo>
                  <a:lnTo>
                    <a:pt x="1" y="3"/>
                  </a:lnTo>
                  <a:lnTo>
                    <a:pt x="0" y="4"/>
                  </a:lnTo>
                  <a:lnTo>
                    <a:pt x="0" y="7"/>
                  </a:lnTo>
                  <a:lnTo>
                    <a:pt x="0" y="97"/>
                  </a:lnTo>
                  <a:lnTo>
                    <a:pt x="0" y="97"/>
                  </a:lnTo>
                  <a:lnTo>
                    <a:pt x="0" y="99"/>
                  </a:lnTo>
                  <a:lnTo>
                    <a:pt x="1" y="100"/>
                  </a:lnTo>
                  <a:lnTo>
                    <a:pt x="4" y="101"/>
                  </a:lnTo>
                  <a:lnTo>
                    <a:pt x="5" y="103"/>
                  </a:lnTo>
                  <a:lnTo>
                    <a:pt x="5" y="10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49" name="Freeform 905">
            <a:extLst>
              <a:ext uri="{FF2B5EF4-FFF2-40B4-BE49-F238E27FC236}">
                <a16:creationId xmlns:a16="http://schemas.microsoft.com/office/drawing/2014/main" id="{8234B073-F384-4D53-8F31-359AC1C5C8FE}"/>
              </a:ext>
            </a:extLst>
          </p:cNvPr>
          <p:cNvSpPr>
            <a:spLocks noEditPoints="1"/>
          </p:cNvSpPr>
          <p:nvPr/>
        </p:nvSpPr>
        <p:spPr bwMode="auto">
          <a:xfrm>
            <a:off x="5137601" y="4578115"/>
            <a:ext cx="493776" cy="504612"/>
          </a:xfrm>
          <a:prstGeom prst="ellipse">
            <a:avLst/>
          </a:pr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50" name="Group 49">
            <a:extLst>
              <a:ext uri="{FF2B5EF4-FFF2-40B4-BE49-F238E27FC236}">
                <a16:creationId xmlns:a16="http://schemas.microsoft.com/office/drawing/2014/main" id="{968350FC-C6D6-488B-B530-1E0902EA9247}"/>
              </a:ext>
            </a:extLst>
          </p:cNvPr>
          <p:cNvGrpSpPr>
            <a:grpSpLocks noChangeAspect="1"/>
          </p:cNvGrpSpPr>
          <p:nvPr/>
        </p:nvGrpSpPr>
        <p:grpSpPr>
          <a:xfrm>
            <a:off x="10854702" y="3849579"/>
            <a:ext cx="522288" cy="522288"/>
            <a:chOff x="7594601" y="3342323"/>
            <a:chExt cx="522288" cy="522288"/>
          </a:xfrm>
        </p:grpSpPr>
        <p:sp>
          <p:nvSpPr>
            <p:cNvPr id="51" name="Freeform 50">
              <a:extLst>
                <a:ext uri="{FF2B5EF4-FFF2-40B4-BE49-F238E27FC236}">
                  <a16:creationId xmlns:a16="http://schemas.microsoft.com/office/drawing/2014/main" id="{26B5C0E8-01A8-441E-B431-F2EFC8D8AC6A}"/>
                </a:ext>
              </a:extLst>
            </p:cNvPr>
            <p:cNvSpPr>
              <a:spLocks noEditPoints="1"/>
            </p:cNvSpPr>
            <p:nvPr/>
          </p:nvSpPr>
          <p:spPr bwMode="auto">
            <a:xfrm>
              <a:off x="7594601" y="3342323"/>
              <a:ext cx="522288" cy="522288"/>
            </a:xfrm>
            <a:custGeom>
              <a:avLst/>
              <a:gdLst>
                <a:gd name="T0" fmla="*/ 312 w 659"/>
                <a:gd name="T1" fmla="*/ 658 h 659"/>
                <a:gd name="T2" fmla="*/ 262 w 659"/>
                <a:gd name="T3" fmla="*/ 652 h 659"/>
                <a:gd name="T4" fmla="*/ 202 w 659"/>
                <a:gd name="T5" fmla="*/ 632 h 659"/>
                <a:gd name="T6" fmla="*/ 120 w 659"/>
                <a:gd name="T7" fmla="*/ 584 h 659"/>
                <a:gd name="T8" fmla="*/ 57 w 659"/>
                <a:gd name="T9" fmla="*/ 514 h 659"/>
                <a:gd name="T10" fmla="*/ 15 w 659"/>
                <a:gd name="T11" fmla="*/ 428 h 659"/>
                <a:gd name="T12" fmla="*/ 4 w 659"/>
                <a:gd name="T13" fmla="*/ 379 h 659"/>
                <a:gd name="T14" fmla="*/ 0 w 659"/>
                <a:gd name="T15" fmla="*/ 330 h 659"/>
                <a:gd name="T16" fmla="*/ 2 w 659"/>
                <a:gd name="T17" fmla="*/ 296 h 659"/>
                <a:gd name="T18" fmla="*/ 11 w 659"/>
                <a:gd name="T19" fmla="*/ 248 h 659"/>
                <a:gd name="T20" fmla="*/ 41 w 659"/>
                <a:gd name="T21" fmla="*/ 172 h 659"/>
                <a:gd name="T22" fmla="*/ 97 w 659"/>
                <a:gd name="T23" fmla="*/ 97 h 659"/>
                <a:gd name="T24" fmla="*/ 172 w 659"/>
                <a:gd name="T25" fmla="*/ 41 h 659"/>
                <a:gd name="T26" fmla="*/ 248 w 659"/>
                <a:gd name="T27" fmla="*/ 11 h 659"/>
                <a:gd name="T28" fmla="*/ 296 w 659"/>
                <a:gd name="T29" fmla="*/ 2 h 659"/>
                <a:gd name="T30" fmla="*/ 330 w 659"/>
                <a:gd name="T31" fmla="*/ 0 h 659"/>
                <a:gd name="T32" fmla="*/ 379 w 659"/>
                <a:gd name="T33" fmla="*/ 4 h 659"/>
                <a:gd name="T34" fmla="*/ 426 w 659"/>
                <a:gd name="T35" fmla="*/ 15 h 659"/>
                <a:gd name="T36" fmla="*/ 514 w 659"/>
                <a:gd name="T37" fmla="*/ 57 h 659"/>
                <a:gd name="T38" fmla="*/ 584 w 659"/>
                <a:gd name="T39" fmla="*/ 120 h 659"/>
                <a:gd name="T40" fmla="*/ 632 w 659"/>
                <a:gd name="T41" fmla="*/ 202 h 659"/>
                <a:gd name="T42" fmla="*/ 652 w 659"/>
                <a:gd name="T43" fmla="*/ 264 h 659"/>
                <a:gd name="T44" fmla="*/ 658 w 659"/>
                <a:gd name="T45" fmla="*/ 312 h 659"/>
                <a:gd name="T46" fmla="*/ 658 w 659"/>
                <a:gd name="T47" fmla="*/ 347 h 659"/>
                <a:gd name="T48" fmla="*/ 652 w 659"/>
                <a:gd name="T49" fmla="*/ 396 h 659"/>
                <a:gd name="T50" fmla="*/ 632 w 659"/>
                <a:gd name="T51" fmla="*/ 457 h 659"/>
                <a:gd name="T52" fmla="*/ 584 w 659"/>
                <a:gd name="T53" fmla="*/ 539 h 659"/>
                <a:gd name="T54" fmla="*/ 514 w 659"/>
                <a:gd name="T55" fmla="*/ 603 h 659"/>
                <a:gd name="T56" fmla="*/ 426 w 659"/>
                <a:gd name="T57" fmla="*/ 644 h 659"/>
                <a:gd name="T58" fmla="*/ 379 w 659"/>
                <a:gd name="T59" fmla="*/ 655 h 659"/>
                <a:gd name="T60" fmla="*/ 330 w 659"/>
                <a:gd name="T61" fmla="*/ 659 h 659"/>
                <a:gd name="T62" fmla="*/ 330 w 659"/>
                <a:gd name="T63" fmla="*/ 38 h 659"/>
                <a:gd name="T64" fmla="*/ 242 w 659"/>
                <a:gd name="T65" fmla="*/ 51 h 659"/>
                <a:gd name="T66" fmla="*/ 167 w 659"/>
                <a:gd name="T67" fmla="*/ 88 h 659"/>
                <a:gd name="T68" fmla="*/ 105 w 659"/>
                <a:gd name="T69" fmla="*/ 144 h 659"/>
                <a:gd name="T70" fmla="*/ 61 w 659"/>
                <a:gd name="T71" fmla="*/ 217 h 659"/>
                <a:gd name="T72" fmla="*/ 39 w 659"/>
                <a:gd name="T73" fmla="*/ 300 h 659"/>
                <a:gd name="T74" fmla="*/ 39 w 659"/>
                <a:gd name="T75" fmla="*/ 359 h 659"/>
                <a:gd name="T76" fmla="*/ 61 w 659"/>
                <a:gd name="T77" fmla="*/ 443 h 659"/>
                <a:gd name="T78" fmla="*/ 105 w 659"/>
                <a:gd name="T79" fmla="*/ 515 h 659"/>
                <a:gd name="T80" fmla="*/ 167 w 659"/>
                <a:gd name="T81" fmla="*/ 572 h 659"/>
                <a:gd name="T82" fmla="*/ 242 w 659"/>
                <a:gd name="T83" fmla="*/ 608 h 659"/>
                <a:gd name="T84" fmla="*/ 330 w 659"/>
                <a:gd name="T85" fmla="*/ 621 h 659"/>
                <a:gd name="T86" fmla="*/ 387 w 659"/>
                <a:gd name="T87" fmla="*/ 615 h 659"/>
                <a:gd name="T88" fmla="*/ 468 w 659"/>
                <a:gd name="T89" fmla="*/ 586 h 659"/>
                <a:gd name="T90" fmla="*/ 535 w 659"/>
                <a:gd name="T91" fmla="*/ 535 h 659"/>
                <a:gd name="T92" fmla="*/ 585 w 659"/>
                <a:gd name="T93" fmla="*/ 468 h 659"/>
                <a:gd name="T94" fmla="*/ 614 w 659"/>
                <a:gd name="T95" fmla="*/ 389 h 659"/>
                <a:gd name="T96" fmla="*/ 621 w 659"/>
                <a:gd name="T97" fmla="*/ 330 h 659"/>
                <a:gd name="T98" fmla="*/ 608 w 659"/>
                <a:gd name="T99" fmla="*/ 244 h 659"/>
                <a:gd name="T100" fmla="*/ 570 w 659"/>
                <a:gd name="T101" fmla="*/ 167 h 659"/>
                <a:gd name="T102" fmla="*/ 515 w 659"/>
                <a:gd name="T103" fmla="*/ 105 h 659"/>
                <a:gd name="T104" fmla="*/ 442 w 659"/>
                <a:gd name="T105" fmla="*/ 61 h 659"/>
                <a:gd name="T106" fmla="*/ 359 w 659"/>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9">
                  <a:moveTo>
                    <a:pt x="330" y="659"/>
                  </a:moveTo>
                  <a:lnTo>
                    <a:pt x="330" y="659"/>
                  </a:lnTo>
                  <a:lnTo>
                    <a:pt x="312" y="658"/>
                  </a:lnTo>
                  <a:lnTo>
                    <a:pt x="296" y="656"/>
                  </a:lnTo>
                  <a:lnTo>
                    <a:pt x="280" y="655"/>
                  </a:lnTo>
                  <a:lnTo>
                    <a:pt x="262" y="652"/>
                  </a:lnTo>
                  <a:lnTo>
                    <a:pt x="248" y="648"/>
                  </a:lnTo>
                  <a:lnTo>
                    <a:pt x="231" y="644"/>
                  </a:lnTo>
                  <a:lnTo>
                    <a:pt x="202" y="632"/>
                  </a:lnTo>
                  <a:lnTo>
                    <a:pt x="172" y="619"/>
                  </a:lnTo>
                  <a:lnTo>
                    <a:pt x="145" y="603"/>
                  </a:lnTo>
                  <a:lnTo>
                    <a:pt x="120" y="584"/>
                  </a:lnTo>
                  <a:lnTo>
                    <a:pt x="97" y="562"/>
                  </a:lnTo>
                  <a:lnTo>
                    <a:pt x="76" y="539"/>
                  </a:lnTo>
                  <a:lnTo>
                    <a:pt x="57" y="514"/>
                  </a:lnTo>
                  <a:lnTo>
                    <a:pt x="41" y="487"/>
                  </a:lnTo>
                  <a:lnTo>
                    <a:pt x="26" y="457"/>
                  </a:lnTo>
                  <a:lnTo>
                    <a:pt x="15" y="428"/>
                  </a:lnTo>
                  <a:lnTo>
                    <a:pt x="11" y="412"/>
                  </a:lnTo>
                  <a:lnTo>
                    <a:pt x="7" y="396"/>
                  </a:lnTo>
                  <a:lnTo>
                    <a:pt x="4" y="379"/>
                  </a:lnTo>
                  <a:lnTo>
                    <a:pt x="2" y="363"/>
                  </a:lnTo>
                  <a:lnTo>
                    <a:pt x="0" y="347"/>
                  </a:lnTo>
                  <a:lnTo>
                    <a:pt x="0" y="330"/>
                  </a:lnTo>
                  <a:lnTo>
                    <a:pt x="0" y="330"/>
                  </a:lnTo>
                  <a:lnTo>
                    <a:pt x="0" y="312"/>
                  </a:lnTo>
                  <a:lnTo>
                    <a:pt x="2" y="296"/>
                  </a:lnTo>
                  <a:lnTo>
                    <a:pt x="4" y="280"/>
                  </a:lnTo>
                  <a:lnTo>
                    <a:pt x="7" y="264"/>
                  </a:lnTo>
                  <a:lnTo>
                    <a:pt x="11" y="248"/>
                  </a:lnTo>
                  <a:lnTo>
                    <a:pt x="15" y="232"/>
                  </a:lnTo>
                  <a:lnTo>
                    <a:pt x="26" y="202"/>
                  </a:lnTo>
                  <a:lnTo>
                    <a:pt x="41" y="172"/>
                  </a:lnTo>
                  <a:lnTo>
                    <a:pt x="57" y="146"/>
                  </a:lnTo>
                  <a:lnTo>
                    <a:pt x="76" y="120"/>
                  </a:lnTo>
                  <a:lnTo>
                    <a:pt x="97" y="97"/>
                  </a:lnTo>
                  <a:lnTo>
                    <a:pt x="120" y="76"/>
                  </a:lnTo>
                  <a:lnTo>
                    <a:pt x="145" y="57"/>
                  </a:lnTo>
                  <a:lnTo>
                    <a:pt x="172" y="41"/>
                  </a:lnTo>
                  <a:lnTo>
                    <a:pt x="202" y="26"/>
                  </a:lnTo>
                  <a:lnTo>
                    <a:pt x="231" y="15"/>
                  </a:lnTo>
                  <a:lnTo>
                    <a:pt x="248" y="11"/>
                  </a:lnTo>
                  <a:lnTo>
                    <a:pt x="262" y="7"/>
                  </a:lnTo>
                  <a:lnTo>
                    <a:pt x="280" y="4"/>
                  </a:lnTo>
                  <a:lnTo>
                    <a:pt x="296" y="2"/>
                  </a:lnTo>
                  <a:lnTo>
                    <a:pt x="312" y="2"/>
                  </a:lnTo>
                  <a:lnTo>
                    <a:pt x="330" y="0"/>
                  </a:lnTo>
                  <a:lnTo>
                    <a:pt x="330" y="0"/>
                  </a:lnTo>
                  <a:lnTo>
                    <a:pt x="346" y="2"/>
                  </a:lnTo>
                  <a:lnTo>
                    <a:pt x="363" y="2"/>
                  </a:lnTo>
                  <a:lnTo>
                    <a:pt x="379" y="4"/>
                  </a:lnTo>
                  <a:lnTo>
                    <a:pt x="395" y="7"/>
                  </a:lnTo>
                  <a:lnTo>
                    <a:pt x="412" y="11"/>
                  </a:lnTo>
                  <a:lnTo>
                    <a:pt x="426" y="15"/>
                  </a:lnTo>
                  <a:lnTo>
                    <a:pt x="457" y="26"/>
                  </a:lnTo>
                  <a:lnTo>
                    <a:pt x="485" y="41"/>
                  </a:lnTo>
                  <a:lnTo>
                    <a:pt x="514" y="57"/>
                  </a:lnTo>
                  <a:lnTo>
                    <a:pt x="538" y="76"/>
                  </a:lnTo>
                  <a:lnTo>
                    <a:pt x="562" y="97"/>
                  </a:lnTo>
                  <a:lnTo>
                    <a:pt x="584" y="120"/>
                  </a:lnTo>
                  <a:lnTo>
                    <a:pt x="602" y="146"/>
                  </a:lnTo>
                  <a:lnTo>
                    <a:pt x="619" y="172"/>
                  </a:lnTo>
                  <a:lnTo>
                    <a:pt x="632" y="202"/>
                  </a:lnTo>
                  <a:lnTo>
                    <a:pt x="643" y="232"/>
                  </a:lnTo>
                  <a:lnTo>
                    <a:pt x="648" y="248"/>
                  </a:lnTo>
                  <a:lnTo>
                    <a:pt x="652" y="264"/>
                  </a:lnTo>
                  <a:lnTo>
                    <a:pt x="655" y="280"/>
                  </a:lnTo>
                  <a:lnTo>
                    <a:pt x="656" y="296"/>
                  </a:lnTo>
                  <a:lnTo>
                    <a:pt x="658" y="312"/>
                  </a:lnTo>
                  <a:lnTo>
                    <a:pt x="659" y="330"/>
                  </a:lnTo>
                  <a:lnTo>
                    <a:pt x="659" y="330"/>
                  </a:lnTo>
                  <a:lnTo>
                    <a:pt x="658" y="347"/>
                  </a:lnTo>
                  <a:lnTo>
                    <a:pt x="656" y="363"/>
                  </a:lnTo>
                  <a:lnTo>
                    <a:pt x="655" y="379"/>
                  </a:lnTo>
                  <a:lnTo>
                    <a:pt x="652" y="396"/>
                  </a:lnTo>
                  <a:lnTo>
                    <a:pt x="648" y="412"/>
                  </a:lnTo>
                  <a:lnTo>
                    <a:pt x="643" y="428"/>
                  </a:lnTo>
                  <a:lnTo>
                    <a:pt x="632" y="457"/>
                  </a:lnTo>
                  <a:lnTo>
                    <a:pt x="619" y="487"/>
                  </a:lnTo>
                  <a:lnTo>
                    <a:pt x="602" y="514"/>
                  </a:lnTo>
                  <a:lnTo>
                    <a:pt x="584" y="539"/>
                  </a:lnTo>
                  <a:lnTo>
                    <a:pt x="562" y="562"/>
                  </a:lnTo>
                  <a:lnTo>
                    <a:pt x="538" y="584"/>
                  </a:lnTo>
                  <a:lnTo>
                    <a:pt x="514" y="603"/>
                  </a:lnTo>
                  <a:lnTo>
                    <a:pt x="485" y="619"/>
                  </a:lnTo>
                  <a:lnTo>
                    <a:pt x="457" y="632"/>
                  </a:lnTo>
                  <a:lnTo>
                    <a:pt x="426" y="644"/>
                  </a:lnTo>
                  <a:lnTo>
                    <a:pt x="412" y="648"/>
                  </a:lnTo>
                  <a:lnTo>
                    <a:pt x="395" y="652"/>
                  </a:lnTo>
                  <a:lnTo>
                    <a:pt x="379" y="655"/>
                  </a:lnTo>
                  <a:lnTo>
                    <a:pt x="363" y="656"/>
                  </a:lnTo>
                  <a:lnTo>
                    <a:pt x="346" y="658"/>
                  </a:lnTo>
                  <a:lnTo>
                    <a:pt x="330" y="659"/>
                  </a:lnTo>
                  <a:lnTo>
                    <a:pt x="330" y="659"/>
                  </a:lnTo>
                  <a:close/>
                  <a:moveTo>
                    <a:pt x="330" y="38"/>
                  </a:moveTo>
                  <a:lnTo>
                    <a:pt x="330" y="38"/>
                  </a:lnTo>
                  <a:lnTo>
                    <a:pt x="300" y="39"/>
                  </a:lnTo>
                  <a:lnTo>
                    <a:pt x="270" y="45"/>
                  </a:lnTo>
                  <a:lnTo>
                    <a:pt x="242" y="51"/>
                  </a:lnTo>
                  <a:lnTo>
                    <a:pt x="215" y="61"/>
                  </a:lnTo>
                  <a:lnTo>
                    <a:pt x="191" y="73"/>
                  </a:lnTo>
                  <a:lnTo>
                    <a:pt x="167" y="88"/>
                  </a:lnTo>
                  <a:lnTo>
                    <a:pt x="144" y="105"/>
                  </a:lnTo>
                  <a:lnTo>
                    <a:pt x="124" y="124"/>
                  </a:lnTo>
                  <a:lnTo>
                    <a:pt x="105" y="144"/>
                  </a:lnTo>
                  <a:lnTo>
                    <a:pt x="88" y="167"/>
                  </a:lnTo>
                  <a:lnTo>
                    <a:pt x="73" y="191"/>
                  </a:lnTo>
                  <a:lnTo>
                    <a:pt x="61" y="217"/>
                  </a:lnTo>
                  <a:lnTo>
                    <a:pt x="51" y="244"/>
                  </a:lnTo>
                  <a:lnTo>
                    <a:pt x="43" y="271"/>
                  </a:lnTo>
                  <a:lnTo>
                    <a:pt x="39" y="300"/>
                  </a:lnTo>
                  <a:lnTo>
                    <a:pt x="38" y="330"/>
                  </a:lnTo>
                  <a:lnTo>
                    <a:pt x="38" y="330"/>
                  </a:lnTo>
                  <a:lnTo>
                    <a:pt x="39" y="359"/>
                  </a:lnTo>
                  <a:lnTo>
                    <a:pt x="43" y="389"/>
                  </a:lnTo>
                  <a:lnTo>
                    <a:pt x="51" y="416"/>
                  </a:lnTo>
                  <a:lnTo>
                    <a:pt x="61" y="443"/>
                  </a:lnTo>
                  <a:lnTo>
                    <a:pt x="73" y="468"/>
                  </a:lnTo>
                  <a:lnTo>
                    <a:pt x="88" y="492"/>
                  </a:lnTo>
                  <a:lnTo>
                    <a:pt x="105" y="515"/>
                  </a:lnTo>
                  <a:lnTo>
                    <a:pt x="124" y="535"/>
                  </a:lnTo>
                  <a:lnTo>
                    <a:pt x="144" y="554"/>
                  </a:lnTo>
                  <a:lnTo>
                    <a:pt x="167" y="572"/>
                  </a:lnTo>
                  <a:lnTo>
                    <a:pt x="191" y="586"/>
                  </a:lnTo>
                  <a:lnTo>
                    <a:pt x="215" y="598"/>
                  </a:lnTo>
                  <a:lnTo>
                    <a:pt x="242" y="608"/>
                  </a:lnTo>
                  <a:lnTo>
                    <a:pt x="270" y="615"/>
                  </a:lnTo>
                  <a:lnTo>
                    <a:pt x="300" y="620"/>
                  </a:lnTo>
                  <a:lnTo>
                    <a:pt x="330" y="621"/>
                  </a:lnTo>
                  <a:lnTo>
                    <a:pt x="330" y="621"/>
                  </a:lnTo>
                  <a:lnTo>
                    <a:pt x="359" y="620"/>
                  </a:lnTo>
                  <a:lnTo>
                    <a:pt x="387" y="615"/>
                  </a:lnTo>
                  <a:lnTo>
                    <a:pt x="416" y="608"/>
                  </a:lnTo>
                  <a:lnTo>
                    <a:pt x="442" y="598"/>
                  </a:lnTo>
                  <a:lnTo>
                    <a:pt x="468" y="586"/>
                  </a:lnTo>
                  <a:lnTo>
                    <a:pt x="492" y="572"/>
                  </a:lnTo>
                  <a:lnTo>
                    <a:pt x="515" y="554"/>
                  </a:lnTo>
                  <a:lnTo>
                    <a:pt x="535" y="535"/>
                  </a:lnTo>
                  <a:lnTo>
                    <a:pt x="554" y="515"/>
                  </a:lnTo>
                  <a:lnTo>
                    <a:pt x="570" y="492"/>
                  </a:lnTo>
                  <a:lnTo>
                    <a:pt x="585" y="468"/>
                  </a:lnTo>
                  <a:lnTo>
                    <a:pt x="597" y="443"/>
                  </a:lnTo>
                  <a:lnTo>
                    <a:pt x="608" y="416"/>
                  </a:lnTo>
                  <a:lnTo>
                    <a:pt x="614" y="389"/>
                  </a:lnTo>
                  <a:lnTo>
                    <a:pt x="619" y="359"/>
                  </a:lnTo>
                  <a:lnTo>
                    <a:pt x="621" y="330"/>
                  </a:lnTo>
                  <a:lnTo>
                    <a:pt x="621" y="330"/>
                  </a:lnTo>
                  <a:lnTo>
                    <a:pt x="619" y="300"/>
                  </a:lnTo>
                  <a:lnTo>
                    <a:pt x="614" y="271"/>
                  </a:lnTo>
                  <a:lnTo>
                    <a:pt x="608" y="244"/>
                  </a:lnTo>
                  <a:lnTo>
                    <a:pt x="597" y="217"/>
                  </a:lnTo>
                  <a:lnTo>
                    <a:pt x="585" y="191"/>
                  </a:lnTo>
                  <a:lnTo>
                    <a:pt x="570" y="167"/>
                  </a:lnTo>
                  <a:lnTo>
                    <a:pt x="554" y="144"/>
                  </a:lnTo>
                  <a:lnTo>
                    <a:pt x="535" y="124"/>
                  </a:lnTo>
                  <a:lnTo>
                    <a:pt x="515" y="105"/>
                  </a:lnTo>
                  <a:lnTo>
                    <a:pt x="492" y="88"/>
                  </a:lnTo>
                  <a:lnTo>
                    <a:pt x="468" y="73"/>
                  </a:lnTo>
                  <a:lnTo>
                    <a:pt x="442" y="61"/>
                  </a:lnTo>
                  <a:lnTo>
                    <a:pt x="416" y="51"/>
                  </a:lnTo>
                  <a:lnTo>
                    <a:pt x="387" y="45"/>
                  </a:lnTo>
                  <a:lnTo>
                    <a:pt x="359" y="39"/>
                  </a:lnTo>
                  <a:lnTo>
                    <a:pt x="330" y="38"/>
                  </a:lnTo>
                  <a:lnTo>
                    <a:pt x="330"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50">
              <a:extLst>
                <a:ext uri="{FF2B5EF4-FFF2-40B4-BE49-F238E27FC236}">
                  <a16:creationId xmlns:a16="http://schemas.microsoft.com/office/drawing/2014/main" id="{F08382E9-88D5-4479-BB76-3674656B962C}"/>
                </a:ext>
              </a:extLst>
            </p:cNvPr>
            <p:cNvSpPr>
              <a:spLocks/>
            </p:cNvSpPr>
            <p:nvPr/>
          </p:nvSpPr>
          <p:spPr bwMode="auto">
            <a:xfrm>
              <a:off x="7727951" y="3569335"/>
              <a:ext cx="50800" cy="149225"/>
            </a:xfrm>
            <a:custGeom>
              <a:avLst/>
              <a:gdLst>
                <a:gd name="T0" fmla="*/ 58 w 63"/>
                <a:gd name="T1" fmla="*/ 0 h 188"/>
                <a:gd name="T2" fmla="*/ 6 w 63"/>
                <a:gd name="T3" fmla="*/ 0 h 188"/>
                <a:gd name="T4" fmla="*/ 6 w 63"/>
                <a:gd name="T5" fmla="*/ 0 h 188"/>
                <a:gd name="T6" fmla="*/ 3 w 63"/>
                <a:gd name="T7" fmla="*/ 0 h 188"/>
                <a:gd name="T8" fmla="*/ 2 w 63"/>
                <a:gd name="T9" fmla="*/ 1 h 188"/>
                <a:gd name="T10" fmla="*/ 0 w 63"/>
                <a:gd name="T11" fmla="*/ 2 h 188"/>
                <a:gd name="T12" fmla="*/ 0 w 63"/>
                <a:gd name="T13" fmla="*/ 5 h 188"/>
                <a:gd name="T14" fmla="*/ 0 w 63"/>
                <a:gd name="T15" fmla="*/ 182 h 188"/>
                <a:gd name="T16" fmla="*/ 0 w 63"/>
                <a:gd name="T17" fmla="*/ 182 h 188"/>
                <a:gd name="T18" fmla="*/ 0 w 63"/>
                <a:gd name="T19" fmla="*/ 185 h 188"/>
                <a:gd name="T20" fmla="*/ 2 w 63"/>
                <a:gd name="T21" fmla="*/ 186 h 188"/>
                <a:gd name="T22" fmla="*/ 3 w 63"/>
                <a:gd name="T23" fmla="*/ 188 h 188"/>
                <a:gd name="T24" fmla="*/ 6 w 63"/>
                <a:gd name="T25" fmla="*/ 188 h 188"/>
                <a:gd name="T26" fmla="*/ 58 w 63"/>
                <a:gd name="T27" fmla="*/ 188 h 188"/>
                <a:gd name="T28" fmla="*/ 58 w 63"/>
                <a:gd name="T29" fmla="*/ 188 h 188"/>
                <a:gd name="T30" fmla="*/ 59 w 63"/>
                <a:gd name="T31" fmla="*/ 188 h 188"/>
                <a:gd name="T32" fmla="*/ 61 w 63"/>
                <a:gd name="T33" fmla="*/ 186 h 188"/>
                <a:gd name="T34" fmla="*/ 62 w 63"/>
                <a:gd name="T35" fmla="*/ 185 h 188"/>
                <a:gd name="T36" fmla="*/ 63 w 63"/>
                <a:gd name="T37" fmla="*/ 182 h 188"/>
                <a:gd name="T38" fmla="*/ 63 w 63"/>
                <a:gd name="T39" fmla="*/ 5 h 188"/>
                <a:gd name="T40" fmla="*/ 63 w 63"/>
                <a:gd name="T41" fmla="*/ 5 h 188"/>
                <a:gd name="T42" fmla="*/ 62 w 63"/>
                <a:gd name="T43" fmla="*/ 2 h 188"/>
                <a:gd name="T44" fmla="*/ 61 w 63"/>
                <a:gd name="T45" fmla="*/ 1 h 188"/>
                <a:gd name="T46" fmla="*/ 59 w 63"/>
                <a:gd name="T47" fmla="*/ 0 h 188"/>
                <a:gd name="T48" fmla="*/ 58 w 63"/>
                <a:gd name="T49" fmla="*/ 0 h 188"/>
                <a:gd name="T50" fmla="*/ 58 w 63"/>
                <a:gd name="T51"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188">
                  <a:moveTo>
                    <a:pt x="58" y="0"/>
                  </a:moveTo>
                  <a:lnTo>
                    <a:pt x="6" y="0"/>
                  </a:lnTo>
                  <a:lnTo>
                    <a:pt x="6" y="0"/>
                  </a:lnTo>
                  <a:lnTo>
                    <a:pt x="3" y="0"/>
                  </a:lnTo>
                  <a:lnTo>
                    <a:pt x="2" y="1"/>
                  </a:lnTo>
                  <a:lnTo>
                    <a:pt x="0" y="2"/>
                  </a:lnTo>
                  <a:lnTo>
                    <a:pt x="0" y="5"/>
                  </a:lnTo>
                  <a:lnTo>
                    <a:pt x="0" y="182"/>
                  </a:lnTo>
                  <a:lnTo>
                    <a:pt x="0" y="182"/>
                  </a:lnTo>
                  <a:lnTo>
                    <a:pt x="0" y="185"/>
                  </a:lnTo>
                  <a:lnTo>
                    <a:pt x="2" y="186"/>
                  </a:lnTo>
                  <a:lnTo>
                    <a:pt x="3" y="188"/>
                  </a:lnTo>
                  <a:lnTo>
                    <a:pt x="6" y="188"/>
                  </a:lnTo>
                  <a:lnTo>
                    <a:pt x="58" y="188"/>
                  </a:lnTo>
                  <a:lnTo>
                    <a:pt x="58" y="188"/>
                  </a:lnTo>
                  <a:lnTo>
                    <a:pt x="59" y="188"/>
                  </a:lnTo>
                  <a:lnTo>
                    <a:pt x="61" y="186"/>
                  </a:lnTo>
                  <a:lnTo>
                    <a:pt x="62" y="185"/>
                  </a:lnTo>
                  <a:lnTo>
                    <a:pt x="63" y="182"/>
                  </a:lnTo>
                  <a:lnTo>
                    <a:pt x="63" y="5"/>
                  </a:lnTo>
                  <a:lnTo>
                    <a:pt x="63" y="5"/>
                  </a:lnTo>
                  <a:lnTo>
                    <a:pt x="62" y="2"/>
                  </a:lnTo>
                  <a:lnTo>
                    <a:pt x="61" y="1"/>
                  </a:lnTo>
                  <a:lnTo>
                    <a:pt x="59" y="0"/>
                  </a:lnTo>
                  <a:lnTo>
                    <a:pt x="58" y="0"/>
                  </a:lnTo>
                  <a:lnTo>
                    <a:pt x="5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51">
              <a:extLst>
                <a:ext uri="{FF2B5EF4-FFF2-40B4-BE49-F238E27FC236}">
                  <a16:creationId xmlns:a16="http://schemas.microsoft.com/office/drawing/2014/main" id="{C2F97320-376D-444A-A6FE-5363FB5D5759}"/>
                </a:ext>
              </a:extLst>
            </p:cNvPr>
            <p:cNvSpPr>
              <a:spLocks/>
            </p:cNvSpPr>
            <p:nvPr/>
          </p:nvSpPr>
          <p:spPr bwMode="auto">
            <a:xfrm>
              <a:off x="7794626" y="3462973"/>
              <a:ext cx="200025" cy="255588"/>
            </a:xfrm>
            <a:custGeom>
              <a:avLst/>
              <a:gdLst>
                <a:gd name="T0" fmla="*/ 216 w 252"/>
                <a:gd name="T1" fmla="*/ 124 h 323"/>
                <a:gd name="T2" fmla="*/ 137 w 252"/>
                <a:gd name="T3" fmla="*/ 124 h 323"/>
                <a:gd name="T4" fmla="*/ 137 w 252"/>
                <a:gd name="T5" fmla="*/ 77 h 323"/>
                <a:gd name="T6" fmla="*/ 137 w 252"/>
                <a:gd name="T7" fmla="*/ 77 h 323"/>
                <a:gd name="T8" fmla="*/ 135 w 252"/>
                <a:gd name="T9" fmla="*/ 65 h 323"/>
                <a:gd name="T10" fmla="*/ 134 w 252"/>
                <a:gd name="T11" fmla="*/ 53 h 323"/>
                <a:gd name="T12" fmla="*/ 129 w 252"/>
                <a:gd name="T13" fmla="*/ 42 h 323"/>
                <a:gd name="T14" fmla="*/ 123 w 252"/>
                <a:gd name="T15" fmla="*/ 31 h 323"/>
                <a:gd name="T16" fmla="*/ 115 w 252"/>
                <a:gd name="T17" fmla="*/ 20 h 323"/>
                <a:gd name="T18" fmla="*/ 107 w 252"/>
                <a:gd name="T19" fmla="*/ 12 h 323"/>
                <a:gd name="T20" fmla="*/ 96 w 252"/>
                <a:gd name="T21" fmla="*/ 6 h 323"/>
                <a:gd name="T22" fmla="*/ 84 w 252"/>
                <a:gd name="T23" fmla="*/ 0 h 323"/>
                <a:gd name="T24" fmla="*/ 84 w 252"/>
                <a:gd name="T25" fmla="*/ 0 h 323"/>
                <a:gd name="T26" fmla="*/ 79 w 252"/>
                <a:gd name="T27" fmla="*/ 0 h 323"/>
                <a:gd name="T28" fmla="*/ 79 w 252"/>
                <a:gd name="T29" fmla="*/ 0 h 323"/>
                <a:gd name="T30" fmla="*/ 72 w 252"/>
                <a:gd name="T31" fmla="*/ 0 h 323"/>
                <a:gd name="T32" fmla="*/ 68 w 252"/>
                <a:gd name="T33" fmla="*/ 4 h 323"/>
                <a:gd name="T34" fmla="*/ 64 w 252"/>
                <a:gd name="T35" fmla="*/ 10 h 323"/>
                <a:gd name="T36" fmla="*/ 63 w 252"/>
                <a:gd name="T37" fmla="*/ 15 h 323"/>
                <a:gd name="T38" fmla="*/ 63 w 252"/>
                <a:gd name="T39" fmla="*/ 74 h 323"/>
                <a:gd name="T40" fmla="*/ 0 w 252"/>
                <a:gd name="T41" fmla="*/ 156 h 323"/>
                <a:gd name="T42" fmla="*/ 0 w 252"/>
                <a:gd name="T43" fmla="*/ 295 h 323"/>
                <a:gd name="T44" fmla="*/ 28 w 252"/>
                <a:gd name="T45" fmla="*/ 308 h 323"/>
                <a:gd name="T46" fmla="*/ 28 w 252"/>
                <a:gd name="T47" fmla="*/ 308 h 323"/>
                <a:gd name="T48" fmla="*/ 43 w 252"/>
                <a:gd name="T49" fmla="*/ 315 h 323"/>
                <a:gd name="T50" fmla="*/ 57 w 252"/>
                <a:gd name="T51" fmla="*/ 320 h 323"/>
                <a:gd name="T52" fmla="*/ 74 w 252"/>
                <a:gd name="T53" fmla="*/ 323 h 323"/>
                <a:gd name="T54" fmla="*/ 90 w 252"/>
                <a:gd name="T55" fmla="*/ 323 h 323"/>
                <a:gd name="T56" fmla="*/ 195 w 252"/>
                <a:gd name="T57" fmla="*/ 323 h 323"/>
                <a:gd name="T58" fmla="*/ 195 w 252"/>
                <a:gd name="T59" fmla="*/ 323 h 323"/>
                <a:gd name="T60" fmla="*/ 203 w 252"/>
                <a:gd name="T61" fmla="*/ 323 h 323"/>
                <a:gd name="T62" fmla="*/ 209 w 252"/>
                <a:gd name="T63" fmla="*/ 320 h 323"/>
                <a:gd name="T64" fmla="*/ 216 w 252"/>
                <a:gd name="T65" fmla="*/ 317 h 323"/>
                <a:gd name="T66" fmla="*/ 221 w 252"/>
                <a:gd name="T67" fmla="*/ 313 h 323"/>
                <a:gd name="T68" fmla="*/ 227 w 252"/>
                <a:gd name="T69" fmla="*/ 308 h 323"/>
                <a:gd name="T70" fmla="*/ 231 w 252"/>
                <a:gd name="T71" fmla="*/ 301 h 323"/>
                <a:gd name="T72" fmla="*/ 235 w 252"/>
                <a:gd name="T73" fmla="*/ 295 h 323"/>
                <a:gd name="T74" fmla="*/ 236 w 252"/>
                <a:gd name="T75" fmla="*/ 287 h 323"/>
                <a:gd name="T76" fmla="*/ 252 w 252"/>
                <a:gd name="T77" fmla="*/ 162 h 323"/>
                <a:gd name="T78" fmla="*/ 252 w 252"/>
                <a:gd name="T79" fmla="*/ 160 h 323"/>
                <a:gd name="T80" fmla="*/ 252 w 252"/>
                <a:gd name="T81" fmla="*/ 160 h 323"/>
                <a:gd name="T82" fmla="*/ 252 w 252"/>
                <a:gd name="T83" fmla="*/ 153 h 323"/>
                <a:gd name="T84" fmla="*/ 250 w 252"/>
                <a:gd name="T85" fmla="*/ 145 h 323"/>
                <a:gd name="T86" fmla="*/ 246 w 252"/>
                <a:gd name="T87" fmla="*/ 140 h 323"/>
                <a:gd name="T88" fmla="*/ 242 w 252"/>
                <a:gd name="T89" fmla="*/ 135 h 323"/>
                <a:gd name="T90" fmla="*/ 236 w 252"/>
                <a:gd name="T91" fmla="*/ 129 h 323"/>
                <a:gd name="T92" fmla="*/ 229 w 252"/>
                <a:gd name="T93" fmla="*/ 127 h 323"/>
                <a:gd name="T94" fmla="*/ 223 w 252"/>
                <a:gd name="T95" fmla="*/ 124 h 323"/>
                <a:gd name="T96" fmla="*/ 216 w 252"/>
                <a:gd name="T97" fmla="*/ 124 h 323"/>
                <a:gd name="T98" fmla="*/ 216 w 252"/>
                <a:gd name="T99" fmla="*/ 124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2" h="323">
                  <a:moveTo>
                    <a:pt x="216" y="124"/>
                  </a:moveTo>
                  <a:lnTo>
                    <a:pt x="137" y="124"/>
                  </a:lnTo>
                  <a:lnTo>
                    <a:pt x="137" y="77"/>
                  </a:lnTo>
                  <a:lnTo>
                    <a:pt x="137" y="77"/>
                  </a:lnTo>
                  <a:lnTo>
                    <a:pt x="135" y="65"/>
                  </a:lnTo>
                  <a:lnTo>
                    <a:pt x="134" y="53"/>
                  </a:lnTo>
                  <a:lnTo>
                    <a:pt x="129" y="42"/>
                  </a:lnTo>
                  <a:lnTo>
                    <a:pt x="123" y="31"/>
                  </a:lnTo>
                  <a:lnTo>
                    <a:pt x="115" y="20"/>
                  </a:lnTo>
                  <a:lnTo>
                    <a:pt x="107" y="12"/>
                  </a:lnTo>
                  <a:lnTo>
                    <a:pt x="96" y="6"/>
                  </a:lnTo>
                  <a:lnTo>
                    <a:pt x="84" y="0"/>
                  </a:lnTo>
                  <a:lnTo>
                    <a:pt x="84" y="0"/>
                  </a:lnTo>
                  <a:lnTo>
                    <a:pt x="79" y="0"/>
                  </a:lnTo>
                  <a:lnTo>
                    <a:pt x="79" y="0"/>
                  </a:lnTo>
                  <a:lnTo>
                    <a:pt x="72" y="0"/>
                  </a:lnTo>
                  <a:lnTo>
                    <a:pt x="68" y="4"/>
                  </a:lnTo>
                  <a:lnTo>
                    <a:pt x="64" y="10"/>
                  </a:lnTo>
                  <a:lnTo>
                    <a:pt x="63" y="15"/>
                  </a:lnTo>
                  <a:lnTo>
                    <a:pt x="63" y="74"/>
                  </a:lnTo>
                  <a:lnTo>
                    <a:pt x="0" y="156"/>
                  </a:lnTo>
                  <a:lnTo>
                    <a:pt x="0" y="295"/>
                  </a:lnTo>
                  <a:lnTo>
                    <a:pt x="28" y="308"/>
                  </a:lnTo>
                  <a:lnTo>
                    <a:pt x="28" y="308"/>
                  </a:lnTo>
                  <a:lnTo>
                    <a:pt x="43" y="315"/>
                  </a:lnTo>
                  <a:lnTo>
                    <a:pt x="57" y="320"/>
                  </a:lnTo>
                  <a:lnTo>
                    <a:pt x="74" y="323"/>
                  </a:lnTo>
                  <a:lnTo>
                    <a:pt x="90" y="323"/>
                  </a:lnTo>
                  <a:lnTo>
                    <a:pt x="195" y="323"/>
                  </a:lnTo>
                  <a:lnTo>
                    <a:pt x="195" y="323"/>
                  </a:lnTo>
                  <a:lnTo>
                    <a:pt x="203" y="323"/>
                  </a:lnTo>
                  <a:lnTo>
                    <a:pt x="209" y="320"/>
                  </a:lnTo>
                  <a:lnTo>
                    <a:pt x="216" y="317"/>
                  </a:lnTo>
                  <a:lnTo>
                    <a:pt x="221" y="313"/>
                  </a:lnTo>
                  <a:lnTo>
                    <a:pt x="227" y="308"/>
                  </a:lnTo>
                  <a:lnTo>
                    <a:pt x="231" y="301"/>
                  </a:lnTo>
                  <a:lnTo>
                    <a:pt x="235" y="295"/>
                  </a:lnTo>
                  <a:lnTo>
                    <a:pt x="236" y="287"/>
                  </a:lnTo>
                  <a:lnTo>
                    <a:pt x="252" y="162"/>
                  </a:lnTo>
                  <a:lnTo>
                    <a:pt x="252" y="160"/>
                  </a:lnTo>
                  <a:lnTo>
                    <a:pt x="252" y="160"/>
                  </a:lnTo>
                  <a:lnTo>
                    <a:pt x="252" y="153"/>
                  </a:lnTo>
                  <a:lnTo>
                    <a:pt x="250" y="145"/>
                  </a:lnTo>
                  <a:lnTo>
                    <a:pt x="246" y="140"/>
                  </a:lnTo>
                  <a:lnTo>
                    <a:pt x="242" y="135"/>
                  </a:lnTo>
                  <a:lnTo>
                    <a:pt x="236" y="129"/>
                  </a:lnTo>
                  <a:lnTo>
                    <a:pt x="229" y="127"/>
                  </a:lnTo>
                  <a:lnTo>
                    <a:pt x="223" y="124"/>
                  </a:lnTo>
                  <a:lnTo>
                    <a:pt x="216" y="124"/>
                  </a:lnTo>
                  <a:lnTo>
                    <a:pt x="216" y="1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54" name="Group 53">
            <a:extLst>
              <a:ext uri="{FF2B5EF4-FFF2-40B4-BE49-F238E27FC236}">
                <a16:creationId xmlns:a16="http://schemas.microsoft.com/office/drawing/2014/main" id="{DFE6A3E9-6D15-4333-8F75-BDD57BC99582}"/>
              </a:ext>
            </a:extLst>
          </p:cNvPr>
          <p:cNvGrpSpPr>
            <a:grpSpLocks noChangeAspect="1"/>
          </p:cNvGrpSpPr>
          <p:nvPr/>
        </p:nvGrpSpPr>
        <p:grpSpPr>
          <a:xfrm>
            <a:off x="5120931" y="4567010"/>
            <a:ext cx="522288" cy="522288"/>
            <a:chOff x="11115676" y="3342323"/>
            <a:chExt cx="522288" cy="522288"/>
          </a:xfrm>
        </p:grpSpPr>
        <p:sp>
          <p:nvSpPr>
            <p:cNvPr id="55" name="Freeform 92">
              <a:extLst>
                <a:ext uri="{FF2B5EF4-FFF2-40B4-BE49-F238E27FC236}">
                  <a16:creationId xmlns:a16="http://schemas.microsoft.com/office/drawing/2014/main" id="{11D3DFD6-9B4C-40C4-BC1D-38832D293EB4}"/>
                </a:ext>
              </a:extLst>
            </p:cNvPr>
            <p:cNvSpPr>
              <a:spLocks noEditPoints="1"/>
            </p:cNvSpPr>
            <p:nvPr/>
          </p:nvSpPr>
          <p:spPr bwMode="auto">
            <a:xfrm>
              <a:off x="11115676" y="3342323"/>
              <a:ext cx="522288" cy="522288"/>
            </a:xfrm>
            <a:custGeom>
              <a:avLst/>
              <a:gdLst>
                <a:gd name="T0" fmla="*/ 312 w 659"/>
                <a:gd name="T1" fmla="*/ 657 h 657"/>
                <a:gd name="T2" fmla="*/ 263 w 659"/>
                <a:gd name="T3" fmla="*/ 650 h 657"/>
                <a:gd name="T4" fmla="*/ 202 w 659"/>
                <a:gd name="T5" fmla="*/ 631 h 657"/>
                <a:gd name="T6" fmla="*/ 120 w 659"/>
                <a:gd name="T7" fmla="*/ 582 h 657"/>
                <a:gd name="T8" fmla="*/ 57 w 659"/>
                <a:gd name="T9" fmla="*/ 512 h 657"/>
                <a:gd name="T10" fmla="*/ 15 w 659"/>
                <a:gd name="T11" fmla="*/ 426 h 657"/>
                <a:gd name="T12" fmla="*/ 4 w 659"/>
                <a:gd name="T13" fmla="*/ 379 h 657"/>
                <a:gd name="T14" fmla="*/ 0 w 659"/>
                <a:gd name="T15" fmla="*/ 328 h 657"/>
                <a:gd name="T16" fmla="*/ 2 w 659"/>
                <a:gd name="T17" fmla="*/ 294 h 657"/>
                <a:gd name="T18" fmla="*/ 11 w 659"/>
                <a:gd name="T19" fmla="*/ 246 h 657"/>
                <a:gd name="T20" fmla="*/ 41 w 659"/>
                <a:gd name="T21" fmla="*/ 172 h 657"/>
                <a:gd name="T22" fmla="*/ 97 w 659"/>
                <a:gd name="T23" fmla="*/ 95 h 657"/>
                <a:gd name="T24" fmla="*/ 172 w 659"/>
                <a:gd name="T25" fmla="*/ 39 h 657"/>
                <a:gd name="T26" fmla="*/ 248 w 659"/>
                <a:gd name="T27" fmla="*/ 9 h 657"/>
                <a:gd name="T28" fmla="*/ 296 w 659"/>
                <a:gd name="T29" fmla="*/ 1 h 657"/>
                <a:gd name="T30" fmla="*/ 330 w 659"/>
                <a:gd name="T31" fmla="*/ 0 h 657"/>
                <a:gd name="T32" fmla="*/ 379 w 659"/>
                <a:gd name="T33" fmla="*/ 2 h 657"/>
                <a:gd name="T34" fmla="*/ 426 w 659"/>
                <a:gd name="T35" fmla="*/ 15 h 657"/>
                <a:gd name="T36" fmla="*/ 514 w 659"/>
                <a:gd name="T37" fmla="*/ 55 h 657"/>
                <a:gd name="T38" fmla="*/ 584 w 659"/>
                <a:gd name="T39" fmla="*/ 119 h 657"/>
                <a:gd name="T40" fmla="*/ 632 w 659"/>
                <a:gd name="T41" fmla="*/ 200 h 657"/>
                <a:gd name="T42" fmla="*/ 652 w 659"/>
                <a:gd name="T43" fmla="*/ 262 h 657"/>
                <a:gd name="T44" fmla="*/ 658 w 659"/>
                <a:gd name="T45" fmla="*/ 312 h 657"/>
                <a:gd name="T46" fmla="*/ 658 w 659"/>
                <a:gd name="T47" fmla="*/ 345 h 657"/>
                <a:gd name="T48" fmla="*/ 652 w 659"/>
                <a:gd name="T49" fmla="*/ 395 h 657"/>
                <a:gd name="T50" fmla="*/ 632 w 659"/>
                <a:gd name="T51" fmla="*/ 457 h 657"/>
                <a:gd name="T52" fmla="*/ 584 w 659"/>
                <a:gd name="T53" fmla="*/ 537 h 657"/>
                <a:gd name="T54" fmla="*/ 514 w 659"/>
                <a:gd name="T55" fmla="*/ 601 h 657"/>
                <a:gd name="T56" fmla="*/ 426 w 659"/>
                <a:gd name="T57" fmla="*/ 642 h 657"/>
                <a:gd name="T58" fmla="*/ 379 w 659"/>
                <a:gd name="T59" fmla="*/ 653 h 657"/>
                <a:gd name="T60" fmla="*/ 330 w 659"/>
                <a:gd name="T61" fmla="*/ 657 h 657"/>
                <a:gd name="T62" fmla="*/ 330 w 659"/>
                <a:gd name="T63" fmla="*/ 37 h 657"/>
                <a:gd name="T64" fmla="*/ 242 w 659"/>
                <a:gd name="T65" fmla="*/ 49 h 657"/>
                <a:gd name="T66" fmla="*/ 167 w 659"/>
                <a:gd name="T67" fmla="*/ 87 h 657"/>
                <a:gd name="T68" fmla="*/ 105 w 659"/>
                <a:gd name="T69" fmla="*/ 144 h 657"/>
                <a:gd name="T70" fmla="*/ 61 w 659"/>
                <a:gd name="T71" fmla="*/ 215 h 657"/>
                <a:gd name="T72" fmla="*/ 39 w 659"/>
                <a:gd name="T73" fmla="*/ 298 h 657"/>
                <a:gd name="T74" fmla="*/ 39 w 659"/>
                <a:gd name="T75" fmla="*/ 357 h 657"/>
                <a:gd name="T76" fmla="*/ 61 w 659"/>
                <a:gd name="T77" fmla="*/ 442 h 657"/>
                <a:gd name="T78" fmla="*/ 105 w 659"/>
                <a:gd name="T79" fmla="*/ 513 h 657"/>
                <a:gd name="T80" fmla="*/ 167 w 659"/>
                <a:gd name="T81" fmla="*/ 570 h 657"/>
                <a:gd name="T82" fmla="*/ 242 w 659"/>
                <a:gd name="T83" fmla="*/ 606 h 657"/>
                <a:gd name="T84" fmla="*/ 330 w 659"/>
                <a:gd name="T85" fmla="*/ 619 h 657"/>
                <a:gd name="T86" fmla="*/ 388 w 659"/>
                <a:gd name="T87" fmla="*/ 614 h 657"/>
                <a:gd name="T88" fmla="*/ 468 w 659"/>
                <a:gd name="T89" fmla="*/ 584 h 657"/>
                <a:gd name="T90" fmla="*/ 535 w 659"/>
                <a:gd name="T91" fmla="*/ 535 h 657"/>
                <a:gd name="T92" fmla="*/ 585 w 659"/>
                <a:gd name="T93" fmla="*/ 467 h 657"/>
                <a:gd name="T94" fmla="*/ 615 w 659"/>
                <a:gd name="T95" fmla="*/ 387 h 657"/>
                <a:gd name="T96" fmla="*/ 621 w 659"/>
                <a:gd name="T97" fmla="*/ 328 h 657"/>
                <a:gd name="T98" fmla="*/ 608 w 659"/>
                <a:gd name="T99" fmla="*/ 242 h 657"/>
                <a:gd name="T100" fmla="*/ 570 w 659"/>
                <a:gd name="T101" fmla="*/ 165 h 657"/>
                <a:gd name="T102" fmla="*/ 515 w 659"/>
                <a:gd name="T103" fmla="*/ 103 h 657"/>
                <a:gd name="T104" fmla="*/ 443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6"/>
                  </a:lnTo>
                  <a:lnTo>
                    <a:pt x="280" y="653"/>
                  </a:lnTo>
                  <a:lnTo>
                    <a:pt x="263" y="650"/>
                  </a:lnTo>
                  <a:lnTo>
                    <a:pt x="248" y="646"/>
                  </a:lnTo>
                  <a:lnTo>
                    <a:pt x="232" y="642"/>
                  </a:lnTo>
                  <a:lnTo>
                    <a:pt x="202" y="631"/>
                  </a:lnTo>
                  <a:lnTo>
                    <a:pt x="172" y="618"/>
                  </a:lnTo>
                  <a:lnTo>
                    <a:pt x="146" y="601"/>
                  </a:lnTo>
                  <a:lnTo>
                    <a:pt x="120" y="582"/>
                  </a:lnTo>
                  <a:lnTo>
                    <a:pt x="97" y="560"/>
                  </a:lnTo>
                  <a:lnTo>
                    <a:pt x="76" y="537"/>
                  </a:lnTo>
                  <a:lnTo>
                    <a:pt x="57" y="512"/>
                  </a:lnTo>
                  <a:lnTo>
                    <a:pt x="41" y="485"/>
                  </a:lnTo>
                  <a:lnTo>
                    <a:pt x="26" y="457"/>
                  </a:lnTo>
                  <a:lnTo>
                    <a:pt x="15" y="426"/>
                  </a:lnTo>
                  <a:lnTo>
                    <a:pt x="11" y="410"/>
                  </a:lnTo>
                  <a:lnTo>
                    <a:pt x="7" y="395"/>
                  </a:lnTo>
                  <a:lnTo>
                    <a:pt x="4" y="379"/>
                  </a:lnTo>
                  <a:lnTo>
                    <a:pt x="2" y="361"/>
                  </a:lnTo>
                  <a:lnTo>
                    <a:pt x="0" y="345"/>
                  </a:lnTo>
                  <a:lnTo>
                    <a:pt x="0" y="328"/>
                  </a:lnTo>
                  <a:lnTo>
                    <a:pt x="0" y="328"/>
                  </a:lnTo>
                  <a:lnTo>
                    <a:pt x="0" y="312"/>
                  </a:lnTo>
                  <a:lnTo>
                    <a:pt x="2" y="294"/>
                  </a:lnTo>
                  <a:lnTo>
                    <a:pt x="4" y="278"/>
                  </a:lnTo>
                  <a:lnTo>
                    <a:pt x="7" y="262"/>
                  </a:lnTo>
                  <a:lnTo>
                    <a:pt x="11" y="246"/>
                  </a:lnTo>
                  <a:lnTo>
                    <a:pt x="15" y="231"/>
                  </a:lnTo>
                  <a:lnTo>
                    <a:pt x="26" y="200"/>
                  </a:lnTo>
                  <a:lnTo>
                    <a:pt x="41" y="172"/>
                  </a:lnTo>
                  <a:lnTo>
                    <a:pt x="57" y="145"/>
                  </a:lnTo>
                  <a:lnTo>
                    <a:pt x="76" y="119"/>
                  </a:lnTo>
                  <a:lnTo>
                    <a:pt x="97" y="95"/>
                  </a:lnTo>
                  <a:lnTo>
                    <a:pt x="120" y="75"/>
                  </a:lnTo>
                  <a:lnTo>
                    <a:pt x="146" y="55"/>
                  </a:lnTo>
                  <a:lnTo>
                    <a:pt x="172" y="39"/>
                  </a:lnTo>
                  <a:lnTo>
                    <a:pt x="202" y="25"/>
                  </a:lnTo>
                  <a:lnTo>
                    <a:pt x="232" y="15"/>
                  </a:lnTo>
                  <a:lnTo>
                    <a:pt x="248" y="9"/>
                  </a:lnTo>
                  <a:lnTo>
                    <a:pt x="263" y="6"/>
                  </a:lnTo>
                  <a:lnTo>
                    <a:pt x="280" y="2"/>
                  </a:lnTo>
                  <a:lnTo>
                    <a:pt x="296" y="1"/>
                  </a:lnTo>
                  <a:lnTo>
                    <a:pt x="312" y="0"/>
                  </a:lnTo>
                  <a:lnTo>
                    <a:pt x="330" y="0"/>
                  </a:lnTo>
                  <a:lnTo>
                    <a:pt x="330" y="0"/>
                  </a:lnTo>
                  <a:lnTo>
                    <a:pt x="346" y="0"/>
                  </a:lnTo>
                  <a:lnTo>
                    <a:pt x="363" y="1"/>
                  </a:lnTo>
                  <a:lnTo>
                    <a:pt x="379" y="2"/>
                  </a:lnTo>
                  <a:lnTo>
                    <a:pt x="396" y="6"/>
                  </a:lnTo>
                  <a:lnTo>
                    <a:pt x="412" y="9"/>
                  </a:lnTo>
                  <a:lnTo>
                    <a:pt x="426" y="15"/>
                  </a:lnTo>
                  <a:lnTo>
                    <a:pt x="457" y="25"/>
                  </a:lnTo>
                  <a:lnTo>
                    <a:pt x="486" y="39"/>
                  </a:lnTo>
                  <a:lnTo>
                    <a:pt x="514" y="55"/>
                  </a:lnTo>
                  <a:lnTo>
                    <a:pt x="538" y="75"/>
                  </a:lnTo>
                  <a:lnTo>
                    <a:pt x="562" y="95"/>
                  </a:lnTo>
                  <a:lnTo>
                    <a:pt x="584" y="119"/>
                  </a:lnTo>
                  <a:lnTo>
                    <a:pt x="603" y="145"/>
                  </a:lnTo>
                  <a:lnTo>
                    <a:pt x="619" y="172"/>
                  </a:lnTo>
                  <a:lnTo>
                    <a:pt x="632" y="200"/>
                  </a:lnTo>
                  <a:lnTo>
                    <a:pt x="644" y="231"/>
                  </a:lnTo>
                  <a:lnTo>
                    <a:pt x="648" y="246"/>
                  </a:lnTo>
                  <a:lnTo>
                    <a:pt x="652" y="262"/>
                  </a:lnTo>
                  <a:lnTo>
                    <a:pt x="655" y="278"/>
                  </a:lnTo>
                  <a:lnTo>
                    <a:pt x="656" y="294"/>
                  </a:lnTo>
                  <a:lnTo>
                    <a:pt x="658" y="312"/>
                  </a:lnTo>
                  <a:lnTo>
                    <a:pt x="659" y="328"/>
                  </a:lnTo>
                  <a:lnTo>
                    <a:pt x="659" y="328"/>
                  </a:lnTo>
                  <a:lnTo>
                    <a:pt x="658" y="345"/>
                  </a:lnTo>
                  <a:lnTo>
                    <a:pt x="656" y="361"/>
                  </a:lnTo>
                  <a:lnTo>
                    <a:pt x="655" y="379"/>
                  </a:lnTo>
                  <a:lnTo>
                    <a:pt x="652" y="395"/>
                  </a:lnTo>
                  <a:lnTo>
                    <a:pt x="648" y="410"/>
                  </a:lnTo>
                  <a:lnTo>
                    <a:pt x="644" y="426"/>
                  </a:lnTo>
                  <a:lnTo>
                    <a:pt x="632" y="457"/>
                  </a:lnTo>
                  <a:lnTo>
                    <a:pt x="619" y="485"/>
                  </a:lnTo>
                  <a:lnTo>
                    <a:pt x="603" y="512"/>
                  </a:lnTo>
                  <a:lnTo>
                    <a:pt x="584" y="537"/>
                  </a:lnTo>
                  <a:lnTo>
                    <a:pt x="562" y="560"/>
                  </a:lnTo>
                  <a:lnTo>
                    <a:pt x="538" y="582"/>
                  </a:lnTo>
                  <a:lnTo>
                    <a:pt x="514" y="601"/>
                  </a:lnTo>
                  <a:lnTo>
                    <a:pt x="486" y="618"/>
                  </a:lnTo>
                  <a:lnTo>
                    <a:pt x="457" y="631"/>
                  </a:lnTo>
                  <a:lnTo>
                    <a:pt x="426" y="642"/>
                  </a:lnTo>
                  <a:lnTo>
                    <a:pt x="412" y="646"/>
                  </a:lnTo>
                  <a:lnTo>
                    <a:pt x="396" y="650"/>
                  </a:lnTo>
                  <a:lnTo>
                    <a:pt x="379" y="653"/>
                  </a:lnTo>
                  <a:lnTo>
                    <a:pt x="363" y="656"/>
                  </a:lnTo>
                  <a:lnTo>
                    <a:pt x="346" y="657"/>
                  </a:lnTo>
                  <a:lnTo>
                    <a:pt x="330" y="657"/>
                  </a:lnTo>
                  <a:lnTo>
                    <a:pt x="330" y="657"/>
                  </a:lnTo>
                  <a:close/>
                  <a:moveTo>
                    <a:pt x="330" y="37"/>
                  </a:moveTo>
                  <a:lnTo>
                    <a:pt x="330" y="37"/>
                  </a:lnTo>
                  <a:lnTo>
                    <a:pt x="300" y="39"/>
                  </a:lnTo>
                  <a:lnTo>
                    <a:pt x="271" y="43"/>
                  </a:lnTo>
                  <a:lnTo>
                    <a:pt x="242" y="49"/>
                  </a:lnTo>
                  <a:lnTo>
                    <a:pt x="215" y="60"/>
                  </a:lnTo>
                  <a:lnTo>
                    <a:pt x="191" y="72"/>
                  </a:lnTo>
                  <a:lnTo>
                    <a:pt x="167" y="87"/>
                  </a:lnTo>
                  <a:lnTo>
                    <a:pt x="144" y="103"/>
                  </a:lnTo>
                  <a:lnTo>
                    <a:pt x="124" y="122"/>
                  </a:lnTo>
                  <a:lnTo>
                    <a:pt x="105" y="144"/>
                  </a:lnTo>
                  <a:lnTo>
                    <a:pt x="88" y="165"/>
                  </a:lnTo>
                  <a:lnTo>
                    <a:pt x="73" y="189"/>
                  </a:lnTo>
                  <a:lnTo>
                    <a:pt x="61" y="215"/>
                  </a:lnTo>
                  <a:lnTo>
                    <a:pt x="52" y="242"/>
                  </a:lnTo>
                  <a:lnTo>
                    <a:pt x="43" y="270"/>
                  </a:lnTo>
                  <a:lnTo>
                    <a:pt x="39" y="298"/>
                  </a:lnTo>
                  <a:lnTo>
                    <a:pt x="38" y="328"/>
                  </a:lnTo>
                  <a:lnTo>
                    <a:pt x="38" y="328"/>
                  </a:lnTo>
                  <a:lnTo>
                    <a:pt x="39" y="357"/>
                  </a:lnTo>
                  <a:lnTo>
                    <a:pt x="43" y="387"/>
                  </a:lnTo>
                  <a:lnTo>
                    <a:pt x="52" y="415"/>
                  </a:lnTo>
                  <a:lnTo>
                    <a:pt x="61" y="442"/>
                  </a:lnTo>
                  <a:lnTo>
                    <a:pt x="73" y="467"/>
                  </a:lnTo>
                  <a:lnTo>
                    <a:pt x="88" y="490"/>
                  </a:lnTo>
                  <a:lnTo>
                    <a:pt x="105" y="513"/>
                  </a:lnTo>
                  <a:lnTo>
                    <a:pt x="124" y="535"/>
                  </a:lnTo>
                  <a:lnTo>
                    <a:pt x="144" y="553"/>
                  </a:lnTo>
                  <a:lnTo>
                    <a:pt x="167" y="570"/>
                  </a:lnTo>
                  <a:lnTo>
                    <a:pt x="191" y="584"/>
                  </a:lnTo>
                  <a:lnTo>
                    <a:pt x="215" y="596"/>
                  </a:lnTo>
                  <a:lnTo>
                    <a:pt x="242" y="606"/>
                  </a:lnTo>
                  <a:lnTo>
                    <a:pt x="271" y="614"/>
                  </a:lnTo>
                  <a:lnTo>
                    <a:pt x="300" y="618"/>
                  </a:lnTo>
                  <a:lnTo>
                    <a:pt x="330" y="619"/>
                  </a:lnTo>
                  <a:lnTo>
                    <a:pt x="330" y="619"/>
                  </a:lnTo>
                  <a:lnTo>
                    <a:pt x="359" y="618"/>
                  </a:lnTo>
                  <a:lnTo>
                    <a:pt x="388" y="614"/>
                  </a:lnTo>
                  <a:lnTo>
                    <a:pt x="416" y="606"/>
                  </a:lnTo>
                  <a:lnTo>
                    <a:pt x="443" y="596"/>
                  </a:lnTo>
                  <a:lnTo>
                    <a:pt x="468" y="584"/>
                  </a:lnTo>
                  <a:lnTo>
                    <a:pt x="492" y="570"/>
                  </a:lnTo>
                  <a:lnTo>
                    <a:pt x="515" y="553"/>
                  </a:lnTo>
                  <a:lnTo>
                    <a:pt x="535" y="535"/>
                  </a:lnTo>
                  <a:lnTo>
                    <a:pt x="554" y="513"/>
                  </a:lnTo>
                  <a:lnTo>
                    <a:pt x="570" y="490"/>
                  </a:lnTo>
                  <a:lnTo>
                    <a:pt x="585" y="467"/>
                  </a:lnTo>
                  <a:lnTo>
                    <a:pt x="597" y="442"/>
                  </a:lnTo>
                  <a:lnTo>
                    <a:pt x="608" y="415"/>
                  </a:lnTo>
                  <a:lnTo>
                    <a:pt x="615" y="387"/>
                  </a:lnTo>
                  <a:lnTo>
                    <a:pt x="619" y="357"/>
                  </a:lnTo>
                  <a:lnTo>
                    <a:pt x="621" y="328"/>
                  </a:lnTo>
                  <a:lnTo>
                    <a:pt x="621" y="328"/>
                  </a:lnTo>
                  <a:lnTo>
                    <a:pt x="619" y="298"/>
                  </a:lnTo>
                  <a:lnTo>
                    <a:pt x="615" y="270"/>
                  </a:lnTo>
                  <a:lnTo>
                    <a:pt x="608" y="242"/>
                  </a:lnTo>
                  <a:lnTo>
                    <a:pt x="597" y="215"/>
                  </a:lnTo>
                  <a:lnTo>
                    <a:pt x="585" y="189"/>
                  </a:lnTo>
                  <a:lnTo>
                    <a:pt x="570" y="165"/>
                  </a:lnTo>
                  <a:lnTo>
                    <a:pt x="554" y="144"/>
                  </a:lnTo>
                  <a:lnTo>
                    <a:pt x="535" y="122"/>
                  </a:lnTo>
                  <a:lnTo>
                    <a:pt x="515" y="103"/>
                  </a:lnTo>
                  <a:lnTo>
                    <a:pt x="492" y="87"/>
                  </a:lnTo>
                  <a:lnTo>
                    <a:pt x="468" y="72"/>
                  </a:lnTo>
                  <a:lnTo>
                    <a:pt x="443" y="60"/>
                  </a:lnTo>
                  <a:lnTo>
                    <a:pt x="416" y="49"/>
                  </a:lnTo>
                  <a:lnTo>
                    <a:pt x="388" y="43"/>
                  </a:lnTo>
                  <a:lnTo>
                    <a:pt x="359" y="39"/>
                  </a:lnTo>
                  <a:lnTo>
                    <a:pt x="330" y="37"/>
                  </a:lnTo>
                  <a:lnTo>
                    <a:pt x="33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6" name="Freeform 307">
              <a:extLst>
                <a:ext uri="{FF2B5EF4-FFF2-40B4-BE49-F238E27FC236}">
                  <a16:creationId xmlns:a16="http://schemas.microsoft.com/office/drawing/2014/main" id="{F2EFFB0C-D463-40CE-9136-0C91FB45D19B}"/>
                </a:ext>
              </a:extLst>
            </p:cNvPr>
            <p:cNvSpPr>
              <a:spLocks noEditPoints="1"/>
            </p:cNvSpPr>
            <p:nvPr/>
          </p:nvSpPr>
          <p:spPr bwMode="auto">
            <a:xfrm>
              <a:off x="11261726" y="3510598"/>
              <a:ext cx="176213" cy="188913"/>
            </a:xfrm>
            <a:custGeom>
              <a:avLst/>
              <a:gdLst>
                <a:gd name="T0" fmla="*/ 215 w 222"/>
                <a:gd name="T1" fmla="*/ 0 h 239"/>
                <a:gd name="T2" fmla="*/ 3 w 222"/>
                <a:gd name="T3" fmla="*/ 71 h 239"/>
                <a:gd name="T4" fmla="*/ 3 w 222"/>
                <a:gd name="T5" fmla="*/ 71 h 239"/>
                <a:gd name="T6" fmla="*/ 1 w 222"/>
                <a:gd name="T7" fmla="*/ 72 h 239"/>
                <a:gd name="T8" fmla="*/ 0 w 222"/>
                <a:gd name="T9" fmla="*/ 75 h 239"/>
                <a:gd name="T10" fmla="*/ 0 w 222"/>
                <a:gd name="T11" fmla="*/ 156 h 239"/>
                <a:gd name="T12" fmla="*/ 0 w 222"/>
                <a:gd name="T13" fmla="*/ 156 h 239"/>
                <a:gd name="T14" fmla="*/ 1 w 222"/>
                <a:gd name="T15" fmla="*/ 160 h 239"/>
                <a:gd name="T16" fmla="*/ 3 w 222"/>
                <a:gd name="T17" fmla="*/ 161 h 239"/>
                <a:gd name="T18" fmla="*/ 29 w 222"/>
                <a:gd name="T19" fmla="*/ 170 h 239"/>
                <a:gd name="T20" fmla="*/ 29 w 222"/>
                <a:gd name="T21" fmla="*/ 234 h 239"/>
                <a:gd name="T22" fmla="*/ 29 w 222"/>
                <a:gd name="T23" fmla="*/ 234 h 239"/>
                <a:gd name="T24" fmla="*/ 31 w 222"/>
                <a:gd name="T25" fmla="*/ 238 h 239"/>
                <a:gd name="T26" fmla="*/ 35 w 222"/>
                <a:gd name="T27" fmla="*/ 239 h 239"/>
                <a:gd name="T28" fmla="*/ 116 w 222"/>
                <a:gd name="T29" fmla="*/ 239 h 239"/>
                <a:gd name="T30" fmla="*/ 116 w 222"/>
                <a:gd name="T31" fmla="*/ 239 h 239"/>
                <a:gd name="T32" fmla="*/ 120 w 222"/>
                <a:gd name="T33" fmla="*/ 238 h 239"/>
                <a:gd name="T34" fmla="*/ 121 w 222"/>
                <a:gd name="T35" fmla="*/ 234 h 239"/>
                <a:gd name="T36" fmla="*/ 121 w 222"/>
                <a:gd name="T37" fmla="*/ 200 h 239"/>
                <a:gd name="T38" fmla="*/ 215 w 222"/>
                <a:gd name="T39" fmla="*/ 232 h 239"/>
                <a:gd name="T40" fmla="*/ 215 w 222"/>
                <a:gd name="T41" fmla="*/ 232 h 239"/>
                <a:gd name="T42" fmla="*/ 216 w 222"/>
                <a:gd name="T43" fmla="*/ 232 h 239"/>
                <a:gd name="T44" fmla="*/ 216 w 222"/>
                <a:gd name="T45" fmla="*/ 232 h 239"/>
                <a:gd name="T46" fmla="*/ 220 w 222"/>
                <a:gd name="T47" fmla="*/ 231 h 239"/>
                <a:gd name="T48" fmla="*/ 220 w 222"/>
                <a:gd name="T49" fmla="*/ 231 h 239"/>
                <a:gd name="T50" fmla="*/ 222 w 222"/>
                <a:gd name="T51" fmla="*/ 230 h 239"/>
                <a:gd name="T52" fmla="*/ 222 w 222"/>
                <a:gd name="T53" fmla="*/ 227 h 239"/>
                <a:gd name="T54" fmla="*/ 222 w 222"/>
                <a:gd name="T55" fmla="*/ 5 h 239"/>
                <a:gd name="T56" fmla="*/ 222 w 222"/>
                <a:gd name="T57" fmla="*/ 5 h 239"/>
                <a:gd name="T58" fmla="*/ 222 w 222"/>
                <a:gd name="T59" fmla="*/ 2 h 239"/>
                <a:gd name="T60" fmla="*/ 220 w 222"/>
                <a:gd name="T61" fmla="*/ 1 h 239"/>
                <a:gd name="T62" fmla="*/ 220 w 222"/>
                <a:gd name="T63" fmla="*/ 1 h 239"/>
                <a:gd name="T64" fmla="*/ 218 w 222"/>
                <a:gd name="T65" fmla="*/ 0 h 239"/>
                <a:gd name="T66" fmla="*/ 215 w 222"/>
                <a:gd name="T67" fmla="*/ 0 h 239"/>
                <a:gd name="T68" fmla="*/ 215 w 222"/>
                <a:gd name="T69" fmla="*/ 0 h 239"/>
                <a:gd name="T70" fmla="*/ 101 w 222"/>
                <a:gd name="T71" fmla="*/ 219 h 239"/>
                <a:gd name="T72" fmla="*/ 51 w 222"/>
                <a:gd name="T73" fmla="*/ 219 h 239"/>
                <a:gd name="T74" fmla="*/ 51 w 222"/>
                <a:gd name="T75" fmla="*/ 177 h 239"/>
                <a:gd name="T76" fmla="*/ 101 w 222"/>
                <a:gd name="T77" fmla="*/ 193 h 239"/>
                <a:gd name="T78" fmla="*/ 101 w 222"/>
                <a:gd name="T79" fmla="*/ 21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2" h="239">
                  <a:moveTo>
                    <a:pt x="215" y="0"/>
                  </a:moveTo>
                  <a:lnTo>
                    <a:pt x="3" y="71"/>
                  </a:lnTo>
                  <a:lnTo>
                    <a:pt x="3" y="71"/>
                  </a:lnTo>
                  <a:lnTo>
                    <a:pt x="1" y="72"/>
                  </a:lnTo>
                  <a:lnTo>
                    <a:pt x="0" y="75"/>
                  </a:lnTo>
                  <a:lnTo>
                    <a:pt x="0" y="156"/>
                  </a:lnTo>
                  <a:lnTo>
                    <a:pt x="0" y="156"/>
                  </a:lnTo>
                  <a:lnTo>
                    <a:pt x="1" y="160"/>
                  </a:lnTo>
                  <a:lnTo>
                    <a:pt x="3" y="161"/>
                  </a:lnTo>
                  <a:lnTo>
                    <a:pt x="29" y="170"/>
                  </a:lnTo>
                  <a:lnTo>
                    <a:pt x="29" y="234"/>
                  </a:lnTo>
                  <a:lnTo>
                    <a:pt x="29" y="234"/>
                  </a:lnTo>
                  <a:lnTo>
                    <a:pt x="31" y="238"/>
                  </a:lnTo>
                  <a:lnTo>
                    <a:pt x="35" y="239"/>
                  </a:lnTo>
                  <a:lnTo>
                    <a:pt x="116" y="239"/>
                  </a:lnTo>
                  <a:lnTo>
                    <a:pt x="116" y="239"/>
                  </a:lnTo>
                  <a:lnTo>
                    <a:pt x="120" y="238"/>
                  </a:lnTo>
                  <a:lnTo>
                    <a:pt x="121" y="234"/>
                  </a:lnTo>
                  <a:lnTo>
                    <a:pt x="121" y="200"/>
                  </a:lnTo>
                  <a:lnTo>
                    <a:pt x="215" y="232"/>
                  </a:lnTo>
                  <a:lnTo>
                    <a:pt x="215" y="232"/>
                  </a:lnTo>
                  <a:lnTo>
                    <a:pt x="216" y="232"/>
                  </a:lnTo>
                  <a:lnTo>
                    <a:pt x="216" y="232"/>
                  </a:lnTo>
                  <a:lnTo>
                    <a:pt x="220" y="231"/>
                  </a:lnTo>
                  <a:lnTo>
                    <a:pt x="220" y="231"/>
                  </a:lnTo>
                  <a:lnTo>
                    <a:pt x="222" y="230"/>
                  </a:lnTo>
                  <a:lnTo>
                    <a:pt x="222" y="227"/>
                  </a:lnTo>
                  <a:lnTo>
                    <a:pt x="222" y="5"/>
                  </a:lnTo>
                  <a:lnTo>
                    <a:pt x="222" y="5"/>
                  </a:lnTo>
                  <a:lnTo>
                    <a:pt x="222" y="2"/>
                  </a:lnTo>
                  <a:lnTo>
                    <a:pt x="220" y="1"/>
                  </a:lnTo>
                  <a:lnTo>
                    <a:pt x="220" y="1"/>
                  </a:lnTo>
                  <a:lnTo>
                    <a:pt x="218" y="0"/>
                  </a:lnTo>
                  <a:lnTo>
                    <a:pt x="215" y="0"/>
                  </a:lnTo>
                  <a:lnTo>
                    <a:pt x="215" y="0"/>
                  </a:lnTo>
                  <a:close/>
                  <a:moveTo>
                    <a:pt x="101" y="219"/>
                  </a:moveTo>
                  <a:lnTo>
                    <a:pt x="51" y="219"/>
                  </a:lnTo>
                  <a:lnTo>
                    <a:pt x="51" y="177"/>
                  </a:lnTo>
                  <a:lnTo>
                    <a:pt x="101" y="193"/>
                  </a:lnTo>
                  <a:lnTo>
                    <a:pt x="101" y="2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7" name="Freeform 308">
              <a:extLst>
                <a:ext uri="{FF2B5EF4-FFF2-40B4-BE49-F238E27FC236}">
                  <a16:creationId xmlns:a16="http://schemas.microsoft.com/office/drawing/2014/main" id="{9E0F5366-4DB1-423A-9581-C3E16414E618}"/>
                </a:ext>
              </a:extLst>
            </p:cNvPr>
            <p:cNvSpPr>
              <a:spLocks/>
            </p:cNvSpPr>
            <p:nvPr/>
          </p:nvSpPr>
          <p:spPr bwMode="auto">
            <a:xfrm>
              <a:off x="11476038" y="3596323"/>
              <a:ext cx="38100" cy="12700"/>
            </a:xfrm>
            <a:custGeom>
              <a:avLst/>
              <a:gdLst>
                <a:gd name="T0" fmla="*/ 39 w 48"/>
                <a:gd name="T1" fmla="*/ 0 h 18"/>
                <a:gd name="T2" fmla="*/ 9 w 48"/>
                <a:gd name="T3" fmla="*/ 0 h 18"/>
                <a:gd name="T4" fmla="*/ 9 w 48"/>
                <a:gd name="T5" fmla="*/ 0 h 18"/>
                <a:gd name="T6" fmla="*/ 5 w 48"/>
                <a:gd name="T7" fmla="*/ 0 h 18"/>
                <a:gd name="T8" fmla="*/ 2 w 48"/>
                <a:gd name="T9" fmla="*/ 2 h 18"/>
                <a:gd name="T10" fmla="*/ 0 w 48"/>
                <a:gd name="T11" fmla="*/ 6 h 18"/>
                <a:gd name="T12" fmla="*/ 0 w 48"/>
                <a:gd name="T13" fmla="*/ 8 h 18"/>
                <a:gd name="T14" fmla="*/ 0 w 48"/>
                <a:gd name="T15" fmla="*/ 8 h 18"/>
                <a:gd name="T16" fmla="*/ 0 w 48"/>
                <a:gd name="T17" fmla="*/ 12 h 18"/>
                <a:gd name="T18" fmla="*/ 2 w 48"/>
                <a:gd name="T19" fmla="*/ 15 h 18"/>
                <a:gd name="T20" fmla="*/ 5 w 48"/>
                <a:gd name="T21" fmla="*/ 16 h 18"/>
                <a:gd name="T22" fmla="*/ 9 w 48"/>
                <a:gd name="T23" fmla="*/ 18 h 18"/>
                <a:gd name="T24" fmla="*/ 39 w 48"/>
                <a:gd name="T25" fmla="*/ 18 h 18"/>
                <a:gd name="T26" fmla="*/ 39 w 48"/>
                <a:gd name="T27" fmla="*/ 18 h 18"/>
                <a:gd name="T28" fmla="*/ 43 w 48"/>
                <a:gd name="T29" fmla="*/ 16 h 18"/>
                <a:gd name="T30" fmla="*/ 45 w 48"/>
                <a:gd name="T31" fmla="*/ 15 h 18"/>
                <a:gd name="T32" fmla="*/ 47 w 48"/>
                <a:gd name="T33" fmla="*/ 12 h 18"/>
                <a:gd name="T34" fmla="*/ 48 w 48"/>
                <a:gd name="T35" fmla="*/ 8 h 18"/>
                <a:gd name="T36" fmla="*/ 48 w 48"/>
                <a:gd name="T37" fmla="*/ 8 h 18"/>
                <a:gd name="T38" fmla="*/ 47 w 48"/>
                <a:gd name="T39" fmla="*/ 6 h 18"/>
                <a:gd name="T40" fmla="*/ 45 w 48"/>
                <a:gd name="T41" fmla="*/ 2 h 18"/>
                <a:gd name="T42" fmla="*/ 43 w 48"/>
                <a:gd name="T43" fmla="*/ 0 h 18"/>
                <a:gd name="T44" fmla="*/ 39 w 48"/>
                <a:gd name="T45" fmla="*/ 0 h 18"/>
                <a:gd name="T46" fmla="*/ 39 w 48"/>
                <a:gd name="T4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8" h="18">
                  <a:moveTo>
                    <a:pt x="39" y="0"/>
                  </a:moveTo>
                  <a:lnTo>
                    <a:pt x="9" y="0"/>
                  </a:lnTo>
                  <a:lnTo>
                    <a:pt x="9" y="0"/>
                  </a:lnTo>
                  <a:lnTo>
                    <a:pt x="5" y="0"/>
                  </a:lnTo>
                  <a:lnTo>
                    <a:pt x="2" y="2"/>
                  </a:lnTo>
                  <a:lnTo>
                    <a:pt x="0" y="6"/>
                  </a:lnTo>
                  <a:lnTo>
                    <a:pt x="0" y="8"/>
                  </a:lnTo>
                  <a:lnTo>
                    <a:pt x="0" y="8"/>
                  </a:lnTo>
                  <a:lnTo>
                    <a:pt x="0" y="12"/>
                  </a:lnTo>
                  <a:lnTo>
                    <a:pt x="2" y="15"/>
                  </a:lnTo>
                  <a:lnTo>
                    <a:pt x="5" y="16"/>
                  </a:lnTo>
                  <a:lnTo>
                    <a:pt x="9" y="18"/>
                  </a:lnTo>
                  <a:lnTo>
                    <a:pt x="39" y="18"/>
                  </a:lnTo>
                  <a:lnTo>
                    <a:pt x="39" y="18"/>
                  </a:lnTo>
                  <a:lnTo>
                    <a:pt x="43" y="16"/>
                  </a:lnTo>
                  <a:lnTo>
                    <a:pt x="45" y="15"/>
                  </a:lnTo>
                  <a:lnTo>
                    <a:pt x="47" y="12"/>
                  </a:lnTo>
                  <a:lnTo>
                    <a:pt x="48" y="8"/>
                  </a:lnTo>
                  <a:lnTo>
                    <a:pt x="48" y="8"/>
                  </a:lnTo>
                  <a:lnTo>
                    <a:pt x="47" y="6"/>
                  </a:lnTo>
                  <a:lnTo>
                    <a:pt x="45" y="2"/>
                  </a:lnTo>
                  <a:lnTo>
                    <a:pt x="43" y="0"/>
                  </a:lnTo>
                  <a:lnTo>
                    <a:pt x="39" y="0"/>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8" name="Freeform 309">
              <a:extLst>
                <a:ext uri="{FF2B5EF4-FFF2-40B4-BE49-F238E27FC236}">
                  <a16:creationId xmlns:a16="http://schemas.microsoft.com/office/drawing/2014/main" id="{F4AB3125-3C92-4EEB-8230-7CD227B25FD3}"/>
                </a:ext>
              </a:extLst>
            </p:cNvPr>
            <p:cNvSpPr>
              <a:spLocks/>
            </p:cNvSpPr>
            <p:nvPr/>
          </p:nvSpPr>
          <p:spPr bwMode="auto">
            <a:xfrm>
              <a:off x="11464926" y="3534410"/>
              <a:ext cx="33338" cy="25400"/>
            </a:xfrm>
            <a:custGeom>
              <a:avLst/>
              <a:gdLst>
                <a:gd name="T0" fmla="*/ 8 w 42"/>
                <a:gd name="T1" fmla="*/ 32 h 32"/>
                <a:gd name="T2" fmla="*/ 8 w 42"/>
                <a:gd name="T3" fmla="*/ 32 h 32"/>
                <a:gd name="T4" fmla="*/ 14 w 42"/>
                <a:gd name="T5" fmla="*/ 31 h 32"/>
                <a:gd name="T6" fmla="*/ 37 w 42"/>
                <a:gd name="T7" fmla="*/ 17 h 32"/>
                <a:gd name="T8" fmla="*/ 37 w 42"/>
                <a:gd name="T9" fmla="*/ 17 h 32"/>
                <a:gd name="T10" fmla="*/ 39 w 42"/>
                <a:gd name="T11" fmla="*/ 14 h 32"/>
                <a:gd name="T12" fmla="*/ 42 w 42"/>
                <a:gd name="T13" fmla="*/ 12 h 32"/>
                <a:gd name="T14" fmla="*/ 42 w 42"/>
                <a:gd name="T15" fmla="*/ 8 h 32"/>
                <a:gd name="T16" fmla="*/ 41 w 42"/>
                <a:gd name="T17" fmla="*/ 4 h 32"/>
                <a:gd name="T18" fmla="*/ 41 w 42"/>
                <a:gd name="T19" fmla="*/ 4 h 32"/>
                <a:gd name="T20" fmla="*/ 38 w 42"/>
                <a:gd name="T21" fmla="*/ 2 h 32"/>
                <a:gd name="T22" fmla="*/ 35 w 42"/>
                <a:gd name="T23" fmla="*/ 0 h 32"/>
                <a:gd name="T24" fmla="*/ 35 w 42"/>
                <a:gd name="T25" fmla="*/ 0 h 32"/>
                <a:gd name="T26" fmla="*/ 31 w 42"/>
                <a:gd name="T27" fmla="*/ 0 h 32"/>
                <a:gd name="T28" fmla="*/ 28 w 42"/>
                <a:gd name="T29" fmla="*/ 1 h 32"/>
                <a:gd name="T30" fmla="*/ 4 w 42"/>
                <a:gd name="T31" fmla="*/ 14 h 32"/>
                <a:gd name="T32" fmla="*/ 4 w 42"/>
                <a:gd name="T33" fmla="*/ 14 h 32"/>
                <a:gd name="T34" fmla="*/ 2 w 42"/>
                <a:gd name="T35" fmla="*/ 17 h 32"/>
                <a:gd name="T36" fmla="*/ 0 w 42"/>
                <a:gd name="T37" fmla="*/ 20 h 32"/>
                <a:gd name="T38" fmla="*/ 0 w 42"/>
                <a:gd name="T39" fmla="*/ 24 h 32"/>
                <a:gd name="T40" fmla="*/ 0 w 42"/>
                <a:gd name="T41" fmla="*/ 28 h 32"/>
                <a:gd name="T42" fmla="*/ 0 w 42"/>
                <a:gd name="T43" fmla="*/ 28 h 32"/>
                <a:gd name="T44" fmla="*/ 4 w 42"/>
                <a:gd name="T45" fmla="*/ 31 h 32"/>
                <a:gd name="T46" fmla="*/ 8 w 42"/>
                <a:gd name="T47" fmla="*/ 32 h 32"/>
                <a:gd name="T48" fmla="*/ 8 w 42"/>
                <a:gd name="T4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 h="32">
                  <a:moveTo>
                    <a:pt x="8" y="32"/>
                  </a:moveTo>
                  <a:lnTo>
                    <a:pt x="8" y="32"/>
                  </a:lnTo>
                  <a:lnTo>
                    <a:pt x="14" y="31"/>
                  </a:lnTo>
                  <a:lnTo>
                    <a:pt x="37" y="17"/>
                  </a:lnTo>
                  <a:lnTo>
                    <a:pt x="37" y="17"/>
                  </a:lnTo>
                  <a:lnTo>
                    <a:pt x="39" y="14"/>
                  </a:lnTo>
                  <a:lnTo>
                    <a:pt x="42" y="12"/>
                  </a:lnTo>
                  <a:lnTo>
                    <a:pt x="42" y="8"/>
                  </a:lnTo>
                  <a:lnTo>
                    <a:pt x="41" y="4"/>
                  </a:lnTo>
                  <a:lnTo>
                    <a:pt x="41" y="4"/>
                  </a:lnTo>
                  <a:lnTo>
                    <a:pt x="38" y="2"/>
                  </a:lnTo>
                  <a:lnTo>
                    <a:pt x="35" y="0"/>
                  </a:lnTo>
                  <a:lnTo>
                    <a:pt x="35" y="0"/>
                  </a:lnTo>
                  <a:lnTo>
                    <a:pt x="31" y="0"/>
                  </a:lnTo>
                  <a:lnTo>
                    <a:pt x="28" y="1"/>
                  </a:lnTo>
                  <a:lnTo>
                    <a:pt x="4" y="14"/>
                  </a:lnTo>
                  <a:lnTo>
                    <a:pt x="4" y="14"/>
                  </a:lnTo>
                  <a:lnTo>
                    <a:pt x="2" y="17"/>
                  </a:lnTo>
                  <a:lnTo>
                    <a:pt x="0" y="20"/>
                  </a:lnTo>
                  <a:lnTo>
                    <a:pt x="0" y="24"/>
                  </a:lnTo>
                  <a:lnTo>
                    <a:pt x="0" y="28"/>
                  </a:lnTo>
                  <a:lnTo>
                    <a:pt x="0" y="28"/>
                  </a:lnTo>
                  <a:lnTo>
                    <a:pt x="4" y="31"/>
                  </a:lnTo>
                  <a:lnTo>
                    <a:pt x="8" y="32"/>
                  </a:lnTo>
                  <a:lnTo>
                    <a:pt x="8"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9" name="Freeform 310">
              <a:extLst>
                <a:ext uri="{FF2B5EF4-FFF2-40B4-BE49-F238E27FC236}">
                  <a16:creationId xmlns:a16="http://schemas.microsoft.com/office/drawing/2014/main" id="{148964AD-1C5B-41CF-9A6B-9C8E5D48A8D8}"/>
                </a:ext>
              </a:extLst>
            </p:cNvPr>
            <p:cNvSpPr>
              <a:spLocks/>
            </p:cNvSpPr>
            <p:nvPr/>
          </p:nvSpPr>
          <p:spPr bwMode="auto">
            <a:xfrm>
              <a:off x="11464926" y="3645535"/>
              <a:ext cx="33338" cy="23813"/>
            </a:xfrm>
            <a:custGeom>
              <a:avLst/>
              <a:gdLst>
                <a:gd name="T0" fmla="*/ 37 w 42"/>
                <a:gd name="T1" fmla="*/ 15 h 31"/>
                <a:gd name="T2" fmla="*/ 14 w 42"/>
                <a:gd name="T3" fmla="*/ 1 h 31"/>
                <a:gd name="T4" fmla="*/ 14 w 42"/>
                <a:gd name="T5" fmla="*/ 1 h 31"/>
                <a:gd name="T6" fmla="*/ 10 w 42"/>
                <a:gd name="T7" fmla="*/ 0 h 31"/>
                <a:gd name="T8" fmla="*/ 7 w 42"/>
                <a:gd name="T9" fmla="*/ 0 h 31"/>
                <a:gd name="T10" fmla="*/ 3 w 42"/>
                <a:gd name="T11" fmla="*/ 1 h 31"/>
                <a:gd name="T12" fmla="*/ 0 w 42"/>
                <a:gd name="T13" fmla="*/ 4 h 31"/>
                <a:gd name="T14" fmla="*/ 0 w 42"/>
                <a:gd name="T15" fmla="*/ 4 h 31"/>
                <a:gd name="T16" fmla="*/ 0 w 42"/>
                <a:gd name="T17" fmla="*/ 8 h 31"/>
                <a:gd name="T18" fmla="*/ 0 w 42"/>
                <a:gd name="T19" fmla="*/ 11 h 31"/>
                <a:gd name="T20" fmla="*/ 2 w 42"/>
                <a:gd name="T21" fmla="*/ 14 h 31"/>
                <a:gd name="T22" fmla="*/ 4 w 42"/>
                <a:gd name="T23" fmla="*/ 16 h 31"/>
                <a:gd name="T24" fmla="*/ 28 w 42"/>
                <a:gd name="T25" fmla="*/ 31 h 31"/>
                <a:gd name="T26" fmla="*/ 28 w 42"/>
                <a:gd name="T27" fmla="*/ 31 h 31"/>
                <a:gd name="T28" fmla="*/ 33 w 42"/>
                <a:gd name="T29" fmla="*/ 31 h 31"/>
                <a:gd name="T30" fmla="*/ 33 w 42"/>
                <a:gd name="T31" fmla="*/ 31 h 31"/>
                <a:gd name="T32" fmla="*/ 37 w 42"/>
                <a:gd name="T33" fmla="*/ 30 h 31"/>
                <a:gd name="T34" fmla="*/ 41 w 42"/>
                <a:gd name="T35" fmla="*/ 27 h 31"/>
                <a:gd name="T36" fmla="*/ 41 w 42"/>
                <a:gd name="T37" fmla="*/ 27 h 31"/>
                <a:gd name="T38" fmla="*/ 42 w 42"/>
                <a:gd name="T39" fmla="*/ 23 h 31"/>
                <a:gd name="T40" fmla="*/ 42 w 42"/>
                <a:gd name="T41" fmla="*/ 20 h 31"/>
                <a:gd name="T42" fmla="*/ 39 w 42"/>
                <a:gd name="T43" fmla="*/ 18 h 31"/>
                <a:gd name="T44" fmla="*/ 37 w 42"/>
                <a:gd name="T45" fmla="*/ 15 h 31"/>
                <a:gd name="T46" fmla="*/ 37 w 42"/>
                <a:gd name="T47"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31">
                  <a:moveTo>
                    <a:pt x="37" y="15"/>
                  </a:moveTo>
                  <a:lnTo>
                    <a:pt x="14" y="1"/>
                  </a:lnTo>
                  <a:lnTo>
                    <a:pt x="14" y="1"/>
                  </a:lnTo>
                  <a:lnTo>
                    <a:pt x="10" y="0"/>
                  </a:lnTo>
                  <a:lnTo>
                    <a:pt x="7" y="0"/>
                  </a:lnTo>
                  <a:lnTo>
                    <a:pt x="3" y="1"/>
                  </a:lnTo>
                  <a:lnTo>
                    <a:pt x="0" y="4"/>
                  </a:lnTo>
                  <a:lnTo>
                    <a:pt x="0" y="4"/>
                  </a:lnTo>
                  <a:lnTo>
                    <a:pt x="0" y="8"/>
                  </a:lnTo>
                  <a:lnTo>
                    <a:pt x="0" y="11"/>
                  </a:lnTo>
                  <a:lnTo>
                    <a:pt x="2" y="14"/>
                  </a:lnTo>
                  <a:lnTo>
                    <a:pt x="4" y="16"/>
                  </a:lnTo>
                  <a:lnTo>
                    <a:pt x="28" y="31"/>
                  </a:lnTo>
                  <a:lnTo>
                    <a:pt x="28" y="31"/>
                  </a:lnTo>
                  <a:lnTo>
                    <a:pt x="33" y="31"/>
                  </a:lnTo>
                  <a:lnTo>
                    <a:pt x="33" y="31"/>
                  </a:lnTo>
                  <a:lnTo>
                    <a:pt x="37" y="30"/>
                  </a:lnTo>
                  <a:lnTo>
                    <a:pt x="41" y="27"/>
                  </a:lnTo>
                  <a:lnTo>
                    <a:pt x="41" y="27"/>
                  </a:lnTo>
                  <a:lnTo>
                    <a:pt x="42" y="23"/>
                  </a:lnTo>
                  <a:lnTo>
                    <a:pt x="42" y="20"/>
                  </a:lnTo>
                  <a:lnTo>
                    <a:pt x="39" y="18"/>
                  </a:lnTo>
                  <a:lnTo>
                    <a:pt x="37" y="15"/>
                  </a:lnTo>
                  <a:lnTo>
                    <a:pt x="37"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60" name="Freeform 905">
            <a:extLst>
              <a:ext uri="{FF2B5EF4-FFF2-40B4-BE49-F238E27FC236}">
                <a16:creationId xmlns:a16="http://schemas.microsoft.com/office/drawing/2014/main" id="{BD28C724-5736-4772-B136-49737FC8005C}"/>
              </a:ext>
            </a:extLst>
          </p:cNvPr>
          <p:cNvSpPr>
            <a:spLocks noEditPoints="1"/>
          </p:cNvSpPr>
          <p:nvPr/>
        </p:nvSpPr>
        <p:spPr bwMode="auto">
          <a:xfrm>
            <a:off x="5848790" y="3012517"/>
            <a:ext cx="493776" cy="504612"/>
          </a:xfrm>
          <a:prstGeom prst="ellipse">
            <a:avLst/>
          </a:pr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61" name="Group 60">
            <a:extLst>
              <a:ext uri="{FF2B5EF4-FFF2-40B4-BE49-F238E27FC236}">
                <a16:creationId xmlns:a16="http://schemas.microsoft.com/office/drawing/2014/main" id="{FC0516BA-711C-4F24-B51B-65055FE2A87D}"/>
              </a:ext>
            </a:extLst>
          </p:cNvPr>
          <p:cNvGrpSpPr>
            <a:grpSpLocks noChangeAspect="1"/>
          </p:cNvGrpSpPr>
          <p:nvPr/>
        </p:nvGrpSpPr>
        <p:grpSpPr>
          <a:xfrm>
            <a:off x="5835328" y="3005429"/>
            <a:ext cx="520700" cy="520700"/>
            <a:chOff x="4089401" y="1662113"/>
            <a:chExt cx="520700" cy="520700"/>
          </a:xfrm>
        </p:grpSpPr>
        <p:sp>
          <p:nvSpPr>
            <p:cNvPr id="62" name="Freeform 17">
              <a:extLst>
                <a:ext uri="{FF2B5EF4-FFF2-40B4-BE49-F238E27FC236}">
                  <a16:creationId xmlns:a16="http://schemas.microsoft.com/office/drawing/2014/main" id="{78AC4951-BA8B-478E-88E0-682B8D7E314C}"/>
                </a:ext>
              </a:extLst>
            </p:cNvPr>
            <p:cNvSpPr>
              <a:spLocks noEditPoints="1"/>
            </p:cNvSpPr>
            <p:nvPr/>
          </p:nvSpPr>
          <p:spPr bwMode="auto">
            <a:xfrm>
              <a:off x="4089401" y="1662113"/>
              <a:ext cx="520700" cy="520700"/>
            </a:xfrm>
            <a:custGeom>
              <a:avLst/>
              <a:gdLst>
                <a:gd name="T0" fmla="*/ 312 w 657"/>
                <a:gd name="T1" fmla="*/ 657 h 657"/>
                <a:gd name="T2" fmla="*/ 262 w 657"/>
                <a:gd name="T3" fmla="*/ 650 h 657"/>
                <a:gd name="T4" fmla="*/ 200 w 657"/>
                <a:gd name="T5" fmla="*/ 631 h 657"/>
                <a:gd name="T6" fmla="*/ 120 w 657"/>
                <a:gd name="T7" fmla="*/ 582 h 657"/>
                <a:gd name="T8" fmla="*/ 57 w 657"/>
                <a:gd name="T9" fmla="*/ 512 h 657"/>
                <a:gd name="T10" fmla="*/ 15 w 657"/>
                <a:gd name="T11" fmla="*/ 426 h 657"/>
                <a:gd name="T12" fmla="*/ 4 w 657"/>
                <a:gd name="T13" fmla="*/ 379 h 657"/>
                <a:gd name="T14" fmla="*/ 0 w 657"/>
                <a:gd name="T15" fmla="*/ 329 h 657"/>
                <a:gd name="T16" fmla="*/ 2 w 657"/>
                <a:gd name="T17" fmla="*/ 296 h 657"/>
                <a:gd name="T18" fmla="*/ 11 w 657"/>
                <a:gd name="T19" fmla="*/ 247 h 657"/>
                <a:gd name="T20" fmla="*/ 39 w 657"/>
                <a:gd name="T21" fmla="*/ 172 h 657"/>
                <a:gd name="T22" fmla="*/ 97 w 657"/>
                <a:gd name="T23" fmla="*/ 97 h 657"/>
                <a:gd name="T24" fmla="*/ 172 w 657"/>
                <a:gd name="T25" fmla="*/ 39 h 657"/>
                <a:gd name="T26" fmla="*/ 247 w 657"/>
                <a:gd name="T27" fmla="*/ 11 h 657"/>
                <a:gd name="T28" fmla="*/ 296 w 657"/>
                <a:gd name="T29" fmla="*/ 1 h 657"/>
                <a:gd name="T30" fmla="*/ 329 w 657"/>
                <a:gd name="T31" fmla="*/ 0 h 657"/>
                <a:gd name="T32" fmla="*/ 379 w 657"/>
                <a:gd name="T33" fmla="*/ 4 h 657"/>
                <a:gd name="T34" fmla="*/ 426 w 657"/>
                <a:gd name="T35" fmla="*/ 15 h 657"/>
                <a:gd name="T36" fmla="*/ 512 w 657"/>
                <a:gd name="T37" fmla="*/ 56 h 657"/>
                <a:gd name="T38" fmla="*/ 582 w 657"/>
                <a:gd name="T39" fmla="*/ 120 h 657"/>
                <a:gd name="T40" fmla="*/ 631 w 657"/>
                <a:gd name="T41" fmla="*/ 200 h 657"/>
                <a:gd name="T42" fmla="*/ 650 w 657"/>
                <a:gd name="T43" fmla="*/ 262 h 657"/>
                <a:gd name="T44" fmla="*/ 657 w 657"/>
                <a:gd name="T45" fmla="*/ 312 h 657"/>
                <a:gd name="T46" fmla="*/ 657 w 657"/>
                <a:gd name="T47" fmla="*/ 345 h 657"/>
                <a:gd name="T48" fmla="*/ 650 w 657"/>
                <a:gd name="T49" fmla="*/ 395 h 657"/>
                <a:gd name="T50" fmla="*/ 631 w 657"/>
                <a:gd name="T51" fmla="*/ 457 h 657"/>
                <a:gd name="T52" fmla="*/ 582 w 657"/>
                <a:gd name="T53" fmla="*/ 537 h 657"/>
                <a:gd name="T54" fmla="*/ 512 w 657"/>
                <a:gd name="T55" fmla="*/ 602 h 657"/>
                <a:gd name="T56" fmla="*/ 426 w 657"/>
                <a:gd name="T57" fmla="*/ 642 h 657"/>
                <a:gd name="T58" fmla="*/ 379 w 657"/>
                <a:gd name="T59" fmla="*/ 654 h 657"/>
                <a:gd name="T60" fmla="*/ 329 w 657"/>
                <a:gd name="T61" fmla="*/ 657 h 657"/>
                <a:gd name="T62" fmla="*/ 329 w 657"/>
                <a:gd name="T63" fmla="*/ 38 h 657"/>
                <a:gd name="T64" fmla="*/ 242 w 657"/>
                <a:gd name="T65" fmla="*/ 51 h 657"/>
                <a:gd name="T66" fmla="*/ 167 w 657"/>
                <a:gd name="T67" fmla="*/ 87 h 657"/>
                <a:gd name="T68" fmla="*/ 104 w 657"/>
                <a:gd name="T69" fmla="*/ 144 h 657"/>
                <a:gd name="T70" fmla="*/ 61 w 657"/>
                <a:gd name="T71" fmla="*/ 215 h 657"/>
                <a:gd name="T72" fmla="*/ 39 w 657"/>
                <a:gd name="T73" fmla="*/ 300 h 657"/>
                <a:gd name="T74" fmla="*/ 39 w 657"/>
                <a:gd name="T75" fmla="*/ 359 h 657"/>
                <a:gd name="T76" fmla="*/ 61 w 657"/>
                <a:gd name="T77" fmla="*/ 442 h 657"/>
                <a:gd name="T78" fmla="*/ 104 w 657"/>
                <a:gd name="T79" fmla="*/ 513 h 657"/>
                <a:gd name="T80" fmla="*/ 167 w 657"/>
                <a:gd name="T81" fmla="*/ 570 h 657"/>
                <a:gd name="T82" fmla="*/ 242 w 657"/>
                <a:gd name="T83" fmla="*/ 607 h 657"/>
                <a:gd name="T84" fmla="*/ 329 w 657"/>
                <a:gd name="T85" fmla="*/ 619 h 657"/>
                <a:gd name="T86" fmla="*/ 387 w 657"/>
                <a:gd name="T87" fmla="*/ 614 h 657"/>
                <a:gd name="T88" fmla="*/ 468 w 657"/>
                <a:gd name="T89" fmla="*/ 584 h 657"/>
                <a:gd name="T90" fmla="*/ 535 w 657"/>
                <a:gd name="T91" fmla="*/ 535 h 657"/>
                <a:gd name="T92" fmla="*/ 584 w 657"/>
                <a:gd name="T93" fmla="*/ 468 h 657"/>
                <a:gd name="T94" fmla="*/ 614 w 657"/>
                <a:gd name="T95" fmla="*/ 387 h 657"/>
                <a:gd name="T96" fmla="*/ 619 w 657"/>
                <a:gd name="T97" fmla="*/ 329 h 657"/>
                <a:gd name="T98" fmla="*/ 607 w 657"/>
                <a:gd name="T99" fmla="*/ 242 h 657"/>
                <a:gd name="T100" fmla="*/ 570 w 657"/>
                <a:gd name="T101" fmla="*/ 167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6"/>
                  </a:lnTo>
                  <a:lnTo>
                    <a:pt x="278" y="654"/>
                  </a:lnTo>
                  <a:lnTo>
                    <a:pt x="262" y="650"/>
                  </a:lnTo>
                  <a:lnTo>
                    <a:pt x="247" y="647"/>
                  </a:lnTo>
                  <a:lnTo>
                    <a:pt x="231" y="642"/>
                  </a:lnTo>
                  <a:lnTo>
                    <a:pt x="200" y="631"/>
                  </a:lnTo>
                  <a:lnTo>
                    <a:pt x="172" y="618"/>
                  </a:lnTo>
                  <a:lnTo>
                    <a:pt x="145" y="602"/>
                  </a:lnTo>
                  <a:lnTo>
                    <a:pt x="120" y="582"/>
                  </a:lnTo>
                  <a:lnTo>
                    <a:pt x="97" y="562"/>
                  </a:lnTo>
                  <a:lnTo>
                    <a:pt x="75" y="537"/>
                  </a:lnTo>
                  <a:lnTo>
                    <a:pt x="57" y="512"/>
                  </a:lnTo>
                  <a:lnTo>
                    <a:pt x="39" y="485"/>
                  </a:lnTo>
                  <a:lnTo>
                    <a:pt x="26" y="457"/>
                  </a:lnTo>
                  <a:lnTo>
                    <a:pt x="15" y="426"/>
                  </a:lnTo>
                  <a:lnTo>
                    <a:pt x="11" y="411"/>
                  </a:lnTo>
                  <a:lnTo>
                    <a:pt x="7" y="395"/>
                  </a:lnTo>
                  <a:lnTo>
                    <a:pt x="4" y="379"/>
                  </a:lnTo>
                  <a:lnTo>
                    <a:pt x="2" y="363"/>
                  </a:lnTo>
                  <a:lnTo>
                    <a:pt x="0" y="345"/>
                  </a:lnTo>
                  <a:lnTo>
                    <a:pt x="0" y="329"/>
                  </a:lnTo>
                  <a:lnTo>
                    <a:pt x="0" y="329"/>
                  </a:lnTo>
                  <a:lnTo>
                    <a:pt x="0" y="312"/>
                  </a:lnTo>
                  <a:lnTo>
                    <a:pt x="2" y="296"/>
                  </a:lnTo>
                  <a:lnTo>
                    <a:pt x="4" y="278"/>
                  </a:lnTo>
                  <a:lnTo>
                    <a:pt x="7" y="262"/>
                  </a:lnTo>
                  <a:lnTo>
                    <a:pt x="11" y="247"/>
                  </a:lnTo>
                  <a:lnTo>
                    <a:pt x="15" y="231"/>
                  </a:lnTo>
                  <a:lnTo>
                    <a:pt x="26" y="200"/>
                  </a:lnTo>
                  <a:lnTo>
                    <a:pt x="39" y="172"/>
                  </a:lnTo>
                  <a:lnTo>
                    <a:pt x="57" y="145"/>
                  </a:lnTo>
                  <a:lnTo>
                    <a:pt x="75" y="120"/>
                  </a:lnTo>
                  <a:lnTo>
                    <a:pt x="97" y="97"/>
                  </a:lnTo>
                  <a:lnTo>
                    <a:pt x="120" y="75"/>
                  </a:lnTo>
                  <a:lnTo>
                    <a:pt x="145" y="56"/>
                  </a:lnTo>
                  <a:lnTo>
                    <a:pt x="172" y="39"/>
                  </a:lnTo>
                  <a:lnTo>
                    <a:pt x="200" y="26"/>
                  </a:lnTo>
                  <a:lnTo>
                    <a:pt x="231" y="15"/>
                  </a:lnTo>
                  <a:lnTo>
                    <a:pt x="247" y="11"/>
                  </a:lnTo>
                  <a:lnTo>
                    <a:pt x="262" y="7"/>
                  </a:lnTo>
                  <a:lnTo>
                    <a:pt x="278" y="4"/>
                  </a:lnTo>
                  <a:lnTo>
                    <a:pt x="296" y="1"/>
                  </a:lnTo>
                  <a:lnTo>
                    <a:pt x="312" y="0"/>
                  </a:lnTo>
                  <a:lnTo>
                    <a:pt x="329" y="0"/>
                  </a:lnTo>
                  <a:lnTo>
                    <a:pt x="329" y="0"/>
                  </a:lnTo>
                  <a:lnTo>
                    <a:pt x="345" y="0"/>
                  </a:lnTo>
                  <a:lnTo>
                    <a:pt x="363" y="1"/>
                  </a:lnTo>
                  <a:lnTo>
                    <a:pt x="379" y="4"/>
                  </a:lnTo>
                  <a:lnTo>
                    <a:pt x="395" y="7"/>
                  </a:lnTo>
                  <a:lnTo>
                    <a:pt x="411" y="11"/>
                  </a:lnTo>
                  <a:lnTo>
                    <a:pt x="426" y="15"/>
                  </a:lnTo>
                  <a:lnTo>
                    <a:pt x="457" y="26"/>
                  </a:lnTo>
                  <a:lnTo>
                    <a:pt x="485" y="39"/>
                  </a:lnTo>
                  <a:lnTo>
                    <a:pt x="512" y="56"/>
                  </a:lnTo>
                  <a:lnTo>
                    <a:pt x="537" y="75"/>
                  </a:lnTo>
                  <a:lnTo>
                    <a:pt x="562" y="97"/>
                  </a:lnTo>
                  <a:lnTo>
                    <a:pt x="582" y="120"/>
                  </a:lnTo>
                  <a:lnTo>
                    <a:pt x="602" y="145"/>
                  </a:lnTo>
                  <a:lnTo>
                    <a:pt x="618" y="172"/>
                  </a:lnTo>
                  <a:lnTo>
                    <a:pt x="631" y="200"/>
                  </a:lnTo>
                  <a:lnTo>
                    <a:pt x="642" y="231"/>
                  </a:lnTo>
                  <a:lnTo>
                    <a:pt x="648" y="247"/>
                  </a:lnTo>
                  <a:lnTo>
                    <a:pt x="650" y="262"/>
                  </a:lnTo>
                  <a:lnTo>
                    <a:pt x="654" y="278"/>
                  </a:lnTo>
                  <a:lnTo>
                    <a:pt x="656" y="296"/>
                  </a:lnTo>
                  <a:lnTo>
                    <a:pt x="657" y="312"/>
                  </a:lnTo>
                  <a:lnTo>
                    <a:pt x="657" y="329"/>
                  </a:lnTo>
                  <a:lnTo>
                    <a:pt x="657" y="329"/>
                  </a:lnTo>
                  <a:lnTo>
                    <a:pt x="657" y="345"/>
                  </a:lnTo>
                  <a:lnTo>
                    <a:pt x="656" y="363"/>
                  </a:lnTo>
                  <a:lnTo>
                    <a:pt x="654" y="379"/>
                  </a:lnTo>
                  <a:lnTo>
                    <a:pt x="650" y="395"/>
                  </a:lnTo>
                  <a:lnTo>
                    <a:pt x="648" y="411"/>
                  </a:lnTo>
                  <a:lnTo>
                    <a:pt x="642" y="426"/>
                  </a:lnTo>
                  <a:lnTo>
                    <a:pt x="631" y="457"/>
                  </a:lnTo>
                  <a:lnTo>
                    <a:pt x="618" y="485"/>
                  </a:lnTo>
                  <a:lnTo>
                    <a:pt x="602" y="512"/>
                  </a:lnTo>
                  <a:lnTo>
                    <a:pt x="582" y="537"/>
                  </a:lnTo>
                  <a:lnTo>
                    <a:pt x="562" y="562"/>
                  </a:lnTo>
                  <a:lnTo>
                    <a:pt x="537" y="582"/>
                  </a:lnTo>
                  <a:lnTo>
                    <a:pt x="512" y="602"/>
                  </a:lnTo>
                  <a:lnTo>
                    <a:pt x="485" y="618"/>
                  </a:lnTo>
                  <a:lnTo>
                    <a:pt x="457" y="631"/>
                  </a:lnTo>
                  <a:lnTo>
                    <a:pt x="426" y="642"/>
                  </a:lnTo>
                  <a:lnTo>
                    <a:pt x="411" y="647"/>
                  </a:lnTo>
                  <a:lnTo>
                    <a:pt x="395" y="650"/>
                  </a:lnTo>
                  <a:lnTo>
                    <a:pt x="379" y="654"/>
                  </a:lnTo>
                  <a:lnTo>
                    <a:pt x="363" y="656"/>
                  </a:lnTo>
                  <a:lnTo>
                    <a:pt x="345" y="657"/>
                  </a:lnTo>
                  <a:lnTo>
                    <a:pt x="329" y="657"/>
                  </a:lnTo>
                  <a:lnTo>
                    <a:pt x="329" y="657"/>
                  </a:lnTo>
                  <a:close/>
                  <a:moveTo>
                    <a:pt x="329" y="38"/>
                  </a:moveTo>
                  <a:lnTo>
                    <a:pt x="329" y="38"/>
                  </a:lnTo>
                  <a:lnTo>
                    <a:pt x="298" y="39"/>
                  </a:lnTo>
                  <a:lnTo>
                    <a:pt x="270" y="43"/>
                  </a:lnTo>
                  <a:lnTo>
                    <a:pt x="242" y="51"/>
                  </a:lnTo>
                  <a:lnTo>
                    <a:pt x="215" y="61"/>
                  </a:lnTo>
                  <a:lnTo>
                    <a:pt x="190" y="73"/>
                  </a:lnTo>
                  <a:lnTo>
                    <a:pt x="167" y="87"/>
                  </a:lnTo>
                  <a:lnTo>
                    <a:pt x="144" y="104"/>
                  </a:lnTo>
                  <a:lnTo>
                    <a:pt x="122" y="122"/>
                  </a:lnTo>
                  <a:lnTo>
                    <a:pt x="104" y="144"/>
                  </a:lnTo>
                  <a:lnTo>
                    <a:pt x="88" y="167"/>
                  </a:lnTo>
                  <a:lnTo>
                    <a:pt x="73" y="189"/>
                  </a:lnTo>
                  <a:lnTo>
                    <a:pt x="61" y="215"/>
                  </a:lnTo>
                  <a:lnTo>
                    <a:pt x="51" y="242"/>
                  </a:lnTo>
                  <a:lnTo>
                    <a:pt x="43" y="270"/>
                  </a:lnTo>
                  <a:lnTo>
                    <a:pt x="39" y="300"/>
                  </a:lnTo>
                  <a:lnTo>
                    <a:pt x="38" y="329"/>
                  </a:lnTo>
                  <a:lnTo>
                    <a:pt x="38" y="329"/>
                  </a:lnTo>
                  <a:lnTo>
                    <a:pt x="39" y="359"/>
                  </a:lnTo>
                  <a:lnTo>
                    <a:pt x="43" y="387"/>
                  </a:lnTo>
                  <a:lnTo>
                    <a:pt x="51" y="415"/>
                  </a:lnTo>
                  <a:lnTo>
                    <a:pt x="61" y="442"/>
                  </a:lnTo>
                  <a:lnTo>
                    <a:pt x="73" y="468"/>
                  </a:lnTo>
                  <a:lnTo>
                    <a:pt x="88" y="492"/>
                  </a:lnTo>
                  <a:lnTo>
                    <a:pt x="104" y="513"/>
                  </a:lnTo>
                  <a:lnTo>
                    <a:pt x="122" y="535"/>
                  </a:lnTo>
                  <a:lnTo>
                    <a:pt x="144" y="553"/>
                  </a:lnTo>
                  <a:lnTo>
                    <a:pt x="167" y="570"/>
                  </a:lnTo>
                  <a:lnTo>
                    <a:pt x="190" y="584"/>
                  </a:lnTo>
                  <a:lnTo>
                    <a:pt x="215" y="596"/>
                  </a:lnTo>
                  <a:lnTo>
                    <a:pt x="242" y="607"/>
                  </a:lnTo>
                  <a:lnTo>
                    <a:pt x="270" y="614"/>
                  </a:lnTo>
                  <a:lnTo>
                    <a:pt x="298" y="618"/>
                  </a:lnTo>
                  <a:lnTo>
                    <a:pt x="329" y="619"/>
                  </a:lnTo>
                  <a:lnTo>
                    <a:pt x="329" y="619"/>
                  </a:lnTo>
                  <a:lnTo>
                    <a:pt x="359" y="618"/>
                  </a:lnTo>
                  <a:lnTo>
                    <a:pt x="387" y="614"/>
                  </a:lnTo>
                  <a:lnTo>
                    <a:pt x="415" y="607"/>
                  </a:lnTo>
                  <a:lnTo>
                    <a:pt x="442" y="596"/>
                  </a:lnTo>
                  <a:lnTo>
                    <a:pt x="468" y="584"/>
                  </a:lnTo>
                  <a:lnTo>
                    <a:pt x="492" y="570"/>
                  </a:lnTo>
                  <a:lnTo>
                    <a:pt x="513" y="553"/>
                  </a:lnTo>
                  <a:lnTo>
                    <a:pt x="535" y="535"/>
                  </a:lnTo>
                  <a:lnTo>
                    <a:pt x="554" y="513"/>
                  </a:lnTo>
                  <a:lnTo>
                    <a:pt x="570" y="492"/>
                  </a:lnTo>
                  <a:lnTo>
                    <a:pt x="584" y="468"/>
                  </a:lnTo>
                  <a:lnTo>
                    <a:pt x="596" y="442"/>
                  </a:lnTo>
                  <a:lnTo>
                    <a:pt x="607" y="415"/>
                  </a:lnTo>
                  <a:lnTo>
                    <a:pt x="614" y="387"/>
                  </a:lnTo>
                  <a:lnTo>
                    <a:pt x="618" y="359"/>
                  </a:lnTo>
                  <a:lnTo>
                    <a:pt x="619" y="329"/>
                  </a:lnTo>
                  <a:lnTo>
                    <a:pt x="619" y="329"/>
                  </a:lnTo>
                  <a:lnTo>
                    <a:pt x="618" y="300"/>
                  </a:lnTo>
                  <a:lnTo>
                    <a:pt x="614" y="270"/>
                  </a:lnTo>
                  <a:lnTo>
                    <a:pt x="607" y="242"/>
                  </a:lnTo>
                  <a:lnTo>
                    <a:pt x="596" y="215"/>
                  </a:lnTo>
                  <a:lnTo>
                    <a:pt x="584" y="189"/>
                  </a:lnTo>
                  <a:lnTo>
                    <a:pt x="570" y="167"/>
                  </a:lnTo>
                  <a:lnTo>
                    <a:pt x="554" y="144"/>
                  </a:lnTo>
                  <a:lnTo>
                    <a:pt x="535" y="122"/>
                  </a:lnTo>
                  <a:lnTo>
                    <a:pt x="513" y="104"/>
                  </a:lnTo>
                  <a:lnTo>
                    <a:pt x="492" y="87"/>
                  </a:lnTo>
                  <a:lnTo>
                    <a:pt x="468" y="73"/>
                  </a:lnTo>
                  <a:lnTo>
                    <a:pt x="442" y="61"/>
                  </a:lnTo>
                  <a:lnTo>
                    <a:pt x="415" y="51"/>
                  </a:lnTo>
                  <a:lnTo>
                    <a:pt x="387" y="43"/>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3" name="Freeform 98">
              <a:extLst>
                <a:ext uri="{FF2B5EF4-FFF2-40B4-BE49-F238E27FC236}">
                  <a16:creationId xmlns:a16="http://schemas.microsoft.com/office/drawing/2014/main" id="{9EFC266A-A218-4072-B079-B4D195E1F7E9}"/>
                </a:ext>
              </a:extLst>
            </p:cNvPr>
            <p:cNvSpPr>
              <a:spLocks noEditPoints="1"/>
            </p:cNvSpPr>
            <p:nvPr/>
          </p:nvSpPr>
          <p:spPr bwMode="auto">
            <a:xfrm>
              <a:off x="4221163" y="1774825"/>
              <a:ext cx="257175" cy="295275"/>
            </a:xfrm>
            <a:custGeom>
              <a:avLst/>
              <a:gdLst>
                <a:gd name="T0" fmla="*/ 318 w 323"/>
                <a:gd name="T1" fmla="*/ 131 h 373"/>
                <a:gd name="T2" fmla="*/ 288 w 323"/>
                <a:gd name="T3" fmla="*/ 46 h 373"/>
                <a:gd name="T4" fmla="*/ 286 w 323"/>
                <a:gd name="T5" fmla="*/ 39 h 373"/>
                <a:gd name="T6" fmla="*/ 241 w 323"/>
                <a:gd name="T7" fmla="*/ 35 h 373"/>
                <a:gd name="T8" fmla="*/ 241 w 323"/>
                <a:gd name="T9" fmla="*/ 18 h 373"/>
                <a:gd name="T10" fmla="*/ 232 w 323"/>
                <a:gd name="T11" fmla="*/ 13 h 373"/>
                <a:gd name="T12" fmla="*/ 181 w 323"/>
                <a:gd name="T13" fmla="*/ 14 h 373"/>
                <a:gd name="T14" fmla="*/ 176 w 323"/>
                <a:gd name="T15" fmla="*/ 22 h 373"/>
                <a:gd name="T16" fmla="*/ 149 w 323"/>
                <a:gd name="T17" fmla="*/ 11 h 373"/>
                <a:gd name="T18" fmla="*/ 145 w 323"/>
                <a:gd name="T19" fmla="*/ 3 h 373"/>
                <a:gd name="T20" fmla="*/ 91 w 323"/>
                <a:gd name="T21" fmla="*/ 0 h 373"/>
                <a:gd name="T22" fmla="*/ 84 w 323"/>
                <a:gd name="T23" fmla="*/ 3 h 373"/>
                <a:gd name="T24" fmla="*/ 82 w 323"/>
                <a:gd name="T25" fmla="*/ 35 h 373"/>
                <a:gd name="T26" fmla="*/ 40 w 323"/>
                <a:gd name="T27" fmla="*/ 37 h 373"/>
                <a:gd name="T28" fmla="*/ 35 w 323"/>
                <a:gd name="T29" fmla="*/ 46 h 373"/>
                <a:gd name="T30" fmla="*/ 9 w 323"/>
                <a:gd name="T31" fmla="*/ 129 h 373"/>
                <a:gd name="T32" fmla="*/ 1 w 323"/>
                <a:gd name="T33" fmla="*/ 133 h 373"/>
                <a:gd name="T34" fmla="*/ 47 w 323"/>
                <a:gd name="T35" fmla="*/ 364 h 373"/>
                <a:gd name="T36" fmla="*/ 49 w 323"/>
                <a:gd name="T37" fmla="*/ 370 h 373"/>
                <a:gd name="T38" fmla="*/ 267 w 323"/>
                <a:gd name="T39" fmla="*/ 373 h 373"/>
                <a:gd name="T40" fmla="*/ 274 w 323"/>
                <a:gd name="T41" fmla="*/ 370 h 373"/>
                <a:gd name="T42" fmla="*/ 323 w 323"/>
                <a:gd name="T43" fmla="*/ 141 h 373"/>
                <a:gd name="T44" fmla="*/ 322 w 323"/>
                <a:gd name="T45" fmla="*/ 133 h 373"/>
                <a:gd name="T46" fmla="*/ 82 w 323"/>
                <a:gd name="T47" fmla="*/ 129 h 373"/>
                <a:gd name="T48" fmla="*/ 82 w 323"/>
                <a:gd name="T49" fmla="*/ 56 h 373"/>
                <a:gd name="T50" fmla="*/ 129 w 323"/>
                <a:gd name="T51" fmla="*/ 21 h 373"/>
                <a:gd name="T52" fmla="*/ 113 w 323"/>
                <a:gd name="T53" fmla="*/ 257 h 373"/>
                <a:gd name="T54" fmla="*/ 117 w 323"/>
                <a:gd name="T55" fmla="*/ 238 h 373"/>
                <a:gd name="T56" fmla="*/ 134 w 323"/>
                <a:gd name="T57" fmla="*/ 217 h 373"/>
                <a:gd name="T58" fmla="*/ 162 w 323"/>
                <a:gd name="T59" fmla="*/ 209 h 373"/>
                <a:gd name="T60" fmla="*/ 181 w 323"/>
                <a:gd name="T61" fmla="*/ 213 h 373"/>
                <a:gd name="T62" fmla="*/ 203 w 323"/>
                <a:gd name="T63" fmla="*/ 230 h 373"/>
                <a:gd name="T64" fmla="*/ 211 w 323"/>
                <a:gd name="T65" fmla="*/ 257 h 373"/>
                <a:gd name="T66" fmla="*/ 207 w 323"/>
                <a:gd name="T67" fmla="*/ 276 h 373"/>
                <a:gd name="T68" fmla="*/ 189 w 323"/>
                <a:gd name="T69" fmla="*/ 297 h 373"/>
                <a:gd name="T70" fmla="*/ 162 w 323"/>
                <a:gd name="T71" fmla="*/ 305 h 373"/>
                <a:gd name="T72" fmla="*/ 143 w 323"/>
                <a:gd name="T73" fmla="*/ 303 h 373"/>
                <a:gd name="T74" fmla="*/ 122 w 323"/>
                <a:gd name="T75" fmla="*/ 284 h 373"/>
                <a:gd name="T76" fmla="*/ 113 w 323"/>
                <a:gd name="T77" fmla="*/ 257 h 373"/>
                <a:gd name="T78" fmla="*/ 194 w 323"/>
                <a:gd name="T79" fmla="*/ 33 h 373"/>
                <a:gd name="T80" fmla="*/ 194 w 323"/>
                <a:gd name="T81" fmla="*/ 129 h 373"/>
                <a:gd name="T82" fmla="*/ 176 w 323"/>
                <a:gd name="T83" fmla="*/ 80 h 373"/>
                <a:gd name="T84" fmla="*/ 270 w 323"/>
                <a:gd name="T85" fmla="*/ 56 h 373"/>
                <a:gd name="T86" fmla="*/ 241 w 323"/>
                <a:gd name="T87" fmla="*/ 56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 h="373">
                  <a:moveTo>
                    <a:pt x="322" y="133"/>
                  </a:moveTo>
                  <a:lnTo>
                    <a:pt x="322" y="133"/>
                  </a:lnTo>
                  <a:lnTo>
                    <a:pt x="318" y="131"/>
                  </a:lnTo>
                  <a:lnTo>
                    <a:pt x="314" y="129"/>
                  </a:lnTo>
                  <a:lnTo>
                    <a:pt x="288" y="129"/>
                  </a:lnTo>
                  <a:lnTo>
                    <a:pt x="288" y="46"/>
                  </a:lnTo>
                  <a:lnTo>
                    <a:pt x="288" y="46"/>
                  </a:lnTo>
                  <a:lnTo>
                    <a:pt x="288" y="42"/>
                  </a:lnTo>
                  <a:lnTo>
                    <a:pt x="286" y="39"/>
                  </a:lnTo>
                  <a:lnTo>
                    <a:pt x="283" y="37"/>
                  </a:lnTo>
                  <a:lnTo>
                    <a:pt x="279" y="35"/>
                  </a:lnTo>
                  <a:lnTo>
                    <a:pt x="241" y="35"/>
                  </a:lnTo>
                  <a:lnTo>
                    <a:pt x="241" y="22"/>
                  </a:lnTo>
                  <a:lnTo>
                    <a:pt x="241" y="22"/>
                  </a:lnTo>
                  <a:lnTo>
                    <a:pt x="241" y="18"/>
                  </a:lnTo>
                  <a:lnTo>
                    <a:pt x="239" y="15"/>
                  </a:lnTo>
                  <a:lnTo>
                    <a:pt x="236" y="14"/>
                  </a:lnTo>
                  <a:lnTo>
                    <a:pt x="232" y="13"/>
                  </a:lnTo>
                  <a:lnTo>
                    <a:pt x="185" y="13"/>
                  </a:lnTo>
                  <a:lnTo>
                    <a:pt x="185" y="13"/>
                  </a:lnTo>
                  <a:lnTo>
                    <a:pt x="181" y="14"/>
                  </a:lnTo>
                  <a:lnTo>
                    <a:pt x="178" y="15"/>
                  </a:lnTo>
                  <a:lnTo>
                    <a:pt x="176" y="18"/>
                  </a:lnTo>
                  <a:lnTo>
                    <a:pt x="176" y="22"/>
                  </a:lnTo>
                  <a:lnTo>
                    <a:pt x="176" y="60"/>
                  </a:lnTo>
                  <a:lnTo>
                    <a:pt x="149" y="60"/>
                  </a:lnTo>
                  <a:lnTo>
                    <a:pt x="149" y="11"/>
                  </a:lnTo>
                  <a:lnTo>
                    <a:pt x="149" y="11"/>
                  </a:lnTo>
                  <a:lnTo>
                    <a:pt x="147" y="7"/>
                  </a:lnTo>
                  <a:lnTo>
                    <a:pt x="145" y="3"/>
                  </a:lnTo>
                  <a:lnTo>
                    <a:pt x="142" y="2"/>
                  </a:lnTo>
                  <a:lnTo>
                    <a:pt x="138" y="0"/>
                  </a:lnTo>
                  <a:lnTo>
                    <a:pt x="91" y="0"/>
                  </a:lnTo>
                  <a:lnTo>
                    <a:pt x="91" y="0"/>
                  </a:lnTo>
                  <a:lnTo>
                    <a:pt x="87" y="2"/>
                  </a:lnTo>
                  <a:lnTo>
                    <a:pt x="84" y="3"/>
                  </a:lnTo>
                  <a:lnTo>
                    <a:pt x="82" y="7"/>
                  </a:lnTo>
                  <a:lnTo>
                    <a:pt x="82" y="11"/>
                  </a:lnTo>
                  <a:lnTo>
                    <a:pt x="82" y="35"/>
                  </a:lnTo>
                  <a:lnTo>
                    <a:pt x="44" y="35"/>
                  </a:lnTo>
                  <a:lnTo>
                    <a:pt x="44" y="35"/>
                  </a:lnTo>
                  <a:lnTo>
                    <a:pt x="40" y="37"/>
                  </a:lnTo>
                  <a:lnTo>
                    <a:pt x="37" y="39"/>
                  </a:lnTo>
                  <a:lnTo>
                    <a:pt x="35" y="42"/>
                  </a:lnTo>
                  <a:lnTo>
                    <a:pt x="35" y="46"/>
                  </a:lnTo>
                  <a:lnTo>
                    <a:pt x="35" y="129"/>
                  </a:lnTo>
                  <a:lnTo>
                    <a:pt x="9" y="129"/>
                  </a:lnTo>
                  <a:lnTo>
                    <a:pt x="9" y="129"/>
                  </a:lnTo>
                  <a:lnTo>
                    <a:pt x="5" y="131"/>
                  </a:lnTo>
                  <a:lnTo>
                    <a:pt x="1" y="133"/>
                  </a:lnTo>
                  <a:lnTo>
                    <a:pt x="1" y="133"/>
                  </a:lnTo>
                  <a:lnTo>
                    <a:pt x="0" y="137"/>
                  </a:lnTo>
                  <a:lnTo>
                    <a:pt x="0" y="141"/>
                  </a:lnTo>
                  <a:lnTo>
                    <a:pt x="47" y="364"/>
                  </a:lnTo>
                  <a:lnTo>
                    <a:pt x="47" y="364"/>
                  </a:lnTo>
                  <a:lnTo>
                    <a:pt x="48" y="368"/>
                  </a:lnTo>
                  <a:lnTo>
                    <a:pt x="49" y="370"/>
                  </a:lnTo>
                  <a:lnTo>
                    <a:pt x="53" y="373"/>
                  </a:lnTo>
                  <a:lnTo>
                    <a:pt x="56" y="373"/>
                  </a:lnTo>
                  <a:lnTo>
                    <a:pt x="267" y="373"/>
                  </a:lnTo>
                  <a:lnTo>
                    <a:pt x="267" y="373"/>
                  </a:lnTo>
                  <a:lnTo>
                    <a:pt x="271" y="373"/>
                  </a:lnTo>
                  <a:lnTo>
                    <a:pt x="274" y="370"/>
                  </a:lnTo>
                  <a:lnTo>
                    <a:pt x="276" y="368"/>
                  </a:lnTo>
                  <a:lnTo>
                    <a:pt x="276" y="364"/>
                  </a:lnTo>
                  <a:lnTo>
                    <a:pt x="323" y="141"/>
                  </a:lnTo>
                  <a:lnTo>
                    <a:pt x="323" y="141"/>
                  </a:lnTo>
                  <a:lnTo>
                    <a:pt x="323" y="137"/>
                  </a:lnTo>
                  <a:lnTo>
                    <a:pt x="322" y="133"/>
                  </a:lnTo>
                  <a:lnTo>
                    <a:pt x="322" y="133"/>
                  </a:lnTo>
                  <a:close/>
                  <a:moveTo>
                    <a:pt x="82" y="56"/>
                  </a:moveTo>
                  <a:lnTo>
                    <a:pt x="82" y="129"/>
                  </a:lnTo>
                  <a:lnTo>
                    <a:pt x="55" y="129"/>
                  </a:lnTo>
                  <a:lnTo>
                    <a:pt x="55" y="56"/>
                  </a:lnTo>
                  <a:lnTo>
                    <a:pt x="82" y="56"/>
                  </a:lnTo>
                  <a:close/>
                  <a:moveTo>
                    <a:pt x="102" y="129"/>
                  </a:moveTo>
                  <a:lnTo>
                    <a:pt x="102" y="21"/>
                  </a:lnTo>
                  <a:lnTo>
                    <a:pt x="129" y="21"/>
                  </a:lnTo>
                  <a:lnTo>
                    <a:pt x="129" y="129"/>
                  </a:lnTo>
                  <a:lnTo>
                    <a:pt x="102" y="129"/>
                  </a:lnTo>
                  <a:close/>
                  <a:moveTo>
                    <a:pt x="113" y="257"/>
                  </a:moveTo>
                  <a:lnTo>
                    <a:pt x="113" y="257"/>
                  </a:lnTo>
                  <a:lnTo>
                    <a:pt x="114" y="248"/>
                  </a:lnTo>
                  <a:lnTo>
                    <a:pt x="117" y="238"/>
                  </a:lnTo>
                  <a:lnTo>
                    <a:pt x="122" y="230"/>
                  </a:lnTo>
                  <a:lnTo>
                    <a:pt x="127" y="222"/>
                  </a:lnTo>
                  <a:lnTo>
                    <a:pt x="134" y="217"/>
                  </a:lnTo>
                  <a:lnTo>
                    <a:pt x="143" y="213"/>
                  </a:lnTo>
                  <a:lnTo>
                    <a:pt x="152" y="209"/>
                  </a:lnTo>
                  <a:lnTo>
                    <a:pt x="162" y="209"/>
                  </a:lnTo>
                  <a:lnTo>
                    <a:pt x="162" y="209"/>
                  </a:lnTo>
                  <a:lnTo>
                    <a:pt x="172" y="209"/>
                  </a:lnTo>
                  <a:lnTo>
                    <a:pt x="181" y="213"/>
                  </a:lnTo>
                  <a:lnTo>
                    <a:pt x="189" y="217"/>
                  </a:lnTo>
                  <a:lnTo>
                    <a:pt x="196" y="222"/>
                  </a:lnTo>
                  <a:lnTo>
                    <a:pt x="203" y="230"/>
                  </a:lnTo>
                  <a:lnTo>
                    <a:pt x="207" y="238"/>
                  </a:lnTo>
                  <a:lnTo>
                    <a:pt x="209" y="248"/>
                  </a:lnTo>
                  <a:lnTo>
                    <a:pt x="211" y="257"/>
                  </a:lnTo>
                  <a:lnTo>
                    <a:pt x="211" y="257"/>
                  </a:lnTo>
                  <a:lnTo>
                    <a:pt x="209" y="266"/>
                  </a:lnTo>
                  <a:lnTo>
                    <a:pt x="207" y="276"/>
                  </a:lnTo>
                  <a:lnTo>
                    <a:pt x="203" y="284"/>
                  </a:lnTo>
                  <a:lnTo>
                    <a:pt x="196" y="292"/>
                  </a:lnTo>
                  <a:lnTo>
                    <a:pt x="189" y="297"/>
                  </a:lnTo>
                  <a:lnTo>
                    <a:pt x="181" y="303"/>
                  </a:lnTo>
                  <a:lnTo>
                    <a:pt x="172" y="305"/>
                  </a:lnTo>
                  <a:lnTo>
                    <a:pt x="162" y="305"/>
                  </a:lnTo>
                  <a:lnTo>
                    <a:pt x="162" y="305"/>
                  </a:lnTo>
                  <a:lnTo>
                    <a:pt x="152" y="305"/>
                  </a:lnTo>
                  <a:lnTo>
                    <a:pt x="143" y="303"/>
                  </a:lnTo>
                  <a:lnTo>
                    <a:pt x="134" y="297"/>
                  </a:lnTo>
                  <a:lnTo>
                    <a:pt x="127" y="292"/>
                  </a:lnTo>
                  <a:lnTo>
                    <a:pt x="122" y="284"/>
                  </a:lnTo>
                  <a:lnTo>
                    <a:pt x="117" y="276"/>
                  </a:lnTo>
                  <a:lnTo>
                    <a:pt x="114" y="266"/>
                  </a:lnTo>
                  <a:lnTo>
                    <a:pt x="113" y="257"/>
                  </a:lnTo>
                  <a:lnTo>
                    <a:pt x="113" y="257"/>
                  </a:lnTo>
                  <a:close/>
                  <a:moveTo>
                    <a:pt x="194" y="129"/>
                  </a:moveTo>
                  <a:lnTo>
                    <a:pt x="194" y="33"/>
                  </a:lnTo>
                  <a:lnTo>
                    <a:pt x="223" y="33"/>
                  </a:lnTo>
                  <a:lnTo>
                    <a:pt x="223" y="129"/>
                  </a:lnTo>
                  <a:lnTo>
                    <a:pt x="194" y="129"/>
                  </a:lnTo>
                  <a:close/>
                  <a:moveTo>
                    <a:pt x="149" y="129"/>
                  </a:moveTo>
                  <a:lnTo>
                    <a:pt x="149" y="80"/>
                  </a:lnTo>
                  <a:lnTo>
                    <a:pt x="176" y="80"/>
                  </a:lnTo>
                  <a:lnTo>
                    <a:pt x="176" y="129"/>
                  </a:lnTo>
                  <a:lnTo>
                    <a:pt x="149" y="129"/>
                  </a:lnTo>
                  <a:close/>
                  <a:moveTo>
                    <a:pt x="270" y="56"/>
                  </a:moveTo>
                  <a:lnTo>
                    <a:pt x="270" y="129"/>
                  </a:lnTo>
                  <a:lnTo>
                    <a:pt x="241" y="129"/>
                  </a:lnTo>
                  <a:lnTo>
                    <a:pt x="241" y="56"/>
                  </a:lnTo>
                  <a:lnTo>
                    <a:pt x="270" y="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64" name="Freeform 905">
            <a:extLst>
              <a:ext uri="{FF2B5EF4-FFF2-40B4-BE49-F238E27FC236}">
                <a16:creationId xmlns:a16="http://schemas.microsoft.com/office/drawing/2014/main" id="{BA53CEE5-1CCD-4D72-BB0C-0282D3F86C5E}"/>
              </a:ext>
            </a:extLst>
          </p:cNvPr>
          <p:cNvSpPr>
            <a:spLocks noEditPoints="1"/>
          </p:cNvSpPr>
          <p:nvPr/>
        </p:nvSpPr>
        <p:spPr bwMode="auto">
          <a:xfrm>
            <a:off x="6496682" y="4590581"/>
            <a:ext cx="493776" cy="504612"/>
          </a:xfrm>
          <a:prstGeom prst="ellipse">
            <a:avLst/>
          </a:pr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65" name="Group 64">
            <a:extLst>
              <a:ext uri="{FF2B5EF4-FFF2-40B4-BE49-F238E27FC236}">
                <a16:creationId xmlns:a16="http://schemas.microsoft.com/office/drawing/2014/main" id="{40FB14EC-C044-4D3B-9034-701191E9EE37}"/>
              </a:ext>
            </a:extLst>
          </p:cNvPr>
          <p:cNvGrpSpPr>
            <a:grpSpLocks noChangeAspect="1"/>
          </p:cNvGrpSpPr>
          <p:nvPr/>
        </p:nvGrpSpPr>
        <p:grpSpPr>
          <a:xfrm>
            <a:off x="6486305" y="4585826"/>
            <a:ext cx="522288" cy="520700"/>
            <a:chOff x="4071938" y="822325"/>
            <a:chExt cx="522288" cy="520700"/>
          </a:xfrm>
        </p:grpSpPr>
        <p:sp>
          <p:nvSpPr>
            <p:cNvPr id="66" name="Freeform 9">
              <a:extLst>
                <a:ext uri="{FF2B5EF4-FFF2-40B4-BE49-F238E27FC236}">
                  <a16:creationId xmlns:a16="http://schemas.microsoft.com/office/drawing/2014/main" id="{D5351B8F-5F8A-490F-B3BF-E6F8608988C2}"/>
                </a:ext>
              </a:extLst>
            </p:cNvPr>
            <p:cNvSpPr>
              <a:spLocks noEditPoints="1"/>
            </p:cNvSpPr>
            <p:nvPr/>
          </p:nvSpPr>
          <p:spPr bwMode="auto">
            <a:xfrm>
              <a:off x="4071938" y="822325"/>
              <a:ext cx="522288" cy="520700"/>
            </a:xfrm>
            <a:custGeom>
              <a:avLst/>
              <a:gdLst>
                <a:gd name="T0" fmla="*/ 313 w 658"/>
                <a:gd name="T1" fmla="*/ 657 h 657"/>
                <a:gd name="T2" fmla="*/ 263 w 658"/>
                <a:gd name="T3" fmla="*/ 650 h 657"/>
                <a:gd name="T4" fmla="*/ 201 w 658"/>
                <a:gd name="T5" fmla="*/ 631 h 657"/>
                <a:gd name="T6" fmla="*/ 120 w 658"/>
                <a:gd name="T7" fmla="*/ 582 h 657"/>
                <a:gd name="T8" fmla="*/ 56 w 658"/>
                <a:gd name="T9" fmla="*/ 512 h 657"/>
                <a:gd name="T10" fmla="*/ 14 w 658"/>
                <a:gd name="T11" fmla="*/ 426 h 657"/>
                <a:gd name="T12" fmla="*/ 4 w 658"/>
                <a:gd name="T13" fmla="*/ 379 h 657"/>
                <a:gd name="T14" fmla="*/ 0 w 658"/>
                <a:gd name="T15" fmla="*/ 329 h 657"/>
                <a:gd name="T16" fmla="*/ 2 w 658"/>
                <a:gd name="T17" fmla="*/ 295 h 657"/>
                <a:gd name="T18" fmla="*/ 10 w 658"/>
                <a:gd name="T19" fmla="*/ 246 h 657"/>
                <a:gd name="T20" fmla="*/ 40 w 658"/>
                <a:gd name="T21" fmla="*/ 172 h 657"/>
                <a:gd name="T22" fmla="*/ 96 w 658"/>
                <a:gd name="T23" fmla="*/ 97 h 657"/>
                <a:gd name="T24" fmla="*/ 173 w 658"/>
                <a:gd name="T25" fmla="*/ 39 h 657"/>
                <a:gd name="T26" fmla="*/ 247 w 658"/>
                <a:gd name="T27" fmla="*/ 9 h 657"/>
                <a:gd name="T28" fmla="*/ 295 w 658"/>
                <a:gd name="T29" fmla="*/ 1 h 657"/>
                <a:gd name="T30" fmla="*/ 329 w 658"/>
                <a:gd name="T31" fmla="*/ 0 h 657"/>
                <a:gd name="T32" fmla="*/ 378 w 658"/>
                <a:gd name="T33" fmla="*/ 4 h 657"/>
                <a:gd name="T34" fmla="*/ 427 w 658"/>
                <a:gd name="T35" fmla="*/ 15 h 657"/>
                <a:gd name="T36" fmla="*/ 513 w 658"/>
                <a:gd name="T37" fmla="*/ 56 h 657"/>
                <a:gd name="T38" fmla="*/ 583 w 658"/>
                <a:gd name="T39" fmla="*/ 120 h 657"/>
                <a:gd name="T40" fmla="*/ 632 w 658"/>
                <a:gd name="T41" fmla="*/ 200 h 657"/>
                <a:gd name="T42" fmla="*/ 651 w 658"/>
                <a:gd name="T43" fmla="*/ 262 h 657"/>
                <a:gd name="T44" fmla="*/ 658 w 658"/>
                <a:gd name="T45" fmla="*/ 312 h 657"/>
                <a:gd name="T46" fmla="*/ 658 w 658"/>
                <a:gd name="T47" fmla="*/ 345 h 657"/>
                <a:gd name="T48" fmla="*/ 651 w 658"/>
                <a:gd name="T49" fmla="*/ 395 h 657"/>
                <a:gd name="T50" fmla="*/ 632 w 658"/>
                <a:gd name="T51" fmla="*/ 457 h 657"/>
                <a:gd name="T52" fmla="*/ 583 w 658"/>
                <a:gd name="T53" fmla="*/ 537 h 657"/>
                <a:gd name="T54" fmla="*/ 513 w 658"/>
                <a:gd name="T55" fmla="*/ 600 h 657"/>
                <a:gd name="T56" fmla="*/ 427 w 658"/>
                <a:gd name="T57" fmla="*/ 642 h 657"/>
                <a:gd name="T58" fmla="*/ 378 w 658"/>
                <a:gd name="T59" fmla="*/ 653 h 657"/>
                <a:gd name="T60" fmla="*/ 329 w 658"/>
                <a:gd name="T61" fmla="*/ 657 h 657"/>
                <a:gd name="T62" fmla="*/ 329 w 658"/>
                <a:gd name="T63" fmla="*/ 38 h 657"/>
                <a:gd name="T64" fmla="*/ 243 w 658"/>
                <a:gd name="T65" fmla="*/ 51 h 657"/>
                <a:gd name="T66" fmla="*/ 166 w 658"/>
                <a:gd name="T67" fmla="*/ 87 h 657"/>
                <a:gd name="T68" fmla="*/ 104 w 658"/>
                <a:gd name="T69" fmla="*/ 144 h 657"/>
                <a:gd name="T70" fmla="*/ 61 w 658"/>
                <a:gd name="T71" fmla="*/ 215 h 657"/>
                <a:gd name="T72" fmla="*/ 40 w 658"/>
                <a:gd name="T73" fmla="*/ 298 h 657"/>
                <a:gd name="T74" fmla="*/ 40 w 658"/>
                <a:gd name="T75" fmla="*/ 359 h 657"/>
                <a:gd name="T76" fmla="*/ 61 w 658"/>
                <a:gd name="T77" fmla="*/ 442 h 657"/>
                <a:gd name="T78" fmla="*/ 104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5 w 658"/>
                <a:gd name="T93" fmla="*/ 467 h 657"/>
                <a:gd name="T94" fmla="*/ 615 w 658"/>
                <a:gd name="T95" fmla="*/ 387 h 657"/>
                <a:gd name="T96" fmla="*/ 620 w 658"/>
                <a:gd name="T97" fmla="*/ 329 h 657"/>
                <a:gd name="T98" fmla="*/ 607 w 658"/>
                <a:gd name="T99" fmla="*/ 242 h 657"/>
                <a:gd name="T100" fmla="*/ 570 w 658"/>
                <a:gd name="T101" fmla="*/ 165 h 657"/>
                <a:gd name="T102" fmla="*/ 514 w 658"/>
                <a:gd name="T103" fmla="*/ 103 h 657"/>
                <a:gd name="T104" fmla="*/ 443 w 658"/>
                <a:gd name="T105" fmla="*/ 60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5" y="655"/>
                  </a:lnTo>
                  <a:lnTo>
                    <a:pt x="279" y="653"/>
                  </a:lnTo>
                  <a:lnTo>
                    <a:pt x="263" y="650"/>
                  </a:lnTo>
                  <a:lnTo>
                    <a:pt x="247" y="647"/>
                  </a:lnTo>
                  <a:lnTo>
                    <a:pt x="232" y="642"/>
                  </a:lnTo>
                  <a:lnTo>
                    <a:pt x="201" y="631"/>
                  </a:lnTo>
                  <a:lnTo>
                    <a:pt x="173" y="618"/>
                  </a:lnTo>
                  <a:lnTo>
                    <a:pt x="145" y="600"/>
                  </a:lnTo>
                  <a:lnTo>
                    <a:pt x="120" y="582"/>
                  </a:lnTo>
                  <a:lnTo>
                    <a:pt x="96" y="561"/>
                  </a:lnTo>
                  <a:lnTo>
                    <a:pt x="75" y="537"/>
                  </a:lnTo>
                  <a:lnTo>
                    <a:pt x="56" y="512"/>
                  </a:lnTo>
                  <a:lnTo>
                    <a:pt x="40" y="485"/>
                  </a:lnTo>
                  <a:lnTo>
                    <a:pt x="26" y="457"/>
                  </a:lnTo>
                  <a:lnTo>
                    <a:pt x="14" y="426"/>
                  </a:lnTo>
                  <a:lnTo>
                    <a:pt x="10" y="411"/>
                  </a:lnTo>
                  <a:lnTo>
                    <a:pt x="6" y="395"/>
                  </a:lnTo>
                  <a:lnTo>
                    <a:pt x="4" y="379"/>
                  </a:lnTo>
                  <a:lnTo>
                    <a:pt x="2" y="363"/>
                  </a:lnTo>
                  <a:lnTo>
                    <a:pt x="1" y="345"/>
                  </a:lnTo>
                  <a:lnTo>
                    <a:pt x="0" y="329"/>
                  </a:lnTo>
                  <a:lnTo>
                    <a:pt x="0" y="329"/>
                  </a:lnTo>
                  <a:lnTo>
                    <a:pt x="1" y="312"/>
                  </a:lnTo>
                  <a:lnTo>
                    <a:pt x="2" y="295"/>
                  </a:lnTo>
                  <a:lnTo>
                    <a:pt x="4" y="278"/>
                  </a:lnTo>
                  <a:lnTo>
                    <a:pt x="6" y="262"/>
                  </a:lnTo>
                  <a:lnTo>
                    <a:pt x="10" y="246"/>
                  </a:lnTo>
                  <a:lnTo>
                    <a:pt x="14" y="231"/>
                  </a:lnTo>
                  <a:lnTo>
                    <a:pt x="26" y="200"/>
                  </a:lnTo>
                  <a:lnTo>
                    <a:pt x="40" y="172"/>
                  </a:lnTo>
                  <a:lnTo>
                    <a:pt x="56" y="145"/>
                  </a:lnTo>
                  <a:lnTo>
                    <a:pt x="75" y="120"/>
                  </a:lnTo>
                  <a:lnTo>
                    <a:pt x="96" y="97"/>
                  </a:lnTo>
                  <a:lnTo>
                    <a:pt x="120" y="75"/>
                  </a:lnTo>
                  <a:lnTo>
                    <a:pt x="145" y="56"/>
                  </a:lnTo>
                  <a:lnTo>
                    <a:pt x="173" y="39"/>
                  </a:lnTo>
                  <a:lnTo>
                    <a:pt x="201" y="26"/>
                  </a:lnTo>
                  <a:lnTo>
                    <a:pt x="232" y="15"/>
                  </a:lnTo>
                  <a:lnTo>
                    <a:pt x="247" y="9"/>
                  </a:lnTo>
                  <a:lnTo>
                    <a:pt x="263" y="7"/>
                  </a:lnTo>
                  <a:lnTo>
                    <a:pt x="279" y="4"/>
                  </a:lnTo>
                  <a:lnTo>
                    <a:pt x="295" y="1"/>
                  </a:lnTo>
                  <a:lnTo>
                    <a:pt x="313" y="0"/>
                  </a:lnTo>
                  <a:lnTo>
                    <a:pt x="329" y="0"/>
                  </a:lnTo>
                  <a:lnTo>
                    <a:pt x="329" y="0"/>
                  </a:lnTo>
                  <a:lnTo>
                    <a:pt x="346" y="0"/>
                  </a:lnTo>
                  <a:lnTo>
                    <a:pt x="362" y="1"/>
                  </a:lnTo>
                  <a:lnTo>
                    <a:pt x="378" y="4"/>
                  </a:lnTo>
                  <a:lnTo>
                    <a:pt x="396" y="7"/>
                  </a:lnTo>
                  <a:lnTo>
                    <a:pt x="411" y="9"/>
                  </a:lnTo>
                  <a:lnTo>
                    <a:pt x="427" y="15"/>
                  </a:lnTo>
                  <a:lnTo>
                    <a:pt x="456" y="26"/>
                  </a:lnTo>
                  <a:lnTo>
                    <a:pt x="486" y="39"/>
                  </a:lnTo>
                  <a:lnTo>
                    <a:pt x="513" y="56"/>
                  </a:lnTo>
                  <a:lnTo>
                    <a:pt x="538" y="75"/>
                  </a:lnTo>
                  <a:lnTo>
                    <a:pt x="561" y="97"/>
                  </a:lnTo>
                  <a:lnTo>
                    <a:pt x="583" y="120"/>
                  </a:lnTo>
                  <a:lnTo>
                    <a:pt x="601" y="145"/>
                  </a:lnTo>
                  <a:lnTo>
                    <a:pt x="617" y="172"/>
                  </a:lnTo>
                  <a:lnTo>
                    <a:pt x="632" y="200"/>
                  </a:lnTo>
                  <a:lnTo>
                    <a:pt x="643" y="231"/>
                  </a:lnTo>
                  <a:lnTo>
                    <a:pt x="647" y="246"/>
                  </a:lnTo>
                  <a:lnTo>
                    <a:pt x="651" y="262"/>
                  </a:lnTo>
                  <a:lnTo>
                    <a:pt x="654" y="278"/>
                  </a:lnTo>
                  <a:lnTo>
                    <a:pt x="656" y="295"/>
                  </a:lnTo>
                  <a:lnTo>
                    <a:pt x="658" y="312"/>
                  </a:lnTo>
                  <a:lnTo>
                    <a:pt x="658" y="329"/>
                  </a:lnTo>
                  <a:lnTo>
                    <a:pt x="658" y="329"/>
                  </a:lnTo>
                  <a:lnTo>
                    <a:pt x="658" y="345"/>
                  </a:lnTo>
                  <a:lnTo>
                    <a:pt x="656" y="363"/>
                  </a:lnTo>
                  <a:lnTo>
                    <a:pt x="654" y="379"/>
                  </a:lnTo>
                  <a:lnTo>
                    <a:pt x="651" y="395"/>
                  </a:lnTo>
                  <a:lnTo>
                    <a:pt x="647" y="411"/>
                  </a:lnTo>
                  <a:lnTo>
                    <a:pt x="643" y="426"/>
                  </a:lnTo>
                  <a:lnTo>
                    <a:pt x="632" y="457"/>
                  </a:lnTo>
                  <a:lnTo>
                    <a:pt x="617" y="485"/>
                  </a:lnTo>
                  <a:lnTo>
                    <a:pt x="601" y="512"/>
                  </a:lnTo>
                  <a:lnTo>
                    <a:pt x="583" y="537"/>
                  </a:lnTo>
                  <a:lnTo>
                    <a:pt x="561" y="561"/>
                  </a:lnTo>
                  <a:lnTo>
                    <a:pt x="538" y="582"/>
                  </a:lnTo>
                  <a:lnTo>
                    <a:pt x="513" y="600"/>
                  </a:lnTo>
                  <a:lnTo>
                    <a:pt x="486" y="618"/>
                  </a:lnTo>
                  <a:lnTo>
                    <a:pt x="456" y="631"/>
                  </a:lnTo>
                  <a:lnTo>
                    <a:pt x="427" y="642"/>
                  </a:lnTo>
                  <a:lnTo>
                    <a:pt x="411" y="647"/>
                  </a:lnTo>
                  <a:lnTo>
                    <a:pt x="396" y="650"/>
                  </a:lnTo>
                  <a:lnTo>
                    <a:pt x="378" y="653"/>
                  </a:lnTo>
                  <a:lnTo>
                    <a:pt x="362" y="655"/>
                  </a:lnTo>
                  <a:lnTo>
                    <a:pt x="346" y="657"/>
                  </a:lnTo>
                  <a:lnTo>
                    <a:pt x="329" y="657"/>
                  </a:lnTo>
                  <a:lnTo>
                    <a:pt x="329" y="657"/>
                  </a:lnTo>
                  <a:close/>
                  <a:moveTo>
                    <a:pt x="329" y="38"/>
                  </a:moveTo>
                  <a:lnTo>
                    <a:pt x="329" y="38"/>
                  </a:lnTo>
                  <a:lnTo>
                    <a:pt x="299" y="39"/>
                  </a:lnTo>
                  <a:lnTo>
                    <a:pt x="271" y="43"/>
                  </a:lnTo>
                  <a:lnTo>
                    <a:pt x="243" y="51"/>
                  </a:lnTo>
                  <a:lnTo>
                    <a:pt x="216" y="60"/>
                  </a:lnTo>
                  <a:lnTo>
                    <a:pt x="190" y="73"/>
                  </a:lnTo>
                  <a:lnTo>
                    <a:pt x="166" y="87"/>
                  </a:lnTo>
                  <a:lnTo>
                    <a:pt x="143" y="103"/>
                  </a:lnTo>
                  <a:lnTo>
                    <a:pt x="123" y="122"/>
                  </a:lnTo>
                  <a:lnTo>
                    <a:pt x="104" y="144"/>
                  </a:lnTo>
                  <a:lnTo>
                    <a:pt x="88" y="165"/>
                  </a:lnTo>
                  <a:lnTo>
                    <a:pt x="73" y="189"/>
                  </a:lnTo>
                  <a:lnTo>
                    <a:pt x="61" y="215"/>
                  </a:lnTo>
                  <a:lnTo>
                    <a:pt x="51" y="242"/>
                  </a:lnTo>
                  <a:lnTo>
                    <a:pt x="44" y="270"/>
                  </a:lnTo>
                  <a:lnTo>
                    <a:pt x="40" y="298"/>
                  </a:lnTo>
                  <a:lnTo>
                    <a:pt x="37" y="329"/>
                  </a:lnTo>
                  <a:lnTo>
                    <a:pt x="37" y="329"/>
                  </a:lnTo>
                  <a:lnTo>
                    <a:pt x="40" y="359"/>
                  </a:lnTo>
                  <a:lnTo>
                    <a:pt x="44" y="387"/>
                  </a:lnTo>
                  <a:lnTo>
                    <a:pt x="51" y="415"/>
                  </a:lnTo>
                  <a:lnTo>
                    <a:pt x="61" y="442"/>
                  </a:lnTo>
                  <a:lnTo>
                    <a:pt x="73" y="467"/>
                  </a:lnTo>
                  <a:lnTo>
                    <a:pt x="88" y="492"/>
                  </a:lnTo>
                  <a:lnTo>
                    <a:pt x="104" y="513"/>
                  </a:lnTo>
                  <a:lnTo>
                    <a:pt x="123" y="535"/>
                  </a:lnTo>
                  <a:lnTo>
                    <a:pt x="143" y="553"/>
                  </a:lnTo>
                  <a:lnTo>
                    <a:pt x="166" y="570"/>
                  </a:lnTo>
                  <a:lnTo>
                    <a:pt x="190" y="584"/>
                  </a:lnTo>
                  <a:lnTo>
                    <a:pt x="216" y="596"/>
                  </a:lnTo>
                  <a:lnTo>
                    <a:pt x="243" y="607"/>
                  </a:lnTo>
                  <a:lnTo>
                    <a:pt x="271" y="614"/>
                  </a:lnTo>
                  <a:lnTo>
                    <a:pt x="299" y="618"/>
                  </a:lnTo>
                  <a:lnTo>
                    <a:pt x="329" y="619"/>
                  </a:lnTo>
                  <a:lnTo>
                    <a:pt x="329" y="619"/>
                  </a:lnTo>
                  <a:lnTo>
                    <a:pt x="358" y="618"/>
                  </a:lnTo>
                  <a:lnTo>
                    <a:pt x="388" y="614"/>
                  </a:lnTo>
                  <a:lnTo>
                    <a:pt x="416" y="607"/>
                  </a:lnTo>
                  <a:lnTo>
                    <a:pt x="443" y="596"/>
                  </a:lnTo>
                  <a:lnTo>
                    <a:pt x="467" y="584"/>
                  </a:lnTo>
                  <a:lnTo>
                    <a:pt x="491" y="570"/>
                  </a:lnTo>
                  <a:lnTo>
                    <a:pt x="514" y="553"/>
                  </a:lnTo>
                  <a:lnTo>
                    <a:pt x="534" y="535"/>
                  </a:lnTo>
                  <a:lnTo>
                    <a:pt x="553" y="513"/>
                  </a:lnTo>
                  <a:lnTo>
                    <a:pt x="570" y="492"/>
                  </a:lnTo>
                  <a:lnTo>
                    <a:pt x="585" y="467"/>
                  </a:lnTo>
                  <a:lnTo>
                    <a:pt x="597" y="442"/>
                  </a:lnTo>
                  <a:lnTo>
                    <a:pt x="607" y="415"/>
                  </a:lnTo>
                  <a:lnTo>
                    <a:pt x="615" y="387"/>
                  </a:lnTo>
                  <a:lnTo>
                    <a:pt x="619" y="359"/>
                  </a:lnTo>
                  <a:lnTo>
                    <a:pt x="620" y="329"/>
                  </a:lnTo>
                  <a:lnTo>
                    <a:pt x="620" y="329"/>
                  </a:lnTo>
                  <a:lnTo>
                    <a:pt x="619" y="298"/>
                  </a:lnTo>
                  <a:lnTo>
                    <a:pt x="615" y="270"/>
                  </a:lnTo>
                  <a:lnTo>
                    <a:pt x="607" y="242"/>
                  </a:lnTo>
                  <a:lnTo>
                    <a:pt x="597" y="215"/>
                  </a:lnTo>
                  <a:lnTo>
                    <a:pt x="585" y="189"/>
                  </a:lnTo>
                  <a:lnTo>
                    <a:pt x="570" y="165"/>
                  </a:lnTo>
                  <a:lnTo>
                    <a:pt x="553" y="144"/>
                  </a:lnTo>
                  <a:lnTo>
                    <a:pt x="534" y="122"/>
                  </a:lnTo>
                  <a:lnTo>
                    <a:pt x="514" y="103"/>
                  </a:lnTo>
                  <a:lnTo>
                    <a:pt x="491" y="87"/>
                  </a:lnTo>
                  <a:lnTo>
                    <a:pt x="467" y="73"/>
                  </a:lnTo>
                  <a:lnTo>
                    <a:pt x="443" y="60"/>
                  </a:lnTo>
                  <a:lnTo>
                    <a:pt x="416" y="51"/>
                  </a:lnTo>
                  <a:lnTo>
                    <a:pt x="388" y="43"/>
                  </a:lnTo>
                  <a:lnTo>
                    <a:pt x="358"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7" name="Freeform 227">
              <a:extLst>
                <a:ext uri="{FF2B5EF4-FFF2-40B4-BE49-F238E27FC236}">
                  <a16:creationId xmlns:a16="http://schemas.microsoft.com/office/drawing/2014/main" id="{FAC30E13-EFC8-41CD-AEB2-C04D1C7600B6}"/>
                </a:ext>
              </a:extLst>
            </p:cNvPr>
            <p:cNvSpPr>
              <a:spLocks/>
            </p:cNvSpPr>
            <p:nvPr/>
          </p:nvSpPr>
          <p:spPr bwMode="auto">
            <a:xfrm>
              <a:off x="4233863" y="998538"/>
              <a:ext cx="223838" cy="163513"/>
            </a:xfrm>
            <a:custGeom>
              <a:avLst/>
              <a:gdLst>
                <a:gd name="T0" fmla="*/ 278 w 282"/>
                <a:gd name="T1" fmla="*/ 0 h 205"/>
                <a:gd name="T2" fmla="*/ 4 w 282"/>
                <a:gd name="T3" fmla="*/ 0 h 205"/>
                <a:gd name="T4" fmla="*/ 4 w 282"/>
                <a:gd name="T5" fmla="*/ 0 h 205"/>
                <a:gd name="T6" fmla="*/ 1 w 282"/>
                <a:gd name="T7" fmla="*/ 1 h 205"/>
                <a:gd name="T8" fmla="*/ 0 w 282"/>
                <a:gd name="T9" fmla="*/ 5 h 205"/>
                <a:gd name="T10" fmla="*/ 0 w 282"/>
                <a:gd name="T11" fmla="*/ 20 h 205"/>
                <a:gd name="T12" fmla="*/ 258 w 282"/>
                <a:gd name="T13" fmla="*/ 20 h 205"/>
                <a:gd name="T14" fmla="*/ 258 w 282"/>
                <a:gd name="T15" fmla="*/ 20 h 205"/>
                <a:gd name="T16" fmla="*/ 262 w 282"/>
                <a:gd name="T17" fmla="*/ 21 h 205"/>
                <a:gd name="T18" fmla="*/ 263 w 282"/>
                <a:gd name="T19" fmla="*/ 25 h 205"/>
                <a:gd name="T20" fmla="*/ 263 w 282"/>
                <a:gd name="T21" fmla="*/ 205 h 205"/>
                <a:gd name="T22" fmla="*/ 278 w 282"/>
                <a:gd name="T23" fmla="*/ 205 h 205"/>
                <a:gd name="T24" fmla="*/ 278 w 282"/>
                <a:gd name="T25" fmla="*/ 205 h 205"/>
                <a:gd name="T26" fmla="*/ 280 w 282"/>
                <a:gd name="T27" fmla="*/ 204 h 205"/>
                <a:gd name="T28" fmla="*/ 282 w 282"/>
                <a:gd name="T29" fmla="*/ 200 h 205"/>
                <a:gd name="T30" fmla="*/ 282 w 282"/>
                <a:gd name="T31" fmla="*/ 5 h 205"/>
                <a:gd name="T32" fmla="*/ 282 w 282"/>
                <a:gd name="T33" fmla="*/ 5 h 205"/>
                <a:gd name="T34" fmla="*/ 280 w 282"/>
                <a:gd name="T35" fmla="*/ 1 h 205"/>
                <a:gd name="T36" fmla="*/ 278 w 282"/>
                <a:gd name="T37" fmla="*/ 0 h 205"/>
                <a:gd name="T38" fmla="*/ 278 w 282"/>
                <a:gd name="T39"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2" h="205">
                  <a:moveTo>
                    <a:pt x="278" y="0"/>
                  </a:moveTo>
                  <a:lnTo>
                    <a:pt x="4" y="0"/>
                  </a:lnTo>
                  <a:lnTo>
                    <a:pt x="4" y="0"/>
                  </a:lnTo>
                  <a:lnTo>
                    <a:pt x="1" y="1"/>
                  </a:lnTo>
                  <a:lnTo>
                    <a:pt x="0" y="5"/>
                  </a:lnTo>
                  <a:lnTo>
                    <a:pt x="0" y="20"/>
                  </a:lnTo>
                  <a:lnTo>
                    <a:pt x="258" y="20"/>
                  </a:lnTo>
                  <a:lnTo>
                    <a:pt x="258" y="20"/>
                  </a:lnTo>
                  <a:lnTo>
                    <a:pt x="262" y="21"/>
                  </a:lnTo>
                  <a:lnTo>
                    <a:pt x="263" y="25"/>
                  </a:lnTo>
                  <a:lnTo>
                    <a:pt x="263" y="205"/>
                  </a:lnTo>
                  <a:lnTo>
                    <a:pt x="278" y="205"/>
                  </a:lnTo>
                  <a:lnTo>
                    <a:pt x="278" y="205"/>
                  </a:lnTo>
                  <a:lnTo>
                    <a:pt x="280" y="204"/>
                  </a:lnTo>
                  <a:lnTo>
                    <a:pt x="282" y="200"/>
                  </a:lnTo>
                  <a:lnTo>
                    <a:pt x="282" y="5"/>
                  </a:lnTo>
                  <a:lnTo>
                    <a:pt x="282" y="5"/>
                  </a:lnTo>
                  <a:lnTo>
                    <a:pt x="280" y="1"/>
                  </a:lnTo>
                  <a:lnTo>
                    <a:pt x="278" y="0"/>
                  </a:lnTo>
                  <a:lnTo>
                    <a:pt x="27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8" name="Freeform 228">
              <a:extLst>
                <a:ext uri="{FF2B5EF4-FFF2-40B4-BE49-F238E27FC236}">
                  <a16:creationId xmlns:a16="http://schemas.microsoft.com/office/drawing/2014/main" id="{40A20B58-8853-4C68-BC45-EF5FA754F40B}"/>
                </a:ext>
              </a:extLst>
            </p:cNvPr>
            <p:cNvSpPr>
              <a:spLocks noEditPoints="1"/>
            </p:cNvSpPr>
            <p:nvPr/>
          </p:nvSpPr>
          <p:spPr bwMode="auto">
            <a:xfrm>
              <a:off x="4241801" y="1054100"/>
              <a:ext cx="163513" cy="101600"/>
            </a:xfrm>
            <a:custGeom>
              <a:avLst/>
              <a:gdLst>
                <a:gd name="T0" fmla="*/ 167 w 206"/>
                <a:gd name="T1" fmla="*/ 128 h 128"/>
                <a:gd name="T2" fmla="*/ 168 w 206"/>
                <a:gd name="T3" fmla="*/ 120 h 128"/>
                <a:gd name="T4" fmla="*/ 173 w 206"/>
                <a:gd name="T5" fmla="*/ 107 h 128"/>
                <a:gd name="T6" fmla="*/ 184 w 206"/>
                <a:gd name="T7" fmla="*/ 97 h 128"/>
                <a:gd name="T8" fmla="*/ 198 w 206"/>
                <a:gd name="T9" fmla="*/ 90 h 128"/>
                <a:gd name="T10" fmla="*/ 206 w 206"/>
                <a:gd name="T11" fmla="*/ 39 h 128"/>
                <a:gd name="T12" fmla="*/ 198 w 206"/>
                <a:gd name="T13" fmla="*/ 38 h 128"/>
                <a:gd name="T14" fmla="*/ 184 w 206"/>
                <a:gd name="T15" fmla="*/ 31 h 128"/>
                <a:gd name="T16" fmla="*/ 173 w 206"/>
                <a:gd name="T17" fmla="*/ 22 h 128"/>
                <a:gd name="T18" fmla="*/ 168 w 206"/>
                <a:gd name="T19" fmla="*/ 9 h 128"/>
                <a:gd name="T20" fmla="*/ 39 w 206"/>
                <a:gd name="T21" fmla="*/ 0 h 128"/>
                <a:gd name="T22" fmla="*/ 38 w 206"/>
                <a:gd name="T23" fmla="*/ 9 h 128"/>
                <a:gd name="T24" fmla="*/ 31 w 206"/>
                <a:gd name="T25" fmla="*/ 22 h 128"/>
                <a:gd name="T26" fmla="*/ 22 w 206"/>
                <a:gd name="T27" fmla="*/ 31 h 128"/>
                <a:gd name="T28" fmla="*/ 8 w 206"/>
                <a:gd name="T29" fmla="*/ 38 h 128"/>
                <a:gd name="T30" fmla="*/ 0 w 206"/>
                <a:gd name="T31" fmla="*/ 84 h 128"/>
                <a:gd name="T32" fmla="*/ 8 w 206"/>
                <a:gd name="T33" fmla="*/ 85 h 128"/>
                <a:gd name="T34" fmla="*/ 22 w 206"/>
                <a:gd name="T35" fmla="*/ 93 h 128"/>
                <a:gd name="T36" fmla="*/ 31 w 206"/>
                <a:gd name="T37" fmla="*/ 105 h 128"/>
                <a:gd name="T38" fmla="*/ 38 w 206"/>
                <a:gd name="T39" fmla="*/ 120 h 128"/>
                <a:gd name="T40" fmla="*/ 39 w 206"/>
                <a:gd name="T41" fmla="*/ 128 h 128"/>
                <a:gd name="T42" fmla="*/ 102 w 206"/>
                <a:gd name="T43" fmla="*/ 30 h 128"/>
                <a:gd name="T44" fmla="*/ 116 w 206"/>
                <a:gd name="T45" fmla="*/ 33 h 128"/>
                <a:gd name="T46" fmla="*/ 126 w 206"/>
                <a:gd name="T47" fmla="*/ 39 h 128"/>
                <a:gd name="T48" fmla="*/ 134 w 206"/>
                <a:gd name="T49" fmla="*/ 50 h 128"/>
                <a:gd name="T50" fmla="*/ 137 w 206"/>
                <a:gd name="T51" fmla="*/ 64 h 128"/>
                <a:gd name="T52" fmla="*/ 136 w 206"/>
                <a:gd name="T53" fmla="*/ 70 h 128"/>
                <a:gd name="T54" fmla="*/ 130 w 206"/>
                <a:gd name="T55" fmla="*/ 84 h 128"/>
                <a:gd name="T56" fmla="*/ 122 w 206"/>
                <a:gd name="T57" fmla="*/ 92 h 128"/>
                <a:gd name="T58" fmla="*/ 109 w 206"/>
                <a:gd name="T59" fmla="*/ 97 h 128"/>
                <a:gd name="T60" fmla="*/ 102 w 206"/>
                <a:gd name="T61" fmla="*/ 99 h 128"/>
                <a:gd name="T62" fmla="*/ 89 w 206"/>
                <a:gd name="T63" fmla="*/ 96 h 128"/>
                <a:gd name="T64" fmla="*/ 78 w 206"/>
                <a:gd name="T65" fmla="*/ 88 h 128"/>
                <a:gd name="T66" fmla="*/ 71 w 206"/>
                <a:gd name="T67" fmla="*/ 77 h 128"/>
                <a:gd name="T68" fmla="*/ 69 w 206"/>
                <a:gd name="T69" fmla="*/ 64 h 128"/>
                <a:gd name="T70" fmla="*/ 69 w 206"/>
                <a:gd name="T71" fmla="*/ 57 h 128"/>
                <a:gd name="T72" fmla="*/ 74 w 206"/>
                <a:gd name="T73" fmla="*/ 45 h 128"/>
                <a:gd name="T74" fmla="*/ 83 w 206"/>
                <a:gd name="T75" fmla="*/ 35 h 128"/>
                <a:gd name="T76" fmla="*/ 96 w 206"/>
                <a:gd name="T77" fmla="*/ 30 h 128"/>
                <a:gd name="T78" fmla="*/ 102 w 206"/>
                <a:gd name="T79" fmla="*/ 3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6" h="128">
                  <a:moveTo>
                    <a:pt x="39" y="128"/>
                  </a:moveTo>
                  <a:lnTo>
                    <a:pt x="167" y="128"/>
                  </a:lnTo>
                  <a:lnTo>
                    <a:pt x="167" y="128"/>
                  </a:lnTo>
                  <a:lnTo>
                    <a:pt x="168" y="120"/>
                  </a:lnTo>
                  <a:lnTo>
                    <a:pt x="171" y="113"/>
                  </a:lnTo>
                  <a:lnTo>
                    <a:pt x="173" y="107"/>
                  </a:lnTo>
                  <a:lnTo>
                    <a:pt x="179" y="101"/>
                  </a:lnTo>
                  <a:lnTo>
                    <a:pt x="184" y="97"/>
                  </a:lnTo>
                  <a:lnTo>
                    <a:pt x="191" y="93"/>
                  </a:lnTo>
                  <a:lnTo>
                    <a:pt x="198" y="90"/>
                  </a:lnTo>
                  <a:lnTo>
                    <a:pt x="206" y="89"/>
                  </a:lnTo>
                  <a:lnTo>
                    <a:pt x="206" y="39"/>
                  </a:lnTo>
                  <a:lnTo>
                    <a:pt x="206" y="39"/>
                  </a:lnTo>
                  <a:lnTo>
                    <a:pt x="198" y="38"/>
                  </a:lnTo>
                  <a:lnTo>
                    <a:pt x="191" y="35"/>
                  </a:lnTo>
                  <a:lnTo>
                    <a:pt x="184" y="31"/>
                  </a:lnTo>
                  <a:lnTo>
                    <a:pt x="179" y="27"/>
                  </a:lnTo>
                  <a:lnTo>
                    <a:pt x="173" y="22"/>
                  </a:lnTo>
                  <a:lnTo>
                    <a:pt x="171" y="15"/>
                  </a:lnTo>
                  <a:lnTo>
                    <a:pt x="168" y="9"/>
                  </a:lnTo>
                  <a:lnTo>
                    <a:pt x="167" y="0"/>
                  </a:lnTo>
                  <a:lnTo>
                    <a:pt x="39" y="0"/>
                  </a:lnTo>
                  <a:lnTo>
                    <a:pt x="39" y="0"/>
                  </a:lnTo>
                  <a:lnTo>
                    <a:pt x="38" y="9"/>
                  </a:lnTo>
                  <a:lnTo>
                    <a:pt x="35" y="15"/>
                  </a:lnTo>
                  <a:lnTo>
                    <a:pt x="31" y="22"/>
                  </a:lnTo>
                  <a:lnTo>
                    <a:pt x="27" y="27"/>
                  </a:lnTo>
                  <a:lnTo>
                    <a:pt x="22" y="31"/>
                  </a:lnTo>
                  <a:lnTo>
                    <a:pt x="15" y="35"/>
                  </a:lnTo>
                  <a:lnTo>
                    <a:pt x="8" y="38"/>
                  </a:lnTo>
                  <a:lnTo>
                    <a:pt x="0" y="39"/>
                  </a:lnTo>
                  <a:lnTo>
                    <a:pt x="0" y="84"/>
                  </a:lnTo>
                  <a:lnTo>
                    <a:pt x="0" y="84"/>
                  </a:lnTo>
                  <a:lnTo>
                    <a:pt x="8" y="85"/>
                  </a:lnTo>
                  <a:lnTo>
                    <a:pt x="15" y="89"/>
                  </a:lnTo>
                  <a:lnTo>
                    <a:pt x="22" y="93"/>
                  </a:lnTo>
                  <a:lnTo>
                    <a:pt x="27" y="99"/>
                  </a:lnTo>
                  <a:lnTo>
                    <a:pt x="31" y="105"/>
                  </a:lnTo>
                  <a:lnTo>
                    <a:pt x="35" y="112"/>
                  </a:lnTo>
                  <a:lnTo>
                    <a:pt x="38" y="120"/>
                  </a:lnTo>
                  <a:lnTo>
                    <a:pt x="39" y="128"/>
                  </a:lnTo>
                  <a:lnTo>
                    <a:pt x="39" y="128"/>
                  </a:lnTo>
                  <a:close/>
                  <a:moveTo>
                    <a:pt x="102" y="30"/>
                  </a:moveTo>
                  <a:lnTo>
                    <a:pt x="102" y="30"/>
                  </a:lnTo>
                  <a:lnTo>
                    <a:pt x="109" y="30"/>
                  </a:lnTo>
                  <a:lnTo>
                    <a:pt x="116" y="33"/>
                  </a:lnTo>
                  <a:lnTo>
                    <a:pt x="122" y="35"/>
                  </a:lnTo>
                  <a:lnTo>
                    <a:pt x="126" y="39"/>
                  </a:lnTo>
                  <a:lnTo>
                    <a:pt x="130" y="45"/>
                  </a:lnTo>
                  <a:lnTo>
                    <a:pt x="134" y="50"/>
                  </a:lnTo>
                  <a:lnTo>
                    <a:pt x="136" y="57"/>
                  </a:lnTo>
                  <a:lnTo>
                    <a:pt x="137" y="64"/>
                  </a:lnTo>
                  <a:lnTo>
                    <a:pt x="137" y="64"/>
                  </a:lnTo>
                  <a:lnTo>
                    <a:pt x="136" y="70"/>
                  </a:lnTo>
                  <a:lnTo>
                    <a:pt x="134" y="77"/>
                  </a:lnTo>
                  <a:lnTo>
                    <a:pt x="130" y="84"/>
                  </a:lnTo>
                  <a:lnTo>
                    <a:pt x="126" y="88"/>
                  </a:lnTo>
                  <a:lnTo>
                    <a:pt x="122" y="92"/>
                  </a:lnTo>
                  <a:lnTo>
                    <a:pt x="116" y="96"/>
                  </a:lnTo>
                  <a:lnTo>
                    <a:pt x="109" y="97"/>
                  </a:lnTo>
                  <a:lnTo>
                    <a:pt x="102" y="99"/>
                  </a:lnTo>
                  <a:lnTo>
                    <a:pt x="102" y="99"/>
                  </a:lnTo>
                  <a:lnTo>
                    <a:pt x="96" y="97"/>
                  </a:lnTo>
                  <a:lnTo>
                    <a:pt x="89" y="96"/>
                  </a:lnTo>
                  <a:lnTo>
                    <a:pt x="83" y="92"/>
                  </a:lnTo>
                  <a:lnTo>
                    <a:pt x="78" y="88"/>
                  </a:lnTo>
                  <a:lnTo>
                    <a:pt x="74" y="84"/>
                  </a:lnTo>
                  <a:lnTo>
                    <a:pt x="71" y="77"/>
                  </a:lnTo>
                  <a:lnTo>
                    <a:pt x="69" y="70"/>
                  </a:lnTo>
                  <a:lnTo>
                    <a:pt x="69" y="64"/>
                  </a:lnTo>
                  <a:lnTo>
                    <a:pt x="69" y="64"/>
                  </a:lnTo>
                  <a:lnTo>
                    <a:pt x="69" y="57"/>
                  </a:lnTo>
                  <a:lnTo>
                    <a:pt x="71" y="50"/>
                  </a:lnTo>
                  <a:lnTo>
                    <a:pt x="74" y="45"/>
                  </a:lnTo>
                  <a:lnTo>
                    <a:pt x="78" y="39"/>
                  </a:lnTo>
                  <a:lnTo>
                    <a:pt x="83" y="35"/>
                  </a:lnTo>
                  <a:lnTo>
                    <a:pt x="89" y="33"/>
                  </a:lnTo>
                  <a:lnTo>
                    <a:pt x="96" y="30"/>
                  </a:lnTo>
                  <a:lnTo>
                    <a:pt x="102" y="30"/>
                  </a:lnTo>
                  <a:lnTo>
                    <a:pt x="102"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9" name="Freeform 229">
              <a:extLst>
                <a:ext uri="{FF2B5EF4-FFF2-40B4-BE49-F238E27FC236}">
                  <a16:creationId xmlns:a16="http://schemas.microsoft.com/office/drawing/2014/main" id="{96CF4D44-717D-4A3C-99C1-8A571E074326}"/>
                </a:ext>
              </a:extLst>
            </p:cNvPr>
            <p:cNvSpPr>
              <a:spLocks noEditPoints="1"/>
            </p:cNvSpPr>
            <p:nvPr/>
          </p:nvSpPr>
          <p:spPr bwMode="auto">
            <a:xfrm>
              <a:off x="4211638" y="1022350"/>
              <a:ext cx="223838" cy="163513"/>
            </a:xfrm>
            <a:custGeom>
              <a:avLst/>
              <a:gdLst>
                <a:gd name="T0" fmla="*/ 278 w 284"/>
                <a:gd name="T1" fmla="*/ 205 h 205"/>
                <a:gd name="T2" fmla="*/ 284 w 284"/>
                <a:gd name="T3" fmla="*/ 200 h 205"/>
                <a:gd name="T4" fmla="*/ 284 w 284"/>
                <a:gd name="T5" fmla="*/ 5 h 205"/>
                <a:gd name="T6" fmla="*/ 278 w 284"/>
                <a:gd name="T7" fmla="*/ 0 h 205"/>
                <a:gd name="T8" fmla="*/ 6 w 284"/>
                <a:gd name="T9" fmla="*/ 0 h 205"/>
                <a:gd name="T10" fmla="*/ 0 w 284"/>
                <a:gd name="T11" fmla="*/ 5 h 205"/>
                <a:gd name="T12" fmla="*/ 0 w 284"/>
                <a:gd name="T13" fmla="*/ 200 h 205"/>
                <a:gd name="T14" fmla="*/ 6 w 284"/>
                <a:gd name="T15" fmla="*/ 205 h 205"/>
                <a:gd name="T16" fmla="*/ 30 w 284"/>
                <a:gd name="T17" fmla="*/ 73 h 205"/>
                <a:gd name="T18" fmla="*/ 31 w 284"/>
                <a:gd name="T19" fmla="*/ 69 h 205"/>
                <a:gd name="T20" fmla="*/ 34 w 284"/>
                <a:gd name="T21" fmla="*/ 68 h 205"/>
                <a:gd name="T22" fmla="*/ 49 w 284"/>
                <a:gd name="T23" fmla="*/ 65 h 205"/>
                <a:gd name="T24" fmla="*/ 59 w 284"/>
                <a:gd name="T25" fmla="*/ 59 h 205"/>
                <a:gd name="T26" fmla="*/ 66 w 284"/>
                <a:gd name="T27" fmla="*/ 48 h 205"/>
                <a:gd name="T28" fmla="*/ 69 w 284"/>
                <a:gd name="T29" fmla="*/ 34 h 205"/>
                <a:gd name="T30" fmla="*/ 70 w 284"/>
                <a:gd name="T31" fmla="*/ 30 h 205"/>
                <a:gd name="T32" fmla="*/ 210 w 284"/>
                <a:gd name="T33" fmla="*/ 29 h 205"/>
                <a:gd name="T34" fmla="*/ 214 w 284"/>
                <a:gd name="T35" fmla="*/ 30 h 205"/>
                <a:gd name="T36" fmla="*/ 215 w 284"/>
                <a:gd name="T37" fmla="*/ 34 h 205"/>
                <a:gd name="T38" fmla="*/ 218 w 284"/>
                <a:gd name="T39" fmla="*/ 48 h 205"/>
                <a:gd name="T40" fmla="*/ 225 w 284"/>
                <a:gd name="T41" fmla="*/ 59 h 205"/>
                <a:gd name="T42" fmla="*/ 235 w 284"/>
                <a:gd name="T43" fmla="*/ 65 h 205"/>
                <a:gd name="T44" fmla="*/ 249 w 284"/>
                <a:gd name="T45" fmla="*/ 68 h 205"/>
                <a:gd name="T46" fmla="*/ 253 w 284"/>
                <a:gd name="T47" fmla="*/ 69 h 205"/>
                <a:gd name="T48" fmla="*/ 254 w 284"/>
                <a:gd name="T49" fmla="*/ 131 h 205"/>
                <a:gd name="T50" fmla="*/ 253 w 284"/>
                <a:gd name="T51" fmla="*/ 135 h 205"/>
                <a:gd name="T52" fmla="*/ 249 w 284"/>
                <a:gd name="T53" fmla="*/ 137 h 205"/>
                <a:gd name="T54" fmla="*/ 235 w 284"/>
                <a:gd name="T55" fmla="*/ 139 h 205"/>
                <a:gd name="T56" fmla="*/ 225 w 284"/>
                <a:gd name="T57" fmla="*/ 146 h 205"/>
                <a:gd name="T58" fmla="*/ 218 w 284"/>
                <a:gd name="T59" fmla="*/ 157 h 205"/>
                <a:gd name="T60" fmla="*/ 215 w 284"/>
                <a:gd name="T61" fmla="*/ 170 h 205"/>
                <a:gd name="T62" fmla="*/ 214 w 284"/>
                <a:gd name="T63" fmla="*/ 174 h 205"/>
                <a:gd name="T64" fmla="*/ 74 w 284"/>
                <a:gd name="T65" fmla="*/ 175 h 205"/>
                <a:gd name="T66" fmla="*/ 70 w 284"/>
                <a:gd name="T67" fmla="*/ 174 h 205"/>
                <a:gd name="T68" fmla="*/ 69 w 284"/>
                <a:gd name="T69" fmla="*/ 170 h 205"/>
                <a:gd name="T70" fmla="*/ 66 w 284"/>
                <a:gd name="T71" fmla="*/ 157 h 205"/>
                <a:gd name="T72" fmla="*/ 59 w 284"/>
                <a:gd name="T73" fmla="*/ 145 h 205"/>
                <a:gd name="T74" fmla="*/ 49 w 284"/>
                <a:gd name="T75" fmla="*/ 135 h 205"/>
                <a:gd name="T76" fmla="*/ 34 w 284"/>
                <a:gd name="T77" fmla="*/ 131 h 205"/>
                <a:gd name="T78" fmla="*/ 31 w 284"/>
                <a:gd name="T79" fmla="*/ 130 h 205"/>
                <a:gd name="T80" fmla="*/ 30 w 284"/>
                <a:gd name="T81" fmla="*/ 73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4" h="205">
                  <a:moveTo>
                    <a:pt x="278" y="205"/>
                  </a:moveTo>
                  <a:lnTo>
                    <a:pt x="278" y="205"/>
                  </a:lnTo>
                  <a:lnTo>
                    <a:pt x="281" y="204"/>
                  </a:lnTo>
                  <a:lnTo>
                    <a:pt x="284" y="200"/>
                  </a:lnTo>
                  <a:lnTo>
                    <a:pt x="284" y="5"/>
                  </a:lnTo>
                  <a:lnTo>
                    <a:pt x="284" y="5"/>
                  </a:lnTo>
                  <a:lnTo>
                    <a:pt x="281" y="1"/>
                  </a:lnTo>
                  <a:lnTo>
                    <a:pt x="278" y="0"/>
                  </a:lnTo>
                  <a:lnTo>
                    <a:pt x="6" y="0"/>
                  </a:lnTo>
                  <a:lnTo>
                    <a:pt x="6" y="0"/>
                  </a:lnTo>
                  <a:lnTo>
                    <a:pt x="2" y="1"/>
                  </a:lnTo>
                  <a:lnTo>
                    <a:pt x="0" y="5"/>
                  </a:lnTo>
                  <a:lnTo>
                    <a:pt x="0" y="200"/>
                  </a:lnTo>
                  <a:lnTo>
                    <a:pt x="0" y="200"/>
                  </a:lnTo>
                  <a:lnTo>
                    <a:pt x="2" y="204"/>
                  </a:lnTo>
                  <a:lnTo>
                    <a:pt x="6" y="205"/>
                  </a:lnTo>
                  <a:lnTo>
                    <a:pt x="278" y="205"/>
                  </a:lnTo>
                  <a:close/>
                  <a:moveTo>
                    <a:pt x="30" y="73"/>
                  </a:moveTo>
                  <a:lnTo>
                    <a:pt x="30" y="73"/>
                  </a:lnTo>
                  <a:lnTo>
                    <a:pt x="31" y="69"/>
                  </a:lnTo>
                  <a:lnTo>
                    <a:pt x="34" y="68"/>
                  </a:lnTo>
                  <a:lnTo>
                    <a:pt x="34" y="68"/>
                  </a:lnTo>
                  <a:lnTo>
                    <a:pt x="42" y="67"/>
                  </a:lnTo>
                  <a:lnTo>
                    <a:pt x="49" y="65"/>
                  </a:lnTo>
                  <a:lnTo>
                    <a:pt x="54" y="63"/>
                  </a:lnTo>
                  <a:lnTo>
                    <a:pt x="59" y="59"/>
                  </a:lnTo>
                  <a:lnTo>
                    <a:pt x="63" y="53"/>
                  </a:lnTo>
                  <a:lnTo>
                    <a:pt x="66" y="48"/>
                  </a:lnTo>
                  <a:lnTo>
                    <a:pt x="67" y="41"/>
                  </a:lnTo>
                  <a:lnTo>
                    <a:pt x="69" y="34"/>
                  </a:lnTo>
                  <a:lnTo>
                    <a:pt x="69" y="34"/>
                  </a:lnTo>
                  <a:lnTo>
                    <a:pt x="70" y="30"/>
                  </a:lnTo>
                  <a:lnTo>
                    <a:pt x="74" y="29"/>
                  </a:lnTo>
                  <a:lnTo>
                    <a:pt x="210" y="29"/>
                  </a:lnTo>
                  <a:lnTo>
                    <a:pt x="210" y="29"/>
                  </a:lnTo>
                  <a:lnTo>
                    <a:pt x="214" y="30"/>
                  </a:lnTo>
                  <a:lnTo>
                    <a:pt x="215" y="34"/>
                  </a:lnTo>
                  <a:lnTo>
                    <a:pt x="215" y="34"/>
                  </a:lnTo>
                  <a:lnTo>
                    <a:pt x="215" y="41"/>
                  </a:lnTo>
                  <a:lnTo>
                    <a:pt x="218" y="48"/>
                  </a:lnTo>
                  <a:lnTo>
                    <a:pt x="220" y="53"/>
                  </a:lnTo>
                  <a:lnTo>
                    <a:pt x="225" y="59"/>
                  </a:lnTo>
                  <a:lnTo>
                    <a:pt x="230" y="63"/>
                  </a:lnTo>
                  <a:lnTo>
                    <a:pt x="235" y="65"/>
                  </a:lnTo>
                  <a:lnTo>
                    <a:pt x="242" y="67"/>
                  </a:lnTo>
                  <a:lnTo>
                    <a:pt x="249" y="68"/>
                  </a:lnTo>
                  <a:lnTo>
                    <a:pt x="249" y="68"/>
                  </a:lnTo>
                  <a:lnTo>
                    <a:pt x="253" y="69"/>
                  </a:lnTo>
                  <a:lnTo>
                    <a:pt x="254" y="73"/>
                  </a:lnTo>
                  <a:lnTo>
                    <a:pt x="254" y="131"/>
                  </a:lnTo>
                  <a:lnTo>
                    <a:pt x="254" y="131"/>
                  </a:lnTo>
                  <a:lnTo>
                    <a:pt x="253" y="135"/>
                  </a:lnTo>
                  <a:lnTo>
                    <a:pt x="249" y="137"/>
                  </a:lnTo>
                  <a:lnTo>
                    <a:pt x="249" y="137"/>
                  </a:lnTo>
                  <a:lnTo>
                    <a:pt x="242" y="137"/>
                  </a:lnTo>
                  <a:lnTo>
                    <a:pt x="235" y="139"/>
                  </a:lnTo>
                  <a:lnTo>
                    <a:pt x="230" y="142"/>
                  </a:lnTo>
                  <a:lnTo>
                    <a:pt x="225" y="146"/>
                  </a:lnTo>
                  <a:lnTo>
                    <a:pt x="220" y="151"/>
                  </a:lnTo>
                  <a:lnTo>
                    <a:pt x="218" y="157"/>
                  </a:lnTo>
                  <a:lnTo>
                    <a:pt x="215" y="163"/>
                  </a:lnTo>
                  <a:lnTo>
                    <a:pt x="215" y="170"/>
                  </a:lnTo>
                  <a:lnTo>
                    <a:pt x="215" y="170"/>
                  </a:lnTo>
                  <a:lnTo>
                    <a:pt x="214" y="174"/>
                  </a:lnTo>
                  <a:lnTo>
                    <a:pt x="210" y="175"/>
                  </a:lnTo>
                  <a:lnTo>
                    <a:pt x="74" y="175"/>
                  </a:lnTo>
                  <a:lnTo>
                    <a:pt x="74" y="175"/>
                  </a:lnTo>
                  <a:lnTo>
                    <a:pt x="70" y="174"/>
                  </a:lnTo>
                  <a:lnTo>
                    <a:pt x="69" y="170"/>
                  </a:lnTo>
                  <a:lnTo>
                    <a:pt x="69" y="170"/>
                  </a:lnTo>
                  <a:lnTo>
                    <a:pt x="67" y="163"/>
                  </a:lnTo>
                  <a:lnTo>
                    <a:pt x="66" y="157"/>
                  </a:lnTo>
                  <a:lnTo>
                    <a:pt x="63" y="150"/>
                  </a:lnTo>
                  <a:lnTo>
                    <a:pt x="59" y="145"/>
                  </a:lnTo>
                  <a:lnTo>
                    <a:pt x="54" y="139"/>
                  </a:lnTo>
                  <a:lnTo>
                    <a:pt x="49" y="135"/>
                  </a:lnTo>
                  <a:lnTo>
                    <a:pt x="42" y="132"/>
                  </a:lnTo>
                  <a:lnTo>
                    <a:pt x="34" y="131"/>
                  </a:lnTo>
                  <a:lnTo>
                    <a:pt x="34" y="131"/>
                  </a:lnTo>
                  <a:lnTo>
                    <a:pt x="31" y="130"/>
                  </a:lnTo>
                  <a:lnTo>
                    <a:pt x="30" y="127"/>
                  </a:lnTo>
                  <a:lnTo>
                    <a:pt x="30" y="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70" name="Freeform 905">
            <a:extLst>
              <a:ext uri="{FF2B5EF4-FFF2-40B4-BE49-F238E27FC236}">
                <a16:creationId xmlns:a16="http://schemas.microsoft.com/office/drawing/2014/main" id="{468BF907-B26A-45D8-A9E8-8A84FBA2F8B6}"/>
              </a:ext>
            </a:extLst>
          </p:cNvPr>
          <p:cNvSpPr>
            <a:spLocks noEditPoints="1"/>
          </p:cNvSpPr>
          <p:nvPr/>
        </p:nvSpPr>
        <p:spPr bwMode="auto">
          <a:xfrm>
            <a:off x="8090485" y="4713858"/>
            <a:ext cx="493776" cy="504612"/>
          </a:xfrm>
          <a:prstGeom prst="ellipse">
            <a:avLst/>
          </a:pr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71" name="Group 70">
            <a:extLst>
              <a:ext uri="{FF2B5EF4-FFF2-40B4-BE49-F238E27FC236}">
                <a16:creationId xmlns:a16="http://schemas.microsoft.com/office/drawing/2014/main" id="{7E39776A-482A-4BCD-BD77-BCD9FE276610}"/>
              </a:ext>
            </a:extLst>
          </p:cNvPr>
          <p:cNvGrpSpPr>
            <a:grpSpLocks noChangeAspect="1"/>
          </p:cNvGrpSpPr>
          <p:nvPr/>
        </p:nvGrpSpPr>
        <p:grpSpPr>
          <a:xfrm>
            <a:off x="8082932" y="4702614"/>
            <a:ext cx="522288" cy="522288"/>
            <a:chOff x="9356726" y="5855335"/>
            <a:chExt cx="522288" cy="522288"/>
          </a:xfrm>
        </p:grpSpPr>
        <p:sp>
          <p:nvSpPr>
            <p:cNvPr id="72" name="Freeform 62">
              <a:extLst>
                <a:ext uri="{FF2B5EF4-FFF2-40B4-BE49-F238E27FC236}">
                  <a16:creationId xmlns:a16="http://schemas.microsoft.com/office/drawing/2014/main" id="{F0FA8160-8BB2-43AB-ABEF-9C00D6D69440}"/>
                </a:ext>
              </a:extLst>
            </p:cNvPr>
            <p:cNvSpPr>
              <a:spLocks noEditPoints="1"/>
            </p:cNvSpPr>
            <p:nvPr/>
          </p:nvSpPr>
          <p:spPr bwMode="auto">
            <a:xfrm>
              <a:off x="9356726" y="5855335"/>
              <a:ext cx="522288" cy="522288"/>
            </a:xfrm>
            <a:custGeom>
              <a:avLst/>
              <a:gdLst>
                <a:gd name="T0" fmla="*/ 311 w 657"/>
                <a:gd name="T1" fmla="*/ 657 h 657"/>
                <a:gd name="T2" fmla="*/ 262 w 657"/>
                <a:gd name="T3" fmla="*/ 651 h 657"/>
                <a:gd name="T4" fmla="*/ 200 w 657"/>
                <a:gd name="T5" fmla="*/ 632 h 657"/>
                <a:gd name="T6" fmla="*/ 119 w 657"/>
                <a:gd name="T7" fmla="*/ 582 h 657"/>
                <a:gd name="T8" fmla="*/ 55 w 657"/>
                <a:gd name="T9" fmla="*/ 512 h 657"/>
                <a:gd name="T10" fmla="*/ 14 w 657"/>
                <a:gd name="T11" fmla="*/ 426 h 657"/>
                <a:gd name="T12" fmla="*/ 2 w 657"/>
                <a:gd name="T13" fmla="*/ 379 h 657"/>
                <a:gd name="T14" fmla="*/ 0 w 657"/>
                <a:gd name="T15" fmla="*/ 329 h 657"/>
                <a:gd name="T16" fmla="*/ 1 w 657"/>
                <a:gd name="T17" fmla="*/ 296 h 657"/>
                <a:gd name="T18" fmla="*/ 9 w 657"/>
                <a:gd name="T19" fmla="*/ 246 h 657"/>
                <a:gd name="T20" fmla="*/ 39 w 657"/>
                <a:gd name="T21" fmla="*/ 172 h 657"/>
                <a:gd name="T22" fmla="*/ 95 w 657"/>
                <a:gd name="T23" fmla="*/ 97 h 657"/>
                <a:gd name="T24" fmla="*/ 172 w 657"/>
                <a:gd name="T25" fmla="*/ 39 h 657"/>
                <a:gd name="T26" fmla="*/ 246 w 657"/>
                <a:gd name="T27" fmla="*/ 11 h 657"/>
                <a:gd name="T28" fmla="*/ 294 w 657"/>
                <a:gd name="T29" fmla="*/ 1 h 657"/>
                <a:gd name="T30" fmla="*/ 327 w 657"/>
                <a:gd name="T31" fmla="*/ 0 h 657"/>
                <a:gd name="T32" fmla="*/ 379 w 657"/>
                <a:gd name="T33" fmla="*/ 4 h 657"/>
                <a:gd name="T34" fmla="*/ 426 w 657"/>
                <a:gd name="T35" fmla="*/ 15 h 657"/>
                <a:gd name="T36" fmla="*/ 512 w 657"/>
                <a:gd name="T37" fmla="*/ 56 h 657"/>
                <a:gd name="T38" fmla="*/ 582 w 657"/>
                <a:gd name="T39" fmla="*/ 120 h 657"/>
                <a:gd name="T40" fmla="*/ 631 w 657"/>
                <a:gd name="T41" fmla="*/ 200 h 657"/>
                <a:gd name="T42" fmla="*/ 650 w 657"/>
                <a:gd name="T43" fmla="*/ 262 h 657"/>
                <a:gd name="T44" fmla="*/ 657 w 657"/>
                <a:gd name="T45" fmla="*/ 312 h 657"/>
                <a:gd name="T46" fmla="*/ 657 w 657"/>
                <a:gd name="T47" fmla="*/ 345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9 w 657"/>
                <a:gd name="T59" fmla="*/ 655 h 657"/>
                <a:gd name="T60" fmla="*/ 327 w 657"/>
                <a:gd name="T61" fmla="*/ 657 h 657"/>
                <a:gd name="T62" fmla="*/ 327 w 657"/>
                <a:gd name="T63" fmla="*/ 38 h 657"/>
                <a:gd name="T64" fmla="*/ 241 w 657"/>
                <a:gd name="T65" fmla="*/ 51 h 657"/>
                <a:gd name="T66" fmla="*/ 165 w 657"/>
                <a:gd name="T67" fmla="*/ 87 h 657"/>
                <a:gd name="T68" fmla="*/ 103 w 657"/>
                <a:gd name="T69" fmla="*/ 144 h 657"/>
                <a:gd name="T70" fmla="*/ 60 w 657"/>
                <a:gd name="T71" fmla="*/ 215 h 657"/>
                <a:gd name="T72" fmla="*/ 39 w 657"/>
                <a:gd name="T73" fmla="*/ 298 h 657"/>
                <a:gd name="T74" fmla="*/ 39 w 657"/>
                <a:gd name="T75" fmla="*/ 359 h 657"/>
                <a:gd name="T76" fmla="*/ 60 w 657"/>
                <a:gd name="T77" fmla="*/ 442 h 657"/>
                <a:gd name="T78" fmla="*/ 103 w 657"/>
                <a:gd name="T79" fmla="*/ 513 h 657"/>
                <a:gd name="T80" fmla="*/ 165 w 657"/>
                <a:gd name="T81" fmla="*/ 570 h 657"/>
                <a:gd name="T82" fmla="*/ 241 w 657"/>
                <a:gd name="T83" fmla="*/ 608 h 657"/>
                <a:gd name="T84" fmla="*/ 327 w 657"/>
                <a:gd name="T85" fmla="*/ 620 h 657"/>
                <a:gd name="T86" fmla="*/ 387 w 657"/>
                <a:gd name="T87" fmla="*/ 614 h 657"/>
                <a:gd name="T88" fmla="*/ 467 w 657"/>
                <a:gd name="T89" fmla="*/ 585 h 657"/>
                <a:gd name="T90" fmla="*/ 534 w 657"/>
                <a:gd name="T91" fmla="*/ 535 h 657"/>
                <a:gd name="T92" fmla="*/ 584 w 657"/>
                <a:gd name="T93" fmla="*/ 468 h 657"/>
                <a:gd name="T94" fmla="*/ 614 w 657"/>
                <a:gd name="T95" fmla="*/ 387 h 657"/>
                <a:gd name="T96" fmla="*/ 619 w 657"/>
                <a:gd name="T97" fmla="*/ 329 h 657"/>
                <a:gd name="T98" fmla="*/ 606 w 657"/>
                <a:gd name="T99" fmla="*/ 242 h 657"/>
                <a:gd name="T100" fmla="*/ 569 w 657"/>
                <a:gd name="T101" fmla="*/ 165 h 657"/>
                <a:gd name="T102" fmla="*/ 513 w 657"/>
                <a:gd name="T103" fmla="*/ 104 h 657"/>
                <a:gd name="T104" fmla="*/ 442 w 657"/>
                <a:gd name="T105" fmla="*/ 61 h 657"/>
                <a:gd name="T106" fmla="*/ 357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7" y="657"/>
                  </a:moveTo>
                  <a:lnTo>
                    <a:pt x="327" y="657"/>
                  </a:lnTo>
                  <a:lnTo>
                    <a:pt x="311" y="657"/>
                  </a:lnTo>
                  <a:lnTo>
                    <a:pt x="294" y="656"/>
                  </a:lnTo>
                  <a:lnTo>
                    <a:pt x="278" y="655"/>
                  </a:lnTo>
                  <a:lnTo>
                    <a:pt x="262" y="651"/>
                  </a:lnTo>
                  <a:lnTo>
                    <a:pt x="246" y="648"/>
                  </a:lnTo>
                  <a:lnTo>
                    <a:pt x="231" y="642"/>
                  </a:lnTo>
                  <a:lnTo>
                    <a:pt x="200" y="632"/>
                  </a:lnTo>
                  <a:lnTo>
                    <a:pt x="172" y="618"/>
                  </a:lnTo>
                  <a:lnTo>
                    <a:pt x="145" y="601"/>
                  </a:lnTo>
                  <a:lnTo>
                    <a:pt x="119" y="582"/>
                  </a:lnTo>
                  <a:lnTo>
                    <a:pt x="95" y="562"/>
                  </a:lnTo>
                  <a:lnTo>
                    <a:pt x="75" y="538"/>
                  </a:lnTo>
                  <a:lnTo>
                    <a:pt x="55" y="512"/>
                  </a:lnTo>
                  <a:lnTo>
                    <a:pt x="39" y="485"/>
                  </a:lnTo>
                  <a:lnTo>
                    <a:pt x="25" y="457"/>
                  </a:lnTo>
                  <a:lnTo>
                    <a:pt x="14" y="426"/>
                  </a:lnTo>
                  <a:lnTo>
                    <a:pt x="9" y="411"/>
                  </a:lnTo>
                  <a:lnTo>
                    <a:pt x="6" y="395"/>
                  </a:lnTo>
                  <a:lnTo>
                    <a:pt x="2" y="379"/>
                  </a:lnTo>
                  <a:lnTo>
                    <a:pt x="1" y="363"/>
                  </a:lnTo>
                  <a:lnTo>
                    <a:pt x="0" y="345"/>
                  </a:lnTo>
                  <a:lnTo>
                    <a:pt x="0" y="329"/>
                  </a:lnTo>
                  <a:lnTo>
                    <a:pt x="0" y="329"/>
                  </a:lnTo>
                  <a:lnTo>
                    <a:pt x="0" y="312"/>
                  </a:lnTo>
                  <a:lnTo>
                    <a:pt x="1" y="296"/>
                  </a:lnTo>
                  <a:lnTo>
                    <a:pt x="2" y="278"/>
                  </a:lnTo>
                  <a:lnTo>
                    <a:pt x="6" y="262"/>
                  </a:lnTo>
                  <a:lnTo>
                    <a:pt x="9" y="246"/>
                  </a:lnTo>
                  <a:lnTo>
                    <a:pt x="14" y="231"/>
                  </a:lnTo>
                  <a:lnTo>
                    <a:pt x="25" y="200"/>
                  </a:lnTo>
                  <a:lnTo>
                    <a:pt x="39" y="172"/>
                  </a:lnTo>
                  <a:lnTo>
                    <a:pt x="55" y="145"/>
                  </a:lnTo>
                  <a:lnTo>
                    <a:pt x="75" y="120"/>
                  </a:lnTo>
                  <a:lnTo>
                    <a:pt x="95" y="97"/>
                  </a:lnTo>
                  <a:lnTo>
                    <a:pt x="119" y="75"/>
                  </a:lnTo>
                  <a:lnTo>
                    <a:pt x="145" y="56"/>
                  </a:lnTo>
                  <a:lnTo>
                    <a:pt x="172" y="39"/>
                  </a:lnTo>
                  <a:lnTo>
                    <a:pt x="200" y="26"/>
                  </a:lnTo>
                  <a:lnTo>
                    <a:pt x="231" y="15"/>
                  </a:lnTo>
                  <a:lnTo>
                    <a:pt x="246" y="11"/>
                  </a:lnTo>
                  <a:lnTo>
                    <a:pt x="262" y="7"/>
                  </a:lnTo>
                  <a:lnTo>
                    <a:pt x="278" y="4"/>
                  </a:lnTo>
                  <a:lnTo>
                    <a:pt x="294" y="1"/>
                  </a:lnTo>
                  <a:lnTo>
                    <a:pt x="311" y="0"/>
                  </a:lnTo>
                  <a:lnTo>
                    <a:pt x="327" y="0"/>
                  </a:lnTo>
                  <a:lnTo>
                    <a:pt x="327" y="0"/>
                  </a:lnTo>
                  <a:lnTo>
                    <a:pt x="345" y="0"/>
                  </a:lnTo>
                  <a:lnTo>
                    <a:pt x="361" y="1"/>
                  </a:lnTo>
                  <a:lnTo>
                    <a:pt x="379" y="4"/>
                  </a:lnTo>
                  <a:lnTo>
                    <a:pt x="395" y="7"/>
                  </a:lnTo>
                  <a:lnTo>
                    <a:pt x="409" y="11"/>
                  </a:lnTo>
                  <a:lnTo>
                    <a:pt x="426" y="15"/>
                  </a:lnTo>
                  <a:lnTo>
                    <a:pt x="457" y="26"/>
                  </a:lnTo>
                  <a:lnTo>
                    <a:pt x="485" y="39"/>
                  </a:lnTo>
                  <a:lnTo>
                    <a:pt x="512" y="56"/>
                  </a:lnTo>
                  <a:lnTo>
                    <a:pt x="537" y="75"/>
                  </a:lnTo>
                  <a:lnTo>
                    <a:pt x="560" y="97"/>
                  </a:lnTo>
                  <a:lnTo>
                    <a:pt x="582" y="120"/>
                  </a:lnTo>
                  <a:lnTo>
                    <a:pt x="600" y="145"/>
                  </a:lnTo>
                  <a:lnTo>
                    <a:pt x="618" y="172"/>
                  </a:lnTo>
                  <a:lnTo>
                    <a:pt x="631" y="200"/>
                  </a:lnTo>
                  <a:lnTo>
                    <a:pt x="642" y="231"/>
                  </a:lnTo>
                  <a:lnTo>
                    <a:pt x="646" y="246"/>
                  </a:lnTo>
                  <a:lnTo>
                    <a:pt x="650" y="262"/>
                  </a:lnTo>
                  <a:lnTo>
                    <a:pt x="653" y="278"/>
                  </a:lnTo>
                  <a:lnTo>
                    <a:pt x="655" y="296"/>
                  </a:lnTo>
                  <a:lnTo>
                    <a:pt x="657" y="312"/>
                  </a:lnTo>
                  <a:lnTo>
                    <a:pt x="657" y="329"/>
                  </a:lnTo>
                  <a:lnTo>
                    <a:pt x="657" y="329"/>
                  </a:lnTo>
                  <a:lnTo>
                    <a:pt x="657" y="345"/>
                  </a:lnTo>
                  <a:lnTo>
                    <a:pt x="655" y="363"/>
                  </a:lnTo>
                  <a:lnTo>
                    <a:pt x="653" y="379"/>
                  </a:lnTo>
                  <a:lnTo>
                    <a:pt x="650" y="395"/>
                  </a:lnTo>
                  <a:lnTo>
                    <a:pt x="646" y="411"/>
                  </a:lnTo>
                  <a:lnTo>
                    <a:pt x="642" y="426"/>
                  </a:lnTo>
                  <a:lnTo>
                    <a:pt x="631" y="457"/>
                  </a:lnTo>
                  <a:lnTo>
                    <a:pt x="618" y="485"/>
                  </a:lnTo>
                  <a:lnTo>
                    <a:pt x="600" y="512"/>
                  </a:lnTo>
                  <a:lnTo>
                    <a:pt x="582" y="538"/>
                  </a:lnTo>
                  <a:lnTo>
                    <a:pt x="560" y="562"/>
                  </a:lnTo>
                  <a:lnTo>
                    <a:pt x="537" y="582"/>
                  </a:lnTo>
                  <a:lnTo>
                    <a:pt x="512" y="601"/>
                  </a:lnTo>
                  <a:lnTo>
                    <a:pt x="485" y="618"/>
                  </a:lnTo>
                  <a:lnTo>
                    <a:pt x="457" y="632"/>
                  </a:lnTo>
                  <a:lnTo>
                    <a:pt x="426" y="642"/>
                  </a:lnTo>
                  <a:lnTo>
                    <a:pt x="409" y="648"/>
                  </a:lnTo>
                  <a:lnTo>
                    <a:pt x="395" y="651"/>
                  </a:lnTo>
                  <a:lnTo>
                    <a:pt x="379" y="655"/>
                  </a:lnTo>
                  <a:lnTo>
                    <a:pt x="361" y="656"/>
                  </a:lnTo>
                  <a:lnTo>
                    <a:pt x="345" y="657"/>
                  </a:lnTo>
                  <a:lnTo>
                    <a:pt x="327" y="657"/>
                  </a:lnTo>
                  <a:lnTo>
                    <a:pt x="327" y="657"/>
                  </a:lnTo>
                  <a:close/>
                  <a:moveTo>
                    <a:pt x="327" y="38"/>
                  </a:moveTo>
                  <a:lnTo>
                    <a:pt x="327" y="38"/>
                  </a:lnTo>
                  <a:lnTo>
                    <a:pt x="298" y="39"/>
                  </a:lnTo>
                  <a:lnTo>
                    <a:pt x="270" y="43"/>
                  </a:lnTo>
                  <a:lnTo>
                    <a:pt x="241" y="51"/>
                  </a:lnTo>
                  <a:lnTo>
                    <a:pt x="215" y="61"/>
                  </a:lnTo>
                  <a:lnTo>
                    <a:pt x="189" y="73"/>
                  </a:lnTo>
                  <a:lnTo>
                    <a:pt x="165" y="87"/>
                  </a:lnTo>
                  <a:lnTo>
                    <a:pt x="143" y="104"/>
                  </a:lnTo>
                  <a:lnTo>
                    <a:pt x="122" y="122"/>
                  </a:lnTo>
                  <a:lnTo>
                    <a:pt x="103" y="144"/>
                  </a:lnTo>
                  <a:lnTo>
                    <a:pt x="87" y="165"/>
                  </a:lnTo>
                  <a:lnTo>
                    <a:pt x="72" y="190"/>
                  </a:lnTo>
                  <a:lnTo>
                    <a:pt x="60" y="215"/>
                  </a:lnTo>
                  <a:lnTo>
                    <a:pt x="49" y="242"/>
                  </a:lnTo>
                  <a:lnTo>
                    <a:pt x="43" y="270"/>
                  </a:lnTo>
                  <a:lnTo>
                    <a:pt x="39" y="298"/>
                  </a:lnTo>
                  <a:lnTo>
                    <a:pt x="37" y="329"/>
                  </a:lnTo>
                  <a:lnTo>
                    <a:pt x="37" y="329"/>
                  </a:lnTo>
                  <a:lnTo>
                    <a:pt x="39" y="359"/>
                  </a:lnTo>
                  <a:lnTo>
                    <a:pt x="43" y="387"/>
                  </a:lnTo>
                  <a:lnTo>
                    <a:pt x="49" y="415"/>
                  </a:lnTo>
                  <a:lnTo>
                    <a:pt x="60" y="442"/>
                  </a:lnTo>
                  <a:lnTo>
                    <a:pt x="72" y="468"/>
                  </a:lnTo>
                  <a:lnTo>
                    <a:pt x="87" y="492"/>
                  </a:lnTo>
                  <a:lnTo>
                    <a:pt x="103" y="513"/>
                  </a:lnTo>
                  <a:lnTo>
                    <a:pt x="122" y="535"/>
                  </a:lnTo>
                  <a:lnTo>
                    <a:pt x="143" y="554"/>
                  </a:lnTo>
                  <a:lnTo>
                    <a:pt x="165" y="570"/>
                  </a:lnTo>
                  <a:lnTo>
                    <a:pt x="189" y="585"/>
                  </a:lnTo>
                  <a:lnTo>
                    <a:pt x="215" y="597"/>
                  </a:lnTo>
                  <a:lnTo>
                    <a:pt x="241" y="608"/>
                  </a:lnTo>
                  <a:lnTo>
                    <a:pt x="270" y="614"/>
                  </a:lnTo>
                  <a:lnTo>
                    <a:pt x="298" y="618"/>
                  </a:lnTo>
                  <a:lnTo>
                    <a:pt x="327" y="620"/>
                  </a:lnTo>
                  <a:lnTo>
                    <a:pt x="327" y="620"/>
                  </a:lnTo>
                  <a:lnTo>
                    <a:pt x="357" y="618"/>
                  </a:lnTo>
                  <a:lnTo>
                    <a:pt x="387" y="614"/>
                  </a:lnTo>
                  <a:lnTo>
                    <a:pt x="415" y="608"/>
                  </a:lnTo>
                  <a:lnTo>
                    <a:pt x="442" y="597"/>
                  </a:lnTo>
                  <a:lnTo>
                    <a:pt x="467" y="585"/>
                  </a:lnTo>
                  <a:lnTo>
                    <a:pt x="490" y="570"/>
                  </a:lnTo>
                  <a:lnTo>
                    <a:pt x="513" y="554"/>
                  </a:lnTo>
                  <a:lnTo>
                    <a:pt x="534" y="535"/>
                  </a:lnTo>
                  <a:lnTo>
                    <a:pt x="553" y="513"/>
                  </a:lnTo>
                  <a:lnTo>
                    <a:pt x="569" y="492"/>
                  </a:lnTo>
                  <a:lnTo>
                    <a:pt x="584" y="468"/>
                  </a:lnTo>
                  <a:lnTo>
                    <a:pt x="596" y="442"/>
                  </a:lnTo>
                  <a:lnTo>
                    <a:pt x="606" y="415"/>
                  </a:lnTo>
                  <a:lnTo>
                    <a:pt x="614" y="387"/>
                  </a:lnTo>
                  <a:lnTo>
                    <a:pt x="618" y="359"/>
                  </a:lnTo>
                  <a:lnTo>
                    <a:pt x="619" y="329"/>
                  </a:lnTo>
                  <a:lnTo>
                    <a:pt x="619" y="329"/>
                  </a:lnTo>
                  <a:lnTo>
                    <a:pt x="618" y="298"/>
                  </a:lnTo>
                  <a:lnTo>
                    <a:pt x="614" y="270"/>
                  </a:lnTo>
                  <a:lnTo>
                    <a:pt x="606" y="242"/>
                  </a:lnTo>
                  <a:lnTo>
                    <a:pt x="596" y="215"/>
                  </a:lnTo>
                  <a:lnTo>
                    <a:pt x="584" y="190"/>
                  </a:lnTo>
                  <a:lnTo>
                    <a:pt x="569" y="165"/>
                  </a:lnTo>
                  <a:lnTo>
                    <a:pt x="553" y="144"/>
                  </a:lnTo>
                  <a:lnTo>
                    <a:pt x="534" y="122"/>
                  </a:lnTo>
                  <a:lnTo>
                    <a:pt x="513" y="104"/>
                  </a:lnTo>
                  <a:lnTo>
                    <a:pt x="490" y="87"/>
                  </a:lnTo>
                  <a:lnTo>
                    <a:pt x="467" y="73"/>
                  </a:lnTo>
                  <a:lnTo>
                    <a:pt x="442" y="61"/>
                  </a:lnTo>
                  <a:lnTo>
                    <a:pt x="415" y="51"/>
                  </a:lnTo>
                  <a:lnTo>
                    <a:pt x="387" y="43"/>
                  </a:lnTo>
                  <a:lnTo>
                    <a:pt x="357" y="39"/>
                  </a:lnTo>
                  <a:lnTo>
                    <a:pt x="327" y="38"/>
                  </a:lnTo>
                  <a:lnTo>
                    <a:pt x="327"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3" name="Freeform 329">
              <a:extLst>
                <a:ext uri="{FF2B5EF4-FFF2-40B4-BE49-F238E27FC236}">
                  <a16:creationId xmlns:a16="http://schemas.microsoft.com/office/drawing/2014/main" id="{E2067C56-A2F8-43CA-BDF3-B6F85B8F6A27}"/>
                </a:ext>
              </a:extLst>
            </p:cNvPr>
            <p:cNvSpPr>
              <a:spLocks/>
            </p:cNvSpPr>
            <p:nvPr/>
          </p:nvSpPr>
          <p:spPr bwMode="auto">
            <a:xfrm>
              <a:off x="9469438" y="6077585"/>
              <a:ext cx="79375" cy="79375"/>
            </a:xfrm>
            <a:custGeom>
              <a:avLst/>
              <a:gdLst>
                <a:gd name="T0" fmla="*/ 51 w 100"/>
                <a:gd name="T1" fmla="*/ 0 h 100"/>
                <a:gd name="T2" fmla="*/ 51 w 100"/>
                <a:gd name="T3" fmla="*/ 0 h 100"/>
                <a:gd name="T4" fmla="*/ 40 w 100"/>
                <a:gd name="T5" fmla="*/ 0 h 100"/>
                <a:gd name="T6" fmla="*/ 31 w 100"/>
                <a:gd name="T7" fmla="*/ 4 h 100"/>
                <a:gd name="T8" fmla="*/ 23 w 100"/>
                <a:gd name="T9" fmla="*/ 8 h 100"/>
                <a:gd name="T10" fmla="*/ 14 w 100"/>
                <a:gd name="T11" fmla="*/ 14 h 100"/>
                <a:gd name="T12" fmla="*/ 9 w 100"/>
                <a:gd name="T13" fmla="*/ 21 h 100"/>
                <a:gd name="T14" fmla="*/ 4 w 100"/>
                <a:gd name="T15" fmla="*/ 31 h 100"/>
                <a:gd name="T16" fmla="*/ 1 w 100"/>
                <a:gd name="T17" fmla="*/ 40 h 100"/>
                <a:gd name="T18" fmla="*/ 0 w 100"/>
                <a:gd name="T19" fmla="*/ 49 h 100"/>
                <a:gd name="T20" fmla="*/ 0 w 100"/>
                <a:gd name="T21" fmla="*/ 49 h 100"/>
                <a:gd name="T22" fmla="*/ 1 w 100"/>
                <a:gd name="T23" fmla="*/ 60 h 100"/>
                <a:gd name="T24" fmla="*/ 4 w 100"/>
                <a:gd name="T25" fmla="*/ 69 h 100"/>
                <a:gd name="T26" fmla="*/ 9 w 100"/>
                <a:gd name="T27" fmla="*/ 78 h 100"/>
                <a:gd name="T28" fmla="*/ 14 w 100"/>
                <a:gd name="T29" fmla="*/ 86 h 100"/>
                <a:gd name="T30" fmla="*/ 23 w 100"/>
                <a:gd name="T31" fmla="*/ 92 h 100"/>
                <a:gd name="T32" fmla="*/ 31 w 100"/>
                <a:gd name="T33" fmla="*/ 96 h 100"/>
                <a:gd name="T34" fmla="*/ 40 w 100"/>
                <a:gd name="T35" fmla="*/ 99 h 100"/>
                <a:gd name="T36" fmla="*/ 51 w 100"/>
                <a:gd name="T37" fmla="*/ 100 h 100"/>
                <a:gd name="T38" fmla="*/ 51 w 100"/>
                <a:gd name="T39" fmla="*/ 100 h 100"/>
                <a:gd name="T40" fmla="*/ 60 w 100"/>
                <a:gd name="T41" fmla="*/ 99 h 100"/>
                <a:gd name="T42" fmla="*/ 70 w 100"/>
                <a:gd name="T43" fmla="*/ 96 h 100"/>
                <a:gd name="T44" fmla="*/ 79 w 100"/>
                <a:gd name="T45" fmla="*/ 92 h 100"/>
                <a:gd name="T46" fmla="*/ 86 w 100"/>
                <a:gd name="T47" fmla="*/ 86 h 100"/>
                <a:gd name="T48" fmla="*/ 92 w 100"/>
                <a:gd name="T49" fmla="*/ 78 h 100"/>
                <a:gd name="T50" fmla="*/ 96 w 100"/>
                <a:gd name="T51" fmla="*/ 69 h 100"/>
                <a:gd name="T52" fmla="*/ 100 w 100"/>
                <a:gd name="T53" fmla="*/ 60 h 100"/>
                <a:gd name="T54" fmla="*/ 100 w 100"/>
                <a:gd name="T55" fmla="*/ 49 h 100"/>
                <a:gd name="T56" fmla="*/ 100 w 100"/>
                <a:gd name="T57" fmla="*/ 49 h 100"/>
                <a:gd name="T58" fmla="*/ 100 w 100"/>
                <a:gd name="T59" fmla="*/ 40 h 100"/>
                <a:gd name="T60" fmla="*/ 96 w 100"/>
                <a:gd name="T61" fmla="*/ 31 h 100"/>
                <a:gd name="T62" fmla="*/ 92 w 100"/>
                <a:gd name="T63" fmla="*/ 21 h 100"/>
                <a:gd name="T64" fmla="*/ 86 w 100"/>
                <a:gd name="T65" fmla="*/ 14 h 100"/>
                <a:gd name="T66" fmla="*/ 79 w 100"/>
                <a:gd name="T67" fmla="*/ 8 h 100"/>
                <a:gd name="T68" fmla="*/ 70 w 100"/>
                <a:gd name="T69" fmla="*/ 4 h 100"/>
                <a:gd name="T70" fmla="*/ 60 w 100"/>
                <a:gd name="T71" fmla="*/ 0 h 100"/>
                <a:gd name="T72" fmla="*/ 51 w 100"/>
                <a:gd name="T73" fmla="*/ 0 h 100"/>
                <a:gd name="T74" fmla="*/ 51 w 100"/>
                <a:gd name="T75"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0" h="100">
                  <a:moveTo>
                    <a:pt x="51" y="0"/>
                  </a:moveTo>
                  <a:lnTo>
                    <a:pt x="51" y="0"/>
                  </a:lnTo>
                  <a:lnTo>
                    <a:pt x="40" y="0"/>
                  </a:lnTo>
                  <a:lnTo>
                    <a:pt x="31" y="4"/>
                  </a:lnTo>
                  <a:lnTo>
                    <a:pt x="23" y="8"/>
                  </a:lnTo>
                  <a:lnTo>
                    <a:pt x="14" y="14"/>
                  </a:lnTo>
                  <a:lnTo>
                    <a:pt x="9" y="21"/>
                  </a:lnTo>
                  <a:lnTo>
                    <a:pt x="4" y="31"/>
                  </a:lnTo>
                  <a:lnTo>
                    <a:pt x="1" y="40"/>
                  </a:lnTo>
                  <a:lnTo>
                    <a:pt x="0" y="49"/>
                  </a:lnTo>
                  <a:lnTo>
                    <a:pt x="0" y="49"/>
                  </a:lnTo>
                  <a:lnTo>
                    <a:pt x="1" y="60"/>
                  </a:lnTo>
                  <a:lnTo>
                    <a:pt x="4" y="69"/>
                  </a:lnTo>
                  <a:lnTo>
                    <a:pt x="9" y="78"/>
                  </a:lnTo>
                  <a:lnTo>
                    <a:pt x="14" y="86"/>
                  </a:lnTo>
                  <a:lnTo>
                    <a:pt x="23" y="92"/>
                  </a:lnTo>
                  <a:lnTo>
                    <a:pt x="31" y="96"/>
                  </a:lnTo>
                  <a:lnTo>
                    <a:pt x="40" y="99"/>
                  </a:lnTo>
                  <a:lnTo>
                    <a:pt x="51" y="100"/>
                  </a:lnTo>
                  <a:lnTo>
                    <a:pt x="51" y="100"/>
                  </a:lnTo>
                  <a:lnTo>
                    <a:pt x="60" y="99"/>
                  </a:lnTo>
                  <a:lnTo>
                    <a:pt x="70" y="96"/>
                  </a:lnTo>
                  <a:lnTo>
                    <a:pt x="79" y="92"/>
                  </a:lnTo>
                  <a:lnTo>
                    <a:pt x="86" y="86"/>
                  </a:lnTo>
                  <a:lnTo>
                    <a:pt x="92" y="78"/>
                  </a:lnTo>
                  <a:lnTo>
                    <a:pt x="96" y="69"/>
                  </a:lnTo>
                  <a:lnTo>
                    <a:pt x="100" y="60"/>
                  </a:lnTo>
                  <a:lnTo>
                    <a:pt x="100" y="49"/>
                  </a:lnTo>
                  <a:lnTo>
                    <a:pt x="100" y="49"/>
                  </a:lnTo>
                  <a:lnTo>
                    <a:pt x="100" y="40"/>
                  </a:lnTo>
                  <a:lnTo>
                    <a:pt x="96" y="31"/>
                  </a:lnTo>
                  <a:lnTo>
                    <a:pt x="92" y="21"/>
                  </a:lnTo>
                  <a:lnTo>
                    <a:pt x="86" y="14"/>
                  </a:lnTo>
                  <a:lnTo>
                    <a:pt x="79" y="8"/>
                  </a:lnTo>
                  <a:lnTo>
                    <a:pt x="70" y="4"/>
                  </a:lnTo>
                  <a:lnTo>
                    <a:pt x="60" y="0"/>
                  </a:lnTo>
                  <a:lnTo>
                    <a:pt x="5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4" name="Freeform 330">
              <a:extLst>
                <a:ext uri="{FF2B5EF4-FFF2-40B4-BE49-F238E27FC236}">
                  <a16:creationId xmlns:a16="http://schemas.microsoft.com/office/drawing/2014/main" id="{538039B1-FCF7-4266-BBA6-CCDA89A3BB69}"/>
                </a:ext>
              </a:extLst>
            </p:cNvPr>
            <p:cNvSpPr>
              <a:spLocks/>
            </p:cNvSpPr>
            <p:nvPr/>
          </p:nvSpPr>
          <p:spPr bwMode="auto">
            <a:xfrm>
              <a:off x="9647238" y="5979160"/>
              <a:ext cx="80963" cy="79375"/>
            </a:xfrm>
            <a:custGeom>
              <a:avLst/>
              <a:gdLst>
                <a:gd name="T0" fmla="*/ 51 w 102"/>
                <a:gd name="T1" fmla="*/ 101 h 101"/>
                <a:gd name="T2" fmla="*/ 51 w 102"/>
                <a:gd name="T3" fmla="*/ 101 h 101"/>
                <a:gd name="T4" fmla="*/ 62 w 102"/>
                <a:gd name="T5" fmla="*/ 99 h 101"/>
                <a:gd name="T6" fmla="*/ 71 w 102"/>
                <a:gd name="T7" fmla="*/ 97 h 101"/>
                <a:gd name="T8" fmla="*/ 79 w 102"/>
                <a:gd name="T9" fmla="*/ 93 h 101"/>
                <a:gd name="T10" fmla="*/ 87 w 102"/>
                <a:gd name="T11" fmla="*/ 86 h 101"/>
                <a:gd name="T12" fmla="*/ 93 w 102"/>
                <a:gd name="T13" fmla="*/ 78 h 101"/>
                <a:gd name="T14" fmla="*/ 98 w 102"/>
                <a:gd name="T15" fmla="*/ 70 h 101"/>
                <a:gd name="T16" fmla="*/ 101 w 102"/>
                <a:gd name="T17" fmla="*/ 60 h 101"/>
                <a:gd name="T18" fmla="*/ 102 w 102"/>
                <a:gd name="T19" fmla="*/ 50 h 101"/>
                <a:gd name="T20" fmla="*/ 102 w 102"/>
                <a:gd name="T21" fmla="*/ 50 h 101"/>
                <a:gd name="T22" fmla="*/ 101 w 102"/>
                <a:gd name="T23" fmla="*/ 40 h 101"/>
                <a:gd name="T24" fmla="*/ 98 w 102"/>
                <a:gd name="T25" fmla="*/ 31 h 101"/>
                <a:gd name="T26" fmla="*/ 93 w 102"/>
                <a:gd name="T27" fmla="*/ 21 h 101"/>
                <a:gd name="T28" fmla="*/ 87 w 102"/>
                <a:gd name="T29" fmla="*/ 15 h 101"/>
                <a:gd name="T30" fmla="*/ 79 w 102"/>
                <a:gd name="T31" fmla="*/ 8 h 101"/>
                <a:gd name="T32" fmla="*/ 71 w 102"/>
                <a:gd name="T33" fmla="*/ 4 h 101"/>
                <a:gd name="T34" fmla="*/ 62 w 102"/>
                <a:gd name="T35" fmla="*/ 0 h 101"/>
                <a:gd name="T36" fmla="*/ 51 w 102"/>
                <a:gd name="T37" fmla="*/ 0 h 101"/>
                <a:gd name="T38" fmla="*/ 51 w 102"/>
                <a:gd name="T39" fmla="*/ 0 h 101"/>
                <a:gd name="T40" fmla="*/ 42 w 102"/>
                <a:gd name="T41" fmla="*/ 0 h 101"/>
                <a:gd name="T42" fmla="*/ 31 w 102"/>
                <a:gd name="T43" fmla="*/ 4 h 101"/>
                <a:gd name="T44" fmla="*/ 23 w 102"/>
                <a:gd name="T45" fmla="*/ 8 h 101"/>
                <a:gd name="T46" fmla="*/ 15 w 102"/>
                <a:gd name="T47" fmla="*/ 15 h 101"/>
                <a:gd name="T48" fmla="*/ 10 w 102"/>
                <a:gd name="T49" fmla="*/ 21 h 101"/>
                <a:gd name="T50" fmla="*/ 4 w 102"/>
                <a:gd name="T51" fmla="*/ 31 h 101"/>
                <a:gd name="T52" fmla="*/ 1 w 102"/>
                <a:gd name="T53" fmla="*/ 40 h 101"/>
                <a:gd name="T54" fmla="*/ 0 w 102"/>
                <a:gd name="T55" fmla="*/ 50 h 101"/>
                <a:gd name="T56" fmla="*/ 0 w 102"/>
                <a:gd name="T57" fmla="*/ 50 h 101"/>
                <a:gd name="T58" fmla="*/ 1 w 102"/>
                <a:gd name="T59" fmla="*/ 60 h 101"/>
                <a:gd name="T60" fmla="*/ 4 w 102"/>
                <a:gd name="T61" fmla="*/ 70 h 101"/>
                <a:gd name="T62" fmla="*/ 10 w 102"/>
                <a:gd name="T63" fmla="*/ 78 h 101"/>
                <a:gd name="T64" fmla="*/ 15 w 102"/>
                <a:gd name="T65" fmla="*/ 86 h 101"/>
                <a:gd name="T66" fmla="*/ 23 w 102"/>
                <a:gd name="T67" fmla="*/ 93 h 101"/>
                <a:gd name="T68" fmla="*/ 31 w 102"/>
                <a:gd name="T69" fmla="*/ 97 h 101"/>
                <a:gd name="T70" fmla="*/ 42 w 102"/>
                <a:gd name="T71" fmla="*/ 99 h 101"/>
                <a:gd name="T72" fmla="*/ 51 w 102"/>
                <a:gd name="T73" fmla="*/ 101 h 101"/>
                <a:gd name="T74" fmla="*/ 51 w 102"/>
                <a:gd name="T7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1">
                  <a:moveTo>
                    <a:pt x="51" y="101"/>
                  </a:moveTo>
                  <a:lnTo>
                    <a:pt x="51" y="101"/>
                  </a:lnTo>
                  <a:lnTo>
                    <a:pt x="62" y="99"/>
                  </a:lnTo>
                  <a:lnTo>
                    <a:pt x="71" y="97"/>
                  </a:lnTo>
                  <a:lnTo>
                    <a:pt x="79" y="93"/>
                  </a:lnTo>
                  <a:lnTo>
                    <a:pt x="87" y="86"/>
                  </a:lnTo>
                  <a:lnTo>
                    <a:pt x="93" y="78"/>
                  </a:lnTo>
                  <a:lnTo>
                    <a:pt x="98" y="70"/>
                  </a:lnTo>
                  <a:lnTo>
                    <a:pt x="101" y="60"/>
                  </a:lnTo>
                  <a:lnTo>
                    <a:pt x="102" y="50"/>
                  </a:lnTo>
                  <a:lnTo>
                    <a:pt x="102" y="50"/>
                  </a:lnTo>
                  <a:lnTo>
                    <a:pt x="101" y="40"/>
                  </a:lnTo>
                  <a:lnTo>
                    <a:pt x="98" y="31"/>
                  </a:lnTo>
                  <a:lnTo>
                    <a:pt x="93" y="21"/>
                  </a:lnTo>
                  <a:lnTo>
                    <a:pt x="87" y="15"/>
                  </a:lnTo>
                  <a:lnTo>
                    <a:pt x="79" y="8"/>
                  </a:lnTo>
                  <a:lnTo>
                    <a:pt x="71" y="4"/>
                  </a:lnTo>
                  <a:lnTo>
                    <a:pt x="62" y="0"/>
                  </a:lnTo>
                  <a:lnTo>
                    <a:pt x="51" y="0"/>
                  </a:lnTo>
                  <a:lnTo>
                    <a:pt x="51" y="0"/>
                  </a:lnTo>
                  <a:lnTo>
                    <a:pt x="42" y="0"/>
                  </a:lnTo>
                  <a:lnTo>
                    <a:pt x="31" y="4"/>
                  </a:lnTo>
                  <a:lnTo>
                    <a:pt x="23" y="8"/>
                  </a:lnTo>
                  <a:lnTo>
                    <a:pt x="15" y="15"/>
                  </a:lnTo>
                  <a:lnTo>
                    <a:pt x="10" y="21"/>
                  </a:lnTo>
                  <a:lnTo>
                    <a:pt x="4" y="31"/>
                  </a:lnTo>
                  <a:lnTo>
                    <a:pt x="1" y="40"/>
                  </a:lnTo>
                  <a:lnTo>
                    <a:pt x="0" y="50"/>
                  </a:lnTo>
                  <a:lnTo>
                    <a:pt x="0" y="50"/>
                  </a:lnTo>
                  <a:lnTo>
                    <a:pt x="1" y="60"/>
                  </a:lnTo>
                  <a:lnTo>
                    <a:pt x="4" y="70"/>
                  </a:lnTo>
                  <a:lnTo>
                    <a:pt x="10" y="78"/>
                  </a:lnTo>
                  <a:lnTo>
                    <a:pt x="15" y="86"/>
                  </a:lnTo>
                  <a:lnTo>
                    <a:pt x="23" y="93"/>
                  </a:lnTo>
                  <a:lnTo>
                    <a:pt x="31" y="97"/>
                  </a:lnTo>
                  <a:lnTo>
                    <a:pt x="42" y="99"/>
                  </a:lnTo>
                  <a:lnTo>
                    <a:pt x="51" y="101"/>
                  </a:lnTo>
                  <a:lnTo>
                    <a:pt x="51"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5" name="Freeform 331">
              <a:extLst>
                <a:ext uri="{FF2B5EF4-FFF2-40B4-BE49-F238E27FC236}">
                  <a16:creationId xmlns:a16="http://schemas.microsoft.com/office/drawing/2014/main" id="{7AFFFE70-DFF0-4270-9481-6D571EC033F5}"/>
                </a:ext>
              </a:extLst>
            </p:cNvPr>
            <p:cNvSpPr>
              <a:spLocks/>
            </p:cNvSpPr>
            <p:nvPr/>
          </p:nvSpPr>
          <p:spPr bwMode="auto">
            <a:xfrm>
              <a:off x="9647238" y="6176010"/>
              <a:ext cx="80963" cy="79375"/>
            </a:xfrm>
            <a:custGeom>
              <a:avLst/>
              <a:gdLst>
                <a:gd name="T0" fmla="*/ 51 w 102"/>
                <a:gd name="T1" fmla="*/ 0 h 101"/>
                <a:gd name="T2" fmla="*/ 51 w 102"/>
                <a:gd name="T3" fmla="*/ 0 h 101"/>
                <a:gd name="T4" fmla="*/ 42 w 102"/>
                <a:gd name="T5" fmla="*/ 2 h 101"/>
                <a:gd name="T6" fmla="*/ 31 w 102"/>
                <a:gd name="T7" fmla="*/ 4 h 101"/>
                <a:gd name="T8" fmla="*/ 23 w 102"/>
                <a:gd name="T9" fmla="*/ 8 h 101"/>
                <a:gd name="T10" fmla="*/ 15 w 102"/>
                <a:gd name="T11" fmla="*/ 15 h 101"/>
                <a:gd name="T12" fmla="*/ 10 w 102"/>
                <a:gd name="T13" fmla="*/ 22 h 101"/>
                <a:gd name="T14" fmla="*/ 4 w 102"/>
                <a:gd name="T15" fmla="*/ 31 h 101"/>
                <a:gd name="T16" fmla="*/ 1 w 102"/>
                <a:gd name="T17" fmla="*/ 41 h 101"/>
                <a:gd name="T18" fmla="*/ 0 w 102"/>
                <a:gd name="T19" fmla="*/ 50 h 101"/>
                <a:gd name="T20" fmla="*/ 0 w 102"/>
                <a:gd name="T21" fmla="*/ 50 h 101"/>
                <a:gd name="T22" fmla="*/ 1 w 102"/>
                <a:gd name="T23" fmla="*/ 61 h 101"/>
                <a:gd name="T24" fmla="*/ 4 w 102"/>
                <a:gd name="T25" fmla="*/ 70 h 101"/>
                <a:gd name="T26" fmla="*/ 10 w 102"/>
                <a:gd name="T27" fmla="*/ 78 h 101"/>
                <a:gd name="T28" fmla="*/ 15 w 102"/>
                <a:gd name="T29" fmla="*/ 86 h 101"/>
                <a:gd name="T30" fmla="*/ 23 w 102"/>
                <a:gd name="T31" fmla="*/ 93 h 101"/>
                <a:gd name="T32" fmla="*/ 31 w 102"/>
                <a:gd name="T33" fmla="*/ 97 h 101"/>
                <a:gd name="T34" fmla="*/ 42 w 102"/>
                <a:gd name="T35" fmla="*/ 100 h 101"/>
                <a:gd name="T36" fmla="*/ 51 w 102"/>
                <a:gd name="T37" fmla="*/ 101 h 101"/>
                <a:gd name="T38" fmla="*/ 51 w 102"/>
                <a:gd name="T39" fmla="*/ 101 h 101"/>
                <a:gd name="T40" fmla="*/ 62 w 102"/>
                <a:gd name="T41" fmla="*/ 100 h 101"/>
                <a:gd name="T42" fmla="*/ 71 w 102"/>
                <a:gd name="T43" fmla="*/ 97 h 101"/>
                <a:gd name="T44" fmla="*/ 79 w 102"/>
                <a:gd name="T45" fmla="*/ 93 h 101"/>
                <a:gd name="T46" fmla="*/ 87 w 102"/>
                <a:gd name="T47" fmla="*/ 86 h 101"/>
                <a:gd name="T48" fmla="*/ 93 w 102"/>
                <a:gd name="T49" fmla="*/ 78 h 101"/>
                <a:gd name="T50" fmla="*/ 98 w 102"/>
                <a:gd name="T51" fmla="*/ 70 h 101"/>
                <a:gd name="T52" fmla="*/ 101 w 102"/>
                <a:gd name="T53" fmla="*/ 61 h 101"/>
                <a:gd name="T54" fmla="*/ 102 w 102"/>
                <a:gd name="T55" fmla="*/ 50 h 101"/>
                <a:gd name="T56" fmla="*/ 102 w 102"/>
                <a:gd name="T57" fmla="*/ 50 h 101"/>
                <a:gd name="T58" fmla="*/ 101 w 102"/>
                <a:gd name="T59" fmla="*/ 41 h 101"/>
                <a:gd name="T60" fmla="*/ 98 w 102"/>
                <a:gd name="T61" fmla="*/ 31 h 101"/>
                <a:gd name="T62" fmla="*/ 93 w 102"/>
                <a:gd name="T63" fmla="*/ 22 h 101"/>
                <a:gd name="T64" fmla="*/ 87 w 102"/>
                <a:gd name="T65" fmla="*/ 15 h 101"/>
                <a:gd name="T66" fmla="*/ 79 w 102"/>
                <a:gd name="T67" fmla="*/ 8 h 101"/>
                <a:gd name="T68" fmla="*/ 71 w 102"/>
                <a:gd name="T69" fmla="*/ 4 h 101"/>
                <a:gd name="T70" fmla="*/ 62 w 102"/>
                <a:gd name="T71" fmla="*/ 2 h 101"/>
                <a:gd name="T72" fmla="*/ 51 w 102"/>
                <a:gd name="T73" fmla="*/ 0 h 101"/>
                <a:gd name="T74" fmla="*/ 51 w 102"/>
                <a:gd name="T75"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1">
                  <a:moveTo>
                    <a:pt x="51" y="0"/>
                  </a:moveTo>
                  <a:lnTo>
                    <a:pt x="51" y="0"/>
                  </a:lnTo>
                  <a:lnTo>
                    <a:pt x="42" y="2"/>
                  </a:lnTo>
                  <a:lnTo>
                    <a:pt x="31" y="4"/>
                  </a:lnTo>
                  <a:lnTo>
                    <a:pt x="23" y="8"/>
                  </a:lnTo>
                  <a:lnTo>
                    <a:pt x="15" y="15"/>
                  </a:lnTo>
                  <a:lnTo>
                    <a:pt x="10" y="22"/>
                  </a:lnTo>
                  <a:lnTo>
                    <a:pt x="4" y="31"/>
                  </a:lnTo>
                  <a:lnTo>
                    <a:pt x="1" y="41"/>
                  </a:lnTo>
                  <a:lnTo>
                    <a:pt x="0" y="50"/>
                  </a:lnTo>
                  <a:lnTo>
                    <a:pt x="0" y="50"/>
                  </a:lnTo>
                  <a:lnTo>
                    <a:pt x="1" y="61"/>
                  </a:lnTo>
                  <a:lnTo>
                    <a:pt x="4" y="70"/>
                  </a:lnTo>
                  <a:lnTo>
                    <a:pt x="10" y="78"/>
                  </a:lnTo>
                  <a:lnTo>
                    <a:pt x="15" y="86"/>
                  </a:lnTo>
                  <a:lnTo>
                    <a:pt x="23" y="93"/>
                  </a:lnTo>
                  <a:lnTo>
                    <a:pt x="31" y="97"/>
                  </a:lnTo>
                  <a:lnTo>
                    <a:pt x="42" y="100"/>
                  </a:lnTo>
                  <a:lnTo>
                    <a:pt x="51" y="101"/>
                  </a:lnTo>
                  <a:lnTo>
                    <a:pt x="51" y="101"/>
                  </a:lnTo>
                  <a:lnTo>
                    <a:pt x="62" y="100"/>
                  </a:lnTo>
                  <a:lnTo>
                    <a:pt x="71" y="97"/>
                  </a:lnTo>
                  <a:lnTo>
                    <a:pt x="79" y="93"/>
                  </a:lnTo>
                  <a:lnTo>
                    <a:pt x="87" y="86"/>
                  </a:lnTo>
                  <a:lnTo>
                    <a:pt x="93" y="78"/>
                  </a:lnTo>
                  <a:lnTo>
                    <a:pt x="98" y="70"/>
                  </a:lnTo>
                  <a:lnTo>
                    <a:pt x="101" y="61"/>
                  </a:lnTo>
                  <a:lnTo>
                    <a:pt x="102" y="50"/>
                  </a:lnTo>
                  <a:lnTo>
                    <a:pt x="102" y="50"/>
                  </a:lnTo>
                  <a:lnTo>
                    <a:pt x="101" y="41"/>
                  </a:lnTo>
                  <a:lnTo>
                    <a:pt x="98" y="31"/>
                  </a:lnTo>
                  <a:lnTo>
                    <a:pt x="93" y="22"/>
                  </a:lnTo>
                  <a:lnTo>
                    <a:pt x="87" y="15"/>
                  </a:lnTo>
                  <a:lnTo>
                    <a:pt x="79" y="8"/>
                  </a:lnTo>
                  <a:lnTo>
                    <a:pt x="71" y="4"/>
                  </a:lnTo>
                  <a:lnTo>
                    <a:pt x="62" y="2"/>
                  </a:lnTo>
                  <a:lnTo>
                    <a:pt x="5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6" name="Freeform 332">
              <a:extLst>
                <a:ext uri="{FF2B5EF4-FFF2-40B4-BE49-F238E27FC236}">
                  <a16:creationId xmlns:a16="http://schemas.microsoft.com/office/drawing/2014/main" id="{769B3411-F242-4718-A2FD-B1F3EC32689A}"/>
                </a:ext>
              </a:extLst>
            </p:cNvPr>
            <p:cNvSpPr>
              <a:spLocks/>
            </p:cNvSpPr>
            <p:nvPr/>
          </p:nvSpPr>
          <p:spPr bwMode="auto">
            <a:xfrm>
              <a:off x="9548813" y="6034723"/>
              <a:ext cx="96838" cy="63500"/>
            </a:xfrm>
            <a:custGeom>
              <a:avLst/>
              <a:gdLst>
                <a:gd name="T0" fmla="*/ 9 w 121"/>
                <a:gd name="T1" fmla="*/ 76 h 80"/>
                <a:gd name="T2" fmla="*/ 10 w 121"/>
                <a:gd name="T3" fmla="*/ 80 h 80"/>
                <a:gd name="T4" fmla="*/ 121 w 121"/>
                <a:gd name="T5" fmla="*/ 16 h 80"/>
                <a:gd name="T6" fmla="*/ 120 w 121"/>
                <a:gd name="T7" fmla="*/ 12 h 80"/>
                <a:gd name="T8" fmla="*/ 120 w 121"/>
                <a:gd name="T9" fmla="*/ 12 h 80"/>
                <a:gd name="T10" fmla="*/ 116 w 121"/>
                <a:gd name="T11" fmla="*/ 4 h 80"/>
                <a:gd name="T12" fmla="*/ 113 w 121"/>
                <a:gd name="T13" fmla="*/ 0 h 80"/>
                <a:gd name="T14" fmla="*/ 0 w 121"/>
                <a:gd name="T15" fmla="*/ 64 h 80"/>
                <a:gd name="T16" fmla="*/ 3 w 121"/>
                <a:gd name="T17" fmla="*/ 68 h 80"/>
                <a:gd name="T18" fmla="*/ 3 w 121"/>
                <a:gd name="T19" fmla="*/ 68 h 80"/>
                <a:gd name="T20" fmla="*/ 9 w 121"/>
                <a:gd name="T21" fmla="*/ 76 h 80"/>
                <a:gd name="T22" fmla="*/ 9 w 121"/>
                <a:gd name="T23" fmla="*/ 7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1" h="80">
                  <a:moveTo>
                    <a:pt x="9" y="76"/>
                  </a:moveTo>
                  <a:lnTo>
                    <a:pt x="10" y="80"/>
                  </a:lnTo>
                  <a:lnTo>
                    <a:pt x="121" y="16"/>
                  </a:lnTo>
                  <a:lnTo>
                    <a:pt x="120" y="12"/>
                  </a:lnTo>
                  <a:lnTo>
                    <a:pt x="120" y="12"/>
                  </a:lnTo>
                  <a:lnTo>
                    <a:pt x="116" y="4"/>
                  </a:lnTo>
                  <a:lnTo>
                    <a:pt x="113" y="0"/>
                  </a:lnTo>
                  <a:lnTo>
                    <a:pt x="0" y="64"/>
                  </a:lnTo>
                  <a:lnTo>
                    <a:pt x="3" y="68"/>
                  </a:lnTo>
                  <a:lnTo>
                    <a:pt x="3" y="68"/>
                  </a:lnTo>
                  <a:lnTo>
                    <a:pt x="9" y="76"/>
                  </a:lnTo>
                  <a:lnTo>
                    <a:pt x="9" y="7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7" name="Freeform 333">
              <a:extLst>
                <a:ext uri="{FF2B5EF4-FFF2-40B4-BE49-F238E27FC236}">
                  <a16:creationId xmlns:a16="http://schemas.microsoft.com/office/drawing/2014/main" id="{A30B39FC-AB31-44DB-A3F5-CD96394470D3}"/>
                </a:ext>
              </a:extLst>
            </p:cNvPr>
            <p:cNvSpPr>
              <a:spLocks/>
            </p:cNvSpPr>
            <p:nvPr/>
          </p:nvSpPr>
          <p:spPr bwMode="auto">
            <a:xfrm>
              <a:off x="9550401" y="6134735"/>
              <a:ext cx="96838" cy="61913"/>
            </a:xfrm>
            <a:custGeom>
              <a:avLst/>
              <a:gdLst>
                <a:gd name="T0" fmla="*/ 7 w 122"/>
                <a:gd name="T1" fmla="*/ 4 h 78"/>
                <a:gd name="T2" fmla="*/ 7 w 122"/>
                <a:gd name="T3" fmla="*/ 4 h 78"/>
                <a:gd name="T4" fmla="*/ 3 w 122"/>
                <a:gd name="T5" fmla="*/ 12 h 78"/>
                <a:gd name="T6" fmla="*/ 0 w 122"/>
                <a:gd name="T7" fmla="*/ 16 h 78"/>
                <a:gd name="T8" fmla="*/ 113 w 122"/>
                <a:gd name="T9" fmla="*/ 78 h 78"/>
                <a:gd name="T10" fmla="*/ 115 w 122"/>
                <a:gd name="T11" fmla="*/ 74 h 78"/>
                <a:gd name="T12" fmla="*/ 115 w 122"/>
                <a:gd name="T13" fmla="*/ 74 h 78"/>
                <a:gd name="T14" fmla="*/ 119 w 122"/>
                <a:gd name="T15" fmla="*/ 66 h 78"/>
                <a:gd name="T16" fmla="*/ 122 w 122"/>
                <a:gd name="T17" fmla="*/ 63 h 78"/>
                <a:gd name="T18" fmla="*/ 9 w 122"/>
                <a:gd name="T19" fmla="*/ 0 h 78"/>
                <a:gd name="T20" fmla="*/ 7 w 122"/>
                <a:gd name="T21" fmla="*/ 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78">
                  <a:moveTo>
                    <a:pt x="7" y="4"/>
                  </a:moveTo>
                  <a:lnTo>
                    <a:pt x="7" y="4"/>
                  </a:lnTo>
                  <a:lnTo>
                    <a:pt x="3" y="12"/>
                  </a:lnTo>
                  <a:lnTo>
                    <a:pt x="0" y="16"/>
                  </a:lnTo>
                  <a:lnTo>
                    <a:pt x="113" y="78"/>
                  </a:lnTo>
                  <a:lnTo>
                    <a:pt x="115" y="74"/>
                  </a:lnTo>
                  <a:lnTo>
                    <a:pt x="115" y="74"/>
                  </a:lnTo>
                  <a:lnTo>
                    <a:pt x="119" y="66"/>
                  </a:lnTo>
                  <a:lnTo>
                    <a:pt x="122" y="63"/>
                  </a:lnTo>
                  <a:lnTo>
                    <a:pt x="9" y="0"/>
                  </a:lnTo>
                  <a:lnTo>
                    <a:pt x="7"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78" name="Freeform 905">
            <a:extLst>
              <a:ext uri="{FF2B5EF4-FFF2-40B4-BE49-F238E27FC236}">
                <a16:creationId xmlns:a16="http://schemas.microsoft.com/office/drawing/2014/main" id="{6F1443F0-15A7-49BD-8E8E-C4AA579687C9}"/>
              </a:ext>
            </a:extLst>
          </p:cNvPr>
          <p:cNvSpPr>
            <a:spLocks noEditPoints="1"/>
          </p:cNvSpPr>
          <p:nvPr/>
        </p:nvSpPr>
        <p:spPr bwMode="auto">
          <a:xfrm>
            <a:off x="8820088" y="4291499"/>
            <a:ext cx="493776" cy="504612"/>
          </a:xfrm>
          <a:prstGeom prst="ellipse">
            <a:avLst/>
          </a:pr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79" name="Group 78">
            <a:extLst>
              <a:ext uri="{FF2B5EF4-FFF2-40B4-BE49-F238E27FC236}">
                <a16:creationId xmlns:a16="http://schemas.microsoft.com/office/drawing/2014/main" id="{1E65C3A3-0CEF-4D1A-9D95-2C35139CFFD9}"/>
              </a:ext>
            </a:extLst>
          </p:cNvPr>
          <p:cNvGrpSpPr>
            <a:grpSpLocks noChangeAspect="1"/>
          </p:cNvGrpSpPr>
          <p:nvPr/>
        </p:nvGrpSpPr>
        <p:grpSpPr>
          <a:xfrm>
            <a:off x="8793271" y="4264071"/>
            <a:ext cx="522288" cy="522288"/>
            <a:chOff x="6716713" y="822325"/>
            <a:chExt cx="522288" cy="522288"/>
          </a:xfrm>
        </p:grpSpPr>
        <p:sp>
          <p:nvSpPr>
            <p:cNvPr id="80" name="Freeform 34">
              <a:extLst>
                <a:ext uri="{FF2B5EF4-FFF2-40B4-BE49-F238E27FC236}">
                  <a16:creationId xmlns:a16="http://schemas.microsoft.com/office/drawing/2014/main" id="{EA3168A9-3930-468C-9A29-EC5FC6B59736}"/>
                </a:ext>
              </a:extLst>
            </p:cNvPr>
            <p:cNvSpPr>
              <a:spLocks noEditPoints="1"/>
            </p:cNvSpPr>
            <p:nvPr/>
          </p:nvSpPr>
          <p:spPr bwMode="auto">
            <a:xfrm>
              <a:off x="6716713" y="822325"/>
              <a:ext cx="522288" cy="522288"/>
            </a:xfrm>
            <a:custGeom>
              <a:avLst/>
              <a:gdLst>
                <a:gd name="T0" fmla="*/ 312 w 659"/>
                <a:gd name="T1" fmla="*/ 658 h 658"/>
                <a:gd name="T2" fmla="*/ 264 w 659"/>
                <a:gd name="T3" fmla="*/ 652 h 658"/>
                <a:gd name="T4" fmla="*/ 202 w 659"/>
                <a:gd name="T5" fmla="*/ 633 h 658"/>
                <a:gd name="T6" fmla="*/ 120 w 659"/>
                <a:gd name="T7" fmla="*/ 583 h 658"/>
                <a:gd name="T8" fmla="*/ 57 w 659"/>
                <a:gd name="T9" fmla="*/ 513 h 658"/>
                <a:gd name="T10" fmla="*/ 15 w 659"/>
                <a:gd name="T11" fmla="*/ 427 h 658"/>
                <a:gd name="T12" fmla="*/ 5 w 659"/>
                <a:gd name="T13" fmla="*/ 379 h 658"/>
                <a:gd name="T14" fmla="*/ 0 w 659"/>
                <a:gd name="T15" fmla="*/ 329 h 658"/>
                <a:gd name="T16" fmla="*/ 3 w 659"/>
                <a:gd name="T17" fmla="*/ 296 h 658"/>
                <a:gd name="T18" fmla="*/ 11 w 659"/>
                <a:gd name="T19" fmla="*/ 247 h 658"/>
                <a:gd name="T20" fmla="*/ 41 w 659"/>
                <a:gd name="T21" fmla="*/ 173 h 658"/>
                <a:gd name="T22" fmla="*/ 97 w 659"/>
                <a:gd name="T23" fmla="*/ 97 h 658"/>
                <a:gd name="T24" fmla="*/ 172 w 659"/>
                <a:gd name="T25" fmla="*/ 40 h 658"/>
                <a:gd name="T26" fmla="*/ 248 w 659"/>
                <a:gd name="T27" fmla="*/ 11 h 658"/>
                <a:gd name="T28" fmla="*/ 296 w 659"/>
                <a:gd name="T29" fmla="*/ 3 h 658"/>
                <a:gd name="T30" fmla="*/ 330 w 659"/>
                <a:gd name="T31" fmla="*/ 0 h 658"/>
                <a:gd name="T32" fmla="*/ 379 w 659"/>
                <a:gd name="T33" fmla="*/ 4 h 658"/>
                <a:gd name="T34" fmla="*/ 428 w 659"/>
                <a:gd name="T35" fmla="*/ 15 h 658"/>
                <a:gd name="T36" fmla="*/ 514 w 659"/>
                <a:gd name="T37" fmla="*/ 56 h 658"/>
                <a:gd name="T38" fmla="*/ 584 w 659"/>
                <a:gd name="T39" fmla="*/ 121 h 658"/>
                <a:gd name="T40" fmla="*/ 633 w 659"/>
                <a:gd name="T41" fmla="*/ 202 h 658"/>
                <a:gd name="T42" fmla="*/ 652 w 659"/>
                <a:gd name="T43" fmla="*/ 263 h 658"/>
                <a:gd name="T44" fmla="*/ 657 w 659"/>
                <a:gd name="T45" fmla="*/ 313 h 658"/>
                <a:gd name="T46" fmla="*/ 657 w 659"/>
                <a:gd name="T47" fmla="*/ 347 h 658"/>
                <a:gd name="T48" fmla="*/ 652 w 659"/>
                <a:gd name="T49" fmla="*/ 396 h 658"/>
                <a:gd name="T50" fmla="*/ 633 w 659"/>
                <a:gd name="T51" fmla="*/ 457 h 658"/>
                <a:gd name="T52" fmla="*/ 584 w 659"/>
                <a:gd name="T53" fmla="*/ 539 h 658"/>
                <a:gd name="T54" fmla="*/ 514 w 659"/>
                <a:gd name="T55" fmla="*/ 602 h 658"/>
                <a:gd name="T56" fmla="*/ 428 w 659"/>
                <a:gd name="T57" fmla="*/ 644 h 658"/>
                <a:gd name="T58" fmla="*/ 379 w 659"/>
                <a:gd name="T59" fmla="*/ 654 h 658"/>
                <a:gd name="T60" fmla="*/ 330 w 659"/>
                <a:gd name="T61" fmla="*/ 658 h 658"/>
                <a:gd name="T62" fmla="*/ 330 w 659"/>
                <a:gd name="T63" fmla="*/ 38 h 658"/>
                <a:gd name="T64" fmla="*/ 244 w 659"/>
                <a:gd name="T65" fmla="*/ 51 h 658"/>
                <a:gd name="T66" fmla="*/ 167 w 659"/>
                <a:gd name="T67" fmla="*/ 89 h 658"/>
                <a:gd name="T68" fmla="*/ 105 w 659"/>
                <a:gd name="T69" fmla="*/ 144 h 658"/>
                <a:gd name="T70" fmla="*/ 61 w 659"/>
                <a:gd name="T71" fmla="*/ 216 h 658"/>
                <a:gd name="T72" fmla="*/ 39 w 659"/>
                <a:gd name="T73" fmla="*/ 300 h 658"/>
                <a:gd name="T74" fmla="*/ 39 w 659"/>
                <a:gd name="T75" fmla="*/ 359 h 658"/>
                <a:gd name="T76" fmla="*/ 61 w 659"/>
                <a:gd name="T77" fmla="*/ 443 h 658"/>
                <a:gd name="T78" fmla="*/ 105 w 659"/>
                <a:gd name="T79" fmla="*/ 515 h 658"/>
                <a:gd name="T80" fmla="*/ 167 w 659"/>
                <a:gd name="T81" fmla="*/ 571 h 658"/>
                <a:gd name="T82" fmla="*/ 244 w 659"/>
                <a:gd name="T83" fmla="*/ 607 h 658"/>
                <a:gd name="T84" fmla="*/ 330 w 659"/>
                <a:gd name="T85" fmla="*/ 621 h 658"/>
                <a:gd name="T86" fmla="*/ 389 w 659"/>
                <a:gd name="T87" fmla="*/ 615 h 658"/>
                <a:gd name="T88" fmla="*/ 468 w 659"/>
                <a:gd name="T89" fmla="*/ 586 h 658"/>
                <a:gd name="T90" fmla="*/ 535 w 659"/>
                <a:gd name="T91" fmla="*/ 535 h 658"/>
                <a:gd name="T92" fmla="*/ 586 w 659"/>
                <a:gd name="T93" fmla="*/ 468 h 658"/>
                <a:gd name="T94" fmla="*/ 614 w 659"/>
                <a:gd name="T95" fmla="*/ 388 h 658"/>
                <a:gd name="T96" fmla="*/ 621 w 659"/>
                <a:gd name="T97" fmla="*/ 329 h 658"/>
                <a:gd name="T98" fmla="*/ 608 w 659"/>
                <a:gd name="T99" fmla="*/ 243 h 658"/>
                <a:gd name="T100" fmla="*/ 571 w 659"/>
                <a:gd name="T101" fmla="*/ 167 h 658"/>
                <a:gd name="T102" fmla="*/ 515 w 659"/>
                <a:gd name="T103" fmla="*/ 105 h 658"/>
                <a:gd name="T104" fmla="*/ 442 w 659"/>
                <a:gd name="T105" fmla="*/ 62 h 658"/>
                <a:gd name="T106" fmla="*/ 359 w 659"/>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30" y="658"/>
                  </a:moveTo>
                  <a:lnTo>
                    <a:pt x="330" y="658"/>
                  </a:lnTo>
                  <a:lnTo>
                    <a:pt x="312" y="658"/>
                  </a:lnTo>
                  <a:lnTo>
                    <a:pt x="296" y="657"/>
                  </a:lnTo>
                  <a:lnTo>
                    <a:pt x="280" y="654"/>
                  </a:lnTo>
                  <a:lnTo>
                    <a:pt x="264" y="652"/>
                  </a:lnTo>
                  <a:lnTo>
                    <a:pt x="248" y="648"/>
                  </a:lnTo>
                  <a:lnTo>
                    <a:pt x="232" y="644"/>
                  </a:lnTo>
                  <a:lnTo>
                    <a:pt x="202" y="633"/>
                  </a:lnTo>
                  <a:lnTo>
                    <a:pt x="172" y="618"/>
                  </a:lnTo>
                  <a:lnTo>
                    <a:pt x="146" y="602"/>
                  </a:lnTo>
                  <a:lnTo>
                    <a:pt x="120" y="583"/>
                  </a:lnTo>
                  <a:lnTo>
                    <a:pt x="97" y="562"/>
                  </a:lnTo>
                  <a:lnTo>
                    <a:pt x="76" y="539"/>
                  </a:lnTo>
                  <a:lnTo>
                    <a:pt x="57" y="513"/>
                  </a:lnTo>
                  <a:lnTo>
                    <a:pt x="41" y="486"/>
                  </a:lnTo>
                  <a:lnTo>
                    <a:pt x="26" y="457"/>
                  </a:lnTo>
                  <a:lnTo>
                    <a:pt x="15" y="427"/>
                  </a:lnTo>
                  <a:lnTo>
                    <a:pt x="11" y="411"/>
                  </a:lnTo>
                  <a:lnTo>
                    <a:pt x="7" y="396"/>
                  </a:lnTo>
                  <a:lnTo>
                    <a:pt x="5" y="379"/>
                  </a:lnTo>
                  <a:lnTo>
                    <a:pt x="3" y="363"/>
                  </a:lnTo>
                  <a:lnTo>
                    <a:pt x="2" y="347"/>
                  </a:lnTo>
                  <a:lnTo>
                    <a:pt x="0" y="329"/>
                  </a:lnTo>
                  <a:lnTo>
                    <a:pt x="0" y="329"/>
                  </a:lnTo>
                  <a:lnTo>
                    <a:pt x="2" y="313"/>
                  </a:lnTo>
                  <a:lnTo>
                    <a:pt x="3" y="296"/>
                  </a:lnTo>
                  <a:lnTo>
                    <a:pt x="5" y="279"/>
                  </a:lnTo>
                  <a:lnTo>
                    <a:pt x="7" y="263"/>
                  </a:lnTo>
                  <a:lnTo>
                    <a:pt x="11" y="247"/>
                  </a:lnTo>
                  <a:lnTo>
                    <a:pt x="15" y="232"/>
                  </a:lnTo>
                  <a:lnTo>
                    <a:pt x="26" y="202"/>
                  </a:lnTo>
                  <a:lnTo>
                    <a:pt x="41" y="173"/>
                  </a:lnTo>
                  <a:lnTo>
                    <a:pt x="57" y="145"/>
                  </a:lnTo>
                  <a:lnTo>
                    <a:pt x="76" y="121"/>
                  </a:lnTo>
                  <a:lnTo>
                    <a:pt x="97" y="97"/>
                  </a:lnTo>
                  <a:lnTo>
                    <a:pt x="120" y="75"/>
                  </a:lnTo>
                  <a:lnTo>
                    <a:pt x="146" y="56"/>
                  </a:lnTo>
                  <a:lnTo>
                    <a:pt x="172" y="40"/>
                  </a:lnTo>
                  <a:lnTo>
                    <a:pt x="202" y="27"/>
                  </a:lnTo>
                  <a:lnTo>
                    <a:pt x="232" y="15"/>
                  </a:lnTo>
                  <a:lnTo>
                    <a:pt x="248" y="11"/>
                  </a:lnTo>
                  <a:lnTo>
                    <a:pt x="264" y="7"/>
                  </a:lnTo>
                  <a:lnTo>
                    <a:pt x="280" y="4"/>
                  </a:lnTo>
                  <a:lnTo>
                    <a:pt x="296" y="3"/>
                  </a:lnTo>
                  <a:lnTo>
                    <a:pt x="312" y="1"/>
                  </a:lnTo>
                  <a:lnTo>
                    <a:pt x="330" y="0"/>
                  </a:lnTo>
                  <a:lnTo>
                    <a:pt x="330" y="0"/>
                  </a:lnTo>
                  <a:lnTo>
                    <a:pt x="347" y="1"/>
                  </a:lnTo>
                  <a:lnTo>
                    <a:pt x="363" y="3"/>
                  </a:lnTo>
                  <a:lnTo>
                    <a:pt x="379" y="4"/>
                  </a:lnTo>
                  <a:lnTo>
                    <a:pt x="395" y="7"/>
                  </a:lnTo>
                  <a:lnTo>
                    <a:pt x="412" y="11"/>
                  </a:lnTo>
                  <a:lnTo>
                    <a:pt x="428" y="15"/>
                  </a:lnTo>
                  <a:lnTo>
                    <a:pt x="457" y="27"/>
                  </a:lnTo>
                  <a:lnTo>
                    <a:pt x="487" y="40"/>
                  </a:lnTo>
                  <a:lnTo>
                    <a:pt x="514" y="56"/>
                  </a:lnTo>
                  <a:lnTo>
                    <a:pt x="539" y="75"/>
                  </a:lnTo>
                  <a:lnTo>
                    <a:pt x="562" y="97"/>
                  </a:lnTo>
                  <a:lnTo>
                    <a:pt x="584" y="121"/>
                  </a:lnTo>
                  <a:lnTo>
                    <a:pt x="602" y="145"/>
                  </a:lnTo>
                  <a:lnTo>
                    <a:pt x="618" y="173"/>
                  </a:lnTo>
                  <a:lnTo>
                    <a:pt x="633" y="202"/>
                  </a:lnTo>
                  <a:lnTo>
                    <a:pt x="644" y="232"/>
                  </a:lnTo>
                  <a:lnTo>
                    <a:pt x="648" y="247"/>
                  </a:lnTo>
                  <a:lnTo>
                    <a:pt x="652" y="263"/>
                  </a:lnTo>
                  <a:lnTo>
                    <a:pt x="655" y="279"/>
                  </a:lnTo>
                  <a:lnTo>
                    <a:pt x="656" y="296"/>
                  </a:lnTo>
                  <a:lnTo>
                    <a:pt x="657" y="313"/>
                  </a:lnTo>
                  <a:lnTo>
                    <a:pt x="659" y="329"/>
                  </a:lnTo>
                  <a:lnTo>
                    <a:pt x="659" y="329"/>
                  </a:lnTo>
                  <a:lnTo>
                    <a:pt x="657" y="347"/>
                  </a:lnTo>
                  <a:lnTo>
                    <a:pt x="656" y="363"/>
                  </a:lnTo>
                  <a:lnTo>
                    <a:pt x="655" y="379"/>
                  </a:lnTo>
                  <a:lnTo>
                    <a:pt x="652" y="396"/>
                  </a:lnTo>
                  <a:lnTo>
                    <a:pt x="648" y="411"/>
                  </a:lnTo>
                  <a:lnTo>
                    <a:pt x="644" y="427"/>
                  </a:lnTo>
                  <a:lnTo>
                    <a:pt x="633" y="457"/>
                  </a:lnTo>
                  <a:lnTo>
                    <a:pt x="618" y="486"/>
                  </a:lnTo>
                  <a:lnTo>
                    <a:pt x="602" y="513"/>
                  </a:lnTo>
                  <a:lnTo>
                    <a:pt x="584" y="539"/>
                  </a:lnTo>
                  <a:lnTo>
                    <a:pt x="562" y="562"/>
                  </a:lnTo>
                  <a:lnTo>
                    <a:pt x="539" y="583"/>
                  </a:lnTo>
                  <a:lnTo>
                    <a:pt x="514" y="602"/>
                  </a:lnTo>
                  <a:lnTo>
                    <a:pt x="487" y="618"/>
                  </a:lnTo>
                  <a:lnTo>
                    <a:pt x="457" y="633"/>
                  </a:lnTo>
                  <a:lnTo>
                    <a:pt x="428" y="644"/>
                  </a:lnTo>
                  <a:lnTo>
                    <a:pt x="412" y="648"/>
                  </a:lnTo>
                  <a:lnTo>
                    <a:pt x="395" y="652"/>
                  </a:lnTo>
                  <a:lnTo>
                    <a:pt x="379" y="654"/>
                  </a:lnTo>
                  <a:lnTo>
                    <a:pt x="363" y="657"/>
                  </a:lnTo>
                  <a:lnTo>
                    <a:pt x="347" y="658"/>
                  </a:lnTo>
                  <a:lnTo>
                    <a:pt x="330" y="658"/>
                  </a:lnTo>
                  <a:lnTo>
                    <a:pt x="330" y="658"/>
                  </a:lnTo>
                  <a:close/>
                  <a:moveTo>
                    <a:pt x="330" y="38"/>
                  </a:moveTo>
                  <a:lnTo>
                    <a:pt x="330" y="38"/>
                  </a:lnTo>
                  <a:lnTo>
                    <a:pt x="300" y="40"/>
                  </a:lnTo>
                  <a:lnTo>
                    <a:pt x="271" y="44"/>
                  </a:lnTo>
                  <a:lnTo>
                    <a:pt x="244" y="51"/>
                  </a:lnTo>
                  <a:lnTo>
                    <a:pt x="217" y="62"/>
                  </a:lnTo>
                  <a:lnTo>
                    <a:pt x="191" y="74"/>
                  </a:lnTo>
                  <a:lnTo>
                    <a:pt x="167" y="89"/>
                  </a:lnTo>
                  <a:lnTo>
                    <a:pt x="144" y="105"/>
                  </a:lnTo>
                  <a:lnTo>
                    <a:pt x="124" y="124"/>
                  </a:lnTo>
                  <a:lnTo>
                    <a:pt x="105" y="144"/>
                  </a:lnTo>
                  <a:lnTo>
                    <a:pt x="88" y="167"/>
                  </a:lnTo>
                  <a:lnTo>
                    <a:pt x="73" y="191"/>
                  </a:lnTo>
                  <a:lnTo>
                    <a:pt x="61" y="216"/>
                  </a:lnTo>
                  <a:lnTo>
                    <a:pt x="52" y="243"/>
                  </a:lnTo>
                  <a:lnTo>
                    <a:pt x="45" y="271"/>
                  </a:lnTo>
                  <a:lnTo>
                    <a:pt x="39" y="300"/>
                  </a:lnTo>
                  <a:lnTo>
                    <a:pt x="38" y="329"/>
                  </a:lnTo>
                  <a:lnTo>
                    <a:pt x="38" y="329"/>
                  </a:lnTo>
                  <a:lnTo>
                    <a:pt x="39" y="359"/>
                  </a:lnTo>
                  <a:lnTo>
                    <a:pt x="45" y="388"/>
                  </a:lnTo>
                  <a:lnTo>
                    <a:pt x="52" y="416"/>
                  </a:lnTo>
                  <a:lnTo>
                    <a:pt x="61" y="443"/>
                  </a:lnTo>
                  <a:lnTo>
                    <a:pt x="73" y="468"/>
                  </a:lnTo>
                  <a:lnTo>
                    <a:pt x="88" y="492"/>
                  </a:lnTo>
                  <a:lnTo>
                    <a:pt x="105" y="515"/>
                  </a:lnTo>
                  <a:lnTo>
                    <a:pt x="124" y="535"/>
                  </a:lnTo>
                  <a:lnTo>
                    <a:pt x="144" y="553"/>
                  </a:lnTo>
                  <a:lnTo>
                    <a:pt x="167" y="571"/>
                  </a:lnTo>
                  <a:lnTo>
                    <a:pt x="191" y="586"/>
                  </a:lnTo>
                  <a:lnTo>
                    <a:pt x="217" y="598"/>
                  </a:lnTo>
                  <a:lnTo>
                    <a:pt x="244" y="607"/>
                  </a:lnTo>
                  <a:lnTo>
                    <a:pt x="271" y="615"/>
                  </a:lnTo>
                  <a:lnTo>
                    <a:pt x="300" y="619"/>
                  </a:lnTo>
                  <a:lnTo>
                    <a:pt x="330" y="621"/>
                  </a:lnTo>
                  <a:lnTo>
                    <a:pt x="330" y="621"/>
                  </a:lnTo>
                  <a:lnTo>
                    <a:pt x="359" y="619"/>
                  </a:lnTo>
                  <a:lnTo>
                    <a:pt x="389" y="615"/>
                  </a:lnTo>
                  <a:lnTo>
                    <a:pt x="416" y="607"/>
                  </a:lnTo>
                  <a:lnTo>
                    <a:pt x="442" y="598"/>
                  </a:lnTo>
                  <a:lnTo>
                    <a:pt x="468" y="586"/>
                  </a:lnTo>
                  <a:lnTo>
                    <a:pt x="492" y="571"/>
                  </a:lnTo>
                  <a:lnTo>
                    <a:pt x="515" y="553"/>
                  </a:lnTo>
                  <a:lnTo>
                    <a:pt x="535" y="535"/>
                  </a:lnTo>
                  <a:lnTo>
                    <a:pt x="554" y="515"/>
                  </a:lnTo>
                  <a:lnTo>
                    <a:pt x="571" y="492"/>
                  </a:lnTo>
                  <a:lnTo>
                    <a:pt x="586" y="468"/>
                  </a:lnTo>
                  <a:lnTo>
                    <a:pt x="598" y="443"/>
                  </a:lnTo>
                  <a:lnTo>
                    <a:pt x="608" y="416"/>
                  </a:lnTo>
                  <a:lnTo>
                    <a:pt x="614" y="388"/>
                  </a:lnTo>
                  <a:lnTo>
                    <a:pt x="620" y="359"/>
                  </a:lnTo>
                  <a:lnTo>
                    <a:pt x="621" y="329"/>
                  </a:lnTo>
                  <a:lnTo>
                    <a:pt x="621" y="329"/>
                  </a:lnTo>
                  <a:lnTo>
                    <a:pt x="620" y="300"/>
                  </a:lnTo>
                  <a:lnTo>
                    <a:pt x="614" y="271"/>
                  </a:lnTo>
                  <a:lnTo>
                    <a:pt x="608" y="243"/>
                  </a:lnTo>
                  <a:lnTo>
                    <a:pt x="598" y="216"/>
                  </a:lnTo>
                  <a:lnTo>
                    <a:pt x="586" y="191"/>
                  </a:lnTo>
                  <a:lnTo>
                    <a:pt x="571" y="167"/>
                  </a:lnTo>
                  <a:lnTo>
                    <a:pt x="554" y="144"/>
                  </a:lnTo>
                  <a:lnTo>
                    <a:pt x="535" y="124"/>
                  </a:lnTo>
                  <a:lnTo>
                    <a:pt x="515" y="105"/>
                  </a:lnTo>
                  <a:lnTo>
                    <a:pt x="492" y="89"/>
                  </a:lnTo>
                  <a:lnTo>
                    <a:pt x="468" y="74"/>
                  </a:lnTo>
                  <a:lnTo>
                    <a:pt x="442" y="62"/>
                  </a:lnTo>
                  <a:lnTo>
                    <a:pt x="416" y="51"/>
                  </a:lnTo>
                  <a:lnTo>
                    <a:pt x="389" y="44"/>
                  </a:lnTo>
                  <a:lnTo>
                    <a:pt x="359" y="40"/>
                  </a:lnTo>
                  <a:lnTo>
                    <a:pt x="330" y="38"/>
                  </a:lnTo>
                  <a:lnTo>
                    <a:pt x="330"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1" name="Freeform 174">
              <a:extLst>
                <a:ext uri="{FF2B5EF4-FFF2-40B4-BE49-F238E27FC236}">
                  <a16:creationId xmlns:a16="http://schemas.microsoft.com/office/drawing/2014/main" id="{06BA1D44-1957-4360-AB7D-090A245FCE6D}"/>
                </a:ext>
              </a:extLst>
            </p:cNvPr>
            <p:cNvSpPr>
              <a:spLocks noEditPoints="1"/>
            </p:cNvSpPr>
            <p:nvPr/>
          </p:nvSpPr>
          <p:spPr bwMode="auto">
            <a:xfrm>
              <a:off x="6896101" y="960438"/>
              <a:ext cx="165100" cy="242888"/>
            </a:xfrm>
            <a:custGeom>
              <a:avLst/>
              <a:gdLst>
                <a:gd name="T0" fmla="*/ 182 w 207"/>
                <a:gd name="T1" fmla="*/ 305 h 305"/>
                <a:gd name="T2" fmla="*/ 187 w 207"/>
                <a:gd name="T3" fmla="*/ 303 h 305"/>
                <a:gd name="T4" fmla="*/ 196 w 207"/>
                <a:gd name="T5" fmla="*/ 301 h 305"/>
                <a:gd name="T6" fmla="*/ 203 w 207"/>
                <a:gd name="T7" fmla="*/ 294 h 305"/>
                <a:gd name="T8" fmla="*/ 206 w 207"/>
                <a:gd name="T9" fmla="*/ 284 h 305"/>
                <a:gd name="T10" fmla="*/ 207 w 207"/>
                <a:gd name="T11" fmla="*/ 24 h 305"/>
                <a:gd name="T12" fmla="*/ 206 w 207"/>
                <a:gd name="T13" fmla="*/ 20 h 305"/>
                <a:gd name="T14" fmla="*/ 203 w 207"/>
                <a:gd name="T15" fmla="*/ 10 h 305"/>
                <a:gd name="T16" fmla="*/ 196 w 207"/>
                <a:gd name="T17" fmla="*/ 4 h 305"/>
                <a:gd name="T18" fmla="*/ 187 w 207"/>
                <a:gd name="T19" fmla="*/ 1 h 305"/>
                <a:gd name="T20" fmla="*/ 26 w 207"/>
                <a:gd name="T21" fmla="*/ 0 h 305"/>
                <a:gd name="T22" fmla="*/ 20 w 207"/>
                <a:gd name="T23" fmla="*/ 1 h 305"/>
                <a:gd name="T24" fmla="*/ 11 w 207"/>
                <a:gd name="T25" fmla="*/ 4 h 305"/>
                <a:gd name="T26" fmla="*/ 4 w 207"/>
                <a:gd name="T27" fmla="*/ 10 h 305"/>
                <a:gd name="T28" fmla="*/ 2 w 207"/>
                <a:gd name="T29" fmla="*/ 20 h 305"/>
                <a:gd name="T30" fmla="*/ 0 w 207"/>
                <a:gd name="T31" fmla="*/ 279 h 305"/>
                <a:gd name="T32" fmla="*/ 2 w 207"/>
                <a:gd name="T33" fmla="*/ 284 h 305"/>
                <a:gd name="T34" fmla="*/ 4 w 207"/>
                <a:gd name="T35" fmla="*/ 294 h 305"/>
                <a:gd name="T36" fmla="*/ 11 w 207"/>
                <a:gd name="T37" fmla="*/ 301 h 305"/>
                <a:gd name="T38" fmla="*/ 20 w 207"/>
                <a:gd name="T39" fmla="*/ 303 h 305"/>
                <a:gd name="T40" fmla="*/ 26 w 207"/>
                <a:gd name="T41" fmla="*/ 305 h 305"/>
                <a:gd name="T42" fmla="*/ 104 w 207"/>
                <a:gd name="T43" fmla="*/ 294 h 305"/>
                <a:gd name="T44" fmla="*/ 93 w 207"/>
                <a:gd name="T45" fmla="*/ 290 h 305"/>
                <a:gd name="T46" fmla="*/ 89 w 207"/>
                <a:gd name="T47" fmla="*/ 279 h 305"/>
                <a:gd name="T48" fmla="*/ 90 w 207"/>
                <a:gd name="T49" fmla="*/ 274 h 305"/>
                <a:gd name="T50" fmla="*/ 98 w 207"/>
                <a:gd name="T51" fmla="*/ 266 h 305"/>
                <a:gd name="T52" fmla="*/ 104 w 207"/>
                <a:gd name="T53" fmla="*/ 266 h 305"/>
                <a:gd name="T54" fmla="*/ 114 w 207"/>
                <a:gd name="T55" fmla="*/ 270 h 305"/>
                <a:gd name="T56" fmla="*/ 118 w 207"/>
                <a:gd name="T57" fmla="*/ 279 h 305"/>
                <a:gd name="T58" fmla="*/ 117 w 207"/>
                <a:gd name="T59" fmla="*/ 286 h 305"/>
                <a:gd name="T60" fmla="*/ 109 w 207"/>
                <a:gd name="T61" fmla="*/ 294 h 305"/>
                <a:gd name="T62" fmla="*/ 104 w 207"/>
                <a:gd name="T63" fmla="*/ 294 h 305"/>
                <a:gd name="T64" fmla="*/ 19 w 207"/>
                <a:gd name="T65" fmla="*/ 22 h 305"/>
                <a:gd name="T66" fmla="*/ 23 w 207"/>
                <a:gd name="T67" fmla="*/ 18 h 305"/>
                <a:gd name="T68" fmla="*/ 184 w 207"/>
                <a:gd name="T69" fmla="*/ 18 h 305"/>
                <a:gd name="T70" fmla="*/ 188 w 207"/>
                <a:gd name="T71" fmla="*/ 22 h 305"/>
                <a:gd name="T72" fmla="*/ 188 w 207"/>
                <a:gd name="T73" fmla="*/ 241 h 305"/>
                <a:gd name="T74" fmla="*/ 184 w 207"/>
                <a:gd name="T75" fmla="*/ 245 h 305"/>
                <a:gd name="T76" fmla="*/ 23 w 207"/>
                <a:gd name="T77" fmla="*/ 245 h 305"/>
                <a:gd name="T78" fmla="*/ 19 w 207"/>
                <a:gd name="T79" fmla="*/ 241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7" h="305">
                  <a:moveTo>
                    <a:pt x="26" y="305"/>
                  </a:moveTo>
                  <a:lnTo>
                    <a:pt x="182" y="305"/>
                  </a:lnTo>
                  <a:lnTo>
                    <a:pt x="182" y="305"/>
                  </a:lnTo>
                  <a:lnTo>
                    <a:pt x="187" y="303"/>
                  </a:lnTo>
                  <a:lnTo>
                    <a:pt x="192" y="302"/>
                  </a:lnTo>
                  <a:lnTo>
                    <a:pt x="196" y="301"/>
                  </a:lnTo>
                  <a:lnTo>
                    <a:pt x="199" y="297"/>
                  </a:lnTo>
                  <a:lnTo>
                    <a:pt x="203" y="294"/>
                  </a:lnTo>
                  <a:lnTo>
                    <a:pt x="204" y="290"/>
                  </a:lnTo>
                  <a:lnTo>
                    <a:pt x="206" y="284"/>
                  </a:lnTo>
                  <a:lnTo>
                    <a:pt x="207" y="279"/>
                  </a:lnTo>
                  <a:lnTo>
                    <a:pt x="207" y="24"/>
                  </a:lnTo>
                  <a:lnTo>
                    <a:pt x="207" y="24"/>
                  </a:lnTo>
                  <a:lnTo>
                    <a:pt x="206" y="20"/>
                  </a:lnTo>
                  <a:lnTo>
                    <a:pt x="204" y="14"/>
                  </a:lnTo>
                  <a:lnTo>
                    <a:pt x="203" y="10"/>
                  </a:lnTo>
                  <a:lnTo>
                    <a:pt x="199" y="8"/>
                  </a:lnTo>
                  <a:lnTo>
                    <a:pt x="196" y="4"/>
                  </a:lnTo>
                  <a:lnTo>
                    <a:pt x="192" y="2"/>
                  </a:lnTo>
                  <a:lnTo>
                    <a:pt x="187" y="1"/>
                  </a:lnTo>
                  <a:lnTo>
                    <a:pt x="182" y="0"/>
                  </a:lnTo>
                  <a:lnTo>
                    <a:pt x="26" y="0"/>
                  </a:lnTo>
                  <a:lnTo>
                    <a:pt x="26" y="0"/>
                  </a:lnTo>
                  <a:lnTo>
                    <a:pt x="20" y="1"/>
                  </a:lnTo>
                  <a:lnTo>
                    <a:pt x="15" y="2"/>
                  </a:lnTo>
                  <a:lnTo>
                    <a:pt x="11" y="4"/>
                  </a:lnTo>
                  <a:lnTo>
                    <a:pt x="8" y="8"/>
                  </a:lnTo>
                  <a:lnTo>
                    <a:pt x="4" y="10"/>
                  </a:lnTo>
                  <a:lnTo>
                    <a:pt x="3" y="14"/>
                  </a:lnTo>
                  <a:lnTo>
                    <a:pt x="2" y="20"/>
                  </a:lnTo>
                  <a:lnTo>
                    <a:pt x="0" y="24"/>
                  </a:lnTo>
                  <a:lnTo>
                    <a:pt x="0" y="279"/>
                  </a:lnTo>
                  <a:lnTo>
                    <a:pt x="0" y="279"/>
                  </a:lnTo>
                  <a:lnTo>
                    <a:pt x="2" y="284"/>
                  </a:lnTo>
                  <a:lnTo>
                    <a:pt x="3" y="290"/>
                  </a:lnTo>
                  <a:lnTo>
                    <a:pt x="4" y="294"/>
                  </a:lnTo>
                  <a:lnTo>
                    <a:pt x="8" y="297"/>
                  </a:lnTo>
                  <a:lnTo>
                    <a:pt x="11" y="301"/>
                  </a:lnTo>
                  <a:lnTo>
                    <a:pt x="15" y="302"/>
                  </a:lnTo>
                  <a:lnTo>
                    <a:pt x="20" y="303"/>
                  </a:lnTo>
                  <a:lnTo>
                    <a:pt x="26" y="305"/>
                  </a:lnTo>
                  <a:lnTo>
                    <a:pt x="26" y="305"/>
                  </a:lnTo>
                  <a:close/>
                  <a:moveTo>
                    <a:pt x="104" y="294"/>
                  </a:moveTo>
                  <a:lnTo>
                    <a:pt x="104" y="294"/>
                  </a:lnTo>
                  <a:lnTo>
                    <a:pt x="98" y="294"/>
                  </a:lnTo>
                  <a:lnTo>
                    <a:pt x="93" y="290"/>
                  </a:lnTo>
                  <a:lnTo>
                    <a:pt x="90" y="286"/>
                  </a:lnTo>
                  <a:lnTo>
                    <a:pt x="89" y="279"/>
                  </a:lnTo>
                  <a:lnTo>
                    <a:pt x="89" y="279"/>
                  </a:lnTo>
                  <a:lnTo>
                    <a:pt x="90" y="274"/>
                  </a:lnTo>
                  <a:lnTo>
                    <a:pt x="93" y="270"/>
                  </a:lnTo>
                  <a:lnTo>
                    <a:pt x="98" y="266"/>
                  </a:lnTo>
                  <a:lnTo>
                    <a:pt x="104" y="266"/>
                  </a:lnTo>
                  <a:lnTo>
                    <a:pt x="104" y="266"/>
                  </a:lnTo>
                  <a:lnTo>
                    <a:pt x="109" y="266"/>
                  </a:lnTo>
                  <a:lnTo>
                    <a:pt x="114" y="270"/>
                  </a:lnTo>
                  <a:lnTo>
                    <a:pt x="117" y="274"/>
                  </a:lnTo>
                  <a:lnTo>
                    <a:pt x="118" y="279"/>
                  </a:lnTo>
                  <a:lnTo>
                    <a:pt x="118" y="279"/>
                  </a:lnTo>
                  <a:lnTo>
                    <a:pt x="117" y="286"/>
                  </a:lnTo>
                  <a:lnTo>
                    <a:pt x="114" y="290"/>
                  </a:lnTo>
                  <a:lnTo>
                    <a:pt x="109" y="294"/>
                  </a:lnTo>
                  <a:lnTo>
                    <a:pt x="104" y="294"/>
                  </a:lnTo>
                  <a:lnTo>
                    <a:pt x="104" y="294"/>
                  </a:lnTo>
                  <a:close/>
                  <a:moveTo>
                    <a:pt x="19" y="22"/>
                  </a:moveTo>
                  <a:lnTo>
                    <a:pt x="19" y="22"/>
                  </a:lnTo>
                  <a:lnTo>
                    <a:pt x="20" y="20"/>
                  </a:lnTo>
                  <a:lnTo>
                    <a:pt x="23" y="18"/>
                  </a:lnTo>
                  <a:lnTo>
                    <a:pt x="184" y="18"/>
                  </a:lnTo>
                  <a:lnTo>
                    <a:pt x="184" y="18"/>
                  </a:lnTo>
                  <a:lnTo>
                    <a:pt x="187" y="20"/>
                  </a:lnTo>
                  <a:lnTo>
                    <a:pt x="188" y="22"/>
                  </a:lnTo>
                  <a:lnTo>
                    <a:pt x="188" y="241"/>
                  </a:lnTo>
                  <a:lnTo>
                    <a:pt x="188" y="241"/>
                  </a:lnTo>
                  <a:lnTo>
                    <a:pt x="187" y="244"/>
                  </a:lnTo>
                  <a:lnTo>
                    <a:pt x="184" y="245"/>
                  </a:lnTo>
                  <a:lnTo>
                    <a:pt x="23" y="245"/>
                  </a:lnTo>
                  <a:lnTo>
                    <a:pt x="23" y="245"/>
                  </a:lnTo>
                  <a:lnTo>
                    <a:pt x="20" y="244"/>
                  </a:lnTo>
                  <a:lnTo>
                    <a:pt x="19" y="241"/>
                  </a:lnTo>
                  <a:lnTo>
                    <a:pt x="19"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82" name="Freeform 905">
            <a:extLst>
              <a:ext uri="{FF2B5EF4-FFF2-40B4-BE49-F238E27FC236}">
                <a16:creationId xmlns:a16="http://schemas.microsoft.com/office/drawing/2014/main" id="{6263899C-7219-463D-8D9E-603976EFE0E5}"/>
              </a:ext>
            </a:extLst>
          </p:cNvPr>
          <p:cNvSpPr>
            <a:spLocks noEditPoints="1"/>
          </p:cNvSpPr>
          <p:nvPr/>
        </p:nvSpPr>
        <p:spPr bwMode="auto">
          <a:xfrm>
            <a:off x="7355896" y="4546535"/>
            <a:ext cx="493776" cy="504612"/>
          </a:xfrm>
          <a:prstGeom prst="ellipse">
            <a:avLst/>
          </a:pr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83" name="Freeform 905">
            <a:extLst>
              <a:ext uri="{FF2B5EF4-FFF2-40B4-BE49-F238E27FC236}">
                <a16:creationId xmlns:a16="http://schemas.microsoft.com/office/drawing/2014/main" id="{925992A0-BF80-450F-B307-7DCBBC49986E}"/>
              </a:ext>
            </a:extLst>
          </p:cNvPr>
          <p:cNvSpPr>
            <a:spLocks noEditPoints="1"/>
          </p:cNvSpPr>
          <p:nvPr/>
        </p:nvSpPr>
        <p:spPr bwMode="auto">
          <a:xfrm>
            <a:off x="9827536" y="3776824"/>
            <a:ext cx="493776" cy="504612"/>
          </a:xfrm>
          <a:prstGeom prst="ellipse">
            <a:avLst/>
          </a:pr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84" name="Group 83">
            <a:extLst>
              <a:ext uri="{FF2B5EF4-FFF2-40B4-BE49-F238E27FC236}">
                <a16:creationId xmlns:a16="http://schemas.microsoft.com/office/drawing/2014/main" id="{E6C7FAF3-53C9-4EC1-8DC2-753D4C23A5C4}"/>
              </a:ext>
            </a:extLst>
          </p:cNvPr>
          <p:cNvGrpSpPr>
            <a:grpSpLocks noChangeAspect="1"/>
          </p:cNvGrpSpPr>
          <p:nvPr/>
        </p:nvGrpSpPr>
        <p:grpSpPr>
          <a:xfrm>
            <a:off x="7342733" y="4525936"/>
            <a:ext cx="520700" cy="522288"/>
            <a:chOff x="11117263" y="4176713"/>
            <a:chExt cx="520700" cy="522288"/>
          </a:xfrm>
        </p:grpSpPr>
        <p:sp>
          <p:nvSpPr>
            <p:cNvPr id="85" name="Freeform 67">
              <a:extLst>
                <a:ext uri="{FF2B5EF4-FFF2-40B4-BE49-F238E27FC236}">
                  <a16:creationId xmlns:a16="http://schemas.microsoft.com/office/drawing/2014/main" id="{A1F29C75-C435-4D2E-97A4-E4530B3C3463}"/>
                </a:ext>
              </a:extLst>
            </p:cNvPr>
            <p:cNvSpPr>
              <a:spLocks noEditPoints="1"/>
            </p:cNvSpPr>
            <p:nvPr/>
          </p:nvSpPr>
          <p:spPr bwMode="auto">
            <a:xfrm>
              <a:off x="11117263" y="4176713"/>
              <a:ext cx="520700" cy="522288"/>
            </a:xfrm>
            <a:custGeom>
              <a:avLst/>
              <a:gdLst>
                <a:gd name="T0" fmla="*/ 312 w 657"/>
                <a:gd name="T1" fmla="*/ 657 h 658"/>
                <a:gd name="T2" fmla="*/ 262 w 657"/>
                <a:gd name="T3" fmla="*/ 652 h 658"/>
                <a:gd name="T4" fmla="*/ 200 w 657"/>
                <a:gd name="T5" fmla="*/ 633 h 658"/>
                <a:gd name="T6" fmla="*/ 120 w 657"/>
                <a:gd name="T7" fmla="*/ 583 h 658"/>
                <a:gd name="T8" fmla="*/ 57 w 657"/>
                <a:gd name="T9" fmla="*/ 513 h 658"/>
                <a:gd name="T10" fmla="*/ 15 w 657"/>
                <a:gd name="T11" fmla="*/ 427 h 658"/>
                <a:gd name="T12" fmla="*/ 4 w 657"/>
                <a:gd name="T13" fmla="*/ 379 h 658"/>
                <a:gd name="T14" fmla="*/ 0 w 657"/>
                <a:gd name="T15" fmla="*/ 329 h 658"/>
                <a:gd name="T16" fmla="*/ 2 w 657"/>
                <a:gd name="T17" fmla="*/ 296 h 658"/>
                <a:gd name="T18" fmla="*/ 11 w 657"/>
                <a:gd name="T19" fmla="*/ 247 h 658"/>
                <a:gd name="T20" fmla="*/ 39 w 657"/>
                <a:gd name="T21" fmla="*/ 172 h 658"/>
                <a:gd name="T22" fmla="*/ 97 w 657"/>
                <a:gd name="T23" fmla="*/ 97 h 658"/>
                <a:gd name="T24" fmla="*/ 172 w 657"/>
                <a:gd name="T25" fmla="*/ 41 h 658"/>
                <a:gd name="T26" fmla="*/ 246 w 657"/>
                <a:gd name="T27" fmla="*/ 11 h 658"/>
                <a:gd name="T28" fmla="*/ 296 w 657"/>
                <a:gd name="T29" fmla="*/ 3 h 658"/>
                <a:gd name="T30" fmla="*/ 329 w 657"/>
                <a:gd name="T31" fmla="*/ 0 h 658"/>
                <a:gd name="T32" fmla="*/ 379 w 657"/>
                <a:gd name="T33" fmla="*/ 4 h 658"/>
                <a:gd name="T34" fmla="*/ 426 w 657"/>
                <a:gd name="T35" fmla="*/ 15 h 658"/>
                <a:gd name="T36" fmla="*/ 512 w 657"/>
                <a:gd name="T37" fmla="*/ 57 h 658"/>
                <a:gd name="T38" fmla="*/ 582 w 657"/>
                <a:gd name="T39" fmla="*/ 120 h 658"/>
                <a:gd name="T40" fmla="*/ 631 w 657"/>
                <a:gd name="T41" fmla="*/ 202 h 658"/>
                <a:gd name="T42" fmla="*/ 650 w 657"/>
                <a:gd name="T43" fmla="*/ 263 h 658"/>
                <a:gd name="T44" fmla="*/ 657 w 657"/>
                <a:gd name="T45" fmla="*/ 312 h 658"/>
                <a:gd name="T46" fmla="*/ 657 w 657"/>
                <a:gd name="T47" fmla="*/ 347 h 658"/>
                <a:gd name="T48" fmla="*/ 650 w 657"/>
                <a:gd name="T49" fmla="*/ 395 h 658"/>
                <a:gd name="T50" fmla="*/ 631 w 657"/>
                <a:gd name="T51" fmla="*/ 457 h 658"/>
                <a:gd name="T52" fmla="*/ 582 w 657"/>
                <a:gd name="T53" fmla="*/ 539 h 658"/>
                <a:gd name="T54" fmla="*/ 512 w 657"/>
                <a:gd name="T55" fmla="*/ 602 h 658"/>
                <a:gd name="T56" fmla="*/ 426 w 657"/>
                <a:gd name="T57" fmla="*/ 644 h 658"/>
                <a:gd name="T58" fmla="*/ 379 w 657"/>
                <a:gd name="T59" fmla="*/ 654 h 658"/>
                <a:gd name="T60" fmla="*/ 329 w 657"/>
                <a:gd name="T61" fmla="*/ 658 h 658"/>
                <a:gd name="T62" fmla="*/ 329 w 657"/>
                <a:gd name="T63" fmla="*/ 38 h 658"/>
                <a:gd name="T64" fmla="*/ 242 w 657"/>
                <a:gd name="T65" fmla="*/ 51 h 658"/>
                <a:gd name="T66" fmla="*/ 166 w 657"/>
                <a:gd name="T67" fmla="*/ 88 h 658"/>
                <a:gd name="T68" fmla="*/ 104 w 657"/>
                <a:gd name="T69" fmla="*/ 144 h 658"/>
                <a:gd name="T70" fmla="*/ 61 w 657"/>
                <a:gd name="T71" fmla="*/ 216 h 658"/>
                <a:gd name="T72" fmla="*/ 39 w 657"/>
                <a:gd name="T73" fmla="*/ 300 h 658"/>
                <a:gd name="T74" fmla="*/ 39 w 657"/>
                <a:gd name="T75" fmla="*/ 359 h 658"/>
                <a:gd name="T76" fmla="*/ 61 w 657"/>
                <a:gd name="T77" fmla="*/ 442 h 658"/>
                <a:gd name="T78" fmla="*/ 104 w 657"/>
                <a:gd name="T79" fmla="*/ 515 h 658"/>
                <a:gd name="T80" fmla="*/ 166 w 657"/>
                <a:gd name="T81" fmla="*/ 571 h 658"/>
                <a:gd name="T82" fmla="*/ 242 w 657"/>
                <a:gd name="T83" fmla="*/ 607 h 658"/>
                <a:gd name="T84" fmla="*/ 329 w 657"/>
                <a:gd name="T85" fmla="*/ 621 h 658"/>
                <a:gd name="T86" fmla="*/ 387 w 657"/>
                <a:gd name="T87" fmla="*/ 614 h 658"/>
                <a:gd name="T88" fmla="*/ 468 w 657"/>
                <a:gd name="T89" fmla="*/ 586 h 658"/>
                <a:gd name="T90" fmla="*/ 535 w 657"/>
                <a:gd name="T91" fmla="*/ 535 h 658"/>
                <a:gd name="T92" fmla="*/ 584 w 657"/>
                <a:gd name="T93" fmla="*/ 468 h 658"/>
                <a:gd name="T94" fmla="*/ 614 w 657"/>
                <a:gd name="T95" fmla="*/ 388 h 658"/>
                <a:gd name="T96" fmla="*/ 619 w 657"/>
                <a:gd name="T97" fmla="*/ 329 h 658"/>
                <a:gd name="T98" fmla="*/ 607 w 657"/>
                <a:gd name="T99" fmla="*/ 243 h 658"/>
                <a:gd name="T100" fmla="*/ 570 w 657"/>
                <a:gd name="T101" fmla="*/ 167 h 658"/>
                <a:gd name="T102" fmla="*/ 513 w 657"/>
                <a:gd name="T103" fmla="*/ 105 h 658"/>
                <a:gd name="T104" fmla="*/ 442 w 657"/>
                <a:gd name="T105" fmla="*/ 61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7"/>
                  </a:lnTo>
                  <a:lnTo>
                    <a:pt x="296" y="657"/>
                  </a:lnTo>
                  <a:lnTo>
                    <a:pt x="278" y="654"/>
                  </a:lnTo>
                  <a:lnTo>
                    <a:pt x="262" y="652"/>
                  </a:lnTo>
                  <a:lnTo>
                    <a:pt x="246" y="648"/>
                  </a:lnTo>
                  <a:lnTo>
                    <a:pt x="231" y="644"/>
                  </a:lnTo>
                  <a:lnTo>
                    <a:pt x="200" y="633"/>
                  </a:lnTo>
                  <a:lnTo>
                    <a:pt x="172" y="618"/>
                  </a:lnTo>
                  <a:lnTo>
                    <a:pt x="145" y="602"/>
                  </a:lnTo>
                  <a:lnTo>
                    <a:pt x="120" y="583"/>
                  </a:lnTo>
                  <a:lnTo>
                    <a:pt x="97" y="562"/>
                  </a:lnTo>
                  <a:lnTo>
                    <a:pt x="76" y="539"/>
                  </a:lnTo>
                  <a:lnTo>
                    <a:pt x="57" y="513"/>
                  </a:lnTo>
                  <a:lnTo>
                    <a:pt x="39" y="486"/>
                  </a:lnTo>
                  <a:lnTo>
                    <a:pt x="26" y="457"/>
                  </a:lnTo>
                  <a:lnTo>
                    <a:pt x="15" y="427"/>
                  </a:lnTo>
                  <a:lnTo>
                    <a:pt x="11" y="411"/>
                  </a:lnTo>
                  <a:lnTo>
                    <a:pt x="7" y="395"/>
                  </a:lnTo>
                  <a:lnTo>
                    <a:pt x="4" y="379"/>
                  </a:lnTo>
                  <a:lnTo>
                    <a:pt x="2" y="363"/>
                  </a:lnTo>
                  <a:lnTo>
                    <a:pt x="0" y="347"/>
                  </a:lnTo>
                  <a:lnTo>
                    <a:pt x="0" y="329"/>
                  </a:lnTo>
                  <a:lnTo>
                    <a:pt x="0" y="329"/>
                  </a:lnTo>
                  <a:lnTo>
                    <a:pt x="0" y="312"/>
                  </a:lnTo>
                  <a:lnTo>
                    <a:pt x="2" y="296"/>
                  </a:lnTo>
                  <a:lnTo>
                    <a:pt x="4" y="280"/>
                  </a:lnTo>
                  <a:lnTo>
                    <a:pt x="7" y="263"/>
                  </a:lnTo>
                  <a:lnTo>
                    <a:pt x="11" y="247"/>
                  </a:lnTo>
                  <a:lnTo>
                    <a:pt x="15" y="231"/>
                  </a:lnTo>
                  <a:lnTo>
                    <a:pt x="26" y="202"/>
                  </a:lnTo>
                  <a:lnTo>
                    <a:pt x="39" y="172"/>
                  </a:lnTo>
                  <a:lnTo>
                    <a:pt x="57" y="145"/>
                  </a:lnTo>
                  <a:lnTo>
                    <a:pt x="76" y="120"/>
                  </a:lnTo>
                  <a:lnTo>
                    <a:pt x="97" y="97"/>
                  </a:lnTo>
                  <a:lnTo>
                    <a:pt x="120" y="75"/>
                  </a:lnTo>
                  <a:lnTo>
                    <a:pt x="145" y="57"/>
                  </a:lnTo>
                  <a:lnTo>
                    <a:pt x="172" y="41"/>
                  </a:lnTo>
                  <a:lnTo>
                    <a:pt x="200" y="27"/>
                  </a:lnTo>
                  <a:lnTo>
                    <a:pt x="231" y="15"/>
                  </a:lnTo>
                  <a:lnTo>
                    <a:pt x="246" y="11"/>
                  </a:lnTo>
                  <a:lnTo>
                    <a:pt x="262" y="7"/>
                  </a:lnTo>
                  <a:lnTo>
                    <a:pt x="278" y="4"/>
                  </a:lnTo>
                  <a:lnTo>
                    <a:pt x="296" y="3"/>
                  </a:lnTo>
                  <a:lnTo>
                    <a:pt x="312" y="2"/>
                  </a:lnTo>
                  <a:lnTo>
                    <a:pt x="329" y="0"/>
                  </a:lnTo>
                  <a:lnTo>
                    <a:pt x="329" y="0"/>
                  </a:lnTo>
                  <a:lnTo>
                    <a:pt x="345" y="2"/>
                  </a:lnTo>
                  <a:lnTo>
                    <a:pt x="363" y="3"/>
                  </a:lnTo>
                  <a:lnTo>
                    <a:pt x="379" y="4"/>
                  </a:lnTo>
                  <a:lnTo>
                    <a:pt x="395" y="7"/>
                  </a:lnTo>
                  <a:lnTo>
                    <a:pt x="411" y="11"/>
                  </a:lnTo>
                  <a:lnTo>
                    <a:pt x="426" y="15"/>
                  </a:lnTo>
                  <a:lnTo>
                    <a:pt x="457" y="27"/>
                  </a:lnTo>
                  <a:lnTo>
                    <a:pt x="485" y="41"/>
                  </a:lnTo>
                  <a:lnTo>
                    <a:pt x="512" y="57"/>
                  </a:lnTo>
                  <a:lnTo>
                    <a:pt x="538" y="75"/>
                  </a:lnTo>
                  <a:lnTo>
                    <a:pt x="562" y="97"/>
                  </a:lnTo>
                  <a:lnTo>
                    <a:pt x="582" y="120"/>
                  </a:lnTo>
                  <a:lnTo>
                    <a:pt x="601" y="145"/>
                  </a:lnTo>
                  <a:lnTo>
                    <a:pt x="618" y="172"/>
                  </a:lnTo>
                  <a:lnTo>
                    <a:pt x="631" y="202"/>
                  </a:lnTo>
                  <a:lnTo>
                    <a:pt x="642" y="231"/>
                  </a:lnTo>
                  <a:lnTo>
                    <a:pt x="648" y="247"/>
                  </a:lnTo>
                  <a:lnTo>
                    <a:pt x="650" y="263"/>
                  </a:lnTo>
                  <a:lnTo>
                    <a:pt x="654" y="280"/>
                  </a:lnTo>
                  <a:lnTo>
                    <a:pt x="656" y="296"/>
                  </a:lnTo>
                  <a:lnTo>
                    <a:pt x="657" y="312"/>
                  </a:lnTo>
                  <a:lnTo>
                    <a:pt x="657" y="329"/>
                  </a:lnTo>
                  <a:lnTo>
                    <a:pt x="657" y="329"/>
                  </a:lnTo>
                  <a:lnTo>
                    <a:pt x="657" y="347"/>
                  </a:lnTo>
                  <a:lnTo>
                    <a:pt x="656" y="363"/>
                  </a:lnTo>
                  <a:lnTo>
                    <a:pt x="654" y="379"/>
                  </a:lnTo>
                  <a:lnTo>
                    <a:pt x="650" y="395"/>
                  </a:lnTo>
                  <a:lnTo>
                    <a:pt x="648" y="411"/>
                  </a:lnTo>
                  <a:lnTo>
                    <a:pt x="642" y="427"/>
                  </a:lnTo>
                  <a:lnTo>
                    <a:pt x="631" y="457"/>
                  </a:lnTo>
                  <a:lnTo>
                    <a:pt x="618" y="486"/>
                  </a:lnTo>
                  <a:lnTo>
                    <a:pt x="601" y="513"/>
                  </a:lnTo>
                  <a:lnTo>
                    <a:pt x="582" y="539"/>
                  </a:lnTo>
                  <a:lnTo>
                    <a:pt x="562" y="562"/>
                  </a:lnTo>
                  <a:lnTo>
                    <a:pt x="538" y="583"/>
                  </a:lnTo>
                  <a:lnTo>
                    <a:pt x="512" y="602"/>
                  </a:lnTo>
                  <a:lnTo>
                    <a:pt x="485" y="618"/>
                  </a:lnTo>
                  <a:lnTo>
                    <a:pt x="457" y="633"/>
                  </a:lnTo>
                  <a:lnTo>
                    <a:pt x="426" y="644"/>
                  </a:lnTo>
                  <a:lnTo>
                    <a:pt x="411" y="648"/>
                  </a:lnTo>
                  <a:lnTo>
                    <a:pt x="395" y="652"/>
                  </a:lnTo>
                  <a:lnTo>
                    <a:pt x="379" y="654"/>
                  </a:lnTo>
                  <a:lnTo>
                    <a:pt x="363" y="657"/>
                  </a:lnTo>
                  <a:lnTo>
                    <a:pt x="345" y="657"/>
                  </a:lnTo>
                  <a:lnTo>
                    <a:pt x="329" y="658"/>
                  </a:lnTo>
                  <a:lnTo>
                    <a:pt x="329" y="658"/>
                  </a:lnTo>
                  <a:close/>
                  <a:moveTo>
                    <a:pt x="329" y="38"/>
                  </a:moveTo>
                  <a:lnTo>
                    <a:pt x="329" y="38"/>
                  </a:lnTo>
                  <a:lnTo>
                    <a:pt x="299" y="39"/>
                  </a:lnTo>
                  <a:lnTo>
                    <a:pt x="270" y="45"/>
                  </a:lnTo>
                  <a:lnTo>
                    <a:pt x="242" y="51"/>
                  </a:lnTo>
                  <a:lnTo>
                    <a:pt x="215" y="61"/>
                  </a:lnTo>
                  <a:lnTo>
                    <a:pt x="190" y="73"/>
                  </a:lnTo>
                  <a:lnTo>
                    <a:pt x="166" y="88"/>
                  </a:lnTo>
                  <a:lnTo>
                    <a:pt x="144" y="105"/>
                  </a:lnTo>
                  <a:lnTo>
                    <a:pt x="123" y="124"/>
                  </a:lnTo>
                  <a:lnTo>
                    <a:pt x="104" y="144"/>
                  </a:lnTo>
                  <a:lnTo>
                    <a:pt x="88" y="167"/>
                  </a:lnTo>
                  <a:lnTo>
                    <a:pt x="73" y="191"/>
                  </a:lnTo>
                  <a:lnTo>
                    <a:pt x="61" y="216"/>
                  </a:lnTo>
                  <a:lnTo>
                    <a:pt x="51" y="243"/>
                  </a:lnTo>
                  <a:lnTo>
                    <a:pt x="43" y="270"/>
                  </a:lnTo>
                  <a:lnTo>
                    <a:pt x="39" y="300"/>
                  </a:lnTo>
                  <a:lnTo>
                    <a:pt x="38" y="329"/>
                  </a:lnTo>
                  <a:lnTo>
                    <a:pt x="38" y="329"/>
                  </a:lnTo>
                  <a:lnTo>
                    <a:pt x="39" y="359"/>
                  </a:lnTo>
                  <a:lnTo>
                    <a:pt x="43" y="388"/>
                  </a:lnTo>
                  <a:lnTo>
                    <a:pt x="51" y="415"/>
                  </a:lnTo>
                  <a:lnTo>
                    <a:pt x="61" y="442"/>
                  </a:lnTo>
                  <a:lnTo>
                    <a:pt x="73" y="468"/>
                  </a:lnTo>
                  <a:lnTo>
                    <a:pt x="88" y="492"/>
                  </a:lnTo>
                  <a:lnTo>
                    <a:pt x="104" y="515"/>
                  </a:lnTo>
                  <a:lnTo>
                    <a:pt x="123" y="535"/>
                  </a:lnTo>
                  <a:lnTo>
                    <a:pt x="144" y="554"/>
                  </a:lnTo>
                  <a:lnTo>
                    <a:pt x="166" y="571"/>
                  </a:lnTo>
                  <a:lnTo>
                    <a:pt x="190" y="586"/>
                  </a:lnTo>
                  <a:lnTo>
                    <a:pt x="215" y="598"/>
                  </a:lnTo>
                  <a:lnTo>
                    <a:pt x="242" y="607"/>
                  </a:lnTo>
                  <a:lnTo>
                    <a:pt x="270" y="614"/>
                  </a:lnTo>
                  <a:lnTo>
                    <a:pt x="299" y="619"/>
                  </a:lnTo>
                  <a:lnTo>
                    <a:pt x="329" y="621"/>
                  </a:lnTo>
                  <a:lnTo>
                    <a:pt x="329" y="621"/>
                  </a:lnTo>
                  <a:lnTo>
                    <a:pt x="359" y="619"/>
                  </a:lnTo>
                  <a:lnTo>
                    <a:pt x="387" y="614"/>
                  </a:lnTo>
                  <a:lnTo>
                    <a:pt x="415" y="607"/>
                  </a:lnTo>
                  <a:lnTo>
                    <a:pt x="442" y="598"/>
                  </a:lnTo>
                  <a:lnTo>
                    <a:pt x="468" y="586"/>
                  </a:lnTo>
                  <a:lnTo>
                    <a:pt x="492" y="571"/>
                  </a:lnTo>
                  <a:lnTo>
                    <a:pt x="513" y="554"/>
                  </a:lnTo>
                  <a:lnTo>
                    <a:pt x="535" y="535"/>
                  </a:lnTo>
                  <a:lnTo>
                    <a:pt x="554" y="515"/>
                  </a:lnTo>
                  <a:lnTo>
                    <a:pt x="570" y="492"/>
                  </a:lnTo>
                  <a:lnTo>
                    <a:pt x="584" y="468"/>
                  </a:lnTo>
                  <a:lnTo>
                    <a:pt x="597" y="442"/>
                  </a:lnTo>
                  <a:lnTo>
                    <a:pt x="607" y="415"/>
                  </a:lnTo>
                  <a:lnTo>
                    <a:pt x="614" y="388"/>
                  </a:lnTo>
                  <a:lnTo>
                    <a:pt x="618" y="359"/>
                  </a:lnTo>
                  <a:lnTo>
                    <a:pt x="619" y="329"/>
                  </a:lnTo>
                  <a:lnTo>
                    <a:pt x="619" y="329"/>
                  </a:lnTo>
                  <a:lnTo>
                    <a:pt x="618" y="300"/>
                  </a:lnTo>
                  <a:lnTo>
                    <a:pt x="614" y="270"/>
                  </a:lnTo>
                  <a:lnTo>
                    <a:pt x="607" y="243"/>
                  </a:lnTo>
                  <a:lnTo>
                    <a:pt x="597" y="216"/>
                  </a:lnTo>
                  <a:lnTo>
                    <a:pt x="584" y="191"/>
                  </a:lnTo>
                  <a:lnTo>
                    <a:pt x="570" y="167"/>
                  </a:lnTo>
                  <a:lnTo>
                    <a:pt x="554" y="144"/>
                  </a:lnTo>
                  <a:lnTo>
                    <a:pt x="535" y="124"/>
                  </a:lnTo>
                  <a:lnTo>
                    <a:pt x="513" y="105"/>
                  </a:lnTo>
                  <a:lnTo>
                    <a:pt x="492" y="88"/>
                  </a:lnTo>
                  <a:lnTo>
                    <a:pt x="468" y="73"/>
                  </a:lnTo>
                  <a:lnTo>
                    <a:pt x="442" y="61"/>
                  </a:lnTo>
                  <a:lnTo>
                    <a:pt x="415" y="51"/>
                  </a:lnTo>
                  <a:lnTo>
                    <a:pt x="387" y="45"/>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6" name="Freeform 254">
              <a:extLst>
                <a:ext uri="{FF2B5EF4-FFF2-40B4-BE49-F238E27FC236}">
                  <a16:creationId xmlns:a16="http://schemas.microsoft.com/office/drawing/2014/main" id="{43961D79-BDD1-40FD-BBFD-94DCD44AA3F1}"/>
                </a:ext>
              </a:extLst>
            </p:cNvPr>
            <p:cNvSpPr>
              <a:spLocks/>
            </p:cNvSpPr>
            <p:nvPr/>
          </p:nvSpPr>
          <p:spPr bwMode="auto">
            <a:xfrm>
              <a:off x="11303001" y="4319588"/>
              <a:ext cx="174625" cy="204788"/>
            </a:xfrm>
            <a:custGeom>
              <a:avLst/>
              <a:gdLst>
                <a:gd name="T0" fmla="*/ 217 w 221"/>
                <a:gd name="T1" fmla="*/ 0 h 258"/>
                <a:gd name="T2" fmla="*/ 4 w 221"/>
                <a:gd name="T3" fmla="*/ 0 h 258"/>
                <a:gd name="T4" fmla="*/ 4 w 221"/>
                <a:gd name="T5" fmla="*/ 0 h 258"/>
                <a:gd name="T6" fmla="*/ 2 w 221"/>
                <a:gd name="T7" fmla="*/ 2 h 258"/>
                <a:gd name="T8" fmla="*/ 0 w 221"/>
                <a:gd name="T9" fmla="*/ 6 h 258"/>
                <a:gd name="T10" fmla="*/ 0 w 221"/>
                <a:gd name="T11" fmla="*/ 24 h 258"/>
                <a:gd name="T12" fmla="*/ 0 w 221"/>
                <a:gd name="T13" fmla="*/ 24 h 258"/>
                <a:gd name="T14" fmla="*/ 2 w 221"/>
                <a:gd name="T15" fmla="*/ 27 h 258"/>
                <a:gd name="T16" fmla="*/ 4 w 221"/>
                <a:gd name="T17" fmla="*/ 28 h 258"/>
                <a:gd name="T18" fmla="*/ 194 w 221"/>
                <a:gd name="T19" fmla="*/ 28 h 258"/>
                <a:gd name="T20" fmla="*/ 194 w 221"/>
                <a:gd name="T21" fmla="*/ 254 h 258"/>
                <a:gd name="T22" fmla="*/ 194 w 221"/>
                <a:gd name="T23" fmla="*/ 254 h 258"/>
                <a:gd name="T24" fmla="*/ 194 w 221"/>
                <a:gd name="T25" fmla="*/ 257 h 258"/>
                <a:gd name="T26" fmla="*/ 198 w 221"/>
                <a:gd name="T27" fmla="*/ 258 h 258"/>
                <a:gd name="T28" fmla="*/ 217 w 221"/>
                <a:gd name="T29" fmla="*/ 258 h 258"/>
                <a:gd name="T30" fmla="*/ 217 w 221"/>
                <a:gd name="T31" fmla="*/ 258 h 258"/>
                <a:gd name="T32" fmla="*/ 219 w 221"/>
                <a:gd name="T33" fmla="*/ 257 h 258"/>
                <a:gd name="T34" fmla="*/ 221 w 221"/>
                <a:gd name="T35" fmla="*/ 254 h 258"/>
                <a:gd name="T36" fmla="*/ 221 w 221"/>
                <a:gd name="T37" fmla="*/ 6 h 258"/>
                <a:gd name="T38" fmla="*/ 221 w 221"/>
                <a:gd name="T39" fmla="*/ 6 h 258"/>
                <a:gd name="T40" fmla="*/ 219 w 221"/>
                <a:gd name="T41" fmla="*/ 2 h 258"/>
                <a:gd name="T42" fmla="*/ 217 w 221"/>
                <a:gd name="T43" fmla="*/ 0 h 258"/>
                <a:gd name="T44" fmla="*/ 217 w 221"/>
                <a:gd name="T45"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1" h="258">
                  <a:moveTo>
                    <a:pt x="217" y="0"/>
                  </a:moveTo>
                  <a:lnTo>
                    <a:pt x="4" y="0"/>
                  </a:lnTo>
                  <a:lnTo>
                    <a:pt x="4" y="0"/>
                  </a:lnTo>
                  <a:lnTo>
                    <a:pt x="2" y="2"/>
                  </a:lnTo>
                  <a:lnTo>
                    <a:pt x="0" y="6"/>
                  </a:lnTo>
                  <a:lnTo>
                    <a:pt x="0" y="24"/>
                  </a:lnTo>
                  <a:lnTo>
                    <a:pt x="0" y="24"/>
                  </a:lnTo>
                  <a:lnTo>
                    <a:pt x="2" y="27"/>
                  </a:lnTo>
                  <a:lnTo>
                    <a:pt x="4" y="28"/>
                  </a:lnTo>
                  <a:lnTo>
                    <a:pt x="194" y="28"/>
                  </a:lnTo>
                  <a:lnTo>
                    <a:pt x="194" y="254"/>
                  </a:lnTo>
                  <a:lnTo>
                    <a:pt x="194" y="254"/>
                  </a:lnTo>
                  <a:lnTo>
                    <a:pt x="194" y="257"/>
                  </a:lnTo>
                  <a:lnTo>
                    <a:pt x="198" y="258"/>
                  </a:lnTo>
                  <a:lnTo>
                    <a:pt x="217" y="258"/>
                  </a:lnTo>
                  <a:lnTo>
                    <a:pt x="217" y="258"/>
                  </a:lnTo>
                  <a:lnTo>
                    <a:pt x="219" y="257"/>
                  </a:lnTo>
                  <a:lnTo>
                    <a:pt x="221" y="254"/>
                  </a:lnTo>
                  <a:lnTo>
                    <a:pt x="221" y="6"/>
                  </a:lnTo>
                  <a:lnTo>
                    <a:pt x="221" y="6"/>
                  </a:lnTo>
                  <a:lnTo>
                    <a:pt x="219" y="2"/>
                  </a:lnTo>
                  <a:lnTo>
                    <a:pt x="217" y="0"/>
                  </a:lnTo>
                  <a:lnTo>
                    <a:pt x="2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7" name="Freeform 255">
              <a:extLst>
                <a:ext uri="{FF2B5EF4-FFF2-40B4-BE49-F238E27FC236}">
                  <a16:creationId xmlns:a16="http://schemas.microsoft.com/office/drawing/2014/main" id="{4B098B1C-A8B4-44EC-B3FC-FEB2668AD113}"/>
                </a:ext>
              </a:extLst>
            </p:cNvPr>
            <p:cNvSpPr>
              <a:spLocks noEditPoints="1"/>
            </p:cNvSpPr>
            <p:nvPr/>
          </p:nvSpPr>
          <p:spPr bwMode="auto">
            <a:xfrm>
              <a:off x="11272838" y="4357688"/>
              <a:ext cx="168275" cy="198438"/>
            </a:xfrm>
            <a:custGeom>
              <a:avLst/>
              <a:gdLst>
                <a:gd name="T0" fmla="*/ 6 w 213"/>
                <a:gd name="T1" fmla="*/ 0 h 248"/>
                <a:gd name="T2" fmla="*/ 2 w 213"/>
                <a:gd name="T3" fmla="*/ 1 h 248"/>
                <a:gd name="T4" fmla="*/ 0 w 213"/>
                <a:gd name="T5" fmla="*/ 243 h 248"/>
                <a:gd name="T6" fmla="*/ 2 w 213"/>
                <a:gd name="T7" fmla="*/ 247 h 248"/>
                <a:gd name="T8" fmla="*/ 207 w 213"/>
                <a:gd name="T9" fmla="*/ 248 h 248"/>
                <a:gd name="T10" fmla="*/ 211 w 213"/>
                <a:gd name="T11" fmla="*/ 247 h 248"/>
                <a:gd name="T12" fmla="*/ 213 w 213"/>
                <a:gd name="T13" fmla="*/ 4 h 248"/>
                <a:gd name="T14" fmla="*/ 211 w 213"/>
                <a:gd name="T15" fmla="*/ 1 h 248"/>
                <a:gd name="T16" fmla="*/ 207 w 213"/>
                <a:gd name="T17" fmla="*/ 0 h 248"/>
                <a:gd name="T18" fmla="*/ 47 w 213"/>
                <a:gd name="T19" fmla="*/ 177 h 248"/>
                <a:gd name="T20" fmla="*/ 43 w 213"/>
                <a:gd name="T21" fmla="*/ 177 h 248"/>
                <a:gd name="T22" fmla="*/ 39 w 213"/>
                <a:gd name="T23" fmla="*/ 173 h 248"/>
                <a:gd name="T24" fmla="*/ 39 w 213"/>
                <a:gd name="T25" fmla="*/ 169 h 248"/>
                <a:gd name="T26" fmla="*/ 41 w 213"/>
                <a:gd name="T27" fmla="*/ 163 h 248"/>
                <a:gd name="T28" fmla="*/ 47 w 213"/>
                <a:gd name="T29" fmla="*/ 161 h 248"/>
                <a:gd name="T30" fmla="*/ 88 w 213"/>
                <a:gd name="T31" fmla="*/ 161 h 248"/>
                <a:gd name="T32" fmla="*/ 94 w 213"/>
                <a:gd name="T33" fmla="*/ 163 h 248"/>
                <a:gd name="T34" fmla="*/ 96 w 213"/>
                <a:gd name="T35" fmla="*/ 169 h 248"/>
                <a:gd name="T36" fmla="*/ 96 w 213"/>
                <a:gd name="T37" fmla="*/ 173 h 248"/>
                <a:gd name="T38" fmla="*/ 92 w 213"/>
                <a:gd name="T39" fmla="*/ 177 h 248"/>
                <a:gd name="T40" fmla="*/ 88 w 213"/>
                <a:gd name="T41" fmla="*/ 177 h 248"/>
                <a:gd name="T42" fmla="*/ 47 w 213"/>
                <a:gd name="T43" fmla="*/ 131 h 248"/>
                <a:gd name="T44" fmla="*/ 43 w 213"/>
                <a:gd name="T45" fmla="*/ 131 h 248"/>
                <a:gd name="T46" fmla="*/ 39 w 213"/>
                <a:gd name="T47" fmla="*/ 127 h 248"/>
                <a:gd name="T48" fmla="*/ 39 w 213"/>
                <a:gd name="T49" fmla="*/ 123 h 248"/>
                <a:gd name="T50" fmla="*/ 41 w 213"/>
                <a:gd name="T51" fmla="*/ 118 h 248"/>
                <a:gd name="T52" fmla="*/ 47 w 213"/>
                <a:gd name="T53" fmla="*/ 115 h 248"/>
                <a:gd name="T54" fmla="*/ 162 w 213"/>
                <a:gd name="T55" fmla="*/ 115 h 248"/>
                <a:gd name="T56" fmla="*/ 167 w 213"/>
                <a:gd name="T57" fmla="*/ 118 h 248"/>
                <a:gd name="T58" fmla="*/ 170 w 213"/>
                <a:gd name="T59" fmla="*/ 123 h 248"/>
                <a:gd name="T60" fmla="*/ 170 w 213"/>
                <a:gd name="T61" fmla="*/ 127 h 248"/>
                <a:gd name="T62" fmla="*/ 164 w 213"/>
                <a:gd name="T63" fmla="*/ 131 h 248"/>
                <a:gd name="T64" fmla="*/ 162 w 213"/>
                <a:gd name="T65" fmla="*/ 131 h 248"/>
                <a:gd name="T66" fmla="*/ 47 w 213"/>
                <a:gd name="T67" fmla="*/ 86 h 248"/>
                <a:gd name="T68" fmla="*/ 43 w 213"/>
                <a:gd name="T69" fmla="*/ 86 h 248"/>
                <a:gd name="T70" fmla="*/ 39 w 213"/>
                <a:gd name="T71" fmla="*/ 80 h 248"/>
                <a:gd name="T72" fmla="*/ 39 w 213"/>
                <a:gd name="T73" fmla="*/ 77 h 248"/>
                <a:gd name="T74" fmla="*/ 41 w 213"/>
                <a:gd name="T75" fmla="*/ 72 h 248"/>
                <a:gd name="T76" fmla="*/ 47 w 213"/>
                <a:gd name="T77" fmla="*/ 69 h 248"/>
                <a:gd name="T78" fmla="*/ 162 w 213"/>
                <a:gd name="T79" fmla="*/ 69 h 248"/>
                <a:gd name="T80" fmla="*/ 167 w 213"/>
                <a:gd name="T81" fmla="*/ 72 h 248"/>
                <a:gd name="T82" fmla="*/ 170 w 213"/>
                <a:gd name="T83" fmla="*/ 77 h 248"/>
                <a:gd name="T84" fmla="*/ 170 w 213"/>
                <a:gd name="T85" fmla="*/ 80 h 248"/>
                <a:gd name="T86" fmla="*/ 164 w 213"/>
                <a:gd name="T87" fmla="*/ 86 h 248"/>
                <a:gd name="T88" fmla="*/ 162 w 213"/>
                <a:gd name="T89" fmla="*/ 86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3" h="248">
                  <a:moveTo>
                    <a:pt x="207" y="0"/>
                  </a:moveTo>
                  <a:lnTo>
                    <a:pt x="6" y="0"/>
                  </a:lnTo>
                  <a:lnTo>
                    <a:pt x="6" y="0"/>
                  </a:lnTo>
                  <a:lnTo>
                    <a:pt x="2" y="1"/>
                  </a:lnTo>
                  <a:lnTo>
                    <a:pt x="0" y="4"/>
                  </a:lnTo>
                  <a:lnTo>
                    <a:pt x="0" y="243"/>
                  </a:lnTo>
                  <a:lnTo>
                    <a:pt x="0" y="243"/>
                  </a:lnTo>
                  <a:lnTo>
                    <a:pt x="2" y="247"/>
                  </a:lnTo>
                  <a:lnTo>
                    <a:pt x="6" y="248"/>
                  </a:lnTo>
                  <a:lnTo>
                    <a:pt x="207" y="248"/>
                  </a:lnTo>
                  <a:lnTo>
                    <a:pt x="207" y="248"/>
                  </a:lnTo>
                  <a:lnTo>
                    <a:pt x="211" y="247"/>
                  </a:lnTo>
                  <a:lnTo>
                    <a:pt x="213" y="243"/>
                  </a:lnTo>
                  <a:lnTo>
                    <a:pt x="213" y="4"/>
                  </a:lnTo>
                  <a:lnTo>
                    <a:pt x="213" y="4"/>
                  </a:lnTo>
                  <a:lnTo>
                    <a:pt x="211" y="1"/>
                  </a:lnTo>
                  <a:lnTo>
                    <a:pt x="207" y="0"/>
                  </a:lnTo>
                  <a:lnTo>
                    <a:pt x="207" y="0"/>
                  </a:lnTo>
                  <a:close/>
                  <a:moveTo>
                    <a:pt x="88" y="177"/>
                  </a:moveTo>
                  <a:lnTo>
                    <a:pt x="47" y="177"/>
                  </a:lnTo>
                  <a:lnTo>
                    <a:pt x="47" y="177"/>
                  </a:lnTo>
                  <a:lnTo>
                    <a:pt x="43" y="177"/>
                  </a:lnTo>
                  <a:lnTo>
                    <a:pt x="41" y="176"/>
                  </a:lnTo>
                  <a:lnTo>
                    <a:pt x="39" y="173"/>
                  </a:lnTo>
                  <a:lnTo>
                    <a:pt x="39" y="169"/>
                  </a:lnTo>
                  <a:lnTo>
                    <a:pt x="39" y="169"/>
                  </a:lnTo>
                  <a:lnTo>
                    <a:pt x="39" y="166"/>
                  </a:lnTo>
                  <a:lnTo>
                    <a:pt x="41" y="163"/>
                  </a:lnTo>
                  <a:lnTo>
                    <a:pt x="43" y="162"/>
                  </a:lnTo>
                  <a:lnTo>
                    <a:pt x="47" y="161"/>
                  </a:lnTo>
                  <a:lnTo>
                    <a:pt x="88" y="161"/>
                  </a:lnTo>
                  <a:lnTo>
                    <a:pt x="88" y="161"/>
                  </a:lnTo>
                  <a:lnTo>
                    <a:pt x="92" y="162"/>
                  </a:lnTo>
                  <a:lnTo>
                    <a:pt x="94" y="163"/>
                  </a:lnTo>
                  <a:lnTo>
                    <a:pt x="96" y="166"/>
                  </a:lnTo>
                  <a:lnTo>
                    <a:pt x="96" y="169"/>
                  </a:lnTo>
                  <a:lnTo>
                    <a:pt x="96" y="169"/>
                  </a:lnTo>
                  <a:lnTo>
                    <a:pt x="96" y="173"/>
                  </a:lnTo>
                  <a:lnTo>
                    <a:pt x="94" y="176"/>
                  </a:lnTo>
                  <a:lnTo>
                    <a:pt x="92" y="177"/>
                  </a:lnTo>
                  <a:lnTo>
                    <a:pt x="88" y="177"/>
                  </a:lnTo>
                  <a:lnTo>
                    <a:pt x="88" y="177"/>
                  </a:lnTo>
                  <a:close/>
                  <a:moveTo>
                    <a:pt x="162" y="131"/>
                  </a:moveTo>
                  <a:lnTo>
                    <a:pt x="47" y="131"/>
                  </a:lnTo>
                  <a:lnTo>
                    <a:pt x="47" y="131"/>
                  </a:lnTo>
                  <a:lnTo>
                    <a:pt x="43" y="131"/>
                  </a:lnTo>
                  <a:lnTo>
                    <a:pt x="41" y="129"/>
                  </a:lnTo>
                  <a:lnTo>
                    <a:pt x="39" y="127"/>
                  </a:lnTo>
                  <a:lnTo>
                    <a:pt x="39" y="123"/>
                  </a:lnTo>
                  <a:lnTo>
                    <a:pt x="39" y="123"/>
                  </a:lnTo>
                  <a:lnTo>
                    <a:pt x="39" y="120"/>
                  </a:lnTo>
                  <a:lnTo>
                    <a:pt x="41" y="118"/>
                  </a:lnTo>
                  <a:lnTo>
                    <a:pt x="43" y="116"/>
                  </a:lnTo>
                  <a:lnTo>
                    <a:pt x="47" y="115"/>
                  </a:lnTo>
                  <a:lnTo>
                    <a:pt x="162" y="115"/>
                  </a:lnTo>
                  <a:lnTo>
                    <a:pt x="162" y="115"/>
                  </a:lnTo>
                  <a:lnTo>
                    <a:pt x="164" y="116"/>
                  </a:lnTo>
                  <a:lnTo>
                    <a:pt x="167" y="118"/>
                  </a:lnTo>
                  <a:lnTo>
                    <a:pt x="170" y="120"/>
                  </a:lnTo>
                  <a:lnTo>
                    <a:pt x="170" y="123"/>
                  </a:lnTo>
                  <a:lnTo>
                    <a:pt x="170" y="123"/>
                  </a:lnTo>
                  <a:lnTo>
                    <a:pt x="170" y="127"/>
                  </a:lnTo>
                  <a:lnTo>
                    <a:pt x="167" y="129"/>
                  </a:lnTo>
                  <a:lnTo>
                    <a:pt x="164" y="131"/>
                  </a:lnTo>
                  <a:lnTo>
                    <a:pt x="162" y="131"/>
                  </a:lnTo>
                  <a:lnTo>
                    <a:pt x="162" y="131"/>
                  </a:lnTo>
                  <a:close/>
                  <a:moveTo>
                    <a:pt x="162" y="86"/>
                  </a:moveTo>
                  <a:lnTo>
                    <a:pt x="47" y="86"/>
                  </a:lnTo>
                  <a:lnTo>
                    <a:pt x="47" y="86"/>
                  </a:lnTo>
                  <a:lnTo>
                    <a:pt x="43" y="86"/>
                  </a:lnTo>
                  <a:lnTo>
                    <a:pt x="41" y="83"/>
                  </a:lnTo>
                  <a:lnTo>
                    <a:pt x="39" y="80"/>
                  </a:lnTo>
                  <a:lnTo>
                    <a:pt x="39" y="77"/>
                  </a:lnTo>
                  <a:lnTo>
                    <a:pt x="39" y="77"/>
                  </a:lnTo>
                  <a:lnTo>
                    <a:pt x="39" y="75"/>
                  </a:lnTo>
                  <a:lnTo>
                    <a:pt x="41" y="72"/>
                  </a:lnTo>
                  <a:lnTo>
                    <a:pt x="43" y="69"/>
                  </a:lnTo>
                  <a:lnTo>
                    <a:pt x="47" y="69"/>
                  </a:lnTo>
                  <a:lnTo>
                    <a:pt x="162" y="69"/>
                  </a:lnTo>
                  <a:lnTo>
                    <a:pt x="162" y="69"/>
                  </a:lnTo>
                  <a:lnTo>
                    <a:pt x="164" y="69"/>
                  </a:lnTo>
                  <a:lnTo>
                    <a:pt x="167" y="72"/>
                  </a:lnTo>
                  <a:lnTo>
                    <a:pt x="170" y="75"/>
                  </a:lnTo>
                  <a:lnTo>
                    <a:pt x="170" y="77"/>
                  </a:lnTo>
                  <a:lnTo>
                    <a:pt x="170" y="77"/>
                  </a:lnTo>
                  <a:lnTo>
                    <a:pt x="170" y="80"/>
                  </a:lnTo>
                  <a:lnTo>
                    <a:pt x="167" y="83"/>
                  </a:lnTo>
                  <a:lnTo>
                    <a:pt x="164" y="86"/>
                  </a:lnTo>
                  <a:lnTo>
                    <a:pt x="162" y="86"/>
                  </a:lnTo>
                  <a:lnTo>
                    <a:pt x="162" y="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88" name="Group 87">
            <a:extLst>
              <a:ext uri="{FF2B5EF4-FFF2-40B4-BE49-F238E27FC236}">
                <a16:creationId xmlns:a16="http://schemas.microsoft.com/office/drawing/2014/main" id="{6F36BFA0-5804-415A-B4DE-54EABA19D291}"/>
              </a:ext>
            </a:extLst>
          </p:cNvPr>
          <p:cNvGrpSpPr>
            <a:grpSpLocks noChangeAspect="1"/>
          </p:cNvGrpSpPr>
          <p:nvPr/>
        </p:nvGrpSpPr>
        <p:grpSpPr>
          <a:xfrm>
            <a:off x="9823045" y="3741783"/>
            <a:ext cx="522288" cy="522288"/>
            <a:chOff x="4071938" y="1660525"/>
            <a:chExt cx="522288" cy="522288"/>
          </a:xfrm>
        </p:grpSpPr>
        <p:sp>
          <p:nvSpPr>
            <p:cNvPr id="89" name="Freeform 20">
              <a:extLst>
                <a:ext uri="{FF2B5EF4-FFF2-40B4-BE49-F238E27FC236}">
                  <a16:creationId xmlns:a16="http://schemas.microsoft.com/office/drawing/2014/main" id="{328F03C4-A289-49C8-9FAB-7089EEDDC013}"/>
                </a:ext>
              </a:extLst>
            </p:cNvPr>
            <p:cNvSpPr>
              <a:spLocks noEditPoints="1"/>
            </p:cNvSpPr>
            <p:nvPr/>
          </p:nvSpPr>
          <p:spPr bwMode="auto">
            <a:xfrm>
              <a:off x="4071938" y="1660525"/>
              <a:ext cx="522288" cy="522288"/>
            </a:xfrm>
            <a:custGeom>
              <a:avLst/>
              <a:gdLst>
                <a:gd name="T0" fmla="*/ 313 w 658"/>
                <a:gd name="T1" fmla="*/ 657 h 658"/>
                <a:gd name="T2" fmla="*/ 263 w 658"/>
                <a:gd name="T3" fmla="*/ 651 h 658"/>
                <a:gd name="T4" fmla="*/ 201 w 658"/>
                <a:gd name="T5" fmla="*/ 631 h 658"/>
                <a:gd name="T6" fmla="*/ 120 w 658"/>
                <a:gd name="T7" fmla="*/ 583 h 658"/>
                <a:gd name="T8" fmla="*/ 56 w 658"/>
                <a:gd name="T9" fmla="*/ 513 h 658"/>
                <a:gd name="T10" fmla="*/ 14 w 658"/>
                <a:gd name="T11" fmla="*/ 426 h 658"/>
                <a:gd name="T12" fmla="*/ 4 w 658"/>
                <a:gd name="T13" fmla="*/ 379 h 658"/>
                <a:gd name="T14" fmla="*/ 0 w 658"/>
                <a:gd name="T15" fmla="*/ 329 h 658"/>
                <a:gd name="T16" fmla="*/ 2 w 658"/>
                <a:gd name="T17" fmla="*/ 295 h 658"/>
                <a:gd name="T18" fmla="*/ 10 w 658"/>
                <a:gd name="T19" fmla="*/ 247 h 658"/>
                <a:gd name="T20" fmla="*/ 40 w 658"/>
                <a:gd name="T21" fmla="*/ 172 h 658"/>
                <a:gd name="T22" fmla="*/ 96 w 658"/>
                <a:gd name="T23" fmla="*/ 96 h 658"/>
                <a:gd name="T24" fmla="*/ 173 w 658"/>
                <a:gd name="T25" fmla="*/ 40 h 658"/>
                <a:gd name="T26" fmla="*/ 247 w 658"/>
                <a:gd name="T27" fmla="*/ 10 h 658"/>
                <a:gd name="T28" fmla="*/ 295 w 658"/>
                <a:gd name="T29" fmla="*/ 1 h 658"/>
                <a:gd name="T30" fmla="*/ 329 w 658"/>
                <a:gd name="T31" fmla="*/ 0 h 658"/>
                <a:gd name="T32" fmla="*/ 378 w 658"/>
                <a:gd name="T33" fmla="*/ 4 h 658"/>
                <a:gd name="T34" fmla="*/ 427 w 658"/>
                <a:gd name="T35" fmla="*/ 15 h 658"/>
                <a:gd name="T36" fmla="*/ 513 w 658"/>
                <a:gd name="T37" fmla="*/ 56 h 658"/>
                <a:gd name="T38" fmla="*/ 583 w 658"/>
                <a:gd name="T39" fmla="*/ 119 h 658"/>
                <a:gd name="T40" fmla="*/ 632 w 658"/>
                <a:gd name="T41" fmla="*/ 201 h 658"/>
                <a:gd name="T42" fmla="*/ 651 w 658"/>
                <a:gd name="T43" fmla="*/ 263 h 658"/>
                <a:gd name="T44" fmla="*/ 658 w 658"/>
                <a:gd name="T45" fmla="*/ 311 h 658"/>
                <a:gd name="T46" fmla="*/ 658 w 658"/>
                <a:gd name="T47" fmla="*/ 345 h 658"/>
                <a:gd name="T48" fmla="*/ 651 w 658"/>
                <a:gd name="T49" fmla="*/ 395 h 658"/>
                <a:gd name="T50" fmla="*/ 632 w 658"/>
                <a:gd name="T51" fmla="*/ 456 h 658"/>
                <a:gd name="T52" fmla="*/ 583 w 658"/>
                <a:gd name="T53" fmla="*/ 537 h 658"/>
                <a:gd name="T54" fmla="*/ 513 w 658"/>
                <a:gd name="T55" fmla="*/ 601 h 658"/>
                <a:gd name="T56" fmla="*/ 427 w 658"/>
                <a:gd name="T57" fmla="*/ 643 h 658"/>
                <a:gd name="T58" fmla="*/ 378 w 658"/>
                <a:gd name="T59" fmla="*/ 654 h 658"/>
                <a:gd name="T60" fmla="*/ 329 w 658"/>
                <a:gd name="T61" fmla="*/ 658 h 658"/>
                <a:gd name="T62" fmla="*/ 329 w 658"/>
                <a:gd name="T63" fmla="*/ 37 h 658"/>
                <a:gd name="T64" fmla="*/ 243 w 658"/>
                <a:gd name="T65" fmla="*/ 51 h 658"/>
                <a:gd name="T66" fmla="*/ 166 w 658"/>
                <a:gd name="T67" fmla="*/ 87 h 658"/>
                <a:gd name="T68" fmla="*/ 104 w 658"/>
                <a:gd name="T69" fmla="*/ 143 h 658"/>
                <a:gd name="T70" fmla="*/ 61 w 658"/>
                <a:gd name="T71" fmla="*/ 215 h 658"/>
                <a:gd name="T72" fmla="*/ 40 w 658"/>
                <a:gd name="T73" fmla="*/ 299 h 658"/>
                <a:gd name="T74" fmla="*/ 40 w 658"/>
                <a:gd name="T75" fmla="*/ 358 h 658"/>
                <a:gd name="T76" fmla="*/ 61 w 658"/>
                <a:gd name="T77" fmla="*/ 442 h 658"/>
                <a:gd name="T78" fmla="*/ 104 w 658"/>
                <a:gd name="T79" fmla="*/ 514 h 658"/>
                <a:gd name="T80" fmla="*/ 166 w 658"/>
                <a:gd name="T81" fmla="*/ 569 h 658"/>
                <a:gd name="T82" fmla="*/ 243 w 658"/>
                <a:gd name="T83" fmla="*/ 607 h 658"/>
                <a:gd name="T84" fmla="*/ 329 w 658"/>
                <a:gd name="T85" fmla="*/ 620 h 658"/>
                <a:gd name="T86" fmla="*/ 388 w 658"/>
                <a:gd name="T87" fmla="*/ 614 h 658"/>
                <a:gd name="T88" fmla="*/ 467 w 658"/>
                <a:gd name="T89" fmla="*/ 584 h 658"/>
                <a:gd name="T90" fmla="*/ 534 w 658"/>
                <a:gd name="T91" fmla="*/ 534 h 658"/>
                <a:gd name="T92" fmla="*/ 585 w 658"/>
                <a:gd name="T93" fmla="*/ 467 h 658"/>
                <a:gd name="T94" fmla="*/ 615 w 658"/>
                <a:gd name="T95" fmla="*/ 387 h 658"/>
                <a:gd name="T96" fmla="*/ 620 w 658"/>
                <a:gd name="T97" fmla="*/ 329 h 658"/>
                <a:gd name="T98" fmla="*/ 607 w 658"/>
                <a:gd name="T99" fmla="*/ 242 h 658"/>
                <a:gd name="T100" fmla="*/ 570 w 658"/>
                <a:gd name="T101" fmla="*/ 166 h 658"/>
                <a:gd name="T102" fmla="*/ 514 w 658"/>
                <a:gd name="T103" fmla="*/ 105 h 658"/>
                <a:gd name="T104" fmla="*/ 443 w 658"/>
                <a:gd name="T105" fmla="*/ 60 h 658"/>
                <a:gd name="T106" fmla="*/ 358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7"/>
                  </a:lnTo>
                  <a:lnTo>
                    <a:pt x="295" y="655"/>
                  </a:lnTo>
                  <a:lnTo>
                    <a:pt x="279" y="654"/>
                  </a:lnTo>
                  <a:lnTo>
                    <a:pt x="263" y="651"/>
                  </a:lnTo>
                  <a:lnTo>
                    <a:pt x="247" y="647"/>
                  </a:lnTo>
                  <a:lnTo>
                    <a:pt x="232" y="643"/>
                  </a:lnTo>
                  <a:lnTo>
                    <a:pt x="201" y="631"/>
                  </a:lnTo>
                  <a:lnTo>
                    <a:pt x="173" y="618"/>
                  </a:lnTo>
                  <a:lnTo>
                    <a:pt x="145" y="601"/>
                  </a:lnTo>
                  <a:lnTo>
                    <a:pt x="120" y="583"/>
                  </a:lnTo>
                  <a:lnTo>
                    <a:pt x="96" y="561"/>
                  </a:lnTo>
                  <a:lnTo>
                    <a:pt x="75" y="537"/>
                  </a:lnTo>
                  <a:lnTo>
                    <a:pt x="56" y="513"/>
                  </a:lnTo>
                  <a:lnTo>
                    <a:pt x="40" y="485"/>
                  </a:lnTo>
                  <a:lnTo>
                    <a:pt x="26" y="456"/>
                  </a:lnTo>
                  <a:lnTo>
                    <a:pt x="14" y="426"/>
                  </a:lnTo>
                  <a:lnTo>
                    <a:pt x="10" y="411"/>
                  </a:lnTo>
                  <a:lnTo>
                    <a:pt x="6" y="395"/>
                  </a:lnTo>
                  <a:lnTo>
                    <a:pt x="4" y="379"/>
                  </a:lnTo>
                  <a:lnTo>
                    <a:pt x="2" y="362"/>
                  </a:lnTo>
                  <a:lnTo>
                    <a:pt x="1" y="345"/>
                  </a:lnTo>
                  <a:lnTo>
                    <a:pt x="0" y="329"/>
                  </a:lnTo>
                  <a:lnTo>
                    <a:pt x="0" y="329"/>
                  </a:lnTo>
                  <a:lnTo>
                    <a:pt x="1" y="311"/>
                  </a:lnTo>
                  <a:lnTo>
                    <a:pt x="2" y="295"/>
                  </a:lnTo>
                  <a:lnTo>
                    <a:pt x="4" y="279"/>
                  </a:lnTo>
                  <a:lnTo>
                    <a:pt x="6" y="263"/>
                  </a:lnTo>
                  <a:lnTo>
                    <a:pt x="10" y="247"/>
                  </a:lnTo>
                  <a:lnTo>
                    <a:pt x="14" y="231"/>
                  </a:lnTo>
                  <a:lnTo>
                    <a:pt x="26" y="201"/>
                  </a:lnTo>
                  <a:lnTo>
                    <a:pt x="40" y="172"/>
                  </a:lnTo>
                  <a:lnTo>
                    <a:pt x="56" y="145"/>
                  </a:lnTo>
                  <a:lnTo>
                    <a:pt x="75" y="119"/>
                  </a:lnTo>
                  <a:lnTo>
                    <a:pt x="96" y="96"/>
                  </a:lnTo>
                  <a:lnTo>
                    <a:pt x="120" y="75"/>
                  </a:lnTo>
                  <a:lnTo>
                    <a:pt x="145" y="56"/>
                  </a:lnTo>
                  <a:lnTo>
                    <a:pt x="173" y="40"/>
                  </a:lnTo>
                  <a:lnTo>
                    <a:pt x="201" y="25"/>
                  </a:lnTo>
                  <a:lnTo>
                    <a:pt x="232" y="15"/>
                  </a:lnTo>
                  <a:lnTo>
                    <a:pt x="247" y="10"/>
                  </a:lnTo>
                  <a:lnTo>
                    <a:pt x="263" y="6"/>
                  </a:lnTo>
                  <a:lnTo>
                    <a:pt x="279" y="4"/>
                  </a:lnTo>
                  <a:lnTo>
                    <a:pt x="295" y="1"/>
                  </a:lnTo>
                  <a:lnTo>
                    <a:pt x="313" y="0"/>
                  </a:lnTo>
                  <a:lnTo>
                    <a:pt x="329" y="0"/>
                  </a:lnTo>
                  <a:lnTo>
                    <a:pt x="329" y="0"/>
                  </a:lnTo>
                  <a:lnTo>
                    <a:pt x="346" y="0"/>
                  </a:lnTo>
                  <a:lnTo>
                    <a:pt x="362" y="1"/>
                  </a:lnTo>
                  <a:lnTo>
                    <a:pt x="378" y="4"/>
                  </a:lnTo>
                  <a:lnTo>
                    <a:pt x="396" y="6"/>
                  </a:lnTo>
                  <a:lnTo>
                    <a:pt x="411" y="10"/>
                  </a:lnTo>
                  <a:lnTo>
                    <a:pt x="427" y="15"/>
                  </a:lnTo>
                  <a:lnTo>
                    <a:pt x="456" y="25"/>
                  </a:lnTo>
                  <a:lnTo>
                    <a:pt x="486" y="40"/>
                  </a:lnTo>
                  <a:lnTo>
                    <a:pt x="513" y="56"/>
                  </a:lnTo>
                  <a:lnTo>
                    <a:pt x="538" y="75"/>
                  </a:lnTo>
                  <a:lnTo>
                    <a:pt x="561" y="96"/>
                  </a:lnTo>
                  <a:lnTo>
                    <a:pt x="583" y="119"/>
                  </a:lnTo>
                  <a:lnTo>
                    <a:pt x="601" y="145"/>
                  </a:lnTo>
                  <a:lnTo>
                    <a:pt x="617" y="172"/>
                  </a:lnTo>
                  <a:lnTo>
                    <a:pt x="632" y="201"/>
                  </a:lnTo>
                  <a:lnTo>
                    <a:pt x="643" y="231"/>
                  </a:lnTo>
                  <a:lnTo>
                    <a:pt x="647" y="247"/>
                  </a:lnTo>
                  <a:lnTo>
                    <a:pt x="651" y="263"/>
                  </a:lnTo>
                  <a:lnTo>
                    <a:pt x="654" y="279"/>
                  </a:lnTo>
                  <a:lnTo>
                    <a:pt x="656" y="295"/>
                  </a:lnTo>
                  <a:lnTo>
                    <a:pt x="658" y="311"/>
                  </a:lnTo>
                  <a:lnTo>
                    <a:pt x="658" y="329"/>
                  </a:lnTo>
                  <a:lnTo>
                    <a:pt x="658" y="329"/>
                  </a:lnTo>
                  <a:lnTo>
                    <a:pt x="658" y="345"/>
                  </a:lnTo>
                  <a:lnTo>
                    <a:pt x="656" y="362"/>
                  </a:lnTo>
                  <a:lnTo>
                    <a:pt x="654" y="379"/>
                  </a:lnTo>
                  <a:lnTo>
                    <a:pt x="651" y="395"/>
                  </a:lnTo>
                  <a:lnTo>
                    <a:pt x="647" y="411"/>
                  </a:lnTo>
                  <a:lnTo>
                    <a:pt x="643" y="426"/>
                  </a:lnTo>
                  <a:lnTo>
                    <a:pt x="632" y="456"/>
                  </a:lnTo>
                  <a:lnTo>
                    <a:pt x="617" y="485"/>
                  </a:lnTo>
                  <a:lnTo>
                    <a:pt x="601" y="513"/>
                  </a:lnTo>
                  <a:lnTo>
                    <a:pt x="583" y="537"/>
                  </a:lnTo>
                  <a:lnTo>
                    <a:pt x="561" y="561"/>
                  </a:lnTo>
                  <a:lnTo>
                    <a:pt x="538" y="583"/>
                  </a:lnTo>
                  <a:lnTo>
                    <a:pt x="513" y="601"/>
                  </a:lnTo>
                  <a:lnTo>
                    <a:pt x="486" y="618"/>
                  </a:lnTo>
                  <a:lnTo>
                    <a:pt x="456" y="631"/>
                  </a:lnTo>
                  <a:lnTo>
                    <a:pt x="427" y="643"/>
                  </a:lnTo>
                  <a:lnTo>
                    <a:pt x="411" y="647"/>
                  </a:lnTo>
                  <a:lnTo>
                    <a:pt x="396" y="651"/>
                  </a:lnTo>
                  <a:lnTo>
                    <a:pt x="378" y="654"/>
                  </a:lnTo>
                  <a:lnTo>
                    <a:pt x="362" y="655"/>
                  </a:lnTo>
                  <a:lnTo>
                    <a:pt x="346" y="657"/>
                  </a:lnTo>
                  <a:lnTo>
                    <a:pt x="329" y="658"/>
                  </a:lnTo>
                  <a:lnTo>
                    <a:pt x="329" y="658"/>
                  </a:lnTo>
                  <a:close/>
                  <a:moveTo>
                    <a:pt x="329" y="37"/>
                  </a:moveTo>
                  <a:lnTo>
                    <a:pt x="329" y="37"/>
                  </a:lnTo>
                  <a:lnTo>
                    <a:pt x="299" y="39"/>
                  </a:lnTo>
                  <a:lnTo>
                    <a:pt x="271" y="43"/>
                  </a:lnTo>
                  <a:lnTo>
                    <a:pt x="243" y="51"/>
                  </a:lnTo>
                  <a:lnTo>
                    <a:pt x="216" y="60"/>
                  </a:lnTo>
                  <a:lnTo>
                    <a:pt x="190" y="72"/>
                  </a:lnTo>
                  <a:lnTo>
                    <a:pt x="166" y="87"/>
                  </a:lnTo>
                  <a:lnTo>
                    <a:pt x="143" y="105"/>
                  </a:lnTo>
                  <a:lnTo>
                    <a:pt x="123" y="123"/>
                  </a:lnTo>
                  <a:lnTo>
                    <a:pt x="104" y="143"/>
                  </a:lnTo>
                  <a:lnTo>
                    <a:pt x="88" y="166"/>
                  </a:lnTo>
                  <a:lnTo>
                    <a:pt x="73" y="190"/>
                  </a:lnTo>
                  <a:lnTo>
                    <a:pt x="61" y="215"/>
                  </a:lnTo>
                  <a:lnTo>
                    <a:pt x="51" y="242"/>
                  </a:lnTo>
                  <a:lnTo>
                    <a:pt x="44" y="270"/>
                  </a:lnTo>
                  <a:lnTo>
                    <a:pt x="40" y="299"/>
                  </a:lnTo>
                  <a:lnTo>
                    <a:pt x="37" y="329"/>
                  </a:lnTo>
                  <a:lnTo>
                    <a:pt x="37" y="329"/>
                  </a:lnTo>
                  <a:lnTo>
                    <a:pt x="40" y="358"/>
                  </a:lnTo>
                  <a:lnTo>
                    <a:pt x="44" y="387"/>
                  </a:lnTo>
                  <a:lnTo>
                    <a:pt x="51" y="415"/>
                  </a:lnTo>
                  <a:lnTo>
                    <a:pt x="61" y="442"/>
                  </a:lnTo>
                  <a:lnTo>
                    <a:pt x="73" y="467"/>
                  </a:lnTo>
                  <a:lnTo>
                    <a:pt x="88" y="491"/>
                  </a:lnTo>
                  <a:lnTo>
                    <a:pt x="104" y="514"/>
                  </a:lnTo>
                  <a:lnTo>
                    <a:pt x="123" y="534"/>
                  </a:lnTo>
                  <a:lnTo>
                    <a:pt x="143" y="553"/>
                  </a:lnTo>
                  <a:lnTo>
                    <a:pt x="166" y="569"/>
                  </a:lnTo>
                  <a:lnTo>
                    <a:pt x="190" y="584"/>
                  </a:lnTo>
                  <a:lnTo>
                    <a:pt x="216" y="596"/>
                  </a:lnTo>
                  <a:lnTo>
                    <a:pt x="243" y="607"/>
                  </a:lnTo>
                  <a:lnTo>
                    <a:pt x="271" y="614"/>
                  </a:lnTo>
                  <a:lnTo>
                    <a:pt x="299" y="618"/>
                  </a:lnTo>
                  <a:lnTo>
                    <a:pt x="329" y="620"/>
                  </a:lnTo>
                  <a:lnTo>
                    <a:pt x="329" y="620"/>
                  </a:lnTo>
                  <a:lnTo>
                    <a:pt x="358" y="618"/>
                  </a:lnTo>
                  <a:lnTo>
                    <a:pt x="388" y="614"/>
                  </a:lnTo>
                  <a:lnTo>
                    <a:pt x="416" y="607"/>
                  </a:lnTo>
                  <a:lnTo>
                    <a:pt x="443" y="596"/>
                  </a:lnTo>
                  <a:lnTo>
                    <a:pt x="467" y="584"/>
                  </a:lnTo>
                  <a:lnTo>
                    <a:pt x="491" y="569"/>
                  </a:lnTo>
                  <a:lnTo>
                    <a:pt x="514" y="553"/>
                  </a:lnTo>
                  <a:lnTo>
                    <a:pt x="534" y="534"/>
                  </a:lnTo>
                  <a:lnTo>
                    <a:pt x="553" y="514"/>
                  </a:lnTo>
                  <a:lnTo>
                    <a:pt x="570" y="491"/>
                  </a:lnTo>
                  <a:lnTo>
                    <a:pt x="585" y="467"/>
                  </a:lnTo>
                  <a:lnTo>
                    <a:pt x="597" y="442"/>
                  </a:lnTo>
                  <a:lnTo>
                    <a:pt x="607" y="415"/>
                  </a:lnTo>
                  <a:lnTo>
                    <a:pt x="615" y="387"/>
                  </a:lnTo>
                  <a:lnTo>
                    <a:pt x="619" y="358"/>
                  </a:lnTo>
                  <a:lnTo>
                    <a:pt x="620" y="329"/>
                  </a:lnTo>
                  <a:lnTo>
                    <a:pt x="620" y="329"/>
                  </a:lnTo>
                  <a:lnTo>
                    <a:pt x="619" y="299"/>
                  </a:lnTo>
                  <a:lnTo>
                    <a:pt x="615" y="270"/>
                  </a:lnTo>
                  <a:lnTo>
                    <a:pt x="607" y="242"/>
                  </a:lnTo>
                  <a:lnTo>
                    <a:pt x="597" y="215"/>
                  </a:lnTo>
                  <a:lnTo>
                    <a:pt x="585" y="190"/>
                  </a:lnTo>
                  <a:lnTo>
                    <a:pt x="570" y="166"/>
                  </a:lnTo>
                  <a:lnTo>
                    <a:pt x="553" y="143"/>
                  </a:lnTo>
                  <a:lnTo>
                    <a:pt x="534" y="123"/>
                  </a:lnTo>
                  <a:lnTo>
                    <a:pt x="514" y="105"/>
                  </a:lnTo>
                  <a:lnTo>
                    <a:pt x="491" y="87"/>
                  </a:lnTo>
                  <a:lnTo>
                    <a:pt x="467" y="72"/>
                  </a:lnTo>
                  <a:lnTo>
                    <a:pt x="443" y="60"/>
                  </a:lnTo>
                  <a:lnTo>
                    <a:pt x="416" y="51"/>
                  </a:lnTo>
                  <a:lnTo>
                    <a:pt x="388" y="43"/>
                  </a:lnTo>
                  <a:lnTo>
                    <a:pt x="358"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0" name="Freeform 182">
              <a:extLst>
                <a:ext uri="{FF2B5EF4-FFF2-40B4-BE49-F238E27FC236}">
                  <a16:creationId xmlns:a16="http://schemas.microsoft.com/office/drawing/2014/main" id="{37E02482-D8FD-41FE-A821-4C900E107E75}"/>
                </a:ext>
              </a:extLst>
            </p:cNvPr>
            <p:cNvSpPr>
              <a:spLocks/>
            </p:cNvSpPr>
            <p:nvPr/>
          </p:nvSpPr>
          <p:spPr bwMode="auto">
            <a:xfrm>
              <a:off x="4303713" y="1920875"/>
              <a:ext cx="60325" cy="104775"/>
            </a:xfrm>
            <a:custGeom>
              <a:avLst/>
              <a:gdLst>
                <a:gd name="T0" fmla="*/ 71 w 75"/>
                <a:gd name="T1" fmla="*/ 0 h 131"/>
                <a:gd name="T2" fmla="*/ 5 w 75"/>
                <a:gd name="T3" fmla="*/ 0 h 131"/>
                <a:gd name="T4" fmla="*/ 5 w 75"/>
                <a:gd name="T5" fmla="*/ 0 h 131"/>
                <a:gd name="T6" fmla="*/ 1 w 75"/>
                <a:gd name="T7" fmla="*/ 1 h 131"/>
                <a:gd name="T8" fmla="*/ 0 w 75"/>
                <a:gd name="T9" fmla="*/ 5 h 131"/>
                <a:gd name="T10" fmla="*/ 0 w 75"/>
                <a:gd name="T11" fmla="*/ 127 h 131"/>
                <a:gd name="T12" fmla="*/ 0 w 75"/>
                <a:gd name="T13" fmla="*/ 127 h 131"/>
                <a:gd name="T14" fmla="*/ 1 w 75"/>
                <a:gd name="T15" fmla="*/ 130 h 131"/>
                <a:gd name="T16" fmla="*/ 5 w 75"/>
                <a:gd name="T17" fmla="*/ 131 h 131"/>
                <a:gd name="T18" fmla="*/ 71 w 75"/>
                <a:gd name="T19" fmla="*/ 131 h 131"/>
                <a:gd name="T20" fmla="*/ 71 w 75"/>
                <a:gd name="T21" fmla="*/ 131 h 131"/>
                <a:gd name="T22" fmla="*/ 74 w 75"/>
                <a:gd name="T23" fmla="*/ 130 h 131"/>
                <a:gd name="T24" fmla="*/ 75 w 75"/>
                <a:gd name="T25" fmla="*/ 127 h 131"/>
                <a:gd name="T26" fmla="*/ 75 w 75"/>
                <a:gd name="T27" fmla="*/ 5 h 131"/>
                <a:gd name="T28" fmla="*/ 75 w 75"/>
                <a:gd name="T29" fmla="*/ 5 h 131"/>
                <a:gd name="T30" fmla="*/ 74 w 75"/>
                <a:gd name="T31" fmla="*/ 1 h 131"/>
                <a:gd name="T32" fmla="*/ 71 w 75"/>
                <a:gd name="T33" fmla="*/ 0 h 131"/>
                <a:gd name="T34" fmla="*/ 71 w 75"/>
                <a:gd name="T35"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 h="131">
                  <a:moveTo>
                    <a:pt x="71" y="0"/>
                  </a:moveTo>
                  <a:lnTo>
                    <a:pt x="5" y="0"/>
                  </a:lnTo>
                  <a:lnTo>
                    <a:pt x="5" y="0"/>
                  </a:lnTo>
                  <a:lnTo>
                    <a:pt x="1" y="1"/>
                  </a:lnTo>
                  <a:lnTo>
                    <a:pt x="0" y="5"/>
                  </a:lnTo>
                  <a:lnTo>
                    <a:pt x="0" y="127"/>
                  </a:lnTo>
                  <a:lnTo>
                    <a:pt x="0" y="127"/>
                  </a:lnTo>
                  <a:lnTo>
                    <a:pt x="1" y="130"/>
                  </a:lnTo>
                  <a:lnTo>
                    <a:pt x="5" y="131"/>
                  </a:lnTo>
                  <a:lnTo>
                    <a:pt x="71" y="131"/>
                  </a:lnTo>
                  <a:lnTo>
                    <a:pt x="71" y="131"/>
                  </a:lnTo>
                  <a:lnTo>
                    <a:pt x="74" y="130"/>
                  </a:lnTo>
                  <a:lnTo>
                    <a:pt x="75" y="127"/>
                  </a:lnTo>
                  <a:lnTo>
                    <a:pt x="75" y="5"/>
                  </a:lnTo>
                  <a:lnTo>
                    <a:pt x="75" y="5"/>
                  </a:lnTo>
                  <a:lnTo>
                    <a:pt x="74" y="1"/>
                  </a:lnTo>
                  <a:lnTo>
                    <a:pt x="71" y="0"/>
                  </a:lnTo>
                  <a:lnTo>
                    <a:pt x="7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1" name="Freeform 183">
              <a:extLst>
                <a:ext uri="{FF2B5EF4-FFF2-40B4-BE49-F238E27FC236}">
                  <a16:creationId xmlns:a16="http://schemas.microsoft.com/office/drawing/2014/main" id="{9BD284EB-C260-4A6F-9129-56B6ABAAB379}"/>
                </a:ext>
              </a:extLst>
            </p:cNvPr>
            <p:cNvSpPr>
              <a:spLocks/>
            </p:cNvSpPr>
            <p:nvPr/>
          </p:nvSpPr>
          <p:spPr bwMode="auto">
            <a:xfrm>
              <a:off x="4222751" y="1966913"/>
              <a:ext cx="58738" cy="58738"/>
            </a:xfrm>
            <a:custGeom>
              <a:avLst/>
              <a:gdLst>
                <a:gd name="T0" fmla="*/ 70 w 74"/>
                <a:gd name="T1" fmla="*/ 0 h 75"/>
                <a:gd name="T2" fmla="*/ 4 w 74"/>
                <a:gd name="T3" fmla="*/ 0 h 75"/>
                <a:gd name="T4" fmla="*/ 4 w 74"/>
                <a:gd name="T5" fmla="*/ 0 h 75"/>
                <a:gd name="T6" fmla="*/ 1 w 74"/>
                <a:gd name="T7" fmla="*/ 2 h 75"/>
                <a:gd name="T8" fmla="*/ 0 w 74"/>
                <a:gd name="T9" fmla="*/ 6 h 75"/>
                <a:gd name="T10" fmla="*/ 0 w 74"/>
                <a:gd name="T11" fmla="*/ 71 h 75"/>
                <a:gd name="T12" fmla="*/ 0 w 74"/>
                <a:gd name="T13" fmla="*/ 71 h 75"/>
                <a:gd name="T14" fmla="*/ 1 w 74"/>
                <a:gd name="T15" fmla="*/ 74 h 75"/>
                <a:gd name="T16" fmla="*/ 4 w 74"/>
                <a:gd name="T17" fmla="*/ 75 h 75"/>
                <a:gd name="T18" fmla="*/ 70 w 74"/>
                <a:gd name="T19" fmla="*/ 75 h 75"/>
                <a:gd name="T20" fmla="*/ 70 w 74"/>
                <a:gd name="T21" fmla="*/ 75 h 75"/>
                <a:gd name="T22" fmla="*/ 73 w 74"/>
                <a:gd name="T23" fmla="*/ 74 h 75"/>
                <a:gd name="T24" fmla="*/ 74 w 74"/>
                <a:gd name="T25" fmla="*/ 71 h 75"/>
                <a:gd name="T26" fmla="*/ 74 w 74"/>
                <a:gd name="T27" fmla="*/ 6 h 75"/>
                <a:gd name="T28" fmla="*/ 74 w 74"/>
                <a:gd name="T29" fmla="*/ 6 h 75"/>
                <a:gd name="T30" fmla="*/ 73 w 74"/>
                <a:gd name="T31" fmla="*/ 2 h 75"/>
                <a:gd name="T32" fmla="*/ 70 w 74"/>
                <a:gd name="T33" fmla="*/ 0 h 75"/>
                <a:gd name="T34" fmla="*/ 70 w 74"/>
                <a:gd name="T35"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75">
                  <a:moveTo>
                    <a:pt x="70" y="0"/>
                  </a:moveTo>
                  <a:lnTo>
                    <a:pt x="4" y="0"/>
                  </a:lnTo>
                  <a:lnTo>
                    <a:pt x="4" y="0"/>
                  </a:lnTo>
                  <a:lnTo>
                    <a:pt x="1" y="2"/>
                  </a:lnTo>
                  <a:lnTo>
                    <a:pt x="0" y="6"/>
                  </a:lnTo>
                  <a:lnTo>
                    <a:pt x="0" y="71"/>
                  </a:lnTo>
                  <a:lnTo>
                    <a:pt x="0" y="71"/>
                  </a:lnTo>
                  <a:lnTo>
                    <a:pt x="1" y="74"/>
                  </a:lnTo>
                  <a:lnTo>
                    <a:pt x="4" y="75"/>
                  </a:lnTo>
                  <a:lnTo>
                    <a:pt x="70" y="75"/>
                  </a:lnTo>
                  <a:lnTo>
                    <a:pt x="70" y="75"/>
                  </a:lnTo>
                  <a:lnTo>
                    <a:pt x="73" y="74"/>
                  </a:lnTo>
                  <a:lnTo>
                    <a:pt x="74" y="71"/>
                  </a:lnTo>
                  <a:lnTo>
                    <a:pt x="74" y="6"/>
                  </a:lnTo>
                  <a:lnTo>
                    <a:pt x="74" y="6"/>
                  </a:lnTo>
                  <a:lnTo>
                    <a:pt x="73" y="2"/>
                  </a:lnTo>
                  <a:lnTo>
                    <a:pt x="70" y="0"/>
                  </a:lnTo>
                  <a:lnTo>
                    <a:pt x="7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2" name="Freeform 184">
              <a:extLst>
                <a:ext uri="{FF2B5EF4-FFF2-40B4-BE49-F238E27FC236}">
                  <a16:creationId xmlns:a16="http://schemas.microsoft.com/office/drawing/2014/main" id="{051B37BD-D2A6-4722-A149-C739CD05B933}"/>
                </a:ext>
              </a:extLst>
            </p:cNvPr>
            <p:cNvSpPr>
              <a:spLocks/>
            </p:cNvSpPr>
            <p:nvPr/>
          </p:nvSpPr>
          <p:spPr bwMode="auto">
            <a:xfrm>
              <a:off x="4386263" y="1876425"/>
              <a:ext cx="58738" cy="149225"/>
            </a:xfrm>
            <a:custGeom>
              <a:avLst/>
              <a:gdLst>
                <a:gd name="T0" fmla="*/ 70 w 76"/>
                <a:gd name="T1" fmla="*/ 0 h 188"/>
                <a:gd name="T2" fmla="*/ 6 w 76"/>
                <a:gd name="T3" fmla="*/ 0 h 188"/>
                <a:gd name="T4" fmla="*/ 6 w 76"/>
                <a:gd name="T5" fmla="*/ 0 h 188"/>
                <a:gd name="T6" fmla="*/ 2 w 76"/>
                <a:gd name="T7" fmla="*/ 2 h 188"/>
                <a:gd name="T8" fmla="*/ 0 w 76"/>
                <a:gd name="T9" fmla="*/ 6 h 188"/>
                <a:gd name="T10" fmla="*/ 0 w 76"/>
                <a:gd name="T11" fmla="*/ 184 h 188"/>
                <a:gd name="T12" fmla="*/ 0 w 76"/>
                <a:gd name="T13" fmla="*/ 184 h 188"/>
                <a:gd name="T14" fmla="*/ 2 w 76"/>
                <a:gd name="T15" fmla="*/ 187 h 188"/>
                <a:gd name="T16" fmla="*/ 6 w 76"/>
                <a:gd name="T17" fmla="*/ 188 h 188"/>
                <a:gd name="T18" fmla="*/ 70 w 76"/>
                <a:gd name="T19" fmla="*/ 188 h 188"/>
                <a:gd name="T20" fmla="*/ 70 w 76"/>
                <a:gd name="T21" fmla="*/ 188 h 188"/>
                <a:gd name="T22" fmla="*/ 74 w 76"/>
                <a:gd name="T23" fmla="*/ 187 h 188"/>
                <a:gd name="T24" fmla="*/ 76 w 76"/>
                <a:gd name="T25" fmla="*/ 184 h 188"/>
                <a:gd name="T26" fmla="*/ 76 w 76"/>
                <a:gd name="T27" fmla="*/ 6 h 188"/>
                <a:gd name="T28" fmla="*/ 76 w 76"/>
                <a:gd name="T29" fmla="*/ 6 h 188"/>
                <a:gd name="T30" fmla="*/ 74 w 76"/>
                <a:gd name="T31" fmla="*/ 2 h 188"/>
                <a:gd name="T32" fmla="*/ 70 w 76"/>
                <a:gd name="T33" fmla="*/ 0 h 188"/>
                <a:gd name="T34" fmla="*/ 70 w 76"/>
                <a:gd name="T35"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188">
                  <a:moveTo>
                    <a:pt x="70" y="0"/>
                  </a:moveTo>
                  <a:lnTo>
                    <a:pt x="6" y="0"/>
                  </a:lnTo>
                  <a:lnTo>
                    <a:pt x="6" y="0"/>
                  </a:lnTo>
                  <a:lnTo>
                    <a:pt x="2" y="2"/>
                  </a:lnTo>
                  <a:lnTo>
                    <a:pt x="0" y="6"/>
                  </a:lnTo>
                  <a:lnTo>
                    <a:pt x="0" y="184"/>
                  </a:lnTo>
                  <a:lnTo>
                    <a:pt x="0" y="184"/>
                  </a:lnTo>
                  <a:lnTo>
                    <a:pt x="2" y="187"/>
                  </a:lnTo>
                  <a:lnTo>
                    <a:pt x="6" y="188"/>
                  </a:lnTo>
                  <a:lnTo>
                    <a:pt x="70" y="188"/>
                  </a:lnTo>
                  <a:lnTo>
                    <a:pt x="70" y="188"/>
                  </a:lnTo>
                  <a:lnTo>
                    <a:pt x="74" y="187"/>
                  </a:lnTo>
                  <a:lnTo>
                    <a:pt x="76" y="184"/>
                  </a:lnTo>
                  <a:lnTo>
                    <a:pt x="76" y="6"/>
                  </a:lnTo>
                  <a:lnTo>
                    <a:pt x="76" y="6"/>
                  </a:lnTo>
                  <a:lnTo>
                    <a:pt x="74" y="2"/>
                  </a:lnTo>
                  <a:lnTo>
                    <a:pt x="70" y="0"/>
                  </a:lnTo>
                  <a:lnTo>
                    <a:pt x="7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3" name="Freeform 185">
              <a:extLst>
                <a:ext uri="{FF2B5EF4-FFF2-40B4-BE49-F238E27FC236}">
                  <a16:creationId xmlns:a16="http://schemas.microsoft.com/office/drawing/2014/main" id="{AFE35394-9675-48B8-9CF3-C25FA3284873}"/>
                </a:ext>
              </a:extLst>
            </p:cNvPr>
            <p:cNvSpPr>
              <a:spLocks/>
            </p:cNvSpPr>
            <p:nvPr/>
          </p:nvSpPr>
          <p:spPr bwMode="auto">
            <a:xfrm>
              <a:off x="4252913" y="1792288"/>
              <a:ext cx="163513" cy="87313"/>
            </a:xfrm>
            <a:custGeom>
              <a:avLst/>
              <a:gdLst>
                <a:gd name="T0" fmla="*/ 102 w 205"/>
                <a:gd name="T1" fmla="*/ 110 h 110"/>
                <a:gd name="T2" fmla="*/ 102 w 205"/>
                <a:gd name="T3" fmla="*/ 110 h 110"/>
                <a:gd name="T4" fmla="*/ 106 w 205"/>
                <a:gd name="T5" fmla="*/ 110 h 110"/>
                <a:gd name="T6" fmla="*/ 108 w 205"/>
                <a:gd name="T7" fmla="*/ 109 h 110"/>
                <a:gd name="T8" fmla="*/ 188 w 205"/>
                <a:gd name="T9" fmla="*/ 30 h 110"/>
                <a:gd name="T10" fmla="*/ 188 w 205"/>
                <a:gd name="T11" fmla="*/ 65 h 110"/>
                <a:gd name="T12" fmla="*/ 188 w 205"/>
                <a:gd name="T13" fmla="*/ 65 h 110"/>
                <a:gd name="T14" fmla="*/ 188 w 205"/>
                <a:gd name="T15" fmla="*/ 69 h 110"/>
                <a:gd name="T16" fmla="*/ 189 w 205"/>
                <a:gd name="T17" fmla="*/ 71 h 110"/>
                <a:gd name="T18" fmla="*/ 192 w 205"/>
                <a:gd name="T19" fmla="*/ 73 h 110"/>
                <a:gd name="T20" fmla="*/ 196 w 205"/>
                <a:gd name="T21" fmla="*/ 74 h 110"/>
                <a:gd name="T22" fmla="*/ 196 w 205"/>
                <a:gd name="T23" fmla="*/ 74 h 110"/>
                <a:gd name="T24" fmla="*/ 200 w 205"/>
                <a:gd name="T25" fmla="*/ 73 h 110"/>
                <a:gd name="T26" fmla="*/ 202 w 205"/>
                <a:gd name="T27" fmla="*/ 71 h 110"/>
                <a:gd name="T28" fmla="*/ 204 w 205"/>
                <a:gd name="T29" fmla="*/ 69 h 110"/>
                <a:gd name="T30" fmla="*/ 205 w 205"/>
                <a:gd name="T31" fmla="*/ 65 h 110"/>
                <a:gd name="T32" fmla="*/ 205 w 205"/>
                <a:gd name="T33" fmla="*/ 8 h 110"/>
                <a:gd name="T34" fmla="*/ 205 w 205"/>
                <a:gd name="T35" fmla="*/ 8 h 110"/>
                <a:gd name="T36" fmla="*/ 204 w 205"/>
                <a:gd name="T37" fmla="*/ 6 h 110"/>
                <a:gd name="T38" fmla="*/ 204 w 205"/>
                <a:gd name="T39" fmla="*/ 6 h 110"/>
                <a:gd name="T40" fmla="*/ 202 w 205"/>
                <a:gd name="T41" fmla="*/ 3 h 110"/>
                <a:gd name="T42" fmla="*/ 198 w 205"/>
                <a:gd name="T43" fmla="*/ 0 h 110"/>
                <a:gd name="T44" fmla="*/ 198 w 205"/>
                <a:gd name="T45" fmla="*/ 0 h 110"/>
                <a:gd name="T46" fmla="*/ 196 w 205"/>
                <a:gd name="T47" fmla="*/ 0 h 110"/>
                <a:gd name="T48" fmla="*/ 139 w 205"/>
                <a:gd name="T49" fmla="*/ 0 h 110"/>
                <a:gd name="T50" fmla="*/ 139 w 205"/>
                <a:gd name="T51" fmla="*/ 0 h 110"/>
                <a:gd name="T52" fmla="*/ 137 w 205"/>
                <a:gd name="T53" fmla="*/ 0 h 110"/>
                <a:gd name="T54" fmla="*/ 134 w 205"/>
                <a:gd name="T55" fmla="*/ 3 h 110"/>
                <a:gd name="T56" fmla="*/ 131 w 205"/>
                <a:gd name="T57" fmla="*/ 6 h 110"/>
                <a:gd name="T58" fmla="*/ 131 w 205"/>
                <a:gd name="T59" fmla="*/ 8 h 110"/>
                <a:gd name="T60" fmla="*/ 131 w 205"/>
                <a:gd name="T61" fmla="*/ 8 h 110"/>
                <a:gd name="T62" fmla="*/ 131 w 205"/>
                <a:gd name="T63" fmla="*/ 12 h 110"/>
                <a:gd name="T64" fmla="*/ 134 w 205"/>
                <a:gd name="T65" fmla="*/ 15 h 110"/>
                <a:gd name="T66" fmla="*/ 137 w 205"/>
                <a:gd name="T67" fmla="*/ 16 h 110"/>
                <a:gd name="T68" fmla="*/ 139 w 205"/>
                <a:gd name="T69" fmla="*/ 18 h 110"/>
                <a:gd name="T70" fmla="*/ 174 w 205"/>
                <a:gd name="T71" fmla="*/ 18 h 110"/>
                <a:gd name="T72" fmla="*/ 102 w 205"/>
                <a:gd name="T73" fmla="*/ 90 h 110"/>
                <a:gd name="T74" fmla="*/ 61 w 205"/>
                <a:gd name="T75" fmla="*/ 50 h 110"/>
                <a:gd name="T76" fmla="*/ 61 w 205"/>
                <a:gd name="T77" fmla="*/ 50 h 110"/>
                <a:gd name="T78" fmla="*/ 59 w 205"/>
                <a:gd name="T79" fmla="*/ 47 h 110"/>
                <a:gd name="T80" fmla="*/ 55 w 205"/>
                <a:gd name="T81" fmla="*/ 47 h 110"/>
                <a:gd name="T82" fmla="*/ 52 w 205"/>
                <a:gd name="T83" fmla="*/ 47 h 110"/>
                <a:gd name="T84" fmla="*/ 49 w 205"/>
                <a:gd name="T85" fmla="*/ 50 h 110"/>
                <a:gd name="T86" fmla="*/ 2 w 205"/>
                <a:gd name="T87" fmla="*/ 96 h 110"/>
                <a:gd name="T88" fmla="*/ 2 w 205"/>
                <a:gd name="T89" fmla="*/ 96 h 110"/>
                <a:gd name="T90" fmla="*/ 0 w 205"/>
                <a:gd name="T91" fmla="*/ 100 h 110"/>
                <a:gd name="T92" fmla="*/ 0 w 205"/>
                <a:gd name="T93" fmla="*/ 102 h 110"/>
                <a:gd name="T94" fmla="*/ 0 w 205"/>
                <a:gd name="T95" fmla="*/ 105 h 110"/>
                <a:gd name="T96" fmla="*/ 2 w 205"/>
                <a:gd name="T97" fmla="*/ 109 h 110"/>
                <a:gd name="T98" fmla="*/ 2 w 205"/>
                <a:gd name="T99" fmla="*/ 109 h 110"/>
                <a:gd name="T100" fmla="*/ 5 w 205"/>
                <a:gd name="T101" fmla="*/ 110 h 110"/>
                <a:gd name="T102" fmla="*/ 8 w 205"/>
                <a:gd name="T103" fmla="*/ 110 h 110"/>
                <a:gd name="T104" fmla="*/ 12 w 205"/>
                <a:gd name="T105" fmla="*/ 110 h 110"/>
                <a:gd name="T106" fmla="*/ 14 w 205"/>
                <a:gd name="T107" fmla="*/ 109 h 110"/>
                <a:gd name="T108" fmla="*/ 55 w 205"/>
                <a:gd name="T109" fmla="*/ 67 h 110"/>
                <a:gd name="T110" fmla="*/ 96 w 205"/>
                <a:gd name="T111" fmla="*/ 109 h 110"/>
                <a:gd name="T112" fmla="*/ 96 w 205"/>
                <a:gd name="T113" fmla="*/ 109 h 110"/>
                <a:gd name="T114" fmla="*/ 99 w 205"/>
                <a:gd name="T115" fmla="*/ 110 h 110"/>
                <a:gd name="T116" fmla="*/ 102 w 205"/>
                <a:gd name="T117" fmla="*/ 110 h 110"/>
                <a:gd name="T118" fmla="*/ 102 w 205"/>
                <a:gd name="T119"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5" h="110">
                  <a:moveTo>
                    <a:pt x="102" y="110"/>
                  </a:moveTo>
                  <a:lnTo>
                    <a:pt x="102" y="110"/>
                  </a:lnTo>
                  <a:lnTo>
                    <a:pt x="106" y="110"/>
                  </a:lnTo>
                  <a:lnTo>
                    <a:pt x="108" y="109"/>
                  </a:lnTo>
                  <a:lnTo>
                    <a:pt x="188" y="30"/>
                  </a:lnTo>
                  <a:lnTo>
                    <a:pt x="188" y="65"/>
                  </a:lnTo>
                  <a:lnTo>
                    <a:pt x="188" y="65"/>
                  </a:lnTo>
                  <a:lnTo>
                    <a:pt x="188" y="69"/>
                  </a:lnTo>
                  <a:lnTo>
                    <a:pt x="189" y="71"/>
                  </a:lnTo>
                  <a:lnTo>
                    <a:pt x="192" y="73"/>
                  </a:lnTo>
                  <a:lnTo>
                    <a:pt x="196" y="74"/>
                  </a:lnTo>
                  <a:lnTo>
                    <a:pt x="196" y="74"/>
                  </a:lnTo>
                  <a:lnTo>
                    <a:pt x="200" y="73"/>
                  </a:lnTo>
                  <a:lnTo>
                    <a:pt x="202" y="71"/>
                  </a:lnTo>
                  <a:lnTo>
                    <a:pt x="204" y="69"/>
                  </a:lnTo>
                  <a:lnTo>
                    <a:pt x="205" y="65"/>
                  </a:lnTo>
                  <a:lnTo>
                    <a:pt x="205" y="8"/>
                  </a:lnTo>
                  <a:lnTo>
                    <a:pt x="205" y="8"/>
                  </a:lnTo>
                  <a:lnTo>
                    <a:pt x="204" y="6"/>
                  </a:lnTo>
                  <a:lnTo>
                    <a:pt x="204" y="6"/>
                  </a:lnTo>
                  <a:lnTo>
                    <a:pt x="202" y="3"/>
                  </a:lnTo>
                  <a:lnTo>
                    <a:pt x="198" y="0"/>
                  </a:lnTo>
                  <a:lnTo>
                    <a:pt x="198" y="0"/>
                  </a:lnTo>
                  <a:lnTo>
                    <a:pt x="196" y="0"/>
                  </a:lnTo>
                  <a:lnTo>
                    <a:pt x="139" y="0"/>
                  </a:lnTo>
                  <a:lnTo>
                    <a:pt x="139" y="0"/>
                  </a:lnTo>
                  <a:lnTo>
                    <a:pt x="137" y="0"/>
                  </a:lnTo>
                  <a:lnTo>
                    <a:pt x="134" y="3"/>
                  </a:lnTo>
                  <a:lnTo>
                    <a:pt x="131" y="6"/>
                  </a:lnTo>
                  <a:lnTo>
                    <a:pt x="131" y="8"/>
                  </a:lnTo>
                  <a:lnTo>
                    <a:pt x="131" y="8"/>
                  </a:lnTo>
                  <a:lnTo>
                    <a:pt x="131" y="12"/>
                  </a:lnTo>
                  <a:lnTo>
                    <a:pt x="134" y="15"/>
                  </a:lnTo>
                  <a:lnTo>
                    <a:pt x="137" y="16"/>
                  </a:lnTo>
                  <a:lnTo>
                    <a:pt x="139" y="18"/>
                  </a:lnTo>
                  <a:lnTo>
                    <a:pt x="174" y="18"/>
                  </a:lnTo>
                  <a:lnTo>
                    <a:pt x="102" y="90"/>
                  </a:lnTo>
                  <a:lnTo>
                    <a:pt x="61" y="50"/>
                  </a:lnTo>
                  <a:lnTo>
                    <a:pt x="61" y="50"/>
                  </a:lnTo>
                  <a:lnTo>
                    <a:pt x="59" y="47"/>
                  </a:lnTo>
                  <a:lnTo>
                    <a:pt x="55" y="47"/>
                  </a:lnTo>
                  <a:lnTo>
                    <a:pt x="52" y="47"/>
                  </a:lnTo>
                  <a:lnTo>
                    <a:pt x="49" y="50"/>
                  </a:lnTo>
                  <a:lnTo>
                    <a:pt x="2" y="96"/>
                  </a:lnTo>
                  <a:lnTo>
                    <a:pt x="2" y="96"/>
                  </a:lnTo>
                  <a:lnTo>
                    <a:pt x="0" y="100"/>
                  </a:lnTo>
                  <a:lnTo>
                    <a:pt x="0" y="102"/>
                  </a:lnTo>
                  <a:lnTo>
                    <a:pt x="0" y="105"/>
                  </a:lnTo>
                  <a:lnTo>
                    <a:pt x="2" y="109"/>
                  </a:lnTo>
                  <a:lnTo>
                    <a:pt x="2" y="109"/>
                  </a:lnTo>
                  <a:lnTo>
                    <a:pt x="5" y="110"/>
                  </a:lnTo>
                  <a:lnTo>
                    <a:pt x="8" y="110"/>
                  </a:lnTo>
                  <a:lnTo>
                    <a:pt x="12" y="110"/>
                  </a:lnTo>
                  <a:lnTo>
                    <a:pt x="14" y="109"/>
                  </a:lnTo>
                  <a:lnTo>
                    <a:pt x="55" y="67"/>
                  </a:lnTo>
                  <a:lnTo>
                    <a:pt x="96" y="109"/>
                  </a:lnTo>
                  <a:lnTo>
                    <a:pt x="96" y="109"/>
                  </a:lnTo>
                  <a:lnTo>
                    <a:pt x="99" y="110"/>
                  </a:lnTo>
                  <a:lnTo>
                    <a:pt x="102" y="110"/>
                  </a:lnTo>
                  <a:lnTo>
                    <a:pt x="102" y="1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Tree>
    <p:extLst>
      <p:ext uri="{BB962C8B-B14F-4D97-AF65-F5344CB8AC3E}">
        <p14:creationId xmlns:p14="http://schemas.microsoft.com/office/powerpoint/2010/main" val="324091782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C1B445-BDCA-4B95-A244-C41F9813D01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24" name="think-cell Slide" r:id="rId6" imgW="415" imgH="416" progId="TCLayout.ActiveDocument.1">
                  <p:embed/>
                </p:oleObj>
              </mc:Choice>
              <mc:Fallback>
                <p:oleObj name="think-cell Slide" r:id="rId6" imgW="415" imgH="416" progId="TCLayout.ActiveDocument.1">
                  <p:embed/>
                  <p:pic>
                    <p:nvPicPr>
                      <p:cNvPr id="6" name="Object 5" hidden="1">
                        <a:extLst>
                          <a:ext uri="{FF2B5EF4-FFF2-40B4-BE49-F238E27FC236}">
                            <a16:creationId xmlns:a16="http://schemas.microsoft.com/office/drawing/2014/main" id="{58C1B445-BDCA-4B95-A244-C41F9813D01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B6D1B6-ECAC-47D5-9B26-77C81F60DE1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grpSp>
        <p:nvGrpSpPr>
          <p:cNvPr id="69" name="Group 68">
            <a:extLst>
              <a:ext uri="{FF2B5EF4-FFF2-40B4-BE49-F238E27FC236}">
                <a16:creationId xmlns:a16="http://schemas.microsoft.com/office/drawing/2014/main" id="{D34A5AB1-140C-4A4D-8486-7F789426B923}"/>
              </a:ext>
            </a:extLst>
          </p:cNvPr>
          <p:cNvGrpSpPr/>
          <p:nvPr/>
        </p:nvGrpSpPr>
        <p:grpSpPr>
          <a:xfrm>
            <a:off x="6830060" y="1624928"/>
            <a:ext cx="4799329" cy="4912878"/>
            <a:chOff x="6830060" y="1553808"/>
            <a:chExt cx="4799329" cy="4912878"/>
          </a:xfrm>
        </p:grpSpPr>
        <p:sp>
          <p:nvSpPr>
            <p:cNvPr id="8" name="Arrow: Pentagon 7">
              <a:extLst>
                <a:ext uri="{FF2B5EF4-FFF2-40B4-BE49-F238E27FC236}">
                  <a16:creationId xmlns:a16="http://schemas.microsoft.com/office/drawing/2014/main" id="{0F06CE2B-35C2-42DC-BC93-F4817CC941AC}"/>
                </a:ext>
              </a:extLst>
            </p:cNvPr>
            <p:cNvSpPr/>
            <p:nvPr/>
          </p:nvSpPr>
          <p:spPr bwMode="gray">
            <a:xfrm rot="10800000">
              <a:off x="6830060" y="1892362"/>
              <a:ext cx="4668377" cy="4123210"/>
            </a:xfrm>
            <a:prstGeom prst="homePlate">
              <a:avLst>
                <a:gd name="adj" fmla="val 32653"/>
              </a:avLst>
            </a:prstGeom>
            <a:noFill/>
            <a:ln w="38100" algn="ctr">
              <a:solidFill>
                <a:schemeClr val="bg1">
                  <a:lumMod val="75000"/>
                </a:schemeClr>
              </a:solidFill>
              <a:miter lim="800000"/>
              <a:headEnd/>
              <a:tailEnd/>
            </a:ln>
          </p:spPr>
          <p:txBody>
            <a:bodyPr wrap="square" lIns="88900" tIns="88900" rIns="88900" bIns="88900" rtlCol="0" anchor="t"/>
            <a:lstStyle/>
            <a:p>
              <a:pPr algn="ctr">
                <a:lnSpc>
                  <a:spcPct val="106000"/>
                </a:lnSpc>
                <a:buFont typeface="Wingdings 2" pitchFamily="18" charset="2"/>
                <a:buNone/>
              </a:pPr>
              <a:endParaRPr lang="en-US" sz="1200" b="1" dirty="0">
                <a:solidFill>
                  <a:schemeClr val="bg1"/>
                </a:solidFill>
              </a:endParaRPr>
            </a:p>
          </p:txBody>
        </p:sp>
        <p:sp>
          <p:nvSpPr>
            <p:cNvPr id="11" name="TextBox 10">
              <a:extLst>
                <a:ext uri="{FF2B5EF4-FFF2-40B4-BE49-F238E27FC236}">
                  <a16:creationId xmlns:a16="http://schemas.microsoft.com/office/drawing/2014/main" id="{AB1C8A60-9C9A-4C80-B3F7-27ADB683D836}"/>
                </a:ext>
              </a:extLst>
            </p:cNvPr>
            <p:cNvSpPr txBox="1"/>
            <p:nvPr/>
          </p:nvSpPr>
          <p:spPr>
            <a:xfrm>
              <a:off x="8176646" y="1553808"/>
              <a:ext cx="3452743" cy="276999"/>
            </a:xfrm>
            <a:prstGeom prst="rect">
              <a:avLst/>
            </a:prstGeom>
            <a:noFill/>
          </p:spPr>
          <p:txBody>
            <a:bodyPr wrap="square" rtlCol="0">
              <a:spAutoFit/>
            </a:bodyPr>
            <a:lstStyle/>
            <a:p>
              <a:pPr algn="ctr" eaLnBrk="0" fontAlgn="base" hangingPunct="0">
                <a:spcBef>
                  <a:spcPct val="0"/>
                </a:spcBef>
                <a:spcAft>
                  <a:spcPct val="0"/>
                </a:spcAft>
              </a:pPr>
              <a:r>
                <a:rPr lang="en-GB" sz="1200" b="1" dirty="0">
                  <a:solidFill>
                    <a:schemeClr val="bg1">
                      <a:lumMod val="75000"/>
                    </a:schemeClr>
                  </a:solidFill>
                  <a:ea typeface="ＭＳ Ｐゴシック" charset="0"/>
                  <a:cs typeface="Arial" charset="0"/>
                </a:rPr>
                <a:t>Future Vision</a:t>
              </a:r>
            </a:p>
          </p:txBody>
        </p:sp>
        <p:grpSp>
          <p:nvGrpSpPr>
            <p:cNvPr id="48" name="Group 47">
              <a:extLst>
                <a:ext uri="{FF2B5EF4-FFF2-40B4-BE49-F238E27FC236}">
                  <a16:creationId xmlns:a16="http://schemas.microsoft.com/office/drawing/2014/main" id="{275D3459-5199-44A5-ABAA-D938050038ED}"/>
                </a:ext>
              </a:extLst>
            </p:cNvPr>
            <p:cNvGrpSpPr/>
            <p:nvPr/>
          </p:nvGrpSpPr>
          <p:grpSpPr>
            <a:xfrm>
              <a:off x="8307597" y="2017682"/>
              <a:ext cx="3190840" cy="3888821"/>
              <a:chOff x="693563" y="1810545"/>
              <a:chExt cx="3577856" cy="3888821"/>
            </a:xfrm>
          </p:grpSpPr>
          <p:sp>
            <p:nvSpPr>
              <p:cNvPr id="49" name="Rectangle 48">
                <a:extLst>
                  <a:ext uri="{FF2B5EF4-FFF2-40B4-BE49-F238E27FC236}">
                    <a16:creationId xmlns:a16="http://schemas.microsoft.com/office/drawing/2014/main" id="{B70C803B-127B-4C56-A0FD-77A82EC1652D}"/>
                  </a:ext>
                </a:extLst>
              </p:cNvPr>
              <p:cNvSpPr/>
              <p:nvPr/>
            </p:nvSpPr>
            <p:spPr bwMode="gray">
              <a:xfrm>
                <a:off x="693563" y="2603964"/>
                <a:ext cx="1086651" cy="715144"/>
              </a:xfrm>
              <a:prstGeom prst="rect">
                <a:avLst/>
              </a:prstGeom>
              <a:solidFill>
                <a:schemeClr val="accent2"/>
              </a:solidFill>
              <a:ln w="19050" algn="ctr">
                <a:solidFill>
                  <a:schemeClr val="accent2"/>
                </a:solid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50" b="1" dirty="0">
                    <a:solidFill>
                      <a:schemeClr val="bg1"/>
                    </a:solidFill>
                  </a:rPr>
                  <a:t>Pricing</a:t>
                </a:r>
              </a:p>
            </p:txBody>
          </p:sp>
          <p:sp>
            <p:nvSpPr>
              <p:cNvPr id="50" name="Rectangle 49">
                <a:extLst>
                  <a:ext uri="{FF2B5EF4-FFF2-40B4-BE49-F238E27FC236}">
                    <a16:creationId xmlns:a16="http://schemas.microsoft.com/office/drawing/2014/main" id="{C86D5936-F642-4328-B3D8-42E28454D44F}"/>
                  </a:ext>
                </a:extLst>
              </p:cNvPr>
              <p:cNvSpPr/>
              <p:nvPr/>
            </p:nvSpPr>
            <p:spPr bwMode="gray">
              <a:xfrm>
                <a:off x="693563" y="3397383"/>
                <a:ext cx="1086651" cy="715144"/>
              </a:xfrm>
              <a:prstGeom prst="rect">
                <a:avLst/>
              </a:prstGeom>
              <a:solidFill>
                <a:schemeClr val="accent3"/>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buFont typeface="Wingdings 2" pitchFamily="18" charset="2"/>
                  <a:buNone/>
                </a:pPr>
                <a:r>
                  <a:rPr lang="en-US" sz="1050" b="1" dirty="0">
                    <a:solidFill>
                      <a:schemeClr val="bg1"/>
                    </a:solidFill>
                  </a:rPr>
                  <a:t>Operating Model</a:t>
                </a:r>
                <a:endParaRPr lang="en-US" sz="1050" dirty="0">
                  <a:solidFill>
                    <a:schemeClr val="bg1"/>
                  </a:solidFill>
                </a:endParaRPr>
              </a:p>
            </p:txBody>
          </p:sp>
          <p:sp>
            <p:nvSpPr>
              <p:cNvPr id="51" name="Rectangle 50">
                <a:extLst>
                  <a:ext uri="{FF2B5EF4-FFF2-40B4-BE49-F238E27FC236}">
                    <a16:creationId xmlns:a16="http://schemas.microsoft.com/office/drawing/2014/main" id="{3FF79578-D943-4821-8228-323FA470055F}"/>
                  </a:ext>
                </a:extLst>
              </p:cNvPr>
              <p:cNvSpPr/>
              <p:nvPr/>
            </p:nvSpPr>
            <p:spPr bwMode="gray">
              <a:xfrm>
                <a:off x="693563" y="4190802"/>
                <a:ext cx="1086651" cy="715144"/>
              </a:xfrm>
              <a:prstGeom prst="rect">
                <a:avLst/>
              </a:prstGeom>
              <a:solidFill>
                <a:schemeClr val="accent5"/>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buFont typeface="Wingdings 2" pitchFamily="18" charset="2"/>
                  <a:buNone/>
                </a:pPr>
                <a:r>
                  <a:rPr lang="en-US" sz="1050" b="1" dirty="0">
                    <a:solidFill>
                      <a:schemeClr val="bg1"/>
                    </a:solidFill>
                  </a:rPr>
                  <a:t>Offerings</a:t>
                </a:r>
                <a:endParaRPr lang="en-US" sz="1050" dirty="0">
                  <a:solidFill>
                    <a:schemeClr val="bg1"/>
                  </a:solidFill>
                </a:endParaRPr>
              </a:p>
            </p:txBody>
          </p:sp>
          <p:sp>
            <p:nvSpPr>
              <p:cNvPr id="52" name="Rectangle 51">
                <a:extLst>
                  <a:ext uri="{FF2B5EF4-FFF2-40B4-BE49-F238E27FC236}">
                    <a16:creationId xmlns:a16="http://schemas.microsoft.com/office/drawing/2014/main" id="{0243367D-FF07-4543-987E-26F41C1EBD67}"/>
                  </a:ext>
                </a:extLst>
              </p:cNvPr>
              <p:cNvSpPr/>
              <p:nvPr/>
            </p:nvSpPr>
            <p:spPr bwMode="gray">
              <a:xfrm>
                <a:off x="693563" y="4984222"/>
                <a:ext cx="1086651" cy="715144"/>
              </a:xfrm>
              <a:prstGeom prst="rect">
                <a:avLst/>
              </a:prstGeom>
              <a:solidFill>
                <a:schemeClr val="accent6"/>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buFont typeface="Wingdings 2" pitchFamily="18" charset="2"/>
                  <a:buNone/>
                </a:pPr>
                <a:r>
                  <a:rPr lang="en-US" sz="1050" b="1" dirty="0">
                    <a:solidFill>
                      <a:schemeClr val="bg1"/>
                    </a:solidFill>
                  </a:rPr>
                  <a:t>Selling Process</a:t>
                </a:r>
                <a:endParaRPr lang="en-US" sz="1050" dirty="0">
                  <a:solidFill>
                    <a:schemeClr val="bg1"/>
                  </a:solidFill>
                </a:endParaRPr>
              </a:p>
            </p:txBody>
          </p:sp>
          <p:sp>
            <p:nvSpPr>
              <p:cNvPr id="53" name="TextBox 52">
                <a:extLst>
                  <a:ext uri="{FF2B5EF4-FFF2-40B4-BE49-F238E27FC236}">
                    <a16:creationId xmlns:a16="http://schemas.microsoft.com/office/drawing/2014/main" id="{C9CF6B7C-E384-40CA-85F7-1BB9C8B0B998}"/>
                  </a:ext>
                </a:extLst>
              </p:cNvPr>
              <p:cNvSpPr txBox="1"/>
              <p:nvPr/>
            </p:nvSpPr>
            <p:spPr>
              <a:xfrm>
                <a:off x="1857769" y="2734035"/>
                <a:ext cx="1993402" cy="430887"/>
              </a:xfrm>
              <a:prstGeom prst="rect">
                <a:avLst/>
              </a:prstGeom>
              <a:noFill/>
            </p:spPr>
            <p:txBody>
              <a:bodyPr wrap="square" rtlCol="0">
                <a:spAutoFit/>
              </a:bodyPr>
              <a:lstStyle/>
              <a:p>
                <a:pPr eaLnBrk="0" fontAlgn="base" hangingPunct="0">
                  <a:spcBef>
                    <a:spcPct val="0"/>
                  </a:spcBef>
                  <a:spcAft>
                    <a:spcPct val="0"/>
                  </a:spcAft>
                </a:pPr>
                <a:r>
                  <a:rPr lang="en-GB" sz="1050" i="1" dirty="0">
                    <a:ea typeface="ＭＳ Ｐゴシック" charset="0"/>
                    <a:cs typeface="Arial" charset="0"/>
                  </a:rPr>
                  <a:t>Market-based competitive pricing</a:t>
                </a:r>
              </a:p>
            </p:txBody>
          </p:sp>
          <p:sp>
            <p:nvSpPr>
              <p:cNvPr id="54" name="TextBox 53">
                <a:extLst>
                  <a:ext uri="{FF2B5EF4-FFF2-40B4-BE49-F238E27FC236}">
                    <a16:creationId xmlns:a16="http://schemas.microsoft.com/office/drawing/2014/main" id="{F50CB5E9-1076-4BE8-B84E-C85DEA65D27F}"/>
                  </a:ext>
                </a:extLst>
              </p:cNvPr>
              <p:cNvSpPr txBox="1"/>
              <p:nvPr/>
            </p:nvSpPr>
            <p:spPr>
              <a:xfrm>
                <a:off x="1857769" y="3527349"/>
                <a:ext cx="2413650" cy="430887"/>
              </a:xfrm>
              <a:prstGeom prst="rect">
                <a:avLst/>
              </a:prstGeom>
              <a:noFill/>
            </p:spPr>
            <p:txBody>
              <a:bodyPr wrap="square" rtlCol="0">
                <a:spAutoFit/>
              </a:bodyPr>
              <a:lstStyle/>
              <a:p>
                <a:pPr eaLnBrk="0" fontAlgn="base" hangingPunct="0">
                  <a:spcBef>
                    <a:spcPct val="0"/>
                  </a:spcBef>
                  <a:spcAft>
                    <a:spcPct val="0"/>
                  </a:spcAft>
                </a:pPr>
                <a:r>
                  <a:rPr lang="en-GB" sz="1050" i="1" dirty="0">
                    <a:ea typeface="ＭＳ Ｐゴシック" charset="0"/>
                    <a:cs typeface="Arial" charset="0"/>
                  </a:rPr>
                  <a:t>Differentiated commercial operating model</a:t>
                </a:r>
              </a:p>
            </p:txBody>
          </p:sp>
          <p:sp>
            <p:nvSpPr>
              <p:cNvPr id="55" name="TextBox 54">
                <a:extLst>
                  <a:ext uri="{FF2B5EF4-FFF2-40B4-BE49-F238E27FC236}">
                    <a16:creationId xmlns:a16="http://schemas.microsoft.com/office/drawing/2014/main" id="{8B618069-EE4B-49AF-9DC6-AA4A32F5C9C7}"/>
                  </a:ext>
                </a:extLst>
              </p:cNvPr>
              <p:cNvSpPr txBox="1"/>
              <p:nvPr/>
            </p:nvSpPr>
            <p:spPr>
              <a:xfrm>
                <a:off x="1857769" y="4227691"/>
                <a:ext cx="2199570" cy="430887"/>
              </a:xfrm>
              <a:prstGeom prst="rect">
                <a:avLst/>
              </a:prstGeom>
              <a:noFill/>
            </p:spPr>
            <p:txBody>
              <a:bodyPr wrap="square" rtlCol="0">
                <a:spAutoFit/>
              </a:bodyPr>
              <a:lstStyle/>
              <a:p>
                <a:pPr eaLnBrk="0" fontAlgn="base" hangingPunct="0">
                  <a:spcBef>
                    <a:spcPct val="0"/>
                  </a:spcBef>
                  <a:spcAft>
                    <a:spcPct val="0"/>
                  </a:spcAft>
                </a:pPr>
                <a:r>
                  <a:rPr lang="en-GB" sz="1050" i="1" dirty="0">
                    <a:ea typeface="ＭＳ Ｐゴシック" charset="0"/>
                    <a:cs typeface="Arial" charset="0"/>
                  </a:rPr>
                  <a:t>Integrated solutions &amp; cross-product line offerings</a:t>
                </a:r>
              </a:p>
            </p:txBody>
          </p:sp>
          <p:sp>
            <p:nvSpPr>
              <p:cNvPr id="56" name="TextBox 55">
                <a:extLst>
                  <a:ext uri="{FF2B5EF4-FFF2-40B4-BE49-F238E27FC236}">
                    <a16:creationId xmlns:a16="http://schemas.microsoft.com/office/drawing/2014/main" id="{14352060-EEEF-41F7-A25B-F693D2DA67A7}"/>
                  </a:ext>
                </a:extLst>
              </p:cNvPr>
              <p:cNvSpPr txBox="1"/>
              <p:nvPr/>
            </p:nvSpPr>
            <p:spPr>
              <a:xfrm>
                <a:off x="1857769" y="5094292"/>
                <a:ext cx="2255543" cy="430887"/>
              </a:xfrm>
              <a:prstGeom prst="rect">
                <a:avLst/>
              </a:prstGeom>
              <a:noFill/>
            </p:spPr>
            <p:txBody>
              <a:bodyPr wrap="square" rtlCol="0">
                <a:spAutoFit/>
              </a:bodyPr>
              <a:lstStyle/>
              <a:p>
                <a:pPr eaLnBrk="0" fontAlgn="base" hangingPunct="0">
                  <a:spcBef>
                    <a:spcPct val="0"/>
                  </a:spcBef>
                  <a:spcAft>
                    <a:spcPct val="0"/>
                  </a:spcAft>
                </a:pPr>
                <a:r>
                  <a:rPr lang="en-GB" sz="1050" i="1" dirty="0">
                    <a:ea typeface="ＭＳ Ｐゴシック" charset="0"/>
                    <a:cs typeface="Arial" charset="0"/>
                  </a:rPr>
                  <a:t>Customer-focused and proactive sales process</a:t>
                </a:r>
              </a:p>
            </p:txBody>
          </p:sp>
          <p:sp>
            <p:nvSpPr>
              <p:cNvPr id="57" name="Rectangle 56">
                <a:extLst>
                  <a:ext uri="{FF2B5EF4-FFF2-40B4-BE49-F238E27FC236}">
                    <a16:creationId xmlns:a16="http://schemas.microsoft.com/office/drawing/2014/main" id="{3BAD9087-1695-44A0-ABBD-590A7E1119CB}"/>
                  </a:ext>
                </a:extLst>
              </p:cNvPr>
              <p:cNvSpPr/>
              <p:nvPr/>
            </p:nvSpPr>
            <p:spPr bwMode="gray">
              <a:xfrm>
                <a:off x="693563" y="1810545"/>
                <a:ext cx="1086651" cy="715144"/>
              </a:xfrm>
              <a:prstGeom prst="rect">
                <a:avLst/>
              </a:prstGeom>
              <a:solidFill>
                <a:schemeClr val="accent4"/>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buFont typeface="Wingdings 2" pitchFamily="18" charset="2"/>
                  <a:buNone/>
                </a:pPr>
                <a:r>
                  <a:rPr lang="en-US" sz="1050" b="1" dirty="0">
                    <a:solidFill>
                      <a:schemeClr val="bg1"/>
                    </a:solidFill>
                  </a:rPr>
                  <a:t>Overall Strategy </a:t>
                </a:r>
                <a:endParaRPr lang="en-US" sz="1050" dirty="0">
                  <a:solidFill>
                    <a:schemeClr val="bg1"/>
                  </a:solidFill>
                </a:endParaRPr>
              </a:p>
            </p:txBody>
          </p:sp>
          <p:sp>
            <p:nvSpPr>
              <p:cNvPr id="58" name="TextBox 57">
                <a:extLst>
                  <a:ext uri="{FF2B5EF4-FFF2-40B4-BE49-F238E27FC236}">
                    <a16:creationId xmlns:a16="http://schemas.microsoft.com/office/drawing/2014/main" id="{8AA6E215-32E5-456D-ABF0-F20FAA654F27}"/>
                  </a:ext>
                </a:extLst>
              </p:cNvPr>
              <p:cNvSpPr txBox="1"/>
              <p:nvPr/>
            </p:nvSpPr>
            <p:spPr>
              <a:xfrm>
                <a:off x="1857769" y="1939874"/>
                <a:ext cx="2184349" cy="430887"/>
              </a:xfrm>
              <a:prstGeom prst="rect">
                <a:avLst/>
              </a:prstGeom>
              <a:noFill/>
            </p:spPr>
            <p:txBody>
              <a:bodyPr wrap="square" rtlCol="0">
                <a:spAutoFit/>
              </a:bodyPr>
              <a:lstStyle/>
              <a:p>
                <a:pPr eaLnBrk="0" fontAlgn="base" hangingPunct="0">
                  <a:spcBef>
                    <a:spcPct val="0"/>
                  </a:spcBef>
                  <a:spcAft>
                    <a:spcPct val="0"/>
                  </a:spcAft>
                </a:pPr>
                <a:r>
                  <a:rPr lang="en-GB" sz="1050" i="1" dirty="0">
                    <a:ea typeface="ＭＳ Ｐゴシック" charset="0"/>
                    <a:cs typeface="Arial" charset="0"/>
                  </a:rPr>
                  <a:t>Customer and market-based priorities and focus</a:t>
                </a:r>
              </a:p>
            </p:txBody>
          </p:sp>
        </p:grpSp>
        <p:sp>
          <p:nvSpPr>
            <p:cNvPr id="59" name="Rounded Rectangle 85">
              <a:extLst>
                <a:ext uri="{FF2B5EF4-FFF2-40B4-BE49-F238E27FC236}">
                  <a16:creationId xmlns:a16="http://schemas.microsoft.com/office/drawing/2014/main" id="{0C6AFCF8-5481-4344-9CD8-02D8566FFE69}"/>
                </a:ext>
              </a:extLst>
            </p:cNvPr>
            <p:cNvSpPr/>
            <p:nvPr/>
          </p:nvSpPr>
          <p:spPr bwMode="gray">
            <a:xfrm>
              <a:off x="8321243" y="6076628"/>
              <a:ext cx="3163549" cy="390058"/>
            </a:xfrm>
            <a:prstGeom prst="round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rgbClr val="BFBFBF"/>
                  </a:solidFill>
                </a:rPr>
                <a:t>Positive Operating Earnings</a:t>
              </a:r>
            </a:p>
          </p:txBody>
        </p:sp>
      </p:grpSp>
      <p:grpSp>
        <p:nvGrpSpPr>
          <p:cNvPr id="68" name="Group 67">
            <a:extLst>
              <a:ext uri="{FF2B5EF4-FFF2-40B4-BE49-F238E27FC236}">
                <a16:creationId xmlns:a16="http://schemas.microsoft.com/office/drawing/2014/main" id="{11C1E4B3-E296-41BD-8DFC-83E389A5936E}"/>
              </a:ext>
            </a:extLst>
          </p:cNvPr>
          <p:cNvGrpSpPr/>
          <p:nvPr/>
        </p:nvGrpSpPr>
        <p:grpSpPr>
          <a:xfrm>
            <a:off x="773738" y="1624928"/>
            <a:ext cx="4666942" cy="4912878"/>
            <a:chOff x="773738" y="1553808"/>
            <a:chExt cx="4666942" cy="4912878"/>
          </a:xfrm>
        </p:grpSpPr>
        <p:sp>
          <p:nvSpPr>
            <p:cNvPr id="7" name="Arrow: Pentagon 6">
              <a:extLst>
                <a:ext uri="{FF2B5EF4-FFF2-40B4-BE49-F238E27FC236}">
                  <a16:creationId xmlns:a16="http://schemas.microsoft.com/office/drawing/2014/main" id="{70380A72-7916-4708-AEDE-AB17F276D7E0}"/>
                </a:ext>
              </a:extLst>
            </p:cNvPr>
            <p:cNvSpPr/>
            <p:nvPr/>
          </p:nvSpPr>
          <p:spPr bwMode="gray">
            <a:xfrm>
              <a:off x="914400" y="1898880"/>
              <a:ext cx="4526280" cy="4116692"/>
            </a:xfrm>
            <a:prstGeom prst="homePlate">
              <a:avLst>
                <a:gd name="adj" fmla="val 32653"/>
              </a:avLst>
            </a:prstGeom>
            <a:noFill/>
            <a:ln w="38100" algn="ctr">
              <a:solidFill>
                <a:schemeClr val="tx1"/>
              </a:solidFill>
              <a:miter lim="800000"/>
              <a:headEnd/>
              <a:tailEnd/>
            </a:ln>
          </p:spPr>
          <p:txBody>
            <a:bodyPr wrap="square" lIns="88900" tIns="88900" rIns="88900" bIns="88900" rtlCol="0" anchor="t"/>
            <a:lstStyle/>
            <a:p>
              <a:pPr algn="ctr">
                <a:lnSpc>
                  <a:spcPct val="106000"/>
                </a:lnSpc>
                <a:buFont typeface="Wingdings 2" pitchFamily="18" charset="2"/>
                <a:buNone/>
              </a:pPr>
              <a:endParaRPr lang="en-US" sz="1200" b="1" dirty="0">
                <a:solidFill>
                  <a:schemeClr val="bg1"/>
                </a:solidFill>
              </a:endParaRPr>
            </a:p>
          </p:txBody>
        </p:sp>
        <p:sp>
          <p:nvSpPr>
            <p:cNvPr id="10" name="TextBox 9">
              <a:extLst>
                <a:ext uri="{FF2B5EF4-FFF2-40B4-BE49-F238E27FC236}">
                  <a16:creationId xmlns:a16="http://schemas.microsoft.com/office/drawing/2014/main" id="{AFDE668C-ECE1-4C72-B06F-47F516A28B05}"/>
                </a:ext>
              </a:extLst>
            </p:cNvPr>
            <p:cNvSpPr txBox="1"/>
            <p:nvPr/>
          </p:nvSpPr>
          <p:spPr>
            <a:xfrm>
              <a:off x="799072" y="1553808"/>
              <a:ext cx="3496586" cy="276999"/>
            </a:xfrm>
            <a:prstGeom prst="rect">
              <a:avLst/>
            </a:prstGeom>
            <a:noFill/>
          </p:spPr>
          <p:txBody>
            <a:bodyPr wrap="square" rtlCol="0">
              <a:spAutoFit/>
            </a:bodyPr>
            <a:lstStyle/>
            <a:p>
              <a:pPr algn="ctr" eaLnBrk="0" fontAlgn="base" hangingPunct="0">
                <a:spcBef>
                  <a:spcPct val="0"/>
                </a:spcBef>
                <a:spcAft>
                  <a:spcPct val="0"/>
                </a:spcAft>
              </a:pPr>
              <a:r>
                <a:rPr lang="en-GB" sz="1200" b="1" dirty="0">
                  <a:ea typeface="ＭＳ Ｐゴシック" charset="0"/>
                  <a:cs typeface="Arial" charset="0"/>
                </a:rPr>
                <a:t>Current State </a:t>
              </a:r>
            </a:p>
          </p:txBody>
        </p:sp>
        <p:sp>
          <p:nvSpPr>
            <p:cNvPr id="36" name="Rounded Rectangle 3">
              <a:extLst>
                <a:ext uri="{FF2B5EF4-FFF2-40B4-BE49-F238E27FC236}">
                  <a16:creationId xmlns:a16="http://schemas.microsoft.com/office/drawing/2014/main" id="{CBD9D841-D7BC-4295-8314-544DA6768EED}"/>
                </a:ext>
              </a:extLst>
            </p:cNvPr>
            <p:cNvSpPr/>
            <p:nvPr/>
          </p:nvSpPr>
          <p:spPr bwMode="gray">
            <a:xfrm>
              <a:off x="773738" y="6076628"/>
              <a:ext cx="3547255" cy="390058"/>
            </a:xfrm>
            <a:prstGeom prst="round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t>Negative Operating Earnings</a:t>
              </a:r>
            </a:p>
          </p:txBody>
        </p:sp>
        <p:grpSp>
          <p:nvGrpSpPr>
            <p:cNvPr id="37" name="Group 36">
              <a:extLst>
                <a:ext uri="{FF2B5EF4-FFF2-40B4-BE49-F238E27FC236}">
                  <a16:creationId xmlns:a16="http://schemas.microsoft.com/office/drawing/2014/main" id="{EE49D681-E008-4193-9281-D4F0669FFD2C}"/>
                </a:ext>
              </a:extLst>
            </p:cNvPr>
            <p:cNvGrpSpPr/>
            <p:nvPr/>
          </p:nvGrpSpPr>
          <p:grpSpPr>
            <a:xfrm>
              <a:off x="951945" y="2014457"/>
              <a:ext cx="3190840" cy="3888821"/>
              <a:chOff x="693563" y="1810545"/>
              <a:chExt cx="3560439" cy="3888821"/>
            </a:xfrm>
          </p:grpSpPr>
          <p:sp>
            <p:nvSpPr>
              <p:cNvPr id="38" name="Rectangle 37">
                <a:extLst>
                  <a:ext uri="{FF2B5EF4-FFF2-40B4-BE49-F238E27FC236}">
                    <a16:creationId xmlns:a16="http://schemas.microsoft.com/office/drawing/2014/main" id="{9F99D3DC-1E15-47E8-B9B2-2222A0B69FB6}"/>
                  </a:ext>
                </a:extLst>
              </p:cNvPr>
              <p:cNvSpPr/>
              <p:nvPr/>
            </p:nvSpPr>
            <p:spPr bwMode="gray">
              <a:xfrm>
                <a:off x="693563" y="2603964"/>
                <a:ext cx="1086651" cy="715144"/>
              </a:xfrm>
              <a:prstGeom prst="rect">
                <a:avLst/>
              </a:prstGeom>
              <a:solidFill>
                <a:schemeClr val="accent2"/>
              </a:solidFill>
              <a:ln w="19050" algn="ctr">
                <a:solidFill>
                  <a:schemeClr val="accent2"/>
                </a:solid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pPr>
                <a:r>
                  <a:rPr lang="en-US" sz="1050" b="1" dirty="0">
                    <a:solidFill>
                      <a:schemeClr val="bg1"/>
                    </a:solidFill>
                  </a:rPr>
                  <a:t>Pricing</a:t>
                </a:r>
              </a:p>
            </p:txBody>
          </p:sp>
          <p:sp>
            <p:nvSpPr>
              <p:cNvPr id="39" name="Rectangle 38">
                <a:extLst>
                  <a:ext uri="{FF2B5EF4-FFF2-40B4-BE49-F238E27FC236}">
                    <a16:creationId xmlns:a16="http://schemas.microsoft.com/office/drawing/2014/main" id="{31C20B27-660F-44C3-AA67-284262AE256C}"/>
                  </a:ext>
                </a:extLst>
              </p:cNvPr>
              <p:cNvSpPr/>
              <p:nvPr/>
            </p:nvSpPr>
            <p:spPr bwMode="gray">
              <a:xfrm>
                <a:off x="693563" y="3397383"/>
                <a:ext cx="1086651" cy="715144"/>
              </a:xfrm>
              <a:prstGeom prst="rect">
                <a:avLst/>
              </a:prstGeom>
              <a:solidFill>
                <a:schemeClr val="accent3"/>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buFont typeface="Wingdings 2" pitchFamily="18" charset="2"/>
                  <a:buNone/>
                </a:pPr>
                <a:r>
                  <a:rPr lang="en-US" sz="1050" b="1" dirty="0">
                    <a:solidFill>
                      <a:schemeClr val="bg1"/>
                    </a:solidFill>
                  </a:rPr>
                  <a:t>Operating Model</a:t>
                </a:r>
                <a:endParaRPr lang="en-US" sz="1050" dirty="0">
                  <a:solidFill>
                    <a:schemeClr val="bg1"/>
                  </a:solidFill>
                </a:endParaRPr>
              </a:p>
            </p:txBody>
          </p:sp>
          <p:sp>
            <p:nvSpPr>
              <p:cNvPr id="40" name="Rectangle 39">
                <a:extLst>
                  <a:ext uri="{FF2B5EF4-FFF2-40B4-BE49-F238E27FC236}">
                    <a16:creationId xmlns:a16="http://schemas.microsoft.com/office/drawing/2014/main" id="{5A1550B9-04E5-4BFD-AEF3-EC0C5A82FC82}"/>
                  </a:ext>
                </a:extLst>
              </p:cNvPr>
              <p:cNvSpPr/>
              <p:nvPr/>
            </p:nvSpPr>
            <p:spPr bwMode="gray">
              <a:xfrm>
                <a:off x="693563" y="4190802"/>
                <a:ext cx="1086651" cy="715144"/>
              </a:xfrm>
              <a:prstGeom prst="rect">
                <a:avLst/>
              </a:prstGeom>
              <a:solidFill>
                <a:schemeClr val="accent5"/>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buFont typeface="Wingdings 2" pitchFamily="18" charset="2"/>
                  <a:buNone/>
                </a:pPr>
                <a:r>
                  <a:rPr lang="en-US" sz="1050" b="1" dirty="0">
                    <a:solidFill>
                      <a:schemeClr val="bg1"/>
                    </a:solidFill>
                  </a:rPr>
                  <a:t>Offerings</a:t>
                </a:r>
                <a:endParaRPr lang="en-US" sz="1050" dirty="0">
                  <a:solidFill>
                    <a:schemeClr val="bg1"/>
                  </a:solidFill>
                </a:endParaRPr>
              </a:p>
            </p:txBody>
          </p:sp>
          <p:sp>
            <p:nvSpPr>
              <p:cNvPr id="41" name="Rectangle 40">
                <a:extLst>
                  <a:ext uri="{FF2B5EF4-FFF2-40B4-BE49-F238E27FC236}">
                    <a16:creationId xmlns:a16="http://schemas.microsoft.com/office/drawing/2014/main" id="{5F4E31C7-08EF-459B-B7CD-6BE9D19382BA}"/>
                  </a:ext>
                </a:extLst>
              </p:cNvPr>
              <p:cNvSpPr/>
              <p:nvPr/>
            </p:nvSpPr>
            <p:spPr bwMode="gray">
              <a:xfrm>
                <a:off x="693563" y="4984222"/>
                <a:ext cx="1086651" cy="715144"/>
              </a:xfrm>
              <a:prstGeom prst="rect">
                <a:avLst/>
              </a:prstGeom>
              <a:solidFill>
                <a:schemeClr val="accent6"/>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buFont typeface="Wingdings 2" pitchFamily="18" charset="2"/>
                  <a:buNone/>
                </a:pPr>
                <a:r>
                  <a:rPr lang="en-US" sz="1050" b="1" dirty="0">
                    <a:solidFill>
                      <a:schemeClr val="bg1"/>
                    </a:solidFill>
                  </a:rPr>
                  <a:t>Selling Process</a:t>
                </a:r>
                <a:endParaRPr lang="en-US" sz="1050" dirty="0">
                  <a:solidFill>
                    <a:schemeClr val="bg1"/>
                  </a:solidFill>
                </a:endParaRPr>
              </a:p>
            </p:txBody>
          </p:sp>
          <p:sp>
            <p:nvSpPr>
              <p:cNvPr id="42" name="TextBox 41">
                <a:extLst>
                  <a:ext uri="{FF2B5EF4-FFF2-40B4-BE49-F238E27FC236}">
                    <a16:creationId xmlns:a16="http://schemas.microsoft.com/office/drawing/2014/main" id="{CBD0096B-8600-4112-949E-35F07EED5699}"/>
                  </a:ext>
                </a:extLst>
              </p:cNvPr>
              <p:cNvSpPr txBox="1"/>
              <p:nvPr/>
            </p:nvSpPr>
            <p:spPr>
              <a:xfrm>
                <a:off x="1840352" y="2734035"/>
                <a:ext cx="2413650" cy="253916"/>
              </a:xfrm>
              <a:prstGeom prst="rect">
                <a:avLst/>
              </a:prstGeom>
              <a:noFill/>
            </p:spPr>
            <p:txBody>
              <a:bodyPr wrap="square" rtlCol="0">
                <a:spAutoFit/>
              </a:bodyPr>
              <a:lstStyle/>
              <a:p>
                <a:pPr eaLnBrk="0" fontAlgn="base" hangingPunct="0">
                  <a:spcBef>
                    <a:spcPct val="0"/>
                  </a:spcBef>
                  <a:spcAft>
                    <a:spcPct val="0"/>
                  </a:spcAft>
                </a:pPr>
                <a:r>
                  <a:rPr lang="en-GB" sz="1050" i="1" dirty="0">
                    <a:ea typeface="ＭＳ Ｐゴシック" charset="0"/>
                    <a:cs typeface="Arial" charset="0"/>
                  </a:rPr>
                  <a:t>Cost-plus pricing (government-based) </a:t>
                </a:r>
              </a:p>
            </p:txBody>
          </p:sp>
          <p:sp>
            <p:nvSpPr>
              <p:cNvPr id="43" name="TextBox 42">
                <a:extLst>
                  <a:ext uri="{FF2B5EF4-FFF2-40B4-BE49-F238E27FC236}">
                    <a16:creationId xmlns:a16="http://schemas.microsoft.com/office/drawing/2014/main" id="{93C93B61-A09B-41F2-81C0-4BA33BF3F088}"/>
                  </a:ext>
                </a:extLst>
              </p:cNvPr>
              <p:cNvSpPr txBox="1"/>
              <p:nvPr/>
            </p:nvSpPr>
            <p:spPr>
              <a:xfrm>
                <a:off x="1840352" y="3527349"/>
                <a:ext cx="2413650" cy="253916"/>
              </a:xfrm>
              <a:prstGeom prst="rect">
                <a:avLst/>
              </a:prstGeom>
              <a:noFill/>
            </p:spPr>
            <p:txBody>
              <a:bodyPr wrap="square" rtlCol="0">
                <a:spAutoFit/>
              </a:bodyPr>
              <a:lstStyle/>
              <a:p>
                <a:pPr eaLnBrk="0" fontAlgn="base" hangingPunct="0">
                  <a:spcBef>
                    <a:spcPct val="0"/>
                  </a:spcBef>
                  <a:spcAft>
                    <a:spcPct val="0"/>
                  </a:spcAft>
                </a:pPr>
                <a:r>
                  <a:rPr lang="en-GB" sz="1050" i="1" dirty="0">
                    <a:ea typeface="ＭＳ Ｐゴシック" charset="0"/>
                    <a:cs typeface="Arial" charset="0"/>
                  </a:rPr>
                  <a:t>Government-focused operating model</a:t>
                </a:r>
              </a:p>
            </p:txBody>
          </p:sp>
          <p:sp>
            <p:nvSpPr>
              <p:cNvPr id="44" name="TextBox 43">
                <a:extLst>
                  <a:ext uri="{FF2B5EF4-FFF2-40B4-BE49-F238E27FC236}">
                    <a16:creationId xmlns:a16="http://schemas.microsoft.com/office/drawing/2014/main" id="{FD28D9E6-16E6-448A-A57B-02326B1B4FFB}"/>
                  </a:ext>
                </a:extLst>
              </p:cNvPr>
              <p:cNvSpPr txBox="1"/>
              <p:nvPr/>
            </p:nvSpPr>
            <p:spPr>
              <a:xfrm>
                <a:off x="1840352" y="4322357"/>
                <a:ext cx="2070904" cy="430887"/>
              </a:xfrm>
              <a:prstGeom prst="rect">
                <a:avLst/>
              </a:prstGeom>
              <a:noFill/>
            </p:spPr>
            <p:txBody>
              <a:bodyPr wrap="square" rtlCol="0">
                <a:spAutoFit/>
              </a:bodyPr>
              <a:lstStyle/>
              <a:p>
                <a:pPr eaLnBrk="0" fontAlgn="base" hangingPunct="0">
                  <a:spcBef>
                    <a:spcPct val="0"/>
                  </a:spcBef>
                  <a:spcAft>
                    <a:spcPct val="0"/>
                  </a:spcAft>
                </a:pPr>
                <a:r>
                  <a:rPr lang="en-GB" sz="1050" i="1" dirty="0">
                    <a:ea typeface="ＭＳ Ｐゴシック" charset="0"/>
                    <a:cs typeface="Arial" charset="0"/>
                  </a:rPr>
                  <a:t>Disconnected product-based offerings</a:t>
                </a:r>
              </a:p>
            </p:txBody>
          </p:sp>
          <p:sp>
            <p:nvSpPr>
              <p:cNvPr id="45" name="TextBox 44">
                <a:extLst>
                  <a:ext uri="{FF2B5EF4-FFF2-40B4-BE49-F238E27FC236}">
                    <a16:creationId xmlns:a16="http://schemas.microsoft.com/office/drawing/2014/main" id="{578FFB77-2450-44B3-8E7B-E219F51527F9}"/>
                  </a:ext>
                </a:extLst>
              </p:cNvPr>
              <p:cNvSpPr txBox="1"/>
              <p:nvPr/>
            </p:nvSpPr>
            <p:spPr>
              <a:xfrm>
                <a:off x="1840352" y="5094292"/>
                <a:ext cx="2255543" cy="430887"/>
              </a:xfrm>
              <a:prstGeom prst="rect">
                <a:avLst/>
              </a:prstGeom>
              <a:noFill/>
            </p:spPr>
            <p:txBody>
              <a:bodyPr wrap="square" rtlCol="0">
                <a:spAutoFit/>
              </a:bodyPr>
              <a:lstStyle/>
              <a:p>
                <a:pPr eaLnBrk="0" fontAlgn="base" hangingPunct="0">
                  <a:spcBef>
                    <a:spcPct val="0"/>
                  </a:spcBef>
                  <a:spcAft>
                    <a:spcPct val="0"/>
                  </a:spcAft>
                </a:pPr>
                <a:r>
                  <a:rPr lang="en-GB" sz="1050" i="1" dirty="0">
                    <a:ea typeface="ＭＳ Ｐゴシック" charset="0"/>
                    <a:cs typeface="Arial" charset="0"/>
                  </a:rPr>
                  <a:t>Functional and reactive sales process</a:t>
                </a:r>
              </a:p>
            </p:txBody>
          </p:sp>
          <p:sp>
            <p:nvSpPr>
              <p:cNvPr id="46" name="Rectangle 45">
                <a:extLst>
                  <a:ext uri="{FF2B5EF4-FFF2-40B4-BE49-F238E27FC236}">
                    <a16:creationId xmlns:a16="http://schemas.microsoft.com/office/drawing/2014/main" id="{C728C5F4-B216-4ADB-B796-CD30B9328066}"/>
                  </a:ext>
                </a:extLst>
              </p:cNvPr>
              <p:cNvSpPr/>
              <p:nvPr/>
            </p:nvSpPr>
            <p:spPr bwMode="gray">
              <a:xfrm>
                <a:off x="693563" y="1810545"/>
                <a:ext cx="1086651" cy="715144"/>
              </a:xfrm>
              <a:prstGeom prst="rect">
                <a:avLst/>
              </a:prstGeom>
              <a:solidFill>
                <a:schemeClr val="accent4"/>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nSpc>
                    <a:spcPct val="106000"/>
                  </a:lnSpc>
                  <a:buFont typeface="Wingdings 2" pitchFamily="18" charset="2"/>
                  <a:buNone/>
                </a:pPr>
                <a:r>
                  <a:rPr lang="en-US" sz="1050" b="1" dirty="0">
                    <a:solidFill>
                      <a:schemeClr val="bg1"/>
                    </a:solidFill>
                  </a:rPr>
                  <a:t>Overall Strategy </a:t>
                </a:r>
                <a:endParaRPr lang="en-US" sz="1050" dirty="0">
                  <a:solidFill>
                    <a:schemeClr val="bg1"/>
                  </a:solidFill>
                </a:endParaRPr>
              </a:p>
            </p:txBody>
          </p:sp>
          <p:sp>
            <p:nvSpPr>
              <p:cNvPr id="47" name="TextBox 46">
                <a:extLst>
                  <a:ext uri="{FF2B5EF4-FFF2-40B4-BE49-F238E27FC236}">
                    <a16:creationId xmlns:a16="http://schemas.microsoft.com/office/drawing/2014/main" id="{60934C52-7ED1-4F9C-AA74-48DD4F7317E5}"/>
                  </a:ext>
                </a:extLst>
              </p:cNvPr>
              <p:cNvSpPr txBox="1"/>
              <p:nvPr/>
            </p:nvSpPr>
            <p:spPr>
              <a:xfrm>
                <a:off x="1840352" y="1939874"/>
                <a:ext cx="2014274" cy="430887"/>
              </a:xfrm>
              <a:prstGeom prst="rect">
                <a:avLst/>
              </a:prstGeom>
              <a:noFill/>
            </p:spPr>
            <p:txBody>
              <a:bodyPr wrap="square" rtlCol="0">
                <a:spAutoFit/>
              </a:bodyPr>
              <a:lstStyle/>
              <a:p>
                <a:pPr eaLnBrk="0" fontAlgn="base" hangingPunct="0">
                  <a:spcBef>
                    <a:spcPct val="0"/>
                  </a:spcBef>
                  <a:spcAft>
                    <a:spcPct val="0"/>
                  </a:spcAft>
                </a:pPr>
                <a:r>
                  <a:rPr lang="en-GB" sz="1050" i="1" dirty="0">
                    <a:ea typeface="ＭＳ Ｐゴシック" charset="0"/>
                    <a:cs typeface="Arial" charset="0"/>
                  </a:rPr>
                  <a:t>Internally-driven priorities and focus</a:t>
                </a:r>
              </a:p>
            </p:txBody>
          </p:sp>
        </p:grpSp>
      </p:grpSp>
      <p:sp>
        <p:nvSpPr>
          <p:cNvPr id="2" name="Title 1">
            <a:extLst>
              <a:ext uri="{FF2B5EF4-FFF2-40B4-BE49-F238E27FC236}">
                <a16:creationId xmlns:a16="http://schemas.microsoft.com/office/drawing/2014/main" id="{944B48EE-7197-45CA-9DF5-32D04600E71E}"/>
              </a:ext>
            </a:extLst>
          </p:cNvPr>
          <p:cNvSpPr>
            <a:spLocks noGrp="1"/>
          </p:cNvSpPr>
          <p:nvPr>
            <p:ph type="title"/>
          </p:nvPr>
        </p:nvSpPr>
        <p:spPr/>
        <p:txBody>
          <a:bodyPr/>
          <a:lstStyle/>
          <a:p>
            <a:r>
              <a:rPr lang="en-US" dirty="0"/>
              <a:t>Bold changes are required to improve profitability</a:t>
            </a:r>
          </a:p>
        </p:txBody>
      </p:sp>
      <p:sp>
        <p:nvSpPr>
          <p:cNvPr id="4" name="Text Placeholder 3">
            <a:extLst>
              <a:ext uri="{FF2B5EF4-FFF2-40B4-BE49-F238E27FC236}">
                <a16:creationId xmlns:a16="http://schemas.microsoft.com/office/drawing/2014/main" id="{517E6255-DF92-4B26-9668-CE000A3E8587}"/>
              </a:ext>
            </a:extLst>
          </p:cNvPr>
          <p:cNvSpPr>
            <a:spLocks noGrp="1"/>
          </p:cNvSpPr>
          <p:nvPr>
            <p:ph type="body" sz="quarter" idx="15"/>
          </p:nvPr>
        </p:nvSpPr>
        <p:spPr/>
        <p:txBody>
          <a:bodyPr/>
          <a:lstStyle/>
          <a:p>
            <a:r>
              <a:rPr lang="en-US" dirty="0"/>
              <a:t>Process &amp; customer journey</a:t>
            </a:r>
          </a:p>
        </p:txBody>
      </p:sp>
      <p:grpSp>
        <p:nvGrpSpPr>
          <p:cNvPr id="67" name="Group 66">
            <a:extLst>
              <a:ext uri="{FF2B5EF4-FFF2-40B4-BE49-F238E27FC236}">
                <a16:creationId xmlns:a16="http://schemas.microsoft.com/office/drawing/2014/main" id="{2BA15908-E678-4FD2-92AF-4DAEDBD0B264}"/>
              </a:ext>
            </a:extLst>
          </p:cNvPr>
          <p:cNvGrpSpPr/>
          <p:nvPr/>
        </p:nvGrpSpPr>
        <p:grpSpPr>
          <a:xfrm>
            <a:off x="4402008" y="1820121"/>
            <a:ext cx="3466725" cy="3738893"/>
            <a:chOff x="4404360" y="1749001"/>
            <a:chExt cx="3466725" cy="3738893"/>
          </a:xfrm>
        </p:grpSpPr>
        <p:sp>
          <p:nvSpPr>
            <p:cNvPr id="9" name="Oval 8">
              <a:extLst>
                <a:ext uri="{FF2B5EF4-FFF2-40B4-BE49-F238E27FC236}">
                  <a16:creationId xmlns:a16="http://schemas.microsoft.com/office/drawing/2014/main" id="{1B0E7468-AF5F-4433-97D5-9EA93C293F8E}"/>
                </a:ext>
              </a:extLst>
            </p:cNvPr>
            <p:cNvSpPr/>
            <p:nvPr/>
          </p:nvSpPr>
          <p:spPr bwMode="gray">
            <a:xfrm>
              <a:off x="4564380" y="2211668"/>
              <a:ext cx="3063240" cy="3127248"/>
            </a:xfrm>
            <a:prstGeom prst="ellipse">
              <a:avLst/>
            </a:prstGeom>
            <a:solidFill>
              <a:schemeClr val="bg1"/>
            </a:solidFill>
            <a:ln w="38100" algn="ctr">
              <a:solidFill>
                <a:schemeClr val="accent1"/>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12" name="TextBox 11">
              <a:extLst>
                <a:ext uri="{FF2B5EF4-FFF2-40B4-BE49-F238E27FC236}">
                  <a16:creationId xmlns:a16="http://schemas.microsoft.com/office/drawing/2014/main" id="{08ED440C-42D8-40F8-9DF7-E01AA1CA744C}"/>
                </a:ext>
              </a:extLst>
            </p:cNvPr>
            <p:cNvSpPr txBox="1"/>
            <p:nvPr/>
          </p:nvSpPr>
          <p:spPr>
            <a:xfrm>
              <a:off x="5444061" y="4453730"/>
              <a:ext cx="1734591" cy="276999"/>
            </a:xfrm>
            <a:prstGeom prst="rect">
              <a:avLst/>
            </a:prstGeom>
            <a:noFill/>
          </p:spPr>
          <p:txBody>
            <a:bodyPr vert="horz" wrap="square" lIns="0" tIns="0" rIns="0" bIns="0" rtlCol="0">
              <a:spAutoFit/>
            </a:bodyPr>
            <a:lstStyle/>
            <a:p>
              <a:r>
                <a:rPr lang="en-US" sz="900" dirty="0"/>
                <a:t>Operating Model, Policies &amp; Procedures</a:t>
              </a:r>
            </a:p>
          </p:txBody>
        </p:sp>
        <p:grpSp>
          <p:nvGrpSpPr>
            <p:cNvPr id="13" name="Group 526">
              <a:extLst>
                <a:ext uri="{FF2B5EF4-FFF2-40B4-BE49-F238E27FC236}">
                  <a16:creationId xmlns:a16="http://schemas.microsoft.com/office/drawing/2014/main" id="{0155AEC9-C248-457F-AE92-2DFA229EBB81}"/>
                </a:ext>
              </a:extLst>
            </p:cNvPr>
            <p:cNvGrpSpPr>
              <a:grpSpLocks noChangeAspect="1"/>
            </p:cNvGrpSpPr>
            <p:nvPr/>
          </p:nvGrpSpPr>
          <p:grpSpPr bwMode="auto">
            <a:xfrm>
              <a:off x="4997838" y="4409349"/>
              <a:ext cx="365760" cy="365760"/>
              <a:chOff x="3464" y="1974"/>
              <a:chExt cx="340" cy="340"/>
            </a:xfrm>
            <a:solidFill>
              <a:schemeClr val="accent1"/>
            </a:solidFill>
          </p:grpSpPr>
          <p:sp>
            <p:nvSpPr>
              <p:cNvPr id="14" name="Freeform 527">
                <a:extLst>
                  <a:ext uri="{FF2B5EF4-FFF2-40B4-BE49-F238E27FC236}">
                    <a16:creationId xmlns:a16="http://schemas.microsoft.com/office/drawing/2014/main" id="{6C1DC1FF-F6B8-481E-A472-3ECAC4DEB059}"/>
                  </a:ext>
                </a:extLst>
              </p:cNvPr>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15" name="Freeform 528">
                <a:extLst>
                  <a:ext uri="{FF2B5EF4-FFF2-40B4-BE49-F238E27FC236}">
                    <a16:creationId xmlns:a16="http://schemas.microsoft.com/office/drawing/2014/main" id="{6AFF814E-F93E-49C0-977A-3E4ECF1BC2AF}"/>
                  </a:ext>
                </a:extLst>
              </p:cNvPr>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sp>
          <p:nvSpPr>
            <p:cNvPr id="16" name="TextBox 15">
              <a:extLst>
                <a:ext uri="{FF2B5EF4-FFF2-40B4-BE49-F238E27FC236}">
                  <a16:creationId xmlns:a16="http://schemas.microsoft.com/office/drawing/2014/main" id="{04514541-20EC-41AE-BED0-19109BF25DD8}"/>
                </a:ext>
              </a:extLst>
            </p:cNvPr>
            <p:cNvSpPr txBox="1"/>
            <p:nvPr/>
          </p:nvSpPr>
          <p:spPr>
            <a:xfrm>
              <a:off x="5444061" y="2813939"/>
              <a:ext cx="1830315" cy="276999"/>
            </a:xfrm>
            <a:prstGeom prst="rect">
              <a:avLst/>
            </a:prstGeom>
            <a:noFill/>
          </p:spPr>
          <p:txBody>
            <a:bodyPr vert="horz" wrap="square" lIns="0" tIns="0" rIns="0" bIns="0" rtlCol="0">
              <a:spAutoFit/>
            </a:bodyPr>
            <a:lstStyle/>
            <a:p>
              <a:r>
                <a:rPr lang="en-US" sz="900" dirty="0"/>
                <a:t>Portfolio, Market &amp; Channel Offerings</a:t>
              </a:r>
            </a:p>
          </p:txBody>
        </p:sp>
        <p:grpSp>
          <p:nvGrpSpPr>
            <p:cNvPr id="17" name="Group 16">
              <a:extLst>
                <a:ext uri="{FF2B5EF4-FFF2-40B4-BE49-F238E27FC236}">
                  <a16:creationId xmlns:a16="http://schemas.microsoft.com/office/drawing/2014/main" id="{78A58C0F-ABF4-41A6-A9D0-D5991AC9DED4}"/>
                </a:ext>
              </a:extLst>
            </p:cNvPr>
            <p:cNvGrpSpPr/>
            <p:nvPr/>
          </p:nvGrpSpPr>
          <p:grpSpPr>
            <a:xfrm>
              <a:off x="4997838" y="2769558"/>
              <a:ext cx="365760" cy="365760"/>
              <a:chOff x="4664864" y="2616143"/>
              <a:chExt cx="777240" cy="777240"/>
            </a:xfrm>
          </p:grpSpPr>
          <p:sp>
            <p:nvSpPr>
              <p:cNvPr id="18" name="Oval 40">
                <a:extLst>
                  <a:ext uri="{FF2B5EF4-FFF2-40B4-BE49-F238E27FC236}">
                    <a16:creationId xmlns:a16="http://schemas.microsoft.com/office/drawing/2014/main" id="{D68ABBB8-8FAD-41ED-AF0F-CF4E74BBB159}"/>
                  </a:ext>
                </a:extLst>
              </p:cNvPr>
              <p:cNvSpPr>
                <a:spLocks noChangeArrowheads="1"/>
              </p:cNvSpPr>
              <p:nvPr/>
            </p:nvSpPr>
            <p:spPr bwMode="auto">
              <a:xfrm>
                <a:off x="4664864" y="2616143"/>
                <a:ext cx="777240" cy="777240"/>
              </a:xfrm>
              <a:prstGeom prst="ellipse">
                <a:avLst/>
              </a:prstGeom>
              <a:solidFill>
                <a:schemeClr val="bg1"/>
              </a:solidFill>
              <a:ln w="12700">
                <a:noFill/>
                <a:round/>
                <a:headEnd/>
                <a:tailEnd/>
              </a:ln>
            </p:spPr>
            <p:txBody>
              <a:bodyPr wrap="square" lIns="88900" tIns="88900" rIns="88900" bIns="88900" anchor="ctr">
                <a:noAutofit/>
              </a:bodyPr>
              <a:lstStyle/>
              <a:p>
                <a:pPr algn="ctr" defTabSz="912813">
                  <a:spcBef>
                    <a:spcPct val="0"/>
                  </a:spcBef>
                  <a:spcAft>
                    <a:spcPct val="37000"/>
                  </a:spcAft>
                  <a:buSzPct val="75000"/>
                </a:pPr>
                <a:endParaRPr lang="en-US" sz="1050" dirty="0">
                  <a:solidFill>
                    <a:schemeClr val="bg1"/>
                  </a:solidFill>
                  <a:ea typeface="ＭＳ Ｐゴシック" pitchFamily="50" charset="-128"/>
                </a:endParaRPr>
              </a:p>
            </p:txBody>
          </p:sp>
          <p:sp>
            <p:nvSpPr>
              <p:cNvPr id="19" name="Freeform 158">
                <a:extLst>
                  <a:ext uri="{FF2B5EF4-FFF2-40B4-BE49-F238E27FC236}">
                    <a16:creationId xmlns:a16="http://schemas.microsoft.com/office/drawing/2014/main" id="{E2B77F43-D85C-481C-892C-C1D9E0E4635D}"/>
                  </a:ext>
                </a:extLst>
              </p:cNvPr>
              <p:cNvSpPr>
                <a:spLocks noEditPoints="1"/>
              </p:cNvSpPr>
              <p:nvPr/>
            </p:nvSpPr>
            <p:spPr bwMode="auto">
              <a:xfrm>
                <a:off x="4811168" y="2769305"/>
                <a:ext cx="484632" cy="470916"/>
              </a:xfrm>
              <a:custGeom>
                <a:avLst/>
                <a:gdLst>
                  <a:gd name="T0" fmla="*/ 254 w 320"/>
                  <a:gd name="T1" fmla="*/ 161 h 310"/>
                  <a:gd name="T2" fmla="*/ 244 w 320"/>
                  <a:gd name="T3" fmla="*/ 160 h 310"/>
                  <a:gd name="T4" fmla="*/ 198 w 320"/>
                  <a:gd name="T5" fmla="*/ 179 h 310"/>
                  <a:gd name="T6" fmla="*/ 192 w 320"/>
                  <a:gd name="T7" fmla="*/ 189 h 310"/>
                  <a:gd name="T8" fmla="*/ 192 w 320"/>
                  <a:gd name="T9" fmla="*/ 235 h 310"/>
                  <a:gd name="T10" fmla="*/ 196 w 320"/>
                  <a:gd name="T11" fmla="*/ 244 h 310"/>
                  <a:gd name="T12" fmla="*/ 202 w 320"/>
                  <a:gd name="T13" fmla="*/ 246 h 310"/>
                  <a:gd name="T14" fmla="*/ 207 w 320"/>
                  <a:gd name="T15" fmla="*/ 245 h 310"/>
                  <a:gd name="T16" fmla="*/ 252 w 320"/>
                  <a:gd name="T17" fmla="*/ 225 h 310"/>
                  <a:gd name="T18" fmla="*/ 259 w 320"/>
                  <a:gd name="T19" fmla="*/ 215 h 310"/>
                  <a:gd name="T20" fmla="*/ 259 w 320"/>
                  <a:gd name="T21" fmla="*/ 169 h 310"/>
                  <a:gd name="T22" fmla="*/ 254 w 320"/>
                  <a:gd name="T23" fmla="*/ 161 h 310"/>
                  <a:gd name="T24" fmla="*/ 238 w 320"/>
                  <a:gd name="T25" fmla="*/ 208 h 310"/>
                  <a:gd name="T26" fmla="*/ 213 w 320"/>
                  <a:gd name="T27" fmla="*/ 219 h 310"/>
                  <a:gd name="T28" fmla="*/ 213 w 320"/>
                  <a:gd name="T29" fmla="*/ 196 h 310"/>
                  <a:gd name="T30" fmla="*/ 238 w 320"/>
                  <a:gd name="T31" fmla="*/ 186 h 310"/>
                  <a:gd name="T32" fmla="*/ 238 w 320"/>
                  <a:gd name="T33" fmla="*/ 208 h 310"/>
                  <a:gd name="T34" fmla="*/ 313 w 320"/>
                  <a:gd name="T35" fmla="*/ 65 h 310"/>
                  <a:gd name="T36" fmla="*/ 164 w 320"/>
                  <a:gd name="T37" fmla="*/ 1 h 310"/>
                  <a:gd name="T38" fmla="*/ 155 w 320"/>
                  <a:gd name="T39" fmla="*/ 1 h 310"/>
                  <a:gd name="T40" fmla="*/ 6 w 320"/>
                  <a:gd name="T41" fmla="*/ 65 h 310"/>
                  <a:gd name="T42" fmla="*/ 6 w 320"/>
                  <a:gd name="T43" fmla="*/ 65 h 310"/>
                  <a:gd name="T44" fmla="*/ 6 w 320"/>
                  <a:gd name="T45" fmla="*/ 65 h 310"/>
                  <a:gd name="T46" fmla="*/ 6 w 320"/>
                  <a:gd name="T47" fmla="*/ 65 h 310"/>
                  <a:gd name="T48" fmla="*/ 0 w 320"/>
                  <a:gd name="T49" fmla="*/ 75 h 310"/>
                  <a:gd name="T50" fmla="*/ 0 w 320"/>
                  <a:gd name="T51" fmla="*/ 224 h 310"/>
                  <a:gd name="T52" fmla="*/ 6 w 320"/>
                  <a:gd name="T53" fmla="*/ 234 h 310"/>
                  <a:gd name="T54" fmla="*/ 155 w 320"/>
                  <a:gd name="T55" fmla="*/ 309 h 310"/>
                  <a:gd name="T56" fmla="*/ 160 w 320"/>
                  <a:gd name="T57" fmla="*/ 310 h 310"/>
                  <a:gd name="T58" fmla="*/ 160 w 320"/>
                  <a:gd name="T59" fmla="*/ 310 h 310"/>
                  <a:gd name="T60" fmla="*/ 160 w 320"/>
                  <a:gd name="T61" fmla="*/ 310 h 310"/>
                  <a:gd name="T62" fmla="*/ 160 w 320"/>
                  <a:gd name="T63" fmla="*/ 310 h 310"/>
                  <a:gd name="T64" fmla="*/ 163 w 320"/>
                  <a:gd name="T65" fmla="*/ 309 h 310"/>
                  <a:gd name="T66" fmla="*/ 164 w 320"/>
                  <a:gd name="T67" fmla="*/ 309 h 310"/>
                  <a:gd name="T68" fmla="*/ 313 w 320"/>
                  <a:gd name="T69" fmla="*/ 245 h 310"/>
                  <a:gd name="T70" fmla="*/ 320 w 320"/>
                  <a:gd name="T71" fmla="*/ 235 h 310"/>
                  <a:gd name="T72" fmla="*/ 320 w 320"/>
                  <a:gd name="T73" fmla="*/ 75 h 310"/>
                  <a:gd name="T74" fmla="*/ 313 w 320"/>
                  <a:gd name="T75" fmla="*/ 65 h 310"/>
                  <a:gd name="T76" fmla="*/ 160 w 320"/>
                  <a:gd name="T77" fmla="*/ 127 h 310"/>
                  <a:gd name="T78" fmla="*/ 112 w 320"/>
                  <a:gd name="T79" fmla="*/ 107 h 310"/>
                  <a:gd name="T80" fmla="*/ 234 w 320"/>
                  <a:gd name="T81" fmla="*/ 55 h 310"/>
                  <a:gd name="T82" fmla="*/ 282 w 320"/>
                  <a:gd name="T83" fmla="*/ 75 h 310"/>
                  <a:gd name="T84" fmla="*/ 160 w 320"/>
                  <a:gd name="T85" fmla="*/ 127 h 310"/>
                  <a:gd name="T86" fmla="*/ 160 w 320"/>
                  <a:gd name="T87" fmla="*/ 23 h 310"/>
                  <a:gd name="T88" fmla="*/ 207 w 320"/>
                  <a:gd name="T89" fmla="*/ 43 h 310"/>
                  <a:gd name="T90" fmla="*/ 85 w 320"/>
                  <a:gd name="T91" fmla="*/ 95 h 310"/>
                  <a:gd name="T92" fmla="*/ 37 w 320"/>
                  <a:gd name="T93" fmla="*/ 75 h 310"/>
                  <a:gd name="T94" fmla="*/ 160 w 320"/>
                  <a:gd name="T95" fmla="*/ 23 h 310"/>
                  <a:gd name="T96" fmla="*/ 21 w 320"/>
                  <a:gd name="T97" fmla="*/ 218 h 310"/>
                  <a:gd name="T98" fmla="*/ 21 w 320"/>
                  <a:gd name="T99" fmla="*/ 91 h 310"/>
                  <a:gd name="T100" fmla="*/ 149 w 320"/>
                  <a:gd name="T101" fmla="*/ 146 h 310"/>
                  <a:gd name="T102" fmla="*/ 149 w 320"/>
                  <a:gd name="T103" fmla="*/ 282 h 310"/>
                  <a:gd name="T104" fmla="*/ 21 w 320"/>
                  <a:gd name="T105" fmla="*/ 218 h 310"/>
                  <a:gd name="T106" fmla="*/ 170 w 320"/>
                  <a:gd name="T107" fmla="*/ 283 h 310"/>
                  <a:gd name="T108" fmla="*/ 170 w 320"/>
                  <a:gd name="T109" fmla="*/ 146 h 310"/>
                  <a:gd name="T110" fmla="*/ 298 w 320"/>
                  <a:gd name="T111" fmla="*/ 91 h 310"/>
                  <a:gd name="T112" fmla="*/ 298 w 320"/>
                  <a:gd name="T113" fmla="*/ 228 h 310"/>
                  <a:gd name="T114" fmla="*/ 170 w 320"/>
                  <a:gd name="T115"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10">
                    <a:moveTo>
                      <a:pt x="254" y="161"/>
                    </a:moveTo>
                    <a:cubicBezTo>
                      <a:pt x="251" y="159"/>
                      <a:pt x="247" y="158"/>
                      <a:pt x="244" y="160"/>
                    </a:cubicBezTo>
                    <a:cubicBezTo>
                      <a:pt x="198" y="179"/>
                      <a:pt x="198" y="179"/>
                      <a:pt x="198" y="179"/>
                    </a:cubicBezTo>
                    <a:cubicBezTo>
                      <a:pt x="194" y="181"/>
                      <a:pt x="192" y="185"/>
                      <a:pt x="192" y="189"/>
                    </a:cubicBezTo>
                    <a:cubicBezTo>
                      <a:pt x="192" y="235"/>
                      <a:pt x="192" y="235"/>
                      <a:pt x="192" y="235"/>
                    </a:cubicBezTo>
                    <a:cubicBezTo>
                      <a:pt x="192" y="239"/>
                      <a:pt x="193" y="242"/>
                      <a:pt x="196" y="244"/>
                    </a:cubicBezTo>
                    <a:cubicBezTo>
                      <a:pt x="198" y="245"/>
                      <a:pt x="200" y="246"/>
                      <a:pt x="202" y="246"/>
                    </a:cubicBezTo>
                    <a:cubicBezTo>
                      <a:pt x="204" y="246"/>
                      <a:pt x="205" y="245"/>
                      <a:pt x="207" y="245"/>
                    </a:cubicBezTo>
                    <a:cubicBezTo>
                      <a:pt x="252" y="225"/>
                      <a:pt x="252" y="225"/>
                      <a:pt x="252" y="225"/>
                    </a:cubicBezTo>
                    <a:cubicBezTo>
                      <a:pt x="256" y="223"/>
                      <a:pt x="259" y="220"/>
                      <a:pt x="259" y="215"/>
                    </a:cubicBezTo>
                    <a:cubicBezTo>
                      <a:pt x="259" y="169"/>
                      <a:pt x="259" y="169"/>
                      <a:pt x="259" y="169"/>
                    </a:cubicBezTo>
                    <a:cubicBezTo>
                      <a:pt x="259" y="166"/>
                      <a:pt x="257" y="163"/>
                      <a:pt x="254" y="161"/>
                    </a:cubicBezTo>
                    <a:close/>
                    <a:moveTo>
                      <a:pt x="238" y="208"/>
                    </a:moveTo>
                    <a:cubicBezTo>
                      <a:pt x="213" y="219"/>
                      <a:pt x="213" y="219"/>
                      <a:pt x="213" y="219"/>
                    </a:cubicBezTo>
                    <a:cubicBezTo>
                      <a:pt x="213" y="196"/>
                      <a:pt x="213" y="196"/>
                      <a:pt x="213" y="196"/>
                    </a:cubicBezTo>
                    <a:cubicBezTo>
                      <a:pt x="238" y="186"/>
                      <a:pt x="238" y="186"/>
                      <a:pt x="238" y="186"/>
                    </a:cubicBezTo>
                    <a:lnTo>
                      <a:pt x="238" y="208"/>
                    </a:lnTo>
                    <a:close/>
                    <a:moveTo>
                      <a:pt x="313" y="65"/>
                    </a:moveTo>
                    <a:cubicBezTo>
                      <a:pt x="164" y="1"/>
                      <a:pt x="164" y="1"/>
                      <a:pt x="164" y="1"/>
                    </a:cubicBezTo>
                    <a:cubicBezTo>
                      <a:pt x="161" y="0"/>
                      <a:pt x="158" y="0"/>
                      <a:pt x="155" y="1"/>
                    </a:cubicBezTo>
                    <a:cubicBezTo>
                      <a:pt x="6" y="65"/>
                      <a:pt x="6" y="65"/>
                      <a:pt x="6" y="65"/>
                    </a:cubicBezTo>
                    <a:cubicBezTo>
                      <a:pt x="6" y="65"/>
                      <a:pt x="6" y="65"/>
                      <a:pt x="6" y="65"/>
                    </a:cubicBezTo>
                    <a:cubicBezTo>
                      <a:pt x="6" y="65"/>
                      <a:pt x="6" y="65"/>
                      <a:pt x="6" y="65"/>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6" y="309"/>
                      <a:pt x="158"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1"/>
                      <a:pt x="317" y="67"/>
                      <a:pt x="313" y="65"/>
                    </a:cubicBezTo>
                    <a:close/>
                    <a:moveTo>
                      <a:pt x="160" y="127"/>
                    </a:moveTo>
                    <a:cubicBezTo>
                      <a:pt x="112" y="107"/>
                      <a:pt x="112" y="107"/>
                      <a:pt x="112" y="107"/>
                    </a:cubicBezTo>
                    <a:cubicBezTo>
                      <a:pt x="234" y="55"/>
                      <a:pt x="234" y="55"/>
                      <a:pt x="234" y="55"/>
                    </a:cubicBezTo>
                    <a:cubicBezTo>
                      <a:pt x="282" y="75"/>
                      <a:pt x="282" y="75"/>
                      <a:pt x="282" y="75"/>
                    </a:cubicBezTo>
                    <a:lnTo>
                      <a:pt x="160" y="127"/>
                    </a:lnTo>
                    <a:close/>
                    <a:moveTo>
                      <a:pt x="160" y="23"/>
                    </a:moveTo>
                    <a:cubicBezTo>
                      <a:pt x="207" y="43"/>
                      <a:pt x="207" y="43"/>
                      <a:pt x="207" y="43"/>
                    </a:cubicBezTo>
                    <a:cubicBezTo>
                      <a:pt x="85" y="95"/>
                      <a:pt x="85" y="95"/>
                      <a:pt x="85" y="95"/>
                    </a:cubicBezTo>
                    <a:cubicBezTo>
                      <a:pt x="37" y="75"/>
                      <a:pt x="37" y="75"/>
                      <a:pt x="37" y="75"/>
                    </a:cubicBezTo>
                    <a:lnTo>
                      <a:pt x="160" y="23"/>
                    </a:lnTo>
                    <a:close/>
                    <a:moveTo>
                      <a:pt x="21" y="218"/>
                    </a:moveTo>
                    <a:cubicBezTo>
                      <a:pt x="21" y="91"/>
                      <a:pt x="21" y="91"/>
                      <a:pt x="21" y="91"/>
                    </a:cubicBezTo>
                    <a:cubicBezTo>
                      <a:pt x="149" y="146"/>
                      <a:pt x="149" y="146"/>
                      <a:pt x="149" y="146"/>
                    </a:cubicBezTo>
                    <a:cubicBezTo>
                      <a:pt x="149" y="282"/>
                      <a:pt x="149" y="282"/>
                      <a:pt x="149" y="282"/>
                    </a:cubicBezTo>
                    <a:lnTo>
                      <a:pt x="21" y="218"/>
                    </a:lnTo>
                    <a:close/>
                    <a:moveTo>
                      <a:pt x="170" y="283"/>
                    </a:moveTo>
                    <a:cubicBezTo>
                      <a:pt x="170" y="146"/>
                      <a:pt x="170" y="146"/>
                      <a:pt x="170" y="146"/>
                    </a:cubicBezTo>
                    <a:cubicBezTo>
                      <a:pt x="298" y="91"/>
                      <a:pt x="298" y="91"/>
                      <a:pt x="298" y="91"/>
                    </a:cubicBezTo>
                    <a:cubicBezTo>
                      <a:pt x="298" y="117"/>
                      <a:pt x="298" y="228"/>
                      <a:pt x="298" y="228"/>
                    </a:cubicBezTo>
                    <a:lnTo>
                      <a:pt x="170" y="283"/>
                    </a:ln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50" dirty="0"/>
              </a:p>
            </p:txBody>
          </p:sp>
          <p:sp>
            <p:nvSpPr>
              <p:cNvPr id="20" name="Freeform 157">
                <a:extLst>
                  <a:ext uri="{FF2B5EF4-FFF2-40B4-BE49-F238E27FC236}">
                    <a16:creationId xmlns:a16="http://schemas.microsoft.com/office/drawing/2014/main" id="{C40DA9AD-9DCD-4845-8C27-F2D5E463282E}"/>
                  </a:ext>
                </a:extLst>
              </p:cNvPr>
              <p:cNvSpPr>
                <a:spLocks noEditPoints="1"/>
              </p:cNvSpPr>
              <p:nvPr/>
            </p:nvSpPr>
            <p:spPr bwMode="auto">
              <a:xfrm>
                <a:off x="4664864" y="2616143"/>
                <a:ext cx="777240" cy="7772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50" dirty="0"/>
              </a:p>
            </p:txBody>
          </p:sp>
        </p:grpSp>
        <p:sp>
          <p:nvSpPr>
            <p:cNvPr id="21" name="TextBox 20">
              <a:extLst>
                <a:ext uri="{FF2B5EF4-FFF2-40B4-BE49-F238E27FC236}">
                  <a16:creationId xmlns:a16="http://schemas.microsoft.com/office/drawing/2014/main" id="{EE704769-7A76-4ED7-B957-8182FC285614}"/>
                </a:ext>
              </a:extLst>
            </p:cNvPr>
            <p:cNvSpPr txBox="1"/>
            <p:nvPr/>
          </p:nvSpPr>
          <p:spPr>
            <a:xfrm>
              <a:off x="5444061" y="3223887"/>
              <a:ext cx="2075927" cy="276999"/>
            </a:xfrm>
            <a:prstGeom prst="rect">
              <a:avLst/>
            </a:prstGeom>
            <a:noFill/>
          </p:spPr>
          <p:txBody>
            <a:bodyPr vert="horz" wrap="square" lIns="0" tIns="0" rIns="0" bIns="0" rtlCol="0">
              <a:spAutoFit/>
            </a:bodyPr>
            <a:lstStyle/>
            <a:p>
              <a:r>
                <a:rPr lang="en-US" sz="900" dirty="0"/>
                <a:t>Sales Operations &amp; Pricing Effectiveness</a:t>
              </a:r>
            </a:p>
          </p:txBody>
        </p:sp>
        <p:grpSp>
          <p:nvGrpSpPr>
            <p:cNvPr id="22" name="Group 192">
              <a:extLst>
                <a:ext uri="{FF2B5EF4-FFF2-40B4-BE49-F238E27FC236}">
                  <a16:creationId xmlns:a16="http://schemas.microsoft.com/office/drawing/2014/main" id="{C3DA553E-57B7-493C-805A-07415A797ADF}"/>
                </a:ext>
              </a:extLst>
            </p:cNvPr>
            <p:cNvGrpSpPr>
              <a:grpSpLocks noChangeAspect="1"/>
            </p:cNvGrpSpPr>
            <p:nvPr/>
          </p:nvGrpSpPr>
          <p:grpSpPr bwMode="auto">
            <a:xfrm>
              <a:off x="4997838" y="3179506"/>
              <a:ext cx="365760" cy="365760"/>
              <a:chOff x="378" y="713"/>
              <a:chExt cx="340" cy="340"/>
            </a:xfrm>
            <a:solidFill>
              <a:schemeClr val="accent1"/>
            </a:solidFill>
          </p:grpSpPr>
          <p:sp>
            <p:nvSpPr>
              <p:cNvPr id="23" name="Freeform 193">
                <a:extLst>
                  <a:ext uri="{FF2B5EF4-FFF2-40B4-BE49-F238E27FC236}">
                    <a16:creationId xmlns:a16="http://schemas.microsoft.com/office/drawing/2014/main" id="{10021380-45B7-4D00-8FFB-43CAFBFBDC16}"/>
                  </a:ext>
                </a:extLst>
              </p:cNvPr>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24" name="Freeform 194">
                <a:extLst>
                  <a:ext uri="{FF2B5EF4-FFF2-40B4-BE49-F238E27FC236}">
                    <a16:creationId xmlns:a16="http://schemas.microsoft.com/office/drawing/2014/main" id="{0E529723-7147-471A-AF2F-F40049799942}"/>
                  </a:ext>
                </a:extLst>
              </p:cNvPr>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sp>
          <p:nvSpPr>
            <p:cNvPr id="25" name="TextBox 24">
              <a:extLst>
                <a:ext uri="{FF2B5EF4-FFF2-40B4-BE49-F238E27FC236}">
                  <a16:creationId xmlns:a16="http://schemas.microsoft.com/office/drawing/2014/main" id="{86CA0081-C9F6-409E-8278-8933E53D6EF7}"/>
                </a:ext>
              </a:extLst>
            </p:cNvPr>
            <p:cNvSpPr txBox="1"/>
            <p:nvPr/>
          </p:nvSpPr>
          <p:spPr>
            <a:xfrm>
              <a:off x="5444061" y="3703085"/>
              <a:ext cx="1693892" cy="138499"/>
            </a:xfrm>
            <a:prstGeom prst="rect">
              <a:avLst/>
            </a:prstGeom>
            <a:noFill/>
          </p:spPr>
          <p:txBody>
            <a:bodyPr vert="horz" wrap="square" lIns="0" tIns="0" rIns="0" bIns="0" rtlCol="0">
              <a:spAutoFit/>
            </a:bodyPr>
            <a:lstStyle/>
            <a:p>
              <a:pPr>
                <a:spcBef>
                  <a:spcPts val="200"/>
                </a:spcBef>
                <a:buSzPct val="100000"/>
              </a:pPr>
              <a:r>
                <a:rPr lang="en-US" sz="900" dirty="0"/>
                <a:t>Cost Structure Optimization</a:t>
              </a:r>
            </a:p>
          </p:txBody>
        </p:sp>
        <p:grpSp>
          <p:nvGrpSpPr>
            <p:cNvPr id="26" name="Group 25">
              <a:extLst>
                <a:ext uri="{FF2B5EF4-FFF2-40B4-BE49-F238E27FC236}">
                  <a16:creationId xmlns:a16="http://schemas.microsoft.com/office/drawing/2014/main" id="{8584ED69-4F68-41CF-9762-EC0ED1246F03}"/>
                </a:ext>
              </a:extLst>
            </p:cNvPr>
            <p:cNvGrpSpPr/>
            <p:nvPr/>
          </p:nvGrpSpPr>
          <p:grpSpPr>
            <a:xfrm>
              <a:off x="4997838" y="3589454"/>
              <a:ext cx="365760" cy="365760"/>
              <a:chOff x="507340" y="3490102"/>
              <a:chExt cx="594360" cy="592618"/>
            </a:xfrm>
            <a:solidFill>
              <a:schemeClr val="accent1"/>
            </a:solidFill>
          </p:grpSpPr>
          <p:sp>
            <p:nvSpPr>
              <p:cNvPr id="27" name="Freeform 764">
                <a:extLst>
                  <a:ext uri="{FF2B5EF4-FFF2-40B4-BE49-F238E27FC236}">
                    <a16:creationId xmlns:a16="http://schemas.microsoft.com/office/drawing/2014/main" id="{6C67A974-9D1E-413D-A969-748B9F29CA18}"/>
                  </a:ext>
                </a:extLst>
              </p:cNvPr>
              <p:cNvSpPr>
                <a:spLocks noEditPoints="1"/>
              </p:cNvSpPr>
              <p:nvPr/>
            </p:nvSpPr>
            <p:spPr bwMode="auto">
              <a:xfrm>
                <a:off x="667695" y="3601654"/>
                <a:ext cx="271907" cy="369515"/>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28" name="Freeform 765">
                <a:extLst>
                  <a:ext uri="{FF2B5EF4-FFF2-40B4-BE49-F238E27FC236}">
                    <a16:creationId xmlns:a16="http://schemas.microsoft.com/office/drawing/2014/main" id="{3559D080-E184-402D-8B20-07A5C3446CC5}"/>
                  </a:ext>
                </a:extLst>
              </p:cNvPr>
              <p:cNvSpPr>
                <a:spLocks noEditPoints="1"/>
              </p:cNvSpPr>
              <p:nvPr/>
            </p:nvSpPr>
            <p:spPr bwMode="auto">
              <a:xfrm>
                <a:off x="507340" y="3490102"/>
                <a:ext cx="594360" cy="592618"/>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sp>
          <p:nvSpPr>
            <p:cNvPr id="29" name="TextBox 28">
              <a:extLst>
                <a:ext uri="{FF2B5EF4-FFF2-40B4-BE49-F238E27FC236}">
                  <a16:creationId xmlns:a16="http://schemas.microsoft.com/office/drawing/2014/main" id="{46DA2BE2-F47D-4777-BB0B-FF215359CC2D}"/>
                </a:ext>
              </a:extLst>
            </p:cNvPr>
            <p:cNvSpPr txBox="1"/>
            <p:nvPr/>
          </p:nvSpPr>
          <p:spPr>
            <a:xfrm>
              <a:off x="5444062" y="4113033"/>
              <a:ext cx="1734590" cy="138499"/>
            </a:xfrm>
            <a:prstGeom prst="rect">
              <a:avLst/>
            </a:prstGeom>
            <a:noFill/>
          </p:spPr>
          <p:txBody>
            <a:bodyPr vert="horz" wrap="square" lIns="0" tIns="0" rIns="0" bIns="0" rtlCol="0">
              <a:spAutoFit/>
            </a:bodyPr>
            <a:lstStyle/>
            <a:p>
              <a:pPr>
                <a:buSzPct val="100000"/>
              </a:pPr>
              <a:r>
                <a:rPr lang="en-US" sz="900" dirty="0"/>
                <a:t>Functional KPIs / Metrics</a:t>
              </a:r>
            </a:p>
          </p:txBody>
        </p:sp>
        <p:grpSp>
          <p:nvGrpSpPr>
            <p:cNvPr id="30" name="Group 29">
              <a:extLst>
                <a:ext uri="{FF2B5EF4-FFF2-40B4-BE49-F238E27FC236}">
                  <a16:creationId xmlns:a16="http://schemas.microsoft.com/office/drawing/2014/main" id="{3A310AD5-4D7C-43C2-A9FB-F513A5C0AAC6}"/>
                </a:ext>
              </a:extLst>
            </p:cNvPr>
            <p:cNvGrpSpPr/>
            <p:nvPr/>
          </p:nvGrpSpPr>
          <p:grpSpPr>
            <a:xfrm>
              <a:off x="4997838" y="3999402"/>
              <a:ext cx="365760" cy="365760"/>
              <a:chOff x="508000" y="4486724"/>
              <a:chExt cx="594360" cy="594522"/>
            </a:xfrm>
            <a:solidFill>
              <a:schemeClr val="accent1"/>
            </a:solidFill>
          </p:grpSpPr>
          <p:sp>
            <p:nvSpPr>
              <p:cNvPr id="31" name="Freeform 10">
                <a:extLst>
                  <a:ext uri="{FF2B5EF4-FFF2-40B4-BE49-F238E27FC236}">
                    <a16:creationId xmlns:a16="http://schemas.microsoft.com/office/drawing/2014/main" id="{8C5AC7A7-86E9-4BB3-AE44-C6EC406641CD}"/>
                  </a:ext>
                </a:extLst>
              </p:cNvPr>
              <p:cNvSpPr>
                <a:spLocks noEditPoints="1"/>
              </p:cNvSpPr>
              <p:nvPr/>
            </p:nvSpPr>
            <p:spPr bwMode="auto">
              <a:xfrm>
                <a:off x="508000" y="4486724"/>
                <a:ext cx="594360" cy="59452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32" name="Freeform 11">
                <a:extLst>
                  <a:ext uri="{FF2B5EF4-FFF2-40B4-BE49-F238E27FC236}">
                    <a16:creationId xmlns:a16="http://schemas.microsoft.com/office/drawing/2014/main" id="{00A820C4-85B7-4142-A811-47015C2076BE}"/>
                  </a:ext>
                </a:extLst>
              </p:cNvPr>
              <p:cNvSpPr>
                <a:spLocks noEditPoints="1"/>
              </p:cNvSpPr>
              <p:nvPr/>
            </p:nvSpPr>
            <p:spPr bwMode="auto">
              <a:xfrm>
                <a:off x="643877" y="4622601"/>
                <a:ext cx="321461" cy="321624"/>
              </a:xfrm>
              <a:custGeom>
                <a:avLst/>
                <a:gdLst>
                  <a:gd name="T0" fmla="*/ 267 w 277"/>
                  <a:gd name="T1" fmla="*/ 277 h 277"/>
                  <a:gd name="T2" fmla="*/ 0 w 277"/>
                  <a:gd name="T3" fmla="*/ 267 h 277"/>
                  <a:gd name="T4" fmla="*/ 11 w 277"/>
                  <a:gd name="T5" fmla="*/ 11 h 277"/>
                  <a:gd name="T6" fmla="*/ 32 w 277"/>
                  <a:gd name="T7" fmla="*/ 11 h 277"/>
                  <a:gd name="T8" fmla="*/ 245 w 277"/>
                  <a:gd name="T9" fmla="*/ 256 h 277"/>
                  <a:gd name="T10" fmla="*/ 256 w 277"/>
                  <a:gd name="T11" fmla="*/ 0 h 277"/>
                  <a:gd name="T12" fmla="*/ 267 w 277"/>
                  <a:gd name="T13" fmla="*/ 256 h 277"/>
                  <a:gd name="T14" fmla="*/ 75 w 277"/>
                  <a:gd name="T15" fmla="*/ 235 h 277"/>
                  <a:gd name="T16" fmla="*/ 120 w 277"/>
                  <a:gd name="T17" fmla="*/ 224 h 277"/>
                  <a:gd name="T18" fmla="*/ 157 w 277"/>
                  <a:gd name="T19" fmla="*/ 224 h 277"/>
                  <a:gd name="T20" fmla="*/ 203 w 277"/>
                  <a:gd name="T21" fmla="*/ 235 h 277"/>
                  <a:gd name="T22" fmla="*/ 203 w 277"/>
                  <a:gd name="T23" fmla="*/ 192 h 277"/>
                  <a:gd name="T24" fmla="*/ 157 w 277"/>
                  <a:gd name="T25" fmla="*/ 203 h 277"/>
                  <a:gd name="T26" fmla="*/ 120 w 277"/>
                  <a:gd name="T27" fmla="*/ 203 h 277"/>
                  <a:gd name="T28" fmla="*/ 75 w 277"/>
                  <a:gd name="T29" fmla="*/ 192 h 277"/>
                  <a:gd name="T30" fmla="*/ 75 w 277"/>
                  <a:gd name="T31" fmla="*/ 235 h 277"/>
                  <a:gd name="T32" fmla="*/ 93 w 277"/>
                  <a:gd name="T33" fmla="*/ 149 h 277"/>
                  <a:gd name="T34" fmla="*/ 160 w 277"/>
                  <a:gd name="T35" fmla="*/ 160 h 277"/>
                  <a:gd name="T36" fmla="*/ 184 w 277"/>
                  <a:gd name="T37" fmla="*/ 149 h 277"/>
                  <a:gd name="T38" fmla="*/ 224 w 277"/>
                  <a:gd name="T39" fmla="*/ 139 h 277"/>
                  <a:gd name="T40" fmla="*/ 184 w 277"/>
                  <a:gd name="T41" fmla="*/ 128 h 277"/>
                  <a:gd name="T42" fmla="*/ 160 w 277"/>
                  <a:gd name="T43" fmla="*/ 117 h 277"/>
                  <a:gd name="T44" fmla="*/ 93 w 277"/>
                  <a:gd name="T45" fmla="*/ 128 h 277"/>
                  <a:gd name="T46" fmla="*/ 53 w 277"/>
                  <a:gd name="T47" fmla="*/ 139 h 277"/>
                  <a:gd name="T48" fmla="*/ 75 w 277"/>
                  <a:gd name="T49" fmla="*/ 85 h 277"/>
                  <a:gd name="T50" fmla="*/ 99 w 277"/>
                  <a:gd name="T51" fmla="*/ 75 h 277"/>
                  <a:gd name="T52" fmla="*/ 136 w 277"/>
                  <a:gd name="T53" fmla="*/ 75 h 277"/>
                  <a:gd name="T54" fmla="*/ 203 w 277"/>
                  <a:gd name="T55" fmla="*/ 85 h 277"/>
                  <a:gd name="T56" fmla="*/ 203 w 277"/>
                  <a:gd name="T57" fmla="*/ 43 h 277"/>
                  <a:gd name="T58" fmla="*/ 136 w 277"/>
                  <a:gd name="T59" fmla="*/ 53 h 277"/>
                  <a:gd name="T60" fmla="*/ 99 w 277"/>
                  <a:gd name="T61" fmla="*/ 53 h 277"/>
                  <a:gd name="T62" fmla="*/ 75 w 277"/>
                  <a:gd name="T63" fmla="*/ 43 h 277"/>
                  <a:gd name="T64" fmla="*/ 75 w 277"/>
                  <a:gd name="T65" fmla="*/ 8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7" h="277">
                    <a:moveTo>
                      <a:pt x="277" y="267"/>
                    </a:moveTo>
                    <a:cubicBezTo>
                      <a:pt x="277" y="273"/>
                      <a:pt x="273" y="277"/>
                      <a:pt x="267" y="277"/>
                    </a:cubicBezTo>
                    <a:cubicBezTo>
                      <a:pt x="11" y="277"/>
                      <a:pt x="11" y="277"/>
                      <a:pt x="11" y="277"/>
                    </a:cubicBezTo>
                    <a:cubicBezTo>
                      <a:pt x="5" y="277"/>
                      <a:pt x="0" y="273"/>
                      <a:pt x="0" y="267"/>
                    </a:cubicBezTo>
                    <a:cubicBezTo>
                      <a:pt x="0" y="261"/>
                      <a:pt x="5" y="256"/>
                      <a:pt x="11" y="256"/>
                    </a:cubicBezTo>
                    <a:cubicBezTo>
                      <a:pt x="11" y="11"/>
                      <a:pt x="11" y="11"/>
                      <a:pt x="11" y="11"/>
                    </a:cubicBezTo>
                    <a:cubicBezTo>
                      <a:pt x="11" y="5"/>
                      <a:pt x="15" y="0"/>
                      <a:pt x="21" y="0"/>
                    </a:cubicBezTo>
                    <a:cubicBezTo>
                      <a:pt x="27" y="0"/>
                      <a:pt x="32" y="5"/>
                      <a:pt x="32" y="11"/>
                    </a:cubicBezTo>
                    <a:cubicBezTo>
                      <a:pt x="32" y="256"/>
                      <a:pt x="32" y="256"/>
                      <a:pt x="32" y="256"/>
                    </a:cubicBezTo>
                    <a:cubicBezTo>
                      <a:pt x="245" y="256"/>
                      <a:pt x="245" y="256"/>
                      <a:pt x="245" y="256"/>
                    </a:cubicBezTo>
                    <a:cubicBezTo>
                      <a:pt x="245" y="11"/>
                      <a:pt x="245" y="11"/>
                      <a:pt x="245" y="11"/>
                    </a:cubicBezTo>
                    <a:cubicBezTo>
                      <a:pt x="245" y="5"/>
                      <a:pt x="250" y="0"/>
                      <a:pt x="256" y="0"/>
                    </a:cubicBezTo>
                    <a:cubicBezTo>
                      <a:pt x="262" y="0"/>
                      <a:pt x="267" y="5"/>
                      <a:pt x="267" y="11"/>
                    </a:cubicBezTo>
                    <a:cubicBezTo>
                      <a:pt x="267" y="256"/>
                      <a:pt x="267" y="256"/>
                      <a:pt x="267" y="256"/>
                    </a:cubicBezTo>
                    <a:cubicBezTo>
                      <a:pt x="273" y="256"/>
                      <a:pt x="277" y="261"/>
                      <a:pt x="277" y="267"/>
                    </a:cubicBezTo>
                    <a:close/>
                    <a:moveTo>
                      <a:pt x="75" y="235"/>
                    </a:moveTo>
                    <a:cubicBezTo>
                      <a:pt x="83" y="235"/>
                      <a:pt x="89" y="230"/>
                      <a:pt x="93" y="224"/>
                    </a:cubicBezTo>
                    <a:cubicBezTo>
                      <a:pt x="120" y="224"/>
                      <a:pt x="120" y="224"/>
                      <a:pt x="120" y="224"/>
                    </a:cubicBezTo>
                    <a:cubicBezTo>
                      <a:pt x="124" y="230"/>
                      <a:pt x="131" y="235"/>
                      <a:pt x="139" y="235"/>
                    </a:cubicBezTo>
                    <a:cubicBezTo>
                      <a:pt x="147" y="235"/>
                      <a:pt x="153" y="230"/>
                      <a:pt x="157" y="224"/>
                    </a:cubicBezTo>
                    <a:cubicBezTo>
                      <a:pt x="184" y="224"/>
                      <a:pt x="184" y="224"/>
                      <a:pt x="184" y="224"/>
                    </a:cubicBezTo>
                    <a:cubicBezTo>
                      <a:pt x="188" y="230"/>
                      <a:pt x="195" y="235"/>
                      <a:pt x="203" y="235"/>
                    </a:cubicBezTo>
                    <a:cubicBezTo>
                      <a:pt x="214" y="235"/>
                      <a:pt x="224" y="225"/>
                      <a:pt x="224" y="213"/>
                    </a:cubicBezTo>
                    <a:cubicBezTo>
                      <a:pt x="224" y="202"/>
                      <a:pt x="214" y="192"/>
                      <a:pt x="203" y="192"/>
                    </a:cubicBezTo>
                    <a:cubicBezTo>
                      <a:pt x="195" y="192"/>
                      <a:pt x="188" y="196"/>
                      <a:pt x="184" y="203"/>
                    </a:cubicBezTo>
                    <a:cubicBezTo>
                      <a:pt x="157" y="203"/>
                      <a:pt x="157" y="203"/>
                      <a:pt x="157" y="203"/>
                    </a:cubicBezTo>
                    <a:cubicBezTo>
                      <a:pt x="153" y="196"/>
                      <a:pt x="147" y="192"/>
                      <a:pt x="139" y="192"/>
                    </a:cubicBezTo>
                    <a:cubicBezTo>
                      <a:pt x="131" y="192"/>
                      <a:pt x="124" y="196"/>
                      <a:pt x="120" y="203"/>
                    </a:cubicBezTo>
                    <a:cubicBezTo>
                      <a:pt x="93" y="203"/>
                      <a:pt x="93" y="203"/>
                      <a:pt x="93" y="203"/>
                    </a:cubicBezTo>
                    <a:cubicBezTo>
                      <a:pt x="89" y="196"/>
                      <a:pt x="83" y="192"/>
                      <a:pt x="75" y="192"/>
                    </a:cubicBezTo>
                    <a:cubicBezTo>
                      <a:pt x="63" y="192"/>
                      <a:pt x="53" y="202"/>
                      <a:pt x="53" y="213"/>
                    </a:cubicBezTo>
                    <a:cubicBezTo>
                      <a:pt x="53" y="225"/>
                      <a:pt x="63" y="235"/>
                      <a:pt x="75" y="235"/>
                    </a:cubicBezTo>
                    <a:close/>
                    <a:moveTo>
                      <a:pt x="75" y="160"/>
                    </a:moveTo>
                    <a:cubicBezTo>
                      <a:pt x="83" y="160"/>
                      <a:pt x="89" y="156"/>
                      <a:pt x="93" y="149"/>
                    </a:cubicBezTo>
                    <a:cubicBezTo>
                      <a:pt x="142" y="149"/>
                      <a:pt x="142" y="149"/>
                      <a:pt x="142" y="149"/>
                    </a:cubicBezTo>
                    <a:cubicBezTo>
                      <a:pt x="145" y="156"/>
                      <a:pt x="152" y="160"/>
                      <a:pt x="160" y="160"/>
                    </a:cubicBezTo>
                    <a:cubicBezTo>
                      <a:pt x="168" y="160"/>
                      <a:pt x="175" y="156"/>
                      <a:pt x="178" y="149"/>
                    </a:cubicBezTo>
                    <a:cubicBezTo>
                      <a:pt x="184" y="149"/>
                      <a:pt x="184" y="149"/>
                      <a:pt x="184" y="149"/>
                    </a:cubicBezTo>
                    <a:cubicBezTo>
                      <a:pt x="188" y="156"/>
                      <a:pt x="195" y="160"/>
                      <a:pt x="203" y="160"/>
                    </a:cubicBezTo>
                    <a:cubicBezTo>
                      <a:pt x="214" y="160"/>
                      <a:pt x="224" y="150"/>
                      <a:pt x="224" y="139"/>
                    </a:cubicBezTo>
                    <a:cubicBezTo>
                      <a:pt x="224" y="127"/>
                      <a:pt x="214" y="117"/>
                      <a:pt x="203" y="117"/>
                    </a:cubicBezTo>
                    <a:cubicBezTo>
                      <a:pt x="195" y="117"/>
                      <a:pt x="188" y="122"/>
                      <a:pt x="184" y="128"/>
                    </a:cubicBezTo>
                    <a:cubicBezTo>
                      <a:pt x="178" y="128"/>
                      <a:pt x="178" y="128"/>
                      <a:pt x="178" y="128"/>
                    </a:cubicBezTo>
                    <a:cubicBezTo>
                      <a:pt x="175" y="122"/>
                      <a:pt x="168" y="117"/>
                      <a:pt x="160" y="117"/>
                    </a:cubicBezTo>
                    <a:cubicBezTo>
                      <a:pt x="152" y="117"/>
                      <a:pt x="145" y="122"/>
                      <a:pt x="142" y="128"/>
                    </a:cubicBezTo>
                    <a:cubicBezTo>
                      <a:pt x="93" y="128"/>
                      <a:pt x="93" y="128"/>
                      <a:pt x="93" y="128"/>
                    </a:cubicBezTo>
                    <a:cubicBezTo>
                      <a:pt x="89" y="122"/>
                      <a:pt x="83" y="117"/>
                      <a:pt x="75" y="117"/>
                    </a:cubicBezTo>
                    <a:cubicBezTo>
                      <a:pt x="63" y="117"/>
                      <a:pt x="53" y="127"/>
                      <a:pt x="53" y="139"/>
                    </a:cubicBezTo>
                    <a:cubicBezTo>
                      <a:pt x="53" y="150"/>
                      <a:pt x="63" y="160"/>
                      <a:pt x="75" y="160"/>
                    </a:cubicBezTo>
                    <a:close/>
                    <a:moveTo>
                      <a:pt x="75" y="85"/>
                    </a:moveTo>
                    <a:cubicBezTo>
                      <a:pt x="83" y="85"/>
                      <a:pt x="89" y="81"/>
                      <a:pt x="93" y="75"/>
                    </a:cubicBezTo>
                    <a:cubicBezTo>
                      <a:pt x="99" y="75"/>
                      <a:pt x="99" y="75"/>
                      <a:pt x="99" y="75"/>
                    </a:cubicBezTo>
                    <a:cubicBezTo>
                      <a:pt x="103" y="81"/>
                      <a:pt x="109" y="85"/>
                      <a:pt x="117" y="85"/>
                    </a:cubicBezTo>
                    <a:cubicBezTo>
                      <a:pt x="125" y="85"/>
                      <a:pt x="132" y="81"/>
                      <a:pt x="136" y="75"/>
                    </a:cubicBezTo>
                    <a:cubicBezTo>
                      <a:pt x="184" y="75"/>
                      <a:pt x="184" y="75"/>
                      <a:pt x="184" y="75"/>
                    </a:cubicBezTo>
                    <a:cubicBezTo>
                      <a:pt x="188" y="81"/>
                      <a:pt x="195" y="85"/>
                      <a:pt x="203" y="85"/>
                    </a:cubicBezTo>
                    <a:cubicBezTo>
                      <a:pt x="214" y="85"/>
                      <a:pt x="224" y="76"/>
                      <a:pt x="224" y="64"/>
                    </a:cubicBezTo>
                    <a:cubicBezTo>
                      <a:pt x="224" y="52"/>
                      <a:pt x="214" y="43"/>
                      <a:pt x="203" y="43"/>
                    </a:cubicBezTo>
                    <a:cubicBezTo>
                      <a:pt x="195" y="43"/>
                      <a:pt x="188" y="47"/>
                      <a:pt x="184" y="53"/>
                    </a:cubicBezTo>
                    <a:cubicBezTo>
                      <a:pt x="136" y="53"/>
                      <a:pt x="136" y="53"/>
                      <a:pt x="136" y="53"/>
                    </a:cubicBezTo>
                    <a:cubicBezTo>
                      <a:pt x="132" y="47"/>
                      <a:pt x="125" y="43"/>
                      <a:pt x="117" y="43"/>
                    </a:cubicBezTo>
                    <a:cubicBezTo>
                      <a:pt x="109" y="43"/>
                      <a:pt x="103" y="47"/>
                      <a:pt x="99" y="53"/>
                    </a:cubicBezTo>
                    <a:cubicBezTo>
                      <a:pt x="93" y="53"/>
                      <a:pt x="93" y="53"/>
                      <a:pt x="93" y="53"/>
                    </a:cubicBezTo>
                    <a:cubicBezTo>
                      <a:pt x="89" y="47"/>
                      <a:pt x="83" y="43"/>
                      <a:pt x="75" y="43"/>
                    </a:cubicBezTo>
                    <a:cubicBezTo>
                      <a:pt x="63" y="43"/>
                      <a:pt x="53" y="52"/>
                      <a:pt x="53" y="64"/>
                    </a:cubicBezTo>
                    <a:cubicBezTo>
                      <a:pt x="53" y="76"/>
                      <a:pt x="63" y="85"/>
                      <a:pt x="75"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sp>
          <p:nvSpPr>
            <p:cNvPr id="33" name="TextBox 32">
              <a:extLst>
                <a:ext uri="{FF2B5EF4-FFF2-40B4-BE49-F238E27FC236}">
                  <a16:creationId xmlns:a16="http://schemas.microsoft.com/office/drawing/2014/main" id="{97F131F9-75FC-44CD-A304-EDC708BF06C1}"/>
                </a:ext>
              </a:extLst>
            </p:cNvPr>
            <p:cNvSpPr txBox="1"/>
            <p:nvPr/>
          </p:nvSpPr>
          <p:spPr>
            <a:xfrm>
              <a:off x="4418342" y="1749001"/>
              <a:ext cx="3452743" cy="276999"/>
            </a:xfrm>
            <a:prstGeom prst="rect">
              <a:avLst/>
            </a:prstGeom>
            <a:noFill/>
          </p:spPr>
          <p:txBody>
            <a:bodyPr wrap="square" rtlCol="0">
              <a:spAutoFit/>
            </a:bodyPr>
            <a:lstStyle/>
            <a:p>
              <a:pPr algn="ctr" eaLnBrk="0" fontAlgn="base" hangingPunct="0">
                <a:spcBef>
                  <a:spcPct val="0"/>
                </a:spcBef>
                <a:spcAft>
                  <a:spcPct val="0"/>
                </a:spcAft>
              </a:pPr>
              <a:r>
                <a:rPr lang="en-GB" sz="1200" b="1" dirty="0">
                  <a:solidFill>
                    <a:schemeClr val="accent1"/>
                  </a:solidFill>
                  <a:ea typeface="ＭＳ Ｐゴシック" charset="0"/>
                  <a:cs typeface="Arial" charset="0"/>
                </a:rPr>
                <a:t>Recommendations</a:t>
              </a:r>
            </a:p>
          </p:txBody>
        </p:sp>
        <p:sp>
          <p:nvSpPr>
            <p:cNvPr id="34" name="Arc 33">
              <a:extLst>
                <a:ext uri="{FF2B5EF4-FFF2-40B4-BE49-F238E27FC236}">
                  <a16:creationId xmlns:a16="http://schemas.microsoft.com/office/drawing/2014/main" id="{68BFF79E-7909-4ED6-96DE-FB427487B2AB}"/>
                </a:ext>
              </a:extLst>
            </p:cNvPr>
            <p:cNvSpPr/>
            <p:nvPr/>
          </p:nvSpPr>
          <p:spPr>
            <a:xfrm rot="21426111">
              <a:off x="4404360" y="2062390"/>
              <a:ext cx="3383280" cy="3383280"/>
            </a:xfrm>
            <a:prstGeom prst="arc">
              <a:avLst>
                <a:gd name="adj1" fmla="val 2437900"/>
                <a:gd name="adj2" fmla="val 8524940"/>
              </a:avLst>
            </a:prstGeom>
            <a:ln w="38100">
              <a:solidFill>
                <a:schemeClr val="accent1"/>
              </a:solidFill>
              <a:head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35" name="Arc 34">
              <a:extLst>
                <a:ext uri="{FF2B5EF4-FFF2-40B4-BE49-F238E27FC236}">
                  <a16:creationId xmlns:a16="http://schemas.microsoft.com/office/drawing/2014/main" id="{E26F909E-1CD6-479E-B183-B8996FB32EEA}"/>
                </a:ext>
              </a:extLst>
            </p:cNvPr>
            <p:cNvSpPr/>
            <p:nvPr/>
          </p:nvSpPr>
          <p:spPr>
            <a:xfrm rot="10800000">
              <a:off x="4418342" y="2104614"/>
              <a:ext cx="3383280" cy="3383280"/>
            </a:xfrm>
            <a:prstGeom prst="arc">
              <a:avLst>
                <a:gd name="adj1" fmla="val 2437900"/>
                <a:gd name="adj2" fmla="val 8524940"/>
              </a:avLst>
            </a:prstGeom>
            <a:ln w="38100">
              <a:solidFill>
                <a:schemeClr val="accent1"/>
              </a:solidFill>
              <a:headEnd type="none" w="lg" len="lg"/>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sp>
        <p:nvSpPr>
          <p:cNvPr id="61" name="Text Placeholder 60">
            <a:extLst>
              <a:ext uri="{FF2B5EF4-FFF2-40B4-BE49-F238E27FC236}">
                <a16:creationId xmlns:a16="http://schemas.microsoft.com/office/drawing/2014/main" id="{D149D8A0-CA4E-476D-800B-C3F7F7630276}"/>
              </a:ext>
            </a:extLst>
          </p:cNvPr>
          <p:cNvSpPr>
            <a:spLocks noGrp="1"/>
          </p:cNvSpPr>
          <p:nvPr>
            <p:ph type="body" sz="quarter" idx="14"/>
          </p:nvPr>
        </p:nvSpPr>
        <p:spPr>
          <a:xfrm>
            <a:off x="914720" y="1353312"/>
            <a:ext cx="10838189" cy="475488"/>
          </a:xfrm>
        </p:spPr>
        <p:txBody>
          <a:bodyPr/>
          <a:lstStyle/>
          <a:p>
            <a:r>
              <a:rPr lang="en-US" dirty="0"/>
              <a:t>Future-state vision requires transformative change across key areas in order to compete and operate effectively in a commercial and market-driven environment</a:t>
            </a:r>
          </a:p>
        </p:txBody>
      </p:sp>
    </p:spTree>
    <p:extLst>
      <p:ext uri="{BB962C8B-B14F-4D97-AF65-F5344CB8AC3E}">
        <p14:creationId xmlns:p14="http://schemas.microsoft.com/office/powerpoint/2010/main" val="71690752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89C2EE8-BD77-4C4A-8118-17589B071F9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48" name="think-cell Slide" r:id="rId6" imgW="415" imgH="416" progId="TCLayout.ActiveDocument.1">
                  <p:embed/>
                </p:oleObj>
              </mc:Choice>
              <mc:Fallback>
                <p:oleObj name="think-cell Slide" r:id="rId6" imgW="415" imgH="416" progId="TCLayout.ActiveDocument.1">
                  <p:embed/>
                  <p:pic>
                    <p:nvPicPr>
                      <p:cNvPr id="6" name="Object 5" hidden="1">
                        <a:extLst>
                          <a:ext uri="{FF2B5EF4-FFF2-40B4-BE49-F238E27FC236}">
                            <a16:creationId xmlns:a16="http://schemas.microsoft.com/office/drawing/2014/main" id="{E89C2EE8-BD77-4C4A-8118-17589B071F9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8A4792-E2C4-4F5A-8863-BA042FF4810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D0524137-C368-47DD-990B-76B1DAB1D25C}"/>
              </a:ext>
            </a:extLst>
          </p:cNvPr>
          <p:cNvSpPr>
            <a:spLocks noGrp="1"/>
          </p:cNvSpPr>
          <p:nvPr>
            <p:ph type="title"/>
          </p:nvPr>
        </p:nvSpPr>
        <p:spPr/>
        <p:txBody>
          <a:bodyPr/>
          <a:lstStyle/>
          <a:p>
            <a:r>
              <a:rPr lang="en-US" dirty="0"/>
              <a:t>End-User Purchasing Statistics</a:t>
            </a:r>
          </a:p>
        </p:txBody>
      </p:sp>
      <p:sp>
        <p:nvSpPr>
          <p:cNvPr id="3" name="Text Placeholder 2">
            <a:extLst>
              <a:ext uri="{FF2B5EF4-FFF2-40B4-BE49-F238E27FC236}">
                <a16:creationId xmlns:a16="http://schemas.microsoft.com/office/drawing/2014/main" id="{0DF6D1F6-60EF-40E2-8206-85C719FCB44B}"/>
              </a:ext>
            </a:extLst>
          </p:cNvPr>
          <p:cNvSpPr>
            <a:spLocks noGrp="1"/>
          </p:cNvSpPr>
          <p:nvPr>
            <p:ph type="body" sz="quarter" idx="14"/>
          </p:nvPr>
        </p:nvSpPr>
        <p:spPr/>
        <p:txBody>
          <a:bodyPr/>
          <a:lstStyle/>
          <a:p>
            <a:r>
              <a:rPr lang="en-US" dirty="0"/>
              <a:t>Characteristics of the 16 outboard engine end users were interviewed</a:t>
            </a:r>
          </a:p>
        </p:txBody>
      </p:sp>
      <p:sp>
        <p:nvSpPr>
          <p:cNvPr id="4" name="Text Placeholder 3">
            <a:extLst>
              <a:ext uri="{FF2B5EF4-FFF2-40B4-BE49-F238E27FC236}">
                <a16:creationId xmlns:a16="http://schemas.microsoft.com/office/drawing/2014/main" id="{39825180-F295-412A-B116-14F0EE8AC1BF}"/>
              </a:ext>
            </a:extLst>
          </p:cNvPr>
          <p:cNvSpPr>
            <a:spLocks noGrp="1"/>
          </p:cNvSpPr>
          <p:nvPr>
            <p:ph type="body" sz="quarter" idx="15"/>
          </p:nvPr>
        </p:nvSpPr>
        <p:spPr/>
        <p:txBody>
          <a:bodyPr/>
          <a:lstStyle/>
          <a:p>
            <a:r>
              <a:rPr lang="en-US" dirty="0"/>
              <a:t>Process &amp; customer journey</a:t>
            </a:r>
          </a:p>
        </p:txBody>
      </p:sp>
      <p:sp>
        <p:nvSpPr>
          <p:cNvPr id="7" name="Rectangle 6">
            <a:extLst>
              <a:ext uri="{FF2B5EF4-FFF2-40B4-BE49-F238E27FC236}">
                <a16:creationId xmlns:a16="http://schemas.microsoft.com/office/drawing/2014/main" id="{452DD689-A7BE-47DA-94BF-64EF0CB869CC}"/>
              </a:ext>
            </a:extLst>
          </p:cNvPr>
          <p:cNvSpPr/>
          <p:nvPr/>
        </p:nvSpPr>
        <p:spPr>
          <a:xfrm>
            <a:off x="5845061" y="4384727"/>
            <a:ext cx="501877" cy="2084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8" name="Trapezoid 7">
            <a:extLst>
              <a:ext uri="{FF2B5EF4-FFF2-40B4-BE49-F238E27FC236}">
                <a16:creationId xmlns:a16="http://schemas.microsoft.com/office/drawing/2014/main" id="{13400EC1-DD4C-4156-92AD-86D694F0655E}"/>
              </a:ext>
            </a:extLst>
          </p:cNvPr>
          <p:cNvSpPr/>
          <p:nvPr/>
        </p:nvSpPr>
        <p:spPr>
          <a:xfrm>
            <a:off x="1519842" y="3010958"/>
            <a:ext cx="914400" cy="1161843"/>
          </a:xfrm>
          <a:prstGeom prst="trapezoid">
            <a:avLst>
              <a:gd name="adj" fmla="val 35484"/>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9" name="Trapezoid 8">
            <a:extLst>
              <a:ext uri="{FF2B5EF4-FFF2-40B4-BE49-F238E27FC236}">
                <a16:creationId xmlns:a16="http://schemas.microsoft.com/office/drawing/2014/main" id="{3C97E291-929E-4702-B2C5-A9D329732894}"/>
              </a:ext>
            </a:extLst>
          </p:cNvPr>
          <p:cNvSpPr/>
          <p:nvPr/>
        </p:nvSpPr>
        <p:spPr>
          <a:xfrm rot="16200000">
            <a:off x="5350424" y="1764328"/>
            <a:ext cx="914400" cy="832659"/>
          </a:xfrm>
          <a:prstGeom prst="trapezoid">
            <a:avLst>
              <a:gd name="adj" fmla="val 35484"/>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aphicFrame>
        <p:nvGraphicFramePr>
          <p:cNvPr id="10" name="Table 9">
            <a:extLst>
              <a:ext uri="{FF2B5EF4-FFF2-40B4-BE49-F238E27FC236}">
                <a16:creationId xmlns:a16="http://schemas.microsoft.com/office/drawing/2014/main" id="{3B41AA31-65FC-448C-9244-4430876490FB}"/>
              </a:ext>
            </a:extLst>
          </p:cNvPr>
          <p:cNvGraphicFramePr>
            <a:graphicFrameLocks noGrp="1"/>
          </p:cNvGraphicFramePr>
          <p:nvPr/>
        </p:nvGraphicFramePr>
        <p:xfrm>
          <a:off x="1335487" y="2023406"/>
          <a:ext cx="4055806" cy="927354"/>
        </p:xfrm>
        <a:graphic>
          <a:graphicData uri="http://schemas.openxmlformats.org/drawingml/2006/table">
            <a:tbl>
              <a:tblPr firstRow="1" bandRow="1">
                <a:tableStyleId>{6E25E649-3F16-4E02-A733-19D2CDBF48F0}</a:tableStyleId>
              </a:tblPr>
              <a:tblGrid>
                <a:gridCol w="2375136">
                  <a:extLst>
                    <a:ext uri="{9D8B030D-6E8A-4147-A177-3AD203B41FA5}">
                      <a16:colId xmlns:a16="http://schemas.microsoft.com/office/drawing/2014/main" val="20000"/>
                    </a:ext>
                  </a:extLst>
                </a:gridCol>
                <a:gridCol w="1680670">
                  <a:extLst>
                    <a:ext uri="{9D8B030D-6E8A-4147-A177-3AD203B41FA5}">
                      <a16:colId xmlns:a16="http://schemas.microsoft.com/office/drawing/2014/main" val="502292613"/>
                    </a:ext>
                  </a:extLst>
                </a:gridCol>
              </a:tblGrid>
              <a:tr h="214481">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b="1" dirty="0">
                          <a:solidFill>
                            <a:schemeClr val="tx1"/>
                          </a:solidFill>
                          <a:latin typeface="+mn-lt"/>
                          <a:ea typeface="Open Sans" charset="0"/>
                          <a:cs typeface="Open Sans" charset="0"/>
                        </a:rPr>
                        <a:t>End</a:t>
                      </a:r>
                      <a:r>
                        <a:rPr lang="en-US" sz="1200" b="1" baseline="0" dirty="0">
                          <a:solidFill>
                            <a:schemeClr val="tx1"/>
                          </a:solidFill>
                          <a:latin typeface="+mn-lt"/>
                          <a:ea typeface="Open Sans" charset="0"/>
                          <a:cs typeface="Open Sans" charset="0"/>
                        </a:rPr>
                        <a:t> User</a:t>
                      </a:r>
                      <a:r>
                        <a:rPr lang="en-US" sz="1200" b="1" dirty="0">
                          <a:solidFill>
                            <a:schemeClr val="tx1"/>
                          </a:solidFill>
                          <a:latin typeface="+mn-lt"/>
                          <a:ea typeface="Open Sans" charset="0"/>
                          <a:cs typeface="Open Sans" charset="0"/>
                        </a:rPr>
                        <a:t> Total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indent="0" algn="ctr" defTabSz="914400" rtl="0" eaLnBrk="1" fontAlgn="auto" latinLnBrk="0" hangingPunct="1">
                        <a:lnSpc>
                          <a:spcPct val="130000"/>
                        </a:lnSpc>
                        <a:spcBef>
                          <a:spcPts val="100"/>
                        </a:spcBef>
                        <a:spcAft>
                          <a:spcPts val="0"/>
                        </a:spcAft>
                        <a:buClrTx/>
                        <a:buSzTx/>
                        <a:buFontTx/>
                        <a:buNone/>
                        <a:tabLst/>
                        <a:defRPr/>
                      </a:pPr>
                      <a:r>
                        <a:rPr lang="en-US" sz="1200" b="1" dirty="0">
                          <a:solidFill>
                            <a:schemeClr val="tx1"/>
                          </a:solidFill>
                          <a:latin typeface="+mn-lt"/>
                          <a:ea typeface="Open Sans" charset="0"/>
                          <a:cs typeface="Open Sans" charset="0"/>
                        </a:rPr>
                        <a:t>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1"/>
                  </a:ext>
                </a:extLst>
              </a:tr>
              <a:tr h="214481">
                <a:tc>
                  <a:txBody>
                    <a:bodyPr/>
                    <a:lstStyle/>
                    <a:p>
                      <a:pPr marL="457200" marR="0" lvl="1" indent="0" algn="l" defTabSz="914400" rtl="0" eaLnBrk="1" fontAlgn="auto" latinLnBrk="0" hangingPunct="1">
                        <a:lnSpc>
                          <a:spcPct val="130000"/>
                        </a:lnSpc>
                        <a:spcBef>
                          <a:spcPts val="100"/>
                        </a:spcBef>
                        <a:spcAft>
                          <a:spcPts val="0"/>
                        </a:spcAft>
                        <a:buClrTx/>
                        <a:buSzTx/>
                        <a:buFontTx/>
                        <a:buNone/>
                        <a:tabLst/>
                        <a:defRPr/>
                      </a:pPr>
                      <a:r>
                        <a:rPr lang="en-US" sz="1200" baseline="0" dirty="0">
                          <a:solidFill>
                            <a:schemeClr val="tx1"/>
                          </a:solidFill>
                          <a:latin typeface="+mn-lt"/>
                          <a:ea typeface="Open Sans" charset="0"/>
                          <a:cs typeface="Open Sans" charset="0"/>
                        </a:rPr>
                        <a:t>Personal</a:t>
                      </a:r>
                      <a:endParaRPr lang="en-US" sz="1200" dirty="0">
                        <a:solidFill>
                          <a:schemeClr val="tx1"/>
                        </a:solidFill>
                        <a:latin typeface="+mn-lt"/>
                        <a:ea typeface="Open Sans" charset="0"/>
                        <a:cs typeface="Open Sans"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30000"/>
                        </a:lnSpc>
                        <a:spcBef>
                          <a:spcPts val="100"/>
                        </a:spcBef>
                        <a:spcAft>
                          <a:spcPts val="0"/>
                        </a:spcAft>
                        <a:buClrTx/>
                        <a:buSzTx/>
                        <a:buFontTx/>
                        <a:buNone/>
                        <a:tabLst/>
                        <a:defRPr/>
                      </a:pPr>
                      <a:r>
                        <a:rPr lang="en-US" sz="1200" b="0" dirty="0">
                          <a:solidFill>
                            <a:schemeClr val="tx1"/>
                          </a:solidFill>
                          <a:latin typeface="+mn-lt"/>
                          <a:ea typeface="Open Sans" charset="0"/>
                          <a:cs typeface="Open Sans" charset="0"/>
                        </a:rPr>
                        <a:t>1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14481">
                <a:tc>
                  <a:txBody>
                    <a:bodyPr/>
                    <a:lstStyle/>
                    <a:p>
                      <a:pPr marL="457200" marR="0" lvl="1" indent="0" algn="l" defTabSz="914400" rtl="0" eaLnBrk="1" fontAlgn="auto" latinLnBrk="0" hangingPunct="1">
                        <a:lnSpc>
                          <a:spcPct val="130000"/>
                        </a:lnSpc>
                        <a:spcBef>
                          <a:spcPts val="100"/>
                        </a:spcBef>
                        <a:spcAft>
                          <a:spcPts val="0"/>
                        </a:spcAft>
                        <a:buClrTx/>
                        <a:buSzTx/>
                        <a:buFontTx/>
                        <a:buNone/>
                        <a:tabLst/>
                        <a:defRPr/>
                      </a:pPr>
                      <a:r>
                        <a:rPr lang="en-US" sz="1200" dirty="0">
                          <a:solidFill>
                            <a:schemeClr val="tx1"/>
                          </a:solidFill>
                          <a:latin typeface="+mn-lt"/>
                          <a:ea typeface="Open Sans" charset="0"/>
                          <a:cs typeface="Open Sans" charset="0"/>
                        </a:rPr>
                        <a:t>Commerci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30000"/>
                        </a:lnSpc>
                        <a:spcBef>
                          <a:spcPts val="100"/>
                        </a:spcBef>
                        <a:spcAft>
                          <a:spcPts val="0"/>
                        </a:spcAft>
                        <a:buClrTx/>
                        <a:buSzTx/>
                        <a:buFontTx/>
                        <a:buNone/>
                        <a:tabLst/>
                        <a:defRPr/>
                      </a:pPr>
                      <a:r>
                        <a:rPr lang="en-US" sz="1200" b="0" dirty="0">
                          <a:solidFill>
                            <a:schemeClr val="tx1"/>
                          </a:solidFill>
                          <a:latin typeface="+mn-lt"/>
                          <a:ea typeface="Open Sans" charset="0"/>
                          <a:cs typeface="Open Sans" charset="0"/>
                        </a:rPr>
                        <a:t>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grpSp>
        <p:nvGrpSpPr>
          <p:cNvPr id="11" name="Group 10">
            <a:extLst>
              <a:ext uri="{FF2B5EF4-FFF2-40B4-BE49-F238E27FC236}">
                <a16:creationId xmlns:a16="http://schemas.microsoft.com/office/drawing/2014/main" id="{221E6E11-F780-438E-925D-F8DEA06514DA}"/>
              </a:ext>
            </a:extLst>
          </p:cNvPr>
          <p:cNvGrpSpPr/>
          <p:nvPr/>
        </p:nvGrpSpPr>
        <p:grpSpPr>
          <a:xfrm>
            <a:off x="1158644" y="3997249"/>
            <a:ext cx="4838143" cy="2276935"/>
            <a:chOff x="780023" y="3506125"/>
            <a:chExt cx="5390289" cy="2769313"/>
          </a:xfrm>
        </p:grpSpPr>
        <p:sp>
          <p:nvSpPr>
            <p:cNvPr id="12" name="Rounded Rectangle 11">
              <a:extLst>
                <a:ext uri="{FF2B5EF4-FFF2-40B4-BE49-F238E27FC236}">
                  <a16:creationId xmlns:a16="http://schemas.microsoft.com/office/drawing/2014/main" id="{CDA93E9E-D329-45AF-ACFE-BC0A5CEF27A4}"/>
                </a:ext>
              </a:extLst>
            </p:cNvPr>
            <p:cNvSpPr/>
            <p:nvPr/>
          </p:nvSpPr>
          <p:spPr>
            <a:xfrm>
              <a:off x="780023" y="3506125"/>
              <a:ext cx="5390289" cy="2769313"/>
            </a:xfrm>
            <a:prstGeom prst="roundRect">
              <a:avLst/>
            </a:prstGeom>
            <a:solidFill>
              <a:srgbClr val="FFFBE7"/>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dirty="0">
                <a:ln>
                  <a:noFill/>
                </a:ln>
                <a:solidFill>
                  <a:srgbClr val="000000"/>
                </a:solidFill>
                <a:effectLst/>
                <a:uLnTx/>
                <a:uFillTx/>
                <a:latin typeface="Open Sans"/>
                <a:ea typeface="+mn-ea"/>
                <a:cs typeface="+mn-cs"/>
              </a:endParaRPr>
            </a:p>
          </p:txBody>
        </p:sp>
        <p:graphicFrame>
          <p:nvGraphicFramePr>
            <p:cNvPr id="13" name="Chart 12">
              <a:extLst>
                <a:ext uri="{FF2B5EF4-FFF2-40B4-BE49-F238E27FC236}">
                  <a16:creationId xmlns:a16="http://schemas.microsoft.com/office/drawing/2014/main" id="{F5AE5B51-249B-4C54-95AF-BB72D713E141}"/>
                </a:ext>
              </a:extLst>
            </p:cNvPr>
            <p:cNvGraphicFramePr/>
            <p:nvPr/>
          </p:nvGraphicFramePr>
          <p:xfrm>
            <a:off x="983919" y="3577853"/>
            <a:ext cx="4982496" cy="2559785"/>
          </p:xfrm>
          <a:graphic>
            <a:graphicData uri="http://schemas.openxmlformats.org/drawingml/2006/chart">
              <c:chart xmlns:c="http://schemas.openxmlformats.org/drawingml/2006/chart" xmlns:r="http://schemas.openxmlformats.org/officeDocument/2006/relationships" r:id="rId8"/>
            </a:graphicData>
          </a:graphic>
        </p:graphicFrame>
      </p:grpSp>
      <p:grpSp>
        <p:nvGrpSpPr>
          <p:cNvPr id="14" name="Group 13">
            <a:extLst>
              <a:ext uri="{FF2B5EF4-FFF2-40B4-BE49-F238E27FC236}">
                <a16:creationId xmlns:a16="http://schemas.microsoft.com/office/drawing/2014/main" id="{CB80AE34-CC1A-47E1-A0C9-A70BB8081A02}"/>
              </a:ext>
            </a:extLst>
          </p:cNvPr>
          <p:cNvGrpSpPr/>
          <p:nvPr/>
        </p:nvGrpSpPr>
        <p:grpSpPr>
          <a:xfrm>
            <a:off x="6127510" y="3997249"/>
            <a:ext cx="4822831" cy="2276935"/>
            <a:chOff x="6249299" y="3507679"/>
            <a:chExt cx="5390289" cy="2769313"/>
          </a:xfrm>
        </p:grpSpPr>
        <p:sp>
          <p:nvSpPr>
            <p:cNvPr id="15" name="Rounded Rectangle 14">
              <a:extLst>
                <a:ext uri="{FF2B5EF4-FFF2-40B4-BE49-F238E27FC236}">
                  <a16:creationId xmlns:a16="http://schemas.microsoft.com/office/drawing/2014/main" id="{2B74C98D-26B8-4E7A-9E3B-DCB5668DC9B8}"/>
                </a:ext>
              </a:extLst>
            </p:cNvPr>
            <p:cNvSpPr/>
            <p:nvPr/>
          </p:nvSpPr>
          <p:spPr>
            <a:xfrm>
              <a:off x="6249299" y="3507679"/>
              <a:ext cx="5390289" cy="2769313"/>
            </a:xfrm>
            <a:prstGeom prst="roundRect">
              <a:avLst/>
            </a:prstGeom>
            <a:solidFill>
              <a:srgbClr val="FFFBE7"/>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dirty="0">
                <a:ln>
                  <a:noFill/>
                </a:ln>
                <a:solidFill>
                  <a:srgbClr val="000000"/>
                </a:solidFill>
                <a:effectLst/>
                <a:uLnTx/>
                <a:uFillTx/>
                <a:latin typeface="Open Sans"/>
                <a:ea typeface="+mn-ea"/>
                <a:cs typeface="+mn-cs"/>
              </a:endParaRPr>
            </a:p>
          </p:txBody>
        </p:sp>
        <p:graphicFrame>
          <p:nvGraphicFramePr>
            <p:cNvPr id="16" name="Chart 15">
              <a:extLst>
                <a:ext uri="{FF2B5EF4-FFF2-40B4-BE49-F238E27FC236}">
                  <a16:creationId xmlns:a16="http://schemas.microsoft.com/office/drawing/2014/main" id="{E0E7B21C-B461-4033-B015-970F0CA94471}"/>
                </a:ext>
              </a:extLst>
            </p:cNvPr>
            <p:cNvGraphicFramePr/>
            <p:nvPr/>
          </p:nvGraphicFramePr>
          <p:xfrm>
            <a:off x="6452703" y="3610621"/>
            <a:ext cx="4983480" cy="2560320"/>
          </p:xfrm>
          <a:graphic>
            <a:graphicData uri="http://schemas.openxmlformats.org/drawingml/2006/chart">
              <c:chart xmlns:c="http://schemas.openxmlformats.org/drawingml/2006/chart" xmlns:r="http://schemas.openxmlformats.org/officeDocument/2006/relationships" r:id="rId9"/>
            </a:graphicData>
          </a:graphic>
        </p:graphicFrame>
      </p:grpSp>
      <p:grpSp>
        <p:nvGrpSpPr>
          <p:cNvPr id="17" name="Group 16">
            <a:extLst>
              <a:ext uri="{FF2B5EF4-FFF2-40B4-BE49-F238E27FC236}">
                <a16:creationId xmlns:a16="http://schemas.microsoft.com/office/drawing/2014/main" id="{D005260A-EECB-459F-BDC4-90E81E0B62AF}"/>
              </a:ext>
            </a:extLst>
          </p:cNvPr>
          <p:cNvGrpSpPr/>
          <p:nvPr/>
        </p:nvGrpSpPr>
        <p:grpSpPr>
          <a:xfrm>
            <a:off x="6127510" y="1546748"/>
            <a:ext cx="4807521" cy="2262522"/>
            <a:chOff x="6244822" y="1389216"/>
            <a:chExt cx="5237573" cy="2464915"/>
          </a:xfrm>
        </p:grpSpPr>
        <p:sp>
          <p:nvSpPr>
            <p:cNvPr id="18" name="Rounded Rectangle 28">
              <a:extLst>
                <a:ext uri="{FF2B5EF4-FFF2-40B4-BE49-F238E27FC236}">
                  <a16:creationId xmlns:a16="http://schemas.microsoft.com/office/drawing/2014/main" id="{83B58F46-0683-4F09-92D8-D7DFB30248D8}"/>
                </a:ext>
              </a:extLst>
            </p:cNvPr>
            <p:cNvSpPr/>
            <p:nvPr/>
          </p:nvSpPr>
          <p:spPr>
            <a:xfrm>
              <a:off x="6244822" y="1389216"/>
              <a:ext cx="5237573" cy="2464915"/>
            </a:xfrm>
            <a:prstGeom prst="roundRect">
              <a:avLst/>
            </a:prstGeom>
            <a:solidFill>
              <a:srgbClr val="FFFBE7"/>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1" u="none" strike="noStrike" kern="1200" cap="none" spc="0" normalizeH="0" baseline="0" noProof="0" dirty="0">
                <a:ln>
                  <a:noFill/>
                </a:ln>
                <a:solidFill>
                  <a:srgbClr val="000000"/>
                </a:solidFill>
                <a:effectLst/>
                <a:uLnTx/>
                <a:uFillTx/>
                <a:latin typeface="Open Sans"/>
                <a:ea typeface="+mn-ea"/>
                <a:cs typeface="+mn-cs"/>
              </a:endParaRPr>
            </a:p>
          </p:txBody>
        </p:sp>
        <p:grpSp>
          <p:nvGrpSpPr>
            <p:cNvPr id="19" name="Group 18">
              <a:extLst>
                <a:ext uri="{FF2B5EF4-FFF2-40B4-BE49-F238E27FC236}">
                  <a16:creationId xmlns:a16="http://schemas.microsoft.com/office/drawing/2014/main" id="{0F720D86-1F2C-4AB9-BE76-4988B2557507}"/>
                </a:ext>
              </a:extLst>
            </p:cNvPr>
            <p:cNvGrpSpPr/>
            <p:nvPr/>
          </p:nvGrpSpPr>
          <p:grpSpPr>
            <a:xfrm>
              <a:off x="8823289" y="1704817"/>
              <a:ext cx="2563679" cy="1870725"/>
              <a:chOff x="8969981" y="1362233"/>
              <a:chExt cx="2563679" cy="1870725"/>
            </a:xfrm>
          </p:grpSpPr>
          <p:graphicFrame>
            <p:nvGraphicFramePr>
              <p:cNvPr id="20" name="Chart 19">
                <a:extLst>
                  <a:ext uri="{FF2B5EF4-FFF2-40B4-BE49-F238E27FC236}">
                    <a16:creationId xmlns:a16="http://schemas.microsoft.com/office/drawing/2014/main" id="{1EF5713F-61D3-4B71-B0DB-0EB53C335A41}"/>
                  </a:ext>
                </a:extLst>
              </p:cNvPr>
              <p:cNvGraphicFramePr/>
              <p:nvPr/>
            </p:nvGraphicFramePr>
            <p:xfrm>
              <a:off x="8969981" y="1362233"/>
              <a:ext cx="2563679" cy="1870725"/>
            </p:xfrm>
            <a:graphic>
              <a:graphicData uri="http://schemas.openxmlformats.org/drawingml/2006/chart">
                <c:chart xmlns:c="http://schemas.openxmlformats.org/drawingml/2006/chart" xmlns:r="http://schemas.openxmlformats.org/officeDocument/2006/relationships" r:id="rId10"/>
              </a:graphicData>
            </a:graphic>
          </p:graphicFrame>
          <p:sp>
            <p:nvSpPr>
              <p:cNvPr id="21" name="TextBox 20">
                <a:extLst>
                  <a:ext uri="{FF2B5EF4-FFF2-40B4-BE49-F238E27FC236}">
                    <a16:creationId xmlns:a16="http://schemas.microsoft.com/office/drawing/2014/main" id="{87C33692-28AC-42CC-833E-117CB518A379}"/>
                  </a:ext>
                </a:extLst>
              </p:cNvPr>
              <p:cNvSpPr txBox="1"/>
              <p:nvPr/>
            </p:nvSpPr>
            <p:spPr>
              <a:xfrm rot="2464974">
                <a:off x="10309455" y="1925298"/>
                <a:ext cx="855408" cy="251481"/>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Open Sans"/>
                    <a:ea typeface="+mn-ea"/>
                    <a:cs typeface="+mn-cs"/>
                  </a:rPr>
                  <a:t>REACTIVE</a:t>
                </a:r>
              </a:p>
            </p:txBody>
          </p:sp>
          <p:sp>
            <p:nvSpPr>
              <p:cNvPr id="22" name="TextBox 21">
                <a:extLst>
                  <a:ext uri="{FF2B5EF4-FFF2-40B4-BE49-F238E27FC236}">
                    <a16:creationId xmlns:a16="http://schemas.microsoft.com/office/drawing/2014/main" id="{53F66442-9873-4214-A188-F0F69F7F519B}"/>
                  </a:ext>
                </a:extLst>
              </p:cNvPr>
              <p:cNvSpPr txBox="1"/>
              <p:nvPr/>
            </p:nvSpPr>
            <p:spPr>
              <a:xfrm rot="19209530">
                <a:off x="9287133" y="1917264"/>
                <a:ext cx="1002655" cy="251481"/>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Open Sans"/>
                    <a:ea typeface="+mn-ea"/>
                    <a:cs typeface="+mn-cs"/>
                  </a:rPr>
                  <a:t>PROACTIVE</a:t>
                </a:r>
              </a:p>
            </p:txBody>
          </p:sp>
        </p:grpSp>
      </p:grpSp>
      <p:graphicFrame>
        <p:nvGraphicFramePr>
          <p:cNvPr id="23" name="Chart 22">
            <a:extLst>
              <a:ext uri="{FF2B5EF4-FFF2-40B4-BE49-F238E27FC236}">
                <a16:creationId xmlns:a16="http://schemas.microsoft.com/office/drawing/2014/main" id="{FCEFE1B7-97FE-47E9-ABAB-DFE4EE800025}"/>
              </a:ext>
            </a:extLst>
          </p:cNvPr>
          <p:cNvGraphicFramePr/>
          <p:nvPr/>
        </p:nvGraphicFramePr>
        <p:xfrm>
          <a:off x="6384088" y="1836435"/>
          <a:ext cx="2383599" cy="1525172"/>
        </p:xfrm>
        <a:graphic>
          <a:graphicData uri="http://schemas.openxmlformats.org/drawingml/2006/chart">
            <c:chart xmlns:c="http://schemas.openxmlformats.org/drawingml/2006/chart" xmlns:r="http://schemas.openxmlformats.org/officeDocument/2006/relationships" r:id="rId11"/>
          </a:graphicData>
        </a:graphic>
      </p:graphicFrame>
      <p:sp>
        <p:nvSpPr>
          <p:cNvPr id="24" name="TextBox 23">
            <a:extLst>
              <a:ext uri="{FF2B5EF4-FFF2-40B4-BE49-F238E27FC236}">
                <a16:creationId xmlns:a16="http://schemas.microsoft.com/office/drawing/2014/main" id="{6C0D2EFA-066A-4B69-BC77-EA743D3B846C}"/>
              </a:ext>
            </a:extLst>
          </p:cNvPr>
          <p:cNvSpPr txBox="1"/>
          <p:nvPr/>
        </p:nvSpPr>
        <p:spPr>
          <a:xfrm>
            <a:off x="6555086" y="3106707"/>
            <a:ext cx="226318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AVERAGE PRICE: </a:t>
            </a:r>
            <a:r>
              <a:rPr kumimoji="0" lang="en-US" sz="900" b="1" i="0" u="none" strike="noStrike" kern="1200" cap="none" spc="0" normalizeH="0" baseline="0" noProof="0" dirty="0">
                <a:ln>
                  <a:noFill/>
                </a:ln>
                <a:solidFill>
                  <a:srgbClr val="000000"/>
                </a:solidFill>
                <a:effectLst/>
                <a:uLnTx/>
                <a:uFillTx/>
                <a:latin typeface="Open Sans"/>
                <a:ea typeface="+mn-ea"/>
                <a:cs typeface="+mn-cs"/>
              </a:rPr>
              <a:t>$12,89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Open Sans"/>
                <a:ea typeface="+mn-ea"/>
                <a:cs typeface="+mn-cs"/>
              </a:rPr>
              <a:t>*Only includes sample where engine had a discrete price (n=10) , as opposed to the entire boat purchase</a:t>
            </a:r>
          </a:p>
        </p:txBody>
      </p:sp>
    </p:spTree>
    <p:extLst>
      <p:ext uri="{BB962C8B-B14F-4D97-AF65-F5344CB8AC3E}">
        <p14:creationId xmlns:p14="http://schemas.microsoft.com/office/powerpoint/2010/main" val="119941139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8D59535-039E-4329-BC47-0F1D18928C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72" name="think-cell Slide" r:id="rId6" imgW="415" imgH="416" progId="TCLayout.ActiveDocument.1">
                  <p:embed/>
                </p:oleObj>
              </mc:Choice>
              <mc:Fallback>
                <p:oleObj name="think-cell Slide" r:id="rId6" imgW="415" imgH="416" progId="TCLayout.ActiveDocument.1">
                  <p:embed/>
                  <p:pic>
                    <p:nvPicPr>
                      <p:cNvPr id="6" name="Object 5" hidden="1">
                        <a:extLst>
                          <a:ext uri="{FF2B5EF4-FFF2-40B4-BE49-F238E27FC236}">
                            <a16:creationId xmlns:a16="http://schemas.microsoft.com/office/drawing/2014/main" id="{18D59535-039E-4329-BC47-0F1D18928C8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DA6D936-E73E-451A-A806-750C5CE9199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DB208CFC-53A7-482A-A68A-4A132F661D04}"/>
              </a:ext>
            </a:extLst>
          </p:cNvPr>
          <p:cNvSpPr>
            <a:spLocks noGrp="1"/>
          </p:cNvSpPr>
          <p:nvPr>
            <p:ph type="title"/>
          </p:nvPr>
        </p:nvSpPr>
        <p:spPr/>
        <p:txBody>
          <a:bodyPr/>
          <a:lstStyle/>
          <a:p>
            <a:r>
              <a:rPr lang="en-US" dirty="0"/>
              <a:t>What problems are we solving for customers?</a:t>
            </a:r>
          </a:p>
        </p:txBody>
      </p:sp>
      <p:sp>
        <p:nvSpPr>
          <p:cNvPr id="3" name="Text Placeholder 2">
            <a:extLst>
              <a:ext uri="{FF2B5EF4-FFF2-40B4-BE49-F238E27FC236}">
                <a16:creationId xmlns:a16="http://schemas.microsoft.com/office/drawing/2014/main" id="{775BA466-77E3-4AFB-B82C-D82F3A424A9C}"/>
              </a:ext>
            </a:extLst>
          </p:cNvPr>
          <p:cNvSpPr>
            <a:spLocks noGrp="1"/>
          </p:cNvSpPr>
          <p:nvPr>
            <p:ph type="body" sz="quarter" idx="14"/>
          </p:nvPr>
        </p:nvSpPr>
        <p:spPr>
          <a:xfrm>
            <a:off x="914721" y="1353312"/>
            <a:ext cx="10362880" cy="475488"/>
          </a:xfrm>
        </p:spPr>
        <p:txBody>
          <a:bodyPr/>
          <a:lstStyle/>
          <a:p>
            <a:r>
              <a:rPr lang="en-US" dirty="0"/>
              <a:t>Program is working with other programs to address key issues for our customers</a:t>
            </a:r>
          </a:p>
        </p:txBody>
      </p:sp>
      <p:sp>
        <p:nvSpPr>
          <p:cNvPr id="4" name="Text Placeholder 3">
            <a:extLst>
              <a:ext uri="{FF2B5EF4-FFF2-40B4-BE49-F238E27FC236}">
                <a16:creationId xmlns:a16="http://schemas.microsoft.com/office/drawing/2014/main" id="{33B888F7-9568-4F5A-BB8C-0D2F164DE5E4}"/>
              </a:ext>
            </a:extLst>
          </p:cNvPr>
          <p:cNvSpPr>
            <a:spLocks noGrp="1"/>
          </p:cNvSpPr>
          <p:nvPr>
            <p:ph type="body" sz="quarter" idx="15"/>
          </p:nvPr>
        </p:nvSpPr>
        <p:spPr/>
        <p:txBody>
          <a:bodyPr/>
          <a:lstStyle/>
          <a:p>
            <a:r>
              <a:rPr lang="en-US" dirty="0"/>
              <a:t>Process &amp; customer journey</a:t>
            </a:r>
          </a:p>
        </p:txBody>
      </p:sp>
      <p:sp>
        <p:nvSpPr>
          <p:cNvPr id="7" name="Freeform 4">
            <a:extLst>
              <a:ext uri="{FF2B5EF4-FFF2-40B4-BE49-F238E27FC236}">
                <a16:creationId xmlns:a16="http://schemas.microsoft.com/office/drawing/2014/main" id="{AE76190C-D2BC-4BB5-AEA3-2441EF5BC971}"/>
              </a:ext>
            </a:extLst>
          </p:cNvPr>
          <p:cNvSpPr/>
          <p:nvPr/>
        </p:nvSpPr>
        <p:spPr>
          <a:xfrm>
            <a:off x="914399" y="2481262"/>
            <a:ext cx="10363201" cy="1231091"/>
          </a:xfrm>
          <a:custGeom>
            <a:avLst/>
            <a:gdLst>
              <a:gd name="connsiteX0" fmla="*/ 0 w 8617527"/>
              <a:gd name="connsiteY0" fmla="*/ 651164 h 1191491"/>
              <a:gd name="connsiteX1" fmla="*/ 2673927 w 8617527"/>
              <a:gd name="connsiteY1" fmla="*/ 0 h 1191491"/>
              <a:gd name="connsiteX2" fmla="*/ 6483927 w 8617527"/>
              <a:gd name="connsiteY2" fmla="*/ 1191491 h 1191491"/>
              <a:gd name="connsiteX3" fmla="*/ 8617527 w 8617527"/>
              <a:gd name="connsiteY3" fmla="*/ 498764 h 1191491"/>
              <a:gd name="connsiteX0" fmla="*/ 0 w 8617527"/>
              <a:gd name="connsiteY0" fmla="*/ 661463 h 1201790"/>
              <a:gd name="connsiteX1" fmla="*/ 2673927 w 8617527"/>
              <a:gd name="connsiteY1" fmla="*/ 10299 h 1201790"/>
              <a:gd name="connsiteX2" fmla="*/ 6483927 w 8617527"/>
              <a:gd name="connsiteY2" fmla="*/ 1201790 h 1201790"/>
              <a:gd name="connsiteX3" fmla="*/ 8617527 w 8617527"/>
              <a:gd name="connsiteY3" fmla="*/ 509063 h 1201790"/>
              <a:gd name="connsiteX0" fmla="*/ 0 w 8617527"/>
              <a:gd name="connsiteY0" fmla="*/ 651245 h 1191572"/>
              <a:gd name="connsiteX1" fmla="*/ 2673927 w 8617527"/>
              <a:gd name="connsiteY1" fmla="*/ 81 h 1191572"/>
              <a:gd name="connsiteX2" fmla="*/ 6483927 w 8617527"/>
              <a:gd name="connsiteY2" fmla="*/ 1191572 h 1191572"/>
              <a:gd name="connsiteX3" fmla="*/ 8617527 w 8617527"/>
              <a:gd name="connsiteY3" fmla="*/ 498845 h 1191572"/>
              <a:gd name="connsiteX0" fmla="*/ 0 w 8617527"/>
              <a:gd name="connsiteY0" fmla="*/ 651245 h 1217033"/>
              <a:gd name="connsiteX1" fmla="*/ 2673927 w 8617527"/>
              <a:gd name="connsiteY1" fmla="*/ 81 h 1217033"/>
              <a:gd name="connsiteX2" fmla="*/ 6483927 w 8617527"/>
              <a:gd name="connsiteY2" fmla="*/ 1191572 h 1217033"/>
              <a:gd name="connsiteX3" fmla="*/ 8617527 w 8617527"/>
              <a:gd name="connsiteY3" fmla="*/ 498845 h 1217033"/>
              <a:gd name="connsiteX0" fmla="*/ 0 w 8617527"/>
              <a:gd name="connsiteY0" fmla="*/ 651245 h 1191898"/>
              <a:gd name="connsiteX1" fmla="*/ 2673927 w 8617527"/>
              <a:gd name="connsiteY1" fmla="*/ 81 h 1191898"/>
              <a:gd name="connsiteX2" fmla="*/ 6483927 w 8617527"/>
              <a:gd name="connsiteY2" fmla="*/ 1191572 h 1191898"/>
              <a:gd name="connsiteX3" fmla="*/ 8617527 w 8617527"/>
              <a:gd name="connsiteY3" fmla="*/ 498845 h 1191898"/>
              <a:gd name="connsiteX0" fmla="*/ 0 w 8617527"/>
              <a:gd name="connsiteY0" fmla="*/ 651245 h 1191625"/>
              <a:gd name="connsiteX1" fmla="*/ 2673927 w 8617527"/>
              <a:gd name="connsiteY1" fmla="*/ 81 h 1191625"/>
              <a:gd name="connsiteX2" fmla="*/ 6483927 w 8617527"/>
              <a:gd name="connsiteY2" fmla="*/ 1191572 h 1191625"/>
              <a:gd name="connsiteX3" fmla="*/ 8617527 w 8617527"/>
              <a:gd name="connsiteY3" fmla="*/ 498845 h 1191625"/>
              <a:gd name="connsiteX0" fmla="*/ 0 w 8617527"/>
              <a:gd name="connsiteY0" fmla="*/ 651245 h 1196985"/>
              <a:gd name="connsiteX1" fmla="*/ 2673927 w 8617527"/>
              <a:gd name="connsiteY1" fmla="*/ 81 h 1196985"/>
              <a:gd name="connsiteX2" fmla="*/ 6483927 w 8617527"/>
              <a:gd name="connsiteY2" fmla="*/ 1191572 h 1196985"/>
              <a:gd name="connsiteX3" fmla="*/ 8617527 w 8617527"/>
              <a:gd name="connsiteY3" fmla="*/ 415718 h 1196985"/>
              <a:gd name="connsiteX0" fmla="*/ 0 w 8617527"/>
              <a:gd name="connsiteY0" fmla="*/ 662395 h 1235629"/>
              <a:gd name="connsiteX1" fmla="*/ 2673927 w 8617527"/>
              <a:gd name="connsiteY1" fmla="*/ 11231 h 1235629"/>
              <a:gd name="connsiteX2" fmla="*/ 6276108 w 8617527"/>
              <a:gd name="connsiteY2" fmla="*/ 1230431 h 1235629"/>
              <a:gd name="connsiteX3" fmla="*/ 8617527 w 8617527"/>
              <a:gd name="connsiteY3" fmla="*/ 426868 h 1235629"/>
              <a:gd name="connsiteX0" fmla="*/ 0 w 8617527"/>
              <a:gd name="connsiteY0" fmla="*/ 662395 h 1230431"/>
              <a:gd name="connsiteX1" fmla="*/ 2673927 w 8617527"/>
              <a:gd name="connsiteY1" fmla="*/ 11231 h 1230431"/>
              <a:gd name="connsiteX2" fmla="*/ 6276108 w 8617527"/>
              <a:gd name="connsiteY2" fmla="*/ 1230431 h 1230431"/>
              <a:gd name="connsiteX3" fmla="*/ 8617527 w 8617527"/>
              <a:gd name="connsiteY3" fmla="*/ 426868 h 1230431"/>
              <a:gd name="connsiteX0" fmla="*/ 0 w 8645236"/>
              <a:gd name="connsiteY0" fmla="*/ 662395 h 1238608"/>
              <a:gd name="connsiteX1" fmla="*/ 2673927 w 8645236"/>
              <a:gd name="connsiteY1" fmla="*/ 11231 h 1238608"/>
              <a:gd name="connsiteX2" fmla="*/ 6276108 w 8645236"/>
              <a:gd name="connsiteY2" fmla="*/ 1230431 h 1238608"/>
              <a:gd name="connsiteX3" fmla="*/ 8645236 w 8645236"/>
              <a:gd name="connsiteY3" fmla="*/ 509995 h 1238608"/>
              <a:gd name="connsiteX0" fmla="*/ 0 w 8645236"/>
              <a:gd name="connsiteY0" fmla="*/ 662395 h 1238608"/>
              <a:gd name="connsiteX1" fmla="*/ 2673927 w 8645236"/>
              <a:gd name="connsiteY1" fmla="*/ 11231 h 1238608"/>
              <a:gd name="connsiteX2" fmla="*/ 6276108 w 8645236"/>
              <a:gd name="connsiteY2" fmla="*/ 1230431 h 1238608"/>
              <a:gd name="connsiteX3" fmla="*/ 8645236 w 8645236"/>
              <a:gd name="connsiteY3" fmla="*/ 509995 h 1238608"/>
              <a:gd name="connsiteX0" fmla="*/ 0 w 8645282"/>
              <a:gd name="connsiteY0" fmla="*/ 662395 h 1236431"/>
              <a:gd name="connsiteX1" fmla="*/ 2673927 w 8645282"/>
              <a:gd name="connsiteY1" fmla="*/ 11231 h 1236431"/>
              <a:gd name="connsiteX2" fmla="*/ 6276108 w 8645282"/>
              <a:gd name="connsiteY2" fmla="*/ 1230431 h 1236431"/>
              <a:gd name="connsiteX3" fmla="*/ 8645236 w 8645282"/>
              <a:gd name="connsiteY3" fmla="*/ 509995 h 1236431"/>
              <a:gd name="connsiteX0" fmla="*/ 0 w 8631428"/>
              <a:gd name="connsiteY0" fmla="*/ 662395 h 1234327"/>
              <a:gd name="connsiteX1" fmla="*/ 2673927 w 8631428"/>
              <a:gd name="connsiteY1" fmla="*/ 11231 h 1234327"/>
              <a:gd name="connsiteX2" fmla="*/ 6276108 w 8631428"/>
              <a:gd name="connsiteY2" fmla="*/ 1230431 h 1234327"/>
              <a:gd name="connsiteX3" fmla="*/ 8631382 w 8631428"/>
              <a:gd name="connsiteY3" fmla="*/ 426868 h 1234327"/>
              <a:gd name="connsiteX0" fmla="*/ 0 w 8617574"/>
              <a:gd name="connsiteY0" fmla="*/ 1081098 h 1223539"/>
              <a:gd name="connsiteX1" fmla="*/ 2660073 w 8617574"/>
              <a:gd name="connsiteY1" fmla="*/ 443 h 1223539"/>
              <a:gd name="connsiteX2" fmla="*/ 6262254 w 8617574"/>
              <a:gd name="connsiteY2" fmla="*/ 1219643 h 1223539"/>
              <a:gd name="connsiteX3" fmla="*/ 8617528 w 8617574"/>
              <a:gd name="connsiteY3" fmla="*/ 416080 h 1223539"/>
              <a:gd name="connsiteX0" fmla="*/ 0 w 8617574"/>
              <a:gd name="connsiteY0" fmla="*/ 1039556 h 1181296"/>
              <a:gd name="connsiteX1" fmla="*/ 2660073 w 8617574"/>
              <a:gd name="connsiteY1" fmla="*/ 465 h 1181296"/>
              <a:gd name="connsiteX2" fmla="*/ 6262254 w 8617574"/>
              <a:gd name="connsiteY2" fmla="*/ 1178101 h 1181296"/>
              <a:gd name="connsiteX3" fmla="*/ 8617528 w 8617574"/>
              <a:gd name="connsiteY3" fmla="*/ 374538 h 1181296"/>
              <a:gd name="connsiteX0" fmla="*/ 0 w 8617574"/>
              <a:gd name="connsiteY0" fmla="*/ 1039761 h 1181501"/>
              <a:gd name="connsiteX1" fmla="*/ 2660073 w 8617574"/>
              <a:gd name="connsiteY1" fmla="*/ 670 h 1181501"/>
              <a:gd name="connsiteX2" fmla="*/ 6262254 w 8617574"/>
              <a:gd name="connsiteY2" fmla="*/ 1178306 h 1181501"/>
              <a:gd name="connsiteX3" fmla="*/ 8617528 w 8617574"/>
              <a:gd name="connsiteY3" fmla="*/ 374743 h 1181501"/>
              <a:gd name="connsiteX0" fmla="*/ 0 w 8617574"/>
              <a:gd name="connsiteY0" fmla="*/ 1039761 h 1181501"/>
              <a:gd name="connsiteX1" fmla="*/ 2660073 w 8617574"/>
              <a:gd name="connsiteY1" fmla="*/ 670 h 1181501"/>
              <a:gd name="connsiteX2" fmla="*/ 6262254 w 8617574"/>
              <a:gd name="connsiteY2" fmla="*/ 1178306 h 1181501"/>
              <a:gd name="connsiteX3" fmla="*/ 8617528 w 8617574"/>
              <a:gd name="connsiteY3" fmla="*/ 374743 h 1181501"/>
              <a:gd name="connsiteX0" fmla="*/ 0 w 8603720"/>
              <a:gd name="connsiteY0" fmla="*/ 1039774 h 1185059"/>
              <a:gd name="connsiteX1" fmla="*/ 2660073 w 8603720"/>
              <a:gd name="connsiteY1" fmla="*/ 683 h 1185059"/>
              <a:gd name="connsiteX2" fmla="*/ 6262254 w 8603720"/>
              <a:gd name="connsiteY2" fmla="*/ 1178319 h 1185059"/>
              <a:gd name="connsiteX3" fmla="*/ 8603674 w 8603720"/>
              <a:gd name="connsiteY3" fmla="*/ 513302 h 1185059"/>
              <a:gd name="connsiteX0" fmla="*/ 0 w 8646540"/>
              <a:gd name="connsiteY0" fmla="*/ 1039774 h 1183120"/>
              <a:gd name="connsiteX1" fmla="*/ 2660073 w 8646540"/>
              <a:gd name="connsiteY1" fmla="*/ 683 h 1183120"/>
              <a:gd name="connsiteX2" fmla="*/ 6262254 w 8646540"/>
              <a:gd name="connsiteY2" fmla="*/ 1178319 h 1183120"/>
              <a:gd name="connsiteX3" fmla="*/ 8646495 w 8646540"/>
              <a:gd name="connsiteY3" fmla="*/ 185311 h 1183120"/>
              <a:gd name="connsiteX0" fmla="*/ 0 w 8646549"/>
              <a:gd name="connsiteY0" fmla="*/ 1039497 h 1182843"/>
              <a:gd name="connsiteX1" fmla="*/ 2660073 w 8646549"/>
              <a:gd name="connsiteY1" fmla="*/ 406 h 1182843"/>
              <a:gd name="connsiteX2" fmla="*/ 6497771 w 8646549"/>
              <a:gd name="connsiteY2" fmla="*/ 1178042 h 1182843"/>
              <a:gd name="connsiteX3" fmla="*/ 8646495 w 8646549"/>
              <a:gd name="connsiteY3" fmla="*/ 185034 h 1182843"/>
              <a:gd name="connsiteX0" fmla="*/ 0 w 8646550"/>
              <a:gd name="connsiteY0" fmla="*/ 1039497 h 1178042"/>
              <a:gd name="connsiteX1" fmla="*/ 2660073 w 8646550"/>
              <a:gd name="connsiteY1" fmla="*/ 406 h 1178042"/>
              <a:gd name="connsiteX2" fmla="*/ 6497771 w 8646550"/>
              <a:gd name="connsiteY2" fmla="*/ 1178042 h 1178042"/>
              <a:gd name="connsiteX3" fmla="*/ 8646495 w 8646550"/>
              <a:gd name="connsiteY3" fmla="*/ 185034 h 1178042"/>
              <a:gd name="connsiteX0" fmla="*/ 0 w 8646550"/>
              <a:gd name="connsiteY0" fmla="*/ 1039497 h 1178052"/>
              <a:gd name="connsiteX1" fmla="*/ 2660073 w 8646550"/>
              <a:gd name="connsiteY1" fmla="*/ 406 h 1178052"/>
              <a:gd name="connsiteX2" fmla="*/ 6497771 w 8646550"/>
              <a:gd name="connsiteY2" fmla="*/ 1178042 h 1178052"/>
              <a:gd name="connsiteX3" fmla="*/ 8646495 w 8646550"/>
              <a:gd name="connsiteY3" fmla="*/ 185034 h 1178052"/>
              <a:gd name="connsiteX0" fmla="*/ 0 w 8646549"/>
              <a:gd name="connsiteY0" fmla="*/ 1039093 h 1048441"/>
              <a:gd name="connsiteX1" fmla="*/ 2660073 w 8646549"/>
              <a:gd name="connsiteY1" fmla="*/ 2 h 1048441"/>
              <a:gd name="connsiteX2" fmla="*/ 6465655 w 8646549"/>
              <a:gd name="connsiteY2" fmla="*/ 1048430 h 1048441"/>
              <a:gd name="connsiteX3" fmla="*/ 8646495 w 8646549"/>
              <a:gd name="connsiteY3" fmla="*/ 184630 h 1048441"/>
            </a:gdLst>
            <a:ahLst/>
            <a:cxnLst>
              <a:cxn ang="0">
                <a:pos x="connsiteX0" y="connsiteY0"/>
              </a:cxn>
              <a:cxn ang="0">
                <a:pos x="connsiteX1" y="connsiteY1"/>
              </a:cxn>
              <a:cxn ang="0">
                <a:pos x="connsiteX2" y="connsiteY2"/>
              </a:cxn>
              <a:cxn ang="0">
                <a:pos x="connsiteX3" y="connsiteY3"/>
              </a:cxn>
            </a:cxnLst>
            <a:rect l="l" t="t" r="r" b="b"/>
            <a:pathLst>
              <a:path w="8646549" h="1048441">
                <a:moveTo>
                  <a:pt x="0" y="1039093"/>
                </a:moveTo>
                <a:cubicBezTo>
                  <a:pt x="18473" y="946729"/>
                  <a:pt x="1582464" y="-1554"/>
                  <a:pt x="2660073" y="2"/>
                </a:cubicBezTo>
                <a:cubicBezTo>
                  <a:pt x="3737682" y="1558"/>
                  <a:pt x="5442940" y="1052446"/>
                  <a:pt x="6465655" y="1048430"/>
                </a:cubicBezTo>
                <a:cubicBezTo>
                  <a:pt x="7488370" y="1044414"/>
                  <a:pt x="8655731" y="180011"/>
                  <a:pt x="8646495" y="184630"/>
                </a:cubicBezTo>
              </a:path>
            </a:pathLst>
          </a:custGeom>
          <a:noFill/>
          <a:ln w="9525" cap="flat">
            <a:solidFill>
              <a:schemeClr val="bg1">
                <a:lumMod val="50000"/>
              </a:schemeClr>
            </a:solidFill>
            <a:prstDash val="sysDash"/>
            <a:miter lim="800000"/>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8" name="TextBox 7">
            <a:extLst>
              <a:ext uri="{FF2B5EF4-FFF2-40B4-BE49-F238E27FC236}">
                <a16:creationId xmlns:a16="http://schemas.microsoft.com/office/drawing/2014/main" id="{B48FE30A-FD0C-4562-BF89-9790229CA6DA}"/>
              </a:ext>
            </a:extLst>
          </p:cNvPr>
          <p:cNvSpPr txBox="1"/>
          <p:nvPr/>
        </p:nvSpPr>
        <p:spPr>
          <a:xfrm>
            <a:off x="2977713" y="3035928"/>
            <a:ext cx="1737360" cy="1761236"/>
          </a:xfrm>
          <a:prstGeom prst="rect">
            <a:avLst/>
          </a:prstGeom>
          <a:noFill/>
        </p:spPr>
        <p:txBody>
          <a:bodyPr wrap="square" lIns="0" tIns="0" rIns="0" bIns="0" rtlCol="0">
            <a:noAutofit/>
          </a:bodyPr>
          <a:lstStyle/>
          <a:p>
            <a:pPr marL="0" marR="0" lvl="0" indent="0" algn="l" defTabSz="1219170" rtl="0" eaLnBrk="1" fontAlgn="auto" latinLnBrk="0" hangingPunct="1">
              <a:lnSpc>
                <a:spcPct val="106000"/>
              </a:lnSpc>
              <a:spcBef>
                <a:spcPts val="0"/>
              </a:spcBef>
              <a:spcAft>
                <a:spcPts val="600"/>
              </a:spcAft>
              <a:buClrTx/>
              <a:buSzPct val="100000"/>
              <a:buFontTx/>
              <a:buNone/>
              <a:tabLst/>
              <a:defRPr/>
            </a:pPr>
            <a:r>
              <a:rPr kumimoji="0" lang="en-US" sz="1100" b="1" i="0" u="none" strike="noStrike" kern="1200" cap="none" spc="0" normalizeH="0" baseline="0" noProof="0" dirty="0">
                <a:ln>
                  <a:noFill/>
                </a:ln>
                <a:solidFill>
                  <a:schemeClr val="accent2"/>
                </a:solidFill>
                <a:effectLst/>
                <a:uLnTx/>
                <a:uFillTx/>
                <a:ea typeface="+mn-ea"/>
                <a:cs typeface="+mn-cs"/>
              </a:rPr>
              <a:t>Personalization</a:t>
            </a:r>
          </a:p>
          <a:p>
            <a:pPr marL="0" marR="0" lvl="0" indent="0" algn="l" defTabSz="1219170" rtl="0" eaLnBrk="1" fontAlgn="auto" latinLnBrk="0" hangingPunct="1">
              <a:lnSpc>
                <a:spcPct val="106000"/>
              </a:lnSpc>
              <a:spcBef>
                <a:spcPts val="0"/>
              </a:spcBef>
              <a:spcAft>
                <a:spcPts val="600"/>
              </a:spcAft>
              <a:buClrTx/>
              <a:buSzPct val="100000"/>
              <a:buFontTx/>
              <a:buNone/>
              <a:tabLst/>
              <a:defRPr/>
            </a:pPr>
            <a:r>
              <a:rPr kumimoji="0" lang="en-US" sz="1050" b="0" i="0" u="none" strike="noStrike" kern="1200" cap="none" spc="0" normalizeH="0" baseline="0" noProof="0" dirty="0">
                <a:ln>
                  <a:noFill/>
                </a:ln>
                <a:solidFill>
                  <a:srgbClr val="000000"/>
                </a:solidFill>
                <a:effectLst/>
                <a:uLnTx/>
                <a:uFillTx/>
                <a:ea typeface="+mn-ea"/>
                <a:cs typeface="+mn-cs"/>
              </a:rPr>
              <a:t>Client would offer deals and promotions that are </a:t>
            </a:r>
            <a:r>
              <a:rPr kumimoji="0" lang="en-US" sz="1050" b="1" i="0" u="none" strike="noStrike" kern="1200" cap="none" spc="0" normalizeH="0" baseline="0" noProof="0" dirty="0">
                <a:ln>
                  <a:noFill/>
                </a:ln>
                <a:solidFill>
                  <a:schemeClr val="accent2"/>
                </a:solidFill>
                <a:effectLst/>
                <a:uLnTx/>
                <a:uFillTx/>
                <a:ea typeface="+mn-ea"/>
                <a:cs typeface="+mn-cs"/>
              </a:rPr>
              <a:t>relevant to me </a:t>
            </a:r>
            <a:r>
              <a:rPr kumimoji="0" lang="en-US" sz="1050" b="0" i="0" u="none" strike="noStrike" kern="1200" cap="none" spc="0" normalizeH="0" baseline="0" noProof="0" dirty="0">
                <a:ln>
                  <a:noFill/>
                </a:ln>
                <a:solidFill>
                  <a:srgbClr val="000000"/>
                </a:solidFill>
                <a:effectLst/>
                <a:uLnTx/>
                <a:uFillTx/>
                <a:ea typeface="+mn-ea"/>
                <a:cs typeface="+mn-cs"/>
              </a:rPr>
              <a:t>so I can get more value from my Client Shop</a:t>
            </a:r>
            <a:endParaRPr kumimoji="0" lang="en-US" sz="1050" b="0" i="0" u="none" strike="noStrike" kern="1200" cap="none" spc="0" normalizeH="0" baseline="30000" noProof="0" dirty="0">
              <a:ln>
                <a:noFill/>
              </a:ln>
              <a:solidFill>
                <a:srgbClr val="000000"/>
              </a:solidFill>
              <a:effectLst/>
              <a:uLnTx/>
              <a:uFillTx/>
              <a:ea typeface="+mn-ea"/>
              <a:cs typeface="+mn-cs"/>
            </a:endParaRPr>
          </a:p>
        </p:txBody>
      </p:sp>
      <p:sp>
        <p:nvSpPr>
          <p:cNvPr id="9" name="TextBox 8">
            <a:extLst>
              <a:ext uri="{FF2B5EF4-FFF2-40B4-BE49-F238E27FC236}">
                <a16:creationId xmlns:a16="http://schemas.microsoft.com/office/drawing/2014/main" id="{11240E9D-6A00-4D45-9036-4E85814D213E}"/>
              </a:ext>
            </a:extLst>
          </p:cNvPr>
          <p:cNvSpPr txBox="1"/>
          <p:nvPr/>
        </p:nvSpPr>
        <p:spPr>
          <a:xfrm>
            <a:off x="5040705" y="3463226"/>
            <a:ext cx="1737360" cy="1761236"/>
          </a:xfrm>
          <a:prstGeom prst="rect">
            <a:avLst/>
          </a:prstGeom>
          <a:noFill/>
        </p:spPr>
        <p:txBody>
          <a:bodyPr wrap="square" lIns="0" tIns="0" rIns="0" bIns="0" rtlCol="0">
            <a:noAutofit/>
          </a:bodyPr>
          <a:lstStyle/>
          <a:p>
            <a:pPr marL="0" marR="0" lvl="0" indent="0" algn="l" defTabSz="1219170" rtl="0" eaLnBrk="1" fontAlgn="auto" latinLnBrk="0" hangingPunct="1">
              <a:lnSpc>
                <a:spcPct val="106000"/>
              </a:lnSpc>
              <a:spcBef>
                <a:spcPts val="0"/>
              </a:spcBef>
              <a:spcAft>
                <a:spcPts val="600"/>
              </a:spcAft>
              <a:buClrTx/>
              <a:buSzPct val="100000"/>
              <a:buFontTx/>
              <a:buNone/>
              <a:tabLst/>
              <a:defRPr/>
            </a:pPr>
            <a:r>
              <a:rPr kumimoji="0" lang="en-US" sz="1100" b="1" i="0" u="none" strike="noStrike" kern="1200" cap="none" spc="0" normalizeH="0" baseline="0" noProof="0" dirty="0">
                <a:ln>
                  <a:noFill/>
                </a:ln>
                <a:solidFill>
                  <a:schemeClr val="accent2"/>
                </a:solidFill>
                <a:effectLst/>
                <a:uLnTx/>
                <a:uFillTx/>
                <a:ea typeface="+mn-ea"/>
                <a:cs typeface="+mn-cs"/>
              </a:rPr>
              <a:t>In-Stocks</a:t>
            </a:r>
          </a:p>
          <a:p>
            <a:pPr marL="0" marR="0" lvl="0" indent="0" algn="l" defTabSz="1219170" rtl="0" eaLnBrk="1" fontAlgn="auto" latinLnBrk="0" hangingPunct="1">
              <a:lnSpc>
                <a:spcPct val="106000"/>
              </a:lnSpc>
              <a:spcBef>
                <a:spcPts val="0"/>
              </a:spcBef>
              <a:spcAft>
                <a:spcPts val="600"/>
              </a:spcAft>
              <a:buClrTx/>
              <a:buSzPct val="100000"/>
              <a:buFontTx/>
              <a:buNone/>
              <a:tabLst/>
              <a:defRPr/>
            </a:pPr>
            <a:r>
              <a:rPr kumimoji="0" lang="en-US" sz="1050" b="0" i="0" u="none" strike="noStrike" kern="1200" cap="none" spc="0" normalizeH="0" baseline="0" noProof="0" dirty="0">
                <a:ln>
                  <a:noFill/>
                </a:ln>
                <a:solidFill>
                  <a:srgbClr val="000000"/>
                </a:solidFill>
                <a:effectLst/>
                <a:uLnTx/>
                <a:uFillTx/>
                <a:ea typeface="Open Sans" panose="020B0606030504020204" pitchFamily="34" charset="0"/>
                <a:cs typeface="Open Sans" panose="020B0606030504020204" pitchFamily="34" charset="0"/>
              </a:rPr>
              <a:t>Client </a:t>
            </a:r>
            <a:r>
              <a:rPr kumimoji="0" lang="en-US" sz="1050" b="1" i="0" u="none" strike="noStrike" kern="1200" cap="none" spc="0" normalizeH="0" baseline="0" noProof="0" dirty="0">
                <a:ln>
                  <a:noFill/>
                </a:ln>
                <a:solidFill>
                  <a:schemeClr val="accent2"/>
                </a:solidFill>
                <a:effectLst/>
                <a:uLnTx/>
                <a:uFillTx/>
                <a:ea typeface="Open Sans" panose="020B0606030504020204" pitchFamily="34" charset="0"/>
                <a:cs typeface="Open Sans" panose="020B0606030504020204" pitchFamily="34" charset="0"/>
              </a:rPr>
              <a:t>were always in-stock</a:t>
            </a:r>
            <a:r>
              <a:rPr kumimoji="0" lang="en-US" sz="1050" b="1" i="0" u="none" strike="noStrike" kern="1200" cap="none" spc="0" normalizeH="0" baseline="0" noProof="0" dirty="0">
                <a:ln>
                  <a:noFill/>
                </a:ln>
                <a:solidFill>
                  <a:srgbClr val="0068B3"/>
                </a:solidFill>
                <a:effectLst/>
                <a:uLnTx/>
                <a:uFillTx/>
                <a:ea typeface="Open Sans" panose="020B0606030504020204" pitchFamily="34" charset="0"/>
                <a:cs typeface="Open Sans" panose="020B0606030504020204" pitchFamily="34" charset="0"/>
              </a:rPr>
              <a:t> </a:t>
            </a:r>
            <a:r>
              <a:rPr kumimoji="0" lang="en-US" sz="1050" b="0" i="0" u="none" strike="noStrike" kern="1200" cap="none" spc="0" normalizeH="0" baseline="0" noProof="0" dirty="0">
                <a:ln>
                  <a:noFill/>
                </a:ln>
                <a:solidFill>
                  <a:srgbClr val="000000"/>
                </a:solidFill>
                <a:effectLst/>
                <a:uLnTx/>
                <a:uFillTx/>
                <a:ea typeface="Open Sans" panose="020B0606030504020204" pitchFamily="34" charset="0"/>
                <a:cs typeface="Open Sans" panose="020B0606030504020204" pitchFamily="34" charset="0"/>
              </a:rPr>
              <a:t>with the products that I need so I don’t have to shop elsewhere</a:t>
            </a:r>
          </a:p>
        </p:txBody>
      </p:sp>
      <p:sp>
        <p:nvSpPr>
          <p:cNvPr id="10" name="TextBox 9">
            <a:extLst>
              <a:ext uri="{FF2B5EF4-FFF2-40B4-BE49-F238E27FC236}">
                <a16:creationId xmlns:a16="http://schemas.microsoft.com/office/drawing/2014/main" id="{28862800-40FC-4DBA-83E7-9DBAF04A3AEB}"/>
              </a:ext>
            </a:extLst>
          </p:cNvPr>
          <p:cNvSpPr txBox="1"/>
          <p:nvPr/>
        </p:nvSpPr>
        <p:spPr>
          <a:xfrm>
            <a:off x="7103697" y="4122645"/>
            <a:ext cx="1737360" cy="1761236"/>
          </a:xfrm>
          <a:prstGeom prst="rect">
            <a:avLst/>
          </a:prstGeom>
          <a:noFill/>
        </p:spPr>
        <p:txBody>
          <a:bodyPr wrap="square" lIns="0" tIns="0" rIns="0" bIns="0" rtlCol="0">
            <a:noAutofit/>
          </a:bodyPr>
          <a:lstStyle/>
          <a:p>
            <a:pPr marL="0" marR="0" lvl="0" indent="0" algn="l" defTabSz="1219170" rtl="0" eaLnBrk="1" fontAlgn="auto" latinLnBrk="0" hangingPunct="1">
              <a:lnSpc>
                <a:spcPct val="106000"/>
              </a:lnSpc>
              <a:spcBef>
                <a:spcPts val="0"/>
              </a:spcBef>
              <a:spcAft>
                <a:spcPts val="600"/>
              </a:spcAft>
              <a:buClrTx/>
              <a:buSzPct val="100000"/>
              <a:buFontTx/>
              <a:buNone/>
              <a:tabLst/>
              <a:defRPr/>
            </a:pPr>
            <a:r>
              <a:rPr kumimoji="0" lang="en-US" sz="1100" b="1" i="0" u="none" strike="noStrike" kern="1200" cap="none" spc="0" normalizeH="0" baseline="0" noProof="0" dirty="0">
                <a:ln>
                  <a:noFill/>
                </a:ln>
                <a:solidFill>
                  <a:schemeClr val="accent2"/>
                </a:solidFill>
                <a:effectLst/>
                <a:uLnTx/>
                <a:uFillTx/>
                <a:ea typeface="+mn-ea"/>
                <a:cs typeface="+mn-cs"/>
              </a:rPr>
              <a:t>Store Experience</a:t>
            </a:r>
          </a:p>
          <a:p>
            <a:pPr marL="0" marR="0" lvl="0" indent="0" algn="l" defTabSz="1219170" rtl="0" eaLnBrk="1" fontAlgn="auto" latinLnBrk="0" hangingPunct="1">
              <a:lnSpc>
                <a:spcPct val="106000"/>
              </a:lnSpc>
              <a:spcBef>
                <a:spcPts val="0"/>
              </a:spcBef>
              <a:spcAft>
                <a:spcPts val="600"/>
              </a:spcAft>
              <a:buClrTx/>
              <a:buSzPct val="100000"/>
              <a:buFontTx/>
              <a:buNone/>
              <a:tabLst/>
              <a:defRPr/>
            </a:pPr>
            <a:r>
              <a:rPr kumimoji="0" lang="en-US" sz="1050" b="0" i="0" u="none" strike="noStrike" kern="1200" cap="none" spc="0" normalizeH="0" baseline="0" noProof="0" dirty="0">
                <a:ln>
                  <a:noFill/>
                </a:ln>
                <a:solidFill>
                  <a:srgbClr val="000000"/>
                </a:solidFill>
                <a:effectLst/>
                <a:uLnTx/>
                <a:uFillTx/>
                <a:ea typeface="+mn-ea"/>
                <a:cs typeface="+mn-cs"/>
              </a:rPr>
              <a:t>There were more associates available on the floor to </a:t>
            </a:r>
            <a:r>
              <a:rPr kumimoji="0" lang="en-US" sz="1050" b="1" i="0" u="none" strike="noStrike" kern="1200" cap="none" spc="0" normalizeH="0" baseline="0" noProof="0" dirty="0">
                <a:ln>
                  <a:noFill/>
                </a:ln>
                <a:solidFill>
                  <a:schemeClr val="accent2"/>
                </a:solidFill>
                <a:effectLst/>
                <a:uLnTx/>
                <a:uFillTx/>
                <a:ea typeface="+mn-ea"/>
                <a:cs typeface="+mn-cs"/>
              </a:rPr>
              <a:t>help me shop</a:t>
            </a:r>
            <a:r>
              <a:rPr kumimoji="0" lang="en-US" sz="1050" b="0" i="0" u="none" strike="noStrike" kern="1200" cap="none" spc="0" normalizeH="0" baseline="0" noProof="0" dirty="0">
                <a:ln>
                  <a:noFill/>
                </a:ln>
                <a:solidFill>
                  <a:srgbClr val="000000"/>
                </a:solidFill>
                <a:effectLst/>
                <a:uLnTx/>
                <a:uFillTx/>
                <a:ea typeface="+mn-ea"/>
                <a:cs typeface="+mn-cs"/>
              </a:rPr>
              <a:t>, rather than filling shelves</a:t>
            </a:r>
            <a:endParaRPr kumimoji="0" lang="en-US" sz="1000" b="0" i="0" u="none" strike="noStrike" kern="1200" cap="none" spc="0" normalizeH="0" baseline="0" noProof="0" dirty="0">
              <a:ln>
                <a:noFill/>
              </a:ln>
              <a:solidFill>
                <a:srgbClr val="000000"/>
              </a:solidFill>
              <a:effectLst/>
              <a:uLnTx/>
              <a:uFillTx/>
              <a:ea typeface="+mn-ea"/>
              <a:cs typeface="+mn-cs"/>
            </a:endParaRPr>
          </a:p>
        </p:txBody>
      </p:sp>
      <p:sp>
        <p:nvSpPr>
          <p:cNvPr id="12" name="TextBox 11">
            <a:extLst>
              <a:ext uri="{FF2B5EF4-FFF2-40B4-BE49-F238E27FC236}">
                <a16:creationId xmlns:a16="http://schemas.microsoft.com/office/drawing/2014/main" id="{3D580307-E138-41AC-89A1-9553422E8FA7}"/>
              </a:ext>
            </a:extLst>
          </p:cNvPr>
          <p:cNvSpPr txBox="1"/>
          <p:nvPr/>
        </p:nvSpPr>
        <p:spPr>
          <a:xfrm>
            <a:off x="914721" y="3896972"/>
            <a:ext cx="1737360" cy="1761236"/>
          </a:xfrm>
          <a:prstGeom prst="rect">
            <a:avLst/>
          </a:prstGeom>
          <a:noFill/>
        </p:spPr>
        <p:txBody>
          <a:bodyPr wrap="square" lIns="0" tIns="0" rIns="0" bIns="0" rtlCol="0">
            <a:noAutofit/>
          </a:bodyPr>
          <a:lstStyle/>
          <a:p>
            <a:pPr marL="0" marR="0" lvl="0" indent="0" algn="l" defTabSz="1219170" rtl="0" eaLnBrk="1" fontAlgn="auto" latinLnBrk="0" hangingPunct="1">
              <a:lnSpc>
                <a:spcPct val="106000"/>
              </a:lnSpc>
              <a:spcBef>
                <a:spcPts val="0"/>
              </a:spcBef>
              <a:spcAft>
                <a:spcPts val="600"/>
              </a:spcAft>
              <a:buClrTx/>
              <a:buSzPct val="100000"/>
              <a:buFontTx/>
              <a:buNone/>
              <a:tabLst/>
              <a:defRPr/>
            </a:pPr>
            <a:r>
              <a:rPr kumimoji="0" lang="en-US" sz="1100" b="1" i="0" u="none" strike="noStrike" kern="1200" cap="none" spc="0" normalizeH="0" baseline="0" noProof="0" dirty="0">
                <a:ln>
                  <a:noFill/>
                </a:ln>
                <a:solidFill>
                  <a:schemeClr val="accent2"/>
                </a:solidFill>
                <a:effectLst/>
                <a:uLnTx/>
                <a:uFillTx/>
                <a:ea typeface="+mn-ea"/>
                <a:cs typeface="+mn-cs"/>
              </a:rPr>
              <a:t>Innovation</a:t>
            </a:r>
          </a:p>
          <a:p>
            <a:pPr marL="0" marR="0" lvl="0" indent="0" algn="l" defTabSz="1219170" rtl="0" eaLnBrk="1" fontAlgn="auto" latinLnBrk="0" hangingPunct="1">
              <a:lnSpc>
                <a:spcPct val="106000"/>
              </a:lnSpc>
              <a:spcBef>
                <a:spcPts val="0"/>
              </a:spcBef>
              <a:spcAft>
                <a:spcPts val="600"/>
              </a:spcAft>
              <a:buClrTx/>
              <a:buSzPct val="100000"/>
              <a:buFontTx/>
              <a:buNone/>
              <a:tabLst/>
              <a:defRPr/>
            </a:pPr>
            <a:r>
              <a:rPr kumimoji="0" lang="en-US" sz="1050" b="0" i="0" u="none" strike="noStrike" kern="1200" cap="none" spc="0" normalizeH="0" baseline="0" noProof="0" dirty="0">
                <a:ln>
                  <a:noFill/>
                </a:ln>
                <a:solidFill>
                  <a:srgbClr val="000000"/>
                </a:solidFill>
                <a:effectLst/>
                <a:uLnTx/>
                <a:uFillTx/>
                <a:ea typeface="+mn-ea"/>
                <a:cs typeface="+mn-cs"/>
              </a:rPr>
              <a:t>Client would get ahead of all of the </a:t>
            </a:r>
            <a:r>
              <a:rPr kumimoji="0" lang="en-US" sz="1050" b="1" i="0" u="none" strike="noStrike" kern="1200" cap="none" spc="0" normalizeH="0" baseline="0" noProof="0" dirty="0">
                <a:ln>
                  <a:noFill/>
                </a:ln>
                <a:solidFill>
                  <a:schemeClr val="accent2"/>
                </a:solidFill>
                <a:effectLst/>
                <a:uLnTx/>
                <a:uFillTx/>
                <a:ea typeface="+mn-ea"/>
                <a:cs typeface="+mn-cs"/>
              </a:rPr>
              <a:t>innovative and convenient ways </a:t>
            </a:r>
            <a:r>
              <a:rPr kumimoji="0" lang="en-US" sz="1050" b="0" i="0" u="none" strike="noStrike" kern="1200" cap="none" spc="0" normalizeH="0" baseline="0" noProof="0" dirty="0">
                <a:ln>
                  <a:noFill/>
                </a:ln>
                <a:solidFill>
                  <a:srgbClr val="000000"/>
                </a:solidFill>
                <a:effectLst/>
                <a:uLnTx/>
                <a:uFillTx/>
                <a:ea typeface="+mn-ea"/>
                <a:cs typeface="+mn-cs"/>
              </a:rPr>
              <a:t>that Amazon, Walmart, and others allow me to shop</a:t>
            </a:r>
            <a:endParaRPr kumimoji="0" lang="en-US" sz="1050" b="0" i="0" u="none" strike="noStrike" kern="1200" cap="none" spc="0" normalizeH="0" baseline="30000" noProof="0" dirty="0">
              <a:ln>
                <a:noFill/>
              </a:ln>
              <a:solidFill>
                <a:srgbClr val="000000"/>
              </a:solidFill>
              <a:effectLst/>
              <a:uLnTx/>
              <a:uFillTx/>
              <a:ea typeface="+mn-ea"/>
              <a:cs typeface="+mn-cs"/>
            </a:endParaRPr>
          </a:p>
        </p:txBody>
      </p:sp>
      <p:sp>
        <p:nvSpPr>
          <p:cNvPr id="18" name="Rectangle 17">
            <a:extLst>
              <a:ext uri="{FF2B5EF4-FFF2-40B4-BE49-F238E27FC236}">
                <a16:creationId xmlns:a16="http://schemas.microsoft.com/office/drawing/2014/main" id="{C804FCBD-D5E8-4D1E-9AB6-6A3FAFEEFA35}"/>
              </a:ext>
            </a:extLst>
          </p:cNvPr>
          <p:cNvSpPr/>
          <p:nvPr/>
        </p:nvSpPr>
        <p:spPr bwMode="gray">
          <a:xfrm>
            <a:off x="914399" y="1711735"/>
            <a:ext cx="7848600" cy="362146"/>
          </a:xfrm>
          <a:prstGeom prst="rect">
            <a:avLst/>
          </a:prstGeom>
          <a:noFill/>
          <a:ln w="19050" algn="ctr">
            <a:noFill/>
            <a:miter lim="800000"/>
            <a:headEnd/>
            <a:tailEnd/>
          </a:ln>
        </p:spPr>
        <p:txBody>
          <a:bodyPr wrap="square" lIns="0" tIns="0" rIns="0" bIns="0" rtlCol="0" anchor="t"/>
          <a:lstStyle/>
          <a:p>
            <a:pPr marL="0" marR="0" lvl="0" indent="0" algn="l" defTabSz="1219170" rtl="0" eaLnBrk="1" fontAlgn="auto" latinLnBrk="0" hangingPunct="1">
              <a:lnSpc>
                <a:spcPct val="106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2"/>
                </a:solidFill>
                <a:effectLst/>
                <a:uLnTx/>
                <a:uFillTx/>
                <a:ea typeface="+mn-ea"/>
                <a:cs typeface="+mn-cs"/>
              </a:rPr>
              <a:t>Voice of Client customers: I wish…</a:t>
            </a:r>
          </a:p>
        </p:txBody>
      </p:sp>
      <p:grpSp>
        <p:nvGrpSpPr>
          <p:cNvPr id="30" name="Group 29">
            <a:extLst>
              <a:ext uri="{FF2B5EF4-FFF2-40B4-BE49-F238E27FC236}">
                <a16:creationId xmlns:a16="http://schemas.microsoft.com/office/drawing/2014/main" id="{D635EBBB-769F-411B-BCF1-C53306A090D5}"/>
              </a:ext>
            </a:extLst>
          </p:cNvPr>
          <p:cNvGrpSpPr/>
          <p:nvPr/>
        </p:nvGrpSpPr>
        <p:grpSpPr>
          <a:xfrm>
            <a:off x="3348802" y="2176272"/>
            <a:ext cx="640080" cy="640080"/>
            <a:chOff x="3466197" y="2252662"/>
            <a:chExt cx="640080" cy="640080"/>
          </a:xfrm>
        </p:grpSpPr>
        <p:sp>
          <p:nvSpPr>
            <p:cNvPr id="14" name="Oval 13">
              <a:extLst>
                <a:ext uri="{FF2B5EF4-FFF2-40B4-BE49-F238E27FC236}">
                  <a16:creationId xmlns:a16="http://schemas.microsoft.com/office/drawing/2014/main" id="{9607EE57-EEA1-4DBC-8F39-9B640CACCE2B}"/>
                </a:ext>
              </a:extLst>
            </p:cNvPr>
            <p:cNvSpPr/>
            <p:nvPr/>
          </p:nvSpPr>
          <p:spPr bwMode="gray">
            <a:xfrm>
              <a:off x="3466197" y="2252662"/>
              <a:ext cx="640080" cy="640080"/>
            </a:xfrm>
            <a:prstGeom prst="ellipse">
              <a:avLst/>
            </a:prstGeom>
            <a:solidFill>
              <a:schemeClr val="bg1"/>
            </a:solidFill>
            <a:ln w="12700" algn="ctr">
              <a:solidFill>
                <a:schemeClr val="bg1">
                  <a:lumMod val="50000"/>
                </a:schemeClr>
              </a:solidFill>
              <a:miter lim="800000"/>
              <a:headEnd/>
              <a:tailEnd/>
            </a:ln>
          </p:spPr>
          <p:txBody>
            <a:bodyPr wrap="square" lIns="88900" tIns="88900" rIns="88900" bIns="88900" rtlCol="0" anchor="t"/>
            <a:lstStyle/>
            <a:p>
              <a:pPr marL="285750" marR="0" lvl="0" indent="-2857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1200" cap="none" spc="0" normalizeH="0" baseline="0" noProof="0" dirty="0" err="1">
                <a:ln>
                  <a:noFill/>
                </a:ln>
                <a:solidFill>
                  <a:srgbClr val="FFFFFF"/>
                </a:solidFill>
                <a:effectLst/>
                <a:uLnTx/>
                <a:uFillTx/>
                <a:ea typeface="+mn-ea"/>
                <a:cs typeface="+mn-cs"/>
              </a:endParaRPr>
            </a:p>
          </p:txBody>
        </p:sp>
        <p:pic>
          <p:nvPicPr>
            <p:cNvPr id="19" name="Graphic 18" descr="Tag">
              <a:extLst>
                <a:ext uri="{FF2B5EF4-FFF2-40B4-BE49-F238E27FC236}">
                  <a16:creationId xmlns:a16="http://schemas.microsoft.com/office/drawing/2014/main" id="{F7C86ADD-B56C-4398-A9FE-2F572250A990}"/>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511917" y="2294548"/>
              <a:ext cx="548640" cy="548640"/>
            </a:xfrm>
            <a:prstGeom prst="rect">
              <a:avLst/>
            </a:prstGeom>
          </p:spPr>
        </p:pic>
      </p:grpSp>
      <p:grpSp>
        <p:nvGrpSpPr>
          <p:cNvPr id="29" name="Group 28">
            <a:extLst>
              <a:ext uri="{FF2B5EF4-FFF2-40B4-BE49-F238E27FC236}">
                <a16:creationId xmlns:a16="http://schemas.microsoft.com/office/drawing/2014/main" id="{C6AD744E-E68A-4970-AF45-3D52B020C444}"/>
              </a:ext>
            </a:extLst>
          </p:cNvPr>
          <p:cNvGrpSpPr/>
          <p:nvPr/>
        </p:nvGrpSpPr>
        <p:grpSpPr>
          <a:xfrm>
            <a:off x="5541170" y="2523148"/>
            <a:ext cx="640080" cy="640080"/>
            <a:chOff x="5775960" y="2679607"/>
            <a:chExt cx="640080" cy="640080"/>
          </a:xfrm>
        </p:grpSpPr>
        <p:sp>
          <p:nvSpPr>
            <p:cNvPr id="15" name="Oval 14">
              <a:extLst>
                <a:ext uri="{FF2B5EF4-FFF2-40B4-BE49-F238E27FC236}">
                  <a16:creationId xmlns:a16="http://schemas.microsoft.com/office/drawing/2014/main" id="{7A29E94D-4395-4253-935E-CE255B8A6760}"/>
                </a:ext>
              </a:extLst>
            </p:cNvPr>
            <p:cNvSpPr/>
            <p:nvPr/>
          </p:nvSpPr>
          <p:spPr bwMode="gray">
            <a:xfrm>
              <a:off x="5775960" y="2679607"/>
              <a:ext cx="640080" cy="640080"/>
            </a:xfrm>
            <a:prstGeom prst="ellipse">
              <a:avLst/>
            </a:prstGeom>
            <a:solidFill>
              <a:schemeClr val="bg1"/>
            </a:solidFill>
            <a:ln w="12700" algn="ctr">
              <a:solidFill>
                <a:schemeClr val="bg1">
                  <a:lumMod val="50000"/>
                </a:schemeClr>
              </a:solidFill>
              <a:miter lim="800000"/>
              <a:headEnd/>
              <a:tailEnd/>
            </a:ln>
          </p:spPr>
          <p:txBody>
            <a:bodyPr wrap="square" lIns="88900" tIns="88900" rIns="88900" bIns="88900" rtlCol="0" anchor="t"/>
            <a:lstStyle/>
            <a:p>
              <a:pPr marL="285750" marR="0" lvl="0" indent="-2857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1200" cap="none" spc="0" normalizeH="0" baseline="0" noProof="0" dirty="0" err="1">
                <a:ln>
                  <a:noFill/>
                </a:ln>
                <a:solidFill>
                  <a:srgbClr val="FFFFFF"/>
                </a:solidFill>
                <a:effectLst/>
                <a:uLnTx/>
                <a:uFillTx/>
                <a:ea typeface="+mn-ea"/>
                <a:cs typeface="+mn-cs"/>
              </a:endParaRPr>
            </a:p>
          </p:txBody>
        </p:sp>
        <p:pic>
          <p:nvPicPr>
            <p:cNvPr id="20" name="Graphic 19" descr="Shopping bag">
              <a:extLst>
                <a:ext uri="{FF2B5EF4-FFF2-40B4-BE49-F238E27FC236}">
                  <a16:creationId xmlns:a16="http://schemas.microsoft.com/office/drawing/2014/main" id="{2E5CEED0-6E2B-4E4D-AAAB-B59F152F7FD8}"/>
                </a:ext>
              </a:extLst>
            </p:cNvPr>
            <p:cNvPicPr>
              <a:picLocks noChangeAspect="1"/>
            </p:cNvPicPr>
            <p:nvPr/>
          </p:nvPicPr>
          <p:blipFill>
            <a:blip r:embed="rId10" cstate="hq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815570" y="2704542"/>
              <a:ext cx="548640" cy="548640"/>
            </a:xfrm>
            <a:prstGeom prst="rect">
              <a:avLst/>
            </a:prstGeom>
          </p:spPr>
        </p:pic>
      </p:grpSp>
      <p:grpSp>
        <p:nvGrpSpPr>
          <p:cNvPr id="28" name="Group 27">
            <a:extLst>
              <a:ext uri="{FF2B5EF4-FFF2-40B4-BE49-F238E27FC236}">
                <a16:creationId xmlns:a16="http://schemas.microsoft.com/office/drawing/2014/main" id="{6FDF11FA-26CE-4F59-9EC4-425A3E57D9F3}"/>
              </a:ext>
            </a:extLst>
          </p:cNvPr>
          <p:cNvGrpSpPr/>
          <p:nvPr/>
        </p:nvGrpSpPr>
        <p:grpSpPr>
          <a:xfrm>
            <a:off x="9925907" y="2916659"/>
            <a:ext cx="640080" cy="640080"/>
            <a:chOff x="10395486" y="2815617"/>
            <a:chExt cx="640080" cy="640080"/>
          </a:xfrm>
        </p:grpSpPr>
        <p:sp>
          <p:nvSpPr>
            <p:cNvPr id="17" name="Oval 16">
              <a:extLst>
                <a:ext uri="{FF2B5EF4-FFF2-40B4-BE49-F238E27FC236}">
                  <a16:creationId xmlns:a16="http://schemas.microsoft.com/office/drawing/2014/main" id="{5365136A-DE79-44D8-898C-4DF06F416675}"/>
                </a:ext>
              </a:extLst>
            </p:cNvPr>
            <p:cNvSpPr/>
            <p:nvPr/>
          </p:nvSpPr>
          <p:spPr bwMode="gray">
            <a:xfrm>
              <a:off x="10395486" y="2815617"/>
              <a:ext cx="640080" cy="640080"/>
            </a:xfrm>
            <a:prstGeom prst="ellipse">
              <a:avLst/>
            </a:prstGeom>
            <a:solidFill>
              <a:schemeClr val="bg1"/>
            </a:solidFill>
            <a:ln w="12700" algn="ctr">
              <a:solidFill>
                <a:schemeClr val="bg1">
                  <a:lumMod val="50000"/>
                </a:schemeClr>
              </a:solidFill>
              <a:miter lim="800000"/>
              <a:headEnd/>
              <a:tailEnd/>
            </a:ln>
          </p:spPr>
          <p:txBody>
            <a:bodyPr wrap="square" lIns="88900" tIns="88900" rIns="88900" bIns="88900" rtlCol="0" anchor="t"/>
            <a:lstStyle/>
            <a:p>
              <a:pPr marL="285750" marR="0" lvl="0" indent="-2857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1200" cap="none" spc="0" normalizeH="0" baseline="0" noProof="0" dirty="0" err="1">
                <a:ln>
                  <a:noFill/>
                </a:ln>
                <a:solidFill>
                  <a:srgbClr val="000000"/>
                </a:solidFill>
                <a:effectLst/>
                <a:uLnTx/>
                <a:uFillTx/>
                <a:ea typeface="+mn-ea"/>
                <a:cs typeface="+mn-cs"/>
              </a:endParaRPr>
            </a:p>
          </p:txBody>
        </p:sp>
        <p:pic>
          <p:nvPicPr>
            <p:cNvPr id="21" name="Graphic 20" descr="Shopping cart">
              <a:extLst>
                <a:ext uri="{FF2B5EF4-FFF2-40B4-BE49-F238E27FC236}">
                  <a16:creationId xmlns:a16="http://schemas.microsoft.com/office/drawing/2014/main" id="{EDA502E5-CC1C-49D3-A85D-D2D2EA8EF057}"/>
                </a:ext>
              </a:extLst>
            </p:cNvPr>
            <p:cNvPicPr>
              <a:picLocks noChangeAspect="1"/>
            </p:cNvPicPr>
            <p:nvPr/>
          </p:nvPicPr>
          <p:blipFill>
            <a:blip r:embed="rId12" cstate="hq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461285" y="2869152"/>
              <a:ext cx="548640" cy="548640"/>
            </a:xfrm>
            <a:prstGeom prst="rect">
              <a:avLst/>
            </a:prstGeom>
          </p:spPr>
        </p:pic>
      </p:grpSp>
      <p:grpSp>
        <p:nvGrpSpPr>
          <p:cNvPr id="31" name="Group 30">
            <a:extLst>
              <a:ext uri="{FF2B5EF4-FFF2-40B4-BE49-F238E27FC236}">
                <a16:creationId xmlns:a16="http://schemas.microsoft.com/office/drawing/2014/main" id="{A4836CBD-F359-478C-9C2A-63EFE3320C67}"/>
              </a:ext>
            </a:extLst>
          </p:cNvPr>
          <p:cNvGrpSpPr/>
          <p:nvPr/>
        </p:nvGrpSpPr>
        <p:grpSpPr>
          <a:xfrm>
            <a:off x="1156434" y="2962379"/>
            <a:ext cx="640080" cy="640080"/>
            <a:chOff x="1156434" y="2962379"/>
            <a:chExt cx="640080" cy="640080"/>
          </a:xfrm>
        </p:grpSpPr>
        <p:sp>
          <p:nvSpPr>
            <p:cNvPr id="13" name="Oval 12">
              <a:extLst>
                <a:ext uri="{FF2B5EF4-FFF2-40B4-BE49-F238E27FC236}">
                  <a16:creationId xmlns:a16="http://schemas.microsoft.com/office/drawing/2014/main" id="{24D63AFC-935A-48D1-8DCB-0CF39D318238}"/>
                </a:ext>
              </a:extLst>
            </p:cNvPr>
            <p:cNvSpPr/>
            <p:nvPr/>
          </p:nvSpPr>
          <p:spPr bwMode="gray">
            <a:xfrm>
              <a:off x="1156434" y="2962379"/>
              <a:ext cx="640080" cy="640080"/>
            </a:xfrm>
            <a:prstGeom prst="ellipse">
              <a:avLst/>
            </a:prstGeom>
            <a:solidFill>
              <a:schemeClr val="bg1"/>
            </a:solidFill>
            <a:ln w="12700" algn="ctr">
              <a:solidFill>
                <a:schemeClr val="bg1">
                  <a:lumMod val="50000"/>
                </a:schemeClr>
              </a:solidFill>
              <a:miter lim="800000"/>
              <a:headEnd/>
              <a:tailEnd/>
            </a:ln>
          </p:spPr>
          <p:txBody>
            <a:bodyPr wrap="square" lIns="88900" tIns="88900" rIns="88900" bIns="88900" rtlCol="0" anchor="t"/>
            <a:lstStyle/>
            <a:p>
              <a:pPr marL="285750" marR="0" lvl="0" indent="-2857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1200" cap="none" spc="0" normalizeH="0" baseline="0" noProof="0" dirty="0" err="1">
                <a:ln>
                  <a:noFill/>
                </a:ln>
                <a:solidFill>
                  <a:srgbClr val="000000"/>
                </a:solidFill>
                <a:effectLst/>
                <a:uLnTx/>
                <a:uFillTx/>
                <a:ea typeface="+mn-ea"/>
                <a:cs typeface="+mn-cs"/>
              </a:endParaRPr>
            </a:p>
          </p:txBody>
        </p:sp>
        <p:pic>
          <p:nvPicPr>
            <p:cNvPr id="22" name="Graphic 21" descr="Head with Gears">
              <a:extLst>
                <a:ext uri="{FF2B5EF4-FFF2-40B4-BE49-F238E27FC236}">
                  <a16:creationId xmlns:a16="http://schemas.microsoft.com/office/drawing/2014/main" id="{AF13ED37-14C3-4C64-9813-BADA96A68919}"/>
                </a:ext>
              </a:extLst>
            </p:cNvPr>
            <p:cNvPicPr>
              <a:picLocks noChangeAspect="1"/>
            </p:cNvPicPr>
            <p:nvPr/>
          </p:nvPicPr>
          <p:blipFill>
            <a:blip r:embed="rId14" cstate="hq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202154" y="3008099"/>
              <a:ext cx="548640" cy="548640"/>
            </a:xfrm>
            <a:prstGeom prst="rect">
              <a:avLst/>
            </a:prstGeom>
          </p:spPr>
        </p:pic>
      </p:grpSp>
      <p:grpSp>
        <p:nvGrpSpPr>
          <p:cNvPr id="27" name="Group 26">
            <a:extLst>
              <a:ext uri="{FF2B5EF4-FFF2-40B4-BE49-F238E27FC236}">
                <a16:creationId xmlns:a16="http://schemas.microsoft.com/office/drawing/2014/main" id="{DE8DB6F5-3B60-4837-BBE6-791432AD6522}"/>
              </a:ext>
            </a:extLst>
          </p:cNvPr>
          <p:cNvGrpSpPr/>
          <p:nvPr/>
        </p:nvGrpSpPr>
        <p:grpSpPr>
          <a:xfrm>
            <a:off x="7733538" y="3277419"/>
            <a:ext cx="640080" cy="640080"/>
            <a:chOff x="8089036" y="3367209"/>
            <a:chExt cx="640080" cy="640080"/>
          </a:xfrm>
        </p:grpSpPr>
        <p:sp>
          <p:nvSpPr>
            <p:cNvPr id="16" name="Oval 15">
              <a:extLst>
                <a:ext uri="{FF2B5EF4-FFF2-40B4-BE49-F238E27FC236}">
                  <a16:creationId xmlns:a16="http://schemas.microsoft.com/office/drawing/2014/main" id="{4EEB8478-6CB5-4432-A7A5-99FA44D0C616}"/>
                </a:ext>
              </a:extLst>
            </p:cNvPr>
            <p:cNvSpPr/>
            <p:nvPr/>
          </p:nvSpPr>
          <p:spPr bwMode="gray">
            <a:xfrm>
              <a:off x="8089036" y="3367209"/>
              <a:ext cx="640080" cy="640080"/>
            </a:xfrm>
            <a:prstGeom prst="ellipse">
              <a:avLst/>
            </a:prstGeom>
            <a:solidFill>
              <a:schemeClr val="bg1"/>
            </a:solidFill>
            <a:ln w="12700" algn="ctr">
              <a:solidFill>
                <a:schemeClr val="bg1">
                  <a:lumMod val="50000"/>
                </a:schemeClr>
              </a:solidFill>
              <a:miter lim="800000"/>
              <a:headEnd/>
              <a:tailEnd/>
            </a:ln>
          </p:spPr>
          <p:txBody>
            <a:bodyPr wrap="square" lIns="88900" tIns="88900" rIns="88900" bIns="88900" rtlCol="0" anchor="t"/>
            <a:lstStyle/>
            <a:p>
              <a:pPr marL="285750" marR="0" lvl="0" indent="-2857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1200" cap="none" spc="0" normalizeH="0" baseline="0" noProof="0" dirty="0" err="1">
                <a:ln>
                  <a:noFill/>
                </a:ln>
                <a:solidFill>
                  <a:srgbClr val="000000"/>
                </a:solidFill>
                <a:effectLst/>
                <a:uLnTx/>
                <a:uFillTx/>
                <a:ea typeface="+mn-ea"/>
                <a:cs typeface="+mn-cs"/>
              </a:endParaRPr>
            </a:p>
          </p:txBody>
        </p:sp>
        <p:pic>
          <p:nvPicPr>
            <p:cNvPr id="23" name="Graphic 22" descr="Users">
              <a:extLst>
                <a:ext uri="{FF2B5EF4-FFF2-40B4-BE49-F238E27FC236}">
                  <a16:creationId xmlns:a16="http://schemas.microsoft.com/office/drawing/2014/main" id="{FE20EE41-A5D6-4E99-991A-C549CC16ADB5}"/>
                </a:ext>
              </a:extLst>
            </p:cNvPr>
            <p:cNvPicPr>
              <a:picLocks noChangeAspect="1"/>
            </p:cNvPicPr>
            <p:nvPr/>
          </p:nvPicPr>
          <p:blipFill>
            <a:blip r:embed="rId16" cstate="hq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138160" y="3407076"/>
              <a:ext cx="548640" cy="548640"/>
            </a:xfrm>
            <a:prstGeom prst="rect">
              <a:avLst/>
            </a:prstGeom>
          </p:spPr>
        </p:pic>
      </p:grpSp>
      <p:grpSp>
        <p:nvGrpSpPr>
          <p:cNvPr id="26" name="Group 25">
            <a:extLst>
              <a:ext uri="{FF2B5EF4-FFF2-40B4-BE49-F238E27FC236}">
                <a16:creationId xmlns:a16="http://schemas.microsoft.com/office/drawing/2014/main" id="{7EBA1681-8E60-4232-8B7C-3AEFDA342D41}"/>
              </a:ext>
            </a:extLst>
          </p:cNvPr>
          <p:cNvGrpSpPr/>
          <p:nvPr/>
        </p:nvGrpSpPr>
        <p:grpSpPr>
          <a:xfrm>
            <a:off x="9166690" y="3691826"/>
            <a:ext cx="2067589" cy="1761236"/>
            <a:chOff x="9166690" y="3691826"/>
            <a:chExt cx="2067589" cy="1761236"/>
          </a:xfrm>
        </p:grpSpPr>
        <p:sp>
          <p:nvSpPr>
            <p:cNvPr id="11" name="TextBox 10">
              <a:extLst>
                <a:ext uri="{FF2B5EF4-FFF2-40B4-BE49-F238E27FC236}">
                  <a16:creationId xmlns:a16="http://schemas.microsoft.com/office/drawing/2014/main" id="{D4B308F2-BAD4-49A4-9A49-E03C2FA4599C}"/>
                </a:ext>
              </a:extLst>
            </p:cNvPr>
            <p:cNvSpPr txBox="1"/>
            <p:nvPr/>
          </p:nvSpPr>
          <p:spPr>
            <a:xfrm>
              <a:off x="9263842" y="3691826"/>
              <a:ext cx="1964210" cy="1761236"/>
            </a:xfrm>
            <a:prstGeom prst="rect">
              <a:avLst/>
            </a:prstGeom>
            <a:noFill/>
          </p:spPr>
          <p:txBody>
            <a:bodyPr wrap="square" lIns="0" tIns="0" rIns="0" bIns="0" rtlCol="0">
              <a:noAutofit/>
            </a:bodyPr>
            <a:lstStyle/>
            <a:p>
              <a:pPr marL="0" marR="0" lvl="0" indent="0" algn="l" defTabSz="1219170" rtl="0" eaLnBrk="1" fontAlgn="auto" latinLnBrk="0" hangingPunct="1">
                <a:lnSpc>
                  <a:spcPct val="106000"/>
                </a:lnSpc>
                <a:spcBef>
                  <a:spcPts val="0"/>
                </a:spcBef>
                <a:spcAft>
                  <a:spcPts val="600"/>
                </a:spcAft>
                <a:buClrTx/>
                <a:buSzPct val="100000"/>
                <a:buFontTx/>
                <a:buNone/>
                <a:tabLst/>
                <a:defRPr/>
              </a:pPr>
              <a:r>
                <a:rPr kumimoji="0" lang="en-US" sz="1100" b="1" i="0" u="none" strike="noStrike" kern="1200" cap="none" spc="0" normalizeH="0" baseline="0" noProof="0" dirty="0">
                  <a:ln>
                    <a:noFill/>
                  </a:ln>
                  <a:solidFill>
                    <a:schemeClr val="accent2"/>
                  </a:solidFill>
                  <a:effectLst/>
                  <a:uLnTx/>
                  <a:uFillTx/>
                  <a:ea typeface="+mn-ea"/>
                  <a:cs typeface="+mn-cs"/>
                </a:rPr>
                <a:t>Client Pickup</a:t>
              </a:r>
            </a:p>
            <a:p>
              <a:pPr marL="0" marR="0" lvl="0" indent="0" algn="l" defTabSz="1219170" rtl="0" eaLnBrk="1" fontAlgn="auto" latinLnBrk="0" hangingPunct="1">
                <a:lnSpc>
                  <a:spcPct val="106000"/>
                </a:lnSpc>
                <a:spcBef>
                  <a:spcPts val="0"/>
                </a:spcBef>
                <a:spcAft>
                  <a:spcPts val="600"/>
                </a:spcAft>
                <a:buClrTx/>
                <a:buSzPct val="100000"/>
                <a:buFontTx/>
                <a:buNone/>
                <a:tabLst/>
                <a:defRPr/>
              </a:pPr>
              <a:r>
                <a:rPr kumimoji="0" lang="en-US" sz="1050" b="0" i="0" u="none" strike="noStrike" kern="1200" cap="none" spc="0" normalizeH="0" baseline="0" noProof="0" dirty="0">
                  <a:ln>
                    <a:noFill/>
                  </a:ln>
                  <a:solidFill>
                    <a:srgbClr val="000000"/>
                  </a:solidFill>
                  <a:effectLst/>
                  <a:uLnTx/>
                  <a:uFillTx/>
                  <a:ea typeface="+mn-ea"/>
                  <a:cs typeface="+mn-cs"/>
                </a:rPr>
                <a:t>Client would</a:t>
              </a:r>
              <a:r>
                <a:rPr kumimoji="0" lang="en-US" sz="1050" b="1" i="0" u="none" strike="noStrike" kern="1200" cap="none" spc="0" normalizeH="0" baseline="0" noProof="0" dirty="0">
                  <a:ln>
                    <a:noFill/>
                  </a:ln>
                  <a:solidFill>
                    <a:srgbClr val="000000"/>
                  </a:solidFill>
                  <a:effectLst/>
                  <a:uLnTx/>
                  <a:uFillTx/>
                  <a:ea typeface="+mn-ea"/>
                  <a:cs typeface="+mn-cs"/>
                </a:rPr>
                <a:t> </a:t>
              </a:r>
              <a:r>
                <a:rPr kumimoji="0" lang="en-US" sz="1050" b="1" i="0" u="none" strike="noStrike" kern="1200" cap="none" spc="0" normalizeH="0" baseline="0" noProof="0" dirty="0">
                  <a:ln>
                    <a:noFill/>
                  </a:ln>
                  <a:solidFill>
                    <a:schemeClr val="accent2"/>
                  </a:solidFill>
                  <a:effectLst/>
                  <a:uLnTx/>
                  <a:uFillTx/>
                  <a:ea typeface="+mn-ea"/>
                  <a:cs typeface="+mn-cs"/>
                </a:rPr>
                <a:t>stop substituting</a:t>
              </a:r>
              <a:r>
                <a:rPr kumimoji="0" lang="en-US" sz="1050" b="1" i="0" u="none" strike="noStrike" kern="1200" cap="none" spc="0" normalizeH="0" baseline="0" noProof="0" dirty="0">
                  <a:ln>
                    <a:noFill/>
                  </a:ln>
                  <a:solidFill>
                    <a:srgbClr val="0068B3"/>
                  </a:solidFill>
                  <a:effectLst/>
                  <a:uLnTx/>
                  <a:uFillTx/>
                  <a:ea typeface="+mn-ea"/>
                  <a:cs typeface="+mn-cs"/>
                </a:rPr>
                <a:t> </a:t>
              </a:r>
              <a:r>
                <a:rPr kumimoji="0" lang="en-US" sz="1050" b="0" i="0" u="none" strike="noStrike" kern="1200" cap="none" spc="0" normalizeH="0" baseline="0" noProof="0" dirty="0">
                  <a:ln>
                    <a:noFill/>
                  </a:ln>
                  <a:solidFill>
                    <a:srgbClr val="000000"/>
                  </a:solidFill>
                  <a:effectLst/>
                  <a:uLnTx/>
                  <a:uFillTx/>
                  <a:ea typeface="+mn-ea"/>
                  <a:cs typeface="+mn-cs"/>
                </a:rPr>
                <a:t>my products so often when I do Client Pickup orders</a:t>
              </a:r>
              <a:endParaRPr kumimoji="0" lang="en-US" sz="1050" b="0" i="0" u="none" strike="noStrike" kern="1200" cap="none" spc="0" normalizeH="0" baseline="30000" noProof="0" dirty="0">
                <a:ln>
                  <a:noFill/>
                </a:ln>
                <a:solidFill>
                  <a:srgbClr val="000000"/>
                </a:solidFill>
                <a:effectLst/>
                <a:uLnTx/>
                <a:uFillTx/>
                <a:ea typeface="+mn-ea"/>
                <a:cs typeface="+mn-cs"/>
              </a:endParaRPr>
            </a:p>
            <a:p>
              <a:pPr marL="0" marR="0" lvl="0" indent="0" algn="l" defTabSz="1219170" rtl="0" eaLnBrk="1" fontAlgn="auto" latinLnBrk="0" hangingPunct="1">
                <a:lnSpc>
                  <a:spcPct val="106000"/>
                </a:lnSpc>
                <a:spcBef>
                  <a:spcPts val="0"/>
                </a:spcBef>
                <a:spcAft>
                  <a:spcPts val="600"/>
                </a:spcAft>
                <a:buClrTx/>
                <a:buSzPct val="100000"/>
                <a:buFontTx/>
                <a:buNone/>
                <a:tabLst/>
                <a:defRPr/>
              </a:pPr>
              <a:r>
                <a:rPr kumimoji="0" lang="en-US" sz="1050" b="0" i="0" u="none" strike="noStrike" kern="1200" cap="none" spc="0" normalizeH="0" baseline="0" noProof="0" dirty="0">
                  <a:ln>
                    <a:noFill/>
                  </a:ln>
                  <a:solidFill>
                    <a:srgbClr val="000000"/>
                  </a:solidFill>
                  <a:effectLst/>
                  <a:uLnTx/>
                  <a:uFillTx/>
                  <a:ea typeface="+mn-ea"/>
                  <a:cs typeface="+mn-cs"/>
                </a:rPr>
                <a:t>I could rely on product that I order being </a:t>
              </a:r>
              <a:r>
                <a:rPr kumimoji="0" lang="en-US" sz="1050" b="1" i="0" u="none" strike="noStrike" kern="1200" cap="none" spc="0" normalizeH="0" baseline="0" noProof="0" dirty="0">
                  <a:ln>
                    <a:noFill/>
                  </a:ln>
                  <a:solidFill>
                    <a:schemeClr val="accent2"/>
                  </a:solidFill>
                  <a:effectLst/>
                  <a:uLnTx/>
                  <a:uFillTx/>
                  <a:ea typeface="+mn-ea"/>
                  <a:cs typeface="+mn-cs"/>
                </a:rPr>
                <a:t>available for collection </a:t>
              </a:r>
              <a:r>
                <a:rPr kumimoji="0" lang="en-US" sz="1050" b="0" i="0" u="none" strike="noStrike" kern="1200" cap="none" spc="0" normalizeH="0" baseline="0" noProof="0" dirty="0">
                  <a:ln>
                    <a:noFill/>
                  </a:ln>
                  <a:solidFill>
                    <a:srgbClr val="000000"/>
                  </a:solidFill>
                  <a:effectLst/>
                  <a:uLnTx/>
                  <a:uFillTx/>
                  <a:ea typeface="+mn-ea"/>
                  <a:cs typeface="+mn-cs"/>
                </a:rPr>
                <a:t>when I order it online</a:t>
              </a:r>
            </a:p>
          </p:txBody>
        </p:sp>
        <p:cxnSp>
          <p:nvCxnSpPr>
            <p:cNvPr id="24" name="Straight Connector 23">
              <a:extLst>
                <a:ext uri="{FF2B5EF4-FFF2-40B4-BE49-F238E27FC236}">
                  <a16:creationId xmlns:a16="http://schemas.microsoft.com/office/drawing/2014/main" id="{E13E5A8B-CAD7-44E6-B5FD-82F697F3565F}"/>
                </a:ext>
              </a:extLst>
            </p:cNvPr>
            <p:cNvCxnSpPr>
              <a:cxnSpLocks/>
            </p:cNvCxnSpPr>
            <p:nvPr/>
          </p:nvCxnSpPr>
          <p:spPr>
            <a:xfrm>
              <a:off x="9166690" y="4482624"/>
              <a:ext cx="2067589" cy="0"/>
            </a:xfrm>
            <a:prstGeom prst="line">
              <a:avLst/>
            </a:prstGeom>
            <a:ln>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grpSp>
      <p:sp>
        <p:nvSpPr>
          <p:cNvPr id="25" name="Rectangle 24">
            <a:extLst>
              <a:ext uri="{FF2B5EF4-FFF2-40B4-BE49-F238E27FC236}">
                <a16:creationId xmlns:a16="http://schemas.microsoft.com/office/drawing/2014/main" id="{B728D0F3-F5C1-4ACB-9596-5478331C1087}"/>
              </a:ext>
            </a:extLst>
          </p:cNvPr>
          <p:cNvSpPr/>
          <p:nvPr/>
        </p:nvSpPr>
        <p:spPr bwMode="gray">
          <a:xfrm>
            <a:off x="1295400" y="5662885"/>
            <a:ext cx="9601200" cy="526723"/>
          </a:xfrm>
          <a:prstGeom prst="rect">
            <a:avLst/>
          </a:prstGeom>
          <a:solidFill>
            <a:schemeClr val="bg1">
              <a:lumMod val="85000"/>
            </a:scheme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ea typeface="+mn-ea"/>
                <a:cs typeface="+mn-cs"/>
              </a:rPr>
              <a:t>Program will work in conjunction with other projects to help address these key customer issues</a:t>
            </a:r>
          </a:p>
        </p:txBody>
      </p:sp>
    </p:spTree>
    <p:extLst>
      <p:ext uri="{BB962C8B-B14F-4D97-AF65-F5344CB8AC3E}">
        <p14:creationId xmlns:p14="http://schemas.microsoft.com/office/powerpoint/2010/main" val="9163040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D1BDDBB-539E-43F2-A302-3F2CAABAB0A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596" name="think-cell Slide" r:id="rId6" imgW="415" imgH="416" progId="TCLayout.ActiveDocument.1">
                  <p:embed/>
                </p:oleObj>
              </mc:Choice>
              <mc:Fallback>
                <p:oleObj name="think-cell Slide" r:id="rId6" imgW="415" imgH="416" progId="TCLayout.ActiveDocument.1">
                  <p:embed/>
                  <p:pic>
                    <p:nvPicPr>
                      <p:cNvPr id="6" name="Object 5" hidden="1">
                        <a:extLst>
                          <a:ext uri="{FF2B5EF4-FFF2-40B4-BE49-F238E27FC236}">
                            <a16:creationId xmlns:a16="http://schemas.microsoft.com/office/drawing/2014/main" id="{FD1BDDBB-539E-43F2-A302-3F2CAABAB0A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412D9-FD37-4A35-AFD2-69F414230BC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1A7EA2E-DF38-4FC5-AE8B-41EF43050336}"/>
              </a:ext>
            </a:extLst>
          </p:cNvPr>
          <p:cNvSpPr>
            <a:spLocks noGrp="1"/>
          </p:cNvSpPr>
          <p:nvPr>
            <p:ph type="title"/>
          </p:nvPr>
        </p:nvSpPr>
        <p:spPr/>
        <p:txBody>
          <a:bodyPr/>
          <a:lstStyle/>
          <a:p>
            <a:r>
              <a:rPr lang="en-US" dirty="0"/>
              <a:t>Process Diagram</a:t>
            </a:r>
          </a:p>
        </p:txBody>
      </p:sp>
      <p:sp>
        <p:nvSpPr>
          <p:cNvPr id="3" name="Text Placeholder 2">
            <a:extLst>
              <a:ext uri="{FF2B5EF4-FFF2-40B4-BE49-F238E27FC236}">
                <a16:creationId xmlns:a16="http://schemas.microsoft.com/office/drawing/2014/main" id="{78CD98FE-441A-493C-AB30-6EFA9952E7F9}"/>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2FC628A9-6AF6-40A2-B155-D8E4A4860435}"/>
              </a:ext>
            </a:extLst>
          </p:cNvPr>
          <p:cNvSpPr>
            <a:spLocks noGrp="1"/>
          </p:cNvSpPr>
          <p:nvPr>
            <p:ph type="body" sz="quarter" idx="15"/>
          </p:nvPr>
        </p:nvSpPr>
        <p:spPr/>
        <p:txBody>
          <a:bodyPr/>
          <a:lstStyle/>
          <a:p>
            <a:r>
              <a:rPr lang="en-US" dirty="0"/>
              <a:t>Process &amp; customer journey</a:t>
            </a:r>
          </a:p>
        </p:txBody>
      </p:sp>
      <p:sp>
        <p:nvSpPr>
          <p:cNvPr id="7" name="TextBox 6">
            <a:extLst>
              <a:ext uri="{FF2B5EF4-FFF2-40B4-BE49-F238E27FC236}">
                <a16:creationId xmlns:a16="http://schemas.microsoft.com/office/drawing/2014/main" id="{D6A00B5B-8034-45A6-A9E8-B86F3EAAEACD}"/>
              </a:ext>
            </a:extLst>
          </p:cNvPr>
          <p:cNvSpPr txBox="1"/>
          <p:nvPr/>
        </p:nvSpPr>
        <p:spPr>
          <a:xfrm>
            <a:off x="472313" y="3063543"/>
            <a:ext cx="3286080" cy="312102"/>
          </a:xfrm>
          <a:prstGeom prst="rect">
            <a:avLst/>
          </a:prstGeom>
          <a:noFill/>
        </p:spPr>
        <p:txBody>
          <a:bodyPr wrap="square" lIns="126205" tIns="63102" rIns="126205" bIns="63102" rtlCol="0" anchor="ctr">
            <a:spAutoFit/>
          </a:bodyPr>
          <a:lstStyle>
            <a:defPPr>
              <a:defRPr lang="en-US"/>
            </a:defPPr>
            <a:lvl1pPr algn="ctr">
              <a:defRPr sz="1200">
                <a:solidFill>
                  <a:schemeClr val="bg1"/>
                </a:solidFill>
                <a:latin typeface="Frutiger Next Pro Light" pitchFamily="34" charset="0"/>
                <a:cs typeface="Calibri" pitchFamily="34" charset="0"/>
              </a:defRPr>
            </a:lvl1p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mn-lt"/>
                <a:ea typeface="+mn-ea"/>
                <a:cs typeface="Frutiger Next Pro Medium"/>
              </a:rPr>
              <a:t>PROJECT PORTAL</a:t>
            </a:r>
          </a:p>
        </p:txBody>
      </p:sp>
      <p:grpSp>
        <p:nvGrpSpPr>
          <p:cNvPr id="8" name="Group 7">
            <a:extLst>
              <a:ext uri="{FF2B5EF4-FFF2-40B4-BE49-F238E27FC236}">
                <a16:creationId xmlns:a16="http://schemas.microsoft.com/office/drawing/2014/main" id="{B746B2CF-CE24-455D-A730-8AEB063E4EC4}"/>
              </a:ext>
            </a:extLst>
          </p:cNvPr>
          <p:cNvGrpSpPr/>
          <p:nvPr/>
        </p:nvGrpSpPr>
        <p:grpSpPr>
          <a:xfrm>
            <a:off x="4565295" y="2098454"/>
            <a:ext cx="543279" cy="543279"/>
            <a:chOff x="1647427" y="2052796"/>
            <a:chExt cx="723105" cy="723105"/>
          </a:xfrm>
        </p:grpSpPr>
        <p:sp>
          <p:nvSpPr>
            <p:cNvPr id="9" name="Oval 8">
              <a:extLst>
                <a:ext uri="{FF2B5EF4-FFF2-40B4-BE49-F238E27FC236}">
                  <a16:creationId xmlns:a16="http://schemas.microsoft.com/office/drawing/2014/main" id="{44A6DFFC-F882-4184-B929-3CA15633F184}"/>
                </a:ext>
              </a:extLst>
            </p:cNvPr>
            <p:cNvSpPr/>
            <p:nvPr/>
          </p:nvSpPr>
          <p:spPr>
            <a:xfrm>
              <a:off x="1647427" y="2052796"/>
              <a:ext cx="723105" cy="723105"/>
            </a:xfrm>
            <a:prstGeom prst="ellipse">
              <a:avLst/>
            </a:prstGeom>
            <a:solidFill>
              <a:srgbClr val="000000">
                <a:alpha val="8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3F3F3F"/>
                </a:solidFill>
                <a:effectLst/>
                <a:uLnTx/>
                <a:uFillTx/>
                <a:ea typeface="+mn-ea"/>
                <a:cs typeface="+mn-cs"/>
              </a:endParaRPr>
            </a:p>
          </p:txBody>
        </p:sp>
        <p:grpSp>
          <p:nvGrpSpPr>
            <p:cNvPr id="10" name="Group 9">
              <a:extLst>
                <a:ext uri="{FF2B5EF4-FFF2-40B4-BE49-F238E27FC236}">
                  <a16:creationId xmlns:a16="http://schemas.microsoft.com/office/drawing/2014/main" id="{11858209-DAE3-4757-8718-413F90A144BB}"/>
                </a:ext>
              </a:extLst>
            </p:cNvPr>
            <p:cNvGrpSpPr>
              <a:grpSpLocks noChangeAspect="1"/>
            </p:cNvGrpSpPr>
            <p:nvPr/>
          </p:nvGrpSpPr>
          <p:grpSpPr>
            <a:xfrm>
              <a:off x="1875422" y="2230132"/>
              <a:ext cx="267114" cy="368433"/>
              <a:chOff x="3390901" y="1185865"/>
              <a:chExt cx="368300" cy="508001"/>
            </a:xfrm>
            <a:solidFill>
              <a:schemeClr val="bg1"/>
            </a:solidFill>
          </p:grpSpPr>
          <p:sp>
            <p:nvSpPr>
              <p:cNvPr id="11" name="Freeform 198">
                <a:extLst>
                  <a:ext uri="{FF2B5EF4-FFF2-40B4-BE49-F238E27FC236}">
                    <a16:creationId xmlns:a16="http://schemas.microsoft.com/office/drawing/2014/main" id="{D19C06A9-B889-45D2-8E58-7D34F49214B3}"/>
                  </a:ext>
                </a:extLst>
              </p:cNvPr>
              <p:cNvSpPr>
                <a:spLocks noEditPoints="1"/>
              </p:cNvSpPr>
              <p:nvPr/>
            </p:nvSpPr>
            <p:spPr bwMode="auto">
              <a:xfrm>
                <a:off x="3390901" y="1185865"/>
                <a:ext cx="368300" cy="508001"/>
              </a:xfrm>
              <a:custGeom>
                <a:avLst/>
                <a:gdLst>
                  <a:gd name="T0" fmla="*/ 171 w 173"/>
                  <a:gd name="T1" fmla="*/ 211 h 238"/>
                  <a:gd name="T2" fmla="*/ 124 w 173"/>
                  <a:gd name="T3" fmla="*/ 85 h 238"/>
                  <a:gd name="T4" fmla="*/ 124 w 173"/>
                  <a:gd name="T5" fmla="*/ 45 h 238"/>
                  <a:gd name="T6" fmla="*/ 139 w 173"/>
                  <a:gd name="T7" fmla="*/ 26 h 238"/>
                  <a:gd name="T8" fmla="*/ 139 w 173"/>
                  <a:gd name="T9" fmla="*/ 20 h 238"/>
                  <a:gd name="T10" fmla="*/ 119 w 173"/>
                  <a:gd name="T11" fmla="*/ 0 h 238"/>
                  <a:gd name="T12" fmla="*/ 53 w 173"/>
                  <a:gd name="T13" fmla="*/ 0 h 238"/>
                  <a:gd name="T14" fmla="*/ 34 w 173"/>
                  <a:gd name="T15" fmla="*/ 20 h 238"/>
                  <a:gd name="T16" fmla="*/ 34 w 173"/>
                  <a:gd name="T17" fmla="*/ 26 h 238"/>
                  <a:gd name="T18" fmla="*/ 49 w 173"/>
                  <a:gd name="T19" fmla="*/ 45 h 238"/>
                  <a:gd name="T20" fmla="*/ 49 w 173"/>
                  <a:gd name="T21" fmla="*/ 85 h 238"/>
                  <a:gd name="T22" fmla="*/ 2 w 173"/>
                  <a:gd name="T23" fmla="*/ 211 h 238"/>
                  <a:gd name="T24" fmla="*/ 4 w 173"/>
                  <a:gd name="T25" fmla="*/ 229 h 238"/>
                  <a:gd name="T26" fmla="*/ 21 w 173"/>
                  <a:gd name="T27" fmla="*/ 238 h 238"/>
                  <a:gd name="T28" fmla="*/ 152 w 173"/>
                  <a:gd name="T29" fmla="*/ 238 h 238"/>
                  <a:gd name="T30" fmla="*/ 169 w 173"/>
                  <a:gd name="T31" fmla="*/ 229 h 238"/>
                  <a:gd name="T32" fmla="*/ 171 w 173"/>
                  <a:gd name="T33" fmla="*/ 211 h 238"/>
                  <a:gd name="T34" fmla="*/ 58 w 173"/>
                  <a:gd name="T35" fmla="*/ 87 h 238"/>
                  <a:gd name="T36" fmla="*/ 58 w 173"/>
                  <a:gd name="T37" fmla="*/ 85 h 238"/>
                  <a:gd name="T38" fmla="*/ 58 w 173"/>
                  <a:gd name="T39" fmla="*/ 41 h 238"/>
                  <a:gd name="T40" fmla="*/ 53 w 173"/>
                  <a:gd name="T41" fmla="*/ 36 h 238"/>
                  <a:gd name="T42" fmla="*/ 43 w 173"/>
                  <a:gd name="T43" fmla="*/ 26 h 238"/>
                  <a:gd name="T44" fmla="*/ 43 w 173"/>
                  <a:gd name="T45" fmla="*/ 20 h 238"/>
                  <a:gd name="T46" fmla="*/ 53 w 173"/>
                  <a:gd name="T47" fmla="*/ 10 h 238"/>
                  <a:gd name="T48" fmla="*/ 119 w 173"/>
                  <a:gd name="T49" fmla="*/ 10 h 238"/>
                  <a:gd name="T50" fmla="*/ 129 w 173"/>
                  <a:gd name="T51" fmla="*/ 20 h 238"/>
                  <a:gd name="T52" fmla="*/ 129 w 173"/>
                  <a:gd name="T53" fmla="*/ 26 h 238"/>
                  <a:gd name="T54" fmla="*/ 119 w 173"/>
                  <a:gd name="T55" fmla="*/ 36 h 238"/>
                  <a:gd name="T56" fmla="*/ 114 w 173"/>
                  <a:gd name="T57" fmla="*/ 41 h 238"/>
                  <a:gd name="T58" fmla="*/ 114 w 173"/>
                  <a:gd name="T59" fmla="*/ 85 h 238"/>
                  <a:gd name="T60" fmla="*/ 115 w 173"/>
                  <a:gd name="T61" fmla="*/ 87 h 238"/>
                  <a:gd name="T62" fmla="*/ 131 w 173"/>
                  <a:gd name="T63" fmla="*/ 130 h 238"/>
                  <a:gd name="T64" fmla="*/ 40 w 173"/>
                  <a:gd name="T65" fmla="*/ 136 h 238"/>
                  <a:gd name="T66" fmla="*/ 58 w 173"/>
                  <a:gd name="T67" fmla="*/ 87 h 238"/>
                  <a:gd name="T68" fmla="*/ 161 w 173"/>
                  <a:gd name="T69" fmla="*/ 224 h 238"/>
                  <a:gd name="T70" fmla="*/ 152 w 173"/>
                  <a:gd name="T71" fmla="*/ 228 h 238"/>
                  <a:gd name="T72" fmla="*/ 21 w 173"/>
                  <a:gd name="T73" fmla="*/ 228 h 238"/>
                  <a:gd name="T74" fmla="*/ 12 w 173"/>
                  <a:gd name="T75" fmla="*/ 224 h 238"/>
                  <a:gd name="T76" fmla="*/ 11 w 173"/>
                  <a:gd name="T77" fmla="*/ 214 h 238"/>
                  <a:gd name="T78" fmla="*/ 36 w 173"/>
                  <a:gd name="T79" fmla="*/ 146 h 238"/>
                  <a:gd name="T80" fmla="*/ 53 w 173"/>
                  <a:gd name="T81" fmla="*/ 146 h 238"/>
                  <a:gd name="T82" fmla="*/ 134 w 173"/>
                  <a:gd name="T83" fmla="*/ 139 h 238"/>
                  <a:gd name="T84" fmla="*/ 162 w 173"/>
                  <a:gd name="T85" fmla="*/ 214 h 238"/>
                  <a:gd name="T86" fmla="*/ 161 w 173"/>
                  <a:gd name="T87" fmla="*/ 22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3" h="238">
                    <a:moveTo>
                      <a:pt x="171" y="211"/>
                    </a:moveTo>
                    <a:cubicBezTo>
                      <a:pt x="124" y="85"/>
                      <a:pt x="124" y="85"/>
                      <a:pt x="124" y="85"/>
                    </a:cubicBezTo>
                    <a:cubicBezTo>
                      <a:pt x="124" y="45"/>
                      <a:pt x="124" y="45"/>
                      <a:pt x="124" y="45"/>
                    </a:cubicBezTo>
                    <a:cubicBezTo>
                      <a:pt x="133" y="43"/>
                      <a:pt x="139" y="35"/>
                      <a:pt x="139" y="26"/>
                    </a:cubicBezTo>
                    <a:cubicBezTo>
                      <a:pt x="139" y="20"/>
                      <a:pt x="139" y="20"/>
                      <a:pt x="139" y="20"/>
                    </a:cubicBezTo>
                    <a:cubicBezTo>
                      <a:pt x="139" y="9"/>
                      <a:pt x="130" y="0"/>
                      <a:pt x="119" y="0"/>
                    </a:cubicBezTo>
                    <a:cubicBezTo>
                      <a:pt x="53" y="0"/>
                      <a:pt x="53" y="0"/>
                      <a:pt x="53" y="0"/>
                    </a:cubicBezTo>
                    <a:cubicBezTo>
                      <a:pt x="42" y="0"/>
                      <a:pt x="34" y="9"/>
                      <a:pt x="34" y="20"/>
                    </a:cubicBezTo>
                    <a:cubicBezTo>
                      <a:pt x="34" y="26"/>
                      <a:pt x="34" y="26"/>
                      <a:pt x="34" y="26"/>
                    </a:cubicBezTo>
                    <a:cubicBezTo>
                      <a:pt x="34" y="35"/>
                      <a:pt x="40" y="43"/>
                      <a:pt x="49" y="45"/>
                    </a:cubicBezTo>
                    <a:cubicBezTo>
                      <a:pt x="49" y="85"/>
                      <a:pt x="49" y="85"/>
                      <a:pt x="49" y="85"/>
                    </a:cubicBezTo>
                    <a:cubicBezTo>
                      <a:pt x="2" y="211"/>
                      <a:pt x="2" y="211"/>
                      <a:pt x="2" y="211"/>
                    </a:cubicBezTo>
                    <a:cubicBezTo>
                      <a:pt x="0" y="217"/>
                      <a:pt x="0" y="224"/>
                      <a:pt x="4" y="229"/>
                    </a:cubicBezTo>
                    <a:cubicBezTo>
                      <a:pt x="8" y="235"/>
                      <a:pt x="14" y="238"/>
                      <a:pt x="21" y="238"/>
                    </a:cubicBezTo>
                    <a:cubicBezTo>
                      <a:pt x="152" y="238"/>
                      <a:pt x="152" y="238"/>
                      <a:pt x="152" y="238"/>
                    </a:cubicBezTo>
                    <a:cubicBezTo>
                      <a:pt x="159" y="238"/>
                      <a:pt x="165" y="235"/>
                      <a:pt x="169" y="229"/>
                    </a:cubicBezTo>
                    <a:cubicBezTo>
                      <a:pt x="172" y="224"/>
                      <a:pt x="173" y="217"/>
                      <a:pt x="171" y="211"/>
                    </a:cubicBezTo>
                    <a:close/>
                    <a:moveTo>
                      <a:pt x="58" y="87"/>
                    </a:moveTo>
                    <a:cubicBezTo>
                      <a:pt x="58" y="87"/>
                      <a:pt x="58" y="86"/>
                      <a:pt x="58" y="85"/>
                    </a:cubicBezTo>
                    <a:cubicBezTo>
                      <a:pt x="58" y="41"/>
                      <a:pt x="58" y="41"/>
                      <a:pt x="58" y="41"/>
                    </a:cubicBezTo>
                    <a:cubicBezTo>
                      <a:pt x="58" y="38"/>
                      <a:pt x="56" y="36"/>
                      <a:pt x="53" y="36"/>
                    </a:cubicBezTo>
                    <a:cubicBezTo>
                      <a:pt x="48" y="36"/>
                      <a:pt x="43" y="31"/>
                      <a:pt x="43" y="26"/>
                    </a:cubicBezTo>
                    <a:cubicBezTo>
                      <a:pt x="43" y="20"/>
                      <a:pt x="43" y="20"/>
                      <a:pt x="43" y="20"/>
                    </a:cubicBezTo>
                    <a:cubicBezTo>
                      <a:pt x="43" y="14"/>
                      <a:pt x="48" y="10"/>
                      <a:pt x="53" y="10"/>
                    </a:cubicBezTo>
                    <a:cubicBezTo>
                      <a:pt x="119" y="10"/>
                      <a:pt x="119" y="10"/>
                      <a:pt x="119" y="10"/>
                    </a:cubicBezTo>
                    <a:cubicBezTo>
                      <a:pt x="125" y="10"/>
                      <a:pt x="129" y="14"/>
                      <a:pt x="129" y="20"/>
                    </a:cubicBezTo>
                    <a:cubicBezTo>
                      <a:pt x="129" y="26"/>
                      <a:pt x="129" y="26"/>
                      <a:pt x="129" y="26"/>
                    </a:cubicBezTo>
                    <a:cubicBezTo>
                      <a:pt x="129" y="31"/>
                      <a:pt x="125" y="36"/>
                      <a:pt x="119" y="36"/>
                    </a:cubicBezTo>
                    <a:cubicBezTo>
                      <a:pt x="117" y="36"/>
                      <a:pt x="114" y="38"/>
                      <a:pt x="114" y="41"/>
                    </a:cubicBezTo>
                    <a:cubicBezTo>
                      <a:pt x="114" y="85"/>
                      <a:pt x="114" y="85"/>
                      <a:pt x="114" y="85"/>
                    </a:cubicBezTo>
                    <a:cubicBezTo>
                      <a:pt x="114" y="86"/>
                      <a:pt x="115" y="87"/>
                      <a:pt x="115" y="87"/>
                    </a:cubicBezTo>
                    <a:cubicBezTo>
                      <a:pt x="131" y="130"/>
                      <a:pt x="131" y="130"/>
                      <a:pt x="131" y="130"/>
                    </a:cubicBezTo>
                    <a:cubicBezTo>
                      <a:pt x="124" y="135"/>
                      <a:pt x="80" y="137"/>
                      <a:pt x="40" y="136"/>
                    </a:cubicBezTo>
                    <a:lnTo>
                      <a:pt x="58" y="87"/>
                    </a:lnTo>
                    <a:close/>
                    <a:moveTo>
                      <a:pt x="161" y="224"/>
                    </a:moveTo>
                    <a:cubicBezTo>
                      <a:pt x="159" y="227"/>
                      <a:pt x="156" y="228"/>
                      <a:pt x="152" y="228"/>
                    </a:cubicBezTo>
                    <a:cubicBezTo>
                      <a:pt x="21" y="228"/>
                      <a:pt x="21" y="228"/>
                      <a:pt x="21" y="228"/>
                    </a:cubicBezTo>
                    <a:cubicBezTo>
                      <a:pt x="17" y="228"/>
                      <a:pt x="14" y="227"/>
                      <a:pt x="12" y="224"/>
                    </a:cubicBezTo>
                    <a:cubicBezTo>
                      <a:pt x="10" y="221"/>
                      <a:pt x="10" y="217"/>
                      <a:pt x="11" y="214"/>
                    </a:cubicBezTo>
                    <a:cubicBezTo>
                      <a:pt x="36" y="146"/>
                      <a:pt x="36" y="146"/>
                      <a:pt x="36" y="146"/>
                    </a:cubicBezTo>
                    <a:cubicBezTo>
                      <a:pt x="41" y="146"/>
                      <a:pt x="46" y="146"/>
                      <a:pt x="53" y="146"/>
                    </a:cubicBezTo>
                    <a:cubicBezTo>
                      <a:pt x="80" y="146"/>
                      <a:pt x="120" y="145"/>
                      <a:pt x="134" y="139"/>
                    </a:cubicBezTo>
                    <a:cubicBezTo>
                      <a:pt x="162" y="214"/>
                      <a:pt x="162" y="214"/>
                      <a:pt x="162" y="214"/>
                    </a:cubicBezTo>
                    <a:cubicBezTo>
                      <a:pt x="163" y="217"/>
                      <a:pt x="162" y="221"/>
                      <a:pt x="161" y="224"/>
                    </a:cubicBezTo>
                    <a:close/>
                  </a:path>
                </a:pathLst>
              </a:custGeom>
              <a:grpFill/>
              <a:ln w="3175">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C5C5C"/>
                  </a:solidFill>
                  <a:effectLst/>
                  <a:uLnTx/>
                  <a:uFillTx/>
                  <a:ea typeface="+mn-ea"/>
                  <a:cs typeface="+mn-cs"/>
                </a:endParaRPr>
              </a:p>
            </p:txBody>
          </p:sp>
          <p:sp>
            <p:nvSpPr>
              <p:cNvPr id="12" name="Freeform 199">
                <a:extLst>
                  <a:ext uri="{FF2B5EF4-FFF2-40B4-BE49-F238E27FC236}">
                    <a16:creationId xmlns:a16="http://schemas.microsoft.com/office/drawing/2014/main" id="{1852108D-B384-430D-99CF-6DF96D8E3966}"/>
                  </a:ext>
                </a:extLst>
              </p:cNvPr>
              <p:cNvSpPr>
                <a:spLocks noEditPoints="1"/>
              </p:cNvSpPr>
              <p:nvPr/>
            </p:nvSpPr>
            <p:spPr bwMode="auto">
              <a:xfrm>
                <a:off x="3481383" y="1514478"/>
                <a:ext cx="71438" cy="69851"/>
              </a:xfrm>
              <a:custGeom>
                <a:avLst/>
                <a:gdLst>
                  <a:gd name="T0" fmla="*/ 16 w 33"/>
                  <a:gd name="T1" fmla="*/ 0 h 33"/>
                  <a:gd name="T2" fmla="*/ 0 w 33"/>
                  <a:gd name="T3" fmla="*/ 16 h 33"/>
                  <a:gd name="T4" fmla="*/ 16 w 33"/>
                  <a:gd name="T5" fmla="*/ 33 h 33"/>
                  <a:gd name="T6" fmla="*/ 33 w 33"/>
                  <a:gd name="T7" fmla="*/ 16 h 33"/>
                  <a:gd name="T8" fmla="*/ 16 w 33"/>
                  <a:gd name="T9" fmla="*/ 0 h 33"/>
                  <a:gd name="T10" fmla="*/ 16 w 33"/>
                  <a:gd name="T11" fmla="*/ 24 h 33"/>
                  <a:gd name="T12" fmla="*/ 9 w 33"/>
                  <a:gd name="T13" fmla="*/ 16 h 33"/>
                  <a:gd name="T14" fmla="*/ 16 w 33"/>
                  <a:gd name="T15" fmla="*/ 9 h 33"/>
                  <a:gd name="T16" fmla="*/ 23 w 33"/>
                  <a:gd name="T17" fmla="*/ 16 h 33"/>
                  <a:gd name="T18" fmla="*/ 16 w 33"/>
                  <a:gd name="T19" fmla="*/ 2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3">
                    <a:moveTo>
                      <a:pt x="16" y="0"/>
                    </a:moveTo>
                    <a:cubicBezTo>
                      <a:pt x="7" y="0"/>
                      <a:pt x="0" y="7"/>
                      <a:pt x="0" y="16"/>
                    </a:cubicBezTo>
                    <a:cubicBezTo>
                      <a:pt x="0" y="26"/>
                      <a:pt x="7" y="33"/>
                      <a:pt x="16" y="33"/>
                    </a:cubicBezTo>
                    <a:cubicBezTo>
                      <a:pt x="26" y="33"/>
                      <a:pt x="33" y="26"/>
                      <a:pt x="33" y="16"/>
                    </a:cubicBezTo>
                    <a:cubicBezTo>
                      <a:pt x="33" y="7"/>
                      <a:pt x="26" y="0"/>
                      <a:pt x="16" y="0"/>
                    </a:cubicBezTo>
                    <a:close/>
                    <a:moveTo>
                      <a:pt x="16" y="24"/>
                    </a:moveTo>
                    <a:cubicBezTo>
                      <a:pt x="13" y="24"/>
                      <a:pt x="9" y="20"/>
                      <a:pt x="9" y="16"/>
                    </a:cubicBezTo>
                    <a:cubicBezTo>
                      <a:pt x="9" y="13"/>
                      <a:pt x="13" y="9"/>
                      <a:pt x="16" y="9"/>
                    </a:cubicBezTo>
                    <a:cubicBezTo>
                      <a:pt x="20" y="9"/>
                      <a:pt x="23" y="13"/>
                      <a:pt x="23" y="16"/>
                    </a:cubicBezTo>
                    <a:cubicBezTo>
                      <a:pt x="23" y="20"/>
                      <a:pt x="20" y="24"/>
                      <a:pt x="16" y="24"/>
                    </a:cubicBezTo>
                    <a:close/>
                  </a:path>
                </a:pathLst>
              </a:custGeom>
              <a:grpFill/>
              <a:ln w="3175">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C5C5C"/>
                  </a:solidFill>
                  <a:effectLst/>
                  <a:uLnTx/>
                  <a:uFillTx/>
                  <a:ea typeface="+mn-ea"/>
                  <a:cs typeface="+mn-cs"/>
                </a:endParaRPr>
              </a:p>
            </p:txBody>
          </p:sp>
          <p:sp>
            <p:nvSpPr>
              <p:cNvPr id="13" name="Freeform 200">
                <a:extLst>
                  <a:ext uri="{FF2B5EF4-FFF2-40B4-BE49-F238E27FC236}">
                    <a16:creationId xmlns:a16="http://schemas.microsoft.com/office/drawing/2014/main" id="{047C944C-AE38-4FA1-A9D3-8E8B8EEF48F6}"/>
                  </a:ext>
                </a:extLst>
              </p:cNvPr>
              <p:cNvSpPr>
                <a:spLocks noEditPoints="1"/>
              </p:cNvSpPr>
              <p:nvPr/>
            </p:nvSpPr>
            <p:spPr bwMode="auto">
              <a:xfrm>
                <a:off x="3568690" y="1552579"/>
                <a:ext cx="101600" cy="98425"/>
              </a:xfrm>
              <a:custGeom>
                <a:avLst/>
                <a:gdLst>
                  <a:gd name="T0" fmla="*/ 23 w 47"/>
                  <a:gd name="T1" fmla="*/ 0 h 46"/>
                  <a:gd name="T2" fmla="*/ 0 w 47"/>
                  <a:gd name="T3" fmla="*/ 23 h 46"/>
                  <a:gd name="T4" fmla="*/ 23 w 47"/>
                  <a:gd name="T5" fmla="*/ 46 h 46"/>
                  <a:gd name="T6" fmla="*/ 47 w 47"/>
                  <a:gd name="T7" fmla="*/ 23 h 46"/>
                  <a:gd name="T8" fmla="*/ 23 w 47"/>
                  <a:gd name="T9" fmla="*/ 0 h 46"/>
                  <a:gd name="T10" fmla="*/ 23 w 47"/>
                  <a:gd name="T11" fmla="*/ 37 h 46"/>
                  <a:gd name="T12" fmla="*/ 10 w 47"/>
                  <a:gd name="T13" fmla="*/ 23 h 46"/>
                  <a:gd name="T14" fmla="*/ 23 w 47"/>
                  <a:gd name="T15" fmla="*/ 9 h 46"/>
                  <a:gd name="T16" fmla="*/ 37 w 47"/>
                  <a:gd name="T17" fmla="*/ 23 h 46"/>
                  <a:gd name="T18" fmla="*/ 23 w 47"/>
                  <a:gd name="T19" fmla="*/ 3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46">
                    <a:moveTo>
                      <a:pt x="23" y="0"/>
                    </a:moveTo>
                    <a:cubicBezTo>
                      <a:pt x="11" y="0"/>
                      <a:pt x="0" y="10"/>
                      <a:pt x="0" y="23"/>
                    </a:cubicBezTo>
                    <a:cubicBezTo>
                      <a:pt x="0" y="36"/>
                      <a:pt x="11" y="46"/>
                      <a:pt x="23" y="46"/>
                    </a:cubicBezTo>
                    <a:cubicBezTo>
                      <a:pt x="36" y="46"/>
                      <a:pt x="47" y="36"/>
                      <a:pt x="47" y="23"/>
                    </a:cubicBezTo>
                    <a:cubicBezTo>
                      <a:pt x="47" y="10"/>
                      <a:pt x="36" y="0"/>
                      <a:pt x="23" y="0"/>
                    </a:cubicBezTo>
                    <a:close/>
                    <a:moveTo>
                      <a:pt x="23" y="37"/>
                    </a:moveTo>
                    <a:cubicBezTo>
                      <a:pt x="16" y="37"/>
                      <a:pt x="10" y="30"/>
                      <a:pt x="10" y="23"/>
                    </a:cubicBezTo>
                    <a:cubicBezTo>
                      <a:pt x="10" y="16"/>
                      <a:pt x="16" y="9"/>
                      <a:pt x="23" y="9"/>
                    </a:cubicBezTo>
                    <a:cubicBezTo>
                      <a:pt x="31" y="9"/>
                      <a:pt x="37" y="16"/>
                      <a:pt x="37" y="23"/>
                    </a:cubicBezTo>
                    <a:cubicBezTo>
                      <a:pt x="37" y="30"/>
                      <a:pt x="31" y="37"/>
                      <a:pt x="23" y="37"/>
                    </a:cubicBezTo>
                    <a:close/>
                  </a:path>
                </a:pathLst>
              </a:custGeom>
              <a:grpFill/>
              <a:ln w="3175">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C5C5C"/>
                  </a:solidFill>
                  <a:effectLst/>
                  <a:uLnTx/>
                  <a:uFillTx/>
                  <a:ea typeface="+mn-ea"/>
                  <a:cs typeface="+mn-cs"/>
                </a:endParaRPr>
              </a:p>
            </p:txBody>
          </p:sp>
          <p:sp>
            <p:nvSpPr>
              <p:cNvPr id="14" name="Freeform 201">
                <a:extLst>
                  <a:ext uri="{FF2B5EF4-FFF2-40B4-BE49-F238E27FC236}">
                    <a16:creationId xmlns:a16="http://schemas.microsoft.com/office/drawing/2014/main" id="{3D9E4B81-378C-4BEE-B68B-7F505BAB5EE6}"/>
                  </a:ext>
                </a:extLst>
              </p:cNvPr>
              <p:cNvSpPr>
                <a:spLocks noEditPoints="1"/>
              </p:cNvSpPr>
              <p:nvPr/>
            </p:nvSpPr>
            <p:spPr bwMode="auto">
              <a:xfrm>
                <a:off x="3530600" y="1377949"/>
                <a:ext cx="65088" cy="63500"/>
              </a:xfrm>
              <a:custGeom>
                <a:avLst/>
                <a:gdLst>
                  <a:gd name="T0" fmla="*/ 15 w 30"/>
                  <a:gd name="T1" fmla="*/ 30 h 30"/>
                  <a:gd name="T2" fmla="*/ 30 w 30"/>
                  <a:gd name="T3" fmla="*/ 15 h 30"/>
                  <a:gd name="T4" fmla="*/ 15 w 30"/>
                  <a:gd name="T5" fmla="*/ 0 h 30"/>
                  <a:gd name="T6" fmla="*/ 0 w 30"/>
                  <a:gd name="T7" fmla="*/ 15 h 30"/>
                  <a:gd name="T8" fmla="*/ 15 w 30"/>
                  <a:gd name="T9" fmla="*/ 30 h 30"/>
                  <a:gd name="T10" fmla="*/ 15 w 30"/>
                  <a:gd name="T11" fmla="*/ 9 h 30"/>
                  <a:gd name="T12" fmla="*/ 21 w 30"/>
                  <a:gd name="T13" fmla="*/ 15 h 30"/>
                  <a:gd name="T14" fmla="*/ 15 w 30"/>
                  <a:gd name="T15" fmla="*/ 20 h 30"/>
                  <a:gd name="T16" fmla="*/ 10 w 30"/>
                  <a:gd name="T17" fmla="*/ 15 h 30"/>
                  <a:gd name="T18" fmla="*/ 15 w 30"/>
                  <a:gd name="T19"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30"/>
                    </a:moveTo>
                    <a:cubicBezTo>
                      <a:pt x="24" y="30"/>
                      <a:pt x="30" y="23"/>
                      <a:pt x="30" y="15"/>
                    </a:cubicBezTo>
                    <a:cubicBezTo>
                      <a:pt x="30" y="7"/>
                      <a:pt x="24" y="0"/>
                      <a:pt x="15" y="0"/>
                    </a:cubicBezTo>
                    <a:cubicBezTo>
                      <a:pt x="7" y="0"/>
                      <a:pt x="0" y="7"/>
                      <a:pt x="0" y="15"/>
                    </a:cubicBezTo>
                    <a:cubicBezTo>
                      <a:pt x="0" y="23"/>
                      <a:pt x="7" y="30"/>
                      <a:pt x="15" y="30"/>
                    </a:cubicBezTo>
                    <a:close/>
                    <a:moveTo>
                      <a:pt x="15" y="9"/>
                    </a:moveTo>
                    <a:cubicBezTo>
                      <a:pt x="18" y="9"/>
                      <a:pt x="21" y="12"/>
                      <a:pt x="21" y="15"/>
                    </a:cubicBezTo>
                    <a:cubicBezTo>
                      <a:pt x="21" y="18"/>
                      <a:pt x="18" y="20"/>
                      <a:pt x="15" y="20"/>
                    </a:cubicBezTo>
                    <a:cubicBezTo>
                      <a:pt x="12" y="20"/>
                      <a:pt x="10" y="18"/>
                      <a:pt x="10" y="15"/>
                    </a:cubicBezTo>
                    <a:cubicBezTo>
                      <a:pt x="10" y="12"/>
                      <a:pt x="12" y="9"/>
                      <a:pt x="15" y="9"/>
                    </a:cubicBezTo>
                    <a:close/>
                  </a:path>
                </a:pathLst>
              </a:custGeom>
              <a:grpFill/>
              <a:ln w="3175">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C5C5C"/>
                  </a:solidFill>
                  <a:effectLst/>
                  <a:uLnTx/>
                  <a:uFillTx/>
                  <a:ea typeface="+mn-ea"/>
                  <a:cs typeface="+mn-cs"/>
                </a:endParaRPr>
              </a:p>
            </p:txBody>
          </p:sp>
        </p:grpSp>
      </p:grpSp>
      <p:grpSp>
        <p:nvGrpSpPr>
          <p:cNvPr id="15" name="Group 14">
            <a:extLst>
              <a:ext uri="{FF2B5EF4-FFF2-40B4-BE49-F238E27FC236}">
                <a16:creationId xmlns:a16="http://schemas.microsoft.com/office/drawing/2014/main" id="{E48E3E9D-6BCB-4A4A-9D99-311A55A937C7}"/>
              </a:ext>
            </a:extLst>
          </p:cNvPr>
          <p:cNvGrpSpPr/>
          <p:nvPr/>
        </p:nvGrpSpPr>
        <p:grpSpPr>
          <a:xfrm>
            <a:off x="843394" y="3495840"/>
            <a:ext cx="2543919" cy="2439799"/>
            <a:chOff x="616136" y="2021032"/>
            <a:chExt cx="3097937" cy="2007222"/>
          </a:xfrm>
        </p:grpSpPr>
        <p:sp>
          <p:nvSpPr>
            <p:cNvPr id="16" name="TextBox 15">
              <a:extLst>
                <a:ext uri="{FF2B5EF4-FFF2-40B4-BE49-F238E27FC236}">
                  <a16:creationId xmlns:a16="http://schemas.microsoft.com/office/drawing/2014/main" id="{0F2D8BAF-C3F1-46DE-AAB9-1D6B783A6D62}"/>
                </a:ext>
              </a:extLst>
            </p:cNvPr>
            <p:cNvSpPr txBox="1"/>
            <p:nvPr/>
          </p:nvSpPr>
          <p:spPr>
            <a:xfrm>
              <a:off x="616136" y="2433046"/>
              <a:ext cx="3097937" cy="159520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Evaluate part portfolio and define the business case (value vs cost) of incorporating AM</a:t>
              </a:r>
            </a:p>
            <a:p>
              <a:pPr marL="285750" marR="0" lvl="0" indent="-2857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Ramp AM adoption for select parts; align with Portal schedule</a:t>
              </a:r>
            </a:p>
            <a:p>
              <a:pPr marL="285750" marR="0" lvl="0" indent="-2857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Build AM capabilities in design, qualification, and production</a:t>
              </a:r>
            </a:p>
            <a:p>
              <a:pPr marL="285750" marR="0" lvl="0" indent="-2857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Establish physical, digital, and business processes for repeatable adoption of AM</a:t>
              </a:r>
            </a:p>
          </p:txBody>
        </p:sp>
        <p:sp>
          <p:nvSpPr>
            <p:cNvPr id="17" name="TextBox 16">
              <a:extLst>
                <a:ext uri="{FF2B5EF4-FFF2-40B4-BE49-F238E27FC236}">
                  <a16:creationId xmlns:a16="http://schemas.microsoft.com/office/drawing/2014/main" id="{7F6A39FE-7E08-40AE-908A-0E6CC871034C}"/>
                </a:ext>
              </a:extLst>
            </p:cNvPr>
            <p:cNvSpPr txBox="1"/>
            <p:nvPr/>
          </p:nvSpPr>
          <p:spPr>
            <a:xfrm>
              <a:off x="787887" y="2021032"/>
              <a:ext cx="2785575" cy="35449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1"/>
                  </a:solidFill>
                  <a:effectLst/>
                  <a:uLnTx/>
                  <a:uFillTx/>
                  <a:ea typeface="+mn-ea"/>
                  <a:cs typeface="+mn-cs"/>
                </a:rPr>
                <a:t>Integrate AM into Project Portal</a:t>
              </a:r>
            </a:p>
          </p:txBody>
        </p:sp>
      </p:grpSp>
      <p:sp>
        <p:nvSpPr>
          <p:cNvPr id="18" name="TextBox 17">
            <a:extLst>
              <a:ext uri="{FF2B5EF4-FFF2-40B4-BE49-F238E27FC236}">
                <a16:creationId xmlns:a16="http://schemas.microsoft.com/office/drawing/2014/main" id="{909E6B3B-1C3F-4A4A-A44F-07DD7A94D3EA}"/>
              </a:ext>
            </a:extLst>
          </p:cNvPr>
          <p:cNvSpPr txBox="1"/>
          <p:nvPr/>
        </p:nvSpPr>
        <p:spPr>
          <a:xfrm>
            <a:off x="3193894" y="2744926"/>
            <a:ext cx="3286080" cy="312102"/>
          </a:xfrm>
          <a:prstGeom prst="rect">
            <a:avLst/>
          </a:prstGeom>
          <a:noFill/>
        </p:spPr>
        <p:txBody>
          <a:bodyPr wrap="square" lIns="126205" tIns="63102" rIns="126205" bIns="63102" rtlCol="0" anchor="ctr">
            <a:spAutoFit/>
          </a:bodyPr>
          <a:lstStyle>
            <a:defPPr>
              <a:defRPr lang="en-US"/>
            </a:defPPr>
            <a:lvl1pPr algn="ctr">
              <a:defRPr sz="1200">
                <a:solidFill>
                  <a:schemeClr val="bg1"/>
                </a:solidFill>
                <a:latin typeface="Frutiger Next Pro Light" pitchFamily="34" charset="0"/>
                <a:cs typeface="Calibri" pitchFamily="34" charset="0"/>
              </a:defRPr>
            </a:lvl1p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mn-lt"/>
                <a:ea typeface="+mn-ea"/>
                <a:cs typeface="Frutiger Next Pro Medium"/>
              </a:rPr>
              <a:t>PRODUCT DEVELOPMENT</a:t>
            </a:r>
          </a:p>
        </p:txBody>
      </p:sp>
      <p:grpSp>
        <p:nvGrpSpPr>
          <p:cNvPr id="19" name="Group 18">
            <a:extLst>
              <a:ext uri="{FF2B5EF4-FFF2-40B4-BE49-F238E27FC236}">
                <a16:creationId xmlns:a16="http://schemas.microsoft.com/office/drawing/2014/main" id="{72FB0912-487E-4A43-9DB3-9F33D4943348}"/>
              </a:ext>
            </a:extLst>
          </p:cNvPr>
          <p:cNvGrpSpPr/>
          <p:nvPr/>
        </p:nvGrpSpPr>
        <p:grpSpPr>
          <a:xfrm>
            <a:off x="3576220" y="3175507"/>
            <a:ext cx="2543919" cy="2696281"/>
            <a:chOff x="616136" y="2021032"/>
            <a:chExt cx="3097937" cy="2218228"/>
          </a:xfrm>
        </p:grpSpPr>
        <p:sp>
          <p:nvSpPr>
            <p:cNvPr id="20" name="TextBox 19">
              <a:extLst>
                <a:ext uri="{FF2B5EF4-FFF2-40B4-BE49-F238E27FC236}">
                  <a16:creationId xmlns:a16="http://schemas.microsoft.com/office/drawing/2014/main" id="{FFA909A7-38FD-44AB-B6B7-66192ECE11F4}"/>
                </a:ext>
              </a:extLst>
            </p:cNvPr>
            <p:cNvSpPr txBox="1"/>
            <p:nvPr/>
          </p:nvSpPr>
          <p:spPr>
            <a:xfrm>
              <a:off x="616136" y="2433046"/>
              <a:ext cx="3097937" cy="180621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Identify programs, parts, and processes for quick wins</a:t>
              </a:r>
            </a:p>
            <a:p>
              <a:pPr marL="285750" marR="0" lvl="0" indent="-2857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Incorporate AM into tooling and manufacturing aids</a:t>
              </a:r>
            </a:p>
            <a:p>
              <a:pPr marL="285750" marR="0" lvl="0" indent="-2857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Train engineers on Design for Additive Manufacturing (</a:t>
              </a:r>
              <a:r>
                <a:rPr kumimoji="0" lang="en-US" sz="1000" b="0" i="0" u="none" strike="noStrike" kern="1200" cap="none" spc="0" normalizeH="0" baseline="0" noProof="0" dirty="0" err="1">
                  <a:ln>
                    <a:noFill/>
                  </a:ln>
                  <a:solidFill>
                    <a:srgbClr val="000000"/>
                  </a:solidFill>
                  <a:effectLst/>
                  <a:uLnTx/>
                  <a:uFillTx/>
                  <a:ea typeface="+mn-ea"/>
                  <a:cs typeface="+mn-cs"/>
                </a:rPr>
                <a:t>DfAM</a:t>
              </a:r>
              <a:r>
                <a:rPr kumimoji="0" lang="en-US" sz="1000" b="0" i="0" u="none" strike="noStrike" kern="1200" cap="none" spc="0" normalizeH="0" baseline="0" noProof="0" dirty="0">
                  <a:ln>
                    <a:noFill/>
                  </a:ln>
                  <a:solidFill>
                    <a:srgbClr val="000000"/>
                  </a:solidFill>
                  <a:effectLst/>
                  <a:uLnTx/>
                  <a:uFillTx/>
                  <a:ea typeface="+mn-ea"/>
                  <a:cs typeface="+mn-cs"/>
                </a:rPr>
                <a:t>)</a:t>
              </a:r>
            </a:p>
            <a:p>
              <a:pPr marL="285750" marR="0" lvl="0" indent="-2857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Deploy AM to design and produce functional parts better, faster, and cheaper </a:t>
              </a:r>
            </a:p>
            <a:p>
              <a:pPr marL="285750" marR="0" lvl="0" indent="-2857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Establish business case metrics and broader integration roadmap</a:t>
              </a:r>
            </a:p>
          </p:txBody>
        </p:sp>
        <p:sp>
          <p:nvSpPr>
            <p:cNvPr id="21" name="TextBox 20">
              <a:extLst>
                <a:ext uri="{FF2B5EF4-FFF2-40B4-BE49-F238E27FC236}">
                  <a16:creationId xmlns:a16="http://schemas.microsoft.com/office/drawing/2014/main" id="{572057D2-8AFD-4A50-81A0-131565F4CFB1}"/>
                </a:ext>
              </a:extLst>
            </p:cNvPr>
            <p:cNvSpPr txBox="1"/>
            <p:nvPr/>
          </p:nvSpPr>
          <p:spPr>
            <a:xfrm>
              <a:off x="698557" y="2021032"/>
              <a:ext cx="3001822" cy="35449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1"/>
                  </a:solidFill>
                  <a:effectLst/>
                  <a:uLnTx/>
                  <a:uFillTx/>
                  <a:ea typeface="+mn-ea"/>
                  <a:cs typeface="+mn-cs"/>
                </a:rPr>
                <a:t>Scale AM Capabilities across Additional Programs</a:t>
              </a:r>
            </a:p>
          </p:txBody>
        </p:sp>
      </p:grpSp>
      <p:sp>
        <p:nvSpPr>
          <p:cNvPr id="22" name="TextBox 21">
            <a:extLst>
              <a:ext uri="{FF2B5EF4-FFF2-40B4-BE49-F238E27FC236}">
                <a16:creationId xmlns:a16="http://schemas.microsoft.com/office/drawing/2014/main" id="{58F94D71-8692-468A-BB20-42F83DE7E96F}"/>
              </a:ext>
            </a:extLst>
          </p:cNvPr>
          <p:cNvSpPr txBox="1"/>
          <p:nvPr/>
        </p:nvSpPr>
        <p:spPr>
          <a:xfrm>
            <a:off x="5915475" y="2411013"/>
            <a:ext cx="3286080" cy="312102"/>
          </a:xfrm>
          <a:prstGeom prst="rect">
            <a:avLst/>
          </a:prstGeom>
          <a:noFill/>
        </p:spPr>
        <p:txBody>
          <a:bodyPr wrap="square" lIns="126205" tIns="63102" rIns="126205" bIns="63102" rtlCol="0" anchor="ctr">
            <a:spAutoFit/>
          </a:bodyPr>
          <a:lstStyle>
            <a:defPPr>
              <a:defRPr lang="en-US"/>
            </a:defPPr>
            <a:lvl1pPr algn="ctr">
              <a:defRPr sz="1200">
                <a:solidFill>
                  <a:schemeClr val="bg1"/>
                </a:solidFill>
                <a:latin typeface="Frutiger Next Pro Light" pitchFamily="34" charset="0"/>
                <a:cs typeface="Calibri" pitchFamily="34" charset="0"/>
              </a:defRPr>
            </a:lvl1p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mn-lt"/>
                <a:ea typeface="+mn-ea"/>
                <a:cs typeface="Frutiger Next Pro Medium"/>
              </a:rPr>
              <a:t>SERVICE</a:t>
            </a:r>
            <a:r>
              <a:rPr lang="en-US" b="1" dirty="0">
                <a:solidFill>
                  <a:srgbClr val="000000"/>
                </a:solidFill>
                <a:latin typeface="+mn-lt"/>
                <a:cs typeface="Frutiger Next Pro Medium"/>
              </a:rPr>
              <a:t> </a:t>
            </a:r>
            <a:r>
              <a:rPr kumimoji="0" lang="en-US" b="1" i="0" u="none" strike="noStrike" kern="1200" cap="none" spc="0" normalizeH="0" baseline="0" noProof="0" dirty="0">
                <a:ln>
                  <a:noFill/>
                </a:ln>
                <a:solidFill>
                  <a:srgbClr val="000000"/>
                </a:solidFill>
                <a:effectLst/>
                <a:uLnTx/>
                <a:uFillTx/>
                <a:latin typeface="+mn-lt"/>
                <a:ea typeface="+mn-ea"/>
                <a:cs typeface="Frutiger Next Pro Medium"/>
              </a:rPr>
              <a:t>&amp; AFTERMARKET</a:t>
            </a:r>
          </a:p>
        </p:txBody>
      </p:sp>
      <p:grpSp>
        <p:nvGrpSpPr>
          <p:cNvPr id="23" name="Group 22">
            <a:extLst>
              <a:ext uri="{FF2B5EF4-FFF2-40B4-BE49-F238E27FC236}">
                <a16:creationId xmlns:a16="http://schemas.microsoft.com/office/drawing/2014/main" id="{A902DDDB-F3DF-41AF-A5A0-03DF0729EE07}"/>
              </a:ext>
            </a:extLst>
          </p:cNvPr>
          <p:cNvGrpSpPr/>
          <p:nvPr/>
        </p:nvGrpSpPr>
        <p:grpSpPr>
          <a:xfrm>
            <a:off x="7286876" y="1770256"/>
            <a:ext cx="543279" cy="543279"/>
            <a:chOff x="7026981" y="2184709"/>
            <a:chExt cx="723105" cy="723105"/>
          </a:xfrm>
        </p:grpSpPr>
        <p:sp>
          <p:nvSpPr>
            <p:cNvPr id="24" name="Oval 23">
              <a:extLst>
                <a:ext uri="{FF2B5EF4-FFF2-40B4-BE49-F238E27FC236}">
                  <a16:creationId xmlns:a16="http://schemas.microsoft.com/office/drawing/2014/main" id="{AFF1F27D-91D8-4201-BDEE-4E975FCF1939}"/>
                </a:ext>
              </a:extLst>
            </p:cNvPr>
            <p:cNvSpPr/>
            <p:nvPr/>
          </p:nvSpPr>
          <p:spPr>
            <a:xfrm>
              <a:off x="7026981" y="2184709"/>
              <a:ext cx="723105" cy="723105"/>
            </a:xfrm>
            <a:prstGeom prst="ellipse">
              <a:avLst/>
            </a:prstGeom>
            <a:solidFill>
              <a:srgbClr val="000000">
                <a:alpha val="8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3F3F3F"/>
                </a:solidFill>
                <a:effectLst/>
                <a:uLnTx/>
                <a:uFillTx/>
                <a:ea typeface="+mn-ea"/>
                <a:cs typeface="+mn-cs"/>
              </a:endParaRPr>
            </a:p>
          </p:txBody>
        </p:sp>
        <p:sp>
          <p:nvSpPr>
            <p:cNvPr id="25" name="Freeform 38">
              <a:extLst>
                <a:ext uri="{FF2B5EF4-FFF2-40B4-BE49-F238E27FC236}">
                  <a16:creationId xmlns:a16="http://schemas.microsoft.com/office/drawing/2014/main" id="{9FD06C92-BE19-4F9C-AF40-F976E5C83DE8}"/>
                </a:ext>
              </a:extLst>
            </p:cNvPr>
            <p:cNvSpPr>
              <a:spLocks noEditPoints="1"/>
            </p:cNvSpPr>
            <p:nvPr/>
          </p:nvSpPr>
          <p:spPr bwMode="auto">
            <a:xfrm>
              <a:off x="7170062" y="2389057"/>
              <a:ext cx="436942" cy="314409"/>
            </a:xfrm>
            <a:custGeom>
              <a:avLst/>
              <a:gdLst>
                <a:gd name="T0" fmla="*/ 267 w 373"/>
                <a:gd name="T1" fmla="*/ 229 h 269"/>
                <a:gd name="T2" fmla="*/ 319 w 373"/>
                <a:gd name="T3" fmla="*/ 192 h 269"/>
                <a:gd name="T4" fmla="*/ 292 w 373"/>
                <a:gd name="T5" fmla="*/ 175 h 269"/>
                <a:gd name="T6" fmla="*/ 280 w 373"/>
                <a:gd name="T7" fmla="*/ 164 h 269"/>
                <a:gd name="T8" fmla="*/ 257 w 373"/>
                <a:gd name="T9" fmla="*/ 163 h 269"/>
                <a:gd name="T10" fmla="*/ 244 w 373"/>
                <a:gd name="T11" fmla="*/ 173 h 269"/>
                <a:gd name="T12" fmla="*/ 216 w 373"/>
                <a:gd name="T13" fmla="*/ 188 h 269"/>
                <a:gd name="T14" fmla="*/ 223 w 373"/>
                <a:gd name="T15" fmla="*/ 219 h 269"/>
                <a:gd name="T16" fmla="*/ 223 w 373"/>
                <a:gd name="T17" fmla="*/ 235 h 269"/>
                <a:gd name="T18" fmla="*/ 239 w 373"/>
                <a:gd name="T19" fmla="*/ 252 h 269"/>
                <a:gd name="T20" fmla="*/ 255 w 373"/>
                <a:gd name="T21" fmla="*/ 255 h 269"/>
                <a:gd name="T22" fmla="*/ 286 w 373"/>
                <a:gd name="T23" fmla="*/ 264 h 269"/>
                <a:gd name="T24" fmla="*/ 303 w 373"/>
                <a:gd name="T25" fmla="*/ 237 h 269"/>
                <a:gd name="T26" fmla="*/ 314 w 373"/>
                <a:gd name="T27" fmla="*/ 225 h 269"/>
                <a:gd name="T28" fmla="*/ 315 w 373"/>
                <a:gd name="T29" fmla="*/ 202 h 269"/>
                <a:gd name="T30" fmla="*/ 230 w 373"/>
                <a:gd name="T31" fmla="*/ 212 h 269"/>
                <a:gd name="T32" fmla="*/ 267 w 373"/>
                <a:gd name="T33" fmla="*/ 248 h 269"/>
                <a:gd name="T34" fmla="*/ 266 w 373"/>
                <a:gd name="T35" fmla="*/ 81 h 269"/>
                <a:gd name="T36" fmla="*/ 318 w 373"/>
                <a:gd name="T37" fmla="*/ 81 h 269"/>
                <a:gd name="T38" fmla="*/ 357 w 373"/>
                <a:gd name="T39" fmla="*/ 99 h 269"/>
                <a:gd name="T40" fmla="*/ 371 w 373"/>
                <a:gd name="T41" fmla="*/ 52 h 269"/>
                <a:gd name="T42" fmla="*/ 330 w 373"/>
                <a:gd name="T43" fmla="*/ 26 h 269"/>
                <a:gd name="T44" fmla="*/ 328 w 373"/>
                <a:gd name="T45" fmla="*/ 5 h 269"/>
                <a:gd name="T46" fmla="*/ 280 w 373"/>
                <a:gd name="T47" fmla="*/ 15 h 269"/>
                <a:gd name="T48" fmla="*/ 256 w 373"/>
                <a:gd name="T49" fmla="*/ 16 h 269"/>
                <a:gd name="T50" fmla="*/ 231 w 373"/>
                <a:gd name="T51" fmla="*/ 40 h 269"/>
                <a:gd name="T52" fmla="*/ 227 w 373"/>
                <a:gd name="T53" fmla="*/ 63 h 269"/>
                <a:gd name="T54" fmla="*/ 213 w 373"/>
                <a:gd name="T55" fmla="*/ 110 h 269"/>
                <a:gd name="T56" fmla="*/ 252 w 373"/>
                <a:gd name="T57" fmla="*/ 135 h 269"/>
                <a:gd name="T58" fmla="*/ 256 w 373"/>
                <a:gd name="T59" fmla="*/ 157 h 269"/>
                <a:gd name="T60" fmla="*/ 304 w 373"/>
                <a:gd name="T61" fmla="*/ 147 h 269"/>
                <a:gd name="T62" fmla="*/ 327 w 373"/>
                <a:gd name="T63" fmla="*/ 146 h 269"/>
                <a:gd name="T64" fmla="*/ 353 w 373"/>
                <a:gd name="T65" fmla="*/ 122 h 269"/>
                <a:gd name="T66" fmla="*/ 292 w 373"/>
                <a:gd name="T67" fmla="*/ 136 h 269"/>
                <a:gd name="T68" fmla="*/ 292 w 373"/>
                <a:gd name="T69" fmla="*/ 26 h 269"/>
                <a:gd name="T70" fmla="*/ 292 w 373"/>
                <a:gd name="T71" fmla="*/ 136 h 269"/>
                <a:gd name="T72" fmla="*/ 120 w 373"/>
                <a:gd name="T73" fmla="*/ 186 h 269"/>
                <a:gd name="T74" fmla="*/ 214 w 373"/>
                <a:gd name="T75" fmla="*/ 165 h 269"/>
                <a:gd name="T76" fmla="*/ 240 w 373"/>
                <a:gd name="T77" fmla="*/ 148 h 269"/>
                <a:gd name="T78" fmla="*/ 197 w 373"/>
                <a:gd name="T79" fmla="*/ 94 h 269"/>
                <a:gd name="T80" fmla="*/ 182 w 373"/>
                <a:gd name="T81" fmla="*/ 64 h 269"/>
                <a:gd name="T82" fmla="*/ 136 w 373"/>
                <a:gd name="T83" fmla="*/ 45 h 269"/>
                <a:gd name="T84" fmla="*/ 103 w 373"/>
                <a:gd name="T85" fmla="*/ 55 h 269"/>
                <a:gd name="T86" fmla="*/ 35 w 373"/>
                <a:gd name="T87" fmla="*/ 64 h 269"/>
                <a:gd name="T88" fmla="*/ 26 w 373"/>
                <a:gd name="T89" fmla="*/ 133 h 269"/>
                <a:gd name="T90" fmla="*/ 16 w 373"/>
                <a:gd name="T91" fmla="*/ 165 h 269"/>
                <a:gd name="T92" fmla="*/ 35 w 373"/>
                <a:gd name="T93" fmla="*/ 211 h 269"/>
                <a:gd name="T94" fmla="*/ 65 w 373"/>
                <a:gd name="T95" fmla="*/ 227 h 269"/>
                <a:gd name="T96" fmla="*/ 103 w 373"/>
                <a:gd name="T97" fmla="*/ 253 h 269"/>
                <a:gd name="T98" fmla="*/ 136 w 373"/>
                <a:gd name="T99" fmla="*/ 243 h 269"/>
                <a:gd name="T100" fmla="*/ 204 w 373"/>
                <a:gd name="T101" fmla="*/ 234 h 269"/>
                <a:gd name="T102" fmla="*/ 212 w 373"/>
                <a:gd name="T103" fmla="*/ 172 h 269"/>
                <a:gd name="T104" fmla="*/ 123 w 373"/>
                <a:gd name="T105" fmla="*/ 226 h 269"/>
                <a:gd name="T106" fmla="*/ 120 w 373"/>
                <a:gd name="T107" fmla="*/ 71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73" h="269">
                  <a:moveTo>
                    <a:pt x="267" y="194"/>
                  </a:moveTo>
                  <a:cubicBezTo>
                    <a:pt x="257" y="194"/>
                    <a:pt x="249" y="202"/>
                    <a:pt x="249" y="212"/>
                  </a:cubicBezTo>
                  <a:cubicBezTo>
                    <a:pt x="249" y="221"/>
                    <a:pt x="257" y="229"/>
                    <a:pt x="267" y="229"/>
                  </a:cubicBezTo>
                  <a:cubicBezTo>
                    <a:pt x="276" y="229"/>
                    <a:pt x="284" y="221"/>
                    <a:pt x="284" y="212"/>
                  </a:cubicBezTo>
                  <a:cubicBezTo>
                    <a:pt x="284" y="202"/>
                    <a:pt x="276" y="194"/>
                    <a:pt x="267" y="194"/>
                  </a:cubicBezTo>
                  <a:close/>
                  <a:moveTo>
                    <a:pt x="319" y="192"/>
                  </a:moveTo>
                  <a:cubicBezTo>
                    <a:pt x="318" y="188"/>
                    <a:pt x="314" y="186"/>
                    <a:pt x="310" y="188"/>
                  </a:cubicBezTo>
                  <a:cubicBezTo>
                    <a:pt x="305" y="189"/>
                    <a:pt x="305" y="189"/>
                    <a:pt x="305" y="189"/>
                  </a:cubicBezTo>
                  <a:cubicBezTo>
                    <a:pt x="302" y="184"/>
                    <a:pt x="297" y="179"/>
                    <a:pt x="292" y="175"/>
                  </a:cubicBezTo>
                  <a:cubicBezTo>
                    <a:pt x="294" y="171"/>
                    <a:pt x="294" y="171"/>
                    <a:pt x="294" y="171"/>
                  </a:cubicBezTo>
                  <a:cubicBezTo>
                    <a:pt x="296" y="167"/>
                    <a:pt x="294" y="162"/>
                    <a:pt x="290" y="161"/>
                  </a:cubicBezTo>
                  <a:cubicBezTo>
                    <a:pt x="287" y="159"/>
                    <a:pt x="282" y="161"/>
                    <a:pt x="280" y="164"/>
                  </a:cubicBezTo>
                  <a:cubicBezTo>
                    <a:pt x="278" y="168"/>
                    <a:pt x="278" y="168"/>
                    <a:pt x="278" y="168"/>
                  </a:cubicBezTo>
                  <a:cubicBezTo>
                    <a:pt x="272" y="167"/>
                    <a:pt x="265" y="166"/>
                    <a:pt x="259" y="168"/>
                  </a:cubicBezTo>
                  <a:cubicBezTo>
                    <a:pt x="257" y="163"/>
                    <a:pt x="257" y="163"/>
                    <a:pt x="257" y="163"/>
                  </a:cubicBezTo>
                  <a:cubicBezTo>
                    <a:pt x="256" y="159"/>
                    <a:pt x="251" y="157"/>
                    <a:pt x="247" y="159"/>
                  </a:cubicBezTo>
                  <a:cubicBezTo>
                    <a:pt x="243" y="160"/>
                    <a:pt x="241" y="165"/>
                    <a:pt x="243" y="168"/>
                  </a:cubicBezTo>
                  <a:cubicBezTo>
                    <a:pt x="244" y="173"/>
                    <a:pt x="244" y="173"/>
                    <a:pt x="244" y="173"/>
                  </a:cubicBezTo>
                  <a:cubicBezTo>
                    <a:pt x="239" y="176"/>
                    <a:pt x="234" y="181"/>
                    <a:pt x="230" y="186"/>
                  </a:cubicBezTo>
                  <a:cubicBezTo>
                    <a:pt x="226" y="184"/>
                    <a:pt x="226" y="184"/>
                    <a:pt x="226" y="184"/>
                  </a:cubicBezTo>
                  <a:cubicBezTo>
                    <a:pt x="222" y="182"/>
                    <a:pt x="217" y="184"/>
                    <a:pt x="216" y="188"/>
                  </a:cubicBezTo>
                  <a:cubicBezTo>
                    <a:pt x="214" y="192"/>
                    <a:pt x="216" y="196"/>
                    <a:pt x="219" y="198"/>
                  </a:cubicBezTo>
                  <a:cubicBezTo>
                    <a:pt x="224" y="200"/>
                    <a:pt x="224" y="200"/>
                    <a:pt x="224" y="200"/>
                  </a:cubicBezTo>
                  <a:cubicBezTo>
                    <a:pt x="222" y="206"/>
                    <a:pt x="221" y="213"/>
                    <a:pt x="223" y="219"/>
                  </a:cubicBezTo>
                  <a:cubicBezTo>
                    <a:pt x="218" y="221"/>
                    <a:pt x="218" y="221"/>
                    <a:pt x="218" y="221"/>
                  </a:cubicBezTo>
                  <a:cubicBezTo>
                    <a:pt x="214" y="222"/>
                    <a:pt x="212" y="227"/>
                    <a:pt x="214" y="231"/>
                  </a:cubicBezTo>
                  <a:cubicBezTo>
                    <a:pt x="215" y="235"/>
                    <a:pt x="220" y="237"/>
                    <a:pt x="223" y="235"/>
                  </a:cubicBezTo>
                  <a:cubicBezTo>
                    <a:pt x="228" y="234"/>
                    <a:pt x="228" y="234"/>
                    <a:pt x="228" y="234"/>
                  </a:cubicBezTo>
                  <a:cubicBezTo>
                    <a:pt x="231" y="240"/>
                    <a:pt x="236" y="244"/>
                    <a:pt x="241" y="248"/>
                  </a:cubicBezTo>
                  <a:cubicBezTo>
                    <a:pt x="239" y="252"/>
                    <a:pt x="239" y="252"/>
                    <a:pt x="239" y="252"/>
                  </a:cubicBezTo>
                  <a:cubicBezTo>
                    <a:pt x="237" y="256"/>
                    <a:pt x="239" y="261"/>
                    <a:pt x="243" y="262"/>
                  </a:cubicBezTo>
                  <a:cubicBezTo>
                    <a:pt x="247" y="264"/>
                    <a:pt x="251" y="262"/>
                    <a:pt x="253" y="259"/>
                  </a:cubicBezTo>
                  <a:cubicBezTo>
                    <a:pt x="255" y="255"/>
                    <a:pt x="255" y="255"/>
                    <a:pt x="255" y="255"/>
                  </a:cubicBezTo>
                  <a:cubicBezTo>
                    <a:pt x="261" y="256"/>
                    <a:pt x="268" y="257"/>
                    <a:pt x="274" y="255"/>
                  </a:cubicBezTo>
                  <a:cubicBezTo>
                    <a:pt x="276" y="260"/>
                    <a:pt x="276" y="260"/>
                    <a:pt x="276" y="260"/>
                  </a:cubicBezTo>
                  <a:cubicBezTo>
                    <a:pt x="277" y="264"/>
                    <a:pt x="282" y="266"/>
                    <a:pt x="286" y="264"/>
                  </a:cubicBezTo>
                  <a:cubicBezTo>
                    <a:pt x="290" y="263"/>
                    <a:pt x="292" y="259"/>
                    <a:pt x="290" y="255"/>
                  </a:cubicBezTo>
                  <a:cubicBezTo>
                    <a:pt x="289" y="250"/>
                    <a:pt x="289" y="250"/>
                    <a:pt x="289" y="250"/>
                  </a:cubicBezTo>
                  <a:cubicBezTo>
                    <a:pt x="295" y="247"/>
                    <a:pt x="299" y="242"/>
                    <a:pt x="303" y="237"/>
                  </a:cubicBezTo>
                  <a:cubicBezTo>
                    <a:pt x="307" y="239"/>
                    <a:pt x="307" y="239"/>
                    <a:pt x="307" y="239"/>
                  </a:cubicBezTo>
                  <a:cubicBezTo>
                    <a:pt x="311" y="241"/>
                    <a:pt x="316" y="239"/>
                    <a:pt x="317" y="235"/>
                  </a:cubicBezTo>
                  <a:cubicBezTo>
                    <a:pt x="319" y="232"/>
                    <a:pt x="318" y="227"/>
                    <a:pt x="314" y="225"/>
                  </a:cubicBezTo>
                  <a:cubicBezTo>
                    <a:pt x="310" y="223"/>
                    <a:pt x="310" y="223"/>
                    <a:pt x="310" y="223"/>
                  </a:cubicBezTo>
                  <a:cubicBezTo>
                    <a:pt x="311" y="217"/>
                    <a:pt x="312" y="210"/>
                    <a:pt x="310" y="204"/>
                  </a:cubicBezTo>
                  <a:cubicBezTo>
                    <a:pt x="315" y="202"/>
                    <a:pt x="315" y="202"/>
                    <a:pt x="315" y="202"/>
                  </a:cubicBezTo>
                  <a:cubicBezTo>
                    <a:pt x="319" y="201"/>
                    <a:pt x="321" y="196"/>
                    <a:pt x="319" y="192"/>
                  </a:cubicBezTo>
                  <a:close/>
                  <a:moveTo>
                    <a:pt x="267" y="248"/>
                  </a:moveTo>
                  <a:cubicBezTo>
                    <a:pt x="247" y="248"/>
                    <a:pt x="230" y="232"/>
                    <a:pt x="230" y="212"/>
                  </a:cubicBezTo>
                  <a:cubicBezTo>
                    <a:pt x="230" y="192"/>
                    <a:pt x="247" y="175"/>
                    <a:pt x="267" y="175"/>
                  </a:cubicBezTo>
                  <a:cubicBezTo>
                    <a:pt x="287" y="175"/>
                    <a:pt x="303" y="192"/>
                    <a:pt x="303" y="212"/>
                  </a:cubicBezTo>
                  <a:cubicBezTo>
                    <a:pt x="303" y="232"/>
                    <a:pt x="287" y="248"/>
                    <a:pt x="267" y="248"/>
                  </a:cubicBezTo>
                  <a:close/>
                  <a:moveTo>
                    <a:pt x="306" y="59"/>
                  </a:moveTo>
                  <a:cubicBezTo>
                    <a:pt x="302" y="56"/>
                    <a:pt x="297" y="55"/>
                    <a:pt x="292" y="55"/>
                  </a:cubicBezTo>
                  <a:cubicBezTo>
                    <a:pt x="277" y="55"/>
                    <a:pt x="266" y="66"/>
                    <a:pt x="266" y="81"/>
                  </a:cubicBezTo>
                  <a:cubicBezTo>
                    <a:pt x="266" y="90"/>
                    <a:pt x="271" y="99"/>
                    <a:pt x="278" y="103"/>
                  </a:cubicBezTo>
                  <a:cubicBezTo>
                    <a:pt x="282" y="106"/>
                    <a:pt x="287" y="107"/>
                    <a:pt x="292" y="107"/>
                  </a:cubicBezTo>
                  <a:cubicBezTo>
                    <a:pt x="306" y="107"/>
                    <a:pt x="318" y="95"/>
                    <a:pt x="318" y="81"/>
                  </a:cubicBezTo>
                  <a:cubicBezTo>
                    <a:pt x="318" y="72"/>
                    <a:pt x="314" y="64"/>
                    <a:pt x="306" y="59"/>
                  </a:cubicBezTo>
                  <a:close/>
                  <a:moveTo>
                    <a:pt x="363" y="102"/>
                  </a:moveTo>
                  <a:cubicBezTo>
                    <a:pt x="357" y="99"/>
                    <a:pt x="357" y="99"/>
                    <a:pt x="357" y="99"/>
                  </a:cubicBezTo>
                  <a:cubicBezTo>
                    <a:pt x="359" y="89"/>
                    <a:pt x="360" y="79"/>
                    <a:pt x="358" y="69"/>
                  </a:cubicBezTo>
                  <a:cubicBezTo>
                    <a:pt x="364" y="67"/>
                    <a:pt x="364" y="67"/>
                    <a:pt x="364" y="67"/>
                  </a:cubicBezTo>
                  <a:cubicBezTo>
                    <a:pt x="370" y="65"/>
                    <a:pt x="373" y="58"/>
                    <a:pt x="371" y="52"/>
                  </a:cubicBezTo>
                  <a:cubicBezTo>
                    <a:pt x="369" y="46"/>
                    <a:pt x="363" y="43"/>
                    <a:pt x="357" y="45"/>
                  </a:cubicBezTo>
                  <a:cubicBezTo>
                    <a:pt x="350" y="48"/>
                    <a:pt x="350" y="48"/>
                    <a:pt x="350" y="48"/>
                  </a:cubicBezTo>
                  <a:cubicBezTo>
                    <a:pt x="345" y="39"/>
                    <a:pt x="338" y="32"/>
                    <a:pt x="330" y="26"/>
                  </a:cubicBezTo>
                  <a:cubicBezTo>
                    <a:pt x="333" y="20"/>
                    <a:pt x="333" y="20"/>
                    <a:pt x="333" y="20"/>
                  </a:cubicBezTo>
                  <a:cubicBezTo>
                    <a:pt x="335" y="16"/>
                    <a:pt x="334" y="11"/>
                    <a:pt x="332" y="8"/>
                  </a:cubicBezTo>
                  <a:cubicBezTo>
                    <a:pt x="331" y="7"/>
                    <a:pt x="329" y="5"/>
                    <a:pt x="328" y="5"/>
                  </a:cubicBezTo>
                  <a:cubicBezTo>
                    <a:pt x="322" y="2"/>
                    <a:pt x="315" y="4"/>
                    <a:pt x="313" y="10"/>
                  </a:cubicBezTo>
                  <a:cubicBezTo>
                    <a:pt x="310" y="16"/>
                    <a:pt x="310" y="16"/>
                    <a:pt x="310" y="16"/>
                  </a:cubicBezTo>
                  <a:cubicBezTo>
                    <a:pt x="300" y="14"/>
                    <a:pt x="290" y="13"/>
                    <a:pt x="280" y="15"/>
                  </a:cubicBezTo>
                  <a:cubicBezTo>
                    <a:pt x="278" y="9"/>
                    <a:pt x="278" y="9"/>
                    <a:pt x="278" y="9"/>
                  </a:cubicBezTo>
                  <a:cubicBezTo>
                    <a:pt x="276" y="3"/>
                    <a:pt x="269" y="0"/>
                    <a:pt x="263" y="2"/>
                  </a:cubicBezTo>
                  <a:cubicBezTo>
                    <a:pt x="257" y="4"/>
                    <a:pt x="254" y="10"/>
                    <a:pt x="256" y="16"/>
                  </a:cubicBezTo>
                  <a:cubicBezTo>
                    <a:pt x="259" y="23"/>
                    <a:pt x="259" y="23"/>
                    <a:pt x="259" y="23"/>
                  </a:cubicBezTo>
                  <a:cubicBezTo>
                    <a:pt x="250" y="28"/>
                    <a:pt x="243" y="35"/>
                    <a:pt x="237" y="43"/>
                  </a:cubicBezTo>
                  <a:cubicBezTo>
                    <a:pt x="231" y="40"/>
                    <a:pt x="231" y="40"/>
                    <a:pt x="231" y="40"/>
                  </a:cubicBezTo>
                  <a:cubicBezTo>
                    <a:pt x="225" y="37"/>
                    <a:pt x="218" y="40"/>
                    <a:pt x="216" y="45"/>
                  </a:cubicBezTo>
                  <a:cubicBezTo>
                    <a:pt x="213" y="51"/>
                    <a:pt x="215" y="58"/>
                    <a:pt x="221" y="60"/>
                  </a:cubicBezTo>
                  <a:cubicBezTo>
                    <a:pt x="227" y="63"/>
                    <a:pt x="227" y="63"/>
                    <a:pt x="227" y="63"/>
                  </a:cubicBezTo>
                  <a:cubicBezTo>
                    <a:pt x="225" y="73"/>
                    <a:pt x="224" y="83"/>
                    <a:pt x="226" y="93"/>
                  </a:cubicBezTo>
                  <a:cubicBezTo>
                    <a:pt x="220" y="95"/>
                    <a:pt x="220" y="95"/>
                    <a:pt x="220" y="95"/>
                  </a:cubicBezTo>
                  <a:cubicBezTo>
                    <a:pt x="214" y="97"/>
                    <a:pt x="211" y="104"/>
                    <a:pt x="213" y="110"/>
                  </a:cubicBezTo>
                  <a:cubicBezTo>
                    <a:pt x="215" y="116"/>
                    <a:pt x="221" y="119"/>
                    <a:pt x="227" y="116"/>
                  </a:cubicBezTo>
                  <a:cubicBezTo>
                    <a:pt x="234" y="114"/>
                    <a:pt x="234" y="114"/>
                    <a:pt x="234" y="114"/>
                  </a:cubicBezTo>
                  <a:cubicBezTo>
                    <a:pt x="238" y="122"/>
                    <a:pt x="245" y="129"/>
                    <a:pt x="252" y="135"/>
                  </a:cubicBezTo>
                  <a:cubicBezTo>
                    <a:pt x="253" y="135"/>
                    <a:pt x="253" y="136"/>
                    <a:pt x="254" y="136"/>
                  </a:cubicBezTo>
                  <a:cubicBezTo>
                    <a:pt x="251" y="142"/>
                    <a:pt x="251" y="142"/>
                    <a:pt x="251" y="142"/>
                  </a:cubicBezTo>
                  <a:cubicBezTo>
                    <a:pt x="248" y="148"/>
                    <a:pt x="251" y="155"/>
                    <a:pt x="256" y="157"/>
                  </a:cubicBezTo>
                  <a:cubicBezTo>
                    <a:pt x="262" y="160"/>
                    <a:pt x="269" y="157"/>
                    <a:pt x="271" y="152"/>
                  </a:cubicBezTo>
                  <a:cubicBezTo>
                    <a:pt x="274" y="146"/>
                    <a:pt x="274" y="146"/>
                    <a:pt x="274" y="146"/>
                  </a:cubicBezTo>
                  <a:cubicBezTo>
                    <a:pt x="284" y="148"/>
                    <a:pt x="294" y="149"/>
                    <a:pt x="304" y="147"/>
                  </a:cubicBezTo>
                  <a:cubicBezTo>
                    <a:pt x="306" y="153"/>
                    <a:pt x="306" y="153"/>
                    <a:pt x="306" y="153"/>
                  </a:cubicBezTo>
                  <a:cubicBezTo>
                    <a:pt x="308" y="159"/>
                    <a:pt x="315" y="162"/>
                    <a:pt x="321" y="160"/>
                  </a:cubicBezTo>
                  <a:cubicBezTo>
                    <a:pt x="327" y="158"/>
                    <a:pt x="330" y="151"/>
                    <a:pt x="327" y="146"/>
                  </a:cubicBezTo>
                  <a:cubicBezTo>
                    <a:pt x="325" y="139"/>
                    <a:pt x="325" y="139"/>
                    <a:pt x="325" y="139"/>
                  </a:cubicBezTo>
                  <a:cubicBezTo>
                    <a:pt x="334" y="134"/>
                    <a:pt x="341" y="127"/>
                    <a:pt x="347" y="119"/>
                  </a:cubicBezTo>
                  <a:cubicBezTo>
                    <a:pt x="353" y="122"/>
                    <a:pt x="353" y="122"/>
                    <a:pt x="353" y="122"/>
                  </a:cubicBezTo>
                  <a:cubicBezTo>
                    <a:pt x="359" y="125"/>
                    <a:pt x="366" y="122"/>
                    <a:pt x="368" y="117"/>
                  </a:cubicBezTo>
                  <a:cubicBezTo>
                    <a:pt x="371" y="111"/>
                    <a:pt x="368" y="104"/>
                    <a:pt x="363" y="102"/>
                  </a:cubicBezTo>
                  <a:close/>
                  <a:moveTo>
                    <a:pt x="292" y="136"/>
                  </a:moveTo>
                  <a:cubicBezTo>
                    <a:pt x="280" y="136"/>
                    <a:pt x="269" y="132"/>
                    <a:pt x="260" y="125"/>
                  </a:cubicBezTo>
                  <a:cubicBezTo>
                    <a:pt x="246" y="116"/>
                    <a:pt x="237" y="99"/>
                    <a:pt x="237" y="81"/>
                  </a:cubicBezTo>
                  <a:cubicBezTo>
                    <a:pt x="237" y="51"/>
                    <a:pt x="262" y="26"/>
                    <a:pt x="292" y="26"/>
                  </a:cubicBezTo>
                  <a:cubicBezTo>
                    <a:pt x="302" y="26"/>
                    <a:pt x="312" y="29"/>
                    <a:pt x="320" y="34"/>
                  </a:cubicBezTo>
                  <a:cubicBezTo>
                    <a:pt x="336" y="43"/>
                    <a:pt x="347" y="61"/>
                    <a:pt x="347" y="81"/>
                  </a:cubicBezTo>
                  <a:cubicBezTo>
                    <a:pt x="347" y="111"/>
                    <a:pt x="322" y="136"/>
                    <a:pt x="292" y="136"/>
                  </a:cubicBezTo>
                  <a:close/>
                  <a:moveTo>
                    <a:pt x="120" y="112"/>
                  </a:moveTo>
                  <a:cubicBezTo>
                    <a:pt x="99" y="112"/>
                    <a:pt x="82" y="128"/>
                    <a:pt x="82" y="149"/>
                  </a:cubicBezTo>
                  <a:cubicBezTo>
                    <a:pt x="82" y="169"/>
                    <a:pt x="99" y="186"/>
                    <a:pt x="120" y="186"/>
                  </a:cubicBezTo>
                  <a:cubicBezTo>
                    <a:pt x="140" y="186"/>
                    <a:pt x="157" y="169"/>
                    <a:pt x="157" y="149"/>
                  </a:cubicBezTo>
                  <a:cubicBezTo>
                    <a:pt x="157" y="128"/>
                    <a:pt x="140" y="112"/>
                    <a:pt x="120" y="112"/>
                  </a:cubicBezTo>
                  <a:close/>
                  <a:moveTo>
                    <a:pt x="214" y="165"/>
                  </a:moveTo>
                  <a:cubicBezTo>
                    <a:pt x="223" y="165"/>
                    <a:pt x="223" y="165"/>
                    <a:pt x="223" y="165"/>
                  </a:cubicBezTo>
                  <a:cubicBezTo>
                    <a:pt x="232" y="165"/>
                    <a:pt x="240" y="158"/>
                    <a:pt x="240" y="149"/>
                  </a:cubicBezTo>
                  <a:cubicBezTo>
                    <a:pt x="240" y="148"/>
                    <a:pt x="240" y="148"/>
                    <a:pt x="240" y="148"/>
                  </a:cubicBezTo>
                  <a:cubicBezTo>
                    <a:pt x="239" y="139"/>
                    <a:pt x="232" y="133"/>
                    <a:pt x="223" y="133"/>
                  </a:cubicBezTo>
                  <a:cubicBezTo>
                    <a:pt x="214" y="133"/>
                    <a:pt x="214" y="133"/>
                    <a:pt x="214" y="133"/>
                  </a:cubicBezTo>
                  <a:cubicBezTo>
                    <a:pt x="211" y="118"/>
                    <a:pt x="206" y="105"/>
                    <a:pt x="197" y="94"/>
                  </a:cubicBezTo>
                  <a:cubicBezTo>
                    <a:pt x="204" y="87"/>
                    <a:pt x="204" y="87"/>
                    <a:pt x="204" y="87"/>
                  </a:cubicBezTo>
                  <a:cubicBezTo>
                    <a:pt x="211" y="80"/>
                    <a:pt x="211" y="70"/>
                    <a:pt x="204" y="64"/>
                  </a:cubicBezTo>
                  <a:cubicBezTo>
                    <a:pt x="198" y="58"/>
                    <a:pt x="188" y="58"/>
                    <a:pt x="182" y="64"/>
                  </a:cubicBezTo>
                  <a:cubicBezTo>
                    <a:pt x="175" y="71"/>
                    <a:pt x="175" y="71"/>
                    <a:pt x="175" y="71"/>
                  </a:cubicBezTo>
                  <a:cubicBezTo>
                    <a:pt x="163" y="63"/>
                    <a:pt x="150" y="57"/>
                    <a:pt x="136" y="55"/>
                  </a:cubicBezTo>
                  <a:cubicBezTo>
                    <a:pt x="136" y="45"/>
                    <a:pt x="136" y="45"/>
                    <a:pt x="136" y="45"/>
                  </a:cubicBezTo>
                  <a:cubicBezTo>
                    <a:pt x="136" y="36"/>
                    <a:pt x="129" y="29"/>
                    <a:pt x="120" y="29"/>
                  </a:cubicBezTo>
                  <a:cubicBezTo>
                    <a:pt x="111" y="29"/>
                    <a:pt x="103" y="36"/>
                    <a:pt x="103" y="45"/>
                  </a:cubicBezTo>
                  <a:cubicBezTo>
                    <a:pt x="103" y="55"/>
                    <a:pt x="103" y="55"/>
                    <a:pt x="103" y="55"/>
                  </a:cubicBezTo>
                  <a:cubicBezTo>
                    <a:pt x="89" y="57"/>
                    <a:pt x="76" y="63"/>
                    <a:pt x="65" y="71"/>
                  </a:cubicBezTo>
                  <a:cubicBezTo>
                    <a:pt x="58" y="64"/>
                    <a:pt x="58" y="64"/>
                    <a:pt x="58" y="64"/>
                  </a:cubicBezTo>
                  <a:cubicBezTo>
                    <a:pt x="51" y="58"/>
                    <a:pt x="41" y="58"/>
                    <a:pt x="35" y="64"/>
                  </a:cubicBezTo>
                  <a:cubicBezTo>
                    <a:pt x="28" y="70"/>
                    <a:pt x="28" y="80"/>
                    <a:pt x="35" y="87"/>
                  </a:cubicBezTo>
                  <a:cubicBezTo>
                    <a:pt x="42" y="94"/>
                    <a:pt x="42" y="94"/>
                    <a:pt x="42" y="94"/>
                  </a:cubicBezTo>
                  <a:cubicBezTo>
                    <a:pt x="34" y="105"/>
                    <a:pt x="28" y="118"/>
                    <a:pt x="26" y="133"/>
                  </a:cubicBezTo>
                  <a:cubicBezTo>
                    <a:pt x="16" y="133"/>
                    <a:pt x="16" y="133"/>
                    <a:pt x="16" y="133"/>
                  </a:cubicBezTo>
                  <a:cubicBezTo>
                    <a:pt x="7" y="133"/>
                    <a:pt x="0" y="140"/>
                    <a:pt x="0" y="149"/>
                  </a:cubicBezTo>
                  <a:cubicBezTo>
                    <a:pt x="0" y="158"/>
                    <a:pt x="7" y="165"/>
                    <a:pt x="16" y="165"/>
                  </a:cubicBezTo>
                  <a:cubicBezTo>
                    <a:pt x="26" y="165"/>
                    <a:pt x="26" y="165"/>
                    <a:pt x="26" y="165"/>
                  </a:cubicBezTo>
                  <a:cubicBezTo>
                    <a:pt x="28" y="179"/>
                    <a:pt x="34" y="192"/>
                    <a:pt x="42" y="204"/>
                  </a:cubicBezTo>
                  <a:cubicBezTo>
                    <a:pt x="35" y="211"/>
                    <a:pt x="35" y="211"/>
                    <a:pt x="35" y="211"/>
                  </a:cubicBezTo>
                  <a:cubicBezTo>
                    <a:pt x="28" y="217"/>
                    <a:pt x="28" y="227"/>
                    <a:pt x="35" y="234"/>
                  </a:cubicBezTo>
                  <a:cubicBezTo>
                    <a:pt x="41" y="240"/>
                    <a:pt x="51" y="240"/>
                    <a:pt x="58" y="234"/>
                  </a:cubicBezTo>
                  <a:cubicBezTo>
                    <a:pt x="65" y="227"/>
                    <a:pt x="65" y="227"/>
                    <a:pt x="65" y="227"/>
                  </a:cubicBezTo>
                  <a:cubicBezTo>
                    <a:pt x="72" y="232"/>
                    <a:pt x="81" y="236"/>
                    <a:pt x="90" y="239"/>
                  </a:cubicBezTo>
                  <a:cubicBezTo>
                    <a:pt x="94" y="241"/>
                    <a:pt x="99" y="242"/>
                    <a:pt x="103" y="243"/>
                  </a:cubicBezTo>
                  <a:cubicBezTo>
                    <a:pt x="103" y="253"/>
                    <a:pt x="103" y="253"/>
                    <a:pt x="103" y="253"/>
                  </a:cubicBezTo>
                  <a:cubicBezTo>
                    <a:pt x="103" y="262"/>
                    <a:pt x="111" y="269"/>
                    <a:pt x="120" y="269"/>
                  </a:cubicBezTo>
                  <a:cubicBezTo>
                    <a:pt x="129" y="269"/>
                    <a:pt x="136" y="262"/>
                    <a:pt x="136" y="253"/>
                  </a:cubicBezTo>
                  <a:cubicBezTo>
                    <a:pt x="136" y="243"/>
                    <a:pt x="136" y="243"/>
                    <a:pt x="136" y="243"/>
                  </a:cubicBezTo>
                  <a:cubicBezTo>
                    <a:pt x="150" y="240"/>
                    <a:pt x="163" y="235"/>
                    <a:pt x="175" y="227"/>
                  </a:cubicBezTo>
                  <a:cubicBezTo>
                    <a:pt x="182" y="234"/>
                    <a:pt x="182" y="234"/>
                    <a:pt x="182" y="234"/>
                  </a:cubicBezTo>
                  <a:cubicBezTo>
                    <a:pt x="188" y="240"/>
                    <a:pt x="198" y="240"/>
                    <a:pt x="204" y="234"/>
                  </a:cubicBezTo>
                  <a:cubicBezTo>
                    <a:pt x="211" y="227"/>
                    <a:pt x="211" y="217"/>
                    <a:pt x="204" y="211"/>
                  </a:cubicBezTo>
                  <a:cubicBezTo>
                    <a:pt x="197" y="204"/>
                    <a:pt x="197" y="204"/>
                    <a:pt x="197" y="204"/>
                  </a:cubicBezTo>
                  <a:cubicBezTo>
                    <a:pt x="204" y="194"/>
                    <a:pt x="209" y="184"/>
                    <a:pt x="212" y="172"/>
                  </a:cubicBezTo>
                  <a:cubicBezTo>
                    <a:pt x="213" y="170"/>
                    <a:pt x="213" y="167"/>
                    <a:pt x="214" y="165"/>
                  </a:cubicBezTo>
                  <a:close/>
                  <a:moveTo>
                    <a:pt x="183" y="194"/>
                  </a:moveTo>
                  <a:cubicBezTo>
                    <a:pt x="169" y="213"/>
                    <a:pt x="148" y="225"/>
                    <a:pt x="123" y="226"/>
                  </a:cubicBezTo>
                  <a:cubicBezTo>
                    <a:pt x="122" y="226"/>
                    <a:pt x="121" y="226"/>
                    <a:pt x="120" y="226"/>
                  </a:cubicBezTo>
                  <a:cubicBezTo>
                    <a:pt x="77" y="226"/>
                    <a:pt x="42" y="192"/>
                    <a:pt x="42" y="149"/>
                  </a:cubicBezTo>
                  <a:cubicBezTo>
                    <a:pt x="42" y="106"/>
                    <a:pt x="77" y="71"/>
                    <a:pt x="120" y="71"/>
                  </a:cubicBezTo>
                  <a:cubicBezTo>
                    <a:pt x="162" y="71"/>
                    <a:pt x="197" y="106"/>
                    <a:pt x="197" y="149"/>
                  </a:cubicBezTo>
                  <a:cubicBezTo>
                    <a:pt x="197" y="166"/>
                    <a:pt x="192" y="181"/>
                    <a:pt x="183" y="19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ea typeface="+mn-ea"/>
                <a:cs typeface="+mn-cs"/>
              </a:endParaRPr>
            </a:p>
          </p:txBody>
        </p:sp>
      </p:grpSp>
      <p:grpSp>
        <p:nvGrpSpPr>
          <p:cNvPr id="26" name="Group 25">
            <a:extLst>
              <a:ext uri="{FF2B5EF4-FFF2-40B4-BE49-F238E27FC236}">
                <a16:creationId xmlns:a16="http://schemas.microsoft.com/office/drawing/2014/main" id="{C55C5601-63D3-458B-83A9-B1B9141DDB47}"/>
              </a:ext>
            </a:extLst>
          </p:cNvPr>
          <p:cNvGrpSpPr/>
          <p:nvPr/>
        </p:nvGrpSpPr>
        <p:grpSpPr>
          <a:xfrm>
            <a:off x="6286556" y="2851782"/>
            <a:ext cx="2543919" cy="2593689"/>
            <a:chOff x="616136" y="2021032"/>
            <a:chExt cx="3097937" cy="2133828"/>
          </a:xfrm>
        </p:grpSpPr>
        <p:sp>
          <p:nvSpPr>
            <p:cNvPr id="27" name="TextBox 26">
              <a:extLst>
                <a:ext uri="{FF2B5EF4-FFF2-40B4-BE49-F238E27FC236}">
                  <a16:creationId xmlns:a16="http://schemas.microsoft.com/office/drawing/2014/main" id="{AE088332-3E1C-4684-8EA3-1174717BBBCE}"/>
                </a:ext>
              </a:extLst>
            </p:cNvPr>
            <p:cNvSpPr txBox="1"/>
            <p:nvPr/>
          </p:nvSpPr>
          <p:spPr>
            <a:xfrm>
              <a:off x="616136" y="2433047"/>
              <a:ext cx="3097937" cy="172181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Identify opportunities to transition portion of the service parts portfolio to AM</a:t>
              </a:r>
            </a:p>
            <a:p>
              <a:pPr marL="285750" marR="0" lvl="0" indent="-2857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Develop business case including risk analysis, cost improvements, and customer impact</a:t>
              </a:r>
            </a:p>
            <a:p>
              <a:pPr marL="285750" marR="0" lvl="0" indent="-2857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Redesign service and aftermarket processes to capture capital and cost savings</a:t>
              </a:r>
            </a:p>
            <a:p>
              <a:pPr marL="285750" marR="0" lvl="0" indent="-2857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Implement AM in the service supply base</a:t>
              </a:r>
            </a:p>
          </p:txBody>
        </p:sp>
        <p:sp>
          <p:nvSpPr>
            <p:cNvPr id="28" name="TextBox 27">
              <a:extLst>
                <a:ext uri="{FF2B5EF4-FFF2-40B4-BE49-F238E27FC236}">
                  <a16:creationId xmlns:a16="http://schemas.microsoft.com/office/drawing/2014/main" id="{F0BA6F8A-8DA8-4CC7-8804-34E8AD8AADD5}"/>
                </a:ext>
              </a:extLst>
            </p:cNvPr>
            <p:cNvSpPr txBox="1"/>
            <p:nvPr/>
          </p:nvSpPr>
          <p:spPr>
            <a:xfrm>
              <a:off x="787887" y="2021032"/>
              <a:ext cx="2785575" cy="35449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1"/>
                  </a:solidFill>
                  <a:effectLst/>
                  <a:uLnTx/>
                  <a:uFillTx/>
                  <a:ea typeface="+mn-ea"/>
                  <a:cs typeface="+mn-cs"/>
                </a:rPr>
                <a:t>Use AM to Address Pain Points in Service</a:t>
              </a:r>
            </a:p>
          </p:txBody>
        </p:sp>
      </p:grpSp>
      <p:sp>
        <p:nvSpPr>
          <p:cNvPr id="29" name="TextBox 28">
            <a:extLst>
              <a:ext uri="{FF2B5EF4-FFF2-40B4-BE49-F238E27FC236}">
                <a16:creationId xmlns:a16="http://schemas.microsoft.com/office/drawing/2014/main" id="{FF408D2B-FA0E-4DEF-BCC9-2B6016DB30D8}"/>
              </a:ext>
            </a:extLst>
          </p:cNvPr>
          <p:cNvSpPr txBox="1"/>
          <p:nvPr/>
        </p:nvSpPr>
        <p:spPr>
          <a:xfrm>
            <a:off x="8637055" y="2112069"/>
            <a:ext cx="3286080" cy="312102"/>
          </a:xfrm>
          <a:prstGeom prst="rect">
            <a:avLst/>
          </a:prstGeom>
          <a:noFill/>
        </p:spPr>
        <p:txBody>
          <a:bodyPr wrap="square" lIns="126205" tIns="63102" rIns="126205" bIns="63102" rtlCol="0" anchor="ctr">
            <a:spAutoFit/>
          </a:bodyPr>
          <a:lstStyle>
            <a:defPPr>
              <a:defRPr lang="en-US"/>
            </a:defPPr>
            <a:lvl1pPr algn="ctr">
              <a:defRPr sz="1200">
                <a:solidFill>
                  <a:schemeClr val="bg1"/>
                </a:solidFill>
                <a:latin typeface="Frutiger Next Pro Light" pitchFamily="34" charset="0"/>
                <a:cs typeface="Calibri" pitchFamily="34" charset="0"/>
              </a:defRPr>
            </a:lvl1p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mn-lt"/>
                <a:ea typeface="+mn-ea"/>
                <a:cs typeface="Frutiger Next Pro Medium"/>
              </a:rPr>
              <a:t>PRODUCTION</a:t>
            </a:r>
            <a:endParaRPr kumimoji="0" lang="en-US" sz="1000" b="0" i="0" u="none" strike="noStrike" kern="1200" cap="none" spc="0" normalizeH="0" baseline="0" noProof="0" dirty="0">
              <a:ln>
                <a:noFill/>
              </a:ln>
              <a:solidFill>
                <a:srgbClr val="000000"/>
              </a:solidFill>
              <a:effectLst/>
              <a:uLnTx/>
              <a:uFillTx/>
              <a:latin typeface="+mn-lt"/>
              <a:ea typeface="+mn-ea"/>
              <a:cs typeface="Frutiger Next Pro Medium"/>
            </a:endParaRPr>
          </a:p>
        </p:txBody>
      </p:sp>
      <p:grpSp>
        <p:nvGrpSpPr>
          <p:cNvPr id="30" name="Group 29">
            <a:extLst>
              <a:ext uri="{FF2B5EF4-FFF2-40B4-BE49-F238E27FC236}">
                <a16:creationId xmlns:a16="http://schemas.microsoft.com/office/drawing/2014/main" id="{826B58C0-BF6C-4DF4-B807-10E64A441355}"/>
              </a:ext>
            </a:extLst>
          </p:cNvPr>
          <p:cNvGrpSpPr/>
          <p:nvPr/>
        </p:nvGrpSpPr>
        <p:grpSpPr>
          <a:xfrm>
            <a:off x="9008136" y="2551009"/>
            <a:ext cx="2543919" cy="2593688"/>
            <a:chOff x="616136" y="2021032"/>
            <a:chExt cx="3097937" cy="2133827"/>
          </a:xfrm>
        </p:grpSpPr>
        <p:sp>
          <p:nvSpPr>
            <p:cNvPr id="31" name="TextBox 30">
              <a:extLst>
                <a:ext uri="{FF2B5EF4-FFF2-40B4-BE49-F238E27FC236}">
                  <a16:creationId xmlns:a16="http://schemas.microsoft.com/office/drawing/2014/main" id="{1301FA22-2AA7-461C-9553-12F56255CC63}"/>
                </a:ext>
              </a:extLst>
            </p:cNvPr>
            <p:cNvSpPr txBox="1"/>
            <p:nvPr/>
          </p:nvSpPr>
          <p:spPr>
            <a:xfrm>
              <a:off x="616136" y="2433046"/>
              <a:ext cx="3097937" cy="172181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Identify candidate parts to transition final production to AM</a:t>
              </a:r>
            </a:p>
            <a:p>
              <a:pPr marL="285750" marR="0" lvl="0" indent="-2857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Establish the business case process (value vs cost) to incorporate AM into production</a:t>
              </a:r>
            </a:p>
            <a:p>
              <a:pPr marL="285750" marR="0" lvl="0" indent="-2857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Work with established suppliers to fully integrate AM capabilities across the supply chain</a:t>
              </a:r>
            </a:p>
            <a:p>
              <a:pPr marL="285750" marR="0" lvl="0" indent="-2857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ea typeface="+mn-ea"/>
                  <a:cs typeface="+mn-cs"/>
                </a:rPr>
                <a:t>Execute AM capabilities, scaling according to AM defined business processes</a:t>
              </a:r>
            </a:p>
          </p:txBody>
        </p:sp>
        <p:sp>
          <p:nvSpPr>
            <p:cNvPr id="32" name="TextBox 31">
              <a:extLst>
                <a:ext uri="{FF2B5EF4-FFF2-40B4-BE49-F238E27FC236}">
                  <a16:creationId xmlns:a16="http://schemas.microsoft.com/office/drawing/2014/main" id="{49D1A304-2B6F-4516-A3FE-F9AB616D3B10}"/>
                </a:ext>
              </a:extLst>
            </p:cNvPr>
            <p:cNvSpPr txBox="1"/>
            <p:nvPr/>
          </p:nvSpPr>
          <p:spPr>
            <a:xfrm>
              <a:off x="686441" y="2021032"/>
              <a:ext cx="2957326" cy="35449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1"/>
                  </a:solidFill>
                  <a:effectLst/>
                  <a:uLnTx/>
                  <a:uFillTx/>
                  <a:ea typeface="+mn-ea"/>
                  <a:cs typeface="+mn-cs"/>
                </a:rPr>
                <a:t>Proactively Use AM to Manage Supply Chain Risk</a:t>
              </a:r>
            </a:p>
          </p:txBody>
        </p:sp>
      </p:grpSp>
      <p:grpSp>
        <p:nvGrpSpPr>
          <p:cNvPr id="33" name="Group 32">
            <a:extLst>
              <a:ext uri="{FF2B5EF4-FFF2-40B4-BE49-F238E27FC236}">
                <a16:creationId xmlns:a16="http://schemas.microsoft.com/office/drawing/2014/main" id="{5FEC5F49-39BC-4A03-B14C-B641759179FD}"/>
              </a:ext>
            </a:extLst>
          </p:cNvPr>
          <p:cNvGrpSpPr/>
          <p:nvPr/>
        </p:nvGrpSpPr>
        <p:grpSpPr>
          <a:xfrm>
            <a:off x="1858714" y="2434606"/>
            <a:ext cx="543279" cy="543279"/>
            <a:chOff x="1647427" y="2052796"/>
            <a:chExt cx="723105" cy="723105"/>
          </a:xfrm>
        </p:grpSpPr>
        <p:sp>
          <p:nvSpPr>
            <p:cNvPr id="34" name="Oval 33">
              <a:extLst>
                <a:ext uri="{FF2B5EF4-FFF2-40B4-BE49-F238E27FC236}">
                  <a16:creationId xmlns:a16="http://schemas.microsoft.com/office/drawing/2014/main" id="{9A8920BC-BD04-470D-93F1-DDB3EF273A62}"/>
                </a:ext>
              </a:extLst>
            </p:cNvPr>
            <p:cNvSpPr/>
            <p:nvPr/>
          </p:nvSpPr>
          <p:spPr>
            <a:xfrm>
              <a:off x="1647427" y="2052796"/>
              <a:ext cx="723105" cy="723105"/>
            </a:xfrm>
            <a:prstGeom prst="ellipse">
              <a:avLst/>
            </a:prstGeom>
            <a:solidFill>
              <a:srgbClr val="000000">
                <a:alpha val="8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3F3F3F"/>
                </a:solidFill>
                <a:effectLst/>
                <a:uLnTx/>
                <a:uFillTx/>
                <a:ea typeface="+mn-ea"/>
                <a:cs typeface="+mn-cs"/>
              </a:endParaRPr>
            </a:p>
          </p:txBody>
        </p:sp>
        <p:sp>
          <p:nvSpPr>
            <p:cNvPr id="35" name="Freeform 659">
              <a:extLst>
                <a:ext uri="{FF2B5EF4-FFF2-40B4-BE49-F238E27FC236}">
                  <a16:creationId xmlns:a16="http://schemas.microsoft.com/office/drawing/2014/main" id="{2EE25AE7-7496-4BF3-8563-3A47A58A9BAE}"/>
                </a:ext>
              </a:extLst>
            </p:cNvPr>
            <p:cNvSpPr>
              <a:spLocks noEditPoints="1"/>
            </p:cNvSpPr>
            <p:nvPr/>
          </p:nvSpPr>
          <p:spPr bwMode="auto">
            <a:xfrm>
              <a:off x="1822489" y="2290022"/>
              <a:ext cx="372980" cy="248653"/>
            </a:xfrm>
            <a:custGeom>
              <a:avLst/>
              <a:gdLst>
                <a:gd name="T0" fmla="*/ 288 w 320"/>
                <a:gd name="T1" fmla="*/ 64 h 213"/>
                <a:gd name="T2" fmla="*/ 234 w 320"/>
                <a:gd name="T3" fmla="*/ 64 h 213"/>
                <a:gd name="T4" fmla="*/ 234 w 320"/>
                <a:gd name="T5" fmla="*/ 10 h 213"/>
                <a:gd name="T6" fmla="*/ 224 w 320"/>
                <a:gd name="T7" fmla="*/ 0 h 213"/>
                <a:gd name="T8" fmla="*/ 10 w 320"/>
                <a:gd name="T9" fmla="*/ 0 h 213"/>
                <a:gd name="T10" fmla="*/ 0 w 320"/>
                <a:gd name="T11" fmla="*/ 10 h 213"/>
                <a:gd name="T12" fmla="*/ 0 w 320"/>
                <a:gd name="T13" fmla="*/ 181 h 213"/>
                <a:gd name="T14" fmla="*/ 10 w 320"/>
                <a:gd name="T15" fmla="*/ 192 h 213"/>
                <a:gd name="T16" fmla="*/ 34 w 320"/>
                <a:gd name="T17" fmla="*/ 192 h 213"/>
                <a:gd name="T18" fmla="*/ 64 w 320"/>
                <a:gd name="T19" fmla="*/ 213 h 213"/>
                <a:gd name="T20" fmla="*/ 94 w 320"/>
                <a:gd name="T21" fmla="*/ 192 h 213"/>
                <a:gd name="T22" fmla="*/ 215 w 320"/>
                <a:gd name="T23" fmla="*/ 192 h 213"/>
                <a:gd name="T24" fmla="*/ 245 w 320"/>
                <a:gd name="T25" fmla="*/ 213 h 213"/>
                <a:gd name="T26" fmla="*/ 275 w 320"/>
                <a:gd name="T27" fmla="*/ 192 h 213"/>
                <a:gd name="T28" fmla="*/ 309 w 320"/>
                <a:gd name="T29" fmla="*/ 192 h 213"/>
                <a:gd name="T30" fmla="*/ 320 w 320"/>
                <a:gd name="T31" fmla="*/ 181 h 213"/>
                <a:gd name="T32" fmla="*/ 320 w 320"/>
                <a:gd name="T33" fmla="*/ 96 h 213"/>
                <a:gd name="T34" fmla="*/ 288 w 320"/>
                <a:gd name="T35" fmla="*/ 64 h 213"/>
                <a:gd name="T36" fmla="*/ 64 w 320"/>
                <a:gd name="T37" fmla="*/ 192 h 213"/>
                <a:gd name="T38" fmla="*/ 53 w 320"/>
                <a:gd name="T39" fmla="*/ 181 h 213"/>
                <a:gd name="T40" fmla="*/ 64 w 320"/>
                <a:gd name="T41" fmla="*/ 170 h 213"/>
                <a:gd name="T42" fmla="*/ 74 w 320"/>
                <a:gd name="T43" fmla="*/ 181 h 213"/>
                <a:gd name="T44" fmla="*/ 64 w 320"/>
                <a:gd name="T45" fmla="*/ 192 h 213"/>
                <a:gd name="T46" fmla="*/ 245 w 320"/>
                <a:gd name="T47" fmla="*/ 192 h 213"/>
                <a:gd name="T48" fmla="*/ 234 w 320"/>
                <a:gd name="T49" fmla="*/ 181 h 213"/>
                <a:gd name="T50" fmla="*/ 245 w 320"/>
                <a:gd name="T51" fmla="*/ 170 h 213"/>
                <a:gd name="T52" fmla="*/ 256 w 320"/>
                <a:gd name="T53" fmla="*/ 181 h 213"/>
                <a:gd name="T54" fmla="*/ 245 w 320"/>
                <a:gd name="T55" fmla="*/ 192 h 213"/>
                <a:gd name="T56" fmla="*/ 298 w 320"/>
                <a:gd name="T57" fmla="*/ 170 h 213"/>
                <a:gd name="T58" fmla="*/ 275 w 320"/>
                <a:gd name="T59" fmla="*/ 170 h 213"/>
                <a:gd name="T60" fmla="*/ 245 w 320"/>
                <a:gd name="T61" fmla="*/ 149 h 213"/>
                <a:gd name="T62" fmla="*/ 215 w 320"/>
                <a:gd name="T63" fmla="*/ 170 h 213"/>
                <a:gd name="T64" fmla="*/ 94 w 320"/>
                <a:gd name="T65" fmla="*/ 170 h 213"/>
                <a:gd name="T66" fmla="*/ 64 w 320"/>
                <a:gd name="T67" fmla="*/ 149 h 213"/>
                <a:gd name="T68" fmla="*/ 34 w 320"/>
                <a:gd name="T69" fmla="*/ 170 h 213"/>
                <a:gd name="T70" fmla="*/ 21 w 320"/>
                <a:gd name="T71" fmla="*/ 170 h 213"/>
                <a:gd name="T72" fmla="*/ 21 w 320"/>
                <a:gd name="T73" fmla="*/ 21 h 213"/>
                <a:gd name="T74" fmla="*/ 213 w 320"/>
                <a:gd name="T75" fmla="*/ 21 h 213"/>
                <a:gd name="T76" fmla="*/ 213 w 320"/>
                <a:gd name="T77" fmla="*/ 117 h 213"/>
                <a:gd name="T78" fmla="*/ 224 w 320"/>
                <a:gd name="T79" fmla="*/ 128 h 213"/>
                <a:gd name="T80" fmla="*/ 234 w 320"/>
                <a:gd name="T81" fmla="*/ 117 h 213"/>
                <a:gd name="T82" fmla="*/ 234 w 320"/>
                <a:gd name="T83" fmla="*/ 85 h 213"/>
                <a:gd name="T84" fmla="*/ 288 w 320"/>
                <a:gd name="T85" fmla="*/ 85 h 213"/>
                <a:gd name="T86" fmla="*/ 298 w 320"/>
                <a:gd name="T87" fmla="*/ 96 h 213"/>
                <a:gd name="T88" fmla="*/ 298 w 320"/>
                <a:gd name="T89" fmla="*/ 17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0" h="213">
                  <a:moveTo>
                    <a:pt x="288" y="64"/>
                  </a:moveTo>
                  <a:cubicBezTo>
                    <a:pt x="234" y="64"/>
                    <a:pt x="234" y="64"/>
                    <a:pt x="234" y="64"/>
                  </a:cubicBezTo>
                  <a:cubicBezTo>
                    <a:pt x="234" y="10"/>
                    <a:pt x="234" y="10"/>
                    <a:pt x="234" y="10"/>
                  </a:cubicBezTo>
                  <a:cubicBezTo>
                    <a:pt x="234" y="4"/>
                    <a:pt x="230" y="0"/>
                    <a:pt x="224" y="0"/>
                  </a:cubicBezTo>
                  <a:cubicBezTo>
                    <a:pt x="10" y="0"/>
                    <a:pt x="10" y="0"/>
                    <a:pt x="10" y="0"/>
                  </a:cubicBezTo>
                  <a:cubicBezTo>
                    <a:pt x="4" y="0"/>
                    <a:pt x="0" y="4"/>
                    <a:pt x="0" y="10"/>
                  </a:cubicBezTo>
                  <a:cubicBezTo>
                    <a:pt x="0" y="181"/>
                    <a:pt x="0" y="181"/>
                    <a:pt x="0" y="181"/>
                  </a:cubicBezTo>
                  <a:cubicBezTo>
                    <a:pt x="0" y="187"/>
                    <a:pt x="4" y="192"/>
                    <a:pt x="10" y="192"/>
                  </a:cubicBezTo>
                  <a:cubicBezTo>
                    <a:pt x="34" y="192"/>
                    <a:pt x="34" y="192"/>
                    <a:pt x="34" y="192"/>
                  </a:cubicBezTo>
                  <a:cubicBezTo>
                    <a:pt x="38" y="204"/>
                    <a:pt x="50" y="213"/>
                    <a:pt x="64" y="213"/>
                  </a:cubicBezTo>
                  <a:cubicBezTo>
                    <a:pt x="78" y="213"/>
                    <a:pt x="89" y="204"/>
                    <a:pt x="94" y="192"/>
                  </a:cubicBezTo>
                  <a:cubicBezTo>
                    <a:pt x="215" y="192"/>
                    <a:pt x="215" y="192"/>
                    <a:pt x="215" y="192"/>
                  </a:cubicBezTo>
                  <a:cubicBezTo>
                    <a:pt x="219" y="204"/>
                    <a:pt x="231" y="213"/>
                    <a:pt x="245" y="213"/>
                  </a:cubicBezTo>
                  <a:cubicBezTo>
                    <a:pt x="259" y="213"/>
                    <a:pt x="271" y="204"/>
                    <a:pt x="275" y="192"/>
                  </a:cubicBezTo>
                  <a:cubicBezTo>
                    <a:pt x="309" y="192"/>
                    <a:pt x="309" y="192"/>
                    <a:pt x="309" y="192"/>
                  </a:cubicBezTo>
                  <a:cubicBezTo>
                    <a:pt x="315" y="192"/>
                    <a:pt x="320" y="187"/>
                    <a:pt x="320" y="181"/>
                  </a:cubicBezTo>
                  <a:cubicBezTo>
                    <a:pt x="320" y="96"/>
                    <a:pt x="320" y="96"/>
                    <a:pt x="320" y="96"/>
                  </a:cubicBezTo>
                  <a:cubicBezTo>
                    <a:pt x="320" y="78"/>
                    <a:pt x="305" y="64"/>
                    <a:pt x="288" y="64"/>
                  </a:cubicBezTo>
                  <a:close/>
                  <a:moveTo>
                    <a:pt x="64" y="192"/>
                  </a:moveTo>
                  <a:cubicBezTo>
                    <a:pt x="58" y="192"/>
                    <a:pt x="53" y="187"/>
                    <a:pt x="53" y="181"/>
                  </a:cubicBezTo>
                  <a:cubicBezTo>
                    <a:pt x="53" y="175"/>
                    <a:pt x="58" y="170"/>
                    <a:pt x="64" y="170"/>
                  </a:cubicBezTo>
                  <a:cubicBezTo>
                    <a:pt x="70" y="170"/>
                    <a:pt x="74" y="175"/>
                    <a:pt x="74" y="181"/>
                  </a:cubicBezTo>
                  <a:cubicBezTo>
                    <a:pt x="74" y="187"/>
                    <a:pt x="70" y="192"/>
                    <a:pt x="64" y="192"/>
                  </a:cubicBezTo>
                  <a:close/>
                  <a:moveTo>
                    <a:pt x="245" y="192"/>
                  </a:moveTo>
                  <a:cubicBezTo>
                    <a:pt x="239" y="192"/>
                    <a:pt x="234" y="187"/>
                    <a:pt x="234" y="181"/>
                  </a:cubicBezTo>
                  <a:cubicBezTo>
                    <a:pt x="234" y="175"/>
                    <a:pt x="239" y="170"/>
                    <a:pt x="245" y="170"/>
                  </a:cubicBezTo>
                  <a:cubicBezTo>
                    <a:pt x="251" y="170"/>
                    <a:pt x="256" y="175"/>
                    <a:pt x="256" y="181"/>
                  </a:cubicBezTo>
                  <a:cubicBezTo>
                    <a:pt x="256" y="187"/>
                    <a:pt x="251" y="192"/>
                    <a:pt x="245" y="192"/>
                  </a:cubicBezTo>
                  <a:close/>
                  <a:moveTo>
                    <a:pt x="298" y="170"/>
                  </a:moveTo>
                  <a:cubicBezTo>
                    <a:pt x="275" y="170"/>
                    <a:pt x="275" y="170"/>
                    <a:pt x="275" y="170"/>
                  </a:cubicBezTo>
                  <a:cubicBezTo>
                    <a:pt x="271" y="158"/>
                    <a:pt x="259" y="149"/>
                    <a:pt x="245" y="149"/>
                  </a:cubicBezTo>
                  <a:cubicBezTo>
                    <a:pt x="231" y="149"/>
                    <a:pt x="219" y="158"/>
                    <a:pt x="215" y="170"/>
                  </a:cubicBezTo>
                  <a:cubicBezTo>
                    <a:pt x="94" y="170"/>
                    <a:pt x="94" y="170"/>
                    <a:pt x="94" y="170"/>
                  </a:cubicBezTo>
                  <a:cubicBezTo>
                    <a:pt x="89" y="158"/>
                    <a:pt x="78" y="149"/>
                    <a:pt x="64" y="149"/>
                  </a:cubicBezTo>
                  <a:cubicBezTo>
                    <a:pt x="50" y="149"/>
                    <a:pt x="38" y="158"/>
                    <a:pt x="34" y="170"/>
                  </a:cubicBezTo>
                  <a:cubicBezTo>
                    <a:pt x="21" y="170"/>
                    <a:pt x="21" y="170"/>
                    <a:pt x="21" y="170"/>
                  </a:cubicBezTo>
                  <a:cubicBezTo>
                    <a:pt x="21" y="21"/>
                    <a:pt x="21" y="21"/>
                    <a:pt x="21" y="21"/>
                  </a:cubicBezTo>
                  <a:cubicBezTo>
                    <a:pt x="213" y="21"/>
                    <a:pt x="213" y="21"/>
                    <a:pt x="213" y="21"/>
                  </a:cubicBezTo>
                  <a:cubicBezTo>
                    <a:pt x="213" y="117"/>
                    <a:pt x="213" y="117"/>
                    <a:pt x="213" y="117"/>
                  </a:cubicBezTo>
                  <a:cubicBezTo>
                    <a:pt x="213" y="123"/>
                    <a:pt x="218" y="128"/>
                    <a:pt x="224" y="128"/>
                  </a:cubicBezTo>
                  <a:cubicBezTo>
                    <a:pt x="230" y="128"/>
                    <a:pt x="234" y="123"/>
                    <a:pt x="234" y="117"/>
                  </a:cubicBezTo>
                  <a:cubicBezTo>
                    <a:pt x="234" y="85"/>
                    <a:pt x="234" y="85"/>
                    <a:pt x="234" y="85"/>
                  </a:cubicBezTo>
                  <a:cubicBezTo>
                    <a:pt x="288" y="85"/>
                    <a:pt x="288" y="85"/>
                    <a:pt x="288" y="85"/>
                  </a:cubicBezTo>
                  <a:cubicBezTo>
                    <a:pt x="294" y="85"/>
                    <a:pt x="298" y="90"/>
                    <a:pt x="298" y="96"/>
                  </a:cubicBezTo>
                  <a:lnTo>
                    <a:pt x="298" y="17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ea typeface="+mn-ea"/>
                <a:cs typeface="+mn-cs"/>
              </a:endParaRPr>
            </a:p>
          </p:txBody>
        </p:sp>
      </p:grpSp>
      <p:grpSp>
        <p:nvGrpSpPr>
          <p:cNvPr id="36" name="Group 35">
            <a:extLst>
              <a:ext uri="{FF2B5EF4-FFF2-40B4-BE49-F238E27FC236}">
                <a16:creationId xmlns:a16="http://schemas.microsoft.com/office/drawing/2014/main" id="{0832ADDE-6318-4C27-A523-F105F544D221}"/>
              </a:ext>
            </a:extLst>
          </p:cNvPr>
          <p:cNvGrpSpPr/>
          <p:nvPr/>
        </p:nvGrpSpPr>
        <p:grpSpPr>
          <a:xfrm>
            <a:off x="10008456" y="1476458"/>
            <a:ext cx="543279" cy="543279"/>
            <a:chOff x="9812169" y="2052796"/>
            <a:chExt cx="723105" cy="723105"/>
          </a:xfrm>
        </p:grpSpPr>
        <p:sp>
          <p:nvSpPr>
            <p:cNvPr id="37" name="Oval 36">
              <a:extLst>
                <a:ext uri="{FF2B5EF4-FFF2-40B4-BE49-F238E27FC236}">
                  <a16:creationId xmlns:a16="http://schemas.microsoft.com/office/drawing/2014/main" id="{DBFB5DB1-C6D1-4BA4-BD75-BCB029773BE9}"/>
                </a:ext>
              </a:extLst>
            </p:cNvPr>
            <p:cNvSpPr/>
            <p:nvPr/>
          </p:nvSpPr>
          <p:spPr>
            <a:xfrm>
              <a:off x="9812169" y="2052796"/>
              <a:ext cx="723105" cy="723105"/>
            </a:xfrm>
            <a:prstGeom prst="ellipse">
              <a:avLst/>
            </a:prstGeom>
            <a:solidFill>
              <a:srgbClr val="000000">
                <a:alpha val="8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3F3F3F"/>
                </a:solidFill>
                <a:effectLst/>
                <a:uLnTx/>
                <a:uFillTx/>
                <a:ea typeface="+mn-ea"/>
                <a:cs typeface="+mn-cs"/>
              </a:endParaRPr>
            </a:p>
          </p:txBody>
        </p:sp>
        <p:sp>
          <p:nvSpPr>
            <p:cNvPr id="38" name="Freeform 570">
              <a:extLst>
                <a:ext uri="{FF2B5EF4-FFF2-40B4-BE49-F238E27FC236}">
                  <a16:creationId xmlns:a16="http://schemas.microsoft.com/office/drawing/2014/main" id="{DD547DED-64BA-420D-A998-828A0D6CD53F}"/>
                </a:ext>
              </a:extLst>
            </p:cNvPr>
            <p:cNvSpPr>
              <a:spLocks noEditPoints="1"/>
            </p:cNvSpPr>
            <p:nvPr/>
          </p:nvSpPr>
          <p:spPr bwMode="auto">
            <a:xfrm>
              <a:off x="10005914" y="2292018"/>
              <a:ext cx="335614" cy="244660"/>
            </a:xfrm>
            <a:custGeom>
              <a:avLst/>
              <a:gdLst>
                <a:gd name="T0" fmla="*/ 288 w 320"/>
                <a:gd name="T1" fmla="*/ 9 h 256"/>
                <a:gd name="T2" fmla="*/ 277 w 320"/>
                <a:gd name="T3" fmla="*/ 0 h 256"/>
                <a:gd name="T4" fmla="*/ 224 w 320"/>
                <a:gd name="T5" fmla="*/ 0 h 256"/>
                <a:gd name="T6" fmla="*/ 213 w 320"/>
                <a:gd name="T7" fmla="*/ 10 h 256"/>
                <a:gd name="T8" fmla="*/ 201 w 320"/>
                <a:gd name="T9" fmla="*/ 146 h 256"/>
                <a:gd name="T10" fmla="*/ 112 w 320"/>
                <a:gd name="T11" fmla="*/ 87 h 256"/>
                <a:gd name="T12" fmla="*/ 101 w 320"/>
                <a:gd name="T13" fmla="*/ 87 h 256"/>
                <a:gd name="T14" fmla="*/ 96 w 320"/>
                <a:gd name="T15" fmla="*/ 96 h 256"/>
                <a:gd name="T16" fmla="*/ 96 w 320"/>
                <a:gd name="T17" fmla="*/ 140 h 256"/>
                <a:gd name="T18" fmla="*/ 16 w 320"/>
                <a:gd name="T19" fmla="*/ 87 h 256"/>
                <a:gd name="T20" fmla="*/ 5 w 320"/>
                <a:gd name="T21" fmla="*/ 87 h 256"/>
                <a:gd name="T22" fmla="*/ 0 w 320"/>
                <a:gd name="T23" fmla="*/ 96 h 256"/>
                <a:gd name="T24" fmla="*/ 0 w 320"/>
                <a:gd name="T25" fmla="*/ 245 h 256"/>
                <a:gd name="T26" fmla="*/ 10 w 320"/>
                <a:gd name="T27" fmla="*/ 256 h 256"/>
                <a:gd name="T28" fmla="*/ 309 w 320"/>
                <a:gd name="T29" fmla="*/ 256 h 256"/>
                <a:gd name="T30" fmla="*/ 317 w 320"/>
                <a:gd name="T31" fmla="*/ 252 h 256"/>
                <a:gd name="T32" fmla="*/ 320 w 320"/>
                <a:gd name="T33" fmla="*/ 244 h 256"/>
                <a:gd name="T34" fmla="*/ 288 w 320"/>
                <a:gd name="T35" fmla="*/ 9 h 256"/>
                <a:gd name="T36" fmla="*/ 196 w 320"/>
                <a:gd name="T37" fmla="*/ 169 h 256"/>
                <a:gd name="T38" fmla="*/ 198 w 320"/>
                <a:gd name="T39" fmla="*/ 170 h 256"/>
                <a:gd name="T40" fmla="*/ 193 w 320"/>
                <a:gd name="T41" fmla="*/ 235 h 256"/>
                <a:gd name="T42" fmla="*/ 117 w 320"/>
                <a:gd name="T43" fmla="*/ 235 h 256"/>
                <a:gd name="T44" fmla="*/ 117 w 320"/>
                <a:gd name="T45" fmla="*/ 116 h 256"/>
                <a:gd name="T46" fmla="*/ 196 w 320"/>
                <a:gd name="T47" fmla="*/ 169 h 256"/>
                <a:gd name="T48" fmla="*/ 96 w 320"/>
                <a:gd name="T49" fmla="*/ 166 h 256"/>
                <a:gd name="T50" fmla="*/ 96 w 320"/>
                <a:gd name="T51" fmla="*/ 235 h 256"/>
                <a:gd name="T52" fmla="*/ 21 w 320"/>
                <a:gd name="T53" fmla="*/ 235 h 256"/>
                <a:gd name="T54" fmla="*/ 21 w 320"/>
                <a:gd name="T55" fmla="*/ 116 h 256"/>
                <a:gd name="T56" fmla="*/ 96 w 320"/>
                <a:gd name="T57" fmla="*/ 166 h 256"/>
                <a:gd name="T58" fmla="*/ 214 w 320"/>
                <a:gd name="T59" fmla="*/ 235 h 256"/>
                <a:gd name="T60" fmla="*/ 233 w 320"/>
                <a:gd name="T61" fmla="*/ 21 h 256"/>
                <a:gd name="T62" fmla="*/ 268 w 320"/>
                <a:gd name="T63" fmla="*/ 21 h 256"/>
                <a:gd name="T64" fmla="*/ 297 w 320"/>
                <a:gd name="T65" fmla="*/ 235 h 256"/>
                <a:gd name="T66" fmla="*/ 214 w 320"/>
                <a:gd name="T67" fmla="*/ 23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256">
                  <a:moveTo>
                    <a:pt x="288" y="9"/>
                  </a:moveTo>
                  <a:cubicBezTo>
                    <a:pt x="287" y="4"/>
                    <a:pt x="282" y="0"/>
                    <a:pt x="277" y="0"/>
                  </a:cubicBezTo>
                  <a:cubicBezTo>
                    <a:pt x="224" y="0"/>
                    <a:pt x="224" y="0"/>
                    <a:pt x="224" y="0"/>
                  </a:cubicBezTo>
                  <a:cubicBezTo>
                    <a:pt x="218" y="0"/>
                    <a:pt x="214" y="4"/>
                    <a:pt x="213" y="10"/>
                  </a:cubicBezTo>
                  <a:cubicBezTo>
                    <a:pt x="201" y="146"/>
                    <a:pt x="201" y="146"/>
                    <a:pt x="201" y="146"/>
                  </a:cubicBezTo>
                  <a:cubicBezTo>
                    <a:pt x="112" y="87"/>
                    <a:pt x="112" y="87"/>
                    <a:pt x="112" y="87"/>
                  </a:cubicBezTo>
                  <a:cubicBezTo>
                    <a:pt x="109" y="85"/>
                    <a:pt x="105" y="85"/>
                    <a:pt x="101" y="87"/>
                  </a:cubicBezTo>
                  <a:cubicBezTo>
                    <a:pt x="98" y="88"/>
                    <a:pt x="96" y="92"/>
                    <a:pt x="96" y="96"/>
                  </a:cubicBezTo>
                  <a:cubicBezTo>
                    <a:pt x="96" y="140"/>
                    <a:pt x="96" y="140"/>
                    <a:pt x="96" y="140"/>
                  </a:cubicBezTo>
                  <a:cubicBezTo>
                    <a:pt x="16" y="87"/>
                    <a:pt x="16" y="87"/>
                    <a:pt x="16" y="87"/>
                  </a:cubicBezTo>
                  <a:cubicBezTo>
                    <a:pt x="13" y="85"/>
                    <a:pt x="9" y="85"/>
                    <a:pt x="5" y="87"/>
                  </a:cubicBezTo>
                  <a:cubicBezTo>
                    <a:pt x="2" y="88"/>
                    <a:pt x="0" y="92"/>
                    <a:pt x="0" y="96"/>
                  </a:cubicBezTo>
                  <a:cubicBezTo>
                    <a:pt x="0" y="245"/>
                    <a:pt x="0" y="245"/>
                    <a:pt x="0" y="245"/>
                  </a:cubicBezTo>
                  <a:cubicBezTo>
                    <a:pt x="0" y="251"/>
                    <a:pt x="4" y="256"/>
                    <a:pt x="10" y="256"/>
                  </a:cubicBezTo>
                  <a:cubicBezTo>
                    <a:pt x="309" y="256"/>
                    <a:pt x="309" y="256"/>
                    <a:pt x="309" y="256"/>
                  </a:cubicBezTo>
                  <a:cubicBezTo>
                    <a:pt x="312" y="256"/>
                    <a:pt x="315" y="255"/>
                    <a:pt x="317" y="252"/>
                  </a:cubicBezTo>
                  <a:cubicBezTo>
                    <a:pt x="319" y="250"/>
                    <a:pt x="320" y="247"/>
                    <a:pt x="320" y="244"/>
                  </a:cubicBezTo>
                  <a:lnTo>
                    <a:pt x="288" y="9"/>
                  </a:lnTo>
                  <a:close/>
                  <a:moveTo>
                    <a:pt x="196" y="169"/>
                  </a:moveTo>
                  <a:cubicBezTo>
                    <a:pt x="197" y="169"/>
                    <a:pt x="198" y="169"/>
                    <a:pt x="198" y="170"/>
                  </a:cubicBezTo>
                  <a:cubicBezTo>
                    <a:pt x="193" y="235"/>
                    <a:pt x="193" y="235"/>
                    <a:pt x="193" y="235"/>
                  </a:cubicBezTo>
                  <a:cubicBezTo>
                    <a:pt x="117" y="235"/>
                    <a:pt x="117" y="235"/>
                    <a:pt x="117" y="235"/>
                  </a:cubicBezTo>
                  <a:cubicBezTo>
                    <a:pt x="117" y="116"/>
                    <a:pt x="117" y="116"/>
                    <a:pt x="117" y="116"/>
                  </a:cubicBezTo>
                  <a:lnTo>
                    <a:pt x="196" y="169"/>
                  </a:lnTo>
                  <a:close/>
                  <a:moveTo>
                    <a:pt x="96" y="166"/>
                  </a:moveTo>
                  <a:cubicBezTo>
                    <a:pt x="96" y="235"/>
                    <a:pt x="96" y="235"/>
                    <a:pt x="96" y="235"/>
                  </a:cubicBezTo>
                  <a:cubicBezTo>
                    <a:pt x="21" y="235"/>
                    <a:pt x="21" y="235"/>
                    <a:pt x="21" y="235"/>
                  </a:cubicBezTo>
                  <a:cubicBezTo>
                    <a:pt x="21" y="116"/>
                    <a:pt x="21" y="116"/>
                    <a:pt x="21" y="116"/>
                  </a:cubicBezTo>
                  <a:lnTo>
                    <a:pt x="96" y="166"/>
                  </a:lnTo>
                  <a:close/>
                  <a:moveTo>
                    <a:pt x="214" y="235"/>
                  </a:moveTo>
                  <a:cubicBezTo>
                    <a:pt x="233" y="21"/>
                    <a:pt x="233" y="21"/>
                    <a:pt x="233" y="21"/>
                  </a:cubicBezTo>
                  <a:cubicBezTo>
                    <a:pt x="268" y="21"/>
                    <a:pt x="268" y="21"/>
                    <a:pt x="268" y="21"/>
                  </a:cubicBezTo>
                  <a:cubicBezTo>
                    <a:pt x="297" y="235"/>
                    <a:pt x="297" y="235"/>
                    <a:pt x="297" y="235"/>
                  </a:cubicBezTo>
                  <a:lnTo>
                    <a:pt x="214" y="235"/>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ea typeface="+mn-ea"/>
                <a:cs typeface="+mn-cs"/>
              </a:endParaRPr>
            </a:p>
          </p:txBody>
        </p:sp>
      </p:grpSp>
      <p:sp>
        <p:nvSpPr>
          <p:cNvPr id="39" name="Freeform 7">
            <a:extLst>
              <a:ext uri="{FF2B5EF4-FFF2-40B4-BE49-F238E27FC236}">
                <a16:creationId xmlns:a16="http://schemas.microsoft.com/office/drawing/2014/main" id="{A0AE5B31-181F-4906-8465-22243441586E}"/>
              </a:ext>
            </a:extLst>
          </p:cNvPr>
          <p:cNvSpPr>
            <a:spLocks/>
          </p:cNvSpPr>
          <p:nvPr/>
        </p:nvSpPr>
        <p:spPr bwMode="auto">
          <a:xfrm>
            <a:off x="914399" y="2516505"/>
            <a:ext cx="10637656" cy="1266166"/>
          </a:xfrm>
          <a:custGeom>
            <a:avLst/>
            <a:gdLst>
              <a:gd name="T0" fmla="*/ 0 w 5233"/>
              <a:gd name="T1" fmla="*/ 2147483647 h 1595"/>
              <a:gd name="T2" fmla="*/ 0 w 5233"/>
              <a:gd name="T3" fmla="*/ 2147483647 h 1595"/>
              <a:gd name="T4" fmla="*/ 2147483647 w 5233"/>
              <a:gd name="T5" fmla="*/ 2147483647 h 1595"/>
              <a:gd name="T6" fmla="*/ 2147483647 w 5233"/>
              <a:gd name="T7" fmla="*/ 2147483647 h 1595"/>
              <a:gd name="T8" fmla="*/ 2147483647 w 5233"/>
              <a:gd name="T9" fmla="*/ 2147483647 h 1595"/>
              <a:gd name="T10" fmla="*/ 2147483647 w 5233"/>
              <a:gd name="T11" fmla="*/ 2147483647 h 1595"/>
              <a:gd name="T12" fmla="*/ 2147483647 w 5233"/>
              <a:gd name="T13" fmla="*/ 2147483647 h 1595"/>
              <a:gd name="T14" fmla="*/ 2147483647 w 5233"/>
              <a:gd name="T15" fmla="*/ 0 h 1595"/>
              <a:gd name="T16" fmla="*/ 2147483647 w 5233"/>
              <a:gd name="T17" fmla="*/ 0 h 15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233"/>
              <a:gd name="T28" fmla="*/ 0 h 1595"/>
              <a:gd name="T29" fmla="*/ 5233 w 5233"/>
              <a:gd name="T30" fmla="*/ 1595 h 15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233" h="1595">
                <a:moveTo>
                  <a:pt x="0" y="1594"/>
                </a:moveTo>
                <a:lnTo>
                  <a:pt x="0" y="1195"/>
                </a:lnTo>
                <a:lnTo>
                  <a:pt x="1308" y="1195"/>
                </a:lnTo>
                <a:lnTo>
                  <a:pt x="1308" y="797"/>
                </a:lnTo>
                <a:lnTo>
                  <a:pt x="2616" y="797"/>
                </a:lnTo>
                <a:lnTo>
                  <a:pt x="2616" y="398"/>
                </a:lnTo>
                <a:lnTo>
                  <a:pt x="3924" y="398"/>
                </a:lnTo>
                <a:lnTo>
                  <a:pt x="3924" y="0"/>
                </a:lnTo>
                <a:lnTo>
                  <a:pt x="5232" y="0"/>
                </a:lnTo>
              </a:path>
            </a:pathLst>
          </a:custGeom>
          <a:ln>
            <a:headEnd type="none" w="sm" len="sm"/>
            <a:tailEnd type="none" w="sm" len="sm"/>
          </a:ln>
        </p:spPr>
        <p:style>
          <a:lnRef idx="3">
            <a:schemeClr val="accent5"/>
          </a:lnRef>
          <a:fillRef idx="0">
            <a:schemeClr val="accent5"/>
          </a:fillRef>
          <a:effectRef idx="2">
            <a:schemeClr val="accent5"/>
          </a:effectRef>
          <a:fontRef idx="minor">
            <a:schemeClr val="tx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C5C5C"/>
              </a:solidFill>
              <a:effectLst/>
              <a:uLnTx/>
              <a:uFillTx/>
              <a:ea typeface="+mn-ea"/>
              <a:cs typeface="+mn-cs"/>
            </a:endParaRPr>
          </a:p>
        </p:txBody>
      </p:sp>
    </p:spTree>
    <p:extLst>
      <p:ext uri="{BB962C8B-B14F-4D97-AF65-F5344CB8AC3E}">
        <p14:creationId xmlns:p14="http://schemas.microsoft.com/office/powerpoint/2010/main" val="127736756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F949322-8CE8-4E45-9970-D7F06710D91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20" name="think-cell Slide" r:id="rId6" imgW="415" imgH="416" progId="TCLayout.ActiveDocument.1">
                  <p:embed/>
                </p:oleObj>
              </mc:Choice>
              <mc:Fallback>
                <p:oleObj name="think-cell Slide" r:id="rId6" imgW="415" imgH="416" progId="TCLayout.ActiveDocument.1">
                  <p:embed/>
                  <p:pic>
                    <p:nvPicPr>
                      <p:cNvPr id="6" name="Object 5" hidden="1">
                        <a:extLst>
                          <a:ext uri="{FF2B5EF4-FFF2-40B4-BE49-F238E27FC236}">
                            <a16:creationId xmlns:a16="http://schemas.microsoft.com/office/drawing/2014/main" id="{EF949322-8CE8-4E45-9970-D7F06710D91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DD423F4-9CAC-4643-8CB2-30191711FBA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655FEB32-3CDA-4804-B998-472C0610A0B1}"/>
              </a:ext>
            </a:extLst>
          </p:cNvPr>
          <p:cNvSpPr>
            <a:spLocks noGrp="1"/>
          </p:cNvSpPr>
          <p:nvPr>
            <p:ph type="title"/>
          </p:nvPr>
        </p:nvSpPr>
        <p:spPr/>
        <p:txBody>
          <a:bodyPr/>
          <a:lstStyle/>
          <a:p>
            <a:r>
              <a:rPr lang="en-US" dirty="0"/>
              <a:t>Sample Approach to Partner Spend Management</a:t>
            </a:r>
          </a:p>
        </p:txBody>
      </p:sp>
      <p:sp>
        <p:nvSpPr>
          <p:cNvPr id="3" name="Text Placeholder 2">
            <a:extLst>
              <a:ext uri="{FF2B5EF4-FFF2-40B4-BE49-F238E27FC236}">
                <a16:creationId xmlns:a16="http://schemas.microsoft.com/office/drawing/2014/main" id="{839F2943-55D7-4E18-8B20-71D54DC49060}"/>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7B42B5A9-E459-4618-BEC2-DBAC37512670}"/>
              </a:ext>
            </a:extLst>
          </p:cNvPr>
          <p:cNvSpPr>
            <a:spLocks noGrp="1"/>
          </p:cNvSpPr>
          <p:nvPr>
            <p:ph type="body" sz="quarter" idx="15"/>
          </p:nvPr>
        </p:nvSpPr>
        <p:spPr/>
        <p:txBody>
          <a:bodyPr/>
          <a:lstStyle/>
          <a:p>
            <a:r>
              <a:rPr lang="en-US" dirty="0"/>
              <a:t>Process &amp; customer journey</a:t>
            </a:r>
          </a:p>
        </p:txBody>
      </p:sp>
      <p:sp>
        <p:nvSpPr>
          <p:cNvPr id="7" name="Rectangle 6">
            <a:extLst>
              <a:ext uri="{FF2B5EF4-FFF2-40B4-BE49-F238E27FC236}">
                <a16:creationId xmlns:a16="http://schemas.microsoft.com/office/drawing/2014/main" id="{C77429C4-025F-47A8-B765-8849EB2BACF1}"/>
              </a:ext>
            </a:extLst>
          </p:cNvPr>
          <p:cNvSpPr/>
          <p:nvPr/>
        </p:nvSpPr>
        <p:spPr>
          <a:xfrm>
            <a:off x="1012859" y="3029410"/>
            <a:ext cx="9698755" cy="1777344"/>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23438"/>
            <a:endParaRPr lang="en-US" sz="1400" dirty="0">
              <a:solidFill>
                <a:srgbClr val="FFFFFF"/>
              </a:solidFill>
            </a:endParaRPr>
          </a:p>
        </p:txBody>
      </p:sp>
      <p:sp>
        <p:nvSpPr>
          <p:cNvPr id="8" name="TextBox 7">
            <a:extLst>
              <a:ext uri="{FF2B5EF4-FFF2-40B4-BE49-F238E27FC236}">
                <a16:creationId xmlns:a16="http://schemas.microsoft.com/office/drawing/2014/main" id="{2FDF89F7-43F3-4F8C-9466-7F5F69FBA940}"/>
              </a:ext>
            </a:extLst>
          </p:cNvPr>
          <p:cNvSpPr txBox="1"/>
          <p:nvPr/>
        </p:nvSpPr>
        <p:spPr>
          <a:xfrm rot="16200000">
            <a:off x="465357" y="2137366"/>
            <a:ext cx="1236639" cy="507831"/>
          </a:xfrm>
          <a:prstGeom prst="rect">
            <a:avLst/>
          </a:prstGeom>
          <a:solidFill>
            <a:schemeClr val="bg1"/>
          </a:solidFill>
        </p:spPr>
        <p:txBody>
          <a:bodyPr wrap="square" rtlCol="0">
            <a:spAutoFit/>
          </a:bodyPr>
          <a:lstStyle/>
          <a:p>
            <a:pPr algn="ctr" defTabSz="831230">
              <a:defRPr/>
            </a:pPr>
            <a:r>
              <a:rPr lang="en-US" sz="900" b="1" dirty="0">
                <a:solidFill>
                  <a:srgbClr val="000000"/>
                </a:solidFill>
              </a:rPr>
              <a:t>AGENCY MARKETING COMPONENTS</a:t>
            </a:r>
          </a:p>
        </p:txBody>
      </p:sp>
      <p:sp>
        <p:nvSpPr>
          <p:cNvPr id="9" name="TextBox 8">
            <a:extLst>
              <a:ext uri="{FF2B5EF4-FFF2-40B4-BE49-F238E27FC236}">
                <a16:creationId xmlns:a16="http://schemas.microsoft.com/office/drawing/2014/main" id="{ECEA7F9D-2ED7-4CE8-8C9D-A6C6EB3F11A2}"/>
              </a:ext>
            </a:extLst>
          </p:cNvPr>
          <p:cNvSpPr txBox="1"/>
          <p:nvPr/>
        </p:nvSpPr>
        <p:spPr>
          <a:xfrm rot="16200000">
            <a:off x="371361" y="3733416"/>
            <a:ext cx="1424631" cy="369332"/>
          </a:xfrm>
          <a:prstGeom prst="rect">
            <a:avLst/>
          </a:prstGeom>
          <a:solidFill>
            <a:schemeClr val="bg1"/>
          </a:solidFill>
        </p:spPr>
        <p:txBody>
          <a:bodyPr wrap="square" rtlCol="0">
            <a:spAutoFit/>
          </a:bodyPr>
          <a:lstStyle/>
          <a:p>
            <a:pPr algn="ctr" defTabSz="831230">
              <a:defRPr/>
            </a:pPr>
            <a:r>
              <a:rPr lang="en-US" sz="900" b="1" dirty="0">
                <a:solidFill>
                  <a:srgbClr val="000000"/>
                </a:solidFill>
              </a:rPr>
              <a:t>TYPICAL OPPORTUNITY AREAS</a:t>
            </a:r>
          </a:p>
        </p:txBody>
      </p:sp>
      <p:cxnSp>
        <p:nvCxnSpPr>
          <p:cNvPr id="10" name="Straight Connector 9">
            <a:extLst>
              <a:ext uri="{FF2B5EF4-FFF2-40B4-BE49-F238E27FC236}">
                <a16:creationId xmlns:a16="http://schemas.microsoft.com/office/drawing/2014/main" id="{E821983A-0383-4219-9F94-CFEAEA6B95D0}"/>
              </a:ext>
            </a:extLst>
          </p:cNvPr>
          <p:cNvCxnSpPr>
            <a:cxnSpLocks/>
          </p:cNvCxnSpPr>
          <p:nvPr/>
        </p:nvCxnSpPr>
        <p:spPr>
          <a:xfrm>
            <a:off x="950849" y="4955594"/>
            <a:ext cx="9760765" cy="0"/>
          </a:xfrm>
          <a:prstGeom prst="line">
            <a:avLst/>
          </a:prstGeom>
          <a:ln w="12700" cap="rnd">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4BD0DF2C-D4A5-4223-9393-D27CB82EF493}"/>
              </a:ext>
            </a:extLst>
          </p:cNvPr>
          <p:cNvSpPr txBox="1"/>
          <p:nvPr/>
        </p:nvSpPr>
        <p:spPr>
          <a:xfrm>
            <a:off x="974957" y="4941313"/>
            <a:ext cx="3366627" cy="338554"/>
          </a:xfrm>
          <a:prstGeom prst="rect">
            <a:avLst/>
          </a:prstGeom>
          <a:noFill/>
        </p:spPr>
        <p:txBody>
          <a:bodyPr wrap="none" rtlCol="0">
            <a:spAutoFit/>
          </a:bodyPr>
          <a:lstStyle/>
          <a:p>
            <a:pPr defTabSz="623438"/>
            <a:r>
              <a:rPr lang="en-US" sz="1600" dirty="0">
                <a:solidFill>
                  <a:srgbClr val="000000"/>
                </a:solidFill>
                <a:latin typeface="+mj-lt"/>
              </a:rPr>
              <a:t>Journey to achieving market spend</a:t>
            </a:r>
          </a:p>
        </p:txBody>
      </p:sp>
      <p:sp>
        <p:nvSpPr>
          <p:cNvPr id="12" name="Chevron 37">
            <a:extLst>
              <a:ext uri="{FF2B5EF4-FFF2-40B4-BE49-F238E27FC236}">
                <a16:creationId xmlns:a16="http://schemas.microsoft.com/office/drawing/2014/main" id="{69144929-A96D-4D16-A0A5-B97D3F80DBD9}"/>
              </a:ext>
            </a:extLst>
          </p:cNvPr>
          <p:cNvSpPr/>
          <p:nvPr/>
        </p:nvSpPr>
        <p:spPr>
          <a:xfrm>
            <a:off x="2514513" y="5605720"/>
            <a:ext cx="205673" cy="412972"/>
          </a:xfrm>
          <a:prstGeom prst="chevron">
            <a:avLst>
              <a:gd name="adj" fmla="val 72670"/>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23438"/>
            <a:endParaRPr lang="en-US" sz="1200" dirty="0">
              <a:solidFill>
                <a:srgbClr val="000000"/>
              </a:solidFill>
              <a:latin typeface="Open Sans"/>
            </a:endParaRPr>
          </a:p>
        </p:txBody>
      </p:sp>
      <p:sp>
        <p:nvSpPr>
          <p:cNvPr id="13" name="Text Placeholder 9">
            <a:extLst>
              <a:ext uri="{FF2B5EF4-FFF2-40B4-BE49-F238E27FC236}">
                <a16:creationId xmlns:a16="http://schemas.microsoft.com/office/drawing/2014/main" id="{3CEB8D92-FD9B-4133-8CD9-E8297D551BA4}"/>
              </a:ext>
            </a:extLst>
          </p:cNvPr>
          <p:cNvSpPr txBox="1">
            <a:spLocks/>
          </p:cNvSpPr>
          <p:nvPr/>
        </p:nvSpPr>
        <p:spPr>
          <a:xfrm>
            <a:off x="2878081" y="5506672"/>
            <a:ext cx="1343759" cy="849358"/>
          </a:xfrm>
          <a:prstGeom prst="rect">
            <a:avLst/>
          </a:prstGeom>
          <a:ln>
            <a:noFill/>
          </a:ln>
        </p:spPr>
        <p:txBody>
          <a:bodyPr lIns="0" rIns="0" anchor="t"/>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23438">
              <a:lnSpc>
                <a:spcPct val="85000"/>
              </a:lnSpc>
              <a:spcBef>
                <a:spcPts val="205"/>
              </a:spcBef>
              <a:buClr>
                <a:srgbClr val="787878"/>
              </a:buClr>
              <a:buNone/>
            </a:pPr>
            <a:r>
              <a:rPr lang="en-US" sz="1050" b="1" dirty="0">
                <a:solidFill>
                  <a:srgbClr val="000000"/>
                </a:solidFill>
                <a:latin typeface="Open Sans"/>
                <a:ea typeface="Chronicle Display Black" charset="0"/>
                <a:cs typeface="Chronicle Display Black" charset="0"/>
              </a:rPr>
              <a:t>Phase 2: </a:t>
            </a:r>
          </a:p>
          <a:p>
            <a:pPr marL="0" indent="0" defTabSz="623438">
              <a:lnSpc>
                <a:spcPct val="85000"/>
              </a:lnSpc>
              <a:spcBef>
                <a:spcPts val="205"/>
              </a:spcBef>
              <a:buClr>
                <a:srgbClr val="787878"/>
              </a:buClr>
              <a:buNone/>
            </a:pPr>
            <a:r>
              <a:rPr lang="en-US" sz="1050" b="1" dirty="0">
                <a:solidFill>
                  <a:srgbClr val="000000"/>
                </a:solidFill>
                <a:latin typeface="Open Sans"/>
                <a:ea typeface="Chronicle Display Black" charset="0"/>
                <a:cs typeface="Chronicle Display Black" charset="0"/>
              </a:rPr>
              <a:t>Execute Benchmarking</a:t>
            </a:r>
            <a:endParaRPr lang="en-US" sz="1050" dirty="0">
              <a:solidFill>
                <a:srgbClr val="000000"/>
              </a:solidFill>
              <a:latin typeface="Open Sans"/>
              <a:ea typeface="Chronicle Display Black" charset="0"/>
              <a:cs typeface="Chronicle Display Black" charset="0"/>
            </a:endParaRPr>
          </a:p>
          <a:p>
            <a:pPr marL="0" indent="0" defTabSz="623438">
              <a:lnSpc>
                <a:spcPct val="85000"/>
              </a:lnSpc>
              <a:spcBef>
                <a:spcPts val="205"/>
              </a:spcBef>
              <a:buClr>
                <a:srgbClr val="787878"/>
              </a:buClr>
              <a:buNone/>
            </a:pPr>
            <a:r>
              <a:rPr lang="en-US" sz="1050" i="1" dirty="0">
                <a:solidFill>
                  <a:srgbClr val="000000"/>
                </a:solidFill>
                <a:latin typeface="Open Sans"/>
                <a:ea typeface="Chronicle Display Black" charset="0"/>
                <a:cs typeface="Chronicle Display Black" charset="0"/>
              </a:rPr>
              <a:t>within the context of strategic objectives</a:t>
            </a:r>
          </a:p>
        </p:txBody>
      </p:sp>
      <p:sp>
        <p:nvSpPr>
          <p:cNvPr id="14" name="Chevron 37">
            <a:extLst>
              <a:ext uri="{FF2B5EF4-FFF2-40B4-BE49-F238E27FC236}">
                <a16:creationId xmlns:a16="http://schemas.microsoft.com/office/drawing/2014/main" id="{0AE58DEC-1F7A-485F-A44D-5E3C85006A06}"/>
              </a:ext>
            </a:extLst>
          </p:cNvPr>
          <p:cNvSpPr/>
          <p:nvPr/>
        </p:nvSpPr>
        <p:spPr>
          <a:xfrm>
            <a:off x="4379735" y="5605720"/>
            <a:ext cx="205673" cy="412972"/>
          </a:xfrm>
          <a:prstGeom prst="chevron">
            <a:avLst>
              <a:gd name="adj" fmla="val 72670"/>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23438"/>
            <a:endParaRPr lang="en-US" sz="1200" dirty="0">
              <a:solidFill>
                <a:srgbClr val="000000"/>
              </a:solidFill>
              <a:latin typeface="Open Sans"/>
            </a:endParaRPr>
          </a:p>
        </p:txBody>
      </p:sp>
      <p:sp>
        <p:nvSpPr>
          <p:cNvPr id="15" name="Text Placeholder 9">
            <a:extLst>
              <a:ext uri="{FF2B5EF4-FFF2-40B4-BE49-F238E27FC236}">
                <a16:creationId xmlns:a16="http://schemas.microsoft.com/office/drawing/2014/main" id="{8B7BA39E-D3C6-4234-AA5D-C75A96A3E2EF}"/>
              </a:ext>
            </a:extLst>
          </p:cNvPr>
          <p:cNvSpPr txBox="1">
            <a:spLocks/>
          </p:cNvSpPr>
          <p:nvPr/>
        </p:nvSpPr>
        <p:spPr>
          <a:xfrm>
            <a:off x="4743303" y="5506672"/>
            <a:ext cx="1540414" cy="904966"/>
          </a:xfrm>
          <a:prstGeom prst="rect">
            <a:avLst/>
          </a:prstGeom>
          <a:ln>
            <a:noFill/>
          </a:ln>
        </p:spPr>
        <p:txBody>
          <a:bodyPr lIns="0" rIns="0" anchor="t"/>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23438">
              <a:lnSpc>
                <a:spcPct val="85000"/>
              </a:lnSpc>
              <a:spcBef>
                <a:spcPts val="205"/>
              </a:spcBef>
              <a:buClr>
                <a:srgbClr val="787878"/>
              </a:buClr>
              <a:buNone/>
            </a:pPr>
            <a:r>
              <a:rPr lang="en-US" sz="1050" b="1" dirty="0">
                <a:solidFill>
                  <a:srgbClr val="000000"/>
                </a:solidFill>
                <a:latin typeface="Open Sans"/>
                <a:ea typeface="Chronicle Display Black" charset="0"/>
                <a:cs typeface="Chronicle Display Black" charset="0"/>
              </a:rPr>
              <a:t>Phase 3:</a:t>
            </a:r>
          </a:p>
          <a:p>
            <a:pPr marL="0" indent="0" defTabSz="623438">
              <a:lnSpc>
                <a:spcPct val="85000"/>
              </a:lnSpc>
              <a:spcBef>
                <a:spcPts val="205"/>
              </a:spcBef>
              <a:buClr>
                <a:srgbClr val="787878"/>
              </a:buClr>
              <a:buNone/>
            </a:pPr>
            <a:r>
              <a:rPr lang="en-US" sz="1050" b="1" dirty="0">
                <a:solidFill>
                  <a:srgbClr val="000000"/>
                </a:solidFill>
                <a:latin typeface="Open Sans"/>
                <a:ea typeface="Chronicle Display Black" charset="0"/>
                <a:cs typeface="Chronicle Display Black" charset="0"/>
              </a:rPr>
              <a:t>Define Recommendations</a:t>
            </a:r>
          </a:p>
          <a:p>
            <a:pPr marL="0" indent="0" defTabSz="623438">
              <a:lnSpc>
                <a:spcPct val="85000"/>
              </a:lnSpc>
              <a:spcBef>
                <a:spcPts val="205"/>
              </a:spcBef>
              <a:buClr>
                <a:srgbClr val="787878"/>
              </a:buClr>
              <a:buNone/>
            </a:pPr>
            <a:r>
              <a:rPr lang="en-US" sz="1050" i="1" dirty="0">
                <a:solidFill>
                  <a:srgbClr val="000000"/>
                </a:solidFill>
                <a:latin typeface="Open Sans"/>
                <a:ea typeface="Chronicle Display Black" charset="0"/>
                <a:cs typeface="Chronicle Display Black" charset="0"/>
              </a:rPr>
              <a:t>to increase spend effectiveness</a:t>
            </a:r>
          </a:p>
        </p:txBody>
      </p:sp>
      <p:sp>
        <p:nvSpPr>
          <p:cNvPr id="16" name="Chevron 37">
            <a:extLst>
              <a:ext uri="{FF2B5EF4-FFF2-40B4-BE49-F238E27FC236}">
                <a16:creationId xmlns:a16="http://schemas.microsoft.com/office/drawing/2014/main" id="{5E264888-3BB8-41C0-BE3E-4C6FF2044AC8}"/>
              </a:ext>
            </a:extLst>
          </p:cNvPr>
          <p:cNvSpPr/>
          <p:nvPr/>
        </p:nvSpPr>
        <p:spPr>
          <a:xfrm>
            <a:off x="6441613" y="5605720"/>
            <a:ext cx="205673" cy="412972"/>
          </a:xfrm>
          <a:prstGeom prst="chevron">
            <a:avLst>
              <a:gd name="adj" fmla="val 72670"/>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23438"/>
            <a:endParaRPr lang="en-US" sz="1200" dirty="0">
              <a:solidFill>
                <a:srgbClr val="000000"/>
              </a:solidFill>
              <a:latin typeface="Open Sans"/>
            </a:endParaRPr>
          </a:p>
        </p:txBody>
      </p:sp>
      <p:sp>
        <p:nvSpPr>
          <p:cNvPr id="17" name="Text Placeholder 9">
            <a:extLst>
              <a:ext uri="{FF2B5EF4-FFF2-40B4-BE49-F238E27FC236}">
                <a16:creationId xmlns:a16="http://schemas.microsoft.com/office/drawing/2014/main" id="{7A8C301E-90F2-4260-B414-695A28596E41}"/>
              </a:ext>
            </a:extLst>
          </p:cNvPr>
          <p:cNvSpPr txBox="1">
            <a:spLocks/>
          </p:cNvSpPr>
          <p:nvPr/>
        </p:nvSpPr>
        <p:spPr>
          <a:xfrm>
            <a:off x="6805181" y="5506672"/>
            <a:ext cx="1457183" cy="849357"/>
          </a:xfrm>
          <a:prstGeom prst="rect">
            <a:avLst/>
          </a:prstGeom>
          <a:ln>
            <a:noFill/>
          </a:ln>
        </p:spPr>
        <p:txBody>
          <a:bodyPr lIns="0" rIns="0" anchor="t"/>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23438">
              <a:lnSpc>
                <a:spcPct val="85000"/>
              </a:lnSpc>
              <a:spcBef>
                <a:spcPts val="205"/>
              </a:spcBef>
              <a:buClr>
                <a:srgbClr val="787878"/>
              </a:buClr>
              <a:buNone/>
            </a:pPr>
            <a:r>
              <a:rPr lang="en-US" sz="1050" b="1" dirty="0">
                <a:solidFill>
                  <a:srgbClr val="000000"/>
                </a:solidFill>
                <a:latin typeface="Open Sans"/>
                <a:ea typeface="Chronicle Display Black" charset="0"/>
                <a:cs typeface="Chronicle Display Black" charset="0"/>
              </a:rPr>
              <a:t>Phase 4:</a:t>
            </a:r>
          </a:p>
          <a:p>
            <a:pPr marL="0" indent="0" defTabSz="623438">
              <a:lnSpc>
                <a:spcPct val="85000"/>
              </a:lnSpc>
              <a:spcBef>
                <a:spcPts val="205"/>
              </a:spcBef>
              <a:buClr>
                <a:srgbClr val="787878"/>
              </a:buClr>
              <a:buNone/>
            </a:pPr>
            <a:r>
              <a:rPr lang="en-US" sz="1050" b="1" dirty="0">
                <a:solidFill>
                  <a:srgbClr val="000000"/>
                </a:solidFill>
                <a:latin typeface="Open Sans"/>
                <a:ea typeface="Chronicle Display Black" charset="0"/>
                <a:cs typeface="Chronicle Display Black" charset="0"/>
              </a:rPr>
              <a:t>Spend Management Execution</a:t>
            </a:r>
          </a:p>
          <a:p>
            <a:pPr marL="0" indent="0" defTabSz="623438">
              <a:lnSpc>
                <a:spcPct val="85000"/>
              </a:lnSpc>
              <a:spcBef>
                <a:spcPts val="205"/>
              </a:spcBef>
              <a:buClr>
                <a:srgbClr val="787878"/>
              </a:buClr>
              <a:buNone/>
            </a:pPr>
            <a:r>
              <a:rPr lang="en-US" sz="1050" i="1" dirty="0">
                <a:solidFill>
                  <a:srgbClr val="000000"/>
                </a:solidFill>
                <a:latin typeface="Open Sans"/>
                <a:ea typeface="Chronicle Display Black" charset="0"/>
                <a:cs typeface="Chronicle Display Black" charset="0"/>
              </a:rPr>
              <a:t>to realize non-working spend efficiencies identified</a:t>
            </a:r>
          </a:p>
        </p:txBody>
      </p:sp>
      <p:sp>
        <p:nvSpPr>
          <p:cNvPr id="18" name="Chevron 37">
            <a:extLst>
              <a:ext uri="{FF2B5EF4-FFF2-40B4-BE49-F238E27FC236}">
                <a16:creationId xmlns:a16="http://schemas.microsoft.com/office/drawing/2014/main" id="{8910F816-9D69-4802-9E0E-3EF0E044435A}"/>
              </a:ext>
            </a:extLst>
          </p:cNvPr>
          <p:cNvSpPr/>
          <p:nvPr/>
        </p:nvSpPr>
        <p:spPr>
          <a:xfrm>
            <a:off x="8420259" y="5605720"/>
            <a:ext cx="205673" cy="412972"/>
          </a:xfrm>
          <a:prstGeom prst="chevron">
            <a:avLst>
              <a:gd name="adj" fmla="val 72670"/>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23438"/>
            <a:endParaRPr lang="en-US" sz="1200" dirty="0">
              <a:solidFill>
                <a:srgbClr val="000000"/>
              </a:solidFill>
              <a:latin typeface="Open Sans"/>
            </a:endParaRPr>
          </a:p>
        </p:txBody>
      </p:sp>
      <p:sp>
        <p:nvSpPr>
          <p:cNvPr id="19" name="Text Placeholder 9">
            <a:extLst>
              <a:ext uri="{FF2B5EF4-FFF2-40B4-BE49-F238E27FC236}">
                <a16:creationId xmlns:a16="http://schemas.microsoft.com/office/drawing/2014/main" id="{F6AE244D-D28F-4B29-9FEE-81C6ECA8A57B}"/>
              </a:ext>
            </a:extLst>
          </p:cNvPr>
          <p:cNvSpPr txBox="1">
            <a:spLocks/>
          </p:cNvSpPr>
          <p:nvPr/>
        </p:nvSpPr>
        <p:spPr>
          <a:xfrm>
            <a:off x="8783824" y="5506672"/>
            <a:ext cx="1837841" cy="964248"/>
          </a:xfrm>
          <a:prstGeom prst="rect">
            <a:avLst/>
          </a:prstGeom>
          <a:ln>
            <a:noFill/>
          </a:ln>
        </p:spPr>
        <p:txBody>
          <a:bodyPr lIns="0" rIns="0" anchor="t"/>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23438">
              <a:lnSpc>
                <a:spcPct val="85000"/>
              </a:lnSpc>
              <a:spcBef>
                <a:spcPts val="205"/>
              </a:spcBef>
              <a:buClr>
                <a:srgbClr val="787878"/>
              </a:buClr>
              <a:buNone/>
            </a:pPr>
            <a:r>
              <a:rPr lang="en-US" sz="1050" b="1" dirty="0">
                <a:solidFill>
                  <a:srgbClr val="000000"/>
                </a:solidFill>
                <a:latin typeface="Open Sans"/>
                <a:ea typeface="Chronicle Display Black" charset="0"/>
                <a:cs typeface="Chronicle Display Black" charset="0"/>
              </a:rPr>
              <a:t>Phase 5:</a:t>
            </a:r>
          </a:p>
          <a:p>
            <a:pPr marL="0" indent="0" defTabSz="623438">
              <a:lnSpc>
                <a:spcPct val="85000"/>
              </a:lnSpc>
              <a:spcBef>
                <a:spcPts val="205"/>
              </a:spcBef>
              <a:buClr>
                <a:srgbClr val="787878"/>
              </a:buClr>
              <a:buNone/>
            </a:pPr>
            <a:r>
              <a:rPr lang="en-US" sz="1050" b="1" dirty="0">
                <a:solidFill>
                  <a:srgbClr val="000000"/>
                </a:solidFill>
                <a:latin typeface="Open Sans"/>
                <a:ea typeface="Chronicle Display Black" charset="0"/>
                <a:cs typeface="Chronicle Display Black" charset="0"/>
              </a:rPr>
              <a:t>Ongoing Spend Management &amp; Reporting </a:t>
            </a:r>
          </a:p>
          <a:p>
            <a:pPr marL="0" indent="0" defTabSz="623438">
              <a:lnSpc>
                <a:spcPct val="85000"/>
              </a:lnSpc>
              <a:spcBef>
                <a:spcPts val="205"/>
              </a:spcBef>
              <a:buClr>
                <a:srgbClr val="787878"/>
              </a:buClr>
              <a:buNone/>
            </a:pPr>
            <a:r>
              <a:rPr lang="en-US" sz="1050" i="1" dirty="0">
                <a:solidFill>
                  <a:srgbClr val="000000"/>
                </a:solidFill>
                <a:latin typeface="Open Sans"/>
                <a:ea typeface="Chronicle Display Black" charset="0"/>
                <a:cs typeface="Chronicle Display Black" charset="0"/>
              </a:rPr>
              <a:t>within the context of strategic objectives</a:t>
            </a:r>
          </a:p>
        </p:txBody>
      </p:sp>
      <p:sp>
        <p:nvSpPr>
          <p:cNvPr id="20" name="Text Placeholder 9">
            <a:extLst>
              <a:ext uri="{FF2B5EF4-FFF2-40B4-BE49-F238E27FC236}">
                <a16:creationId xmlns:a16="http://schemas.microsoft.com/office/drawing/2014/main" id="{246A0F45-59D8-4CC9-ABB5-24CB8971FADE}"/>
              </a:ext>
            </a:extLst>
          </p:cNvPr>
          <p:cNvSpPr txBox="1">
            <a:spLocks/>
          </p:cNvSpPr>
          <p:nvPr/>
        </p:nvSpPr>
        <p:spPr>
          <a:xfrm>
            <a:off x="1012859" y="5506672"/>
            <a:ext cx="1343759" cy="815301"/>
          </a:xfrm>
          <a:prstGeom prst="rect">
            <a:avLst/>
          </a:prstGeom>
          <a:ln>
            <a:noFill/>
          </a:ln>
        </p:spPr>
        <p:txBody>
          <a:bodyPr lIns="0" rIns="0" anchor="t"/>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23438">
              <a:lnSpc>
                <a:spcPct val="85000"/>
              </a:lnSpc>
              <a:spcBef>
                <a:spcPts val="205"/>
              </a:spcBef>
              <a:buClr>
                <a:srgbClr val="787878"/>
              </a:buClr>
              <a:buNone/>
            </a:pPr>
            <a:r>
              <a:rPr lang="en-US" sz="1050" b="1" dirty="0">
                <a:solidFill>
                  <a:srgbClr val="000000"/>
                </a:solidFill>
                <a:latin typeface="Open Sans"/>
                <a:ea typeface="Chronicle Display Black" charset="0"/>
                <a:cs typeface="Chronicle Display Black" charset="0"/>
              </a:rPr>
              <a:t>Phase 1: </a:t>
            </a:r>
          </a:p>
          <a:p>
            <a:pPr marL="0" indent="0" defTabSz="623438">
              <a:lnSpc>
                <a:spcPct val="85000"/>
              </a:lnSpc>
              <a:spcBef>
                <a:spcPts val="205"/>
              </a:spcBef>
              <a:buClr>
                <a:srgbClr val="787878"/>
              </a:buClr>
              <a:buNone/>
            </a:pPr>
            <a:r>
              <a:rPr lang="en-US" sz="1050" b="1" dirty="0">
                <a:solidFill>
                  <a:srgbClr val="000000"/>
                </a:solidFill>
                <a:latin typeface="Open Sans"/>
                <a:ea typeface="Chronicle Display Black" charset="0"/>
                <a:cs typeface="Chronicle Display Black" charset="0"/>
              </a:rPr>
              <a:t>Establish Spend Transparency</a:t>
            </a:r>
            <a:endParaRPr lang="en-US" sz="1050" dirty="0">
              <a:solidFill>
                <a:srgbClr val="000000"/>
              </a:solidFill>
              <a:latin typeface="Open Sans"/>
              <a:ea typeface="Chronicle Display Black" charset="0"/>
              <a:cs typeface="Chronicle Display Black" charset="0"/>
            </a:endParaRPr>
          </a:p>
          <a:p>
            <a:pPr marL="0" indent="0" defTabSz="623438">
              <a:lnSpc>
                <a:spcPct val="85000"/>
              </a:lnSpc>
              <a:spcBef>
                <a:spcPts val="205"/>
              </a:spcBef>
              <a:buClr>
                <a:srgbClr val="787878"/>
              </a:buClr>
              <a:buNone/>
            </a:pPr>
            <a:r>
              <a:rPr lang="en-US" sz="1050" i="1" dirty="0">
                <a:solidFill>
                  <a:srgbClr val="000000"/>
                </a:solidFill>
                <a:latin typeface="Open Sans"/>
                <a:ea typeface="Chronicle Display Black" charset="0"/>
                <a:cs typeface="Chronicle Display Black" charset="0"/>
              </a:rPr>
              <a:t>to identify and size opportunities</a:t>
            </a:r>
          </a:p>
        </p:txBody>
      </p:sp>
      <p:sp>
        <p:nvSpPr>
          <p:cNvPr id="22" name="Rectangle: Diagonal Corners Rounded 21">
            <a:extLst>
              <a:ext uri="{FF2B5EF4-FFF2-40B4-BE49-F238E27FC236}">
                <a16:creationId xmlns:a16="http://schemas.microsoft.com/office/drawing/2014/main" id="{987A2864-C8E1-42D9-9232-6E1BE9EC82FE}"/>
              </a:ext>
            </a:extLst>
          </p:cNvPr>
          <p:cNvSpPr/>
          <p:nvPr/>
        </p:nvSpPr>
        <p:spPr>
          <a:xfrm>
            <a:off x="1460555" y="3096903"/>
            <a:ext cx="824983" cy="698269"/>
          </a:xfrm>
          <a:prstGeom prst="round2DiagRect">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831230">
              <a:defRPr/>
            </a:pPr>
            <a:r>
              <a:rPr lang="en-US" sz="700" b="1" dirty="0">
                <a:solidFill>
                  <a:srgbClr val="000000"/>
                </a:solidFill>
              </a:rPr>
              <a:t>DIGITAL BRAND </a:t>
            </a:r>
          </a:p>
          <a:p>
            <a:pPr algn="ctr" defTabSz="831230">
              <a:defRPr/>
            </a:pPr>
            <a:r>
              <a:rPr lang="en-US" sz="700" b="1" dirty="0">
                <a:solidFill>
                  <a:srgbClr val="000000"/>
                </a:solidFill>
              </a:rPr>
              <a:t>IN A BOX</a:t>
            </a:r>
          </a:p>
        </p:txBody>
      </p:sp>
      <p:sp>
        <p:nvSpPr>
          <p:cNvPr id="23" name="Rectangle: Diagonal Corners Rounded 22">
            <a:extLst>
              <a:ext uri="{FF2B5EF4-FFF2-40B4-BE49-F238E27FC236}">
                <a16:creationId xmlns:a16="http://schemas.microsoft.com/office/drawing/2014/main" id="{580BF6AD-8324-444F-8FB6-A8C90893C5AD}"/>
              </a:ext>
            </a:extLst>
          </p:cNvPr>
          <p:cNvSpPr/>
          <p:nvPr/>
        </p:nvSpPr>
        <p:spPr>
          <a:xfrm>
            <a:off x="1460555" y="3994085"/>
            <a:ext cx="824983" cy="698269"/>
          </a:xfrm>
          <a:prstGeom prst="round2DiagRect">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831230">
              <a:defRPr/>
            </a:pPr>
            <a:r>
              <a:rPr lang="en-US" sz="700" b="1" dirty="0">
                <a:solidFill>
                  <a:srgbClr val="000000"/>
                </a:solidFill>
              </a:rPr>
              <a:t>IN-HOUSE AGENCY</a:t>
            </a:r>
          </a:p>
        </p:txBody>
      </p:sp>
      <p:sp>
        <p:nvSpPr>
          <p:cNvPr id="24" name="TextBox 23">
            <a:extLst>
              <a:ext uri="{FF2B5EF4-FFF2-40B4-BE49-F238E27FC236}">
                <a16:creationId xmlns:a16="http://schemas.microsoft.com/office/drawing/2014/main" id="{EA2BC4C3-B838-4790-9934-92693009162C}"/>
              </a:ext>
            </a:extLst>
          </p:cNvPr>
          <p:cNvSpPr txBox="1"/>
          <p:nvPr/>
        </p:nvSpPr>
        <p:spPr>
          <a:xfrm>
            <a:off x="2298668" y="3096903"/>
            <a:ext cx="1427711" cy="846386"/>
          </a:xfrm>
          <a:prstGeom prst="rect">
            <a:avLst/>
          </a:prstGeom>
          <a:noFill/>
        </p:spPr>
        <p:txBody>
          <a:bodyPr wrap="square" rtlCol="0">
            <a:spAutoFit/>
          </a:bodyPr>
          <a:lstStyle/>
          <a:p>
            <a:pPr marL="81047" indent="-81047" defTabSz="831230">
              <a:buFont typeface="Arial" panose="020B0604020202020204" pitchFamily="34" charset="0"/>
              <a:buChar char="•"/>
              <a:defRPr/>
            </a:pPr>
            <a:r>
              <a:rPr lang="en-US" sz="700" dirty="0">
                <a:solidFill>
                  <a:srgbClr val="000000"/>
                </a:solidFill>
              </a:rPr>
              <a:t>Create brand framework and toolkit to rapidly support a country launch</a:t>
            </a:r>
          </a:p>
          <a:p>
            <a:pPr marL="81047" indent="-81047" defTabSz="831230">
              <a:buFont typeface="Arial" panose="020B0604020202020204" pitchFamily="34" charset="0"/>
              <a:buChar char="•"/>
              <a:defRPr/>
            </a:pPr>
            <a:r>
              <a:rPr lang="en-US" sz="700" dirty="0">
                <a:solidFill>
                  <a:srgbClr val="000000"/>
                </a:solidFill>
              </a:rPr>
              <a:t>Develop digital asset capabilities to automate and localize marketing efficiently and effectively</a:t>
            </a:r>
          </a:p>
        </p:txBody>
      </p:sp>
      <p:sp>
        <p:nvSpPr>
          <p:cNvPr id="25" name="TextBox 24">
            <a:extLst>
              <a:ext uri="{FF2B5EF4-FFF2-40B4-BE49-F238E27FC236}">
                <a16:creationId xmlns:a16="http://schemas.microsoft.com/office/drawing/2014/main" id="{A80819C6-B4F4-4538-8B0A-DDC9924E9E3F}"/>
              </a:ext>
            </a:extLst>
          </p:cNvPr>
          <p:cNvSpPr txBox="1"/>
          <p:nvPr/>
        </p:nvSpPr>
        <p:spPr>
          <a:xfrm>
            <a:off x="2298668" y="3994085"/>
            <a:ext cx="1427711" cy="738664"/>
          </a:xfrm>
          <a:prstGeom prst="rect">
            <a:avLst/>
          </a:prstGeom>
          <a:noFill/>
        </p:spPr>
        <p:txBody>
          <a:bodyPr wrap="square" rtlCol="0">
            <a:spAutoFit/>
          </a:bodyPr>
          <a:lstStyle/>
          <a:p>
            <a:pPr marL="81047" indent="-81047" defTabSz="831230">
              <a:buFont typeface="Arial" panose="020B0604020202020204" pitchFamily="34" charset="0"/>
              <a:buChar char="•"/>
              <a:defRPr/>
            </a:pPr>
            <a:r>
              <a:rPr lang="en-US" sz="700" dirty="0">
                <a:solidFill>
                  <a:srgbClr val="000000"/>
                </a:solidFill>
              </a:rPr>
              <a:t>Establish in-house capability for critical spend areas and bottlenecks</a:t>
            </a:r>
          </a:p>
          <a:p>
            <a:pPr marL="81047" indent="-81047" defTabSz="831230">
              <a:buFont typeface="Arial" panose="020B0604020202020204" pitchFamily="34" charset="0"/>
              <a:buChar char="•"/>
              <a:defRPr/>
            </a:pPr>
            <a:r>
              <a:rPr lang="en-US" sz="700" dirty="0">
                <a:solidFill>
                  <a:srgbClr val="000000"/>
                </a:solidFill>
              </a:rPr>
              <a:t>Manage flexible model leveraging agencies when at capacity</a:t>
            </a:r>
          </a:p>
        </p:txBody>
      </p:sp>
      <p:sp>
        <p:nvSpPr>
          <p:cNvPr id="26" name="Down Arrow 205">
            <a:extLst>
              <a:ext uri="{FF2B5EF4-FFF2-40B4-BE49-F238E27FC236}">
                <a16:creationId xmlns:a16="http://schemas.microsoft.com/office/drawing/2014/main" id="{0A4690FF-E81F-47E9-816F-F59425FF5564}"/>
              </a:ext>
            </a:extLst>
          </p:cNvPr>
          <p:cNvSpPr/>
          <p:nvPr/>
        </p:nvSpPr>
        <p:spPr bwMode="auto">
          <a:xfrm>
            <a:off x="3709663" y="3300755"/>
            <a:ext cx="505474" cy="389717"/>
          </a:xfrm>
          <a:prstGeom prst="downArrow">
            <a:avLst>
              <a:gd name="adj1" fmla="val 66868"/>
              <a:gd name="adj2" fmla="val 45161"/>
            </a:avLst>
          </a:prstGeom>
          <a:solidFill>
            <a:schemeClr val="accent2">
              <a:lumMod val="60000"/>
              <a:lumOff val="40000"/>
            </a:schemeClr>
          </a:solidFill>
          <a:ln w="12700" cap="flat" cmpd="sng" algn="ctr">
            <a:noFill/>
            <a:prstDash val="solid"/>
            <a:round/>
            <a:headEnd type="none" w="med" len="med"/>
            <a:tailEnd type="none" w="med" len="med"/>
          </a:ln>
          <a:effectLst/>
        </p:spPr>
        <p:txBody>
          <a:bodyPr lIns="49876" tIns="49876" rIns="49876" bIns="49876" anchor="ctr" anchorCtr="1"/>
          <a:lstStyle/>
          <a:p>
            <a:pPr algn="ctr" defTabSz="623438" eaLnBrk="0" hangingPunct="0">
              <a:lnSpc>
                <a:spcPct val="106000"/>
              </a:lnSpc>
              <a:defRPr/>
            </a:pPr>
            <a:r>
              <a:rPr lang="en-US" sz="700" b="1" kern="0" dirty="0">
                <a:solidFill>
                  <a:srgbClr val="000000"/>
                </a:solidFill>
              </a:rPr>
              <a:t>~15-20%</a:t>
            </a:r>
          </a:p>
        </p:txBody>
      </p:sp>
      <p:sp>
        <p:nvSpPr>
          <p:cNvPr id="27" name="Down Arrow 206">
            <a:extLst>
              <a:ext uri="{FF2B5EF4-FFF2-40B4-BE49-F238E27FC236}">
                <a16:creationId xmlns:a16="http://schemas.microsoft.com/office/drawing/2014/main" id="{8AAE9E56-746B-4F9D-B266-038CF62F18AD}"/>
              </a:ext>
            </a:extLst>
          </p:cNvPr>
          <p:cNvSpPr/>
          <p:nvPr/>
        </p:nvSpPr>
        <p:spPr bwMode="auto">
          <a:xfrm>
            <a:off x="3709663" y="4099793"/>
            <a:ext cx="505474" cy="389717"/>
          </a:xfrm>
          <a:prstGeom prst="downArrow">
            <a:avLst>
              <a:gd name="adj1" fmla="val 66868"/>
              <a:gd name="adj2" fmla="val 45161"/>
            </a:avLst>
          </a:prstGeom>
          <a:solidFill>
            <a:schemeClr val="accent2">
              <a:lumMod val="60000"/>
              <a:lumOff val="40000"/>
            </a:schemeClr>
          </a:solidFill>
          <a:ln w="12700" cap="flat" cmpd="sng" algn="ctr">
            <a:noFill/>
            <a:prstDash val="solid"/>
            <a:round/>
            <a:headEnd type="none" w="med" len="med"/>
            <a:tailEnd type="none" w="med" len="med"/>
          </a:ln>
          <a:effectLst/>
        </p:spPr>
        <p:txBody>
          <a:bodyPr lIns="49876" tIns="49876" rIns="49876" bIns="49876" anchor="ctr" anchorCtr="1"/>
          <a:lstStyle/>
          <a:p>
            <a:pPr algn="ctr" defTabSz="623438" eaLnBrk="0" hangingPunct="0">
              <a:lnSpc>
                <a:spcPct val="106000"/>
              </a:lnSpc>
              <a:defRPr/>
            </a:pPr>
            <a:r>
              <a:rPr lang="en-US" sz="700" b="1" kern="0" dirty="0">
                <a:solidFill>
                  <a:srgbClr val="000000"/>
                </a:solidFill>
              </a:rPr>
              <a:t>~5-30%</a:t>
            </a:r>
          </a:p>
        </p:txBody>
      </p:sp>
      <p:sp>
        <p:nvSpPr>
          <p:cNvPr id="28" name="Rectangle: Rounded Corners 27">
            <a:extLst>
              <a:ext uri="{FF2B5EF4-FFF2-40B4-BE49-F238E27FC236}">
                <a16:creationId xmlns:a16="http://schemas.microsoft.com/office/drawing/2014/main" id="{7DC53ACA-5882-457A-9927-7AB25B625A82}"/>
              </a:ext>
            </a:extLst>
          </p:cNvPr>
          <p:cNvSpPr/>
          <p:nvPr/>
        </p:nvSpPr>
        <p:spPr>
          <a:xfrm>
            <a:off x="3398472" y="1976478"/>
            <a:ext cx="872836" cy="436418"/>
          </a:xfrm>
          <a:prstGeom prst="roundRect">
            <a:avLst/>
          </a:prstGeom>
          <a:solidFill>
            <a:schemeClr val="accent2">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1173" rIns="0" bIns="31173" rtlCol="0" anchor="ctr"/>
          <a:lstStyle/>
          <a:p>
            <a:pPr algn="ctr" defTabSz="831230">
              <a:defRPr/>
            </a:pPr>
            <a:r>
              <a:rPr lang="en-US" sz="700" b="1" spc="20" dirty="0">
                <a:solidFill>
                  <a:srgbClr val="000000"/>
                </a:solidFill>
              </a:rPr>
              <a:t>EXECUTION</a:t>
            </a:r>
          </a:p>
        </p:txBody>
      </p:sp>
      <p:sp>
        <p:nvSpPr>
          <p:cNvPr id="29" name="Rectangle: Rounded Corners 28">
            <a:extLst>
              <a:ext uri="{FF2B5EF4-FFF2-40B4-BE49-F238E27FC236}">
                <a16:creationId xmlns:a16="http://schemas.microsoft.com/office/drawing/2014/main" id="{CEDC13F4-95AC-40E2-9901-DD54F5D52B83}"/>
              </a:ext>
            </a:extLst>
          </p:cNvPr>
          <p:cNvSpPr/>
          <p:nvPr/>
        </p:nvSpPr>
        <p:spPr>
          <a:xfrm>
            <a:off x="3398472" y="2510212"/>
            <a:ext cx="872836" cy="436418"/>
          </a:xfrm>
          <a:prstGeom prst="roundRect">
            <a:avLst/>
          </a:prstGeom>
          <a:solidFill>
            <a:schemeClr val="accent2">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1173" rIns="0" bIns="31173" rtlCol="0" anchor="ctr"/>
          <a:lstStyle/>
          <a:p>
            <a:pPr algn="ctr" defTabSz="831230">
              <a:defRPr/>
            </a:pPr>
            <a:r>
              <a:rPr lang="en-US" sz="700" b="1" spc="20" dirty="0">
                <a:solidFill>
                  <a:srgbClr val="000000"/>
                </a:solidFill>
              </a:rPr>
              <a:t>MEASUREMENT</a:t>
            </a:r>
          </a:p>
        </p:txBody>
      </p:sp>
      <p:sp>
        <p:nvSpPr>
          <p:cNvPr id="30" name="Rectangle: Rounded Corners 29">
            <a:extLst>
              <a:ext uri="{FF2B5EF4-FFF2-40B4-BE49-F238E27FC236}">
                <a16:creationId xmlns:a16="http://schemas.microsoft.com/office/drawing/2014/main" id="{793B5CD3-9592-4AF9-A8CA-32F2241A4A0D}"/>
              </a:ext>
            </a:extLst>
          </p:cNvPr>
          <p:cNvSpPr/>
          <p:nvPr/>
        </p:nvSpPr>
        <p:spPr>
          <a:xfrm>
            <a:off x="1457260" y="1976478"/>
            <a:ext cx="872836" cy="436418"/>
          </a:xfrm>
          <a:prstGeom prst="roundRect">
            <a:avLst/>
          </a:prstGeom>
          <a:solidFill>
            <a:schemeClr val="accent2">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1173" rIns="0" bIns="31173" rtlCol="0" anchor="ctr"/>
          <a:lstStyle/>
          <a:p>
            <a:pPr algn="ctr" defTabSz="831230">
              <a:defRPr/>
            </a:pPr>
            <a:r>
              <a:rPr lang="en-US" sz="700" b="1" spc="20" dirty="0">
                <a:solidFill>
                  <a:srgbClr val="000000"/>
                </a:solidFill>
              </a:rPr>
              <a:t>STRATEGY &amp; PLANNING</a:t>
            </a:r>
          </a:p>
        </p:txBody>
      </p:sp>
      <p:sp>
        <p:nvSpPr>
          <p:cNvPr id="31" name="Rectangle: Rounded Corners 30">
            <a:extLst>
              <a:ext uri="{FF2B5EF4-FFF2-40B4-BE49-F238E27FC236}">
                <a16:creationId xmlns:a16="http://schemas.microsoft.com/office/drawing/2014/main" id="{D27EC46E-0342-4B9D-B4EA-C8F2DE51EB9E}"/>
              </a:ext>
            </a:extLst>
          </p:cNvPr>
          <p:cNvSpPr/>
          <p:nvPr/>
        </p:nvSpPr>
        <p:spPr>
          <a:xfrm>
            <a:off x="1457260" y="2510212"/>
            <a:ext cx="872836" cy="436418"/>
          </a:xfrm>
          <a:prstGeom prst="roundRect">
            <a:avLst/>
          </a:prstGeom>
          <a:solidFill>
            <a:schemeClr val="accent2">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1173" rIns="0" bIns="31173" rtlCol="0" anchor="ctr"/>
          <a:lstStyle/>
          <a:p>
            <a:pPr algn="ctr" defTabSz="831230">
              <a:defRPr/>
            </a:pPr>
            <a:r>
              <a:rPr lang="en-US" sz="700" b="1" spc="20" dirty="0">
                <a:solidFill>
                  <a:srgbClr val="000000"/>
                </a:solidFill>
              </a:rPr>
              <a:t>CREATIVE DESIGN</a:t>
            </a:r>
          </a:p>
        </p:txBody>
      </p:sp>
      <p:sp>
        <p:nvSpPr>
          <p:cNvPr id="32" name="Rectangle: Rounded Corners 31">
            <a:extLst>
              <a:ext uri="{FF2B5EF4-FFF2-40B4-BE49-F238E27FC236}">
                <a16:creationId xmlns:a16="http://schemas.microsoft.com/office/drawing/2014/main" id="{F1F2138D-35DC-4AC7-91C1-C7FF7B69BDEB}"/>
              </a:ext>
            </a:extLst>
          </p:cNvPr>
          <p:cNvSpPr/>
          <p:nvPr/>
        </p:nvSpPr>
        <p:spPr>
          <a:xfrm>
            <a:off x="2427866" y="1976478"/>
            <a:ext cx="872836" cy="436418"/>
          </a:xfrm>
          <a:prstGeom prst="roundRect">
            <a:avLst/>
          </a:prstGeom>
          <a:solidFill>
            <a:schemeClr val="accent2">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1173" rIns="0" bIns="31173" rtlCol="0" anchor="ctr"/>
          <a:lstStyle/>
          <a:p>
            <a:pPr algn="ctr" defTabSz="831230">
              <a:defRPr/>
            </a:pPr>
            <a:r>
              <a:rPr lang="en-US" sz="700" b="1" spc="20" dirty="0">
                <a:solidFill>
                  <a:srgbClr val="000000"/>
                </a:solidFill>
              </a:rPr>
              <a:t>CREATIVE DEVELOPMENT</a:t>
            </a:r>
          </a:p>
        </p:txBody>
      </p:sp>
      <p:sp>
        <p:nvSpPr>
          <p:cNvPr id="33" name="Rectangle: Rounded Corners 32">
            <a:extLst>
              <a:ext uri="{FF2B5EF4-FFF2-40B4-BE49-F238E27FC236}">
                <a16:creationId xmlns:a16="http://schemas.microsoft.com/office/drawing/2014/main" id="{3F0A097C-8DC6-41ED-8C0E-EB852D5E8A21}"/>
              </a:ext>
            </a:extLst>
          </p:cNvPr>
          <p:cNvSpPr/>
          <p:nvPr/>
        </p:nvSpPr>
        <p:spPr>
          <a:xfrm>
            <a:off x="2427866" y="2510212"/>
            <a:ext cx="872836" cy="436418"/>
          </a:xfrm>
          <a:prstGeom prst="roundRect">
            <a:avLst/>
          </a:prstGeom>
          <a:solidFill>
            <a:schemeClr val="accent2">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1173" rIns="0" bIns="31173" rtlCol="0" anchor="ctr"/>
          <a:lstStyle/>
          <a:p>
            <a:pPr algn="ctr" defTabSz="831230">
              <a:defRPr/>
            </a:pPr>
            <a:r>
              <a:rPr lang="en-US" sz="700" b="1" spc="20" dirty="0">
                <a:solidFill>
                  <a:srgbClr val="000000"/>
                </a:solidFill>
              </a:rPr>
              <a:t>PRODUCTION</a:t>
            </a:r>
          </a:p>
        </p:txBody>
      </p:sp>
      <p:sp>
        <p:nvSpPr>
          <p:cNvPr id="35" name="Rectangle: Diagonal Corners Rounded 34">
            <a:extLst>
              <a:ext uri="{FF2B5EF4-FFF2-40B4-BE49-F238E27FC236}">
                <a16:creationId xmlns:a16="http://schemas.microsoft.com/office/drawing/2014/main" id="{218C87B1-48D0-4FA5-AA62-1BD55ED35040}"/>
              </a:ext>
            </a:extLst>
          </p:cNvPr>
          <p:cNvSpPr/>
          <p:nvPr/>
        </p:nvSpPr>
        <p:spPr>
          <a:xfrm>
            <a:off x="4680292" y="3096903"/>
            <a:ext cx="824983" cy="698269"/>
          </a:xfrm>
          <a:prstGeom prst="round2Diag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831230">
              <a:defRPr/>
            </a:pPr>
            <a:r>
              <a:rPr lang="en-US" sz="700" b="1" dirty="0">
                <a:solidFill>
                  <a:srgbClr val="000000"/>
                </a:solidFill>
              </a:rPr>
              <a:t>COLLABORATIVE IDEATION</a:t>
            </a:r>
          </a:p>
        </p:txBody>
      </p:sp>
      <p:sp>
        <p:nvSpPr>
          <p:cNvPr id="36" name="Rectangle: Diagonal Corners Rounded 35">
            <a:extLst>
              <a:ext uri="{FF2B5EF4-FFF2-40B4-BE49-F238E27FC236}">
                <a16:creationId xmlns:a16="http://schemas.microsoft.com/office/drawing/2014/main" id="{B87611B9-7128-4144-9B26-747ECFFA1965}"/>
              </a:ext>
            </a:extLst>
          </p:cNvPr>
          <p:cNvSpPr/>
          <p:nvPr/>
        </p:nvSpPr>
        <p:spPr>
          <a:xfrm>
            <a:off x="4680292" y="3994085"/>
            <a:ext cx="824983" cy="698269"/>
          </a:xfrm>
          <a:prstGeom prst="round2Diag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831230">
              <a:defRPr/>
            </a:pPr>
            <a:r>
              <a:rPr lang="en-US" sz="700" b="1" dirty="0">
                <a:solidFill>
                  <a:srgbClr val="000000"/>
                </a:solidFill>
              </a:rPr>
              <a:t>PERFORMANCE MONITORING</a:t>
            </a:r>
          </a:p>
        </p:txBody>
      </p:sp>
      <p:sp>
        <p:nvSpPr>
          <p:cNvPr id="37" name="TextBox 36">
            <a:extLst>
              <a:ext uri="{FF2B5EF4-FFF2-40B4-BE49-F238E27FC236}">
                <a16:creationId xmlns:a16="http://schemas.microsoft.com/office/drawing/2014/main" id="{9B7F00EB-ABA7-40BF-A90F-6AAC2204E6EA}"/>
              </a:ext>
            </a:extLst>
          </p:cNvPr>
          <p:cNvSpPr txBox="1"/>
          <p:nvPr/>
        </p:nvSpPr>
        <p:spPr>
          <a:xfrm>
            <a:off x="5505661" y="3096903"/>
            <a:ext cx="1427711" cy="846386"/>
          </a:xfrm>
          <a:prstGeom prst="rect">
            <a:avLst/>
          </a:prstGeom>
          <a:noFill/>
        </p:spPr>
        <p:txBody>
          <a:bodyPr wrap="square" rtlCol="0">
            <a:spAutoFit/>
          </a:bodyPr>
          <a:lstStyle/>
          <a:p>
            <a:pPr marL="81047" indent="-81047" defTabSz="831230">
              <a:buFont typeface="Arial" panose="020B0604020202020204" pitchFamily="34" charset="0"/>
              <a:buChar char="•"/>
              <a:defRPr/>
            </a:pPr>
            <a:r>
              <a:rPr lang="en-US" sz="700" dirty="0">
                <a:solidFill>
                  <a:srgbClr val="000000"/>
                </a:solidFill>
              </a:rPr>
              <a:t>Conduct all agency briefing to enable integrated campaign planning</a:t>
            </a:r>
          </a:p>
          <a:p>
            <a:pPr marL="81047" indent="-81047" defTabSz="831230">
              <a:buFont typeface="Arial" panose="020B0604020202020204" pitchFamily="34" charset="0"/>
              <a:buChar char="•"/>
              <a:defRPr/>
            </a:pPr>
            <a:r>
              <a:rPr lang="en-US" sz="700" dirty="0">
                <a:solidFill>
                  <a:srgbClr val="000000"/>
                </a:solidFill>
              </a:rPr>
              <a:t>Leverage crowd-sourcing techniques to source innovative ideas for agency roster</a:t>
            </a:r>
          </a:p>
        </p:txBody>
      </p:sp>
      <p:sp>
        <p:nvSpPr>
          <p:cNvPr id="38" name="TextBox 37">
            <a:extLst>
              <a:ext uri="{FF2B5EF4-FFF2-40B4-BE49-F238E27FC236}">
                <a16:creationId xmlns:a16="http://schemas.microsoft.com/office/drawing/2014/main" id="{443D8C12-A30C-4C69-BF17-6E1357817B33}"/>
              </a:ext>
            </a:extLst>
          </p:cNvPr>
          <p:cNvSpPr txBox="1"/>
          <p:nvPr/>
        </p:nvSpPr>
        <p:spPr>
          <a:xfrm>
            <a:off x="5500950" y="3994085"/>
            <a:ext cx="1427711" cy="523220"/>
          </a:xfrm>
          <a:prstGeom prst="rect">
            <a:avLst/>
          </a:prstGeom>
          <a:noFill/>
        </p:spPr>
        <p:txBody>
          <a:bodyPr wrap="square" rtlCol="0">
            <a:spAutoFit/>
          </a:bodyPr>
          <a:lstStyle/>
          <a:p>
            <a:pPr marL="81047" indent="-81047" defTabSz="831230">
              <a:buFont typeface="Arial" panose="020B0604020202020204" pitchFamily="34" charset="0"/>
              <a:buChar char="•"/>
              <a:defRPr/>
            </a:pPr>
            <a:r>
              <a:rPr lang="en-US" sz="700" dirty="0">
                <a:solidFill>
                  <a:srgbClr val="000000"/>
                </a:solidFill>
              </a:rPr>
              <a:t>Drive agencies to provide improved transparency through common KPI reporting</a:t>
            </a:r>
          </a:p>
        </p:txBody>
      </p:sp>
      <p:sp>
        <p:nvSpPr>
          <p:cNvPr id="39" name="Down Arrow 208">
            <a:extLst>
              <a:ext uri="{FF2B5EF4-FFF2-40B4-BE49-F238E27FC236}">
                <a16:creationId xmlns:a16="http://schemas.microsoft.com/office/drawing/2014/main" id="{B08525C1-2A30-4271-8175-23BC133DDF59}"/>
              </a:ext>
            </a:extLst>
          </p:cNvPr>
          <p:cNvSpPr/>
          <p:nvPr/>
        </p:nvSpPr>
        <p:spPr bwMode="auto">
          <a:xfrm>
            <a:off x="6867348" y="4067278"/>
            <a:ext cx="505474" cy="389717"/>
          </a:xfrm>
          <a:prstGeom prst="downArrow">
            <a:avLst>
              <a:gd name="adj1" fmla="val 66868"/>
              <a:gd name="adj2" fmla="val 45161"/>
            </a:avLst>
          </a:prstGeom>
          <a:solidFill>
            <a:schemeClr val="accent3"/>
          </a:solidFill>
          <a:ln w="12700" cap="flat" cmpd="sng" algn="ctr">
            <a:solidFill>
              <a:schemeClr val="accent3"/>
            </a:solidFill>
            <a:prstDash val="solid"/>
            <a:round/>
            <a:headEnd type="none" w="med" len="med"/>
            <a:tailEnd type="none" w="med" len="med"/>
          </a:ln>
          <a:effectLst/>
        </p:spPr>
        <p:txBody>
          <a:bodyPr lIns="49876" tIns="49876" rIns="49876" bIns="49876" anchor="ctr" anchorCtr="1"/>
          <a:lstStyle/>
          <a:p>
            <a:pPr algn="ctr" defTabSz="623438" eaLnBrk="0" hangingPunct="0">
              <a:lnSpc>
                <a:spcPct val="106000"/>
              </a:lnSpc>
              <a:defRPr/>
            </a:pPr>
            <a:r>
              <a:rPr lang="en-US" sz="700" b="1" kern="0" dirty="0">
                <a:solidFill>
                  <a:srgbClr val="000000"/>
                </a:solidFill>
              </a:rPr>
              <a:t>~3-5%</a:t>
            </a:r>
          </a:p>
        </p:txBody>
      </p:sp>
      <p:sp>
        <p:nvSpPr>
          <p:cNvPr id="40" name="Cross 39">
            <a:extLst>
              <a:ext uri="{FF2B5EF4-FFF2-40B4-BE49-F238E27FC236}">
                <a16:creationId xmlns:a16="http://schemas.microsoft.com/office/drawing/2014/main" id="{693FEE61-F767-4D5F-89AE-91459FB1B2C5}"/>
              </a:ext>
            </a:extLst>
          </p:cNvPr>
          <p:cNvSpPr/>
          <p:nvPr/>
        </p:nvSpPr>
        <p:spPr>
          <a:xfrm>
            <a:off x="6929889" y="3272578"/>
            <a:ext cx="380393" cy="380392"/>
          </a:xfrm>
          <a:prstGeom prst="plus">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831230">
              <a:defRPr/>
            </a:pPr>
            <a:r>
              <a:rPr lang="en-US" sz="700" b="1" dirty="0">
                <a:solidFill>
                  <a:srgbClr val="000000"/>
                </a:solidFill>
              </a:rPr>
              <a:t>3-5%</a:t>
            </a:r>
          </a:p>
        </p:txBody>
      </p:sp>
      <p:sp>
        <p:nvSpPr>
          <p:cNvPr id="41" name="Rectangle: Rounded Corners 40">
            <a:extLst>
              <a:ext uri="{FF2B5EF4-FFF2-40B4-BE49-F238E27FC236}">
                <a16:creationId xmlns:a16="http://schemas.microsoft.com/office/drawing/2014/main" id="{C778F123-ABB8-4050-BF72-2004ECBC7F52}"/>
              </a:ext>
            </a:extLst>
          </p:cNvPr>
          <p:cNvSpPr/>
          <p:nvPr/>
        </p:nvSpPr>
        <p:spPr>
          <a:xfrm>
            <a:off x="6573651" y="1976478"/>
            <a:ext cx="872836" cy="436418"/>
          </a:xfrm>
          <a:prstGeom prst="roundRect">
            <a:avLst/>
          </a:prstGeom>
          <a:solidFill>
            <a:schemeClr val="accent3">
              <a:lumMod val="60000"/>
              <a:lumOff val="40000"/>
            </a:schemeClr>
          </a:soli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1173" rIns="0" bIns="31173" rtlCol="0" anchor="ctr"/>
          <a:lstStyle/>
          <a:p>
            <a:pPr algn="ctr" defTabSz="831230">
              <a:defRPr/>
            </a:pPr>
            <a:r>
              <a:rPr lang="en-US" sz="700" b="1" spc="20" dirty="0">
                <a:solidFill>
                  <a:srgbClr val="000000"/>
                </a:solidFill>
              </a:rPr>
              <a:t>AUTOMATED INTERACTIONS</a:t>
            </a:r>
          </a:p>
        </p:txBody>
      </p:sp>
      <p:sp>
        <p:nvSpPr>
          <p:cNvPr id="42" name="Rectangle: Rounded Corners 41">
            <a:extLst>
              <a:ext uri="{FF2B5EF4-FFF2-40B4-BE49-F238E27FC236}">
                <a16:creationId xmlns:a16="http://schemas.microsoft.com/office/drawing/2014/main" id="{AB77CC0B-AC7A-439C-897B-8555007AAD32}"/>
              </a:ext>
            </a:extLst>
          </p:cNvPr>
          <p:cNvSpPr/>
          <p:nvPr/>
        </p:nvSpPr>
        <p:spPr>
          <a:xfrm>
            <a:off x="4632439" y="1976478"/>
            <a:ext cx="872836" cy="436418"/>
          </a:xfrm>
          <a:prstGeom prst="roundRect">
            <a:avLst/>
          </a:prstGeom>
          <a:solidFill>
            <a:schemeClr val="accent3">
              <a:lumMod val="60000"/>
              <a:lumOff val="40000"/>
            </a:schemeClr>
          </a:soli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1173" rIns="0" bIns="31173" rtlCol="0" anchor="ctr"/>
          <a:lstStyle/>
          <a:p>
            <a:pPr algn="ctr" defTabSz="831230">
              <a:defRPr/>
            </a:pPr>
            <a:r>
              <a:rPr lang="en-US" sz="700" b="1" spc="20" dirty="0">
                <a:solidFill>
                  <a:srgbClr val="000000"/>
                </a:solidFill>
              </a:rPr>
              <a:t>JOINT PLANNING</a:t>
            </a:r>
          </a:p>
        </p:txBody>
      </p:sp>
      <p:sp>
        <p:nvSpPr>
          <p:cNvPr id="43" name="Rectangle: Rounded Corners 42">
            <a:extLst>
              <a:ext uri="{FF2B5EF4-FFF2-40B4-BE49-F238E27FC236}">
                <a16:creationId xmlns:a16="http://schemas.microsoft.com/office/drawing/2014/main" id="{89ABEDED-AFAA-498F-A589-BD403AE955B0}"/>
              </a:ext>
            </a:extLst>
          </p:cNvPr>
          <p:cNvSpPr/>
          <p:nvPr/>
        </p:nvSpPr>
        <p:spPr>
          <a:xfrm>
            <a:off x="4632439" y="2510212"/>
            <a:ext cx="872836" cy="436418"/>
          </a:xfrm>
          <a:prstGeom prst="roundRect">
            <a:avLst/>
          </a:prstGeom>
          <a:solidFill>
            <a:schemeClr val="accent3">
              <a:lumMod val="60000"/>
              <a:lumOff val="40000"/>
            </a:schemeClr>
          </a:soli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1173" rIns="0" bIns="31173" rtlCol="0" anchor="ctr"/>
          <a:lstStyle/>
          <a:p>
            <a:pPr algn="ctr" defTabSz="831230">
              <a:defRPr/>
            </a:pPr>
            <a:r>
              <a:rPr lang="en-US" sz="700" b="1" spc="20" dirty="0">
                <a:solidFill>
                  <a:srgbClr val="000000"/>
                </a:solidFill>
              </a:rPr>
              <a:t>AGENCY COLLABORATION</a:t>
            </a:r>
          </a:p>
        </p:txBody>
      </p:sp>
      <p:sp>
        <p:nvSpPr>
          <p:cNvPr id="44" name="Rectangle: Rounded Corners 43">
            <a:extLst>
              <a:ext uri="{FF2B5EF4-FFF2-40B4-BE49-F238E27FC236}">
                <a16:creationId xmlns:a16="http://schemas.microsoft.com/office/drawing/2014/main" id="{1056B541-83C4-480B-BDC4-80BC3C491A00}"/>
              </a:ext>
            </a:extLst>
          </p:cNvPr>
          <p:cNvSpPr/>
          <p:nvPr/>
        </p:nvSpPr>
        <p:spPr>
          <a:xfrm>
            <a:off x="5603045" y="1976478"/>
            <a:ext cx="872836" cy="436418"/>
          </a:xfrm>
          <a:prstGeom prst="roundRect">
            <a:avLst/>
          </a:prstGeom>
          <a:solidFill>
            <a:schemeClr val="accent3">
              <a:lumMod val="60000"/>
              <a:lumOff val="40000"/>
            </a:schemeClr>
          </a:soli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1173" rIns="0" bIns="31173" rtlCol="0" anchor="ctr"/>
          <a:lstStyle/>
          <a:p>
            <a:pPr algn="ctr" defTabSz="831230">
              <a:defRPr/>
            </a:pPr>
            <a:r>
              <a:rPr lang="en-US" sz="700" b="1" spc="20" dirty="0">
                <a:solidFill>
                  <a:srgbClr val="000000"/>
                </a:solidFill>
              </a:rPr>
              <a:t>ALL AGENCY IDEATION</a:t>
            </a:r>
          </a:p>
        </p:txBody>
      </p:sp>
      <p:sp>
        <p:nvSpPr>
          <p:cNvPr id="45" name="Rectangle: Rounded Corners 44">
            <a:extLst>
              <a:ext uri="{FF2B5EF4-FFF2-40B4-BE49-F238E27FC236}">
                <a16:creationId xmlns:a16="http://schemas.microsoft.com/office/drawing/2014/main" id="{5A93140B-3267-4FB6-B089-42D62BB1A35E}"/>
              </a:ext>
            </a:extLst>
          </p:cNvPr>
          <p:cNvSpPr/>
          <p:nvPr/>
        </p:nvSpPr>
        <p:spPr>
          <a:xfrm>
            <a:off x="5603045" y="2510212"/>
            <a:ext cx="872836" cy="436418"/>
          </a:xfrm>
          <a:prstGeom prst="roundRect">
            <a:avLst/>
          </a:prstGeom>
          <a:solidFill>
            <a:schemeClr val="accent3">
              <a:lumMod val="60000"/>
              <a:lumOff val="40000"/>
            </a:schemeClr>
          </a:soli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1173" rIns="0" bIns="31173" rtlCol="0" anchor="ctr"/>
          <a:lstStyle/>
          <a:p>
            <a:pPr algn="ctr" defTabSz="831230">
              <a:defRPr/>
            </a:pPr>
            <a:r>
              <a:rPr lang="en-US" sz="700" b="1" spc="20" dirty="0">
                <a:solidFill>
                  <a:srgbClr val="000000"/>
                </a:solidFill>
              </a:rPr>
              <a:t>AGENCY PERFORMANCE EVALUATION</a:t>
            </a:r>
          </a:p>
        </p:txBody>
      </p:sp>
      <p:sp>
        <p:nvSpPr>
          <p:cNvPr id="47" name="Rectangle: Diagonal Corners Rounded 46">
            <a:extLst>
              <a:ext uri="{FF2B5EF4-FFF2-40B4-BE49-F238E27FC236}">
                <a16:creationId xmlns:a16="http://schemas.microsoft.com/office/drawing/2014/main" id="{F037BB84-FD54-46E5-80BC-6C1C6EFE5AE1}"/>
              </a:ext>
            </a:extLst>
          </p:cNvPr>
          <p:cNvSpPr/>
          <p:nvPr/>
        </p:nvSpPr>
        <p:spPr>
          <a:xfrm>
            <a:off x="7807618" y="3096903"/>
            <a:ext cx="824983" cy="698269"/>
          </a:xfrm>
          <a:prstGeom prst="round2Diag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831230">
              <a:defRPr/>
            </a:pPr>
            <a:r>
              <a:rPr lang="en-US" sz="700" b="1" dirty="0">
                <a:solidFill>
                  <a:srgbClr val="000000"/>
                </a:solidFill>
              </a:rPr>
              <a:t>MARKETING SPEND SOURCING</a:t>
            </a:r>
          </a:p>
        </p:txBody>
      </p:sp>
      <p:sp>
        <p:nvSpPr>
          <p:cNvPr id="48" name="Rectangle: Diagonal Corners Rounded 47">
            <a:extLst>
              <a:ext uri="{FF2B5EF4-FFF2-40B4-BE49-F238E27FC236}">
                <a16:creationId xmlns:a16="http://schemas.microsoft.com/office/drawing/2014/main" id="{7FC28FE7-3398-43B9-BE8A-3CDFBB7EAAB1}"/>
              </a:ext>
            </a:extLst>
          </p:cNvPr>
          <p:cNvSpPr/>
          <p:nvPr/>
        </p:nvSpPr>
        <p:spPr>
          <a:xfrm>
            <a:off x="7807618" y="3994085"/>
            <a:ext cx="824983" cy="698269"/>
          </a:xfrm>
          <a:prstGeom prst="round2Diag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831230"/>
            <a:r>
              <a:rPr lang="en-US" sz="700" b="1" dirty="0">
                <a:solidFill>
                  <a:srgbClr val="000000"/>
                </a:solidFill>
              </a:rPr>
              <a:t>PAY PER PERFORMANCE</a:t>
            </a:r>
          </a:p>
        </p:txBody>
      </p:sp>
      <p:sp>
        <p:nvSpPr>
          <p:cNvPr id="49" name="TextBox 48">
            <a:extLst>
              <a:ext uri="{FF2B5EF4-FFF2-40B4-BE49-F238E27FC236}">
                <a16:creationId xmlns:a16="http://schemas.microsoft.com/office/drawing/2014/main" id="{03DDD9AC-4152-4184-9AAC-C54AE5D488D8}"/>
              </a:ext>
            </a:extLst>
          </p:cNvPr>
          <p:cNvSpPr txBox="1"/>
          <p:nvPr/>
        </p:nvSpPr>
        <p:spPr>
          <a:xfrm>
            <a:off x="8691402" y="3096903"/>
            <a:ext cx="1427711" cy="846386"/>
          </a:xfrm>
          <a:prstGeom prst="rect">
            <a:avLst/>
          </a:prstGeom>
          <a:noFill/>
        </p:spPr>
        <p:txBody>
          <a:bodyPr wrap="square" rtlCol="0">
            <a:spAutoFit/>
          </a:bodyPr>
          <a:lstStyle/>
          <a:p>
            <a:pPr marL="81047" indent="-81047" defTabSz="831230">
              <a:buFont typeface="Arial" panose="020B0604020202020204" pitchFamily="34" charset="0"/>
              <a:buChar char="•"/>
              <a:defRPr/>
            </a:pPr>
            <a:r>
              <a:rPr lang="en-US" sz="700" dirty="0">
                <a:solidFill>
                  <a:srgbClr val="000000"/>
                </a:solidFill>
              </a:rPr>
              <a:t>Optimize agency roster for economies of scale </a:t>
            </a:r>
          </a:p>
          <a:p>
            <a:pPr marL="81047" indent="-81047" defTabSz="831230">
              <a:buFont typeface="Arial" panose="020B0604020202020204" pitchFamily="34" charset="0"/>
              <a:buChar char="•"/>
              <a:defRPr/>
            </a:pPr>
            <a:r>
              <a:rPr lang="en-US" sz="700" dirty="0">
                <a:solidFill>
                  <a:srgbClr val="000000"/>
                </a:solidFill>
              </a:rPr>
              <a:t>Reset contracting terms to account for new business models</a:t>
            </a:r>
          </a:p>
          <a:p>
            <a:pPr marL="81047" indent="-81047" defTabSz="831230">
              <a:buFont typeface="Arial" panose="020B0604020202020204" pitchFamily="34" charset="0"/>
              <a:buChar char="•"/>
              <a:defRPr/>
            </a:pPr>
            <a:r>
              <a:rPr lang="en-US" sz="700" dirty="0">
                <a:solidFill>
                  <a:srgbClr val="000000"/>
                </a:solidFill>
              </a:rPr>
              <a:t>Audit invoices to monitor spend</a:t>
            </a:r>
          </a:p>
        </p:txBody>
      </p:sp>
      <p:sp>
        <p:nvSpPr>
          <p:cNvPr id="50" name="TextBox 49">
            <a:extLst>
              <a:ext uri="{FF2B5EF4-FFF2-40B4-BE49-F238E27FC236}">
                <a16:creationId xmlns:a16="http://schemas.microsoft.com/office/drawing/2014/main" id="{C0C0A122-4FCF-45DA-96CC-8E2E716CD4E0}"/>
              </a:ext>
            </a:extLst>
          </p:cNvPr>
          <p:cNvSpPr txBox="1"/>
          <p:nvPr/>
        </p:nvSpPr>
        <p:spPr>
          <a:xfrm>
            <a:off x="8680454" y="3994085"/>
            <a:ext cx="1427711" cy="523220"/>
          </a:xfrm>
          <a:prstGeom prst="rect">
            <a:avLst/>
          </a:prstGeom>
          <a:noFill/>
        </p:spPr>
        <p:txBody>
          <a:bodyPr wrap="square" rtlCol="0">
            <a:spAutoFit/>
          </a:bodyPr>
          <a:lstStyle/>
          <a:p>
            <a:pPr marL="81047" indent="-81047" defTabSz="831230">
              <a:buFont typeface="Arial" panose="020B0604020202020204" pitchFamily="34" charset="0"/>
              <a:buChar char="•"/>
              <a:defRPr/>
            </a:pPr>
            <a:r>
              <a:rPr lang="en-US" sz="700" dirty="0">
                <a:solidFill>
                  <a:srgbClr val="000000"/>
                </a:solidFill>
              </a:rPr>
              <a:t>Contract new terms based on performance metrics</a:t>
            </a:r>
          </a:p>
          <a:p>
            <a:pPr marL="81047" indent="-81047" defTabSz="831230">
              <a:buFont typeface="Arial" panose="020B0604020202020204" pitchFamily="34" charset="0"/>
              <a:buChar char="•"/>
              <a:defRPr/>
            </a:pPr>
            <a:r>
              <a:rPr lang="en-US" sz="700" dirty="0">
                <a:solidFill>
                  <a:srgbClr val="000000"/>
                </a:solidFill>
              </a:rPr>
              <a:t>Identify win-win for the partnership</a:t>
            </a:r>
          </a:p>
        </p:txBody>
      </p:sp>
      <p:sp>
        <p:nvSpPr>
          <p:cNvPr id="51" name="Down Arrow 207">
            <a:extLst>
              <a:ext uri="{FF2B5EF4-FFF2-40B4-BE49-F238E27FC236}">
                <a16:creationId xmlns:a16="http://schemas.microsoft.com/office/drawing/2014/main" id="{55ECBB1C-CDFD-4241-B7E8-8264E54DBCA5}"/>
              </a:ext>
            </a:extLst>
          </p:cNvPr>
          <p:cNvSpPr/>
          <p:nvPr/>
        </p:nvSpPr>
        <p:spPr bwMode="auto">
          <a:xfrm>
            <a:off x="10044220" y="3251179"/>
            <a:ext cx="505474" cy="389717"/>
          </a:xfrm>
          <a:prstGeom prst="downArrow">
            <a:avLst>
              <a:gd name="adj1" fmla="val 66868"/>
              <a:gd name="adj2" fmla="val 45161"/>
            </a:avLst>
          </a:prstGeom>
          <a:solidFill>
            <a:schemeClr val="accent1"/>
          </a:solidFill>
          <a:ln w="12700" cap="flat" cmpd="sng" algn="ctr">
            <a:noFill/>
            <a:prstDash val="solid"/>
            <a:round/>
            <a:headEnd type="none" w="med" len="med"/>
            <a:tailEnd type="none" w="med" len="med"/>
          </a:ln>
          <a:effectLst/>
        </p:spPr>
        <p:txBody>
          <a:bodyPr lIns="49876" tIns="49876" rIns="49876" bIns="49876" anchor="ctr" anchorCtr="1"/>
          <a:lstStyle/>
          <a:p>
            <a:pPr algn="ctr" defTabSz="623438" eaLnBrk="0" hangingPunct="0">
              <a:lnSpc>
                <a:spcPct val="106000"/>
              </a:lnSpc>
              <a:defRPr/>
            </a:pPr>
            <a:r>
              <a:rPr lang="en-US" sz="700" b="1" kern="0" dirty="0">
                <a:solidFill>
                  <a:srgbClr val="000000"/>
                </a:solidFill>
              </a:rPr>
              <a:t>~5-15%</a:t>
            </a:r>
          </a:p>
        </p:txBody>
      </p:sp>
      <p:sp>
        <p:nvSpPr>
          <p:cNvPr id="52" name="Cross 51">
            <a:extLst>
              <a:ext uri="{FF2B5EF4-FFF2-40B4-BE49-F238E27FC236}">
                <a16:creationId xmlns:a16="http://schemas.microsoft.com/office/drawing/2014/main" id="{52A0F6A2-C6A9-4958-A327-05125969AA24}"/>
              </a:ext>
            </a:extLst>
          </p:cNvPr>
          <p:cNvSpPr/>
          <p:nvPr/>
        </p:nvSpPr>
        <p:spPr>
          <a:xfrm>
            <a:off x="10106761" y="4048600"/>
            <a:ext cx="380393" cy="380392"/>
          </a:xfrm>
          <a:prstGeom prst="plu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831230">
              <a:defRPr/>
            </a:pPr>
            <a:r>
              <a:rPr lang="en-US" sz="700" b="1" dirty="0">
                <a:solidFill>
                  <a:srgbClr val="000000"/>
                </a:solidFill>
              </a:rPr>
              <a:t>1-5%</a:t>
            </a:r>
          </a:p>
        </p:txBody>
      </p:sp>
      <p:sp>
        <p:nvSpPr>
          <p:cNvPr id="53" name="Rectangle: Rounded Corners 52">
            <a:extLst>
              <a:ext uri="{FF2B5EF4-FFF2-40B4-BE49-F238E27FC236}">
                <a16:creationId xmlns:a16="http://schemas.microsoft.com/office/drawing/2014/main" id="{6228CA85-75F6-4D78-8C73-0C0BB77F19A2}"/>
              </a:ext>
            </a:extLst>
          </p:cNvPr>
          <p:cNvSpPr/>
          <p:nvPr/>
        </p:nvSpPr>
        <p:spPr>
          <a:xfrm>
            <a:off x="9748830" y="1976478"/>
            <a:ext cx="872836" cy="436418"/>
          </a:xfrm>
          <a:prstGeom prst="roundRect">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1173" rIns="0" bIns="31173" rtlCol="0" anchor="ctr"/>
          <a:lstStyle/>
          <a:p>
            <a:pPr algn="ctr" defTabSz="831230"/>
            <a:r>
              <a:rPr lang="en-US" sz="700" b="1" spc="20" dirty="0">
                <a:solidFill>
                  <a:srgbClr val="000000"/>
                </a:solidFill>
              </a:rPr>
              <a:t>CONTRACTING</a:t>
            </a:r>
          </a:p>
        </p:txBody>
      </p:sp>
      <p:sp>
        <p:nvSpPr>
          <p:cNvPr id="54" name="Rectangle: Rounded Corners 53">
            <a:extLst>
              <a:ext uri="{FF2B5EF4-FFF2-40B4-BE49-F238E27FC236}">
                <a16:creationId xmlns:a16="http://schemas.microsoft.com/office/drawing/2014/main" id="{B65A463C-3F00-4C46-9EA8-3ED2FEC24BEA}"/>
              </a:ext>
            </a:extLst>
          </p:cNvPr>
          <p:cNvSpPr/>
          <p:nvPr/>
        </p:nvSpPr>
        <p:spPr>
          <a:xfrm>
            <a:off x="7807618" y="1976478"/>
            <a:ext cx="872836" cy="436418"/>
          </a:xfrm>
          <a:prstGeom prst="roundRect">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1173" rIns="0" bIns="31173" rtlCol="0" anchor="ctr"/>
          <a:lstStyle/>
          <a:p>
            <a:pPr algn="ctr" defTabSz="831230"/>
            <a:r>
              <a:rPr lang="en-US" sz="700" b="1" spc="20" dirty="0">
                <a:solidFill>
                  <a:srgbClr val="000000"/>
                </a:solidFill>
              </a:rPr>
              <a:t>AGENCY ROSTER</a:t>
            </a:r>
          </a:p>
        </p:txBody>
      </p:sp>
      <p:sp>
        <p:nvSpPr>
          <p:cNvPr id="55" name="Rectangle: Rounded Corners 54">
            <a:extLst>
              <a:ext uri="{FF2B5EF4-FFF2-40B4-BE49-F238E27FC236}">
                <a16:creationId xmlns:a16="http://schemas.microsoft.com/office/drawing/2014/main" id="{D1C97EF1-4C75-4508-959A-EC798AAB5CC4}"/>
              </a:ext>
            </a:extLst>
          </p:cNvPr>
          <p:cNvSpPr/>
          <p:nvPr/>
        </p:nvSpPr>
        <p:spPr>
          <a:xfrm>
            <a:off x="7807618" y="2510212"/>
            <a:ext cx="872836" cy="436418"/>
          </a:xfrm>
          <a:prstGeom prst="roundRect">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1173" rIns="0" bIns="31173" rtlCol="0" anchor="ctr"/>
          <a:lstStyle/>
          <a:p>
            <a:pPr algn="ctr" defTabSz="831230"/>
            <a:r>
              <a:rPr lang="en-US" sz="700" b="1" spc="20" dirty="0">
                <a:solidFill>
                  <a:srgbClr val="000000"/>
                </a:solidFill>
              </a:rPr>
              <a:t>COMPENSATION</a:t>
            </a:r>
          </a:p>
        </p:txBody>
      </p:sp>
      <p:sp>
        <p:nvSpPr>
          <p:cNvPr id="56" name="Rectangle: Rounded Corners 55">
            <a:extLst>
              <a:ext uri="{FF2B5EF4-FFF2-40B4-BE49-F238E27FC236}">
                <a16:creationId xmlns:a16="http://schemas.microsoft.com/office/drawing/2014/main" id="{83D520D2-8B55-4DB8-8DAA-EA2378914C00}"/>
              </a:ext>
            </a:extLst>
          </p:cNvPr>
          <p:cNvSpPr/>
          <p:nvPr/>
        </p:nvSpPr>
        <p:spPr>
          <a:xfrm>
            <a:off x="8778224" y="1976478"/>
            <a:ext cx="872836" cy="436418"/>
          </a:xfrm>
          <a:prstGeom prst="roundRect">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1173" rIns="0" bIns="31173" rtlCol="0" anchor="ctr"/>
          <a:lstStyle/>
          <a:p>
            <a:pPr algn="ctr" defTabSz="831230"/>
            <a:r>
              <a:rPr lang="en-US" sz="700" b="1" spc="20" dirty="0">
                <a:solidFill>
                  <a:srgbClr val="000000"/>
                </a:solidFill>
              </a:rPr>
              <a:t>AGENCY REVIEW</a:t>
            </a:r>
          </a:p>
        </p:txBody>
      </p:sp>
      <p:sp>
        <p:nvSpPr>
          <p:cNvPr id="57" name="Rectangle: Rounded Corners 56">
            <a:extLst>
              <a:ext uri="{FF2B5EF4-FFF2-40B4-BE49-F238E27FC236}">
                <a16:creationId xmlns:a16="http://schemas.microsoft.com/office/drawing/2014/main" id="{A94FE433-01E2-417F-9EF7-7C550CD6C3D6}"/>
              </a:ext>
            </a:extLst>
          </p:cNvPr>
          <p:cNvSpPr/>
          <p:nvPr/>
        </p:nvSpPr>
        <p:spPr>
          <a:xfrm>
            <a:off x="8778224" y="2510212"/>
            <a:ext cx="872836" cy="436418"/>
          </a:xfrm>
          <a:prstGeom prst="roundRect">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1173" rIns="0" bIns="31173" rtlCol="0" anchor="ctr"/>
          <a:lstStyle/>
          <a:p>
            <a:pPr algn="ctr" defTabSz="831230"/>
            <a:r>
              <a:rPr lang="en-US" sz="700" b="1" spc="20" dirty="0">
                <a:solidFill>
                  <a:srgbClr val="000000"/>
                </a:solidFill>
              </a:rPr>
              <a:t>CONTRACT AUDITING &amp; RECOVERIES</a:t>
            </a:r>
          </a:p>
        </p:txBody>
      </p:sp>
      <p:sp>
        <p:nvSpPr>
          <p:cNvPr id="58" name="TextBox 57">
            <a:extLst>
              <a:ext uri="{FF2B5EF4-FFF2-40B4-BE49-F238E27FC236}">
                <a16:creationId xmlns:a16="http://schemas.microsoft.com/office/drawing/2014/main" id="{0D4C06E8-60AD-4912-9F51-1F7C2C5780BD}"/>
              </a:ext>
            </a:extLst>
          </p:cNvPr>
          <p:cNvSpPr txBox="1"/>
          <p:nvPr/>
        </p:nvSpPr>
        <p:spPr>
          <a:xfrm>
            <a:off x="2388054" y="1766383"/>
            <a:ext cx="974148" cy="200055"/>
          </a:xfrm>
          <a:prstGeom prst="rect">
            <a:avLst/>
          </a:prstGeom>
          <a:noFill/>
        </p:spPr>
        <p:txBody>
          <a:bodyPr wrap="square" rtlCol="0">
            <a:spAutoFit/>
          </a:bodyPr>
          <a:lstStyle/>
          <a:p>
            <a:pPr algn="ctr" defTabSz="831230">
              <a:defRPr/>
            </a:pPr>
            <a:r>
              <a:rPr lang="en-US" sz="700" b="1" dirty="0">
                <a:solidFill>
                  <a:srgbClr val="000000"/>
                </a:solidFill>
              </a:rPr>
              <a:t>SCOPING</a:t>
            </a:r>
          </a:p>
        </p:txBody>
      </p:sp>
      <p:sp>
        <p:nvSpPr>
          <p:cNvPr id="59" name="TextBox 58">
            <a:extLst>
              <a:ext uri="{FF2B5EF4-FFF2-40B4-BE49-F238E27FC236}">
                <a16:creationId xmlns:a16="http://schemas.microsoft.com/office/drawing/2014/main" id="{47C17F57-DA5D-466F-8DD7-D7C7E245FB94}"/>
              </a:ext>
            </a:extLst>
          </p:cNvPr>
          <p:cNvSpPr txBox="1"/>
          <p:nvPr/>
        </p:nvSpPr>
        <p:spPr>
          <a:xfrm>
            <a:off x="5552389" y="1766383"/>
            <a:ext cx="974148" cy="200055"/>
          </a:xfrm>
          <a:prstGeom prst="rect">
            <a:avLst/>
          </a:prstGeom>
          <a:noFill/>
        </p:spPr>
        <p:txBody>
          <a:bodyPr wrap="square" rtlCol="0">
            <a:spAutoFit/>
          </a:bodyPr>
          <a:lstStyle/>
          <a:p>
            <a:pPr algn="ctr" defTabSz="831230">
              <a:defRPr/>
            </a:pPr>
            <a:r>
              <a:rPr lang="en-US" sz="700" b="1" dirty="0">
                <a:solidFill>
                  <a:srgbClr val="000000"/>
                </a:solidFill>
              </a:rPr>
              <a:t>SOURCING</a:t>
            </a:r>
          </a:p>
        </p:txBody>
      </p:sp>
      <p:sp>
        <p:nvSpPr>
          <p:cNvPr id="60" name="TextBox 59">
            <a:extLst>
              <a:ext uri="{FF2B5EF4-FFF2-40B4-BE49-F238E27FC236}">
                <a16:creationId xmlns:a16="http://schemas.microsoft.com/office/drawing/2014/main" id="{78B8E950-4D5D-4425-8CF8-54B011912F84}"/>
              </a:ext>
            </a:extLst>
          </p:cNvPr>
          <p:cNvSpPr txBox="1"/>
          <p:nvPr/>
        </p:nvSpPr>
        <p:spPr>
          <a:xfrm>
            <a:off x="8727568" y="1766383"/>
            <a:ext cx="974148" cy="200055"/>
          </a:xfrm>
          <a:prstGeom prst="rect">
            <a:avLst/>
          </a:prstGeom>
          <a:noFill/>
        </p:spPr>
        <p:txBody>
          <a:bodyPr wrap="square" rtlCol="0">
            <a:spAutoFit/>
          </a:bodyPr>
          <a:lstStyle/>
          <a:p>
            <a:pPr algn="ctr" defTabSz="831230">
              <a:defRPr/>
            </a:pPr>
            <a:r>
              <a:rPr lang="en-US" sz="700" b="1" dirty="0">
                <a:solidFill>
                  <a:srgbClr val="000000"/>
                </a:solidFill>
              </a:rPr>
              <a:t>MANAGING</a:t>
            </a:r>
          </a:p>
        </p:txBody>
      </p:sp>
    </p:spTree>
    <p:extLst>
      <p:ext uri="{BB962C8B-B14F-4D97-AF65-F5344CB8AC3E}">
        <p14:creationId xmlns:p14="http://schemas.microsoft.com/office/powerpoint/2010/main" val="225831294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FF18BD7-588A-4577-AFE7-6C5D6C83B58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44" name="think-cell Slide" r:id="rId6" imgW="415" imgH="416" progId="TCLayout.ActiveDocument.1">
                  <p:embed/>
                </p:oleObj>
              </mc:Choice>
              <mc:Fallback>
                <p:oleObj name="think-cell Slide" r:id="rId6" imgW="415" imgH="416" progId="TCLayout.ActiveDocument.1">
                  <p:embed/>
                  <p:pic>
                    <p:nvPicPr>
                      <p:cNvPr id="5" name="Object 4" hidden="1">
                        <a:extLst>
                          <a:ext uri="{FF2B5EF4-FFF2-40B4-BE49-F238E27FC236}">
                            <a16:creationId xmlns:a16="http://schemas.microsoft.com/office/drawing/2014/main" id="{5FF18BD7-588A-4577-AFE7-6C5D6C83B58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9AC37E6-D552-4E3E-A0CA-11715D57A40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6A70FB8-4526-4445-91AF-FEFAD3B8B9EF}"/>
              </a:ext>
            </a:extLst>
          </p:cNvPr>
          <p:cNvSpPr>
            <a:spLocks noGrp="1"/>
          </p:cNvSpPr>
          <p:nvPr>
            <p:ph type="title"/>
          </p:nvPr>
        </p:nvSpPr>
        <p:spPr>
          <a:xfrm>
            <a:off x="914400" y="694944"/>
            <a:ext cx="10363200" cy="594360"/>
          </a:xfrm>
        </p:spPr>
        <p:txBody>
          <a:bodyPr/>
          <a:lstStyle/>
          <a:p>
            <a:r>
              <a:rPr lang="en-US" dirty="0"/>
              <a:t>Process Flow</a:t>
            </a:r>
          </a:p>
        </p:txBody>
      </p:sp>
      <p:sp>
        <p:nvSpPr>
          <p:cNvPr id="3" name="Text Placeholder 2">
            <a:extLst>
              <a:ext uri="{FF2B5EF4-FFF2-40B4-BE49-F238E27FC236}">
                <a16:creationId xmlns:a16="http://schemas.microsoft.com/office/drawing/2014/main" id="{DE9C5971-3285-44DD-AD54-3154F669327E}"/>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C78890F1-0C3D-42B6-805C-95B74F21AE9D}"/>
              </a:ext>
            </a:extLst>
          </p:cNvPr>
          <p:cNvSpPr>
            <a:spLocks noGrp="1"/>
          </p:cNvSpPr>
          <p:nvPr>
            <p:ph type="body" sz="quarter" idx="15"/>
          </p:nvPr>
        </p:nvSpPr>
        <p:spPr/>
        <p:txBody>
          <a:bodyPr/>
          <a:lstStyle/>
          <a:p>
            <a:r>
              <a:rPr lang="en-US" dirty="0"/>
              <a:t>Process &amp; customer journey</a:t>
            </a:r>
          </a:p>
        </p:txBody>
      </p:sp>
      <p:sp>
        <p:nvSpPr>
          <p:cNvPr id="8" name="TextBox 7">
            <a:extLst>
              <a:ext uri="{FF2B5EF4-FFF2-40B4-BE49-F238E27FC236}">
                <a16:creationId xmlns:a16="http://schemas.microsoft.com/office/drawing/2014/main" id="{5514E3F0-1C52-4A86-926E-3B90D4DA8BF4}"/>
              </a:ext>
            </a:extLst>
          </p:cNvPr>
          <p:cNvSpPr txBox="1"/>
          <p:nvPr/>
        </p:nvSpPr>
        <p:spPr>
          <a:xfrm>
            <a:off x="770695" y="5156201"/>
            <a:ext cx="5308947" cy="1244600"/>
          </a:xfrm>
          <a:prstGeom prst="rect">
            <a:avLst/>
          </a:prstGeom>
          <a:solidFill>
            <a:srgbClr val="E7E6E6"/>
          </a:solidFill>
        </p:spPr>
        <p:txBody>
          <a:bodyPr vert="horz" wrap="square" lIns="0" tIns="35560" rIns="0" bIns="0" rtlCol="0" anchor="ctr">
            <a:noAutofit/>
          </a:bodyPr>
          <a:lstStyle>
            <a:defPPr>
              <a:defRPr lang="en-US"/>
            </a:defPPr>
            <a:lvl1pPr marL="36830">
              <a:lnSpc>
                <a:spcPct val="100000"/>
              </a:lnSpc>
              <a:spcBef>
                <a:spcPts val="280"/>
              </a:spcBef>
              <a:defRPr sz="1100" b="0">
                <a:latin typeface="Frutiger Next Pro Light (Body)"/>
                <a:cs typeface="Verdana"/>
              </a:defRPr>
            </a:lvl1pPr>
            <a:lvl2pPr marL="392430" lvl="1" indent="-170815">
              <a:lnSpc>
                <a:spcPct val="100000"/>
              </a:lnSpc>
              <a:spcBef>
                <a:spcPts val="600"/>
              </a:spcBef>
              <a:buFont typeface="Arial"/>
              <a:buChar char="•"/>
              <a:tabLst>
                <a:tab pos="393065" algn="l"/>
              </a:tabLst>
              <a:defRPr sz="1200">
                <a:solidFill>
                  <a:schemeClr val="tx2"/>
                </a:solidFill>
              </a:defRPr>
            </a:lvl2pPr>
          </a:lstStyle>
          <a:p>
            <a:pPr marL="457200" marR="0" lvl="0" indent="-28575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ea typeface="+mn-ea"/>
                <a:cs typeface="Verdana"/>
              </a:rPr>
              <a:t>Parts design (IP) owned by customer </a:t>
            </a:r>
          </a:p>
          <a:p>
            <a:pPr marL="457200" marR="0" lvl="0" indent="-28575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ea typeface="+mn-ea"/>
                <a:cs typeface="Verdana"/>
              </a:rPr>
              <a:t>Optimized design and materials recommendations</a:t>
            </a:r>
          </a:p>
          <a:p>
            <a:pPr marL="457200" marR="0" lvl="0" indent="-28575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ea typeface="+mn-ea"/>
                <a:cs typeface="Verdana"/>
              </a:rPr>
              <a:t>Qualified 3D printed parts</a:t>
            </a:r>
          </a:p>
        </p:txBody>
      </p:sp>
      <p:sp>
        <p:nvSpPr>
          <p:cNvPr id="9" name="TextBox 8">
            <a:extLst>
              <a:ext uri="{FF2B5EF4-FFF2-40B4-BE49-F238E27FC236}">
                <a16:creationId xmlns:a16="http://schemas.microsoft.com/office/drawing/2014/main" id="{8EA0B8EB-F08E-4537-B2D2-FAF131119B6E}"/>
              </a:ext>
            </a:extLst>
          </p:cNvPr>
          <p:cNvSpPr txBox="1"/>
          <p:nvPr/>
        </p:nvSpPr>
        <p:spPr>
          <a:xfrm>
            <a:off x="800513" y="4819053"/>
            <a:ext cx="1678696"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600" b="1" i="0" u="none" strike="noStrike" kern="1200" cap="none" spc="0" normalizeH="0" baseline="0" noProof="0" dirty="0">
                <a:ln>
                  <a:noFill/>
                </a:ln>
                <a:solidFill>
                  <a:prstClr val="black"/>
                </a:solidFill>
                <a:effectLst/>
                <a:uLnTx/>
                <a:uFillTx/>
                <a:ea typeface="+mn-ea"/>
                <a:cs typeface="+mn-cs"/>
              </a:rPr>
              <a:t>VALUE CREATED</a:t>
            </a:r>
          </a:p>
        </p:txBody>
      </p:sp>
      <p:sp>
        <p:nvSpPr>
          <p:cNvPr id="11" name="TextBox 10">
            <a:extLst>
              <a:ext uri="{FF2B5EF4-FFF2-40B4-BE49-F238E27FC236}">
                <a16:creationId xmlns:a16="http://schemas.microsoft.com/office/drawing/2014/main" id="{FCD94382-6017-4821-A5FA-40A18924C416}"/>
              </a:ext>
            </a:extLst>
          </p:cNvPr>
          <p:cNvSpPr txBox="1"/>
          <p:nvPr/>
        </p:nvSpPr>
        <p:spPr>
          <a:xfrm>
            <a:off x="6265785" y="4819053"/>
            <a:ext cx="2004299"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600" b="1" i="0" u="none" strike="noStrike" kern="1200" cap="none" spc="0" normalizeH="0" baseline="0" noProof="0" dirty="0">
                <a:ln>
                  <a:noFill/>
                </a:ln>
                <a:solidFill>
                  <a:prstClr val="black"/>
                </a:solidFill>
                <a:effectLst/>
                <a:uLnTx/>
                <a:uFillTx/>
                <a:ea typeface="+mn-ea"/>
                <a:cs typeface="+mn-cs"/>
              </a:rPr>
              <a:t>MONETIZATION</a:t>
            </a:r>
          </a:p>
        </p:txBody>
      </p:sp>
      <p:sp>
        <p:nvSpPr>
          <p:cNvPr id="12" name="TextBox 11">
            <a:extLst>
              <a:ext uri="{FF2B5EF4-FFF2-40B4-BE49-F238E27FC236}">
                <a16:creationId xmlns:a16="http://schemas.microsoft.com/office/drawing/2014/main" id="{11A9AD91-6659-48C9-B16A-E97A8CD5D9EB}"/>
              </a:ext>
            </a:extLst>
          </p:cNvPr>
          <p:cNvSpPr txBox="1"/>
          <p:nvPr/>
        </p:nvSpPr>
        <p:spPr>
          <a:xfrm>
            <a:off x="6265784" y="5157607"/>
            <a:ext cx="5308947" cy="1238434"/>
          </a:xfrm>
          <a:prstGeom prst="rect">
            <a:avLst/>
          </a:prstGeom>
          <a:solidFill>
            <a:srgbClr val="E7E6E6"/>
          </a:solidFill>
        </p:spPr>
        <p:txBody>
          <a:bodyPr vert="horz" wrap="square" lIns="0" tIns="35560" rIns="0" bIns="0" rtlCol="0" anchor="ctr">
            <a:noAutofit/>
          </a:bodyPr>
          <a:lstStyle>
            <a:defPPr>
              <a:defRPr lang="en-US"/>
            </a:defPPr>
            <a:lvl1pPr marL="36830">
              <a:lnSpc>
                <a:spcPct val="100000"/>
              </a:lnSpc>
              <a:spcBef>
                <a:spcPts val="280"/>
              </a:spcBef>
              <a:defRPr sz="1100" b="0">
                <a:latin typeface="Frutiger Next Pro Light (Body)"/>
                <a:cs typeface="Verdana"/>
              </a:defRPr>
            </a:lvl1pPr>
            <a:lvl2pPr marL="392430" lvl="1" indent="-170815">
              <a:lnSpc>
                <a:spcPct val="100000"/>
              </a:lnSpc>
              <a:spcBef>
                <a:spcPts val="600"/>
              </a:spcBef>
              <a:buFont typeface="Arial"/>
              <a:buChar char="•"/>
              <a:tabLst>
                <a:tab pos="393065" algn="l"/>
              </a:tabLst>
              <a:defRPr sz="1200">
                <a:solidFill>
                  <a:schemeClr val="tx2"/>
                </a:solidFill>
              </a:defRPr>
            </a:lvl2pPr>
          </a:lstStyle>
          <a:p>
            <a:pPr marL="457200" marR="0" lvl="0" indent="-28575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ea typeface="+mn-ea"/>
                <a:cs typeface="Verdana"/>
              </a:rPr>
              <a:t>aaS – Material selection and design optimization as a service (aaS)</a:t>
            </a:r>
          </a:p>
          <a:p>
            <a:pPr marL="457200" marR="0" lvl="0" indent="-28575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ea typeface="+mn-ea"/>
                <a:cs typeface="Verdana"/>
              </a:rPr>
              <a:t>Transaction fee – Print time service fee or build prep &amp; parts production</a:t>
            </a:r>
          </a:p>
        </p:txBody>
      </p:sp>
      <p:grpSp>
        <p:nvGrpSpPr>
          <p:cNvPr id="14" name="Group 13">
            <a:extLst>
              <a:ext uri="{FF2B5EF4-FFF2-40B4-BE49-F238E27FC236}">
                <a16:creationId xmlns:a16="http://schemas.microsoft.com/office/drawing/2014/main" id="{6493A480-994B-48EA-96A8-CBF6B57EE87D}"/>
              </a:ext>
            </a:extLst>
          </p:cNvPr>
          <p:cNvGrpSpPr/>
          <p:nvPr/>
        </p:nvGrpSpPr>
        <p:grpSpPr>
          <a:xfrm>
            <a:off x="10215331" y="2937704"/>
            <a:ext cx="1171444" cy="1224343"/>
            <a:chOff x="3467100" y="1822704"/>
            <a:chExt cx="1417447" cy="1481455"/>
          </a:xfrm>
        </p:grpSpPr>
        <p:sp>
          <p:nvSpPr>
            <p:cNvPr id="121" name="object 17">
              <a:extLst>
                <a:ext uri="{FF2B5EF4-FFF2-40B4-BE49-F238E27FC236}">
                  <a16:creationId xmlns:a16="http://schemas.microsoft.com/office/drawing/2014/main" id="{9487B58A-FAF6-408E-BC3F-27A94AACB896}"/>
                </a:ext>
              </a:extLst>
            </p:cNvPr>
            <p:cNvSpPr/>
            <p:nvPr/>
          </p:nvSpPr>
          <p:spPr>
            <a:xfrm>
              <a:off x="3550284" y="1898904"/>
              <a:ext cx="1259840" cy="1405255"/>
            </a:xfrm>
            <a:custGeom>
              <a:avLst/>
              <a:gdLst/>
              <a:ahLst/>
              <a:cxnLst/>
              <a:rect l="l" t="t" r="r" b="b"/>
              <a:pathLst>
                <a:path w="1259839" h="1405254">
                  <a:moveTo>
                    <a:pt x="556132" y="0"/>
                  </a:moveTo>
                  <a:lnTo>
                    <a:pt x="604293" y="1620"/>
                  </a:lnTo>
                  <a:lnTo>
                    <a:pt x="651582" y="6414"/>
                  </a:lnTo>
                  <a:lnTo>
                    <a:pt x="697894" y="14274"/>
                  </a:lnTo>
                  <a:lnTo>
                    <a:pt x="743124" y="25098"/>
                  </a:lnTo>
                  <a:lnTo>
                    <a:pt x="787169" y="38780"/>
                  </a:lnTo>
                  <a:lnTo>
                    <a:pt x="829923" y="55215"/>
                  </a:lnTo>
                  <a:lnTo>
                    <a:pt x="871281" y="74299"/>
                  </a:lnTo>
                  <a:lnTo>
                    <a:pt x="911140" y="95927"/>
                  </a:lnTo>
                  <a:lnTo>
                    <a:pt x="949394" y="119994"/>
                  </a:lnTo>
                  <a:lnTo>
                    <a:pt x="985938" y="146397"/>
                  </a:lnTo>
                  <a:lnTo>
                    <a:pt x="1020669" y="175029"/>
                  </a:lnTo>
                  <a:lnTo>
                    <a:pt x="1053480" y="205787"/>
                  </a:lnTo>
                  <a:lnTo>
                    <a:pt x="1084269" y="238566"/>
                  </a:lnTo>
                  <a:lnTo>
                    <a:pt x="1112929" y="273261"/>
                  </a:lnTo>
                  <a:lnTo>
                    <a:pt x="1139356" y="309767"/>
                  </a:lnTo>
                  <a:lnTo>
                    <a:pt x="1163447" y="347980"/>
                  </a:lnTo>
                  <a:lnTo>
                    <a:pt x="1185094" y="387794"/>
                  </a:lnTo>
                  <a:lnTo>
                    <a:pt x="1204196" y="429107"/>
                  </a:lnTo>
                  <a:lnTo>
                    <a:pt x="1220645" y="471812"/>
                  </a:lnTo>
                  <a:lnTo>
                    <a:pt x="1234339" y="515805"/>
                  </a:lnTo>
                  <a:lnTo>
                    <a:pt x="1245172" y="560981"/>
                  </a:lnTo>
                  <a:lnTo>
                    <a:pt x="1253039" y="607236"/>
                  </a:lnTo>
                  <a:lnTo>
                    <a:pt x="1257836" y="654465"/>
                  </a:lnTo>
                  <a:lnTo>
                    <a:pt x="1259459" y="702563"/>
                  </a:lnTo>
                  <a:lnTo>
                    <a:pt x="1257836" y="750662"/>
                  </a:lnTo>
                  <a:lnTo>
                    <a:pt x="1253039" y="797891"/>
                  </a:lnTo>
                  <a:lnTo>
                    <a:pt x="1245172" y="844146"/>
                  </a:lnTo>
                  <a:lnTo>
                    <a:pt x="1234339" y="889322"/>
                  </a:lnTo>
                  <a:lnTo>
                    <a:pt x="1220645" y="933315"/>
                  </a:lnTo>
                  <a:lnTo>
                    <a:pt x="1204196" y="976020"/>
                  </a:lnTo>
                  <a:lnTo>
                    <a:pt x="1185094" y="1017333"/>
                  </a:lnTo>
                  <a:lnTo>
                    <a:pt x="1163447" y="1057147"/>
                  </a:lnTo>
                  <a:lnTo>
                    <a:pt x="1139356" y="1095360"/>
                  </a:lnTo>
                  <a:lnTo>
                    <a:pt x="1112929" y="1131866"/>
                  </a:lnTo>
                  <a:lnTo>
                    <a:pt x="1084269" y="1166561"/>
                  </a:lnTo>
                  <a:lnTo>
                    <a:pt x="1053480" y="1199340"/>
                  </a:lnTo>
                  <a:lnTo>
                    <a:pt x="1020669" y="1230098"/>
                  </a:lnTo>
                  <a:lnTo>
                    <a:pt x="985938" y="1258730"/>
                  </a:lnTo>
                  <a:lnTo>
                    <a:pt x="949394" y="1285133"/>
                  </a:lnTo>
                  <a:lnTo>
                    <a:pt x="911140" y="1309200"/>
                  </a:lnTo>
                  <a:lnTo>
                    <a:pt x="871281" y="1330828"/>
                  </a:lnTo>
                  <a:lnTo>
                    <a:pt x="829923" y="1349912"/>
                  </a:lnTo>
                  <a:lnTo>
                    <a:pt x="787169" y="1366347"/>
                  </a:lnTo>
                  <a:lnTo>
                    <a:pt x="743124" y="1380029"/>
                  </a:lnTo>
                  <a:lnTo>
                    <a:pt x="697894" y="1390853"/>
                  </a:lnTo>
                  <a:lnTo>
                    <a:pt x="651582" y="1398713"/>
                  </a:lnTo>
                  <a:lnTo>
                    <a:pt x="604293" y="1403507"/>
                  </a:lnTo>
                  <a:lnTo>
                    <a:pt x="556132" y="1405128"/>
                  </a:lnTo>
                  <a:lnTo>
                    <a:pt x="506172" y="1403355"/>
                  </a:lnTo>
                  <a:lnTo>
                    <a:pt x="456808" y="1398092"/>
                  </a:lnTo>
                  <a:lnTo>
                    <a:pt x="408205" y="1389418"/>
                  </a:lnTo>
                  <a:lnTo>
                    <a:pt x="360525" y="1377414"/>
                  </a:lnTo>
                  <a:lnTo>
                    <a:pt x="313933" y="1362159"/>
                  </a:lnTo>
                  <a:lnTo>
                    <a:pt x="268593" y="1343733"/>
                  </a:lnTo>
                  <a:lnTo>
                    <a:pt x="224667" y="1322217"/>
                  </a:lnTo>
                  <a:lnTo>
                    <a:pt x="182321" y="1297691"/>
                  </a:lnTo>
                  <a:lnTo>
                    <a:pt x="141717" y="1270235"/>
                  </a:lnTo>
                  <a:lnTo>
                    <a:pt x="103019" y="1239929"/>
                  </a:lnTo>
                  <a:lnTo>
                    <a:pt x="66391" y="1206853"/>
                  </a:lnTo>
                  <a:lnTo>
                    <a:pt x="31997" y="1171088"/>
                  </a:lnTo>
                  <a:lnTo>
                    <a:pt x="0" y="1132713"/>
                  </a:lnTo>
                </a:path>
              </a:pathLst>
            </a:custGeom>
            <a:ln w="15240">
              <a:solidFill>
                <a:srgbClr val="A6A6A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122" name="object 18">
              <a:extLst>
                <a:ext uri="{FF2B5EF4-FFF2-40B4-BE49-F238E27FC236}">
                  <a16:creationId xmlns:a16="http://schemas.microsoft.com/office/drawing/2014/main" id="{F044B3BF-A162-43D3-BE95-78370CE41643}"/>
                </a:ext>
              </a:extLst>
            </p:cNvPr>
            <p:cNvSpPr/>
            <p:nvPr/>
          </p:nvSpPr>
          <p:spPr>
            <a:xfrm>
              <a:off x="3467100" y="1962911"/>
              <a:ext cx="1278890" cy="1277620"/>
            </a:xfrm>
            <a:custGeom>
              <a:avLst/>
              <a:gdLst/>
              <a:ahLst/>
              <a:cxnLst/>
              <a:rect l="l" t="t" r="r" b="b"/>
              <a:pathLst>
                <a:path w="1278889" h="1277620">
                  <a:moveTo>
                    <a:pt x="639317" y="0"/>
                  </a:moveTo>
                  <a:lnTo>
                    <a:pt x="687027" y="1751"/>
                  </a:lnTo>
                  <a:lnTo>
                    <a:pt x="733785" y="6923"/>
                  </a:lnTo>
                  <a:lnTo>
                    <a:pt x="779468" y="15392"/>
                  </a:lnTo>
                  <a:lnTo>
                    <a:pt x="823952" y="27034"/>
                  </a:lnTo>
                  <a:lnTo>
                    <a:pt x="867112" y="41727"/>
                  </a:lnTo>
                  <a:lnTo>
                    <a:pt x="908827" y="59346"/>
                  </a:lnTo>
                  <a:lnTo>
                    <a:pt x="948971" y="79769"/>
                  </a:lnTo>
                  <a:lnTo>
                    <a:pt x="987422" y="102871"/>
                  </a:lnTo>
                  <a:lnTo>
                    <a:pt x="1024055" y="128530"/>
                  </a:lnTo>
                  <a:lnTo>
                    <a:pt x="1058747" y="156622"/>
                  </a:lnTo>
                  <a:lnTo>
                    <a:pt x="1091374" y="187023"/>
                  </a:lnTo>
                  <a:lnTo>
                    <a:pt x="1121813" y="219610"/>
                  </a:lnTo>
                  <a:lnTo>
                    <a:pt x="1149940" y="254260"/>
                  </a:lnTo>
                  <a:lnTo>
                    <a:pt x="1175631" y="290849"/>
                  </a:lnTo>
                  <a:lnTo>
                    <a:pt x="1198763" y="329253"/>
                  </a:lnTo>
                  <a:lnTo>
                    <a:pt x="1219212" y="369350"/>
                  </a:lnTo>
                  <a:lnTo>
                    <a:pt x="1236854" y="411016"/>
                  </a:lnTo>
                  <a:lnTo>
                    <a:pt x="1251565" y="454127"/>
                  </a:lnTo>
                  <a:lnTo>
                    <a:pt x="1263223" y="498560"/>
                  </a:lnTo>
                  <a:lnTo>
                    <a:pt x="1271703" y="544191"/>
                  </a:lnTo>
                  <a:lnTo>
                    <a:pt x="1276882" y="590898"/>
                  </a:lnTo>
                  <a:lnTo>
                    <a:pt x="1278636" y="638555"/>
                  </a:lnTo>
                  <a:lnTo>
                    <a:pt x="1276882" y="686213"/>
                  </a:lnTo>
                  <a:lnTo>
                    <a:pt x="1271703" y="732920"/>
                  </a:lnTo>
                  <a:lnTo>
                    <a:pt x="1263223" y="778551"/>
                  </a:lnTo>
                  <a:lnTo>
                    <a:pt x="1251565" y="822984"/>
                  </a:lnTo>
                  <a:lnTo>
                    <a:pt x="1236854" y="866095"/>
                  </a:lnTo>
                  <a:lnTo>
                    <a:pt x="1219212" y="907761"/>
                  </a:lnTo>
                  <a:lnTo>
                    <a:pt x="1198763" y="947858"/>
                  </a:lnTo>
                  <a:lnTo>
                    <a:pt x="1175631" y="986262"/>
                  </a:lnTo>
                  <a:lnTo>
                    <a:pt x="1149940" y="1022851"/>
                  </a:lnTo>
                  <a:lnTo>
                    <a:pt x="1121813" y="1057501"/>
                  </a:lnTo>
                  <a:lnTo>
                    <a:pt x="1091374" y="1090088"/>
                  </a:lnTo>
                  <a:lnTo>
                    <a:pt x="1058747" y="1120489"/>
                  </a:lnTo>
                  <a:lnTo>
                    <a:pt x="1024055" y="1148581"/>
                  </a:lnTo>
                  <a:lnTo>
                    <a:pt x="987422" y="1174240"/>
                  </a:lnTo>
                  <a:lnTo>
                    <a:pt x="948971" y="1197342"/>
                  </a:lnTo>
                  <a:lnTo>
                    <a:pt x="908827" y="1217765"/>
                  </a:lnTo>
                  <a:lnTo>
                    <a:pt x="867112" y="1235384"/>
                  </a:lnTo>
                  <a:lnTo>
                    <a:pt x="823952" y="1250077"/>
                  </a:lnTo>
                  <a:lnTo>
                    <a:pt x="779468" y="1261719"/>
                  </a:lnTo>
                  <a:lnTo>
                    <a:pt x="733785" y="1270188"/>
                  </a:lnTo>
                  <a:lnTo>
                    <a:pt x="687027" y="1275360"/>
                  </a:lnTo>
                  <a:lnTo>
                    <a:pt x="639317" y="1277112"/>
                  </a:lnTo>
                  <a:lnTo>
                    <a:pt x="591608" y="1275360"/>
                  </a:lnTo>
                  <a:lnTo>
                    <a:pt x="544850" y="1270188"/>
                  </a:lnTo>
                  <a:lnTo>
                    <a:pt x="499167" y="1261719"/>
                  </a:lnTo>
                  <a:lnTo>
                    <a:pt x="454683" y="1250077"/>
                  </a:lnTo>
                  <a:lnTo>
                    <a:pt x="411523" y="1235384"/>
                  </a:lnTo>
                  <a:lnTo>
                    <a:pt x="369808" y="1217765"/>
                  </a:lnTo>
                  <a:lnTo>
                    <a:pt x="329664" y="1197342"/>
                  </a:lnTo>
                  <a:lnTo>
                    <a:pt x="291213" y="1174240"/>
                  </a:lnTo>
                  <a:lnTo>
                    <a:pt x="254580" y="1148581"/>
                  </a:lnTo>
                  <a:lnTo>
                    <a:pt x="219888" y="1120489"/>
                  </a:lnTo>
                  <a:lnTo>
                    <a:pt x="187261" y="1090088"/>
                  </a:lnTo>
                  <a:lnTo>
                    <a:pt x="156822" y="1057501"/>
                  </a:lnTo>
                  <a:lnTo>
                    <a:pt x="128695" y="1022851"/>
                  </a:lnTo>
                  <a:lnTo>
                    <a:pt x="103004" y="986262"/>
                  </a:lnTo>
                  <a:lnTo>
                    <a:pt x="79872" y="947858"/>
                  </a:lnTo>
                  <a:lnTo>
                    <a:pt x="59423" y="907761"/>
                  </a:lnTo>
                  <a:lnTo>
                    <a:pt x="41781" y="866095"/>
                  </a:lnTo>
                  <a:lnTo>
                    <a:pt x="27070" y="822984"/>
                  </a:lnTo>
                  <a:lnTo>
                    <a:pt x="15412" y="778551"/>
                  </a:lnTo>
                  <a:lnTo>
                    <a:pt x="6932" y="732920"/>
                  </a:lnTo>
                  <a:lnTo>
                    <a:pt x="1753" y="686213"/>
                  </a:lnTo>
                  <a:lnTo>
                    <a:pt x="0" y="638555"/>
                  </a:lnTo>
                  <a:lnTo>
                    <a:pt x="2217" y="585401"/>
                  </a:lnTo>
                  <a:lnTo>
                    <a:pt x="8812" y="532886"/>
                  </a:lnTo>
                  <a:lnTo>
                    <a:pt x="19696" y="481266"/>
                  </a:lnTo>
                  <a:lnTo>
                    <a:pt x="34782" y="430799"/>
                  </a:lnTo>
                  <a:lnTo>
                    <a:pt x="53981" y="381744"/>
                  </a:lnTo>
                  <a:lnTo>
                    <a:pt x="77206" y="334357"/>
                  </a:lnTo>
                  <a:lnTo>
                    <a:pt x="104368" y="288895"/>
                  </a:lnTo>
                  <a:lnTo>
                    <a:pt x="135382" y="245617"/>
                  </a:lnTo>
                </a:path>
              </a:pathLst>
            </a:custGeom>
            <a:ln w="15240">
              <a:solidFill>
                <a:srgbClr val="A6A6A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123" name="object 19">
              <a:extLst>
                <a:ext uri="{FF2B5EF4-FFF2-40B4-BE49-F238E27FC236}">
                  <a16:creationId xmlns:a16="http://schemas.microsoft.com/office/drawing/2014/main" id="{DC275D69-0ADE-4830-B967-061796F08792}"/>
                </a:ext>
              </a:extLst>
            </p:cNvPr>
            <p:cNvSpPr/>
            <p:nvPr/>
          </p:nvSpPr>
          <p:spPr>
            <a:xfrm>
              <a:off x="4111752" y="1822704"/>
              <a:ext cx="772795" cy="1082675"/>
            </a:xfrm>
            <a:custGeom>
              <a:avLst/>
              <a:gdLst/>
              <a:ahLst/>
              <a:cxnLst/>
              <a:rect l="l" t="t" r="r" b="b"/>
              <a:pathLst>
                <a:path w="772795" h="1082675">
                  <a:moveTo>
                    <a:pt x="0" y="0"/>
                  </a:moveTo>
                  <a:lnTo>
                    <a:pt x="48863" y="1521"/>
                  </a:lnTo>
                  <a:lnTo>
                    <a:pt x="96919" y="6026"/>
                  </a:lnTo>
                  <a:lnTo>
                    <a:pt x="144077" y="13424"/>
                  </a:lnTo>
                  <a:lnTo>
                    <a:pt x="190246" y="23624"/>
                  </a:lnTo>
                  <a:lnTo>
                    <a:pt x="235337" y="36535"/>
                  </a:lnTo>
                  <a:lnTo>
                    <a:pt x="279258" y="52067"/>
                  </a:lnTo>
                  <a:lnTo>
                    <a:pt x="321919" y="70128"/>
                  </a:lnTo>
                  <a:lnTo>
                    <a:pt x="363229" y="90629"/>
                  </a:lnTo>
                  <a:lnTo>
                    <a:pt x="403098" y="113479"/>
                  </a:lnTo>
                  <a:lnTo>
                    <a:pt x="441436" y="138587"/>
                  </a:lnTo>
                  <a:lnTo>
                    <a:pt x="478151" y="165862"/>
                  </a:lnTo>
                  <a:lnTo>
                    <a:pt x="513154" y="195214"/>
                  </a:lnTo>
                  <a:lnTo>
                    <a:pt x="546354" y="226552"/>
                  </a:lnTo>
                  <a:lnTo>
                    <a:pt x="577659" y="259785"/>
                  </a:lnTo>
                  <a:lnTo>
                    <a:pt x="606981" y="294823"/>
                  </a:lnTo>
                  <a:lnTo>
                    <a:pt x="634228" y="331575"/>
                  </a:lnTo>
                  <a:lnTo>
                    <a:pt x="659309" y="369951"/>
                  </a:lnTo>
                  <a:lnTo>
                    <a:pt x="682135" y="409859"/>
                  </a:lnTo>
                  <a:lnTo>
                    <a:pt x="702614" y="451210"/>
                  </a:lnTo>
                  <a:lnTo>
                    <a:pt x="720657" y="493912"/>
                  </a:lnTo>
                  <a:lnTo>
                    <a:pt x="736172" y="537875"/>
                  </a:lnTo>
                  <a:lnTo>
                    <a:pt x="749069" y="583008"/>
                  </a:lnTo>
                  <a:lnTo>
                    <a:pt x="759257" y="629221"/>
                  </a:lnTo>
                  <a:lnTo>
                    <a:pt x="766647" y="676422"/>
                  </a:lnTo>
                  <a:lnTo>
                    <a:pt x="771147" y="724522"/>
                  </a:lnTo>
                  <a:lnTo>
                    <a:pt x="772668" y="773430"/>
                  </a:lnTo>
                  <a:lnTo>
                    <a:pt x="770853" y="826453"/>
                  </a:lnTo>
                  <a:lnTo>
                    <a:pt x="765433" y="879103"/>
                  </a:lnTo>
                  <a:lnTo>
                    <a:pt x="756443" y="931195"/>
                  </a:lnTo>
                  <a:lnTo>
                    <a:pt x="743918" y="982547"/>
                  </a:lnTo>
                  <a:lnTo>
                    <a:pt x="727894" y="1032974"/>
                  </a:lnTo>
                  <a:lnTo>
                    <a:pt x="708406" y="1082294"/>
                  </a:lnTo>
                </a:path>
              </a:pathLst>
            </a:custGeom>
            <a:ln w="15240">
              <a:solidFill>
                <a:srgbClr val="A6A6A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124" name="object 40">
              <a:extLst>
                <a:ext uri="{FF2B5EF4-FFF2-40B4-BE49-F238E27FC236}">
                  <a16:creationId xmlns:a16="http://schemas.microsoft.com/office/drawing/2014/main" id="{959728EA-7212-430E-A94D-1BEA8B703A2D}"/>
                </a:ext>
              </a:extLst>
            </p:cNvPr>
            <p:cNvSpPr/>
            <p:nvPr/>
          </p:nvSpPr>
          <p:spPr>
            <a:xfrm>
              <a:off x="3547109" y="2032254"/>
              <a:ext cx="1130935" cy="1130935"/>
            </a:xfrm>
            <a:custGeom>
              <a:avLst/>
              <a:gdLst/>
              <a:ahLst/>
              <a:cxnLst/>
              <a:rect l="l" t="t" r="r" b="b"/>
              <a:pathLst>
                <a:path w="1130935" h="1130935">
                  <a:moveTo>
                    <a:pt x="565403" y="0"/>
                  </a:moveTo>
                  <a:lnTo>
                    <a:pt x="516614" y="2075"/>
                  </a:lnTo>
                  <a:lnTo>
                    <a:pt x="468978" y="8187"/>
                  </a:lnTo>
                  <a:lnTo>
                    <a:pt x="422665" y="18167"/>
                  </a:lnTo>
                  <a:lnTo>
                    <a:pt x="377844" y="31845"/>
                  </a:lnTo>
                  <a:lnTo>
                    <a:pt x="334686" y="49051"/>
                  </a:lnTo>
                  <a:lnTo>
                    <a:pt x="293360" y="69615"/>
                  </a:lnTo>
                  <a:lnTo>
                    <a:pt x="254034" y="93369"/>
                  </a:lnTo>
                  <a:lnTo>
                    <a:pt x="216881" y="120142"/>
                  </a:lnTo>
                  <a:lnTo>
                    <a:pt x="182067" y="149765"/>
                  </a:lnTo>
                  <a:lnTo>
                    <a:pt x="149765" y="182067"/>
                  </a:lnTo>
                  <a:lnTo>
                    <a:pt x="120142" y="216881"/>
                  </a:lnTo>
                  <a:lnTo>
                    <a:pt x="93369" y="254034"/>
                  </a:lnTo>
                  <a:lnTo>
                    <a:pt x="69615" y="293360"/>
                  </a:lnTo>
                  <a:lnTo>
                    <a:pt x="49051" y="334686"/>
                  </a:lnTo>
                  <a:lnTo>
                    <a:pt x="31845" y="377844"/>
                  </a:lnTo>
                  <a:lnTo>
                    <a:pt x="18167" y="422665"/>
                  </a:lnTo>
                  <a:lnTo>
                    <a:pt x="8187" y="468978"/>
                  </a:lnTo>
                  <a:lnTo>
                    <a:pt x="2075" y="516614"/>
                  </a:lnTo>
                  <a:lnTo>
                    <a:pt x="0" y="565404"/>
                  </a:lnTo>
                  <a:lnTo>
                    <a:pt x="2075" y="614193"/>
                  </a:lnTo>
                  <a:lnTo>
                    <a:pt x="8187" y="661829"/>
                  </a:lnTo>
                  <a:lnTo>
                    <a:pt x="18167" y="708142"/>
                  </a:lnTo>
                  <a:lnTo>
                    <a:pt x="31845" y="752963"/>
                  </a:lnTo>
                  <a:lnTo>
                    <a:pt x="49051" y="796121"/>
                  </a:lnTo>
                  <a:lnTo>
                    <a:pt x="69615" y="837447"/>
                  </a:lnTo>
                  <a:lnTo>
                    <a:pt x="93369" y="876773"/>
                  </a:lnTo>
                  <a:lnTo>
                    <a:pt x="120142" y="913926"/>
                  </a:lnTo>
                  <a:lnTo>
                    <a:pt x="149765" y="948740"/>
                  </a:lnTo>
                  <a:lnTo>
                    <a:pt x="182067" y="981042"/>
                  </a:lnTo>
                  <a:lnTo>
                    <a:pt x="216881" y="1010665"/>
                  </a:lnTo>
                  <a:lnTo>
                    <a:pt x="254034" y="1037438"/>
                  </a:lnTo>
                  <a:lnTo>
                    <a:pt x="293360" y="1061192"/>
                  </a:lnTo>
                  <a:lnTo>
                    <a:pt x="334686" y="1081756"/>
                  </a:lnTo>
                  <a:lnTo>
                    <a:pt x="377844" y="1098962"/>
                  </a:lnTo>
                  <a:lnTo>
                    <a:pt x="422665" y="1112640"/>
                  </a:lnTo>
                  <a:lnTo>
                    <a:pt x="468978" y="1122620"/>
                  </a:lnTo>
                  <a:lnTo>
                    <a:pt x="516614" y="1128732"/>
                  </a:lnTo>
                  <a:lnTo>
                    <a:pt x="565403" y="1130808"/>
                  </a:lnTo>
                  <a:lnTo>
                    <a:pt x="614193" y="1128732"/>
                  </a:lnTo>
                  <a:lnTo>
                    <a:pt x="661829" y="1122620"/>
                  </a:lnTo>
                  <a:lnTo>
                    <a:pt x="708142" y="1112640"/>
                  </a:lnTo>
                  <a:lnTo>
                    <a:pt x="752963" y="1098962"/>
                  </a:lnTo>
                  <a:lnTo>
                    <a:pt x="796121" y="1081756"/>
                  </a:lnTo>
                  <a:lnTo>
                    <a:pt x="837447" y="1061192"/>
                  </a:lnTo>
                  <a:lnTo>
                    <a:pt x="876773" y="1037438"/>
                  </a:lnTo>
                  <a:lnTo>
                    <a:pt x="913926" y="1010665"/>
                  </a:lnTo>
                  <a:lnTo>
                    <a:pt x="948740" y="981042"/>
                  </a:lnTo>
                  <a:lnTo>
                    <a:pt x="981042" y="948740"/>
                  </a:lnTo>
                  <a:lnTo>
                    <a:pt x="1010665" y="913926"/>
                  </a:lnTo>
                  <a:lnTo>
                    <a:pt x="1037438" y="876773"/>
                  </a:lnTo>
                  <a:lnTo>
                    <a:pt x="1061192" y="837447"/>
                  </a:lnTo>
                  <a:lnTo>
                    <a:pt x="1081756" y="796121"/>
                  </a:lnTo>
                  <a:lnTo>
                    <a:pt x="1098962" y="752963"/>
                  </a:lnTo>
                  <a:lnTo>
                    <a:pt x="1112640" y="708142"/>
                  </a:lnTo>
                  <a:lnTo>
                    <a:pt x="1122620" y="661829"/>
                  </a:lnTo>
                  <a:lnTo>
                    <a:pt x="1128732" y="614193"/>
                  </a:lnTo>
                  <a:lnTo>
                    <a:pt x="1130807" y="565404"/>
                  </a:lnTo>
                  <a:lnTo>
                    <a:pt x="1128732" y="516614"/>
                  </a:lnTo>
                  <a:lnTo>
                    <a:pt x="1122620" y="468978"/>
                  </a:lnTo>
                  <a:lnTo>
                    <a:pt x="1112640" y="422665"/>
                  </a:lnTo>
                  <a:lnTo>
                    <a:pt x="1098962" y="377844"/>
                  </a:lnTo>
                  <a:lnTo>
                    <a:pt x="1081756" y="334686"/>
                  </a:lnTo>
                  <a:lnTo>
                    <a:pt x="1061192" y="293360"/>
                  </a:lnTo>
                  <a:lnTo>
                    <a:pt x="1037438" y="254034"/>
                  </a:lnTo>
                  <a:lnTo>
                    <a:pt x="1010665" y="216881"/>
                  </a:lnTo>
                  <a:lnTo>
                    <a:pt x="981042" y="182067"/>
                  </a:lnTo>
                  <a:lnTo>
                    <a:pt x="948740" y="149765"/>
                  </a:lnTo>
                  <a:lnTo>
                    <a:pt x="913926" y="120142"/>
                  </a:lnTo>
                  <a:lnTo>
                    <a:pt x="876773" y="93369"/>
                  </a:lnTo>
                  <a:lnTo>
                    <a:pt x="837447" y="69615"/>
                  </a:lnTo>
                  <a:lnTo>
                    <a:pt x="796121" y="49051"/>
                  </a:lnTo>
                  <a:lnTo>
                    <a:pt x="752963" y="31845"/>
                  </a:lnTo>
                  <a:lnTo>
                    <a:pt x="708142" y="18167"/>
                  </a:lnTo>
                  <a:lnTo>
                    <a:pt x="661829" y="8187"/>
                  </a:lnTo>
                  <a:lnTo>
                    <a:pt x="614193" y="2075"/>
                  </a:lnTo>
                  <a:lnTo>
                    <a:pt x="565403"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125" name="object 41">
              <a:extLst>
                <a:ext uri="{FF2B5EF4-FFF2-40B4-BE49-F238E27FC236}">
                  <a16:creationId xmlns:a16="http://schemas.microsoft.com/office/drawing/2014/main" id="{7D6709FD-0008-48A0-B205-13EA2B28A28D}"/>
                </a:ext>
              </a:extLst>
            </p:cNvPr>
            <p:cNvSpPr/>
            <p:nvPr/>
          </p:nvSpPr>
          <p:spPr>
            <a:xfrm>
              <a:off x="3547109" y="2032254"/>
              <a:ext cx="1130935" cy="1130935"/>
            </a:xfrm>
            <a:custGeom>
              <a:avLst/>
              <a:gdLst/>
              <a:ahLst/>
              <a:cxnLst/>
              <a:rect l="l" t="t" r="r" b="b"/>
              <a:pathLst>
                <a:path w="1130935" h="1130935">
                  <a:moveTo>
                    <a:pt x="0" y="565404"/>
                  </a:moveTo>
                  <a:lnTo>
                    <a:pt x="2075" y="516614"/>
                  </a:lnTo>
                  <a:lnTo>
                    <a:pt x="8187" y="468978"/>
                  </a:lnTo>
                  <a:lnTo>
                    <a:pt x="18167" y="422665"/>
                  </a:lnTo>
                  <a:lnTo>
                    <a:pt x="31845" y="377844"/>
                  </a:lnTo>
                  <a:lnTo>
                    <a:pt x="49051" y="334686"/>
                  </a:lnTo>
                  <a:lnTo>
                    <a:pt x="69615" y="293360"/>
                  </a:lnTo>
                  <a:lnTo>
                    <a:pt x="93369" y="254034"/>
                  </a:lnTo>
                  <a:lnTo>
                    <a:pt x="120142" y="216881"/>
                  </a:lnTo>
                  <a:lnTo>
                    <a:pt x="149765" y="182067"/>
                  </a:lnTo>
                  <a:lnTo>
                    <a:pt x="182067" y="149765"/>
                  </a:lnTo>
                  <a:lnTo>
                    <a:pt x="216881" y="120142"/>
                  </a:lnTo>
                  <a:lnTo>
                    <a:pt x="254034" y="93369"/>
                  </a:lnTo>
                  <a:lnTo>
                    <a:pt x="293360" y="69615"/>
                  </a:lnTo>
                  <a:lnTo>
                    <a:pt x="334686" y="49051"/>
                  </a:lnTo>
                  <a:lnTo>
                    <a:pt x="377844" y="31845"/>
                  </a:lnTo>
                  <a:lnTo>
                    <a:pt x="422665" y="18167"/>
                  </a:lnTo>
                  <a:lnTo>
                    <a:pt x="468978" y="8187"/>
                  </a:lnTo>
                  <a:lnTo>
                    <a:pt x="516614" y="2075"/>
                  </a:lnTo>
                  <a:lnTo>
                    <a:pt x="565403" y="0"/>
                  </a:lnTo>
                  <a:lnTo>
                    <a:pt x="614193" y="2075"/>
                  </a:lnTo>
                  <a:lnTo>
                    <a:pt x="661829" y="8187"/>
                  </a:lnTo>
                  <a:lnTo>
                    <a:pt x="708142" y="18167"/>
                  </a:lnTo>
                  <a:lnTo>
                    <a:pt x="752963" y="31845"/>
                  </a:lnTo>
                  <a:lnTo>
                    <a:pt x="796121" y="49051"/>
                  </a:lnTo>
                  <a:lnTo>
                    <a:pt x="837447" y="69615"/>
                  </a:lnTo>
                  <a:lnTo>
                    <a:pt x="876773" y="93369"/>
                  </a:lnTo>
                  <a:lnTo>
                    <a:pt x="913926" y="120142"/>
                  </a:lnTo>
                  <a:lnTo>
                    <a:pt x="948740" y="149765"/>
                  </a:lnTo>
                  <a:lnTo>
                    <a:pt x="981042" y="182067"/>
                  </a:lnTo>
                  <a:lnTo>
                    <a:pt x="1010665" y="216881"/>
                  </a:lnTo>
                  <a:lnTo>
                    <a:pt x="1037438" y="254034"/>
                  </a:lnTo>
                  <a:lnTo>
                    <a:pt x="1061192" y="293360"/>
                  </a:lnTo>
                  <a:lnTo>
                    <a:pt x="1081756" y="334686"/>
                  </a:lnTo>
                  <a:lnTo>
                    <a:pt x="1098962" y="377844"/>
                  </a:lnTo>
                  <a:lnTo>
                    <a:pt x="1112640" y="422665"/>
                  </a:lnTo>
                  <a:lnTo>
                    <a:pt x="1122620" y="468978"/>
                  </a:lnTo>
                  <a:lnTo>
                    <a:pt x="1128732" y="516614"/>
                  </a:lnTo>
                  <a:lnTo>
                    <a:pt x="1130807" y="565404"/>
                  </a:lnTo>
                  <a:lnTo>
                    <a:pt x="1128732" y="614193"/>
                  </a:lnTo>
                  <a:lnTo>
                    <a:pt x="1122620" y="661829"/>
                  </a:lnTo>
                  <a:lnTo>
                    <a:pt x="1112640" y="708142"/>
                  </a:lnTo>
                  <a:lnTo>
                    <a:pt x="1098962" y="752963"/>
                  </a:lnTo>
                  <a:lnTo>
                    <a:pt x="1081756" y="796121"/>
                  </a:lnTo>
                  <a:lnTo>
                    <a:pt x="1061192" y="837447"/>
                  </a:lnTo>
                  <a:lnTo>
                    <a:pt x="1037438" y="876773"/>
                  </a:lnTo>
                  <a:lnTo>
                    <a:pt x="1010665" y="913926"/>
                  </a:lnTo>
                  <a:lnTo>
                    <a:pt x="981042" y="948740"/>
                  </a:lnTo>
                  <a:lnTo>
                    <a:pt x="948740" y="981042"/>
                  </a:lnTo>
                  <a:lnTo>
                    <a:pt x="913926" y="1010665"/>
                  </a:lnTo>
                  <a:lnTo>
                    <a:pt x="876773" y="1037438"/>
                  </a:lnTo>
                  <a:lnTo>
                    <a:pt x="837447" y="1061192"/>
                  </a:lnTo>
                  <a:lnTo>
                    <a:pt x="796121" y="1081756"/>
                  </a:lnTo>
                  <a:lnTo>
                    <a:pt x="752963" y="1098962"/>
                  </a:lnTo>
                  <a:lnTo>
                    <a:pt x="708142" y="1112640"/>
                  </a:lnTo>
                  <a:lnTo>
                    <a:pt x="661829" y="1122620"/>
                  </a:lnTo>
                  <a:lnTo>
                    <a:pt x="614193" y="1128732"/>
                  </a:lnTo>
                  <a:lnTo>
                    <a:pt x="565403" y="1130808"/>
                  </a:lnTo>
                  <a:lnTo>
                    <a:pt x="516614" y="1128732"/>
                  </a:lnTo>
                  <a:lnTo>
                    <a:pt x="468978" y="1122620"/>
                  </a:lnTo>
                  <a:lnTo>
                    <a:pt x="422665" y="1112640"/>
                  </a:lnTo>
                  <a:lnTo>
                    <a:pt x="377844" y="1098962"/>
                  </a:lnTo>
                  <a:lnTo>
                    <a:pt x="334686" y="1081756"/>
                  </a:lnTo>
                  <a:lnTo>
                    <a:pt x="293360" y="1061192"/>
                  </a:lnTo>
                  <a:lnTo>
                    <a:pt x="254034" y="1037438"/>
                  </a:lnTo>
                  <a:lnTo>
                    <a:pt x="216881" y="1010665"/>
                  </a:lnTo>
                  <a:lnTo>
                    <a:pt x="182067" y="981042"/>
                  </a:lnTo>
                  <a:lnTo>
                    <a:pt x="149765" y="948740"/>
                  </a:lnTo>
                  <a:lnTo>
                    <a:pt x="120142" y="913926"/>
                  </a:lnTo>
                  <a:lnTo>
                    <a:pt x="93369" y="876773"/>
                  </a:lnTo>
                  <a:lnTo>
                    <a:pt x="69615" y="837447"/>
                  </a:lnTo>
                  <a:lnTo>
                    <a:pt x="49051" y="796121"/>
                  </a:lnTo>
                  <a:lnTo>
                    <a:pt x="31845" y="752963"/>
                  </a:lnTo>
                  <a:lnTo>
                    <a:pt x="18167" y="708142"/>
                  </a:lnTo>
                  <a:lnTo>
                    <a:pt x="8187" y="661829"/>
                  </a:lnTo>
                  <a:lnTo>
                    <a:pt x="2075" y="614193"/>
                  </a:lnTo>
                  <a:lnTo>
                    <a:pt x="0" y="565404"/>
                  </a:lnTo>
                  <a:close/>
                </a:path>
              </a:pathLst>
            </a:custGeom>
            <a:ln w="19812">
              <a:solidFill>
                <a:srgbClr val="A6A6A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grpSp>
      <p:grpSp>
        <p:nvGrpSpPr>
          <p:cNvPr id="15" name="Group 14">
            <a:extLst>
              <a:ext uri="{FF2B5EF4-FFF2-40B4-BE49-F238E27FC236}">
                <a16:creationId xmlns:a16="http://schemas.microsoft.com/office/drawing/2014/main" id="{2775BF69-6D2D-41B8-B52B-4255D0A9E6E9}"/>
              </a:ext>
            </a:extLst>
          </p:cNvPr>
          <p:cNvGrpSpPr/>
          <p:nvPr/>
        </p:nvGrpSpPr>
        <p:grpSpPr>
          <a:xfrm>
            <a:off x="6055790" y="1632258"/>
            <a:ext cx="1171444" cy="1224343"/>
            <a:chOff x="3467100" y="1822704"/>
            <a:chExt cx="1417447" cy="1481455"/>
          </a:xfrm>
        </p:grpSpPr>
        <p:sp>
          <p:nvSpPr>
            <p:cNvPr id="116" name="object 17">
              <a:extLst>
                <a:ext uri="{FF2B5EF4-FFF2-40B4-BE49-F238E27FC236}">
                  <a16:creationId xmlns:a16="http://schemas.microsoft.com/office/drawing/2014/main" id="{2F3BA468-EE65-44BF-A52A-5E930327C16B}"/>
                </a:ext>
              </a:extLst>
            </p:cNvPr>
            <p:cNvSpPr/>
            <p:nvPr/>
          </p:nvSpPr>
          <p:spPr>
            <a:xfrm>
              <a:off x="3550284" y="1898904"/>
              <a:ext cx="1259840" cy="1405255"/>
            </a:xfrm>
            <a:custGeom>
              <a:avLst/>
              <a:gdLst/>
              <a:ahLst/>
              <a:cxnLst/>
              <a:rect l="l" t="t" r="r" b="b"/>
              <a:pathLst>
                <a:path w="1259839" h="1405254">
                  <a:moveTo>
                    <a:pt x="556132" y="0"/>
                  </a:moveTo>
                  <a:lnTo>
                    <a:pt x="604293" y="1620"/>
                  </a:lnTo>
                  <a:lnTo>
                    <a:pt x="651582" y="6414"/>
                  </a:lnTo>
                  <a:lnTo>
                    <a:pt x="697894" y="14274"/>
                  </a:lnTo>
                  <a:lnTo>
                    <a:pt x="743124" y="25098"/>
                  </a:lnTo>
                  <a:lnTo>
                    <a:pt x="787169" y="38780"/>
                  </a:lnTo>
                  <a:lnTo>
                    <a:pt x="829923" y="55215"/>
                  </a:lnTo>
                  <a:lnTo>
                    <a:pt x="871281" y="74299"/>
                  </a:lnTo>
                  <a:lnTo>
                    <a:pt x="911140" y="95927"/>
                  </a:lnTo>
                  <a:lnTo>
                    <a:pt x="949394" y="119994"/>
                  </a:lnTo>
                  <a:lnTo>
                    <a:pt x="985938" y="146397"/>
                  </a:lnTo>
                  <a:lnTo>
                    <a:pt x="1020669" y="175029"/>
                  </a:lnTo>
                  <a:lnTo>
                    <a:pt x="1053480" y="205787"/>
                  </a:lnTo>
                  <a:lnTo>
                    <a:pt x="1084269" y="238566"/>
                  </a:lnTo>
                  <a:lnTo>
                    <a:pt x="1112929" y="273261"/>
                  </a:lnTo>
                  <a:lnTo>
                    <a:pt x="1139356" y="309767"/>
                  </a:lnTo>
                  <a:lnTo>
                    <a:pt x="1163447" y="347980"/>
                  </a:lnTo>
                  <a:lnTo>
                    <a:pt x="1185094" y="387794"/>
                  </a:lnTo>
                  <a:lnTo>
                    <a:pt x="1204196" y="429107"/>
                  </a:lnTo>
                  <a:lnTo>
                    <a:pt x="1220645" y="471812"/>
                  </a:lnTo>
                  <a:lnTo>
                    <a:pt x="1234339" y="515805"/>
                  </a:lnTo>
                  <a:lnTo>
                    <a:pt x="1245172" y="560981"/>
                  </a:lnTo>
                  <a:lnTo>
                    <a:pt x="1253039" y="607236"/>
                  </a:lnTo>
                  <a:lnTo>
                    <a:pt x="1257836" y="654465"/>
                  </a:lnTo>
                  <a:lnTo>
                    <a:pt x="1259459" y="702563"/>
                  </a:lnTo>
                  <a:lnTo>
                    <a:pt x="1257836" y="750662"/>
                  </a:lnTo>
                  <a:lnTo>
                    <a:pt x="1253039" y="797891"/>
                  </a:lnTo>
                  <a:lnTo>
                    <a:pt x="1245172" y="844146"/>
                  </a:lnTo>
                  <a:lnTo>
                    <a:pt x="1234339" y="889322"/>
                  </a:lnTo>
                  <a:lnTo>
                    <a:pt x="1220645" y="933315"/>
                  </a:lnTo>
                  <a:lnTo>
                    <a:pt x="1204196" y="976020"/>
                  </a:lnTo>
                  <a:lnTo>
                    <a:pt x="1185094" y="1017333"/>
                  </a:lnTo>
                  <a:lnTo>
                    <a:pt x="1163447" y="1057147"/>
                  </a:lnTo>
                  <a:lnTo>
                    <a:pt x="1139356" y="1095360"/>
                  </a:lnTo>
                  <a:lnTo>
                    <a:pt x="1112929" y="1131866"/>
                  </a:lnTo>
                  <a:lnTo>
                    <a:pt x="1084269" y="1166561"/>
                  </a:lnTo>
                  <a:lnTo>
                    <a:pt x="1053480" y="1199340"/>
                  </a:lnTo>
                  <a:lnTo>
                    <a:pt x="1020669" y="1230098"/>
                  </a:lnTo>
                  <a:lnTo>
                    <a:pt x="985938" y="1258730"/>
                  </a:lnTo>
                  <a:lnTo>
                    <a:pt x="949394" y="1285133"/>
                  </a:lnTo>
                  <a:lnTo>
                    <a:pt x="911140" y="1309200"/>
                  </a:lnTo>
                  <a:lnTo>
                    <a:pt x="871281" y="1330828"/>
                  </a:lnTo>
                  <a:lnTo>
                    <a:pt x="829923" y="1349912"/>
                  </a:lnTo>
                  <a:lnTo>
                    <a:pt x="787169" y="1366347"/>
                  </a:lnTo>
                  <a:lnTo>
                    <a:pt x="743124" y="1380029"/>
                  </a:lnTo>
                  <a:lnTo>
                    <a:pt x="697894" y="1390853"/>
                  </a:lnTo>
                  <a:lnTo>
                    <a:pt x="651582" y="1398713"/>
                  </a:lnTo>
                  <a:lnTo>
                    <a:pt x="604293" y="1403507"/>
                  </a:lnTo>
                  <a:lnTo>
                    <a:pt x="556132" y="1405128"/>
                  </a:lnTo>
                  <a:lnTo>
                    <a:pt x="506172" y="1403355"/>
                  </a:lnTo>
                  <a:lnTo>
                    <a:pt x="456808" y="1398092"/>
                  </a:lnTo>
                  <a:lnTo>
                    <a:pt x="408205" y="1389418"/>
                  </a:lnTo>
                  <a:lnTo>
                    <a:pt x="360525" y="1377414"/>
                  </a:lnTo>
                  <a:lnTo>
                    <a:pt x="313933" y="1362159"/>
                  </a:lnTo>
                  <a:lnTo>
                    <a:pt x="268593" y="1343733"/>
                  </a:lnTo>
                  <a:lnTo>
                    <a:pt x="224667" y="1322217"/>
                  </a:lnTo>
                  <a:lnTo>
                    <a:pt x="182321" y="1297691"/>
                  </a:lnTo>
                  <a:lnTo>
                    <a:pt x="141717" y="1270235"/>
                  </a:lnTo>
                  <a:lnTo>
                    <a:pt x="103019" y="1239929"/>
                  </a:lnTo>
                  <a:lnTo>
                    <a:pt x="66391" y="1206853"/>
                  </a:lnTo>
                  <a:lnTo>
                    <a:pt x="31997" y="1171088"/>
                  </a:lnTo>
                  <a:lnTo>
                    <a:pt x="0" y="1132713"/>
                  </a:lnTo>
                </a:path>
              </a:pathLst>
            </a:custGeom>
            <a:ln w="15240">
              <a:solidFill>
                <a:srgbClr val="A6A6A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117" name="object 18">
              <a:extLst>
                <a:ext uri="{FF2B5EF4-FFF2-40B4-BE49-F238E27FC236}">
                  <a16:creationId xmlns:a16="http://schemas.microsoft.com/office/drawing/2014/main" id="{90ECF824-78B5-4236-B544-A5B0BDFDA971}"/>
                </a:ext>
              </a:extLst>
            </p:cNvPr>
            <p:cNvSpPr/>
            <p:nvPr/>
          </p:nvSpPr>
          <p:spPr>
            <a:xfrm>
              <a:off x="3467100" y="1962911"/>
              <a:ext cx="1278890" cy="1277620"/>
            </a:xfrm>
            <a:custGeom>
              <a:avLst/>
              <a:gdLst/>
              <a:ahLst/>
              <a:cxnLst/>
              <a:rect l="l" t="t" r="r" b="b"/>
              <a:pathLst>
                <a:path w="1278889" h="1277620">
                  <a:moveTo>
                    <a:pt x="639317" y="0"/>
                  </a:moveTo>
                  <a:lnTo>
                    <a:pt x="687027" y="1751"/>
                  </a:lnTo>
                  <a:lnTo>
                    <a:pt x="733785" y="6923"/>
                  </a:lnTo>
                  <a:lnTo>
                    <a:pt x="779468" y="15392"/>
                  </a:lnTo>
                  <a:lnTo>
                    <a:pt x="823952" y="27034"/>
                  </a:lnTo>
                  <a:lnTo>
                    <a:pt x="867112" y="41727"/>
                  </a:lnTo>
                  <a:lnTo>
                    <a:pt x="908827" y="59346"/>
                  </a:lnTo>
                  <a:lnTo>
                    <a:pt x="948971" y="79769"/>
                  </a:lnTo>
                  <a:lnTo>
                    <a:pt x="987422" y="102871"/>
                  </a:lnTo>
                  <a:lnTo>
                    <a:pt x="1024055" y="128530"/>
                  </a:lnTo>
                  <a:lnTo>
                    <a:pt x="1058747" y="156622"/>
                  </a:lnTo>
                  <a:lnTo>
                    <a:pt x="1091374" y="187023"/>
                  </a:lnTo>
                  <a:lnTo>
                    <a:pt x="1121813" y="219610"/>
                  </a:lnTo>
                  <a:lnTo>
                    <a:pt x="1149940" y="254260"/>
                  </a:lnTo>
                  <a:lnTo>
                    <a:pt x="1175631" y="290849"/>
                  </a:lnTo>
                  <a:lnTo>
                    <a:pt x="1198763" y="329253"/>
                  </a:lnTo>
                  <a:lnTo>
                    <a:pt x="1219212" y="369350"/>
                  </a:lnTo>
                  <a:lnTo>
                    <a:pt x="1236854" y="411016"/>
                  </a:lnTo>
                  <a:lnTo>
                    <a:pt x="1251565" y="454127"/>
                  </a:lnTo>
                  <a:lnTo>
                    <a:pt x="1263223" y="498560"/>
                  </a:lnTo>
                  <a:lnTo>
                    <a:pt x="1271703" y="544191"/>
                  </a:lnTo>
                  <a:lnTo>
                    <a:pt x="1276882" y="590898"/>
                  </a:lnTo>
                  <a:lnTo>
                    <a:pt x="1278636" y="638555"/>
                  </a:lnTo>
                  <a:lnTo>
                    <a:pt x="1276882" y="686213"/>
                  </a:lnTo>
                  <a:lnTo>
                    <a:pt x="1271703" y="732920"/>
                  </a:lnTo>
                  <a:lnTo>
                    <a:pt x="1263223" y="778551"/>
                  </a:lnTo>
                  <a:lnTo>
                    <a:pt x="1251565" y="822984"/>
                  </a:lnTo>
                  <a:lnTo>
                    <a:pt x="1236854" y="866095"/>
                  </a:lnTo>
                  <a:lnTo>
                    <a:pt x="1219212" y="907761"/>
                  </a:lnTo>
                  <a:lnTo>
                    <a:pt x="1198763" y="947858"/>
                  </a:lnTo>
                  <a:lnTo>
                    <a:pt x="1175631" y="986262"/>
                  </a:lnTo>
                  <a:lnTo>
                    <a:pt x="1149940" y="1022851"/>
                  </a:lnTo>
                  <a:lnTo>
                    <a:pt x="1121813" y="1057501"/>
                  </a:lnTo>
                  <a:lnTo>
                    <a:pt x="1091374" y="1090088"/>
                  </a:lnTo>
                  <a:lnTo>
                    <a:pt x="1058747" y="1120489"/>
                  </a:lnTo>
                  <a:lnTo>
                    <a:pt x="1024055" y="1148581"/>
                  </a:lnTo>
                  <a:lnTo>
                    <a:pt x="987422" y="1174240"/>
                  </a:lnTo>
                  <a:lnTo>
                    <a:pt x="948971" y="1197342"/>
                  </a:lnTo>
                  <a:lnTo>
                    <a:pt x="908827" y="1217765"/>
                  </a:lnTo>
                  <a:lnTo>
                    <a:pt x="867112" y="1235384"/>
                  </a:lnTo>
                  <a:lnTo>
                    <a:pt x="823952" y="1250077"/>
                  </a:lnTo>
                  <a:lnTo>
                    <a:pt x="779468" y="1261719"/>
                  </a:lnTo>
                  <a:lnTo>
                    <a:pt x="733785" y="1270188"/>
                  </a:lnTo>
                  <a:lnTo>
                    <a:pt x="687027" y="1275360"/>
                  </a:lnTo>
                  <a:lnTo>
                    <a:pt x="639317" y="1277112"/>
                  </a:lnTo>
                  <a:lnTo>
                    <a:pt x="591608" y="1275360"/>
                  </a:lnTo>
                  <a:lnTo>
                    <a:pt x="544850" y="1270188"/>
                  </a:lnTo>
                  <a:lnTo>
                    <a:pt x="499167" y="1261719"/>
                  </a:lnTo>
                  <a:lnTo>
                    <a:pt x="454683" y="1250077"/>
                  </a:lnTo>
                  <a:lnTo>
                    <a:pt x="411523" y="1235384"/>
                  </a:lnTo>
                  <a:lnTo>
                    <a:pt x="369808" y="1217765"/>
                  </a:lnTo>
                  <a:lnTo>
                    <a:pt x="329664" y="1197342"/>
                  </a:lnTo>
                  <a:lnTo>
                    <a:pt x="291213" y="1174240"/>
                  </a:lnTo>
                  <a:lnTo>
                    <a:pt x="254580" y="1148581"/>
                  </a:lnTo>
                  <a:lnTo>
                    <a:pt x="219888" y="1120489"/>
                  </a:lnTo>
                  <a:lnTo>
                    <a:pt x="187261" y="1090088"/>
                  </a:lnTo>
                  <a:lnTo>
                    <a:pt x="156822" y="1057501"/>
                  </a:lnTo>
                  <a:lnTo>
                    <a:pt x="128695" y="1022851"/>
                  </a:lnTo>
                  <a:lnTo>
                    <a:pt x="103004" y="986262"/>
                  </a:lnTo>
                  <a:lnTo>
                    <a:pt x="79872" y="947858"/>
                  </a:lnTo>
                  <a:lnTo>
                    <a:pt x="59423" y="907761"/>
                  </a:lnTo>
                  <a:lnTo>
                    <a:pt x="41781" y="866095"/>
                  </a:lnTo>
                  <a:lnTo>
                    <a:pt x="27070" y="822984"/>
                  </a:lnTo>
                  <a:lnTo>
                    <a:pt x="15412" y="778551"/>
                  </a:lnTo>
                  <a:lnTo>
                    <a:pt x="6932" y="732920"/>
                  </a:lnTo>
                  <a:lnTo>
                    <a:pt x="1753" y="686213"/>
                  </a:lnTo>
                  <a:lnTo>
                    <a:pt x="0" y="638555"/>
                  </a:lnTo>
                  <a:lnTo>
                    <a:pt x="2217" y="585401"/>
                  </a:lnTo>
                  <a:lnTo>
                    <a:pt x="8812" y="532886"/>
                  </a:lnTo>
                  <a:lnTo>
                    <a:pt x="19696" y="481266"/>
                  </a:lnTo>
                  <a:lnTo>
                    <a:pt x="34782" y="430799"/>
                  </a:lnTo>
                  <a:lnTo>
                    <a:pt x="53981" y="381744"/>
                  </a:lnTo>
                  <a:lnTo>
                    <a:pt x="77206" y="334357"/>
                  </a:lnTo>
                  <a:lnTo>
                    <a:pt x="104368" y="288895"/>
                  </a:lnTo>
                  <a:lnTo>
                    <a:pt x="135382" y="245617"/>
                  </a:lnTo>
                </a:path>
              </a:pathLst>
            </a:custGeom>
            <a:ln w="15240">
              <a:solidFill>
                <a:srgbClr val="A6A6A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118" name="object 19">
              <a:extLst>
                <a:ext uri="{FF2B5EF4-FFF2-40B4-BE49-F238E27FC236}">
                  <a16:creationId xmlns:a16="http://schemas.microsoft.com/office/drawing/2014/main" id="{93BBE99E-72E9-4CC0-BE78-38BBEB574F93}"/>
                </a:ext>
              </a:extLst>
            </p:cNvPr>
            <p:cNvSpPr/>
            <p:nvPr/>
          </p:nvSpPr>
          <p:spPr>
            <a:xfrm>
              <a:off x="4111752" y="1822704"/>
              <a:ext cx="772795" cy="1082675"/>
            </a:xfrm>
            <a:custGeom>
              <a:avLst/>
              <a:gdLst/>
              <a:ahLst/>
              <a:cxnLst/>
              <a:rect l="l" t="t" r="r" b="b"/>
              <a:pathLst>
                <a:path w="772795" h="1082675">
                  <a:moveTo>
                    <a:pt x="0" y="0"/>
                  </a:moveTo>
                  <a:lnTo>
                    <a:pt x="48863" y="1521"/>
                  </a:lnTo>
                  <a:lnTo>
                    <a:pt x="96919" y="6026"/>
                  </a:lnTo>
                  <a:lnTo>
                    <a:pt x="144077" y="13424"/>
                  </a:lnTo>
                  <a:lnTo>
                    <a:pt x="190246" y="23624"/>
                  </a:lnTo>
                  <a:lnTo>
                    <a:pt x="235337" y="36535"/>
                  </a:lnTo>
                  <a:lnTo>
                    <a:pt x="279258" y="52067"/>
                  </a:lnTo>
                  <a:lnTo>
                    <a:pt x="321919" y="70128"/>
                  </a:lnTo>
                  <a:lnTo>
                    <a:pt x="363229" y="90629"/>
                  </a:lnTo>
                  <a:lnTo>
                    <a:pt x="403098" y="113479"/>
                  </a:lnTo>
                  <a:lnTo>
                    <a:pt x="441436" y="138587"/>
                  </a:lnTo>
                  <a:lnTo>
                    <a:pt x="478151" y="165862"/>
                  </a:lnTo>
                  <a:lnTo>
                    <a:pt x="513154" y="195214"/>
                  </a:lnTo>
                  <a:lnTo>
                    <a:pt x="546354" y="226552"/>
                  </a:lnTo>
                  <a:lnTo>
                    <a:pt x="577659" y="259785"/>
                  </a:lnTo>
                  <a:lnTo>
                    <a:pt x="606981" y="294823"/>
                  </a:lnTo>
                  <a:lnTo>
                    <a:pt x="634228" y="331575"/>
                  </a:lnTo>
                  <a:lnTo>
                    <a:pt x="659309" y="369951"/>
                  </a:lnTo>
                  <a:lnTo>
                    <a:pt x="682135" y="409859"/>
                  </a:lnTo>
                  <a:lnTo>
                    <a:pt x="702614" y="451210"/>
                  </a:lnTo>
                  <a:lnTo>
                    <a:pt x="720657" y="493912"/>
                  </a:lnTo>
                  <a:lnTo>
                    <a:pt x="736172" y="537875"/>
                  </a:lnTo>
                  <a:lnTo>
                    <a:pt x="749069" y="583008"/>
                  </a:lnTo>
                  <a:lnTo>
                    <a:pt x="759257" y="629221"/>
                  </a:lnTo>
                  <a:lnTo>
                    <a:pt x="766647" y="676422"/>
                  </a:lnTo>
                  <a:lnTo>
                    <a:pt x="771147" y="724522"/>
                  </a:lnTo>
                  <a:lnTo>
                    <a:pt x="772668" y="773430"/>
                  </a:lnTo>
                  <a:lnTo>
                    <a:pt x="770853" y="826453"/>
                  </a:lnTo>
                  <a:lnTo>
                    <a:pt x="765433" y="879103"/>
                  </a:lnTo>
                  <a:lnTo>
                    <a:pt x="756443" y="931195"/>
                  </a:lnTo>
                  <a:lnTo>
                    <a:pt x="743918" y="982547"/>
                  </a:lnTo>
                  <a:lnTo>
                    <a:pt x="727894" y="1032974"/>
                  </a:lnTo>
                  <a:lnTo>
                    <a:pt x="708406" y="1082294"/>
                  </a:lnTo>
                </a:path>
              </a:pathLst>
            </a:custGeom>
            <a:ln w="15240">
              <a:solidFill>
                <a:srgbClr val="A6A6A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119" name="object 40">
              <a:extLst>
                <a:ext uri="{FF2B5EF4-FFF2-40B4-BE49-F238E27FC236}">
                  <a16:creationId xmlns:a16="http://schemas.microsoft.com/office/drawing/2014/main" id="{61402D29-4036-41DC-B7D4-26AA9226EDD0}"/>
                </a:ext>
              </a:extLst>
            </p:cNvPr>
            <p:cNvSpPr/>
            <p:nvPr/>
          </p:nvSpPr>
          <p:spPr>
            <a:xfrm>
              <a:off x="3547109" y="2032254"/>
              <a:ext cx="1130935" cy="1130935"/>
            </a:xfrm>
            <a:custGeom>
              <a:avLst/>
              <a:gdLst/>
              <a:ahLst/>
              <a:cxnLst/>
              <a:rect l="l" t="t" r="r" b="b"/>
              <a:pathLst>
                <a:path w="1130935" h="1130935">
                  <a:moveTo>
                    <a:pt x="565403" y="0"/>
                  </a:moveTo>
                  <a:lnTo>
                    <a:pt x="516614" y="2075"/>
                  </a:lnTo>
                  <a:lnTo>
                    <a:pt x="468978" y="8187"/>
                  </a:lnTo>
                  <a:lnTo>
                    <a:pt x="422665" y="18167"/>
                  </a:lnTo>
                  <a:lnTo>
                    <a:pt x="377844" y="31845"/>
                  </a:lnTo>
                  <a:lnTo>
                    <a:pt x="334686" y="49051"/>
                  </a:lnTo>
                  <a:lnTo>
                    <a:pt x="293360" y="69615"/>
                  </a:lnTo>
                  <a:lnTo>
                    <a:pt x="254034" y="93369"/>
                  </a:lnTo>
                  <a:lnTo>
                    <a:pt x="216881" y="120142"/>
                  </a:lnTo>
                  <a:lnTo>
                    <a:pt x="182067" y="149765"/>
                  </a:lnTo>
                  <a:lnTo>
                    <a:pt x="149765" y="182067"/>
                  </a:lnTo>
                  <a:lnTo>
                    <a:pt x="120142" y="216881"/>
                  </a:lnTo>
                  <a:lnTo>
                    <a:pt x="93369" y="254034"/>
                  </a:lnTo>
                  <a:lnTo>
                    <a:pt x="69615" y="293360"/>
                  </a:lnTo>
                  <a:lnTo>
                    <a:pt x="49051" y="334686"/>
                  </a:lnTo>
                  <a:lnTo>
                    <a:pt x="31845" y="377844"/>
                  </a:lnTo>
                  <a:lnTo>
                    <a:pt x="18167" y="422665"/>
                  </a:lnTo>
                  <a:lnTo>
                    <a:pt x="8187" y="468978"/>
                  </a:lnTo>
                  <a:lnTo>
                    <a:pt x="2075" y="516614"/>
                  </a:lnTo>
                  <a:lnTo>
                    <a:pt x="0" y="565404"/>
                  </a:lnTo>
                  <a:lnTo>
                    <a:pt x="2075" y="614193"/>
                  </a:lnTo>
                  <a:lnTo>
                    <a:pt x="8187" y="661829"/>
                  </a:lnTo>
                  <a:lnTo>
                    <a:pt x="18167" y="708142"/>
                  </a:lnTo>
                  <a:lnTo>
                    <a:pt x="31845" y="752963"/>
                  </a:lnTo>
                  <a:lnTo>
                    <a:pt x="49051" y="796121"/>
                  </a:lnTo>
                  <a:lnTo>
                    <a:pt x="69615" y="837447"/>
                  </a:lnTo>
                  <a:lnTo>
                    <a:pt x="93369" y="876773"/>
                  </a:lnTo>
                  <a:lnTo>
                    <a:pt x="120142" y="913926"/>
                  </a:lnTo>
                  <a:lnTo>
                    <a:pt x="149765" y="948740"/>
                  </a:lnTo>
                  <a:lnTo>
                    <a:pt x="182067" y="981042"/>
                  </a:lnTo>
                  <a:lnTo>
                    <a:pt x="216881" y="1010665"/>
                  </a:lnTo>
                  <a:lnTo>
                    <a:pt x="254034" y="1037438"/>
                  </a:lnTo>
                  <a:lnTo>
                    <a:pt x="293360" y="1061192"/>
                  </a:lnTo>
                  <a:lnTo>
                    <a:pt x="334686" y="1081756"/>
                  </a:lnTo>
                  <a:lnTo>
                    <a:pt x="377844" y="1098962"/>
                  </a:lnTo>
                  <a:lnTo>
                    <a:pt x="422665" y="1112640"/>
                  </a:lnTo>
                  <a:lnTo>
                    <a:pt x="468978" y="1122620"/>
                  </a:lnTo>
                  <a:lnTo>
                    <a:pt x="516614" y="1128732"/>
                  </a:lnTo>
                  <a:lnTo>
                    <a:pt x="565403" y="1130808"/>
                  </a:lnTo>
                  <a:lnTo>
                    <a:pt x="614193" y="1128732"/>
                  </a:lnTo>
                  <a:lnTo>
                    <a:pt x="661829" y="1122620"/>
                  </a:lnTo>
                  <a:lnTo>
                    <a:pt x="708142" y="1112640"/>
                  </a:lnTo>
                  <a:lnTo>
                    <a:pt x="752963" y="1098962"/>
                  </a:lnTo>
                  <a:lnTo>
                    <a:pt x="796121" y="1081756"/>
                  </a:lnTo>
                  <a:lnTo>
                    <a:pt x="837447" y="1061192"/>
                  </a:lnTo>
                  <a:lnTo>
                    <a:pt x="876773" y="1037438"/>
                  </a:lnTo>
                  <a:lnTo>
                    <a:pt x="913926" y="1010665"/>
                  </a:lnTo>
                  <a:lnTo>
                    <a:pt x="948740" y="981042"/>
                  </a:lnTo>
                  <a:lnTo>
                    <a:pt x="981042" y="948740"/>
                  </a:lnTo>
                  <a:lnTo>
                    <a:pt x="1010665" y="913926"/>
                  </a:lnTo>
                  <a:lnTo>
                    <a:pt x="1037438" y="876773"/>
                  </a:lnTo>
                  <a:lnTo>
                    <a:pt x="1061192" y="837447"/>
                  </a:lnTo>
                  <a:lnTo>
                    <a:pt x="1081756" y="796121"/>
                  </a:lnTo>
                  <a:lnTo>
                    <a:pt x="1098962" y="752963"/>
                  </a:lnTo>
                  <a:lnTo>
                    <a:pt x="1112640" y="708142"/>
                  </a:lnTo>
                  <a:lnTo>
                    <a:pt x="1122620" y="661829"/>
                  </a:lnTo>
                  <a:lnTo>
                    <a:pt x="1128732" y="614193"/>
                  </a:lnTo>
                  <a:lnTo>
                    <a:pt x="1130807" y="565404"/>
                  </a:lnTo>
                  <a:lnTo>
                    <a:pt x="1128732" y="516614"/>
                  </a:lnTo>
                  <a:lnTo>
                    <a:pt x="1122620" y="468978"/>
                  </a:lnTo>
                  <a:lnTo>
                    <a:pt x="1112640" y="422665"/>
                  </a:lnTo>
                  <a:lnTo>
                    <a:pt x="1098962" y="377844"/>
                  </a:lnTo>
                  <a:lnTo>
                    <a:pt x="1081756" y="334686"/>
                  </a:lnTo>
                  <a:lnTo>
                    <a:pt x="1061192" y="293360"/>
                  </a:lnTo>
                  <a:lnTo>
                    <a:pt x="1037438" y="254034"/>
                  </a:lnTo>
                  <a:lnTo>
                    <a:pt x="1010665" y="216881"/>
                  </a:lnTo>
                  <a:lnTo>
                    <a:pt x="981042" y="182067"/>
                  </a:lnTo>
                  <a:lnTo>
                    <a:pt x="948740" y="149765"/>
                  </a:lnTo>
                  <a:lnTo>
                    <a:pt x="913926" y="120142"/>
                  </a:lnTo>
                  <a:lnTo>
                    <a:pt x="876773" y="93369"/>
                  </a:lnTo>
                  <a:lnTo>
                    <a:pt x="837447" y="69615"/>
                  </a:lnTo>
                  <a:lnTo>
                    <a:pt x="796121" y="49051"/>
                  </a:lnTo>
                  <a:lnTo>
                    <a:pt x="752963" y="31845"/>
                  </a:lnTo>
                  <a:lnTo>
                    <a:pt x="708142" y="18167"/>
                  </a:lnTo>
                  <a:lnTo>
                    <a:pt x="661829" y="8187"/>
                  </a:lnTo>
                  <a:lnTo>
                    <a:pt x="614193" y="2075"/>
                  </a:lnTo>
                  <a:lnTo>
                    <a:pt x="565403"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120" name="object 41">
              <a:extLst>
                <a:ext uri="{FF2B5EF4-FFF2-40B4-BE49-F238E27FC236}">
                  <a16:creationId xmlns:a16="http://schemas.microsoft.com/office/drawing/2014/main" id="{C56FC447-E341-4429-8C77-5B505D488597}"/>
                </a:ext>
              </a:extLst>
            </p:cNvPr>
            <p:cNvSpPr/>
            <p:nvPr/>
          </p:nvSpPr>
          <p:spPr>
            <a:xfrm>
              <a:off x="3547109" y="2032254"/>
              <a:ext cx="1130935" cy="1130935"/>
            </a:xfrm>
            <a:custGeom>
              <a:avLst/>
              <a:gdLst/>
              <a:ahLst/>
              <a:cxnLst/>
              <a:rect l="l" t="t" r="r" b="b"/>
              <a:pathLst>
                <a:path w="1130935" h="1130935">
                  <a:moveTo>
                    <a:pt x="0" y="565404"/>
                  </a:moveTo>
                  <a:lnTo>
                    <a:pt x="2075" y="516614"/>
                  </a:lnTo>
                  <a:lnTo>
                    <a:pt x="8187" y="468978"/>
                  </a:lnTo>
                  <a:lnTo>
                    <a:pt x="18167" y="422665"/>
                  </a:lnTo>
                  <a:lnTo>
                    <a:pt x="31845" y="377844"/>
                  </a:lnTo>
                  <a:lnTo>
                    <a:pt x="49051" y="334686"/>
                  </a:lnTo>
                  <a:lnTo>
                    <a:pt x="69615" y="293360"/>
                  </a:lnTo>
                  <a:lnTo>
                    <a:pt x="93369" y="254034"/>
                  </a:lnTo>
                  <a:lnTo>
                    <a:pt x="120142" y="216881"/>
                  </a:lnTo>
                  <a:lnTo>
                    <a:pt x="149765" y="182067"/>
                  </a:lnTo>
                  <a:lnTo>
                    <a:pt x="182067" y="149765"/>
                  </a:lnTo>
                  <a:lnTo>
                    <a:pt x="216881" y="120142"/>
                  </a:lnTo>
                  <a:lnTo>
                    <a:pt x="254034" y="93369"/>
                  </a:lnTo>
                  <a:lnTo>
                    <a:pt x="293360" y="69615"/>
                  </a:lnTo>
                  <a:lnTo>
                    <a:pt x="334686" y="49051"/>
                  </a:lnTo>
                  <a:lnTo>
                    <a:pt x="377844" y="31845"/>
                  </a:lnTo>
                  <a:lnTo>
                    <a:pt x="422665" y="18167"/>
                  </a:lnTo>
                  <a:lnTo>
                    <a:pt x="468978" y="8187"/>
                  </a:lnTo>
                  <a:lnTo>
                    <a:pt x="516614" y="2075"/>
                  </a:lnTo>
                  <a:lnTo>
                    <a:pt x="565403" y="0"/>
                  </a:lnTo>
                  <a:lnTo>
                    <a:pt x="614193" y="2075"/>
                  </a:lnTo>
                  <a:lnTo>
                    <a:pt x="661829" y="8187"/>
                  </a:lnTo>
                  <a:lnTo>
                    <a:pt x="708142" y="18167"/>
                  </a:lnTo>
                  <a:lnTo>
                    <a:pt x="752963" y="31845"/>
                  </a:lnTo>
                  <a:lnTo>
                    <a:pt x="796121" y="49051"/>
                  </a:lnTo>
                  <a:lnTo>
                    <a:pt x="837447" y="69615"/>
                  </a:lnTo>
                  <a:lnTo>
                    <a:pt x="876773" y="93369"/>
                  </a:lnTo>
                  <a:lnTo>
                    <a:pt x="913926" y="120142"/>
                  </a:lnTo>
                  <a:lnTo>
                    <a:pt x="948740" y="149765"/>
                  </a:lnTo>
                  <a:lnTo>
                    <a:pt x="981042" y="182067"/>
                  </a:lnTo>
                  <a:lnTo>
                    <a:pt x="1010665" y="216881"/>
                  </a:lnTo>
                  <a:lnTo>
                    <a:pt x="1037438" y="254034"/>
                  </a:lnTo>
                  <a:lnTo>
                    <a:pt x="1061192" y="293360"/>
                  </a:lnTo>
                  <a:lnTo>
                    <a:pt x="1081756" y="334686"/>
                  </a:lnTo>
                  <a:lnTo>
                    <a:pt x="1098962" y="377844"/>
                  </a:lnTo>
                  <a:lnTo>
                    <a:pt x="1112640" y="422665"/>
                  </a:lnTo>
                  <a:lnTo>
                    <a:pt x="1122620" y="468978"/>
                  </a:lnTo>
                  <a:lnTo>
                    <a:pt x="1128732" y="516614"/>
                  </a:lnTo>
                  <a:lnTo>
                    <a:pt x="1130807" y="565404"/>
                  </a:lnTo>
                  <a:lnTo>
                    <a:pt x="1128732" y="614193"/>
                  </a:lnTo>
                  <a:lnTo>
                    <a:pt x="1122620" y="661829"/>
                  </a:lnTo>
                  <a:lnTo>
                    <a:pt x="1112640" y="708142"/>
                  </a:lnTo>
                  <a:lnTo>
                    <a:pt x="1098962" y="752963"/>
                  </a:lnTo>
                  <a:lnTo>
                    <a:pt x="1081756" y="796121"/>
                  </a:lnTo>
                  <a:lnTo>
                    <a:pt x="1061192" y="837447"/>
                  </a:lnTo>
                  <a:lnTo>
                    <a:pt x="1037438" y="876773"/>
                  </a:lnTo>
                  <a:lnTo>
                    <a:pt x="1010665" y="913926"/>
                  </a:lnTo>
                  <a:lnTo>
                    <a:pt x="981042" y="948740"/>
                  </a:lnTo>
                  <a:lnTo>
                    <a:pt x="948740" y="981042"/>
                  </a:lnTo>
                  <a:lnTo>
                    <a:pt x="913926" y="1010665"/>
                  </a:lnTo>
                  <a:lnTo>
                    <a:pt x="876773" y="1037438"/>
                  </a:lnTo>
                  <a:lnTo>
                    <a:pt x="837447" y="1061192"/>
                  </a:lnTo>
                  <a:lnTo>
                    <a:pt x="796121" y="1081756"/>
                  </a:lnTo>
                  <a:lnTo>
                    <a:pt x="752963" y="1098962"/>
                  </a:lnTo>
                  <a:lnTo>
                    <a:pt x="708142" y="1112640"/>
                  </a:lnTo>
                  <a:lnTo>
                    <a:pt x="661829" y="1122620"/>
                  </a:lnTo>
                  <a:lnTo>
                    <a:pt x="614193" y="1128732"/>
                  </a:lnTo>
                  <a:lnTo>
                    <a:pt x="565403" y="1130808"/>
                  </a:lnTo>
                  <a:lnTo>
                    <a:pt x="516614" y="1128732"/>
                  </a:lnTo>
                  <a:lnTo>
                    <a:pt x="468978" y="1122620"/>
                  </a:lnTo>
                  <a:lnTo>
                    <a:pt x="422665" y="1112640"/>
                  </a:lnTo>
                  <a:lnTo>
                    <a:pt x="377844" y="1098962"/>
                  </a:lnTo>
                  <a:lnTo>
                    <a:pt x="334686" y="1081756"/>
                  </a:lnTo>
                  <a:lnTo>
                    <a:pt x="293360" y="1061192"/>
                  </a:lnTo>
                  <a:lnTo>
                    <a:pt x="254034" y="1037438"/>
                  </a:lnTo>
                  <a:lnTo>
                    <a:pt x="216881" y="1010665"/>
                  </a:lnTo>
                  <a:lnTo>
                    <a:pt x="182067" y="981042"/>
                  </a:lnTo>
                  <a:lnTo>
                    <a:pt x="149765" y="948740"/>
                  </a:lnTo>
                  <a:lnTo>
                    <a:pt x="120142" y="913926"/>
                  </a:lnTo>
                  <a:lnTo>
                    <a:pt x="93369" y="876773"/>
                  </a:lnTo>
                  <a:lnTo>
                    <a:pt x="69615" y="837447"/>
                  </a:lnTo>
                  <a:lnTo>
                    <a:pt x="49051" y="796121"/>
                  </a:lnTo>
                  <a:lnTo>
                    <a:pt x="31845" y="752963"/>
                  </a:lnTo>
                  <a:lnTo>
                    <a:pt x="18167" y="708142"/>
                  </a:lnTo>
                  <a:lnTo>
                    <a:pt x="8187" y="661829"/>
                  </a:lnTo>
                  <a:lnTo>
                    <a:pt x="2075" y="614193"/>
                  </a:lnTo>
                  <a:lnTo>
                    <a:pt x="0" y="565404"/>
                  </a:lnTo>
                  <a:close/>
                </a:path>
              </a:pathLst>
            </a:custGeom>
            <a:ln w="19812">
              <a:solidFill>
                <a:srgbClr val="A6A6A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grpSp>
      <p:sp>
        <p:nvSpPr>
          <p:cNvPr id="16" name="object 65">
            <a:extLst>
              <a:ext uri="{FF2B5EF4-FFF2-40B4-BE49-F238E27FC236}">
                <a16:creationId xmlns:a16="http://schemas.microsoft.com/office/drawing/2014/main" id="{2AF3D8D0-6E53-4549-809A-2E034EC1B070}"/>
              </a:ext>
            </a:extLst>
          </p:cNvPr>
          <p:cNvSpPr/>
          <p:nvPr/>
        </p:nvSpPr>
        <p:spPr>
          <a:xfrm rot="20164623">
            <a:off x="5105754" y="2155955"/>
            <a:ext cx="963375" cy="220499"/>
          </a:xfrm>
          <a:custGeom>
            <a:avLst/>
            <a:gdLst/>
            <a:ahLst/>
            <a:cxnLst/>
            <a:rect l="l" t="t" r="r" b="b"/>
            <a:pathLst>
              <a:path w="1685289" h="352425">
                <a:moveTo>
                  <a:pt x="1621144" y="306764"/>
                </a:moveTo>
                <a:lnTo>
                  <a:pt x="1602486" y="327913"/>
                </a:lnTo>
                <a:lnTo>
                  <a:pt x="1684782" y="349758"/>
                </a:lnTo>
                <a:lnTo>
                  <a:pt x="1670790" y="315087"/>
                </a:lnTo>
                <a:lnTo>
                  <a:pt x="1631188" y="315087"/>
                </a:lnTo>
                <a:lnTo>
                  <a:pt x="1621144" y="306764"/>
                </a:lnTo>
                <a:close/>
              </a:path>
              <a:path w="1685289" h="352425">
                <a:moveTo>
                  <a:pt x="1633736" y="292491"/>
                </a:moveTo>
                <a:lnTo>
                  <a:pt x="1621144" y="306764"/>
                </a:lnTo>
                <a:lnTo>
                  <a:pt x="1631188" y="315087"/>
                </a:lnTo>
                <a:lnTo>
                  <a:pt x="1643380" y="300482"/>
                </a:lnTo>
                <a:lnTo>
                  <a:pt x="1633736" y="292491"/>
                </a:lnTo>
                <a:close/>
              </a:path>
              <a:path w="1685289" h="352425">
                <a:moveTo>
                  <a:pt x="1652905" y="270763"/>
                </a:moveTo>
                <a:lnTo>
                  <a:pt x="1633736" y="292491"/>
                </a:lnTo>
                <a:lnTo>
                  <a:pt x="1643380" y="300482"/>
                </a:lnTo>
                <a:lnTo>
                  <a:pt x="1631188" y="315087"/>
                </a:lnTo>
                <a:lnTo>
                  <a:pt x="1670790" y="315087"/>
                </a:lnTo>
                <a:lnTo>
                  <a:pt x="1652905" y="270763"/>
                </a:lnTo>
                <a:close/>
              </a:path>
              <a:path w="1685289" h="352425">
                <a:moveTo>
                  <a:pt x="1583689" y="252222"/>
                </a:moveTo>
                <a:lnTo>
                  <a:pt x="1572387" y="267588"/>
                </a:lnTo>
                <a:lnTo>
                  <a:pt x="1585976" y="277622"/>
                </a:lnTo>
                <a:lnTo>
                  <a:pt x="1621144" y="306764"/>
                </a:lnTo>
                <a:lnTo>
                  <a:pt x="1633736" y="292491"/>
                </a:lnTo>
                <a:lnTo>
                  <a:pt x="1598168" y="263017"/>
                </a:lnTo>
                <a:lnTo>
                  <a:pt x="1583689" y="252222"/>
                </a:lnTo>
                <a:close/>
              </a:path>
              <a:path w="1685289" h="352425">
                <a:moveTo>
                  <a:pt x="1472311" y="177292"/>
                </a:moveTo>
                <a:lnTo>
                  <a:pt x="1462532" y="193675"/>
                </a:lnTo>
                <a:lnTo>
                  <a:pt x="1488567" y="209296"/>
                </a:lnTo>
                <a:lnTo>
                  <a:pt x="1526286" y="234442"/>
                </a:lnTo>
                <a:lnTo>
                  <a:pt x="1536954" y="218694"/>
                </a:lnTo>
                <a:lnTo>
                  <a:pt x="1499108" y="193421"/>
                </a:lnTo>
                <a:lnTo>
                  <a:pt x="1472311" y="177292"/>
                </a:lnTo>
                <a:close/>
              </a:path>
              <a:path w="1685289" h="352425">
                <a:moveTo>
                  <a:pt x="1353693" y="114553"/>
                </a:moveTo>
                <a:lnTo>
                  <a:pt x="1345564" y="131825"/>
                </a:lnTo>
                <a:lnTo>
                  <a:pt x="1386586" y="151384"/>
                </a:lnTo>
                <a:lnTo>
                  <a:pt x="1413256" y="165608"/>
                </a:lnTo>
                <a:lnTo>
                  <a:pt x="1422273" y="148844"/>
                </a:lnTo>
                <a:lnTo>
                  <a:pt x="1395602" y="134493"/>
                </a:lnTo>
                <a:lnTo>
                  <a:pt x="1353693" y="114553"/>
                </a:lnTo>
                <a:close/>
              </a:path>
              <a:path w="1685289" h="352425">
                <a:moveTo>
                  <a:pt x="1228725" y="64770"/>
                </a:moveTo>
                <a:lnTo>
                  <a:pt x="1223010" y="82931"/>
                </a:lnTo>
                <a:lnTo>
                  <a:pt x="1226820" y="84200"/>
                </a:lnTo>
                <a:lnTo>
                  <a:pt x="1280922" y="103886"/>
                </a:lnTo>
                <a:lnTo>
                  <a:pt x="1293495" y="109220"/>
                </a:lnTo>
                <a:lnTo>
                  <a:pt x="1300861" y="91694"/>
                </a:lnTo>
                <a:lnTo>
                  <a:pt x="1288288" y="86360"/>
                </a:lnTo>
                <a:lnTo>
                  <a:pt x="1233424" y="66294"/>
                </a:lnTo>
                <a:lnTo>
                  <a:pt x="1228725" y="64770"/>
                </a:lnTo>
                <a:close/>
              </a:path>
              <a:path w="1685289" h="352425">
                <a:moveTo>
                  <a:pt x="1099312" y="29210"/>
                </a:moveTo>
                <a:lnTo>
                  <a:pt x="1095375" y="47751"/>
                </a:lnTo>
                <a:lnTo>
                  <a:pt x="1116965" y="52450"/>
                </a:lnTo>
                <a:lnTo>
                  <a:pt x="1168781" y="66039"/>
                </a:lnTo>
                <a:lnTo>
                  <a:pt x="1173734" y="47625"/>
                </a:lnTo>
                <a:lnTo>
                  <a:pt x="1121918" y="34036"/>
                </a:lnTo>
                <a:lnTo>
                  <a:pt x="1099312" y="29210"/>
                </a:lnTo>
                <a:close/>
              </a:path>
              <a:path w="1685289" h="352425">
                <a:moveTo>
                  <a:pt x="966978" y="7365"/>
                </a:moveTo>
                <a:lnTo>
                  <a:pt x="964692" y="26288"/>
                </a:lnTo>
                <a:lnTo>
                  <a:pt x="1005459" y="31114"/>
                </a:lnTo>
                <a:lnTo>
                  <a:pt x="1039749" y="36957"/>
                </a:lnTo>
                <a:lnTo>
                  <a:pt x="1042797" y="18161"/>
                </a:lnTo>
                <a:lnTo>
                  <a:pt x="1008634" y="12446"/>
                </a:lnTo>
                <a:lnTo>
                  <a:pt x="966978" y="7365"/>
                </a:lnTo>
                <a:close/>
              </a:path>
              <a:path w="1685289" h="352425">
                <a:moveTo>
                  <a:pt x="837057" y="0"/>
                </a:moveTo>
                <a:lnTo>
                  <a:pt x="832612" y="0"/>
                </a:lnTo>
                <a:lnTo>
                  <a:pt x="832993" y="19050"/>
                </a:lnTo>
                <a:lnTo>
                  <a:pt x="836549" y="19050"/>
                </a:lnTo>
                <a:lnTo>
                  <a:pt x="892937" y="20447"/>
                </a:lnTo>
                <a:lnTo>
                  <a:pt x="908177" y="21462"/>
                </a:lnTo>
                <a:lnTo>
                  <a:pt x="909574" y="2539"/>
                </a:lnTo>
                <a:lnTo>
                  <a:pt x="894334" y="1397"/>
                </a:lnTo>
                <a:lnTo>
                  <a:pt x="837057" y="0"/>
                </a:lnTo>
                <a:close/>
              </a:path>
              <a:path w="1685289" h="352425">
                <a:moveTo>
                  <a:pt x="774954" y="1397"/>
                </a:moveTo>
                <a:lnTo>
                  <a:pt x="722884" y="4952"/>
                </a:lnTo>
                <a:lnTo>
                  <a:pt x="698627" y="7747"/>
                </a:lnTo>
                <a:lnTo>
                  <a:pt x="700786" y="26670"/>
                </a:lnTo>
                <a:lnTo>
                  <a:pt x="724281" y="24002"/>
                </a:lnTo>
                <a:lnTo>
                  <a:pt x="776224" y="20447"/>
                </a:lnTo>
                <a:lnTo>
                  <a:pt x="774954" y="1397"/>
                </a:lnTo>
                <a:close/>
              </a:path>
              <a:path w="1685289" h="352425">
                <a:moveTo>
                  <a:pt x="641604" y="15494"/>
                </a:moveTo>
                <a:lnTo>
                  <a:pt x="609854" y="20574"/>
                </a:lnTo>
                <a:lnTo>
                  <a:pt x="566293" y="29845"/>
                </a:lnTo>
                <a:lnTo>
                  <a:pt x="570230" y="48513"/>
                </a:lnTo>
                <a:lnTo>
                  <a:pt x="612902" y="39370"/>
                </a:lnTo>
                <a:lnTo>
                  <a:pt x="644652" y="34289"/>
                </a:lnTo>
                <a:lnTo>
                  <a:pt x="641604" y="15494"/>
                </a:lnTo>
                <a:close/>
              </a:path>
              <a:path w="1685289" h="352425">
                <a:moveTo>
                  <a:pt x="510413" y="43814"/>
                </a:moveTo>
                <a:lnTo>
                  <a:pt x="498602" y="46989"/>
                </a:lnTo>
                <a:lnTo>
                  <a:pt x="443992" y="64135"/>
                </a:lnTo>
                <a:lnTo>
                  <a:pt x="436753" y="66801"/>
                </a:lnTo>
                <a:lnTo>
                  <a:pt x="443357" y="84709"/>
                </a:lnTo>
                <a:lnTo>
                  <a:pt x="449707" y="82296"/>
                </a:lnTo>
                <a:lnTo>
                  <a:pt x="503555" y="65405"/>
                </a:lnTo>
                <a:lnTo>
                  <a:pt x="515239" y="62357"/>
                </a:lnTo>
                <a:lnTo>
                  <a:pt x="510413" y="43814"/>
                </a:lnTo>
                <a:close/>
              </a:path>
              <a:path w="1685289" h="352425">
                <a:moveTo>
                  <a:pt x="382905" y="86995"/>
                </a:moveTo>
                <a:lnTo>
                  <a:pt x="337185" y="106425"/>
                </a:lnTo>
                <a:lnTo>
                  <a:pt x="312928" y="118237"/>
                </a:lnTo>
                <a:lnTo>
                  <a:pt x="321183" y="135382"/>
                </a:lnTo>
                <a:lnTo>
                  <a:pt x="344678" y="123951"/>
                </a:lnTo>
                <a:lnTo>
                  <a:pt x="390398" y="104521"/>
                </a:lnTo>
                <a:lnTo>
                  <a:pt x="382905" y="86995"/>
                </a:lnTo>
                <a:close/>
              </a:path>
              <a:path w="1685289" h="352425">
                <a:moveTo>
                  <a:pt x="261620" y="144525"/>
                </a:moveTo>
                <a:lnTo>
                  <a:pt x="234442" y="159385"/>
                </a:lnTo>
                <a:lnTo>
                  <a:pt x="195580" y="183387"/>
                </a:lnTo>
                <a:lnTo>
                  <a:pt x="205486" y="199517"/>
                </a:lnTo>
                <a:lnTo>
                  <a:pt x="243586" y="176149"/>
                </a:lnTo>
                <a:lnTo>
                  <a:pt x="270764" y="161289"/>
                </a:lnTo>
                <a:lnTo>
                  <a:pt x="261620" y="144525"/>
                </a:lnTo>
                <a:close/>
              </a:path>
              <a:path w="1685289" h="352425">
                <a:moveTo>
                  <a:pt x="147574" y="215392"/>
                </a:moveTo>
                <a:lnTo>
                  <a:pt x="136398" y="223138"/>
                </a:lnTo>
                <a:lnTo>
                  <a:pt x="89408" y="258952"/>
                </a:lnTo>
                <a:lnTo>
                  <a:pt x="85979" y="261747"/>
                </a:lnTo>
                <a:lnTo>
                  <a:pt x="98298" y="276225"/>
                </a:lnTo>
                <a:lnTo>
                  <a:pt x="100837" y="274065"/>
                </a:lnTo>
                <a:lnTo>
                  <a:pt x="147193" y="238760"/>
                </a:lnTo>
                <a:lnTo>
                  <a:pt x="158369" y="231139"/>
                </a:lnTo>
                <a:lnTo>
                  <a:pt x="147574" y="215392"/>
                </a:lnTo>
                <a:close/>
              </a:path>
              <a:path w="1685289" h="352425">
                <a:moveTo>
                  <a:pt x="42037" y="299085"/>
                </a:moveTo>
                <a:lnTo>
                  <a:pt x="0" y="338582"/>
                </a:lnTo>
                <a:lnTo>
                  <a:pt x="13081" y="352425"/>
                </a:lnTo>
                <a:lnTo>
                  <a:pt x="55118" y="313055"/>
                </a:lnTo>
                <a:lnTo>
                  <a:pt x="42037" y="299085"/>
                </a:lnTo>
                <a:close/>
              </a:path>
            </a:pathLst>
          </a:custGeom>
          <a:solidFill>
            <a:srgbClr val="A6A6A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18" name="object 65">
            <a:extLst>
              <a:ext uri="{FF2B5EF4-FFF2-40B4-BE49-F238E27FC236}">
                <a16:creationId xmlns:a16="http://schemas.microsoft.com/office/drawing/2014/main" id="{18A01F83-8959-4877-97AC-D4F4E5BAC4C5}"/>
              </a:ext>
            </a:extLst>
          </p:cNvPr>
          <p:cNvSpPr/>
          <p:nvPr/>
        </p:nvSpPr>
        <p:spPr>
          <a:xfrm rot="20966979">
            <a:off x="9143839" y="3244848"/>
            <a:ext cx="1023079" cy="273250"/>
          </a:xfrm>
          <a:custGeom>
            <a:avLst/>
            <a:gdLst/>
            <a:ahLst/>
            <a:cxnLst/>
            <a:rect l="l" t="t" r="r" b="b"/>
            <a:pathLst>
              <a:path w="1685289" h="352425">
                <a:moveTo>
                  <a:pt x="1621144" y="306764"/>
                </a:moveTo>
                <a:lnTo>
                  <a:pt x="1602486" y="327913"/>
                </a:lnTo>
                <a:lnTo>
                  <a:pt x="1684782" y="349758"/>
                </a:lnTo>
                <a:lnTo>
                  <a:pt x="1670790" y="315087"/>
                </a:lnTo>
                <a:lnTo>
                  <a:pt x="1631188" y="315087"/>
                </a:lnTo>
                <a:lnTo>
                  <a:pt x="1621144" y="306764"/>
                </a:lnTo>
                <a:close/>
              </a:path>
              <a:path w="1685289" h="352425">
                <a:moveTo>
                  <a:pt x="1633736" y="292491"/>
                </a:moveTo>
                <a:lnTo>
                  <a:pt x="1621144" y="306764"/>
                </a:lnTo>
                <a:lnTo>
                  <a:pt x="1631188" y="315087"/>
                </a:lnTo>
                <a:lnTo>
                  <a:pt x="1643380" y="300482"/>
                </a:lnTo>
                <a:lnTo>
                  <a:pt x="1633736" y="292491"/>
                </a:lnTo>
                <a:close/>
              </a:path>
              <a:path w="1685289" h="352425">
                <a:moveTo>
                  <a:pt x="1652905" y="270763"/>
                </a:moveTo>
                <a:lnTo>
                  <a:pt x="1633736" y="292491"/>
                </a:lnTo>
                <a:lnTo>
                  <a:pt x="1643380" y="300482"/>
                </a:lnTo>
                <a:lnTo>
                  <a:pt x="1631188" y="315087"/>
                </a:lnTo>
                <a:lnTo>
                  <a:pt x="1670790" y="315087"/>
                </a:lnTo>
                <a:lnTo>
                  <a:pt x="1652905" y="270763"/>
                </a:lnTo>
                <a:close/>
              </a:path>
              <a:path w="1685289" h="352425">
                <a:moveTo>
                  <a:pt x="1583689" y="252222"/>
                </a:moveTo>
                <a:lnTo>
                  <a:pt x="1572387" y="267588"/>
                </a:lnTo>
                <a:lnTo>
                  <a:pt x="1585976" y="277622"/>
                </a:lnTo>
                <a:lnTo>
                  <a:pt x="1621144" y="306764"/>
                </a:lnTo>
                <a:lnTo>
                  <a:pt x="1633736" y="292491"/>
                </a:lnTo>
                <a:lnTo>
                  <a:pt x="1598168" y="263017"/>
                </a:lnTo>
                <a:lnTo>
                  <a:pt x="1583689" y="252222"/>
                </a:lnTo>
                <a:close/>
              </a:path>
              <a:path w="1685289" h="352425">
                <a:moveTo>
                  <a:pt x="1472311" y="177292"/>
                </a:moveTo>
                <a:lnTo>
                  <a:pt x="1462532" y="193675"/>
                </a:lnTo>
                <a:lnTo>
                  <a:pt x="1488567" y="209296"/>
                </a:lnTo>
                <a:lnTo>
                  <a:pt x="1526286" y="234442"/>
                </a:lnTo>
                <a:lnTo>
                  <a:pt x="1536954" y="218694"/>
                </a:lnTo>
                <a:lnTo>
                  <a:pt x="1499108" y="193421"/>
                </a:lnTo>
                <a:lnTo>
                  <a:pt x="1472311" y="177292"/>
                </a:lnTo>
                <a:close/>
              </a:path>
              <a:path w="1685289" h="352425">
                <a:moveTo>
                  <a:pt x="1353693" y="114553"/>
                </a:moveTo>
                <a:lnTo>
                  <a:pt x="1345564" y="131825"/>
                </a:lnTo>
                <a:lnTo>
                  <a:pt x="1386586" y="151384"/>
                </a:lnTo>
                <a:lnTo>
                  <a:pt x="1413256" y="165608"/>
                </a:lnTo>
                <a:lnTo>
                  <a:pt x="1422273" y="148844"/>
                </a:lnTo>
                <a:lnTo>
                  <a:pt x="1395602" y="134493"/>
                </a:lnTo>
                <a:lnTo>
                  <a:pt x="1353693" y="114553"/>
                </a:lnTo>
                <a:close/>
              </a:path>
              <a:path w="1685289" h="352425">
                <a:moveTo>
                  <a:pt x="1228725" y="64770"/>
                </a:moveTo>
                <a:lnTo>
                  <a:pt x="1223010" y="82931"/>
                </a:lnTo>
                <a:lnTo>
                  <a:pt x="1226820" y="84200"/>
                </a:lnTo>
                <a:lnTo>
                  <a:pt x="1280922" y="103886"/>
                </a:lnTo>
                <a:lnTo>
                  <a:pt x="1293495" y="109220"/>
                </a:lnTo>
                <a:lnTo>
                  <a:pt x="1300861" y="91694"/>
                </a:lnTo>
                <a:lnTo>
                  <a:pt x="1288288" y="86360"/>
                </a:lnTo>
                <a:lnTo>
                  <a:pt x="1233424" y="66294"/>
                </a:lnTo>
                <a:lnTo>
                  <a:pt x="1228725" y="64770"/>
                </a:lnTo>
                <a:close/>
              </a:path>
              <a:path w="1685289" h="352425">
                <a:moveTo>
                  <a:pt x="1099312" y="29210"/>
                </a:moveTo>
                <a:lnTo>
                  <a:pt x="1095375" y="47751"/>
                </a:lnTo>
                <a:lnTo>
                  <a:pt x="1116965" y="52450"/>
                </a:lnTo>
                <a:lnTo>
                  <a:pt x="1168781" y="66039"/>
                </a:lnTo>
                <a:lnTo>
                  <a:pt x="1173734" y="47625"/>
                </a:lnTo>
                <a:lnTo>
                  <a:pt x="1121918" y="34036"/>
                </a:lnTo>
                <a:lnTo>
                  <a:pt x="1099312" y="29210"/>
                </a:lnTo>
                <a:close/>
              </a:path>
              <a:path w="1685289" h="352425">
                <a:moveTo>
                  <a:pt x="966978" y="7365"/>
                </a:moveTo>
                <a:lnTo>
                  <a:pt x="964692" y="26288"/>
                </a:lnTo>
                <a:lnTo>
                  <a:pt x="1005459" y="31114"/>
                </a:lnTo>
                <a:lnTo>
                  <a:pt x="1039749" y="36957"/>
                </a:lnTo>
                <a:lnTo>
                  <a:pt x="1042797" y="18161"/>
                </a:lnTo>
                <a:lnTo>
                  <a:pt x="1008634" y="12446"/>
                </a:lnTo>
                <a:lnTo>
                  <a:pt x="966978" y="7365"/>
                </a:lnTo>
                <a:close/>
              </a:path>
              <a:path w="1685289" h="352425">
                <a:moveTo>
                  <a:pt x="837057" y="0"/>
                </a:moveTo>
                <a:lnTo>
                  <a:pt x="832612" y="0"/>
                </a:lnTo>
                <a:lnTo>
                  <a:pt x="832993" y="19050"/>
                </a:lnTo>
                <a:lnTo>
                  <a:pt x="836549" y="19050"/>
                </a:lnTo>
                <a:lnTo>
                  <a:pt x="892937" y="20447"/>
                </a:lnTo>
                <a:lnTo>
                  <a:pt x="908177" y="21462"/>
                </a:lnTo>
                <a:lnTo>
                  <a:pt x="909574" y="2539"/>
                </a:lnTo>
                <a:lnTo>
                  <a:pt x="894334" y="1397"/>
                </a:lnTo>
                <a:lnTo>
                  <a:pt x="837057" y="0"/>
                </a:lnTo>
                <a:close/>
              </a:path>
              <a:path w="1685289" h="352425">
                <a:moveTo>
                  <a:pt x="774954" y="1397"/>
                </a:moveTo>
                <a:lnTo>
                  <a:pt x="722884" y="4952"/>
                </a:lnTo>
                <a:lnTo>
                  <a:pt x="698627" y="7747"/>
                </a:lnTo>
                <a:lnTo>
                  <a:pt x="700786" y="26670"/>
                </a:lnTo>
                <a:lnTo>
                  <a:pt x="724281" y="24002"/>
                </a:lnTo>
                <a:lnTo>
                  <a:pt x="776224" y="20447"/>
                </a:lnTo>
                <a:lnTo>
                  <a:pt x="774954" y="1397"/>
                </a:lnTo>
                <a:close/>
              </a:path>
              <a:path w="1685289" h="352425">
                <a:moveTo>
                  <a:pt x="641604" y="15494"/>
                </a:moveTo>
                <a:lnTo>
                  <a:pt x="609854" y="20574"/>
                </a:lnTo>
                <a:lnTo>
                  <a:pt x="566293" y="29845"/>
                </a:lnTo>
                <a:lnTo>
                  <a:pt x="570230" y="48513"/>
                </a:lnTo>
                <a:lnTo>
                  <a:pt x="612902" y="39370"/>
                </a:lnTo>
                <a:lnTo>
                  <a:pt x="644652" y="34289"/>
                </a:lnTo>
                <a:lnTo>
                  <a:pt x="641604" y="15494"/>
                </a:lnTo>
                <a:close/>
              </a:path>
              <a:path w="1685289" h="352425">
                <a:moveTo>
                  <a:pt x="510413" y="43814"/>
                </a:moveTo>
                <a:lnTo>
                  <a:pt x="498602" y="46989"/>
                </a:lnTo>
                <a:lnTo>
                  <a:pt x="443992" y="64135"/>
                </a:lnTo>
                <a:lnTo>
                  <a:pt x="436753" y="66801"/>
                </a:lnTo>
                <a:lnTo>
                  <a:pt x="443357" y="84709"/>
                </a:lnTo>
                <a:lnTo>
                  <a:pt x="449707" y="82296"/>
                </a:lnTo>
                <a:lnTo>
                  <a:pt x="503555" y="65405"/>
                </a:lnTo>
                <a:lnTo>
                  <a:pt x="515239" y="62357"/>
                </a:lnTo>
                <a:lnTo>
                  <a:pt x="510413" y="43814"/>
                </a:lnTo>
                <a:close/>
              </a:path>
              <a:path w="1685289" h="352425">
                <a:moveTo>
                  <a:pt x="382905" y="86995"/>
                </a:moveTo>
                <a:lnTo>
                  <a:pt x="337185" y="106425"/>
                </a:lnTo>
                <a:lnTo>
                  <a:pt x="312928" y="118237"/>
                </a:lnTo>
                <a:lnTo>
                  <a:pt x="321183" y="135382"/>
                </a:lnTo>
                <a:lnTo>
                  <a:pt x="344678" y="123951"/>
                </a:lnTo>
                <a:lnTo>
                  <a:pt x="390398" y="104521"/>
                </a:lnTo>
                <a:lnTo>
                  <a:pt x="382905" y="86995"/>
                </a:lnTo>
                <a:close/>
              </a:path>
              <a:path w="1685289" h="352425">
                <a:moveTo>
                  <a:pt x="261620" y="144525"/>
                </a:moveTo>
                <a:lnTo>
                  <a:pt x="234442" y="159385"/>
                </a:lnTo>
                <a:lnTo>
                  <a:pt x="195580" y="183387"/>
                </a:lnTo>
                <a:lnTo>
                  <a:pt x="205486" y="199517"/>
                </a:lnTo>
                <a:lnTo>
                  <a:pt x="243586" y="176149"/>
                </a:lnTo>
                <a:lnTo>
                  <a:pt x="270764" y="161289"/>
                </a:lnTo>
                <a:lnTo>
                  <a:pt x="261620" y="144525"/>
                </a:lnTo>
                <a:close/>
              </a:path>
              <a:path w="1685289" h="352425">
                <a:moveTo>
                  <a:pt x="147574" y="215392"/>
                </a:moveTo>
                <a:lnTo>
                  <a:pt x="136398" y="223138"/>
                </a:lnTo>
                <a:lnTo>
                  <a:pt x="89408" y="258952"/>
                </a:lnTo>
                <a:lnTo>
                  <a:pt x="85979" y="261747"/>
                </a:lnTo>
                <a:lnTo>
                  <a:pt x="98298" y="276225"/>
                </a:lnTo>
                <a:lnTo>
                  <a:pt x="100837" y="274065"/>
                </a:lnTo>
                <a:lnTo>
                  <a:pt x="147193" y="238760"/>
                </a:lnTo>
                <a:lnTo>
                  <a:pt x="158369" y="231139"/>
                </a:lnTo>
                <a:lnTo>
                  <a:pt x="147574" y="215392"/>
                </a:lnTo>
                <a:close/>
              </a:path>
              <a:path w="1685289" h="352425">
                <a:moveTo>
                  <a:pt x="42037" y="299085"/>
                </a:moveTo>
                <a:lnTo>
                  <a:pt x="0" y="338582"/>
                </a:lnTo>
                <a:lnTo>
                  <a:pt x="13081" y="352425"/>
                </a:lnTo>
                <a:lnTo>
                  <a:pt x="55118" y="313055"/>
                </a:lnTo>
                <a:lnTo>
                  <a:pt x="42037" y="299085"/>
                </a:lnTo>
                <a:close/>
              </a:path>
            </a:pathLst>
          </a:custGeom>
          <a:solidFill>
            <a:srgbClr val="A6A6A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20" name="object 21">
            <a:extLst>
              <a:ext uri="{FF2B5EF4-FFF2-40B4-BE49-F238E27FC236}">
                <a16:creationId xmlns:a16="http://schemas.microsoft.com/office/drawing/2014/main" id="{3055DBB4-8722-45B2-92DD-12F541E3BBD3}"/>
              </a:ext>
            </a:extLst>
          </p:cNvPr>
          <p:cNvSpPr txBox="1"/>
          <p:nvPr/>
        </p:nvSpPr>
        <p:spPr>
          <a:xfrm>
            <a:off x="2695959" y="1758446"/>
            <a:ext cx="1514089" cy="415498"/>
          </a:xfrm>
          <a:prstGeom prst="rect">
            <a:avLst/>
          </a:prstGeom>
        </p:spPr>
        <p:txBody>
          <a:bodyPr vert="horz" wrap="square" lIns="0" tIns="0" rIns="0" bIns="0" rtlCol="0">
            <a:spAutoFit/>
          </a:bodyPr>
          <a:lstStyle/>
          <a:p>
            <a:pPr marL="12700" marR="5080" lvl="0" indent="635"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10" normalizeH="0" baseline="0" noProof="0" dirty="0">
                <a:ln>
                  <a:noFill/>
                </a:ln>
                <a:solidFill>
                  <a:srgbClr val="000000"/>
                </a:solidFill>
                <a:effectLst/>
                <a:uLnTx/>
                <a:uFillTx/>
                <a:ea typeface="+mn-ea"/>
                <a:cs typeface="Verdana"/>
              </a:rPr>
              <a:t>Create design</a:t>
            </a:r>
            <a:r>
              <a:rPr kumimoji="0" lang="en-US" sz="900" b="1" i="0" u="none" strike="noStrike" kern="1200" cap="none" spc="-10" normalizeH="0" baseline="0" noProof="0" dirty="0">
                <a:ln>
                  <a:noFill/>
                </a:ln>
                <a:solidFill>
                  <a:srgbClr val="000000"/>
                </a:solidFill>
                <a:effectLst/>
                <a:uLnTx/>
                <a:uFillTx/>
                <a:ea typeface="+mn-ea"/>
                <a:cs typeface="Verdana"/>
              </a:rPr>
              <a:t> optimized for 3DP. </a:t>
            </a:r>
            <a:r>
              <a:rPr kumimoji="0" lang="en-US" sz="900" b="0" i="0" u="none" strike="noStrike" kern="1200" cap="none" spc="-5" normalizeH="0" baseline="0" noProof="0" dirty="0">
                <a:ln>
                  <a:noFill/>
                </a:ln>
                <a:solidFill>
                  <a:srgbClr val="000000"/>
                </a:solidFill>
                <a:effectLst/>
                <a:uLnTx/>
                <a:uFillTx/>
                <a:ea typeface="+mn-ea"/>
                <a:cs typeface="Verdana"/>
              </a:rPr>
              <a:t>Recommend</a:t>
            </a:r>
            <a:r>
              <a:rPr kumimoji="0" lang="en-US" sz="900" b="1" i="0" u="none" strike="noStrike" kern="1200" cap="none" spc="-5" normalizeH="0" baseline="0" noProof="0" dirty="0">
                <a:ln>
                  <a:noFill/>
                </a:ln>
                <a:solidFill>
                  <a:srgbClr val="000000"/>
                </a:solidFill>
                <a:effectLst/>
                <a:uLnTx/>
                <a:uFillTx/>
                <a:ea typeface="+mn-ea"/>
                <a:cs typeface="Verdana"/>
              </a:rPr>
              <a:t> best materials for 3DP </a:t>
            </a:r>
            <a:endParaRPr kumimoji="0" sz="900" b="0" i="0" u="none" strike="noStrike" kern="1200" cap="none" spc="0" normalizeH="0" baseline="0" noProof="0" dirty="0">
              <a:ln>
                <a:noFill/>
              </a:ln>
              <a:solidFill>
                <a:srgbClr val="000000"/>
              </a:solidFill>
              <a:effectLst/>
              <a:uLnTx/>
              <a:uFillTx/>
              <a:ea typeface="+mn-ea"/>
              <a:cs typeface="Verdana"/>
            </a:endParaRPr>
          </a:p>
        </p:txBody>
      </p:sp>
      <p:grpSp>
        <p:nvGrpSpPr>
          <p:cNvPr id="130" name="Group 129">
            <a:extLst>
              <a:ext uri="{FF2B5EF4-FFF2-40B4-BE49-F238E27FC236}">
                <a16:creationId xmlns:a16="http://schemas.microsoft.com/office/drawing/2014/main" id="{9B0690D7-D6D1-43B8-B13B-32BB5FB2F36B}"/>
              </a:ext>
            </a:extLst>
          </p:cNvPr>
          <p:cNvGrpSpPr/>
          <p:nvPr/>
        </p:nvGrpSpPr>
        <p:grpSpPr>
          <a:xfrm>
            <a:off x="2663193" y="2216957"/>
            <a:ext cx="1171444" cy="1224343"/>
            <a:chOff x="2663193" y="2216957"/>
            <a:chExt cx="1171444" cy="1224343"/>
          </a:xfrm>
        </p:grpSpPr>
        <p:sp>
          <p:nvSpPr>
            <p:cNvPr id="106" name="object 17">
              <a:extLst>
                <a:ext uri="{FF2B5EF4-FFF2-40B4-BE49-F238E27FC236}">
                  <a16:creationId xmlns:a16="http://schemas.microsoft.com/office/drawing/2014/main" id="{0B2DA9F4-C936-44BA-9010-D71885D591B1}"/>
                </a:ext>
              </a:extLst>
            </p:cNvPr>
            <p:cNvSpPr/>
            <p:nvPr/>
          </p:nvSpPr>
          <p:spPr>
            <a:xfrm>
              <a:off x="2731940" y="2279932"/>
              <a:ext cx="1041190" cy="1161368"/>
            </a:xfrm>
            <a:custGeom>
              <a:avLst/>
              <a:gdLst/>
              <a:ahLst/>
              <a:cxnLst/>
              <a:rect l="l" t="t" r="r" b="b"/>
              <a:pathLst>
                <a:path w="1259839" h="1405254">
                  <a:moveTo>
                    <a:pt x="556132" y="0"/>
                  </a:moveTo>
                  <a:lnTo>
                    <a:pt x="604293" y="1620"/>
                  </a:lnTo>
                  <a:lnTo>
                    <a:pt x="651582" y="6414"/>
                  </a:lnTo>
                  <a:lnTo>
                    <a:pt x="697894" y="14274"/>
                  </a:lnTo>
                  <a:lnTo>
                    <a:pt x="743124" y="25098"/>
                  </a:lnTo>
                  <a:lnTo>
                    <a:pt x="787169" y="38780"/>
                  </a:lnTo>
                  <a:lnTo>
                    <a:pt x="829923" y="55215"/>
                  </a:lnTo>
                  <a:lnTo>
                    <a:pt x="871281" y="74299"/>
                  </a:lnTo>
                  <a:lnTo>
                    <a:pt x="911140" y="95927"/>
                  </a:lnTo>
                  <a:lnTo>
                    <a:pt x="949394" y="119994"/>
                  </a:lnTo>
                  <a:lnTo>
                    <a:pt x="985938" y="146397"/>
                  </a:lnTo>
                  <a:lnTo>
                    <a:pt x="1020669" y="175029"/>
                  </a:lnTo>
                  <a:lnTo>
                    <a:pt x="1053480" y="205787"/>
                  </a:lnTo>
                  <a:lnTo>
                    <a:pt x="1084269" y="238566"/>
                  </a:lnTo>
                  <a:lnTo>
                    <a:pt x="1112929" y="273261"/>
                  </a:lnTo>
                  <a:lnTo>
                    <a:pt x="1139356" y="309767"/>
                  </a:lnTo>
                  <a:lnTo>
                    <a:pt x="1163447" y="347980"/>
                  </a:lnTo>
                  <a:lnTo>
                    <a:pt x="1185094" y="387794"/>
                  </a:lnTo>
                  <a:lnTo>
                    <a:pt x="1204196" y="429107"/>
                  </a:lnTo>
                  <a:lnTo>
                    <a:pt x="1220645" y="471812"/>
                  </a:lnTo>
                  <a:lnTo>
                    <a:pt x="1234339" y="515805"/>
                  </a:lnTo>
                  <a:lnTo>
                    <a:pt x="1245172" y="560981"/>
                  </a:lnTo>
                  <a:lnTo>
                    <a:pt x="1253039" y="607236"/>
                  </a:lnTo>
                  <a:lnTo>
                    <a:pt x="1257836" y="654465"/>
                  </a:lnTo>
                  <a:lnTo>
                    <a:pt x="1259459" y="702563"/>
                  </a:lnTo>
                  <a:lnTo>
                    <a:pt x="1257836" y="750662"/>
                  </a:lnTo>
                  <a:lnTo>
                    <a:pt x="1253039" y="797891"/>
                  </a:lnTo>
                  <a:lnTo>
                    <a:pt x="1245172" y="844146"/>
                  </a:lnTo>
                  <a:lnTo>
                    <a:pt x="1234339" y="889322"/>
                  </a:lnTo>
                  <a:lnTo>
                    <a:pt x="1220645" y="933315"/>
                  </a:lnTo>
                  <a:lnTo>
                    <a:pt x="1204196" y="976020"/>
                  </a:lnTo>
                  <a:lnTo>
                    <a:pt x="1185094" y="1017333"/>
                  </a:lnTo>
                  <a:lnTo>
                    <a:pt x="1163447" y="1057147"/>
                  </a:lnTo>
                  <a:lnTo>
                    <a:pt x="1139356" y="1095360"/>
                  </a:lnTo>
                  <a:lnTo>
                    <a:pt x="1112929" y="1131866"/>
                  </a:lnTo>
                  <a:lnTo>
                    <a:pt x="1084269" y="1166561"/>
                  </a:lnTo>
                  <a:lnTo>
                    <a:pt x="1053480" y="1199340"/>
                  </a:lnTo>
                  <a:lnTo>
                    <a:pt x="1020669" y="1230098"/>
                  </a:lnTo>
                  <a:lnTo>
                    <a:pt x="985938" y="1258730"/>
                  </a:lnTo>
                  <a:lnTo>
                    <a:pt x="949394" y="1285133"/>
                  </a:lnTo>
                  <a:lnTo>
                    <a:pt x="911140" y="1309200"/>
                  </a:lnTo>
                  <a:lnTo>
                    <a:pt x="871281" y="1330828"/>
                  </a:lnTo>
                  <a:lnTo>
                    <a:pt x="829923" y="1349912"/>
                  </a:lnTo>
                  <a:lnTo>
                    <a:pt x="787169" y="1366347"/>
                  </a:lnTo>
                  <a:lnTo>
                    <a:pt x="743124" y="1380029"/>
                  </a:lnTo>
                  <a:lnTo>
                    <a:pt x="697894" y="1390853"/>
                  </a:lnTo>
                  <a:lnTo>
                    <a:pt x="651582" y="1398713"/>
                  </a:lnTo>
                  <a:lnTo>
                    <a:pt x="604293" y="1403507"/>
                  </a:lnTo>
                  <a:lnTo>
                    <a:pt x="556132" y="1405128"/>
                  </a:lnTo>
                  <a:lnTo>
                    <a:pt x="506172" y="1403355"/>
                  </a:lnTo>
                  <a:lnTo>
                    <a:pt x="456808" y="1398092"/>
                  </a:lnTo>
                  <a:lnTo>
                    <a:pt x="408205" y="1389418"/>
                  </a:lnTo>
                  <a:lnTo>
                    <a:pt x="360525" y="1377414"/>
                  </a:lnTo>
                  <a:lnTo>
                    <a:pt x="313933" y="1362159"/>
                  </a:lnTo>
                  <a:lnTo>
                    <a:pt x="268593" y="1343733"/>
                  </a:lnTo>
                  <a:lnTo>
                    <a:pt x="224667" y="1322217"/>
                  </a:lnTo>
                  <a:lnTo>
                    <a:pt x="182321" y="1297691"/>
                  </a:lnTo>
                  <a:lnTo>
                    <a:pt x="141717" y="1270235"/>
                  </a:lnTo>
                  <a:lnTo>
                    <a:pt x="103019" y="1239929"/>
                  </a:lnTo>
                  <a:lnTo>
                    <a:pt x="66391" y="1206853"/>
                  </a:lnTo>
                  <a:lnTo>
                    <a:pt x="31997" y="1171088"/>
                  </a:lnTo>
                  <a:lnTo>
                    <a:pt x="0" y="1132713"/>
                  </a:lnTo>
                </a:path>
              </a:pathLst>
            </a:custGeom>
            <a:ln w="15240">
              <a:solidFill>
                <a:schemeClr val="accent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107" name="object 18">
              <a:extLst>
                <a:ext uri="{FF2B5EF4-FFF2-40B4-BE49-F238E27FC236}">
                  <a16:creationId xmlns:a16="http://schemas.microsoft.com/office/drawing/2014/main" id="{FCCDDB74-CB81-4808-BFFC-74F0B929EE9F}"/>
                </a:ext>
              </a:extLst>
            </p:cNvPr>
            <p:cNvSpPr/>
            <p:nvPr/>
          </p:nvSpPr>
          <p:spPr>
            <a:xfrm>
              <a:off x="2663193" y="2332831"/>
              <a:ext cx="1056934" cy="1055884"/>
            </a:xfrm>
            <a:custGeom>
              <a:avLst/>
              <a:gdLst/>
              <a:ahLst/>
              <a:cxnLst/>
              <a:rect l="l" t="t" r="r" b="b"/>
              <a:pathLst>
                <a:path w="1278889" h="1277620">
                  <a:moveTo>
                    <a:pt x="639317" y="0"/>
                  </a:moveTo>
                  <a:lnTo>
                    <a:pt x="687027" y="1751"/>
                  </a:lnTo>
                  <a:lnTo>
                    <a:pt x="733785" y="6923"/>
                  </a:lnTo>
                  <a:lnTo>
                    <a:pt x="779468" y="15392"/>
                  </a:lnTo>
                  <a:lnTo>
                    <a:pt x="823952" y="27034"/>
                  </a:lnTo>
                  <a:lnTo>
                    <a:pt x="867112" y="41727"/>
                  </a:lnTo>
                  <a:lnTo>
                    <a:pt x="908827" y="59346"/>
                  </a:lnTo>
                  <a:lnTo>
                    <a:pt x="948971" y="79769"/>
                  </a:lnTo>
                  <a:lnTo>
                    <a:pt x="987422" y="102871"/>
                  </a:lnTo>
                  <a:lnTo>
                    <a:pt x="1024055" y="128530"/>
                  </a:lnTo>
                  <a:lnTo>
                    <a:pt x="1058747" y="156622"/>
                  </a:lnTo>
                  <a:lnTo>
                    <a:pt x="1091374" y="187023"/>
                  </a:lnTo>
                  <a:lnTo>
                    <a:pt x="1121813" y="219610"/>
                  </a:lnTo>
                  <a:lnTo>
                    <a:pt x="1149940" y="254260"/>
                  </a:lnTo>
                  <a:lnTo>
                    <a:pt x="1175631" y="290849"/>
                  </a:lnTo>
                  <a:lnTo>
                    <a:pt x="1198763" y="329253"/>
                  </a:lnTo>
                  <a:lnTo>
                    <a:pt x="1219212" y="369350"/>
                  </a:lnTo>
                  <a:lnTo>
                    <a:pt x="1236854" y="411016"/>
                  </a:lnTo>
                  <a:lnTo>
                    <a:pt x="1251565" y="454127"/>
                  </a:lnTo>
                  <a:lnTo>
                    <a:pt x="1263223" y="498560"/>
                  </a:lnTo>
                  <a:lnTo>
                    <a:pt x="1271703" y="544191"/>
                  </a:lnTo>
                  <a:lnTo>
                    <a:pt x="1276882" y="590898"/>
                  </a:lnTo>
                  <a:lnTo>
                    <a:pt x="1278636" y="638555"/>
                  </a:lnTo>
                  <a:lnTo>
                    <a:pt x="1276882" y="686213"/>
                  </a:lnTo>
                  <a:lnTo>
                    <a:pt x="1271703" y="732920"/>
                  </a:lnTo>
                  <a:lnTo>
                    <a:pt x="1263223" y="778551"/>
                  </a:lnTo>
                  <a:lnTo>
                    <a:pt x="1251565" y="822984"/>
                  </a:lnTo>
                  <a:lnTo>
                    <a:pt x="1236854" y="866095"/>
                  </a:lnTo>
                  <a:lnTo>
                    <a:pt x="1219212" y="907761"/>
                  </a:lnTo>
                  <a:lnTo>
                    <a:pt x="1198763" y="947858"/>
                  </a:lnTo>
                  <a:lnTo>
                    <a:pt x="1175631" y="986262"/>
                  </a:lnTo>
                  <a:lnTo>
                    <a:pt x="1149940" y="1022851"/>
                  </a:lnTo>
                  <a:lnTo>
                    <a:pt x="1121813" y="1057501"/>
                  </a:lnTo>
                  <a:lnTo>
                    <a:pt x="1091374" y="1090088"/>
                  </a:lnTo>
                  <a:lnTo>
                    <a:pt x="1058747" y="1120489"/>
                  </a:lnTo>
                  <a:lnTo>
                    <a:pt x="1024055" y="1148581"/>
                  </a:lnTo>
                  <a:lnTo>
                    <a:pt x="987422" y="1174240"/>
                  </a:lnTo>
                  <a:lnTo>
                    <a:pt x="948971" y="1197342"/>
                  </a:lnTo>
                  <a:lnTo>
                    <a:pt x="908827" y="1217765"/>
                  </a:lnTo>
                  <a:lnTo>
                    <a:pt x="867112" y="1235384"/>
                  </a:lnTo>
                  <a:lnTo>
                    <a:pt x="823952" y="1250077"/>
                  </a:lnTo>
                  <a:lnTo>
                    <a:pt x="779468" y="1261719"/>
                  </a:lnTo>
                  <a:lnTo>
                    <a:pt x="733785" y="1270188"/>
                  </a:lnTo>
                  <a:lnTo>
                    <a:pt x="687027" y="1275360"/>
                  </a:lnTo>
                  <a:lnTo>
                    <a:pt x="639317" y="1277112"/>
                  </a:lnTo>
                  <a:lnTo>
                    <a:pt x="591608" y="1275360"/>
                  </a:lnTo>
                  <a:lnTo>
                    <a:pt x="544850" y="1270188"/>
                  </a:lnTo>
                  <a:lnTo>
                    <a:pt x="499167" y="1261719"/>
                  </a:lnTo>
                  <a:lnTo>
                    <a:pt x="454683" y="1250077"/>
                  </a:lnTo>
                  <a:lnTo>
                    <a:pt x="411523" y="1235384"/>
                  </a:lnTo>
                  <a:lnTo>
                    <a:pt x="369808" y="1217765"/>
                  </a:lnTo>
                  <a:lnTo>
                    <a:pt x="329664" y="1197342"/>
                  </a:lnTo>
                  <a:lnTo>
                    <a:pt x="291213" y="1174240"/>
                  </a:lnTo>
                  <a:lnTo>
                    <a:pt x="254580" y="1148581"/>
                  </a:lnTo>
                  <a:lnTo>
                    <a:pt x="219888" y="1120489"/>
                  </a:lnTo>
                  <a:lnTo>
                    <a:pt x="187261" y="1090088"/>
                  </a:lnTo>
                  <a:lnTo>
                    <a:pt x="156822" y="1057501"/>
                  </a:lnTo>
                  <a:lnTo>
                    <a:pt x="128695" y="1022851"/>
                  </a:lnTo>
                  <a:lnTo>
                    <a:pt x="103004" y="986262"/>
                  </a:lnTo>
                  <a:lnTo>
                    <a:pt x="79872" y="947858"/>
                  </a:lnTo>
                  <a:lnTo>
                    <a:pt x="59423" y="907761"/>
                  </a:lnTo>
                  <a:lnTo>
                    <a:pt x="41781" y="866095"/>
                  </a:lnTo>
                  <a:lnTo>
                    <a:pt x="27070" y="822984"/>
                  </a:lnTo>
                  <a:lnTo>
                    <a:pt x="15412" y="778551"/>
                  </a:lnTo>
                  <a:lnTo>
                    <a:pt x="6932" y="732920"/>
                  </a:lnTo>
                  <a:lnTo>
                    <a:pt x="1753" y="686213"/>
                  </a:lnTo>
                  <a:lnTo>
                    <a:pt x="0" y="638555"/>
                  </a:lnTo>
                  <a:lnTo>
                    <a:pt x="2217" y="585401"/>
                  </a:lnTo>
                  <a:lnTo>
                    <a:pt x="8812" y="532886"/>
                  </a:lnTo>
                  <a:lnTo>
                    <a:pt x="19696" y="481266"/>
                  </a:lnTo>
                  <a:lnTo>
                    <a:pt x="34782" y="430799"/>
                  </a:lnTo>
                  <a:lnTo>
                    <a:pt x="53981" y="381744"/>
                  </a:lnTo>
                  <a:lnTo>
                    <a:pt x="77206" y="334357"/>
                  </a:lnTo>
                  <a:lnTo>
                    <a:pt x="104368" y="288895"/>
                  </a:lnTo>
                  <a:lnTo>
                    <a:pt x="135382" y="245617"/>
                  </a:lnTo>
                </a:path>
              </a:pathLst>
            </a:custGeom>
            <a:ln w="15240">
              <a:solidFill>
                <a:schemeClr val="accent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108" name="object 19">
              <a:extLst>
                <a:ext uri="{FF2B5EF4-FFF2-40B4-BE49-F238E27FC236}">
                  <a16:creationId xmlns:a16="http://schemas.microsoft.com/office/drawing/2014/main" id="{F4B82034-B3C1-45D4-8480-1A138CC31AA7}"/>
                </a:ext>
              </a:extLst>
            </p:cNvPr>
            <p:cNvSpPr/>
            <p:nvPr/>
          </p:nvSpPr>
          <p:spPr>
            <a:xfrm>
              <a:off x="3195963" y="2216957"/>
              <a:ext cx="638674" cy="894773"/>
            </a:xfrm>
            <a:custGeom>
              <a:avLst/>
              <a:gdLst/>
              <a:ahLst/>
              <a:cxnLst/>
              <a:rect l="l" t="t" r="r" b="b"/>
              <a:pathLst>
                <a:path w="772795" h="1082675">
                  <a:moveTo>
                    <a:pt x="0" y="0"/>
                  </a:moveTo>
                  <a:lnTo>
                    <a:pt x="48863" y="1521"/>
                  </a:lnTo>
                  <a:lnTo>
                    <a:pt x="96919" y="6026"/>
                  </a:lnTo>
                  <a:lnTo>
                    <a:pt x="144077" y="13424"/>
                  </a:lnTo>
                  <a:lnTo>
                    <a:pt x="190246" y="23624"/>
                  </a:lnTo>
                  <a:lnTo>
                    <a:pt x="235337" y="36535"/>
                  </a:lnTo>
                  <a:lnTo>
                    <a:pt x="279258" y="52067"/>
                  </a:lnTo>
                  <a:lnTo>
                    <a:pt x="321919" y="70128"/>
                  </a:lnTo>
                  <a:lnTo>
                    <a:pt x="363229" y="90629"/>
                  </a:lnTo>
                  <a:lnTo>
                    <a:pt x="403098" y="113479"/>
                  </a:lnTo>
                  <a:lnTo>
                    <a:pt x="441436" y="138587"/>
                  </a:lnTo>
                  <a:lnTo>
                    <a:pt x="478151" y="165862"/>
                  </a:lnTo>
                  <a:lnTo>
                    <a:pt x="513154" y="195214"/>
                  </a:lnTo>
                  <a:lnTo>
                    <a:pt x="546354" y="226552"/>
                  </a:lnTo>
                  <a:lnTo>
                    <a:pt x="577659" y="259785"/>
                  </a:lnTo>
                  <a:lnTo>
                    <a:pt x="606981" y="294823"/>
                  </a:lnTo>
                  <a:lnTo>
                    <a:pt x="634228" y="331575"/>
                  </a:lnTo>
                  <a:lnTo>
                    <a:pt x="659309" y="369951"/>
                  </a:lnTo>
                  <a:lnTo>
                    <a:pt x="682135" y="409859"/>
                  </a:lnTo>
                  <a:lnTo>
                    <a:pt x="702614" y="451210"/>
                  </a:lnTo>
                  <a:lnTo>
                    <a:pt x="720657" y="493912"/>
                  </a:lnTo>
                  <a:lnTo>
                    <a:pt x="736172" y="537875"/>
                  </a:lnTo>
                  <a:lnTo>
                    <a:pt x="749069" y="583008"/>
                  </a:lnTo>
                  <a:lnTo>
                    <a:pt x="759257" y="629221"/>
                  </a:lnTo>
                  <a:lnTo>
                    <a:pt x="766647" y="676422"/>
                  </a:lnTo>
                  <a:lnTo>
                    <a:pt x="771147" y="724522"/>
                  </a:lnTo>
                  <a:lnTo>
                    <a:pt x="772668" y="773430"/>
                  </a:lnTo>
                  <a:lnTo>
                    <a:pt x="770853" y="826453"/>
                  </a:lnTo>
                  <a:lnTo>
                    <a:pt x="765433" y="879103"/>
                  </a:lnTo>
                  <a:lnTo>
                    <a:pt x="756443" y="931195"/>
                  </a:lnTo>
                  <a:lnTo>
                    <a:pt x="743918" y="982547"/>
                  </a:lnTo>
                  <a:lnTo>
                    <a:pt x="727894" y="1032974"/>
                  </a:lnTo>
                  <a:lnTo>
                    <a:pt x="708406" y="1082294"/>
                  </a:lnTo>
                </a:path>
              </a:pathLst>
            </a:custGeom>
            <a:ln w="15240">
              <a:solidFill>
                <a:schemeClr val="accent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109" name="object 40">
              <a:extLst>
                <a:ext uri="{FF2B5EF4-FFF2-40B4-BE49-F238E27FC236}">
                  <a16:creationId xmlns:a16="http://schemas.microsoft.com/office/drawing/2014/main" id="{79430E0F-8C16-45DC-9FD7-87092390EE4E}"/>
                </a:ext>
              </a:extLst>
            </p:cNvPr>
            <p:cNvSpPr/>
            <p:nvPr/>
          </p:nvSpPr>
          <p:spPr>
            <a:xfrm>
              <a:off x="2729316" y="2390139"/>
              <a:ext cx="934657" cy="934657"/>
            </a:xfrm>
            <a:custGeom>
              <a:avLst/>
              <a:gdLst/>
              <a:ahLst/>
              <a:cxnLst/>
              <a:rect l="l" t="t" r="r" b="b"/>
              <a:pathLst>
                <a:path w="1130935" h="1130935">
                  <a:moveTo>
                    <a:pt x="565403" y="0"/>
                  </a:moveTo>
                  <a:lnTo>
                    <a:pt x="516614" y="2075"/>
                  </a:lnTo>
                  <a:lnTo>
                    <a:pt x="468978" y="8187"/>
                  </a:lnTo>
                  <a:lnTo>
                    <a:pt x="422665" y="18167"/>
                  </a:lnTo>
                  <a:lnTo>
                    <a:pt x="377844" y="31845"/>
                  </a:lnTo>
                  <a:lnTo>
                    <a:pt x="334686" y="49051"/>
                  </a:lnTo>
                  <a:lnTo>
                    <a:pt x="293360" y="69615"/>
                  </a:lnTo>
                  <a:lnTo>
                    <a:pt x="254034" y="93369"/>
                  </a:lnTo>
                  <a:lnTo>
                    <a:pt x="216881" y="120142"/>
                  </a:lnTo>
                  <a:lnTo>
                    <a:pt x="182067" y="149765"/>
                  </a:lnTo>
                  <a:lnTo>
                    <a:pt x="149765" y="182067"/>
                  </a:lnTo>
                  <a:lnTo>
                    <a:pt x="120142" y="216881"/>
                  </a:lnTo>
                  <a:lnTo>
                    <a:pt x="93369" y="254034"/>
                  </a:lnTo>
                  <a:lnTo>
                    <a:pt x="69615" y="293360"/>
                  </a:lnTo>
                  <a:lnTo>
                    <a:pt x="49051" y="334686"/>
                  </a:lnTo>
                  <a:lnTo>
                    <a:pt x="31845" y="377844"/>
                  </a:lnTo>
                  <a:lnTo>
                    <a:pt x="18167" y="422665"/>
                  </a:lnTo>
                  <a:lnTo>
                    <a:pt x="8187" y="468978"/>
                  </a:lnTo>
                  <a:lnTo>
                    <a:pt x="2075" y="516614"/>
                  </a:lnTo>
                  <a:lnTo>
                    <a:pt x="0" y="565404"/>
                  </a:lnTo>
                  <a:lnTo>
                    <a:pt x="2075" y="614193"/>
                  </a:lnTo>
                  <a:lnTo>
                    <a:pt x="8187" y="661829"/>
                  </a:lnTo>
                  <a:lnTo>
                    <a:pt x="18167" y="708142"/>
                  </a:lnTo>
                  <a:lnTo>
                    <a:pt x="31845" y="752963"/>
                  </a:lnTo>
                  <a:lnTo>
                    <a:pt x="49051" y="796121"/>
                  </a:lnTo>
                  <a:lnTo>
                    <a:pt x="69615" y="837447"/>
                  </a:lnTo>
                  <a:lnTo>
                    <a:pt x="93369" y="876773"/>
                  </a:lnTo>
                  <a:lnTo>
                    <a:pt x="120142" y="913926"/>
                  </a:lnTo>
                  <a:lnTo>
                    <a:pt x="149765" y="948740"/>
                  </a:lnTo>
                  <a:lnTo>
                    <a:pt x="182067" y="981042"/>
                  </a:lnTo>
                  <a:lnTo>
                    <a:pt x="216881" y="1010665"/>
                  </a:lnTo>
                  <a:lnTo>
                    <a:pt x="254034" y="1037438"/>
                  </a:lnTo>
                  <a:lnTo>
                    <a:pt x="293360" y="1061192"/>
                  </a:lnTo>
                  <a:lnTo>
                    <a:pt x="334686" y="1081756"/>
                  </a:lnTo>
                  <a:lnTo>
                    <a:pt x="377844" y="1098962"/>
                  </a:lnTo>
                  <a:lnTo>
                    <a:pt x="422665" y="1112640"/>
                  </a:lnTo>
                  <a:lnTo>
                    <a:pt x="468978" y="1122620"/>
                  </a:lnTo>
                  <a:lnTo>
                    <a:pt x="516614" y="1128732"/>
                  </a:lnTo>
                  <a:lnTo>
                    <a:pt x="565403" y="1130808"/>
                  </a:lnTo>
                  <a:lnTo>
                    <a:pt x="614193" y="1128732"/>
                  </a:lnTo>
                  <a:lnTo>
                    <a:pt x="661829" y="1122620"/>
                  </a:lnTo>
                  <a:lnTo>
                    <a:pt x="708142" y="1112640"/>
                  </a:lnTo>
                  <a:lnTo>
                    <a:pt x="752963" y="1098962"/>
                  </a:lnTo>
                  <a:lnTo>
                    <a:pt x="796121" y="1081756"/>
                  </a:lnTo>
                  <a:lnTo>
                    <a:pt x="837447" y="1061192"/>
                  </a:lnTo>
                  <a:lnTo>
                    <a:pt x="876773" y="1037438"/>
                  </a:lnTo>
                  <a:lnTo>
                    <a:pt x="913926" y="1010665"/>
                  </a:lnTo>
                  <a:lnTo>
                    <a:pt x="948740" y="981042"/>
                  </a:lnTo>
                  <a:lnTo>
                    <a:pt x="981042" y="948740"/>
                  </a:lnTo>
                  <a:lnTo>
                    <a:pt x="1010665" y="913926"/>
                  </a:lnTo>
                  <a:lnTo>
                    <a:pt x="1037438" y="876773"/>
                  </a:lnTo>
                  <a:lnTo>
                    <a:pt x="1061192" y="837447"/>
                  </a:lnTo>
                  <a:lnTo>
                    <a:pt x="1081756" y="796121"/>
                  </a:lnTo>
                  <a:lnTo>
                    <a:pt x="1098962" y="752963"/>
                  </a:lnTo>
                  <a:lnTo>
                    <a:pt x="1112640" y="708142"/>
                  </a:lnTo>
                  <a:lnTo>
                    <a:pt x="1122620" y="661829"/>
                  </a:lnTo>
                  <a:lnTo>
                    <a:pt x="1128732" y="614193"/>
                  </a:lnTo>
                  <a:lnTo>
                    <a:pt x="1130807" y="565404"/>
                  </a:lnTo>
                  <a:lnTo>
                    <a:pt x="1128732" y="516614"/>
                  </a:lnTo>
                  <a:lnTo>
                    <a:pt x="1122620" y="468978"/>
                  </a:lnTo>
                  <a:lnTo>
                    <a:pt x="1112640" y="422665"/>
                  </a:lnTo>
                  <a:lnTo>
                    <a:pt x="1098962" y="377844"/>
                  </a:lnTo>
                  <a:lnTo>
                    <a:pt x="1081756" y="334686"/>
                  </a:lnTo>
                  <a:lnTo>
                    <a:pt x="1061192" y="293360"/>
                  </a:lnTo>
                  <a:lnTo>
                    <a:pt x="1037438" y="254034"/>
                  </a:lnTo>
                  <a:lnTo>
                    <a:pt x="1010665" y="216881"/>
                  </a:lnTo>
                  <a:lnTo>
                    <a:pt x="981042" y="182067"/>
                  </a:lnTo>
                  <a:lnTo>
                    <a:pt x="948740" y="149765"/>
                  </a:lnTo>
                  <a:lnTo>
                    <a:pt x="913926" y="120142"/>
                  </a:lnTo>
                  <a:lnTo>
                    <a:pt x="876773" y="93369"/>
                  </a:lnTo>
                  <a:lnTo>
                    <a:pt x="837447" y="69615"/>
                  </a:lnTo>
                  <a:lnTo>
                    <a:pt x="796121" y="49051"/>
                  </a:lnTo>
                  <a:lnTo>
                    <a:pt x="752963" y="31845"/>
                  </a:lnTo>
                  <a:lnTo>
                    <a:pt x="708142" y="18167"/>
                  </a:lnTo>
                  <a:lnTo>
                    <a:pt x="661829" y="8187"/>
                  </a:lnTo>
                  <a:lnTo>
                    <a:pt x="614193" y="2075"/>
                  </a:lnTo>
                  <a:lnTo>
                    <a:pt x="565403" y="0"/>
                  </a:lnTo>
                  <a:close/>
                </a:path>
              </a:pathLst>
            </a:custGeom>
            <a:solidFill>
              <a:srgbClr val="FFFFFF"/>
            </a:solidFill>
            <a:ln>
              <a:solidFill>
                <a:schemeClr val="accent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110" name="object 41">
              <a:extLst>
                <a:ext uri="{FF2B5EF4-FFF2-40B4-BE49-F238E27FC236}">
                  <a16:creationId xmlns:a16="http://schemas.microsoft.com/office/drawing/2014/main" id="{DC65E67C-7404-4190-979E-223B61EB7081}"/>
                </a:ext>
              </a:extLst>
            </p:cNvPr>
            <p:cNvSpPr/>
            <p:nvPr/>
          </p:nvSpPr>
          <p:spPr>
            <a:xfrm>
              <a:off x="2729316" y="2390139"/>
              <a:ext cx="934657" cy="934657"/>
            </a:xfrm>
            <a:custGeom>
              <a:avLst/>
              <a:gdLst/>
              <a:ahLst/>
              <a:cxnLst/>
              <a:rect l="l" t="t" r="r" b="b"/>
              <a:pathLst>
                <a:path w="1130935" h="1130935">
                  <a:moveTo>
                    <a:pt x="0" y="565404"/>
                  </a:moveTo>
                  <a:lnTo>
                    <a:pt x="2075" y="516614"/>
                  </a:lnTo>
                  <a:lnTo>
                    <a:pt x="8187" y="468978"/>
                  </a:lnTo>
                  <a:lnTo>
                    <a:pt x="18167" y="422665"/>
                  </a:lnTo>
                  <a:lnTo>
                    <a:pt x="31845" y="377844"/>
                  </a:lnTo>
                  <a:lnTo>
                    <a:pt x="49051" y="334686"/>
                  </a:lnTo>
                  <a:lnTo>
                    <a:pt x="69615" y="293360"/>
                  </a:lnTo>
                  <a:lnTo>
                    <a:pt x="93369" y="254034"/>
                  </a:lnTo>
                  <a:lnTo>
                    <a:pt x="120142" y="216881"/>
                  </a:lnTo>
                  <a:lnTo>
                    <a:pt x="149765" y="182067"/>
                  </a:lnTo>
                  <a:lnTo>
                    <a:pt x="182067" y="149765"/>
                  </a:lnTo>
                  <a:lnTo>
                    <a:pt x="216881" y="120142"/>
                  </a:lnTo>
                  <a:lnTo>
                    <a:pt x="254034" y="93369"/>
                  </a:lnTo>
                  <a:lnTo>
                    <a:pt x="293360" y="69615"/>
                  </a:lnTo>
                  <a:lnTo>
                    <a:pt x="334686" y="49051"/>
                  </a:lnTo>
                  <a:lnTo>
                    <a:pt x="377844" y="31845"/>
                  </a:lnTo>
                  <a:lnTo>
                    <a:pt x="422665" y="18167"/>
                  </a:lnTo>
                  <a:lnTo>
                    <a:pt x="468978" y="8187"/>
                  </a:lnTo>
                  <a:lnTo>
                    <a:pt x="516614" y="2075"/>
                  </a:lnTo>
                  <a:lnTo>
                    <a:pt x="565403" y="0"/>
                  </a:lnTo>
                  <a:lnTo>
                    <a:pt x="614193" y="2075"/>
                  </a:lnTo>
                  <a:lnTo>
                    <a:pt x="661829" y="8187"/>
                  </a:lnTo>
                  <a:lnTo>
                    <a:pt x="708142" y="18167"/>
                  </a:lnTo>
                  <a:lnTo>
                    <a:pt x="752963" y="31845"/>
                  </a:lnTo>
                  <a:lnTo>
                    <a:pt x="796121" y="49051"/>
                  </a:lnTo>
                  <a:lnTo>
                    <a:pt x="837447" y="69615"/>
                  </a:lnTo>
                  <a:lnTo>
                    <a:pt x="876773" y="93369"/>
                  </a:lnTo>
                  <a:lnTo>
                    <a:pt x="913926" y="120142"/>
                  </a:lnTo>
                  <a:lnTo>
                    <a:pt x="948740" y="149765"/>
                  </a:lnTo>
                  <a:lnTo>
                    <a:pt x="981042" y="182067"/>
                  </a:lnTo>
                  <a:lnTo>
                    <a:pt x="1010665" y="216881"/>
                  </a:lnTo>
                  <a:lnTo>
                    <a:pt x="1037438" y="254034"/>
                  </a:lnTo>
                  <a:lnTo>
                    <a:pt x="1061192" y="293360"/>
                  </a:lnTo>
                  <a:lnTo>
                    <a:pt x="1081756" y="334686"/>
                  </a:lnTo>
                  <a:lnTo>
                    <a:pt x="1098962" y="377844"/>
                  </a:lnTo>
                  <a:lnTo>
                    <a:pt x="1112640" y="422665"/>
                  </a:lnTo>
                  <a:lnTo>
                    <a:pt x="1122620" y="468978"/>
                  </a:lnTo>
                  <a:lnTo>
                    <a:pt x="1128732" y="516614"/>
                  </a:lnTo>
                  <a:lnTo>
                    <a:pt x="1130807" y="565404"/>
                  </a:lnTo>
                  <a:lnTo>
                    <a:pt x="1128732" y="614193"/>
                  </a:lnTo>
                  <a:lnTo>
                    <a:pt x="1122620" y="661829"/>
                  </a:lnTo>
                  <a:lnTo>
                    <a:pt x="1112640" y="708142"/>
                  </a:lnTo>
                  <a:lnTo>
                    <a:pt x="1098962" y="752963"/>
                  </a:lnTo>
                  <a:lnTo>
                    <a:pt x="1081756" y="796121"/>
                  </a:lnTo>
                  <a:lnTo>
                    <a:pt x="1061192" y="837447"/>
                  </a:lnTo>
                  <a:lnTo>
                    <a:pt x="1037438" y="876773"/>
                  </a:lnTo>
                  <a:lnTo>
                    <a:pt x="1010665" y="913926"/>
                  </a:lnTo>
                  <a:lnTo>
                    <a:pt x="981042" y="948740"/>
                  </a:lnTo>
                  <a:lnTo>
                    <a:pt x="948740" y="981042"/>
                  </a:lnTo>
                  <a:lnTo>
                    <a:pt x="913926" y="1010665"/>
                  </a:lnTo>
                  <a:lnTo>
                    <a:pt x="876773" y="1037438"/>
                  </a:lnTo>
                  <a:lnTo>
                    <a:pt x="837447" y="1061192"/>
                  </a:lnTo>
                  <a:lnTo>
                    <a:pt x="796121" y="1081756"/>
                  </a:lnTo>
                  <a:lnTo>
                    <a:pt x="752963" y="1098962"/>
                  </a:lnTo>
                  <a:lnTo>
                    <a:pt x="708142" y="1112640"/>
                  </a:lnTo>
                  <a:lnTo>
                    <a:pt x="661829" y="1122620"/>
                  </a:lnTo>
                  <a:lnTo>
                    <a:pt x="614193" y="1128732"/>
                  </a:lnTo>
                  <a:lnTo>
                    <a:pt x="565403" y="1130808"/>
                  </a:lnTo>
                  <a:lnTo>
                    <a:pt x="516614" y="1128732"/>
                  </a:lnTo>
                  <a:lnTo>
                    <a:pt x="468978" y="1122620"/>
                  </a:lnTo>
                  <a:lnTo>
                    <a:pt x="422665" y="1112640"/>
                  </a:lnTo>
                  <a:lnTo>
                    <a:pt x="377844" y="1098962"/>
                  </a:lnTo>
                  <a:lnTo>
                    <a:pt x="334686" y="1081756"/>
                  </a:lnTo>
                  <a:lnTo>
                    <a:pt x="293360" y="1061192"/>
                  </a:lnTo>
                  <a:lnTo>
                    <a:pt x="254034" y="1037438"/>
                  </a:lnTo>
                  <a:lnTo>
                    <a:pt x="216881" y="1010665"/>
                  </a:lnTo>
                  <a:lnTo>
                    <a:pt x="182067" y="981042"/>
                  </a:lnTo>
                  <a:lnTo>
                    <a:pt x="149765" y="948740"/>
                  </a:lnTo>
                  <a:lnTo>
                    <a:pt x="120142" y="913926"/>
                  </a:lnTo>
                  <a:lnTo>
                    <a:pt x="93369" y="876773"/>
                  </a:lnTo>
                  <a:lnTo>
                    <a:pt x="69615" y="837447"/>
                  </a:lnTo>
                  <a:lnTo>
                    <a:pt x="49051" y="796121"/>
                  </a:lnTo>
                  <a:lnTo>
                    <a:pt x="31845" y="752963"/>
                  </a:lnTo>
                  <a:lnTo>
                    <a:pt x="18167" y="708142"/>
                  </a:lnTo>
                  <a:lnTo>
                    <a:pt x="8187" y="661829"/>
                  </a:lnTo>
                  <a:lnTo>
                    <a:pt x="2075" y="614193"/>
                  </a:lnTo>
                  <a:lnTo>
                    <a:pt x="0" y="565404"/>
                  </a:lnTo>
                  <a:close/>
                </a:path>
              </a:pathLst>
            </a:custGeom>
            <a:ln w="19812">
              <a:solidFill>
                <a:schemeClr val="accent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grpSp>
          <p:nvGrpSpPr>
            <p:cNvPr id="21" name="Group 20">
              <a:extLst>
                <a:ext uri="{FF2B5EF4-FFF2-40B4-BE49-F238E27FC236}">
                  <a16:creationId xmlns:a16="http://schemas.microsoft.com/office/drawing/2014/main" id="{82243512-ED0E-4CD2-99F7-BA3076903E27}"/>
                </a:ext>
              </a:extLst>
            </p:cNvPr>
            <p:cNvGrpSpPr/>
            <p:nvPr/>
          </p:nvGrpSpPr>
          <p:grpSpPr>
            <a:xfrm>
              <a:off x="2820693" y="2576743"/>
              <a:ext cx="508662" cy="582975"/>
              <a:chOff x="4013254" y="2664796"/>
              <a:chExt cx="573542" cy="634955"/>
            </a:xfrm>
          </p:grpSpPr>
          <p:sp>
            <p:nvSpPr>
              <p:cNvPr id="104" name="object 42">
                <a:extLst>
                  <a:ext uri="{FF2B5EF4-FFF2-40B4-BE49-F238E27FC236}">
                    <a16:creationId xmlns:a16="http://schemas.microsoft.com/office/drawing/2014/main" id="{DF10AE8C-A7F0-448D-A89A-7D8949D21FE0}"/>
                  </a:ext>
                </a:extLst>
              </p:cNvPr>
              <p:cNvSpPr/>
              <p:nvPr/>
            </p:nvSpPr>
            <p:spPr>
              <a:xfrm>
                <a:off x="4013254" y="2664796"/>
                <a:ext cx="573542" cy="634955"/>
              </a:xfrm>
              <a:prstGeom prst="rect">
                <a:avLst/>
              </a:prstGeom>
              <a:blipFill>
                <a:blip r:embed="rId8"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105" name="object 43">
                <a:extLst>
                  <a:ext uri="{FF2B5EF4-FFF2-40B4-BE49-F238E27FC236}">
                    <a16:creationId xmlns:a16="http://schemas.microsoft.com/office/drawing/2014/main" id="{538DA6DA-8897-4571-BB23-2C3BFDA71754}"/>
                  </a:ext>
                </a:extLst>
              </p:cNvPr>
              <p:cNvSpPr/>
              <p:nvPr/>
            </p:nvSpPr>
            <p:spPr>
              <a:xfrm>
                <a:off x="4185197" y="2776829"/>
                <a:ext cx="229657" cy="238499"/>
              </a:xfrm>
              <a:prstGeom prst="rect">
                <a:avLst/>
              </a:prstGeom>
              <a:blipFill>
                <a:blip r:embed="rId9"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grpSp>
        <p:pic>
          <p:nvPicPr>
            <p:cNvPr id="22" name="Picture 21">
              <a:extLst>
                <a:ext uri="{FF2B5EF4-FFF2-40B4-BE49-F238E27FC236}">
                  <a16:creationId xmlns:a16="http://schemas.microsoft.com/office/drawing/2014/main" id="{976711B7-1634-4D71-B52A-6123C10062C2}"/>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329355" y="2662572"/>
              <a:ext cx="267640" cy="364455"/>
            </a:xfrm>
            <a:prstGeom prst="rect">
              <a:avLst/>
            </a:prstGeom>
            <a:ln>
              <a:solidFill>
                <a:schemeClr val="tx1"/>
              </a:solidFill>
            </a:ln>
          </p:spPr>
        </p:pic>
      </p:grpSp>
      <p:sp>
        <p:nvSpPr>
          <p:cNvPr id="23" name="object 52">
            <a:extLst>
              <a:ext uri="{FF2B5EF4-FFF2-40B4-BE49-F238E27FC236}">
                <a16:creationId xmlns:a16="http://schemas.microsoft.com/office/drawing/2014/main" id="{77BB5341-6228-4BF8-99A9-A37130833D52}"/>
              </a:ext>
            </a:extLst>
          </p:cNvPr>
          <p:cNvSpPr txBox="1"/>
          <p:nvPr/>
        </p:nvSpPr>
        <p:spPr>
          <a:xfrm>
            <a:off x="4707653" y="1558703"/>
            <a:ext cx="1607021" cy="427681"/>
          </a:xfrm>
          <a:prstGeom prst="rect">
            <a:avLst/>
          </a:prstGeom>
        </p:spPr>
        <p:txBody>
          <a:bodyPr vert="horz" wrap="square" lIns="0" tIns="12065" rIns="0" bIns="0" rtlCol="0">
            <a:spAutoFit/>
          </a:bodyPr>
          <a:lstStyle/>
          <a:p>
            <a:pPr marL="12700" marR="5080" lvl="0" indent="0" algn="ctr" defTabSz="914400" rtl="0" eaLnBrk="1" fontAlgn="auto" latinLnBrk="0" hangingPunct="1">
              <a:lnSpc>
                <a:spcPct val="100000"/>
              </a:lnSpc>
              <a:spcBef>
                <a:spcPts val="95"/>
              </a:spcBef>
              <a:spcAft>
                <a:spcPts val="0"/>
              </a:spcAft>
              <a:buClrTx/>
              <a:buSzTx/>
              <a:buFontTx/>
              <a:buNone/>
              <a:tabLst/>
              <a:defRPr/>
            </a:pPr>
            <a:r>
              <a:rPr kumimoji="0" lang="en-US" sz="900" b="0" i="0" u="none" strike="noStrike" kern="1200" cap="none" spc="-5" normalizeH="0" baseline="0" noProof="0" dirty="0">
                <a:ln>
                  <a:noFill/>
                </a:ln>
                <a:solidFill>
                  <a:srgbClr val="000000"/>
                </a:solidFill>
                <a:effectLst/>
                <a:uLnTx/>
                <a:uFillTx/>
                <a:ea typeface="+mn-ea"/>
                <a:cs typeface="Verdana"/>
              </a:rPr>
              <a:t>Customer </a:t>
            </a:r>
            <a:r>
              <a:rPr kumimoji="0" lang="en-US" sz="900" b="1" i="0" u="none" strike="noStrike" kern="1200" cap="none" spc="-5" normalizeH="0" baseline="0" noProof="0" dirty="0">
                <a:ln>
                  <a:noFill/>
                </a:ln>
                <a:solidFill>
                  <a:srgbClr val="000000"/>
                </a:solidFill>
                <a:effectLst/>
                <a:uLnTx/>
                <a:uFillTx/>
                <a:ea typeface="+mn-ea"/>
                <a:cs typeface="Verdana"/>
              </a:rPr>
              <a:t>orders </a:t>
            </a:r>
            <a:r>
              <a:rPr kumimoji="0" lang="en-US" sz="900" b="0" i="0" u="none" strike="noStrike" kern="1200" cap="none" spc="-5" normalizeH="0" baseline="0" noProof="0" dirty="0">
                <a:ln>
                  <a:noFill/>
                </a:ln>
                <a:solidFill>
                  <a:srgbClr val="000000"/>
                </a:solidFill>
                <a:effectLst/>
                <a:uLnTx/>
                <a:uFillTx/>
                <a:ea typeface="+mn-ea"/>
                <a:cs typeface="Verdana"/>
              </a:rPr>
              <a:t>the required quantity of the functional part</a:t>
            </a:r>
          </a:p>
        </p:txBody>
      </p:sp>
      <p:sp>
        <p:nvSpPr>
          <p:cNvPr id="26" name="object 40">
            <a:extLst>
              <a:ext uri="{FF2B5EF4-FFF2-40B4-BE49-F238E27FC236}">
                <a16:creationId xmlns:a16="http://schemas.microsoft.com/office/drawing/2014/main" id="{18AC7E60-D24D-41F8-9C53-25E827A21E3A}"/>
              </a:ext>
            </a:extLst>
          </p:cNvPr>
          <p:cNvSpPr/>
          <p:nvPr/>
        </p:nvSpPr>
        <p:spPr>
          <a:xfrm>
            <a:off x="6267547" y="1891446"/>
            <a:ext cx="692727" cy="768296"/>
          </a:xfrm>
          <a:prstGeom prst="rect">
            <a:avLst/>
          </a:prstGeom>
          <a:blipFill>
            <a:blip r:embed="rId8"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27" name="object 43">
            <a:extLst>
              <a:ext uri="{FF2B5EF4-FFF2-40B4-BE49-F238E27FC236}">
                <a16:creationId xmlns:a16="http://schemas.microsoft.com/office/drawing/2014/main" id="{54CDD0EE-55FC-45C6-A502-292373C0E7E2}"/>
              </a:ext>
            </a:extLst>
          </p:cNvPr>
          <p:cNvSpPr/>
          <p:nvPr/>
        </p:nvSpPr>
        <p:spPr>
          <a:xfrm>
            <a:off x="6441454" y="2057207"/>
            <a:ext cx="203678" cy="218975"/>
          </a:xfrm>
          <a:prstGeom prst="rect">
            <a:avLst/>
          </a:prstGeom>
          <a:blipFill>
            <a:blip r:embed="rId9"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grpSp>
        <p:nvGrpSpPr>
          <p:cNvPr id="28" name="Group 27">
            <a:extLst>
              <a:ext uri="{FF2B5EF4-FFF2-40B4-BE49-F238E27FC236}">
                <a16:creationId xmlns:a16="http://schemas.microsoft.com/office/drawing/2014/main" id="{1CEFAD12-E8E0-4CF1-8A65-CE938938EAF1}"/>
              </a:ext>
            </a:extLst>
          </p:cNvPr>
          <p:cNvGrpSpPr>
            <a:grpSpLocks noChangeAspect="1"/>
          </p:cNvGrpSpPr>
          <p:nvPr/>
        </p:nvGrpSpPr>
        <p:grpSpPr>
          <a:xfrm>
            <a:off x="6661414" y="2067619"/>
            <a:ext cx="125496" cy="125496"/>
            <a:chOff x="5060951" y="5997575"/>
            <a:chExt cx="247650" cy="247651"/>
          </a:xfrm>
        </p:grpSpPr>
        <p:sp>
          <p:nvSpPr>
            <p:cNvPr id="101" name="Freeform 328">
              <a:extLst>
                <a:ext uri="{FF2B5EF4-FFF2-40B4-BE49-F238E27FC236}">
                  <a16:creationId xmlns:a16="http://schemas.microsoft.com/office/drawing/2014/main" id="{B4723A42-B165-4921-BD7F-3EBA27B305D6}"/>
                </a:ext>
              </a:extLst>
            </p:cNvPr>
            <p:cNvSpPr>
              <a:spLocks/>
            </p:cNvSpPr>
            <p:nvPr/>
          </p:nvSpPr>
          <p:spPr bwMode="auto">
            <a:xfrm>
              <a:off x="5113338" y="6189663"/>
              <a:ext cx="55563" cy="55563"/>
            </a:xfrm>
            <a:custGeom>
              <a:avLst/>
              <a:gdLst>
                <a:gd name="T0" fmla="*/ 36 w 71"/>
                <a:gd name="T1" fmla="*/ 0 h 71"/>
                <a:gd name="T2" fmla="*/ 36 w 71"/>
                <a:gd name="T3" fmla="*/ 0 h 71"/>
                <a:gd name="T4" fmla="*/ 28 w 71"/>
                <a:gd name="T5" fmla="*/ 0 h 71"/>
                <a:gd name="T6" fmla="*/ 21 w 71"/>
                <a:gd name="T7" fmla="*/ 2 h 71"/>
                <a:gd name="T8" fmla="*/ 16 w 71"/>
                <a:gd name="T9" fmla="*/ 5 h 71"/>
                <a:gd name="T10" fmla="*/ 10 w 71"/>
                <a:gd name="T11" fmla="*/ 10 h 71"/>
                <a:gd name="T12" fmla="*/ 5 w 71"/>
                <a:gd name="T13" fmla="*/ 16 h 71"/>
                <a:gd name="T14" fmla="*/ 2 w 71"/>
                <a:gd name="T15" fmla="*/ 21 h 71"/>
                <a:gd name="T16" fmla="*/ 0 w 71"/>
                <a:gd name="T17" fmla="*/ 28 h 71"/>
                <a:gd name="T18" fmla="*/ 0 w 71"/>
                <a:gd name="T19" fmla="*/ 34 h 71"/>
                <a:gd name="T20" fmla="*/ 0 w 71"/>
                <a:gd name="T21" fmla="*/ 34 h 71"/>
                <a:gd name="T22" fmla="*/ 0 w 71"/>
                <a:gd name="T23" fmla="*/ 43 h 71"/>
                <a:gd name="T24" fmla="*/ 2 w 71"/>
                <a:gd name="T25" fmla="*/ 49 h 71"/>
                <a:gd name="T26" fmla="*/ 5 w 71"/>
                <a:gd name="T27" fmla="*/ 55 h 71"/>
                <a:gd name="T28" fmla="*/ 10 w 71"/>
                <a:gd name="T29" fmla="*/ 60 h 71"/>
                <a:gd name="T30" fmla="*/ 16 w 71"/>
                <a:gd name="T31" fmla="*/ 65 h 71"/>
                <a:gd name="T32" fmla="*/ 21 w 71"/>
                <a:gd name="T33" fmla="*/ 68 h 71"/>
                <a:gd name="T34" fmla="*/ 28 w 71"/>
                <a:gd name="T35" fmla="*/ 71 h 71"/>
                <a:gd name="T36" fmla="*/ 36 w 71"/>
                <a:gd name="T37" fmla="*/ 71 h 71"/>
                <a:gd name="T38" fmla="*/ 36 w 71"/>
                <a:gd name="T39" fmla="*/ 71 h 71"/>
                <a:gd name="T40" fmla="*/ 43 w 71"/>
                <a:gd name="T41" fmla="*/ 71 h 71"/>
                <a:gd name="T42" fmla="*/ 49 w 71"/>
                <a:gd name="T43" fmla="*/ 68 h 71"/>
                <a:gd name="T44" fmla="*/ 56 w 71"/>
                <a:gd name="T45" fmla="*/ 65 h 71"/>
                <a:gd name="T46" fmla="*/ 60 w 71"/>
                <a:gd name="T47" fmla="*/ 60 h 71"/>
                <a:gd name="T48" fmla="*/ 65 w 71"/>
                <a:gd name="T49" fmla="*/ 55 h 71"/>
                <a:gd name="T50" fmla="*/ 68 w 71"/>
                <a:gd name="T51" fmla="*/ 49 h 71"/>
                <a:gd name="T52" fmla="*/ 71 w 71"/>
                <a:gd name="T53" fmla="*/ 43 h 71"/>
                <a:gd name="T54" fmla="*/ 71 w 71"/>
                <a:gd name="T55" fmla="*/ 34 h 71"/>
                <a:gd name="T56" fmla="*/ 71 w 71"/>
                <a:gd name="T57" fmla="*/ 34 h 71"/>
                <a:gd name="T58" fmla="*/ 71 w 71"/>
                <a:gd name="T59" fmla="*/ 28 h 71"/>
                <a:gd name="T60" fmla="*/ 68 w 71"/>
                <a:gd name="T61" fmla="*/ 21 h 71"/>
                <a:gd name="T62" fmla="*/ 65 w 71"/>
                <a:gd name="T63" fmla="*/ 16 h 71"/>
                <a:gd name="T64" fmla="*/ 60 w 71"/>
                <a:gd name="T65" fmla="*/ 10 h 71"/>
                <a:gd name="T66" fmla="*/ 56 w 71"/>
                <a:gd name="T67" fmla="*/ 5 h 71"/>
                <a:gd name="T68" fmla="*/ 49 w 71"/>
                <a:gd name="T69" fmla="*/ 2 h 71"/>
                <a:gd name="T70" fmla="*/ 43 w 71"/>
                <a:gd name="T71" fmla="*/ 0 h 71"/>
                <a:gd name="T72" fmla="*/ 36 w 71"/>
                <a:gd name="T73" fmla="*/ 0 h 71"/>
                <a:gd name="T74" fmla="*/ 36 w 71"/>
                <a:gd name="T7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1" h="71">
                  <a:moveTo>
                    <a:pt x="36" y="0"/>
                  </a:moveTo>
                  <a:lnTo>
                    <a:pt x="36" y="0"/>
                  </a:lnTo>
                  <a:lnTo>
                    <a:pt x="28" y="0"/>
                  </a:lnTo>
                  <a:lnTo>
                    <a:pt x="21" y="2"/>
                  </a:lnTo>
                  <a:lnTo>
                    <a:pt x="16" y="5"/>
                  </a:lnTo>
                  <a:lnTo>
                    <a:pt x="10" y="10"/>
                  </a:lnTo>
                  <a:lnTo>
                    <a:pt x="5" y="16"/>
                  </a:lnTo>
                  <a:lnTo>
                    <a:pt x="2" y="21"/>
                  </a:lnTo>
                  <a:lnTo>
                    <a:pt x="0" y="28"/>
                  </a:lnTo>
                  <a:lnTo>
                    <a:pt x="0" y="34"/>
                  </a:lnTo>
                  <a:lnTo>
                    <a:pt x="0" y="34"/>
                  </a:lnTo>
                  <a:lnTo>
                    <a:pt x="0" y="43"/>
                  </a:lnTo>
                  <a:lnTo>
                    <a:pt x="2" y="49"/>
                  </a:lnTo>
                  <a:lnTo>
                    <a:pt x="5" y="55"/>
                  </a:lnTo>
                  <a:lnTo>
                    <a:pt x="10" y="60"/>
                  </a:lnTo>
                  <a:lnTo>
                    <a:pt x="16" y="65"/>
                  </a:lnTo>
                  <a:lnTo>
                    <a:pt x="21" y="68"/>
                  </a:lnTo>
                  <a:lnTo>
                    <a:pt x="28" y="71"/>
                  </a:lnTo>
                  <a:lnTo>
                    <a:pt x="36" y="71"/>
                  </a:lnTo>
                  <a:lnTo>
                    <a:pt x="36" y="71"/>
                  </a:lnTo>
                  <a:lnTo>
                    <a:pt x="43" y="71"/>
                  </a:lnTo>
                  <a:lnTo>
                    <a:pt x="49" y="68"/>
                  </a:lnTo>
                  <a:lnTo>
                    <a:pt x="56" y="65"/>
                  </a:lnTo>
                  <a:lnTo>
                    <a:pt x="60" y="60"/>
                  </a:lnTo>
                  <a:lnTo>
                    <a:pt x="65" y="55"/>
                  </a:lnTo>
                  <a:lnTo>
                    <a:pt x="68" y="49"/>
                  </a:lnTo>
                  <a:lnTo>
                    <a:pt x="71" y="43"/>
                  </a:lnTo>
                  <a:lnTo>
                    <a:pt x="71" y="34"/>
                  </a:lnTo>
                  <a:lnTo>
                    <a:pt x="71" y="34"/>
                  </a:lnTo>
                  <a:lnTo>
                    <a:pt x="71" y="28"/>
                  </a:lnTo>
                  <a:lnTo>
                    <a:pt x="68" y="21"/>
                  </a:lnTo>
                  <a:lnTo>
                    <a:pt x="65" y="16"/>
                  </a:lnTo>
                  <a:lnTo>
                    <a:pt x="60" y="10"/>
                  </a:lnTo>
                  <a:lnTo>
                    <a:pt x="56" y="5"/>
                  </a:lnTo>
                  <a:lnTo>
                    <a:pt x="49" y="2"/>
                  </a:lnTo>
                  <a:lnTo>
                    <a:pt x="43" y="0"/>
                  </a:lnTo>
                  <a:lnTo>
                    <a:pt x="36" y="0"/>
                  </a:lnTo>
                  <a:lnTo>
                    <a:pt x="3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ea typeface="+mn-ea"/>
                <a:cs typeface="+mn-cs"/>
              </a:endParaRPr>
            </a:p>
          </p:txBody>
        </p:sp>
        <p:sp>
          <p:nvSpPr>
            <p:cNvPr id="102" name="Freeform 329">
              <a:extLst>
                <a:ext uri="{FF2B5EF4-FFF2-40B4-BE49-F238E27FC236}">
                  <a16:creationId xmlns:a16="http://schemas.microsoft.com/office/drawing/2014/main" id="{69A61600-F2AC-4D43-98FE-3D7E4BB25CE5}"/>
                </a:ext>
              </a:extLst>
            </p:cNvPr>
            <p:cNvSpPr>
              <a:spLocks/>
            </p:cNvSpPr>
            <p:nvPr/>
          </p:nvSpPr>
          <p:spPr bwMode="auto">
            <a:xfrm>
              <a:off x="5243513" y="6189663"/>
              <a:ext cx="58738" cy="55563"/>
            </a:xfrm>
            <a:custGeom>
              <a:avLst/>
              <a:gdLst>
                <a:gd name="T0" fmla="*/ 36 w 72"/>
                <a:gd name="T1" fmla="*/ 0 h 71"/>
                <a:gd name="T2" fmla="*/ 36 w 72"/>
                <a:gd name="T3" fmla="*/ 0 h 71"/>
                <a:gd name="T4" fmla="*/ 29 w 72"/>
                <a:gd name="T5" fmla="*/ 0 h 71"/>
                <a:gd name="T6" fmla="*/ 23 w 72"/>
                <a:gd name="T7" fmla="*/ 2 h 71"/>
                <a:gd name="T8" fmla="*/ 16 w 72"/>
                <a:gd name="T9" fmla="*/ 5 h 71"/>
                <a:gd name="T10" fmla="*/ 11 w 72"/>
                <a:gd name="T11" fmla="*/ 10 h 71"/>
                <a:gd name="T12" fmla="*/ 6 w 72"/>
                <a:gd name="T13" fmla="*/ 16 h 71"/>
                <a:gd name="T14" fmla="*/ 4 w 72"/>
                <a:gd name="T15" fmla="*/ 21 h 71"/>
                <a:gd name="T16" fmla="*/ 1 w 72"/>
                <a:gd name="T17" fmla="*/ 28 h 71"/>
                <a:gd name="T18" fmla="*/ 0 w 72"/>
                <a:gd name="T19" fmla="*/ 34 h 71"/>
                <a:gd name="T20" fmla="*/ 0 w 72"/>
                <a:gd name="T21" fmla="*/ 34 h 71"/>
                <a:gd name="T22" fmla="*/ 1 w 72"/>
                <a:gd name="T23" fmla="*/ 43 h 71"/>
                <a:gd name="T24" fmla="*/ 4 w 72"/>
                <a:gd name="T25" fmla="*/ 49 h 71"/>
                <a:gd name="T26" fmla="*/ 6 w 72"/>
                <a:gd name="T27" fmla="*/ 55 h 71"/>
                <a:gd name="T28" fmla="*/ 11 w 72"/>
                <a:gd name="T29" fmla="*/ 60 h 71"/>
                <a:gd name="T30" fmla="*/ 16 w 72"/>
                <a:gd name="T31" fmla="*/ 65 h 71"/>
                <a:gd name="T32" fmla="*/ 23 w 72"/>
                <a:gd name="T33" fmla="*/ 68 h 71"/>
                <a:gd name="T34" fmla="*/ 29 w 72"/>
                <a:gd name="T35" fmla="*/ 71 h 71"/>
                <a:gd name="T36" fmla="*/ 36 w 72"/>
                <a:gd name="T37" fmla="*/ 71 h 71"/>
                <a:gd name="T38" fmla="*/ 36 w 72"/>
                <a:gd name="T39" fmla="*/ 71 h 71"/>
                <a:gd name="T40" fmla="*/ 44 w 72"/>
                <a:gd name="T41" fmla="*/ 71 h 71"/>
                <a:gd name="T42" fmla="*/ 51 w 72"/>
                <a:gd name="T43" fmla="*/ 68 h 71"/>
                <a:gd name="T44" fmla="*/ 56 w 72"/>
                <a:gd name="T45" fmla="*/ 65 h 71"/>
                <a:gd name="T46" fmla="*/ 62 w 72"/>
                <a:gd name="T47" fmla="*/ 60 h 71"/>
                <a:gd name="T48" fmla="*/ 66 w 72"/>
                <a:gd name="T49" fmla="*/ 55 h 71"/>
                <a:gd name="T50" fmla="*/ 70 w 72"/>
                <a:gd name="T51" fmla="*/ 49 h 71"/>
                <a:gd name="T52" fmla="*/ 71 w 72"/>
                <a:gd name="T53" fmla="*/ 43 h 71"/>
                <a:gd name="T54" fmla="*/ 72 w 72"/>
                <a:gd name="T55" fmla="*/ 34 h 71"/>
                <a:gd name="T56" fmla="*/ 72 w 72"/>
                <a:gd name="T57" fmla="*/ 34 h 71"/>
                <a:gd name="T58" fmla="*/ 71 w 72"/>
                <a:gd name="T59" fmla="*/ 28 h 71"/>
                <a:gd name="T60" fmla="*/ 70 w 72"/>
                <a:gd name="T61" fmla="*/ 21 h 71"/>
                <a:gd name="T62" fmla="*/ 66 w 72"/>
                <a:gd name="T63" fmla="*/ 16 h 71"/>
                <a:gd name="T64" fmla="*/ 62 w 72"/>
                <a:gd name="T65" fmla="*/ 10 h 71"/>
                <a:gd name="T66" fmla="*/ 56 w 72"/>
                <a:gd name="T67" fmla="*/ 5 h 71"/>
                <a:gd name="T68" fmla="*/ 51 w 72"/>
                <a:gd name="T69" fmla="*/ 2 h 71"/>
                <a:gd name="T70" fmla="*/ 44 w 72"/>
                <a:gd name="T71" fmla="*/ 0 h 71"/>
                <a:gd name="T72" fmla="*/ 36 w 72"/>
                <a:gd name="T73" fmla="*/ 0 h 71"/>
                <a:gd name="T74" fmla="*/ 36 w 72"/>
                <a:gd name="T7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2" h="71">
                  <a:moveTo>
                    <a:pt x="36" y="0"/>
                  </a:moveTo>
                  <a:lnTo>
                    <a:pt x="36" y="0"/>
                  </a:lnTo>
                  <a:lnTo>
                    <a:pt x="29" y="0"/>
                  </a:lnTo>
                  <a:lnTo>
                    <a:pt x="23" y="2"/>
                  </a:lnTo>
                  <a:lnTo>
                    <a:pt x="16" y="5"/>
                  </a:lnTo>
                  <a:lnTo>
                    <a:pt x="11" y="10"/>
                  </a:lnTo>
                  <a:lnTo>
                    <a:pt x="6" y="16"/>
                  </a:lnTo>
                  <a:lnTo>
                    <a:pt x="4" y="21"/>
                  </a:lnTo>
                  <a:lnTo>
                    <a:pt x="1" y="28"/>
                  </a:lnTo>
                  <a:lnTo>
                    <a:pt x="0" y="34"/>
                  </a:lnTo>
                  <a:lnTo>
                    <a:pt x="0" y="34"/>
                  </a:lnTo>
                  <a:lnTo>
                    <a:pt x="1" y="43"/>
                  </a:lnTo>
                  <a:lnTo>
                    <a:pt x="4" y="49"/>
                  </a:lnTo>
                  <a:lnTo>
                    <a:pt x="6" y="55"/>
                  </a:lnTo>
                  <a:lnTo>
                    <a:pt x="11" y="60"/>
                  </a:lnTo>
                  <a:lnTo>
                    <a:pt x="16" y="65"/>
                  </a:lnTo>
                  <a:lnTo>
                    <a:pt x="23" y="68"/>
                  </a:lnTo>
                  <a:lnTo>
                    <a:pt x="29" y="71"/>
                  </a:lnTo>
                  <a:lnTo>
                    <a:pt x="36" y="71"/>
                  </a:lnTo>
                  <a:lnTo>
                    <a:pt x="36" y="71"/>
                  </a:lnTo>
                  <a:lnTo>
                    <a:pt x="44" y="71"/>
                  </a:lnTo>
                  <a:lnTo>
                    <a:pt x="51" y="68"/>
                  </a:lnTo>
                  <a:lnTo>
                    <a:pt x="56" y="65"/>
                  </a:lnTo>
                  <a:lnTo>
                    <a:pt x="62" y="60"/>
                  </a:lnTo>
                  <a:lnTo>
                    <a:pt x="66" y="55"/>
                  </a:lnTo>
                  <a:lnTo>
                    <a:pt x="70" y="49"/>
                  </a:lnTo>
                  <a:lnTo>
                    <a:pt x="71" y="43"/>
                  </a:lnTo>
                  <a:lnTo>
                    <a:pt x="72" y="34"/>
                  </a:lnTo>
                  <a:lnTo>
                    <a:pt x="72" y="34"/>
                  </a:lnTo>
                  <a:lnTo>
                    <a:pt x="71" y="28"/>
                  </a:lnTo>
                  <a:lnTo>
                    <a:pt x="70" y="21"/>
                  </a:lnTo>
                  <a:lnTo>
                    <a:pt x="66" y="16"/>
                  </a:lnTo>
                  <a:lnTo>
                    <a:pt x="62" y="10"/>
                  </a:lnTo>
                  <a:lnTo>
                    <a:pt x="56" y="5"/>
                  </a:lnTo>
                  <a:lnTo>
                    <a:pt x="51" y="2"/>
                  </a:lnTo>
                  <a:lnTo>
                    <a:pt x="44" y="0"/>
                  </a:lnTo>
                  <a:lnTo>
                    <a:pt x="36" y="0"/>
                  </a:lnTo>
                  <a:lnTo>
                    <a:pt x="3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ea typeface="+mn-ea"/>
                <a:cs typeface="+mn-cs"/>
              </a:endParaRPr>
            </a:p>
          </p:txBody>
        </p:sp>
        <p:sp>
          <p:nvSpPr>
            <p:cNvPr id="103" name="Freeform 330">
              <a:extLst>
                <a:ext uri="{FF2B5EF4-FFF2-40B4-BE49-F238E27FC236}">
                  <a16:creationId xmlns:a16="http://schemas.microsoft.com/office/drawing/2014/main" id="{758BB35E-59DE-4F25-8BA7-BAAB243A77A9}"/>
                </a:ext>
              </a:extLst>
            </p:cNvPr>
            <p:cNvSpPr>
              <a:spLocks/>
            </p:cNvSpPr>
            <p:nvPr/>
          </p:nvSpPr>
          <p:spPr bwMode="auto">
            <a:xfrm>
              <a:off x="5060951" y="5997575"/>
              <a:ext cx="247650" cy="176213"/>
            </a:xfrm>
            <a:custGeom>
              <a:avLst/>
              <a:gdLst>
                <a:gd name="T0" fmla="*/ 307 w 311"/>
                <a:gd name="T1" fmla="*/ 63 h 223"/>
                <a:gd name="T2" fmla="*/ 307 w 311"/>
                <a:gd name="T3" fmla="*/ 63 h 223"/>
                <a:gd name="T4" fmla="*/ 303 w 311"/>
                <a:gd name="T5" fmla="*/ 59 h 223"/>
                <a:gd name="T6" fmla="*/ 297 w 311"/>
                <a:gd name="T7" fmla="*/ 58 h 223"/>
                <a:gd name="T8" fmla="*/ 111 w 311"/>
                <a:gd name="T9" fmla="*/ 58 h 223"/>
                <a:gd name="T10" fmla="*/ 111 w 311"/>
                <a:gd name="T11" fmla="*/ 58 h 223"/>
                <a:gd name="T12" fmla="*/ 106 w 311"/>
                <a:gd name="T13" fmla="*/ 59 h 223"/>
                <a:gd name="T14" fmla="*/ 100 w 311"/>
                <a:gd name="T15" fmla="*/ 62 h 223"/>
                <a:gd name="T16" fmla="*/ 98 w 311"/>
                <a:gd name="T17" fmla="*/ 67 h 223"/>
                <a:gd name="T18" fmla="*/ 96 w 311"/>
                <a:gd name="T19" fmla="*/ 72 h 223"/>
                <a:gd name="T20" fmla="*/ 96 w 311"/>
                <a:gd name="T21" fmla="*/ 72 h 223"/>
                <a:gd name="T22" fmla="*/ 98 w 311"/>
                <a:gd name="T23" fmla="*/ 78 h 223"/>
                <a:gd name="T24" fmla="*/ 100 w 311"/>
                <a:gd name="T25" fmla="*/ 82 h 223"/>
                <a:gd name="T26" fmla="*/ 106 w 311"/>
                <a:gd name="T27" fmla="*/ 86 h 223"/>
                <a:gd name="T28" fmla="*/ 111 w 311"/>
                <a:gd name="T29" fmla="*/ 86 h 223"/>
                <a:gd name="T30" fmla="*/ 279 w 311"/>
                <a:gd name="T31" fmla="*/ 86 h 223"/>
                <a:gd name="T32" fmla="*/ 256 w 311"/>
                <a:gd name="T33" fmla="*/ 195 h 223"/>
                <a:gd name="T34" fmla="*/ 103 w 311"/>
                <a:gd name="T35" fmla="*/ 195 h 223"/>
                <a:gd name="T36" fmla="*/ 67 w 311"/>
                <a:gd name="T37" fmla="*/ 11 h 223"/>
                <a:gd name="T38" fmla="*/ 67 w 311"/>
                <a:gd name="T39" fmla="*/ 11 h 223"/>
                <a:gd name="T40" fmla="*/ 64 w 311"/>
                <a:gd name="T41" fmla="*/ 7 h 223"/>
                <a:gd name="T42" fmla="*/ 62 w 311"/>
                <a:gd name="T43" fmla="*/ 2 h 223"/>
                <a:gd name="T44" fmla="*/ 58 w 311"/>
                <a:gd name="T45" fmla="*/ 0 h 223"/>
                <a:gd name="T46" fmla="*/ 52 w 311"/>
                <a:gd name="T47" fmla="*/ 0 h 223"/>
                <a:gd name="T48" fmla="*/ 13 w 311"/>
                <a:gd name="T49" fmla="*/ 0 h 223"/>
                <a:gd name="T50" fmla="*/ 13 w 311"/>
                <a:gd name="T51" fmla="*/ 0 h 223"/>
                <a:gd name="T52" fmla="*/ 8 w 311"/>
                <a:gd name="T53" fmla="*/ 0 h 223"/>
                <a:gd name="T54" fmla="*/ 4 w 311"/>
                <a:gd name="T55" fmla="*/ 4 h 223"/>
                <a:gd name="T56" fmla="*/ 0 w 311"/>
                <a:gd name="T57" fmla="*/ 8 h 223"/>
                <a:gd name="T58" fmla="*/ 0 w 311"/>
                <a:gd name="T59" fmla="*/ 13 h 223"/>
                <a:gd name="T60" fmla="*/ 0 w 311"/>
                <a:gd name="T61" fmla="*/ 13 h 223"/>
                <a:gd name="T62" fmla="*/ 0 w 311"/>
                <a:gd name="T63" fmla="*/ 19 h 223"/>
                <a:gd name="T64" fmla="*/ 4 w 311"/>
                <a:gd name="T65" fmla="*/ 24 h 223"/>
                <a:gd name="T66" fmla="*/ 8 w 311"/>
                <a:gd name="T67" fmla="*/ 27 h 223"/>
                <a:gd name="T68" fmla="*/ 13 w 311"/>
                <a:gd name="T69" fmla="*/ 28 h 223"/>
                <a:gd name="T70" fmla="*/ 41 w 311"/>
                <a:gd name="T71" fmla="*/ 28 h 223"/>
                <a:gd name="T72" fmla="*/ 78 w 311"/>
                <a:gd name="T73" fmla="*/ 212 h 223"/>
                <a:gd name="T74" fmla="*/ 78 w 311"/>
                <a:gd name="T75" fmla="*/ 212 h 223"/>
                <a:gd name="T76" fmla="*/ 79 w 311"/>
                <a:gd name="T77" fmla="*/ 216 h 223"/>
                <a:gd name="T78" fmla="*/ 83 w 311"/>
                <a:gd name="T79" fmla="*/ 220 h 223"/>
                <a:gd name="T80" fmla="*/ 87 w 311"/>
                <a:gd name="T81" fmla="*/ 223 h 223"/>
                <a:gd name="T82" fmla="*/ 91 w 311"/>
                <a:gd name="T83" fmla="*/ 223 h 223"/>
                <a:gd name="T84" fmla="*/ 267 w 311"/>
                <a:gd name="T85" fmla="*/ 223 h 223"/>
                <a:gd name="T86" fmla="*/ 267 w 311"/>
                <a:gd name="T87" fmla="*/ 223 h 223"/>
                <a:gd name="T88" fmla="*/ 272 w 311"/>
                <a:gd name="T89" fmla="*/ 223 h 223"/>
                <a:gd name="T90" fmla="*/ 276 w 311"/>
                <a:gd name="T91" fmla="*/ 220 h 223"/>
                <a:gd name="T92" fmla="*/ 279 w 311"/>
                <a:gd name="T93" fmla="*/ 216 h 223"/>
                <a:gd name="T94" fmla="*/ 282 w 311"/>
                <a:gd name="T95" fmla="*/ 212 h 223"/>
                <a:gd name="T96" fmla="*/ 310 w 311"/>
                <a:gd name="T97" fmla="*/ 75 h 223"/>
                <a:gd name="T98" fmla="*/ 310 w 311"/>
                <a:gd name="T99" fmla="*/ 75 h 223"/>
                <a:gd name="T100" fmla="*/ 311 w 311"/>
                <a:gd name="T101" fmla="*/ 72 h 223"/>
                <a:gd name="T102" fmla="*/ 310 w 311"/>
                <a:gd name="T103" fmla="*/ 70 h 223"/>
                <a:gd name="T104" fmla="*/ 310 w 311"/>
                <a:gd name="T105" fmla="*/ 66 h 223"/>
                <a:gd name="T106" fmla="*/ 307 w 311"/>
                <a:gd name="T107" fmla="*/ 63 h 223"/>
                <a:gd name="T108" fmla="*/ 307 w 311"/>
                <a:gd name="T109" fmla="*/ 6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1" h="223">
                  <a:moveTo>
                    <a:pt x="307" y="63"/>
                  </a:moveTo>
                  <a:lnTo>
                    <a:pt x="307" y="63"/>
                  </a:lnTo>
                  <a:lnTo>
                    <a:pt x="303" y="59"/>
                  </a:lnTo>
                  <a:lnTo>
                    <a:pt x="297" y="58"/>
                  </a:lnTo>
                  <a:lnTo>
                    <a:pt x="111" y="58"/>
                  </a:lnTo>
                  <a:lnTo>
                    <a:pt x="111" y="58"/>
                  </a:lnTo>
                  <a:lnTo>
                    <a:pt x="106" y="59"/>
                  </a:lnTo>
                  <a:lnTo>
                    <a:pt x="100" y="62"/>
                  </a:lnTo>
                  <a:lnTo>
                    <a:pt x="98" y="67"/>
                  </a:lnTo>
                  <a:lnTo>
                    <a:pt x="96" y="72"/>
                  </a:lnTo>
                  <a:lnTo>
                    <a:pt x="96" y="72"/>
                  </a:lnTo>
                  <a:lnTo>
                    <a:pt x="98" y="78"/>
                  </a:lnTo>
                  <a:lnTo>
                    <a:pt x="100" y="82"/>
                  </a:lnTo>
                  <a:lnTo>
                    <a:pt x="106" y="86"/>
                  </a:lnTo>
                  <a:lnTo>
                    <a:pt x="111" y="86"/>
                  </a:lnTo>
                  <a:lnTo>
                    <a:pt x="279" y="86"/>
                  </a:lnTo>
                  <a:lnTo>
                    <a:pt x="256" y="195"/>
                  </a:lnTo>
                  <a:lnTo>
                    <a:pt x="103" y="195"/>
                  </a:lnTo>
                  <a:lnTo>
                    <a:pt x="67" y="11"/>
                  </a:lnTo>
                  <a:lnTo>
                    <a:pt x="67" y="11"/>
                  </a:lnTo>
                  <a:lnTo>
                    <a:pt x="64" y="7"/>
                  </a:lnTo>
                  <a:lnTo>
                    <a:pt x="62" y="2"/>
                  </a:lnTo>
                  <a:lnTo>
                    <a:pt x="58" y="0"/>
                  </a:lnTo>
                  <a:lnTo>
                    <a:pt x="52" y="0"/>
                  </a:lnTo>
                  <a:lnTo>
                    <a:pt x="13" y="0"/>
                  </a:lnTo>
                  <a:lnTo>
                    <a:pt x="13" y="0"/>
                  </a:lnTo>
                  <a:lnTo>
                    <a:pt x="8" y="0"/>
                  </a:lnTo>
                  <a:lnTo>
                    <a:pt x="4" y="4"/>
                  </a:lnTo>
                  <a:lnTo>
                    <a:pt x="0" y="8"/>
                  </a:lnTo>
                  <a:lnTo>
                    <a:pt x="0" y="13"/>
                  </a:lnTo>
                  <a:lnTo>
                    <a:pt x="0" y="13"/>
                  </a:lnTo>
                  <a:lnTo>
                    <a:pt x="0" y="19"/>
                  </a:lnTo>
                  <a:lnTo>
                    <a:pt x="4" y="24"/>
                  </a:lnTo>
                  <a:lnTo>
                    <a:pt x="8" y="27"/>
                  </a:lnTo>
                  <a:lnTo>
                    <a:pt x="13" y="28"/>
                  </a:lnTo>
                  <a:lnTo>
                    <a:pt x="41" y="28"/>
                  </a:lnTo>
                  <a:lnTo>
                    <a:pt x="78" y="212"/>
                  </a:lnTo>
                  <a:lnTo>
                    <a:pt x="78" y="212"/>
                  </a:lnTo>
                  <a:lnTo>
                    <a:pt x="79" y="216"/>
                  </a:lnTo>
                  <a:lnTo>
                    <a:pt x="83" y="220"/>
                  </a:lnTo>
                  <a:lnTo>
                    <a:pt x="87" y="223"/>
                  </a:lnTo>
                  <a:lnTo>
                    <a:pt x="91" y="223"/>
                  </a:lnTo>
                  <a:lnTo>
                    <a:pt x="267" y="223"/>
                  </a:lnTo>
                  <a:lnTo>
                    <a:pt x="267" y="223"/>
                  </a:lnTo>
                  <a:lnTo>
                    <a:pt x="272" y="223"/>
                  </a:lnTo>
                  <a:lnTo>
                    <a:pt x="276" y="220"/>
                  </a:lnTo>
                  <a:lnTo>
                    <a:pt x="279" y="216"/>
                  </a:lnTo>
                  <a:lnTo>
                    <a:pt x="282" y="212"/>
                  </a:lnTo>
                  <a:lnTo>
                    <a:pt x="310" y="75"/>
                  </a:lnTo>
                  <a:lnTo>
                    <a:pt x="310" y="75"/>
                  </a:lnTo>
                  <a:lnTo>
                    <a:pt x="311" y="72"/>
                  </a:lnTo>
                  <a:lnTo>
                    <a:pt x="310" y="70"/>
                  </a:lnTo>
                  <a:lnTo>
                    <a:pt x="310" y="66"/>
                  </a:lnTo>
                  <a:lnTo>
                    <a:pt x="307" y="63"/>
                  </a:lnTo>
                  <a:lnTo>
                    <a:pt x="307"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ea typeface="+mn-ea"/>
                <a:cs typeface="+mn-cs"/>
              </a:endParaRPr>
            </a:p>
          </p:txBody>
        </p:sp>
      </p:grpSp>
      <p:sp>
        <p:nvSpPr>
          <p:cNvPr id="29" name="TextBox 28">
            <a:extLst>
              <a:ext uri="{FF2B5EF4-FFF2-40B4-BE49-F238E27FC236}">
                <a16:creationId xmlns:a16="http://schemas.microsoft.com/office/drawing/2014/main" id="{6407579D-2CEB-425A-9604-8DFA4E29714B}"/>
              </a:ext>
            </a:extLst>
          </p:cNvPr>
          <p:cNvSpPr txBox="1"/>
          <p:nvPr/>
        </p:nvSpPr>
        <p:spPr>
          <a:xfrm>
            <a:off x="6562418" y="2151775"/>
            <a:ext cx="585890" cy="1538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1" i="1" u="none" strike="noStrike" kern="1200" cap="none" spc="0" normalizeH="0" baseline="0" noProof="0" dirty="0">
                <a:ln>
                  <a:noFill/>
                </a:ln>
                <a:solidFill>
                  <a:srgbClr val="3F3F3F"/>
                </a:solidFill>
                <a:effectLst/>
                <a:uLnTx/>
                <a:uFillTx/>
                <a:ea typeface="+mn-ea"/>
                <a:cs typeface="+mn-cs"/>
              </a:rPr>
              <a:t>ORDER</a:t>
            </a:r>
          </a:p>
        </p:txBody>
      </p:sp>
      <p:sp>
        <p:nvSpPr>
          <p:cNvPr id="30" name="object 65">
            <a:extLst>
              <a:ext uri="{FF2B5EF4-FFF2-40B4-BE49-F238E27FC236}">
                <a16:creationId xmlns:a16="http://schemas.microsoft.com/office/drawing/2014/main" id="{A9C76DEE-C77A-458A-844D-64561E5C534F}"/>
              </a:ext>
            </a:extLst>
          </p:cNvPr>
          <p:cNvSpPr/>
          <p:nvPr/>
        </p:nvSpPr>
        <p:spPr>
          <a:xfrm rot="2023954" flipV="1">
            <a:off x="6758354" y="3196084"/>
            <a:ext cx="1361200" cy="297156"/>
          </a:xfrm>
          <a:custGeom>
            <a:avLst/>
            <a:gdLst/>
            <a:ahLst/>
            <a:cxnLst/>
            <a:rect l="l" t="t" r="r" b="b"/>
            <a:pathLst>
              <a:path w="1685289" h="352425">
                <a:moveTo>
                  <a:pt x="1621144" y="306764"/>
                </a:moveTo>
                <a:lnTo>
                  <a:pt x="1602486" y="327913"/>
                </a:lnTo>
                <a:lnTo>
                  <a:pt x="1684782" y="349758"/>
                </a:lnTo>
                <a:lnTo>
                  <a:pt x="1670790" y="315087"/>
                </a:lnTo>
                <a:lnTo>
                  <a:pt x="1631188" y="315087"/>
                </a:lnTo>
                <a:lnTo>
                  <a:pt x="1621144" y="306764"/>
                </a:lnTo>
                <a:close/>
              </a:path>
              <a:path w="1685289" h="352425">
                <a:moveTo>
                  <a:pt x="1633736" y="292491"/>
                </a:moveTo>
                <a:lnTo>
                  <a:pt x="1621144" y="306764"/>
                </a:lnTo>
                <a:lnTo>
                  <a:pt x="1631188" y="315087"/>
                </a:lnTo>
                <a:lnTo>
                  <a:pt x="1643380" y="300482"/>
                </a:lnTo>
                <a:lnTo>
                  <a:pt x="1633736" y="292491"/>
                </a:lnTo>
                <a:close/>
              </a:path>
              <a:path w="1685289" h="352425">
                <a:moveTo>
                  <a:pt x="1652905" y="270763"/>
                </a:moveTo>
                <a:lnTo>
                  <a:pt x="1633736" y="292491"/>
                </a:lnTo>
                <a:lnTo>
                  <a:pt x="1643380" y="300482"/>
                </a:lnTo>
                <a:lnTo>
                  <a:pt x="1631188" y="315087"/>
                </a:lnTo>
                <a:lnTo>
                  <a:pt x="1670790" y="315087"/>
                </a:lnTo>
                <a:lnTo>
                  <a:pt x="1652905" y="270763"/>
                </a:lnTo>
                <a:close/>
              </a:path>
              <a:path w="1685289" h="352425">
                <a:moveTo>
                  <a:pt x="1583689" y="252222"/>
                </a:moveTo>
                <a:lnTo>
                  <a:pt x="1572387" y="267588"/>
                </a:lnTo>
                <a:lnTo>
                  <a:pt x="1585976" y="277622"/>
                </a:lnTo>
                <a:lnTo>
                  <a:pt x="1621144" y="306764"/>
                </a:lnTo>
                <a:lnTo>
                  <a:pt x="1633736" y="292491"/>
                </a:lnTo>
                <a:lnTo>
                  <a:pt x="1598168" y="263017"/>
                </a:lnTo>
                <a:lnTo>
                  <a:pt x="1583689" y="252222"/>
                </a:lnTo>
                <a:close/>
              </a:path>
              <a:path w="1685289" h="352425">
                <a:moveTo>
                  <a:pt x="1472311" y="177292"/>
                </a:moveTo>
                <a:lnTo>
                  <a:pt x="1462532" y="193675"/>
                </a:lnTo>
                <a:lnTo>
                  <a:pt x="1488567" y="209296"/>
                </a:lnTo>
                <a:lnTo>
                  <a:pt x="1526286" y="234442"/>
                </a:lnTo>
                <a:lnTo>
                  <a:pt x="1536954" y="218694"/>
                </a:lnTo>
                <a:lnTo>
                  <a:pt x="1499108" y="193421"/>
                </a:lnTo>
                <a:lnTo>
                  <a:pt x="1472311" y="177292"/>
                </a:lnTo>
                <a:close/>
              </a:path>
              <a:path w="1685289" h="352425">
                <a:moveTo>
                  <a:pt x="1353693" y="114553"/>
                </a:moveTo>
                <a:lnTo>
                  <a:pt x="1345564" y="131825"/>
                </a:lnTo>
                <a:lnTo>
                  <a:pt x="1386586" y="151384"/>
                </a:lnTo>
                <a:lnTo>
                  <a:pt x="1413256" y="165608"/>
                </a:lnTo>
                <a:lnTo>
                  <a:pt x="1422273" y="148844"/>
                </a:lnTo>
                <a:lnTo>
                  <a:pt x="1395602" y="134493"/>
                </a:lnTo>
                <a:lnTo>
                  <a:pt x="1353693" y="114553"/>
                </a:lnTo>
                <a:close/>
              </a:path>
              <a:path w="1685289" h="352425">
                <a:moveTo>
                  <a:pt x="1228725" y="64770"/>
                </a:moveTo>
                <a:lnTo>
                  <a:pt x="1223010" y="82931"/>
                </a:lnTo>
                <a:lnTo>
                  <a:pt x="1226820" y="84200"/>
                </a:lnTo>
                <a:lnTo>
                  <a:pt x="1280922" y="103886"/>
                </a:lnTo>
                <a:lnTo>
                  <a:pt x="1293495" y="109220"/>
                </a:lnTo>
                <a:lnTo>
                  <a:pt x="1300861" y="91694"/>
                </a:lnTo>
                <a:lnTo>
                  <a:pt x="1288288" y="86360"/>
                </a:lnTo>
                <a:lnTo>
                  <a:pt x="1233424" y="66294"/>
                </a:lnTo>
                <a:lnTo>
                  <a:pt x="1228725" y="64770"/>
                </a:lnTo>
                <a:close/>
              </a:path>
              <a:path w="1685289" h="352425">
                <a:moveTo>
                  <a:pt x="1099312" y="29210"/>
                </a:moveTo>
                <a:lnTo>
                  <a:pt x="1095375" y="47751"/>
                </a:lnTo>
                <a:lnTo>
                  <a:pt x="1116965" y="52450"/>
                </a:lnTo>
                <a:lnTo>
                  <a:pt x="1168781" y="66039"/>
                </a:lnTo>
                <a:lnTo>
                  <a:pt x="1173734" y="47625"/>
                </a:lnTo>
                <a:lnTo>
                  <a:pt x="1121918" y="34036"/>
                </a:lnTo>
                <a:lnTo>
                  <a:pt x="1099312" y="29210"/>
                </a:lnTo>
                <a:close/>
              </a:path>
              <a:path w="1685289" h="352425">
                <a:moveTo>
                  <a:pt x="966978" y="7365"/>
                </a:moveTo>
                <a:lnTo>
                  <a:pt x="964692" y="26288"/>
                </a:lnTo>
                <a:lnTo>
                  <a:pt x="1005459" y="31114"/>
                </a:lnTo>
                <a:lnTo>
                  <a:pt x="1039749" y="36957"/>
                </a:lnTo>
                <a:lnTo>
                  <a:pt x="1042797" y="18161"/>
                </a:lnTo>
                <a:lnTo>
                  <a:pt x="1008634" y="12446"/>
                </a:lnTo>
                <a:lnTo>
                  <a:pt x="966978" y="7365"/>
                </a:lnTo>
                <a:close/>
              </a:path>
              <a:path w="1685289" h="352425">
                <a:moveTo>
                  <a:pt x="837057" y="0"/>
                </a:moveTo>
                <a:lnTo>
                  <a:pt x="832612" y="0"/>
                </a:lnTo>
                <a:lnTo>
                  <a:pt x="832993" y="19050"/>
                </a:lnTo>
                <a:lnTo>
                  <a:pt x="836549" y="19050"/>
                </a:lnTo>
                <a:lnTo>
                  <a:pt x="892937" y="20447"/>
                </a:lnTo>
                <a:lnTo>
                  <a:pt x="908177" y="21462"/>
                </a:lnTo>
                <a:lnTo>
                  <a:pt x="909574" y="2539"/>
                </a:lnTo>
                <a:lnTo>
                  <a:pt x="894334" y="1397"/>
                </a:lnTo>
                <a:lnTo>
                  <a:pt x="837057" y="0"/>
                </a:lnTo>
                <a:close/>
              </a:path>
              <a:path w="1685289" h="352425">
                <a:moveTo>
                  <a:pt x="774954" y="1397"/>
                </a:moveTo>
                <a:lnTo>
                  <a:pt x="722884" y="4952"/>
                </a:lnTo>
                <a:lnTo>
                  <a:pt x="698627" y="7747"/>
                </a:lnTo>
                <a:lnTo>
                  <a:pt x="700786" y="26670"/>
                </a:lnTo>
                <a:lnTo>
                  <a:pt x="724281" y="24002"/>
                </a:lnTo>
                <a:lnTo>
                  <a:pt x="776224" y="20447"/>
                </a:lnTo>
                <a:lnTo>
                  <a:pt x="774954" y="1397"/>
                </a:lnTo>
                <a:close/>
              </a:path>
              <a:path w="1685289" h="352425">
                <a:moveTo>
                  <a:pt x="641604" y="15494"/>
                </a:moveTo>
                <a:lnTo>
                  <a:pt x="609854" y="20574"/>
                </a:lnTo>
                <a:lnTo>
                  <a:pt x="566293" y="29845"/>
                </a:lnTo>
                <a:lnTo>
                  <a:pt x="570230" y="48513"/>
                </a:lnTo>
                <a:lnTo>
                  <a:pt x="612902" y="39370"/>
                </a:lnTo>
                <a:lnTo>
                  <a:pt x="644652" y="34289"/>
                </a:lnTo>
                <a:lnTo>
                  <a:pt x="641604" y="15494"/>
                </a:lnTo>
                <a:close/>
              </a:path>
              <a:path w="1685289" h="352425">
                <a:moveTo>
                  <a:pt x="510413" y="43814"/>
                </a:moveTo>
                <a:lnTo>
                  <a:pt x="498602" y="46989"/>
                </a:lnTo>
                <a:lnTo>
                  <a:pt x="443992" y="64135"/>
                </a:lnTo>
                <a:lnTo>
                  <a:pt x="436753" y="66801"/>
                </a:lnTo>
                <a:lnTo>
                  <a:pt x="443357" y="84709"/>
                </a:lnTo>
                <a:lnTo>
                  <a:pt x="449707" y="82296"/>
                </a:lnTo>
                <a:lnTo>
                  <a:pt x="503555" y="65405"/>
                </a:lnTo>
                <a:lnTo>
                  <a:pt x="515239" y="62357"/>
                </a:lnTo>
                <a:lnTo>
                  <a:pt x="510413" y="43814"/>
                </a:lnTo>
                <a:close/>
              </a:path>
              <a:path w="1685289" h="352425">
                <a:moveTo>
                  <a:pt x="382905" y="86995"/>
                </a:moveTo>
                <a:lnTo>
                  <a:pt x="337185" y="106425"/>
                </a:lnTo>
                <a:lnTo>
                  <a:pt x="312928" y="118237"/>
                </a:lnTo>
                <a:lnTo>
                  <a:pt x="321183" y="135382"/>
                </a:lnTo>
                <a:lnTo>
                  <a:pt x="344678" y="123951"/>
                </a:lnTo>
                <a:lnTo>
                  <a:pt x="390398" y="104521"/>
                </a:lnTo>
                <a:lnTo>
                  <a:pt x="382905" y="86995"/>
                </a:lnTo>
                <a:close/>
              </a:path>
              <a:path w="1685289" h="352425">
                <a:moveTo>
                  <a:pt x="261620" y="144525"/>
                </a:moveTo>
                <a:lnTo>
                  <a:pt x="234442" y="159385"/>
                </a:lnTo>
                <a:lnTo>
                  <a:pt x="195580" y="183387"/>
                </a:lnTo>
                <a:lnTo>
                  <a:pt x="205486" y="199517"/>
                </a:lnTo>
                <a:lnTo>
                  <a:pt x="243586" y="176149"/>
                </a:lnTo>
                <a:lnTo>
                  <a:pt x="270764" y="161289"/>
                </a:lnTo>
                <a:lnTo>
                  <a:pt x="261620" y="144525"/>
                </a:lnTo>
                <a:close/>
              </a:path>
              <a:path w="1685289" h="352425">
                <a:moveTo>
                  <a:pt x="147574" y="215392"/>
                </a:moveTo>
                <a:lnTo>
                  <a:pt x="136398" y="223138"/>
                </a:lnTo>
                <a:lnTo>
                  <a:pt x="89408" y="258952"/>
                </a:lnTo>
                <a:lnTo>
                  <a:pt x="85979" y="261747"/>
                </a:lnTo>
                <a:lnTo>
                  <a:pt x="98298" y="276225"/>
                </a:lnTo>
                <a:lnTo>
                  <a:pt x="100837" y="274065"/>
                </a:lnTo>
                <a:lnTo>
                  <a:pt x="147193" y="238760"/>
                </a:lnTo>
                <a:lnTo>
                  <a:pt x="158369" y="231139"/>
                </a:lnTo>
                <a:lnTo>
                  <a:pt x="147574" y="215392"/>
                </a:lnTo>
                <a:close/>
              </a:path>
              <a:path w="1685289" h="352425">
                <a:moveTo>
                  <a:pt x="42037" y="299085"/>
                </a:moveTo>
                <a:lnTo>
                  <a:pt x="0" y="338582"/>
                </a:lnTo>
                <a:lnTo>
                  <a:pt x="13081" y="352425"/>
                </a:lnTo>
                <a:lnTo>
                  <a:pt x="55118" y="313055"/>
                </a:lnTo>
                <a:lnTo>
                  <a:pt x="42037" y="299085"/>
                </a:lnTo>
                <a:close/>
              </a:path>
            </a:pathLst>
          </a:custGeom>
          <a:solidFill>
            <a:srgbClr val="A6A6A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31" name="object 21">
            <a:extLst>
              <a:ext uri="{FF2B5EF4-FFF2-40B4-BE49-F238E27FC236}">
                <a16:creationId xmlns:a16="http://schemas.microsoft.com/office/drawing/2014/main" id="{FF9F0F54-42CD-4638-B681-961A9E64EAA2}"/>
              </a:ext>
            </a:extLst>
          </p:cNvPr>
          <p:cNvSpPr txBox="1"/>
          <p:nvPr/>
        </p:nvSpPr>
        <p:spPr>
          <a:xfrm>
            <a:off x="6471138" y="3869656"/>
            <a:ext cx="1573275" cy="415498"/>
          </a:xfrm>
          <a:prstGeom prst="rect">
            <a:avLst/>
          </a:prstGeom>
        </p:spPr>
        <p:txBody>
          <a:bodyPr vert="horz" wrap="square" lIns="0" tIns="0" rIns="0" bIns="0" rtlCol="0">
            <a:spAutoFit/>
          </a:bodyPr>
          <a:lstStyle/>
          <a:p>
            <a:pPr marL="12700" marR="5080" lvl="0" indent="635"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10" normalizeH="0" baseline="0" noProof="0" dirty="0">
                <a:ln>
                  <a:noFill/>
                </a:ln>
                <a:solidFill>
                  <a:srgbClr val="000000"/>
                </a:solidFill>
                <a:effectLst/>
                <a:uLnTx/>
                <a:uFillTx/>
                <a:ea typeface="+mn-ea"/>
                <a:cs typeface="Verdana"/>
              </a:rPr>
              <a:t>Service Bureau</a:t>
            </a:r>
            <a:r>
              <a:rPr kumimoji="0" lang="en-US" sz="900" b="1" i="0" u="none" strike="noStrike" kern="1200" cap="none" spc="-10" normalizeH="0" baseline="0" noProof="0" dirty="0">
                <a:ln>
                  <a:noFill/>
                </a:ln>
                <a:solidFill>
                  <a:srgbClr val="000000"/>
                </a:solidFill>
                <a:effectLst/>
                <a:uLnTx/>
                <a:uFillTx/>
                <a:ea typeface="+mn-ea"/>
                <a:cs typeface="Verdana"/>
              </a:rPr>
              <a:t> directly prints </a:t>
            </a:r>
            <a:r>
              <a:rPr kumimoji="0" lang="en-US" sz="900" b="0" i="0" u="none" strike="noStrike" kern="1200" cap="none" spc="-10" normalizeH="0" baseline="0" noProof="0" dirty="0">
                <a:ln>
                  <a:noFill/>
                </a:ln>
                <a:solidFill>
                  <a:srgbClr val="000000"/>
                </a:solidFill>
                <a:effectLst/>
                <a:uLnTx/>
                <a:uFillTx/>
                <a:ea typeface="+mn-ea"/>
                <a:cs typeface="Verdana"/>
              </a:rPr>
              <a:t>the </a:t>
            </a:r>
            <a:r>
              <a:rPr kumimoji="0" lang="en-US" sz="900" b="1" i="0" u="none" strike="noStrike" kern="1200" cap="none" spc="-10" normalizeH="0" baseline="0" noProof="0" dirty="0">
                <a:ln>
                  <a:noFill/>
                </a:ln>
                <a:solidFill>
                  <a:srgbClr val="000000"/>
                </a:solidFill>
                <a:effectLst/>
                <a:uLnTx/>
                <a:uFillTx/>
                <a:ea typeface="+mn-ea"/>
                <a:cs typeface="Verdana"/>
              </a:rPr>
              <a:t>qualified part</a:t>
            </a:r>
            <a:r>
              <a:rPr kumimoji="0" lang="en-US" sz="900" b="0" i="0" u="none" strike="noStrike" kern="1200" cap="none" spc="-10" normalizeH="0" baseline="0" noProof="0" dirty="0">
                <a:ln>
                  <a:noFill/>
                </a:ln>
                <a:solidFill>
                  <a:srgbClr val="000000"/>
                </a:solidFill>
                <a:effectLst/>
                <a:uLnTx/>
                <a:uFillTx/>
                <a:ea typeface="+mn-ea"/>
                <a:cs typeface="Verdana"/>
              </a:rPr>
              <a:t> on an </a:t>
            </a:r>
            <a:r>
              <a:rPr kumimoji="0" lang="en-US" sz="900" b="1" i="0" u="none" strike="noStrike" kern="1200" cap="none" spc="-10" normalizeH="0" baseline="0" noProof="0" dirty="0">
                <a:ln>
                  <a:noFill/>
                </a:ln>
                <a:solidFill>
                  <a:srgbClr val="000000"/>
                </a:solidFill>
                <a:effectLst/>
                <a:uLnTx/>
                <a:uFillTx/>
                <a:ea typeface="+mn-ea"/>
                <a:cs typeface="Verdana"/>
              </a:rPr>
              <a:t>owned </a:t>
            </a:r>
            <a:r>
              <a:rPr kumimoji="0" lang="en-US" sz="900" b="0" i="0" u="none" strike="noStrike" kern="1200" cap="none" spc="-10" normalizeH="0" baseline="0" noProof="0" dirty="0">
                <a:ln>
                  <a:noFill/>
                </a:ln>
                <a:solidFill>
                  <a:srgbClr val="000000"/>
                </a:solidFill>
                <a:effectLst/>
                <a:uLnTx/>
                <a:uFillTx/>
                <a:ea typeface="+mn-ea"/>
                <a:cs typeface="Verdana"/>
              </a:rPr>
              <a:t>certified 3D printer</a:t>
            </a:r>
            <a:endParaRPr kumimoji="0" sz="900" b="0" i="0" u="none" strike="noStrike" kern="1200" cap="none" spc="0" normalizeH="0" baseline="0" noProof="0" dirty="0">
              <a:ln>
                <a:noFill/>
              </a:ln>
              <a:solidFill>
                <a:srgbClr val="000000"/>
              </a:solidFill>
              <a:effectLst/>
              <a:uLnTx/>
              <a:uFillTx/>
              <a:ea typeface="+mn-ea"/>
              <a:cs typeface="Verdana"/>
            </a:endParaRPr>
          </a:p>
        </p:txBody>
      </p:sp>
      <p:sp>
        <p:nvSpPr>
          <p:cNvPr id="32" name="object 56">
            <a:extLst>
              <a:ext uri="{FF2B5EF4-FFF2-40B4-BE49-F238E27FC236}">
                <a16:creationId xmlns:a16="http://schemas.microsoft.com/office/drawing/2014/main" id="{7869634F-AA48-4A0E-A024-17AEA3D1C8D4}"/>
              </a:ext>
            </a:extLst>
          </p:cNvPr>
          <p:cNvSpPr txBox="1"/>
          <p:nvPr/>
        </p:nvSpPr>
        <p:spPr>
          <a:xfrm>
            <a:off x="9775516" y="4211511"/>
            <a:ext cx="1961390" cy="289182"/>
          </a:xfrm>
          <a:prstGeom prst="rect">
            <a:avLst/>
          </a:prstGeom>
        </p:spPr>
        <p:txBody>
          <a:bodyPr vert="horz" wrap="square" lIns="0" tIns="12065" rIns="0" bIns="0" rtlCol="0">
            <a:spAutoFit/>
          </a:bodyPr>
          <a:lstStyle/>
          <a:p>
            <a:pPr marL="0" marR="0" lvl="0" indent="0" algn="ctr" defTabSz="914400" rtl="0" eaLnBrk="1" fontAlgn="auto" latinLnBrk="0" hangingPunct="1">
              <a:lnSpc>
                <a:spcPct val="100000"/>
              </a:lnSpc>
              <a:spcBef>
                <a:spcPts val="95"/>
              </a:spcBef>
              <a:spcAft>
                <a:spcPts val="0"/>
              </a:spcAft>
              <a:buClrTx/>
              <a:buSzTx/>
              <a:buFontTx/>
              <a:buNone/>
              <a:tabLst/>
              <a:defRPr/>
            </a:pPr>
            <a:r>
              <a:rPr kumimoji="0" lang="en-US" sz="900" b="0" i="0" u="none" strike="noStrike" kern="1200" cap="none" spc="-10" normalizeH="0" baseline="0" noProof="0" dirty="0">
                <a:ln>
                  <a:noFill/>
                </a:ln>
                <a:solidFill>
                  <a:srgbClr val="000000"/>
                </a:solidFill>
                <a:effectLst/>
                <a:uLnTx/>
                <a:uFillTx/>
                <a:ea typeface="+mn-ea"/>
                <a:cs typeface="Verdana"/>
              </a:rPr>
              <a:t>P</a:t>
            </a:r>
            <a:r>
              <a:rPr kumimoji="0" sz="900" b="0" i="0" u="none" strike="noStrike" kern="1200" cap="none" spc="-10" normalizeH="0" baseline="0" noProof="0" dirty="0">
                <a:ln>
                  <a:noFill/>
                </a:ln>
                <a:solidFill>
                  <a:srgbClr val="000000"/>
                </a:solidFill>
                <a:effectLst/>
                <a:uLnTx/>
                <a:uFillTx/>
                <a:ea typeface="+mn-ea"/>
                <a:cs typeface="Verdana"/>
              </a:rPr>
              <a:t>rinted</a:t>
            </a:r>
            <a:r>
              <a:rPr kumimoji="0" sz="900" b="0" i="0" u="none" strike="noStrike" kern="1200" cap="none" spc="25" normalizeH="0" baseline="0" noProof="0" dirty="0">
                <a:ln>
                  <a:noFill/>
                </a:ln>
                <a:solidFill>
                  <a:srgbClr val="000000"/>
                </a:solidFill>
                <a:effectLst/>
                <a:uLnTx/>
                <a:uFillTx/>
                <a:ea typeface="+mn-ea"/>
                <a:cs typeface="Verdana"/>
              </a:rPr>
              <a:t> </a:t>
            </a:r>
            <a:r>
              <a:rPr kumimoji="0" lang="en-US" sz="900" b="0" i="0" u="none" strike="noStrike" kern="1200" cap="none" spc="-5" normalizeH="0" baseline="0" noProof="0" dirty="0">
                <a:ln>
                  <a:noFill/>
                </a:ln>
                <a:solidFill>
                  <a:srgbClr val="000000"/>
                </a:solidFill>
                <a:effectLst/>
                <a:uLnTx/>
                <a:uFillTx/>
                <a:ea typeface="+mn-ea"/>
                <a:cs typeface="Verdana"/>
              </a:rPr>
              <a:t>part/s get</a:t>
            </a:r>
            <a:endParaRPr kumimoji="0" sz="900" b="0" i="0" u="none" strike="noStrike" kern="1200" cap="none" spc="0" normalizeH="0" baseline="0" noProof="0" dirty="0">
              <a:ln>
                <a:noFill/>
              </a:ln>
              <a:solidFill>
                <a:srgbClr val="000000"/>
              </a:solidFill>
              <a:effectLst/>
              <a:uLnTx/>
              <a:uFillTx/>
              <a:ea typeface="+mn-ea"/>
              <a:cs typeface="Verdana"/>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sz="900" b="0" i="0" u="none" strike="noStrike" kern="1200" cap="none" spc="-10" normalizeH="0" baseline="0" noProof="0" dirty="0">
                <a:ln>
                  <a:noFill/>
                </a:ln>
                <a:solidFill>
                  <a:srgbClr val="000000"/>
                </a:solidFill>
                <a:effectLst/>
                <a:uLnTx/>
                <a:uFillTx/>
                <a:ea typeface="+mn-ea"/>
                <a:cs typeface="Verdana"/>
              </a:rPr>
              <a:t>delivered </a:t>
            </a:r>
            <a:r>
              <a:rPr kumimoji="0" lang="en-US" sz="900" b="0" i="0" u="none" strike="noStrike" kern="1200" cap="none" spc="-5" normalizeH="0" baseline="0" noProof="0" dirty="0">
                <a:ln>
                  <a:noFill/>
                </a:ln>
                <a:solidFill>
                  <a:srgbClr val="000000"/>
                </a:solidFill>
                <a:effectLst/>
                <a:uLnTx/>
                <a:uFillTx/>
                <a:ea typeface="+mn-ea"/>
                <a:cs typeface="Verdana"/>
              </a:rPr>
              <a:t>to</a:t>
            </a:r>
            <a:r>
              <a:rPr kumimoji="0" sz="900" b="0" i="0" u="none" strike="noStrike" kern="1200" cap="none" spc="25" normalizeH="0" baseline="0" noProof="0" dirty="0">
                <a:ln>
                  <a:noFill/>
                </a:ln>
                <a:solidFill>
                  <a:srgbClr val="000000"/>
                </a:solidFill>
                <a:effectLst/>
                <a:uLnTx/>
                <a:uFillTx/>
                <a:ea typeface="+mn-ea"/>
                <a:cs typeface="Verdana"/>
              </a:rPr>
              <a:t> </a:t>
            </a:r>
            <a:r>
              <a:rPr kumimoji="0" sz="900" b="0" i="0" u="none" strike="noStrike" kern="1200" cap="none" spc="-5" normalizeH="0" baseline="0" noProof="0" dirty="0">
                <a:ln>
                  <a:noFill/>
                </a:ln>
                <a:solidFill>
                  <a:srgbClr val="000000"/>
                </a:solidFill>
                <a:effectLst/>
                <a:uLnTx/>
                <a:uFillTx/>
                <a:ea typeface="+mn-ea"/>
                <a:cs typeface="Verdana"/>
              </a:rPr>
              <a:t>client</a:t>
            </a:r>
            <a:endParaRPr kumimoji="0" lang="en-US" sz="900" b="0" i="0" u="none" strike="noStrike" kern="1200" cap="none" spc="-5" normalizeH="0" baseline="0" noProof="0" dirty="0">
              <a:ln>
                <a:noFill/>
              </a:ln>
              <a:solidFill>
                <a:srgbClr val="000000"/>
              </a:solidFill>
              <a:effectLst/>
              <a:uLnTx/>
              <a:uFillTx/>
              <a:ea typeface="+mn-ea"/>
              <a:cs typeface="Verdana"/>
            </a:endParaRPr>
          </a:p>
        </p:txBody>
      </p:sp>
      <p:sp>
        <p:nvSpPr>
          <p:cNvPr id="33" name="object 75">
            <a:extLst>
              <a:ext uri="{FF2B5EF4-FFF2-40B4-BE49-F238E27FC236}">
                <a16:creationId xmlns:a16="http://schemas.microsoft.com/office/drawing/2014/main" id="{4F13E5F8-7D98-4749-8CC2-CC4498E6863D}"/>
              </a:ext>
            </a:extLst>
          </p:cNvPr>
          <p:cNvSpPr/>
          <p:nvPr/>
        </p:nvSpPr>
        <p:spPr>
          <a:xfrm>
            <a:off x="10359564" y="3422240"/>
            <a:ext cx="675646" cy="383055"/>
          </a:xfrm>
          <a:prstGeom prst="rect">
            <a:avLst/>
          </a:prstGeom>
          <a:blipFill>
            <a:blip r:embed="rId11"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34" name="object 65">
            <a:extLst>
              <a:ext uri="{FF2B5EF4-FFF2-40B4-BE49-F238E27FC236}">
                <a16:creationId xmlns:a16="http://schemas.microsoft.com/office/drawing/2014/main" id="{425523F0-DC9B-4FBD-B8FC-24BA8DCAF509}"/>
              </a:ext>
            </a:extLst>
          </p:cNvPr>
          <p:cNvSpPr/>
          <p:nvPr/>
        </p:nvSpPr>
        <p:spPr>
          <a:xfrm rot="823126" flipV="1">
            <a:off x="3451318" y="3501123"/>
            <a:ext cx="986515" cy="320436"/>
          </a:xfrm>
          <a:custGeom>
            <a:avLst/>
            <a:gdLst/>
            <a:ahLst/>
            <a:cxnLst/>
            <a:rect l="l" t="t" r="r" b="b"/>
            <a:pathLst>
              <a:path w="1685289" h="352425">
                <a:moveTo>
                  <a:pt x="1621144" y="306764"/>
                </a:moveTo>
                <a:lnTo>
                  <a:pt x="1602486" y="327913"/>
                </a:lnTo>
                <a:lnTo>
                  <a:pt x="1684782" y="349758"/>
                </a:lnTo>
                <a:lnTo>
                  <a:pt x="1670790" y="315087"/>
                </a:lnTo>
                <a:lnTo>
                  <a:pt x="1631188" y="315087"/>
                </a:lnTo>
                <a:lnTo>
                  <a:pt x="1621144" y="306764"/>
                </a:lnTo>
                <a:close/>
              </a:path>
              <a:path w="1685289" h="352425">
                <a:moveTo>
                  <a:pt x="1633736" y="292491"/>
                </a:moveTo>
                <a:lnTo>
                  <a:pt x="1621144" y="306764"/>
                </a:lnTo>
                <a:lnTo>
                  <a:pt x="1631188" y="315087"/>
                </a:lnTo>
                <a:lnTo>
                  <a:pt x="1643380" y="300482"/>
                </a:lnTo>
                <a:lnTo>
                  <a:pt x="1633736" y="292491"/>
                </a:lnTo>
                <a:close/>
              </a:path>
              <a:path w="1685289" h="352425">
                <a:moveTo>
                  <a:pt x="1652905" y="270763"/>
                </a:moveTo>
                <a:lnTo>
                  <a:pt x="1633736" y="292491"/>
                </a:lnTo>
                <a:lnTo>
                  <a:pt x="1643380" y="300482"/>
                </a:lnTo>
                <a:lnTo>
                  <a:pt x="1631188" y="315087"/>
                </a:lnTo>
                <a:lnTo>
                  <a:pt x="1670790" y="315087"/>
                </a:lnTo>
                <a:lnTo>
                  <a:pt x="1652905" y="270763"/>
                </a:lnTo>
                <a:close/>
              </a:path>
              <a:path w="1685289" h="352425">
                <a:moveTo>
                  <a:pt x="1583689" y="252222"/>
                </a:moveTo>
                <a:lnTo>
                  <a:pt x="1572387" y="267588"/>
                </a:lnTo>
                <a:lnTo>
                  <a:pt x="1585976" y="277622"/>
                </a:lnTo>
                <a:lnTo>
                  <a:pt x="1621144" y="306764"/>
                </a:lnTo>
                <a:lnTo>
                  <a:pt x="1633736" y="292491"/>
                </a:lnTo>
                <a:lnTo>
                  <a:pt x="1598168" y="263017"/>
                </a:lnTo>
                <a:lnTo>
                  <a:pt x="1583689" y="252222"/>
                </a:lnTo>
                <a:close/>
              </a:path>
              <a:path w="1685289" h="352425">
                <a:moveTo>
                  <a:pt x="1472311" y="177292"/>
                </a:moveTo>
                <a:lnTo>
                  <a:pt x="1462532" y="193675"/>
                </a:lnTo>
                <a:lnTo>
                  <a:pt x="1488567" y="209296"/>
                </a:lnTo>
                <a:lnTo>
                  <a:pt x="1526286" y="234442"/>
                </a:lnTo>
                <a:lnTo>
                  <a:pt x="1536954" y="218694"/>
                </a:lnTo>
                <a:lnTo>
                  <a:pt x="1499108" y="193421"/>
                </a:lnTo>
                <a:lnTo>
                  <a:pt x="1472311" y="177292"/>
                </a:lnTo>
                <a:close/>
              </a:path>
              <a:path w="1685289" h="352425">
                <a:moveTo>
                  <a:pt x="1353693" y="114553"/>
                </a:moveTo>
                <a:lnTo>
                  <a:pt x="1345564" y="131825"/>
                </a:lnTo>
                <a:lnTo>
                  <a:pt x="1386586" y="151384"/>
                </a:lnTo>
                <a:lnTo>
                  <a:pt x="1413256" y="165608"/>
                </a:lnTo>
                <a:lnTo>
                  <a:pt x="1422273" y="148844"/>
                </a:lnTo>
                <a:lnTo>
                  <a:pt x="1395602" y="134493"/>
                </a:lnTo>
                <a:lnTo>
                  <a:pt x="1353693" y="114553"/>
                </a:lnTo>
                <a:close/>
              </a:path>
              <a:path w="1685289" h="352425">
                <a:moveTo>
                  <a:pt x="1228725" y="64770"/>
                </a:moveTo>
                <a:lnTo>
                  <a:pt x="1223010" y="82931"/>
                </a:lnTo>
                <a:lnTo>
                  <a:pt x="1226820" y="84200"/>
                </a:lnTo>
                <a:lnTo>
                  <a:pt x="1280922" y="103886"/>
                </a:lnTo>
                <a:lnTo>
                  <a:pt x="1293495" y="109220"/>
                </a:lnTo>
                <a:lnTo>
                  <a:pt x="1300861" y="91694"/>
                </a:lnTo>
                <a:lnTo>
                  <a:pt x="1288288" y="86360"/>
                </a:lnTo>
                <a:lnTo>
                  <a:pt x="1233424" y="66294"/>
                </a:lnTo>
                <a:lnTo>
                  <a:pt x="1228725" y="64770"/>
                </a:lnTo>
                <a:close/>
              </a:path>
              <a:path w="1685289" h="352425">
                <a:moveTo>
                  <a:pt x="1099312" y="29210"/>
                </a:moveTo>
                <a:lnTo>
                  <a:pt x="1095375" y="47751"/>
                </a:lnTo>
                <a:lnTo>
                  <a:pt x="1116965" y="52450"/>
                </a:lnTo>
                <a:lnTo>
                  <a:pt x="1168781" y="66039"/>
                </a:lnTo>
                <a:lnTo>
                  <a:pt x="1173734" y="47625"/>
                </a:lnTo>
                <a:lnTo>
                  <a:pt x="1121918" y="34036"/>
                </a:lnTo>
                <a:lnTo>
                  <a:pt x="1099312" y="29210"/>
                </a:lnTo>
                <a:close/>
              </a:path>
              <a:path w="1685289" h="352425">
                <a:moveTo>
                  <a:pt x="966978" y="7365"/>
                </a:moveTo>
                <a:lnTo>
                  <a:pt x="964692" y="26288"/>
                </a:lnTo>
                <a:lnTo>
                  <a:pt x="1005459" y="31114"/>
                </a:lnTo>
                <a:lnTo>
                  <a:pt x="1039749" y="36957"/>
                </a:lnTo>
                <a:lnTo>
                  <a:pt x="1042797" y="18161"/>
                </a:lnTo>
                <a:lnTo>
                  <a:pt x="1008634" y="12446"/>
                </a:lnTo>
                <a:lnTo>
                  <a:pt x="966978" y="7365"/>
                </a:lnTo>
                <a:close/>
              </a:path>
              <a:path w="1685289" h="352425">
                <a:moveTo>
                  <a:pt x="837057" y="0"/>
                </a:moveTo>
                <a:lnTo>
                  <a:pt x="832612" y="0"/>
                </a:lnTo>
                <a:lnTo>
                  <a:pt x="832993" y="19050"/>
                </a:lnTo>
                <a:lnTo>
                  <a:pt x="836549" y="19050"/>
                </a:lnTo>
                <a:lnTo>
                  <a:pt x="892937" y="20447"/>
                </a:lnTo>
                <a:lnTo>
                  <a:pt x="908177" y="21462"/>
                </a:lnTo>
                <a:lnTo>
                  <a:pt x="909574" y="2539"/>
                </a:lnTo>
                <a:lnTo>
                  <a:pt x="894334" y="1397"/>
                </a:lnTo>
                <a:lnTo>
                  <a:pt x="837057" y="0"/>
                </a:lnTo>
                <a:close/>
              </a:path>
              <a:path w="1685289" h="352425">
                <a:moveTo>
                  <a:pt x="774954" y="1397"/>
                </a:moveTo>
                <a:lnTo>
                  <a:pt x="722884" y="4952"/>
                </a:lnTo>
                <a:lnTo>
                  <a:pt x="698627" y="7747"/>
                </a:lnTo>
                <a:lnTo>
                  <a:pt x="700786" y="26670"/>
                </a:lnTo>
                <a:lnTo>
                  <a:pt x="724281" y="24002"/>
                </a:lnTo>
                <a:lnTo>
                  <a:pt x="776224" y="20447"/>
                </a:lnTo>
                <a:lnTo>
                  <a:pt x="774954" y="1397"/>
                </a:lnTo>
                <a:close/>
              </a:path>
              <a:path w="1685289" h="352425">
                <a:moveTo>
                  <a:pt x="641604" y="15494"/>
                </a:moveTo>
                <a:lnTo>
                  <a:pt x="609854" y="20574"/>
                </a:lnTo>
                <a:lnTo>
                  <a:pt x="566293" y="29845"/>
                </a:lnTo>
                <a:lnTo>
                  <a:pt x="570230" y="48513"/>
                </a:lnTo>
                <a:lnTo>
                  <a:pt x="612902" y="39370"/>
                </a:lnTo>
                <a:lnTo>
                  <a:pt x="644652" y="34289"/>
                </a:lnTo>
                <a:lnTo>
                  <a:pt x="641604" y="15494"/>
                </a:lnTo>
                <a:close/>
              </a:path>
              <a:path w="1685289" h="352425">
                <a:moveTo>
                  <a:pt x="510413" y="43814"/>
                </a:moveTo>
                <a:lnTo>
                  <a:pt x="498602" y="46989"/>
                </a:lnTo>
                <a:lnTo>
                  <a:pt x="443992" y="64135"/>
                </a:lnTo>
                <a:lnTo>
                  <a:pt x="436753" y="66801"/>
                </a:lnTo>
                <a:lnTo>
                  <a:pt x="443357" y="84709"/>
                </a:lnTo>
                <a:lnTo>
                  <a:pt x="449707" y="82296"/>
                </a:lnTo>
                <a:lnTo>
                  <a:pt x="503555" y="65405"/>
                </a:lnTo>
                <a:lnTo>
                  <a:pt x="515239" y="62357"/>
                </a:lnTo>
                <a:lnTo>
                  <a:pt x="510413" y="43814"/>
                </a:lnTo>
                <a:close/>
              </a:path>
              <a:path w="1685289" h="352425">
                <a:moveTo>
                  <a:pt x="382905" y="86995"/>
                </a:moveTo>
                <a:lnTo>
                  <a:pt x="337185" y="106425"/>
                </a:lnTo>
                <a:lnTo>
                  <a:pt x="312928" y="118237"/>
                </a:lnTo>
                <a:lnTo>
                  <a:pt x="321183" y="135382"/>
                </a:lnTo>
                <a:lnTo>
                  <a:pt x="344678" y="123951"/>
                </a:lnTo>
                <a:lnTo>
                  <a:pt x="390398" y="104521"/>
                </a:lnTo>
                <a:lnTo>
                  <a:pt x="382905" y="86995"/>
                </a:lnTo>
                <a:close/>
              </a:path>
              <a:path w="1685289" h="352425">
                <a:moveTo>
                  <a:pt x="261620" y="144525"/>
                </a:moveTo>
                <a:lnTo>
                  <a:pt x="234442" y="159385"/>
                </a:lnTo>
                <a:lnTo>
                  <a:pt x="195580" y="183387"/>
                </a:lnTo>
                <a:lnTo>
                  <a:pt x="205486" y="199517"/>
                </a:lnTo>
                <a:lnTo>
                  <a:pt x="243586" y="176149"/>
                </a:lnTo>
                <a:lnTo>
                  <a:pt x="270764" y="161289"/>
                </a:lnTo>
                <a:lnTo>
                  <a:pt x="261620" y="144525"/>
                </a:lnTo>
                <a:close/>
              </a:path>
              <a:path w="1685289" h="352425">
                <a:moveTo>
                  <a:pt x="147574" y="215392"/>
                </a:moveTo>
                <a:lnTo>
                  <a:pt x="136398" y="223138"/>
                </a:lnTo>
                <a:lnTo>
                  <a:pt x="89408" y="258952"/>
                </a:lnTo>
                <a:lnTo>
                  <a:pt x="85979" y="261747"/>
                </a:lnTo>
                <a:lnTo>
                  <a:pt x="98298" y="276225"/>
                </a:lnTo>
                <a:lnTo>
                  <a:pt x="100837" y="274065"/>
                </a:lnTo>
                <a:lnTo>
                  <a:pt x="147193" y="238760"/>
                </a:lnTo>
                <a:lnTo>
                  <a:pt x="158369" y="231139"/>
                </a:lnTo>
                <a:lnTo>
                  <a:pt x="147574" y="215392"/>
                </a:lnTo>
                <a:close/>
              </a:path>
              <a:path w="1685289" h="352425">
                <a:moveTo>
                  <a:pt x="42037" y="299085"/>
                </a:moveTo>
                <a:lnTo>
                  <a:pt x="0" y="338582"/>
                </a:lnTo>
                <a:lnTo>
                  <a:pt x="13081" y="352425"/>
                </a:lnTo>
                <a:lnTo>
                  <a:pt x="55118" y="313055"/>
                </a:lnTo>
                <a:lnTo>
                  <a:pt x="42037" y="299085"/>
                </a:lnTo>
                <a:close/>
              </a:path>
            </a:pathLst>
          </a:custGeom>
          <a:solidFill>
            <a:srgbClr val="A6A6A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grpSp>
        <p:nvGrpSpPr>
          <p:cNvPr id="35" name="Group 34">
            <a:extLst>
              <a:ext uri="{FF2B5EF4-FFF2-40B4-BE49-F238E27FC236}">
                <a16:creationId xmlns:a16="http://schemas.microsoft.com/office/drawing/2014/main" id="{80550DBB-C0FA-4671-BBF5-26570694B5B5}"/>
              </a:ext>
            </a:extLst>
          </p:cNvPr>
          <p:cNvGrpSpPr/>
          <p:nvPr/>
        </p:nvGrpSpPr>
        <p:grpSpPr>
          <a:xfrm>
            <a:off x="4370555" y="2488639"/>
            <a:ext cx="1512881" cy="1744991"/>
            <a:chOff x="2320780" y="1682998"/>
            <a:chExt cx="1512881" cy="1744991"/>
          </a:xfrm>
        </p:grpSpPr>
        <p:grpSp>
          <p:nvGrpSpPr>
            <p:cNvPr id="85" name="Group 84">
              <a:extLst>
                <a:ext uri="{FF2B5EF4-FFF2-40B4-BE49-F238E27FC236}">
                  <a16:creationId xmlns:a16="http://schemas.microsoft.com/office/drawing/2014/main" id="{4D92AB8A-A953-4167-8982-ED86DB73E650}"/>
                </a:ext>
              </a:extLst>
            </p:cNvPr>
            <p:cNvGrpSpPr/>
            <p:nvPr/>
          </p:nvGrpSpPr>
          <p:grpSpPr>
            <a:xfrm>
              <a:off x="2320780" y="1682998"/>
              <a:ext cx="1171444" cy="1224343"/>
              <a:chOff x="3467100" y="1822704"/>
              <a:chExt cx="1417447" cy="1481455"/>
            </a:xfrm>
          </p:grpSpPr>
          <p:sp>
            <p:nvSpPr>
              <p:cNvPr id="96" name="object 17">
                <a:extLst>
                  <a:ext uri="{FF2B5EF4-FFF2-40B4-BE49-F238E27FC236}">
                    <a16:creationId xmlns:a16="http://schemas.microsoft.com/office/drawing/2014/main" id="{4C9A603E-317C-448B-8B4C-C420004EF903}"/>
                  </a:ext>
                </a:extLst>
              </p:cNvPr>
              <p:cNvSpPr/>
              <p:nvPr/>
            </p:nvSpPr>
            <p:spPr>
              <a:xfrm>
                <a:off x="3550284" y="1898904"/>
                <a:ext cx="1259840" cy="1405255"/>
              </a:xfrm>
              <a:custGeom>
                <a:avLst/>
                <a:gdLst/>
                <a:ahLst/>
                <a:cxnLst/>
                <a:rect l="l" t="t" r="r" b="b"/>
                <a:pathLst>
                  <a:path w="1259839" h="1405254">
                    <a:moveTo>
                      <a:pt x="556132" y="0"/>
                    </a:moveTo>
                    <a:lnTo>
                      <a:pt x="604293" y="1620"/>
                    </a:lnTo>
                    <a:lnTo>
                      <a:pt x="651582" y="6414"/>
                    </a:lnTo>
                    <a:lnTo>
                      <a:pt x="697894" y="14274"/>
                    </a:lnTo>
                    <a:lnTo>
                      <a:pt x="743124" y="25098"/>
                    </a:lnTo>
                    <a:lnTo>
                      <a:pt x="787169" y="38780"/>
                    </a:lnTo>
                    <a:lnTo>
                      <a:pt x="829923" y="55215"/>
                    </a:lnTo>
                    <a:lnTo>
                      <a:pt x="871281" y="74299"/>
                    </a:lnTo>
                    <a:lnTo>
                      <a:pt x="911140" y="95927"/>
                    </a:lnTo>
                    <a:lnTo>
                      <a:pt x="949394" y="119994"/>
                    </a:lnTo>
                    <a:lnTo>
                      <a:pt x="985938" y="146397"/>
                    </a:lnTo>
                    <a:lnTo>
                      <a:pt x="1020669" y="175029"/>
                    </a:lnTo>
                    <a:lnTo>
                      <a:pt x="1053480" y="205787"/>
                    </a:lnTo>
                    <a:lnTo>
                      <a:pt x="1084269" y="238566"/>
                    </a:lnTo>
                    <a:lnTo>
                      <a:pt x="1112929" y="273261"/>
                    </a:lnTo>
                    <a:lnTo>
                      <a:pt x="1139356" y="309767"/>
                    </a:lnTo>
                    <a:lnTo>
                      <a:pt x="1163447" y="347980"/>
                    </a:lnTo>
                    <a:lnTo>
                      <a:pt x="1185094" y="387794"/>
                    </a:lnTo>
                    <a:lnTo>
                      <a:pt x="1204196" y="429107"/>
                    </a:lnTo>
                    <a:lnTo>
                      <a:pt x="1220645" y="471812"/>
                    </a:lnTo>
                    <a:lnTo>
                      <a:pt x="1234339" y="515805"/>
                    </a:lnTo>
                    <a:lnTo>
                      <a:pt x="1245172" y="560981"/>
                    </a:lnTo>
                    <a:lnTo>
                      <a:pt x="1253039" y="607236"/>
                    </a:lnTo>
                    <a:lnTo>
                      <a:pt x="1257836" y="654465"/>
                    </a:lnTo>
                    <a:lnTo>
                      <a:pt x="1259459" y="702563"/>
                    </a:lnTo>
                    <a:lnTo>
                      <a:pt x="1257836" y="750662"/>
                    </a:lnTo>
                    <a:lnTo>
                      <a:pt x="1253039" y="797891"/>
                    </a:lnTo>
                    <a:lnTo>
                      <a:pt x="1245172" y="844146"/>
                    </a:lnTo>
                    <a:lnTo>
                      <a:pt x="1234339" y="889322"/>
                    </a:lnTo>
                    <a:lnTo>
                      <a:pt x="1220645" y="933315"/>
                    </a:lnTo>
                    <a:lnTo>
                      <a:pt x="1204196" y="976020"/>
                    </a:lnTo>
                    <a:lnTo>
                      <a:pt x="1185094" y="1017333"/>
                    </a:lnTo>
                    <a:lnTo>
                      <a:pt x="1163447" y="1057147"/>
                    </a:lnTo>
                    <a:lnTo>
                      <a:pt x="1139356" y="1095360"/>
                    </a:lnTo>
                    <a:lnTo>
                      <a:pt x="1112929" y="1131866"/>
                    </a:lnTo>
                    <a:lnTo>
                      <a:pt x="1084269" y="1166561"/>
                    </a:lnTo>
                    <a:lnTo>
                      <a:pt x="1053480" y="1199340"/>
                    </a:lnTo>
                    <a:lnTo>
                      <a:pt x="1020669" y="1230098"/>
                    </a:lnTo>
                    <a:lnTo>
                      <a:pt x="985938" y="1258730"/>
                    </a:lnTo>
                    <a:lnTo>
                      <a:pt x="949394" y="1285133"/>
                    </a:lnTo>
                    <a:lnTo>
                      <a:pt x="911140" y="1309200"/>
                    </a:lnTo>
                    <a:lnTo>
                      <a:pt x="871281" y="1330828"/>
                    </a:lnTo>
                    <a:lnTo>
                      <a:pt x="829923" y="1349912"/>
                    </a:lnTo>
                    <a:lnTo>
                      <a:pt x="787169" y="1366347"/>
                    </a:lnTo>
                    <a:lnTo>
                      <a:pt x="743124" y="1380029"/>
                    </a:lnTo>
                    <a:lnTo>
                      <a:pt x="697894" y="1390853"/>
                    </a:lnTo>
                    <a:lnTo>
                      <a:pt x="651582" y="1398713"/>
                    </a:lnTo>
                    <a:lnTo>
                      <a:pt x="604293" y="1403507"/>
                    </a:lnTo>
                    <a:lnTo>
                      <a:pt x="556132" y="1405128"/>
                    </a:lnTo>
                    <a:lnTo>
                      <a:pt x="506172" y="1403355"/>
                    </a:lnTo>
                    <a:lnTo>
                      <a:pt x="456808" y="1398092"/>
                    </a:lnTo>
                    <a:lnTo>
                      <a:pt x="408205" y="1389418"/>
                    </a:lnTo>
                    <a:lnTo>
                      <a:pt x="360525" y="1377414"/>
                    </a:lnTo>
                    <a:lnTo>
                      <a:pt x="313933" y="1362159"/>
                    </a:lnTo>
                    <a:lnTo>
                      <a:pt x="268593" y="1343733"/>
                    </a:lnTo>
                    <a:lnTo>
                      <a:pt x="224667" y="1322217"/>
                    </a:lnTo>
                    <a:lnTo>
                      <a:pt x="182321" y="1297691"/>
                    </a:lnTo>
                    <a:lnTo>
                      <a:pt x="141717" y="1270235"/>
                    </a:lnTo>
                    <a:lnTo>
                      <a:pt x="103019" y="1239929"/>
                    </a:lnTo>
                    <a:lnTo>
                      <a:pt x="66391" y="1206853"/>
                    </a:lnTo>
                    <a:lnTo>
                      <a:pt x="31997" y="1171088"/>
                    </a:lnTo>
                    <a:lnTo>
                      <a:pt x="0" y="1132713"/>
                    </a:lnTo>
                  </a:path>
                </a:pathLst>
              </a:custGeom>
              <a:ln w="15240">
                <a:solidFill>
                  <a:srgbClr val="A6A6A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dirty="0">
                  <a:ln>
                    <a:noFill/>
                  </a:ln>
                  <a:solidFill>
                    <a:srgbClr val="5C5C5C"/>
                  </a:solidFill>
                  <a:effectLst/>
                  <a:uLnTx/>
                  <a:uFillTx/>
                  <a:ea typeface="+mn-ea"/>
                  <a:cs typeface="+mn-cs"/>
                </a:endParaRPr>
              </a:p>
            </p:txBody>
          </p:sp>
          <p:sp>
            <p:nvSpPr>
              <p:cNvPr id="97" name="object 18">
                <a:extLst>
                  <a:ext uri="{FF2B5EF4-FFF2-40B4-BE49-F238E27FC236}">
                    <a16:creationId xmlns:a16="http://schemas.microsoft.com/office/drawing/2014/main" id="{450FE864-0052-4B80-9AB2-FB62E7FA83B2}"/>
                  </a:ext>
                </a:extLst>
              </p:cNvPr>
              <p:cNvSpPr/>
              <p:nvPr/>
            </p:nvSpPr>
            <p:spPr>
              <a:xfrm>
                <a:off x="3467100" y="1962911"/>
                <a:ext cx="1278890" cy="1277620"/>
              </a:xfrm>
              <a:custGeom>
                <a:avLst/>
                <a:gdLst/>
                <a:ahLst/>
                <a:cxnLst/>
                <a:rect l="l" t="t" r="r" b="b"/>
                <a:pathLst>
                  <a:path w="1278889" h="1277620">
                    <a:moveTo>
                      <a:pt x="639317" y="0"/>
                    </a:moveTo>
                    <a:lnTo>
                      <a:pt x="687027" y="1751"/>
                    </a:lnTo>
                    <a:lnTo>
                      <a:pt x="733785" y="6923"/>
                    </a:lnTo>
                    <a:lnTo>
                      <a:pt x="779468" y="15392"/>
                    </a:lnTo>
                    <a:lnTo>
                      <a:pt x="823952" y="27034"/>
                    </a:lnTo>
                    <a:lnTo>
                      <a:pt x="867112" y="41727"/>
                    </a:lnTo>
                    <a:lnTo>
                      <a:pt x="908827" y="59346"/>
                    </a:lnTo>
                    <a:lnTo>
                      <a:pt x="948971" y="79769"/>
                    </a:lnTo>
                    <a:lnTo>
                      <a:pt x="987422" y="102871"/>
                    </a:lnTo>
                    <a:lnTo>
                      <a:pt x="1024055" y="128530"/>
                    </a:lnTo>
                    <a:lnTo>
                      <a:pt x="1058747" y="156622"/>
                    </a:lnTo>
                    <a:lnTo>
                      <a:pt x="1091374" y="187023"/>
                    </a:lnTo>
                    <a:lnTo>
                      <a:pt x="1121813" y="219610"/>
                    </a:lnTo>
                    <a:lnTo>
                      <a:pt x="1149940" y="254260"/>
                    </a:lnTo>
                    <a:lnTo>
                      <a:pt x="1175631" y="290849"/>
                    </a:lnTo>
                    <a:lnTo>
                      <a:pt x="1198763" y="329253"/>
                    </a:lnTo>
                    <a:lnTo>
                      <a:pt x="1219212" y="369350"/>
                    </a:lnTo>
                    <a:lnTo>
                      <a:pt x="1236854" y="411016"/>
                    </a:lnTo>
                    <a:lnTo>
                      <a:pt x="1251565" y="454127"/>
                    </a:lnTo>
                    <a:lnTo>
                      <a:pt x="1263223" y="498560"/>
                    </a:lnTo>
                    <a:lnTo>
                      <a:pt x="1271703" y="544191"/>
                    </a:lnTo>
                    <a:lnTo>
                      <a:pt x="1276882" y="590898"/>
                    </a:lnTo>
                    <a:lnTo>
                      <a:pt x="1278636" y="638555"/>
                    </a:lnTo>
                    <a:lnTo>
                      <a:pt x="1276882" y="686213"/>
                    </a:lnTo>
                    <a:lnTo>
                      <a:pt x="1271703" y="732920"/>
                    </a:lnTo>
                    <a:lnTo>
                      <a:pt x="1263223" y="778551"/>
                    </a:lnTo>
                    <a:lnTo>
                      <a:pt x="1251565" y="822984"/>
                    </a:lnTo>
                    <a:lnTo>
                      <a:pt x="1236854" y="866095"/>
                    </a:lnTo>
                    <a:lnTo>
                      <a:pt x="1219212" y="907761"/>
                    </a:lnTo>
                    <a:lnTo>
                      <a:pt x="1198763" y="947858"/>
                    </a:lnTo>
                    <a:lnTo>
                      <a:pt x="1175631" y="986262"/>
                    </a:lnTo>
                    <a:lnTo>
                      <a:pt x="1149940" y="1022851"/>
                    </a:lnTo>
                    <a:lnTo>
                      <a:pt x="1121813" y="1057501"/>
                    </a:lnTo>
                    <a:lnTo>
                      <a:pt x="1091374" y="1090088"/>
                    </a:lnTo>
                    <a:lnTo>
                      <a:pt x="1058747" y="1120489"/>
                    </a:lnTo>
                    <a:lnTo>
                      <a:pt x="1024055" y="1148581"/>
                    </a:lnTo>
                    <a:lnTo>
                      <a:pt x="987422" y="1174240"/>
                    </a:lnTo>
                    <a:lnTo>
                      <a:pt x="948971" y="1197342"/>
                    </a:lnTo>
                    <a:lnTo>
                      <a:pt x="908827" y="1217765"/>
                    </a:lnTo>
                    <a:lnTo>
                      <a:pt x="867112" y="1235384"/>
                    </a:lnTo>
                    <a:lnTo>
                      <a:pt x="823952" y="1250077"/>
                    </a:lnTo>
                    <a:lnTo>
                      <a:pt x="779468" y="1261719"/>
                    </a:lnTo>
                    <a:lnTo>
                      <a:pt x="733785" y="1270188"/>
                    </a:lnTo>
                    <a:lnTo>
                      <a:pt x="687027" y="1275360"/>
                    </a:lnTo>
                    <a:lnTo>
                      <a:pt x="639317" y="1277112"/>
                    </a:lnTo>
                    <a:lnTo>
                      <a:pt x="591608" y="1275360"/>
                    </a:lnTo>
                    <a:lnTo>
                      <a:pt x="544850" y="1270188"/>
                    </a:lnTo>
                    <a:lnTo>
                      <a:pt x="499167" y="1261719"/>
                    </a:lnTo>
                    <a:lnTo>
                      <a:pt x="454683" y="1250077"/>
                    </a:lnTo>
                    <a:lnTo>
                      <a:pt x="411523" y="1235384"/>
                    </a:lnTo>
                    <a:lnTo>
                      <a:pt x="369808" y="1217765"/>
                    </a:lnTo>
                    <a:lnTo>
                      <a:pt x="329664" y="1197342"/>
                    </a:lnTo>
                    <a:lnTo>
                      <a:pt x="291213" y="1174240"/>
                    </a:lnTo>
                    <a:lnTo>
                      <a:pt x="254580" y="1148581"/>
                    </a:lnTo>
                    <a:lnTo>
                      <a:pt x="219888" y="1120489"/>
                    </a:lnTo>
                    <a:lnTo>
                      <a:pt x="187261" y="1090088"/>
                    </a:lnTo>
                    <a:lnTo>
                      <a:pt x="156822" y="1057501"/>
                    </a:lnTo>
                    <a:lnTo>
                      <a:pt x="128695" y="1022851"/>
                    </a:lnTo>
                    <a:lnTo>
                      <a:pt x="103004" y="986262"/>
                    </a:lnTo>
                    <a:lnTo>
                      <a:pt x="79872" y="947858"/>
                    </a:lnTo>
                    <a:lnTo>
                      <a:pt x="59423" y="907761"/>
                    </a:lnTo>
                    <a:lnTo>
                      <a:pt x="41781" y="866095"/>
                    </a:lnTo>
                    <a:lnTo>
                      <a:pt x="27070" y="822984"/>
                    </a:lnTo>
                    <a:lnTo>
                      <a:pt x="15412" y="778551"/>
                    </a:lnTo>
                    <a:lnTo>
                      <a:pt x="6932" y="732920"/>
                    </a:lnTo>
                    <a:lnTo>
                      <a:pt x="1753" y="686213"/>
                    </a:lnTo>
                    <a:lnTo>
                      <a:pt x="0" y="638555"/>
                    </a:lnTo>
                    <a:lnTo>
                      <a:pt x="2217" y="585401"/>
                    </a:lnTo>
                    <a:lnTo>
                      <a:pt x="8812" y="532886"/>
                    </a:lnTo>
                    <a:lnTo>
                      <a:pt x="19696" y="481266"/>
                    </a:lnTo>
                    <a:lnTo>
                      <a:pt x="34782" y="430799"/>
                    </a:lnTo>
                    <a:lnTo>
                      <a:pt x="53981" y="381744"/>
                    </a:lnTo>
                    <a:lnTo>
                      <a:pt x="77206" y="334357"/>
                    </a:lnTo>
                    <a:lnTo>
                      <a:pt x="104368" y="288895"/>
                    </a:lnTo>
                    <a:lnTo>
                      <a:pt x="135382" y="245617"/>
                    </a:lnTo>
                  </a:path>
                </a:pathLst>
              </a:custGeom>
              <a:ln w="15240">
                <a:solidFill>
                  <a:srgbClr val="A6A6A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dirty="0">
                  <a:ln>
                    <a:noFill/>
                  </a:ln>
                  <a:solidFill>
                    <a:srgbClr val="5C5C5C"/>
                  </a:solidFill>
                  <a:effectLst/>
                  <a:uLnTx/>
                  <a:uFillTx/>
                  <a:ea typeface="+mn-ea"/>
                  <a:cs typeface="+mn-cs"/>
                </a:endParaRPr>
              </a:p>
            </p:txBody>
          </p:sp>
          <p:sp>
            <p:nvSpPr>
              <p:cNvPr id="98" name="object 19">
                <a:extLst>
                  <a:ext uri="{FF2B5EF4-FFF2-40B4-BE49-F238E27FC236}">
                    <a16:creationId xmlns:a16="http://schemas.microsoft.com/office/drawing/2014/main" id="{FAC18921-FA6A-47EC-A225-00BFCB5E0AB0}"/>
                  </a:ext>
                </a:extLst>
              </p:cNvPr>
              <p:cNvSpPr/>
              <p:nvPr/>
            </p:nvSpPr>
            <p:spPr>
              <a:xfrm>
                <a:off x="4111752" y="1822704"/>
                <a:ext cx="772795" cy="1082675"/>
              </a:xfrm>
              <a:custGeom>
                <a:avLst/>
                <a:gdLst/>
                <a:ahLst/>
                <a:cxnLst/>
                <a:rect l="l" t="t" r="r" b="b"/>
                <a:pathLst>
                  <a:path w="772795" h="1082675">
                    <a:moveTo>
                      <a:pt x="0" y="0"/>
                    </a:moveTo>
                    <a:lnTo>
                      <a:pt x="48863" y="1521"/>
                    </a:lnTo>
                    <a:lnTo>
                      <a:pt x="96919" y="6026"/>
                    </a:lnTo>
                    <a:lnTo>
                      <a:pt x="144077" y="13424"/>
                    </a:lnTo>
                    <a:lnTo>
                      <a:pt x="190246" y="23624"/>
                    </a:lnTo>
                    <a:lnTo>
                      <a:pt x="235337" y="36535"/>
                    </a:lnTo>
                    <a:lnTo>
                      <a:pt x="279258" y="52067"/>
                    </a:lnTo>
                    <a:lnTo>
                      <a:pt x="321919" y="70128"/>
                    </a:lnTo>
                    <a:lnTo>
                      <a:pt x="363229" y="90629"/>
                    </a:lnTo>
                    <a:lnTo>
                      <a:pt x="403098" y="113479"/>
                    </a:lnTo>
                    <a:lnTo>
                      <a:pt x="441436" y="138587"/>
                    </a:lnTo>
                    <a:lnTo>
                      <a:pt x="478151" y="165862"/>
                    </a:lnTo>
                    <a:lnTo>
                      <a:pt x="513154" y="195214"/>
                    </a:lnTo>
                    <a:lnTo>
                      <a:pt x="546354" y="226552"/>
                    </a:lnTo>
                    <a:lnTo>
                      <a:pt x="577659" y="259785"/>
                    </a:lnTo>
                    <a:lnTo>
                      <a:pt x="606981" y="294823"/>
                    </a:lnTo>
                    <a:lnTo>
                      <a:pt x="634228" y="331575"/>
                    </a:lnTo>
                    <a:lnTo>
                      <a:pt x="659309" y="369951"/>
                    </a:lnTo>
                    <a:lnTo>
                      <a:pt x="682135" y="409859"/>
                    </a:lnTo>
                    <a:lnTo>
                      <a:pt x="702614" y="451210"/>
                    </a:lnTo>
                    <a:lnTo>
                      <a:pt x="720657" y="493912"/>
                    </a:lnTo>
                    <a:lnTo>
                      <a:pt x="736172" y="537875"/>
                    </a:lnTo>
                    <a:lnTo>
                      <a:pt x="749069" y="583008"/>
                    </a:lnTo>
                    <a:lnTo>
                      <a:pt x="759257" y="629221"/>
                    </a:lnTo>
                    <a:lnTo>
                      <a:pt x="766647" y="676422"/>
                    </a:lnTo>
                    <a:lnTo>
                      <a:pt x="771147" y="724522"/>
                    </a:lnTo>
                    <a:lnTo>
                      <a:pt x="772668" y="773430"/>
                    </a:lnTo>
                    <a:lnTo>
                      <a:pt x="770853" y="826453"/>
                    </a:lnTo>
                    <a:lnTo>
                      <a:pt x="765433" y="879103"/>
                    </a:lnTo>
                    <a:lnTo>
                      <a:pt x="756443" y="931195"/>
                    </a:lnTo>
                    <a:lnTo>
                      <a:pt x="743918" y="982547"/>
                    </a:lnTo>
                    <a:lnTo>
                      <a:pt x="727894" y="1032974"/>
                    </a:lnTo>
                    <a:lnTo>
                      <a:pt x="708406" y="1082294"/>
                    </a:lnTo>
                  </a:path>
                </a:pathLst>
              </a:custGeom>
              <a:ln w="15240">
                <a:solidFill>
                  <a:srgbClr val="A6A6A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dirty="0">
                  <a:ln>
                    <a:noFill/>
                  </a:ln>
                  <a:solidFill>
                    <a:srgbClr val="5C5C5C"/>
                  </a:solidFill>
                  <a:effectLst/>
                  <a:uLnTx/>
                  <a:uFillTx/>
                  <a:ea typeface="+mn-ea"/>
                  <a:cs typeface="+mn-cs"/>
                </a:endParaRPr>
              </a:p>
            </p:txBody>
          </p:sp>
          <p:sp>
            <p:nvSpPr>
              <p:cNvPr id="99" name="object 40">
                <a:extLst>
                  <a:ext uri="{FF2B5EF4-FFF2-40B4-BE49-F238E27FC236}">
                    <a16:creationId xmlns:a16="http://schemas.microsoft.com/office/drawing/2014/main" id="{DFC320AE-1317-4B16-8936-40DB62E83EEC}"/>
                  </a:ext>
                </a:extLst>
              </p:cNvPr>
              <p:cNvSpPr/>
              <p:nvPr/>
            </p:nvSpPr>
            <p:spPr>
              <a:xfrm>
                <a:off x="3547109" y="2032254"/>
                <a:ext cx="1130935" cy="1130935"/>
              </a:xfrm>
              <a:custGeom>
                <a:avLst/>
                <a:gdLst/>
                <a:ahLst/>
                <a:cxnLst/>
                <a:rect l="l" t="t" r="r" b="b"/>
                <a:pathLst>
                  <a:path w="1130935" h="1130935">
                    <a:moveTo>
                      <a:pt x="565403" y="0"/>
                    </a:moveTo>
                    <a:lnTo>
                      <a:pt x="516614" y="2075"/>
                    </a:lnTo>
                    <a:lnTo>
                      <a:pt x="468978" y="8187"/>
                    </a:lnTo>
                    <a:lnTo>
                      <a:pt x="422665" y="18167"/>
                    </a:lnTo>
                    <a:lnTo>
                      <a:pt x="377844" y="31845"/>
                    </a:lnTo>
                    <a:lnTo>
                      <a:pt x="334686" y="49051"/>
                    </a:lnTo>
                    <a:lnTo>
                      <a:pt x="293360" y="69615"/>
                    </a:lnTo>
                    <a:lnTo>
                      <a:pt x="254034" y="93369"/>
                    </a:lnTo>
                    <a:lnTo>
                      <a:pt x="216881" y="120142"/>
                    </a:lnTo>
                    <a:lnTo>
                      <a:pt x="182067" y="149765"/>
                    </a:lnTo>
                    <a:lnTo>
                      <a:pt x="149765" y="182067"/>
                    </a:lnTo>
                    <a:lnTo>
                      <a:pt x="120142" y="216881"/>
                    </a:lnTo>
                    <a:lnTo>
                      <a:pt x="93369" y="254034"/>
                    </a:lnTo>
                    <a:lnTo>
                      <a:pt x="69615" y="293360"/>
                    </a:lnTo>
                    <a:lnTo>
                      <a:pt x="49051" y="334686"/>
                    </a:lnTo>
                    <a:lnTo>
                      <a:pt x="31845" y="377844"/>
                    </a:lnTo>
                    <a:lnTo>
                      <a:pt x="18167" y="422665"/>
                    </a:lnTo>
                    <a:lnTo>
                      <a:pt x="8187" y="468978"/>
                    </a:lnTo>
                    <a:lnTo>
                      <a:pt x="2075" y="516614"/>
                    </a:lnTo>
                    <a:lnTo>
                      <a:pt x="0" y="565404"/>
                    </a:lnTo>
                    <a:lnTo>
                      <a:pt x="2075" y="614193"/>
                    </a:lnTo>
                    <a:lnTo>
                      <a:pt x="8187" y="661829"/>
                    </a:lnTo>
                    <a:lnTo>
                      <a:pt x="18167" y="708142"/>
                    </a:lnTo>
                    <a:lnTo>
                      <a:pt x="31845" y="752963"/>
                    </a:lnTo>
                    <a:lnTo>
                      <a:pt x="49051" y="796121"/>
                    </a:lnTo>
                    <a:lnTo>
                      <a:pt x="69615" y="837447"/>
                    </a:lnTo>
                    <a:lnTo>
                      <a:pt x="93369" y="876773"/>
                    </a:lnTo>
                    <a:lnTo>
                      <a:pt x="120142" y="913926"/>
                    </a:lnTo>
                    <a:lnTo>
                      <a:pt x="149765" y="948740"/>
                    </a:lnTo>
                    <a:lnTo>
                      <a:pt x="182067" y="981042"/>
                    </a:lnTo>
                    <a:lnTo>
                      <a:pt x="216881" y="1010665"/>
                    </a:lnTo>
                    <a:lnTo>
                      <a:pt x="254034" y="1037438"/>
                    </a:lnTo>
                    <a:lnTo>
                      <a:pt x="293360" y="1061192"/>
                    </a:lnTo>
                    <a:lnTo>
                      <a:pt x="334686" y="1081756"/>
                    </a:lnTo>
                    <a:lnTo>
                      <a:pt x="377844" y="1098962"/>
                    </a:lnTo>
                    <a:lnTo>
                      <a:pt x="422665" y="1112640"/>
                    </a:lnTo>
                    <a:lnTo>
                      <a:pt x="468978" y="1122620"/>
                    </a:lnTo>
                    <a:lnTo>
                      <a:pt x="516614" y="1128732"/>
                    </a:lnTo>
                    <a:lnTo>
                      <a:pt x="565403" y="1130808"/>
                    </a:lnTo>
                    <a:lnTo>
                      <a:pt x="614193" y="1128732"/>
                    </a:lnTo>
                    <a:lnTo>
                      <a:pt x="661829" y="1122620"/>
                    </a:lnTo>
                    <a:lnTo>
                      <a:pt x="708142" y="1112640"/>
                    </a:lnTo>
                    <a:lnTo>
                      <a:pt x="752963" y="1098962"/>
                    </a:lnTo>
                    <a:lnTo>
                      <a:pt x="796121" y="1081756"/>
                    </a:lnTo>
                    <a:lnTo>
                      <a:pt x="837447" y="1061192"/>
                    </a:lnTo>
                    <a:lnTo>
                      <a:pt x="876773" y="1037438"/>
                    </a:lnTo>
                    <a:lnTo>
                      <a:pt x="913926" y="1010665"/>
                    </a:lnTo>
                    <a:lnTo>
                      <a:pt x="948740" y="981042"/>
                    </a:lnTo>
                    <a:lnTo>
                      <a:pt x="981042" y="948740"/>
                    </a:lnTo>
                    <a:lnTo>
                      <a:pt x="1010665" y="913926"/>
                    </a:lnTo>
                    <a:lnTo>
                      <a:pt x="1037438" y="876773"/>
                    </a:lnTo>
                    <a:lnTo>
                      <a:pt x="1061192" y="837447"/>
                    </a:lnTo>
                    <a:lnTo>
                      <a:pt x="1081756" y="796121"/>
                    </a:lnTo>
                    <a:lnTo>
                      <a:pt x="1098962" y="752963"/>
                    </a:lnTo>
                    <a:lnTo>
                      <a:pt x="1112640" y="708142"/>
                    </a:lnTo>
                    <a:lnTo>
                      <a:pt x="1122620" y="661829"/>
                    </a:lnTo>
                    <a:lnTo>
                      <a:pt x="1128732" y="614193"/>
                    </a:lnTo>
                    <a:lnTo>
                      <a:pt x="1130807" y="565404"/>
                    </a:lnTo>
                    <a:lnTo>
                      <a:pt x="1128732" y="516614"/>
                    </a:lnTo>
                    <a:lnTo>
                      <a:pt x="1122620" y="468978"/>
                    </a:lnTo>
                    <a:lnTo>
                      <a:pt x="1112640" y="422665"/>
                    </a:lnTo>
                    <a:lnTo>
                      <a:pt x="1098962" y="377844"/>
                    </a:lnTo>
                    <a:lnTo>
                      <a:pt x="1081756" y="334686"/>
                    </a:lnTo>
                    <a:lnTo>
                      <a:pt x="1061192" y="293360"/>
                    </a:lnTo>
                    <a:lnTo>
                      <a:pt x="1037438" y="254034"/>
                    </a:lnTo>
                    <a:lnTo>
                      <a:pt x="1010665" y="216881"/>
                    </a:lnTo>
                    <a:lnTo>
                      <a:pt x="981042" y="182067"/>
                    </a:lnTo>
                    <a:lnTo>
                      <a:pt x="948740" y="149765"/>
                    </a:lnTo>
                    <a:lnTo>
                      <a:pt x="913926" y="120142"/>
                    </a:lnTo>
                    <a:lnTo>
                      <a:pt x="876773" y="93369"/>
                    </a:lnTo>
                    <a:lnTo>
                      <a:pt x="837447" y="69615"/>
                    </a:lnTo>
                    <a:lnTo>
                      <a:pt x="796121" y="49051"/>
                    </a:lnTo>
                    <a:lnTo>
                      <a:pt x="752963" y="31845"/>
                    </a:lnTo>
                    <a:lnTo>
                      <a:pt x="708142" y="18167"/>
                    </a:lnTo>
                    <a:lnTo>
                      <a:pt x="661829" y="8187"/>
                    </a:lnTo>
                    <a:lnTo>
                      <a:pt x="614193" y="2075"/>
                    </a:lnTo>
                    <a:lnTo>
                      <a:pt x="565403"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dirty="0">
                  <a:ln>
                    <a:noFill/>
                  </a:ln>
                  <a:solidFill>
                    <a:srgbClr val="5C5C5C"/>
                  </a:solidFill>
                  <a:effectLst/>
                  <a:uLnTx/>
                  <a:uFillTx/>
                  <a:ea typeface="+mn-ea"/>
                  <a:cs typeface="+mn-cs"/>
                </a:endParaRPr>
              </a:p>
            </p:txBody>
          </p:sp>
          <p:sp>
            <p:nvSpPr>
              <p:cNvPr id="100" name="object 41">
                <a:extLst>
                  <a:ext uri="{FF2B5EF4-FFF2-40B4-BE49-F238E27FC236}">
                    <a16:creationId xmlns:a16="http://schemas.microsoft.com/office/drawing/2014/main" id="{E1B637C4-9835-44C2-8F86-D02D05E64C2F}"/>
                  </a:ext>
                </a:extLst>
              </p:cNvPr>
              <p:cNvSpPr/>
              <p:nvPr/>
            </p:nvSpPr>
            <p:spPr>
              <a:xfrm>
                <a:off x="3547109" y="2032254"/>
                <a:ext cx="1130935" cy="1130935"/>
              </a:xfrm>
              <a:custGeom>
                <a:avLst/>
                <a:gdLst/>
                <a:ahLst/>
                <a:cxnLst/>
                <a:rect l="l" t="t" r="r" b="b"/>
                <a:pathLst>
                  <a:path w="1130935" h="1130935">
                    <a:moveTo>
                      <a:pt x="0" y="565404"/>
                    </a:moveTo>
                    <a:lnTo>
                      <a:pt x="2075" y="516614"/>
                    </a:lnTo>
                    <a:lnTo>
                      <a:pt x="8187" y="468978"/>
                    </a:lnTo>
                    <a:lnTo>
                      <a:pt x="18167" y="422665"/>
                    </a:lnTo>
                    <a:lnTo>
                      <a:pt x="31845" y="377844"/>
                    </a:lnTo>
                    <a:lnTo>
                      <a:pt x="49051" y="334686"/>
                    </a:lnTo>
                    <a:lnTo>
                      <a:pt x="69615" y="293360"/>
                    </a:lnTo>
                    <a:lnTo>
                      <a:pt x="93369" y="254034"/>
                    </a:lnTo>
                    <a:lnTo>
                      <a:pt x="120142" y="216881"/>
                    </a:lnTo>
                    <a:lnTo>
                      <a:pt x="149765" y="182067"/>
                    </a:lnTo>
                    <a:lnTo>
                      <a:pt x="182067" y="149765"/>
                    </a:lnTo>
                    <a:lnTo>
                      <a:pt x="216881" y="120142"/>
                    </a:lnTo>
                    <a:lnTo>
                      <a:pt x="254034" y="93369"/>
                    </a:lnTo>
                    <a:lnTo>
                      <a:pt x="293360" y="69615"/>
                    </a:lnTo>
                    <a:lnTo>
                      <a:pt x="334686" y="49051"/>
                    </a:lnTo>
                    <a:lnTo>
                      <a:pt x="377844" y="31845"/>
                    </a:lnTo>
                    <a:lnTo>
                      <a:pt x="422665" y="18167"/>
                    </a:lnTo>
                    <a:lnTo>
                      <a:pt x="468978" y="8187"/>
                    </a:lnTo>
                    <a:lnTo>
                      <a:pt x="516614" y="2075"/>
                    </a:lnTo>
                    <a:lnTo>
                      <a:pt x="565403" y="0"/>
                    </a:lnTo>
                    <a:lnTo>
                      <a:pt x="614193" y="2075"/>
                    </a:lnTo>
                    <a:lnTo>
                      <a:pt x="661829" y="8187"/>
                    </a:lnTo>
                    <a:lnTo>
                      <a:pt x="708142" y="18167"/>
                    </a:lnTo>
                    <a:lnTo>
                      <a:pt x="752963" y="31845"/>
                    </a:lnTo>
                    <a:lnTo>
                      <a:pt x="796121" y="49051"/>
                    </a:lnTo>
                    <a:lnTo>
                      <a:pt x="837447" y="69615"/>
                    </a:lnTo>
                    <a:lnTo>
                      <a:pt x="876773" y="93369"/>
                    </a:lnTo>
                    <a:lnTo>
                      <a:pt x="913926" y="120142"/>
                    </a:lnTo>
                    <a:lnTo>
                      <a:pt x="948740" y="149765"/>
                    </a:lnTo>
                    <a:lnTo>
                      <a:pt x="981042" y="182067"/>
                    </a:lnTo>
                    <a:lnTo>
                      <a:pt x="1010665" y="216881"/>
                    </a:lnTo>
                    <a:lnTo>
                      <a:pt x="1037438" y="254034"/>
                    </a:lnTo>
                    <a:lnTo>
                      <a:pt x="1061192" y="293360"/>
                    </a:lnTo>
                    <a:lnTo>
                      <a:pt x="1081756" y="334686"/>
                    </a:lnTo>
                    <a:lnTo>
                      <a:pt x="1098962" y="377844"/>
                    </a:lnTo>
                    <a:lnTo>
                      <a:pt x="1112640" y="422665"/>
                    </a:lnTo>
                    <a:lnTo>
                      <a:pt x="1122620" y="468978"/>
                    </a:lnTo>
                    <a:lnTo>
                      <a:pt x="1128732" y="516614"/>
                    </a:lnTo>
                    <a:lnTo>
                      <a:pt x="1130807" y="565404"/>
                    </a:lnTo>
                    <a:lnTo>
                      <a:pt x="1128732" y="614193"/>
                    </a:lnTo>
                    <a:lnTo>
                      <a:pt x="1122620" y="661829"/>
                    </a:lnTo>
                    <a:lnTo>
                      <a:pt x="1112640" y="708142"/>
                    </a:lnTo>
                    <a:lnTo>
                      <a:pt x="1098962" y="752963"/>
                    </a:lnTo>
                    <a:lnTo>
                      <a:pt x="1081756" y="796121"/>
                    </a:lnTo>
                    <a:lnTo>
                      <a:pt x="1061192" y="837447"/>
                    </a:lnTo>
                    <a:lnTo>
                      <a:pt x="1037438" y="876773"/>
                    </a:lnTo>
                    <a:lnTo>
                      <a:pt x="1010665" y="913926"/>
                    </a:lnTo>
                    <a:lnTo>
                      <a:pt x="981042" y="948740"/>
                    </a:lnTo>
                    <a:lnTo>
                      <a:pt x="948740" y="981042"/>
                    </a:lnTo>
                    <a:lnTo>
                      <a:pt x="913926" y="1010665"/>
                    </a:lnTo>
                    <a:lnTo>
                      <a:pt x="876773" y="1037438"/>
                    </a:lnTo>
                    <a:lnTo>
                      <a:pt x="837447" y="1061192"/>
                    </a:lnTo>
                    <a:lnTo>
                      <a:pt x="796121" y="1081756"/>
                    </a:lnTo>
                    <a:lnTo>
                      <a:pt x="752963" y="1098962"/>
                    </a:lnTo>
                    <a:lnTo>
                      <a:pt x="708142" y="1112640"/>
                    </a:lnTo>
                    <a:lnTo>
                      <a:pt x="661829" y="1122620"/>
                    </a:lnTo>
                    <a:lnTo>
                      <a:pt x="614193" y="1128732"/>
                    </a:lnTo>
                    <a:lnTo>
                      <a:pt x="565403" y="1130808"/>
                    </a:lnTo>
                    <a:lnTo>
                      <a:pt x="516614" y="1128732"/>
                    </a:lnTo>
                    <a:lnTo>
                      <a:pt x="468978" y="1122620"/>
                    </a:lnTo>
                    <a:lnTo>
                      <a:pt x="422665" y="1112640"/>
                    </a:lnTo>
                    <a:lnTo>
                      <a:pt x="377844" y="1098962"/>
                    </a:lnTo>
                    <a:lnTo>
                      <a:pt x="334686" y="1081756"/>
                    </a:lnTo>
                    <a:lnTo>
                      <a:pt x="293360" y="1061192"/>
                    </a:lnTo>
                    <a:lnTo>
                      <a:pt x="254034" y="1037438"/>
                    </a:lnTo>
                    <a:lnTo>
                      <a:pt x="216881" y="1010665"/>
                    </a:lnTo>
                    <a:lnTo>
                      <a:pt x="182067" y="981042"/>
                    </a:lnTo>
                    <a:lnTo>
                      <a:pt x="149765" y="948740"/>
                    </a:lnTo>
                    <a:lnTo>
                      <a:pt x="120142" y="913926"/>
                    </a:lnTo>
                    <a:lnTo>
                      <a:pt x="93369" y="876773"/>
                    </a:lnTo>
                    <a:lnTo>
                      <a:pt x="69615" y="837447"/>
                    </a:lnTo>
                    <a:lnTo>
                      <a:pt x="49051" y="796121"/>
                    </a:lnTo>
                    <a:lnTo>
                      <a:pt x="31845" y="752963"/>
                    </a:lnTo>
                    <a:lnTo>
                      <a:pt x="18167" y="708142"/>
                    </a:lnTo>
                    <a:lnTo>
                      <a:pt x="8187" y="661829"/>
                    </a:lnTo>
                    <a:lnTo>
                      <a:pt x="2075" y="614193"/>
                    </a:lnTo>
                    <a:lnTo>
                      <a:pt x="0" y="565404"/>
                    </a:lnTo>
                    <a:close/>
                  </a:path>
                </a:pathLst>
              </a:custGeom>
              <a:ln w="19812">
                <a:solidFill>
                  <a:srgbClr val="A6A6A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dirty="0">
                  <a:ln>
                    <a:noFill/>
                  </a:ln>
                  <a:solidFill>
                    <a:srgbClr val="5C5C5C"/>
                  </a:solidFill>
                  <a:effectLst/>
                  <a:uLnTx/>
                  <a:uFillTx/>
                  <a:ea typeface="+mn-ea"/>
                  <a:cs typeface="+mn-cs"/>
                </a:endParaRPr>
              </a:p>
            </p:txBody>
          </p:sp>
        </p:grpSp>
        <p:sp>
          <p:nvSpPr>
            <p:cNvPr id="86" name="object 21">
              <a:extLst>
                <a:ext uri="{FF2B5EF4-FFF2-40B4-BE49-F238E27FC236}">
                  <a16:creationId xmlns:a16="http://schemas.microsoft.com/office/drawing/2014/main" id="{A4CB89DE-FC99-4934-93C6-7B073E7526AC}"/>
                </a:ext>
              </a:extLst>
            </p:cNvPr>
            <p:cNvSpPr txBox="1"/>
            <p:nvPr/>
          </p:nvSpPr>
          <p:spPr>
            <a:xfrm>
              <a:off x="2433776" y="3012491"/>
              <a:ext cx="1399885" cy="415498"/>
            </a:xfrm>
            <a:prstGeom prst="rect">
              <a:avLst/>
            </a:prstGeom>
          </p:spPr>
          <p:txBody>
            <a:bodyPr vert="horz" wrap="square" lIns="0" tIns="0" rIns="0" bIns="0" rtlCol="0">
              <a:spAutoFit/>
            </a:bodyPr>
            <a:lstStyle/>
            <a:p>
              <a:pPr marL="12700" marR="5080" lvl="0" indent="635"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10" normalizeH="0" baseline="0" noProof="0" dirty="0">
                  <a:ln>
                    <a:noFill/>
                  </a:ln>
                  <a:solidFill>
                    <a:srgbClr val="000000"/>
                  </a:solidFill>
                  <a:effectLst/>
                  <a:uLnTx/>
                  <a:uFillTx/>
                  <a:ea typeface="+mn-ea"/>
                  <a:cs typeface="Verdana"/>
                </a:rPr>
                <a:t>Develop physical proof of concept, MVP, if requested and finalize design</a:t>
              </a:r>
              <a:endParaRPr kumimoji="0" sz="900" b="0" i="0" u="none" strike="noStrike" kern="1200" cap="none" spc="0" normalizeH="0" baseline="0" noProof="0" dirty="0">
                <a:ln>
                  <a:noFill/>
                </a:ln>
                <a:solidFill>
                  <a:srgbClr val="000000"/>
                </a:solidFill>
                <a:effectLst/>
                <a:uLnTx/>
                <a:uFillTx/>
                <a:ea typeface="+mn-ea"/>
                <a:cs typeface="Verdana"/>
              </a:endParaRPr>
            </a:p>
          </p:txBody>
        </p:sp>
        <p:sp>
          <p:nvSpPr>
            <p:cNvPr id="87" name="object 65">
              <a:extLst>
                <a:ext uri="{FF2B5EF4-FFF2-40B4-BE49-F238E27FC236}">
                  <a16:creationId xmlns:a16="http://schemas.microsoft.com/office/drawing/2014/main" id="{A200FC14-D03C-4452-BE05-523FA12E5ACB}"/>
                </a:ext>
              </a:extLst>
            </p:cNvPr>
            <p:cNvSpPr/>
            <p:nvPr/>
          </p:nvSpPr>
          <p:spPr>
            <a:xfrm>
              <a:off x="2349523" y="2250249"/>
              <a:ext cx="471055" cy="390446"/>
            </a:xfrm>
            <a:prstGeom prst="rect">
              <a:avLst/>
            </a:prstGeom>
            <a:blipFill>
              <a:blip r:embed="rId12"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dirty="0">
                <a:ln>
                  <a:noFill/>
                </a:ln>
                <a:solidFill>
                  <a:srgbClr val="5C5C5C"/>
                </a:solidFill>
                <a:effectLst/>
                <a:uLnTx/>
                <a:uFillTx/>
                <a:ea typeface="+mn-ea"/>
                <a:cs typeface="+mn-cs"/>
              </a:endParaRPr>
            </a:p>
          </p:txBody>
        </p:sp>
        <p:sp>
          <p:nvSpPr>
            <p:cNvPr id="88" name="object 66">
              <a:extLst>
                <a:ext uri="{FF2B5EF4-FFF2-40B4-BE49-F238E27FC236}">
                  <a16:creationId xmlns:a16="http://schemas.microsoft.com/office/drawing/2014/main" id="{C40EF576-41CC-4610-A2BF-36F6D3EAC6EF}"/>
                </a:ext>
              </a:extLst>
            </p:cNvPr>
            <p:cNvSpPr/>
            <p:nvPr/>
          </p:nvSpPr>
          <p:spPr>
            <a:xfrm>
              <a:off x="2884700" y="2268010"/>
              <a:ext cx="471055" cy="377851"/>
            </a:xfrm>
            <a:prstGeom prst="rect">
              <a:avLst/>
            </a:prstGeom>
            <a:blipFill>
              <a:blip r:embed="rId13"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dirty="0">
                <a:ln>
                  <a:noFill/>
                </a:ln>
                <a:solidFill>
                  <a:srgbClr val="5C5C5C"/>
                </a:solidFill>
                <a:effectLst/>
                <a:uLnTx/>
                <a:uFillTx/>
                <a:ea typeface="+mn-ea"/>
                <a:cs typeface="+mn-cs"/>
              </a:endParaRPr>
            </a:p>
          </p:txBody>
        </p:sp>
        <p:sp>
          <p:nvSpPr>
            <p:cNvPr id="89" name="object 68">
              <a:extLst>
                <a:ext uri="{FF2B5EF4-FFF2-40B4-BE49-F238E27FC236}">
                  <a16:creationId xmlns:a16="http://schemas.microsoft.com/office/drawing/2014/main" id="{98936286-CBC7-4D39-BC4C-F07FB1489F18}"/>
                </a:ext>
              </a:extLst>
            </p:cNvPr>
            <p:cNvSpPr/>
            <p:nvPr/>
          </p:nvSpPr>
          <p:spPr>
            <a:xfrm>
              <a:off x="2522810" y="1935705"/>
              <a:ext cx="656478" cy="267286"/>
            </a:xfrm>
            <a:prstGeom prst="rect">
              <a:avLst/>
            </a:prstGeom>
            <a:blipFill>
              <a:blip r:embed="rId14"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dirty="0">
                <a:ln>
                  <a:noFill/>
                </a:ln>
                <a:solidFill>
                  <a:srgbClr val="5C5C5C"/>
                </a:solidFill>
                <a:effectLst/>
                <a:uLnTx/>
                <a:uFillTx/>
                <a:ea typeface="+mn-ea"/>
                <a:cs typeface="+mn-cs"/>
              </a:endParaRPr>
            </a:p>
          </p:txBody>
        </p:sp>
        <p:sp>
          <p:nvSpPr>
            <p:cNvPr id="90" name="TextBox 89">
              <a:extLst>
                <a:ext uri="{FF2B5EF4-FFF2-40B4-BE49-F238E27FC236}">
                  <a16:creationId xmlns:a16="http://schemas.microsoft.com/office/drawing/2014/main" id="{024B010F-43FE-4E57-89E2-B94FB4A67009}"/>
                </a:ext>
              </a:extLst>
            </p:cNvPr>
            <p:cNvSpPr txBox="1"/>
            <p:nvPr/>
          </p:nvSpPr>
          <p:spPr>
            <a:xfrm>
              <a:off x="2341119" y="2098994"/>
              <a:ext cx="54375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C5C5C"/>
                  </a:solidFill>
                  <a:effectLst/>
                  <a:uLnTx/>
                  <a:uFillTx/>
                  <a:ea typeface="+mn-ea"/>
                  <a:cs typeface="+mn-cs"/>
                </a:rPr>
                <a:t>Braskem</a:t>
              </a:r>
            </a:p>
          </p:txBody>
        </p:sp>
        <p:sp>
          <p:nvSpPr>
            <p:cNvPr id="91" name="TextBox 90">
              <a:extLst>
                <a:ext uri="{FF2B5EF4-FFF2-40B4-BE49-F238E27FC236}">
                  <a16:creationId xmlns:a16="http://schemas.microsoft.com/office/drawing/2014/main" id="{9AA4BFB9-E2F9-415D-B7AE-0E7CBBAF9E20}"/>
                </a:ext>
              </a:extLst>
            </p:cNvPr>
            <p:cNvSpPr txBox="1"/>
            <p:nvPr/>
          </p:nvSpPr>
          <p:spPr>
            <a:xfrm>
              <a:off x="2885563" y="2111276"/>
              <a:ext cx="4943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C5C5C"/>
                  </a:solidFill>
                  <a:effectLst/>
                  <a:uLnTx/>
                  <a:uFillTx/>
                  <a:ea typeface="+mn-ea"/>
                  <a:cs typeface="+mn-cs"/>
                </a:rPr>
                <a:t>Customer</a:t>
              </a:r>
            </a:p>
          </p:txBody>
        </p:sp>
        <p:grpSp>
          <p:nvGrpSpPr>
            <p:cNvPr id="92" name="Group 91">
              <a:extLst>
                <a:ext uri="{FF2B5EF4-FFF2-40B4-BE49-F238E27FC236}">
                  <a16:creationId xmlns:a16="http://schemas.microsoft.com/office/drawing/2014/main" id="{7649E2DA-28EA-495D-A6A3-4A73EF49E3E2}"/>
                </a:ext>
              </a:extLst>
            </p:cNvPr>
            <p:cNvGrpSpPr>
              <a:grpSpLocks noChangeAspect="1"/>
            </p:cNvGrpSpPr>
            <p:nvPr/>
          </p:nvGrpSpPr>
          <p:grpSpPr>
            <a:xfrm>
              <a:off x="2810715" y="2247731"/>
              <a:ext cx="130831" cy="130831"/>
              <a:chOff x="11258551" y="2654300"/>
              <a:chExt cx="231775" cy="231775"/>
            </a:xfrm>
            <a:solidFill>
              <a:schemeClr val="tx1"/>
            </a:solidFill>
          </p:grpSpPr>
          <p:sp>
            <p:nvSpPr>
              <p:cNvPr id="93" name="Freeform 122">
                <a:extLst>
                  <a:ext uri="{FF2B5EF4-FFF2-40B4-BE49-F238E27FC236}">
                    <a16:creationId xmlns:a16="http://schemas.microsoft.com/office/drawing/2014/main" id="{167AF9A5-1A04-4794-ABDA-62DC5FD4B0FD}"/>
                  </a:ext>
                </a:extLst>
              </p:cNvPr>
              <p:cNvSpPr>
                <a:spLocks/>
              </p:cNvSpPr>
              <p:nvPr/>
            </p:nvSpPr>
            <p:spPr bwMode="auto">
              <a:xfrm>
                <a:off x="11258551" y="2698750"/>
                <a:ext cx="107950" cy="187325"/>
              </a:xfrm>
              <a:custGeom>
                <a:avLst/>
                <a:gdLst>
                  <a:gd name="T0" fmla="*/ 136 w 136"/>
                  <a:gd name="T1" fmla="*/ 50 h 235"/>
                  <a:gd name="T2" fmla="*/ 0 w 136"/>
                  <a:gd name="T3" fmla="*/ 0 h 235"/>
                  <a:gd name="T4" fmla="*/ 0 w 136"/>
                  <a:gd name="T5" fmla="*/ 183 h 235"/>
                  <a:gd name="T6" fmla="*/ 0 w 136"/>
                  <a:gd name="T7" fmla="*/ 183 h 235"/>
                  <a:gd name="T8" fmla="*/ 0 w 136"/>
                  <a:gd name="T9" fmla="*/ 185 h 235"/>
                  <a:gd name="T10" fmla="*/ 3 w 136"/>
                  <a:gd name="T11" fmla="*/ 187 h 235"/>
                  <a:gd name="T12" fmla="*/ 136 w 136"/>
                  <a:gd name="T13" fmla="*/ 235 h 235"/>
                  <a:gd name="T14" fmla="*/ 136 w 136"/>
                  <a:gd name="T15" fmla="*/ 50 h 2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6" h="235">
                    <a:moveTo>
                      <a:pt x="136" y="50"/>
                    </a:moveTo>
                    <a:lnTo>
                      <a:pt x="0" y="0"/>
                    </a:lnTo>
                    <a:lnTo>
                      <a:pt x="0" y="183"/>
                    </a:lnTo>
                    <a:lnTo>
                      <a:pt x="0" y="183"/>
                    </a:lnTo>
                    <a:lnTo>
                      <a:pt x="0" y="185"/>
                    </a:lnTo>
                    <a:lnTo>
                      <a:pt x="3" y="187"/>
                    </a:lnTo>
                    <a:lnTo>
                      <a:pt x="136" y="235"/>
                    </a:lnTo>
                    <a:lnTo>
                      <a:pt x="136"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C5C5C"/>
                  </a:solidFill>
                  <a:effectLst/>
                  <a:uLnTx/>
                  <a:uFillTx/>
                  <a:ea typeface="+mn-ea"/>
                  <a:cs typeface="+mn-cs"/>
                </a:endParaRPr>
              </a:p>
            </p:txBody>
          </p:sp>
          <p:sp>
            <p:nvSpPr>
              <p:cNvPr id="94" name="Freeform 123">
                <a:extLst>
                  <a:ext uri="{FF2B5EF4-FFF2-40B4-BE49-F238E27FC236}">
                    <a16:creationId xmlns:a16="http://schemas.microsoft.com/office/drawing/2014/main" id="{05CEA673-642F-49BF-BEF2-33D7CD8D5F84}"/>
                  </a:ext>
                </a:extLst>
              </p:cNvPr>
              <p:cNvSpPr>
                <a:spLocks/>
              </p:cNvSpPr>
              <p:nvPr/>
            </p:nvSpPr>
            <p:spPr bwMode="auto">
              <a:xfrm>
                <a:off x="11271251" y="2654300"/>
                <a:ext cx="215900" cy="68263"/>
              </a:xfrm>
              <a:custGeom>
                <a:avLst/>
                <a:gdLst>
                  <a:gd name="T0" fmla="*/ 136 w 273"/>
                  <a:gd name="T1" fmla="*/ 87 h 87"/>
                  <a:gd name="T2" fmla="*/ 273 w 273"/>
                  <a:gd name="T3" fmla="*/ 39 h 87"/>
                  <a:gd name="T4" fmla="*/ 137 w 273"/>
                  <a:gd name="T5" fmla="*/ 0 h 87"/>
                  <a:gd name="T6" fmla="*/ 137 w 273"/>
                  <a:gd name="T7" fmla="*/ 0 h 87"/>
                  <a:gd name="T8" fmla="*/ 134 w 273"/>
                  <a:gd name="T9" fmla="*/ 0 h 87"/>
                  <a:gd name="T10" fmla="*/ 0 w 273"/>
                  <a:gd name="T11" fmla="*/ 39 h 87"/>
                  <a:gd name="T12" fmla="*/ 136 w 273"/>
                  <a:gd name="T13" fmla="*/ 87 h 87"/>
                </a:gdLst>
                <a:ahLst/>
                <a:cxnLst>
                  <a:cxn ang="0">
                    <a:pos x="T0" y="T1"/>
                  </a:cxn>
                  <a:cxn ang="0">
                    <a:pos x="T2" y="T3"/>
                  </a:cxn>
                  <a:cxn ang="0">
                    <a:pos x="T4" y="T5"/>
                  </a:cxn>
                  <a:cxn ang="0">
                    <a:pos x="T6" y="T7"/>
                  </a:cxn>
                  <a:cxn ang="0">
                    <a:pos x="T8" y="T9"/>
                  </a:cxn>
                  <a:cxn ang="0">
                    <a:pos x="T10" y="T11"/>
                  </a:cxn>
                  <a:cxn ang="0">
                    <a:pos x="T12" y="T13"/>
                  </a:cxn>
                </a:cxnLst>
                <a:rect l="0" t="0" r="r" b="b"/>
                <a:pathLst>
                  <a:path w="273" h="87">
                    <a:moveTo>
                      <a:pt x="136" y="87"/>
                    </a:moveTo>
                    <a:lnTo>
                      <a:pt x="273" y="39"/>
                    </a:lnTo>
                    <a:lnTo>
                      <a:pt x="137" y="0"/>
                    </a:lnTo>
                    <a:lnTo>
                      <a:pt x="137" y="0"/>
                    </a:lnTo>
                    <a:lnTo>
                      <a:pt x="134" y="0"/>
                    </a:lnTo>
                    <a:lnTo>
                      <a:pt x="0" y="39"/>
                    </a:lnTo>
                    <a:lnTo>
                      <a:pt x="136"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C5C5C"/>
                  </a:solidFill>
                  <a:effectLst/>
                  <a:uLnTx/>
                  <a:uFillTx/>
                  <a:ea typeface="+mn-ea"/>
                  <a:cs typeface="+mn-cs"/>
                </a:endParaRPr>
              </a:p>
            </p:txBody>
          </p:sp>
          <p:sp>
            <p:nvSpPr>
              <p:cNvPr id="95" name="Freeform 124">
                <a:extLst>
                  <a:ext uri="{FF2B5EF4-FFF2-40B4-BE49-F238E27FC236}">
                    <a16:creationId xmlns:a16="http://schemas.microsoft.com/office/drawing/2014/main" id="{93D2607B-3AF8-4CFB-97A1-4AF7D0579A5E}"/>
                  </a:ext>
                </a:extLst>
              </p:cNvPr>
              <p:cNvSpPr>
                <a:spLocks/>
              </p:cNvSpPr>
              <p:nvPr/>
            </p:nvSpPr>
            <p:spPr bwMode="auto">
              <a:xfrm>
                <a:off x="11383963" y="2698750"/>
                <a:ext cx="106363" cy="187325"/>
              </a:xfrm>
              <a:custGeom>
                <a:avLst/>
                <a:gdLst>
                  <a:gd name="T0" fmla="*/ 0 w 136"/>
                  <a:gd name="T1" fmla="*/ 50 h 235"/>
                  <a:gd name="T2" fmla="*/ 0 w 136"/>
                  <a:gd name="T3" fmla="*/ 235 h 235"/>
                  <a:gd name="T4" fmla="*/ 133 w 136"/>
                  <a:gd name="T5" fmla="*/ 187 h 235"/>
                  <a:gd name="T6" fmla="*/ 133 w 136"/>
                  <a:gd name="T7" fmla="*/ 187 h 235"/>
                  <a:gd name="T8" fmla="*/ 136 w 136"/>
                  <a:gd name="T9" fmla="*/ 185 h 235"/>
                  <a:gd name="T10" fmla="*/ 136 w 136"/>
                  <a:gd name="T11" fmla="*/ 183 h 235"/>
                  <a:gd name="T12" fmla="*/ 136 w 136"/>
                  <a:gd name="T13" fmla="*/ 0 h 235"/>
                  <a:gd name="T14" fmla="*/ 0 w 136"/>
                  <a:gd name="T15" fmla="*/ 50 h 2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6" h="235">
                    <a:moveTo>
                      <a:pt x="0" y="50"/>
                    </a:moveTo>
                    <a:lnTo>
                      <a:pt x="0" y="235"/>
                    </a:lnTo>
                    <a:lnTo>
                      <a:pt x="133" y="187"/>
                    </a:lnTo>
                    <a:lnTo>
                      <a:pt x="133" y="187"/>
                    </a:lnTo>
                    <a:lnTo>
                      <a:pt x="136" y="185"/>
                    </a:lnTo>
                    <a:lnTo>
                      <a:pt x="136" y="183"/>
                    </a:lnTo>
                    <a:lnTo>
                      <a:pt x="136" y="0"/>
                    </a:lnTo>
                    <a:lnTo>
                      <a:pt x="0"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C5C5C"/>
                  </a:solidFill>
                  <a:effectLst/>
                  <a:uLnTx/>
                  <a:uFillTx/>
                  <a:ea typeface="+mn-ea"/>
                  <a:cs typeface="+mn-cs"/>
                </a:endParaRPr>
              </a:p>
            </p:txBody>
          </p:sp>
        </p:grpSp>
      </p:grpSp>
      <p:sp>
        <p:nvSpPr>
          <p:cNvPr id="80" name="object 17">
            <a:extLst>
              <a:ext uri="{FF2B5EF4-FFF2-40B4-BE49-F238E27FC236}">
                <a16:creationId xmlns:a16="http://schemas.microsoft.com/office/drawing/2014/main" id="{BBD23952-BE96-4D99-B9A8-34231DE79424}"/>
              </a:ext>
            </a:extLst>
          </p:cNvPr>
          <p:cNvSpPr/>
          <p:nvPr/>
        </p:nvSpPr>
        <p:spPr>
          <a:xfrm>
            <a:off x="8691701" y="1953899"/>
            <a:ext cx="1041190" cy="1161368"/>
          </a:xfrm>
          <a:custGeom>
            <a:avLst/>
            <a:gdLst/>
            <a:ahLst/>
            <a:cxnLst/>
            <a:rect l="l" t="t" r="r" b="b"/>
            <a:pathLst>
              <a:path w="1259839" h="1405254">
                <a:moveTo>
                  <a:pt x="556132" y="0"/>
                </a:moveTo>
                <a:lnTo>
                  <a:pt x="604293" y="1620"/>
                </a:lnTo>
                <a:lnTo>
                  <a:pt x="651582" y="6414"/>
                </a:lnTo>
                <a:lnTo>
                  <a:pt x="697894" y="14274"/>
                </a:lnTo>
                <a:lnTo>
                  <a:pt x="743124" y="25098"/>
                </a:lnTo>
                <a:lnTo>
                  <a:pt x="787169" y="38780"/>
                </a:lnTo>
                <a:lnTo>
                  <a:pt x="829923" y="55215"/>
                </a:lnTo>
                <a:lnTo>
                  <a:pt x="871281" y="74299"/>
                </a:lnTo>
                <a:lnTo>
                  <a:pt x="911140" y="95927"/>
                </a:lnTo>
                <a:lnTo>
                  <a:pt x="949394" y="119994"/>
                </a:lnTo>
                <a:lnTo>
                  <a:pt x="985938" y="146397"/>
                </a:lnTo>
                <a:lnTo>
                  <a:pt x="1020669" y="175029"/>
                </a:lnTo>
                <a:lnTo>
                  <a:pt x="1053480" y="205787"/>
                </a:lnTo>
                <a:lnTo>
                  <a:pt x="1084269" y="238566"/>
                </a:lnTo>
                <a:lnTo>
                  <a:pt x="1112929" y="273261"/>
                </a:lnTo>
                <a:lnTo>
                  <a:pt x="1139356" y="309767"/>
                </a:lnTo>
                <a:lnTo>
                  <a:pt x="1163447" y="347980"/>
                </a:lnTo>
                <a:lnTo>
                  <a:pt x="1185094" y="387794"/>
                </a:lnTo>
                <a:lnTo>
                  <a:pt x="1204196" y="429107"/>
                </a:lnTo>
                <a:lnTo>
                  <a:pt x="1220645" y="471812"/>
                </a:lnTo>
                <a:lnTo>
                  <a:pt x="1234339" y="515805"/>
                </a:lnTo>
                <a:lnTo>
                  <a:pt x="1245172" y="560981"/>
                </a:lnTo>
                <a:lnTo>
                  <a:pt x="1253039" y="607236"/>
                </a:lnTo>
                <a:lnTo>
                  <a:pt x="1257836" y="654465"/>
                </a:lnTo>
                <a:lnTo>
                  <a:pt x="1259459" y="702563"/>
                </a:lnTo>
                <a:lnTo>
                  <a:pt x="1257836" y="750662"/>
                </a:lnTo>
                <a:lnTo>
                  <a:pt x="1253039" y="797891"/>
                </a:lnTo>
                <a:lnTo>
                  <a:pt x="1245172" y="844146"/>
                </a:lnTo>
                <a:lnTo>
                  <a:pt x="1234339" y="889322"/>
                </a:lnTo>
                <a:lnTo>
                  <a:pt x="1220645" y="933315"/>
                </a:lnTo>
                <a:lnTo>
                  <a:pt x="1204196" y="976020"/>
                </a:lnTo>
                <a:lnTo>
                  <a:pt x="1185094" y="1017333"/>
                </a:lnTo>
                <a:lnTo>
                  <a:pt x="1163447" y="1057147"/>
                </a:lnTo>
                <a:lnTo>
                  <a:pt x="1139356" y="1095360"/>
                </a:lnTo>
                <a:lnTo>
                  <a:pt x="1112929" y="1131866"/>
                </a:lnTo>
                <a:lnTo>
                  <a:pt x="1084269" y="1166561"/>
                </a:lnTo>
                <a:lnTo>
                  <a:pt x="1053480" y="1199340"/>
                </a:lnTo>
                <a:lnTo>
                  <a:pt x="1020669" y="1230098"/>
                </a:lnTo>
                <a:lnTo>
                  <a:pt x="985938" y="1258730"/>
                </a:lnTo>
                <a:lnTo>
                  <a:pt x="949394" y="1285133"/>
                </a:lnTo>
                <a:lnTo>
                  <a:pt x="911140" y="1309200"/>
                </a:lnTo>
                <a:lnTo>
                  <a:pt x="871281" y="1330828"/>
                </a:lnTo>
                <a:lnTo>
                  <a:pt x="829923" y="1349912"/>
                </a:lnTo>
                <a:lnTo>
                  <a:pt x="787169" y="1366347"/>
                </a:lnTo>
                <a:lnTo>
                  <a:pt x="743124" y="1380029"/>
                </a:lnTo>
                <a:lnTo>
                  <a:pt x="697894" y="1390853"/>
                </a:lnTo>
                <a:lnTo>
                  <a:pt x="651582" y="1398713"/>
                </a:lnTo>
                <a:lnTo>
                  <a:pt x="604293" y="1403507"/>
                </a:lnTo>
                <a:lnTo>
                  <a:pt x="556132" y="1405128"/>
                </a:lnTo>
                <a:lnTo>
                  <a:pt x="506172" y="1403355"/>
                </a:lnTo>
                <a:lnTo>
                  <a:pt x="456808" y="1398092"/>
                </a:lnTo>
                <a:lnTo>
                  <a:pt x="408205" y="1389418"/>
                </a:lnTo>
                <a:lnTo>
                  <a:pt x="360525" y="1377414"/>
                </a:lnTo>
                <a:lnTo>
                  <a:pt x="313933" y="1362159"/>
                </a:lnTo>
                <a:lnTo>
                  <a:pt x="268593" y="1343733"/>
                </a:lnTo>
                <a:lnTo>
                  <a:pt x="224667" y="1322217"/>
                </a:lnTo>
                <a:lnTo>
                  <a:pt x="182321" y="1297691"/>
                </a:lnTo>
                <a:lnTo>
                  <a:pt x="141717" y="1270235"/>
                </a:lnTo>
                <a:lnTo>
                  <a:pt x="103019" y="1239929"/>
                </a:lnTo>
                <a:lnTo>
                  <a:pt x="66391" y="1206853"/>
                </a:lnTo>
                <a:lnTo>
                  <a:pt x="31997" y="1171088"/>
                </a:lnTo>
                <a:lnTo>
                  <a:pt x="0" y="1132713"/>
                </a:lnTo>
              </a:path>
            </a:pathLst>
          </a:custGeom>
          <a:ln w="1524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81" name="object 18">
            <a:extLst>
              <a:ext uri="{FF2B5EF4-FFF2-40B4-BE49-F238E27FC236}">
                <a16:creationId xmlns:a16="http://schemas.microsoft.com/office/drawing/2014/main" id="{9D06E3DE-8D89-40E6-BF14-E574A0EA229E}"/>
              </a:ext>
            </a:extLst>
          </p:cNvPr>
          <p:cNvSpPr/>
          <p:nvPr/>
        </p:nvSpPr>
        <p:spPr>
          <a:xfrm>
            <a:off x="8622954" y="2006798"/>
            <a:ext cx="1056934" cy="1055884"/>
          </a:xfrm>
          <a:custGeom>
            <a:avLst/>
            <a:gdLst/>
            <a:ahLst/>
            <a:cxnLst/>
            <a:rect l="l" t="t" r="r" b="b"/>
            <a:pathLst>
              <a:path w="1278889" h="1277620">
                <a:moveTo>
                  <a:pt x="639317" y="0"/>
                </a:moveTo>
                <a:lnTo>
                  <a:pt x="687027" y="1751"/>
                </a:lnTo>
                <a:lnTo>
                  <a:pt x="733785" y="6923"/>
                </a:lnTo>
                <a:lnTo>
                  <a:pt x="779468" y="15392"/>
                </a:lnTo>
                <a:lnTo>
                  <a:pt x="823952" y="27034"/>
                </a:lnTo>
                <a:lnTo>
                  <a:pt x="867112" y="41727"/>
                </a:lnTo>
                <a:lnTo>
                  <a:pt x="908827" y="59346"/>
                </a:lnTo>
                <a:lnTo>
                  <a:pt x="948971" y="79769"/>
                </a:lnTo>
                <a:lnTo>
                  <a:pt x="987422" y="102871"/>
                </a:lnTo>
                <a:lnTo>
                  <a:pt x="1024055" y="128530"/>
                </a:lnTo>
                <a:lnTo>
                  <a:pt x="1058747" y="156622"/>
                </a:lnTo>
                <a:lnTo>
                  <a:pt x="1091374" y="187023"/>
                </a:lnTo>
                <a:lnTo>
                  <a:pt x="1121813" y="219610"/>
                </a:lnTo>
                <a:lnTo>
                  <a:pt x="1149940" y="254260"/>
                </a:lnTo>
                <a:lnTo>
                  <a:pt x="1175631" y="290849"/>
                </a:lnTo>
                <a:lnTo>
                  <a:pt x="1198763" y="329253"/>
                </a:lnTo>
                <a:lnTo>
                  <a:pt x="1219212" y="369350"/>
                </a:lnTo>
                <a:lnTo>
                  <a:pt x="1236854" y="411016"/>
                </a:lnTo>
                <a:lnTo>
                  <a:pt x="1251565" y="454127"/>
                </a:lnTo>
                <a:lnTo>
                  <a:pt x="1263223" y="498560"/>
                </a:lnTo>
                <a:lnTo>
                  <a:pt x="1271703" y="544191"/>
                </a:lnTo>
                <a:lnTo>
                  <a:pt x="1276882" y="590898"/>
                </a:lnTo>
                <a:lnTo>
                  <a:pt x="1278636" y="638555"/>
                </a:lnTo>
                <a:lnTo>
                  <a:pt x="1276882" y="686213"/>
                </a:lnTo>
                <a:lnTo>
                  <a:pt x="1271703" y="732920"/>
                </a:lnTo>
                <a:lnTo>
                  <a:pt x="1263223" y="778551"/>
                </a:lnTo>
                <a:lnTo>
                  <a:pt x="1251565" y="822984"/>
                </a:lnTo>
                <a:lnTo>
                  <a:pt x="1236854" y="866095"/>
                </a:lnTo>
                <a:lnTo>
                  <a:pt x="1219212" y="907761"/>
                </a:lnTo>
                <a:lnTo>
                  <a:pt x="1198763" y="947858"/>
                </a:lnTo>
                <a:lnTo>
                  <a:pt x="1175631" y="986262"/>
                </a:lnTo>
                <a:lnTo>
                  <a:pt x="1149940" y="1022851"/>
                </a:lnTo>
                <a:lnTo>
                  <a:pt x="1121813" y="1057501"/>
                </a:lnTo>
                <a:lnTo>
                  <a:pt x="1091374" y="1090088"/>
                </a:lnTo>
                <a:lnTo>
                  <a:pt x="1058747" y="1120489"/>
                </a:lnTo>
                <a:lnTo>
                  <a:pt x="1024055" y="1148581"/>
                </a:lnTo>
                <a:lnTo>
                  <a:pt x="987422" y="1174240"/>
                </a:lnTo>
                <a:lnTo>
                  <a:pt x="948971" y="1197342"/>
                </a:lnTo>
                <a:lnTo>
                  <a:pt x="908827" y="1217765"/>
                </a:lnTo>
                <a:lnTo>
                  <a:pt x="867112" y="1235384"/>
                </a:lnTo>
                <a:lnTo>
                  <a:pt x="823952" y="1250077"/>
                </a:lnTo>
                <a:lnTo>
                  <a:pt x="779468" y="1261719"/>
                </a:lnTo>
                <a:lnTo>
                  <a:pt x="733785" y="1270188"/>
                </a:lnTo>
                <a:lnTo>
                  <a:pt x="687027" y="1275360"/>
                </a:lnTo>
                <a:lnTo>
                  <a:pt x="639317" y="1277112"/>
                </a:lnTo>
                <a:lnTo>
                  <a:pt x="591608" y="1275360"/>
                </a:lnTo>
                <a:lnTo>
                  <a:pt x="544850" y="1270188"/>
                </a:lnTo>
                <a:lnTo>
                  <a:pt x="499167" y="1261719"/>
                </a:lnTo>
                <a:lnTo>
                  <a:pt x="454683" y="1250077"/>
                </a:lnTo>
                <a:lnTo>
                  <a:pt x="411523" y="1235384"/>
                </a:lnTo>
                <a:lnTo>
                  <a:pt x="369808" y="1217765"/>
                </a:lnTo>
                <a:lnTo>
                  <a:pt x="329664" y="1197342"/>
                </a:lnTo>
                <a:lnTo>
                  <a:pt x="291213" y="1174240"/>
                </a:lnTo>
                <a:lnTo>
                  <a:pt x="254580" y="1148581"/>
                </a:lnTo>
                <a:lnTo>
                  <a:pt x="219888" y="1120489"/>
                </a:lnTo>
                <a:lnTo>
                  <a:pt x="187261" y="1090088"/>
                </a:lnTo>
                <a:lnTo>
                  <a:pt x="156822" y="1057501"/>
                </a:lnTo>
                <a:lnTo>
                  <a:pt x="128695" y="1022851"/>
                </a:lnTo>
                <a:lnTo>
                  <a:pt x="103004" y="986262"/>
                </a:lnTo>
                <a:lnTo>
                  <a:pt x="79872" y="947858"/>
                </a:lnTo>
                <a:lnTo>
                  <a:pt x="59423" y="907761"/>
                </a:lnTo>
                <a:lnTo>
                  <a:pt x="41781" y="866095"/>
                </a:lnTo>
                <a:lnTo>
                  <a:pt x="27070" y="822984"/>
                </a:lnTo>
                <a:lnTo>
                  <a:pt x="15412" y="778551"/>
                </a:lnTo>
                <a:lnTo>
                  <a:pt x="6932" y="732920"/>
                </a:lnTo>
                <a:lnTo>
                  <a:pt x="1753" y="686213"/>
                </a:lnTo>
                <a:lnTo>
                  <a:pt x="0" y="638555"/>
                </a:lnTo>
                <a:lnTo>
                  <a:pt x="2217" y="585401"/>
                </a:lnTo>
                <a:lnTo>
                  <a:pt x="8812" y="532886"/>
                </a:lnTo>
                <a:lnTo>
                  <a:pt x="19696" y="481266"/>
                </a:lnTo>
                <a:lnTo>
                  <a:pt x="34782" y="430799"/>
                </a:lnTo>
                <a:lnTo>
                  <a:pt x="53981" y="381744"/>
                </a:lnTo>
                <a:lnTo>
                  <a:pt x="77206" y="334357"/>
                </a:lnTo>
                <a:lnTo>
                  <a:pt x="104368" y="288895"/>
                </a:lnTo>
                <a:lnTo>
                  <a:pt x="135382" y="245617"/>
                </a:lnTo>
              </a:path>
            </a:pathLst>
          </a:custGeom>
          <a:ln w="1524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82" name="object 19">
            <a:extLst>
              <a:ext uri="{FF2B5EF4-FFF2-40B4-BE49-F238E27FC236}">
                <a16:creationId xmlns:a16="http://schemas.microsoft.com/office/drawing/2014/main" id="{C32EA2D8-2A8C-4D31-B473-2C2FAB6F875B}"/>
              </a:ext>
            </a:extLst>
          </p:cNvPr>
          <p:cNvSpPr/>
          <p:nvPr/>
        </p:nvSpPr>
        <p:spPr>
          <a:xfrm>
            <a:off x="9155724" y="1890924"/>
            <a:ext cx="638674" cy="894773"/>
          </a:xfrm>
          <a:custGeom>
            <a:avLst/>
            <a:gdLst/>
            <a:ahLst/>
            <a:cxnLst/>
            <a:rect l="l" t="t" r="r" b="b"/>
            <a:pathLst>
              <a:path w="772795" h="1082675">
                <a:moveTo>
                  <a:pt x="0" y="0"/>
                </a:moveTo>
                <a:lnTo>
                  <a:pt x="48863" y="1521"/>
                </a:lnTo>
                <a:lnTo>
                  <a:pt x="96919" y="6026"/>
                </a:lnTo>
                <a:lnTo>
                  <a:pt x="144077" y="13424"/>
                </a:lnTo>
                <a:lnTo>
                  <a:pt x="190246" y="23624"/>
                </a:lnTo>
                <a:lnTo>
                  <a:pt x="235337" y="36535"/>
                </a:lnTo>
                <a:lnTo>
                  <a:pt x="279258" y="52067"/>
                </a:lnTo>
                <a:lnTo>
                  <a:pt x="321919" y="70128"/>
                </a:lnTo>
                <a:lnTo>
                  <a:pt x="363229" y="90629"/>
                </a:lnTo>
                <a:lnTo>
                  <a:pt x="403098" y="113479"/>
                </a:lnTo>
                <a:lnTo>
                  <a:pt x="441436" y="138587"/>
                </a:lnTo>
                <a:lnTo>
                  <a:pt x="478151" y="165862"/>
                </a:lnTo>
                <a:lnTo>
                  <a:pt x="513154" y="195214"/>
                </a:lnTo>
                <a:lnTo>
                  <a:pt x="546354" y="226552"/>
                </a:lnTo>
                <a:lnTo>
                  <a:pt x="577659" y="259785"/>
                </a:lnTo>
                <a:lnTo>
                  <a:pt x="606981" y="294823"/>
                </a:lnTo>
                <a:lnTo>
                  <a:pt x="634228" y="331575"/>
                </a:lnTo>
                <a:lnTo>
                  <a:pt x="659309" y="369951"/>
                </a:lnTo>
                <a:lnTo>
                  <a:pt x="682135" y="409859"/>
                </a:lnTo>
                <a:lnTo>
                  <a:pt x="702614" y="451210"/>
                </a:lnTo>
                <a:lnTo>
                  <a:pt x="720657" y="493912"/>
                </a:lnTo>
                <a:lnTo>
                  <a:pt x="736172" y="537875"/>
                </a:lnTo>
                <a:lnTo>
                  <a:pt x="749069" y="583008"/>
                </a:lnTo>
                <a:lnTo>
                  <a:pt x="759257" y="629221"/>
                </a:lnTo>
                <a:lnTo>
                  <a:pt x="766647" y="676422"/>
                </a:lnTo>
                <a:lnTo>
                  <a:pt x="771147" y="724522"/>
                </a:lnTo>
                <a:lnTo>
                  <a:pt x="772668" y="773430"/>
                </a:lnTo>
                <a:lnTo>
                  <a:pt x="770853" y="826453"/>
                </a:lnTo>
                <a:lnTo>
                  <a:pt x="765433" y="879103"/>
                </a:lnTo>
                <a:lnTo>
                  <a:pt x="756443" y="931195"/>
                </a:lnTo>
                <a:lnTo>
                  <a:pt x="743918" y="982547"/>
                </a:lnTo>
                <a:lnTo>
                  <a:pt x="727894" y="1032974"/>
                </a:lnTo>
                <a:lnTo>
                  <a:pt x="708406" y="1082294"/>
                </a:lnTo>
              </a:path>
            </a:pathLst>
          </a:custGeom>
          <a:ln w="1524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83" name="object 40">
            <a:extLst>
              <a:ext uri="{FF2B5EF4-FFF2-40B4-BE49-F238E27FC236}">
                <a16:creationId xmlns:a16="http://schemas.microsoft.com/office/drawing/2014/main" id="{FFB02924-F408-428F-9E87-F83F875DF37D}"/>
              </a:ext>
            </a:extLst>
          </p:cNvPr>
          <p:cNvSpPr/>
          <p:nvPr/>
        </p:nvSpPr>
        <p:spPr>
          <a:xfrm>
            <a:off x="8689077" y="2064106"/>
            <a:ext cx="934657" cy="934657"/>
          </a:xfrm>
          <a:custGeom>
            <a:avLst/>
            <a:gdLst/>
            <a:ahLst/>
            <a:cxnLst/>
            <a:rect l="l" t="t" r="r" b="b"/>
            <a:pathLst>
              <a:path w="1130935" h="1130935">
                <a:moveTo>
                  <a:pt x="565403" y="0"/>
                </a:moveTo>
                <a:lnTo>
                  <a:pt x="516614" y="2075"/>
                </a:lnTo>
                <a:lnTo>
                  <a:pt x="468978" y="8187"/>
                </a:lnTo>
                <a:lnTo>
                  <a:pt x="422665" y="18167"/>
                </a:lnTo>
                <a:lnTo>
                  <a:pt x="377844" y="31845"/>
                </a:lnTo>
                <a:lnTo>
                  <a:pt x="334686" y="49051"/>
                </a:lnTo>
                <a:lnTo>
                  <a:pt x="293360" y="69615"/>
                </a:lnTo>
                <a:lnTo>
                  <a:pt x="254034" y="93369"/>
                </a:lnTo>
                <a:lnTo>
                  <a:pt x="216881" y="120142"/>
                </a:lnTo>
                <a:lnTo>
                  <a:pt x="182067" y="149765"/>
                </a:lnTo>
                <a:lnTo>
                  <a:pt x="149765" y="182067"/>
                </a:lnTo>
                <a:lnTo>
                  <a:pt x="120142" y="216881"/>
                </a:lnTo>
                <a:lnTo>
                  <a:pt x="93369" y="254034"/>
                </a:lnTo>
                <a:lnTo>
                  <a:pt x="69615" y="293360"/>
                </a:lnTo>
                <a:lnTo>
                  <a:pt x="49051" y="334686"/>
                </a:lnTo>
                <a:lnTo>
                  <a:pt x="31845" y="377844"/>
                </a:lnTo>
                <a:lnTo>
                  <a:pt x="18167" y="422665"/>
                </a:lnTo>
                <a:lnTo>
                  <a:pt x="8187" y="468978"/>
                </a:lnTo>
                <a:lnTo>
                  <a:pt x="2075" y="516614"/>
                </a:lnTo>
                <a:lnTo>
                  <a:pt x="0" y="565404"/>
                </a:lnTo>
                <a:lnTo>
                  <a:pt x="2075" y="614193"/>
                </a:lnTo>
                <a:lnTo>
                  <a:pt x="8187" y="661829"/>
                </a:lnTo>
                <a:lnTo>
                  <a:pt x="18167" y="708142"/>
                </a:lnTo>
                <a:lnTo>
                  <a:pt x="31845" y="752963"/>
                </a:lnTo>
                <a:lnTo>
                  <a:pt x="49051" y="796121"/>
                </a:lnTo>
                <a:lnTo>
                  <a:pt x="69615" y="837447"/>
                </a:lnTo>
                <a:lnTo>
                  <a:pt x="93369" y="876773"/>
                </a:lnTo>
                <a:lnTo>
                  <a:pt x="120142" y="913926"/>
                </a:lnTo>
                <a:lnTo>
                  <a:pt x="149765" y="948740"/>
                </a:lnTo>
                <a:lnTo>
                  <a:pt x="182067" y="981042"/>
                </a:lnTo>
                <a:lnTo>
                  <a:pt x="216881" y="1010665"/>
                </a:lnTo>
                <a:lnTo>
                  <a:pt x="254034" y="1037438"/>
                </a:lnTo>
                <a:lnTo>
                  <a:pt x="293360" y="1061192"/>
                </a:lnTo>
                <a:lnTo>
                  <a:pt x="334686" y="1081756"/>
                </a:lnTo>
                <a:lnTo>
                  <a:pt x="377844" y="1098962"/>
                </a:lnTo>
                <a:lnTo>
                  <a:pt x="422665" y="1112640"/>
                </a:lnTo>
                <a:lnTo>
                  <a:pt x="468978" y="1122620"/>
                </a:lnTo>
                <a:lnTo>
                  <a:pt x="516614" y="1128732"/>
                </a:lnTo>
                <a:lnTo>
                  <a:pt x="565403" y="1130808"/>
                </a:lnTo>
                <a:lnTo>
                  <a:pt x="614193" y="1128732"/>
                </a:lnTo>
                <a:lnTo>
                  <a:pt x="661829" y="1122620"/>
                </a:lnTo>
                <a:lnTo>
                  <a:pt x="708142" y="1112640"/>
                </a:lnTo>
                <a:lnTo>
                  <a:pt x="752963" y="1098962"/>
                </a:lnTo>
                <a:lnTo>
                  <a:pt x="796121" y="1081756"/>
                </a:lnTo>
                <a:lnTo>
                  <a:pt x="837447" y="1061192"/>
                </a:lnTo>
                <a:lnTo>
                  <a:pt x="876773" y="1037438"/>
                </a:lnTo>
                <a:lnTo>
                  <a:pt x="913926" y="1010665"/>
                </a:lnTo>
                <a:lnTo>
                  <a:pt x="948740" y="981042"/>
                </a:lnTo>
                <a:lnTo>
                  <a:pt x="981042" y="948740"/>
                </a:lnTo>
                <a:lnTo>
                  <a:pt x="1010665" y="913926"/>
                </a:lnTo>
                <a:lnTo>
                  <a:pt x="1037438" y="876773"/>
                </a:lnTo>
                <a:lnTo>
                  <a:pt x="1061192" y="837447"/>
                </a:lnTo>
                <a:lnTo>
                  <a:pt x="1081756" y="796121"/>
                </a:lnTo>
                <a:lnTo>
                  <a:pt x="1098962" y="752963"/>
                </a:lnTo>
                <a:lnTo>
                  <a:pt x="1112640" y="708142"/>
                </a:lnTo>
                <a:lnTo>
                  <a:pt x="1122620" y="661829"/>
                </a:lnTo>
                <a:lnTo>
                  <a:pt x="1128732" y="614193"/>
                </a:lnTo>
                <a:lnTo>
                  <a:pt x="1130807" y="565404"/>
                </a:lnTo>
                <a:lnTo>
                  <a:pt x="1128732" y="516614"/>
                </a:lnTo>
                <a:lnTo>
                  <a:pt x="1122620" y="468978"/>
                </a:lnTo>
                <a:lnTo>
                  <a:pt x="1112640" y="422665"/>
                </a:lnTo>
                <a:lnTo>
                  <a:pt x="1098962" y="377844"/>
                </a:lnTo>
                <a:lnTo>
                  <a:pt x="1081756" y="334686"/>
                </a:lnTo>
                <a:lnTo>
                  <a:pt x="1061192" y="293360"/>
                </a:lnTo>
                <a:lnTo>
                  <a:pt x="1037438" y="254034"/>
                </a:lnTo>
                <a:lnTo>
                  <a:pt x="1010665" y="216881"/>
                </a:lnTo>
                <a:lnTo>
                  <a:pt x="981042" y="182067"/>
                </a:lnTo>
                <a:lnTo>
                  <a:pt x="948740" y="149765"/>
                </a:lnTo>
                <a:lnTo>
                  <a:pt x="913926" y="120142"/>
                </a:lnTo>
                <a:lnTo>
                  <a:pt x="876773" y="93369"/>
                </a:lnTo>
                <a:lnTo>
                  <a:pt x="837447" y="69615"/>
                </a:lnTo>
                <a:lnTo>
                  <a:pt x="796121" y="49051"/>
                </a:lnTo>
                <a:lnTo>
                  <a:pt x="752963" y="31845"/>
                </a:lnTo>
                <a:lnTo>
                  <a:pt x="708142" y="18167"/>
                </a:lnTo>
                <a:lnTo>
                  <a:pt x="661829" y="8187"/>
                </a:lnTo>
                <a:lnTo>
                  <a:pt x="614193" y="2075"/>
                </a:lnTo>
                <a:lnTo>
                  <a:pt x="565403" y="0"/>
                </a:lnTo>
                <a:close/>
              </a:path>
            </a:pathLst>
          </a:custGeom>
          <a:solidFill>
            <a:srgbClr val="FFFFFF"/>
          </a:solidFill>
          <a:ln>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84" name="object 41">
            <a:extLst>
              <a:ext uri="{FF2B5EF4-FFF2-40B4-BE49-F238E27FC236}">
                <a16:creationId xmlns:a16="http://schemas.microsoft.com/office/drawing/2014/main" id="{301CCC0B-F624-40A5-8810-6C05ECD41E89}"/>
              </a:ext>
            </a:extLst>
          </p:cNvPr>
          <p:cNvSpPr/>
          <p:nvPr/>
        </p:nvSpPr>
        <p:spPr>
          <a:xfrm>
            <a:off x="8689077" y="2064106"/>
            <a:ext cx="934657" cy="934657"/>
          </a:xfrm>
          <a:custGeom>
            <a:avLst/>
            <a:gdLst/>
            <a:ahLst/>
            <a:cxnLst/>
            <a:rect l="l" t="t" r="r" b="b"/>
            <a:pathLst>
              <a:path w="1130935" h="1130935">
                <a:moveTo>
                  <a:pt x="0" y="565404"/>
                </a:moveTo>
                <a:lnTo>
                  <a:pt x="2075" y="516614"/>
                </a:lnTo>
                <a:lnTo>
                  <a:pt x="8187" y="468978"/>
                </a:lnTo>
                <a:lnTo>
                  <a:pt x="18167" y="422665"/>
                </a:lnTo>
                <a:lnTo>
                  <a:pt x="31845" y="377844"/>
                </a:lnTo>
                <a:lnTo>
                  <a:pt x="49051" y="334686"/>
                </a:lnTo>
                <a:lnTo>
                  <a:pt x="69615" y="293360"/>
                </a:lnTo>
                <a:lnTo>
                  <a:pt x="93369" y="254034"/>
                </a:lnTo>
                <a:lnTo>
                  <a:pt x="120142" y="216881"/>
                </a:lnTo>
                <a:lnTo>
                  <a:pt x="149765" y="182067"/>
                </a:lnTo>
                <a:lnTo>
                  <a:pt x="182067" y="149765"/>
                </a:lnTo>
                <a:lnTo>
                  <a:pt x="216881" y="120142"/>
                </a:lnTo>
                <a:lnTo>
                  <a:pt x="254034" y="93369"/>
                </a:lnTo>
                <a:lnTo>
                  <a:pt x="293360" y="69615"/>
                </a:lnTo>
                <a:lnTo>
                  <a:pt x="334686" y="49051"/>
                </a:lnTo>
                <a:lnTo>
                  <a:pt x="377844" y="31845"/>
                </a:lnTo>
                <a:lnTo>
                  <a:pt x="422665" y="18167"/>
                </a:lnTo>
                <a:lnTo>
                  <a:pt x="468978" y="8187"/>
                </a:lnTo>
                <a:lnTo>
                  <a:pt x="516614" y="2075"/>
                </a:lnTo>
                <a:lnTo>
                  <a:pt x="565403" y="0"/>
                </a:lnTo>
                <a:lnTo>
                  <a:pt x="614193" y="2075"/>
                </a:lnTo>
                <a:lnTo>
                  <a:pt x="661829" y="8187"/>
                </a:lnTo>
                <a:lnTo>
                  <a:pt x="708142" y="18167"/>
                </a:lnTo>
                <a:lnTo>
                  <a:pt x="752963" y="31845"/>
                </a:lnTo>
                <a:lnTo>
                  <a:pt x="796121" y="49051"/>
                </a:lnTo>
                <a:lnTo>
                  <a:pt x="837447" y="69615"/>
                </a:lnTo>
                <a:lnTo>
                  <a:pt x="876773" y="93369"/>
                </a:lnTo>
                <a:lnTo>
                  <a:pt x="913926" y="120142"/>
                </a:lnTo>
                <a:lnTo>
                  <a:pt x="948740" y="149765"/>
                </a:lnTo>
                <a:lnTo>
                  <a:pt x="981042" y="182067"/>
                </a:lnTo>
                <a:lnTo>
                  <a:pt x="1010665" y="216881"/>
                </a:lnTo>
                <a:lnTo>
                  <a:pt x="1037438" y="254034"/>
                </a:lnTo>
                <a:lnTo>
                  <a:pt x="1061192" y="293360"/>
                </a:lnTo>
                <a:lnTo>
                  <a:pt x="1081756" y="334686"/>
                </a:lnTo>
                <a:lnTo>
                  <a:pt x="1098962" y="377844"/>
                </a:lnTo>
                <a:lnTo>
                  <a:pt x="1112640" y="422665"/>
                </a:lnTo>
                <a:lnTo>
                  <a:pt x="1122620" y="468978"/>
                </a:lnTo>
                <a:lnTo>
                  <a:pt x="1128732" y="516614"/>
                </a:lnTo>
                <a:lnTo>
                  <a:pt x="1130807" y="565404"/>
                </a:lnTo>
                <a:lnTo>
                  <a:pt x="1128732" y="614193"/>
                </a:lnTo>
                <a:lnTo>
                  <a:pt x="1122620" y="661829"/>
                </a:lnTo>
                <a:lnTo>
                  <a:pt x="1112640" y="708142"/>
                </a:lnTo>
                <a:lnTo>
                  <a:pt x="1098962" y="752963"/>
                </a:lnTo>
                <a:lnTo>
                  <a:pt x="1081756" y="796121"/>
                </a:lnTo>
                <a:lnTo>
                  <a:pt x="1061192" y="837447"/>
                </a:lnTo>
                <a:lnTo>
                  <a:pt x="1037438" y="876773"/>
                </a:lnTo>
                <a:lnTo>
                  <a:pt x="1010665" y="913926"/>
                </a:lnTo>
                <a:lnTo>
                  <a:pt x="981042" y="948740"/>
                </a:lnTo>
                <a:lnTo>
                  <a:pt x="948740" y="981042"/>
                </a:lnTo>
                <a:lnTo>
                  <a:pt x="913926" y="1010665"/>
                </a:lnTo>
                <a:lnTo>
                  <a:pt x="876773" y="1037438"/>
                </a:lnTo>
                <a:lnTo>
                  <a:pt x="837447" y="1061192"/>
                </a:lnTo>
                <a:lnTo>
                  <a:pt x="796121" y="1081756"/>
                </a:lnTo>
                <a:lnTo>
                  <a:pt x="752963" y="1098962"/>
                </a:lnTo>
                <a:lnTo>
                  <a:pt x="708142" y="1112640"/>
                </a:lnTo>
                <a:lnTo>
                  <a:pt x="661829" y="1122620"/>
                </a:lnTo>
                <a:lnTo>
                  <a:pt x="614193" y="1128732"/>
                </a:lnTo>
                <a:lnTo>
                  <a:pt x="565403" y="1130808"/>
                </a:lnTo>
                <a:lnTo>
                  <a:pt x="516614" y="1128732"/>
                </a:lnTo>
                <a:lnTo>
                  <a:pt x="468978" y="1122620"/>
                </a:lnTo>
                <a:lnTo>
                  <a:pt x="422665" y="1112640"/>
                </a:lnTo>
                <a:lnTo>
                  <a:pt x="377844" y="1098962"/>
                </a:lnTo>
                <a:lnTo>
                  <a:pt x="334686" y="1081756"/>
                </a:lnTo>
                <a:lnTo>
                  <a:pt x="293360" y="1061192"/>
                </a:lnTo>
                <a:lnTo>
                  <a:pt x="254034" y="1037438"/>
                </a:lnTo>
                <a:lnTo>
                  <a:pt x="216881" y="1010665"/>
                </a:lnTo>
                <a:lnTo>
                  <a:pt x="182067" y="981042"/>
                </a:lnTo>
                <a:lnTo>
                  <a:pt x="149765" y="948740"/>
                </a:lnTo>
                <a:lnTo>
                  <a:pt x="120142" y="913926"/>
                </a:lnTo>
                <a:lnTo>
                  <a:pt x="93369" y="876773"/>
                </a:lnTo>
                <a:lnTo>
                  <a:pt x="69615" y="837447"/>
                </a:lnTo>
                <a:lnTo>
                  <a:pt x="49051" y="796121"/>
                </a:lnTo>
                <a:lnTo>
                  <a:pt x="31845" y="752963"/>
                </a:lnTo>
                <a:lnTo>
                  <a:pt x="18167" y="708142"/>
                </a:lnTo>
                <a:lnTo>
                  <a:pt x="8187" y="661829"/>
                </a:lnTo>
                <a:lnTo>
                  <a:pt x="2075" y="614193"/>
                </a:lnTo>
                <a:lnTo>
                  <a:pt x="0" y="565404"/>
                </a:lnTo>
                <a:close/>
              </a:path>
            </a:pathLst>
          </a:custGeom>
          <a:ln w="19812">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37" name="object 69">
            <a:extLst>
              <a:ext uri="{FF2B5EF4-FFF2-40B4-BE49-F238E27FC236}">
                <a16:creationId xmlns:a16="http://schemas.microsoft.com/office/drawing/2014/main" id="{28E1362B-6777-4AAA-834C-E46480650754}"/>
              </a:ext>
            </a:extLst>
          </p:cNvPr>
          <p:cNvSpPr/>
          <p:nvPr/>
        </p:nvSpPr>
        <p:spPr>
          <a:xfrm>
            <a:off x="8892381" y="2337594"/>
            <a:ext cx="639829" cy="467687"/>
          </a:xfrm>
          <a:prstGeom prst="rect">
            <a:avLst/>
          </a:prstGeom>
          <a:blipFill>
            <a:blip r:embed="rId15"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38" name="object 74">
            <a:extLst>
              <a:ext uri="{FF2B5EF4-FFF2-40B4-BE49-F238E27FC236}">
                <a16:creationId xmlns:a16="http://schemas.microsoft.com/office/drawing/2014/main" id="{AC6DAD22-6877-4BD2-ACD0-C32418237BFB}"/>
              </a:ext>
            </a:extLst>
          </p:cNvPr>
          <p:cNvSpPr/>
          <p:nvPr/>
        </p:nvSpPr>
        <p:spPr>
          <a:xfrm>
            <a:off x="8795587" y="2410966"/>
            <a:ext cx="234696" cy="239268"/>
          </a:xfrm>
          <a:prstGeom prst="rect">
            <a:avLst/>
          </a:prstGeom>
          <a:blipFill>
            <a:blip r:embed="rId16"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39" name="object 65">
            <a:extLst>
              <a:ext uri="{FF2B5EF4-FFF2-40B4-BE49-F238E27FC236}">
                <a16:creationId xmlns:a16="http://schemas.microsoft.com/office/drawing/2014/main" id="{DBD926DD-38FE-4FA9-A76A-E9F140DF9BF6}"/>
              </a:ext>
            </a:extLst>
          </p:cNvPr>
          <p:cNvSpPr/>
          <p:nvPr/>
        </p:nvSpPr>
        <p:spPr>
          <a:xfrm rot="516229">
            <a:off x="7279502" y="1893623"/>
            <a:ext cx="1361200" cy="339882"/>
          </a:xfrm>
          <a:custGeom>
            <a:avLst/>
            <a:gdLst/>
            <a:ahLst/>
            <a:cxnLst/>
            <a:rect l="l" t="t" r="r" b="b"/>
            <a:pathLst>
              <a:path w="1685289" h="352425">
                <a:moveTo>
                  <a:pt x="1621144" y="306764"/>
                </a:moveTo>
                <a:lnTo>
                  <a:pt x="1602486" y="327913"/>
                </a:lnTo>
                <a:lnTo>
                  <a:pt x="1684782" y="349758"/>
                </a:lnTo>
                <a:lnTo>
                  <a:pt x="1670790" y="315087"/>
                </a:lnTo>
                <a:lnTo>
                  <a:pt x="1631188" y="315087"/>
                </a:lnTo>
                <a:lnTo>
                  <a:pt x="1621144" y="306764"/>
                </a:lnTo>
                <a:close/>
              </a:path>
              <a:path w="1685289" h="352425">
                <a:moveTo>
                  <a:pt x="1633736" y="292491"/>
                </a:moveTo>
                <a:lnTo>
                  <a:pt x="1621144" y="306764"/>
                </a:lnTo>
                <a:lnTo>
                  <a:pt x="1631188" y="315087"/>
                </a:lnTo>
                <a:lnTo>
                  <a:pt x="1643380" y="300482"/>
                </a:lnTo>
                <a:lnTo>
                  <a:pt x="1633736" y="292491"/>
                </a:lnTo>
                <a:close/>
              </a:path>
              <a:path w="1685289" h="352425">
                <a:moveTo>
                  <a:pt x="1652905" y="270763"/>
                </a:moveTo>
                <a:lnTo>
                  <a:pt x="1633736" y="292491"/>
                </a:lnTo>
                <a:lnTo>
                  <a:pt x="1643380" y="300482"/>
                </a:lnTo>
                <a:lnTo>
                  <a:pt x="1631188" y="315087"/>
                </a:lnTo>
                <a:lnTo>
                  <a:pt x="1670790" y="315087"/>
                </a:lnTo>
                <a:lnTo>
                  <a:pt x="1652905" y="270763"/>
                </a:lnTo>
                <a:close/>
              </a:path>
              <a:path w="1685289" h="352425">
                <a:moveTo>
                  <a:pt x="1583689" y="252222"/>
                </a:moveTo>
                <a:lnTo>
                  <a:pt x="1572387" y="267588"/>
                </a:lnTo>
                <a:lnTo>
                  <a:pt x="1585976" y="277622"/>
                </a:lnTo>
                <a:lnTo>
                  <a:pt x="1621144" y="306764"/>
                </a:lnTo>
                <a:lnTo>
                  <a:pt x="1633736" y="292491"/>
                </a:lnTo>
                <a:lnTo>
                  <a:pt x="1598168" y="263017"/>
                </a:lnTo>
                <a:lnTo>
                  <a:pt x="1583689" y="252222"/>
                </a:lnTo>
                <a:close/>
              </a:path>
              <a:path w="1685289" h="352425">
                <a:moveTo>
                  <a:pt x="1472311" y="177292"/>
                </a:moveTo>
                <a:lnTo>
                  <a:pt x="1462532" y="193675"/>
                </a:lnTo>
                <a:lnTo>
                  <a:pt x="1488567" y="209296"/>
                </a:lnTo>
                <a:lnTo>
                  <a:pt x="1526286" y="234442"/>
                </a:lnTo>
                <a:lnTo>
                  <a:pt x="1536954" y="218694"/>
                </a:lnTo>
                <a:lnTo>
                  <a:pt x="1499108" y="193421"/>
                </a:lnTo>
                <a:lnTo>
                  <a:pt x="1472311" y="177292"/>
                </a:lnTo>
                <a:close/>
              </a:path>
              <a:path w="1685289" h="352425">
                <a:moveTo>
                  <a:pt x="1353693" y="114553"/>
                </a:moveTo>
                <a:lnTo>
                  <a:pt x="1345564" y="131825"/>
                </a:lnTo>
                <a:lnTo>
                  <a:pt x="1386586" y="151384"/>
                </a:lnTo>
                <a:lnTo>
                  <a:pt x="1413256" y="165608"/>
                </a:lnTo>
                <a:lnTo>
                  <a:pt x="1422273" y="148844"/>
                </a:lnTo>
                <a:lnTo>
                  <a:pt x="1395602" y="134493"/>
                </a:lnTo>
                <a:lnTo>
                  <a:pt x="1353693" y="114553"/>
                </a:lnTo>
                <a:close/>
              </a:path>
              <a:path w="1685289" h="352425">
                <a:moveTo>
                  <a:pt x="1228725" y="64770"/>
                </a:moveTo>
                <a:lnTo>
                  <a:pt x="1223010" y="82931"/>
                </a:lnTo>
                <a:lnTo>
                  <a:pt x="1226820" y="84200"/>
                </a:lnTo>
                <a:lnTo>
                  <a:pt x="1280922" y="103886"/>
                </a:lnTo>
                <a:lnTo>
                  <a:pt x="1293495" y="109220"/>
                </a:lnTo>
                <a:lnTo>
                  <a:pt x="1300861" y="91694"/>
                </a:lnTo>
                <a:lnTo>
                  <a:pt x="1288288" y="86360"/>
                </a:lnTo>
                <a:lnTo>
                  <a:pt x="1233424" y="66294"/>
                </a:lnTo>
                <a:lnTo>
                  <a:pt x="1228725" y="64770"/>
                </a:lnTo>
                <a:close/>
              </a:path>
              <a:path w="1685289" h="352425">
                <a:moveTo>
                  <a:pt x="1099312" y="29210"/>
                </a:moveTo>
                <a:lnTo>
                  <a:pt x="1095375" y="47751"/>
                </a:lnTo>
                <a:lnTo>
                  <a:pt x="1116965" y="52450"/>
                </a:lnTo>
                <a:lnTo>
                  <a:pt x="1168781" y="66039"/>
                </a:lnTo>
                <a:lnTo>
                  <a:pt x="1173734" y="47625"/>
                </a:lnTo>
                <a:lnTo>
                  <a:pt x="1121918" y="34036"/>
                </a:lnTo>
                <a:lnTo>
                  <a:pt x="1099312" y="29210"/>
                </a:lnTo>
                <a:close/>
              </a:path>
              <a:path w="1685289" h="352425">
                <a:moveTo>
                  <a:pt x="966978" y="7365"/>
                </a:moveTo>
                <a:lnTo>
                  <a:pt x="964692" y="26288"/>
                </a:lnTo>
                <a:lnTo>
                  <a:pt x="1005459" y="31114"/>
                </a:lnTo>
                <a:lnTo>
                  <a:pt x="1039749" y="36957"/>
                </a:lnTo>
                <a:lnTo>
                  <a:pt x="1042797" y="18161"/>
                </a:lnTo>
                <a:lnTo>
                  <a:pt x="1008634" y="12446"/>
                </a:lnTo>
                <a:lnTo>
                  <a:pt x="966978" y="7365"/>
                </a:lnTo>
                <a:close/>
              </a:path>
              <a:path w="1685289" h="352425">
                <a:moveTo>
                  <a:pt x="837057" y="0"/>
                </a:moveTo>
                <a:lnTo>
                  <a:pt x="832612" y="0"/>
                </a:lnTo>
                <a:lnTo>
                  <a:pt x="832993" y="19050"/>
                </a:lnTo>
                <a:lnTo>
                  <a:pt x="836549" y="19050"/>
                </a:lnTo>
                <a:lnTo>
                  <a:pt x="892937" y="20447"/>
                </a:lnTo>
                <a:lnTo>
                  <a:pt x="908177" y="21462"/>
                </a:lnTo>
                <a:lnTo>
                  <a:pt x="909574" y="2539"/>
                </a:lnTo>
                <a:lnTo>
                  <a:pt x="894334" y="1397"/>
                </a:lnTo>
                <a:lnTo>
                  <a:pt x="837057" y="0"/>
                </a:lnTo>
                <a:close/>
              </a:path>
              <a:path w="1685289" h="352425">
                <a:moveTo>
                  <a:pt x="774954" y="1397"/>
                </a:moveTo>
                <a:lnTo>
                  <a:pt x="722884" y="4952"/>
                </a:lnTo>
                <a:lnTo>
                  <a:pt x="698627" y="7747"/>
                </a:lnTo>
                <a:lnTo>
                  <a:pt x="700786" y="26670"/>
                </a:lnTo>
                <a:lnTo>
                  <a:pt x="724281" y="24002"/>
                </a:lnTo>
                <a:lnTo>
                  <a:pt x="776224" y="20447"/>
                </a:lnTo>
                <a:lnTo>
                  <a:pt x="774954" y="1397"/>
                </a:lnTo>
                <a:close/>
              </a:path>
              <a:path w="1685289" h="352425">
                <a:moveTo>
                  <a:pt x="641604" y="15494"/>
                </a:moveTo>
                <a:lnTo>
                  <a:pt x="609854" y="20574"/>
                </a:lnTo>
                <a:lnTo>
                  <a:pt x="566293" y="29845"/>
                </a:lnTo>
                <a:lnTo>
                  <a:pt x="570230" y="48513"/>
                </a:lnTo>
                <a:lnTo>
                  <a:pt x="612902" y="39370"/>
                </a:lnTo>
                <a:lnTo>
                  <a:pt x="644652" y="34289"/>
                </a:lnTo>
                <a:lnTo>
                  <a:pt x="641604" y="15494"/>
                </a:lnTo>
                <a:close/>
              </a:path>
              <a:path w="1685289" h="352425">
                <a:moveTo>
                  <a:pt x="510413" y="43814"/>
                </a:moveTo>
                <a:lnTo>
                  <a:pt x="498602" y="46989"/>
                </a:lnTo>
                <a:lnTo>
                  <a:pt x="443992" y="64135"/>
                </a:lnTo>
                <a:lnTo>
                  <a:pt x="436753" y="66801"/>
                </a:lnTo>
                <a:lnTo>
                  <a:pt x="443357" y="84709"/>
                </a:lnTo>
                <a:lnTo>
                  <a:pt x="449707" y="82296"/>
                </a:lnTo>
                <a:lnTo>
                  <a:pt x="503555" y="65405"/>
                </a:lnTo>
                <a:lnTo>
                  <a:pt x="515239" y="62357"/>
                </a:lnTo>
                <a:lnTo>
                  <a:pt x="510413" y="43814"/>
                </a:lnTo>
                <a:close/>
              </a:path>
              <a:path w="1685289" h="352425">
                <a:moveTo>
                  <a:pt x="382905" y="86995"/>
                </a:moveTo>
                <a:lnTo>
                  <a:pt x="337185" y="106425"/>
                </a:lnTo>
                <a:lnTo>
                  <a:pt x="312928" y="118237"/>
                </a:lnTo>
                <a:lnTo>
                  <a:pt x="321183" y="135382"/>
                </a:lnTo>
                <a:lnTo>
                  <a:pt x="344678" y="123951"/>
                </a:lnTo>
                <a:lnTo>
                  <a:pt x="390398" y="104521"/>
                </a:lnTo>
                <a:lnTo>
                  <a:pt x="382905" y="86995"/>
                </a:lnTo>
                <a:close/>
              </a:path>
              <a:path w="1685289" h="352425">
                <a:moveTo>
                  <a:pt x="261620" y="144525"/>
                </a:moveTo>
                <a:lnTo>
                  <a:pt x="234442" y="159385"/>
                </a:lnTo>
                <a:lnTo>
                  <a:pt x="195580" y="183387"/>
                </a:lnTo>
                <a:lnTo>
                  <a:pt x="205486" y="199517"/>
                </a:lnTo>
                <a:lnTo>
                  <a:pt x="243586" y="176149"/>
                </a:lnTo>
                <a:lnTo>
                  <a:pt x="270764" y="161289"/>
                </a:lnTo>
                <a:lnTo>
                  <a:pt x="261620" y="144525"/>
                </a:lnTo>
                <a:close/>
              </a:path>
              <a:path w="1685289" h="352425">
                <a:moveTo>
                  <a:pt x="147574" y="215392"/>
                </a:moveTo>
                <a:lnTo>
                  <a:pt x="136398" y="223138"/>
                </a:lnTo>
                <a:lnTo>
                  <a:pt x="89408" y="258952"/>
                </a:lnTo>
                <a:lnTo>
                  <a:pt x="85979" y="261747"/>
                </a:lnTo>
                <a:lnTo>
                  <a:pt x="98298" y="276225"/>
                </a:lnTo>
                <a:lnTo>
                  <a:pt x="100837" y="274065"/>
                </a:lnTo>
                <a:lnTo>
                  <a:pt x="147193" y="238760"/>
                </a:lnTo>
                <a:lnTo>
                  <a:pt x="158369" y="231139"/>
                </a:lnTo>
                <a:lnTo>
                  <a:pt x="147574" y="215392"/>
                </a:lnTo>
                <a:close/>
              </a:path>
              <a:path w="1685289" h="352425">
                <a:moveTo>
                  <a:pt x="42037" y="299085"/>
                </a:moveTo>
                <a:lnTo>
                  <a:pt x="0" y="338582"/>
                </a:lnTo>
                <a:lnTo>
                  <a:pt x="13081" y="352425"/>
                </a:lnTo>
                <a:lnTo>
                  <a:pt x="55118" y="313055"/>
                </a:lnTo>
                <a:lnTo>
                  <a:pt x="42037" y="299085"/>
                </a:lnTo>
                <a:close/>
              </a:path>
            </a:pathLst>
          </a:custGeom>
          <a:solidFill>
            <a:srgbClr val="A6A6A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40" name="object 21">
            <a:extLst>
              <a:ext uri="{FF2B5EF4-FFF2-40B4-BE49-F238E27FC236}">
                <a16:creationId xmlns:a16="http://schemas.microsoft.com/office/drawing/2014/main" id="{9DCA6AE4-8681-492A-AEE2-1A73BF4F2760}"/>
              </a:ext>
            </a:extLst>
          </p:cNvPr>
          <p:cNvSpPr txBox="1"/>
          <p:nvPr/>
        </p:nvSpPr>
        <p:spPr>
          <a:xfrm>
            <a:off x="9766125" y="2050700"/>
            <a:ext cx="1604740" cy="415498"/>
          </a:xfrm>
          <a:prstGeom prst="rect">
            <a:avLst/>
          </a:prstGeom>
        </p:spPr>
        <p:txBody>
          <a:bodyPr vert="horz" wrap="square" lIns="0" tIns="0" rIns="0" bIns="0" rtlCol="0">
            <a:spAutoFit/>
          </a:bodyPr>
          <a:lstStyle/>
          <a:p>
            <a:pPr marL="12700" marR="5080" lvl="0" indent="635"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10" normalizeH="0" baseline="0" noProof="0" dirty="0">
                <a:ln>
                  <a:noFill/>
                </a:ln>
                <a:solidFill>
                  <a:srgbClr val="000000"/>
                </a:solidFill>
                <a:effectLst/>
                <a:uLnTx/>
                <a:uFillTx/>
                <a:ea typeface="+mn-ea"/>
                <a:cs typeface="Verdana"/>
              </a:rPr>
              <a:t>Customer Application Engineer rents 3D printer time to print</a:t>
            </a:r>
            <a:endParaRPr kumimoji="0" sz="900" b="0" i="0" u="none" strike="noStrike" kern="1200" cap="none" spc="0" normalizeH="0" baseline="0" noProof="0" dirty="0">
              <a:ln>
                <a:noFill/>
              </a:ln>
              <a:solidFill>
                <a:srgbClr val="000000"/>
              </a:solidFill>
              <a:effectLst/>
              <a:uLnTx/>
              <a:uFillTx/>
              <a:ea typeface="+mn-ea"/>
              <a:cs typeface="Verdana"/>
            </a:endParaRPr>
          </a:p>
        </p:txBody>
      </p:sp>
      <p:grpSp>
        <p:nvGrpSpPr>
          <p:cNvPr id="129" name="Group 128">
            <a:extLst>
              <a:ext uri="{FF2B5EF4-FFF2-40B4-BE49-F238E27FC236}">
                <a16:creationId xmlns:a16="http://schemas.microsoft.com/office/drawing/2014/main" id="{3F0EBBAD-21C1-48C8-B98D-183B5F2EB42A}"/>
              </a:ext>
            </a:extLst>
          </p:cNvPr>
          <p:cNvGrpSpPr/>
          <p:nvPr/>
        </p:nvGrpSpPr>
        <p:grpSpPr>
          <a:xfrm>
            <a:off x="8054463" y="3292881"/>
            <a:ext cx="1171444" cy="1224343"/>
            <a:chOff x="8054463" y="3292881"/>
            <a:chExt cx="1171444" cy="1224343"/>
          </a:xfrm>
        </p:grpSpPr>
        <p:grpSp>
          <p:nvGrpSpPr>
            <p:cNvPr id="17" name="Group 16">
              <a:extLst>
                <a:ext uri="{FF2B5EF4-FFF2-40B4-BE49-F238E27FC236}">
                  <a16:creationId xmlns:a16="http://schemas.microsoft.com/office/drawing/2014/main" id="{5982AC28-2F0C-488E-999E-E62F2B85E8AD}"/>
                </a:ext>
              </a:extLst>
            </p:cNvPr>
            <p:cNvGrpSpPr/>
            <p:nvPr/>
          </p:nvGrpSpPr>
          <p:grpSpPr>
            <a:xfrm>
              <a:off x="8054463" y="3292881"/>
              <a:ext cx="1171444" cy="1224343"/>
              <a:chOff x="3467100" y="1822704"/>
              <a:chExt cx="1417447" cy="1481455"/>
            </a:xfrm>
          </p:grpSpPr>
          <p:sp>
            <p:nvSpPr>
              <p:cNvPr id="111" name="object 17">
                <a:extLst>
                  <a:ext uri="{FF2B5EF4-FFF2-40B4-BE49-F238E27FC236}">
                    <a16:creationId xmlns:a16="http://schemas.microsoft.com/office/drawing/2014/main" id="{EC0C819F-F984-4C04-AB67-E931C47F116A}"/>
                  </a:ext>
                </a:extLst>
              </p:cNvPr>
              <p:cNvSpPr/>
              <p:nvPr/>
            </p:nvSpPr>
            <p:spPr>
              <a:xfrm>
                <a:off x="3550284" y="1898904"/>
                <a:ext cx="1259840" cy="1405255"/>
              </a:xfrm>
              <a:custGeom>
                <a:avLst/>
                <a:gdLst/>
                <a:ahLst/>
                <a:cxnLst/>
                <a:rect l="l" t="t" r="r" b="b"/>
                <a:pathLst>
                  <a:path w="1259839" h="1405254">
                    <a:moveTo>
                      <a:pt x="556132" y="0"/>
                    </a:moveTo>
                    <a:lnTo>
                      <a:pt x="604293" y="1620"/>
                    </a:lnTo>
                    <a:lnTo>
                      <a:pt x="651582" y="6414"/>
                    </a:lnTo>
                    <a:lnTo>
                      <a:pt x="697894" y="14274"/>
                    </a:lnTo>
                    <a:lnTo>
                      <a:pt x="743124" y="25098"/>
                    </a:lnTo>
                    <a:lnTo>
                      <a:pt x="787169" y="38780"/>
                    </a:lnTo>
                    <a:lnTo>
                      <a:pt x="829923" y="55215"/>
                    </a:lnTo>
                    <a:lnTo>
                      <a:pt x="871281" y="74299"/>
                    </a:lnTo>
                    <a:lnTo>
                      <a:pt x="911140" y="95927"/>
                    </a:lnTo>
                    <a:lnTo>
                      <a:pt x="949394" y="119994"/>
                    </a:lnTo>
                    <a:lnTo>
                      <a:pt x="985938" y="146397"/>
                    </a:lnTo>
                    <a:lnTo>
                      <a:pt x="1020669" y="175029"/>
                    </a:lnTo>
                    <a:lnTo>
                      <a:pt x="1053480" y="205787"/>
                    </a:lnTo>
                    <a:lnTo>
                      <a:pt x="1084269" y="238566"/>
                    </a:lnTo>
                    <a:lnTo>
                      <a:pt x="1112929" y="273261"/>
                    </a:lnTo>
                    <a:lnTo>
                      <a:pt x="1139356" y="309767"/>
                    </a:lnTo>
                    <a:lnTo>
                      <a:pt x="1163447" y="347980"/>
                    </a:lnTo>
                    <a:lnTo>
                      <a:pt x="1185094" y="387794"/>
                    </a:lnTo>
                    <a:lnTo>
                      <a:pt x="1204196" y="429107"/>
                    </a:lnTo>
                    <a:lnTo>
                      <a:pt x="1220645" y="471812"/>
                    </a:lnTo>
                    <a:lnTo>
                      <a:pt x="1234339" y="515805"/>
                    </a:lnTo>
                    <a:lnTo>
                      <a:pt x="1245172" y="560981"/>
                    </a:lnTo>
                    <a:lnTo>
                      <a:pt x="1253039" y="607236"/>
                    </a:lnTo>
                    <a:lnTo>
                      <a:pt x="1257836" y="654465"/>
                    </a:lnTo>
                    <a:lnTo>
                      <a:pt x="1259459" y="702563"/>
                    </a:lnTo>
                    <a:lnTo>
                      <a:pt x="1257836" y="750662"/>
                    </a:lnTo>
                    <a:lnTo>
                      <a:pt x="1253039" y="797891"/>
                    </a:lnTo>
                    <a:lnTo>
                      <a:pt x="1245172" y="844146"/>
                    </a:lnTo>
                    <a:lnTo>
                      <a:pt x="1234339" y="889322"/>
                    </a:lnTo>
                    <a:lnTo>
                      <a:pt x="1220645" y="933315"/>
                    </a:lnTo>
                    <a:lnTo>
                      <a:pt x="1204196" y="976020"/>
                    </a:lnTo>
                    <a:lnTo>
                      <a:pt x="1185094" y="1017333"/>
                    </a:lnTo>
                    <a:lnTo>
                      <a:pt x="1163447" y="1057147"/>
                    </a:lnTo>
                    <a:lnTo>
                      <a:pt x="1139356" y="1095360"/>
                    </a:lnTo>
                    <a:lnTo>
                      <a:pt x="1112929" y="1131866"/>
                    </a:lnTo>
                    <a:lnTo>
                      <a:pt x="1084269" y="1166561"/>
                    </a:lnTo>
                    <a:lnTo>
                      <a:pt x="1053480" y="1199340"/>
                    </a:lnTo>
                    <a:lnTo>
                      <a:pt x="1020669" y="1230098"/>
                    </a:lnTo>
                    <a:lnTo>
                      <a:pt x="985938" y="1258730"/>
                    </a:lnTo>
                    <a:lnTo>
                      <a:pt x="949394" y="1285133"/>
                    </a:lnTo>
                    <a:lnTo>
                      <a:pt x="911140" y="1309200"/>
                    </a:lnTo>
                    <a:lnTo>
                      <a:pt x="871281" y="1330828"/>
                    </a:lnTo>
                    <a:lnTo>
                      <a:pt x="829923" y="1349912"/>
                    </a:lnTo>
                    <a:lnTo>
                      <a:pt x="787169" y="1366347"/>
                    </a:lnTo>
                    <a:lnTo>
                      <a:pt x="743124" y="1380029"/>
                    </a:lnTo>
                    <a:lnTo>
                      <a:pt x="697894" y="1390853"/>
                    </a:lnTo>
                    <a:lnTo>
                      <a:pt x="651582" y="1398713"/>
                    </a:lnTo>
                    <a:lnTo>
                      <a:pt x="604293" y="1403507"/>
                    </a:lnTo>
                    <a:lnTo>
                      <a:pt x="556132" y="1405128"/>
                    </a:lnTo>
                    <a:lnTo>
                      <a:pt x="506172" y="1403355"/>
                    </a:lnTo>
                    <a:lnTo>
                      <a:pt x="456808" y="1398092"/>
                    </a:lnTo>
                    <a:lnTo>
                      <a:pt x="408205" y="1389418"/>
                    </a:lnTo>
                    <a:lnTo>
                      <a:pt x="360525" y="1377414"/>
                    </a:lnTo>
                    <a:lnTo>
                      <a:pt x="313933" y="1362159"/>
                    </a:lnTo>
                    <a:lnTo>
                      <a:pt x="268593" y="1343733"/>
                    </a:lnTo>
                    <a:lnTo>
                      <a:pt x="224667" y="1322217"/>
                    </a:lnTo>
                    <a:lnTo>
                      <a:pt x="182321" y="1297691"/>
                    </a:lnTo>
                    <a:lnTo>
                      <a:pt x="141717" y="1270235"/>
                    </a:lnTo>
                    <a:lnTo>
                      <a:pt x="103019" y="1239929"/>
                    </a:lnTo>
                    <a:lnTo>
                      <a:pt x="66391" y="1206853"/>
                    </a:lnTo>
                    <a:lnTo>
                      <a:pt x="31997" y="1171088"/>
                    </a:lnTo>
                    <a:lnTo>
                      <a:pt x="0" y="1132713"/>
                    </a:lnTo>
                  </a:path>
                </a:pathLst>
              </a:custGeom>
              <a:ln w="1524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112" name="object 18">
                <a:extLst>
                  <a:ext uri="{FF2B5EF4-FFF2-40B4-BE49-F238E27FC236}">
                    <a16:creationId xmlns:a16="http://schemas.microsoft.com/office/drawing/2014/main" id="{759D7AB8-E3D8-4141-BAAC-0CE940C5FBB4}"/>
                  </a:ext>
                </a:extLst>
              </p:cNvPr>
              <p:cNvSpPr/>
              <p:nvPr/>
            </p:nvSpPr>
            <p:spPr>
              <a:xfrm>
                <a:off x="3467100" y="1962911"/>
                <a:ext cx="1278890" cy="1277620"/>
              </a:xfrm>
              <a:custGeom>
                <a:avLst/>
                <a:gdLst/>
                <a:ahLst/>
                <a:cxnLst/>
                <a:rect l="l" t="t" r="r" b="b"/>
                <a:pathLst>
                  <a:path w="1278889" h="1277620">
                    <a:moveTo>
                      <a:pt x="639317" y="0"/>
                    </a:moveTo>
                    <a:lnTo>
                      <a:pt x="687027" y="1751"/>
                    </a:lnTo>
                    <a:lnTo>
                      <a:pt x="733785" y="6923"/>
                    </a:lnTo>
                    <a:lnTo>
                      <a:pt x="779468" y="15392"/>
                    </a:lnTo>
                    <a:lnTo>
                      <a:pt x="823952" y="27034"/>
                    </a:lnTo>
                    <a:lnTo>
                      <a:pt x="867112" y="41727"/>
                    </a:lnTo>
                    <a:lnTo>
                      <a:pt x="908827" y="59346"/>
                    </a:lnTo>
                    <a:lnTo>
                      <a:pt x="948971" y="79769"/>
                    </a:lnTo>
                    <a:lnTo>
                      <a:pt x="987422" y="102871"/>
                    </a:lnTo>
                    <a:lnTo>
                      <a:pt x="1024055" y="128530"/>
                    </a:lnTo>
                    <a:lnTo>
                      <a:pt x="1058747" y="156622"/>
                    </a:lnTo>
                    <a:lnTo>
                      <a:pt x="1091374" y="187023"/>
                    </a:lnTo>
                    <a:lnTo>
                      <a:pt x="1121813" y="219610"/>
                    </a:lnTo>
                    <a:lnTo>
                      <a:pt x="1149940" y="254260"/>
                    </a:lnTo>
                    <a:lnTo>
                      <a:pt x="1175631" y="290849"/>
                    </a:lnTo>
                    <a:lnTo>
                      <a:pt x="1198763" y="329253"/>
                    </a:lnTo>
                    <a:lnTo>
                      <a:pt x="1219212" y="369350"/>
                    </a:lnTo>
                    <a:lnTo>
                      <a:pt x="1236854" y="411016"/>
                    </a:lnTo>
                    <a:lnTo>
                      <a:pt x="1251565" y="454127"/>
                    </a:lnTo>
                    <a:lnTo>
                      <a:pt x="1263223" y="498560"/>
                    </a:lnTo>
                    <a:lnTo>
                      <a:pt x="1271703" y="544191"/>
                    </a:lnTo>
                    <a:lnTo>
                      <a:pt x="1276882" y="590898"/>
                    </a:lnTo>
                    <a:lnTo>
                      <a:pt x="1278636" y="638555"/>
                    </a:lnTo>
                    <a:lnTo>
                      <a:pt x="1276882" y="686213"/>
                    </a:lnTo>
                    <a:lnTo>
                      <a:pt x="1271703" y="732920"/>
                    </a:lnTo>
                    <a:lnTo>
                      <a:pt x="1263223" y="778551"/>
                    </a:lnTo>
                    <a:lnTo>
                      <a:pt x="1251565" y="822984"/>
                    </a:lnTo>
                    <a:lnTo>
                      <a:pt x="1236854" y="866095"/>
                    </a:lnTo>
                    <a:lnTo>
                      <a:pt x="1219212" y="907761"/>
                    </a:lnTo>
                    <a:lnTo>
                      <a:pt x="1198763" y="947858"/>
                    </a:lnTo>
                    <a:lnTo>
                      <a:pt x="1175631" y="986262"/>
                    </a:lnTo>
                    <a:lnTo>
                      <a:pt x="1149940" y="1022851"/>
                    </a:lnTo>
                    <a:lnTo>
                      <a:pt x="1121813" y="1057501"/>
                    </a:lnTo>
                    <a:lnTo>
                      <a:pt x="1091374" y="1090088"/>
                    </a:lnTo>
                    <a:lnTo>
                      <a:pt x="1058747" y="1120489"/>
                    </a:lnTo>
                    <a:lnTo>
                      <a:pt x="1024055" y="1148581"/>
                    </a:lnTo>
                    <a:lnTo>
                      <a:pt x="987422" y="1174240"/>
                    </a:lnTo>
                    <a:lnTo>
                      <a:pt x="948971" y="1197342"/>
                    </a:lnTo>
                    <a:lnTo>
                      <a:pt x="908827" y="1217765"/>
                    </a:lnTo>
                    <a:lnTo>
                      <a:pt x="867112" y="1235384"/>
                    </a:lnTo>
                    <a:lnTo>
                      <a:pt x="823952" y="1250077"/>
                    </a:lnTo>
                    <a:lnTo>
                      <a:pt x="779468" y="1261719"/>
                    </a:lnTo>
                    <a:lnTo>
                      <a:pt x="733785" y="1270188"/>
                    </a:lnTo>
                    <a:lnTo>
                      <a:pt x="687027" y="1275360"/>
                    </a:lnTo>
                    <a:lnTo>
                      <a:pt x="639317" y="1277112"/>
                    </a:lnTo>
                    <a:lnTo>
                      <a:pt x="591608" y="1275360"/>
                    </a:lnTo>
                    <a:lnTo>
                      <a:pt x="544850" y="1270188"/>
                    </a:lnTo>
                    <a:lnTo>
                      <a:pt x="499167" y="1261719"/>
                    </a:lnTo>
                    <a:lnTo>
                      <a:pt x="454683" y="1250077"/>
                    </a:lnTo>
                    <a:lnTo>
                      <a:pt x="411523" y="1235384"/>
                    </a:lnTo>
                    <a:lnTo>
                      <a:pt x="369808" y="1217765"/>
                    </a:lnTo>
                    <a:lnTo>
                      <a:pt x="329664" y="1197342"/>
                    </a:lnTo>
                    <a:lnTo>
                      <a:pt x="291213" y="1174240"/>
                    </a:lnTo>
                    <a:lnTo>
                      <a:pt x="254580" y="1148581"/>
                    </a:lnTo>
                    <a:lnTo>
                      <a:pt x="219888" y="1120489"/>
                    </a:lnTo>
                    <a:lnTo>
                      <a:pt x="187261" y="1090088"/>
                    </a:lnTo>
                    <a:lnTo>
                      <a:pt x="156822" y="1057501"/>
                    </a:lnTo>
                    <a:lnTo>
                      <a:pt x="128695" y="1022851"/>
                    </a:lnTo>
                    <a:lnTo>
                      <a:pt x="103004" y="986262"/>
                    </a:lnTo>
                    <a:lnTo>
                      <a:pt x="79872" y="947858"/>
                    </a:lnTo>
                    <a:lnTo>
                      <a:pt x="59423" y="907761"/>
                    </a:lnTo>
                    <a:lnTo>
                      <a:pt x="41781" y="866095"/>
                    </a:lnTo>
                    <a:lnTo>
                      <a:pt x="27070" y="822984"/>
                    </a:lnTo>
                    <a:lnTo>
                      <a:pt x="15412" y="778551"/>
                    </a:lnTo>
                    <a:lnTo>
                      <a:pt x="6932" y="732920"/>
                    </a:lnTo>
                    <a:lnTo>
                      <a:pt x="1753" y="686213"/>
                    </a:lnTo>
                    <a:lnTo>
                      <a:pt x="0" y="638555"/>
                    </a:lnTo>
                    <a:lnTo>
                      <a:pt x="2217" y="585401"/>
                    </a:lnTo>
                    <a:lnTo>
                      <a:pt x="8812" y="532886"/>
                    </a:lnTo>
                    <a:lnTo>
                      <a:pt x="19696" y="481266"/>
                    </a:lnTo>
                    <a:lnTo>
                      <a:pt x="34782" y="430799"/>
                    </a:lnTo>
                    <a:lnTo>
                      <a:pt x="53981" y="381744"/>
                    </a:lnTo>
                    <a:lnTo>
                      <a:pt x="77206" y="334357"/>
                    </a:lnTo>
                    <a:lnTo>
                      <a:pt x="104368" y="288895"/>
                    </a:lnTo>
                    <a:lnTo>
                      <a:pt x="135382" y="245617"/>
                    </a:lnTo>
                  </a:path>
                </a:pathLst>
              </a:custGeom>
              <a:ln w="1524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113" name="object 19">
                <a:extLst>
                  <a:ext uri="{FF2B5EF4-FFF2-40B4-BE49-F238E27FC236}">
                    <a16:creationId xmlns:a16="http://schemas.microsoft.com/office/drawing/2014/main" id="{0458E70E-1EC2-435C-8ED8-1E09ED4B86BA}"/>
                  </a:ext>
                </a:extLst>
              </p:cNvPr>
              <p:cNvSpPr/>
              <p:nvPr/>
            </p:nvSpPr>
            <p:spPr>
              <a:xfrm>
                <a:off x="4111752" y="1822704"/>
                <a:ext cx="772795" cy="1082675"/>
              </a:xfrm>
              <a:custGeom>
                <a:avLst/>
                <a:gdLst/>
                <a:ahLst/>
                <a:cxnLst/>
                <a:rect l="l" t="t" r="r" b="b"/>
                <a:pathLst>
                  <a:path w="772795" h="1082675">
                    <a:moveTo>
                      <a:pt x="0" y="0"/>
                    </a:moveTo>
                    <a:lnTo>
                      <a:pt x="48863" y="1521"/>
                    </a:lnTo>
                    <a:lnTo>
                      <a:pt x="96919" y="6026"/>
                    </a:lnTo>
                    <a:lnTo>
                      <a:pt x="144077" y="13424"/>
                    </a:lnTo>
                    <a:lnTo>
                      <a:pt x="190246" y="23624"/>
                    </a:lnTo>
                    <a:lnTo>
                      <a:pt x="235337" y="36535"/>
                    </a:lnTo>
                    <a:lnTo>
                      <a:pt x="279258" y="52067"/>
                    </a:lnTo>
                    <a:lnTo>
                      <a:pt x="321919" y="70128"/>
                    </a:lnTo>
                    <a:lnTo>
                      <a:pt x="363229" y="90629"/>
                    </a:lnTo>
                    <a:lnTo>
                      <a:pt x="403098" y="113479"/>
                    </a:lnTo>
                    <a:lnTo>
                      <a:pt x="441436" y="138587"/>
                    </a:lnTo>
                    <a:lnTo>
                      <a:pt x="478151" y="165862"/>
                    </a:lnTo>
                    <a:lnTo>
                      <a:pt x="513154" y="195214"/>
                    </a:lnTo>
                    <a:lnTo>
                      <a:pt x="546354" y="226552"/>
                    </a:lnTo>
                    <a:lnTo>
                      <a:pt x="577659" y="259785"/>
                    </a:lnTo>
                    <a:lnTo>
                      <a:pt x="606981" y="294823"/>
                    </a:lnTo>
                    <a:lnTo>
                      <a:pt x="634228" y="331575"/>
                    </a:lnTo>
                    <a:lnTo>
                      <a:pt x="659309" y="369951"/>
                    </a:lnTo>
                    <a:lnTo>
                      <a:pt x="682135" y="409859"/>
                    </a:lnTo>
                    <a:lnTo>
                      <a:pt x="702614" y="451210"/>
                    </a:lnTo>
                    <a:lnTo>
                      <a:pt x="720657" y="493912"/>
                    </a:lnTo>
                    <a:lnTo>
                      <a:pt x="736172" y="537875"/>
                    </a:lnTo>
                    <a:lnTo>
                      <a:pt x="749069" y="583008"/>
                    </a:lnTo>
                    <a:lnTo>
                      <a:pt x="759257" y="629221"/>
                    </a:lnTo>
                    <a:lnTo>
                      <a:pt x="766647" y="676422"/>
                    </a:lnTo>
                    <a:lnTo>
                      <a:pt x="771147" y="724522"/>
                    </a:lnTo>
                    <a:lnTo>
                      <a:pt x="772668" y="773430"/>
                    </a:lnTo>
                    <a:lnTo>
                      <a:pt x="770853" y="826453"/>
                    </a:lnTo>
                    <a:lnTo>
                      <a:pt x="765433" y="879103"/>
                    </a:lnTo>
                    <a:lnTo>
                      <a:pt x="756443" y="931195"/>
                    </a:lnTo>
                    <a:lnTo>
                      <a:pt x="743918" y="982547"/>
                    </a:lnTo>
                    <a:lnTo>
                      <a:pt x="727894" y="1032974"/>
                    </a:lnTo>
                    <a:lnTo>
                      <a:pt x="708406" y="1082294"/>
                    </a:lnTo>
                  </a:path>
                </a:pathLst>
              </a:custGeom>
              <a:ln w="1524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114" name="object 40">
                <a:extLst>
                  <a:ext uri="{FF2B5EF4-FFF2-40B4-BE49-F238E27FC236}">
                    <a16:creationId xmlns:a16="http://schemas.microsoft.com/office/drawing/2014/main" id="{CEB86150-F4BC-4AD8-886D-B624D3AA5A7C}"/>
                  </a:ext>
                </a:extLst>
              </p:cNvPr>
              <p:cNvSpPr/>
              <p:nvPr/>
            </p:nvSpPr>
            <p:spPr>
              <a:xfrm>
                <a:off x="3547109" y="2032254"/>
                <a:ext cx="1130935" cy="1130935"/>
              </a:xfrm>
              <a:custGeom>
                <a:avLst/>
                <a:gdLst/>
                <a:ahLst/>
                <a:cxnLst/>
                <a:rect l="l" t="t" r="r" b="b"/>
                <a:pathLst>
                  <a:path w="1130935" h="1130935">
                    <a:moveTo>
                      <a:pt x="565403" y="0"/>
                    </a:moveTo>
                    <a:lnTo>
                      <a:pt x="516614" y="2075"/>
                    </a:lnTo>
                    <a:lnTo>
                      <a:pt x="468978" y="8187"/>
                    </a:lnTo>
                    <a:lnTo>
                      <a:pt x="422665" y="18167"/>
                    </a:lnTo>
                    <a:lnTo>
                      <a:pt x="377844" y="31845"/>
                    </a:lnTo>
                    <a:lnTo>
                      <a:pt x="334686" y="49051"/>
                    </a:lnTo>
                    <a:lnTo>
                      <a:pt x="293360" y="69615"/>
                    </a:lnTo>
                    <a:lnTo>
                      <a:pt x="254034" y="93369"/>
                    </a:lnTo>
                    <a:lnTo>
                      <a:pt x="216881" y="120142"/>
                    </a:lnTo>
                    <a:lnTo>
                      <a:pt x="182067" y="149765"/>
                    </a:lnTo>
                    <a:lnTo>
                      <a:pt x="149765" y="182067"/>
                    </a:lnTo>
                    <a:lnTo>
                      <a:pt x="120142" y="216881"/>
                    </a:lnTo>
                    <a:lnTo>
                      <a:pt x="93369" y="254034"/>
                    </a:lnTo>
                    <a:lnTo>
                      <a:pt x="69615" y="293360"/>
                    </a:lnTo>
                    <a:lnTo>
                      <a:pt x="49051" y="334686"/>
                    </a:lnTo>
                    <a:lnTo>
                      <a:pt x="31845" y="377844"/>
                    </a:lnTo>
                    <a:lnTo>
                      <a:pt x="18167" y="422665"/>
                    </a:lnTo>
                    <a:lnTo>
                      <a:pt x="8187" y="468978"/>
                    </a:lnTo>
                    <a:lnTo>
                      <a:pt x="2075" y="516614"/>
                    </a:lnTo>
                    <a:lnTo>
                      <a:pt x="0" y="565404"/>
                    </a:lnTo>
                    <a:lnTo>
                      <a:pt x="2075" y="614193"/>
                    </a:lnTo>
                    <a:lnTo>
                      <a:pt x="8187" y="661829"/>
                    </a:lnTo>
                    <a:lnTo>
                      <a:pt x="18167" y="708142"/>
                    </a:lnTo>
                    <a:lnTo>
                      <a:pt x="31845" y="752963"/>
                    </a:lnTo>
                    <a:lnTo>
                      <a:pt x="49051" y="796121"/>
                    </a:lnTo>
                    <a:lnTo>
                      <a:pt x="69615" y="837447"/>
                    </a:lnTo>
                    <a:lnTo>
                      <a:pt x="93369" y="876773"/>
                    </a:lnTo>
                    <a:lnTo>
                      <a:pt x="120142" y="913926"/>
                    </a:lnTo>
                    <a:lnTo>
                      <a:pt x="149765" y="948740"/>
                    </a:lnTo>
                    <a:lnTo>
                      <a:pt x="182067" y="981042"/>
                    </a:lnTo>
                    <a:lnTo>
                      <a:pt x="216881" y="1010665"/>
                    </a:lnTo>
                    <a:lnTo>
                      <a:pt x="254034" y="1037438"/>
                    </a:lnTo>
                    <a:lnTo>
                      <a:pt x="293360" y="1061192"/>
                    </a:lnTo>
                    <a:lnTo>
                      <a:pt x="334686" y="1081756"/>
                    </a:lnTo>
                    <a:lnTo>
                      <a:pt x="377844" y="1098962"/>
                    </a:lnTo>
                    <a:lnTo>
                      <a:pt x="422665" y="1112640"/>
                    </a:lnTo>
                    <a:lnTo>
                      <a:pt x="468978" y="1122620"/>
                    </a:lnTo>
                    <a:lnTo>
                      <a:pt x="516614" y="1128732"/>
                    </a:lnTo>
                    <a:lnTo>
                      <a:pt x="565403" y="1130808"/>
                    </a:lnTo>
                    <a:lnTo>
                      <a:pt x="614193" y="1128732"/>
                    </a:lnTo>
                    <a:lnTo>
                      <a:pt x="661829" y="1122620"/>
                    </a:lnTo>
                    <a:lnTo>
                      <a:pt x="708142" y="1112640"/>
                    </a:lnTo>
                    <a:lnTo>
                      <a:pt x="752963" y="1098962"/>
                    </a:lnTo>
                    <a:lnTo>
                      <a:pt x="796121" y="1081756"/>
                    </a:lnTo>
                    <a:lnTo>
                      <a:pt x="837447" y="1061192"/>
                    </a:lnTo>
                    <a:lnTo>
                      <a:pt x="876773" y="1037438"/>
                    </a:lnTo>
                    <a:lnTo>
                      <a:pt x="913926" y="1010665"/>
                    </a:lnTo>
                    <a:lnTo>
                      <a:pt x="948740" y="981042"/>
                    </a:lnTo>
                    <a:lnTo>
                      <a:pt x="981042" y="948740"/>
                    </a:lnTo>
                    <a:lnTo>
                      <a:pt x="1010665" y="913926"/>
                    </a:lnTo>
                    <a:lnTo>
                      <a:pt x="1037438" y="876773"/>
                    </a:lnTo>
                    <a:lnTo>
                      <a:pt x="1061192" y="837447"/>
                    </a:lnTo>
                    <a:lnTo>
                      <a:pt x="1081756" y="796121"/>
                    </a:lnTo>
                    <a:lnTo>
                      <a:pt x="1098962" y="752963"/>
                    </a:lnTo>
                    <a:lnTo>
                      <a:pt x="1112640" y="708142"/>
                    </a:lnTo>
                    <a:lnTo>
                      <a:pt x="1122620" y="661829"/>
                    </a:lnTo>
                    <a:lnTo>
                      <a:pt x="1128732" y="614193"/>
                    </a:lnTo>
                    <a:lnTo>
                      <a:pt x="1130807" y="565404"/>
                    </a:lnTo>
                    <a:lnTo>
                      <a:pt x="1128732" y="516614"/>
                    </a:lnTo>
                    <a:lnTo>
                      <a:pt x="1122620" y="468978"/>
                    </a:lnTo>
                    <a:lnTo>
                      <a:pt x="1112640" y="422665"/>
                    </a:lnTo>
                    <a:lnTo>
                      <a:pt x="1098962" y="377844"/>
                    </a:lnTo>
                    <a:lnTo>
                      <a:pt x="1081756" y="334686"/>
                    </a:lnTo>
                    <a:lnTo>
                      <a:pt x="1061192" y="293360"/>
                    </a:lnTo>
                    <a:lnTo>
                      <a:pt x="1037438" y="254034"/>
                    </a:lnTo>
                    <a:lnTo>
                      <a:pt x="1010665" y="216881"/>
                    </a:lnTo>
                    <a:lnTo>
                      <a:pt x="981042" y="182067"/>
                    </a:lnTo>
                    <a:lnTo>
                      <a:pt x="948740" y="149765"/>
                    </a:lnTo>
                    <a:lnTo>
                      <a:pt x="913926" y="120142"/>
                    </a:lnTo>
                    <a:lnTo>
                      <a:pt x="876773" y="93369"/>
                    </a:lnTo>
                    <a:lnTo>
                      <a:pt x="837447" y="69615"/>
                    </a:lnTo>
                    <a:lnTo>
                      <a:pt x="796121" y="49051"/>
                    </a:lnTo>
                    <a:lnTo>
                      <a:pt x="752963" y="31845"/>
                    </a:lnTo>
                    <a:lnTo>
                      <a:pt x="708142" y="18167"/>
                    </a:lnTo>
                    <a:lnTo>
                      <a:pt x="661829" y="8187"/>
                    </a:lnTo>
                    <a:lnTo>
                      <a:pt x="614193" y="2075"/>
                    </a:lnTo>
                    <a:lnTo>
                      <a:pt x="565403" y="0"/>
                    </a:lnTo>
                    <a:close/>
                  </a:path>
                </a:pathLst>
              </a:custGeom>
              <a:solidFill>
                <a:srgbClr val="FFFFFF"/>
              </a:solidFill>
              <a:ln>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115" name="object 41">
                <a:extLst>
                  <a:ext uri="{FF2B5EF4-FFF2-40B4-BE49-F238E27FC236}">
                    <a16:creationId xmlns:a16="http://schemas.microsoft.com/office/drawing/2014/main" id="{0EEB0B9E-94C2-4937-A1C9-F120F1D9EAA1}"/>
                  </a:ext>
                </a:extLst>
              </p:cNvPr>
              <p:cNvSpPr/>
              <p:nvPr/>
            </p:nvSpPr>
            <p:spPr>
              <a:xfrm>
                <a:off x="3547109" y="2032254"/>
                <a:ext cx="1130935" cy="1130935"/>
              </a:xfrm>
              <a:custGeom>
                <a:avLst/>
                <a:gdLst/>
                <a:ahLst/>
                <a:cxnLst/>
                <a:rect l="l" t="t" r="r" b="b"/>
                <a:pathLst>
                  <a:path w="1130935" h="1130935">
                    <a:moveTo>
                      <a:pt x="0" y="565404"/>
                    </a:moveTo>
                    <a:lnTo>
                      <a:pt x="2075" y="516614"/>
                    </a:lnTo>
                    <a:lnTo>
                      <a:pt x="8187" y="468978"/>
                    </a:lnTo>
                    <a:lnTo>
                      <a:pt x="18167" y="422665"/>
                    </a:lnTo>
                    <a:lnTo>
                      <a:pt x="31845" y="377844"/>
                    </a:lnTo>
                    <a:lnTo>
                      <a:pt x="49051" y="334686"/>
                    </a:lnTo>
                    <a:lnTo>
                      <a:pt x="69615" y="293360"/>
                    </a:lnTo>
                    <a:lnTo>
                      <a:pt x="93369" y="254034"/>
                    </a:lnTo>
                    <a:lnTo>
                      <a:pt x="120142" y="216881"/>
                    </a:lnTo>
                    <a:lnTo>
                      <a:pt x="149765" y="182067"/>
                    </a:lnTo>
                    <a:lnTo>
                      <a:pt x="182067" y="149765"/>
                    </a:lnTo>
                    <a:lnTo>
                      <a:pt x="216881" y="120142"/>
                    </a:lnTo>
                    <a:lnTo>
                      <a:pt x="254034" y="93369"/>
                    </a:lnTo>
                    <a:lnTo>
                      <a:pt x="293360" y="69615"/>
                    </a:lnTo>
                    <a:lnTo>
                      <a:pt x="334686" y="49051"/>
                    </a:lnTo>
                    <a:lnTo>
                      <a:pt x="377844" y="31845"/>
                    </a:lnTo>
                    <a:lnTo>
                      <a:pt x="422665" y="18167"/>
                    </a:lnTo>
                    <a:lnTo>
                      <a:pt x="468978" y="8187"/>
                    </a:lnTo>
                    <a:lnTo>
                      <a:pt x="516614" y="2075"/>
                    </a:lnTo>
                    <a:lnTo>
                      <a:pt x="565403" y="0"/>
                    </a:lnTo>
                    <a:lnTo>
                      <a:pt x="614193" y="2075"/>
                    </a:lnTo>
                    <a:lnTo>
                      <a:pt x="661829" y="8187"/>
                    </a:lnTo>
                    <a:lnTo>
                      <a:pt x="708142" y="18167"/>
                    </a:lnTo>
                    <a:lnTo>
                      <a:pt x="752963" y="31845"/>
                    </a:lnTo>
                    <a:lnTo>
                      <a:pt x="796121" y="49051"/>
                    </a:lnTo>
                    <a:lnTo>
                      <a:pt x="837447" y="69615"/>
                    </a:lnTo>
                    <a:lnTo>
                      <a:pt x="876773" y="93369"/>
                    </a:lnTo>
                    <a:lnTo>
                      <a:pt x="913926" y="120142"/>
                    </a:lnTo>
                    <a:lnTo>
                      <a:pt x="948740" y="149765"/>
                    </a:lnTo>
                    <a:lnTo>
                      <a:pt x="981042" y="182067"/>
                    </a:lnTo>
                    <a:lnTo>
                      <a:pt x="1010665" y="216881"/>
                    </a:lnTo>
                    <a:lnTo>
                      <a:pt x="1037438" y="254034"/>
                    </a:lnTo>
                    <a:lnTo>
                      <a:pt x="1061192" y="293360"/>
                    </a:lnTo>
                    <a:lnTo>
                      <a:pt x="1081756" y="334686"/>
                    </a:lnTo>
                    <a:lnTo>
                      <a:pt x="1098962" y="377844"/>
                    </a:lnTo>
                    <a:lnTo>
                      <a:pt x="1112640" y="422665"/>
                    </a:lnTo>
                    <a:lnTo>
                      <a:pt x="1122620" y="468978"/>
                    </a:lnTo>
                    <a:lnTo>
                      <a:pt x="1128732" y="516614"/>
                    </a:lnTo>
                    <a:lnTo>
                      <a:pt x="1130807" y="565404"/>
                    </a:lnTo>
                    <a:lnTo>
                      <a:pt x="1128732" y="614193"/>
                    </a:lnTo>
                    <a:lnTo>
                      <a:pt x="1122620" y="661829"/>
                    </a:lnTo>
                    <a:lnTo>
                      <a:pt x="1112640" y="708142"/>
                    </a:lnTo>
                    <a:lnTo>
                      <a:pt x="1098962" y="752963"/>
                    </a:lnTo>
                    <a:lnTo>
                      <a:pt x="1081756" y="796121"/>
                    </a:lnTo>
                    <a:lnTo>
                      <a:pt x="1061192" y="837447"/>
                    </a:lnTo>
                    <a:lnTo>
                      <a:pt x="1037438" y="876773"/>
                    </a:lnTo>
                    <a:lnTo>
                      <a:pt x="1010665" y="913926"/>
                    </a:lnTo>
                    <a:lnTo>
                      <a:pt x="981042" y="948740"/>
                    </a:lnTo>
                    <a:lnTo>
                      <a:pt x="948740" y="981042"/>
                    </a:lnTo>
                    <a:lnTo>
                      <a:pt x="913926" y="1010665"/>
                    </a:lnTo>
                    <a:lnTo>
                      <a:pt x="876773" y="1037438"/>
                    </a:lnTo>
                    <a:lnTo>
                      <a:pt x="837447" y="1061192"/>
                    </a:lnTo>
                    <a:lnTo>
                      <a:pt x="796121" y="1081756"/>
                    </a:lnTo>
                    <a:lnTo>
                      <a:pt x="752963" y="1098962"/>
                    </a:lnTo>
                    <a:lnTo>
                      <a:pt x="708142" y="1112640"/>
                    </a:lnTo>
                    <a:lnTo>
                      <a:pt x="661829" y="1122620"/>
                    </a:lnTo>
                    <a:lnTo>
                      <a:pt x="614193" y="1128732"/>
                    </a:lnTo>
                    <a:lnTo>
                      <a:pt x="565403" y="1130808"/>
                    </a:lnTo>
                    <a:lnTo>
                      <a:pt x="516614" y="1128732"/>
                    </a:lnTo>
                    <a:lnTo>
                      <a:pt x="468978" y="1122620"/>
                    </a:lnTo>
                    <a:lnTo>
                      <a:pt x="422665" y="1112640"/>
                    </a:lnTo>
                    <a:lnTo>
                      <a:pt x="377844" y="1098962"/>
                    </a:lnTo>
                    <a:lnTo>
                      <a:pt x="334686" y="1081756"/>
                    </a:lnTo>
                    <a:lnTo>
                      <a:pt x="293360" y="1061192"/>
                    </a:lnTo>
                    <a:lnTo>
                      <a:pt x="254034" y="1037438"/>
                    </a:lnTo>
                    <a:lnTo>
                      <a:pt x="216881" y="1010665"/>
                    </a:lnTo>
                    <a:lnTo>
                      <a:pt x="182067" y="981042"/>
                    </a:lnTo>
                    <a:lnTo>
                      <a:pt x="149765" y="948740"/>
                    </a:lnTo>
                    <a:lnTo>
                      <a:pt x="120142" y="913926"/>
                    </a:lnTo>
                    <a:lnTo>
                      <a:pt x="93369" y="876773"/>
                    </a:lnTo>
                    <a:lnTo>
                      <a:pt x="69615" y="837447"/>
                    </a:lnTo>
                    <a:lnTo>
                      <a:pt x="49051" y="796121"/>
                    </a:lnTo>
                    <a:lnTo>
                      <a:pt x="31845" y="752963"/>
                    </a:lnTo>
                    <a:lnTo>
                      <a:pt x="18167" y="708142"/>
                    </a:lnTo>
                    <a:lnTo>
                      <a:pt x="8187" y="661829"/>
                    </a:lnTo>
                    <a:lnTo>
                      <a:pt x="2075" y="614193"/>
                    </a:lnTo>
                    <a:lnTo>
                      <a:pt x="0" y="565404"/>
                    </a:lnTo>
                    <a:close/>
                  </a:path>
                </a:pathLst>
              </a:custGeom>
              <a:ln w="19812">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grpSp>
        <p:sp>
          <p:nvSpPr>
            <p:cNvPr id="24" name="object 69">
              <a:extLst>
                <a:ext uri="{FF2B5EF4-FFF2-40B4-BE49-F238E27FC236}">
                  <a16:creationId xmlns:a16="http://schemas.microsoft.com/office/drawing/2014/main" id="{33719425-7E62-42CD-93B1-5BA1D1764638}"/>
                </a:ext>
              </a:extLst>
            </p:cNvPr>
            <p:cNvSpPr/>
            <p:nvPr/>
          </p:nvSpPr>
          <p:spPr>
            <a:xfrm flipH="1">
              <a:off x="8210348" y="3791116"/>
              <a:ext cx="581679" cy="416122"/>
            </a:xfrm>
            <a:prstGeom prst="rect">
              <a:avLst/>
            </a:prstGeom>
            <a:blipFill>
              <a:blip r:embed="rId15"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25" name="object 74">
              <a:extLst>
                <a:ext uri="{FF2B5EF4-FFF2-40B4-BE49-F238E27FC236}">
                  <a16:creationId xmlns:a16="http://schemas.microsoft.com/office/drawing/2014/main" id="{A817B8F0-8014-454D-86F8-965795ED0B02}"/>
                </a:ext>
              </a:extLst>
            </p:cNvPr>
            <p:cNvSpPr/>
            <p:nvPr/>
          </p:nvSpPr>
          <p:spPr>
            <a:xfrm>
              <a:off x="8665606" y="3824026"/>
              <a:ext cx="234696" cy="239268"/>
            </a:xfrm>
            <a:prstGeom prst="rect">
              <a:avLst/>
            </a:prstGeom>
            <a:blipFill>
              <a:blip r:embed="rId16"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41" name="object 74">
              <a:extLst>
                <a:ext uri="{FF2B5EF4-FFF2-40B4-BE49-F238E27FC236}">
                  <a16:creationId xmlns:a16="http://schemas.microsoft.com/office/drawing/2014/main" id="{125BF133-41A2-45DA-8269-8DF6DC0F7688}"/>
                </a:ext>
              </a:extLst>
            </p:cNvPr>
            <p:cNvSpPr/>
            <p:nvPr/>
          </p:nvSpPr>
          <p:spPr>
            <a:xfrm>
              <a:off x="8717776" y="3898758"/>
              <a:ext cx="234696" cy="239268"/>
            </a:xfrm>
            <a:prstGeom prst="rect">
              <a:avLst/>
            </a:prstGeom>
            <a:blipFill>
              <a:blip r:embed="rId16"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42" name="object 74">
              <a:extLst>
                <a:ext uri="{FF2B5EF4-FFF2-40B4-BE49-F238E27FC236}">
                  <a16:creationId xmlns:a16="http://schemas.microsoft.com/office/drawing/2014/main" id="{61B265A3-602E-4720-B250-9117A218329B}"/>
                </a:ext>
              </a:extLst>
            </p:cNvPr>
            <p:cNvSpPr/>
            <p:nvPr/>
          </p:nvSpPr>
          <p:spPr>
            <a:xfrm>
              <a:off x="8779637" y="3988521"/>
              <a:ext cx="234696" cy="239268"/>
            </a:xfrm>
            <a:prstGeom prst="rect">
              <a:avLst/>
            </a:prstGeom>
            <a:blipFill>
              <a:blip r:embed="rId16"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grpSp>
      <p:grpSp>
        <p:nvGrpSpPr>
          <p:cNvPr id="128" name="Group 127">
            <a:extLst>
              <a:ext uri="{FF2B5EF4-FFF2-40B4-BE49-F238E27FC236}">
                <a16:creationId xmlns:a16="http://schemas.microsoft.com/office/drawing/2014/main" id="{0D8A390E-4747-407F-9A77-9280DE0BAEC5}"/>
              </a:ext>
            </a:extLst>
          </p:cNvPr>
          <p:cNvGrpSpPr/>
          <p:nvPr/>
        </p:nvGrpSpPr>
        <p:grpSpPr>
          <a:xfrm>
            <a:off x="10761822" y="1442661"/>
            <a:ext cx="1288287" cy="251588"/>
            <a:chOff x="10761822" y="1442661"/>
            <a:chExt cx="1288287" cy="251588"/>
          </a:xfrm>
        </p:grpSpPr>
        <p:sp>
          <p:nvSpPr>
            <p:cNvPr id="76" name="object 49">
              <a:extLst>
                <a:ext uri="{FF2B5EF4-FFF2-40B4-BE49-F238E27FC236}">
                  <a16:creationId xmlns:a16="http://schemas.microsoft.com/office/drawing/2014/main" id="{C6202D79-CABE-4020-9364-4F092B8B11F1}"/>
                </a:ext>
              </a:extLst>
            </p:cNvPr>
            <p:cNvSpPr/>
            <p:nvPr/>
          </p:nvSpPr>
          <p:spPr>
            <a:xfrm>
              <a:off x="10774648" y="1454854"/>
              <a:ext cx="214629" cy="239395"/>
            </a:xfrm>
            <a:custGeom>
              <a:avLst/>
              <a:gdLst/>
              <a:ahLst/>
              <a:cxnLst/>
              <a:rect l="l" t="t" r="r" b="b"/>
              <a:pathLst>
                <a:path w="214629" h="239395">
                  <a:moveTo>
                    <a:pt x="94615" y="0"/>
                  </a:moveTo>
                  <a:lnTo>
                    <a:pt x="141168" y="9400"/>
                  </a:lnTo>
                  <a:lnTo>
                    <a:pt x="179197" y="35037"/>
                  </a:lnTo>
                  <a:lnTo>
                    <a:pt x="204843" y="73064"/>
                  </a:lnTo>
                  <a:lnTo>
                    <a:pt x="214249" y="119634"/>
                  </a:lnTo>
                  <a:lnTo>
                    <a:pt x="204843" y="166203"/>
                  </a:lnTo>
                  <a:lnTo>
                    <a:pt x="179197" y="204230"/>
                  </a:lnTo>
                  <a:lnTo>
                    <a:pt x="141168" y="229867"/>
                  </a:lnTo>
                  <a:lnTo>
                    <a:pt x="94615" y="239268"/>
                  </a:lnTo>
                  <a:lnTo>
                    <a:pt x="67365" y="236131"/>
                  </a:lnTo>
                  <a:lnTo>
                    <a:pt x="41878" y="227033"/>
                  </a:lnTo>
                  <a:lnTo>
                    <a:pt x="19105" y="212441"/>
                  </a:lnTo>
                  <a:lnTo>
                    <a:pt x="0" y="192824"/>
                  </a:lnTo>
                </a:path>
              </a:pathLst>
            </a:custGeom>
            <a:noFill/>
            <a:ln w="1524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77" name="object 50">
              <a:extLst>
                <a:ext uri="{FF2B5EF4-FFF2-40B4-BE49-F238E27FC236}">
                  <a16:creationId xmlns:a16="http://schemas.microsoft.com/office/drawing/2014/main" id="{FA4C593B-7BD5-4D8F-B22A-AD82349CA195}"/>
                </a:ext>
              </a:extLst>
            </p:cNvPr>
            <p:cNvSpPr/>
            <p:nvPr/>
          </p:nvSpPr>
          <p:spPr>
            <a:xfrm>
              <a:off x="10761822" y="1465522"/>
              <a:ext cx="216535" cy="216535"/>
            </a:xfrm>
            <a:custGeom>
              <a:avLst/>
              <a:gdLst/>
              <a:ahLst/>
              <a:cxnLst/>
              <a:rect l="l" t="t" r="r" b="b"/>
              <a:pathLst>
                <a:path w="216534" h="216535">
                  <a:moveTo>
                    <a:pt x="108203" y="0"/>
                  </a:moveTo>
                  <a:lnTo>
                    <a:pt x="150346" y="8504"/>
                  </a:lnTo>
                  <a:lnTo>
                    <a:pt x="184737" y="31694"/>
                  </a:lnTo>
                  <a:lnTo>
                    <a:pt x="207912" y="66088"/>
                  </a:lnTo>
                  <a:lnTo>
                    <a:pt x="216408" y="108203"/>
                  </a:lnTo>
                  <a:lnTo>
                    <a:pt x="207912" y="150319"/>
                  </a:lnTo>
                  <a:lnTo>
                    <a:pt x="184737" y="184713"/>
                  </a:lnTo>
                  <a:lnTo>
                    <a:pt x="150346" y="207903"/>
                  </a:lnTo>
                  <a:lnTo>
                    <a:pt x="108203" y="216407"/>
                  </a:lnTo>
                  <a:lnTo>
                    <a:pt x="66061" y="207903"/>
                  </a:lnTo>
                  <a:lnTo>
                    <a:pt x="31670" y="184713"/>
                  </a:lnTo>
                  <a:lnTo>
                    <a:pt x="8495" y="150319"/>
                  </a:lnTo>
                  <a:lnTo>
                    <a:pt x="0" y="108203"/>
                  </a:lnTo>
                  <a:lnTo>
                    <a:pt x="1482" y="90312"/>
                  </a:lnTo>
                  <a:lnTo>
                    <a:pt x="5857" y="73026"/>
                  </a:lnTo>
                  <a:lnTo>
                    <a:pt x="13019" y="56695"/>
                  </a:lnTo>
                  <a:lnTo>
                    <a:pt x="22860" y="41668"/>
                  </a:lnTo>
                </a:path>
              </a:pathLst>
            </a:custGeom>
            <a:noFill/>
            <a:ln w="15239">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78" name="object 51">
              <a:extLst>
                <a:ext uri="{FF2B5EF4-FFF2-40B4-BE49-F238E27FC236}">
                  <a16:creationId xmlns:a16="http://schemas.microsoft.com/office/drawing/2014/main" id="{9244DD1D-ABD4-4A9D-B93C-A72C36C7CC1D}"/>
                </a:ext>
              </a:extLst>
            </p:cNvPr>
            <p:cNvSpPr/>
            <p:nvPr/>
          </p:nvSpPr>
          <p:spPr>
            <a:xfrm>
              <a:off x="10870025" y="1442661"/>
              <a:ext cx="131445" cy="183515"/>
            </a:xfrm>
            <a:custGeom>
              <a:avLst/>
              <a:gdLst/>
              <a:ahLst/>
              <a:cxnLst/>
              <a:rect l="l" t="t" r="r" b="b"/>
              <a:pathLst>
                <a:path w="131445" h="183514">
                  <a:moveTo>
                    <a:pt x="0" y="0"/>
                  </a:moveTo>
                  <a:lnTo>
                    <a:pt x="51018" y="10298"/>
                  </a:lnTo>
                  <a:lnTo>
                    <a:pt x="92678" y="38385"/>
                  </a:lnTo>
                  <a:lnTo>
                    <a:pt x="120765" y="80045"/>
                  </a:lnTo>
                  <a:lnTo>
                    <a:pt x="131064" y="131063"/>
                  </a:lnTo>
                  <a:lnTo>
                    <a:pt x="130375" y="144526"/>
                  </a:lnTo>
                  <a:lnTo>
                    <a:pt x="128317" y="157814"/>
                  </a:lnTo>
                  <a:lnTo>
                    <a:pt x="124902" y="170824"/>
                  </a:lnTo>
                  <a:lnTo>
                    <a:pt x="120142" y="183451"/>
                  </a:lnTo>
                </a:path>
              </a:pathLst>
            </a:custGeom>
            <a:noFill/>
            <a:ln w="1524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79" name="object 53">
              <a:extLst>
                <a:ext uri="{FF2B5EF4-FFF2-40B4-BE49-F238E27FC236}">
                  <a16:creationId xmlns:a16="http://schemas.microsoft.com/office/drawing/2014/main" id="{5E6E4975-502F-48FE-A346-85730ED9B1A3}"/>
                </a:ext>
              </a:extLst>
            </p:cNvPr>
            <p:cNvSpPr txBox="1"/>
            <p:nvPr/>
          </p:nvSpPr>
          <p:spPr>
            <a:xfrm>
              <a:off x="11042999" y="1508295"/>
              <a:ext cx="1007110" cy="153888"/>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000" b="0" i="0" u="none" strike="noStrike" kern="1200" cap="none" spc="-5" normalizeH="0" baseline="0" noProof="0" dirty="0">
                  <a:ln>
                    <a:noFill/>
                  </a:ln>
                  <a:solidFill>
                    <a:srgbClr val="000000"/>
                  </a:solidFill>
                  <a:effectLst/>
                  <a:uLnTx/>
                  <a:uFillTx/>
                  <a:ea typeface="+mn-ea"/>
                  <a:cs typeface="Verdana"/>
                </a:rPr>
                <a:t>Transaction</a:t>
              </a:r>
              <a:r>
                <a:rPr kumimoji="0" sz="1000" b="0" i="0" u="none" strike="noStrike" kern="1200" cap="none" spc="-30" normalizeH="0" baseline="0" noProof="0" dirty="0">
                  <a:ln>
                    <a:noFill/>
                  </a:ln>
                  <a:solidFill>
                    <a:srgbClr val="000000"/>
                  </a:solidFill>
                  <a:effectLst/>
                  <a:uLnTx/>
                  <a:uFillTx/>
                  <a:ea typeface="+mn-ea"/>
                  <a:cs typeface="Verdana"/>
                </a:rPr>
                <a:t> </a:t>
              </a:r>
              <a:r>
                <a:rPr kumimoji="0" sz="1000" b="0" i="0" u="none" strike="noStrike" kern="1200" cap="none" spc="-10" normalizeH="0" baseline="0" noProof="0" dirty="0">
                  <a:ln>
                    <a:noFill/>
                  </a:ln>
                  <a:solidFill>
                    <a:srgbClr val="000000"/>
                  </a:solidFill>
                  <a:effectLst/>
                  <a:uLnTx/>
                  <a:uFillTx/>
                  <a:ea typeface="+mn-ea"/>
                  <a:cs typeface="Verdana"/>
                </a:rPr>
                <a:t>fee</a:t>
              </a:r>
              <a:endParaRPr kumimoji="0" sz="1000" b="0" i="0" u="none" strike="noStrike" kern="1200" cap="none" spc="0" normalizeH="0" baseline="0" noProof="0" dirty="0">
                <a:ln>
                  <a:noFill/>
                </a:ln>
                <a:solidFill>
                  <a:srgbClr val="000000"/>
                </a:solidFill>
                <a:effectLst/>
                <a:uLnTx/>
                <a:uFillTx/>
                <a:ea typeface="+mn-ea"/>
                <a:cs typeface="Verdana"/>
              </a:endParaRPr>
            </a:p>
          </p:txBody>
        </p:sp>
      </p:grpSp>
      <p:grpSp>
        <p:nvGrpSpPr>
          <p:cNvPr id="127" name="Group 126">
            <a:extLst>
              <a:ext uri="{FF2B5EF4-FFF2-40B4-BE49-F238E27FC236}">
                <a16:creationId xmlns:a16="http://schemas.microsoft.com/office/drawing/2014/main" id="{8BCC72FC-891C-4E69-B987-D11AC4A25404}"/>
              </a:ext>
            </a:extLst>
          </p:cNvPr>
          <p:cNvGrpSpPr/>
          <p:nvPr/>
        </p:nvGrpSpPr>
        <p:grpSpPr>
          <a:xfrm>
            <a:off x="10071161" y="1452964"/>
            <a:ext cx="562308" cy="250316"/>
            <a:chOff x="10071161" y="1452964"/>
            <a:chExt cx="562308" cy="250316"/>
          </a:xfrm>
        </p:grpSpPr>
        <p:sp>
          <p:nvSpPr>
            <p:cNvPr id="44" name="object 46">
              <a:extLst>
                <a:ext uri="{FF2B5EF4-FFF2-40B4-BE49-F238E27FC236}">
                  <a16:creationId xmlns:a16="http://schemas.microsoft.com/office/drawing/2014/main" id="{34721BF0-1357-416A-99BC-19BBBE75A318}"/>
                </a:ext>
              </a:extLst>
            </p:cNvPr>
            <p:cNvSpPr/>
            <p:nvPr/>
          </p:nvSpPr>
          <p:spPr>
            <a:xfrm>
              <a:off x="10085385" y="1465155"/>
              <a:ext cx="213360" cy="238125"/>
            </a:xfrm>
            <a:custGeom>
              <a:avLst/>
              <a:gdLst/>
              <a:ahLst/>
              <a:cxnLst/>
              <a:rect l="l" t="t" r="r" b="b"/>
              <a:pathLst>
                <a:path w="213359" h="238125">
                  <a:moveTo>
                    <a:pt x="93979" y="0"/>
                  </a:moveTo>
                  <a:lnTo>
                    <a:pt x="140253" y="9342"/>
                  </a:lnTo>
                  <a:lnTo>
                    <a:pt x="178038" y="34818"/>
                  </a:lnTo>
                  <a:lnTo>
                    <a:pt x="203511" y="72603"/>
                  </a:lnTo>
                  <a:lnTo>
                    <a:pt x="212851" y="118872"/>
                  </a:lnTo>
                  <a:lnTo>
                    <a:pt x="203511" y="165140"/>
                  </a:lnTo>
                  <a:lnTo>
                    <a:pt x="178038" y="202925"/>
                  </a:lnTo>
                  <a:lnTo>
                    <a:pt x="140253" y="228401"/>
                  </a:lnTo>
                  <a:lnTo>
                    <a:pt x="93979" y="237744"/>
                  </a:lnTo>
                  <a:lnTo>
                    <a:pt x="66919" y="234626"/>
                  </a:lnTo>
                  <a:lnTo>
                    <a:pt x="41608" y="225585"/>
                  </a:lnTo>
                  <a:lnTo>
                    <a:pt x="18988" y="211088"/>
                  </a:lnTo>
                  <a:lnTo>
                    <a:pt x="0" y="191604"/>
                  </a:lnTo>
                </a:path>
              </a:pathLst>
            </a:custGeom>
            <a:ln w="15240">
              <a:solidFill>
                <a:schemeClr val="accent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45" name="object 47">
              <a:extLst>
                <a:ext uri="{FF2B5EF4-FFF2-40B4-BE49-F238E27FC236}">
                  <a16:creationId xmlns:a16="http://schemas.microsoft.com/office/drawing/2014/main" id="{BDD44C5D-060B-4AC0-B69C-6CC4D1F7E1F3}"/>
                </a:ext>
              </a:extLst>
            </p:cNvPr>
            <p:cNvSpPr/>
            <p:nvPr/>
          </p:nvSpPr>
          <p:spPr>
            <a:xfrm>
              <a:off x="10071161" y="1475823"/>
              <a:ext cx="216535" cy="216535"/>
            </a:xfrm>
            <a:custGeom>
              <a:avLst/>
              <a:gdLst/>
              <a:ahLst/>
              <a:cxnLst/>
              <a:rect l="l" t="t" r="r" b="b"/>
              <a:pathLst>
                <a:path w="216534" h="216535">
                  <a:moveTo>
                    <a:pt x="108203" y="0"/>
                  </a:moveTo>
                  <a:lnTo>
                    <a:pt x="150346" y="8504"/>
                  </a:lnTo>
                  <a:lnTo>
                    <a:pt x="184737" y="31694"/>
                  </a:lnTo>
                  <a:lnTo>
                    <a:pt x="207912" y="66088"/>
                  </a:lnTo>
                  <a:lnTo>
                    <a:pt x="216407" y="108203"/>
                  </a:lnTo>
                  <a:lnTo>
                    <a:pt x="207912" y="150319"/>
                  </a:lnTo>
                  <a:lnTo>
                    <a:pt x="184737" y="184713"/>
                  </a:lnTo>
                  <a:lnTo>
                    <a:pt x="150346" y="207903"/>
                  </a:lnTo>
                  <a:lnTo>
                    <a:pt x="108203" y="216407"/>
                  </a:lnTo>
                  <a:lnTo>
                    <a:pt x="66061" y="207903"/>
                  </a:lnTo>
                  <a:lnTo>
                    <a:pt x="31670" y="184713"/>
                  </a:lnTo>
                  <a:lnTo>
                    <a:pt x="8495" y="150319"/>
                  </a:lnTo>
                  <a:lnTo>
                    <a:pt x="0" y="108203"/>
                  </a:lnTo>
                  <a:lnTo>
                    <a:pt x="1482" y="90312"/>
                  </a:lnTo>
                  <a:lnTo>
                    <a:pt x="5857" y="73026"/>
                  </a:lnTo>
                  <a:lnTo>
                    <a:pt x="13019" y="56695"/>
                  </a:lnTo>
                  <a:lnTo>
                    <a:pt x="22859" y="41668"/>
                  </a:lnTo>
                </a:path>
              </a:pathLst>
            </a:custGeom>
            <a:ln w="15240">
              <a:solidFill>
                <a:schemeClr val="accent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46" name="object 48">
              <a:extLst>
                <a:ext uri="{FF2B5EF4-FFF2-40B4-BE49-F238E27FC236}">
                  <a16:creationId xmlns:a16="http://schemas.microsoft.com/office/drawing/2014/main" id="{7D4B3EB6-7E3E-4BD7-89BA-118EAC5ED2F6}"/>
                </a:ext>
              </a:extLst>
            </p:cNvPr>
            <p:cNvSpPr/>
            <p:nvPr/>
          </p:nvSpPr>
          <p:spPr>
            <a:xfrm>
              <a:off x="10180890" y="1452964"/>
              <a:ext cx="131445" cy="183515"/>
            </a:xfrm>
            <a:custGeom>
              <a:avLst/>
              <a:gdLst/>
              <a:ahLst/>
              <a:cxnLst/>
              <a:rect l="l" t="t" r="r" b="b"/>
              <a:pathLst>
                <a:path w="131445" h="183514">
                  <a:moveTo>
                    <a:pt x="0" y="0"/>
                  </a:moveTo>
                  <a:lnTo>
                    <a:pt x="51018" y="10298"/>
                  </a:lnTo>
                  <a:lnTo>
                    <a:pt x="92678" y="38385"/>
                  </a:lnTo>
                  <a:lnTo>
                    <a:pt x="120765" y="80045"/>
                  </a:lnTo>
                  <a:lnTo>
                    <a:pt x="131064" y="131064"/>
                  </a:lnTo>
                  <a:lnTo>
                    <a:pt x="130375" y="144528"/>
                  </a:lnTo>
                  <a:lnTo>
                    <a:pt x="128317" y="157819"/>
                  </a:lnTo>
                  <a:lnTo>
                    <a:pt x="124902" y="170829"/>
                  </a:lnTo>
                  <a:lnTo>
                    <a:pt x="120142" y="183451"/>
                  </a:lnTo>
                </a:path>
              </a:pathLst>
            </a:custGeom>
            <a:ln w="15240">
              <a:solidFill>
                <a:schemeClr val="accent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47" name="object 52">
              <a:extLst>
                <a:ext uri="{FF2B5EF4-FFF2-40B4-BE49-F238E27FC236}">
                  <a16:creationId xmlns:a16="http://schemas.microsoft.com/office/drawing/2014/main" id="{2C0BC3F5-190B-4E1B-9A01-91123C26074A}"/>
                </a:ext>
              </a:extLst>
            </p:cNvPr>
            <p:cNvSpPr txBox="1"/>
            <p:nvPr/>
          </p:nvSpPr>
          <p:spPr>
            <a:xfrm>
              <a:off x="10358756" y="1495737"/>
              <a:ext cx="274713" cy="153888"/>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75" normalizeH="0" baseline="0" noProof="0" dirty="0">
                  <a:ln>
                    <a:noFill/>
                  </a:ln>
                  <a:solidFill>
                    <a:srgbClr val="000000"/>
                  </a:solidFill>
                  <a:effectLst/>
                  <a:uLnTx/>
                  <a:uFillTx/>
                  <a:ea typeface="+mn-ea"/>
                  <a:cs typeface="Verdana"/>
                </a:rPr>
                <a:t>aaS</a:t>
              </a:r>
              <a:endParaRPr kumimoji="0" sz="1000" b="0" i="0" u="none" strike="noStrike" kern="1200" cap="none" spc="0" normalizeH="0" baseline="0" noProof="0" dirty="0">
                <a:ln>
                  <a:noFill/>
                </a:ln>
                <a:solidFill>
                  <a:srgbClr val="000000"/>
                </a:solidFill>
                <a:effectLst/>
                <a:uLnTx/>
                <a:uFillTx/>
                <a:ea typeface="+mn-ea"/>
                <a:cs typeface="Verdana"/>
              </a:endParaRPr>
            </a:p>
          </p:txBody>
        </p:sp>
      </p:grpSp>
      <p:grpSp>
        <p:nvGrpSpPr>
          <p:cNvPr id="48" name="Group 47">
            <a:extLst>
              <a:ext uri="{FF2B5EF4-FFF2-40B4-BE49-F238E27FC236}">
                <a16:creationId xmlns:a16="http://schemas.microsoft.com/office/drawing/2014/main" id="{3E702D0F-7905-43E6-AC92-C9097F8C41CB}"/>
              </a:ext>
            </a:extLst>
          </p:cNvPr>
          <p:cNvGrpSpPr/>
          <p:nvPr/>
        </p:nvGrpSpPr>
        <p:grpSpPr>
          <a:xfrm>
            <a:off x="606758" y="1763175"/>
            <a:ext cx="1171444" cy="1224343"/>
            <a:chOff x="3467100" y="1822704"/>
            <a:chExt cx="1417447" cy="1481455"/>
          </a:xfrm>
        </p:grpSpPr>
        <p:sp>
          <p:nvSpPr>
            <p:cNvPr id="71" name="object 17">
              <a:extLst>
                <a:ext uri="{FF2B5EF4-FFF2-40B4-BE49-F238E27FC236}">
                  <a16:creationId xmlns:a16="http://schemas.microsoft.com/office/drawing/2014/main" id="{A8215AA8-1154-4666-A7CB-78A32BE5B469}"/>
                </a:ext>
              </a:extLst>
            </p:cNvPr>
            <p:cNvSpPr/>
            <p:nvPr/>
          </p:nvSpPr>
          <p:spPr>
            <a:xfrm>
              <a:off x="3550284" y="1898904"/>
              <a:ext cx="1259840" cy="1405255"/>
            </a:xfrm>
            <a:custGeom>
              <a:avLst/>
              <a:gdLst/>
              <a:ahLst/>
              <a:cxnLst/>
              <a:rect l="l" t="t" r="r" b="b"/>
              <a:pathLst>
                <a:path w="1259839" h="1405254">
                  <a:moveTo>
                    <a:pt x="556132" y="0"/>
                  </a:moveTo>
                  <a:lnTo>
                    <a:pt x="604293" y="1620"/>
                  </a:lnTo>
                  <a:lnTo>
                    <a:pt x="651582" y="6414"/>
                  </a:lnTo>
                  <a:lnTo>
                    <a:pt x="697894" y="14274"/>
                  </a:lnTo>
                  <a:lnTo>
                    <a:pt x="743124" y="25098"/>
                  </a:lnTo>
                  <a:lnTo>
                    <a:pt x="787169" y="38780"/>
                  </a:lnTo>
                  <a:lnTo>
                    <a:pt x="829923" y="55215"/>
                  </a:lnTo>
                  <a:lnTo>
                    <a:pt x="871281" y="74299"/>
                  </a:lnTo>
                  <a:lnTo>
                    <a:pt x="911140" y="95927"/>
                  </a:lnTo>
                  <a:lnTo>
                    <a:pt x="949394" y="119994"/>
                  </a:lnTo>
                  <a:lnTo>
                    <a:pt x="985938" y="146397"/>
                  </a:lnTo>
                  <a:lnTo>
                    <a:pt x="1020669" y="175029"/>
                  </a:lnTo>
                  <a:lnTo>
                    <a:pt x="1053480" y="205787"/>
                  </a:lnTo>
                  <a:lnTo>
                    <a:pt x="1084269" y="238566"/>
                  </a:lnTo>
                  <a:lnTo>
                    <a:pt x="1112929" y="273261"/>
                  </a:lnTo>
                  <a:lnTo>
                    <a:pt x="1139356" y="309767"/>
                  </a:lnTo>
                  <a:lnTo>
                    <a:pt x="1163447" y="347980"/>
                  </a:lnTo>
                  <a:lnTo>
                    <a:pt x="1185094" y="387794"/>
                  </a:lnTo>
                  <a:lnTo>
                    <a:pt x="1204196" y="429107"/>
                  </a:lnTo>
                  <a:lnTo>
                    <a:pt x="1220645" y="471812"/>
                  </a:lnTo>
                  <a:lnTo>
                    <a:pt x="1234339" y="515805"/>
                  </a:lnTo>
                  <a:lnTo>
                    <a:pt x="1245172" y="560981"/>
                  </a:lnTo>
                  <a:lnTo>
                    <a:pt x="1253039" y="607236"/>
                  </a:lnTo>
                  <a:lnTo>
                    <a:pt x="1257836" y="654465"/>
                  </a:lnTo>
                  <a:lnTo>
                    <a:pt x="1259459" y="702563"/>
                  </a:lnTo>
                  <a:lnTo>
                    <a:pt x="1257836" y="750662"/>
                  </a:lnTo>
                  <a:lnTo>
                    <a:pt x="1253039" y="797891"/>
                  </a:lnTo>
                  <a:lnTo>
                    <a:pt x="1245172" y="844146"/>
                  </a:lnTo>
                  <a:lnTo>
                    <a:pt x="1234339" y="889322"/>
                  </a:lnTo>
                  <a:lnTo>
                    <a:pt x="1220645" y="933315"/>
                  </a:lnTo>
                  <a:lnTo>
                    <a:pt x="1204196" y="976020"/>
                  </a:lnTo>
                  <a:lnTo>
                    <a:pt x="1185094" y="1017333"/>
                  </a:lnTo>
                  <a:lnTo>
                    <a:pt x="1163447" y="1057147"/>
                  </a:lnTo>
                  <a:lnTo>
                    <a:pt x="1139356" y="1095360"/>
                  </a:lnTo>
                  <a:lnTo>
                    <a:pt x="1112929" y="1131866"/>
                  </a:lnTo>
                  <a:lnTo>
                    <a:pt x="1084269" y="1166561"/>
                  </a:lnTo>
                  <a:lnTo>
                    <a:pt x="1053480" y="1199340"/>
                  </a:lnTo>
                  <a:lnTo>
                    <a:pt x="1020669" y="1230098"/>
                  </a:lnTo>
                  <a:lnTo>
                    <a:pt x="985938" y="1258730"/>
                  </a:lnTo>
                  <a:lnTo>
                    <a:pt x="949394" y="1285133"/>
                  </a:lnTo>
                  <a:lnTo>
                    <a:pt x="911140" y="1309200"/>
                  </a:lnTo>
                  <a:lnTo>
                    <a:pt x="871281" y="1330828"/>
                  </a:lnTo>
                  <a:lnTo>
                    <a:pt x="829923" y="1349912"/>
                  </a:lnTo>
                  <a:lnTo>
                    <a:pt x="787169" y="1366347"/>
                  </a:lnTo>
                  <a:lnTo>
                    <a:pt x="743124" y="1380029"/>
                  </a:lnTo>
                  <a:lnTo>
                    <a:pt x="697894" y="1390853"/>
                  </a:lnTo>
                  <a:lnTo>
                    <a:pt x="651582" y="1398713"/>
                  </a:lnTo>
                  <a:lnTo>
                    <a:pt x="604293" y="1403507"/>
                  </a:lnTo>
                  <a:lnTo>
                    <a:pt x="556132" y="1405128"/>
                  </a:lnTo>
                  <a:lnTo>
                    <a:pt x="506172" y="1403355"/>
                  </a:lnTo>
                  <a:lnTo>
                    <a:pt x="456808" y="1398092"/>
                  </a:lnTo>
                  <a:lnTo>
                    <a:pt x="408205" y="1389418"/>
                  </a:lnTo>
                  <a:lnTo>
                    <a:pt x="360525" y="1377414"/>
                  </a:lnTo>
                  <a:lnTo>
                    <a:pt x="313933" y="1362159"/>
                  </a:lnTo>
                  <a:lnTo>
                    <a:pt x="268593" y="1343733"/>
                  </a:lnTo>
                  <a:lnTo>
                    <a:pt x="224667" y="1322217"/>
                  </a:lnTo>
                  <a:lnTo>
                    <a:pt x="182321" y="1297691"/>
                  </a:lnTo>
                  <a:lnTo>
                    <a:pt x="141717" y="1270235"/>
                  </a:lnTo>
                  <a:lnTo>
                    <a:pt x="103019" y="1239929"/>
                  </a:lnTo>
                  <a:lnTo>
                    <a:pt x="66391" y="1206853"/>
                  </a:lnTo>
                  <a:lnTo>
                    <a:pt x="31997" y="1171088"/>
                  </a:lnTo>
                  <a:lnTo>
                    <a:pt x="0" y="1132713"/>
                  </a:lnTo>
                </a:path>
              </a:pathLst>
            </a:custGeom>
            <a:ln w="15240">
              <a:solidFill>
                <a:srgbClr val="A6A6A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72" name="object 18">
              <a:extLst>
                <a:ext uri="{FF2B5EF4-FFF2-40B4-BE49-F238E27FC236}">
                  <a16:creationId xmlns:a16="http://schemas.microsoft.com/office/drawing/2014/main" id="{FE66764D-A647-49EF-9F22-FA2A60BDBF02}"/>
                </a:ext>
              </a:extLst>
            </p:cNvPr>
            <p:cNvSpPr/>
            <p:nvPr/>
          </p:nvSpPr>
          <p:spPr>
            <a:xfrm>
              <a:off x="3467100" y="1962911"/>
              <a:ext cx="1278890" cy="1277620"/>
            </a:xfrm>
            <a:custGeom>
              <a:avLst/>
              <a:gdLst/>
              <a:ahLst/>
              <a:cxnLst/>
              <a:rect l="l" t="t" r="r" b="b"/>
              <a:pathLst>
                <a:path w="1278889" h="1277620">
                  <a:moveTo>
                    <a:pt x="639317" y="0"/>
                  </a:moveTo>
                  <a:lnTo>
                    <a:pt x="687027" y="1751"/>
                  </a:lnTo>
                  <a:lnTo>
                    <a:pt x="733785" y="6923"/>
                  </a:lnTo>
                  <a:lnTo>
                    <a:pt x="779468" y="15392"/>
                  </a:lnTo>
                  <a:lnTo>
                    <a:pt x="823952" y="27034"/>
                  </a:lnTo>
                  <a:lnTo>
                    <a:pt x="867112" y="41727"/>
                  </a:lnTo>
                  <a:lnTo>
                    <a:pt x="908827" y="59346"/>
                  </a:lnTo>
                  <a:lnTo>
                    <a:pt x="948971" y="79769"/>
                  </a:lnTo>
                  <a:lnTo>
                    <a:pt x="987422" y="102871"/>
                  </a:lnTo>
                  <a:lnTo>
                    <a:pt x="1024055" y="128530"/>
                  </a:lnTo>
                  <a:lnTo>
                    <a:pt x="1058747" y="156622"/>
                  </a:lnTo>
                  <a:lnTo>
                    <a:pt x="1091374" y="187023"/>
                  </a:lnTo>
                  <a:lnTo>
                    <a:pt x="1121813" y="219610"/>
                  </a:lnTo>
                  <a:lnTo>
                    <a:pt x="1149940" y="254260"/>
                  </a:lnTo>
                  <a:lnTo>
                    <a:pt x="1175631" y="290849"/>
                  </a:lnTo>
                  <a:lnTo>
                    <a:pt x="1198763" y="329253"/>
                  </a:lnTo>
                  <a:lnTo>
                    <a:pt x="1219212" y="369350"/>
                  </a:lnTo>
                  <a:lnTo>
                    <a:pt x="1236854" y="411016"/>
                  </a:lnTo>
                  <a:lnTo>
                    <a:pt x="1251565" y="454127"/>
                  </a:lnTo>
                  <a:lnTo>
                    <a:pt x="1263223" y="498560"/>
                  </a:lnTo>
                  <a:lnTo>
                    <a:pt x="1271703" y="544191"/>
                  </a:lnTo>
                  <a:lnTo>
                    <a:pt x="1276882" y="590898"/>
                  </a:lnTo>
                  <a:lnTo>
                    <a:pt x="1278636" y="638555"/>
                  </a:lnTo>
                  <a:lnTo>
                    <a:pt x="1276882" y="686213"/>
                  </a:lnTo>
                  <a:lnTo>
                    <a:pt x="1271703" y="732920"/>
                  </a:lnTo>
                  <a:lnTo>
                    <a:pt x="1263223" y="778551"/>
                  </a:lnTo>
                  <a:lnTo>
                    <a:pt x="1251565" y="822984"/>
                  </a:lnTo>
                  <a:lnTo>
                    <a:pt x="1236854" y="866095"/>
                  </a:lnTo>
                  <a:lnTo>
                    <a:pt x="1219212" y="907761"/>
                  </a:lnTo>
                  <a:lnTo>
                    <a:pt x="1198763" y="947858"/>
                  </a:lnTo>
                  <a:lnTo>
                    <a:pt x="1175631" y="986262"/>
                  </a:lnTo>
                  <a:lnTo>
                    <a:pt x="1149940" y="1022851"/>
                  </a:lnTo>
                  <a:lnTo>
                    <a:pt x="1121813" y="1057501"/>
                  </a:lnTo>
                  <a:lnTo>
                    <a:pt x="1091374" y="1090088"/>
                  </a:lnTo>
                  <a:lnTo>
                    <a:pt x="1058747" y="1120489"/>
                  </a:lnTo>
                  <a:lnTo>
                    <a:pt x="1024055" y="1148581"/>
                  </a:lnTo>
                  <a:lnTo>
                    <a:pt x="987422" y="1174240"/>
                  </a:lnTo>
                  <a:lnTo>
                    <a:pt x="948971" y="1197342"/>
                  </a:lnTo>
                  <a:lnTo>
                    <a:pt x="908827" y="1217765"/>
                  </a:lnTo>
                  <a:lnTo>
                    <a:pt x="867112" y="1235384"/>
                  </a:lnTo>
                  <a:lnTo>
                    <a:pt x="823952" y="1250077"/>
                  </a:lnTo>
                  <a:lnTo>
                    <a:pt x="779468" y="1261719"/>
                  </a:lnTo>
                  <a:lnTo>
                    <a:pt x="733785" y="1270188"/>
                  </a:lnTo>
                  <a:lnTo>
                    <a:pt x="687027" y="1275360"/>
                  </a:lnTo>
                  <a:lnTo>
                    <a:pt x="639317" y="1277112"/>
                  </a:lnTo>
                  <a:lnTo>
                    <a:pt x="591608" y="1275360"/>
                  </a:lnTo>
                  <a:lnTo>
                    <a:pt x="544850" y="1270188"/>
                  </a:lnTo>
                  <a:lnTo>
                    <a:pt x="499167" y="1261719"/>
                  </a:lnTo>
                  <a:lnTo>
                    <a:pt x="454683" y="1250077"/>
                  </a:lnTo>
                  <a:lnTo>
                    <a:pt x="411523" y="1235384"/>
                  </a:lnTo>
                  <a:lnTo>
                    <a:pt x="369808" y="1217765"/>
                  </a:lnTo>
                  <a:lnTo>
                    <a:pt x="329664" y="1197342"/>
                  </a:lnTo>
                  <a:lnTo>
                    <a:pt x="291213" y="1174240"/>
                  </a:lnTo>
                  <a:lnTo>
                    <a:pt x="254580" y="1148581"/>
                  </a:lnTo>
                  <a:lnTo>
                    <a:pt x="219888" y="1120489"/>
                  </a:lnTo>
                  <a:lnTo>
                    <a:pt x="187261" y="1090088"/>
                  </a:lnTo>
                  <a:lnTo>
                    <a:pt x="156822" y="1057501"/>
                  </a:lnTo>
                  <a:lnTo>
                    <a:pt x="128695" y="1022851"/>
                  </a:lnTo>
                  <a:lnTo>
                    <a:pt x="103004" y="986262"/>
                  </a:lnTo>
                  <a:lnTo>
                    <a:pt x="79872" y="947858"/>
                  </a:lnTo>
                  <a:lnTo>
                    <a:pt x="59423" y="907761"/>
                  </a:lnTo>
                  <a:lnTo>
                    <a:pt x="41781" y="866095"/>
                  </a:lnTo>
                  <a:lnTo>
                    <a:pt x="27070" y="822984"/>
                  </a:lnTo>
                  <a:lnTo>
                    <a:pt x="15412" y="778551"/>
                  </a:lnTo>
                  <a:lnTo>
                    <a:pt x="6932" y="732920"/>
                  </a:lnTo>
                  <a:lnTo>
                    <a:pt x="1753" y="686213"/>
                  </a:lnTo>
                  <a:lnTo>
                    <a:pt x="0" y="638555"/>
                  </a:lnTo>
                  <a:lnTo>
                    <a:pt x="2217" y="585401"/>
                  </a:lnTo>
                  <a:lnTo>
                    <a:pt x="8812" y="532886"/>
                  </a:lnTo>
                  <a:lnTo>
                    <a:pt x="19696" y="481266"/>
                  </a:lnTo>
                  <a:lnTo>
                    <a:pt x="34782" y="430799"/>
                  </a:lnTo>
                  <a:lnTo>
                    <a:pt x="53981" y="381744"/>
                  </a:lnTo>
                  <a:lnTo>
                    <a:pt x="77206" y="334357"/>
                  </a:lnTo>
                  <a:lnTo>
                    <a:pt x="104368" y="288895"/>
                  </a:lnTo>
                  <a:lnTo>
                    <a:pt x="135382" y="245617"/>
                  </a:lnTo>
                </a:path>
              </a:pathLst>
            </a:custGeom>
            <a:ln w="15240">
              <a:solidFill>
                <a:srgbClr val="A6A6A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73" name="object 19">
              <a:extLst>
                <a:ext uri="{FF2B5EF4-FFF2-40B4-BE49-F238E27FC236}">
                  <a16:creationId xmlns:a16="http://schemas.microsoft.com/office/drawing/2014/main" id="{8F4C3879-D55A-4FC3-A839-5D360351F2FF}"/>
                </a:ext>
              </a:extLst>
            </p:cNvPr>
            <p:cNvSpPr/>
            <p:nvPr/>
          </p:nvSpPr>
          <p:spPr>
            <a:xfrm>
              <a:off x="4111752" y="1822704"/>
              <a:ext cx="772795" cy="1082675"/>
            </a:xfrm>
            <a:custGeom>
              <a:avLst/>
              <a:gdLst/>
              <a:ahLst/>
              <a:cxnLst/>
              <a:rect l="l" t="t" r="r" b="b"/>
              <a:pathLst>
                <a:path w="772795" h="1082675">
                  <a:moveTo>
                    <a:pt x="0" y="0"/>
                  </a:moveTo>
                  <a:lnTo>
                    <a:pt x="48863" y="1521"/>
                  </a:lnTo>
                  <a:lnTo>
                    <a:pt x="96919" y="6026"/>
                  </a:lnTo>
                  <a:lnTo>
                    <a:pt x="144077" y="13424"/>
                  </a:lnTo>
                  <a:lnTo>
                    <a:pt x="190246" y="23624"/>
                  </a:lnTo>
                  <a:lnTo>
                    <a:pt x="235337" y="36535"/>
                  </a:lnTo>
                  <a:lnTo>
                    <a:pt x="279258" y="52067"/>
                  </a:lnTo>
                  <a:lnTo>
                    <a:pt x="321919" y="70128"/>
                  </a:lnTo>
                  <a:lnTo>
                    <a:pt x="363229" y="90629"/>
                  </a:lnTo>
                  <a:lnTo>
                    <a:pt x="403098" y="113479"/>
                  </a:lnTo>
                  <a:lnTo>
                    <a:pt x="441436" y="138587"/>
                  </a:lnTo>
                  <a:lnTo>
                    <a:pt x="478151" y="165862"/>
                  </a:lnTo>
                  <a:lnTo>
                    <a:pt x="513154" y="195214"/>
                  </a:lnTo>
                  <a:lnTo>
                    <a:pt x="546354" y="226552"/>
                  </a:lnTo>
                  <a:lnTo>
                    <a:pt x="577659" y="259785"/>
                  </a:lnTo>
                  <a:lnTo>
                    <a:pt x="606981" y="294823"/>
                  </a:lnTo>
                  <a:lnTo>
                    <a:pt x="634228" y="331575"/>
                  </a:lnTo>
                  <a:lnTo>
                    <a:pt x="659309" y="369951"/>
                  </a:lnTo>
                  <a:lnTo>
                    <a:pt x="682135" y="409859"/>
                  </a:lnTo>
                  <a:lnTo>
                    <a:pt x="702614" y="451210"/>
                  </a:lnTo>
                  <a:lnTo>
                    <a:pt x="720657" y="493912"/>
                  </a:lnTo>
                  <a:lnTo>
                    <a:pt x="736172" y="537875"/>
                  </a:lnTo>
                  <a:lnTo>
                    <a:pt x="749069" y="583008"/>
                  </a:lnTo>
                  <a:lnTo>
                    <a:pt x="759257" y="629221"/>
                  </a:lnTo>
                  <a:lnTo>
                    <a:pt x="766647" y="676422"/>
                  </a:lnTo>
                  <a:lnTo>
                    <a:pt x="771147" y="724522"/>
                  </a:lnTo>
                  <a:lnTo>
                    <a:pt x="772668" y="773430"/>
                  </a:lnTo>
                  <a:lnTo>
                    <a:pt x="770853" y="826453"/>
                  </a:lnTo>
                  <a:lnTo>
                    <a:pt x="765433" y="879103"/>
                  </a:lnTo>
                  <a:lnTo>
                    <a:pt x="756443" y="931195"/>
                  </a:lnTo>
                  <a:lnTo>
                    <a:pt x="743918" y="982547"/>
                  </a:lnTo>
                  <a:lnTo>
                    <a:pt x="727894" y="1032974"/>
                  </a:lnTo>
                  <a:lnTo>
                    <a:pt x="708406" y="1082294"/>
                  </a:lnTo>
                </a:path>
              </a:pathLst>
            </a:custGeom>
            <a:ln w="15240">
              <a:solidFill>
                <a:srgbClr val="A6A6A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74" name="object 40">
              <a:extLst>
                <a:ext uri="{FF2B5EF4-FFF2-40B4-BE49-F238E27FC236}">
                  <a16:creationId xmlns:a16="http://schemas.microsoft.com/office/drawing/2014/main" id="{A3B30CD7-BEFB-4684-9E5A-C2B5F05359C1}"/>
                </a:ext>
              </a:extLst>
            </p:cNvPr>
            <p:cNvSpPr/>
            <p:nvPr/>
          </p:nvSpPr>
          <p:spPr>
            <a:xfrm>
              <a:off x="3547109" y="2032254"/>
              <a:ext cx="1130935" cy="1130935"/>
            </a:xfrm>
            <a:custGeom>
              <a:avLst/>
              <a:gdLst/>
              <a:ahLst/>
              <a:cxnLst/>
              <a:rect l="l" t="t" r="r" b="b"/>
              <a:pathLst>
                <a:path w="1130935" h="1130935">
                  <a:moveTo>
                    <a:pt x="565403" y="0"/>
                  </a:moveTo>
                  <a:lnTo>
                    <a:pt x="516614" y="2075"/>
                  </a:lnTo>
                  <a:lnTo>
                    <a:pt x="468978" y="8187"/>
                  </a:lnTo>
                  <a:lnTo>
                    <a:pt x="422665" y="18167"/>
                  </a:lnTo>
                  <a:lnTo>
                    <a:pt x="377844" y="31845"/>
                  </a:lnTo>
                  <a:lnTo>
                    <a:pt x="334686" y="49051"/>
                  </a:lnTo>
                  <a:lnTo>
                    <a:pt x="293360" y="69615"/>
                  </a:lnTo>
                  <a:lnTo>
                    <a:pt x="254034" y="93369"/>
                  </a:lnTo>
                  <a:lnTo>
                    <a:pt x="216881" y="120142"/>
                  </a:lnTo>
                  <a:lnTo>
                    <a:pt x="182067" y="149765"/>
                  </a:lnTo>
                  <a:lnTo>
                    <a:pt x="149765" y="182067"/>
                  </a:lnTo>
                  <a:lnTo>
                    <a:pt x="120142" y="216881"/>
                  </a:lnTo>
                  <a:lnTo>
                    <a:pt x="93369" y="254034"/>
                  </a:lnTo>
                  <a:lnTo>
                    <a:pt x="69615" y="293360"/>
                  </a:lnTo>
                  <a:lnTo>
                    <a:pt x="49051" y="334686"/>
                  </a:lnTo>
                  <a:lnTo>
                    <a:pt x="31845" y="377844"/>
                  </a:lnTo>
                  <a:lnTo>
                    <a:pt x="18167" y="422665"/>
                  </a:lnTo>
                  <a:lnTo>
                    <a:pt x="8187" y="468978"/>
                  </a:lnTo>
                  <a:lnTo>
                    <a:pt x="2075" y="516614"/>
                  </a:lnTo>
                  <a:lnTo>
                    <a:pt x="0" y="565404"/>
                  </a:lnTo>
                  <a:lnTo>
                    <a:pt x="2075" y="614193"/>
                  </a:lnTo>
                  <a:lnTo>
                    <a:pt x="8187" y="661829"/>
                  </a:lnTo>
                  <a:lnTo>
                    <a:pt x="18167" y="708142"/>
                  </a:lnTo>
                  <a:lnTo>
                    <a:pt x="31845" y="752963"/>
                  </a:lnTo>
                  <a:lnTo>
                    <a:pt x="49051" y="796121"/>
                  </a:lnTo>
                  <a:lnTo>
                    <a:pt x="69615" y="837447"/>
                  </a:lnTo>
                  <a:lnTo>
                    <a:pt x="93369" y="876773"/>
                  </a:lnTo>
                  <a:lnTo>
                    <a:pt x="120142" y="913926"/>
                  </a:lnTo>
                  <a:lnTo>
                    <a:pt x="149765" y="948740"/>
                  </a:lnTo>
                  <a:lnTo>
                    <a:pt x="182067" y="981042"/>
                  </a:lnTo>
                  <a:lnTo>
                    <a:pt x="216881" y="1010665"/>
                  </a:lnTo>
                  <a:lnTo>
                    <a:pt x="254034" y="1037438"/>
                  </a:lnTo>
                  <a:lnTo>
                    <a:pt x="293360" y="1061192"/>
                  </a:lnTo>
                  <a:lnTo>
                    <a:pt x="334686" y="1081756"/>
                  </a:lnTo>
                  <a:lnTo>
                    <a:pt x="377844" y="1098962"/>
                  </a:lnTo>
                  <a:lnTo>
                    <a:pt x="422665" y="1112640"/>
                  </a:lnTo>
                  <a:lnTo>
                    <a:pt x="468978" y="1122620"/>
                  </a:lnTo>
                  <a:lnTo>
                    <a:pt x="516614" y="1128732"/>
                  </a:lnTo>
                  <a:lnTo>
                    <a:pt x="565403" y="1130808"/>
                  </a:lnTo>
                  <a:lnTo>
                    <a:pt x="614193" y="1128732"/>
                  </a:lnTo>
                  <a:lnTo>
                    <a:pt x="661829" y="1122620"/>
                  </a:lnTo>
                  <a:lnTo>
                    <a:pt x="708142" y="1112640"/>
                  </a:lnTo>
                  <a:lnTo>
                    <a:pt x="752963" y="1098962"/>
                  </a:lnTo>
                  <a:lnTo>
                    <a:pt x="796121" y="1081756"/>
                  </a:lnTo>
                  <a:lnTo>
                    <a:pt x="837447" y="1061192"/>
                  </a:lnTo>
                  <a:lnTo>
                    <a:pt x="876773" y="1037438"/>
                  </a:lnTo>
                  <a:lnTo>
                    <a:pt x="913926" y="1010665"/>
                  </a:lnTo>
                  <a:lnTo>
                    <a:pt x="948740" y="981042"/>
                  </a:lnTo>
                  <a:lnTo>
                    <a:pt x="981042" y="948740"/>
                  </a:lnTo>
                  <a:lnTo>
                    <a:pt x="1010665" y="913926"/>
                  </a:lnTo>
                  <a:lnTo>
                    <a:pt x="1037438" y="876773"/>
                  </a:lnTo>
                  <a:lnTo>
                    <a:pt x="1061192" y="837447"/>
                  </a:lnTo>
                  <a:lnTo>
                    <a:pt x="1081756" y="796121"/>
                  </a:lnTo>
                  <a:lnTo>
                    <a:pt x="1098962" y="752963"/>
                  </a:lnTo>
                  <a:lnTo>
                    <a:pt x="1112640" y="708142"/>
                  </a:lnTo>
                  <a:lnTo>
                    <a:pt x="1122620" y="661829"/>
                  </a:lnTo>
                  <a:lnTo>
                    <a:pt x="1128732" y="614193"/>
                  </a:lnTo>
                  <a:lnTo>
                    <a:pt x="1130807" y="565404"/>
                  </a:lnTo>
                  <a:lnTo>
                    <a:pt x="1128732" y="516614"/>
                  </a:lnTo>
                  <a:lnTo>
                    <a:pt x="1122620" y="468978"/>
                  </a:lnTo>
                  <a:lnTo>
                    <a:pt x="1112640" y="422665"/>
                  </a:lnTo>
                  <a:lnTo>
                    <a:pt x="1098962" y="377844"/>
                  </a:lnTo>
                  <a:lnTo>
                    <a:pt x="1081756" y="334686"/>
                  </a:lnTo>
                  <a:lnTo>
                    <a:pt x="1061192" y="293360"/>
                  </a:lnTo>
                  <a:lnTo>
                    <a:pt x="1037438" y="254034"/>
                  </a:lnTo>
                  <a:lnTo>
                    <a:pt x="1010665" y="216881"/>
                  </a:lnTo>
                  <a:lnTo>
                    <a:pt x="981042" y="182067"/>
                  </a:lnTo>
                  <a:lnTo>
                    <a:pt x="948740" y="149765"/>
                  </a:lnTo>
                  <a:lnTo>
                    <a:pt x="913926" y="120142"/>
                  </a:lnTo>
                  <a:lnTo>
                    <a:pt x="876773" y="93369"/>
                  </a:lnTo>
                  <a:lnTo>
                    <a:pt x="837447" y="69615"/>
                  </a:lnTo>
                  <a:lnTo>
                    <a:pt x="796121" y="49051"/>
                  </a:lnTo>
                  <a:lnTo>
                    <a:pt x="752963" y="31845"/>
                  </a:lnTo>
                  <a:lnTo>
                    <a:pt x="708142" y="18167"/>
                  </a:lnTo>
                  <a:lnTo>
                    <a:pt x="661829" y="8187"/>
                  </a:lnTo>
                  <a:lnTo>
                    <a:pt x="614193" y="2075"/>
                  </a:lnTo>
                  <a:lnTo>
                    <a:pt x="565403"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75" name="object 41">
              <a:extLst>
                <a:ext uri="{FF2B5EF4-FFF2-40B4-BE49-F238E27FC236}">
                  <a16:creationId xmlns:a16="http://schemas.microsoft.com/office/drawing/2014/main" id="{3EEBE97D-6C84-444B-A3CE-A0A3829F60D4}"/>
                </a:ext>
              </a:extLst>
            </p:cNvPr>
            <p:cNvSpPr/>
            <p:nvPr/>
          </p:nvSpPr>
          <p:spPr>
            <a:xfrm>
              <a:off x="3547109" y="2032254"/>
              <a:ext cx="1130935" cy="1130935"/>
            </a:xfrm>
            <a:custGeom>
              <a:avLst/>
              <a:gdLst/>
              <a:ahLst/>
              <a:cxnLst/>
              <a:rect l="l" t="t" r="r" b="b"/>
              <a:pathLst>
                <a:path w="1130935" h="1130935">
                  <a:moveTo>
                    <a:pt x="0" y="565404"/>
                  </a:moveTo>
                  <a:lnTo>
                    <a:pt x="2075" y="516614"/>
                  </a:lnTo>
                  <a:lnTo>
                    <a:pt x="8187" y="468978"/>
                  </a:lnTo>
                  <a:lnTo>
                    <a:pt x="18167" y="422665"/>
                  </a:lnTo>
                  <a:lnTo>
                    <a:pt x="31845" y="377844"/>
                  </a:lnTo>
                  <a:lnTo>
                    <a:pt x="49051" y="334686"/>
                  </a:lnTo>
                  <a:lnTo>
                    <a:pt x="69615" y="293360"/>
                  </a:lnTo>
                  <a:lnTo>
                    <a:pt x="93369" y="254034"/>
                  </a:lnTo>
                  <a:lnTo>
                    <a:pt x="120142" y="216881"/>
                  </a:lnTo>
                  <a:lnTo>
                    <a:pt x="149765" y="182067"/>
                  </a:lnTo>
                  <a:lnTo>
                    <a:pt x="182067" y="149765"/>
                  </a:lnTo>
                  <a:lnTo>
                    <a:pt x="216881" y="120142"/>
                  </a:lnTo>
                  <a:lnTo>
                    <a:pt x="254034" y="93369"/>
                  </a:lnTo>
                  <a:lnTo>
                    <a:pt x="293360" y="69615"/>
                  </a:lnTo>
                  <a:lnTo>
                    <a:pt x="334686" y="49051"/>
                  </a:lnTo>
                  <a:lnTo>
                    <a:pt x="377844" y="31845"/>
                  </a:lnTo>
                  <a:lnTo>
                    <a:pt x="422665" y="18167"/>
                  </a:lnTo>
                  <a:lnTo>
                    <a:pt x="468978" y="8187"/>
                  </a:lnTo>
                  <a:lnTo>
                    <a:pt x="516614" y="2075"/>
                  </a:lnTo>
                  <a:lnTo>
                    <a:pt x="565403" y="0"/>
                  </a:lnTo>
                  <a:lnTo>
                    <a:pt x="614193" y="2075"/>
                  </a:lnTo>
                  <a:lnTo>
                    <a:pt x="661829" y="8187"/>
                  </a:lnTo>
                  <a:lnTo>
                    <a:pt x="708142" y="18167"/>
                  </a:lnTo>
                  <a:lnTo>
                    <a:pt x="752963" y="31845"/>
                  </a:lnTo>
                  <a:lnTo>
                    <a:pt x="796121" y="49051"/>
                  </a:lnTo>
                  <a:lnTo>
                    <a:pt x="837447" y="69615"/>
                  </a:lnTo>
                  <a:lnTo>
                    <a:pt x="876773" y="93369"/>
                  </a:lnTo>
                  <a:lnTo>
                    <a:pt x="913926" y="120142"/>
                  </a:lnTo>
                  <a:lnTo>
                    <a:pt x="948740" y="149765"/>
                  </a:lnTo>
                  <a:lnTo>
                    <a:pt x="981042" y="182067"/>
                  </a:lnTo>
                  <a:lnTo>
                    <a:pt x="1010665" y="216881"/>
                  </a:lnTo>
                  <a:lnTo>
                    <a:pt x="1037438" y="254034"/>
                  </a:lnTo>
                  <a:lnTo>
                    <a:pt x="1061192" y="293360"/>
                  </a:lnTo>
                  <a:lnTo>
                    <a:pt x="1081756" y="334686"/>
                  </a:lnTo>
                  <a:lnTo>
                    <a:pt x="1098962" y="377844"/>
                  </a:lnTo>
                  <a:lnTo>
                    <a:pt x="1112640" y="422665"/>
                  </a:lnTo>
                  <a:lnTo>
                    <a:pt x="1122620" y="468978"/>
                  </a:lnTo>
                  <a:lnTo>
                    <a:pt x="1128732" y="516614"/>
                  </a:lnTo>
                  <a:lnTo>
                    <a:pt x="1130807" y="565404"/>
                  </a:lnTo>
                  <a:lnTo>
                    <a:pt x="1128732" y="614193"/>
                  </a:lnTo>
                  <a:lnTo>
                    <a:pt x="1122620" y="661829"/>
                  </a:lnTo>
                  <a:lnTo>
                    <a:pt x="1112640" y="708142"/>
                  </a:lnTo>
                  <a:lnTo>
                    <a:pt x="1098962" y="752963"/>
                  </a:lnTo>
                  <a:lnTo>
                    <a:pt x="1081756" y="796121"/>
                  </a:lnTo>
                  <a:lnTo>
                    <a:pt x="1061192" y="837447"/>
                  </a:lnTo>
                  <a:lnTo>
                    <a:pt x="1037438" y="876773"/>
                  </a:lnTo>
                  <a:lnTo>
                    <a:pt x="1010665" y="913926"/>
                  </a:lnTo>
                  <a:lnTo>
                    <a:pt x="981042" y="948740"/>
                  </a:lnTo>
                  <a:lnTo>
                    <a:pt x="948740" y="981042"/>
                  </a:lnTo>
                  <a:lnTo>
                    <a:pt x="913926" y="1010665"/>
                  </a:lnTo>
                  <a:lnTo>
                    <a:pt x="876773" y="1037438"/>
                  </a:lnTo>
                  <a:lnTo>
                    <a:pt x="837447" y="1061192"/>
                  </a:lnTo>
                  <a:lnTo>
                    <a:pt x="796121" y="1081756"/>
                  </a:lnTo>
                  <a:lnTo>
                    <a:pt x="752963" y="1098962"/>
                  </a:lnTo>
                  <a:lnTo>
                    <a:pt x="708142" y="1112640"/>
                  </a:lnTo>
                  <a:lnTo>
                    <a:pt x="661829" y="1122620"/>
                  </a:lnTo>
                  <a:lnTo>
                    <a:pt x="614193" y="1128732"/>
                  </a:lnTo>
                  <a:lnTo>
                    <a:pt x="565403" y="1130808"/>
                  </a:lnTo>
                  <a:lnTo>
                    <a:pt x="516614" y="1128732"/>
                  </a:lnTo>
                  <a:lnTo>
                    <a:pt x="468978" y="1122620"/>
                  </a:lnTo>
                  <a:lnTo>
                    <a:pt x="422665" y="1112640"/>
                  </a:lnTo>
                  <a:lnTo>
                    <a:pt x="377844" y="1098962"/>
                  </a:lnTo>
                  <a:lnTo>
                    <a:pt x="334686" y="1081756"/>
                  </a:lnTo>
                  <a:lnTo>
                    <a:pt x="293360" y="1061192"/>
                  </a:lnTo>
                  <a:lnTo>
                    <a:pt x="254034" y="1037438"/>
                  </a:lnTo>
                  <a:lnTo>
                    <a:pt x="216881" y="1010665"/>
                  </a:lnTo>
                  <a:lnTo>
                    <a:pt x="182067" y="981042"/>
                  </a:lnTo>
                  <a:lnTo>
                    <a:pt x="149765" y="948740"/>
                  </a:lnTo>
                  <a:lnTo>
                    <a:pt x="120142" y="913926"/>
                  </a:lnTo>
                  <a:lnTo>
                    <a:pt x="93369" y="876773"/>
                  </a:lnTo>
                  <a:lnTo>
                    <a:pt x="69615" y="837447"/>
                  </a:lnTo>
                  <a:lnTo>
                    <a:pt x="49051" y="796121"/>
                  </a:lnTo>
                  <a:lnTo>
                    <a:pt x="31845" y="752963"/>
                  </a:lnTo>
                  <a:lnTo>
                    <a:pt x="18167" y="708142"/>
                  </a:lnTo>
                  <a:lnTo>
                    <a:pt x="8187" y="661829"/>
                  </a:lnTo>
                  <a:lnTo>
                    <a:pt x="2075" y="614193"/>
                  </a:lnTo>
                  <a:lnTo>
                    <a:pt x="0" y="565404"/>
                  </a:lnTo>
                  <a:close/>
                </a:path>
              </a:pathLst>
            </a:custGeom>
            <a:ln w="19812">
              <a:solidFill>
                <a:srgbClr val="A6A6A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grpSp>
      <p:sp>
        <p:nvSpPr>
          <p:cNvPr id="49" name="object 43">
            <a:extLst>
              <a:ext uri="{FF2B5EF4-FFF2-40B4-BE49-F238E27FC236}">
                <a16:creationId xmlns:a16="http://schemas.microsoft.com/office/drawing/2014/main" id="{9449C506-DF15-40E0-B66E-FAF2360AE335}"/>
              </a:ext>
            </a:extLst>
          </p:cNvPr>
          <p:cNvSpPr/>
          <p:nvPr/>
        </p:nvSpPr>
        <p:spPr>
          <a:xfrm rot="1751069">
            <a:off x="1220457" y="2481053"/>
            <a:ext cx="174632" cy="190203"/>
          </a:xfrm>
          <a:prstGeom prst="rect">
            <a:avLst/>
          </a:prstGeom>
          <a:blipFill>
            <a:blip r:embed="rId17" cstate="hqprint">
              <a:extLst>
                <a:ext uri="{28A0092B-C50C-407E-A947-70E740481C1C}">
                  <a14:useLocalDpi xmlns:a14="http://schemas.microsoft.com/office/drawing/2010/main" val="0"/>
                </a:ext>
              </a:extLst>
            </a:blip>
            <a:stretch>
              <a:fillRect/>
            </a:stretch>
          </a:blipFill>
          <a:ln>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50" name="object 20">
            <a:extLst>
              <a:ext uri="{FF2B5EF4-FFF2-40B4-BE49-F238E27FC236}">
                <a16:creationId xmlns:a16="http://schemas.microsoft.com/office/drawing/2014/main" id="{BB3FFD45-0F84-44B9-B781-CB48C0754CC3}"/>
              </a:ext>
            </a:extLst>
          </p:cNvPr>
          <p:cNvSpPr txBox="1"/>
          <p:nvPr/>
        </p:nvSpPr>
        <p:spPr>
          <a:xfrm>
            <a:off x="981730" y="3060746"/>
            <a:ext cx="315595" cy="215444"/>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10" normalizeH="0" baseline="0" noProof="0" dirty="0">
                <a:ln>
                  <a:noFill/>
                </a:ln>
                <a:solidFill>
                  <a:srgbClr val="000000"/>
                </a:solidFill>
                <a:effectLst/>
                <a:uLnTx/>
                <a:uFillTx/>
                <a:ea typeface="+mn-ea"/>
                <a:cs typeface="Verdana"/>
              </a:rPr>
              <a:t>OR</a:t>
            </a:r>
            <a:endParaRPr kumimoji="0" sz="1400" b="0" i="0" u="none" strike="noStrike" kern="1200" cap="none" spc="0" normalizeH="0" baseline="0" noProof="0" dirty="0">
              <a:ln>
                <a:noFill/>
              </a:ln>
              <a:solidFill>
                <a:srgbClr val="000000"/>
              </a:solidFill>
              <a:effectLst/>
              <a:uLnTx/>
              <a:uFillTx/>
              <a:ea typeface="+mn-ea"/>
              <a:cs typeface="Verdana"/>
            </a:endParaRPr>
          </a:p>
        </p:txBody>
      </p:sp>
      <p:grpSp>
        <p:nvGrpSpPr>
          <p:cNvPr id="51" name="Group 50">
            <a:extLst>
              <a:ext uri="{FF2B5EF4-FFF2-40B4-BE49-F238E27FC236}">
                <a16:creationId xmlns:a16="http://schemas.microsoft.com/office/drawing/2014/main" id="{ECC552D1-230C-4319-B3EB-7E1ACFCF08F2}"/>
              </a:ext>
            </a:extLst>
          </p:cNvPr>
          <p:cNvGrpSpPr/>
          <p:nvPr/>
        </p:nvGrpSpPr>
        <p:grpSpPr>
          <a:xfrm>
            <a:off x="603501" y="3311344"/>
            <a:ext cx="1171444" cy="1224343"/>
            <a:chOff x="3467100" y="1822704"/>
            <a:chExt cx="1417447" cy="1481455"/>
          </a:xfrm>
        </p:grpSpPr>
        <p:sp>
          <p:nvSpPr>
            <p:cNvPr id="66" name="object 17">
              <a:extLst>
                <a:ext uri="{FF2B5EF4-FFF2-40B4-BE49-F238E27FC236}">
                  <a16:creationId xmlns:a16="http://schemas.microsoft.com/office/drawing/2014/main" id="{BB5266E2-C5F2-47A6-BA2B-DD3D7B16B95F}"/>
                </a:ext>
              </a:extLst>
            </p:cNvPr>
            <p:cNvSpPr/>
            <p:nvPr/>
          </p:nvSpPr>
          <p:spPr>
            <a:xfrm>
              <a:off x="3550284" y="1898904"/>
              <a:ext cx="1259840" cy="1405255"/>
            </a:xfrm>
            <a:custGeom>
              <a:avLst/>
              <a:gdLst/>
              <a:ahLst/>
              <a:cxnLst/>
              <a:rect l="l" t="t" r="r" b="b"/>
              <a:pathLst>
                <a:path w="1259839" h="1405254">
                  <a:moveTo>
                    <a:pt x="556132" y="0"/>
                  </a:moveTo>
                  <a:lnTo>
                    <a:pt x="604293" y="1620"/>
                  </a:lnTo>
                  <a:lnTo>
                    <a:pt x="651582" y="6414"/>
                  </a:lnTo>
                  <a:lnTo>
                    <a:pt x="697894" y="14274"/>
                  </a:lnTo>
                  <a:lnTo>
                    <a:pt x="743124" y="25098"/>
                  </a:lnTo>
                  <a:lnTo>
                    <a:pt x="787169" y="38780"/>
                  </a:lnTo>
                  <a:lnTo>
                    <a:pt x="829923" y="55215"/>
                  </a:lnTo>
                  <a:lnTo>
                    <a:pt x="871281" y="74299"/>
                  </a:lnTo>
                  <a:lnTo>
                    <a:pt x="911140" y="95927"/>
                  </a:lnTo>
                  <a:lnTo>
                    <a:pt x="949394" y="119994"/>
                  </a:lnTo>
                  <a:lnTo>
                    <a:pt x="985938" y="146397"/>
                  </a:lnTo>
                  <a:lnTo>
                    <a:pt x="1020669" y="175029"/>
                  </a:lnTo>
                  <a:lnTo>
                    <a:pt x="1053480" y="205787"/>
                  </a:lnTo>
                  <a:lnTo>
                    <a:pt x="1084269" y="238566"/>
                  </a:lnTo>
                  <a:lnTo>
                    <a:pt x="1112929" y="273261"/>
                  </a:lnTo>
                  <a:lnTo>
                    <a:pt x="1139356" y="309767"/>
                  </a:lnTo>
                  <a:lnTo>
                    <a:pt x="1163447" y="347980"/>
                  </a:lnTo>
                  <a:lnTo>
                    <a:pt x="1185094" y="387794"/>
                  </a:lnTo>
                  <a:lnTo>
                    <a:pt x="1204196" y="429107"/>
                  </a:lnTo>
                  <a:lnTo>
                    <a:pt x="1220645" y="471812"/>
                  </a:lnTo>
                  <a:lnTo>
                    <a:pt x="1234339" y="515805"/>
                  </a:lnTo>
                  <a:lnTo>
                    <a:pt x="1245172" y="560981"/>
                  </a:lnTo>
                  <a:lnTo>
                    <a:pt x="1253039" y="607236"/>
                  </a:lnTo>
                  <a:lnTo>
                    <a:pt x="1257836" y="654465"/>
                  </a:lnTo>
                  <a:lnTo>
                    <a:pt x="1259459" y="702563"/>
                  </a:lnTo>
                  <a:lnTo>
                    <a:pt x="1257836" y="750662"/>
                  </a:lnTo>
                  <a:lnTo>
                    <a:pt x="1253039" y="797891"/>
                  </a:lnTo>
                  <a:lnTo>
                    <a:pt x="1245172" y="844146"/>
                  </a:lnTo>
                  <a:lnTo>
                    <a:pt x="1234339" y="889322"/>
                  </a:lnTo>
                  <a:lnTo>
                    <a:pt x="1220645" y="933315"/>
                  </a:lnTo>
                  <a:lnTo>
                    <a:pt x="1204196" y="976020"/>
                  </a:lnTo>
                  <a:lnTo>
                    <a:pt x="1185094" y="1017333"/>
                  </a:lnTo>
                  <a:lnTo>
                    <a:pt x="1163447" y="1057147"/>
                  </a:lnTo>
                  <a:lnTo>
                    <a:pt x="1139356" y="1095360"/>
                  </a:lnTo>
                  <a:lnTo>
                    <a:pt x="1112929" y="1131866"/>
                  </a:lnTo>
                  <a:lnTo>
                    <a:pt x="1084269" y="1166561"/>
                  </a:lnTo>
                  <a:lnTo>
                    <a:pt x="1053480" y="1199340"/>
                  </a:lnTo>
                  <a:lnTo>
                    <a:pt x="1020669" y="1230098"/>
                  </a:lnTo>
                  <a:lnTo>
                    <a:pt x="985938" y="1258730"/>
                  </a:lnTo>
                  <a:lnTo>
                    <a:pt x="949394" y="1285133"/>
                  </a:lnTo>
                  <a:lnTo>
                    <a:pt x="911140" y="1309200"/>
                  </a:lnTo>
                  <a:lnTo>
                    <a:pt x="871281" y="1330828"/>
                  </a:lnTo>
                  <a:lnTo>
                    <a:pt x="829923" y="1349912"/>
                  </a:lnTo>
                  <a:lnTo>
                    <a:pt x="787169" y="1366347"/>
                  </a:lnTo>
                  <a:lnTo>
                    <a:pt x="743124" y="1380029"/>
                  </a:lnTo>
                  <a:lnTo>
                    <a:pt x="697894" y="1390853"/>
                  </a:lnTo>
                  <a:lnTo>
                    <a:pt x="651582" y="1398713"/>
                  </a:lnTo>
                  <a:lnTo>
                    <a:pt x="604293" y="1403507"/>
                  </a:lnTo>
                  <a:lnTo>
                    <a:pt x="556132" y="1405128"/>
                  </a:lnTo>
                  <a:lnTo>
                    <a:pt x="506172" y="1403355"/>
                  </a:lnTo>
                  <a:lnTo>
                    <a:pt x="456808" y="1398092"/>
                  </a:lnTo>
                  <a:lnTo>
                    <a:pt x="408205" y="1389418"/>
                  </a:lnTo>
                  <a:lnTo>
                    <a:pt x="360525" y="1377414"/>
                  </a:lnTo>
                  <a:lnTo>
                    <a:pt x="313933" y="1362159"/>
                  </a:lnTo>
                  <a:lnTo>
                    <a:pt x="268593" y="1343733"/>
                  </a:lnTo>
                  <a:lnTo>
                    <a:pt x="224667" y="1322217"/>
                  </a:lnTo>
                  <a:lnTo>
                    <a:pt x="182321" y="1297691"/>
                  </a:lnTo>
                  <a:lnTo>
                    <a:pt x="141717" y="1270235"/>
                  </a:lnTo>
                  <a:lnTo>
                    <a:pt x="103019" y="1239929"/>
                  </a:lnTo>
                  <a:lnTo>
                    <a:pt x="66391" y="1206853"/>
                  </a:lnTo>
                  <a:lnTo>
                    <a:pt x="31997" y="1171088"/>
                  </a:lnTo>
                  <a:lnTo>
                    <a:pt x="0" y="1132713"/>
                  </a:lnTo>
                </a:path>
              </a:pathLst>
            </a:custGeom>
            <a:ln w="15240">
              <a:solidFill>
                <a:srgbClr val="A6A6A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67" name="object 18">
              <a:extLst>
                <a:ext uri="{FF2B5EF4-FFF2-40B4-BE49-F238E27FC236}">
                  <a16:creationId xmlns:a16="http://schemas.microsoft.com/office/drawing/2014/main" id="{5D6B9CA6-189F-436A-BF77-84289C747EBA}"/>
                </a:ext>
              </a:extLst>
            </p:cNvPr>
            <p:cNvSpPr/>
            <p:nvPr/>
          </p:nvSpPr>
          <p:spPr>
            <a:xfrm>
              <a:off x="3467100" y="1962911"/>
              <a:ext cx="1278890" cy="1277620"/>
            </a:xfrm>
            <a:custGeom>
              <a:avLst/>
              <a:gdLst/>
              <a:ahLst/>
              <a:cxnLst/>
              <a:rect l="l" t="t" r="r" b="b"/>
              <a:pathLst>
                <a:path w="1278889" h="1277620">
                  <a:moveTo>
                    <a:pt x="639317" y="0"/>
                  </a:moveTo>
                  <a:lnTo>
                    <a:pt x="687027" y="1751"/>
                  </a:lnTo>
                  <a:lnTo>
                    <a:pt x="733785" y="6923"/>
                  </a:lnTo>
                  <a:lnTo>
                    <a:pt x="779468" y="15392"/>
                  </a:lnTo>
                  <a:lnTo>
                    <a:pt x="823952" y="27034"/>
                  </a:lnTo>
                  <a:lnTo>
                    <a:pt x="867112" y="41727"/>
                  </a:lnTo>
                  <a:lnTo>
                    <a:pt x="908827" y="59346"/>
                  </a:lnTo>
                  <a:lnTo>
                    <a:pt x="948971" y="79769"/>
                  </a:lnTo>
                  <a:lnTo>
                    <a:pt x="987422" y="102871"/>
                  </a:lnTo>
                  <a:lnTo>
                    <a:pt x="1024055" y="128530"/>
                  </a:lnTo>
                  <a:lnTo>
                    <a:pt x="1058747" y="156622"/>
                  </a:lnTo>
                  <a:lnTo>
                    <a:pt x="1091374" y="187023"/>
                  </a:lnTo>
                  <a:lnTo>
                    <a:pt x="1121813" y="219610"/>
                  </a:lnTo>
                  <a:lnTo>
                    <a:pt x="1149940" y="254260"/>
                  </a:lnTo>
                  <a:lnTo>
                    <a:pt x="1175631" y="290849"/>
                  </a:lnTo>
                  <a:lnTo>
                    <a:pt x="1198763" y="329253"/>
                  </a:lnTo>
                  <a:lnTo>
                    <a:pt x="1219212" y="369350"/>
                  </a:lnTo>
                  <a:lnTo>
                    <a:pt x="1236854" y="411016"/>
                  </a:lnTo>
                  <a:lnTo>
                    <a:pt x="1251565" y="454127"/>
                  </a:lnTo>
                  <a:lnTo>
                    <a:pt x="1263223" y="498560"/>
                  </a:lnTo>
                  <a:lnTo>
                    <a:pt x="1271703" y="544191"/>
                  </a:lnTo>
                  <a:lnTo>
                    <a:pt x="1276882" y="590898"/>
                  </a:lnTo>
                  <a:lnTo>
                    <a:pt x="1278636" y="638555"/>
                  </a:lnTo>
                  <a:lnTo>
                    <a:pt x="1276882" y="686213"/>
                  </a:lnTo>
                  <a:lnTo>
                    <a:pt x="1271703" y="732920"/>
                  </a:lnTo>
                  <a:lnTo>
                    <a:pt x="1263223" y="778551"/>
                  </a:lnTo>
                  <a:lnTo>
                    <a:pt x="1251565" y="822984"/>
                  </a:lnTo>
                  <a:lnTo>
                    <a:pt x="1236854" y="866095"/>
                  </a:lnTo>
                  <a:lnTo>
                    <a:pt x="1219212" y="907761"/>
                  </a:lnTo>
                  <a:lnTo>
                    <a:pt x="1198763" y="947858"/>
                  </a:lnTo>
                  <a:lnTo>
                    <a:pt x="1175631" y="986262"/>
                  </a:lnTo>
                  <a:lnTo>
                    <a:pt x="1149940" y="1022851"/>
                  </a:lnTo>
                  <a:lnTo>
                    <a:pt x="1121813" y="1057501"/>
                  </a:lnTo>
                  <a:lnTo>
                    <a:pt x="1091374" y="1090088"/>
                  </a:lnTo>
                  <a:lnTo>
                    <a:pt x="1058747" y="1120489"/>
                  </a:lnTo>
                  <a:lnTo>
                    <a:pt x="1024055" y="1148581"/>
                  </a:lnTo>
                  <a:lnTo>
                    <a:pt x="987422" y="1174240"/>
                  </a:lnTo>
                  <a:lnTo>
                    <a:pt x="948971" y="1197342"/>
                  </a:lnTo>
                  <a:lnTo>
                    <a:pt x="908827" y="1217765"/>
                  </a:lnTo>
                  <a:lnTo>
                    <a:pt x="867112" y="1235384"/>
                  </a:lnTo>
                  <a:lnTo>
                    <a:pt x="823952" y="1250077"/>
                  </a:lnTo>
                  <a:lnTo>
                    <a:pt x="779468" y="1261719"/>
                  </a:lnTo>
                  <a:lnTo>
                    <a:pt x="733785" y="1270188"/>
                  </a:lnTo>
                  <a:lnTo>
                    <a:pt x="687027" y="1275360"/>
                  </a:lnTo>
                  <a:lnTo>
                    <a:pt x="639317" y="1277112"/>
                  </a:lnTo>
                  <a:lnTo>
                    <a:pt x="591608" y="1275360"/>
                  </a:lnTo>
                  <a:lnTo>
                    <a:pt x="544850" y="1270188"/>
                  </a:lnTo>
                  <a:lnTo>
                    <a:pt x="499167" y="1261719"/>
                  </a:lnTo>
                  <a:lnTo>
                    <a:pt x="454683" y="1250077"/>
                  </a:lnTo>
                  <a:lnTo>
                    <a:pt x="411523" y="1235384"/>
                  </a:lnTo>
                  <a:lnTo>
                    <a:pt x="369808" y="1217765"/>
                  </a:lnTo>
                  <a:lnTo>
                    <a:pt x="329664" y="1197342"/>
                  </a:lnTo>
                  <a:lnTo>
                    <a:pt x="291213" y="1174240"/>
                  </a:lnTo>
                  <a:lnTo>
                    <a:pt x="254580" y="1148581"/>
                  </a:lnTo>
                  <a:lnTo>
                    <a:pt x="219888" y="1120489"/>
                  </a:lnTo>
                  <a:lnTo>
                    <a:pt x="187261" y="1090088"/>
                  </a:lnTo>
                  <a:lnTo>
                    <a:pt x="156822" y="1057501"/>
                  </a:lnTo>
                  <a:lnTo>
                    <a:pt x="128695" y="1022851"/>
                  </a:lnTo>
                  <a:lnTo>
                    <a:pt x="103004" y="986262"/>
                  </a:lnTo>
                  <a:lnTo>
                    <a:pt x="79872" y="947858"/>
                  </a:lnTo>
                  <a:lnTo>
                    <a:pt x="59423" y="907761"/>
                  </a:lnTo>
                  <a:lnTo>
                    <a:pt x="41781" y="866095"/>
                  </a:lnTo>
                  <a:lnTo>
                    <a:pt x="27070" y="822984"/>
                  </a:lnTo>
                  <a:lnTo>
                    <a:pt x="15412" y="778551"/>
                  </a:lnTo>
                  <a:lnTo>
                    <a:pt x="6932" y="732920"/>
                  </a:lnTo>
                  <a:lnTo>
                    <a:pt x="1753" y="686213"/>
                  </a:lnTo>
                  <a:lnTo>
                    <a:pt x="0" y="638555"/>
                  </a:lnTo>
                  <a:lnTo>
                    <a:pt x="2217" y="585401"/>
                  </a:lnTo>
                  <a:lnTo>
                    <a:pt x="8812" y="532886"/>
                  </a:lnTo>
                  <a:lnTo>
                    <a:pt x="19696" y="481266"/>
                  </a:lnTo>
                  <a:lnTo>
                    <a:pt x="34782" y="430799"/>
                  </a:lnTo>
                  <a:lnTo>
                    <a:pt x="53981" y="381744"/>
                  </a:lnTo>
                  <a:lnTo>
                    <a:pt x="77206" y="334357"/>
                  </a:lnTo>
                  <a:lnTo>
                    <a:pt x="104368" y="288895"/>
                  </a:lnTo>
                  <a:lnTo>
                    <a:pt x="135382" y="245617"/>
                  </a:lnTo>
                </a:path>
              </a:pathLst>
            </a:custGeom>
            <a:ln w="15240">
              <a:solidFill>
                <a:srgbClr val="A6A6A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68" name="object 19">
              <a:extLst>
                <a:ext uri="{FF2B5EF4-FFF2-40B4-BE49-F238E27FC236}">
                  <a16:creationId xmlns:a16="http://schemas.microsoft.com/office/drawing/2014/main" id="{5AC9D10A-10B3-416F-967B-40C101C4035F}"/>
                </a:ext>
              </a:extLst>
            </p:cNvPr>
            <p:cNvSpPr/>
            <p:nvPr/>
          </p:nvSpPr>
          <p:spPr>
            <a:xfrm>
              <a:off x="4111752" y="1822704"/>
              <a:ext cx="772795" cy="1082675"/>
            </a:xfrm>
            <a:custGeom>
              <a:avLst/>
              <a:gdLst/>
              <a:ahLst/>
              <a:cxnLst/>
              <a:rect l="l" t="t" r="r" b="b"/>
              <a:pathLst>
                <a:path w="772795" h="1082675">
                  <a:moveTo>
                    <a:pt x="0" y="0"/>
                  </a:moveTo>
                  <a:lnTo>
                    <a:pt x="48863" y="1521"/>
                  </a:lnTo>
                  <a:lnTo>
                    <a:pt x="96919" y="6026"/>
                  </a:lnTo>
                  <a:lnTo>
                    <a:pt x="144077" y="13424"/>
                  </a:lnTo>
                  <a:lnTo>
                    <a:pt x="190246" y="23624"/>
                  </a:lnTo>
                  <a:lnTo>
                    <a:pt x="235337" y="36535"/>
                  </a:lnTo>
                  <a:lnTo>
                    <a:pt x="279258" y="52067"/>
                  </a:lnTo>
                  <a:lnTo>
                    <a:pt x="321919" y="70128"/>
                  </a:lnTo>
                  <a:lnTo>
                    <a:pt x="363229" y="90629"/>
                  </a:lnTo>
                  <a:lnTo>
                    <a:pt x="403098" y="113479"/>
                  </a:lnTo>
                  <a:lnTo>
                    <a:pt x="441436" y="138587"/>
                  </a:lnTo>
                  <a:lnTo>
                    <a:pt x="478151" y="165862"/>
                  </a:lnTo>
                  <a:lnTo>
                    <a:pt x="513154" y="195214"/>
                  </a:lnTo>
                  <a:lnTo>
                    <a:pt x="546354" y="226552"/>
                  </a:lnTo>
                  <a:lnTo>
                    <a:pt x="577659" y="259785"/>
                  </a:lnTo>
                  <a:lnTo>
                    <a:pt x="606981" y="294823"/>
                  </a:lnTo>
                  <a:lnTo>
                    <a:pt x="634228" y="331575"/>
                  </a:lnTo>
                  <a:lnTo>
                    <a:pt x="659309" y="369951"/>
                  </a:lnTo>
                  <a:lnTo>
                    <a:pt x="682135" y="409859"/>
                  </a:lnTo>
                  <a:lnTo>
                    <a:pt x="702614" y="451210"/>
                  </a:lnTo>
                  <a:lnTo>
                    <a:pt x="720657" y="493912"/>
                  </a:lnTo>
                  <a:lnTo>
                    <a:pt x="736172" y="537875"/>
                  </a:lnTo>
                  <a:lnTo>
                    <a:pt x="749069" y="583008"/>
                  </a:lnTo>
                  <a:lnTo>
                    <a:pt x="759257" y="629221"/>
                  </a:lnTo>
                  <a:lnTo>
                    <a:pt x="766647" y="676422"/>
                  </a:lnTo>
                  <a:lnTo>
                    <a:pt x="771147" y="724522"/>
                  </a:lnTo>
                  <a:lnTo>
                    <a:pt x="772668" y="773430"/>
                  </a:lnTo>
                  <a:lnTo>
                    <a:pt x="770853" y="826453"/>
                  </a:lnTo>
                  <a:lnTo>
                    <a:pt x="765433" y="879103"/>
                  </a:lnTo>
                  <a:lnTo>
                    <a:pt x="756443" y="931195"/>
                  </a:lnTo>
                  <a:lnTo>
                    <a:pt x="743918" y="982547"/>
                  </a:lnTo>
                  <a:lnTo>
                    <a:pt x="727894" y="1032974"/>
                  </a:lnTo>
                  <a:lnTo>
                    <a:pt x="708406" y="1082294"/>
                  </a:lnTo>
                </a:path>
              </a:pathLst>
            </a:custGeom>
            <a:ln w="15240">
              <a:solidFill>
                <a:srgbClr val="A6A6A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69" name="object 40">
              <a:extLst>
                <a:ext uri="{FF2B5EF4-FFF2-40B4-BE49-F238E27FC236}">
                  <a16:creationId xmlns:a16="http://schemas.microsoft.com/office/drawing/2014/main" id="{F12D910B-05E2-4D02-ABF9-05B18F34C1E5}"/>
                </a:ext>
              </a:extLst>
            </p:cNvPr>
            <p:cNvSpPr/>
            <p:nvPr/>
          </p:nvSpPr>
          <p:spPr>
            <a:xfrm>
              <a:off x="3547109" y="2032254"/>
              <a:ext cx="1130935" cy="1130935"/>
            </a:xfrm>
            <a:custGeom>
              <a:avLst/>
              <a:gdLst/>
              <a:ahLst/>
              <a:cxnLst/>
              <a:rect l="l" t="t" r="r" b="b"/>
              <a:pathLst>
                <a:path w="1130935" h="1130935">
                  <a:moveTo>
                    <a:pt x="565403" y="0"/>
                  </a:moveTo>
                  <a:lnTo>
                    <a:pt x="516614" y="2075"/>
                  </a:lnTo>
                  <a:lnTo>
                    <a:pt x="468978" y="8187"/>
                  </a:lnTo>
                  <a:lnTo>
                    <a:pt x="422665" y="18167"/>
                  </a:lnTo>
                  <a:lnTo>
                    <a:pt x="377844" y="31845"/>
                  </a:lnTo>
                  <a:lnTo>
                    <a:pt x="334686" y="49051"/>
                  </a:lnTo>
                  <a:lnTo>
                    <a:pt x="293360" y="69615"/>
                  </a:lnTo>
                  <a:lnTo>
                    <a:pt x="254034" y="93369"/>
                  </a:lnTo>
                  <a:lnTo>
                    <a:pt x="216881" y="120142"/>
                  </a:lnTo>
                  <a:lnTo>
                    <a:pt x="182067" y="149765"/>
                  </a:lnTo>
                  <a:lnTo>
                    <a:pt x="149765" y="182067"/>
                  </a:lnTo>
                  <a:lnTo>
                    <a:pt x="120142" y="216881"/>
                  </a:lnTo>
                  <a:lnTo>
                    <a:pt x="93369" y="254034"/>
                  </a:lnTo>
                  <a:lnTo>
                    <a:pt x="69615" y="293360"/>
                  </a:lnTo>
                  <a:lnTo>
                    <a:pt x="49051" y="334686"/>
                  </a:lnTo>
                  <a:lnTo>
                    <a:pt x="31845" y="377844"/>
                  </a:lnTo>
                  <a:lnTo>
                    <a:pt x="18167" y="422665"/>
                  </a:lnTo>
                  <a:lnTo>
                    <a:pt x="8187" y="468978"/>
                  </a:lnTo>
                  <a:lnTo>
                    <a:pt x="2075" y="516614"/>
                  </a:lnTo>
                  <a:lnTo>
                    <a:pt x="0" y="565404"/>
                  </a:lnTo>
                  <a:lnTo>
                    <a:pt x="2075" y="614193"/>
                  </a:lnTo>
                  <a:lnTo>
                    <a:pt x="8187" y="661829"/>
                  </a:lnTo>
                  <a:lnTo>
                    <a:pt x="18167" y="708142"/>
                  </a:lnTo>
                  <a:lnTo>
                    <a:pt x="31845" y="752963"/>
                  </a:lnTo>
                  <a:lnTo>
                    <a:pt x="49051" y="796121"/>
                  </a:lnTo>
                  <a:lnTo>
                    <a:pt x="69615" y="837447"/>
                  </a:lnTo>
                  <a:lnTo>
                    <a:pt x="93369" y="876773"/>
                  </a:lnTo>
                  <a:lnTo>
                    <a:pt x="120142" y="913926"/>
                  </a:lnTo>
                  <a:lnTo>
                    <a:pt x="149765" y="948740"/>
                  </a:lnTo>
                  <a:lnTo>
                    <a:pt x="182067" y="981042"/>
                  </a:lnTo>
                  <a:lnTo>
                    <a:pt x="216881" y="1010665"/>
                  </a:lnTo>
                  <a:lnTo>
                    <a:pt x="254034" y="1037438"/>
                  </a:lnTo>
                  <a:lnTo>
                    <a:pt x="293360" y="1061192"/>
                  </a:lnTo>
                  <a:lnTo>
                    <a:pt x="334686" y="1081756"/>
                  </a:lnTo>
                  <a:lnTo>
                    <a:pt x="377844" y="1098962"/>
                  </a:lnTo>
                  <a:lnTo>
                    <a:pt x="422665" y="1112640"/>
                  </a:lnTo>
                  <a:lnTo>
                    <a:pt x="468978" y="1122620"/>
                  </a:lnTo>
                  <a:lnTo>
                    <a:pt x="516614" y="1128732"/>
                  </a:lnTo>
                  <a:lnTo>
                    <a:pt x="565403" y="1130808"/>
                  </a:lnTo>
                  <a:lnTo>
                    <a:pt x="614193" y="1128732"/>
                  </a:lnTo>
                  <a:lnTo>
                    <a:pt x="661829" y="1122620"/>
                  </a:lnTo>
                  <a:lnTo>
                    <a:pt x="708142" y="1112640"/>
                  </a:lnTo>
                  <a:lnTo>
                    <a:pt x="752963" y="1098962"/>
                  </a:lnTo>
                  <a:lnTo>
                    <a:pt x="796121" y="1081756"/>
                  </a:lnTo>
                  <a:lnTo>
                    <a:pt x="837447" y="1061192"/>
                  </a:lnTo>
                  <a:lnTo>
                    <a:pt x="876773" y="1037438"/>
                  </a:lnTo>
                  <a:lnTo>
                    <a:pt x="913926" y="1010665"/>
                  </a:lnTo>
                  <a:lnTo>
                    <a:pt x="948740" y="981042"/>
                  </a:lnTo>
                  <a:lnTo>
                    <a:pt x="981042" y="948740"/>
                  </a:lnTo>
                  <a:lnTo>
                    <a:pt x="1010665" y="913926"/>
                  </a:lnTo>
                  <a:lnTo>
                    <a:pt x="1037438" y="876773"/>
                  </a:lnTo>
                  <a:lnTo>
                    <a:pt x="1061192" y="837447"/>
                  </a:lnTo>
                  <a:lnTo>
                    <a:pt x="1081756" y="796121"/>
                  </a:lnTo>
                  <a:lnTo>
                    <a:pt x="1098962" y="752963"/>
                  </a:lnTo>
                  <a:lnTo>
                    <a:pt x="1112640" y="708142"/>
                  </a:lnTo>
                  <a:lnTo>
                    <a:pt x="1122620" y="661829"/>
                  </a:lnTo>
                  <a:lnTo>
                    <a:pt x="1128732" y="614193"/>
                  </a:lnTo>
                  <a:lnTo>
                    <a:pt x="1130807" y="565404"/>
                  </a:lnTo>
                  <a:lnTo>
                    <a:pt x="1128732" y="516614"/>
                  </a:lnTo>
                  <a:lnTo>
                    <a:pt x="1122620" y="468978"/>
                  </a:lnTo>
                  <a:lnTo>
                    <a:pt x="1112640" y="422665"/>
                  </a:lnTo>
                  <a:lnTo>
                    <a:pt x="1098962" y="377844"/>
                  </a:lnTo>
                  <a:lnTo>
                    <a:pt x="1081756" y="334686"/>
                  </a:lnTo>
                  <a:lnTo>
                    <a:pt x="1061192" y="293360"/>
                  </a:lnTo>
                  <a:lnTo>
                    <a:pt x="1037438" y="254034"/>
                  </a:lnTo>
                  <a:lnTo>
                    <a:pt x="1010665" y="216881"/>
                  </a:lnTo>
                  <a:lnTo>
                    <a:pt x="981042" y="182067"/>
                  </a:lnTo>
                  <a:lnTo>
                    <a:pt x="948740" y="149765"/>
                  </a:lnTo>
                  <a:lnTo>
                    <a:pt x="913926" y="120142"/>
                  </a:lnTo>
                  <a:lnTo>
                    <a:pt x="876773" y="93369"/>
                  </a:lnTo>
                  <a:lnTo>
                    <a:pt x="837447" y="69615"/>
                  </a:lnTo>
                  <a:lnTo>
                    <a:pt x="796121" y="49051"/>
                  </a:lnTo>
                  <a:lnTo>
                    <a:pt x="752963" y="31845"/>
                  </a:lnTo>
                  <a:lnTo>
                    <a:pt x="708142" y="18167"/>
                  </a:lnTo>
                  <a:lnTo>
                    <a:pt x="661829" y="8187"/>
                  </a:lnTo>
                  <a:lnTo>
                    <a:pt x="614193" y="2075"/>
                  </a:lnTo>
                  <a:lnTo>
                    <a:pt x="565403"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70" name="object 41">
              <a:extLst>
                <a:ext uri="{FF2B5EF4-FFF2-40B4-BE49-F238E27FC236}">
                  <a16:creationId xmlns:a16="http://schemas.microsoft.com/office/drawing/2014/main" id="{692A1008-8408-47F6-A23A-C98DDF46E458}"/>
                </a:ext>
              </a:extLst>
            </p:cNvPr>
            <p:cNvSpPr/>
            <p:nvPr/>
          </p:nvSpPr>
          <p:spPr>
            <a:xfrm>
              <a:off x="3547109" y="2032254"/>
              <a:ext cx="1130935" cy="1130935"/>
            </a:xfrm>
            <a:custGeom>
              <a:avLst/>
              <a:gdLst/>
              <a:ahLst/>
              <a:cxnLst/>
              <a:rect l="l" t="t" r="r" b="b"/>
              <a:pathLst>
                <a:path w="1130935" h="1130935">
                  <a:moveTo>
                    <a:pt x="0" y="565404"/>
                  </a:moveTo>
                  <a:lnTo>
                    <a:pt x="2075" y="516614"/>
                  </a:lnTo>
                  <a:lnTo>
                    <a:pt x="8187" y="468978"/>
                  </a:lnTo>
                  <a:lnTo>
                    <a:pt x="18167" y="422665"/>
                  </a:lnTo>
                  <a:lnTo>
                    <a:pt x="31845" y="377844"/>
                  </a:lnTo>
                  <a:lnTo>
                    <a:pt x="49051" y="334686"/>
                  </a:lnTo>
                  <a:lnTo>
                    <a:pt x="69615" y="293360"/>
                  </a:lnTo>
                  <a:lnTo>
                    <a:pt x="93369" y="254034"/>
                  </a:lnTo>
                  <a:lnTo>
                    <a:pt x="120142" y="216881"/>
                  </a:lnTo>
                  <a:lnTo>
                    <a:pt x="149765" y="182067"/>
                  </a:lnTo>
                  <a:lnTo>
                    <a:pt x="182067" y="149765"/>
                  </a:lnTo>
                  <a:lnTo>
                    <a:pt x="216881" y="120142"/>
                  </a:lnTo>
                  <a:lnTo>
                    <a:pt x="254034" y="93369"/>
                  </a:lnTo>
                  <a:lnTo>
                    <a:pt x="293360" y="69615"/>
                  </a:lnTo>
                  <a:lnTo>
                    <a:pt x="334686" y="49051"/>
                  </a:lnTo>
                  <a:lnTo>
                    <a:pt x="377844" y="31845"/>
                  </a:lnTo>
                  <a:lnTo>
                    <a:pt x="422665" y="18167"/>
                  </a:lnTo>
                  <a:lnTo>
                    <a:pt x="468978" y="8187"/>
                  </a:lnTo>
                  <a:lnTo>
                    <a:pt x="516614" y="2075"/>
                  </a:lnTo>
                  <a:lnTo>
                    <a:pt x="565403" y="0"/>
                  </a:lnTo>
                  <a:lnTo>
                    <a:pt x="614193" y="2075"/>
                  </a:lnTo>
                  <a:lnTo>
                    <a:pt x="661829" y="8187"/>
                  </a:lnTo>
                  <a:lnTo>
                    <a:pt x="708142" y="18167"/>
                  </a:lnTo>
                  <a:lnTo>
                    <a:pt x="752963" y="31845"/>
                  </a:lnTo>
                  <a:lnTo>
                    <a:pt x="796121" y="49051"/>
                  </a:lnTo>
                  <a:lnTo>
                    <a:pt x="837447" y="69615"/>
                  </a:lnTo>
                  <a:lnTo>
                    <a:pt x="876773" y="93369"/>
                  </a:lnTo>
                  <a:lnTo>
                    <a:pt x="913926" y="120142"/>
                  </a:lnTo>
                  <a:lnTo>
                    <a:pt x="948740" y="149765"/>
                  </a:lnTo>
                  <a:lnTo>
                    <a:pt x="981042" y="182067"/>
                  </a:lnTo>
                  <a:lnTo>
                    <a:pt x="1010665" y="216881"/>
                  </a:lnTo>
                  <a:lnTo>
                    <a:pt x="1037438" y="254034"/>
                  </a:lnTo>
                  <a:lnTo>
                    <a:pt x="1061192" y="293360"/>
                  </a:lnTo>
                  <a:lnTo>
                    <a:pt x="1081756" y="334686"/>
                  </a:lnTo>
                  <a:lnTo>
                    <a:pt x="1098962" y="377844"/>
                  </a:lnTo>
                  <a:lnTo>
                    <a:pt x="1112640" y="422665"/>
                  </a:lnTo>
                  <a:lnTo>
                    <a:pt x="1122620" y="468978"/>
                  </a:lnTo>
                  <a:lnTo>
                    <a:pt x="1128732" y="516614"/>
                  </a:lnTo>
                  <a:lnTo>
                    <a:pt x="1130807" y="565404"/>
                  </a:lnTo>
                  <a:lnTo>
                    <a:pt x="1128732" y="614193"/>
                  </a:lnTo>
                  <a:lnTo>
                    <a:pt x="1122620" y="661829"/>
                  </a:lnTo>
                  <a:lnTo>
                    <a:pt x="1112640" y="708142"/>
                  </a:lnTo>
                  <a:lnTo>
                    <a:pt x="1098962" y="752963"/>
                  </a:lnTo>
                  <a:lnTo>
                    <a:pt x="1081756" y="796121"/>
                  </a:lnTo>
                  <a:lnTo>
                    <a:pt x="1061192" y="837447"/>
                  </a:lnTo>
                  <a:lnTo>
                    <a:pt x="1037438" y="876773"/>
                  </a:lnTo>
                  <a:lnTo>
                    <a:pt x="1010665" y="913926"/>
                  </a:lnTo>
                  <a:lnTo>
                    <a:pt x="981042" y="948740"/>
                  </a:lnTo>
                  <a:lnTo>
                    <a:pt x="948740" y="981042"/>
                  </a:lnTo>
                  <a:lnTo>
                    <a:pt x="913926" y="1010665"/>
                  </a:lnTo>
                  <a:lnTo>
                    <a:pt x="876773" y="1037438"/>
                  </a:lnTo>
                  <a:lnTo>
                    <a:pt x="837447" y="1061192"/>
                  </a:lnTo>
                  <a:lnTo>
                    <a:pt x="796121" y="1081756"/>
                  </a:lnTo>
                  <a:lnTo>
                    <a:pt x="752963" y="1098962"/>
                  </a:lnTo>
                  <a:lnTo>
                    <a:pt x="708142" y="1112640"/>
                  </a:lnTo>
                  <a:lnTo>
                    <a:pt x="661829" y="1122620"/>
                  </a:lnTo>
                  <a:lnTo>
                    <a:pt x="614193" y="1128732"/>
                  </a:lnTo>
                  <a:lnTo>
                    <a:pt x="565403" y="1130808"/>
                  </a:lnTo>
                  <a:lnTo>
                    <a:pt x="516614" y="1128732"/>
                  </a:lnTo>
                  <a:lnTo>
                    <a:pt x="468978" y="1122620"/>
                  </a:lnTo>
                  <a:lnTo>
                    <a:pt x="422665" y="1112640"/>
                  </a:lnTo>
                  <a:lnTo>
                    <a:pt x="377844" y="1098962"/>
                  </a:lnTo>
                  <a:lnTo>
                    <a:pt x="334686" y="1081756"/>
                  </a:lnTo>
                  <a:lnTo>
                    <a:pt x="293360" y="1061192"/>
                  </a:lnTo>
                  <a:lnTo>
                    <a:pt x="254034" y="1037438"/>
                  </a:lnTo>
                  <a:lnTo>
                    <a:pt x="216881" y="1010665"/>
                  </a:lnTo>
                  <a:lnTo>
                    <a:pt x="182067" y="981042"/>
                  </a:lnTo>
                  <a:lnTo>
                    <a:pt x="149765" y="948740"/>
                  </a:lnTo>
                  <a:lnTo>
                    <a:pt x="120142" y="913926"/>
                  </a:lnTo>
                  <a:lnTo>
                    <a:pt x="93369" y="876773"/>
                  </a:lnTo>
                  <a:lnTo>
                    <a:pt x="69615" y="837447"/>
                  </a:lnTo>
                  <a:lnTo>
                    <a:pt x="49051" y="796121"/>
                  </a:lnTo>
                  <a:lnTo>
                    <a:pt x="31845" y="752963"/>
                  </a:lnTo>
                  <a:lnTo>
                    <a:pt x="18167" y="708142"/>
                  </a:lnTo>
                  <a:lnTo>
                    <a:pt x="8187" y="661829"/>
                  </a:lnTo>
                  <a:lnTo>
                    <a:pt x="2075" y="614193"/>
                  </a:lnTo>
                  <a:lnTo>
                    <a:pt x="0" y="565404"/>
                  </a:lnTo>
                  <a:close/>
                </a:path>
              </a:pathLst>
            </a:custGeom>
            <a:ln w="19812">
              <a:solidFill>
                <a:srgbClr val="A6A6A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grpSp>
      <p:sp>
        <p:nvSpPr>
          <p:cNvPr id="52" name="object 8">
            <a:extLst>
              <a:ext uri="{FF2B5EF4-FFF2-40B4-BE49-F238E27FC236}">
                <a16:creationId xmlns:a16="http://schemas.microsoft.com/office/drawing/2014/main" id="{D4BD6052-D83B-467F-A405-1173AC915946}"/>
              </a:ext>
            </a:extLst>
          </p:cNvPr>
          <p:cNvSpPr/>
          <p:nvPr/>
        </p:nvSpPr>
        <p:spPr>
          <a:xfrm>
            <a:off x="980542" y="2239712"/>
            <a:ext cx="244579" cy="629132"/>
          </a:xfrm>
          <a:prstGeom prst="rect">
            <a:avLst/>
          </a:prstGeom>
          <a:blipFill>
            <a:blip r:embed="rId18"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53" name="TextBox 52">
            <a:extLst>
              <a:ext uri="{FF2B5EF4-FFF2-40B4-BE49-F238E27FC236}">
                <a16:creationId xmlns:a16="http://schemas.microsoft.com/office/drawing/2014/main" id="{9E65B179-C114-456F-AF37-8364728B64CA}"/>
              </a:ext>
            </a:extLst>
          </p:cNvPr>
          <p:cNvSpPr txBox="1"/>
          <p:nvPr/>
        </p:nvSpPr>
        <p:spPr>
          <a:xfrm>
            <a:off x="821444" y="2015807"/>
            <a:ext cx="128214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C5C5C"/>
                </a:solidFill>
                <a:effectLst/>
                <a:uLnTx/>
                <a:uFillTx/>
                <a:ea typeface="+mn-ea"/>
                <a:cs typeface="+mn-cs"/>
              </a:rPr>
              <a:t>Client’s </a:t>
            </a:r>
            <a:br>
              <a:rPr kumimoji="0" lang="en-US" sz="800" b="1" i="0" u="none" strike="noStrike" kern="1200" cap="none" spc="0" normalizeH="0" baseline="0" noProof="0" dirty="0">
                <a:ln>
                  <a:noFill/>
                </a:ln>
                <a:solidFill>
                  <a:srgbClr val="5C5C5C"/>
                </a:solidFill>
                <a:effectLst/>
                <a:uLnTx/>
                <a:uFillTx/>
                <a:ea typeface="+mn-ea"/>
                <a:cs typeface="+mn-cs"/>
              </a:rPr>
            </a:br>
            <a:r>
              <a:rPr kumimoji="0" lang="en-US" sz="800" b="1" i="0" u="none" strike="noStrike" kern="1200" cap="none" spc="0" normalizeH="0" baseline="0" noProof="0" dirty="0">
                <a:ln>
                  <a:noFill/>
                </a:ln>
                <a:solidFill>
                  <a:srgbClr val="5C5C5C"/>
                </a:solidFill>
                <a:effectLst/>
                <a:uLnTx/>
                <a:uFillTx/>
                <a:ea typeface="+mn-ea"/>
                <a:cs typeface="+mn-cs"/>
              </a:rPr>
              <a:t>customer</a:t>
            </a:r>
          </a:p>
        </p:txBody>
      </p:sp>
      <p:sp>
        <p:nvSpPr>
          <p:cNvPr id="54" name="object 8">
            <a:extLst>
              <a:ext uri="{FF2B5EF4-FFF2-40B4-BE49-F238E27FC236}">
                <a16:creationId xmlns:a16="http://schemas.microsoft.com/office/drawing/2014/main" id="{894B4E7E-498B-45F8-A19F-6D3FE5423816}"/>
              </a:ext>
            </a:extLst>
          </p:cNvPr>
          <p:cNvSpPr/>
          <p:nvPr/>
        </p:nvSpPr>
        <p:spPr>
          <a:xfrm>
            <a:off x="980542" y="3803442"/>
            <a:ext cx="244580" cy="629132"/>
          </a:xfrm>
          <a:prstGeom prst="rect">
            <a:avLst/>
          </a:prstGeom>
          <a:blipFill>
            <a:blip r:embed="rId18"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55" name="TextBox 54">
            <a:extLst>
              <a:ext uri="{FF2B5EF4-FFF2-40B4-BE49-F238E27FC236}">
                <a16:creationId xmlns:a16="http://schemas.microsoft.com/office/drawing/2014/main" id="{3AC149F6-5DD2-459D-91C6-C8D0FA2DDAB5}"/>
              </a:ext>
            </a:extLst>
          </p:cNvPr>
          <p:cNvSpPr txBox="1"/>
          <p:nvPr/>
        </p:nvSpPr>
        <p:spPr>
          <a:xfrm>
            <a:off x="821444" y="3579537"/>
            <a:ext cx="128214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C5C5C"/>
                </a:solidFill>
                <a:effectLst/>
                <a:uLnTx/>
                <a:uFillTx/>
                <a:ea typeface="+mn-ea"/>
                <a:cs typeface="+mn-cs"/>
              </a:rPr>
              <a:t>Client’s </a:t>
            </a:r>
            <a:br>
              <a:rPr kumimoji="0" lang="en-US" sz="800" b="1" i="0" u="none" strike="noStrike" kern="1200" cap="none" spc="0" normalizeH="0" baseline="0" noProof="0" dirty="0">
                <a:ln>
                  <a:noFill/>
                </a:ln>
                <a:solidFill>
                  <a:srgbClr val="5C5C5C"/>
                </a:solidFill>
                <a:effectLst/>
                <a:uLnTx/>
                <a:uFillTx/>
                <a:ea typeface="+mn-ea"/>
                <a:cs typeface="+mn-cs"/>
              </a:rPr>
            </a:br>
            <a:r>
              <a:rPr kumimoji="0" lang="en-US" sz="800" b="1" i="0" u="none" strike="noStrike" kern="1200" cap="none" spc="0" normalizeH="0" baseline="0" noProof="0" dirty="0">
                <a:ln>
                  <a:noFill/>
                </a:ln>
                <a:solidFill>
                  <a:srgbClr val="5C5C5C"/>
                </a:solidFill>
                <a:effectLst/>
                <a:uLnTx/>
                <a:uFillTx/>
                <a:ea typeface="+mn-ea"/>
                <a:cs typeface="+mn-cs"/>
              </a:rPr>
              <a:t>customer</a:t>
            </a:r>
          </a:p>
        </p:txBody>
      </p:sp>
      <p:grpSp>
        <p:nvGrpSpPr>
          <p:cNvPr id="56" name="Group 55">
            <a:extLst>
              <a:ext uri="{FF2B5EF4-FFF2-40B4-BE49-F238E27FC236}">
                <a16:creationId xmlns:a16="http://schemas.microsoft.com/office/drawing/2014/main" id="{4676EA50-EA00-45A6-A1A7-BA0A32134B09}"/>
              </a:ext>
            </a:extLst>
          </p:cNvPr>
          <p:cNvGrpSpPr>
            <a:grpSpLocks noChangeAspect="1"/>
          </p:cNvGrpSpPr>
          <p:nvPr/>
        </p:nvGrpSpPr>
        <p:grpSpPr>
          <a:xfrm rot="2073445">
            <a:off x="1216491" y="4029256"/>
            <a:ext cx="146378" cy="181076"/>
            <a:chOff x="7750176" y="2613025"/>
            <a:chExt cx="214313" cy="265113"/>
          </a:xfrm>
          <a:solidFill>
            <a:schemeClr val="tx1"/>
          </a:solidFill>
        </p:grpSpPr>
        <p:sp>
          <p:nvSpPr>
            <p:cNvPr id="61" name="Freeform 350">
              <a:extLst>
                <a:ext uri="{FF2B5EF4-FFF2-40B4-BE49-F238E27FC236}">
                  <a16:creationId xmlns:a16="http://schemas.microsoft.com/office/drawing/2014/main" id="{D8758BC6-AEBF-45B4-8EF6-CB6B642A1BC4}"/>
                </a:ext>
              </a:extLst>
            </p:cNvPr>
            <p:cNvSpPr>
              <a:spLocks noEditPoints="1"/>
            </p:cNvSpPr>
            <p:nvPr/>
          </p:nvSpPr>
          <p:spPr bwMode="auto">
            <a:xfrm>
              <a:off x="7750176" y="2638425"/>
              <a:ext cx="214313" cy="239713"/>
            </a:xfrm>
            <a:custGeom>
              <a:avLst/>
              <a:gdLst>
                <a:gd name="T0" fmla="*/ 266 w 272"/>
                <a:gd name="T1" fmla="*/ 0 h 304"/>
                <a:gd name="T2" fmla="*/ 207 w 272"/>
                <a:gd name="T3" fmla="*/ 0 h 304"/>
                <a:gd name="T4" fmla="*/ 207 w 272"/>
                <a:gd name="T5" fmla="*/ 15 h 304"/>
                <a:gd name="T6" fmla="*/ 251 w 272"/>
                <a:gd name="T7" fmla="*/ 15 h 304"/>
                <a:gd name="T8" fmla="*/ 251 w 272"/>
                <a:gd name="T9" fmla="*/ 15 h 304"/>
                <a:gd name="T10" fmla="*/ 253 w 272"/>
                <a:gd name="T11" fmla="*/ 15 h 304"/>
                <a:gd name="T12" fmla="*/ 256 w 272"/>
                <a:gd name="T13" fmla="*/ 17 h 304"/>
                <a:gd name="T14" fmla="*/ 256 w 272"/>
                <a:gd name="T15" fmla="*/ 19 h 304"/>
                <a:gd name="T16" fmla="*/ 257 w 272"/>
                <a:gd name="T17" fmla="*/ 21 h 304"/>
                <a:gd name="T18" fmla="*/ 257 w 272"/>
                <a:gd name="T19" fmla="*/ 222 h 304"/>
                <a:gd name="T20" fmla="*/ 198 w 272"/>
                <a:gd name="T21" fmla="*/ 222 h 304"/>
                <a:gd name="T22" fmla="*/ 198 w 272"/>
                <a:gd name="T23" fmla="*/ 222 h 304"/>
                <a:gd name="T24" fmla="*/ 196 w 272"/>
                <a:gd name="T25" fmla="*/ 222 h 304"/>
                <a:gd name="T26" fmla="*/ 194 w 272"/>
                <a:gd name="T27" fmla="*/ 223 h 304"/>
                <a:gd name="T28" fmla="*/ 194 w 272"/>
                <a:gd name="T29" fmla="*/ 225 h 304"/>
                <a:gd name="T30" fmla="*/ 192 w 272"/>
                <a:gd name="T31" fmla="*/ 227 h 304"/>
                <a:gd name="T32" fmla="*/ 192 w 272"/>
                <a:gd name="T33" fmla="*/ 287 h 304"/>
                <a:gd name="T34" fmla="*/ 22 w 272"/>
                <a:gd name="T35" fmla="*/ 287 h 304"/>
                <a:gd name="T36" fmla="*/ 22 w 272"/>
                <a:gd name="T37" fmla="*/ 287 h 304"/>
                <a:gd name="T38" fmla="*/ 19 w 272"/>
                <a:gd name="T39" fmla="*/ 287 h 304"/>
                <a:gd name="T40" fmla="*/ 18 w 272"/>
                <a:gd name="T41" fmla="*/ 285 h 304"/>
                <a:gd name="T42" fmla="*/ 16 w 272"/>
                <a:gd name="T43" fmla="*/ 284 h 304"/>
                <a:gd name="T44" fmla="*/ 16 w 272"/>
                <a:gd name="T45" fmla="*/ 281 h 304"/>
                <a:gd name="T46" fmla="*/ 16 w 272"/>
                <a:gd name="T47" fmla="*/ 21 h 304"/>
                <a:gd name="T48" fmla="*/ 16 w 272"/>
                <a:gd name="T49" fmla="*/ 21 h 304"/>
                <a:gd name="T50" fmla="*/ 16 w 272"/>
                <a:gd name="T51" fmla="*/ 19 h 304"/>
                <a:gd name="T52" fmla="*/ 18 w 272"/>
                <a:gd name="T53" fmla="*/ 17 h 304"/>
                <a:gd name="T54" fmla="*/ 19 w 272"/>
                <a:gd name="T55" fmla="*/ 15 h 304"/>
                <a:gd name="T56" fmla="*/ 22 w 272"/>
                <a:gd name="T57" fmla="*/ 15 h 304"/>
                <a:gd name="T58" fmla="*/ 66 w 272"/>
                <a:gd name="T59" fmla="*/ 15 h 304"/>
                <a:gd name="T60" fmla="*/ 66 w 272"/>
                <a:gd name="T61" fmla="*/ 0 h 304"/>
                <a:gd name="T62" fmla="*/ 7 w 272"/>
                <a:gd name="T63" fmla="*/ 0 h 304"/>
                <a:gd name="T64" fmla="*/ 7 w 272"/>
                <a:gd name="T65" fmla="*/ 0 h 304"/>
                <a:gd name="T66" fmla="*/ 4 w 272"/>
                <a:gd name="T67" fmla="*/ 0 h 304"/>
                <a:gd name="T68" fmla="*/ 3 w 272"/>
                <a:gd name="T69" fmla="*/ 2 h 304"/>
                <a:gd name="T70" fmla="*/ 2 w 272"/>
                <a:gd name="T71" fmla="*/ 3 h 304"/>
                <a:gd name="T72" fmla="*/ 0 w 272"/>
                <a:gd name="T73" fmla="*/ 6 h 304"/>
                <a:gd name="T74" fmla="*/ 0 w 272"/>
                <a:gd name="T75" fmla="*/ 299 h 304"/>
                <a:gd name="T76" fmla="*/ 0 w 272"/>
                <a:gd name="T77" fmla="*/ 299 h 304"/>
                <a:gd name="T78" fmla="*/ 2 w 272"/>
                <a:gd name="T79" fmla="*/ 300 h 304"/>
                <a:gd name="T80" fmla="*/ 3 w 272"/>
                <a:gd name="T81" fmla="*/ 301 h 304"/>
                <a:gd name="T82" fmla="*/ 4 w 272"/>
                <a:gd name="T83" fmla="*/ 303 h 304"/>
                <a:gd name="T84" fmla="*/ 7 w 272"/>
                <a:gd name="T85" fmla="*/ 304 h 304"/>
                <a:gd name="T86" fmla="*/ 266 w 272"/>
                <a:gd name="T87" fmla="*/ 304 h 304"/>
                <a:gd name="T88" fmla="*/ 266 w 272"/>
                <a:gd name="T89" fmla="*/ 304 h 304"/>
                <a:gd name="T90" fmla="*/ 269 w 272"/>
                <a:gd name="T91" fmla="*/ 303 h 304"/>
                <a:gd name="T92" fmla="*/ 270 w 272"/>
                <a:gd name="T93" fmla="*/ 301 h 304"/>
                <a:gd name="T94" fmla="*/ 272 w 272"/>
                <a:gd name="T95" fmla="*/ 300 h 304"/>
                <a:gd name="T96" fmla="*/ 272 w 272"/>
                <a:gd name="T97" fmla="*/ 299 h 304"/>
                <a:gd name="T98" fmla="*/ 272 w 272"/>
                <a:gd name="T99" fmla="*/ 6 h 304"/>
                <a:gd name="T100" fmla="*/ 272 w 272"/>
                <a:gd name="T101" fmla="*/ 6 h 304"/>
                <a:gd name="T102" fmla="*/ 272 w 272"/>
                <a:gd name="T103" fmla="*/ 3 h 304"/>
                <a:gd name="T104" fmla="*/ 270 w 272"/>
                <a:gd name="T105" fmla="*/ 2 h 304"/>
                <a:gd name="T106" fmla="*/ 269 w 272"/>
                <a:gd name="T107" fmla="*/ 0 h 304"/>
                <a:gd name="T108" fmla="*/ 266 w 272"/>
                <a:gd name="T109" fmla="*/ 0 h 304"/>
                <a:gd name="T110" fmla="*/ 266 w 272"/>
                <a:gd name="T111" fmla="*/ 0 h 304"/>
                <a:gd name="T112" fmla="*/ 203 w 272"/>
                <a:gd name="T113" fmla="*/ 284 h 304"/>
                <a:gd name="T114" fmla="*/ 203 w 272"/>
                <a:gd name="T115" fmla="*/ 233 h 304"/>
                <a:gd name="T116" fmla="*/ 254 w 272"/>
                <a:gd name="T117" fmla="*/ 233 h 304"/>
                <a:gd name="T118" fmla="*/ 203 w 272"/>
                <a:gd name="T119" fmla="*/ 28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2" h="304">
                  <a:moveTo>
                    <a:pt x="266" y="0"/>
                  </a:moveTo>
                  <a:lnTo>
                    <a:pt x="207" y="0"/>
                  </a:lnTo>
                  <a:lnTo>
                    <a:pt x="207" y="15"/>
                  </a:lnTo>
                  <a:lnTo>
                    <a:pt x="251" y="15"/>
                  </a:lnTo>
                  <a:lnTo>
                    <a:pt x="251" y="15"/>
                  </a:lnTo>
                  <a:lnTo>
                    <a:pt x="253" y="15"/>
                  </a:lnTo>
                  <a:lnTo>
                    <a:pt x="256" y="17"/>
                  </a:lnTo>
                  <a:lnTo>
                    <a:pt x="256" y="19"/>
                  </a:lnTo>
                  <a:lnTo>
                    <a:pt x="257" y="21"/>
                  </a:lnTo>
                  <a:lnTo>
                    <a:pt x="257" y="222"/>
                  </a:lnTo>
                  <a:lnTo>
                    <a:pt x="198" y="222"/>
                  </a:lnTo>
                  <a:lnTo>
                    <a:pt x="198" y="222"/>
                  </a:lnTo>
                  <a:lnTo>
                    <a:pt x="196" y="222"/>
                  </a:lnTo>
                  <a:lnTo>
                    <a:pt x="194" y="223"/>
                  </a:lnTo>
                  <a:lnTo>
                    <a:pt x="194" y="225"/>
                  </a:lnTo>
                  <a:lnTo>
                    <a:pt x="192" y="227"/>
                  </a:lnTo>
                  <a:lnTo>
                    <a:pt x="192" y="287"/>
                  </a:lnTo>
                  <a:lnTo>
                    <a:pt x="22" y="287"/>
                  </a:lnTo>
                  <a:lnTo>
                    <a:pt x="22" y="287"/>
                  </a:lnTo>
                  <a:lnTo>
                    <a:pt x="19" y="287"/>
                  </a:lnTo>
                  <a:lnTo>
                    <a:pt x="18" y="285"/>
                  </a:lnTo>
                  <a:lnTo>
                    <a:pt x="16" y="284"/>
                  </a:lnTo>
                  <a:lnTo>
                    <a:pt x="16" y="281"/>
                  </a:lnTo>
                  <a:lnTo>
                    <a:pt x="16" y="21"/>
                  </a:lnTo>
                  <a:lnTo>
                    <a:pt x="16" y="21"/>
                  </a:lnTo>
                  <a:lnTo>
                    <a:pt x="16" y="19"/>
                  </a:lnTo>
                  <a:lnTo>
                    <a:pt x="18" y="17"/>
                  </a:lnTo>
                  <a:lnTo>
                    <a:pt x="19" y="15"/>
                  </a:lnTo>
                  <a:lnTo>
                    <a:pt x="22" y="15"/>
                  </a:lnTo>
                  <a:lnTo>
                    <a:pt x="66" y="15"/>
                  </a:lnTo>
                  <a:lnTo>
                    <a:pt x="66" y="0"/>
                  </a:lnTo>
                  <a:lnTo>
                    <a:pt x="7" y="0"/>
                  </a:lnTo>
                  <a:lnTo>
                    <a:pt x="7" y="0"/>
                  </a:lnTo>
                  <a:lnTo>
                    <a:pt x="4" y="0"/>
                  </a:lnTo>
                  <a:lnTo>
                    <a:pt x="3" y="2"/>
                  </a:lnTo>
                  <a:lnTo>
                    <a:pt x="2" y="3"/>
                  </a:lnTo>
                  <a:lnTo>
                    <a:pt x="0" y="6"/>
                  </a:lnTo>
                  <a:lnTo>
                    <a:pt x="0" y="299"/>
                  </a:lnTo>
                  <a:lnTo>
                    <a:pt x="0" y="299"/>
                  </a:lnTo>
                  <a:lnTo>
                    <a:pt x="2" y="300"/>
                  </a:lnTo>
                  <a:lnTo>
                    <a:pt x="3" y="301"/>
                  </a:lnTo>
                  <a:lnTo>
                    <a:pt x="4" y="303"/>
                  </a:lnTo>
                  <a:lnTo>
                    <a:pt x="7" y="304"/>
                  </a:lnTo>
                  <a:lnTo>
                    <a:pt x="266" y="304"/>
                  </a:lnTo>
                  <a:lnTo>
                    <a:pt x="266" y="304"/>
                  </a:lnTo>
                  <a:lnTo>
                    <a:pt x="269" y="303"/>
                  </a:lnTo>
                  <a:lnTo>
                    <a:pt x="270" y="301"/>
                  </a:lnTo>
                  <a:lnTo>
                    <a:pt x="272" y="300"/>
                  </a:lnTo>
                  <a:lnTo>
                    <a:pt x="272" y="299"/>
                  </a:lnTo>
                  <a:lnTo>
                    <a:pt x="272" y="6"/>
                  </a:lnTo>
                  <a:lnTo>
                    <a:pt x="272" y="6"/>
                  </a:lnTo>
                  <a:lnTo>
                    <a:pt x="272" y="3"/>
                  </a:lnTo>
                  <a:lnTo>
                    <a:pt x="270" y="2"/>
                  </a:lnTo>
                  <a:lnTo>
                    <a:pt x="269" y="0"/>
                  </a:lnTo>
                  <a:lnTo>
                    <a:pt x="266" y="0"/>
                  </a:lnTo>
                  <a:lnTo>
                    <a:pt x="266" y="0"/>
                  </a:lnTo>
                  <a:close/>
                  <a:moveTo>
                    <a:pt x="203" y="284"/>
                  </a:moveTo>
                  <a:lnTo>
                    <a:pt x="203" y="233"/>
                  </a:lnTo>
                  <a:lnTo>
                    <a:pt x="254" y="233"/>
                  </a:lnTo>
                  <a:lnTo>
                    <a:pt x="203" y="2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ea typeface="+mn-ea"/>
                <a:cs typeface="+mn-cs"/>
              </a:endParaRPr>
            </a:p>
          </p:txBody>
        </p:sp>
        <p:sp>
          <p:nvSpPr>
            <p:cNvPr id="62" name="Freeform 351">
              <a:extLst>
                <a:ext uri="{FF2B5EF4-FFF2-40B4-BE49-F238E27FC236}">
                  <a16:creationId xmlns:a16="http://schemas.microsoft.com/office/drawing/2014/main" id="{860DF20B-BC40-4698-ACCD-A9F09A575D11}"/>
                </a:ext>
              </a:extLst>
            </p:cNvPr>
            <p:cNvSpPr>
              <a:spLocks/>
            </p:cNvSpPr>
            <p:nvPr/>
          </p:nvSpPr>
          <p:spPr bwMode="auto">
            <a:xfrm>
              <a:off x="7810501" y="2613025"/>
              <a:ext cx="95250" cy="58738"/>
            </a:xfrm>
            <a:custGeom>
              <a:avLst/>
              <a:gdLst>
                <a:gd name="T0" fmla="*/ 5 w 119"/>
                <a:gd name="T1" fmla="*/ 75 h 75"/>
                <a:gd name="T2" fmla="*/ 114 w 119"/>
                <a:gd name="T3" fmla="*/ 75 h 75"/>
                <a:gd name="T4" fmla="*/ 114 w 119"/>
                <a:gd name="T5" fmla="*/ 75 h 75"/>
                <a:gd name="T6" fmla="*/ 115 w 119"/>
                <a:gd name="T7" fmla="*/ 75 h 75"/>
                <a:gd name="T8" fmla="*/ 117 w 119"/>
                <a:gd name="T9" fmla="*/ 74 h 75"/>
                <a:gd name="T10" fmla="*/ 118 w 119"/>
                <a:gd name="T11" fmla="*/ 73 h 75"/>
                <a:gd name="T12" fmla="*/ 119 w 119"/>
                <a:gd name="T13" fmla="*/ 70 h 75"/>
                <a:gd name="T14" fmla="*/ 119 w 119"/>
                <a:gd name="T15" fmla="*/ 27 h 75"/>
                <a:gd name="T16" fmla="*/ 119 w 119"/>
                <a:gd name="T17" fmla="*/ 27 h 75"/>
                <a:gd name="T18" fmla="*/ 118 w 119"/>
                <a:gd name="T19" fmla="*/ 24 h 75"/>
                <a:gd name="T20" fmla="*/ 117 w 119"/>
                <a:gd name="T21" fmla="*/ 23 h 75"/>
                <a:gd name="T22" fmla="*/ 115 w 119"/>
                <a:gd name="T23" fmla="*/ 22 h 75"/>
                <a:gd name="T24" fmla="*/ 114 w 119"/>
                <a:gd name="T25" fmla="*/ 22 h 75"/>
                <a:gd name="T26" fmla="*/ 86 w 119"/>
                <a:gd name="T27" fmla="*/ 22 h 75"/>
                <a:gd name="T28" fmla="*/ 86 w 119"/>
                <a:gd name="T29" fmla="*/ 22 h 75"/>
                <a:gd name="T30" fmla="*/ 85 w 119"/>
                <a:gd name="T31" fmla="*/ 16 h 75"/>
                <a:gd name="T32" fmla="*/ 83 w 119"/>
                <a:gd name="T33" fmla="*/ 12 h 75"/>
                <a:gd name="T34" fmla="*/ 76 w 119"/>
                <a:gd name="T35" fmla="*/ 6 h 75"/>
                <a:gd name="T36" fmla="*/ 68 w 119"/>
                <a:gd name="T37" fmla="*/ 2 h 75"/>
                <a:gd name="T38" fmla="*/ 64 w 119"/>
                <a:gd name="T39" fmla="*/ 0 h 75"/>
                <a:gd name="T40" fmla="*/ 59 w 119"/>
                <a:gd name="T41" fmla="*/ 0 h 75"/>
                <a:gd name="T42" fmla="*/ 59 w 119"/>
                <a:gd name="T43" fmla="*/ 0 h 75"/>
                <a:gd name="T44" fmla="*/ 55 w 119"/>
                <a:gd name="T45" fmla="*/ 0 h 75"/>
                <a:gd name="T46" fmla="*/ 50 w 119"/>
                <a:gd name="T47" fmla="*/ 2 h 75"/>
                <a:gd name="T48" fmla="*/ 42 w 119"/>
                <a:gd name="T49" fmla="*/ 6 h 75"/>
                <a:gd name="T50" fmla="*/ 36 w 119"/>
                <a:gd name="T51" fmla="*/ 12 h 75"/>
                <a:gd name="T52" fmla="*/ 35 w 119"/>
                <a:gd name="T53" fmla="*/ 16 h 75"/>
                <a:gd name="T54" fmla="*/ 33 w 119"/>
                <a:gd name="T55" fmla="*/ 22 h 75"/>
                <a:gd name="T56" fmla="*/ 5 w 119"/>
                <a:gd name="T57" fmla="*/ 22 h 75"/>
                <a:gd name="T58" fmla="*/ 5 w 119"/>
                <a:gd name="T59" fmla="*/ 22 h 75"/>
                <a:gd name="T60" fmla="*/ 3 w 119"/>
                <a:gd name="T61" fmla="*/ 22 h 75"/>
                <a:gd name="T62" fmla="*/ 1 w 119"/>
                <a:gd name="T63" fmla="*/ 23 h 75"/>
                <a:gd name="T64" fmla="*/ 0 w 119"/>
                <a:gd name="T65" fmla="*/ 24 h 75"/>
                <a:gd name="T66" fmla="*/ 0 w 119"/>
                <a:gd name="T67" fmla="*/ 27 h 75"/>
                <a:gd name="T68" fmla="*/ 0 w 119"/>
                <a:gd name="T69" fmla="*/ 70 h 75"/>
                <a:gd name="T70" fmla="*/ 0 w 119"/>
                <a:gd name="T71" fmla="*/ 70 h 75"/>
                <a:gd name="T72" fmla="*/ 0 w 119"/>
                <a:gd name="T73" fmla="*/ 73 h 75"/>
                <a:gd name="T74" fmla="*/ 1 w 119"/>
                <a:gd name="T75" fmla="*/ 74 h 75"/>
                <a:gd name="T76" fmla="*/ 3 w 119"/>
                <a:gd name="T77" fmla="*/ 75 h 75"/>
                <a:gd name="T78" fmla="*/ 5 w 119"/>
                <a:gd name="T79" fmla="*/ 75 h 75"/>
                <a:gd name="T80" fmla="*/ 5 w 119"/>
                <a:gd name="T81"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9" h="75">
                  <a:moveTo>
                    <a:pt x="5" y="75"/>
                  </a:moveTo>
                  <a:lnTo>
                    <a:pt x="114" y="75"/>
                  </a:lnTo>
                  <a:lnTo>
                    <a:pt x="114" y="75"/>
                  </a:lnTo>
                  <a:lnTo>
                    <a:pt x="115" y="75"/>
                  </a:lnTo>
                  <a:lnTo>
                    <a:pt x="117" y="74"/>
                  </a:lnTo>
                  <a:lnTo>
                    <a:pt x="118" y="73"/>
                  </a:lnTo>
                  <a:lnTo>
                    <a:pt x="119" y="70"/>
                  </a:lnTo>
                  <a:lnTo>
                    <a:pt x="119" y="27"/>
                  </a:lnTo>
                  <a:lnTo>
                    <a:pt x="119" y="27"/>
                  </a:lnTo>
                  <a:lnTo>
                    <a:pt x="118" y="24"/>
                  </a:lnTo>
                  <a:lnTo>
                    <a:pt x="117" y="23"/>
                  </a:lnTo>
                  <a:lnTo>
                    <a:pt x="115" y="22"/>
                  </a:lnTo>
                  <a:lnTo>
                    <a:pt x="114" y="22"/>
                  </a:lnTo>
                  <a:lnTo>
                    <a:pt x="86" y="22"/>
                  </a:lnTo>
                  <a:lnTo>
                    <a:pt x="86" y="22"/>
                  </a:lnTo>
                  <a:lnTo>
                    <a:pt x="85" y="16"/>
                  </a:lnTo>
                  <a:lnTo>
                    <a:pt x="83" y="12"/>
                  </a:lnTo>
                  <a:lnTo>
                    <a:pt x="76" y="6"/>
                  </a:lnTo>
                  <a:lnTo>
                    <a:pt x="68" y="2"/>
                  </a:lnTo>
                  <a:lnTo>
                    <a:pt x="64" y="0"/>
                  </a:lnTo>
                  <a:lnTo>
                    <a:pt x="59" y="0"/>
                  </a:lnTo>
                  <a:lnTo>
                    <a:pt x="59" y="0"/>
                  </a:lnTo>
                  <a:lnTo>
                    <a:pt x="55" y="0"/>
                  </a:lnTo>
                  <a:lnTo>
                    <a:pt x="50" y="2"/>
                  </a:lnTo>
                  <a:lnTo>
                    <a:pt x="42" y="6"/>
                  </a:lnTo>
                  <a:lnTo>
                    <a:pt x="36" y="12"/>
                  </a:lnTo>
                  <a:lnTo>
                    <a:pt x="35" y="16"/>
                  </a:lnTo>
                  <a:lnTo>
                    <a:pt x="33" y="22"/>
                  </a:lnTo>
                  <a:lnTo>
                    <a:pt x="5" y="22"/>
                  </a:lnTo>
                  <a:lnTo>
                    <a:pt x="5" y="22"/>
                  </a:lnTo>
                  <a:lnTo>
                    <a:pt x="3" y="22"/>
                  </a:lnTo>
                  <a:lnTo>
                    <a:pt x="1" y="23"/>
                  </a:lnTo>
                  <a:lnTo>
                    <a:pt x="0" y="24"/>
                  </a:lnTo>
                  <a:lnTo>
                    <a:pt x="0" y="27"/>
                  </a:lnTo>
                  <a:lnTo>
                    <a:pt x="0" y="70"/>
                  </a:lnTo>
                  <a:lnTo>
                    <a:pt x="0" y="70"/>
                  </a:lnTo>
                  <a:lnTo>
                    <a:pt x="0" y="73"/>
                  </a:lnTo>
                  <a:lnTo>
                    <a:pt x="1" y="74"/>
                  </a:lnTo>
                  <a:lnTo>
                    <a:pt x="3" y="75"/>
                  </a:lnTo>
                  <a:lnTo>
                    <a:pt x="5" y="75"/>
                  </a:lnTo>
                  <a:lnTo>
                    <a:pt x="5"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ea typeface="+mn-ea"/>
                <a:cs typeface="+mn-cs"/>
              </a:endParaRPr>
            </a:p>
          </p:txBody>
        </p:sp>
        <p:sp>
          <p:nvSpPr>
            <p:cNvPr id="63" name="Freeform 352">
              <a:extLst>
                <a:ext uri="{FF2B5EF4-FFF2-40B4-BE49-F238E27FC236}">
                  <a16:creationId xmlns:a16="http://schemas.microsoft.com/office/drawing/2014/main" id="{CFFE22A8-FAB3-4859-877C-87FF9696D086}"/>
                </a:ext>
              </a:extLst>
            </p:cNvPr>
            <p:cNvSpPr>
              <a:spLocks/>
            </p:cNvSpPr>
            <p:nvPr/>
          </p:nvSpPr>
          <p:spPr bwMode="auto">
            <a:xfrm>
              <a:off x="7796213" y="2703513"/>
              <a:ext cx="122238" cy="14288"/>
            </a:xfrm>
            <a:custGeom>
              <a:avLst/>
              <a:gdLst>
                <a:gd name="T0" fmla="*/ 0 w 156"/>
                <a:gd name="T1" fmla="*/ 10 h 19"/>
                <a:gd name="T2" fmla="*/ 0 w 156"/>
                <a:gd name="T3" fmla="*/ 10 h 19"/>
                <a:gd name="T4" fmla="*/ 1 w 156"/>
                <a:gd name="T5" fmla="*/ 14 h 19"/>
                <a:gd name="T6" fmla="*/ 3 w 156"/>
                <a:gd name="T7" fmla="*/ 16 h 19"/>
                <a:gd name="T8" fmla="*/ 7 w 156"/>
                <a:gd name="T9" fmla="*/ 19 h 19"/>
                <a:gd name="T10" fmla="*/ 9 w 156"/>
                <a:gd name="T11" fmla="*/ 19 h 19"/>
                <a:gd name="T12" fmla="*/ 146 w 156"/>
                <a:gd name="T13" fmla="*/ 19 h 19"/>
                <a:gd name="T14" fmla="*/ 146 w 156"/>
                <a:gd name="T15" fmla="*/ 19 h 19"/>
                <a:gd name="T16" fmla="*/ 151 w 156"/>
                <a:gd name="T17" fmla="*/ 19 h 19"/>
                <a:gd name="T18" fmla="*/ 153 w 156"/>
                <a:gd name="T19" fmla="*/ 16 h 19"/>
                <a:gd name="T20" fmla="*/ 156 w 156"/>
                <a:gd name="T21" fmla="*/ 14 h 19"/>
                <a:gd name="T22" fmla="*/ 156 w 156"/>
                <a:gd name="T23" fmla="*/ 10 h 19"/>
                <a:gd name="T24" fmla="*/ 156 w 156"/>
                <a:gd name="T25" fmla="*/ 10 h 19"/>
                <a:gd name="T26" fmla="*/ 156 w 156"/>
                <a:gd name="T27" fmla="*/ 7 h 19"/>
                <a:gd name="T28" fmla="*/ 153 w 156"/>
                <a:gd name="T29" fmla="*/ 3 h 19"/>
                <a:gd name="T30" fmla="*/ 151 w 156"/>
                <a:gd name="T31" fmla="*/ 2 h 19"/>
                <a:gd name="T32" fmla="*/ 146 w 156"/>
                <a:gd name="T33" fmla="*/ 0 h 19"/>
                <a:gd name="T34" fmla="*/ 9 w 156"/>
                <a:gd name="T35" fmla="*/ 0 h 19"/>
                <a:gd name="T36" fmla="*/ 9 w 156"/>
                <a:gd name="T37" fmla="*/ 0 h 19"/>
                <a:gd name="T38" fmla="*/ 7 w 156"/>
                <a:gd name="T39" fmla="*/ 2 h 19"/>
                <a:gd name="T40" fmla="*/ 3 w 156"/>
                <a:gd name="T41" fmla="*/ 3 h 19"/>
                <a:gd name="T42" fmla="*/ 1 w 156"/>
                <a:gd name="T43" fmla="*/ 7 h 19"/>
                <a:gd name="T44" fmla="*/ 0 w 156"/>
                <a:gd name="T45" fmla="*/ 10 h 19"/>
                <a:gd name="T46" fmla="*/ 0 w 156"/>
                <a:gd name="T47"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6" h="19">
                  <a:moveTo>
                    <a:pt x="0" y="10"/>
                  </a:moveTo>
                  <a:lnTo>
                    <a:pt x="0" y="10"/>
                  </a:lnTo>
                  <a:lnTo>
                    <a:pt x="1" y="14"/>
                  </a:lnTo>
                  <a:lnTo>
                    <a:pt x="3" y="16"/>
                  </a:lnTo>
                  <a:lnTo>
                    <a:pt x="7" y="19"/>
                  </a:lnTo>
                  <a:lnTo>
                    <a:pt x="9" y="19"/>
                  </a:lnTo>
                  <a:lnTo>
                    <a:pt x="146" y="19"/>
                  </a:lnTo>
                  <a:lnTo>
                    <a:pt x="146" y="19"/>
                  </a:lnTo>
                  <a:lnTo>
                    <a:pt x="151" y="19"/>
                  </a:lnTo>
                  <a:lnTo>
                    <a:pt x="153" y="16"/>
                  </a:lnTo>
                  <a:lnTo>
                    <a:pt x="156" y="14"/>
                  </a:lnTo>
                  <a:lnTo>
                    <a:pt x="156" y="10"/>
                  </a:lnTo>
                  <a:lnTo>
                    <a:pt x="156" y="10"/>
                  </a:lnTo>
                  <a:lnTo>
                    <a:pt x="156" y="7"/>
                  </a:lnTo>
                  <a:lnTo>
                    <a:pt x="153" y="3"/>
                  </a:lnTo>
                  <a:lnTo>
                    <a:pt x="151" y="2"/>
                  </a:lnTo>
                  <a:lnTo>
                    <a:pt x="146" y="0"/>
                  </a:lnTo>
                  <a:lnTo>
                    <a:pt x="9" y="0"/>
                  </a:lnTo>
                  <a:lnTo>
                    <a:pt x="9" y="0"/>
                  </a:lnTo>
                  <a:lnTo>
                    <a:pt x="7" y="2"/>
                  </a:lnTo>
                  <a:lnTo>
                    <a:pt x="3" y="3"/>
                  </a:lnTo>
                  <a:lnTo>
                    <a:pt x="1" y="7"/>
                  </a:lnTo>
                  <a:lnTo>
                    <a:pt x="0" y="10"/>
                  </a:ln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ea typeface="+mn-ea"/>
                <a:cs typeface="+mn-cs"/>
              </a:endParaRPr>
            </a:p>
          </p:txBody>
        </p:sp>
        <p:sp>
          <p:nvSpPr>
            <p:cNvPr id="64" name="Freeform 353">
              <a:extLst>
                <a:ext uri="{FF2B5EF4-FFF2-40B4-BE49-F238E27FC236}">
                  <a16:creationId xmlns:a16="http://schemas.microsoft.com/office/drawing/2014/main" id="{59868C32-BDA0-44E9-8849-9917E1214137}"/>
                </a:ext>
              </a:extLst>
            </p:cNvPr>
            <p:cNvSpPr>
              <a:spLocks/>
            </p:cNvSpPr>
            <p:nvPr/>
          </p:nvSpPr>
          <p:spPr bwMode="auto">
            <a:xfrm>
              <a:off x="7796213" y="2746375"/>
              <a:ext cx="122238" cy="14288"/>
            </a:xfrm>
            <a:custGeom>
              <a:avLst/>
              <a:gdLst>
                <a:gd name="T0" fmla="*/ 156 w 156"/>
                <a:gd name="T1" fmla="*/ 9 h 19"/>
                <a:gd name="T2" fmla="*/ 156 w 156"/>
                <a:gd name="T3" fmla="*/ 9 h 19"/>
                <a:gd name="T4" fmla="*/ 156 w 156"/>
                <a:gd name="T5" fmla="*/ 5 h 19"/>
                <a:gd name="T6" fmla="*/ 153 w 156"/>
                <a:gd name="T7" fmla="*/ 3 h 19"/>
                <a:gd name="T8" fmla="*/ 151 w 156"/>
                <a:gd name="T9" fmla="*/ 1 h 19"/>
                <a:gd name="T10" fmla="*/ 146 w 156"/>
                <a:gd name="T11" fmla="*/ 0 h 19"/>
                <a:gd name="T12" fmla="*/ 9 w 156"/>
                <a:gd name="T13" fmla="*/ 0 h 19"/>
                <a:gd name="T14" fmla="*/ 9 w 156"/>
                <a:gd name="T15" fmla="*/ 0 h 19"/>
                <a:gd name="T16" fmla="*/ 7 w 156"/>
                <a:gd name="T17" fmla="*/ 1 h 19"/>
                <a:gd name="T18" fmla="*/ 3 w 156"/>
                <a:gd name="T19" fmla="*/ 3 h 19"/>
                <a:gd name="T20" fmla="*/ 1 w 156"/>
                <a:gd name="T21" fmla="*/ 5 h 19"/>
                <a:gd name="T22" fmla="*/ 0 w 156"/>
                <a:gd name="T23" fmla="*/ 9 h 19"/>
                <a:gd name="T24" fmla="*/ 0 w 156"/>
                <a:gd name="T25" fmla="*/ 9 h 19"/>
                <a:gd name="T26" fmla="*/ 1 w 156"/>
                <a:gd name="T27" fmla="*/ 14 h 19"/>
                <a:gd name="T28" fmla="*/ 3 w 156"/>
                <a:gd name="T29" fmla="*/ 16 h 19"/>
                <a:gd name="T30" fmla="*/ 7 w 156"/>
                <a:gd name="T31" fmla="*/ 18 h 19"/>
                <a:gd name="T32" fmla="*/ 9 w 156"/>
                <a:gd name="T33" fmla="*/ 19 h 19"/>
                <a:gd name="T34" fmla="*/ 146 w 156"/>
                <a:gd name="T35" fmla="*/ 19 h 19"/>
                <a:gd name="T36" fmla="*/ 146 w 156"/>
                <a:gd name="T37" fmla="*/ 19 h 19"/>
                <a:gd name="T38" fmla="*/ 151 w 156"/>
                <a:gd name="T39" fmla="*/ 18 h 19"/>
                <a:gd name="T40" fmla="*/ 153 w 156"/>
                <a:gd name="T41" fmla="*/ 16 h 19"/>
                <a:gd name="T42" fmla="*/ 156 w 156"/>
                <a:gd name="T43" fmla="*/ 14 h 19"/>
                <a:gd name="T44" fmla="*/ 156 w 156"/>
                <a:gd name="T45" fmla="*/ 9 h 19"/>
                <a:gd name="T46" fmla="*/ 156 w 156"/>
                <a:gd name="T47"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6" h="19">
                  <a:moveTo>
                    <a:pt x="156" y="9"/>
                  </a:moveTo>
                  <a:lnTo>
                    <a:pt x="156" y="9"/>
                  </a:lnTo>
                  <a:lnTo>
                    <a:pt x="156" y="5"/>
                  </a:lnTo>
                  <a:lnTo>
                    <a:pt x="153" y="3"/>
                  </a:lnTo>
                  <a:lnTo>
                    <a:pt x="151" y="1"/>
                  </a:lnTo>
                  <a:lnTo>
                    <a:pt x="146" y="0"/>
                  </a:lnTo>
                  <a:lnTo>
                    <a:pt x="9" y="0"/>
                  </a:lnTo>
                  <a:lnTo>
                    <a:pt x="9" y="0"/>
                  </a:lnTo>
                  <a:lnTo>
                    <a:pt x="7" y="1"/>
                  </a:lnTo>
                  <a:lnTo>
                    <a:pt x="3" y="3"/>
                  </a:lnTo>
                  <a:lnTo>
                    <a:pt x="1" y="5"/>
                  </a:lnTo>
                  <a:lnTo>
                    <a:pt x="0" y="9"/>
                  </a:lnTo>
                  <a:lnTo>
                    <a:pt x="0" y="9"/>
                  </a:lnTo>
                  <a:lnTo>
                    <a:pt x="1" y="14"/>
                  </a:lnTo>
                  <a:lnTo>
                    <a:pt x="3" y="16"/>
                  </a:lnTo>
                  <a:lnTo>
                    <a:pt x="7" y="18"/>
                  </a:lnTo>
                  <a:lnTo>
                    <a:pt x="9" y="19"/>
                  </a:lnTo>
                  <a:lnTo>
                    <a:pt x="146" y="19"/>
                  </a:lnTo>
                  <a:lnTo>
                    <a:pt x="146" y="19"/>
                  </a:lnTo>
                  <a:lnTo>
                    <a:pt x="151" y="18"/>
                  </a:lnTo>
                  <a:lnTo>
                    <a:pt x="153" y="16"/>
                  </a:lnTo>
                  <a:lnTo>
                    <a:pt x="156" y="14"/>
                  </a:lnTo>
                  <a:lnTo>
                    <a:pt x="156" y="9"/>
                  </a:lnTo>
                  <a:lnTo>
                    <a:pt x="15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ea typeface="+mn-ea"/>
                <a:cs typeface="+mn-cs"/>
              </a:endParaRPr>
            </a:p>
          </p:txBody>
        </p:sp>
        <p:sp>
          <p:nvSpPr>
            <p:cNvPr id="65" name="Freeform 354">
              <a:extLst>
                <a:ext uri="{FF2B5EF4-FFF2-40B4-BE49-F238E27FC236}">
                  <a16:creationId xmlns:a16="http://schemas.microsoft.com/office/drawing/2014/main" id="{67CDF8C5-9BDE-4625-8239-9EB02A570C9B}"/>
                </a:ext>
              </a:extLst>
            </p:cNvPr>
            <p:cNvSpPr>
              <a:spLocks/>
            </p:cNvSpPr>
            <p:nvPr/>
          </p:nvSpPr>
          <p:spPr bwMode="auto">
            <a:xfrm>
              <a:off x="7796213" y="2787650"/>
              <a:ext cx="68263" cy="15875"/>
            </a:xfrm>
            <a:custGeom>
              <a:avLst/>
              <a:gdLst>
                <a:gd name="T0" fmla="*/ 9 w 87"/>
                <a:gd name="T1" fmla="*/ 0 h 19"/>
                <a:gd name="T2" fmla="*/ 9 w 87"/>
                <a:gd name="T3" fmla="*/ 0 h 19"/>
                <a:gd name="T4" fmla="*/ 7 w 87"/>
                <a:gd name="T5" fmla="*/ 0 h 19"/>
                <a:gd name="T6" fmla="*/ 3 w 87"/>
                <a:gd name="T7" fmla="*/ 3 h 19"/>
                <a:gd name="T8" fmla="*/ 1 w 87"/>
                <a:gd name="T9" fmla="*/ 5 h 19"/>
                <a:gd name="T10" fmla="*/ 0 w 87"/>
                <a:gd name="T11" fmla="*/ 9 h 19"/>
                <a:gd name="T12" fmla="*/ 0 w 87"/>
                <a:gd name="T13" fmla="*/ 9 h 19"/>
                <a:gd name="T14" fmla="*/ 1 w 87"/>
                <a:gd name="T15" fmla="*/ 12 h 19"/>
                <a:gd name="T16" fmla="*/ 3 w 87"/>
                <a:gd name="T17" fmla="*/ 16 h 19"/>
                <a:gd name="T18" fmla="*/ 7 w 87"/>
                <a:gd name="T19" fmla="*/ 17 h 19"/>
                <a:gd name="T20" fmla="*/ 9 w 87"/>
                <a:gd name="T21" fmla="*/ 19 h 19"/>
                <a:gd name="T22" fmla="*/ 78 w 87"/>
                <a:gd name="T23" fmla="*/ 19 h 19"/>
                <a:gd name="T24" fmla="*/ 78 w 87"/>
                <a:gd name="T25" fmla="*/ 19 h 19"/>
                <a:gd name="T26" fmla="*/ 82 w 87"/>
                <a:gd name="T27" fmla="*/ 17 h 19"/>
                <a:gd name="T28" fmla="*/ 85 w 87"/>
                <a:gd name="T29" fmla="*/ 16 h 19"/>
                <a:gd name="T30" fmla="*/ 87 w 87"/>
                <a:gd name="T31" fmla="*/ 12 h 19"/>
                <a:gd name="T32" fmla="*/ 87 w 87"/>
                <a:gd name="T33" fmla="*/ 9 h 19"/>
                <a:gd name="T34" fmla="*/ 87 w 87"/>
                <a:gd name="T35" fmla="*/ 9 h 19"/>
                <a:gd name="T36" fmla="*/ 87 w 87"/>
                <a:gd name="T37" fmla="*/ 5 h 19"/>
                <a:gd name="T38" fmla="*/ 85 w 87"/>
                <a:gd name="T39" fmla="*/ 3 h 19"/>
                <a:gd name="T40" fmla="*/ 82 w 87"/>
                <a:gd name="T41" fmla="*/ 0 h 19"/>
                <a:gd name="T42" fmla="*/ 78 w 87"/>
                <a:gd name="T43" fmla="*/ 0 h 19"/>
                <a:gd name="T44" fmla="*/ 9 w 87"/>
                <a:gd name="T45"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7" h="19">
                  <a:moveTo>
                    <a:pt x="9" y="0"/>
                  </a:moveTo>
                  <a:lnTo>
                    <a:pt x="9" y="0"/>
                  </a:lnTo>
                  <a:lnTo>
                    <a:pt x="7" y="0"/>
                  </a:lnTo>
                  <a:lnTo>
                    <a:pt x="3" y="3"/>
                  </a:lnTo>
                  <a:lnTo>
                    <a:pt x="1" y="5"/>
                  </a:lnTo>
                  <a:lnTo>
                    <a:pt x="0" y="9"/>
                  </a:lnTo>
                  <a:lnTo>
                    <a:pt x="0" y="9"/>
                  </a:lnTo>
                  <a:lnTo>
                    <a:pt x="1" y="12"/>
                  </a:lnTo>
                  <a:lnTo>
                    <a:pt x="3" y="16"/>
                  </a:lnTo>
                  <a:lnTo>
                    <a:pt x="7" y="17"/>
                  </a:lnTo>
                  <a:lnTo>
                    <a:pt x="9" y="19"/>
                  </a:lnTo>
                  <a:lnTo>
                    <a:pt x="78" y="19"/>
                  </a:lnTo>
                  <a:lnTo>
                    <a:pt x="78" y="19"/>
                  </a:lnTo>
                  <a:lnTo>
                    <a:pt x="82" y="17"/>
                  </a:lnTo>
                  <a:lnTo>
                    <a:pt x="85" y="16"/>
                  </a:lnTo>
                  <a:lnTo>
                    <a:pt x="87" y="12"/>
                  </a:lnTo>
                  <a:lnTo>
                    <a:pt x="87" y="9"/>
                  </a:lnTo>
                  <a:lnTo>
                    <a:pt x="87" y="9"/>
                  </a:lnTo>
                  <a:lnTo>
                    <a:pt x="87" y="5"/>
                  </a:lnTo>
                  <a:lnTo>
                    <a:pt x="85" y="3"/>
                  </a:lnTo>
                  <a:lnTo>
                    <a:pt x="82" y="0"/>
                  </a:lnTo>
                  <a:lnTo>
                    <a:pt x="78"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ea typeface="+mn-ea"/>
                <a:cs typeface="+mn-cs"/>
              </a:endParaRPr>
            </a:p>
          </p:txBody>
        </p:sp>
      </p:grpSp>
      <p:sp>
        <p:nvSpPr>
          <p:cNvPr id="57" name="object 65">
            <a:extLst>
              <a:ext uri="{FF2B5EF4-FFF2-40B4-BE49-F238E27FC236}">
                <a16:creationId xmlns:a16="http://schemas.microsoft.com/office/drawing/2014/main" id="{779CED91-43AE-4141-A12D-0FE54F4BDD94}"/>
              </a:ext>
            </a:extLst>
          </p:cNvPr>
          <p:cNvSpPr/>
          <p:nvPr/>
        </p:nvSpPr>
        <p:spPr>
          <a:xfrm rot="1091268">
            <a:off x="1582624" y="1727037"/>
            <a:ext cx="1476384" cy="352425"/>
          </a:xfrm>
          <a:custGeom>
            <a:avLst/>
            <a:gdLst/>
            <a:ahLst/>
            <a:cxnLst/>
            <a:rect l="l" t="t" r="r" b="b"/>
            <a:pathLst>
              <a:path w="1685289" h="352425">
                <a:moveTo>
                  <a:pt x="1621144" y="306764"/>
                </a:moveTo>
                <a:lnTo>
                  <a:pt x="1602486" y="327913"/>
                </a:lnTo>
                <a:lnTo>
                  <a:pt x="1684782" y="349758"/>
                </a:lnTo>
                <a:lnTo>
                  <a:pt x="1670790" y="315087"/>
                </a:lnTo>
                <a:lnTo>
                  <a:pt x="1631188" y="315087"/>
                </a:lnTo>
                <a:lnTo>
                  <a:pt x="1621144" y="306764"/>
                </a:lnTo>
                <a:close/>
              </a:path>
              <a:path w="1685289" h="352425">
                <a:moveTo>
                  <a:pt x="1633736" y="292491"/>
                </a:moveTo>
                <a:lnTo>
                  <a:pt x="1621144" y="306764"/>
                </a:lnTo>
                <a:lnTo>
                  <a:pt x="1631188" y="315087"/>
                </a:lnTo>
                <a:lnTo>
                  <a:pt x="1643380" y="300482"/>
                </a:lnTo>
                <a:lnTo>
                  <a:pt x="1633736" y="292491"/>
                </a:lnTo>
                <a:close/>
              </a:path>
              <a:path w="1685289" h="352425">
                <a:moveTo>
                  <a:pt x="1652905" y="270763"/>
                </a:moveTo>
                <a:lnTo>
                  <a:pt x="1633736" y="292491"/>
                </a:lnTo>
                <a:lnTo>
                  <a:pt x="1643380" y="300482"/>
                </a:lnTo>
                <a:lnTo>
                  <a:pt x="1631188" y="315087"/>
                </a:lnTo>
                <a:lnTo>
                  <a:pt x="1670790" y="315087"/>
                </a:lnTo>
                <a:lnTo>
                  <a:pt x="1652905" y="270763"/>
                </a:lnTo>
                <a:close/>
              </a:path>
              <a:path w="1685289" h="352425">
                <a:moveTo>
                  <a:pt x="1583689" y="252222"/>
                </a:moveTo>
                <a:lnTo>
                  <a:pt x="1572387" y="267588"/>
                </a:lnTo>
                <a:lnTo>
                  <a:pt x="1585976" y="277622"/>
                </a:lnTo>
                <a:lnTo>
                  <a:pt x="1621144" y="306764"/>
                </a:lnTo>
                <a:lnTo>
                  <a:pt x="1633736" y="292491"/>
                </a:lnTo>
                <a:lnTo>
                  <a:pt x="1598168" y="263017"/>
                </a:lnTo>
                <a:lnTo>
                  <a:pt x="1583689" y="252222"/>
                </a:lnTo>
                <a:close/>
              </a:path>
              <a:path w="1685289" h="352425">
                <a:moveTo>
                  <a:pt x="1472311" y="177292"/>
                </a:moveTo>
                <a:lnTo>
                  <a:pt x="1462532" y="193675"/>
                </a:lnTo>
                <a:lnTo>
                  <a:pt x="1488567" y="209296"/>
                </a:lnTo>
                <a:lnTo>
                  <a:pt x="1526286" y="234442"/>
                </a:lnTo>
                <a:lnTo>
                  <a:pt x="1536954" y="218694"/>
                </a:lnTo>
                <a:lnTo>
                  <a:pt x="1499108" y="193421"/>
                </a:lnTo>
                <a:lnTo>
                  <a:pt x="1472311" y="177292"/>
                </a:lnTo>
                <a:close/>
              </a:path>
              <a:path w="1685289" h="352425">
                <a:moveTo>
                  <a:pt x="1353693" y="114553"/>
                </a:moveTo>
                <a:lnTo>
                  <a:pt x="1345564" y="131825"/>
                </a:lnTo>
                <a:lnTo>
                  <a:pt x="1386586" y="151384"/>
                </a:lnTo>
                <a:lnTo>
                  <a:pt x="1413256" y="165608"/>
                </a:lnTo>
                <a:lnTo>
                  <a:pt x="1422273" y="148844"/>
                </a:lnTo>
                <a:lnTo>
                  <a:pt x="1395602" y="134493"/>
                </a:lnTo>
                <a:lnTo>
                  <a:pt x="1353693" y="114553"/>
                </a:lnTo>
                <a:close/>
              </a:path>
              <a:path w="1685289" h="352425">
                <a:moveTo>
                  <a:pt x="1228725" y="64770"/>
                </a:moveTo>
                <a:lnTo>
                  <a:pt x="1223010" y="82931"/>
                </a:lnTo>
                <a:lnTo>
                  <a:pt x="1226820" y="84200"/>
                </a:lnTo>
                <a:lnTo>
                  <a:pt x="1280922" y="103886"/>
                </a:lnTo>
                <a:lnTo>
                  <a:pt x="1293495" y="109220"/>
                </a:lnTo>
                <a:lnTo>
                  <a:pt x="1300861" y="91694"/>
                </a:lnTo>
                <a:lnTo>
                  <a:pt x="1288288" y="86360"/>
                </a:lnTo>
                <a:lnTo>
                  <a:pt x="1233424" y="66294"/>
                </a:lnTo>
                <a:lnTo>
                  <a:pt x="1228725" y="64770"/>
                </a:lnTo>
                <a:close/>
              </a:path>
              <a:path w="1685289" h="352425">
                <a:moveTo>
                  <a:pt x="1099312" y="29210"/>
                </a:moveTo>
                <a:lnTo>
                  <a:pt x="1095375" y="47751"/>
                </a:lnTo>
                <a:lnTo>
                  <a:pt x="1116965" y="52450"/>
                </a:lnTo>
                <a:lnTo>
                  <a:pt x="1168781" y="66039"/>
                </a:lnTo>
                <a:lnTo>
                  <a:pt x="1173734" y="47625"/>
                </a:lnTo>
                <a:lnTo>
                  <a:pt x="1121918" y="34036"/>
                </a:lnTo>
                <a:lnTo>
                  <a:pt x="1099312" y="29210"/>
                </a:lnTo>
                <a:close/>
              </a:path>
              <a:path w="1685289" h="352425">
                <a:moveTo>
                  <a:pt x="966978" y="7365"/>
                </a:moveTo>
                <a:lnTo>
                  <a:pt x="964692" y="26288"/>
                </a:lnTo>
                <a:lnTo>
                  <a:pt x="1005459" y="31114"/>
                </a:lnTo>
                <a:lnTo>
                  <a:pt x="1039749" y="36957"/>
                </a:lnTo>
                <a:lnTo>
                  <a:pt x="1042797" y="18161"/>
                </a:lnTo>
                <a:lnTo>
                  <a:pt x="1008634" y="12446"/>
                </a:lnTo>
                <a:lnTo>
                  <a:pt x="966978" y="7365"/>
                </a:lnTo>
                <a:close/>
              </a:path>
              <a:path w="1685289" h="352425">
                <a:moveTo>
                  <a:pt x="837057" y="0"/>
                </a:moveTo>
                <a:lnTo>
                  <a:pt x="832612" y="0"/>
                </a:lnTo>
                <a:lnTo>
                  <a:pt x="832993" y="19050"/>
                </a:lnTo>
                <a:lnTo>
                  <a:pt x="836549" y="19050"/>
                </a:lnTo>
                <a:lnTo>
                  <a:pt x="892937" y="20447"/>
                </a:lnTo>
                <a:lnTo>
                  <a:pt x="908177" y="21462"/>
                </a:lnTo>
                <a:lnTo>
                  <a:pt x="909574" y="2539"/>
                </a:lnTo>
                <a:lnTo>
                  <a:pt x="894334" y="1397"/>
                </a:lnTo>
                <a:lnTo>
                  <a:pt x="837057" y="0"/>
                </a:lnTo>
                <a:close/>
              </a:path>
              <a:path w="1685289" h="352425">
                <a:moveTo>
                  <a:pt x="774954" y="1397"/>
                </a:moveTo>
                <a:lnTo>
                  <a:pt x="722884" y="4952"/>
                </a:lnTo>
                <a:lnTo>
                  <a:pt x="698627" y="7747"/>
                </a:lnTo>
                <a:lnTo>
                  <a:pt x="700786" y="26670"/>
                </a:lnTo>
                <a:lnTo>
                  <a:pt x="724281" y="24002"/>
                </a:lnTo>
                <a:lnTo>
                  <a:pt x="776224" y="20447"/>
                </a:lnTo>
                <a:lnTo>
                  <a:pt x="774954" y="1397"/>
                </a:lnTo>
                <a:close/>
              </a:path>
              <a:path w="1685289" h="352425">
                <a:moveTo>
                  <a:pt x="641604" y="15494"/>
                </a:moveTo>
                <a:lnTo>
                  <a:pt x="609854" y="20574"/>
                </a:lnTo>
                <a:lnTo>
                  <a:pt x="566293" y="29845"/>
                </a:lnTo>
                <a:lnTo>
                  <a:pt x="570230" y="48513"/>
                </a:lnTo>
                <a:lnTo>
                  <a:pt x="612902" y="39370"/>
                </a:lnTo>
                <a:lnTo>
                  <a:pt x="644652" y="34289"/>
                </a:lnTo>
                <a:lnTo>
                  <a:pt x="641604" y="15494"/>
                </a:lnTo>
                <a:close/>
              </a:path>
              <a:path w="1685289" h="352425">
                <a:moveTo>
                  <a:pt x="510413" y="43814"/>
                </a:moveTo>
                <a:lnTo>
                  <a:pt x="498602" y="46989"/>
                </a:lnTo>
                <a:lnTo>
                  <a:pt x="443992" y="64135"/>
                </a:lnTo>
                <a:lnTo>
                  <a:pt x="436753" y="66801"/>
                </a:lnTo>
                <a:lnTo>
                  <a:pt x="443357" y="84709"/>
                </a:lnTo>
                <a:lnTo>
                  <a:pt x="449707" y="82296"/>
                </a:lnTo>
                <a:lnTo>
                  <a:pt x="503555" y="65405"/>
                </a:lnTo>
                <a:lnTo>
                  <a:pt x="515239" y="62357"/>
                </a:lnTo>
                <a:lnTo>
                  <a:pt x="510413" y="43814"/>
                </a:lnTo>
                <a:close/>
              </a:path>
              <a:path w="1685289" h="352425">
                <a:moveTo>
                  <a:pt x="382905" y="86995"/>
                </a:moveTo>
                <a:lnTo>
                  <a:pt x="337185" y="106425"/>
                </a:lnTo>
                <a:lnTo>
                  <a:pt x="312928" y="118237"/>
                </a:lnTo>
                <a:lnTo>
                  <a:pt x="321183" y="135382"/>
                </a:lnTo>
                <a:lnTo>
                  <a:pt x="344678" y="123951"/>
                </a:lnTo>
                <a:lnTo>
                  <a:pt x="390398" y="104521"/>
                </a:lnTo>
                <a:lnTo>
                  <a:pt x="382905" y="86995"/>
                </a:lnTo>
                <a:close/>
              </a:path>
              <a:path w="1685289" h="352425">
                <a:moveTo>
                  <a:pt x="261620" y="144525"/>
                </a:moveTo>
                <a:lnTo>
                  <a:pt x="234442" y="159385"/>
                </a:lnTo>
                <a:lnTo>
                  <a:pt x="195580" y="183387"/>
                </a:lnTo>
                <a:lnTo>
                  <a:pt x="205486" y="199517"/>
                </a:lnTo>
                <a:lnTo>
                  <a:pt x="243586" y="176149"/>
                </a:lnTo>
                <a:lnTo>
                  <a:pt x="270764" y="161289"/>
                </a:lnTo>
                <a:lnTo>
                  <a:pt x="261620" y="144525"/>
                </a:lnTo>
                <a:close/>
              </a:path>
              <a:path w="1685289" h="352425">
                <a:moveTo>
                  <a:pt x="147574" y="215392"/>
                </a:moveTo>
                <a:lnTo>
                  <a:pt x="136398" y="223138"/>
                </a:lnTo>
                <a:lnTo>
                  <a:pt x="89408" y="258952"/>
                </a:lnTo>
                <a:lnTo>
                  <a:pt x="85979" y="261747"/>
                </a:lnTo>
                <a:lnTo>
                  <a:pt x="98298" y="276225"/>
                </a:lnTo>
                <a:lnTo>
                  <a:pt x="100837" y="274065"/>
                </a:lnTo>
                <a:lnTo>
                  <a:pt x="147193" y="238760"/>
                </a:lnTo>
                <a:lnTo>
                  <a:pt x="158369" y="231139"/>
                </a:lnTo>
                <a:lnTo>
                  <a:pt x="147574" y="215392"/>
                </a:lnTo>
                <a:close/>
              </a:path>
              <a:path w="1685289" h="352425">
                <a:moveTo>
                  <a:pt x="42037" y="299085"/>
                </a:moveTo>
                <a:lnTo>
                  <a:pt x="0" y="338582"/>
                </a:lnTo>
                <a:lnTo>
                  <a:pt x="13081" y="352425"/>
                </a:lnTo>
                <a:lnTo>
                  <a:pt x="55118" y="313055"/>
                </a:lnTo>
                <a:lnTo>
                  <a:pt x="42037" y="299085"/>
                </a:lnTo>
                <a:close/>
              </a:path>
            </a:pathLst>
          </a:custGeom>
          <a:solidFill>
            <a:srgbClr val="A6A6A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58" name="object 65">
            <a:extLst>
              <a:ext uri="{FF2B5EF4-FFF2-40B4-BE49-F238E27FC236}">
                <a16:creationId xmlns:a16="http://schemas.microsoft.com/office/drawing/2014/main" id="{4FC5B006-AC53-480A-AD3E-6E9A5168D39B}"/>
              </a:ext>
            </a:extLst>
          </p:cNvPr>
          <p:cNvSpPr/>
          <p:nvPr/>
        </p:nvSpPr>
        <p:spPr>
          <a:xfrm rot="20354384" flipV="1">
            <a:off x="1796570" y="3771550"/>
            <a:ext cx="1321387" cy="224506"/>
          </a:xfrm>
          <a:custGeom>
            <a:avLst/>
            <a:gdLst/>
            <a:ahLst/>
            <a:cxnLst/>
            <a:rect l="l" t="t" r="r" b="b"/>
            <a:pathLst>
              <a:path w="1685289" h="352425">
                <a:moveTo>
                  <a:pt x="1621144" y="306764"/>
                </a:moveTo>
                <a:lnTo>
                  <a:pt x="1602486" y="327913"/>
                </a:lnTo>
                <a:lnTo>
                  <a:pt x="1684782" y="349758"/>
                </a:lnTo>
                <a:lnTo>
                  <a:pt x="1670790" y="315087"/>
                </a:lnTo>
                <a:lnTo>
                  <a:pt x="1631188" y="315087"/>
                </a:lnTo>
                <a:lnTo>
                  <a:pt x="1621144" y="306764"/>
                </a:lnTo>
                <a:close/>
              </a:path>
              <a:path w="1685289" h="352425">
                <a:moveTo>
                  <a:pt x="1633736" y="292491"/>
                </a:moveTo>
                <a:lnTo>
                  <a:pt x="1621144" y="306764"/>
                </a:lnTo>
                <a:lnTo>
                  <a:pt x="1631188" y="315087"/>
                </a:lnTo>
                <a:lnTo>
                  <a:pt x="1643380" y="300482"/>
                </a:lnTo>
                <a:lnTo>
                  <a:pt x="1633736" y="292491"/>
                </a:lnTo>
                <a:close/>
              </a:path>
              <a:path w="1685289" h="352425">
                <a:moveTo>
                  <a:pt x="1652905" y="270763"/>
                </a:moveTo>
                <a:lnTo>
                  <a:pt x="1633736" y="292491"/>
                </a:lnTo>
                <a:lnTo>
                  <a:pt x="1643380" y="300482"/>
                </a:lnTo>
                <a:lnTo>
                  <a:pt x="1631188" y="315087"/>
                </a:lnTo>
                <a:lnTo>
                  <a:pt x="1670790" y="315087"/>
                </a:lnTo>
                <a:lnTo>
                  <a:pt x="1652905" y="270763"/>
                </a:lnTo>
                <a:close/>
              </a:path>
              <a:path w="1685289" h="352425">
                <a:moveTo>
                  <a:pt x="1583689" y="252222"/>
                </a:moveTo>
                <a:lnTo>
                  <a:pt x="1572387" y="267588"/>
                </a:lnTo>
                <a:lnTo>
                  <a:pt x="1585976" y="277622"/>
                </a:lnTo>
                <a:lnTo>
                  <a:pt x="1621144" y="306764"/>
                </a:lnTo>
                <a:lnTo>
                  <a:pt x="1633736" y="292491"/>
                </a:lnTo>
                <a:lnTo>
                  <a:pt x="1598168" y="263017"/>
                </a:lnTo>
                <a:lnTo>
                  <a:pt x="1583689" y="252222"/>
                </a:lnTo>
                <a:close/>
              </a:path>
              <a:path w="1685289" h="352425">
                <a:moveTo>
                  <a:pt x="1472311" y="177292"/>
                </a:moveTo>
                <a:lnTo>
                  <a:pt x="1462532" y="193675"/>
                </a:lnTo>
                <a:lnTo>
                  <a:pt x="1488567" y="209296"/>
                </a:lnTo>
                <a:lnTo>
                  <a:pt x="1526286" y="234442"/>
                </a:lnTo>
                <a:lnTo>
                  <a:pt x="1536954" y="218694"/>
                </a:lnTo>
                <a:lnTo>
                  <a:pt x="1499108" y="193421"/>
                </a:lnTo>
                <a:lnTo>
                  <a:pt x="1472311" y="177292"/>
                </a:lnTo>
                <a:close/>
              </a:path>
              <a:path w="1685289" h="352425">
                <a:moveTo>
                  <a:pt x="1353693" y="114553"/>
                </a:moveTo>
                <a:lnTo>
                  <a:pt x="1345564" y="131825"/>
                </a:lnTo>
                <a:lnTo>
                  <a:pt x="1386586" y="151384"/>
                </a:lnTo>
                <a:lnTo>
                  <a:pt x="1413256" y="165608"/>
                </a:lnTo>
                <a:lnTo>
                  <a:pt x="1422273" y="148844"/>
                </a:lnTo>
                <a:lnTo>
                  <a:pt x="1395602" y="134493"/>
                </a:lnTo>
                <a:lnTo>
                  <a:pt x="1353693" y="114553"/>
                </a:lnTo>
                <a:close/>
              </a:path>
              <a:path w="1685289" h="352425">
                <a:moveTo>
                  <a:pt x="1228725" y="64770"/>
                </a:moveTo>
                <a:lnTo>
                  <a:pt x="1223010" y="82931"/>
                </a:lnTo>
                <a:lnTo>
                  <a:pt x="1226820" y="84200"/>
                </a:lnTo>
                <a:lnTo>
                  <a:pt x="1280922" y="103886"/>
                </a:lnTo>
                <a:lnTo>
                  <a:pt x="1293495" y="109220"/>
                </a:lnTo>
                <a:lnTo>
                  <a:pt x="1300861" y="91694"/>
                </a:lnTo>
                <a:lnTo>
                  <a:pt x="1288288" y="86360"/>
                </a:lnTo>
                <a:lnTo>
                  <a:pt x="1233424" y="66294"/>
                </a:lnTo>
                <a:lnTo>
                  <a:pt x="1228725" y="64770"/>
                </a:lnTo>
                <a:close/>
              </a:path>
              <a:path w="1685289" h="352425">
                <a:moveTo>
                  <a:pt x="1099312" y="29210"/>
                </a:moveTo>
                <a:lnTo>
                  <a:pt x="1095375" y="47751"/>
                </a:lnTo>
                <a:lnTo>
                  <a:pt x="1116965" y="52450"/>
                </a:lnTo>
                <a:lnTo>
                  <a:pt x="1168781" y="66039"/>
                </a:lnTo>
                <a:lnTo>
                  <a:pt x="1173734" y="47625"/>
                </a:lnTo>
                <a:lnTo>
                  <a:pt x="1121918" y="34036"/>
                </a:lnTo>
                <a:lnTo>
                  <a:pt x="1099312" y="29210"/>
                </a:lnTo>
                <a:close/>
              </a:path>
              <a:path w="1685289" h="352425">
                <a:moveTo>
                  <a:pt x="966978" y="7365"/>
                </a:moveTo>
                <a:lnTo>
                  <a:pt x="964692" y="26288"/>
                </a:lnTo>
                <a:lnTo>
                  <a:pt x="1005459" y="31114"/>
                </a:lnTo>
                <a:lnTo>
                  <a:pt x="1039749" y="36957"/>
                </a:lnTo>
                <a:lnTo>
                  <a:pt x="1042797" y="18161"/>
                </a:lnTo>
                <a:lnTo>
                  <a:pt x="1008634" y="12446"/>
                </a:lnTo>
                <a:lnTo>
                  <a:pt x="966978" y="7365"/>
                </a:lnTo>
                <a:close/>
              </a:path>
              <a:path w="1685289" h="352425">
                <a:moveTo>
                  <a:pt x="837057" y="0"/>
                </a:moveTo>
                <a:lnTo>
                  <a:pt x="832612" y="0"/>
                </a:lnTo>
                <a:lnTo>
                  <a:pt x="832993" y="19050"/>
                </a:lnTo>
                <a:lnTo>
                  <a:pt x="836549" y="19050"/>
                </a:lnTo>
                <a:lnTo>
                  <a:pt x="892937" y="20447"/>
                </a:lnTo>
                <a:lnTo>
                  <a:pt x="908177" y="21462"/>
                </a:lnTo>
                <a:lnTo>
                  <a:pt x="909574" y="2539"/>
                </a:lnTo>
                <a:lnTo>
                  <a:pt x="894334" y="1397"/>
                </a:lnTo>
                <a:lnTo>
                  <a:pt x="837057" y="0"/>
                </a:lnTo>
                <a:close/>
              </a:path>
              <a:path w="1685289" h="352425">
                <a:moveTo>
                  <a:pt x="774954" y="1397"/>
                </a:moveTo>
                <a:lnTo>
                  <a:pt x="722884" y="4952"/>
                </a:lnTo>
                <a:lnTo>
                  <a:pt x="698627" y="7747"/>
                </a:lnTo>
                <a:lnTo>
                  <a:pt x="700786" y="26670"/>
                </a:lnTo>
                <a:lnTo>
                  <a:pt x="724281" y="24002"/>
                </a:lnTo>
                <a:lnTo>
                  <a:pt x="776224" y="20447"/>
                </a:lnTo>
                <a:lnTo>
                  <a:pt x="774954" y="1397"/>
                </a:lnTo>
                <a:close/>
              </a:path>
              <a:path w="1685289" h="352425">
                <a:moveTo>
                  <a:pt x="641604" y="15494"/>
                </a:moveTo>
                <a:lnTo>
                  <a:pt x="609854" y="20574"/>
                </a:lnTo>
                <a:lnTo>
                  <a:pt x="566293" y="29845"/>
                </a:lnTo>
                <a:lnTo>
                  <a:pt x="570230" y="48513"/>
                </a:lnTo>
                <a:lnTo>
                  <a:pt x="612902" y="39370"/>
                </a:lnTo>
                <a:lnTo>
                  <a:pt x="644652" y="34289"/>
                </a:lnTo>
                <a:lnTo>
                  <a:pt x="641604" y="15494"/>
                </a:lnTo>
                <a:close/>
              </a:path>
              <a:path w="1685289" h="352425">
                <a:moveTo>
                  <a:pt x="510413" y="43814"/>
                </a:moveTo>
                <a:lnTo>
                  <a:pt x="498602" y="46989"/>
                </a:lnTo>
                <a:lnTo>
                  <a:pt x="443992" y="64135"/>
                </a:lnTo>
                <a:lnTo>
                  <a:pt x="436753" y="66801"/>
                </a:lnTo>
                <a:lnTo>
                  <a:pt x="443357" y="84709"/>
                </a:lnTo>
                <a:lnTo>
                  <a:pt x="449707" y="82296"/>
                </a:lnTo>
                <a:lnTo>
                  <a:pt x="503555" y="65405"/>
                </a:lnTo>
                <a:lnTo>
                  <a:pt x="515239" y="62357"/>
                </a:lnTo>
                <a:lnTo>
                  <a:pt x="510413" y="43814"/>
                </a:lnTo>
                <a:close/>
              </a:path>
              <a:path w="1685289" h="352425">
                <a:moveTo>
                  <a:pt x="382905" y="86995"/>
                </a:moveTo>
                <a:lnTo>
                  <a:pt x="337185" y="106425"/>
                </a:lnTo>
                <a:lnTo>
                  <a:pt x="312928" y="118237"/>
                </a:lnTo>
                <a:lnTo>
                  <a:pt x="321183" y="135382"/>
                </a:lnTo>
                <a:lnTo>
                  <a:pt x="344678" y="123951"/>
                </a:lnTo>
                <a:lnTo>
                  <a:pt x="390398" y="104521"/>
                </a:lnTo>
                <a:lnTo>
                  <a:pt x="382905" y="86995"/>
                </a:lnTo>
                <a:close/>
              </a:path>
              <a:path w="1685289" h="352425">
                <a:moveTo>
                  <a:pt x="261620" y="144525"/>
                </a:moveTo>
                <a:lnTo>
                  <a:pt x="234442" y="159385"/>
                </a:lnTo>
                <a:lnTo>
                  <a:pt x="195580" y="183387"/>
                </a:lnTo>
                <a:lnTo>
                  <a:pt x="205486" y="199517"/>
                </a:lnTo>
                <a:lnTo>
                  <a:pt x="243586" y="176149"/>
                </a:lnTo>
                <a:lnTo>
                  <a:pt x="270764" y="161289"/>
                </a:lnTo>
                <a:lnTo>
                  <a:pt x="261620" y="144525"/>
                </a:lnTo>
                <a:close/>
              </a:path>
              <a:path w="1685289" h="352425">
                <a:moveTo>
                  <a:pt x="147574" y="215392"/>
                </a:moveTo>
                <a:lnTo>
                  <a:pt x="136398" y="223138"/>
                </a:lnTo>
                <a:lnTo>
                  <a:pt x="89408" y="258952"/>
                </a:lnTo>
                <a:lnTo>
                  <a:pt x="85979" y="261747"/>
                </a:lnTo>
                <a:lnTo>
                  <a:pt x="98298" y="276225"/>
                </a:lnTo>
                <a:lnTo>
                  <a:pt x="100837" y="274065"/>
                </a:lnTo>
                <a:lnTo>
                  <a:pt x="147193" y="238760"/>
                </a:lnTo>
                <a:lnTo>
                  <a:pt x="158369" y="231139"/>
                </a:lnTo>
                <a:lnTo>
                  <a:pt x="147574" y="215392"/>
                </a:lnTo>
                <a:close/>
              </a:path>
              <a:path w="1685289" h="352425">
                <a:moveTo>
                  <a:pt x="42037" y="299085"/>
                </a:moveTo>
                <a:lnTo>
                  <a:pt x="0" y="338582"/>
                </a:lnTo>
                <a:lnTo>
                  <a:pt x="13081" y="352425"/>
                </a:lnTo>
                <a:lnTo>
                  <a:pt x="55118" y="313055"/>
                </a:lnTo>
                <a:lnTo>
                  <a:pt x="42037" y="299085"/>
                </a:lnTo>
                <a:close/>
              </a:path>
            </a:pathLst>
          </a:custGeom>
          <a:solidFill>
            <a:srgbClr val="A6A6A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5C5C5C"/>
              </a:solidFill>
              <a:effectLst/>
              <a:uLnTx/>
              <a:uFillTx/>
              <a:ea typeface="+mn-ea"/>
              <a:cs typeface="+mn-cs"/>
            </a:endParaRPr>
          </a:p>
        </p:txBody>
      </p:sp>
      <p:sp>
        <p:nvSpPr>
          <p:cNvPr id="59" name="object 21">
            <a:extLst>
              <a:ext uri="{FF2B5EF4-FFF2-40B4-BE49-F238E27FC236}">
                <a16:creationId xmlns:a16="http://schemas.microsoft.com/office/drawing/2014/main" id="{6DF1D442-DC9A-4EDD-86AF-BC084E97AE3F}"/>
              </a:ext>
            </a:extLst>
          </p:cNvPr>
          <p:cNvSpPr txBox="1"/>
          <p:nvPr/>
        </p:nvSpPr>
        <p:spPr>
          <a:xfrm>
            <a:off x="1546282" y="1931935"/>
            <a:ext cx="1199099" cy="307777"/>
          </a:xfrm>
          <a:prstGeom prst="rect">
            <a:avLst/>
          </a:prstGeom>
        </p:spPr>
        <p:txBody>
          <a:bodyPr vert="horz" wrap="square" lIns="0" tIns="0" rIns="0" bIns="0" rtlCol="0">
            <a:spAutoFit/>
          </a:bodyPr>
          <a:lstStyle/>
          <a:p>
            <a:pPr marL="12700" marR="5080" lvl="0" indent="635"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10" normalizeH="0" baseline="0" noProof="0" dirty="0">
                <a:ln>
                  <a:noFill/>
                </a:ln>
                <a:solidFill>
                  <a:srgbClr val="000000"/>
                </a:solidFill>
                <a:effectLst/>
                <a:uLnTx/>
                <a:uFillTx/>
                <a:ea typeface="+mn-ea"/>
                <a:cs typeface="Verdana"/>
              </a:rPr>
              <a:t>Provide </a:t>
            </a:r>
            <a:br>
              <a:rPr kumimoji="0" lang="en-US" sz="1000" b="0" i="0" u="none" strike="noStrike" kern="1200" cap="none" spc="-10" normalizeH="0" baseline="0" noProof="0" dirty="0">
                <a:ln>
                  <a:noFill/>
                </a:ln>
                <a:solidFill>
                  <a:srgbClr val="000000"/>
                </a:solidFill>
                <a:effectLst/>
                <a:uLnTx/>
                <a:uFillTx/>
                <a:ea typeface="+mn-ea"/>
                <a:cs typeface="Verdana"/>
              </a:rPr>
            </a:br>
            <a:r>
              <a:rPr kumimoji="0" lang="en-US" sz="1000" b="0" i="0" u="none" strike="noStrike" kern="1200" cap="none" spc="-10" normalizeH="0" baseline="0" noProof="0" dirty="0">
                <a:ln>
                  <a:noFill/>
                </a:ln>
                <a:solidFill>
                  <a:srgbClr val="000000"/>
                </a:solidFill>
                <a:effectLst/>
                <a:uLnTx/>
                <a:uFillTx/>
                <a:ea typeface="+mn-ea"/>
                <a:cs typeface="Verdana"/>
              </a:rPr>
              <a:t>parts design</a:t>
            </a:r>
            <a:endParaRPr kumimoji="0" sz="1000" b="0" i="0" u="none" strike="noStrike" kern="1200" cap="none" spc="0" normalizeH="0" baseline="0" noProof="0" dirty="0">
              <a:ln>
                <a:noFill/>
              </a:ln>
              <a:solidFill>
                <a:srgbClr val="000000"/>
              </a:solidFill>
              <a:effectLst/>
              <a:uLnTx/>
              <a:uFillTx/>
              <a:ea typeface="+mn-ea"/>
              <a:cs typeface="Verdana"/>
            </a:endParaRPr>
          </a:p>
        </p:txBody>
      </p:sp>
      <p:sp>
        <p:nvSpPr>
          <p:cNvPr id="60" name="object 21">
            <a:extLst>
              <a:ext uri="{FF2B5EF4-FFF2-40B4-BE49-F238E27FC236}">
                <a16:creationId xmlns:a16="http://schemas.microsoft.com/office/drawing/2014/main" id="{DA94F6C6-05B3-40B0-A983-9C798B9B02E4}"/>
              </a:ext>
            </a:extLst>
          </p:cNvPr>
          <p:cNvSpPr txBox="1"/>
          <p:nvPr/>
        </p:nvSpPr>
        <p:spPr>
          <a:xfrm>
            <a:off x="1513108" y="4229138"/>
            <a:ext cx="1199099" cy="276999"/>
          </a:xfrm>
          <a:prstGeom prst="rect">
            <a:avLst/>
          </a:prstGeom>
        </p:spPr>
        <p:txBody>
          <a:bodyPr vert="horz" wrap="square" lIns="0" tIns="0" rIns="0" bIns="0" rtlCol="0">
            <a:spAutoFit/>
          </a:bodyPr>
          <a:lstStyle/>
          <a:p>
            <a:pPr marL="12700" marR="5080" lvl="0" indent="635"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10" normalizeH="0" baseline="0" noProof="0" dirty="0">
                <a:ln>
                  <a:noFill/>
                </a:ln>
                <a:solidFill>
                  <a:srgbClr val="000000"/>
                </a:solidFill>
                <a:effectLst/>
                <a:uLnTx/>
                <a:uFillTx/>
                <a:ea typeface="+mn-ea"/>
                <a:cs typeface="Verdana"/>
              </a:rPr>
              <a:t>Provide functional design requirements</a:t>
            </a:r>
            <a:endParaRPr kumimoji="0" sz="900" b="0" i="0" u="none" strike="noStrike" kern="1200" cap="none" spc="0" normalizeH="0" baseline="0" noProof="0" dirty="0">
              <a:ln>
                <a:noFill/>
              </a:ln>
              <a:solidFill>
                <a:srgbClr val="000000"/>
              </a:solidFill>
              <a:effectLst/>
              <a:uLnTx/>
              <a:uFillTx/>
              <a:ea typeface="+mn-ea"/>
              <a:cs typeface="Verdana"/>
            </a:endParaRPr>
          </a:p>
        </p:txBody>
      </p:sp>
    </p:spTree>
    <p:extLst>
      <p:ext uri="{BB962C8B-B14F-4D97-AF65-F5344CB8AC3E}">
        <p14:creationId xmlns:p14="http://schemas.microsoft.com/office/powerpoint/2010/main" val="169360538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D2DFD7D-6A4E-458A-967D-93982F87BA2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68" name="think-cell Slide" r:id="rId6" imgW="415" imgH="416" progId="TCLayout.ActiveDocument.1">
                  <p:embed/>
                </p:oleObj>
              </mc:Choice>
              <mc:Fallback>
                <p:oleObj name="think-cell Slide" r:id="rId6" imgW="415" imgH="416" progId="TCLayout.ActiveDocument.1">
                  <p:embed/>
                  <p:pic>
                    <p:nvPicPr>
                      <p:cNvPr id="6" name="Object 5" hidden="1">
                        <a:extLst>
                          <a:ext uri="{FF2B5EF4-FFF2-40B4-BE49-F238E27FC236}">
                            <a16:creationId xmlns:a16="http://schemas.microsoft.com/office/drawing/2014/main" id="{7D2DFD7D-6A4E-458A-967D-93982F87BA2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2AD3E3F-949D-4969-AE3B-93780F96700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4441643A-58CD-46B4-9583-70A7B5DB09EF}"/>
              </a:ext>
            </a:extLst>
          </p:cNvPr>
          <p:cNvSpPr>
            <a:spLocks noGrp="1"/>
          </p:cNvSpPr>
          <p:nvPr>
            <p:ph type="title"/>
          </p:nvPr>
        </p:nvSpPr>
        <p:spPr/>
        <p:txBody>
          <a:bodyPr/>
          <a:lstStyle/>
          <a:p>
            <a:r>
              <a:rPr lang="en-US" dirty="0"/>
              <a:t>Experience Data Platform</a:t>
            </a:r>
          </a:p>
        </p:txBody>
      </p:sp>
      <p:sp>
        <p:nvSpPr>
          <p:cNvPr id="3" name="Text Placeholder 2">
            <a:extLst>
              <a:ext uri="{FF2B5EF4-FFF2-40B4-BE49-F238E27FC236}">
                <a16:creationId xmlns:a16="http://schemas.microsoft.com/office/drawing/2014/main" id="{4E133DD4-CDDA-4734-A389-C01138761F20}"/>
              </a:ext>
            </a:extLst>
          </p:cNvPr>
          <p:cNvSpPr>
            <a:spLocks noGrp="1"/>
          </p:cNvSpPr>
          <p:nvPr>
            <p:ph type="body" sz="quarter" idx="14"/>
          </p:nvPr>
        </p:nvSpPr>
        <p:spPr/>
        <p:txBody>
          <a:bodyPr/>
          <a:lstStyle/>
          <a:p>
            <a:r>
              <a:rPr lang="en-US" dirty="0"/>
              <a:t>Enables a single view of each individual’s engagement with the client’s brand from prospective customer through known customer across all paid, owned, and earned channels. It is the foundation for advanced Targeting &amp; Decisioning at the individual level </a:t>
            </a:r>
          </a:p>
        </p:txBody>
      </p:sp>
      <p:sp>
        <p:nvSpPr>
          <p:cNvPr id="4" name="Text Placeholder 3">
            <a:extLst>
              <a:ext uri="{FF2B5EF4-FFF2-40B4-BE49-F238E27FC236}">
                <a16:creationId xmlns:a16="http://schemas.microsoft.com/office/drawing/2014/main" id="{645DEC3E-5A09-4B3E-BB6A-FA8AD44F1BB4}"/>
              </a:ext>
            </a:extLst>
          </p:cNvPr>
          <p:cNvSpPr>
            <a:spLocks noGrp="1"/>
          </p:cNvSpPr>
          <p:nvPr>
            <p:ph type="body" sz="quarter" idx="15"/>
          </p:nvPr>
        </p:nvSpPr>
        <p:spPr/>
        <p:txBody>
          <a:bodyPr/>
          <a:lstStyle/>
          <a:p>
            <a:r>
              <a:rPr lang="en-US" dirty="0"/>
              <a:t>Process &amp; customer journey</a:t>
            </a:r>
          </a:p>
        </p:txBody>
      </p:sp>
      <p:cxnSp>
        <p:nvCxnSpPr>
          <p:cNvPr id="7" name="Straight Connector 6">
            <a:extLst>
              <a:ext uri="{FF2B5EF4-FFF2-40B4-BE49-F238E27FC236}">
                <a16:creationId xmlns:a16="http://schemas.microsoft.com/office/drawing/2014/main" id="{79B6D605-C88C-47FE-9FC1-6D8FC8067384}"/>
              </a:ext>
            </a:extLst>
          </p:cNvPr>
          <p:cNvCxnSpPr/>
          <p:nvPr/>
        </p:nvCxnSpPr>
        <p:spPr>
          <a:xfrm>
            <a:off x="8967355" y="3889139"/>
            <a:ext cx="310896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0985AC3C-E13C-4A69-9054-610AA6693719}"/>
              </a:ext>
            </a:extLst>
          </p:cNvPr>
          <p:cNvSpPr txBox="1"/>
          <p:nvPr/>
        </p:nvSpPr>
        <p:spPr>
          <a:xfrm>
            <a:off x="1188073" y="2906394"/>
            <a:ext cx="2539702"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Open Sans"/>
                <a:ea typeface="+mn-ea"/>
                <a:cs typeface="+mn-cs"/>
              </a:rPr>
              <a:t>All in one cloud-based, real-time accessible platform</a:t>
            </a:r>
          </a:p>
        </p:txBody>
      </p:sp>
      <p:cxnSp>
        <p:nvCxnSpPr>
          <p:cNvPr id="9" name="Straight Connector 8">
            <a:extLst>
              <a:ext uri="{FF2B5EF4-FFF2-40B4-BE49-F238E27FC236}">
                <a16:creationId xmlns:a16="http://schemas.microsoft.com/office/drawing/2014/main" id="{9CBE9CF5-3017-48C6-AF96-9A9905C6B6BE}"/>
              </a:ext>
            </a:extLst>
          </p:cNvPr>
          <p:cNvCxnSpPr/>
          <p:nvPr/>
        </p:nvCxnSpPr>
        <p:spPr>
          <a:xfrm>
            <a:off x="6505665" y="3899711"/>
            <a:ext cx="0" cy="752361"/>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D8CCE30A-12B8-415B-950E-ECDFAFFD3574}"/>
              </a:ext>
            </a:extLst>
          </p:cNvPr>
          <p:cNvCxnSpPr/>
          <p:nvPr/>
        </p:nvCxnSpPr>
        <p:spPr>
          <a:xfrm>
            <a:off x="7125038" y="3152158"/>
            <a:ext cx="0" cy="752361"/>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DDB4A0C1-301D-4987-9EAE-5FB809F51C47}"/>
              </a:ext>
            </a:extLst>
          </p:cNvPr>
          <p:cNvCxnSpPr/>
          <p:nvPr/>
        </p:nvCxnSpPr>
        <p:spPr>
          <a:xfrm>
            <a:off x="7786826" y="3899711"/>
            <a:ext cx="0" cy="752361"/>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207CD27-AEC0-4D47-8C0D-7870AF7C2486}"/>
              </a:ext>
            </a:extLst>
          </p:cNvPr>
          <p:cNvCxnSpPr/>
          <p:nvPr/>
        </p:nvCxnSpPr>
        <p:spPr>
          <a:xfrm>
            <a:off x="8413584" y="3143769"/>
            <a:ext cx="0" cy="752361"/>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4917E27-BCA4-4B14-A752-C7835A3DA4C3}"/>
              </a:ext>
            </a:extLst>
          </p:cNvPr>
          <p:cNvCxnSpPr/>
          <p:nvPr/>
        </p:nvCxnSpPr>
        <p:spPr>
          <a:xfrm>
            <a:off x="8979741" y="3899711"/>
            <a:ext cx="0" cy="752361"/>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AFC0FE90-3AAC-4E98-86C8-D58A8289A44A}"/>
              </a:ext>
            </a:extLst>
          </p:cNvPr>
          <p:cNvSpPr/>
          <p:nvPr/>
        </p:nvSpPr>
        <p:spPr>
          <a:xfrm>
            <a:off x="6150065" y="4339860"/>
            <a:ext cx="711200" cy="711200"/>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5" name="Oval 14">
            <a:extLst>
              <a:ext uri="{FF2B5EF4-FFF2-40B4-BE49-F238E27FC236}">
                <a16:creationId xmlns:a16="http://schemas.microsoft.com/office/drawing/2014/main" id="{75F65CA7-7FA0-45ED-91C9-CA33D75B331A}"/>
              </a:ext>
            </a:extLst>
          </p:cNvPr>
          <p:cNvSpPr/>
          <p:nvPr/>
        </p:nvSpPr>
        <p:spPr>
          <a:xfrm>
            <a:off x="6776616" y="2693897"/>
            <a:ext cx="711200" cy="711200"/>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6" name="Oval 15">
            <a:extLst>
              <a:ext uri="{FF2B5EF4-FFF2-40B4-BE49-F238E27FC236}">
                <a16:creationId xmlns:a16="http://schemas.microsoft.com/office/drawing/2014/main" id="{6BD25F59-D931-4968-9488-C5CF161954B0}"/>
              </a:ext>
            </a:extLst>
          </p:cNvPr>
          <p:cNvSpPr/>
          <p:nvPr/>
        </p:nvSpPr>
        <p:spPr>
          <a:xfrm>
            <a:off x="7433177" y="4339860"/>
            <a:ext cx="711200" cy="711200"/>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7" name="Oval 16">
            <a:extLst>
              <a:ext uri="{FF2B5EF4-FFF2-40B4-BE49-F238E27FC236}">
                <a16:creationId xmlns:a16="http://schemas.microsoft.com/office/drawing/2014/main" id="{330B7D07-96AD-4E04-A641-8F06759D6126}"/>
              </a:ext>
            </a:extLst>
          </p:cNvPr>
          <p:cNvSpPr/>
          <p:nvPr/>
        </p:nvSpPr>
        <p:spPr>
          <a:xfrm>
            <a:off x="8056773" y="2685508"/>
            <a:ext cx="711200" cy="711200"/>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8" name="Oval 17">
            <a:extLst>
              <a:ext uri="{FF2B5EF4-FFF2-40B4-BE49-F238E27FC236}">
                <a16:creationId xmlns:a16="http://schemas.microsoft.com/office/drawing/2014/main" id="{292D1007-8C56-44E7-823B-7E65F2788C90}"/>
              </a:ext>
            </a:extLst>
          </p:cNvPr>
          <p:cNvSpPr/>
          <p:nvPr/>
        </p:nvSpPr>
        <p:spPr>
          <a:xfrm>
            <a:off x="8637965" y="4339860"/>
            <a:ext cx="711200" cy="71120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cxnSp>
        <p:nvCxnSpPr>
          <p:cNvPr id="19" name="Straight Connector 18">
            <a:extLst>
              <a:ext uri="{FF2B5EF4-FFF2-40B4-BE49-F238E27FC236}">
                <a16:creationId xmlns:a16="http://schemas.microsoft.com/office/drawing/2014/main" id="{06ACC947-4998-4837-8602-1554AF42ADFC}"/>
              </a:ext>
            </a:extLst>
          </p:cNvPr>
          <p:cNvCxnSpPr/>
          <p:nvPr/>
        </p:nvCxnSpPr>
        <p:spPr>
          <a:xfrm>
            <a:off x="5467744" y="3896130"/>
            <a:ext cx="347472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462C2BB1-A017-4DEE-95D0-0845F9DB344F}"/>
              </a:ext>
            </a:extLst>
          </p:cNvPr>
          <p:cNvSpPr/>
          <p:nvPr/>
        </p:nvSpPr>
        <p:spPr>
          <a:xfrm>
            <a:off x="6446535" y="3837000"/>
            <a:ext cx="118260" cy="118260"/>
          </a:xfrm>
          <a:prstGeom prst="ellipse">
            <a:avLst/>
          </a:prstGeom>
          <a:solidFill>
            <a:schemeClr val="bg1"/>
          </a:solidFill>
          <a:ln w="2857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1" name="Oval 20">
            <a:extLst>
              <a:ext uri="{FF2B5EF4-FFF2-40B4-BE49-F238E27FC236}">
                <a16:creationId xmlns:a16="http://schemas.microsoft.com/office/drawing/2014/main" id="{6C495B98-2DFE-40A4-BA2A-6292B0ACF3DE}"/>
              </a:ext>
            </a:extLst>
          </p:cNvPr>
          <p:cNvSpPr/>
          <p:nvPr/>
        </p:nvSpPr>
        <p:spPr>
          <a:xfrm>
            <a:off x="7069248" y="3845389"/>
            <a:ext cx="118260" cy="118260"/>
          </a:xfrm>
          <a:prstGeom prst="ellipse">
            <a:avLst/>
          </a:prstGeom>
          <a:solidFill>
            <a:schemeClr val="bg1"/>
          </a:solidFill>
          <a:ln w="2857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2" name="Oval 21">
            <a:extLst>
              <a:ext uri="{FF2B5EF4-FFF2-40B4-BE49-F238E27FC236}">
                <a16:creationId xmlns:a16="http://schemas.microsoft.com/office/drawing/2014/main" id="{41CE3CAC-012B-4B83-81B3-0498E16777EC}"/>
              </a:ext>
            </a:extLst>
          </p:cNvPr>
          <p:cNvSpPr/>
          <p:nvPr/>
        </p:nvSpPr>
        <p:spPr>
          <a:xfrm>
            <a:off x="7725517" y="3837000"/>
            <a:ext cx="118260" cy="118260"/>
          </a:xfrm>
          <a:prstGeom prst="ellipse">
            <a:avLst/>
          </a:prstGeom>
          <a:solidFill>
            <a:schemeClr val="bg1"/>
          </a:solidFill>
          <a:ln w="2857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3" name="Oval 22">
            <a:extLst>
              <a:ext uri="{FF2B5EF4-FFF2-40B4-BE49-F238E27FC236}">
                <a16:creationId xmlns:a16="http://schemas.microsoft.com/office/drawing/2014/main" id="{E73B7F23-1BBD-4B11-BB89-C3CB8885BFE5}"/>
              </a:ext>
            </a:extLst>
          </p:cNvPr>
          <p:cNvSpPr/>
          <p:nvPr/>
        </p:nvSpPr>
        <p:spPr>
          <a:xfrm>
            <a:off x="8348230" y="3837000"/>
            <a:ext cx="118260" cy="118260"/>
          </a:xfrm>
          <a:prstGeom prst="ellipse">
            <a:avLst/>
          </a:prstGeom>
          <a:solidFill>
            <a:schemeClr val="bg1"/>
          </a:solidFill>
          <a:ln w="2857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4" name="Oval 23">
            <a:extLst>
              <a:ext uri="{FF2B5EF4-FFF2-40B4-BE49-F238E27FC236}">
                <a16:creationId xmlns:a16="http://schemas.microsoft.com/office/drawing/2014/main" id="{BEDF013C-ED0C-4726-90BD-7DCCA0C8AB62}"/>
              </a:ext>
            </a:extLst>
          </p:cNvPr>
          <p:cNvSpPr/>
          <p:nvPr/>
        </p:nvSpPr>
        <p:spPr>
          <a:xfrm>
            <a:off x="8920611" y="3837000"/>
            <a:ext cx="118260" cy="118260"/>
          </a:xfrm>
          <a:prstGeom prst="ellipse">
            <a:avLst/>
          </a:prstGeom>
          <a:solidFill>
            <a:schemeClr val="bg1"/>
          </a:solidFill>
          <a:ln w="2857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cxnSp>
        <p:nvCxnSpPr>
          <p:cNvPr id="25" name="Straight Connector 24">
            <a:extLst>
              <a:ext uri="{FF2B5EF4-FFF2-40B4-BE49-F238E27FC236}">
                <a16:creationId xmlns:a16="http://schemas.microsoft.com/office/drawing/2014/main" id="{0E5E4181-B84A-45FC-8B28-B3E77F543A14}"/>
              </a:ext>
            </a:extLst>
          </p:cNvPr>
          <p:cNvCxnSpPr/>
          <p:nvPr/>
        </p:nvCxnSpPr>
        <p:spPr>
          <a:xfrm>
            <a:off x="9601191" y="3136778"/>
            <a:ext cx="0" cy="752361"/>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4444F8B-368E-4B74-93F5-5C5AF71CBCE2}"/>
              </a:ext>
            </a:extLst>
          </p:cNvPr>
          <p:cNvCxnSpPr/>
          <p:nvPr/>
        </p:nvCxnSpPr>
        <p:spPr>
          <a:xfrm>
            <a:off x="10262979" y="3884331"/>
            <a:ext cx="0" cy="752361"/>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763BF6E-DDEF-4220-B1BB-AF2C392821EA}"/>
              </a:ext>
            </a:extLst>
          </p:cNvPr>
          <p:cNvCxnSpPr/>
          <p:nvPr/>
        </p:nvCxnSpPr>
        <p:spPr>
          <a:xfrm>
            <a:off x="10889737" y="3128389"/>
            <a:ext cx="0" cy="752361"/>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00DC128-1333-47FB-BD09-3A0E4D7B9577}"/>
              </a:ext>
            </a:extLst>
          </p:cNvPr>
          <p:cNvCxnSpPr/>
          <p:nvPr/>
        </p:nvCxnSpPr>
        <p:spPr>
          <a:xfrm>
            <a:off x="11455894" y="3884331"/>
            <a:ext cx="0" cy="752361"/>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BBE874A5-85F4-4F04-8812-33234CD11ACD}"/>
              </a:ext>
            </a:extLst>
          </p:cNvPr>
          <p:cNvSpPr/>
          <p:nvPr/>
        </p:nvSpPr>
        <p:spPr>
          <a:xfrm>
            <a:off x="9252769" y="2678517"/>
            <a:ext cx="711200" cy="71120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0" name="Oval 29">
            <a:extLst>
              <a:ext uri="{FF2B5EF4-FFF2-40B4-BE49-F238E27FC236}">
                <a16:creationId xmlns:a16="http://schemas.microsoft.com/office/drawing/2014/main" id="{90A6270A-6466-428A-BA6F-56DE71586DB8}"/>
              </a:ext>
            </a:extLst>
          </p:cNvPr>
          <p:cNvSpPr/>
          <p:nvPr/>
        </p:nvSpPr>
        <p:spPr>
          <a:xfrm>
            <a:off x="9909330" y="4324480"/>
            <a:ext cx="711200" cy="71120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1" name="Oval 30">
            <a:extLst>
              <a:ext uri="{FF2B5EF4-FFF2-40B4-BE49-F238E27FC236}">
                <a16:creationId xmlns:a16="http://schemas.microsoft.com/office/drawing/2014/main" id="{885AB6BD-0B8C-4814-9E9A-4E56CB4F2A84}"/>
              </a:ext>
            </a:extLst>
          </p:cNvPr>
          <p:cNvSpPr/>
          <p:nvPr/>
        </p:nvSpPr>
        <p:spPr>
          <a:xfrm>
            <a:off x="10532926" y="2670128"/>
            <a:ext cx="711200" cy="71120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2" name="Oval 31">
            <a:extLst>
              <a:ext uri="{FF2B5EF4-FFF2-40B4-BE49-F238E27FC236}">
                <a16:creationId xmlns:a16="http://schemas.microsoft.com/office/drawing/2014/main" id="{BBB32ACB-03E3-407C-A0B7-D4A8F5773A1C}"/>
              </a:ext>
            </a:extLst>
          </p:cNvPr>
          <p:cNvSpPr/>
          <p:nvPr/>
        </p:nvSpPr>
        <p:spPr>
          <a:xfrm>
            <a:off x="11114118" y="4324480"/>
            <a:ext cx="711200" cy="71120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3" name="Oval 32">
            <a:extLst>
              <a:ext uri="{FF2B5EF4-FFF2-40B4-BE49-F238E27FC236}">
                <a16:creationId xmlns:a16="http://schemas.microsoft.com/office/drawing/2014/main" id="{273A8835-7597-4494-9286-CBEB7FA5FF98}"/>
              </a:ext>
            </a:extLst>
          </p:cNvPr>
          <p:cNvSpPr/>
          <p:nvPr/>
        </p:nvSpPr>
        <p:spPr>
          <a:xfrm>
            <a:off x="9545401" y="3830009"/>
            <a:ext cx="118260" cy="118260"/>
          </a:xfrm>
          <a:prstGeom prst="ellipse">
            <a:avLst/>
          </a:prstGeom>
          <a:solidFill>
            <a:schemeClr val="bg1"/>
          </a:solidFill>
          <a:ln w="2857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4" name="Oval 33">
            <a:extLst>
              <a:ext uri="{FF2B5EF4-FFF2-40B4-BE49-F238E27FC236}">
                <a16:creationId xmlns:a16="http://schemas.microsoft.com/office/drawing/2014/main" id="{BA8413C9-1968-4A2E-801F-A6E365D3B709}"/>
              </a:ext>
            </a:extLst>
          </p:cNvPr>
          <p:cNvSpPr/>
          <p:nvPr/>
        </p:nvSpPr>
        <p:spPr>
          <a:xfrm>
            <a:off x="10201670" y="3821620"/>
            <a:ext cx="118260" cy="118260"/>
          </a:xfrm>
          <a:prstGeom prst="ellipse">
            <a:avLst/>
          </a:prstGeom>
          <a:solidFill>
            <a:schemeClr val="bg1"/>
          </a:solidFill>
          <a:ln w="2857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5" name="Oval 34">
            <a:extLst>
              <a:ext uri="{FF2B5EF4-FFF2-40B4-BE49-F238E27FC236}">
                <a16:creationId xmlns:a16="http://schemas.microsoft.com/office/drawing/2014/main" id="{A1BC9E5F-4C0B-4714-800C-D09983EAF877}"/>
              </a:ext>
            </a:extLst>
          </p:cNvPr>
          <p:cNvSpPr/>
          <p:nvPr/>
        </p:nvSpPr>
        <p:spPr>
          <a:xfrm>
            <a:off x="10824383" y="3821620"/>
            <a:ext cx="118260" cy="118260"/>
          </a:xfrm>
          <a:prstGeom prst="ellipse">
            <a:avLst/>
          </a:prstGeom>
          <a:solidFill>
            <a:schemeClr val="bg1"/>
          </a:solidFill>
          <a:ln w="2857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6" name="Oval 35">
            <a:extLst>
              <a:ext uri="{FF2B5EF4-FFF2-40B4-BE49-F238E27FC236}">
                <a16:creationId xmlns:a16="http://schemas.microsoft.com/office/drawing/2014/main" id="{62156344-DE40-47EC-9B8D-7A973C788CB7}"/>
              </a:ext>
            </a:extLst>
          </p:cNvPr>
          <p:cNvSpPr/>
          <p:nvPr/>
        </p:nvSpPr>
        <p:spPr>
          <a:xfrm>
            <a:off x="11396764" y="3821620"/>
            <a:ext cx="118260" cy="118260"/>
          </a:xfrm>
          <a:prstGeom prst="ellipse">
            <a:avLst/>
          </a:prstGeom>
          <a:solidFill>
            <a:schemeClr val="bg1"/>
          </a:solidFill>
          <a:ln w="2857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cxnSp>
        <p:nvCxnSpPr>
          <p:cNvPr id="37" name="Straight Connector 36">
            <a:extLst>
              <a:ext uri="{FF2B5EF4-FFF2-40B4-BE49-F238E27FC236}">
                <a16:creationId xmlns:a16="http://schemas.microsoft.com/office/drawing/2014/main" id="{C3033916-E91D-46BA-A1BC-FE4C3B68DFA2}"/>
              </a:ext>
            </a:extLst>
          </p:cNvPr>
          <p:cNvCxnSpPr/>
          <p:nvPr/>
        </p:nvCxnSpPr>
        <p:spPr>
          <a:xfrm>
            <a:off x="5985532" y="3136778"/>
            <a:ext cx="0" cy="752361"/>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B8A8AC78-7514-40F1-A170-96167F020C85}"/>
              </a:ext>
            </a:extLst>
          </p:cNvPr>
          <p:cNvSpPr/>
          <p:nvPr/>
        </p:nvSpPr>
        <p:spPr>
          <a:xfrm>
            <a:off x="5637110" y="2678517"/>
            <a:ext cx="711200" cy="711200"/>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9" name="Oval 38">
            <a:extLst>
              <a:ext uri="{FF2B5EF4-FFF2-40B4-BE49-F238E27FC236}">
                <a16:creationId xmlns:a16="http://schemas.microsoft.com/office/drawing/2014/main" id="{D582CB39-54F9-47D6-9C97-62A4BFDC0B81}"/>
              </a:ext>
            </a:extLst>
          </p:cNvPr>
          <p:cNvSpPr/>
          <p:nvPr/>
        </p:nvSpPr>
        <p:spPr>
          <a:xfrm>
            <a:off x="5929742" y="3830009"/>
            <a:ext cx="118260" cy="118260"/>
          </a:xfrm>
          <a:prstGeom prst="ellipse">
            <a:avLst/>
          </a:prstGeom>
          <a:solidFill>
            <a:schemeClr val="bg1"/>
          </a:solidFill>
          <a:ln w="2857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0" name="TextBox 39">
            <a:extLst>
              <a:ext uri="{FF2B5EF4-FFF2-40B4-BE49-F238E27FC236}">
                <a16:creationId xmlns:a16="http://schemas.microsoft.com/office/drawing/2014/main" id="{314A6C21-E985-4AD2-B1F3-CF05033DD785}"/>
              </a:ext>
            </a:extLst>
          </p:cNvPr>
          <p:cNvSpPr txBox="1"/>
          <p:nvPr/>
        </p:nvSpPr>
        <p:spPr>
          <a:xfrm>
            <a:off x="5438305" y="2000343"/>
            <a:ext cx="115768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Google search entry</a:t>
            </a:r>
          </a:p>
        </p:txBody>
      </p:sp>
      <p:sp>
        <p:nvSpPr>
          <p:cNvPr id="41" name="TextBox 40">
            <a:extLst>
              <a:ext uri="{FF2B5EF4-FFF2-40B4-BE49-F238E27FC236}">
                <a16:creationId xmlns:a16="http://schemas.microsoft.com/office/drawing/2014/main" id="{72CF1CC4-174B-438B-8475-67D6AB8C4579}"/>
              </a:ext>
            </a:extLst>
          </p:cNvPr>
          <p:cNvSpPr txBox="1"/>
          <p:nvPr/>
        </p:nvSpPr>
        <p:spPr>
          <a:xfrm>
            <a:off x="5911567" y="5187609"/>
            <a:ext cx="1157681"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Google search return page click</a:t>
            </a:r>
          </a:p>
        </p:txBody>
      </p:sp>
      <p:sp>
        <p:nvSpPr>
          <p:cNvPr id="42" name="TextBox 41">
            <a:extLst>
              <a:ext uri="{FF2B5EF4-FFF2-40B4-BE49-F238E27FC236}">
                <a16:creationId xmlns:a16="http://schemas.microsoft.com/office/drawing/2014/main" id="{0E132A53-CAE1-422F-B804-F22D764EDA42}"/>
              </a:ext>
            </a:extLst>
          </p:cNvPr>
          <p:cNvSpPr txBox="1"/>
          <p:nvPr/>
        </p:nvSpPr>
        <p:spPr>
          <a:xfrm>
            <a:off x="6483416" y="2000343"/>
            <a:ext cx="1291294"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Landing on brand’s product page</a:t>
            </a:r>
          </a:p>
        </p:txBody>
      </p:sp>
      <p:sp>
        <p:nvSpPr>
          <p:cNvPr id="43" name="TextBox 42">
            <a:extLst>
              <a:ext uri="{FF2B5EF4-FFF2-40B4-BE49-F238E27FC236}">
                <a16:creationId xmlns:a16="http://schemas.microsoft.com/office/drawing/2014/main" id="{B35BA530-1672-4405-B355-8CFBCA3F4249}"/>
              </a:ext>
            </a:extLst>
          </p:cNvPr>
          <p:cNvSpPr txBox="1"/>
          <p:nvPr/>
        </p:nvSpPr>
        <p:spPr>
          <a:xfrm>
            <a:off x="7255903" y="5187609"/>
            <a:ext cx="1157681"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Brand product page search</a:t>
            </a:r>
          </a:p>
        </p:txBody>
      </p:sp>
      <p:sp>
        <p:nvSpPr>
          <p:cNvPr id="44" name="TextBox 43">
            <a:extLst>
              <a:ext uri="{FF2B5EF4-FFF2-40B4-BE49-F238E27FC236}">
                <a16:creationId xmlns:a16="http://schemas.microsoft.com/office/drawing/2014/main" id="{592FC485-5414-4203-9240-80FC56AB72A5}"/>
              </a:ext>
            </a:extLst>
          </p:cNvPr>
          <p:cNvSpPr txBox="1"/>
          <p:nvPr/>
        </p:nvSpPr>
        <p:spPr>
          <a:xfrm>
            <a:off x="7730533" y="2000343"/>
            <a:ext cx="1358673"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Amazon price comparison</a:t>
            </a:r>
          </a:p>
        </p:txBody>
      </p:sp>
      <p:sp>
        <p:nvSpPr>
          <p:cNvPr id="45" name="TextBox 44">
            <a:extLst>
              <a:ext uri="{FF2B5EF4-FFF2-40B4-BE49-F238E27FC236}">
                <a16:creationId xmlns:a16="http://schemas.microsoft.com/office/drawing/2014/main" id="{3B48D681-C66B-48B1-9D94-37DD4B1FD79F}"/>
              </a:ext>
            </a:extLst>
          </p:cNvPr>
          <p:cNvSpPr txBox="1"/>
          <p:nvPr/>
        </p:nvSpPr>
        <p:spPr>
          <a:xfrm>
            <a:off x="8298235" y="5187609"/>
            <a:ext cx="141451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Product purchase on Amazon</a:t>
            </a:r>
          </a:p>
        </p:txBody>
      </p:sp>
      <p:sp>
        <p:nvSpPr>
          <p:cNvPr id="46" name="TextBox 45">
            <a:extLst>
              <a:ext uri="{FF2B5EF4-FFF2-40B4-BE49-F238E27FC236}">
                <a16:creationId xmlns:a16="http://schemas.microsoft.com/office/drawing/2014/main" id="{C7230210-0217-42E8-ADA6-5EFB04DD8FE2}"/>
              </a:ext>
            </a:extLst>
          </p:cNvPr>
          <p:cNvSpPr txBox="1"/>
          <p:nvPr/>
        </p:nvSpPr>
        <p:spPr>
          <a:xfrm>
            <a:off x="9038872" y="2000343"/>
            <a:ext cx="1243422"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Issue reported to Customer Service</a:t>
            </a:r>
          </a:p>
        </p:txBody>
      </p:sp>
      <p:sp>
        <p:nvSpPr>
          <p:cNvPr id="47" name="TextBox 46">
            <a:extLst>
              <a:ext uri="{FF2B5EF4-FFF2-40B4-BE49-F238E27FC236}">
                <a16:creationId xmlns:a16="http://schemas.microsoft.com/office/drawing/2014/main" id="{91E4ED48-C060-4FCD-B8DA-136A063B9192}"/>
              </a:ext>
            </a:extLst>
          </p:cNvPr>
          <p:cNvSpPr txBox="1"/>
          <p:nvPr/>
        </p:nvSpPr>
        <p:spPr>
          <a:xfrm>
            <a:off x="9682244" y="5187609"/>
            <a:ext cx="1194088"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Download of brand’s mobile app</a:t>
            </a:r>
          </a:p>
        </p:txBody>
      </p:sp>
      <p:sp>
        <p:nvSpPr>
          <p:cNvPr id="48" name="TextBox 47">
            <a:extLst>
              <a:ext uri="{FF2B5EF4-FFF2-40B4-BE49-F238E27FC236}">
                <a16:creationId xmlns:a16="http://schemas.microsoft.com/office/drawing/2014/main" id="{A21A5BCA-3CFF-4047-A175-6D20F2697BE1}"/>
              </a:ext>
            </a:extLst>
          </p:cNvPr>
          <p:cNvSpPr txBox="1"/>
          <p:nvPr/>
        </p:nvSpPr>
        <p:spPr>
          <a:xfrm>
            <a:off x="10206366" y="2000343"/>
            <a:ext cx="141451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Brand ad </a:t>
            </a:r>
            <a:r>
              <a:rPr kumimoji="0" lang="en-US" sz="1200" b="0" i="0" u="none" strike="noStrike" kern="1200" cap="none" spc="0" normalizeH="0" baseline="0" noProof="0" dirty="0" err="1">
                <a:ln>
                  <a:noFill/>
                </a:ln>
                <a:solidFill>
                  <a:srgbClr val="000000"/>
                </a:solidFill>
                <a:effectLst/>
                <a:uLnTx/>
                <a:uFillTx/>
                <a:latin typeface="Open Sans"/>
                <a:ea typeface="+mn-ea"/>
                <a:cs typeface="+mn-cs"/>
              </a:rPr>
              <a:t>clickthrough</a:t>
            </a:r>
            <a:r>
              <a:rPr kumimoji="0" lang="en-US" sz="1200" b="0" i="0" u="none" strike="noStrike" kern="1200" cap="none" spc="0" normalizeH="0" baseline="0" noProof="0" dirty="0">
                <a:ln>
                  <a:noFill/>
                </a:ln>
                <a:solidFill>
                  <a:srgbClr val="000000"/>
                </a:solidFill>
                <a:effectLst/>
                <a:uLnTx/>
                <a:uFillTx/>
                <a:latin typeface="Open Sans"/>
                <a:ea typeface="+mn-ea"/>
                <a:cs typeface="+mn-cs"/>
              </a:rPr>
              <a:t> from Facebook</a:t>
            </a:r>
          </a:p>
        </p:txBody>
      </p:sp>
      <p:sp>
        <p:nvSpPr>
          <p:cNvPr id="49" name="TextBox 48">
            <a:extLst>
              <a:ext uri="{FF2B5EF4-FFF2-40B4-BE49-F238E27FC236}">
                <a16:creationId xmlns:a16="http://schemas.microsoft.com/office/drawing/2014/main" id="{F3774231-825B-4759-A1AF-209FE3FCFA78}"/>
              </a:ext>
            </a:extLst>
          </p:cNvPr>
          <p:cNvSpPr txBox="1"/>
          <p:nvPr/>
        </p:nvSpPr>
        <p:spPr>
          <a:xfrm>
            <a:off x="10742107" y="5187609"/>
            <a:ext cx="141451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Product purchase from brand web site</a:t>
            </a:r>
          </a:p>
        </p:txBody>
      </p:sp>
      <p:sp>
        <p:nvSpPr>
          <p:cNvPr id="50" name="Oval 49">
            <a:extLst>
              <a:ext uri="{FF2B5EF4-FFF2-40B4-BE49-F238E27FC236}">
                <a16:creationId xmlns:a16="http://schemas.microsoft.com/office/drawing/2014/main" id="{23F4EE27-6E40-4D1D-B686-A50F08B4DF1E}"/>
              </a:ext>
            </a:extLst>
          </p:cNvPr>
          <p:cNvSpPr/>
          <p:nvPr/>
        </p:nvSpPr>
        <p:spPr>
          <a:xfrm>
            <a:off x="7178821" y="5939360"/>
            <a:ext cx="274320" cy="274320"/>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1" name="Oval 50">
            <a:extLst>
              <a:ext uri="{FF2B5EF4-FFF2-40B4-BE49-F238E27FC236}">
                <a16:creationId xmlns:a16="http://schemas.microsoft.com/office/drawing/2014/main" id="{74400C20-AF0E-41C9-B589-430DF9E3C3F5}"/>
              </a:ext>
            </a:extLst>
          </p:cNvPr>
          <p:cNvSpPr/>
          <p:nvPr/>
        </p:nvSpPr>
        <p:spPr>
          <a:xfrm>
            <a:off x="9552340" y="5939360"/>
            <a:ext cx="274320" cy="274320"/>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2" name="TextBox 51">
            <a:extLst>
              <a:ext uri="{FF2B5EF4-FFF2-40B4-BE49-F238E27FC236}">
                <a16:creationId xmlns:a16="http://schemas.microsoft.com/office/drawing/2014/main" id="{181785C2-2F71-49F1-80BD-EBE6376E7A14}"/>
              </a:ext>
            </a:extLst>
          </p:cNvPr>
          <p:cNvSpPr txBox="1"/>
          <p:nvPr/>
        </p:nvSpPr>
        <p:spPr>
          <a:xfrm>
            <a:off x="7418746" y="5973133"/>
            <a:ext cx="224491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Prospective customer</a:t>
            </a:r>
          </a:p>
        </p:txBody>
      </p:sp>
      <p:sp>
        <p:nvSpPr>
          <p:cNvPr id="53" name="TextBox 52">
            <a:extLst>
              <a:ext uri="{FF2B5EF4-FFF2-40B4-BE49-F238E27FC236}">
                <a16:creationId xmlns:a16="http://schemas.microsoft.com/office/drawing/2014/main" id="{CC4EE2D9-6144-455E-97D3-A1D434E23D53}"/>
              </a:ext>
            </a:extLst>
          </p:cNvPr>
          <p:cNvSpPr txBox="1"/>
          <p:nvPr/>
        </p:nvSpPr>
        <p:spPr>
          <a:xfrm>
            <a:off x="9812900" y="5973133"/>
            <a:ext cx="180363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Known customer</a:t>
            </a:r>
          </a:p>
        </p:txBody>
      </p:sp>
      <p:pic>
        <p:nvPicPr>
          <p:cNvPr id="54" name="Picture 53">
            <a:extLst>
              <a:ext uri="{FF2B5EF4-FFF2-40B4-BE49-F238E27FC236}">
                <a16:creationId xmlns:a16="http://schemas.microsoft.com/office/drawing/2014/main" id="{51B31CCC-BEEC-435E-BAB7-82737CD1121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794571" y="2829570"/>
            <a:ext cx="391444" cy="391444"/>
          </a:xfrm>
          <a:prstGeom prst="rect">
            <a:avLst/>
          </a:prstGeom>
        </p:spPr>
      </p:pic>
      <p:grpSp>
        <p:nvGrpSpPr>
          <p:cNvPr id="55" name="Group 54">
            <a:extLst>
              <a:ext uri="{FF2B5EF4-FFF2-40B4-BE49-F238E27FC236}">
                <a16:creationId xmlns:a16="http://schemas.microsoft.com/office/drawing/2014/main" id="{C99F9F7A-7820-41E6-9682-841CB910513B}"/>
              </a:ext>
            </a:extLst>
          </p:cNvPr>
          <p:cNvGrpSpPr>
            <a:grpSpLocks noChangeAspect="1"/>
          </p:cNvGrpSpPr>
          <p:nvPr/>
        </p:nvGrpSpPr>
        <p:grpSpPr>
          <a:xfrm>
            <a:off x="6368177" y="4522556"/>
            <a:ext cx="371277" cy="411099"/>
            <a:chOff x="10648950" y="2771775"/>
            <a:chExt cx="503238" cy="557213"/>
          </a:xfrm>
          <a:solidFill>
            <a:schemeClr val="tx2"/>
          </a:solidFill>
        </p:grpSpPr>
        <p:sp>
          <p:nvSpPr>
            <p:cNvPr id="56" name="Freeform 204">
              <a:extLst>
                <a:ext uri="{FF2B5EF4-FFF2-40B4-BE49-F238E27FC236}">
                  <a16:creationId xmlns:a16="http://schemas.microsoft.com/office/drawing/2014/main" id="{7845AEFA-FB5E-4DCA-840F-3A9DA47CCE1B}"/>
                </a:ext>
              </a:extLst>
            </p:cNvPr>
            <p:cNvSpPr>
              <a:spLocks noEditPoints="1"/>
            </p:cNvSpPr>
            <p:nvPr/>
          </p:nvSpPr>
          <p:spPr bwMode="auto">
            <a:xfrm>
              <a:off x="10648950" y="2771775"/>
              <a:ext cx="503238" cy="557213"/>
            </a:xfrm>
            <a:custGeom>
              <a:avLst/>
              <a:gdLst>
                <a:gd name="T0" fmla="*/ 951 w 1268"/>
                <a:gd name="T1" fmla="*/ 102 h 1404"/>
                <a:gd name="T2" fmla="*/ 933 w 1268"/>
                <a:gd name="T3" fmla="*/ 49 h 1404"/>
                <a:gd name="T4" fmla="*/ 893 w 1268"/>
                <a:gd name="T5" fmla="*/ 14 h 1404"/>
                <a:gd name="T6" fmla="*/ 838 w 1268"/>
                <a:gd name="T7" fmla="*/ 0 h 1404"/>
                <a:gd name="T8" fmla="*/ 80 w 1268"/>
                <a:gd name="T9" fmla="*/ 5 h 1404"/>
                <a:gd name="T10" fmla="*/ 34 w 1268"/>
                <a:gd name="T11" fmla="*/ 33 h 1404"/>
                <a:gd name="T12" fmla="*/ 6 w 1268"/>
                <a:gd name="T13" fmla="*/ 79 h 1404"/>
                <a:gd name="T14" fmla="*/ 0 w 1268"/>
                <a:gd name="T15" fmla="*/ 1290 h 1404"/>
                <a:gd name="T16" fmla="*/ 14 w 1268"/>
                <a:gd name="T17" fmla="*/ 1345 h 1404"/>
                <a:gd name="T18" fmla="*/ 50 w 1268"/>
                <a:gd name="T19" fmla="*/ 1385 h 1404"/>
                <a:gd name="T20" fmla="*/ 103 w 1268"/>
                <a:gd name="T21" fmla="*/ 1404 h 1404"/>
                <a:gd name="T22" fmla="*/ 862 w 1268"/>
                <a:gd name="T23" fmla="*/ 1401 h 1404"/>
                <a:gd name="T24" fmla="*/ 911 w 1268"/>
                <a:gd name="T25" fmla="*/ 1379 h 1404"/>
                <a:gd name="T26" fmla="*/ 943 w 1268"/>
                <a:gd name="T27" fmla="*/ 1336 h 1404"/>
                <a:gd name="T28" fmla="*/ 951 w 1268"/>
                <a:gd name="T29" fmla="*/ 1253 h 1404"/>
                <a:gd name="T30" fmla="*/ 1018 w 1268"/>
                <a:gd name="T31" fmla="*/ 1313 h 1404"/>
                <a:gd name="T32" fmla="*/ 1034 w 1268"/>
                <a:gd name="T33" fmla="*/ 1310 h 1404"/>
                <a:gd name="T34" fmla="*/ 1044 w 1268"/>
                <a:gd name="T35" fmla="*/ 1295 h 1404"/>
                <a:gd name="T36" fmla="*/ 1038 w 1268"/>
                <a:gd name="T37" fmla="*/ 1275 h 1404"/>
                <a:gd name="T38" fmla="*/ 487 w 1268"/>
                <a:gd name="T39" fmla="*/ 715 h 1404"/>
                <a:gd name="T40" fmla="*/ 472 w 1268"/>
                <a:gd name="T41" fmla="*/ 652 h 1404"/>
                <a:gd name="T42" fmla="*/ 487 w 1268"/>
                <a:gd name="T43" fmla="*/ 588 h 1404"/>
                <a:gd name="T44" fmla="*/ 520 w 1268"/>
                <a:gd name="T45" fmla="*/ 545 h 1404"/>
                <a:gd name="T46" fmla="*/ 579 w 1268"/>
                <a:gd name="T47" fmla="*/ 518 h 1404"/>
                <a:gd name="T48" fmla="*/ 644 w 1268"/>
                <a:gd name="T49" fmla="*/ 522 h 1404"/>
                <a:gd name="T50" fmla="*/ 702 w 1268"/>
                <a:gd name="T51" fmla="*/ 555 h 1404"/>
                <a:gd name="T52" fmla="*/ 1241 w 1268"/>
                <a:gd name="T53" fmla="*/ 1089 h 1404"/>
                <a:gd name="T54" fmla="*/ 1262 w 1268"/>
                <a:gd name="T55" fmla="*/ 1082 h 1404"/>
                <a:gd name="T56" fmla="*/ 1268 w 1268"/>
                <a:gd name="T57" fmla="*/ 1067 h 1404"/>
                <a:gd name="T58" fmla="*/ 1262 w 1268"/>
                <a:gd name="T59" fmla="*/ 1051 h 1404"/>
                <a:gd name="T60" fmla="*/ 455 w 1268"/>
                <a:gd name="T61" fmla="*/ 1288 h 1404"/>
                <a:gd name="T62" fmla="*/ 420 w 1268"/>
                <a:gd name="T63" fmla="*/ 1261 h 1404"/>
                <a:gd name="T64" fmla="*/ 409 w 1268"/>
                <a:gd name="T65" fmla="*/ 1230 h 1404"/>
                <a:gd name="T66" fmla="*/ 411 w 1268"/>
                <a:gd name="T67" fmla="*/ 1202 h 1404"/>
                <a:gd name="T68" fmla="*/ 438 w 1268"/>
                <a:gd name="T69" fmla="*/ 1166 h 1404"/>
                <a:gd name="T70" fmla="*/ 469 w 1268"/>
                <a:gd name="T71" fmla="*/ 1156 h 1404"/>
                <a:gd name="T72" fmla="*/ 496 w 1268"/>
                <a:gd name="T73" fmla="*/ 1158 h 1404"/>
                <a:gd name="T74" fmla="*/ 533 w 1268"/>
                <a:gd name="T75" fmla="*/ 1185 h 1404"/>
                <a:gd name="T76" fmla="*/ 544 w 1268"/>
                <a:gd name="T77" fmla="*/ 1216 h 1404"/>
                <a:gd name="T78" fmla="*/ 542 w 1268"/>
                <a:gd name="T79" fmla="*/ 1244 h 1404"/>
                <a:gd name="T80" fmla="*/ 515 w 1268"/>
                <a:gd name="T81" fmla="*/ 1280 h 1404"/>
                <a:gd name="T82" fmla="*/ 483 w 1268"/>
                <a:gd name="T83" fmla="*/ 1290 h 1404"/>
                <a:gd name="T84" fmla="*/ 735 w 1268"/>
                <a:gd name="T85" fmla="*/ 524 h 1404"/>
                <a:gd name="T86" fmla="*/ 659 w 1268"/>
                <a:gd name="T87" fmla="*/ 478 h 1404"/>
                <a:gd name="T88" fmla="*/ 573 w 1268"/>
                <a:gd name="T89" fmla="*/ 473 h 1404"/>
                <a:gd name="T90" fmla="*/ 494 w 1268"/>
                <a:gd name="T91" fmla="*/ 509 h 1404"/>
                <a:gd name="T92" fmla="*/ 195 w 1268"/>
                <a:gd name="T93" fmla="*/ 523 h 1404"/>
                <a:gd name="T94" fmla="*/ 183 w 1268"/>
                <a:gd name="T95" fmla="*/ 539 h 1404"/>
                <a:gd name="T96" fmla="*/ 184 w 1268"/>
                <a:gd name="T97" fmla="*/ 779 h 1404"/>
                <a:gd name="T98" fmla="*/ 200 w 1268"/>
                <a:gd name="T99" fmla="*/ 792 h 1404"/>
                <a:gd name="T100" fmla="*/ 46 w 1268"/>
                <a:gd name="T101" fmla="*/ 271 h 1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68" h="1404">
                  <a:moveTo>
                    <a:pt x="1262" y="1051"/>
                  </a:moveTo>
                  <a:lnTo>
                    <a:pt x="951" y="740"/>
                  </a:lnTo>
                  <a:lnTo>
                    <a:pt x="951" y="113"/>
                  </a:lnTo>
                  <a:lnTo>
                    <a:pt x="951" y="113"/>
                  </a:lnTo>
                  <a:lnTo>
                    <a:pt x="951" y="102"/>
                  </a:lnTo>
                  <a:lnTo>
                    <a:pt x="949" y="90"/>
                  </a:lnTo>
                  <a:lnTo>
                    <a:pt x="947" y="79"/>
                  </a:lnTo>
                  <a:lnTo>
                    <a:pt x="943" y="69"/>
                  </a:lnTo>
                  <a:lnTo>
                    <a:pt x="938" y="59"/>
                  </a:lnTo>
                  <a:lnTo>
                    <a:pt x="933" y="49"/>
                  </a:lnTo>
                  <a:lnTo>
                    <a:pt x="927" y="41"/>
                  </a:lnTo>
                  <a:lnTo>
                    <a:pt x="919" y="33"/>
                  </a:lnTo>
                  <a:lnTo>
                    <a:pt x="911" y="26"/>
                  </a:lnTo>
                  <a:lnTo>
                    <a:pt x="902" y="19"/>
                  </a:lnTo>
                  <a:lnTo>
                    <a:pt x="893" y="14"/>
                  </a:lnTo>
                  <a:lnTo>
                    <a:pt x="883" y="9"/>
                  </a:lnTo>
                  <a:lnTo>
                    <a:pt x="873" y="5"/>
                  </a:lnTo>
                  <a:lnTo>
                    <a:pt x="862" y="3"/>
                  </a:lnTo>
                  <a:lnTo>
                    <a:pt x="850" y="1"/>
                  </a:lnTo>
                  <a:lnTo>
                    <a:pt x="838" y="0"/>
                  </a:lnTo>
                  <a:lnTo>
                    <a:pt x="113" y="0"/>
                  </a:lnTo>
                  <a:lnTo>
                    <a:pt x="113" y="0"/>
                  </a:lnTo>
                  <a:lnTo>
                    <a:pt x="103" y="1"/>
                  </a:lnTo>
                  <a:lnTo>
                    <a:pt x="91" y="3"/>
                  </a:lnTo>
                  <a:lnTo>
                    <a:pt x="80" y="5"/>
                  </a:lnTo>
                  <a:lnTo>
                    <a:pt x="69" y="9"/>
                  </a:lnTo>
                  <a:lnTo>
                    <a:pt x="60" y="14"/>
                  </a:lnTo>
                  <a:lnTo>
                    <a:pt x="50" y="19"/>
                  </a:lnTo>
                  <a:lnTo>
                    <a:pt x="41" y="26"/>
                  </a:lnTo>
                  <a:lnTo>
                    <a:pt x="34" y="33"/>
                  </a:lnTo>
                  <a:lnTo>
                    <a:pt x="26" y="41"/>
                  </a:lnTo>
                  <a:lnTo>
                    <a:pt x="20" y="49"/>
                  </a:lnTo>
                  <a:lnTo>
                    <a:pt x="14" y="59"/>
                  </a:lnTo>
                  <a:lnTo>
                    <a:pt x="10" y="69"/>
                  </a:lnTo>
                  <a:lnTo>
                    <a:pt x="6" y="79"/>
                  </a:lnTo>
                  <a:lnTo>
                    <a:pt x="4" y="90"/>
                  </a:lnTo>
                  <a:lnTo>
                    <a:pt x="1" y="102"/>
                  </a:lnTo>
                  <a:lnTo>
                    <a:pt x="0" y="113"/>
                  </a:lnTo>
                  <a:lnTo>
                    <a:pt x="0" y="1290"/>
                  </a:lnTo>
                  <a:lnTo>
                    <a:pt x="0" y="1290"/>
                  </a:lnTo>
                  <a:lnTo>
                    <a:pt x="1" y="1302"/>
                  </a:lnTo>
                  <a:lnTo>
                    <a:pt x="4" y="1314"/>
                  </a:lnTo>
                  <a:lnTo>
                    <a:pt x="6" y="1325"/>
                  </a:lnTo>
                  <a:lnTo>
                    <a:pt x="10" y="1336"/>
                  </a:lnTo>
                  <a:lnTo>
                    <a:pt x="14" y="1345"/>
                  </a:lnTo>
                  <a:lnTo>
                    <a:pt x="20" y="1355"/>
                  </a:lnTo>
                  <a:lnTo>
                    <a:pt x="26" y="1364"/>
                  </a:lnTo>
                  <a:lnTo>
                    <a:pt x="34" y="1371"/>
                  </a:lnTo>
                  <a:lnTo>
                    <a:pt x="41" y="1379"/>
                  </a:lnTo>
                  <a:lnTo>
                    <a:pt x="50" y="1385"/>
                  </a:lnTo>
                  <a:lnTo>
                    <a:pt x="60" y="1391"/>
                  </a:lnTo>
                  <a:lnTo>
                    <a:pt x="69" y="1395"/>
                  </a:lnTo>
                  <a:lnTo>
                    <a:pt x="80" y="1399"/>
                  </a:lnTo>
                  <a:lnTo>
                    <a:pt x="91" y="1401"/>
                  </a:lnTo>
                  <a:lnTo>
                    <a:pt x="103" y="1404"/>
                  </a:lnTo>
                  <a:lnTo>
                    <a:pt x="113" y="1404"/>
                  </a:lnTo>
                  <a:lnTo>
                    <a:pt x="838" y="1404"/>
                  </a:lnTo>
                  <a:lnTo>
                    <a:pt x="838" y="1404"/>
                  </a:lnTo>
                  <a:lnTo>
                    <a:pt x="850" y="1404"/>
                  </a:lnTo>
                  <a:lnTo>
                    <a:pt x="862" y="1401"/>
                  </a:lnTo>
                  <a:lnTo>
                    <a:pt x="873" y="1399"/>
                  </a:lnTo>
                  <a:lnTo>
                    <a:pt x="883" y="1395"/>
                  </a:lnTo>
                  <a:lnTo>
                    <a:pt x="893" y="1391"/>
                  </a:lnTo>
                  <a:lnTo>
                    <a:pt x="902" y="1385"/>
                  </a:lnTo>
                  <a:lnTo>
                    <a:pt x="911" y="1379"/>
                  </a:lnTo>
                  <a:lnTo>
                    <a:pt x="919" y="1371"/>
                  </a:lnTo>
                  <a:lnTo>
                    <a:pt x="927" y="1364"/>
                  </a:lnTo>
                  <a:lnTo>
                    <a:pt x="933" y="1355"/>
                  </a:lnTo>
                  <a:lnTo>
                    <a:pt x="938" y="1345"/>
                  </a:lnTo>
                  <a:lnTo>
                    <a:pt x="943" y="1336"/>
                  </a:lnTo>
                  <a:lnTo>
                    <a:pt x="947" y="1325"/>
                  </a:lnTo>
                  <a:lnTo>
                    <a:pt x="949" y="1314"/>
                  </a:lnTo>
                  <a:lnTo>
                    <a:pt x="951" y="1302"/>
                  </a:lnTo>
                  <a:lnTo>
                    <a:pt x="951" y="1290"/>
                  </a:lnTo>
                  <a:lnTo>
                    <a:pt x="951" y="1253"/>
                  </a:lnTo>
                  <a:lnTo>
                    <a:pt x="1006" y="1307"/>
                  </a:lnTo>
                  <a:lnTo>
                    <a:pt x="1006" y="1307"/>
                  </a:lnTo>
                  <a:lnTo>
                    <a:pt x="1010" y="1310"/>
                  </a:lnTo>
                  <a:lnTo>
                    <a:pt x="1014" y="1312"/>
                  </a:lnTo>
                  <a:lnTo>
                    <a:pt x="1018" y="1313"/>
                  </a:lnTo>
                  <a:lnTo>
                    <a:pt x="1023" y="1313"/>
                  </a:lnTo>
                  <a:lnTo>
                    <a:pt x="1023" y="1313"/>
                  </a:lnTo>
                  <a:lnTo>
                    <a:pt x="1026" y="1313"/>
                  </a:lnTo>
                  <a:lnTo>
                    <a:pt x="1030" y="1312"/>
                  </a:lnTo>
                  <a:lnTo>
                    <a:pt x="1034" y="1310"/>
                  </a:lnTo>
                  <a:lnTo>
                    <a:pt x="1038" y="1307"/>
                  </a:lnTo>
                  <a:lnTo>
                    <a:pt x="1038" y="1307"/>
                  </a:lnTo>
                  <a:lnTo>
                    <a:pt x="1041" y="1303"/>
                  </a:lnTo>
                  <a:lnTo>
                    <a:pt x="1043" y="1299"/>
                  </a:lnTo>
                  <a:lnTo>
                    <a:pt x="1044" y="1295"/>
                  </a:lnTo>
                  <a:lnTo>
                    <a:pt x="1045" y="1290"/>
                  </a:lnTo>
                  <a:lnTo>
                    <a:pt x="1044" y="1287"/>
                  </a:lnTo>
                  <a:lnTo>
                    <a:pt x="1043" y="1283"/>
                  </a:lnTo>
                  <a:lnTo>
                    <a:pt x="1041" y="1278"/>
                  </a:lnTo>
                  <a:lnTo>
                    <a:pt x="1038" y="1275"/>
                  </a:lnTo>
                  <a:lnTo>
                    <a:pt x="510" y="747"/>
                  </a:lnTo>
                  <a:lnTo>
                    <a:pt x="510" y="747"/>
                  </a:lnTo>
                  <a:lnTo>
                    <a:pt x="501" y="737"/>
                  </a:lnTo>
                  <a:lnTo>
                    <a:pt x="493" y="726"/>
                  </a:lnTo>
                  <a:lnTo>
                    <a:pt x="487" y="715"/>
                  </a:lnTo>
                  <a:lnTo>
                    <a:pt x="481" y="703"/>
                  </a:lnTo>
                  <a:lnTo>
                    <a:pt x="477" y="691"/>
                  </a:lnTo>
                  <a:lnTo>
                    <a:pt x="474" y="678"/>
                  </a:lnTo>
                  <a:lnTo>
                    <a:pt x="472" y="665"/>
                  </a:lnTo>
                  <a:lnTo>
                    <a:pt x="472" y="652"/>
                  </a:lnTo>
                  <a:lnTo>
                    <a:pt x="472" y="639"/>
                  </a:lnTo>
                  <a:lnTo>
                    <a:pt x="474" y="626"/>
                  </a:lnTo>
                  <a:lnTo>
                    <a:pt x="477" y="613"/>
                  </a:lnTo>
                  <a:lnTo>
                    <a:pt x="481" y="600"/>
                  </a:lnTo>
                  <a:lnTo>
                    <a:pt x="487" y="588"/>
                  </a:lnTo>
                  <a:lnTo>
                    <a:pt x="493" y="577"/>
                  </a:lnTo>
                  <a:lnTo>
                    <a:pt x="501" y="566"/>
                  </a:lnTo>
                  <a:lnTo>
                    <a:pt x="510" y="555"/>
                  </a:lnTo>
                  <a:lnTo>
                    <a:pt x="510" y="555"/>
                  </a:lnTo>
                  <a:lnTo>
                    <a:pt x="520" y="545"/>
                  </a:lnTo>
                  <a:lnTo>
                    <a:pt x="531" y="538"/>
                  </a:lnTo>
                  <a:lnTo>
                    <a:pt x="543" y="531"/>
                  </a:lnTo>
                  <a:lnTo>
                    <a:pt x="555" y="526"/>
                  </a:lnTo>
                  <a:lnTo>
                    <a:pt x="567" y="522"/>
                  </a:lnTo>
                  <a:lnTo>
                    <a:pt x="579" y="518"/>
                  </a:lnTo>
                  <a:lnTo>
                    <a:pt x="592" y="516"/>
                  </a:lnTo>
                  <a:lnTo>
                    <a:pt x="605" y="516"/>
                  </a:lnTo>
                  <a:lnTo>
                    <a:pt x="618" y="516"/>
                  </a:lnTo>
                  <a:lnTo>
                    <a:pt x="632" y="518"/>
                  </a:lnTo>
                  <a:lnTo>
                    <a:pt x="644" y="522"/>
                  </a:lnTo>
                  <a:lnTo>
                    <a:pt x="657" y="526"/>
                  </a:lnTo>
                  <a:lnTo>
                    <a:pt x="669" y="531"/>
                  </a:lnTo>
                  <a:lnTo>
                    <a:pt x="681" y="538"/>
                  </a:lnTo>
                  <a:lnTo>
                    <a:pt x="693" y="545"/>
                  </a:lnTo>
                  <a:lnTo>
                    <a:pt x="702" y="555"/>
                  </a:lnTo>
                  <a:lnTo>
                    <a:pt x="1231" y="1082"/>
                  </a:lnTo>
                  <a:lnTo>
                    <a:pt x="1231" y="1082"/>
                  </a:lnTo>
                  <a:lnTo>
                    <a:pt x="1234" y="1085"/>
                  </a:lnTo>
                  <a:lnTo>
                    <a:pt x="1238" y="1088"/>
                  </a:lnTo>
                  <a:lnTo>
                    <a:pt x="1241" y="1089"/>
                  </a:lnTo>
                  <a:lnTo>
                    <a:pt x="1246" y="1090"/>
                  </a:lnTo>
                  <a:lnTo>
                    <a:pt x="1250" y="1089"/>
                  </a:lnTo>
                  <a:lnTo>
                    <a:pt x="1254" y="1088"/>
                  </a:lnTo>
                  <a:lnTo>
                    <a:pt x="1259" y="1085"/>
                  </a:lnTo>
                  <a:lnTo>
                    <a:pt x="1262" y="1082"/>
                  </a:lnTo>
                  <a:lnTo>
                    <a:pt x="1262" y="1082"/>
                  </a:lnTo>
                  <a:lnTo>
                    <a:pt x="1265" y="1079"/>
                  </a:lnTo>
                  <a:lnTo>
                    <a:pt x="1267" y="1075"/>
                  </a:lnTo>
                  <a:lnTo>
                    <a:pt x="1268" y="1070"/>
                  </a:lnTo>
                  <a:lnTo>
                    <a:pt x="1268" y="1067"/>
                  </a:lnTo>
                  <a:lnTo>
                    <a:pt x="1268" y="1063"/>
                  </a:lnTo>
                  <a:lnTo>
                    <a:pt x="1267" y="1059"/>
                  </a:lnTo>
                  <a:lnTo>
                    <a:pt x="1265" y="1054"/>
                  </a:lnTo>
                  <a:lnTo>
                    <a:pt x="1262" y="1051"/>
                  </a:lnTo>
                  <a:lnTo>
                    <a:pt x="1262" y="1051"/>
                  </a:lnTo>
                  <a:close/>
                  <a:moveTo>
                    <a:pt x="476" y="1290"/>
                  </a:moveTo>
                  <a:lnTo>
                    <a:pt x="476" y="1290"/>
                  </a:lnTo>
                  <a:lnTo>
                    <a:pt x="469" y="1290"/>
                  </a:lnTo>
                  <a:lnTo>
                    <a:pt x="462" y="1289"/>
                  </a:lnTo>
                  <a:lnTo>
                    <a:pt x="455" y="1288"/>
                  </a:lnTo>
                  <a:lnTo>
                    <a:pt x="450" y="1286"/>
                  </a:lnTo>
                  <a:lnTo>
                    <a:pt x="443" y="1283"/>
                  </a:lnTo>
                  <a:lnTo>
                    <a:pt x="438" y="1280"/>
                  </a:lnTo>
                  <a:lnTo>
                    <a:pt x="428" y="1271"/>
                  </a:lnTo>
                  <a:lnTo>
                    <a:pt x="420" y="1261"/>
                  </a:lnTo>
                  <a:lnTo>
                    <a:pt x="417" y="1256"/>
                  </a:lnTo>
                  <a:lnTo>
                    <a:pt x="413" y="1249"/>
                  </a:lnTo>
                  <a:lnTo>
                    <a:pt x="411" y="1244"/>
                  </a:lnTo>
                  <a:lnTo>
                    <a:pt x="410" y="1236"/>
                  </a:lnTo>
                  <a:lnTo>
                    <a:pt x="409" y="1230"/>
                  </a:lnTo>
                  <a:lnTo>
                    <a:pt x="408" y="1222"/>
                  </a:lnTo>
                  <a:lnTo>
                    <a:pt x="408" y="1222"/>
                  </a:lnTo>
                  <a:lnTo>
                    <a:pt x="409" y="1216"/>
                  </a:lnTo>
                  <a:lnTo>
                    <a:pt x="410" y="1209"/>
                  </a:lnTo>
                  <a:lnTo>
                    <a:pt x="411" y="1202"/>
                  </a:lnTo>
                  <a:lnTo>
                    <a:pt x="413" y="1197"/>
                  </a:lnTo>
                  <a:lnTo>
                    <a:pt x="417" y="1190"/>
                  </a:lnTo>
                  <a:lnTo>
                    <a:pt x="420" y="1185"/>
                  </a:lnTo>
                  <a:lnTo>
                    <a:pt x="428" y="1175"/>
                  </a:lnTo>
                  <a:lnTo>
                    <a:pt x="438" y="1166"/>
                  </a:lnTo>
                  <a:lnTo>
                    <a:pt x="443" y="1163"/>
                  </a:lnTo>
                  <a:lnTo>
                    <a:pt x="450" y="1160"/>
                  </a:lnTo>
                  <a:lnTo>
                    <a:pt x="455" y="1158"/>
                  </a:lnTo>
                  <a:lnTo>
                    <a:pt x="462" y="1157"/>
                  </a:lnTo>
                  <a:lnTo>
                    <a:pt x="469" y="1156"/>
                  </a:lnTo>
                  <a:lnTo>
                    <a:pt x="476" y="1154"/>
                  </a:lnTo>
                  <a:lnTo>
                    <a:pt x="476" y="1154"/>
                  </a:lnTo>
                  <a:lnTo>
                    <a:pt x="483" y="1156"/>
                  </a:lnTo>
                  <a:lnTo>
                    <a:pt x="490" y="1157"/>
                  </a:lnTo>
                  <a:lnTo>
                    <a:pt x="496" y="1158"/>
                  </a:lnTo>
                  <a:lnTo>
                    <a:pt x="503" y="1160"/>
                  </a:lnTo>
                  <a:lnTo>
                    <a:pt x="509" y="1163"/>
                  </a:lnTo>
                  <a:lnTo>
                    <a:pt x="515" y="1166"/>
                  </a:lnTo>
                  <a:lnTo>
                    <a:pt x="524" y="1175"/>
                  </a:lnTo>
                  <a:lnTo>
                    <a:pt x="533" y="1185"/>
                  </a:lnTo>
                  <a:lnTo>
                    <a:pt x="536" y="1190"/>
                  </a:lnTo>
                  <a:lnTo>
                    <a:pt x="539" y="1197"/>
                  </a:lnTo>
                  <a:lnTo>
                    <a:pt x="542" y="1202"/>
                  </a:lnTo>
                  <a:lnTo>
                    <a:pt x="543" y="1209"/>
                  </a:lnTo>
                  <a:lnTo>
                    <a:pt x="544" y="1216"/>
                  </a:lnTo>
                  <a:lnTo>
                    <a:pt x="544" y="1222"/>
                  </a:lnTo>
                  <a:lnTo>
                    <a:pt x="544" y="1222"/>
                  </a:lnTo>
                  <a:lnTo>
                    <a:pt x="544" y="1230"/>
                  </a:lnTo>
                  <a:lnTo>
                    <a:pt x="543" y="1236"/>
                  </a:lnTo>
                  <a:lnTo>
                    <a:pt x="542" y="1244"/>
                  </a:lnTo>
                  <a:lnTo>
                    <a:pt x="539" y="1249"/>
                  </a:lnTo>
                  <a:lnTo>
                    <a:pt x="536" y="1256"/>
                  </a:lnTo>
                  <a:lnTo>
                    <a:pt x="533" y="1261"/>
                  </a:lnTo>
                  <a:lnTo>
                    <a:pt x="524" y="1271"/>
                  </a:lnTo>
                  <a:lnTo>
                    <a:pt x="515" y="1280"/>
                  </a:lnTo>
                  <a:lnTo>
                    <a:pt x="509" y="1283"/>
                  </a:lnTo>
                  <a:lnTo>
                    <a:pt x="503" y="1286"/>
                  </a:lnTo>
                  <a:lnTo>
                    <a:pt x="496" y="1288"/>
                  </a:lnTo>
                  <a:lnTo>
                    <a:pt x="490" y="1289"/>
                  </a:lnTo>
                  <a:lnTo>
                    <a:pt x="483" y="1290"/>
                  </a:lnTo>
                  <a:lnTo>
                    <a:pt x="476" y="1290"/>
                  </a:lnTo>
                  <a:lnTo>
                    <a:pt x="476" y="1290"/>
                  </a:lnTo>
                  <a:close/>
                  <a:moveTo>
                    <a:pt x="906" y="695"/>
                  </a:moveTo>
                  <a:lnTo>
                    <a:pt x="735" y="524"/>
                  </a:lnTo>
                  <a:lnTo>
                    <a:pt x="735" y="524"/>
                  </a:lnTo>
                  <a:lnTo>
                    <a:pt x="721" y="511"/>
                  </a:lnTo>
                  <a:lnTo>
                    <a:pt x="707" y="500"/>
                  </a:lnTo>
                  <a:lnTo>
                    <a:pt x="692" y="491"/>
                  </a:lnTo>
                  <a:lnTo>
                    <a:pt x="675" y="484"/>
                  </a:lnTo>
                  <a:lnTo>
                    <a:pt x="659" y="478"/>
                  </a:lnTo>
                  <a:lnTo>
                    <a:pt x="642" y="474"/>
                  </a:lnTo>
                  <a:lnTo>
                    <a:pt x="625" y="471"/>
                  </a:lnTo>
                  <a:lnTo>
                    <a:pt x="607" y="470"/>
                  </a:lnTo>
                  <a:lnTo>
                    <a:pt x="590" y="471"/>
                  </a:lnTo>
                  <a:lnTo>
                    <a:pt x="573" y="473"/>
                  </a:lnTo>
                  <a:lnTo>
                    <a:pt x="557" y="477"/>
                  </a:lnTo>
                  <a:lnTo>
                    <a:pt x="541" y="483"/>
                  </a:lnTo>
                  <a:lnTo>
                    <a:pt x="524" y="490"/>
                  </a:lnTo>
                  <a:lnTo>
                    <a:pt x="509" y="499"/>
                  </a:lnTo>
                  <a:lnTo>
                    <a:pt x="494" y="509"/>
                  </a:lnTo>
                  <a:lnTo>
                    <a:pt x="481" y="520"/>
                  </a:lnTo>
                  <a:lnTo>
                    <a:pt x="204" y="520"/>
                  </a:lnTo>
                  <a:lnTo>
                    <a:pt x="204" y="520"/>
                  </a:lnTo>
                  <a:lnTo>
                    <a:pt x="200" y="522"/>
                  </a:lnTo>
                  <a:lnTo>
                    <a:pt x="195" y="523"/>
                  </a:lnTo>
                  <a:lnTo>
                    <a:pt x="191" y="525"/>
                  </a:lnTo>
                  <a:lnTo>
                    <a:pt x="188" y="527"/>
                  </a:lnTo>
                  <a:lnTo>
                    <a:pt x="186" y="530"/>
                  </a:lnTo>
                  <a:lnTo>
                    <a:pt x="184" y="534"/>
                  </a:lnTo>
                  <a:lnTo>
                    <a:pt x="183" y="539"/>
                  </a:lnTo>
                  <a:lnTo>
                    <a:pt x="181" y="543"/>
                  </a:lnTo>
                  <a:lnTo>
                    <a:pt x="181" y="770"/>
                  </a:lnTo>
                  <a:lnTo>
                    <a:pt x="181" y="770"/>
                  </a:lnTo>
                  <a:lnTo>
                    <a:pt x="183" y="775"/>
                  </a:lnTo>
                  <a:lnTo>
                    <a:pt x="184" y="779"/>
                  </a:lnTo>
                  <a:lnTo>
                    <a:pt x="186" y="784"/>
                  </a:lnTo>
                  <a:lnTo>
                    <a:pt x="188" y="787"/>
                  </a:lnTo>
                  <a:lnTo>
                    <a:pt x="191" y="789"/>
                  </a:lnTo>
                  <a:lnTo>
                    <a:pt x="195" y="791"/>
                  </a:lnTo>
                  <a:lnTo>
                    <a:pt x="200" y="792"/>
                  </a:lnTo>
                  <a:lnTo>
                    <a:pt x="204" y="792"/>
                  </a:lnTo>
                  <a:lnTo>
                    <a:pt x="492" y="792"/>
                  </a:lnTo>
                  <a:lnTo>
                    <a:pt x="741" y="1041"/>
                  </a:lnTo>
                  <a:lnTo>
                    <a:pt x="46" y="1041"/>
                  </a:lnTo>
                  <a:lnTo>
                    <a:pt x="46" y="271"/>
                  </a:lnTo>
                  <a:lnTo>
                    <a:pt x="906" y="271"/>
                  </a:lnTo>
                  <a:lnTo>
                    <a:pt x="906" y="69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7" name="Freeform 206">
              <a:extLst>
                <a:ext uri="{FF2B5EF4-FFF2-40B4-BE49-F238E27FC236}">
                  <a16:creationId xmlns:a16="http://schemas.microsoft.com/office/drawing/2014/main" id="{D5C56A2E-7D5B-4791-BAA7-7B8239EAE5B6}"/>
                </a:ext>
              </a:extLst>
            </p:cNvPr>
            <p:cNvSpPr>
              <a:spLocks/>
            </p:cNvSpPr>
            <p:nvPr/>
          </p:nvSpPr>
          <p:spPr bwMode="auto">
            <a:xfrm>
              <a:off x="10891838" y="3032125"/>
              <a:ext cx="34925" cy="34925"/>
            </a:xfrm>
            <a:custGeom>
              <a:avLst/>
              <a:gdLst>
                <a:gd name="T0" fmla="*/ 53 w 90"/>
                <a:gd name="T1" fmla="*/ 8 h 91"/>
                <a:gd name="T2" fmla="*/ 7 w 90"/>
                <a:gd name="T3" fmla="*/ 53 h 91"/>
                <a:gd name="T4" fmla="*/ 7 w 90"/>
                <a:gd name="T5" fmla="*/ 53 h 91"/>
                <a:gd name="T6" fmla="*/ 4 w 90"/>
                <a:gd name="T7" fmla="*/ 56 h 91"/>
                <a:gd name="T8" fmla="*/ 2 w 90"/>
                <a:gd name="T9" fmla="*/ 61 h 91"/>
                <a:gd name="T10" fmla="*/ 1 w 90"/>
                <a:gd name="T11" fmla="*/ 65 h 91"/>
                <a:gd name="T12" fmla="*/ 0 w 90"/>
                <a:gd name="T13" fmla="*/ 68 h 91"/>
                <a:gd name="T14" fmla="*/ 1 w 90"/>
                <a:gd name="T15" fmla="*/ 73 h 91"/>
                <a:gd name="T16" fmla="*/ 2 w 90"/>
                <a:gd name="T17" fmla="*/ 77 h 91"/>
                <a:gd name="T18" fmla="*/ 4 w 90"/>
                <a:gd name="T19" fmla="*/ 81 h 91"/>
                <a:gd name="T20" fmla="*/ 7 w 90"/>
                <a:gd name="T21" fmla="*/ 84 h 91"/>
                <a:gd name="T22" fmla="*/ 7 w 90"/>
                <a:gd name="T23" fmla="*/ 84 h 91"/>
                <a:gd name="T24" fmla="*/ 10 w 90"/>
                <a:gd name="T25" fmla="*/ 88 h 91"/>
                <a:gd name="T26" fmla="*/ 15 w 90"/>
                <a:gd name="T27" fmla="*/ 90 h 91"/>
                <a:gd name="T28" fmla="*/ 19 w 90"/>
                <a:gd name="T29" fmla="*/ 91 h 91"/>
                <a:gd name="T30" fmla="*/ 22 w 90"/>
                <a:gd name="T31" fmla="*/ 91 h 91"/>
                <a:gd name="T32" fmla="*/ 22 w 90"/>
                <a:gd name="T33" fmla="*/ 91 h 91"/>
                <a:gd name="T34" fmla="*/ 27 w 90"/>
                <a:gd name="T35" fmla="*/ 91 h 91"/>
                <a:gd name="T36" fmla="*/ 31 w 90"/>
                <a:gd name="T37" fmla="*/ 90 h 91"/>
                <a:gd name="T38" fmla="*/ 35 w 90"/>
                <a:gd name="T39" fmla="*/ 88 h 91"/>
                <a:gd name="T40" fmla="*/ 39 w 90"/>
                <a:gd name="T41" fmla="*/ 84 h 91"/>
                <a:gd name="T42" fmla="*/ 84 w 90"/>
                <a:gd name="T43" fmla="*/ 39 h 91"/>
                <a:gd name="T44" fmla="*/ 84 w 90"/>
                <a:gd name="T45" fmla="*/ 39 h 91"/>
                <a:gd name="T46" fmla="*/ 87 w 90"/>
                <a:gd name="T47" fmla="*/ 36 h 91"/>
                <a:gd name="T48" fmla="*/ 89 w 90"/>
                <a:gd name="T49" fmla="*/ 32 h 91"/>
                <a:gd name="T50" fmla="*/ 90 w 90"/>
                <a:gd name="T51" fmla="*/ 27 h 91"/>
                <a:gd name="T52" fmla="*/ 90 w 90"/>
                <a:gd name="T53" fmla="*/ 23 h 91"/>
                <a:gd name="T54" fmla="*/ 90 w 90"/>
                <a:gd name="T55" fmla="*/ 20 h 91"/>
                <a:gd name="T56" fmla="*/ 89 w 90"/>
                <a:gd name="T57" fmla="*/ 15 h 91"/>
                <a:gd name="T58" fmla="*/ 87 w 90"/>
                <a:gd name="T59" fmla="*/ 11 h 91"/>
                <a:gd name="T60" fmla="*/ 84 w 90"/>
                <a:gd name="T61" fmla="*/ 8 h 91"/>
                <a:gd name="T62" fmla="*/ 84 w 90"/>
                <a:gd name="T63" fmla="*/ 8 h 91"/>
                <a:gd name="T64" fmla="*/ 81 w 90"/>
                <a:gd name="T65" fmla="*/ 5 h 91"/>
                <a:gd name="T66" fmla="*/ 76 w 90"/>
                <a:gd name="T67" fmla="*/ 2 h 91"/>
                <a:gd name="T68" fmla="*/ 72 w 90"/>
                <a:gd name="T69" fmla="*/ 1 h 91"/>
                <a:gd name="T70" fmla="*/ 68 w 90"/>
                <a:gd name="T71" fmla="*/ 0 h 91"/>
                <a:gd name="T72" fmla="*/ 63 w 90"/>
                <a:gd name="T73" fmla="*/ 1 h 91"/>
                <a:gd name="T74" fmla="*/ 60 w 90"/>
                <a:gd name="T75" fmla="*/ 2 h 91"/>
                <a:gd name="T76" fmla="*/ 56 w 90"/>
                <a:gd name="T77" fmla="*/ 5 h 91"/>
                <a:gd name="T78" fmla="*/ 53 w 90"/>
                <a:gd name="T79" fmla="*/ 8 h 91"/>
                <a:gd name="T80" fmla="*/ 53 w 90"/>
                <a:gd name="T81" fmla="*/ 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0" h="91">
                  <a:moveTo>
                    <a:pt x="53" y="8"/>
                  </a:moveTo>
                  <a:lnTo>
                    <a:pt x="7" y="53"/>
                  </a:lnTo>
                  <a:lnTo>
                    <a:pt x="7" y="53"/>
                  </a:lnTo>
                  <a:lnTo>
                    <a:pt x="4" y="56"/>
                  </a:lnTo>
                  <a:lnTo>
                    <a:pt x="2" y="61"/>
                  </a:lnTo>
                  <a:lnTo>
                    <a:pt x="1" y="65"/>
                  </a:lnTo>
                  <a:lnTo>
                    <a:pt x="0" y="68"/>
                  </a:lnTo>
                  <a:lnTo>
                    <a:pt x="1" y="73"/>
                  </a:lnTo>
                  <a:lnTo>
                    <a:pt x="2" y="77"/>
                  </a:lnTo>
                  <a:lnTo>
                    <a:pt x="4" y="81"/>
                  </a:lnTo>
                  <a:lnTo>
                    <a:pt x="7" y="84"/>
                  </a:lnTo>
                  <a:lnTo>
                    <a:pt x="7" y="84"/>
                  </a:lnTo>
                  <a:lnTo>
                    <a:pt x="10" y="88"/>
                  </a:lnTo>
                  <a:lnTo>
                    <a:pt x="15" y="90"/>
                  </a:lnTo>
                  <a:lnTo>
                    <a:pt x="19" y="91"/>
                  </a:lnTo>
                  <a:lnTo>
                    <a:pt x="22" y="91"/>
                  </a:lnTo>
                  <a:lnTo>
                    <a:pt x="22" y="91"/>
                  </a:lnTo>
                  <a:lnTo>
                    <a:pt x="27" y="91"/>
                  </a:lnTo>
                  <a:lnTo>
                    <a:pt x="31" y="90"/>
                  </a:lnTo>
                  <a:lnTo>
                    <a:pt x="35" y="88"/>
                  </a:lnTo>
                  <a:lnTo>
                    <a:pt x="39" y="84"/>
                  </a:lnTo>
                  <a:lnTo>
                    <a:pt x="84" y="39"/>
                  </a:lnTo>
                  <a:lnTo>
                    <a:pt x="84" y="39"/>
                  </a:lnTo>
                  <a:lnTo>
                    <a:pt x="87" y="36"/>
                  </a:lnTo>
                  <a:lnTo>
                    <a:pt x="89" y="32"/>
                  </a:lnTo>
                  <a:lnTo>
                    <a:pt x="90" y="27"/>
                  </a:lnTo>
                  <a:lnTo>
                    <a:pt x="90" y="23"/>
                  </a:lnTo>
                  <a:lnTo>
                    <a:pt x="90" y="20"/>
                  </a:lnTo>
                  <a:lnTo>
                    <a:pt x="89" y="15"/>
                  </a:lnTo>
                  <a:lnTo>
                    <a:pt x="87" y="11"/>
                  </a:lnTo>
                  <a:lnTo>
                    <a:pt x="84" y="8"/>
                  </a:lnTo>
                  <a:lnTo>
                    <a:pt x="84" y="8"/>
                  </a:lnTo>
                  <a:lnTo>
                    <a:pt x="81" y="5"/>
                  </a:lnTo>
                  <a:lnTo>
                    <a:pt x="76" y="2"/>
                  </a:lnTo>
                  <a:lnTo>
                    <a:pt x="72" y="1"/>
                  </a:lnTo>
                  <a:lnTo>
                    <a:pt x="68" y="0"/>
                  </a:lnTo>
                  <a:lnTo>
                    <a:pt x="63" y="1"/>
                  </a:lnTo>
                  <a:lnTo>
                    <a:pt x="60" y="2"/>
                  </a:lnTo>
                  <a:lnTo>
                    <a:pt x="56" y="5"/>
                  </a:lnTo>
                  <a:lnTo>
                    <a:pt x="53" y="8"/>
                  </a:lnTo>
                  <a:lnTo>
                    <a:pt x="53" y="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58" name="Group 57">
            <a:extLst>
              <a:ext uri="{FF2B5EF4-FFF2-40B4-BE49-F238E27FC236}">
                <a16:creationId xmlns:a16="http://schemas.microsoft.com/office/drawing/2014/main" id="{EBDA701E-1D3F-4C5C-849B-FBFF39489155}"/>
              </a:ext>
            </a:extLst>
          </p:cNvPr>
          <p:cNvGrpSpPr>
            <a:grpSpLocks noChangeAspect="1"/>
          </p:cNvGrpSpPr>
          <p:nvPr/>
        </p:nvGrpSpPr>
        <p:grpSpPr>
          <a:xfrm>
            <a:off x="8852921" y="4496153"/>
            <a:ext cx="344534" cy="395201"/>
            <a:chOff x="9764713" y="2771775"/>
            <a:chExt cx="485775" cy="557213"/>
          </a:xfrm>
          <a:solidFill>
            <a:schemeClr val="tx2"/>
          </a:solidFill>
        </p:grpSpPr>
        <p:sp>
          <p:nvSpPr>
            <p:cNvPr id="59" name="Freeform 200">
              <a:extLst>
                <a:ext uri="{FF2B5EF4-FFF2-40B4-BE49-F238E27FC236}">
                  <a16:creationId xmlns:a16="http://schemas.microsoft.com/office/drawing/2014/main" id="{B23D08E7-065E-4A7F-87AB-D2BD98CFB794}"/>
                </a:ext>
              </a:extLst>
            </p:cNvPr>
            <p:cNvSpPr>
              <a:spLocks/>
            </p:cNvSpPr>
            <p:nvPr/>
          </p:nvSpPr>
          <p:spPr bwMode="auto">
            <a:xfrm>
              <a:off x="10007600" y="3094038"/>
              <a:ext cx="71438" cy="73025"/>
            </a:xfrm>
            <a:custGeom>
              <a:avLst/>
              <a:gdLst>
                <a:gd name="T0" fmla="*/ 90 w 181"/>
                <a:gd name="T1" fmla="*/ 0 h 181"/>
                <a:gd name="T2" fmla="*/ 109 w 181"/>
                <a:gd name="T3" fmla="*/ 2 h 181"/>
                <a:gd name="T4" fmla="*/ 125 w 181"/>
                <a:gd name="T5" fmla="*/ 7 h 181"/>
                <a:gd name="T6" fmla="*/ 141 w 181"/>
                <a:gd name="T7" fmla="*/ 16 h 181"/>
                <a:gd name="T8" fmla="*/ 154 w 181"/>
                <a:gd name="T9" fmla="*/ 27 h 181"/>
                <a:gd name="T10" fmla="*/ 165 w 181"/>
                <a:gd name="T11" fmla="*/ 41 h 181"/>
                <a:gd name="T12" fmla="*/ 173 w 181"/>
                <a:gd name="T13" fmla="*/ 56 h 181"/>
                <a:gd name="T14" fmla="*/ 179 w 181"/>
                <a:gd name="T15" fmla="*/ 73 h 181"/>
                <a:gd name="T16" fmla="*/ 181 w 181"/>
                <a:gd name="T17" fmla="*/ 90 h 181"/>
                <a:gd name="T18" fmla="*/ 180 w 181"/>
                <a:gd name="T19" fmla="*/ 100 h 181"/>
                <a:gd name="T20" fmla="*/ 177 w 181"/>
                <a:gd name="T21" fmla="*/ 117 h 181"/>
                <a:gd name="T22" fmla="*/ 170 w 181"/>
                <a:gd name="T23" fmla="*/ 135 h 181"/>
                <a:gd name="T24" fmla="*/ 160 w 181"/>
                <a:gd name="T25" fmla="*/ 149 h 181"/>
                <a:gd name="T26" fmla="*/ 148 w 181"/>
                <a:gd name="T27" fmla="*/ 160 h 181"/>
                <a:gd name="T28" fmla="*/ 133 w 181"/>
                <a:gd name="T29" fmla="*/ 170 h 181"/>
                <a:gd name="T30" fmla="*/ 117 w 181"/>
                <a:gd name="T31" fmla="*/ 178 h 181"/>
                <a:gd name="T32" fmla="*/ 99 w 181"/>
                <a:gd name="T33" fmla="*/ 181 h 181"/>
                <a:gd name="T34" fmla="*/ 90 w 181"/>
                <a:gd name="T35" fmla="*/ 181 h 181"/>
                <a:gd name="T36" fmla="*/ 72 w 181"/>
                <a:gd name="T37" fmla="*/ 180 h 181"/>
                <a:gd name="T38" fmla="*/ 55 w 181"/>
                <a:gd name="T39" fmla="*/ 175 h 181"/>
                <a:gd name="T40" fmla="*/ 40 w 181"/>
                <a:gd name="T41" fmla="*/ 166 h 181"/>
                <a:gd name="T42" fmla="*/ 26 w 181"/>
                <a:gd name="T43" fmla="*/ 155 h 181"/>
                <a:gd name="T44" fmla="*/ 15 w 181"/>
                <a:gd name="T45" fmla="*/ 141 h 181"/>
                <a:gd name="T46" fmla="*/ 6 w 181"/>
                <a:gd name="T47" fmla="*/ 126 h 181"/>
                <a:gd name="T48" fmla="*/ 1 w 181"/>
                <a:gd name="T49" fmla="*/ 109 h 181"/>
                <a:gd name="T50" fmla="*/ 0 w 181"/>
                <a:gd name="T51" fmla="*/ 90 h 181"/>
                <a:gd name="T52" fmla="*/ 0 w 181"/>
                <a:gd name="T53" fmla="*/ 82 h 181"/>
                <a:gd name="T54" fmla="*/ 3 w 181"/>
                <a:gd name="T55" fmla="*/ 63 h 181"/>
                <a:gd name="T56" fmla="*/ 11 w 181"/>
                <a:gd name="T57" fmla="*/ 47 h 181"/>
                <a:gd name="T58" fmla="*/ 20 w 181"/>
                <a:gd name="T59" fmla="*/ 33 h 181"/>
                <a:gd name="T60" fmla="*/ 32 w 181"/>
                <a:gd name="T61" fmla="*/ 21 h 181"/>
                <a:gd name="T62" fmla="*/ 47 w 181"/>
                <a:gd name="T63" fmla="*/ 12 h 181"/>
                <a:gd name="T64" fmla="*/ 63 w 181"/>
                <a:gd name="T65" fmla="*/ 4 h 181"/>
                <a:gd name="T66" fmla="*/ 81 w 181"/>
                <a:gd name="T67" fmla="*/ 1 h 181"/>
                <a:gd name="T68" fmla="*/ 90 w 181"/>
                <a:gd name="T6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181">
                  <a:moveTo>
                    <a:pt x="90" y="0"/>
                  </a:moveTo>
                  <a:lnTo>
                    <a:pt x="90" y="0"/>
                  </a:lnTo>
                  <a:lnTo>
                    <a:pt x="99" y="1"/>
                  </a:lnTo>
                  <a:lnTo>
                    <a:pt x="109" y="2"/>
                  </a:lnTo>
                  <a:lnTo>
                    <a:pt x="117" y="4"/>
                  </a:lnTo>
                  <a:lnTo>
                    <a:pt x="125" y="7"/>
                  </a:lnTo>
                  <a:lnTo>
                    <a:pt x="133" y="12"/>
                  </a:lnTo>
                  <a:lnTo>
                    <a:pt x="141" y="16"/>
                  </a:lnTo>
                  <a:lnTo>
                    <a:pt x="148" y="21"/>
                  </a:lnTo>
                  <a:lnTo>
                    <a:pt x="154" y="27"/>
                  </a:lnTo>
                  <a:lnTo>
                    <a:pt x="160" y="33"/>
                  </a:lnTo>
                  <a:lnTo>
                    <a:pt x="165" y="41"/>
                  </a:lnTo>
                  <a:lnTo>
                    <a:pt x="170" y="47"/>
                  </a:lnTo>
                  <a:lnTo>
                    <a:pt x="173" y="56"/>
                  </a:lnTo>
                  <a:lnTo>
                    <a:pt x="177" y="63"/>
                  </a:lnTo>
                  <a:lnTo>
                    <a:pt x="179" y="73"/>
                  </a:lnTo>
                  <a:lnTo>
                    <a:pt x="180" y="82"/>
                  </a:lnTo>
                  <a:lnTo>
                    <a:pt x="181" y="90"/>
                  </a:lnTo>
                  <a:lnTo>
                    <a:pt x="181" y="90"/>
                  </a:lnTo>
                  <a:lnTo>
                    <a:pt x="180" y="100"/>
                  </a:lnTo>
                  <a:lnTo>
                    <a:pt x="179" y="109"/>
                  </a:lnTo>
                  <a:lnTo>
                    <a:pt x="177" y="117"/>
                  </a:lnTo>
                  <a:lnTo>
                    <a:pt x="173" y="126"/>
                  </a:lnTo>
                  <a:lnTo>
                    <a:pt x="170" y="135"/>
                  </a:lnTo>
                  <a:lnTo>
                    <a:pt x="165" y="141"/>
                  </a:lnTo>
                  <a:lnTo>
                    <a:pt x="160" y="149"/>
                  </a:lnTo>
                  <a:lnTo>
                    <a:pt x="154" y="155"/>
                  </a:lnTo>
                  <a:lnTo>
                    <a:pt x="148" y="160"/>
                  </a:lnTo>
                  <a:lnTo>
                    <a:pt x="141" y="166"/>
                  </a:lnTo>
                  <a:lnTo>
                    <a:pt x="133" y="170"/>
                  </a:lnTo>
                  <a:lnTo>
                    <a:pt x="125" y="175"/>
                  </a:lnTo>
                  <a:lnTo>
                    <a:pt x="117" y="178"/>
                  </a:lnTo>
                  <a:lnTo>
                    <a:pt x="109" y="180"/>
                  </a:lnTo>
                  <a:lnTo>
                    <a:pt x="99" y="181"/>
                  </a:lnTo>
                  <a:lnTo>
                    <a:pt x="90" y="181"/>
                  </a:lnTo>
                  <a:lnTo>
                    <a:pt x="90" y="181"/>
                  </a:lnTo>
                  <a:lnTo>
                    <a:pt x="81" y="181"/>
                  </a:lnTo>
                  <a:lnTo>
                    <a:pt x="72" y="180"/>
                  </a:lnTo>
                  <a:lnTo>
                    <a:pt x="63" y="178"/>
                  </a:lnTo>
                  <a:lnTo>
                    <a:pt x="55" y="175"/>
                  </a:lnTo>
                  <a:lnTo>
                    <a:pt x="47" y="170"/>
                  </a:lnTo>
                  <a:lnTo>
                    <a:pt x="40" y="166"/>
                  </a:lnTo>
                  <a:lnTo>
                    <a:pt x="32" y="160"/>
                  </a:lnTo>
                  <a:lnTo>
                    <a:pt x="26" y="155"/>
                  </a:lnTo>
                  <a:lnTo>
                    <a:pt x="20" y="149"/>
                  </a:lnTo>
                  <a:lnTo>
                    <a:pt x="15" y="141"/>
                  </a:lnTo>
                  <a:lnTo>
                    <a:pt x="11" y="135"/>
                  </a:lnTo>
                  <a:lnTo>
                    <a:pt x="6" y="126"/>
                  </a:lnTo>
                  <a:lnTo>
                    <a:pt x="3" y="117"/>
                  </a:lnTo>
                  <a:lnTo>
                    <a:pt x="1" y="109"/>
                  </a:lnTo>
                  <a:lnTo>
                    <a:pt x="0" y="100"/>
                  </a:lnTo>
                  <a:lnTo>
                    <a:pt x="0" y="90"/>
                  </a:lnTo>
                  <a:lnTo>
                    <a:pt x="0" y="90"/>
                  </a:lnTo>
                  <a:lnTo>
                    <a:pt x="0" y="82"/>
                  </a:lnTo>
                  <a:lnTo>
                    <a:pt x="1" y="73"/>
                  </a:lnTo>
                  <a:lnTo>
                    <a:pt x="3" y="63"/>
                  </a:lnTo>
                  <a:lnTo>
                    <a:pt x="6" y="56"/>
                  </a:lnTo>
                  <a:lnTo>
                    <a:pt x="11" y="47"/>
                  </a:lnTo>
                  <a:lnTo>
                    <a:pt x="15" y="41"/>
                  </a:lnTo>
                  <a:lnTo>
                    <a:pt x="20" y="33"/>
                  </a:lnTo>
                  <a:lnTo>
                    <a:pt x="26" y="27"/>
                  </a:lnTo>
                  <a:lnTo>
                    <a:pt x="32" y="21"/>
                  </a:lnTo>
                  <a:lnTo>
                    <a:pt x="40" y="16"/>
                  </a:lnTo>
                  <a:lnTo>
                    <a:pt x="47" y="12"/>
                  </a:lnTo>
                  <a:lnTo>
                    <a:pt x="55" y="7"/>
                  </a:lnTo>
                  <a:lnTo>
                    <a:pt x="63" y="4"/>
                  </a:lnTo>
                  <a:lnTo>
                    <a:pt x="72" y="2"/>
                  </a:lnTo>
                  <a:lnTo>
                    <a:pt x="81" y="1"/>
                  </a:lnTo>
                  <a:lnTo>
                    <a:pt x="90" y="0"/>
                  </a:lnTo>
                  <a:lnTo>
                    <a:pt x="9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0" name="Freeform 201">
              <a:extLst>
                <a:ext uri="{FF2B5EF4-FFF2-40B4-BE49-F238E27FC236}">
                  <a16:creationId xmlns:a16="http://schemas.microsoft.com/office/drawing/2014/main" id="{C206BCB8-EC1A-4E7F-A4EF-F4095D428F47}"/>
                </a:ext>
              </a:extLst>
            </p:cNvPr>
            <p:cNvSpPr>
              <a:spLocks/>
            </p:cNvSpPr>
            <p:nvPr/>
          </p:nvSpPr>
          <p:spPr bwMode="auto">
            <a:xfrm>
              <a:off x="10177463" y="3094038"/>
              <a:ext cx="73025" cy="73025"/>
            </a:xfrm>
            <a:custGeom>
              <a:avLst/>
              <a:gdLst>
                <a:gd name="T0" fmla="*/ 91 w 181"/>
                <a:gd name="T1" fmla="*/ 0 h 181"/>
                <a:gd name="T2" fmla="*/ 109 w 181"/>
                <a:gd name="T3" fmla="*/ 2 h 181"/>
                <a:gd name="T4" fmla="*/ 125 w 181"/>
                <a:gd name="T5" fmla="*/ 7 h 181"/>
                <a:gd name="T6" fmla="*/ 141 w 181"/>
                <a:gd name="T7" fmla="*/ 16 h 181"/>
                <a:gd name="T8" fmla="*/ 154 w 181"/>
                <a:gd name="T9" fmla="*/ 27 h 181"/>
                <a:gd name="T10" fmla="*/ 165 w 181"/>
                <a:gd name="T11" fmla="*/ 41 h 181"/>
                <a:gd name="T12" fmla="*/ 174 w 181"/>
                <a:gd name="T13" fmla="*/ 56 h 181"/>
                <a:gd name="T14" fmla="*/ 179 w 181"/>
                <a:gd name="T15" fmla="*/ 73 h 181"/>
                <a:gd name="T16" fmla="*/ 181 w 181"/>
                <a:gd name="T17" fmla="*/ 90 h 181"/>
                <a:gd name="T18" fmla="*/ 180 w 181"/>
                <a:gd name="T19" fmla="*/ 100 h 181"/>
                <a:gd name="T20" fmla="*/ 177 w 181"/>
                <a:gd name="T21" fmla="*/ 117 h 181"/>
                <a:gd name="T22" fmla="*/ 170 w 181"/>
                <a:gd name="T23" fmla="*/ 135 h 181"/>
                <a:gd name="T24" fmla="*/ 161 w 181"/>
                <a:gd name="T25" fmla="*/ 149 h 181"/>
                <a:gd name="T26" fmla="*/ 148 w 181"/>
                <a:gd name="T27" fmla="*/ 160 h 181"/>
                <a:gd name="T28" fmla="*/ 134 w 181"/>
                <a:gd name="T29" fmla="*/ 170 h 181"/>
                <a:gd name="T30" fmla="*/ 118 w 181"/>
                <a:gd name="T31" fmla="*/ 178 h 181"/>
                <a:gd name="T32" fmla="*/ 99 w 181"/>
                <a:gd name="T33" fmla="*/ 181 h 181"/>
                <a:gd name="T34" fmla="*/ 91 w 181"/>
                <a:gd name="T35" fmla="*/ 181 h 181"/>
                <a:gd name="T36" fmla="*/ 72 w 181"/>
                <a:gd name="T37" fmla="*/ 180 h 181"/>
                <a:gd name="T38" fmla="*/ 55 w 181"/>
                <a:gd name="T39" fmla="*/ 175 h 181"/>
                <a:gd name="T40" fmla="*/ 40 w 181"/>
                <a:gd name="T41" fmla="*/ 166 h 181"/>
                <a:gd name="T42" fmla="*/ 26 w 181"/>
                <a:gd name="T43" fmla="*/ 155 h 181"/>
                <a:gd name="T44" fmla="*/ 15 w 181"/>
                <a:gd name="T45" fmla="*/ 141 h 181"/>
                <a:gd name="T46" fmla="*/ 7 w 181"/>
                <a:gd name="T47" fmla="*/ 126 h 181"/>
                <a:gd name="T48" fmla="*/ 1 w 181"/>
                <a:gd name="T49" fmla="*/ 109 h 181"/>
                <a:gd name="T50" fmla="*/ 0 w 181"/>
                <a:gd name="T51" fmla="*/ 90 h 181"/>
                <a:gd name="T52" fmla="*/ 0 w 181"/>
                <a:gd name="T53" fmla="*/ 82 h 181"/>
                <a:gd name="T54" fmla="*/ 3 w 181"/>
                <a:gd name="T55" fmla="*/ 63 h 181"/>
                <a:gd name="T56" fmla="*/ 11 w 181"/>
                <a:gd name="T57" fmla="*/ 47 h 181"/>
                <a:gd name="T58" fmla="*/ 21 w 181"/>
                <a:gd name="T59" fmla="*/ 33 h 181"/>
                <a:gd name="T60" fmla="*/ 32 w 181"/>
                <a:gd name="T61" fmla="*/ 21 h 181"/>
                <a:gd name="T62" fmla="*/ 47 w 181"/>
                <a:gd name="T63" fmla="*/ 12 h 181"/>
                <a:gd name="T64" fmla="*/ 64 w 181"/>
                <a:gd name="T65" fmla="*/ 4 h 181"/>
                <a:gd name="T66" fmla="*/ 81 w 181"/>
                <a:gd name="T67" fmla="*/ 1 h 181"/>
                <a:gd name="T68" fmla="*/ 91 w 181"/>
                <a:gd name="T6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181">
                  <a:moveTo>
                    <a:pt x="91" y="0"/>
                  </a:moveTo>
                  <a:lnTo>
                    <a:pt x="91" y="0"/>
                  </a:lnTo>
                  <a:lnTo>
                    <a:pt x="99" y="1"/>
                  </a:lnTo>
                  <a:lnTo>
                    <a:pt x="109" y="2"/>
                  </a:lnTo>
                  <a:lnTo>
                    <a:pt x="118" y="4"/>
                  </a:lnTo>
                  <a:lnTo>
                    <a:pt x="125" y="7"/>
                  </a:lnTo>
                  <a:lnTo>
                    <a:pt x="134" y="12"/>
                  </a:lnTo>
                  <a:lnTo>
                    <a:pt x="141" y="16"/>
                  </a:lnTo>
                  <a:lnTo>
                    <a:pt x="148" y="21"/>
                  </a:lnTo>
                  <a:lnTo>
                    <a:pt x="154" y="27"/>
                  </a:lnTo>
                  <a:lnTo>
                    <a:pt x="161" y="33"/>
                  </a:lnTo>
                  <a:lnTo>
                    <a:pt x="165" y="41"/>
                  </a:lnTo>
                  <a:lnTo>
                    <a:pt x="170" y="47"/>
                  </a:lnTo>
                  <a:lnTo>
                    <a:pt x="174" y="56"/>
                  </a:lnTo>
                  <a:lnTo>
                    <a:pt x="177" y="63"/>
                  </a:lnTo>
                  <a:lnTo>
                    <a:pt x="179" y="73"/>
                  </a:lnTo>
                  <a:lnTo>
                    <a:pt x="180" y="82"/>
                  </a:lnTo>
                  <a:lnTo>
                    <a:pt x="181" y="90"/>
                  </a:lnTo>
                  <a:lnTo>
                    <a:pt x="181" y="90"/>
                  </a:lnTo>
                  <a:lnTo>
                    <a:pt x="180" y="100"/>
                  </a:lnTo>
                  <a:lnTo>
                    <a:pt x="179" y="109"/>
                  </a:lnTo>
                  <a:lnTo>
                    <a:pt x="177" y="117"/>
                  </a:lnTo>
                  <a:lnTo>
                    <a:pt x="174" y="126"/>
                  </a:lnTo>
                  <a:lnTo>
                    <a:pt x="170" y="135"/>
                  </a:lnTo>
                  <a:lnTo>
                    <a:pt x="165" y="141"/>
                  </a:lnTo>
                  <a:lnTo>
                    <a:pt x="161" y="149"/>
                  </a:lnTo>
                  <a:lnTo>
                    <a:pt x="154" y="155"/>
                  </a:lnTo>
                  <a:lnTo>
                    <a:pt x="148" y="160"/>
                  </a:lnTo>
                  <a:lnTo>
                    <a:pt x="141" y="166"/>
                  </a:lnTo>
                  <a:lnTo>
                    <a:pt x="134" y="170"/>
                  </a:lnTo>
                  <a:lnTo>
                    <a:pt x="125" y="175"/>
                  </a:lnTo>
                  <a:lnTo>
                    <a:pt x="118" y="178"/>
                  </a:lnTo>
                  <a:lnTo>
                    <a:pt x="109" y="180"/>
                  </a:lnTo>
                  <a:lnTo>
                    <a:pt x="99" y="181"/>
                  </a:lnTo>
                  <a:lnTo>
                    <a:pt x="91" y="181"/>
                  </a:lnTo>
                  <a:lnTo>
                    <a:pt x="91" y="181"/>
                  </a:lnTo>
                  <a:lnTo>
                    <a:pt x="81" y="181"/>
                  </a:lnTo>
                  <a:lnTo>
                    <a:pt x="72" y="180"/>
                  </a:lnTo>
                  <a:lnTo>
                    <a:pt x="64" y="178"/>
                  </a:lnTo>
                  <a:lnTo>
                    <a:pt x="55" y="175"/>
                  </a:lnTo>
                  <a:lnTo>
                    <a:pt x="47" y="170"/>
                  </a:lnTo>
                  <a:lnTo>
                    <a:pt x="40" y="166"/>
                  </a:lnTo>
                  <a:lnTo>
                    <a:pt x="32" y="160"/>
                  </a:lnTo>
                  <a:lnTo>
                    <a:pt x="26" y="155"/>
                  </a:lnTo>
                  <a:lnTo>
                    <a:pt x="21" y="149"/>
                  </a:lnTo>
                  <a:lnTo>
                    <a:pt x="15" y="141"/>
                  </a:lnTo>
                  <a:lnTo>
                    <a:pt x="11" y="135"/>
                  </a:lnTo>
                  <a:lnTo>
                    <a:pt x="7" y="126"/>
                  </a:lnTo>
                  <a:lnTo>
                    <a:pt x="3" y="117"/>
                  </a:lnTo>
                  <a:lnTo>
                    <a:pt x="1" y="109"/>
                  </a:lnTo>
                  <a:lnTo>
                    <a:pt x="0" y="100"/>
                  </a:lnTo>
                  <a:lnTo>
                    <a:pt x="0" y="90"/>
                  </a:lnTo>
                  <a:lnTo>
                    <a:pt x="0" y="90"/>
                  </a:lnTo>
                  <a:lnTo>
                    <a:pt x="0" y="82"/>
                  </a:lnTo>
                  <a:lnTo>
                    <a:pt x="1" y="73"/>
                  </a:lnTo>
                  <a:lnTo>
                    <a:pt x="3" y="63"/>
                  </a:lnTo>
                  <a:lnTo>
                    <a:pt x="7" y="56"/>
                  </a:lnTo>
                  <a:lnTo>
                    <a:pt x="11" y="47"/>
                  </a:lnTo>
                  <a:lnTo>
                    <a:pt x="15" y="41"/>
                  </a:lnTo>
                  <a:lnTo>
                    <a:pt x="21" y="33"/>
                  </a:lnTo>
                  <a:lnTo>
                    <a:pt x="26" y="27"/>
                  </a:lnTo>
                  <a:lnTo>
                    <a:pt x="32" y="21"/>
                  </a:lnTo>
                  <a:lnTo>
                    <a:pt x="40" y="16"/>
                  </a:lnTo>
                  <a:lnTo>
                    <a:pt x="47" y="12"/>
                  </a:lnTo>
                  <a:lnTo>
                    <a:pt x="55" y="7"/>
                  </a:lnTo>
                  <a:lnTo>
                    <a:pt x="64" y="4"/>
                  </a:lnTo>
                  <a:lnTo>
                    <a:pt x="72" y="2"/>
                  </a:lnTo>
                  <a:lnTo>
                    <a:pt x="81" y="1"/>
                  </a:lnTo>
                  <a:lnTo>
                    <a:pt x="91" y="0"/>
                  </a:lnTo>
                  <a:lnTo>
                    <a:pt x="9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1" name="Freeform 202">
              <a:extLst>
                <a:ext uri="{FF2B5EF4-FFF2-40B4-BE49-F238E27FC236}">
                  <a16:creationId xmlns:a16="http://schemas.microsoft.com/office/drawing/2014/main" id="{3CE72549-4548-4B1B-9151-77605402B3A6}"/>
                </a:ext>
              </a:extLst>
            </p:cNvPr>
            <p:cNvSpPr>
              <a:spLocks noEditPoints="1"/>
            </p:cNvSpPr>
            <p:nvPr/>
          </p:nvSpPr>
          <p:spPr bwMode="auto">
            <a:xfrm>
              <a:off x="9764713" y="2771775"/>
              <a:ext cx="377825" cy="557213"/>
            </a:xfrm>
            <a:custGeom>
              <a:avLst/>
              <a:gdLst>
                <a:gd name="T0" fmla="*/ 46 w 951"/>
                <a:gd name="T1" fmla="*/ 1041 h 1404"/>
                <a:gd name="T2" fmla="*/ 906 w 951"/>
                <a:gd name="T3" fmla="*/ 407 h 1404"/>
                <a:gd name="T4" fmla="*/ 951 w 951"/>
                <a:gd name="T5" fmla="*/ 113 h 1404"/>
                <a:gd name="T6" fmla="*/ 946 w 951"/>
                <a:gd name="T7" fmla="*/ 79 h 1404"/>
                <a:gd name="T8" fmla="*/ 932 w 951"/>
                <a:gd name="T9" fmla="*/ 49 h 1404"/>
                <a:gd name="T10" fmla="*/ 910 w 951"/>
                <a:gd name="T11" fmla="*/ 26 h 1404"/>
                <a:gd name="T12" fmla="*/ 882 w 951"/>
                <a:gd name="T13" fmla="*/ 9 h 1404"/>
                <a:gd name="T14" fmla="*/ 850 w 951"/>
                <a:gd name="T15" fmla="*/ 1 h 1404"/>
                <a:gd name="T16" fmla="*/ 114 w 951"/>
                <a:gd name="T17" fmla="*/ 0 h 1404"/>
                <a:gd name="T18" fmla="*/ 79 w 951"/>
                <a:gd name="T19" fmla="*/ 5 h 1404"/>
                <a:gd name="T20" fmla="*/ 50 w 951"/>
                <a:gd name="T21" fmla="*/ 19 h 1404"/>
                <a:gd name="T22" fmla="*/ 25 w 951"/>
                <a:gd name="T23" fmla="*/ 41 h 1404"/>
                <a:gd name="T24" fmla="*/ 9 w 951"/>
                <a:gd name="T25" fmla="*/ 69 h 1404"/>
                <a:gd name="T26" fmla="*/ 0 w 951"/>
                <a:gd name="T27" fmla="*/ 102 h 1404"/>
                <a:gd name="T28" fmla="*/ 0 w 951"/>
                <a:gd name="T29" fmla="*/ 1290 h 1404"/>
                <a:gd name="T30" fmla="*/ 5 w 951"/>
                <a:gd name="T31" fmla="*/ 1325 h 1404"/>
                <a:gd name="T32" fmla="*/ 19 w 951"/>
                <a:gd name="T33" fmla="*/ 1355 h 1404"/>
                <a:gd name="T34" fmla="*/ 41 w 951"/>
                <a:gd name="T35" fmla="*/ 1379 h 1404"/>
                <a:gd name="T36" fmla="*/ 69 w 951"/>
                <a:gd name="T37" fmla="*/ 1395 h 1404"/>
                <a:gd name="T38" fmla="*/ 102 w 951"/>
                <a:gd name="T39" fmla="*/ 1404 h 1404"/>
                <a:gd name="T40" fmla="*/ 838 w 951"/>
                <a:gd name="T41" fmla="*/ 1404 h 1404"/>
                <a:gd name="T42" fmla="*/ 872 w 951"/>
                <a:gd name="T43" fmla="*/ 1399 h 1404"/>
                <a:gd name="T44" fmla="*/ 902 w 951"/>
                <a:gd name="T45" fmla="*/ 1385 h 1404"/>
                <a:gd name="T46" fmla="*/ 926 w 951"/>
                <a:gd name="T47" fmla="*/ 1364 h 1404"/>
                <a:gd name="T48" fmla="*/ 943 w 951"/>
                <a:gd name="T49" fmla="*/ 1336 h 1404"/>
                <a:gd name="T50" fmla="*/ 950 w 951"/>
                <a:gd name="T51" fmla="*/ 1302 h 1404"/>
                <a:gd name="T52" fmla="*/ 906 w 951"/>
                <a:gd name="T53" fmla="*/ 815 h 1404"/>
                <a:gd name="T54" fmla="*/ 468 w 951"/>
                <a:gd name="T55" fmla="*/ 1290 h 1404"/>
                <a:gd name="T56" fmla="*/ 449 w 951"/>
                <a:gd name="T57" fmla="*/ 1286 h 1404"/>
                <a:gd name="T58" fmla="*/ 427 w 951"/>
                <a:gd name="T59" fmla="*/ 1271 h 1404"/>
                <a:gd name="T60" fmla="*/ 413 w 951"/>
                <a:gd name="T61" fmla="*/ 1249 h 1404"/>
                <a:gd name="T62" fmla="*/ 408 w 951"/>
                <a:gd name="T63" fmla="*/ 1230 h 1404"/>
                <a:gd name="T64" fmla="*/ 408 w 951"/>
                <a:gd name="T65" fmla="*/ 1216 h 1404"/>
                <a:gd name="T66" fmla="*/ 413 w 951"/>
                <a:gd name="T67" fmla="*/ 1197 h 1404"/>
                <a:gd name="T68" fmla="*/ 427 w 951"/>
                <a:gd name="T69" fmla="*/ 1175 h 1404"/>
                <a:gd name="T70" fmla="*/ 449 w 951"/>
                <a:gd name="T71" fmla="*/ 1160 h 1404"/>
                <a:gd name="T72" fmla="*/ 468 w 951"/>
                <a:gd name="T73" fmla="*/ 1156 h 1404"/>
                <a:gd name="T74" fmla="*/ 482 w 951"/>
                <a:gd name="T75" fmla="*/ 1156 h 1404"/>
                <a:gd name="T76" fmla="*/ 503 w 951"/>
                <a:gd name="T77" fmla="*/ 1160 h 1404"/>
                <a:gd name="T78" fmla="*/ 524 w 951"/>
                <a:gd name="T79" fmla="*/ 1175 h 1404"/>
                <a:gd name="T80" fmla="*/ 538 w 951"/>
                <a:gd name="T81" fmla="*/ 1197 h 1404"/>
                <a:gd name="T82" fmla="*/ 543 w 951"/>
                <a:gd name="T83" fmla="*/ 1216 h 1404"/>
                <a:gd name="T84" fmla="*/ 543 w 951"/>
                <a:gd name="T85" fmla="*/ 1230 h 1404"/>
                <a:gd name="T86" fmla="*/ 538 w 951"/>
                <a:gd name="T87" fmla="*/ 1249 h 1404"/>
                <a:gd name="T88" fmla="*/ 524 w 951"/>
                <a:gd name="T89" fmla="*/ 1271 h 1404"/>
                <a:gd name="T90" fmla="*/ 503 w 951"/>
                <a:gd name="T91" fmla="*/ 1286 h 1404"/>
                <a:gd name="T92" fmla="*/ 482 w 951"/>
                <a:gd name="T93" fmla="*/ 1290 h 1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51" h="1404">
                  <a:moveTo>
                    <a:pt x="906" y="815"/>
                  </a:moveTo>
                  <a:lnTo>
                    <a:pt x="906" y="1041"/>
                  </a:lnTo>
                  <a:lnTo>
                    <a:pt x="46" y="1041"/>
                  </a:lnTo>
                  <a:lnTo>
                    <a:pt x="46" y="271"/>
                  </a:lnTo>
                  <a:lnTo>
                    <a:pt x="906" y="271"/>
                  </a:lnTo>
                  <a:lnTo>
                    <a:pt x="906" y="407"/>
                  </a:lnTo>
                  <a:lnTo>
                    <a:pt x="951" y="407"/>
                  </a:lnTo>
                  <a:lnTo>
                    <a:pt x="951" y="113"/>
                  </a:lnTo>
                  <a:lnTo>
                    <a:pt x="951" y="113"/>
                  </a:lnTo>
                  <a:lnTo>
                    <a:pt x="950" y="102"/>
                  </a:lnTo>
                  <a:lnTo>
                    <a:pt x="949" y="90"/>
                  </a:lnTo>
                  <a:lnTo>
                    <a:pt x="946" y="79"/>
                  </a:lnTo>
                  <a:lnTo>
                    <a:pt x="943" y="69"/>
                  </a:lnTo>
                  <a:lnTo>
                    <a:pt x="937" y="59"/>
                  </a:lnTo>
                  <a:lnTo>
                    <a:pt x="932" y="49"/>
                  </a:lnTo>
                  <a:lnTo>
                    <a:pt x="926" y="41"/>
                  </a:lnTo>
                  <a:lnTo>
                    <a:pt x="918" y="33"/>
                  </a:lnTo>
                  <a:lnTo>
                    <a:pt x="910" y="26"/>
                  </a:lnTo>
                  <a:lnTo>
                    <a:pt x="902" y="19"/>
                  </a:lnTo>
                  <a:lnTo>
                    <a:pt x="892" y="14"/>
                  </a:lnTo>
                  <a:lnTo>
                    <a:pt x="882" y="9"/>
                  </a:lnTo>
                  <a:lnTo>
                    <a:pt x="872" y="5"/>
                  </a:lnTo>
                  <a:lnTo>
                    <a:pt x="861" y="3"/>
                  </a:lnTo>
                  <a:lnTo>
                    <a:pt x="850" y="1"/>
                  </a:lnTo>
                  <a:lnTo>
                    <a:pt x="838" y="0"/>
                  </a:lnTo>
                  <a:lnTo>
                    <a:pt x="114" y="0"/>
                  </a:lnTo>
                  <a:lnTo>
                    <a:pt x="114" y="0"/>
                  </a:lnTo>
                  <a:lnTo>
                    <a:pt x="102" y="1"/>
                  </a:lnTo>
                  <a:lnTo>
                    <a:pt x="90" y="3"/>
                  </a:lnTo>
                  <a:lnTo>
                    <a:pt x="79" y="5"/>
                  </a:lnTo>
                  <a:lnTo>
                    <a:pt x="69" y="9"/>
                  </a:lnTo>
                  <a:lnTo>
                    <a:pt x="59" y="14"/>
                  </a:lnTo>
                  <a:lnTo>
                    <a:pt x="50" y="19"/>
                  </a:lnTo>
                  <a:lnTo>
                    <a:pt x="41" y="26"/>
                  </a:lnTo>
                  <a:lnTo>
                    <a:pt x="33" y="33"/>
                  </a:lnTo>
                  <a:lnTo>
                    <a:pt x="25" y="41"/>
                  </a:lnTo>
                  <a:lnTo>
                    <a:pt x="19" y="49"/>
                  </a:lnTo>
                  <a:lnTo>
                    <a:pt x="13" y="59"/>
                  </a:lnTo>
                  <a:lnTo>
                    <a:pt x="9" y="69"/>
                  </a:lnTo>
                  <a:lnTo>
                    <a:pt x="5" y="79"/>
                  </a:lnTo>
                  <a:lnTo>
                    <a:pt x="2" y="90"/>
                  </a:lnTo>
                  <a:lnTo>
                    <a:pt x="0" y="102"/>
                  </a:lnTo>
                  <a:lnTo>
                    <a:pt x="0" y="113"/>
                  </a:lnTo>
                  <a:lnTo>
                    <a:pt x="0" y="1290"/>
                  </a:lnTo>
                  <a:lnTo>
                    <a:pt x="0" y="1290"/>
                  </a:lnTo>
                  <a:lnTo>
                    <a:pt x="0" y="1302"/>
                  </a:lnTo>
                  <a:lnTo>
                    <a:pt x="2" y="1314"/>
                  </a:lnTo>
                  <a:lnTo>
                    <a:pt x="5" y="1325"/>
                  </a:lnTo>
                  <a:lnTo>
                    <a:pt x="9" y="1336"/>
                  </a:lnTo>
                  <a:lnTo>
                    <a:pt x="13" y="1345"/>
                  </a:lnTo>
                  <a:lnTo>
                    <a:pt x="19" y="1355"/>
                  </a:lnTo>
                  <a:lnTo>
                    <a:pt x="25" y="1364"/>
                  </a:lnTo>
                  <a:lnTo>
                    <a:pt x="33" y="1371"/>
                  </a:lnTo>
                  <a:lnTo>
                    <a:pt x="41" y="1379"/>
                  </a:lnTo>
                  <a:lnTo>
                    <a:pt x="50" y="1385"/>
                  </a:lnTo>
                  <a:lnTo>
                    <a:pt x="59" y="1391"/>
                  </a:lnTo>
                  <a:lnTo>
                    <a:pt x="69" y="1395"/>
                  </a:lnTo>
                  <a:lnTo>
                    <a:pt x="79" y="1399"/>
                  </a:lnTo>
                  <a:lnTo>
                    <a:pt x="90" y="1401"/>
                  </a:lnTo>
                  <a:lnTo>
                    <a:pt x="102" y="1404"/>
                  </a:lnTo>
                  <a:lnTo>
                    <a:pt x="114" y="1404"/>
                  </a:lnTo>
                  <a:lnTo>
                    <a:pt x="838" y="1404"/>
                  </a:lnTo>
                  <a:lnTo>
                    <a:pt x="838" y="1404"/>
                  </a:lnTo>
                  <a:lnTo>
                    <a:pt x="850" y="1404"/>
                  </a:lnTo>
                  <a:lnTo>
                    <a:pt x="861" y="1401"/>
                  </a:lnTo>
                  <a:lnTo>
                    <a:pt x="872" y="1399"/>
                  </a:lnTo>
                  <a:lnTo>
                    <a:pt x="882" y="1395"/>
                  </a:lnTo>
                  <a:lnTo>
                    <a:pt x="892" y="1391"/>
                  </a:lnTo>
                  <a:lnTo>
                    <a:pt x="902" y="1385"/>
                  </a:lnTo>
                  <a:lnTo>
                    <a:pt x="910" y="1379"/>
                  </a:lnTo>
                  <a:lnTo>
                    <a:pt x="918" y="1371"/>
                  </a:lnTo>
                  <a:lnTo>
                    <a:pt x="926" y="1364"/>
                  </a:lnTo>
                  <a:lnTo>
                    <a:pt x="932" y="1355"/>
                  </a:lnTo>
                  <a:lnTo>
                    <a:pt x="937" y="1345"/>
                  </a:lnTo>
                  <a:lnTo>
                    <a:pt x="943" y="1336"/>
                  </a:lnTo>
                  <a:lnTo>
                    <a:pt x="946" y="1325"/>
                  </a:lnTo>
                  <a:lnTo>
                    <a:pt x="949" y="1314"/>
                  </a:lnTo>
                  <a:lnTo>
                    <a:pt x="950" y="1302"/>
                  </a:lnTo>
                  <a:lnTo>
                    <a:pt x="951" y="1290"/>
                  </a:lnTo>
                  <a:lnTo>
                    <a:pt x="951" y="815"/>
                  </a:lnTo>
                  <a:lnTo>
                    <a:pt x="906" y="815"/>
                  </a:lnTo>
                  <a:close/>
                  <a:moveTo>
                    <a:pt x="476" y="1290"/>
                  </a:moveTo>
                  <a:lnTo>
                    <a:pt x="476" y="1290"/>
                  </a:lnTo>
                  <a:lnTo>
                    <a:pt x="468" y="1290"/>
                  </a:lnTo>
                  <a:lnTo>
                    <a:pt x="462" y="1289"/>
                  </a:lnTo>
                  <a:lnTo>
                    <a:pt x="455" y="1288"/>
                  </a:lnTo>
                  <a:lnTo>
                    <a:pt x="449" y="1286"/>
                  </a:lnTo>
                  <a:lnTo>
                    <a:pt x="442" y="1283"/>
                  </a:lnTo>
                  <a:lnTo>
                    <a:pt x="437" y="1280"/>
                  </a:lnTo>
                  <a:lnTo>
                    <a:pt x="427" y="1271"/>
                  </a:lnTo>
                  <a:lnTo>
                    <a:pt x="419" y="1261"/>
                  </a:lnTo>
                  <a:lnTo>
                    <a:pt x="416" y="1256"/>
                  </a:lnTo>
                  <a:lnTo>
                    <a:pt x="413" y="1249"/>
                  </a:lnTo>
                  <a:lnTo>
                    <a:pt x="410" y="1244"/>
                  </a:lnTo>
                  <a:lnTo>
                    <a:pt x="409" y="1236"/>
                  </a:lnTo>
                  <a:lnTo>
                    <a:pt x="408" y="1230"/>
                  </a:lnTo>
                  <a:lnTo>
                    <a:pt x="408" y="1222"/>
                  </a:lnTo>
                  <a:lnTo>
                    <a:pt x="408" y="1222"/>
                  </a:lnTo>
                  <a:lnTo>
                    <a:pt x="408" y="1216"/>
                  </a:lnTo>
                  <a:lnTo>
                    <a:pt x="409" y="1209"/>
                  </a:lnTo>
                  <a:lnTo>
                    <a:pt x="410" y="1202"/>
                  </a:lnTo>
                  <a:lnTo>
                    <a:pt x="413" y="1197"/>
                  </a:lnTo>
                  <a:lnTo>
                    <a:pt x="416" y="1190"/>
                  </a:lnTo>
                  <a:lnTo>
                    <a:pt x="419" y="1185"/>
                  </a:lnTo>
                  <a:lnTo>
                    <a:pt x="427" y="1175"/>
                  </a:lnTo>
                  <a:lnTo>
                    <a:pt x="437" y="1166"/>
                  </a:lnTo>
                  <a:lnTo>
                    <a:pt x="442" y="1163"/>
                  </a:lnTo>
                  <a:lnTo>
                    <a:pt x="449" y="1160"/>
                  </a:lnTo>
                  <a:lnTo>
                    <a:pt x="455" y="1158"/>
                  </a:lnTo>
                  <a:lnTo>
                    <a:pt x="462" y="1157"/>
                  </a:lnTo>
                  <a:lnTo>
                    <a:pt x="468" y="1156"/>
                  </a:lnTo>
                  <a:lnTo>
                    <a:pt x="476" y="1154"/>
                  </a:lnTo>
                  <a:lnTo>
                    <a:pt x="476" y="1154"/>
                  </a:lnTo>
                  <a:lnTo>
                    <a:pt x="482" y="1156"/>
                  </a:lnTo>
                  <a:lnTo>
                    <a:pt x="490" y="1157"/>
                  </a:lnTo>
                  <a:lnTo>
                    <a:pt x="496" y="1158"/>
                  </a:lnTo>
                  <a:lnTo>
                    <a:pt x="503" y="1160"/>
                  </a:lnTo>
                  <a:lnTo>
                    <a:pt x="508" y="1163"/>
                  </a:lnTo>
                  <a:lnTo>
                    <a:pt x="514" y="1166"/>
                  </a:lnTo>
                  <a:lnTo>
                    <a:pt x="524" y="1175"/>
                  </a:lnTo>
                  <a:lnTo>
                    <a:pt x="532" y="1185"/>
                  </a:lnTo>
                  <a:lnTo>
                    <a:pt x="535" y="1190"/>
                  </a:lnTo>
                  <a:lnTo>
                    <a:pt x="538" y="1197"/>
                  </a:lnTo>
                  <a:lnTo>
                    <a:pt x="541" y="1202"/>
                  </a:lnTo>
                  <a:lnTo>
                    <a:pt x="542" y="1209"/>
                  </a:lnTo>
                  <a:lnTo>
                    <a:pt x="543" y="1216"/>
                  </a:lnTo>
                  <a:lnTo>
                    <a:pt x="544" y="1222"/>
                  </a:lnTo>
                  <a:lnTo>
                    <a:pt x="544" y="1222"/>
                  </a:lnTo>
                  <a:lnTo>
                    <a:pt x="543" y="1230"/>
                  </a:lnTo>
                  <a:lnTo>
                    <a:pt x="542" y="1236"/>
                  </a:lnTo>
                  <a:lnTo>
                    <a:pt x="541" y="1244"/>
                  </a:lnTo>
                  <a:lnTo>
                    <a:pt x="538" y="1249"/>
                  </a:lnTo>
                  <a:lnTo>
                    <a:pt x="535" y="1256"/>
                  </a:lnTo>
                  <a:lnTo>
                    <a:pt x="532" y="1261"/>
                  </a:lnTo>
                  <a:lnTo>
                    <a:pt x="524" y="1271"/>
                  </a:lnTo>
                  <a:lnTo>
                    <a:pt x="514" y="1280"/>
                  </a:lnTo>
                  <a:lnTo>
                    <a:pt x="508" y="1283"/>
                  </a:lnTo>
                  <a:lnTo>
                    <a:pt x="503" y="1286"/>
                  </a:lnTo>
                  <a:lnTo>
                    <a:pt x="496" y="1288"/>
                  </a:lnTo>
                  <a:lnTo>
                    <a:pt x="490" y="1289"/>
                  </a:lnTo>
                  <a:lnTo>
                    <a:pt x="482" y="1290"/>
                  </a:lnTo>
                  <a:lnTo>
                    <a:pt x="476" y="1290"/>
                  </a:lnTo>
                  <a:lnTo>
                    <a:pt x="476" y="129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2" name="Freeform 203">
              <a:extLst>
                <a:ext uri="{FF2B5EF4-FFF2-40B4-BE49-F238E27FC236}">
                  <a16:creationId xmlns:a16="http://schemas.microsoft.com/office/drawing/2014/main" id="{51EFF948-4FF3-49C8-A7C2-CCF284C5C8CF}"/>
                </a:ext>
              </a:extLst>
            </p:cNvPr>
            <p:cNvSpPr>
              <a:spLocks/>
            </p:cNvSpPr>
            <p:nvPr/>
          </p:nvSpPr>
          <p:spPr bwMode="auto">
            <a:xfrm>
              <a:off x="9944100" y="2914650"/>
              <a:ext cx="288925" cy="161925"/>
            </a:xfrm>
            <a:custGeom>
              <a:avLst/>
              <a:gdLst>
                <a:gd name="T0" fmla="*/ 657 w 726"/>
                <a:gd name="T1" fmla="*/ 408 h 408"/>
                <a:gd name="T2" fmla="*/ 249 w 726"/>
                <a:gd name="T3" fmla="*/ 408 h 408"/>
                <a:gd name="T4" fmla="*/ 249 w 726"/>
                <a:gd name="T5" fmla="*/ 408 h 408"/>
                <a:gd name="T6" fmla="*/ 245 w 726"/>
                <a:gd name="T7" fmla="*/ 408 h 408"/>
                <a:gd name="T8" fmla="*/ 241 w 726"/>
                <a:gd name="T9" fmla="*/ 406 h 408"/>
                <a:gd name="T10" fmla="*/ 237 w 726"/>
                <a:gd name="T11" fmla="*/ 405 h 408"/>
                <a:gd name="T12" fmla="*/ 234 w 726"/>
                <a:gd name="T13" fmla="*/ 403 h 408"/>
                <a:gd name="T14" fmla="*/ 232 w 726"/>
                <a:gd name="T15" fmla="*/ 401 h 408"/>
                <a:gd name="T16" fmla="*/ 229 w 726"/>
                <a:gd name="T17" fmla="*/ 398 h 408"/>
                <a:gd name="T18" fmla="*/ 228 w 726"/>
                <a:gd name="T19" fmla="*/ 394 h 408"/>
                <a:gd name="T20" fmla="*/ 227 w 726"/>
                <a:gd name="T21" fmla="*/ 390 h 408"/>
                <a:gd name="T22" fmla="*/ 140 w 726"/>
                <a:gd name="T23" fmla="*/ 45 h 408"/>
                <a:gd name="T24" fmla="*/ 23 w 726"/>
                <a:gd name="T25" fmla="*/ 45 h 408"/>
                <a:gd name="T26" fmla="*/ 23 w 726"/>
                <a:gd name="T27" fmla="*/ 45 h 408"/>
                <a:gd name="T28" fmla="*/ 18 w 726"/>
                <a:gd name="T29" fmla="*/ 45 h 408"/>
                <a:gd name="T30" fmla="*/ 13 w 726"/>
                <a:gd name="T31" fmla="*/ 44 h 408"/>
                <a:gd name="T32" fmla="*/ 10 w 726"/>
                <a:gd name="T33" fmla="*/ 42 h 408"/>
                <a:gd name="T34" fmla="*/ 6 w 726"/>
                <a:gd name="T35" fmla="*/ 40 h 408"/>
                <a:gd name="T36" fmla="*/ 3 w 726"/>
                <a:gd name="T37" fmla="*/ 37 h 408"/>
                <a:gd name="T38" fmla="*/ 1 w 726"/>
                <a:gd name="T39" fmla="*/ 32 h 408"/>
                <a:gd name="T40" fmla="*/ 0 w 726"/>
                <a:gd name="T41" fmla="*/ 28 h 408"/>
                <a:gd name="T42" fmla="*/ 0 w 726"/>
                <a:gd name="T43" fmla="*/ 23 h 408"/>
                <a:gd name="T44" fmla="*/ 0 w 726"/>
                <a:gd name="T45" fmla="*/ 23 h 408"/>
                <a:gd name="T46" fmla="*/ 0 w 726"/>
                <a:gd name="T47" fmla="*/ 18 h 408"/>
                <a:gd name="T48" fmla="*/ 1 w 726"/>
                <a:gd name="T49" fmla="*/ 14 h 408"/>
                <a:gd name="T50" fmla="*/ 3 w 726"/>
                <a:gd name="T51" fmla="*/ 10 h 408"/>
                <a:gd name="T52" fmla="*/ 6 w 726"/>
                <a:gd name="T53" fmla="*/ 6 h 408"/>
                <a:gd name="T54" fmla="*/ 10 w 726"/>
                <a:gd name="T55" fmla="*/ 4 h 408"/>
                <a:gd name="T56" fmla="*/ 13 w 726"/>
                <a:gd name="T57" fmla="*/ 2 h 408"/>
                <a:gd name="T58" fmla="*/ 18 w 726"/>
                <a:gd name="T59" fmla="*/ 1 h 408"/>
                <a:gd name="T60" fmla="*/ 23 w 726"/>
                <a:gd name="T61" fmla="*/ 0 h 408"/>
                <a:gd name="T62" fmla="*/ 159 w 726"/>
                <a:gd name="T63" fmla="*/ 0 h 408"/>
                <a:gd name="T64" fmla="*/ 159 w 726"/>
                <a:gd name="T65" fmla="*/ 0 h 408"/>
                <a:gd name="T66" fmla="*/ 163 w 726"/>
                <a:gd name="T67" fmla="*/ 1 h 408"/>
                <a:gd name="T68" fmla="*/ 166 w 726"/>
                <a:gd name="T69" fmla="*/ 2 h 408"/>
                <a:gd name="T70" fmla="*/ 170 w 726"/>
                <a:gd name="T71" fmla="*/ 3 h 408"/>
                <a:gd name="T72" fmla="*/ 173 w 726"/>
                <a:gd name="T73" fmla="*/ 5 h 408"/>
                <a:gd name="T74" fmla="*/ 176 w 726"/>
                <a:gd name="T75" fmla="*/ 7 h 408"/>
                <a:gd name="T76" fmla="*/ 178 w 726"/>
                <a:gd name="T77" fmla="*/ 11 h 408"/>
                <a:gd name="T78" fmla="*/ 180 w 726"/>
                <a:gd name="T79" fmla="*/ 15 h 408"/>
                <a:gd name="T80" fmla="*/ 181 w 726"/>
                <a:gd name="T81" fmla="*/ 18 h 408"/>
                <a:gd name="T82" fmla="*/ 200 w 726"/>
                <a:gd name="T83" fmla="*/ 91 h 408"/>
                <a:gd name="T84" fmla="*/ 702 w 726"/>
                <a:gd name="T85" fmla="*/ 91 h 408"/>
                <a:gd name="T86" fmla="*/ 702 w 726"/>
                <a:gd name="T87" fmla="*/ 91 h 408"/>
                <a:gd name="T88" fmla="*/ 707 w 726"/>
                <a:gd name="T89" fmla="*/ 92 h 408"/>
                <a:gd name="T90" fmla="*/ 712 w 726"/>
                <a:gd name="T91" fmla="*/ 93 h 408"/>
                <a:gd name="T92" fmla="*/ 716 w 726"/>
                <a:gd name="T93" fmla="*/ 96 h 408"/>
                <a:gd name="T94" fmla="*/ 721 w 726"/>
                <a:gd name="T95" fmla="*/ 100 h 408"/>
                <a:gd name="T96" fmla="*/ 721 w 726"/>
                <a:gd name="T97" fmla="*/ 100 h 408"/>
                <a:gd name="T98" fmla="*/ 723 w 726"/>
                <a:gd name="T99" fmla="*/ 103 h 408"/>
                <a:gd name="T100" fmla="*/ 725 w 726"/>
                <a:gd name="T101" fmla="*/ 108 h 408"/>
                <a:gd name="T102" fmla="*/ 726 w 726"/>
                <a:gd name="T103" fmla="*/ 113 h 408"/>
                <a:gd name="T104" fmla="*/ 725 w 726"/>
                <a:gd name="T105" fmla="*/ 119 h 408"/>
                <a:gd name="T106" fmla="*/ 680 w 726"/>
                <a:gd name="T107" fmla="*/ 390 h 408"/>
                <a:gd name="T108" fmla="*/ 680 w 726"/>
                <a:gd name="T109" fmla="*/ 390 h 408"/>
                <a:gd name="T110" fmla="*/ 676 w 726"/>
                <a:gd name="T111" fmla="*/ 397 h 408"/>
                <a:gd name="T112" fmla="*/ 671 w 726"/>
                <a:gd name="T113" fmla="*/ 402 h 408"/>
                <a:gd name="T114" fmla="*/ 668 w 726"/>
                <a:gd name="T115" fmla="*/ 404 h 408"/>
                <a:gd name="T116" fmla="*/ 665 w 726"/>
                <a:gd name="T117" fmla="*/ 406 h 408"/>
                <a:gd name="T118" fmla="*/ 661 w 726"/>
                <a:gd name="T119" fmla="*/ 408 h 408"/>
                <a:gd name="T120" fmla="*/ 657 w 726"/>
                <a:gd name="T121" fmla="*/ 408 h 408"/>
                <a:gd name="T122" fmla="*/ 657 w 726"/>
                <a:gd name="T123" fmla="*/ 408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26" h="408">
                  <a:moveTo>
                    <a:pt x="657" y="408"/>
                  </a:moveTo>
                  <a:lnTo>
                    <a:pt x="249" y="408"/>
                  </a:lnTo>
                  <a:lnTo>
                    <a:pt x="249" y="408"/>
                  </a:lnTo>
                  <a:lnTo>
                    <a:pt x="245" y="408"/>
                  </a:lnTo>
                  <a:lnTo>
                    <a:pt x="241" y="406"/>
                  </a:lnTo>
                  <a:lnTo>
                    <a:pt x="237" y="405"/>
                  </a:lnTo>
                  <a:lnTo>
                    <a:pt x="234" y="403"/>
                  </a:lnTo>
                  <a:lnTo>
                    <a:pt x="232" y="401"/>
                  </a:lnTo>
                  <a:lnTo>
                    <a:pt x="229" y="398"/>
                  </a:lnTo>
                  <a:lnTo>
                    <a:pt x="228" y="394"/>
                  </a:lnTo>
                  <a:lnTo>
                    <a:pt x="227" y="390"/>
                  </a:lnTo>
                  <a:lnTo>
                    <a:pt x="140" y="45"/>
                  </a:lnTo>
                  <a:lnTo>
                    <a:pt x="23" y="45"/>
                  </a:lnTo>
                  <a:lnTo>
                    <a:pt x="23" y="45"/>
                  </a:lnTo>
                  <a:lnTo>
                    <a:pt x="18" y="45"/>
                  </a:lnTo>
                  <a:lnTo>
                    <a:pt x="13" y="44"/>
                  </a:lnTo>
                  <a:lnTo>
                    <a:pt x="10" y="42"/>
                  </a:lnTo>
                  <a:lnTo>
                    <a:pt x="6" y="40"/>
                  </a:lnTo>
                  <a:lnTo>
                    <a:pt x="3" y="37"/>
                  </a:lnTo>
                  <a:lnTo>
                    <a:pt x="1" y="32"/>
                  </a:lnTo>
                  <a:lnTo>
                    <a:pt x="0" y="28"/>
                  </a:lnTo>
                  <a:lnTo>
                    <a:pt x="0" y="23"/>
                  </a:lnTo>
                  <a:lnTo>
                    <a:pt x="0" y="23"/>
                  </a:lnTo>
                  <a:lnTo>
                    <a:pt x="0" y="18"/>
                  </a:lnTo>
                  <a:lnTo>
                    <a:pt x="1" y="14"/>
                  </a:lnTo>
                  <a:lnTo>
                    <a:pt x="3" y="10"/>
                  </a:lnTo>
                  <a:lnTo>
                    <a:pt x="6" y="6"/>
                  </a:lnTo>
                  <a:lnTo>
                    <a:pt x="10" y="4"/>
                  </a:lnTo>
                  <a:lnTo>
                    <a:pt x="13" y="2"/>
                  </a:lnTo>
                  <a:lnTo>
                    <a:pt x="18" y="1"/>
                  </a:lnTo>
                  <a:lnTo>
                    <a:pt x="23" y="0"/>
                  </a:lnTo>
                  <a:lnTo>
                    <a:pt x="159" y="0"/>
                  </a:lnTo>
                  <a:lnTo>
                    <a:pt x="159" y="0"/>
                  </a:lnTo>
                  <a:lnTo>
                    <a:pt x="163" y="1"/>
                  </a:lnTo>
                  <a:lnTo>
                    <a:pt x="166" y="2"/>
                  </a:lnTo>
                  <a:lnTo>
                    <a:pt x="170" y="3"/>
                  </a:lnTo>
                  <a:lnTo>
                    <a:pt x="173" y="5"/>
                  </a:lnTo>
                  <a:lnTo>
                    <a:pt x="176" y="7"/>
                  </a:lnTo>
                  <a:lnTo>
                    <a:pt x="178" y="11"/>
                  </a:lnTo>
                  <a:lnTo>
                    <a:pt x="180" y="15"/>
                  </a:lnTo>
                  <a:lnTo>
                    <a:pt x="181" y="18"/>
                  </a:lnTo>
                  <a:lnTo>
                    <a:pt x="200" y="91"/>
                  </a:lnTo>
                  <a:lnTo>
                    <a:pt x="702" y="91"/>
                  </a:lnTo>
                  <a:lnTo>
                    <a:pt x="702" y="91"/>
                  </a:lnTo>
                  <a:lnTo>
                    <a:pt x="707" y="92"/>
                  </a:lnTo>
                  <a:lnTo>
                    <a:pt x="712" y="93"/>
                  </a:lnTo>
                  <a:lnTo>
                    <a:pt x="716" y="96"/>
                  </a:lnTo>
                  <a:lnTo>
                    <a:pt x="721" y="100"/>
                  </a:lnTo>
                  <a:lnTo>
                    <a:pt x="721" y="100"/>
                  </a:lnTo>
                  <a:lnTo>
                    <a:pt x="723" y="103"/>
                  </a:lnTo>
                  <a:lnTo>
                    <a:pt x="725" y="108"/>
                  </a:lnTo>
                  <a:lnTo>
                    <a:pt x="726" y="113"/>
                  </a:lnTo>
                  <a:lnTo>
                    <a:pt x="725" y="119"/>
                  </a:lnTo>
                  <a:lnTo>
                    <a:pt x="680" y="390"/>
                  </a:lnTo>
                  <a:lnTo>
                    <a:pt x="680" y="390"/>
                  </a:lnTo>
                  <a:lnTo>
                    <a:pt x="676" y="397"/>
                  </a:lnTo>
                  <a:lnTo>
                    <a:pt x="671" y="402"/>
                  </a:lnTo>
                  <a:lnTo>
                    <a:pt x="668" y="404"/>
                  </a:lnTo>
                  <a:lnTo>
                    <a:pt x="665" y="406"/>
                  </a:lnTo>
                  <a:lnTo>
                    <a:pt x="661" y="408"/>
                  </a:lnTo>
                  <a:lnTo>
                    <a:pt x="657" y="408"/>
                  </a:lnTo>
                  <a:lnTo>
                    <a:pt x="657" y="40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63" name="Group 62">
            <a:extLst>
              <a:ext uri="{FF2B5EF4-FFF2-40B4-BE49-F238E27FC236}">
                <a16:creationId xmlns:a16="http://schemas.microsoft.com/office/drawing/2014/main" id="{06CA5E48-7D4A-4E04-B36E-D9E97388B79D}"/>
              </a:ext>
            </a:extLst>
          </p:cNvPr>
          <p:cNvGrpSpPr>
            <a:grpSpLocks noChangeAspect="1"/>
          </p:cNvGrpSpPr>
          <p:nvPr/>
        </p:nvGrpSpPr>
        <p:grpSpPr>
          <a:xfrm>
            <a:off x="6988934" y="2869155"/>
            <a:ext cx="300918" cy="343906"/>
            <a:chOff x="6338888" y="2760663"/>
            <a:chExt cx="455613" cy="520700"/>
          </a:xfrm>
          <a:solidFill>
            <a:schemeClr val="tx2"/>
          </a:solidFill>
        </p:grpSpPr>
        <p:sp>
          <p:nvSpPr>
            <p:cNvPr id="64" name="Freeform 138">
              <a:extLst>
                <a:ext uri="{FF2B5EF4-FFF2-40B4-BE49-F238E27FC236}">
                  <a16:creationId xmlns:a16="http://schemas.microsoft.com/office/drawing/2014/main" id="{14B08CFA-4AF2-4D5A-B0E5-CBA89E039810}"/>
                </a:ext>
              </a:extLst>
            </p:cNvPr>
            <p:cNvSpPr>
              <a:spLocks noEditPoints="1"/>
            </p:cNvSpPr>
            <p:nvPr/>
          </p:nvSpPr>
          <p:spPr bwMode="auto">
            <a:xfrm>
              <a:off x="6338888" y="2760663"/>
              <a:ext cx="455613" cy="520700"/>
            </a:xfrm>
            <a:custGeom>
              <a:avLst/>
              <a:gdLst>
                <a:gd name="T0" fmla="*/ 1038 w 1145"/>
                <a:gd name="T1" fmla="*/ 1314 h 1314"/>
                <a:gd name="T2" fmla="*/ 1060 w 1145"/>
                <a:gd name="T3" fmla="*/ 1312 h 1314"/>
                <a:gd name="T4" fmla="*/ 1079 w 1145"/>
                <a:gd name="T5" fmla="*/ 1305 h 1314"/>
                <a:gd name="T6" fmla="*/ 1097 w 1145"/>
                <a:gd name="T7" fmla="*/ 1296 h 1314"/>
                <a:gd name="T8" fmla="*/ 1113 w 1145"/>
                <a:gd name="T9" fmla="*/ 1283 h 1314"/>
                <a:gd name="T10" fmla="*/ 1126 w 1145"/>
                <a:gd name="T11" fmla="*/ 1267 h 1314"/>
                <a:gd name="T12" fmla="*/ 1136 w 1145"/>
                <a:gd name="T13" fmla="*/ 1248 h 1314"/>
                <a:gd name="T14" fmla="*/ 1142 w 1145"/>
                <a:gd name="T15" fmla="*/ 1229 h 1314"/>
                <a:gd name="T16" fmla="*/ 1145 w 1145"/>
                <a:gd name="T17" fmla="*/ 1208 h 1314"/>
                <a:gd name="T18" fmla="*/ 1145 w 1145"/>
                <a:gd name="T19" fmla="*/ 106 h 1314"/>
                <a:gd name="T20" fmla="*/ 1142 w 1145"/>
                <a:gd name="T21" fmla="*/ 84 h 1314"/>
                <a:gd name="T22" fmla="*/ 1136 w 1145"/>
                <a:gd name="T23" fmla="*/ 65 h 1314"/>
                <a:gd name="T24" fmla="*/ 1126 w 1145"/>
                <a:gd name="T25" fmla="*/ 47 h 1314"/>
                <a:gd name="T26" fmla="*/ 1113 w 1145"/>
                <a:gd name="T27" fmla="*/ 32 h 1314"/>
                <a:gd name="T28" fmla="*/ 1097 w 1145"/>
                <a:gd name="T29" fmla="*/ 18 h 1314"/>
                <a:gd name="T30" fmla="*/ 1079 w 1145"/>
                <a:gd name="T31" fmla="*/ 8 h 1314"/>
                <a:gd name="T32" fmla="*/ 1060 w 1145"/>
                <a:gd name="T33" fmla="*/ 3 h 1314"/>
                <a:gd name="T34" fmla="*/ 1038 w 1145"/>
                <a:gd name="T35" fmla="*/ 0 h 1314"/>
                <a:gd name="T36" fmla="*/ 106 w 1145"/>
                <a:gd name="T37" fmla="*/ 0 h 1314"/>
                <a:gd name="T38" fmla="*/ 85 w 1145"/>
                <a:gd name="T39" fmla="*/ 3 h 1314"/>
                <a:gd name="T40" fmla="*/ 65 w 1145"/>
                <a:gd name="T41" fmla="*/ 8 h 1314"/>
                <a:gd name="T42" fmla="*/ 47 w 1145"/>
                <a:gd name="T43" fmla="*/ 18 h 1314"/>
                <a:gd name="T44" fmla="*/ 31 w 1145"/>
                <a:gd name="T45" fmla="*/ 32 h 1314"/>
                <a:gd name="T46" fmla="*/ 18 w 1145"/>
                <a:gd name="T47" fmla="*/ 47 h 1314"/>
                <a:gd name="T48" fmla="*/ 8 w 1145"/>
                <a:gd name="T49" fmla="*/ 65 h 1314"/>
                <a:gd name="T50" fmla="*/ 2 w 1145"/>
                <a:gd name="T51" fmla="*/ 84 h 1314"/>
                <a:gd name="T52" fmla="*/ 0 w 1145"/>
                <a:gd name="T53" fmla="*/ 106 h 1314"/>
                <a:gd name="T54" fmla="*/ 0 w 1145"/>
                <a:gd name="T55" fmla="*/ 1208 h 1314"/>
                <a:gd name="T56" fmla="*/ 2 w 1145"/>
                <a:gd name="T57" fmla="*/ 1229 h 1314"/>
                <a:gd name="T58" fmla="*/ 8 w 1145"/>
                <a:gd name="T59" fmla="*/ 1248 h 1314"/>
                <a:gd name="T60" fmla="*/ 18 w 1145"/>
                <a:gd name="T61" fmla="*/ 1267 h 1314"/>
                <a:gd name="T62" fmla="*/ 31 w 1145"/>
                <a:gd name="T63" fmla="*/ 1283 h 1314"/>
                <a:gd name="T64" fmla="*/ 47 w 1145"/>
                <a:gd name="T65" fmla="*/ 1296 h 1314"/>
                <a:gd name="T66" fmla="*/ 65 w 1145"/>
                <a:gd name="T67" fmla="*/ 1305 h 1314"/>
                <a:gd name="T68" fmla="*/ 85 w 1145"/>
                <a:gd name="T69" fmla="*/ 1312 h 1314"/>
                <a:gd name="T70" fmla="*/ 106 w 1145"/>
                <a:gd name="T71" fmla="*/ 1314 h 1314"/>
                <a:gd name="T72" fmla="*/ 170 w 1145"/>
                <a:gd name="T73" fmla="*/ 233 h 1314"/>
                <a:gd name="T74" fmla="*/ 170 w 1145"/>
                <a:gd name="T75" fmla="*/ 228 h 1314"/>
                <a:gd name="T76" fmla="*/ 173 w 1145"/>
                <a:gd name="T77" fmla="*/ 221 h 1314"/>
                <a:gd name="T78" fmla="*/ 179 w 1145"/>
                <a:gd name="T79" fmla="*/ 215 h 1314"/>
                <a:gd name="T80" fmla="*/ 187 w 1145"/>
                <a:gd name="T81" fmla="*/ 212 h 1314"/>
                <a:gd name="T82" fmla="*/ 953 w 1145"/>
                <a:gd name="T83" fmla="*/ 212 h 1314"/>
                <a:gd name="T84" fmla="*/ 958 w 1145"/>
                <a:gd name="T85" fmla="*/ 212 h 1314"/>
                <a:gd name="T86" fmla="*/ 965 w 1145"/>
                <a:gd name="T87" fmla="*/ 215 h 1314"/>
                <a:gd name="T88" fmla="*/ 972 w 1145"/>
                <a:gd name="T89" fmla="*/ 221 h 1314"/>
                <a:gd name="T90" fmla="*/ 975 w 1145"/>
                <a:gd name="T91" fmla="*/ 228 h 1314"/>
                <a:gd name="T92" fmla="*/ 975 w 1145"/>
                <a:gd name="T93" fmla="*/ 1081 h 1314"/>
                <a:gd name="T94" fmla="*/ 975 w 1145"/>
                <a:gd name="T95" fmla="*/ 1085 h 1314"/>
                <a:gd name="T96" fmla="*/ 972 w 1145"/>
                <a:gd name="T97" fmla="*/ 1093 h 1314"/>
                <a:gd name="T98" fmla="*/ 965 w 1145"/>
                <a:gd name="T99" fmla="*/ 1098 h 1314"/>
                <a:gd name="T100" fmla="*/ 958 w 1145"/>
                <a:gd name="T101" fmla="*/ 1101 h 1314"/>
                <a:gd name="T102" fmla="*/ 191 w 1145"/>
                <a:gd name="T103" fmla="*/ 1102 h 1314"/>
                <a:gd name="T104" fmla="*/ 187 w 1145"/>
                <a:gd name="T105" fmla="*/ 1101 h 1314"/>
                <a:gd name="T106" fmla="*/ 179 w 1145"/>
                <a:gd name="T107" fmla="*/ 1098 h 1314"/>
                <a:gd name="T108" fmla="*/ 173 w 1145"/>
                <a:gd name="T109" fmla="*/ 1093 h 1314"/>
                <a:gd name="T110" fmla="*/ 170 w 1145"/>
                <a:gd name="T111" fmla="*/ 1085 h 1314"/>
                <a:gd name="T112" fmla="*/ 170 w 1145"/>
                <a:gd name="T113" fmla="*/ 233 h 1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45" h="1314">
                  <a:moveTo>
                    <a:pt x="1038" y="1314"/>
                  </a:moveTo>
                  <a:lnTo>
                    <a:pt x="1038" y="1314"/>
                  </a:lnTo>
                  <a:lnTo>
                    <a:pt x="1049" y="1313"/>
                  </a:lnTo>
                  <a:lnTo>
                    <a:pt x="1060" y="1312"/>
                  </a:lnTo>
                  <a:lnTo>
                    <a:pt x="1069" y="1309"/>
                  </a:lnTo>
                  <a:lnTo>
                    <a:pt x="1079" y="1305"/>
                  </a:lnTo>
                  <a:lnTo>
                    <a:pt x="1089" y="1301"/>
                  </a:lnTo>
                  <a:lnTo>
                    <a:pt x="1097" y="1296"/>
                  </a:lnTo>
                  <a:lnTo>
                    <a:pt x="1106" y="1289"/>
                  </a:lnTo>
                  <a:lnTo>
                    <a:pt x="1113" y="1283"/>
                  </a:lnTo>
                  <a:lnTo>
                    <a:pt x="1120" y="1275"/>
                  </a:lnTo>
                  <a:lnTo>
                    <a:pt x="1126" y="1267"/>
                  </a:lnTo>
                  <a:lnTo>
                    <a:pt x="1132" y="1258"/>
                  </a:lnTo>
                  <a:lnTo>
                    <a:pt x="1136" y="1248"/>
                  </a:lnTo>
                  <a:lnTo>
                    <a:pt x="1139" y="1239"/>
                  </a:lnTo>
                  <a:lnTo>
                    <a:pt x="1142" y="1229"/>
                  </a:lnTo>
                  <a:lnTo>
                    <a:pt x="1144" y="1218"/>
                  </a:lnTo>
                  <a:lnTo>
                    <a:pt x="1145" y="1208"/>
                  </a:lnTo>
                  <a:lnTo>
                    <a:pt x="1145" y="106"/>
                  </a:lnTo>
                  <a:lnTo>
                    <a:pt x="1145" y="106"/>
                  </a:lnTo>
                  <a:lnTo>
                    <a:pt x="1144" y="95"/>
                  </a:lnTo>
                  <a:lnTo>
                    <a:pt x="1142" y="84"/>
                  </a:lnTo>
                  <a:lnTo>
                    <a:pt x="1139" y="75"/>
                  </a:lnTo>
                  <a:lnTo>
                    <a:pt x="1136" y="65"/>
                  </a:lnTo>
                  <a:lnTo>
                    <a:pt x="1132" y="55"/>
                  </a:lnTo>
                  <a:lnTo>
                    <a:pt x="1126" y="47"/>
                  </a:lnTo>
                  <a:lnTo>
                    <a:pt x="1120" y="39"/>
                  </a:lnTo>
                  <a:lnTo>
                    <a:pt x="1113" y="32"/>
                  </a:lnTo>
                  <a:lnTo>
                    <a:pt x="1106" y="24"/>
                  </a:lnTo>
                  <a:lnTo>
                    <a:pt x="1097" y="18"/>
                  </a:lnTo>
                  <a:lnTo>
                    <a:pt x="1089" y="13"/>
                  </a:lnTo>
                  <a:lnTo>
                    <a:pt x="1079" y="8"/>
                  </a:lnTo>
                  <a:lnTo>
                    <a:pt x="1069" y="5"/>
                  </a:lnTo>
                  <a:lnTo>
                    <a:pt x="1060" y="3"/>
                  </a:lnTo>
                  <a:lnTo>
                    <a:pt x="1049" y="0"/>
                  </a:lnTo>
                  <a:lnTo>
                    <a:pt x="1038" y="0"/>
                  </a:lnTo>
                  <a:lnTo>
                    <a:pt x="106" y="0"/>
                  </a:lnTo>
                  <a:lnTo>
                    <a:pt x="106" y="0"/>
                  </a:lnTo>
                  <a:lnTo>
                    <a:pt x="95" y="0"/>
                  </a:lnTo>
                  <a:lnTo>
                    <a:pt x="85" y="3"/>
                  </a:lnTo>
                  <a:lnTo>
                    <a:pt x="75" y="5"/>
                  </a:lnTo>
                  <a:lnTo>
                    <a:pt x="65" y="8"/>
                  </a:lnTo>
                  <a:lnTo>
                    <a:pt x="56" y="13"/>
                  </a:lnTo>
                  <a:lnTo>
                    <a:pt x="47" y="18"/>
                  </a:lnTo>
                  <a:lnTo>
                    <a:pt x="38" y="24"/>
                  </a:lnTo>
                  <a:lnTo>
                    <a:pt x="31" y="32"/>
                  </a:lnTo>
                  <a:lnTo>
                    <a:pt x="25" y="39"/>
                  </a:lnTo>
                  <a:lnTo>
                    <a:pt x="18" y="47"/>
                  </a:lnTo>
                  <a:lnTo>
                    <a:pt x="13" y="55"/>
                  </a:lnTo>
                  <a:lnTo>
                    <a:pt x="8" y="65"/>
                  </a:lnTo>
                  <a:lnTo>
                    <a:pt x="5" y="75"/>
                  </a:lnTo>
                  <a:lnTo>
                    <a:pt x="2" y="84"/>
                  </a:lnTo>
                  <a:lnTo>
                    <a:pt x="1" y="95"/>
                  </a:lnTo>
                  <a:lnTo>
                    <a:pt x="0" y="106"/>
                  </a:lnTo>
                  <a:lnTo>
                    <a:pt x="0" y="1208"/>
                  </a:lnTo>
                  <a:lnTo>
                    <a:pt x="0" y="1208"/>
                  </a:lnTo>
                  <a:lnTo>
                    <a:pt x="1" y="1218"/>
                  </a:lnTo>
                  <a:lnTo>
                    <a:pt x="2" y="1229"/>
                  </a:lnTo>
                  <a:lnTo>
                    <a:pt x="5" y="1239"/>
                  </a:lnTo>
                  <a:lnTo>
                    <a:pt x="8" y="1248"/>
                  </a:lnTo>
                  <a:lnTo>
                    <a:pt x="13" y="1258"/>
                  </a:lnTo>
                  <a:lnTo>
                    <a:pt x="18" y="1267"/>
                  </a:lnTo>
                  <a:lnTo>
                    <a:pt x="25" y="1275"/>
                  </a:lnTo>
                  <a:lnTo>
                    <a:pt x="31" y="1283"/>
                  </a:lnTo>
                  <a:lnTo>
                    <a:pt x="38" y="1289"/>
                  </a:lnTo>
                  <a:lnTo>
                    <a:pt x="47" y="1296"/>
                  </a:lnTo>
                  <a:lnTo>
                    <a:pt x="56" y="1301"/>
                  </a:lnTo>
                  <a:lnTo>
                    <a:pt x="65" y="1305"/>
                  </a:lnTo>
                  <a:lnTo>
                    <a:pt x="75" y="1309"/>
                  </a:lnTo>
                  <a:lnTo>
                    <a:pt x="85" y="1312"/>
                  </a:lnTo>
                  <a:lnTo>
                    <a:pt x="95" y="1313"/>
                  </a:lnTo>
                  <a:lnTo>
                    <a:pt x="106" y="1314"/>
                  </a:lnTo>
                  <a:lnTo>
                    <a:pt x="1038" y="1314"/>
                  </a:lnTo>
                  <a:close/>
                  <a:moveTo>
                    <a:pt x="170" y="233"/>
                  </a:moveTo>
                  <a:lnTo>
                    <a:pt x="170" y="233"/>
                  </a:lnTo>
                  <a:lnTo>
                    <a:pt x="170" y="228"/>
                  </a:lnTo>
                  <a:lnTo>
                    <a:pt x="172" y="225"/>
                  </a:lnTo>
                  <a:lnTo>
                    <a:pt x="173" y="221"/>
                  </a:lnTo>
                  <a:lnTo>
                    <a:pt x="176" y="218"/>
                  </a:lnTo>
                  <a:lnTo>
                    <a:pt x="179" y="215"/>
                  </a:lnTo>
                  <a:lnTo>
                    <a:pt x="183" y="213"/>
                  </a:lnTo>
                  <a:lnTo>
                    <a:pt x="187" y="212"/>
                  </a:lnTo>
                  <a:lnTo>
                    <a:pt x="191" y="212"/>
                  </a:lnTo>
                  <a:lnTo>
                    <a:pt x="953" y="212"/>
                  </a:lnTo>
                  <a:lnTo>
                    <a:pt x="953" y="212"/>
                  </a:lnTo>
                  <a:lnTo>
                    <a:pt x="958" y="212"/>
                  </a:lnTo>
                  <a:lnTo>
                    <a:pt x="962" y="213"/>
                  </a:lnTo>
                  <a:lnTo>
                    <a:pt x="965" y="215"/>
                  </a:lnTo>
                  <a:lnTo>
                    <a:pt x="968" y="218"/>
                  </a:lnTo>
                  <a:lnTo>
                    <a:pt x="972" y="221"/>
                  </a:lnTo>
                  <a:lnTo>
                    <a:pt x="973" y="225"/>
                  </a:lnTo>
                  <a:lnTo>
                    <a:pt x="975" y="228"/>
                  </a:lnTo>
                  <a:lnTo>
                    <a:pt x="975" y="233"/>
                  </a:lnTo>
                  <a:lnTo>
                    <a:pt x="975" y="1081"/>
                  </a:lnTo>
                  <a:lnTo>
                    <a:pt x="975" y="1081"/>
                  </a:lnTo>
                  <a:lnTo>
                    <a:pt x="975" y="1085"/>
                  </a:lnTo>
                  <a:lnTo>
                    <a:pt x="973" y="1088"/>
                  </a:lnTo>
                  <a:lnTo>
                    <a:pt x="972" y="1093"/>
                  </a:lnTo>
                  <a:lnTo>
                    <a:pt x="968" y="1096"/>
                  </a:lnTo>
                  <a:lnTo>
                    <a:pt x="965" y="1098"/>
                  </a:lnTo>
                  <a:lnTo>
                    <a:pt x="962" y="1100"/>
                  </a:lnTo>
                  <a:lnTo>
                    <a:pt x="958" y="1101"/>
                  </a:lnTo>
                  <a:lnTo>
                    <a:pt x="953" y="1102"/>
                  </a:lnTo>
                  <a:lnTo>
                    <a:pt x="191" y="1102"/>
                  </a:lnTo>
                  <a:lnTo>
                    <a:pt x="191" y="1102"/>
                  </a:lnTo>
                  <a:lnTo>
                    <a:pt x="187" y="1101"/>
                  </a:lnTo>
                  <a:lnTo>
                    <a:pt x="183" y="1100"/>
                  </a:lnTo>
                  <a:lnTo>
                    <a:pt x="179" y="1098"/>
                  </a:lnTo>
                  <a:lnTo>
                    <a:pt x="176" y="1096"/>
                  </a:lnTo>
                  <a:lnTo>
                    <a:pt x="173" y="1093"/>
                  </a:lnTo>
                  <a:lnTo>
                    <a:pt x="172" y="1088"/>
                  </a:lnTo>
                  <a:lnTo>
                    <a:pt x="170" y="1085"/>
                  </a:lnTo>
                  <a:lnTo>
                    <a:pt x="170" y="1081"/>
                  </a:lnTo>
                  <a:lnTo>
                    <a:pt x="170" y="2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5" name="Freeform 139">
              <a:extLst>
                <a:ext uri="{FF2B5EF4-FFF2-40B4-BE49-F238E27FC236}">
                  <a16:creationId xmlns:a16="http://schemas.microsoft.com/office/drawing/2014/main" id="{83FC559D-458E-451F-A0DE-96B124914D7C}"/>
                </a:ext>
              </a:extLst>
            </p:cNvPr>
            <p:cNvSpPr>
              <a:spLocks/>
            </p:cNvSpPr>
            <p:nvPr/>
          </p:nvSpPr>
          <p:spPr bwMode="auto">
            <a:xfrm>
              <a:off x="6491288" y="2944813"/>
              <a:ext cx="150813" cy="17463"/>
            </a:xfrm>
            <a:custGeom>
              <a:avLst/>
              <a:gdLst>
                <a:gd name="T0" fmla="*/ 22 w 382"/>
                <a:gd name="T1" fmla="*/ 43 h 43"/>
                <a:gd name="T2" fmla="*/ 360 w 382"/>
                <a:gd name="T3" fmla="*/ 43 h 43"/>
                <a:gd name="T4" fmla="*/ 360 w 382"/>
                <a:gd name="T5" fmla="*/ 43 h 43"/>
                <a:gd name="T6" fmla="*/ 365 w 382"/>
                <a:gd name="T7" fmla="*/ 42 h 43"/>
                <a:gd name="T8" fmla="*/ 369 w 382"/>
                <a:gd name="T9" fmla="*/ 41 h 43"/>
                <a:gd name="T10" fmla="*/ 372 w 382"/>
                <a:gd name="T11" fmla="*/ 39 h 43"/>
                <a:gd name="T12" fmla="*/ 376 w 382"/>
                <a:gd name="T13" fmla="*/ 36 h 43"/>
                <a:gd name="T14" fmla="*/ 378 w 382"/>
                <a:gd name="T15" fmla="*/ 33 h 43"/>
                <a:gd name="T16" fmla="*/ 380 w 382"/>
                <a:gd name="T17" fmla="*/ 30 h 43"/>
                <a:gd name="T18" fmla="*/ 381 w 382"/>
                <a:gd name="T19" fmla="*/ 26 h 43"/>
                <a:gd name="T20" fmla="*/ 382 w 382"/>
                <a:gd name="T21" fmla="*/ 21 h 43"/>
                <a:gd name="T22" fmla="*/ 382 w 382"/>
                <a:gd name="T23" fmla="*/ 21 h 43"/>
                <a:gd name="T24" fmla="*/ 381 w 382"/>
                <a:gd name="T25" fmla="*/ 17 h 43"/>
                <a:gd name="T26" fmla="*/ 380 w 382"/>
                <a:gd name="T27" fmla="*/ 13 h 43"/>
                <a:gd name="T28" fmla="*/ 378 w 382"/>
                <a:gd name="T29" fmla="*/ 10 h 43"/>
                <a:gd name="T30" fmla="*/ 376 w 382"/>
                <a:gd name="T31" fmla="*/ 6 h 43"/>
                <a:gd name="T32" fmla="*/ 372 w 382"/>
                <a:gd name="T33" fmla="*/ 4 h 43"/>
                <a:gd name="T34" fmla="*/ 369 w 382"/>
                <a:gd name="T35" fmla="*/ 2 h 43"/>
                <a:gd name="T36" fmla="*/ 365 w 382"/>
                <a:gd name="T37" fmla="*/ 1 h 43"/>
                <a:gd name="T38" fmla="*/ 360 w 382"/>
                <a:gd name="T39" fmla="*/ 0 h 43"/>
                <a:gd name="T40" fmla="*/ 22 w 382"/>
                <a:gd name="T41" fmla="*/ 0 h 43"/>
                <a:gd name="T42" fmla="*/ 22 w 382"/>
                <a:gd name="T43" fmla="*/ 0 h 43"/>
                <a:gd name="T44" fmla="*/ 18 w 382"/>
                <a:gd name="T45" fmla="*/ 1 h 43"/>
                <a:gd name="T46" fmla="*/ 13 w 382"/>
                <a:gd name="T47" fmla="*/ 2 h 43"/>
                <a:gd name="T48" fmla="*/ 10 w 382"/>
                <a:gd name="T49" fmla="*/ 4 h 43"/>
                <a:gd name="T50" fmla="*/ 7 w 382"/>
                <a:gd name="T51" fmla="*/ 6 h 43"/>
                <a:gd name="T52" fmla="*/ 4 w 382"/>
                <a:gd name="T53" fmla="*/ 10 h 43"/>
                <a:gd name="T54" fmla="*/ 3 w 382"/>
                <a:gd name="T55" fmla="*/ 13 h 43"/>
                <a:gd name="T56" fmla="*/ 0 w 382"/>
                <a:gd name="T57" fmla="*/ 17 h 43"/>
                <a:gd name="T58" fmla="*/ 0 w 382"/>
                <a:gd name="T59" fmla="*/ 21 h 43"/>
                <a:gd name="T60" fmla="*/ 0 w 382"/>
                <a:gd name="T61" fmla="*/ 21 h 43"/>
                <a:gd name="T62" fmla="*/ 0 w 382"/>
                <a:gd name="T63" fmla="*/ 26 h 43"/>
                <a:gd name="T64" fmla="*/ 3 w 382"/>
                <a:gd name="T65" fmla="*/ 30 h 43"/>
                <a:gd name="T66" fmla="*/ 4 w 382"/>
                <a:gd name="T67" fmla="*/ 33 h 43"/>
                <a:gd name="T68" fmla="*/ 7 w 382"/>
                <a:gd name="T69" fmla="*/ 36 h 43"/>
                <a:gd name="T70" fmla="*/ 10 w 382"/>
                <a:gd name="T71" fmla="*/ 39 h 43"/>
                <a:gd name="T72" fmla="*/ 13 w 382"/>
                <a:gd name="T73" fmla="*/ 41 h 43"/>
                <a:gd name="T74" fmla="*/ 18 w 382"/>
                <a:gd name="T75" fmla="*/ 42 h 43"/>
                <a:gd name="T76" fmla="*/ 22 w 382"/>
                <a:gd name="T77" fmla="*/ 43 h 43"/>
                <a:gd name="T78" fmla="*/ 22 w 382"/>
                <a:gd name="T79"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82" h="43">
                  <a:moveTo>
                    <a:pt x="22" y="43"/>
                  </a:moveTo>
                  <a:lnTo>
                    <a:pt x="360" y="43"/>
                  </a:lnTo>
                  <a:lnTo>
                    <a:pt x="360" y="43"/>
                  </a:lnTo>
                  <a:lnTo>
                    <a:pt x="365" y="42"/>
                  </a:lnTo>
                  <a:lnTo>
                    <a:pt x="369" y="41"/>
                  </a:lnTo>
                  <a:lnTo>
                    <a:pt x="372" y="39"/>
                  </a:lnTo>
                  <a:lnTo>
                    <a:pt x="376" y="36"/>
                  </a:lnTo>
                  <a:lnTo>
                    <a:pt x="378" y="33"/>
                  </a:lnTo>
                  <a:lnTo>
                    <a:pt x="380" y="30"/>
                  </a:lnTo>
                  <a:lnTo>
                    <a:pt x="381" y="26"/>
                  </a:lnTo>
                  <a:lnTo>
                    <a:pt x="382" y="21"/>
                  </a:lnTo>
                  <a:lnTo>
                    <a:pt x="382" y="21"/>
                  </a:lnTo>
                  <a:lnTo>
                    <a:pt x="381" y="17"/>
                  </a:lnTo>
                  <a:lnTo>
                    <a:pt x="380" y="13"/>
                  </a:lnTo>
                  <a:lnTo>
                    <a:pt x="378" y="10"/>
                  </a:lnTo>
                  <a:lnTo>
                    <a:pt x="376" y="6"/>
                  </a:lnTo>
                  <a:lnTo>
                    <a:pt x="372" y="4"/>
                  </a:lnTo>
                  <a:lnTo>
                    <a:pt x="369" y="2"/>
                  </a:lnTo>
                  <a:lnTo>
                    <a:pt x="365" y="1"/>
                  </a:lnTo>
                  <a:lnTo>
                    <a:pt x="360" y="0"/>
                  </a:lnTo>
                  <a:lnTo>
                    <a:pt x="22" y="0"/>
                  </a:lnTo>
                  <a:lnTo>
                    <a:pt x="22" y="0"/>
                  </a:lnTo>
                  <a:lnTo>
                    <a:pt x="18" y="1"/>
                  </a:lnTo>
                  <a:lnTo>
                    <a:pt x="13" y="2"/>
                  </a:lnTo>
                  <a:lnTo>
                    <a:pt x="10" y="4"/>
                  </a:lnTo>
                  <a:lnTo>
                    <a:pt x="7" y="6"/>
                  </a:lnTo>
                  <a:lnTo>
                    <a:pt x="4" y="10"/>
                  </a:lnTo>
                  <a:lnTo>
                    <a:pt x="3" y="13"/>
                  </a:lnTo>
                  <a:lnTo>
                    <a:pt x="0" y="17"/>
                  </a:lnTo>
                  <a:lnTo>
                    <a:pt x="0" y="21"/>
                  </a:lnTo>
                  <a:lnTo>
                    <a:pt x="0" y="21"/>
                  </a:lnTo>
                  <a:lnTo>
                    <a:pt x="0" y="26"/>
                  </a:lnTo>
                  <a:lnTo>
                    <a:pt x="3" y="30"/>
                  </a:lnTo>
                  <a:lnTo>
                    <a:pt x="4" y="33"/>
                  </a:lnTo>
                  <a:lnTo>
                    <a:pt x="7" y="36"/>
                  </a:lnTo>
                  <a:lnTo>
                    <a:pt x="10" y="39"/>
                  </a:lnTo>
                  <a:lnTo>
                    <a:pt x="13" y="41"/>
                  </a:lnTo>
                  <a:lnTo>
                    <a:pt x="18" y="42"/>
                  </a:lnTo>
                  <a:lnTo>
                    <a:pt x="22" y="43"/>
                  </a:lnTo>
                  <a:lnTo>
                    <a:pt x="22" y="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6" name="Freeform 140">
              <a:extLst>
                <a:ext uri="{FF2B5EF4-FFF2-40B4-BE49-F238E27FC236}">
                  <a16:creationId xmlns:a16="http://schemas.microsoft.com/office/drawing/2014/main" id="{DAFEDE6B-F345-4440-B734-8F3A01A5C13D}"/>
                </a:ext>
              </a:extLst>
            </p:cNvPr>
            <p:cNvSpPr>
              <a:spLocks/>
            </p:cNvSpPr>
            <p:nvPr/>
          </p:nvSpPr>
          <p:spPr bwMode="auto">
            <a:xfrm>
              <a:off x="6491288" y="3011488"/>
              <a:ext cx="150813" cy="17463"/>
            </a:xfrm>
            <a:custGeom>
              <a:avLst/>
              <a:gdLst>
                <a:gd name="T0" fmla="*/ 22 w 382"/>
                <a:gd name="T1" fmla="*/ 42 h 42"/>
                <a:gd name="T2" fmla="*/ 360 w 382"/>
                <a:gd name="T3" fmla="*/ 42 h 42"/>
                <a:gd name="T4" fmla="*/ 360 w 382"/>
                <a:gd name="T5" fmla="*/ 42 h 42"/>
                <a:gd name="T6" fmla="*/ 365 w 382"/>
                <a:gd name="T7" fmla="*/ 42 h 42"/>
                <a:gd name="T8" fmla="*/ 369 w 382"/>
                <a:gd name="T9" fmla="*/ 41 h 42"/>
                <a:gd name="T10" fmla="*/ 372 w 382"/>
                <a:gd name="T11" fmla="*/ 38 h 42"/>
                <a:gd name="T12" fmla="*/ 376 w 382"/>
                <a:gd name="T13" fmla="*/ 36 h 42"/>
                <a:gd name="T14" fmla="*/ 378 w 382"/>
                <a:gd name="T15" fmla="*/ 33 h 42"/>
                <a:gd name="T16" fmla="*/ 380 w 382"/>
                <a:gd name="T17" fmla="*/ 29 h 42"/>
                <a:gd name="T18" fmla="*/ 381 w 382"/>
                <a:gd name="T19" fmla="*/ 26 h 42"/>
                <a:gd name="T20" fmla="*/ 382 w 382"/>
                <a:gd name="T21" fmla="*/ 21 h 42"/>
                <a:gd name="T22" fmla="*/ 382 w 382"/>
                <a:gd name="T23" fmla="*/ 21 h 42"/>
                <a:gd name="T24" fmla="*/ 381 w 382"/>
                <a:gd name="T25" fmla="*/ 17 h 42"/>
                <a:gd name="T26" fmla="*/ 380 w 382"/>
                <a:gd name="T27" fmla="*/ 13 h 42"/>
                <a:gd name="T28" fmla="*/ 378 w 382"/>
                <a:gd name="T29" fmla="*/ 9 h 42"/>
                <a:gd name="T30" fmla="*/ 376 w 382"/>
                <a:gd name="T31" fmla="*/ 6 h 42"/>
                <a:gd name="T32" fmla="*/ 372 w 382"/>
                <a:gd name="T33" fmla="*/ 3 h 42"/>
                <a:gd name="T34" fmla="*/ 369 w 382"/>
                <a:gd name="T35" fmla="*/ 1 h 42"/>
                <a:gd name="T36" fmla="*/ 365 w 382"/>
                <a:gd name="T37" fmla="*/ 0 h 42"/>
                <a:gd name="T38" fmla="*/ 360 w 382"/>
                <a:gd name="T39" fmla="*/ 0 h 42"/>
                <a:gd name="T40" fmla="*/ 22 w 382"/>
                <a:gd name="T41" fmla="*/ 0 h 42"/>
                <a:gd name="T42" fmla="*/ 22 w 382"/>
                <a:gd name="T43" fmla="*/ 0 h 42"/>
                <a:gd name="T44" fmla="*/ 18 w 382"/>
                <a:gd name="T45" fmla="*/ 0 h 42"/>
                <a:gd name="T46" fmla="*/ 13 w 382"/>
                <a:gd name="T47" fmla="*/ 1 h 42"/>
                <a:gd name="T48" fmla="*/ 10 w 382"/>
                <a:gd name="T49" fmla="*/ 3 h 42"/>
                <a:gd name="T50" fmla="*/ 7 w 382"/>
                <a:gd name="T51" fmla="*/ 6 h 42"/>
                <a:gd name="T52" fmla="*/ 4 w 382"/>
                <a:gd name="T53" fmla="*/ 9 h 42"/>
                <a:gd name="T54" fmla="*/ 3 w 382"/>
                <a:gd name="T55" fmla="*/ 13 h 42"/>
                <a:gd name="T56" fmla="*/ 0 w 382"/>
                <a:gd name="T57" fmla="*/ 17 h 42"/>
                <a:gd name="T58" fmla="*/ 0 w 382"/>
                <a:gd name="T59" fmla="*/ 21 h 42"/>
                <a:gd name="T60" fmla="*/ 0 w 382"/>
                <a:gd name="T61" fmla="*/ 21 h 42"/>
                <a:gd name="T62" fmla="*/ 0 w 382"/>
                <a:gd name="T63" fmla="*/ 26 h 42"/>
                <a:gd name="T64" fmla="*/ 3 w 382"/>
                <a:gd name="T65" fmla="*/ 29 h 42"/>
                <a:gd name="T66" fmla="*/ 4 w 382"/>
                <a:gd name="T67" fmla="*/ 33 h 42"/>
                <a:gd name="T68" fmla="*/ 7 w 382"/>
                <a:gd name="T69" fmla="*/ 36 h 42"/>
                <a:gd name="T70" fmla="*/ 10 w 382"/>
                <a:gd name="T71" fmla="*/ 38 h 42"/>
                <a:gd name="T72" fmla="*/ 13 w 382"/>
                <a:gd name="T73" fmla="*/ 41 h 42"/>
                <a:gd name="T74" fmla="*/ 18 w 382"/>
                <a:gd name="T75" fmla="*/ 42 h 42"/>
                <a:gd name="T76" fmla="*/ 22 w 382"/>
                <a:gd name="T77" fmla="*/ 42 h 42"/>
                <a:gd name="T78" fmla="*/ 22 w 382"/>
                <a:gd name="T7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82" h="42">
                  <a:moveTo>
                    <a:pt x="22" y="42"/>
                  </a:moveTo>
                  <a:lnTo>
                    <a:pt x="360" y="42"/>
                  </a:lnTo>
                  <a:lnTo>
                    <a:pt x="360" y="42"/>
                  </a:lnTo>
                  <a:lnTo>
                    <a:pt x="365" y="42"/>
                  </a:lnTo>
                  <a:lnTo>
                    <a:pt x="369" y="41"/>
                  </a:lnTo>
                  <a:lnTo>
                    <a:pt x="372" y="38"/>
                  </a:lnTo>
                  <a:lnTo>
                    <a:pt x="376" y="36"/>
                  </a:lnTo>
                  <a:lnTo>
                    <a:pt x="378" y="33"/>
                  </a:lnTo>
                  <a:lnTo>
                    <a:pt x="380" y="29"/>
                  </a:lnTo>
                  <a:lnTo>
                    <a:pt x="381" y="26"/>
                  </a:lnTo>
                  <a:lnTo>
                    <a:pt x="382" y="21"/>
                  </a:lnTo>
                  <a:lnTo>
                    <a:pt x="382" y="21"/>
                  </a:lnTo>
                  <a:lnTo>
                    <a:pt x="381" y="17"/>
                  </a:lnTo>
                  <a:lnTo>
                    <a:pt x="380" y="13"/>
                  </a:lnTo>
                  <a:lnTo>
                    <a:pt x="378" y="9"/>
                  </a:lnTo>
                  <a:lnTo>
                    <a:pt x="376" y="6"/>
                  </a:lnTo>
                  <a:lnTo>
                    <a:pt x="372" y="3"/>
                  </a:lnTo>
                  <a:lnTo>
                    <a:pt x="369" y="1"/>
                  </a:lnTo>
                  <a:lnTo>
                    <a:pt x="365" y="0"/>
                  </a:lnTo>
                  <a:lnTo>
                    <a:pt x="360" y="0"/>
                  </a:lnTo>
                  <a:lnTo>
                    <a:pt x="22" y="0"/>
                  </a:lnTo>
                  <a:lnTo>
                    <a:pt x="22" y="0"/>
                  </a:lnTo>
                  <a:lnTo>
                    <a:pt x="18" y="0"/>
                  </a:lnTo>
                  <a:lnTo>
                    <a:pt x="13" y="1"/>
                  </a:lnTo>
                  <a:lnTo>
                    <a:pt x="10" y="3"/>
                  </a:lnTo>
                  <a:lnTo>
                    <a:pt x="7" y="6"/>
                  </a:lnTo>
                  <a:lnTo>
                    <a:pt x="4" y="9"/>
                  </a:lnTo>
                  <a:lnTo>
                    <a:pt x="3" y="13"/>
                  </a:lnTo>
                  <a:lnTo>
                    <a:pt x="0" y="17"/>
                  </a:lnTo>
                  <a:lnTo>
                    <a:pt x="0" y="21"/>
                  </a:lnTo>
                  <a:lnTo>
                    <a:pt x="0" y="21"/>
                  </a:lnTo>
                  <a:lnTo>
                    <a:pt x="0" y="26"/>
                  </a:lnTo>
                  <a:lnTo>
                    <a:pt x="3" y="29"/>
                  </a:lnTo>
                  <a:lnTo>
                    <a:pt x="4" y="33"/>
                  </a:lnTo>
                  <a:lnTo>
                    <a:pt x="7" y="36"/>
                  </a:lnTo>
                  <a:lnTo>
                    <a:pt x="10" y="38"/>
                  </a:lnTo>
                  <a:lnTo>
                    <a:pt x="13" y="41"/>
                  </a:lnTo>
                  <a:lnTo>
                    <a:pt x="18" y="42"/>
                  </a:lnTo>
                  <a:lnTo>
                    <a:pt x="22" y="42"/>
                  </a:lnTo>
                  <a:lnTo>
                    <a:pt x="22" y="4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7" name="Freeform 141">
              <a:extLst>
                <a:ext uri="{FF2B5EF4-FFF2-40B4-BE49-F238E27FC236}">
                  <a16:creationId xmlns:a16="http://schemas.microsoft.com/office/drawing/2014/main" id="{28C39B95-2EFE-4D84-91C5-93F30570A55A}"/>
                </a:ext>
              </a:extLst>
            </p:cNvPr>
            <p:cNvSpPr>
              <a:spLocks/>
            </p:cNvSpPr>
            <p:nvPr/>
          </p:nvSpPr>
          <p:spPr bwMode="auto">
            <a:xfrm>
              <a:off x="6491288" y="3079751"/>
              <a:ext cx="66675" cy="15875"/>
            </a:xfrm>
            <a:custGeom>
              <a:avLst/>
              <a:gdLst>
                <a:gd name="T0" fmla="*/ 22 w 170"/>
                <a:gd name="T1" fmla="*/ 41 h 41"/>
                <a:gd name="T2" fmla="*/ 149 w 170"/>
                <a:gd name="T3" fmla="*/ 41 h 41"/>
                <a:gd name="T4" fmla="*/ 149 w 170"/>
                <a:gd name="T5" fmla="*/ 41 h 41"/>
                <a:gd name="T6" fmla="*/ 153 w 170"/>
                <a:gd name="T7" fmla="*/ 41 h 41"/>
                <a:gd name="T8" fmla="*/ 157 w 170"/>
                <a:gd name="T9" fmla="*/ 39 h 41"/>
                <a:gd name="T10" fmla="*/ 161 w 170"/>
                <a:gd name="T11" fmla="*/ 38 h 41"/>
                <a:gd name="T12" fmla="*/ 164 w 170"/>
                <a:gd name="T13" fmla="*/ 35 h 41"/>
                <a:gd name="T14" fmla="*/ 166 w 170"/>
                <a:gd name="T15" fmla="*/ 32 h 41"/>
                <a:gd name="T16" fmla="*/ 168 w 170"/>
                <a:gd name="T17" fmla="*/ 29 h 41"/>
                <a:gd name="T18" fmla="*/ 169 w 170"/>
                <a:gd name="T19" fmla="*/ 24 h 41"/>
                <a:gd name="T20" fmla="*/ 170 w 170"/>
                <a:gd name="T21" fmla="*/ 20 h 41"/>
                <a:gd name="T22" fmla="*/ 170 w 170"/>
                <a:gd name="T23" fmla="*/ 20 h 41"/>
                <a:gd name="T24" fmla="*/ 169 w 170"/>
                <a:gd name="T25" fmla="*/ 16 h 41"/>
                <a:gd name="T26" fmla="*/ 168 w 170"/>
                <a:gd name="T27" fmla="*/ 12 h 41"/>
                <a:gd name="T28" fmla="*/ 166 w 170"/>
                <a:gd name="T29" fmla="*/ 8 h 41"/>
                <a:gd name="T30" fmla="*/ 164 w 170"/>
                <a:gd name="T31" fmla="*/ 5 h 41"/>
                <a:gd name="T32" fmla="*/ 161 w 170"/>
                <a:gd name="T33" fmla="*/ 3 h 41"/>
                <a:gd name="T34" fmla="*/ 157 w 170"/>
                <a:gd name="T35" fmla="*/ 1 h 41"/>
                <a:gd name="T36" fmla="*/ 153 w 170"/>
                <a:gd name="T37" fmla="*/ 0 h 41"/>
                <a:gd name="T38" fmla="*/ 149 w 170"/>
                <a:gd name="T39" fmla="*/ 0 h 41"/>
                <a:gd name="T40" fmla="*/ 22 w 170"/>
                <a:gd name="T41" fmla="*/ 0 h 41"/>
                <a:gd name="T42" fmla="*/ 22 w 170"/>
                <a:gd name="T43" fmla="*/ 0 h 41"/>
                <a:gd name="T44" fmla="*/ 18 w 170"/>
                <a:gd name="T45" fmla="*/ 0 h 41"/>
                <a:gd name="T46" fmla="*/ 13 w 170"/>
                <a:gd name="T47" fmla="*/ 1 h 41"/>
                <a:gd name="T48" fmla="*/ 10 w 170"/>
                <a:gd name="T49" fmla="*/ 3 h 41"/>
                <a:gd name="T50" fmla="*/ 7 w 170"/>
                <a:gd name="T51" fmla="*/ 5 h 41"/>
                <a:gd name="T52" fmla="*/ 4 w 170"/>
                <a:gd name="T53" fmla="*/ 8 h 41"/>
                <a:gd name="T54" fmla="*/ 3 w 170"/>
                <a:gd name="T55" fmla="*/ 12 h 41"/>
                <a:gd name="T56" fmla="*/ 0 w 170"/>
                <a:gd name="T57" fmla="*/ 16 h 41"/>
                <a:gd name="T58" fmla="*/ 0 w 170"/>
                <a:gd name="T59" fmla="*/ 20 h 41"/>
                <a:gd name="T60" fmla="*/ 0 w 170"/>
                <a:gd name="T61" fmla="*/ 20 h 41"/>
                <a:gd name="T62" fmla="*/ 0 w 170"/>
                <a:gd name="T63" fmla="*/ 24 h 41"/>
                <a:gd name="T64" fmla="*/ 3 w 170"/>
                <a:gd name="T65" fmla="*/ 29 h 41"/>
                <a:gd name="T66" fmla="*/ 4 w 170"/>
                <a:gd name="T67" fmla="*/ 32 h 41"/>
                <a:gd name="T68" fmla="*/ 7 w 170"/>
                <a:gd name="T69" fmla="*/ 35 h 41"/>
                <a:gd name="T70" fmla="*/ 10 w 170"/>
                <a:gd name="T71" fmla="*/ 38 h 41"/>
                <a:gd name="T72" fmla="*/ 13 w 170"/>
                <a:gd name="T73" fmla="*/ 39 h 41"/>
                <a:gd name="T74" fmla="*/ 18 w 170"/>
                <a:gd name="T75" fmla="*/ 41 h 41"/>
                <a:gd name="T76" fmla="*/ 22 w 170"/>
                <a:gd name="T77" fmla="*/ 41 h 41"/>
                <a:gd name="T78" fmla="*/ 22 w 170"/>
                <a:gd name="T7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0" h="41">
                  <a:moveTo>
                    <a:pt x="22" y="41"/>
                  </a:moveTo>
                  <a:lnTo>
                    <a:pt x="149" y="41"/>
                  </a:lnTo>
                  <a:lnTo>
                    <a:pt x="149" y="41"/>
                  </a:lnTo>
                  <a:lnTo>
                    <a:pt x="153" y="41"/>
                  </a:lnTo>
                  <a:lnTo>
                    <a:pt x="157" y="39"/>
                  </a:lnTo>
                  <a:lnTo>
                    <a:pt x="161" y="38"/>
                  </a:lnTo>
                  <a:lnTo>
                    <a:pt x="164" y="35"/>
                  </a:lnTo>
                  <a:lnTo>
                    <a:pt x="166" y="32"/>
                  </a:lnTo>
                  <a:lnTo>
                    <a:pt x="168" y="29"/>
                  </a:lnTo>
                  <a:lnTo>
                    <a:pt x="169" y="24"/>
                  </a:lnTo>
                  <a:lnTo>
                    <a:pt x="170" y="20"/>
                  </a:lnTo>
                  <a:lnTo>
                    <a:pt x="170" y="20"/>
                  </a:lnTo>
                  <a:lnTo>
                    <a:pt x="169" y="16"/>
                  </a:lnTo>
                  <a:lnTo>
                    <a:pt x="168" y="12"/>
                  </a:lnTo>
                  <a:lnTo>
                    <a:pt x="166" y="8"/>
                  </a:lnTo>
                  <a:lnTo>
                    <a:pt x="164" y="5"/>
                  </a:lnTo>
                  <a:lnTo>
                    <a:pt x="161" y="3"/>
                  </a:lnTo>
                  <a:lnTo>
                    <a:pt x="157" y="1"/>
                  </a:lnTo>
                  <a:lnTo>
                    <a:pt x="153" y="0"/>
                  </a:lnTo>
                  <a:lnTo>
                    <a:pt x="149" y="0"/>
                  </a:lnTo>
                  <a:lnTo>
                    <a:pt x="22" y="0"/>
                  </a:lnTo>
                  <a:lnTo>
                    <a:pt x="22" y="0"/>
                  </a:lnTo>
                  <a:lnTo>
                    <a:pt x="18" y="0"/>
                  </a:lnTo>
                  <a:lnTo>
                    <a:pt x="13" y="1"/>
                  </a:lnTo>
                  <a:lnTo>
                    <a:pt x="10" y="3"/>
                  </a:lnTo>
                  <a:lnTo>
                    <a:pt x="7" y="5"/>
                  </a:lnTo>
                  <a:lnTo>
                    <a:pt x="4" y="8"/>
                  </a:lnTo>
                  <a:lnTo>
                    <a:pt x="3" y="12"/>
                  </a:lnTo>
                  <a:lnTo>
                    <a:pt x="0" y="16"/>
                  </a:lnTo>
                  <a:lnTo>
                    <a:pt x="0" y="20"/>
                  </a:lnTo>
                  <a:lnTo>
                    <a:pt x="0" y="20"/>
                  </a:lnTo>
                  <a:lnTo>
                    <a:pt x="0" y="24"/>
                  </a:lnTo>
                  <a:lnTo>
                    <a:pt x="3" y="29"/>
                  </a:lnTo>
                  <a:lnTo>
                    <a:pt x="4" y="32"/>
                  </a:lnTo>
                  <a:lnTo>
                    <a:pt x="7" y="35"/>
                  </a:lnTo>
                  <a:lnTo>
                    <a:pt x="10" y="38"/>
                  </a:lnTo>
                  <a:lnTo>
                    <a:pt x="13" y="39"/>
                  </a:lnTo>
                  <a:lnTo>
                    <a:pt x="18" y="41"/>
                  </a:lnTo>
                  <a:lnTo>
                    <a:pt x="22" y="41"/>
                  </a:lnTo>
                  <a:lnTo>
                    <a:pt x="22" y="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68" name="Freeform 142">
            <a:extLst>
              <a:ext uri="{FF2B5EF4-FFF2-40B4-BE49-F238E27FC236}">
                <a16:creationId xmlns:a16="http://schemas.microsoft.com/office/drawing/2014/main" id="{DCE3FFE1-6009-4195-9E1C-C85181EF2A6D}"/>
              </a:ext>
            </a:extLst>
          </p:cNvPr>
          <p:cNvSpPr>
            <a:spLocks noChangeAspect="1"/>
          </p:cNvSpPr>
          <p:nvPr/>
        </p:nvSpPr>
        <p:spPr bwMode="auto">
          <a:xfrm>
            <a:off x="7641630" y="4518962"/>
            <a:ext cx="293463" cy="321209"/>
          </a:xfrm>
          <a:custGeom>
            <a:avLst/>
            <a:gdLst>
              <a:gd name="T0" fmla="*/ 1013 w 1100"/>
              <a:gd name="T1" fmla="*/ 540 h 1202"/>
              <a:gd name="T2" fmla="*/ 979 w 1100"/>
              <a:gd name="T3" fmla="*/ 544 h 1202"/>
              <a:gd name="T4" fmla="*/ 956 w 1100"/>
              <a:gd name="T5" fmla="*/ 558 h 1202"/>
              <a:gd name="T6" fmla="*/ 949 w 1100"/>
              <a:gd name="T7" fmla="*/ 565 h 1202"/>
              <a:gd name="T8" fmla="*/ 940 w 1100"/>
              <a:gd name="T9" fmla="*/ 567 h 1202"/>
              <a:gd name="T10" fmla="*/ 934 w 1100"/>
              <a:gd name="T11" fmla="*/ 561 h 1202"/>
              <a:gd name="T12" fmla="*/ 928 w 1100"/>
              <a:gd name="T13" fmla="*/ 545 h 1202"/>
              <a:gd name="T14" fmla="*/ 905 w 1100"/>
              <a:gd name="T15" fmla="*/ 512 h 1202"/>
              <a:gd name="T16" fmla="*/ 868 w 1100"/>
              <a:gd name="T17" fmla="*/ 492 h 1202"/>
              <a:gd name="T18" fmla="*/ 838 w 1100"/>
              <a:gd name="T19" fmla="*/ 488 h 1202"/>
              <a:gd name="T20" fmla="*/ 801 w 1100"/>
              <a:gd name="T21" fmla="*/ 499 h 1202"/>
              <a:gd name="T22" fmla="*/ 774 w 1100"/>
              <a:gd name="T23" fmla="*/ 517 h 1202"/>
              <a:gd name="T24" fmla="*/ 765 w 1100"/>
              <a:gd name="T25" fmla="*/ 526 h 1202"/>
              <a:gd name="T26" fmla="*/ 758 w 1100"/>
              <a:gd name="T27" fmla="*/ 527 h 1202"/>
              <a:gd name="T28" fmla="*/ 751 w 1100"/>
              <a:gd name="T29" fmla="*/ 523 h 1202"/>
              <a:gd name="T30" fmla="*/ 746 w 1100"/>
              <a:gd name="T31" fmla="*/ 506 h 1202"/>
              <a:gd name="T32" fmla="*/ 721 w 1100"/>
              <a:gd name="T33" fmla="*/ 471 h 1202"/>
              <a:gd name="T34" fmla="*/ 685 w 1100"/>
              <a:gd name="T35" fmla="*/ 451 h 1202"/>
              <a:gd name="T36" fmla="*/ 656 w 1100"/>
              <a:gd name="T37" fmla="*/ 449 h 1202"/>
              <a:gd name="T38" fmla="*/ 618 w 1100"/>
              <a:gd name="T39" fmla="*/ 459 h 1202"/>
              <a:gd name="T40" fmla="*/ 588 w 1100"/>
              <a:gd name="T41" fmla="*/ 484 h 1202"/>
              <a:gd name="T42" fmla="*/ 580 w 1100"/>
              <a:gd name="T43" fmla="*/ 497 h 1202"/>
              <a:gd name="T44" fmla="*/ 571 w 1100"/>
              <a:gd name="T45" fmla="*/ 496 h 1202"/>
              <a:gd name="T46" fmla="*/ 570 w 1100"/>
              <a:gd name="T47" fmla="*/ 95 h 1202"/>
              <a:gd name="T48" fmla="*/ 568 w 1100"/>
              <a:gd name="T49" fmla="*/ 77 h 1202"/>
              <a:gd name="T50" fmla="*/ 560 w 1100"/>
              <a:gd name="T51" fmla="*/ 52 h 1202"/>
              <a:gd name="T52" fmla="*/ 546 w 1100"/>
              <a:gd name="T53" fmla="*/ 31 h 1202"/>
              <a:gd name="T54" fmla="*/ 527 w 1100"/>
              <a:gd name="T55" fmla="*/ 14 h 1202"/>
              <a:gd name="T56" fmla="*/ 504 w 1100"/>
              <a:gd name="T57" fmla="*/ 3 h 1202"/>
              <a:gd name="T58" fmla="*/ 487 w 1100"/>
              <a:gd name="T59" fmla="*/ 0 h 1202"/>
              <a:gd name="T60" fmla="*/ 457 w 1100"/>
              <a:gd name="T61" fmla="*/ 2 h 1202"/>
              <a:gd name="T62" fmla="*/ 431 w 1100"/>
              <a:gd name="T63" fmla="*/ 13 h 1202"/>
              <a:gd name="T64" fmla="*/ 409 w 1100"/>
              <a:gd name="T65" fmla="*/ 30 h 1202"/>
              <a:gd name="T66" fmla="*/ 394 w 1100"/>
              <a:gd name="T67" fmla="*/ 54 h 1202"/>
              <a:gd name="T68" fmla="*/ 386 w 1100"/>
              <a:gd name="T69" fmla="*/ 81 h 1202"/>
              <a:gd name="T70" fmla="*/ 386 w 1100"/>
              <a:gd name="T71" fmla="*/ 735 h 1202"/>
              <a:gd name="T72" fmla="*/ 379 w 1100"/>
              <a:gd name="T73" fmla="*/ 765 h 1202"/>
              <a:gd name="T74" fmla="*/ 359 w 1100"/>
              <a:gd name="T75" fmla="*/ 786 h 1202"/>
              <a:gd name="T76" fmla="*/ 334 w 1100"/>
              <a:gd name="T77" fmla="*/ 795 h 1202"/>
              <a:gd name="T78" fmla="*/ 306 w 1100"/>
              <a:gd name="T79" fmla="*/ 793 h 1202"/>
              <a:gd name="T80" fmla="*/ 281 w 1100"/>
              <a:gd name="T81" fmla="*/ 778 h 1202"/>
              <a:gd name="T82" fmla="*/ 204 w 1100"/>
              <a:gd name="T83" fmla="*/ 664 h 1202"/>
              <a:gd name="T84" fmla="*/ 180 w 1100"/>
              <a:gd name="T85" fmla="*/ 637 h 1202"/>
              <a:gd name="T86" fmla="*/ 151 w 1100"/>
              <a:gd name="T87" fmla="*/ 617 h 1202"/>
              <a:gd name="T88" fmla="*/ 118 w 1100"/>
              <a:gd name="T89" fmla="*/ 604 h 1202"/>
              <a:gd name="T90" fmla="*/ 83 w 1100"/>
              <a:gd name="T91" fmla="*/ 601 h 1202"/>
              <a:gd name="T92" fmla="*/ 47 w 1100"/>
              <a:gd name="T93" fmla="*/ 606 h 1202"/>
              <a:gd name="T94" fmla="*/ 30 w 1100"/>
              <a:gd name="T95" fmla="*/ 613 h 1202"/>
              <a:gd name="T96" fmla="*/ 8 w 1100"/>
              <a:gd name="T97" fmla="*/ 631 h 1202"/>
              <a:gd name="T98" fmla="*/ 0 w 1100"/>
              <a:gd name="T99" fmla="*/ 663 h 1202"/>
              <a:gd name="T100" fmla="*/ 5 w 1100"/>
              <a:gd name="T101" fmla="*/ 686 h 1202"/>
              <a:gd name="T102" fmla="*/ 978 w 1100"/>
              <a:gd name="T103" fmla="*/ 1202 h 1202"/>
              <a:gd name="T104" fmla="*/ 1006 w 1100"/>
              <a:gd name="T105" fmla="*/ 1135 h 1202"/>
              <a:gd name="T106" fmla="*/ 1039 w 1100"/>
              <a:gd name="T107" fmla="*/ 1037 h 1202"/>
              <a:gd name="T108" fmla="*/ 1071 w 1100"/>
              <a:gd name="T109" fmla="*/ 906 h 1202"/>
              <a:gd name="T110" fmla="*/ 1095 w 1100"/>
              <a:gd name="T111" fmla="*/ 748 h 1202"/>
              <a:gd name="T112" fmla="*/ 1100 w 1100"/>
              <a:gd name="T113" fmla="*/ 631 h 1202"/>
              <a:gd name="T114" fmla="*/ 1098 w 1100"/>
              <a:gd name="T115" fmla="*/ 613 h 1202"/>
              <a:gd name="T116" fmla="*/ 1090 w 1100"/>
              <a:gd name="T117" fmla="*/ 588 h 1202"/>
              <a:gd name="T118" fmla="*/ 1078 w 1100"/>
              <a:gd name="T119" fmla="*/ 570 h 1202"/>
              <a:gd name="T120" fmla="*/ 1055 w 1100"/>
              <a:gd name="T121" fmla="*/ 552 h 1202"/>
              <a:gd name="T122" fmla="*/ 1027 w 1100"/>
              <a:gd name="T123" fmla="*/ 542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00" h="1202">
                <a:moveTo>
                  <a:pt x="1027" y="542"/>
                </a:moveTo>
                <a:lnTo>
                  <a:pt x="1027" y="542"/>
                </a:lnTo>
                <a:lnTo>
                  <a:pt x="1013" y="540"/>
                </a:lnTo>
                <a:lnTo>
                  <a:pt x="1000" y="540"/>
                </a:lnTo>
                <a:lnTo>
                  <a:pt x="990" y="541"/>
                </a:lnTo>
                <a:lnTo>
                  <a:pt x="979" y="544"/>
                </a:lnTo>
                <a:lnTo>
                  <a:pt x="970" y="549"/>
                </a:lnTo>
                <a:lnTo>
                  <a:pt x="963" y="553"/>
                </a:lnTo>
                <a:lnTo>
                  <a:pt x="956" y="558"/>
                </a:lnTo>
                <a:lnTo>
                  <a:pt x="951" y="564"/>
                </a:lnTo>
                <a:lnTo>
                  <a:pt x="951" y="564"/>
                </a:lnTo>
                <a:lnTo>
                  <a:pt x="949" y="565"/>
                </a:lnTo>
                <a:lnTo>
                  <a:pt x="946" y="566"/>
                </a:lnTo>
                <a:lnTo>
                  <a:pt x="943" y="567"/>
                </a:lnTo>
                <a:lnTo>
                  <a:pt x="940" y="567"/>
                </a:lnTo>
                <a:lnTo>
                  <a:pt x="938" y="566"/>
                </a:lnTo>
                <a:lnTo>
                  <a:pt x="936" y="564"/>
                </a:lnTo>
                <a:lnTo>
                  <a:pt x="934" y="561"/>
                </a:lnTo>
                <a:lnTo>
                  <a:pt x="933" y="559"/>
                </a:lnTo>
                <a:lnTo>
                  <a:pt x="933" y="559"/>
                </a:lnTo>
                <a:lnTo>
                  <a:pt x="928" y="545"/>
                </a:lnTo>
                <a:lnTo>
                  <a:pt x="922" y="533"/>
                </a:lnTo>
                <a:lnTo>
                  <a:pt x="914" y="522"/>
                </a:lnTo>
                <a:lnTo>
                  <a:pt x="905" y="512"/>
                </a:lnTo>
                <a:lnTo>
                  <a:pt x="893" y="503"/>
                </a:lnTo>
                <a:lnTo>
                  <a:pt x="881" y="497"/>
                </a:lnTo>
                <a:lnTo>
                  <a:pt x="868" y="492"/>
                </a:lnTo>
                <a:lnTo>
                  <a:pt x="854" y="489"/>
                </a:lnTo>
                <a:lnTo>
                  <a:pt x="854" y="489"/>
                </a:lnTo>
                <a:lnTo>
                  <a:pt x="838" y="488"/>
                </a:lnTo>
                <a:lnTo>
                  <a:pt x="824" y="491"/>
                </a:lnTo>
                <a:lnTo>
                  <a:pt x="811" y="494"/>
                </a:lnTo>
                <a:lnTo>
                  <a:pt x="801" y="499"/>
                </a:lnTo>
                <a:lnTo>
                  <a:pt x="790" y="504"/>
                </a:lnTo>
                <a:lnTo>
                  <a:pt x="781" y="511"/>
                </a:lnTo>
                <a:lnTo>
                  <a:pt x="774" y="517"/>
                </a:lnTo>
                <a:lnTo>
                  <a:pt x="767" y="524"/>
                </a:lnTo>
                <a:lnTo>
                  <a:pt x="767" y="524"/>
                </a:lnTo>
                <a:lnTo>
                  <a:pt x="765" y="526"/>
                </a:lnTo>
                <a:lnTo>
                  <a:pt x="763" y="527"/>
                </a:lnTo>
                <a:lnTo>
                  <a:pt x="760" y="527"/>
                </a:lnTo>
                <a:lnTo>
                  <a:pt x="758" y="527"/>
                </a:lnTo>
                <a:lnTo>
                  <a:pt x="755" y="526"/>
                </a:lnTo>
                <a:lnTo>
                  <a:pt x="752" y="525"/>
                </a:lnTo>
                <a:lnTo>
                  <a:pt x="751" y="523"/>
                </a:lnTo>
                <a:lnTo>
                  <a:pt x="750" y="520"/>
                </a:lnTo>
                <a:lnTo>
                  <a:pt x="750" y="520"/>
                </a:lnTo>
                <a:lnTo>
                  <a:pt x="746" y="506"/>
                </a:lnTo>
                <a:lnTo>
                  <a:pt x="739" y="494"/>
                </a:lnTo>
                <a:lnTo>
                  <a:pt x="731" y="482"/>
                </a:lnTo>
                <a:lnTo>
                  <a:pt x="721" y="471"/>
                </a:lnTo>
                <a:lnTo>
                  <a:pt x="711" y="463"/>
                </a:lnTo>
                <a:lnTo>
                  <a:pt x="698" y="456"/>
                </a:lnTo>
                <a:lnTo>
                  <a:pt x="685" y="451"/>
                </a:lnTo>
                <a:lnTo>
                  <a:pt x="671" y="449"/>
                </a:lnTo>
                <a:lnTo>
                  <a:pt x="671" y="449"/>
                </a:lnTo>
                <a:lnTo>
                  <a:pt x="656" y="449"/>
                </a:lnTo>
                <a:lnTo>
                  <a:pt x="643" y="450"/>
                </a:lnTo>
                <a:lnTo>
                  <a:pt x="630" y="454"/>
                </a:lnTo>
                <a:lnTo>
                  <a:pt x="618" y="459"/>
                </a:lnTo>
                <a:lnTo>
                  <a:pt x="606" y="466"/>
                </a:lnTo>
                <a:lnTo>
                  <a:pt x="597" y="474"/>
                </a:lnTo>
                <a:lnTo>
                  <a:pt x="588" y="484"/>
                </a:lnTo>
                <a:lnTo>
                  <a:pt x="581" y="495"/>
                </a:lnTo>
                <a:lnTo>
                  <a:pt x="581" y="495"/>
                </a:lnTo>
                <a:lnTo>
                  <a:pt x="580" y="497"/>
                </a:lnTo>
                <a:lnTo>
                  <a:pt x="578" y="498"/>
                </a:lnTo>
                <a:lnTo>
                  <a:pt x="574" y="498"/>
                </a:lnTo>
                <a:lnTo>
                  <a:pt x="571" y="496"/>
                </a:lnTo>
                <a:lnTo>
                  <a:pt x="570" y="495"/>
                </a:lnTo>
                <a:lnTo>
                  <a:pt x="570" y="493"/>
                </a:lnTo>
                <a:lnTo>
                  <a:pt x="570" y="95"/>
                </a:lnTo>
                <a:lnTo>
                  <a:pt x="570" y="95"/>
                </a:lnTo>
                <a:lnTo>
                  <a:pt x="569" y="86"/>
                </a:lnTo>
                <a:lnTo>
                  <a:pt x="568" y="77"/>
                </a:lnTo>
                <a:lnTo>
                  <a:pt x="566" y="69"/>
                </a:lnTo>
                <a:lnTo>
                  <a:pt x="563" y="61"/>
                </a:lnTo>
                <a:lnTo>
                  <a:pt x="560" y="52"/>
                </a:lnTo>
                <a:lnTo>
                  <a:pt x="556" y="45"/>
                </a:lnTo>
                <a:lnTo>
                  <a:pt x="552" y="37"/>
                </a:lnTo>
                <a:lnTo>
                  <a:pt x="546" y="31"/>
                </a:lnTo>
                <a:lnTo>
                  <a:pt x="540" y="25"/>
                </a:lnTo>
                <a:lnTo>
                  <a:pt x="534" y="19"/>
                </a:lnTo>
                <a:lnTo>
                  <a:pt x="527" y="14"/>
                </a:lnTo>
                <a:lnTo>
                  <a:pt x="519" y="10"/>
                </a:lnTo>
                <a:lnTo>
                  <a:pt x="512" y="6"/>
                </a:lnTo>
                <a:lnTo>
                  <a:pt x="504" y="3"/>
                </a:lnTo>
                <a:lnTo>
                  <a:pt x="496" y="1"/>
                </a:lnTo>
                <a:lnTo>
                  <a:pt x="487" y="0"/>
                </a:lnTo>
                <a:lnTo>
                  <a:pt x="487" y="0"/>
                </a:lnTo>
                <a:lnTo>
                  <a:pt x="476" y="0"/>
                </a:lnTo>
                <a:lnTo>
                  <a:pt x="467" y="0"/>
                </a:lnTo>
                <a:lnTo>
                  <a:pt x="457" y="2"/>
                </a:lnTo>
                <a:lnTo>
                  <a:pt x="448" y="4"/>
                </a:lnTo>
                <a:lnTo>
                  <a:pt x="439" y="7"/>
                </a:lnTo>
                <a:lnTo>
                  <a:pt x="431" y="13"/>
                </a:lnTo>
                <a:lnTo>
                  <a:pt x="423" y="17"/>
                </a:lnTo>
                <a:lnTo>
                  <a:pt x="416" y="23"/>
                </a:lnTo>
                <a:lnTo>
                  <a:pt x="409" y="30"/>
                </a:lnTo>
                <a:lnTo>
                  <a:pt x="404" y="37"/>
                </a:lnTo>
                <a:lnTo>
                  <a:pt x="398" y="45"/>
                </a:lnTo>
                <a:lnTo>
                  <a:pt x="394" y="54"/>
                </a:lnTo>
                <a:lnTo>
                  <a:pt x="391" y="62"/>
                </a:lnTo>
                <a:lnTo>
                  <a:pt x="388" y="72"/>
                </a:lnTo>
                <a:lnTo>
                  <a:pt x="386" y="81"/>
                </a:lnTo>
                <a:lnTo>
                  <a:pt x="386" y="91"/>
                </a:lnTo>
                <a:lnTo>
                  <a:pt x="386" y="735"/>
                </a:lnTo>
                <a:lnTo>
                  <a:pt x="386" y="735"/>
                </a:lnTo>
                <a:lnTo>
                  <a:pt x="385" y="746"/>
                </a:lnTo>
                <a:lnTo>
                  <a:pt x="383" y="756"/>
                </a:lnTo>
                <a:lnTo>
                  <a:pt x="379" y="765"/>
                </a:lnTo>
                <a:lnTo>
                  <a:pt x="373" y="773"/>
                </a:lnTo>
                <a:lnTo>
                  <a:pt x="367" y="780"/>
                </a:lnTo>
                <a:lnTo>
                  <a:pt x="359" y="786"/>
                </a:lnTo>
                <a:lnTo>
                  <a:pt x="351" y="790"/>
                </a:lnTo>
                <a:lnTo>
                  <a:pt x="342" y="794"/>
                </a:lnTo>
                <a:lnTo>
                  <a:pt x="334" y="795"/>
                </a:lnTo>
                <a:lnTo>
                  <a:pt x="324" y="797"/>
                </a:lnTo>
                <a:lnTo>
                  <a:pt x="314" y="795"/>
                </a:lnTo>
                <a:lnTo>
                  <a:pt x="306" y="793"/>
                </a:lnTo>
                <a:lnTo>
                  <a:pt x="297" y="790"/>
                </a:lnTo>
                <a:lnTo>
                  <a:pt x="289" y="785"/>
                </a:lnTo>
                <a:lnTo>
                  <a:pt x="281" y="778"/>
                </a:lnTo>
                <a:lnTo>
                  <a:pt x="274" y="770"/>
                </a:lnTo>
                <a:lnTo>
                  <a:pt x="204" y="664"/>
                </a:lnTo>
                <a:lnTo>
                  <a:pt x="204" y="664"/>
                </a:lnTo>
                <a:lnTo>
                  <a:pt x="197" y="655"/>
                </a:lnTo>
                <a:lnTo>
                  <a:pt x="189" y="645"/>
                </a:lnTo>
                <a:lnTo>
                  <a:pt x="180" y="637"/>
                </a:lnTo>
                <a:lnTo>
                  <a:pt x="171" y="629"/>
                </a:lnTo>
                <a:lnTo>
                  <a:pt x="161" y="623"/>
                </a:lnTo>
                <a:lnTo>
                  <a:pt x="151" y="617"/>
                </a:lnTo>
                <a:lnTo>
                  <a:pt x="141" y="612"/>
                </a:lnTo>
                <a:lnTo>
                  <a:pt x="129" y="608"/>
                </a:lnTo>
                <a:lnTo>
                  <a:pt x="118" y="604"/>
                </a:lnTo>
                <a:lnTo>
                  <a:pt x="106" y="602"/>
                </a:lnTo>
                <a:lnTo>
                  <a:pt x="94" y="601"/>
                </a:lnTo>
                <a:lnTo>
                  <a:pt x="83" y="601"/>
                </a:lnTo>
                <a:lnTo>
                  <a:pt x="71" y="602"/>
                </a:lnTo>
                <a:lnTo>
                  <a:pt x="59" y="603"/>
                </a:lnTo>
                <a:lnTo>
                  <a:pt x="47" y="606"/>
                </a:lnTo>
                <a:lnTo>
                  <a:pt x="35" y="610"/>
                </a:lnTo>
                <a:lnTo>
                  <a:pt x="35" y="610"/>
                </a:lnTo>
                <a:lnTo>
                  <a:pt x="30" y="613"/>
                </a:lnTo>
                <a:lnTo>
                  <a:pt x="25" y="615"/>
                </a:lnTo>
                <a:lnTo>
                  <a:pt x="16" y="623"/>
                </a:lnTo>
                <a:lnTo>
                  <a:pt x="8" y="631"/>
                </a:lnTo>
                <a:lnTo>
                  <a:pt x="3" y="642"/>
                </a:lnTo>
                <a:lnTo>
                  <a:pt x="1" y="653"/>
                </a:lnTo>
                <a:lnTo>
                  <a:pt x="0" y="663"/>
                </a:lnTo>
                <a:lnTo>
                  <a:pt x="1" y="675"/>
                </a:lnTo>
                <a:lnTo>
                  <a:pt x="3" y="681"/>
                </a:lnTo>
                <a:lnTo>
                  <a:pt x="5" y="686"/>
                </a:lnTo>
                <a:lnTo>
                  <a:pt x="264" y="1202"/>
                </a:lnTo>
                <a:lnTo>
                  <a:pt x="978" y="1202"/>
                </a:lnTo>
                <a:lnTo>
                  <a:pt x="978" y="1202"/>
                </a:lnTo>
                <a:lnTo>
                  <a:pt x="982" y="1192"/>
                </a:lnTo>
                <a:lnTo>
                  <a:pt x="996" y="1158"/>
                </a:lnTo>
                <a:lnTo>
                  <a:pt x="1006" y="1135"/>
                </a:lnTo>
                <a:lnTo>
                  <a:pt x="1016" y="1107"/>
                </a:lnTo>
                <a:lnTo>
                  <a:pt x="1027" y="1074"/>
                </a:lnTo>
                <a:lnTo>
                  <a:pt x="1039" y="1037"/>
                </a:lnTo>
                <a:lnTo>
                  <a:pt x="1050" y="997"/>
                </a:lnTo>
                <a:lnTo>
                  <a:pt x="1060" y="953"/>
                </a:lnTo>
                <a:lnTo>
                  <a:pt x="1071" y="906"/>
                </a:lnTo>
                <a:lnTo>
                  <a:pt x="1081" y="857"/>
                </a:lnTo>
                <a:lnTo>
                  <a:pt x="1088" y="803"/>
                </a:lnTo>
                <a:lnTo>
                  <a:pt x="1095" y="748"/>
                </a:lnTo>
                <a:lnTo>
                  <a:pt x="1098" y="691"/>
                </a:lnTo>
                <a:lnTo>
                  <a:pt x="1099" y="661"/>
                </a:lnTo>
                <a:lnTo>
                  <a:pt x="1100" y="631"/>
                </a:lnTo>
                <a:lnTo>
                  <a:pt x="1100" y="631"/>
                </a:lnTo>
                <a:lnTo>
                  <a:pt x="1099" y="622"/>
                </a:lnTo>
                <a:lnTo>
                  <a:pt x="1098" y="613"/>
                </a:lnTo>
                <a:lnTo>
                  <a:pt x="1096" y="604"/>
                </a:lnTo>
                <a:lnTo>
                  <a:pt x="1094" y="596"/>
                </a:lnTo>
                <a:lnTo>
                  <a:pt x="1090" y="588"/>
                </a:lnTo>
                <a:lnTo>
                  <a:pt x="1087" y="582"/>
                </a:lnTo>
                <a:lnTo>
                  <a:pt x="1083" y="575"/>
                </a:lnTo>
                <a:lnTo>
                  <a:pt x="1078" y="570"/>
                </a:lnTo>
                <a:lnTo>
                  <a:pt x="1072" y="565"/>
                </a:lnTo>
                <a:lnTo>
                  <a:pt x="1067" y="560"/>
                </a:lnTo>
                <a:lnTo>
                  <a:pt x="1055" y="552"/>
                </a:lnTo>
                <a:lnTo>
                  <a:pt x="1041" y="546"/>
                </a:lnTo>
                <a:lnTo>
                  <a:pt x="1027" y="542"/>
                </a:lnTo>
                <a:lnTo>
                  <a:pt x="1027" y="542"/>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pic>
        <p:nvPicPr>
          <p:cNvPr id="69" name="Picture 68">
            <a:extLst>
              <a:ext uri="{FF2B5EF4-FFF2-40B4-BE49-F238E27FC236}">
                <a16:creationId xmlns:a16="http://schemas.microsoft.com/office/drawing/2014/main" id="{9FE6D54A-266C-48AE-9F3D-CF45CB7E9F2B}"/>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116323" y="2934483"/>
            <a:ext cx="590995" cy="230028"/>
          </a:xfrm>
          <a:prstGeom prst="rect">
            <a:avLst/>
          </a:prstGeom>
        </p:spPr>
      </p:pic>
      <p:sp>
        <p:nvSpPr>
          <p:cNvPr id="70" name="Freeform 11">
            <a:extLst>
              <a:ext uri="{FF2B5EF4-FFF2-40B4-BE49-F238E27FC236}">
                <a16:creationId xmlns:a16="http://schemas.microsoft.com/office/drawing/2014/main" id="{3D8513CC-D2CE-47CE-811B-9C271B1656AF}"/>
              </a:ext>
            </a:extLst>
          </p:cNvPr>
          <p:cNvSpPr>
            <a:spLocks noChangeAspect="1"/>
          </p:cNvSpPr>
          <p:nvPr/>
        </p:nvSpPr>
        <p:spPr bwMode="auto">
          <a:xfrm>
            <a:off x="9429971" y="2820914"/>
            <a:ext cx="356795" cy="408755"/>
          </a:xfrm>
          <a:custGeom>
            <a:avLst/>
            <a:gdLst>
              <a:gd name="T0" fmla="*/ 1183 w 1234"/>
              <a:gd name="T1" fmla="*/ 368 h 1416"/>
              <a:gd name="T2" fmla="*/ 1154 w 1234"/>
              <a:gd name="T3" fmla="*/ 265 h 1416"/>
              <a:gd name="T4" fmla="*/ 1102 w 1234"/>
              <a:gd name="T5" fmla="*/ 174 h 1416"/>
              <a:gd name="T6" fmla="*/ 1030 w 1234"/>
              <a:gd name="T7" fmla="*/ 99 h 1416"/>
              <a:gd name="T8" fmla="*/ 943 w 1234"/>
              <a:gd name="T9" fmla="*/ 42 h 1416"/>
              <a:gd name="T10" fmla="*/ 842 w 1234"/>
              <a:gd name="T11" fmla="*/ 9 h 1416"/>
              <a:gd name="T12" fmla="*/ 480 w 1234"/>
              <a:gd name="T13" fmla="*/ 0 h 1416"/>
              <a:gd name="T14" fmla="*/ 392 w 1234"/>
              <a:gd name="T15" fmla="*/ 9 h 1416"/>
              <a:gd name="T16" fmla="*/ 292 w 1234"/>
              <a:gd name="T17" fmla="*/ 42 h 1416"/>
              <a:gd name="T18" fmla="*/ 204 w 1234"/>
              <a:gd name="T19" fmla="*/ 99 h 1416"/>
              <a:gd name="T20" fmla="*/ 132 w 1234"/>
              <a:gd name="T21" fmla="*/ 174 h 1416"/>
              <a:gd name="T22" fmla="*/ 80 w 1234"/>
              <a:gd name="T23" fmla="*/ 265 h 1416"/>
              <a:gd name="T24" fmla="*/ 50 w 1234"/>
              <a:gd name="T25" fmla="*/ 368 h 1416"/>
              <a:gd name="T26" fmla="*/ 46 w 1234"/>
              <a:gd name="T27" fmla="*/ 671 h 1416"/>
              <a:gd name="T28" fmla="*/ 7 w 1234"/>
              <a:gd name="T29" fmla="*/ 761 h 1416"/>
              <a:gd name="T30" fmla="*/ 0 w 1234"/>
              <a:gd name="T31" fmla="*/ 844 h 1416"/>
              <a:gd name="T32" fmla="*/ 30 w 1234"/>
              <a:gd name="T33" fmla="*/ 946 h 1416"/>
              <a:gd name="T34" fmla="*/ 93 w 1234"/>
              <a:gd name="T35" fmla="*/ 1028 h 1416"/>
              <a:gd name="T36" fmla="*/ 183 w 1234"/>
              <a:gd name="T37" fmla="*/ 1080 h 1416"/>
              <a:gd name="T38" fmla="*/ 186 w 1234"/>
              <a:gd name="T39" fmla="*/ 1315 h 1416"/>
              <a:gd name="T40" fmla="*/ 206 w 1234"/>
              <a:gd name="T41" fmla="*/ 1325 h 1416"/>
              <a:gd name="T42" fmla="*/ 367 w 1234"/>
              <a:gd name="T43" fmla="*/ 1402 h 1416"/>
              <a:gd name="T44" fmla="*/ 383 w 1234"/>
              <a:gd name="T45" fmla="*/ 1415 h 1416"/>
              <a:gd name="T46" fmla="*/ 763 w 1234"/>
              <a:gd name="T47" fmla="*/ 1414 h 1416"/>
              <a:gd name="T48" fmla="*/ 776 w 1234"/>
              <a:gd name="T49" fmla="*/ 1398 h 1416"/>
              <a:gd name="T50" fmla="*/ 775 w 1234"/>
              <a:gd name="T51" fmla="*/ 1247 h 1416"/>
              <a:gd name="T52" fmla="*/ 759 w 1234"/>
              <a:gd name="T53" fmla="*/ 1233 h 1416"/>
              <a:gd name="T54" fmla="*/ 380 w 1234"/>
              <a:gd name="T55" fmla="*/ 1234 h 1416"/>
              <a:gd name="T56" fmla="*/ 366 w 1234"/>
              <a:gd name="T57" fmla="*/ 1252 h 1416"/>
              <a:gd name="T58" fmla="*/ 229 w 1234"/>
              <a:gd name="T59" fmla="*/ 1092 h 1416"/>
              <a:gd name="T60" fmla="*/ 312 w 1234"/>
              <a:gd name="T61" fmla="*/ 1093 h 1416"/>
              <a:gd name="T62" fmla="*/ 360 w 1234"/>
              <a:gd name="T63" fmla="*/ 1078 h 1416"/>
              <a:gd name="T64" fmla="*/ 365 w 1234"/>
              <a:gd name="T65" fmla="*/ 573 h 1416"/>
              <a:gd name="T66" fmla="*/ 330 w 1234"/>
              <a:gd name="T67" fmla="*/ 554 h 1416"/>
              <a:gd name="T68" fmla="*/ 248 w 1234"/>
              <a:gd name="T69" fmla="*/ 549 h 1416"/>
              <a:gd name="T70" fmla="*/ 131 w 1234"/>
              <a:gd name="T71" fmla="*/ 589 h 1416"/>
              <a:gd name="T72" fmla="*/ 92 w 1234"/>
              <a:gd name="T73" fmla="*/ 414 h 1416"/>
              <a:gd name="T74" fmla="*/ 109 w 1234"/>
              <a:gd name="T75" fmla="*/ 319 h 1416"/>
              <a:gd name="T76" fmla="*/ 147 w 1234"/>
              <a:gd name="T77" fmla="*/ 233 h 1416"/>
              <a:gd name="T78" fmla="*/ 205 w 1234"/>
              <a:gd name="T79" fmla="*/ 160 h 1416"/>
              <a:gd name="T80" fmla="*/ 279 w 1234"/>
              <a:gd name="T81" fmla="*/ 102 h 1416"/>
              <a:gd name="T82" fmla="*/ 365 w 1234"/>
              <a:gd name="T83" fmla="*/ 63 h 1416"/>
              <a:gd name="T84" fmla="*/ 460 w 1234"/>
              <a:gd name="T85" fmla="*/ 46 h 1416"/>
              <a:gd name="T86" fmla="*/ 794 w 1234"/>
              <a:gd name="T87" fmla="*/ 48 h 1416"/>
              <a:gd name="T88" fmla="*/ 887 w 1234"/>
              <a:gd name="T89" fmla="*/ 70 h 1416"/>
              <a:gd name="T90" fmla="*/ 971 w 1234"/>
              <a:gd name="T91" fmla="*/ 112 h 1416"/>
              <a:gd name="T92" fmla="*/ 1042 w 1234"/>
              <a:gd name="T93" fmla="*/ 173 h 1416"/>
              <a:gd name="T94" fmla="*/ 1096 w 1234"/>
              <a:gd name="T95" fmla="*/ 249 h 1416"/>
              <a:gd name="T96" fmla="*/ 1130 w 1234"/>
              <a:gd name="T97" fmla="*/ 337 h 1416"/>
              <a:gd name="T98" fmla="*/ 1143 w 1234"/>
              <a:gd name="T99" fmla="*/ 434 h 1416"/>
              <a:gd name="T100" fmla="*/ 1082 w 1234"/>
              <a:gd name="T101" fmla="*/ 576 h 1416"/>
              <a:gd name="T102" fmla="*/ 960 w 1234"/>
              <a:gd name="T103" fmla="*/ 548 h 1416"/>
              <a:gd name="T104" fmla="*/ 885 w 1234"/>
              <a:gd name="T105" fmla="*/ 559 h 1416"/>
              <a:gd name="T106" fmla="*/ 869 w 1234"/>
              <a:gd name="T107" fmla="*/ 581 h 1416"/>
              <a:gd name="T108" fmla="*/ 879 w 1234"/>
              <a:gd name="T109" fmla="*/ 1082 h 1416"/>
              <a:gd name="T110" fmla="*/ 942 w 1234"/>
              <a:gd name="T111" fmla="*/ 1095 h 1416"/>
              <a:gd name="T112" fmla="*/ 1002 w 1234"/>
              <a:gd name="T113" fmla="*/ 1093 h 1416"/>
              <a:gd name="T114" fmla="*/ 1067 w 1234"/>
              <a:gd name="T115" fmla="*/ 1075 h 1416"/>
              <a:gd name="T116" fmla="*/ 1171 w 1234"/>
              <a:gd name="T117" fmla="*/ 996 h 1416"/>
              <a:gd name="T118" fmla="*/ 1221 w 1234"/>
              <a:gd name="T119" fmla="*/ 904 h 1416"/>
              <a:gd name="T120" fmla="*/ 1233 w 1234"/>
              <a:gd name="T121" fmla="*/ 836 h 1416"/>
              <a:gd name="T122" fmla="*/ 1227 w 1234"/>
              <a:gd name="T123" fmla="*/ 761 h 1416"/>
              <a:gd name="T124" fmla="*/ 1189 w 1234"/>
              <a:gd name="T125" fmla="*/ 671 h 1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34" h="1416">
                <a:moveTo>
                  <a:pt x="1189" y="434"/>
                </a:moveTo>
                <a:lnTo>
                  <a:pt x="1189" y="434"/>
                </a:lnTo>
                <a:lnTo>
                  <a:pt x="1188" y="411"/>
                </a:lnTo>
                <a:lnTo>
                  <a:pt x="1187" y="389"/>
                </a:lnTo>
                <a:lnTo>
                  <a:pt x="1183" y="368"/>
                </a:lnTo>
                <a:lnTo>
                  <a:pt x="1180" y="347"/>
                </a:lnTo>
                <a:lnTo>
                  <a:pt x="1175" y="325"/>
                </a:lnTo>
                <a:lnTo>
                  <a:pt x="1169" y="305"/>
                </a:lnTo>
                <a:lnTo>
                  <a:pt x="1162" y="285"/>
                </a:lnTo>
                <a:lnTo>
                  <a:pt x="1154" y="265"/>
                </a:lnTo>
                <a:lnTo>
                  <a:pt x="1145" y="246"/>
                </a:lnTo>
                <a:lnTo>
                  <a:pt x="1135" y="227"/>
                </a:lnTo>
                <a:lnTo>
                  <a:pt x="1126" y="209"/>
                </a:lnTo>
                <a:lnTo>
                  <a:pt x="1114" y="191"/>
                </a:lnTo>
                <a:lnTo>
                  <a:pt x="1102" y="174"/>
                </a:lnTo>
                <a:lnTo>
                  <a:pt x="1089" y="158"/>
                </a:lnTo>
                <a:lnTo>
                  <a:pt x="1076" y="142"/>
                </a:lnTo>
                <a:lnTo>
                  <a:pt x="1061" y="127"/>
                </a:lnTo>
                <a:lnTo>
                  <a:pt x="1046" y="113"/>
                </a:lnTo>
                <a:lnTo>
                  <a:pt x="1030" y="99"/>
                </a:lnTo>
                <a:lnTo>
                  <a:pt x="1013" y="86"/>
                </a:lnTo>
                <a:lnTo>
                  <a:pt x="997" y="74"/>
                </a:lnTo>
                <a:lnTo>
                  <a:pt x="979" y="63"/>
                </a:lnTo>
                <a:lnTo>
                  <a:pt x="961" y="52"/>
                </a:lnTo>
                <a:lnTo>
                  <a:pt x="943" y="42"/>
                </a:lnTo>
                <a:lnTo>
                  <a:pt x="923" y="34"/>
                </a:lnTo>
                <a:lnTo>
                  <a:pt x="904" y="26"/>
                </a:lnTo>
                <a:lnTo>
                  <a:pt x="883" y="20"/>
                </a:lnTo>
                <a:lnTo>
                  <a:pt x="862" y="13"/>
                </a:lnTo>
                <a:lnTo>
                  <a:pt x="842" y="9"/>
                </a:lnTo>
                <a:lnTo>
                  <a:pt x="820" y="4"/>
                </a:lnTo>
                <a:lnTo>
                  <a:pt x="798" y="2"/>
                </a:lnTo>
                <a:lnTo>
                  <a:pt x="776" y="0"/>
                </a:lnTo>
                <a:lnTo>
                  <a:pt x="754" y="0"/>
                </a:lnTo>
                <a:lnTo>
                  <a:pt x="480" y="0"/>
                </a:lnTo>
                <a:lnTo>
                  <a:pt x="480" y="0"/>
                </a:lnTo>
                <a:lnTo>
                  <a:pt x="457" y="0"/>
                </a:lnTo>
                <a:lnTo>
                  <a:pt x="436" y="2"/>
                </a:lnTo>
                <a:lnTo>
                  <a:pt x="414" y="4"/>
                </a:lnTo>
                <a:lnTo>
                  <a:pt x="392" y="9"/>
                </a:lnTo>
                <a:lnTo>
                  <a:pt x="371" y="13"/>
                </a:lnTo>
                <a:lnTo>
                  <a:pt x="351" y="20"/>
                </a:lnTo>
                <a:lnTo>
                  <a:pt x="331" y="26"/>
                </a:lnTo>
                <a:lnTo>
                  <a:pt x="312" y="34"/>
                </a:lnTo>
                <a:lnTo>
                  <a:pt x="292" y="42"/>
                </a:lnTo>
                <a:lnTo>
                  <a:pt x="273" y="52"/>
                </a:lnTo>
                <a:lnTo>
                  <a:pt x="255" y="63"/>
                </a:lnTo>
                <a:lnTo>
                  <a:pt x="238" y="74"/>
                </a:lnTo>
                <a:lnTo>
                  <a:pt x="220" y="86"/>
                </a:lnTo>
                <a:lnTo>
                  <a:pt x="204" y="99"/>
                </a:lnTo>
                <a:lnTo>
                  <a:pt x="189" y="113"/>
                </a:lnTo>
                <a:lnTo>
                  <a:pt x="173" y="127"/>
                </a:lnTo>
                <a:lnTo>
                  <a:pt x="158" y="142"/>
                </a:lnTo>
                <a:lnTo>
                  <a:pt x="145" y="158"/>
                </a:lnTo>
                <a:lnTo>
                  <a:pt x="132" y="174"/>
                </a:lnTo>
                <a:lnTo>
                  <a:pt x="120" y="191"/>
                </a:lnTo>
                <a:lnTo>
                  <a:pt x="109" y="209"/>
                </a:lnTo>
                <a:lnTo>
                  <a:pt x="98" y="227"/>
                </a:lnTo>
                <a:lnTo>
                  <a:pt x="88" y="246"/>
                </a:lnTo>
                <a:lnTo>
                  <a:pt x="80" y="265"/>
                </a:lnTo>
                <a:lnTo>
                  <a:pt x="72" y="285"/>
                </a:lnTo>
                <a:lnTo>
                  <a:pt x="66" y="305"/>
                </a:lnTo>
                <a:lnTo>
                  <a:pt x="59" y="325"/>
                </a:lnTo>
                <a:lnTo>
                  <a:pt x="55" y="347"/>
                </a:lnTo>
                <a:lnTo>
                  <a:pt x="50" y="368"/>
                </a:lnTo>
                <a:lnTo>
                  <a:pt x="48" y="389"/>
                </a:lnTo>
                <a:lnTo>
                  <a:pt x="46" y="411"/>
                </a:lnTo>
                <a:lnTo>
                  <a:pt x="46" y="434"/>
                </a:lnTo>
                <a:lnTo>
                  <a:pt x="46" y="671"/>
                </a:lnTo>
                <a:lnTo>
                  <a:pt x="46" y="671"/>
                </a:lnTo>
                <a:lnTo>
                  <a:pt x="35" y="687"/>
                </a:lnTo>
                <a:lnTo>
                  <a:pt x="26" y="705"/>
                </a:lnTo>
                <a:lnTo>
                  <a:pt x="19" y="723"/>
                </a:lnTo>
                <a:lnTo>
                  <a:pt x="12" y="742"/>
                </a:lnTo>
                <a:lnTo>
                  <a:pt x="7" y="761"/>
                </a:lnTo>
                <a:lnTo>
                  <a:pt x="4" y="781"/>
                </a:lnTo>
                <a:lnTo>
                  <a:pt x="0" y="802"/>
                </a:lnTo>
                <a:lnTo>
                  <a:pt x="0" y="822"/>
                </a:lnTo>
                <a:lnTo>
                  <a:pt x="0" y="822"/>
                </a:lnTo>
                <a:lnTo>
                  <a:pt x="0" y="844"/>
                </a:lnTo>
                <a:lnTo>
                  <a:pt x="4" y="866"/>
                </a:lnTo>
                <a:lnTo>
                  <a:pt x="8" y="886"/>
                </a:lnTo>
                <a:lnTo>
                  <a:pt x="13" y="907"/>
                </a:lnTo>
                <a:lnTo>
                  <a:pt x="21" y="927"/>
                </a:lnTo>
                <a:lnTo>
                  <a:pt x="30" y="946"/>
                </a:lnTo>
                <a:lnTo>
                  <a:pt x="39" y="965"/>
                </a:lnTo>
                <a:lnTo>
                  <a:pt x="51" y="982"/>
                </a:lnTo>
                <a:lnTo>
                  <a:pt x="64" y="998"/>
                </a:lnTo>
                <a:lnTo>
                  <a:pt x="79" y="1014"/>
                </a:lnTo>
                <a:lnTo>
                  <a:pt x="93" y="1028"/>
                </a:lnTo>
                <a:lnTo>
                  <a:pt x="109" y="1041"/>
                </a:lnTo>
                <a:lnTo>
                  <a:pt x="126" y="1053"/>
                </a:lnTo>
                <a:lnTo>
                  <a:pt x="144" y="1063"/>
                </a:lnTo>
                <a:lnTo>
                  <a:pt x="163" y="1072"/>
                </a:lnTo>
                <a:lnTo>
                  <a:pt x="183" y="1080"/>
                </a:lnTo>
                <a:lnTo>
                  <a:pt x="183" y="1302"/>
                </a:lnTo>
                <a:lnTo>
                  <a:pt x="183" y="1302"/>
                </a:lnTo>
                <a:lnTo>
                  <a:pt x="183" y="1306"/>
                </a:lnTo>
                <a:lnTo>
                  <a:pt x="184" y="1311"/>
                </a:lnTo>
                <a:lnTo>
                  <a:pt x="186" y="1315"/>
                </a:lnTo>
                <a:lnTo>
                  <a:pt x="190" y="1318"/>
                </a:lnTo>
                <a:lnTo>
                  <a:pt x="193" y="1320"/>
                </a:lnTo>
                <a:lnTo>
                  <a:pt x="197" y="1322"/>
                </a:lnTo>
                <a:lnTo>
                  <a:pt x="201" y="1324"/>
                </a:lnTo>
                <a:lnTo>
                  <a:pt x="206" y="1325"/>
                </a:lnTo>
                <a:lnTo>
                  <a:pt x="366" y="1325"/>
                </a:lnTo>
                <a:lnTo>
                  <a:pt x="366" y="1393"/>
                </a:lnTo>
                <a:lnTo>
                  <a:pt x="366" y="1393"/>
                </a:lnTo>
                <a:lnTo>
                  <a:pt x="366" y="1398"/>
                </a:lnTo>
                <a:lnTo>
                  <a:pt x="367" y="1402"/>
                </a:lnTo>
                <a:lnTo>
                  <a:pt x="369" y="1406"/>
                </a:lnTo>
                <a:lnTo>
                  <a:pt x="372" y="1409"/>
                </a:lnTo>
                <a:lnTo>
                  <a:pt x="376" y="1412"/>
                </a:lnTo>
                <a:lnTo>
                  <a:pt x="380" y="1414"/>
                </a:lnTo>
                <a:lnTo>
                  <a:pt x="383" y="1415"/>
                </a:lnTo>
                <a:lnTo>
                  <a:pt x="389" y="1416"/>
                </a:lnTo>
                <a:lnTo>
                  <a:pt x="754" y="1416"/>
                </a:lnTo>
                <a:lnTo>
                  <a:pt x="754" y="1416"/>
                </a:lnTo>
                <a:lnTo>
                  <a:pt x="759" y="1415"/>
                </a:lnTo>
                <a:lnTo>
                  <a:pt x="763" y="1414"/>
                </a:lnTo>
                <a:lnTo>
                  <a:pt x="766" y="1412"/>
                </a:lnTo>
                <a:lnTo>
                  <a:pt x="771" y="1409"/>
                </a:lnTo>
                <a:lnTo>
                  <a:pt x="773" y="1406"/>
                </a:lnTo>
                <a:lnTo>
                  <a:pt x="775" y="1402"/>
                </a:lnTo>
                <a:lnTo>
                  <a:pt x="776" y="1398"/>
                </a:lnTo>
                <a:lnTo>
                  <a:pt x="777" y="1393"/>
                </a:lnTo>
                <a:lnTo>
                  <a:pt x="777" y="1256"/>
                </a:lnTo>
                <a:lnTo>
                  <a:pt x="777" y="1256"/>
                </a:lnTo>
                <a:lnTo>
                  <a:pt x="776" y="1252"/>
                </a:lnTo>
                <a:lnTo>
                  <a:pt x="775" y="1247"/>
                </a:lnTo>
                <a:lnTo>
                  <a:pt x="773" y="1243"/>
                </a:lnTo>
                <a:lnTo>
                  <a:pt x="771" y="1240"/>
                </a:lnTo>
                <a:lnTo>
                  <a:pt x="766" y="1237"/>
                </a:lnTo>
                <a:lnTo>
                  <a:pt x="763" y="1234"/>
                </a:lnTo>
                <a:lnTo>
                  <a:pt x="759" y="1233"/>
                </a:lnTo>
                <a:lnTo>
                  <a:pt x="754" y="1233"/>
                </a:lnTo>
                <a:lnTo>
                  <a:pt x="389" y="1233"/>
                </a:lnTo>
                <a:lnTo>
                  <a:pt x="389" y="1233"/>
                </a:lnTo>
                <a:lnTo>
                  <a:pt x="383" y="1233"/>
                </a:lnTo>
                <a:lnTo>
                  <a:pt x="380" y="1234"/>
                </a:lnTo>
                <a:lnTo>
                  <a:pt x="376" y="1237"/>
                </a:lnTo>
                <a:lnTo>
                  <a:pt x="372" y="1240"/>
                </a:lnTo>
                <a:lnTo>
                  <a:pt x="369" y="1243"/>
                </a:lnTo>
                <a:lnTo>
                  <a:pt x="367" y="1247"/>
                </a:lnTo>
                <a:lnTo>
                  <a:pt x="366" y="1252"/>
                </a:lnTo>
                <a:lnTo>
                  <a:pt x="366" y="1256"/>
                </a:lnTo>
                <a:lnTo>
                  <a:pt x="366" y="1279"/>
                </a:lnTo>
                <a:lnTo>
                  <a:pt x="229" y="1279"/>
                </a:lnTo>
                <a:lnTo>
                  <a:pt x="229" y="1092"/>
                </a:lnTo>
                <a:lnTo>
                  <a:pt x="229" y="1092"/>
                </a:lnTo>
                <a:lnTo>
                  <a:pt x="251" y="1095"/>
                </a:lnTo>
                <a:lnTo>
                  <a:pt x="275" y="1096"/>
                </a:lnTo>
                <a:lnTo>
                  <a:pt x="275" y="1096"/>
                </a:lnTo>
                <a:lnTo>
                  <a:pt x="293" y="1095"/>
                </a:lnTo>
                <a:lnTo>
                  <a:pt x="312" y="1093"/>
                </a:lnTo>
                <a:lnTo>
                  <a:pt x="330" y="1090"/>
                </a:lnTo>
                <a:lnTo>
                  <a:pt x="349" y="1085"/>
                </a:lnTo>
                <a:lnTo>
                  <a:pt x="349" y="1085"/>
                </a:lnTo>
                <a:lnTo>
                  <a:pt x="356" y="1082"/>
                </a:lnTo>
                <a:lnTo>
                  <a:pt x="360" y="1078"/>
                </a:lnTo>
                <a:lnTo>
                  <a:pt x="365" y="1071"/>
                </a:lnTo>
                <a:lnTo>
                  <a:pt x="366" y="1064"/>
                </a:lnTo>
                <a:lnTo>
                  <a:pt x="366" y="581"/>
                </a:lnTo>
                <a:lnTo>
                  <a:pt x="366" y="581"/>
                </a:lnTo>
                <a:lnTo>
                  <a:pt x="365" y="573"/>
                </a:lnTo>
                <a:lnTo>
                  <a:pt x="360" y="567"/>
                </a:lnTo>
                <a:lnTo>
                  <a:pt x="356" y="561"/>
                </a:lnTo>
                <a:lnTo>
                  <a:pt x="349" y="559"/>
                </a:lnTo>
                <a:lnTo>
                  <a:pt x="349" y="559"/>
                </a:lnTo>
                <a:lnTo>
                  <a:pt x="330" y="554"/>
                </a:lnTo>
                <a:lnTo>
                  <a:pt x="312" y="550"/>
                </a:lnTo>
                <a:lnTo>
                  <a:pt x="293" y="548"/>
                </a:lnTo>
                <a:lnTo>
                  <a:pt x="275" y="548"/>
                </a:lnTo>
                <a:lnTo>
                  <a:pt x="275" y="548"/>
                </a:lnTo>
                <a:lnTo>
                  <a:pt x="248" y="549"/>
                </a:lnTo>
                <a:lnTo>
                  <a:pt x="222" y="552"/>
                </a:lnTo>
                <a:lnTo>
                  <a:pt x="198" y="559"/>
                </a:lnTo>
                <a:lnTo>
                  <a:pt x="174" y="567"/>
                </a:lnTo>
                <a:lnTo>
                  <a:pt x="152" y="576"/>
                </a:lnTo>
                <a:lnTo>
                  <a:pt x="131" y="589"/>
                </a:lnTo>
                <a:lnTo>
                  <a:pt x="110" y="603"/>
                </a:lnTo>
                <a:lnTo>
                  <a:pt x="92" y="619"/>
                </a:lnTo>
                <a:lnTo>
                  <a:pt x="92" y="434"/>
                </a:lnTo>
                <a:lnTo>
                  <a:pt x="92" y="434"/>
                </a:lnTo>
                <a:lnTo>
                  <a:pt x="92" y="414"/>
                </a:lnTo>
                <a:lnTo>
                  <a:pt x="94" y="394"/>
                </a:lnTo>
                <a:lnTo>
                  <a:pt x="96" y="375"/>
                </a:lnTo>
                <a:lnTo>
                  <a:pt x="99" y="356"/>
                </a:lnTo>
                <a:lnTo>
                  <a:pt x="104" y="337"/>
                </a:lnTo>
                <a:lnTo>
                  <a:pt x="109" y="319"/>
                </a:lnTo>
                <a:lnTo>
                  <a:pt x="115" y="300"/>
                </a:lnTo>
                <a:lnTo>
                  <a:pt x="122" y="283"/>
                </a:lnTo>
                <a:lnTo>
                  <a:pt x="130" y="265"/>
                </a:lnTo>
                <a:lnTo>
                  <a:pt x="138" y="249"/>
                </a:lnTo>
                <a:lnTo>
                  <a:pt x="147" y="233"/>
                </a:lnTo>
                <a:lnTo>
                  <a:pt x="158" y="216"/>
                </a:lnTo>
                <a:lnTo>
                  <a:pt x="169" y="201"/>
                </a:lnTo>
                <a:lnTo>
                  <a:pt x="180" y="187"/>
                </a:lnTo>
                <a:lnTo>
                  <a:pt x="193" y="173"/>
                </a:lnTo>
                <a:lnTo>
                  <a:pt x="205" y="160"/>
                </a:lnTo>
                <a:lnTo>
                  <a:pt x="219" y="147"/>
                </a:lnTo>
                <a:lnTo>
                  <a:pt x="233" y="134"/>
                </a:lnTo>
                <a:lnTo>
                  <a:pt x="247" y="123"/>
                </a:lnTo>
                <a:lnTo>
                  <a:pt x="263" y="112"/>
                </a:lnTo>
                <a:lnTo>
                  <a:pt x="279" y="102"/>
                </a:lnTo>
                <a:lnTo>
                  <a:pt x="295" y="92"/>
                </a:lnTo>
                <a:lnTo>
                  <a:pt x="312" y="84"/>
                </a:lnTo>
                <a:lnTo>
                  <a:pt x="329" y="76"/>
                </a:lnTo>
                <a:lnTo>
                  <a:pt x="346" y="70"/>
                </a:lnTo>
                <a:lnTo>
                  <a:pt x="365" y="63"/>
                </a:lnTo>
                <a:lnTo>
                  <a:pt x="383" y="58"/>
                </a:lnTo>
                <a:lnTo>
                  <a:pt x="402" y="53"/>
                </a:lnTo>
                <a:lnTo>
                  <a:pt x="420" y="50"/>
                </a:lnTo>
                <a:lnTo>
                  <a:pt x="440" y="48"/>
                </a:lnTo>
                <a:lnTo>
                  <a:pt x="460" y="46"/>
                </a:lnTo>
                <a:lnTo>
                  <a:pt x="480" y="46"/>
                </a:lnTo>
                <a:lnTo>
                  <a:pt x="754" y="46"/>
                </a:lnTo>
                <a:lnTo>
                  <a:pt x="754" y="46"/>
                </a:lnTo>
                <a:lnTo>
                  <a:pt x="774" y="46"/>
                </a:lnTo>
                <a:lnTo>
                  <a:pt x="794" y="48"/>
                </a:lnTo>
                <a:lnTo>
                  <a:pt x="813" y="50"/>
                </a:lnTo>
                <a:lnTo>
                  <a:pt x="833" y="53"/>
                </a:lnTo>
                <a:lnTo>
                  <a:pt x="851" y="58"/>
                </a:lnTo>
                <a:lnTo>
                  <a:pt x="870" y="63"/>
                </a:lnTo>
                <a:lnTo>
                  <a:pt x="887" y="70"/>
                </a:lnTo>
                <a:lnTo>
                  <a:pt x="906" y="76"/>
                </a:lnTo>
                <a:lnTo>
                  <a:pt x="922" y="84"/>
                </a:lnTo>
                <a:lnTo>
                  <a:pt x="939" y="92"/>
                </a:lnTo>
                <a:lnTo>
                  <a:pt x="956" y="102"/>
                </a:lnTo>
                <a:lnTo>
                  <a:pt x="971" y="112"/>
                </a:lnTo>
                <a:lnTo>
                  <a:pt x="986" y="123"/>
                </a:lnTo>
                <a:lnTo>
                  <a:pt x="1002" y="134"/>
                </a:lnTo>
                <a:lnTo>
                  <a:pt x="1016" y="147"/>
                </a:lnTo>
                <a:lnTo>
                  <a:pt x="1029" y="160"/>
                </a:lnTo>
                <a:lnTo>
                  <a:pt x="1042" y="173"/>
                </a:lnTo>
                <a:lnTo>
                  <a:pt x="1054" y="187"/>
                </a:lnTo>
                <a:lnTo>
                  <a:pt x="1066" y="201"/>
                </a:lnTo>
                <a:lnTo>
                  <a:pt x="1077" y="216"/>
                </a:lnTo>
                <a:lnTo>
                  <a:pt x="1086" y="233"/>
                </a:lnTo>
                <a:lnTo>
                  <a:pt x="1096" y="249"/>
                </a:lnTo>
                <a:lnTo>
                  <a:pt x="1104" y="265"/>
                </a:lnTo>
                <a:lnTo>
                  <a:pt x="1113" y="283"/>
                </a:lnTo>
                <a:lnTo>
                  <a:pt x="1119" y="300"/>
                </a:lnTo>
                <a:lnTo>
                  <a:pt x="1126" y="319"/>
                </a:lnTo>
                <a:lnTo>
                  <a:pt x="1130" y="337"/>
                </a:lnTo>
                <a:lnTo>
                  <a:pt x="1134" y="356"/>
                </a:lnTo>
                <a:lnTo>
                  <a:pt x="1139" y="375"/>
                </a:lnTo>
                <a:lnTo>
                  <a:pt x="1141" y="394"/>
                </a:lnTo>
                <a:lnTo>
                  <a:pt x="1142" y="414"/>
                </a:lnTo>
                <a:lnTo>
                  <a:pt x="1143" y="434"/>
                </a:lnTo>
                <a:lnTo>
                  <a:pt x="1143" y="619"/>
                </a:lnTo>
                <a:lnTo>
                  <a:pt x="1143" y="619"/>
                </a:lnTo>
                <a:lnTo>
                  <a:pt x="1123" y="603"/>
                </a:lnTo>
                <a:lnTo>
                  <a:pt x="1104" y="589"/>
                </a:lnTo>
                <a:lnTo>
                  <a:pt x="1082" y="576"/>
                </a:lnTo>
                <a:lnTo>
                  <a:pt x="1059" y="567"/>
                </a:lnTo>
                <a:lnTo>
                  <a:pt x="1035" y="559"/>
                </a:lnTo>
                <a:lnTo>
                  <a:pt x="1011" y="552"/>
                </a:lnTo>
                <a:lnTo>
                  <a:pt x="986" y="549"/>
                </a:lnTo>
                <a:lnTo>
                  <a:pt x="960" y="548"/>
                </a:lnTo>
                <a:lnTo>
                  <a:pt x="960" y="548"/>
                </a:lnTo>
                <a:lnTo>
                  <a:pt x="942" y="548"/>
                </a:lnTo>
                <a:lnTo>
                  <a:pt x="922" y="550"/>
                </a:lnTo>
                <a:lnTo>
                  <a:pt x="904" y="554"/>
                </a:lnTo>
                <a:lnTo>
                  <a:pt x="885" y="559"/>
                </a:lnTo>
                <a:lnTo>
                  <a:pt x="885" y="559"/>
                </a:lnTo>
                <a:lnTo>
                  <a:pt x="879" y="561"/>
                </a:lnTo>
                <a:lnTo>
                  <a:pt x="873" y="567"/>
                </a:lnTo>
                <a:lnTo>
                  <a:pt x="870" y="573"/>
                </a:lnTo>
                <a:lnTo>
                  <a:pt x="869" y="581"/>
                </a:lnTo>
                <a:lnTo>
                  <a:pt x="869" y="1064"/>
                </a:lnTo>
                <a:lnTo>
                  <a:pt x="869" y="1064"/>
                </a:lnTo>
                <a:lnTo>
                  <a:pt x="870" y="1071"/>
                </a:lnTo>
                <a:lnTo>
                  <a:pt x="873" y="1078"/>
                </a:lnTo>
                <a:lnTo>
                  <a:pt x="879" y="1082"/>
                </a:lnTo>
                <a:lnTo>
                  <a:pt x="885" y="1085"/>
                </a:lnTo>
                <a:lnTo>
                  <a:pt x="885" y="1085"/>
                </a:lnTo>
                <a:lnTo>
                  <a:pt x="904" y="1090"/>
                </a:lnTo>
                <a:lnTo>
                  <a:pt x="922" y="1093"/>
                </a:lnTo>
                <a:lnTo>
                  <a:pt x="942" y="1095"/>
                </a:lnTo>
                <a:lnTo>
                  <a:pt x="960" y="1096"/>
                </a:lnTo>
                <a:lnTo>
                  <a:pt x="960" y="1096"/>
                </a:lnTo>
                <a:lnTo>
                  <a:pt x="974" y="1096"/>
                </a:lnTo>
                <a:lnTo>
                  <a:pt x="987" y="1095"/>
                </a:lnTo>
                <a:lnTo>
                  <a:pt x="1002" y="1093"/>
                </a:lnTo>
                <a:lnTo>
                  <a:pt x="1015" y="1091"/>
                </a:lnTo>
                <a:lnTo>
                  <a:pt x="1029" y="1088"/>
                </a:lnTo>
                <a:lnTo>
                  <a:pt x="1042" y="1083"/>
                </a:lnTo>
                <a:lnTo>
                  <a:pt x="1054" y="1080"/>
                </a:lnTo>
                <a:lnTo>
                  <a:pt x="1067" y="1075"/>
                </a:lnTo>
                <a:lnTo>
                  <a:pt x="1091" y="1063"/>
                </a:lnTo>
                <a:lnTo>
                  <a:pt x="1113" y="1049"/>
                </a:lnTo>
                <a:lnTo>
                  <a:pt x="1134" y="1033"/>
                </a:lnTo>
                <a:lnTo>
                  <a:pt x="1154" y="1016"/>
                </a:lnTo>
                <a:lnTo>
                  <a:pt x="1171" y="996"/>
                </a:lnTo>
                <a:lnTo>
                  <a:pt x="1188" y="976"/>
                </a:lnTo>
                <a:lnTo>
                  <a:pt x="1201" y="953"/>
                </a:lnTo>
                <a:lnTo>
                  <a:pt x="1213" y="929"/>
                </a:lnTo>
                <a:lnTo>
                  <a:pt x="1217" y="916"/>
                </a:lnTo>
                <a:lnTo>
                  <a:pt x="1221" y="904"/>
                </a:lnTo>
                <a:lnTo>
                  <a:pt x="1226" y="891"/>
                </a:lnTo>
                <a:lnTo>
                  <a:pt x="1229" y="878"/>
                </a:lnTo>
                <a:lnTo>
                  <a:pt x="1231" y="864"/>
                </a:lnTo>
                <a:lnTo>
                  <a:pt x="1232" y="850"/>
                </a:lnTo>
                <a:lnTo>
                  <a:pt x="1233" y="836"/>
                </a:lnTo>
                <a:lnTo>
                  <a:pt x="1234" y="822"/>
                </a:lnTo>
                <a:lnTo>
                  <a:pt x="1234" y="822"/>
                </a:lnTo>
                <a:lnTo>
                  <a:pt x="1233" y="802"/>
                </a:lnTo>
                <a:lnTo>
                  <a:pt x="1231" y="781"/>
                </a:lnTo>
                <a:lnTo>
                  <a:pt x="1227" y="761"/>
                </a:lnTo>
                <a:lnTo>
                  <a:pt x="1222" y="742"/>
                </a:lnTo>
                <a:lnTo>
                  <a:pt x="1216" y="723"/>
                </a:lnTo>
                <a:lnTo>
                  <a:pt x="1207" y="705"/>
                </a:lnTo>
                <a:lnTo>
                  <a:pt x="1199" y="687"/>
                </a:lnTo>
                <a:lnTo>
                  <a:pt x="1189" y="671"/>
                </a:lnTo>
                <a:lnTo>
                  <a:pt x="1189" y="434"/>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71" name="Group 70">
            <a:extLst>
              <a:ext uri="{FF2B5EF4-FFF2-40B4-BE49-F238E27FC236}">
                <a16:creationId xmlns:a16="http://schemas.microsoft.com/office/drawing/2014/main" id="{842DDBBE-2FBA-4329-830E-8779CAD5D442}"/>
              </a:ext>
            </a:extLst>
          </p:cNvPr>
          <p:cNvGrpSpPr>
            <a:grpSpLocks noChangeAspect="1"/>
          </p:cNvGrpSpPr>
          <p:nvPr/>
        </p:nvGrpSpPr>
        <p:grpSpPr>
          <a:xfrm>
            <a:off x="10114019" y="4460451"/>
            <a:ext cx="276350" cy="383241"/>
            <a:chOff x="233363" y="163513"/>
            <a:chExt cx="336550" cy="466726"/>
          </a:xfrm>
          <a:solidFill>
            <a:schemeClr val="tx2"/>
          </a:solidFill>
        </p:grpSpPr>
        <p:sp>
          <p:nvSpPr>
            <p:cNvPr id="72" name="Freeform 5">
              <a:extLst>
                <a:ext uri="{FF2B5EF4-FFF2-40B4-BE49-F238E27FC236}">
                  <a16:creationId xmlns:a16="http://schemas.microsoft.com/office/drawing/2014/main" id="{0FBE7592-6C26-48D6-A3FA-EDC6F2EA0309}"/>
                </a:ext>
              </a:extLst>
            </p:cNvPr>
            <p:cNvSpPr>
              <a:spLocks/>
            </p:cNvSpPr>
            <p:nvPr/>
          </p:nvSpPr>
          <p:spPr bwMode="auto">
            <a:xfrm>
              <a:off x="233363" y="323851"/>
              <a:ext cx="336550" cy="306388"/>
            </a:xfrm>
            <a:custGeom>
              <a:avLst/>
              <a:gdLst>
                <a:gd name="T0" fmla="*/ 445 w 850"/>
                <a:gd name="T1" fmla="*/ 0 h 770"/>
                <a:gd name="T2" fmla="*/ 572 w 850"/>
                <a:gd name="T3" fmla="*/ 209 h 770"/>
                <a:gd name="T4" fmla="*/ 576 w 850"/>
                <a:gd name="T5" fmla="*/ 206 h 770"/>
                <a:gd name="T6" fmla="*/ 583 w 850"/>
                <a:gd name="T7" fmla="*/ 203 h 770"/>
                <a:gd name="T8" fmla="*/ 591 w 850"/>
                <a:gd name="T9" fmla="*/ 203 h 770"/>
                <a:gd name="T10" fmla="*/ 598 w 850"/>
                <a:gd name="T11" fmla="*/ 206 h 770"/>
                <a:gd name="T12" fmla="*/ 601 w 850"/>
                <a:gd name="T13" fmla="*/ 209 h 770"/>
                <a:gd name="T14" fmla="*/ 606 w 850"/>
                <a:gd name="T15" fmla="*/ 216 h 770"/>
                <a:gd name="T16" fmla="*/ 607 w 850"/>
                <a:gd name="T17" fmla="*/ 223 h 770"/>
                <a:gd name="T18" fmla="*/ 606 w 850"/>
                <a:gd name="T19" fmla="*/ 231 h 770"/>
                <a:gd name="T20" fmla="*/ 601 w 850"/>
                <a:gd name="T21" fmla="*/ 237 h 770"/>
                <a:gd name="T22" fmla="*/ 439 w 850"/>
                <a:gd name="T23" fmla="*/ 399 h 770"/>
                <a:gd name="T24" fmla="*/ 433 w 850"/>
                <a:gd name="T25" fmla="*/ 404 h 770"/>
                <a:gd name="T26" fmla="*/ 431 w 850"/>
                <a:gd name="T27" fmla="*/ 405 h 770"/>
                <a:gd name="T28" fmla="*/ 424 w 850"/>
                <a:gd name="T29" fmla="*/ 406 h 770"/>
                <a:gd name="T30" fmla="*/ 421 w 850"/>
                <a:gd name="T31" fmla="*/ 406 h 770"/>
                <a:gd name="T32" fmla="*/ 417 w 850"/>
                <a:gd name="T33" fmla="*/ 404 h 770"/>
                <a:gd name="T34" fmla="*/ 414 w 850"/>
                <a:gd name="T35" fmla="*/ 401 h 770"/>
                <a:gd name="T36" fmla="*/ 249 w 850"/>
                <a:gd name="T37" fmla="*/ 237 h 770"/>
                <a:gd name="T38" fmla="*/ 246 w 850"/>
                <a:gd name="T39" fmla="*/ 234 h 770"/>
                <a:gd name="T40" fmla="*/ 243 w 850"/>
                <a:gd name="T41" fmla="*/ 228 h 770"/>
                <a:gd name="T42" fmla="*/ 243 w 850"/>
                <a:gd name="T43" fmla="*/ 219 h 770"/>
                <a:gd name="T44" fmla="*/ 246 w 850"/>
                <a:gd name="T45" fmla="*/ 213 h 770"/>
                <a:gd name="T46" fmla="*/ 249 w 850"/>
                <a:gd name="T47" fmla="*/ 209 h 770"/>
                <a:gd name="T48" fmla="*/ 255 w 850"/>
                <a:gd name="T49" fmla="*/ 205 h 770"/>
                <a:gd name="T50" fmla="*/ 262 w 850"/>
                <a:gd name="T51" fmla="*/ 203 h 770"/>
                <a:gd name="T52" fmla="*/ 270 w 850"/>
                <a:gd name="T53" fmla="*/ 205 h 770"/>
                <a:gd name="T54" fmla="*/ 277 w 850"/>
                <a:gd name="T55" fmla="*/ 209 h 770"/>
                <a:gd name="T56" fmla="*/ 404 w 850"/>
                <a:gd name="T57" fmla="*/ 0 h 770"/>
                <a:gd name="T58" fmla="*/ 20 w 850"/>
                <a:gd name="T59" fmla="*/ 0 h 770"/>
                <a:gd name="T60" fmla="*/ 11 w 850"/>
                <a:gd name="T61" fmla="*/ 2 h 770"/>
                <a:gd name="T62" fmla="*/ 5 w 850"/>
                <a:gd name="T63" fmla="*/ 7 h 770"/>
                <a:gd name="T64" fmla="*/ 1 w 850"/>
                <a:gd name="T65" fmla="*/ 13 h 770"/>
                <a:gd name="T66" fmla="*/ 0 w 850"/>
                <a:gd name="T67" fmla="*/ 21 h 770"/>
                <a:gd name="T68" fmla="*/ 0 w 850"/>
                <a:gd name="T69" fmla="*/ 750 h 770"/>
                <a:gd name="T70" fmla="*/ 1 w 850"/>
                <a:gd name="T71" fmla="*/ 759 h 770"/>
                <a:gd name="T72" fmla="*/ 5 w 850"/>
                <a:gd name="T73" fmla="*/ 764 h 770"/>
                <a:gd name="T74" fmla="*/ 11 w 850"/>
                <a:gd name="T75" fmla="*/ 768 h 770"/>
                <a:gd name="T76" fmla="*/ 20 w 850"/>
                <a:gd name="T77" fmla="*/ 770 h 770"/>
                <a:gd name="T78" fmla="*/ 830 w 850"/>
                <a:gd name="T79" fmla="*/ 770 h 770"/>
                <a:gd name="T80" fmla="*/ 838 w 850"/>
                <a:gd name="T81" fmla="*/ 768 h 770"/>
                <a:gd name="T82" fmla="*/ 845 w 850"/>
                <a:gd name="T83" fmla="*/ 764 h 770"/>
                <a:gd name="T84" fmla="*/ 848 w 850"/>
                <a:gd name="T85" fmla="*/ 759 h 770"/>
                <a:gd name="T86" fmla="*/ 850 w 850"/>
                <a:gd name="T87" fmla="*/ 750 h 770"/>
                <a:gd name="T88" fmla="*/ 850 w 850"/>
                <a:gd name="T89" fmla="*/ 21 h 770"/>
                <a:gd name="T90" fmla="*/ 848 w 850"/>
                <a:gd name="T91" fmla="*/ 13 h 770"/>
                <a:gd name="T92" fmla="*/ 845 w 850"/>
                <a:gd name="T93" fmla="*/ 7 h 770"/>
                <a:gd name="T94" fmla="*/ 838 w 850"/>
                <a:gd name="T95" fmla="*/ 2 h 770"/>
                <a:gd name="T96" fmla="*/ 830 w 850"/>
                <a:gd name="T97" fmla="*/ 0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50" h="770">
                  <a:moveTo>
                    <a:pt x="830" y="0"/>
                  </a:moveTo>
                  <a:lnTo>
                    <a:pt x="445" y="0"/>
                  </a:lnTo>
                  <a:lnTo>
                    <a:pt x="445" y="337"/>
                  </a:lnTo>
                  <a:lnTo>
                    <a:pt x="572" y="209"/>
                  </a:lnTo>
                  <a:lnTo>
                    <a:pt x="572" y="209"/>
                  </a:lnTo>
                  <a:lnTo>
                    <a:pt x="576" y="206"/>
                  </a:lnTo>
                  <a:lnTo>
                    <a:pt x="579" y="205"/>
                  </a:lnTo>
                  <a:lnTo>
                    <a:pt x="583" y="203"/>
                  </a:lnTo>
                  <a:lnTo>
                    <a:pt x="586" y="203"/>
                  </a:lnTo>
                  <a:lnTo>
                    <a:pt x="591" y="203"/>
                  </a:lnTo>
                  <a:lnTo>
                    <a:pt x="594" y="205"/>
                  </a:lnTo>
                  <a:lnTo>
                    <a:pt x="598" y="206"/>
                  </a:lnTo>
                  <a:lnTo>
                    <a:pt x="601" y="209"/>
                  </a:lnTo>
                  <a:lnTo>
                    <a:pt x="601" y="209"/>
                  </a:lnTo>
                  <a:lnTo>
                    <a:pt x="603" y="213"/>
                  </a:lnTo>
                  <a:lnTo>
                    <a:pt x="606" y="216"/>
                  </a:lnTo>
                  <a:lnTo>
                    <a:pt x="607" y="219"/>
                  </a:lnTo>
                  <a:lnTo>
                    <a:pt x="607" y="223"/>
                  </a:lnTo>
                  <a:lnTo>
                    <a:pt x="607" y="228"/>
                  </a:lnTo>
                  <a:lnTo>
                    <a:pt x="606" y="231"/>
                  </a:lnTo>
                  <a:lnTo>
                    <a:pt x="603" y="234"/>
                  </a:lnTo>
                  <a:lnTo>
                    <a:pt x="601" y="237"/>
                  </a:lnTo>
                  <a:lnTo>
                    <a:pt x="439" y="399"/>
                  </a:lnTo>
                  <a:lnTo>
                    <a:pt x="439" y="399"/>
                  </a:lnTo>
                  <a:lnTo>
                    <a:pt x="436" y="403"/>
                  </a:lnTo>
                  <a:lnTo>
                    <a:pt x="433" y="404"/>
                  </a:lnTo>
                  <a:lnTo>
                    <a:pt x="433" y="404"/>
                  </a:lnTo>
                  <a:lnTo>
                    <a:pt x="431" y="405"/>
                  </a:lnTo>
                  <a:lnTo>
                    <a:pt x="429" y="406"/>
                  </a:lnTo>
                  <a:lnTo>
                    <a:pt x="424" y="406"/>
                  </a:lnTo>
                  <a:lnTo>
                    <a:pt x="424" y="406"/>
                  </a:lnTo>
                  <a:lnTo>
                    <a:pt x="421" y="406"/>
                  </a:lnTo>
                  <a:lnTo>
                    <a:pt x="418" y="405"/>
                  </a:lnTo>
                  <a:lnTo>
                    <a:pt x="417" y="404"/>
                  </a:lnTo>
                  <a:lnTo>
                    <a:pt x="417" y="404"/>
                  </a:lnTo>
                  <a:lnTo>
                    <a:pt x="414" y="401"/>
                  </a:lnTo>
                  <a:lnTo>
                    <a:pt x="410" y="399"/>
                  </a:lnTo>
                  <a:lnTo>
                    <a:pt x="249" y="237"/>
                  </a:lnTo>
                  <a:lnTo>
                    <a:pt x="249" y="237"/>
                  </a:lnTo>
                  <a:lnTo>
                    <a:pt x="246" y="234"/>
                  </a:lnTo>
                  <a:lnTo>
                    <a:pt x="244" y="231"/>
                  </a:lnTo>
                  <a:lnTo>
                    <a:pt x="243" y="228"/>
                  </a:lnTo>
                  <a:lnTo>
                    <a:pt x="242" y="223"/>
                  </a:lnTo>
                  <a:lnTo>
                    <a:pt x="243" y="219"/>
                  </a:lnTo>
                  <a:lnTo>
                    <a:pt x="244" y="216"/>
                  </a:lnTo>
                  <a:lnTo>
                    <a:pt x="246" y="213"/>
                  </a:lnTo>
                  <a:lnTo>
                    <a:pt x="249" y="209"/>
                  </a:lnTo>
                  <a:lnTo>
                    <a:pt x="249" y="209"/>
                  </a:lnTo>
                  <a:lnTo>
                    <a:pt x="252" y="206"/>
                  </a:lnTo>
                  <a:lnTo>
                    <a:pt x="255" y="205"/>
                  </a:lnTo>
                  <a:lnTo>
                    <a:pt x="259" y="203"/>
                  </a:lnTo>
                  <a:lnTo>
                    <a:pt x="262" y="203"/>
                  </a:lnTo>
                  <a:lnTo>
                    <a:pt x="267" y="203"/>
                  </a:lnTo>
                  <a:lnTo>
                    <a:pt x="270" y="205"/>
                  </a:lnTo>
                  <a:lnTo>
                    <a:pt x="274" y="206"/>
                  </a:lnTo>
                  <a:lnTo>
                    <a:pt x="277" y="209"/>
                  </a:lnTo>
                  <a:lnTo>
                    <a:pt x="404" y="337"/>
                  </a:lnTo>
                  <a:lnTo>
                    <a:pt x="404" y="0"/>
                  </a:lnTo>
                  <a:lnTo>
                    <a:pt x="20" y="0"/>
                  </a:lnTo>
                  <a:lnTo>
                    <a:pt x="20" y="0"/>
                  </a:lnTo>
                  <a:lnTo>
                    <a:pt x="16" y="1"/>
                  </a:lnTo>
                  <a:lnTo>
                    <a:pt x="11" y="2"/>
                  </a:lnTo>
                  <a:lnTo>
                    <a:pt x="8" y="4"/>
                  </a:lnTo>
                  <a:lnTo>
                    <a:pt x="5" y="7"/>
                  </a:lnTo>
                  <a:lnTo>
                    <a:pt x="3" y="9"/>
                  </a:lnTo>
                  <a:lnTo>
                    <a:pt x="1" y="13"/>
                  </a:lnTo>
                  <a:lnTo>
                    <a:pt x="0" y="16"/>
                  </a:lnTo>
                  <a:lnTo>
                    <a:pt x="0" y="21"/>
                  </a:lnTo>
                  <a:lnTo>
                    <a:pt x="0" y="750"/>
                  </a:lnTo>
                  <a:lnTo>
                    <a:pt x="0" y="750"/>
                  </a:lnTo>
                  <a:lnTo>
                    <a:pt x="0" y="754"/>
                  </a:lnTo>
                  <a:lnTo>
                    <a:pt x="1" y="759"/>
                  </a:lnTo>
                  <a:lnTo>
                    <a:pt x="3" y="762"/>
                  </a:lnTo>
                  <a:lnTo>
                    <a:pt x="5" y="764"/>
                  </a:lnTo>
                  <a:lnTo>
                    <a:pt x="8" y="767"/>
                  </a:lnTo>
                  <a:lnTo>
                    <a:pt x="11" y="768"/>
                  </a:lnTo>
                  <a:lnTo>
                    <a:pt x="16" y="769"/>
                  </a:lnTo>
                  <a:lnTo>
                    <a:pt x="20" y="770"/>
                  </a:lnTo>
                  <a:lnTo>
                    <a:pt x="830" y="770"/>
                  </a:lnTo>
                  <a:lnTo>
                    <a:pt x="830" y="770"/>
                  </a:lnTo>
                  <a:lnTo>
                    <a:pt x="834" y="769"/>
                  </a:lnTo>
                  <a:lnTo>
                    <a:pt x="838" y="768"/>
                  </a:lnTo>
                  <a:lnTo>
                    <a:pt x="842" y="767"/>
                  </a:lnTo>
                  <a:lnTo>
                    <a:pt x="845" y="764"/>
                  </a:lnTo>
                  <a:lnTo>
                    <a:pt x="847" y="762"/>
                  </a:lnTo>
                  <a:lnTo>
                    <a:pt x="848" y="759"/>
                  </a:lnTo>
                  <a:lnTo>
                    <a:pt x="849" y="754"/>
                  </a:lnTo>
                  <a:lnTo>
                    <a:pt x="850" y="750"/>
                  </a:lnTo>
                  <a:lnTo>
                    <a:pt x="850" y="21"/>
                  </a:lnTo>
                  <a:lnTo>
                    <a:pt x="850" y="21"/>
                  </a:lnTo>
                  <a:lnTo>
                    <a:pt x="849" y="16"/>
                  </a:lnTo>
                  <a:lnTo>
                    <a:pt x="848" y="13"/>
                  </a:lnTo>
                  <a:lnTo>
                    <a:pt x="847" y="9"/>
                  </a:lnTo>
                  <a:lnTo>
                    <a:pt x="845" y="7"/>
                  </a:lnTo>
                  <a:lnTo>
                    <a:pt x="842" y="4"/>
                  </a:lnTo>
                  <a:lnTo>
                    <a:pt x="838" y="2"/>
                  </a:lnTo>
                  <a:lnTo>
                    <a:pt x="834" y="1"/>
                  </a:lnTo>
                  <a:lnTo>
                    <a:pt x="830" y="0"/>
                  </a:lnTo>
                  <a:lnTo>
                    <a:pt x="83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3" name="Freeform 6">
              <a:extLst>
                <a:ext uri="{FF2B5EF4-FFF2-40B4-BE49-F238E27FC236}">
                  <a16:creationId xmlns:a16="http://schemas.microsoft.com/office/drawing/2014/main" id="{4AD058BC-155C-41BB-AD9F-B84D04165280}"/>
                </a:ext>
              </a:extLst>
            </p:cNvPr>
            <p:cNvSpPr>
              <a:spLocks/>
            </p:cNvSpPr>
            <p:nvPr/>
          </p:nvSpPr>
          <p:spPr bwMode="auto">
            <a:xfrm>
              <a:off x="393700" y="163513"/>
              <a:ext cx="15875" cy="160338"/>
            </a:xfrm>
            <a:custGeom>
              <a:avLst/>
              <a:gdLst>
                <a:gd name="T0" fmla="*/ 41 w 41"/>
                <a:gd name="T1" fmla="*/ 404 h 404"/>
                <a:gd name="T2" fmla="*/ 41 w 41"/>
                <a:gd name="T3" fmla="*/ 20 h 404"/>
                <a:gd name="T4" fmla="*/ 41 w 41"/>
                <a:gd name="T5" fmla="*/ 20 h 404"/>
                <a:gd name="T6" fmla="*/ 41 w 41"/>
                <a:gd name="T7" fmla="*/ 16 h 404"/>
                <a:gd name="T8" fmla="*/ 40 w 41"/>
                <a:gd name="T9" fmla="*/ 12 h 404"/>
                <a:gd name="T10" fmla="*/ 38 w 41"/>
                <a:gd name="T11" fmla="*/ 9 h 404"/>
                <a:gd name="T12" fmla="*/ 35 w 41"/>
                <a:gd name="T13" fmla="*/ 5 h 404"/>
                <a:gd name="T14" fmla="*/ 32 w 41"/>
                <a:gd name="T15" fmla="*/ 3 h 404"/>
                <a:gd name="T16" fmla="*/ 29 w 41"/>
                <a:gd name="T17" fmla="*/ 1 h 404"/>
                <a:gd name="T18" fmla="*/ 25 w 41"/>
                <a:gd name="T19" fmla="*/ 0 h 404"/>
                <a:gd name="T20" fmla="*/ 20 w 41"/>
                <a:gd name="T21" fmla="*/ 0 h 404"/>
                <a:gd name="T22" fmla="*/ 20 w 41"/>
                <a:gd name="T23" fmla="*/ 0 h 404"/>
                <a:gd name="T24" fmla="*/ 16 w 41"/>
                <a:gd name="T25" fmla="*/ 0 h 404"/>
                <a:gd name="T26" fmla="*/ 13 w 41"/>
                <a:gd name="T27" fmla="*/ 1 h 404"/>
                <a:gd name="T28" fmla="*/ 9 w 41"/>
                <a:gd name="T29" fmla="*/ 3 h 404"/>
                <a:gd name="T30" fmla="*/ 6 w 41"/>
                <a:gd name="T31" fmla="*/ 5 h 404"/>
                <a:gd name="T32" fmla="*/ 3 w 41"/>
                <a:gd name="T33" fmla="*/ 9 h 404"/>
                <a:gd name="T34" fmla="*/ 2 w 41"/>
                <a:gd name="T35" fmla="*/ 12 h 404"/>
                <a:gd name="T36" fmla="*/ 1 w 41"/>
                <a:gd name="T37" fmla="*/ 16 h 404"/>
                <a:gd name="T38" fmla="*/ 0 w 41"/>
                <a:gd name="T39" fmla="*/ 20 h 404"/>
                <a:gd name="T40" fmla="*/ 0 w 41"/>
                <a:gd name="T41" fmla="*/ 404 h 404"/>
                <a:gd name="T42" fmla="*/ 41 w 41"/>
                <a:gd name="T43" fmla="*/ 404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04">
                  <a:moveTo>
                    <a:pt x="41" y="404"/>
                  </a:moveTo>
                  <a:lnTo>
                    <a:pt x="41" y="20"/>
                  </a:lnTo>
                  <a:lnTo>
                    <a:pt x="41" y="20"/>
                  </a:lnTo>
                  <a:lnTo>
                    <a:pt x="41" y="16"/>
                  </a:lnTo>
                  <a:lnTo>
                    <a:pt x="40" y="12"/>
                  </a:lnTo>
                  <a:lnTo>
                    <a:pt x="38" y="9"/>
                  </a:lnTo>
                  <a:lnTo>
                    <a:pt x="35" y="5"/>
                  </a:lnTo>
                  <a:lnTo>
                    <a:pt x="32" y="3"/>
                  </a:lnTo>
                  <a:lnTo>
                    <a:pt x="29" y="1"/>
                  </a:lnTo>
                  <a:lnTo>
                    <a:pt x="25" y="0"/>
                  </a:lnTo>
                  <a:lnTo>
                    <a:pt x="20" y="0"/>
                  </a:lnTo>
                  <a:lnTo>
                    <a:pt x="20" y="0"/>
                  </a:lnTo>
                  <a:lnTo>
                    <a:pt x="16" y="0"/>
                  </a:lnTo>
                  <a:lnTo>
                    <a:pt x="13" y="1"/>
                  </a:lnTo>
                  <a:lnTo>
                    <a:pt x="9" y="3"/>
                  </a:lnTo>
                  <a:lnTo>
                    <a:pt x="6" y="5"/>
                  </a:lnTo>
                  <a:lnTo>
                    <a:pt x="3" y="9"/>
                  </a:lnTo>
                  <a:lnTo>
                    <a:pt x="2" y="12"/>
                  </a:lnTo>
                  <a:lnTo>
                    <a:pt x="1" y="16"/>
                  </a:lnTo>
                  <a:lnTo>
                    <a:pt x="0" y="20"/>
                  </a:lnTo>
                  <a:lnTo>
                    <a:pt x="0" y="404"/>
                  </a:lnTo>
                  <a:lnTo>
                    <a:pt x="41" y="40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74" name="Freeform 32">
            <a:extLst>
              <a:ext uri="{FF2B5EF4-FFF2-40B4-BE49-F238E27FC236}">
                <a16:creationId xmlns:a16="http://schemas.microsoft.com/office/drawing/2014/main" id="{532AB10C-8669-4CC3-A4C8-E30744A5F398}"/>
              </a:ext>
            </a:extLst>
          </p:cNvPr>
          <p:cNvSpPr>
            <a:spLocks noChangeAspect="1"/>
          </p:cNvSpPr>
          <p:nvPr/>
        </p:nvSpPr>
        <p:spPr bwMode="auto">
          <a:xfrm>
            <a:off x="10687642" y="2831657"/>
            <a:ext cx="383096" cy="380968"/>
          </a:xfrm>
          <a:custGeom>
            <a:avLst/>
            <a:gdLst>
              <a:gd name="T0" fmla="*/ 60 w 1438"/>
              <a:gd name="T1" fmla="*/ 0 h 1433"/>
              <a:gd name="T2" fmla="*/ 48 w 1438"/>
              <a:gd name="T3" fmla="*/ 1 h 1433"/>
              <a:gd name="T4" fmla="*/ 27 w 1438"/>
              <a:gd name="T5" fmla="*/ 11 h 1433"/>
              <a:gd name="T6" fmla="*/ 9 w 1438"/>
              <a:gd name="T7" fmla="*/ 27 h 1433"/>
              <a:gd name="T8" fmla="*/ 1 w 1438"/>
              <a:gd name="T9" fmla="*/ 49 h 1433"/>
              <a:gd name="T10" fmla="*/ 0 w 1438"/>
              <a:gd name="T11" fmla="*/ 1376 h 1433"/>
              <a:gd name="T12" fmla="*/ 1 w 1438"/>
              <a:gd name="T13" fmla="*/ 1387 h 1433"/>
              <a:gd name="T14" fmla="*/ 9 w 1438"/>
              <a:gd name="T15" fmla="*/ 1408 h 1433"/>
              <a:gd name="T16" fmla="*/ 27 w 1438"/>
              <a:gd name="T17" fmla="*/ 1424 h 1433"/>
              <a:gd name="T18" fmla="*/ 48 w 1438"/>
              <a:gd name="T19" fmla="*/ 1432 h 1433"/>
              <a:gd name="T20" fmla="*/ 761 w 1438"/>
              <a:gd name="T21" fmla="*/ 1433 h 1433"/>
              <a:gd name="T22" fmla="*/ 582 w 1438"/>
              <a:gd name="T23" fmla="*/ 896 h 1433"/>
              <a:gd name="T24" fmla="*/ 761 w 1438"/>
              <a:gd name="T25" fmla="*/ 672 h 1433"/>
              <a:gd name="T26" fmla="*/ 761 w 1438"/>
              <a:gd name="T27" fmla="*/ 493 h 1433"/>
              <a:gd name="T28" fmla="*/ 762 w 1438"/>
              <a:gd name="T29" fmla="*/ 460 h 1433"/>
              <a:gd name="T30" fmla="*/ 767 w 1438"/>
              <a:gd name="T31" fmla="*/ 428 h 1433"/>
              <a:gd name="T32" fmla="*/ 773 w 1438"/>
              <a:gd name="T33" fmla="*/ 399 h 1433"/>
              <a:gd name="T34" fmla="*/ 782 w 1438"/>
              <a:gd name="T35" fmla="*/ 371 h 1433"/>
              <a:gd name="T36" fmla="*/ 793 w 1438"/>
              <a:gd name="T37" fmla="*/ 347 h 1433"/>
              <a:gd name="T38" fmla="*/ 806 w 1438"/>
              <a:gd name="T39" fmla="*/ 324 h 1433"/>
              <a:gd name="T40" fmla="*/ 822 w 1438"/>
              <a:gd name="T41" fmla="*/ 304 h 1433"/>
              <a:gd name="T42" fmla="*/ 840 w 1438"/>
              <a:gd name="T43" fmla="*/ 286 h 1433"/>
              <a:gd name="T44" fmla="*/ 859 w 1438"/>
              <a:gd name="T45" fmla="*/ 270 h 1433"/>
              <a:gd name="T46" fmla="*/ 881 w 1438"/>
              <a:gd name="T47" fmla="*/ 256 h 1433"/>
              <a:gd name="T48" fmla="*/ 904 w 1438"/>
              <a:gd name="T49" fmla="*/ 244 h 1433"/>
              <a:gd name="T50" fmla="*/ 929 w 1438"/>
              <a:gd name="T51" fmla="*/ 235 h 1433"/>
              <a:gd name="T52" fmla="*/ 983 w 1438"/>
              <a:gd name="T53" fmla="*/ 222 h 1433"/>
              <a:gd name="T54" fmla="*/ 1043 w 1438"/>
              <a:gd name="T55" fmla="*/ 218 h 1433"/>
              <a:gd name="T56" fmla="*/ 1099 w 1438"/>
              <a:gd name="T57" fmla="*/ 219 h 1433"/>
              <a:gd name="T58" fmla="*/ 1188 w 1438"/>
              <a:gd name="T59" fmla="*/ 224 h 1433"/>
              <a:gd name="T60" fmla="*/ 1211 w 1438"/>
              <a:gd name="T61" fmla="*/ 419 h 1433"/>
              <a:gd name="T62" fmla="*/ 1097 w 1438"/>
              <a:gd name="T63" fmla="*/ 419 h 1433"/>
              <a:gd name="T64" fmla="*/ 1066 w 1438"/>
              <a:gd name="T65" fmla="*/ 421 h 1433"/>
              <a:gd name="T66" fmla="*/ 1042 w 1438"/>
              <a:gd name="T67" fmla="*/ 427 h 1433"/>
              <a:gd name="T68" fmla="*/ 1023 w 1438"/>
              <a:gd name="T69" fmla="*/ 436 h 1433"/>
              <a:gd name="T70" fmla="*/ 1009 w 1438"/>
              <a:gd name="T71" fmla="*/ 448 h 1433"/>
              <a:gd name="T72" fmla="*/ 998 w 1438"/>
              <a:gd name="T73" fmla="*/ 464 h 1433"/>
              <a:gd name="T74" fmla="*/ 992 w 1438"/>
              <a:gd name="T75" fmla="*/ 481 h 1433"/>
              <a:gd name="T76" fmla="*/ 989 w 1438"/>
              <a:gd name="T77" fmla="*/ 502 h 1433"/>
              <a:gd name="T78" fmla="*/ 987 w 1438"/>
              <a:gd name="T79" fmla="*/ 672 h 1433"/>
              <a:gd name="T80" fmla="*/ 1167 w 1438"/>
              <a:gd name="T81" fmla="*/ 896 h 1433"/>
              <a:gd name="T82" fmla="*/ 992 w 1438"/>
              <a:gd name="T83" fmla="*/ 1433 h 1433"/>
              <a:gd name="T84" fmla="*/ 1377 w 1438"/>
              <a:gd name="T85" fmla="*/ 1433 h 1433"/>
              <a:gd name="T86" fmla="*/ 1400 w 1438"/>
              <a:gd name="T87" fmla="*/ 1429 h 1433"/>
              <a:gd name="T88" fmla="*/ 1419 w 1438"/>
              <a:gd name="T89" fmla="*/ 1416 h 1433"/>
              <a:gd name="T90" fmla="*/ 1432 w 1438"/>
              <a:gd name="T91" fmla="*/ 1397 h 1433"/>
              <a:gd name="T92" fmla="*/ 1438 w 1438"/>
              <a:gd name="T93" fmla="*/ 1374 h 1433"/>
              <a:gd name="T94" fmla="*/ 1438 w 1438"/>
              <a:gd name="T95" fmla="*/ 61 h 1433"/>
              <a:gd name="T96" fmla="*/ 1430 w 1438"/>
              <a:gd name="T97" fmla="*/ 37 h 1433"/>
              <a:gd name="T98" fmla="*/ 1416 w 1438"/>
              <a:gd name="T99" fmla="*/ 18 h 1433"/>
              <a:gd name="T100" fmla="*/ 1396 w 1438"/>
              <a:gd name="T101" fmla="*/ 5 h 1433"/>
              <a:gd name="T102" fmla="*/ 1372 w 1438"/>
              <a:gd name="T103" fmla="*/ 0 h 1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38" h="1433">
                <a:moveTo>
                  <a:pt x="1372" y="0"/>
                </a:moveTo>
                <a:lnTo>
                  <a:pt x="60" y="0"/>
                </a:lnTo>
                <a:lnTo>
                  <a:pt x="60" y="0"/>
                </a:lnTo>
                <a:lnTo>
                  <a:pt x="48" y="1"/>
                </a:lnTo>
                <a:lnTo>
                  <a:pt x="36" y="5"/>
                </a:lnTo>
                <a:lnTo>
                  <a:pt x="27" y="11"/>
                </a:lnTo>
                <a:lnTo>
                  <a:pt x="17" y="18"/>
                </a:lnTo>
                <a:lnTo>
                  <a:pt x="9" y="27"/>
                </a:lnTo>
                <a:lnTo>
                  <a:pt x="4" y="37"/>
                </a:lnTo>
                <a:lnTo>
                  <a:pt x="1" y="49"/>
                </a:lnTo>
                <a:lnTo>
                  <a:pt x="0" y="61"/>
                </a:lnTo>
                <a:lnTo>
                  <a:pt x="0" y="1376"/>
                </a:lnTo>
                <a:lnTo>
                  <a:pt x="0" y="1376"/>
                </a:lnTo>
                <a:lnTo>
                  <a:pt x="1" y="1387"/>
                </a:lnTo>
                <a:lnTo>
                  <a:pt x="4" y="1398"/>
                </a:lnTo>
                <a:lnTo>
                  <a:pt x="9" y="1408"/>
                </a:lnTo>
                <a:lnTo>
                  <a:pt x="17" y="1416"/>
                </a:lnTo>
                <a:lnTo>
                  <a:pt x="27" y="1424"/>
                </a:lnTo>
                <a:lnTo>
                  <a:pt x="36" y="1429"/>
                </a:lnTo>
                <a:lnTo>
                  <a:pt x="48" y="1432"/>
                </a:lnTo>
                <a:lnTo>
                  <a:pt x="60" y="1433"/>
                </a:lnTo>
                <a:lnTo>
                  <a:pt x="761" y="1433"/>
                </a:lnTo>
                <a:lnTo>
                  <a:pt x="761" y="896"/>
                </a:lnTo>
                <a:lnTo>
                  <a:pt x="582" y="896"/>
                </a:lnTo>
                <a:lnTo>
                  <a:pt x="582" y="672"/>
                </a:lnTo>
                <a:lnTo>
                  <a:pt x="761" y="672"/>
                </a:lnTo>
                <a:lnTo>
                  <a:pt x="761" y="493"/>
                </a:lnTo>
                <a:lnTo>
                  <a:pt x="761" y="493"/>
                </a:lnTo>
                <a:lnTo>
                  <a:pt x="761" y="476"/>
                </a:lnTo>
                <a:lnTo>
                  <a:pt x="762" y="460"/>
                </a:lnTo>
                <a:lnTo>
                  <a:pt x="765" y="444"/>
                </a:lnTo>
                <a:lnTo>
                  <a:pt x="767" y="428"/>
                </a:lnTo>
                <a:lnTo>
                  <a:pt x="769" y="413"/>
                </a:lnTo>
                <a:lnTo>
                  <a:pt x="773" y="399"/>
                </a:lnTo>
                <a:lnTo>
                  <a:pt x="777" y="385"/>
                </a:lnTo>
                <a:lnTo>
                  <a:pt x="782" y="371"/>
                </a:lnTo>
                <a:lnTo>
                  <a:pt x="787" y="359"/>
                </a:lnTo>
                <a:lnTo>
                  <a:pt x="793" y="347"/>
                </a:lnTo>
                <a:lnTo>
                  <a:pt x="800" y="335"/>
                </a:lnTo>
                <a:lnTo>
                  <a:pt x="806" y="324"/>
                </a:lnTo>
                <a:lnTo>
                  <a:pt x="815" y="314"/>
                </a:lnTo>
                <a:lnTo>
                  <a:pt x="822" y="304"/>
                </a:lnTo>
                <a:lnTo>
                  <a:pt x="831" y="294"/>
                </a:lnTo>
                <a:lnTo>
                  <a:pt x="840" y="286"/>
                </a:lnTo>
                <a:lnTo>
                  <a:pt x="850" y="277"/>
                </a:lnTo>
                <a:lnTo>
                  <a:pt x="859" y="270"/>
                </a:lnTo>
                <a:lnTo>
                  <a:pt x="870" y="262"/>
                </a:lnTo>
                <a:lnTo>
                  <a:pt x="881" y="256"/>
                </a:lnTo>
                <a:lnTo>
                  <a:pt x="893" y="250"/>
                </a:lnTo>
                <a:lnTo>
                  <a:pt x="904" y="244"/>
                </a:lnTo>
                <a:lnTo>
                  <a:pt x="917" y="239"/>
                </a:lnTo>
                <a:lnTo>
                  <a:pt x="929" y="235"/>
                </a:lnTo>
                <a:lnTo>
                  <a:pt x="955" y="227"/>
                </a:lnTo>
                <a:lnTo>
                  <a:pt x="983" y="222"/>
                </a:lnTo>
                <a:lnTo>
                  <a:pt x="1013" y="219"/>
                </a:lnTo>
                <a:lnTo>
                  <a:pt x="1043" y="218"/>
                </a:lnTo>
                <a:lnTo>
                  <a:pt x="1043" y="218"/>
                </a:lnTo>
                <a:lnTo>
                  <a:pt x="1099" y="219"/>
                </a:lnTo>
                <a:lnTo>
                  <a:pt x="1150" y="221"/>
                </a:lnTo>
                <a:lnTo>
                  <a:pt x="1188" y="224"/>
                </a:lnTo>
                <a:lnTo>
                  <a:pt x="1211" y="226"/>
                </a:lnTo>
                <a:lnTo>
                  <a:pt x="1211" y="419"/>
                </a:lnTo>
                <a:lnTo>
                  <a:pt x="1097" y="419"/>
                </a:lnTo>
                <a:lnTo>
                  <a:pt x="1097" y="419"/>
                </a:lnTo>
                <a:lnTo>
                  <a:pt x="1081" y="419"/>
                </a:lnTo>
                <a:lnTo>
                  <a:pt x="1066" y="421"/>
                </a:lnTo>
                <a:lnTo>
                  <a:pt x="1054" y="423"/>
                </a:lnTo>
                <a:lnTo>
                  <a:pt x="1042" y="427"/>
                </a:lnTo>
                <a:lnTo>
                  <a:pt x="1032" y="431"/>
                </a:lnTo>
                <a:lnTo>
                  <a:pt x="1023" y="436"/>
                </a:lnTo>
                <a:lnTo>
                  <a:pt x="1015" y="442"/>
                </a:lnTo>
                <a:lnTo>
                  <a:pt x="1009" y="448"/>
                </a:lnTo>
                <a:lnTo>
                  <a:pt x="1003" y="455"/>
                </a:lnTo>
                <a:lnTo>
                  <a:pt x="998" y="464"/>
                </a:lnTo>
                <a:lnTo>
                  <a:pt x="995" y="472"/>
                </a:lnTo>
                <a:lnTo>
                  <a:pt x="992" y="481"/>
                </a:lnTo>
                <a:lnTo>
                  <a:pt x="990" y="492"/>
                </a:lnTo>
                <a:lnTo>
                  <a:pt x="989" y="502"/>
                </a:lnTo>
                <a:lnTo>
                  <a:pt x="987" y="525"/>
                </a:lnTo>
                <a:lnTo>
                  <a:pt x="987" y="672"/>
                </a:lnTo>
                <a:lnTo>
                  <a:pt x="1211" y="672"/>
                </a:lnTo>
                <a:lnTo>
                  <a:pt x="1167" y="896"/>
                </a:lnTo>
                <a:lnTo>
                  <a:pt x="987" y="896"/>
                </a:lnTo>
                <a:lnTo>
                  <a:pt x="992" y="1433"/>
                </a:lnTo>
                <a:lnTo>
                  <a:pt x="1377" y="1433"/>
                </a:lnTo>
                <a:lnTo>
                  <a:pt x="1377" y="1433"/>
                </a:lnTo>
                <a:lnTo>
                  <a:pt x="1390" y="1432"/>
                </a:lnTo>
                <a:lnTo>
                  <a:pt x="1400" y="1429"/>
                </a:lnTo>
                <a:lnTo>
                  <a:pt x="1411" y="1424"/>
                </a:lnTo>
                <a:lnTo>
                  <a:pt x="1419" y="1416"/>
                </a:lnTo>
                <a:lnTo>
                  <a:pt x="1427" y="1407"/>
                </a:lnTo>
                <a:lnTo>
                  <a:pt x="1432" y="1397"/>
                </a:lnTo>
                <a:lnTo>
                  <a:pt x="1436" y="1385"/>
                </a:lnTo>
                <a:lnTo>
                  <a:pt x="1438" y="1374"/>
                </a:lnTo>
                <a:lnTo>
                  <a:pt x="1438" y="61"/>
                </a:lnTo>
                <a:lnTo>
                  <a:pt x="1438" y="61"/>
                </a:lnTo>
                <a:lnTo>
                  <a:pt x="1434" y="49"/>
                </a:lnTo>
                <a:lnTo>
                  <a:pt x="1430" y="37"/>
                </a:lnTo>
                <a:lnTo>
                  <a:pt x="1424" y="27"/>
                </a:lnTo>
                <a:lnTo>
                  <a:pt x="1416" y="18"/>
                </a:lnTo>
                <a:lnTo>
                  <a:pt x="1407" y="11"/>
                </a:lnTo>
                <a:lnTo>
                  <a:pt x="1396" y="5"/>
                </a:lnTo>
                <a:lnTo>
                  <a:pt x="1385" y="1"/>
                </a:lnTo>
                <a:lnTo>
                  <a:pt x="1372" y="0"/>
                </a:lnTo>
                <a:lnTo>
                  <a:pt x="1372"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5" name="Freeform 62">
            <a:extLst>
              <a:ext uri="{FF2B5EF4-FFF2-40B4-BE49-F238E27FC236}">
                <a16:creationId xmlns:a16="http://schemas.microsoft.com/office/drawing/2014/main" id="{EA8F515A-EF91-4192-AC6A-80BFF71A6F8B}"/>
              </a:ext>
            </a:extLst>
          </p:cNvPr>
          <p:cNvSpPr>
            <a:spLocks noChangeAspect="1" noEditPoints="1"/>
          </p:cNvSpPr>
          <p:nvPr/>
        </p:nvSpPr>
        <p:spPr bwMode="auto">
          <a:xfrm>
            <a:off x="11292919" y="4466032"/>
            <a:ext cx="338336" cy="388091"/>
          </a:xfrm>
          <a:custGeom>
            <a:avLst/>
            <a:gdLst>
              <a:gd name="T0" fmla="*/ 1086 w 1223"/>
              <a:gd name="T1" fmla="*/ 379 h 1404"/>
              <a:gd name="T2" fmla="*/ 1077 w 1223"/>
              <a:gd name="T3" fmla="*/ 366 h 1404"/>
              <a:gd name="T4" fmla="*/ 861 w 1223"/>
              <a:gd name="T5" fmla="*/ 362 h 1404"/>
              <a:gd name="T6" fmla="*/ 860 w 1223"/>
              <a:gd name="T7" fmla="*/ 224 h 1404"/>
              <a:gd name="T8" fmla="*/ 832 w 1223"/>
              <a:gd name="T9" fmla="*/ 130 h 1404"/>
              <a:gd name="T10" fmla="*/ 771 w 1223"/>
              <a:gd name="T11" fmla="*/ 57 h 1404"/>
              <a:gd name="T12" fmla="*/ 686 w 1223"/>
              <a:gd name="T13" fmla="*/ 12 h 1404"/>
              <a:gd name="T14" fmla="*/ 612 w 1223"/>
              <a:gd name="T15" fmla="*/ 0 h 1404"/>
              <a:gd name="T16" fmla="*/ 562 w 1223"/>
              <a:gd name="T17" fmla="*/ 5 h 1404"/>
              <a:gd name="T18" fmla="*/ 473 w 1223"/>
              <a:gd name="T19" fmla="*/ 43 h 1404"/>
              <a:gd name="T20" fmla="*/ 406 w 1223"/>
              <a:gd name="T21" fmla="*/ 110 h 1404"/>
              <a:gd name="T22" fmla="*/ 368 w 1223"/>
              <a:gd name="T23" fmla="*/ 199 h 1404"/>
              <a:gd name="T24" fmla="*/ 363 w 1223"/>
              <a:gd name="T25" fmla="*/ 362 h 1404"/>
              <a:gd name="T26" fmla="*/ 151 w 1223"/>
              <a:gd name="T27" fmla="*/ 364 h 1404"/>
              <a:gd name="T28" fmla="*/ 139 w 1223"/>
              <a:gd name="T29" fmla="*/ 375 h 1404"/>
              <a:gd name="T30" fmla="*/ 0 w 1223"/>
              <a:gd name="T31" fmla="*/ 1379 h 1404"/>
              <a:gd name="T32" fmla="*/ 6 w 1223"/>
              <a:gd name="T33" fmla="*/ 1397 h 1404"/>
              <a:gd name="T34" fmla="*/ 23 w 1223"/>
              <a:gd name="T35" fmla="*/ 1404 h 1404"/>
              <a:gd name="T36" fmla="*/ 1206 w 1223"/>
              <a:gd name="T37" fmla="*/ 1404 h 1404"/>
              <a:gd name="T38" fmla="*/ 1220 w 1223"/>
              <a:gd name="T39" fmla="*/ 1395 h 1404"/>
              <a:gd name="T40" fmla="*/ 1223 w 1223"/>
              <a:gd name="T41" fmla="*/ 1381 h 1404"/>
              <a:gd name="T42" fmla="*/ 408 w 1223"/>
              <a:gd name="T43" fmla="*/ 249 h 1404"/>
              <a:gd name="T44" fmla="*/ 424 w 1223"/>
              <a:gd name="T45" fmla="*/ 170 h 1404"/>
              <a:gd name="T46" fmla="*/ 468 w 1223"/>
              <a:gd name="T47" fmla="*/ 105 h 1404"/>
              <a:gd name="T48" fmla="*/ 533 w 1223"/>
              <a:gd name="T49" fmla="*/ 61 h 1404"/>
              <a:gd name="T50" fmla="*/ 612 w 1223"/>
              <a:gd name="T51" fmla="*/ 45 h 1404"/>
              <a:gd name="T52" fmla="*/ 673 w 1223"/>
              <a:gd name="T53" fmla="*/ 55 h 1404"/>
              <a:gd name="T54" fmla="*/ 742 w 1223"/>
              <a:gd name="T55" fmla="*/ 91 h 1404"/>
              <a:gd name="T56" fmla="*/ 792 w 1223"/>
              <a:gd name="T57" fmla="*/ 152 h 1404"/>
              <a:gd name="T58" fmla="*/ 815 w 1223"/>
              <a:gd name="T59" fmla="*/ 228 h 1404"/>
              <a:gd name="T60" fmla="*/ 408 w 1223"/>
              <a:gd name="T61" fmla="*/ 249 h 1404"/>
              <a:gd name="T62" fmla="*/ 371 w 1223"/>
              <a:gd name="T63" fmla="*/ 723 h 1404"/>
              <a:gd name="T64" fmla="*/ 348 w 1223"/>
              <a:gd name="T65" fmla="*/ 713 h 1404"/>
              <a:gd name="T66" fmla="*/ 323 w 1223"/>
              <a:gd name="T67" fmla="*/ 683 h 1404"/>
              <a:gd name="T68" fmla="*/ 317 w 1223"/>
              <a:gd name="T69" fmla="*/ 656 h 1404"/>
              <a:gd name="T70" fmla="*/ 321 w 1223"/>
              <a:gd name="T71" fmla="*/ 636 h 1404"/>
              <a:gd name="T72" fmla="*/ 338 w 1223"/>
              <a:gd name="T73" fmla="*/ 609 h 1404"/>
              <a:gd name="T74" fmla="*/ 365 w 1223"/>
              <a:gd name="T75" fmla="*/ 592 h 1404"/>
              <a:gd name="T76" fmla="*/ 385 w 1223"/>
              <a:gd name="T77" fmla="*/ 588 h 1404"/>
              <a:gd name="T78" fmla="*/ 412 w 1223"/>
              <a:gd name="T79" fmla="*/ 594 h 1404"/>
              <a:gd name="T80" fmla="*/ 443 w 1223"/>
              <a:gd name="T81" fmla="*/ 619 h 1404"/>
              <a:gd name="T82" fmla="*/ 452 w 1223"/>
              <a:gd name="T83" fmla="*/ 643 h 1404"/>
              <a:gd name="T84" fmla="*/ 453 w 1223"/>
              <a:gd name="T85" fmla="*/ 664 h 1404"/>
              <a:gd name="T86" fmla="*/ 446 w 1223"/>
              <a:gd name="T87" fmla="*/ 690 h 1404"/>
              <a:gd name="T88" fmla="*/ 419 w 1223"/>
              <a:gd name="T89" fmla="*/ 717 h 1404"/>
              <a:gd name="T90" fmla="*/ 393 w 1223"/>
              <a:gd name="T91" fmla="*/ 724 h 1404"/>
              <a:gd name="T92" fmla="*/ 838 w 1223"/>
              <a:gd name="T93" fmla="*/ 724 h 1404"/>
              <a:gd name="T94" fmla="*/ 812 w 1223"/>
              <a:gd name="T95" fmla="*/ 720 h 1404"/>
              <a:gd name="T96" fmla="*/ 782 w 1223"/>
              <a:gd name="T97" fmla="*/ 695 h 1404"/>
              <a:gd name="T98" fmla="*/ 773 w 1223"/>
              <a:gd name="T99" fmla="*/ 670 h 1404"/>
              <a:gd name="T100" fmla="*/ 771 w 1223"/>
              <a:gd name="T101" fmla="*/ 650 h 1404"/>
              <a:gd name="T102" fmla="*/ 779 w 1223"/>
              <a:gd name="T103" fmla="*/ 624 h 1404"/>
              <a:gd name="T104" fmla="*/ 806 w 1223"/>
              <a:gd name="T105" fmla="*/ 597 h 1404"/>
              <a:gd name="T106" fmla="*/ 832 w 1223"/>
              <a:gd name="T107" fmla="*/ 589 h 1404"/>
              <a:gd name="T108" fmla="*/ 852 w 1223"/>
              <a:gd name="T109" fmla="*/ 591 h 1404"/>
              <a:gd name="T110" fmla="*/ 877 w 1223"/>
              <a:gd name="T111" fmla="*/ 600 h 1404"/>
              <a:gd name="T112" fmla="*/ 902 w 1223"/>
              <a:gd name="T113" fmla="*/ 630 h 1404"/>
              <a:gd name="T114" fmla="*/ 906 w 1223"/>
              <a:gd name="T115" fmla="*/ 656 h 1404"/>
              <a:gd name="T116" fmla="*/ 904 w 1223"/>
              <a:gd name="T117" fmla="*/ 678 h 1404"/>
              <a:gd name="T118" fmla="*/ 887 w 1223"/>
              <a:gd name="T119" fmla="*/ 705 h 1404"/>
              <a:gd name="T120" fmla="*/ 859 w 1223"/>
              <a:gd name="T121" fmla="*/ 722 h 1404"/>
              <a:gd name="T122" fmla="*/ 838 w 1223"/>
              <a:gd name="T123" fmla="*/ 724 h 1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1404">
                <a:moveTo>
                  <a:pt x="1223" y="1374"/>
                </a:moveTo>
                <a:lnTo>
                  <a:pt x="1087" y="382"/>
                </a:lnTo>
                <a:lnTo>
                  <a:pt x="1087" y="382"/>
                </a:lnTo>
                <a:lnTo>
                  <a:pt x="1086" y="379"/>
                </a:lnTo>
                <a:lnTo>
                  <a:pt x="1085" y="375"/>
                </a:lnTo>
                <a:lnTo>
                  <a:pt x="1083" y="372"/>
                </a:lnTo>
                <a:lnTo>
                  <a:pt x="1080" y="368"/>
                </a:lnTo>
                <a:lnTo>
                  <a:pt x="1077" y="366"/>
                </a:lnTo>
                <a:lnTo>
                  <a:pt x="1073" y="364"/>
                </a:lnTo>
                <a:lnTo>
                  <a:pt x="1069" y="363"/>
                </a:lnTo>
                <a:lnTo>
                  <a:pt x="1065" y="362"/>
                </a:lnTo>
                <a:lnTo>
                  <a:pt x="861" y="362"/>
                </a:lnTo>
                <a:lnTo>
                  <a:pt x="861" y="249"/>
                </a:lnTo>
                <a:lnTo>
                  <a:pt x="861" y="249"/>
                </a:lnTo>
                <a:lnTo>
                  <a:pt x="861" y="237"/>
                </a:lnTo>
                <a:lnTo>
                  <a:pt x="860" y="224"/>
                </a:lnTo>
                <a:lnTo>
                  <a:pt x="857" y="199"/>
                </a:lnTo>
                <a:lnTo>
                  <a:pt x="850" y="175"/>
                </a:lnTo>
                <a:lnTo>
                  <a:pt x="842" y="152"/>
                </a:lnTo>
                <a:lnTo>
                  <a:pt x="832" y="130"/>
                </a:lnTo>
                <a:lnTo>
                  <a:pt x="819" y="110"/>
                </a:lnTo>
                <a:lnTo>
                  <a:pt x="805" y="90"/>
                </a:lnTo>
                <a:lnTo>
                  <a:pt x="789" y="73"/>
                </a:lnTo>
                <a:lnTo>
                  <a:pt x="771" y="57"/>
                </a:lnTo>
                <a:lnTo>
                  <a:pt x="752" y="43"/>
                </a:lnTo>
                <a:lnTo>
                  <a:pt x="732" y="30"/>
                </a:lnTo>
                <a:lnTo>
                  <a:pt x="710" y="20"/>
                </a:lnTo>
                <a:lnTo>
                  <a:pt x="686" y="12"/>
                </a:lnTo>
                <a:lnTo>
                  <a:pt x="663" y="5"/>
                </a:lnTo>
                <a:lnTo>
                  <a:pt x="638" y="2"/>
                </a:lnTo>
                <a:lnTo>
                  <a:pt x="625" y="1"/>
                </a:lnTo>
                <a:lnTo>
                  <a:pt x="612" y="0"/>
                </a:lnTo>
                <a:lnTo>
                  <a:pt x="612" y="0"/>
                </a:lnTo>
                <a:lnTo>
                  <a:pt x="599" y="1"/>
                </a:lnTo>
                <a:lnTo>
                  <a:pt x="587" y="2"/>
                </a:lnTo>
                <a:lnTo>
                  <a:pt x="562" y="5"/>
                </a:lnTo>
                <a:lnTo>
                  <a:pt x="538" y="12"/>
                </a:lnTo>
                <a:lnTo>
                  <a:pt x="515" y="20"/>
                </a:lnTo>
                <a:lnTo>
                  <a:pt x="493" y="30"/>
                </a:lnTo>
                <a:lnTo>
                  <a:pt x="473" y="43"/>
                </a:lnTo>
                <a:lnTo>
                  <a:pt x="453" y="57"/>
                </a:lnTo>
                <a:lnTo>
                  <a:pt x="436" y="73"/>
                </a:lnTo>
                <a:lnTo>
                  <a:pt x="420" y="90"/>
                </a:lnTo>
                <a:lnTo>
                  <a:pt x="406" y="110"/>
                </a:lnTo>
                <a:lnTo>
                  <a:pt x="393" y="130"/>
                </a:lnTo>
                <a:lnTo>
                  <a:pt x="382" y="152"/>
                </a:lnTo>
                <a:lnTo>
                  <a:pt x="375" y="175"/>
                </a:lnTo>
                <a:lnTo>
                  <a:pt x="368" y="199"/>
                </a:lnTo>
                <a:lnTo>
                  <a:pt x="365" y="224"/>
                </a:lnTo>
                <a:lnTo>
                  <a:pt x="364" y="237"/>
                </a:lnTo>
                <a:lnTo>
                  <a:pt x="363" y="249"/>
                </a:lnTo>
                <a:lnTo>
                  <a:pt x="363" y="362"/>
                </a:lnTo>
                <a:lnTo>
                  <a:pt x="159" y="362"/>
                </a:lnTo>
                <a:lnTo>
                  <a:pt x="159" y="362"/>
                </a:lnTo>
                <a:lnTo>
                  <a:pt x="156" y="363"/>
                </a:lnTo>
                <a:lnTo>
                  <a:pt x="151" y="364"/>
                </a:lnTo>
                <a:lnTo>
                  <a:pt x="148" y="366"/>
                </a:lnTo>
                <a:lnTo>
                  <a:pt x="145" y="368"/>
                </a:lnTo>
                <a:lnTo>
                  <a:pt x="142" y="372"/>
                </a:lnTo>
                <a:lnTo>
                  <a:pt x="139" y="375"/>
                </a:lnTo>
                <a:lnTo>
                  <a:pt x="137" y="379"/>
                </a:lnTo>
                <a:lnTo>
                  <a:pt x="136" y="382"/>
                </a:lnTo>
                <a:lnTo>
                  <a:pt x="0" y="1379"/>
                </a:lnTo>
                <a:lnTo>
                  <a:pt x="0" y="1379"/>
                </a:lnTo>
                <a:lnTo>
                  <a:pt x="1" y="1390"/>
                </a:lnTo>
                <a:lnTo>
                  <a:pt x="3" y="1394"/>
                </a:lnTo>
                <a:lnTo>
                  <a:pt x="6" y="1397"/>
                </a:lnTo>
                <a:lnTo>
                  <a:pt x="6" y="1397"/>
                </a:lnTo>
                <a:lnTo>
                  <a:pt x="9" y="1400"/>
                </a:lnTo>
                <a:lnTo>
                  <a:pt x="13" y="1402"/>
                </a:lnTo>
                <a:lnTo>
                  <a:pt x="19" y="1404"/>
                </a:lnTo>
                <a:lnTo>
                  <a:pt x="23" y="1404"/>
                </a:lnTo>
                <a:lnTo>
                  <a:pt x="1201" y="1404"/>
                </a:lnTo>
                <a:lnTo>
                  <a:pt x="1201" y="1404"/>
                </a:lnTo>
                <a:lnTo>
                  <a:pt x="1201" y="1404"/>
                </a:lnTo>
                <a:lnTo>
                  <a:pt x="1206" y="1404"/>
                </a:lnTo>
                <a:lnTo>
                  <a:pt x="1210" y="1402"/>
                </a:lnTo>
                <a:lnTo>
                  <a:pt x="1215" y="1400"/>
                </a:lnTo>
                <a:lnTo>
                  <a:pt x="1218" y="1398"/>
                </a:lnTo>
                <a:lnTo>
                  <a:pt x="1220" y="1395"/>
                </a:lnTo>
                <a:lnTo>
                  <a:pt x="1222" y="1391"/>
                </a:lnTo>
                <a:lnTo>
                  <a:pt x="1223" y="1386"/>
                </a:lnTo>
                <a:lnTo>
                  <a:pt x="1223" y="1381"/>
                </a:lnTo>
                <a:lnTo>
                  <a:pt x="1223" y="1381"/>
                </a:lnTo>
                <a:lnTo>
                  <a:pt x="1223" y="1374"/>
                </a:lnTo>
                <a:lnTo>
                  <a:pt x="1223" y="1374"/>
                </a:lnTo>
                <a:close/>
                <a:moveTo>
                  <a:pt x="408" y="249"/>
                </a:moveTo>
                <a:lnTo>
                  <a:pt x="408" y="249"/>
                </a:lnTo>
                <a:lnTo>
                  <a:pt x="409" y="228"/>
                </a:lnTo>
                <a:lnTo>
                  <a:pt x="412" y="208"/>
                </a:lnTo>
                <a:lnTo>
                  <a:pt x="418" y="188"/>
                </a:lnTo>
                <a:lnTo>
                  <a:pt x="424" y="170"/>
                </a:lnTo>
                <a:lnTo>
                  <a:pt x="433" y="152"/>
                </a:lnTo>
                <a:lnTo>
                  <a:pt x="444" y="136"/>
                </a:lnTo>
                <a:lnTo>
                  <a:pt x="454" y="119"/>
                </a:lnTo>
                <a:lnTo>
                  <a:pt x="468" y="105"/>
                </a:lnTo>
                <a:lnTo>
                  <a:pt x="482" y="91"/>
                </a:lnTo>
                <a:lnTo>
                  <a:pt x="498" y="81"/>
                </a:lnTo>
                <a:lnTo>
                  <a:pt x="515" y="70"/>
                </a:lnTo>
                <a:lnTo>
                  <a:pt x="533" y="61"/>
                </a:lnTo>
                <a:lnTo>
                  <a:pt x="551" y="55"/>
                </a:lnTo>
                <a:lnTo>
                  <a:pt x="571" y="49"/>
                </a:lnTo>
                <a:lnTo>
                  <a:pt x="591" y="46"/>
                </a:lnTo>
                <a:lnTo>
                  <a:pt x="612" y="45"/>
                </a:lnTo>
                <a:lnTo>
                  <a:pt x="612" y="45"/>
                </a:lnTo>
                <a:lnTo>
                  <a:pt x="633" y="46"/>
                </a:lnTo>
                <a:lnTo>
                  <a:pt x="654" y="49"/>
                </a:lnTo>
                <a:lnTo>
                  <a:pt x="673" y="55"/>
                </a:lnTo>
                <a:lnTo>
                  <a:pt x="692" y="61"/>
                </a:lnTo>
                <a:lnTo>
                  <a:pt x="710" y="70"/>
                </a:lnTo>
                <a:lnTo>
                  <a:pt x="726" y="81"/>
                </a:lnTo>
                <a:lnTo>
                  <a:pt x="742" y="91"/>
                </a:lnTo>
                <a:lnTo>
                  <a:pt x="756" y="105"/>
                </a:lnTo>
                <a:lnTo>
                  <a:pt x="769" y="119"/>
                </a:lnTo>
                <a:lnTo>
                  <a:pt x="781" y="136"/>
                </a:lnTo>
                <a:lnTo>
                  <a:pt x="792" y="152"/>
                </a:lnTo>
                <a:lnTo>
                  <a:pt x="801" y="170"/>
                </a:lnTo>
                <a:lnTo>
                  <a:pt x="807" y="188"/>
                </a:lnTo>
                <a:lnTo>
                  <a:pt x="812" y="208"/>
                </a:lnTo>
                <a:lnTo>
                  <a:pt x="815" y="228"/>
                </a:lnTo>
                <a:lnTo>
                  <a:pt x="816" y="249"/>
                </a:lnTo>
                <a:lnTo>
                  <a:pt x="816" y="362"/>
                </a:lnTo>
                <a:lnTo>
                  <a:pt x="408" y="362"/>
                </a:lnTo>
                <a:lnTo>
                  <a:pt x="408" y="249"/>
                </a:lnTo>
                <a:close/>
                <a:moveTo>
                  <a:pt x="385" y="724"/>
                </a:moveTo>
                <a:lnTo>
                  <a:pt x="385" y="724"/>
                </a:lnTo>
                <a:lnTo>
                  <a:pt x="379" y="724"/>
                </a:lnTo>
                <a:lnTo>
                  <a:pt x="371" y="723"/>
                </a:lnTo>
                <a:lnTo>
                  <a:pt x="365" y="722"/>
                </a:lnTo>
                <a:lnTo>
                  <a:pt x="359" y="720"/>
                </a:lnTo>
                <a:lnTo>
                  <a:pt x="353" y="717"/>
                </a:lnTo>
                <a:lnTo>
                  <a:pt x="348" y="713"/>
                </a:lnTo>
                <a:lnTo>
                  <a:pt x="338" y="705"/>
                </a:lnTo>
                <a:lnTo>
                  <a:pt x="329" y="695"/>
                </a:lnTo>
                <a:lnTo>
                  <a:pt x="326" y="690"/>
                </a:lnTo>
                <a:lnTo>
                  <a:pt x="323" y="683"/>
                </a:lnTo>
                <a:lnTo>
                  <a:pt x="321" y="678"/>
                </a:lnTo>
                <a:lnTo>
                  <a:pt x="320" y="670"/>
                </a:lnTo>
                <a:lnTo>
                  <a:pt x="319" y="664"/>
                </a:lnTo>
                <a:lnTo>
                  <a:pt x="317" y="656"/>
                </a:lnTo>
                <a:lnTo>
                  <a:pt x="317" y="656"/>
                </a:lnTo>
                <a:lnTo>
                  <a:pt x="319" y="650"/>
                </a:lnTo>
                <a:lnTo>
                  <a:pt x="320" y="643"/>
                </a:lnTo>
                <a:lnTo>
                  <a:pt x="321" y="636"/>
                </a:lnTo>
                <a:lnTo>
                  <a:pt x="323" y="630"/>
                </a:lnTo>
                <a:lnTo>
                  <a:pt x="326" y="624"/>
                </a:lnTo>
                <a:lnTo>
                  <a:pt x="329" y="619"/>
                </a:lnTo>
                <a:lnTo>
                  <a:pt x="338" y="609"/>
                </a:lnTo>
                <a:lnTo>
                  <a:pt x="348" y="600"/>
                </a:lnTo>
                <a:lnTo>
                  <a:pt x="353" y="597"/>
                </a:lnTo>
                <a:lnTo>
                  <a:pt x="359" y="594"/>
                </a:lnTo>
                <a:lnTo>
                  <a:pt x="365" y="592"/>
                </a:lnTo>
                <a:lnTo>
                  <a:pt x="371" y="591"/>
                </a:lnTo>
                <a:lnTo>
                  <a:pt x="379" y="589"/>
                </a:lnTo>
                <a:lnTo>
                  <a:pt x="385" y="588"/>
                </a:lnTo>
                <a:lnTo>
                  <a:pt x="385" y="588"/>
                </a:lnTo>
                <a:lnTo>
                  <a:pt x="393" y="589"/>
                </a:lnTo>
                <a:lnTo>
                  <a:pt x="399" y="591"/>
                </a:lnTo>
                <a:lnTo>
                  <a:pt x="406" y="592"/>
                </a:lnTo>
                <a:lnTo>
                  <a:pt x="412" y="594"/>
                </a:lnTo>
                <a:lnTo>
                  <a:pt x="419" y="597"/>
                </a:lnTo>
                <a:lnTo>
                  <a:pt x="424" y="600"/>
                </a:lnTo>
                <a:lnTo>
                  <a:pt x="434" y="609"/>
                </a:lnTo>
                <a:lnTo>
                  <a:pt x="443" y="619"/>
                </a:lnTo>
                <a:lnTo>
                  <a:pt x="446" y="624"/>
                </a:lnTo>
                <a:lnTo>
                  <a:pt x="449" y="630"/>
                </a:lnTo>
                <a:lnTo>
                  <a:pt x="451" y="636"/>
                </a:lnTo>
                <a:lnTo>
                  <a:pt x="452" y="643"/>
                </a:lnTo>
                <a:lnTo>
                  <a:pt x="453" y="650"/>
                </a:lnTo>
                <a:lnTo>
                  <a:pt x="453" y="656"/>
                </a:lnTo>
                <a:lnTo>
                  <a:pt x="453" y="656"/>
                </a:lnTo>
                <a:lnTo>
                  <a:pt x="453" y="664"/>
                </a:lnTo>
                <a:lnTo>
                  <a:pt x="452" y="670"/>
                </a:lnTo>
                <a:lnTo>
                  <a:pt x="451" y="678"/>
                </a:lnTo>
                <a:lnTo>
                  <a:pt x="449" y="683"/>
                </a:lnTo>
                <a:lnTo>
                  <a:pt x="446" y="690"/>
                </a:lnTo>
                <a:lnTo>
                  <a:pt x="443" y="695"/>
                </a:lnTo>
                <a:lnTo>
                  <a:pt x="434" y="705"/>
                </a:lnTo>
                <a:lnTo>
                  <a:pt x="424" y="713"/>
                </a:lnTo>
                <a:lnTo>
                  <a:pt x="419" y="717"/>
                </a:lnTo>
                <a:lnTo>
                  <a:pt x="412" y="720"/>
                </a:lnTo>
                <a:lnTo>
                  <a:pt x="406" y="722"/>
                </a:lnTo>
                <a:lnTo>
                  <a:pt x="399" y="723"/>
                </a:lnTo>
                <a:lnTo>
                  <a:pt x="393" y="724"/>
                </a:lnTo>
                <a:lnTo>
                  <a:pt x="385" y="724"/>
                </a:lnTo>
                <a:lnTo>
                  <a:pt x="385" y="724"/>
                </a:lnTo>
                <a:close/>
                <a:moveTo>
                  <a:pt x="838" y="724"/>
                </a:moveTo>
                <a:lnTo>
                  <a:pt x="838" y="724"/>
                </a:lnTo>
                <a:lnTo>
                  <a:pt x="832" y="724"/>
                </a:lnTo>
                <a:lnTo>
                  <a:pt x="824" y="723"/>
                </a:lnTo>
                <a:lnTo>
                  <a:pt x="818" y="722"/>
                </a:lnTo>
                <a:lnTo>
                  <a:pt x="812" y="720"/>
                </a:lnTo>
                <a:lnTo>
                  <a:pt x="806" y="717"/>
                </a:lnTo>
                <a:lnTo>
                  <a:pt x="801" y="713"/>
                </a:lnTo>
                <a:lnTo>
                  <a:pt x="791" y="705"/>
                </a:lnTo>
                <a:lnTo>
                  <a:pt x="782" y="695"/>
                </a:lnTo>
                <a:lnTo>
                  <a:pt x="779" y="690"/>
                </a:lnTo>
                <a:lnTo>
                  <a:pt x="776" y="683"/>
                </a:lnTo>
                <a:lnTo>
                  <a:pt x="774" y="678"/>
                </a:lnTo>
                <a:lnTo>
                  <a:pt x="773" y="670"/>
                </a:lnTo>
                <a:lnTo>
                  <a:pt x="771" y="664"/>
                </a:lnTo>
                <a:lnTo>
                  <a:pt x="770" y="656"/>
                </a:lnTo>
                <a:lnTo>
                  <a:pt x="770" y="656"/>
                </a:lnTo>
                <a:lnTo>
                  <a:pt x="771" y="650"/>
                </a:lnTo>
                <a:lnTo>
                  <a:pt x="773" y="643"/>
                </a:lnTo>
                <a:lnTo>
                  <a:pt x="774" y="636"/>
                </a:lnTo>
                <a:lnTo>
                  <a:pt x="776" y="630"/>
                </a:lnTo>
                <a:lnTo>
                  <a:pt x="779" y="624"/>
                </a:lnTo>
                <a:lnTo>
                  <a:pt x="782" y="619"/>
                </a:lnTo>
                <a:lnTo>
                  <a:pt x="791" y="609"/>
                </a:lnTo>
                <a:lnTo>
                  <a:pt x="801" y="600"/>
                </a:lnTo>
                <a:lnTo>
                  <a:pt x="806" y="597"/>
                </a:lnTo>
                <a:lnTo>
                  <a:pt x="812" y="594"/>
                </a:lnTo>
                <a:lnTo>
                  <a:pt x="818" y="592"/>
                </a:lnTo>
                <a:lnTo>
                  <a:pt x="824" y="591"/>
                </a:lnTo>
                <a:lnTo>
                  <a:pt x="832" y="589"/>
                </a:lnTo>
                <a:lnTo>
                  <a:pt x="838" y="588"/>
                </a:lnTo>
                <a:lnTo>
                  <a:pt x="838" y="588"/>
                </a:lnTo>
                <a:lnTo>
                  <a:pt x="846" y="589"/>
                </a:lnTo>
                <a:lnTo>
                  <a:pt x="852" y="591"/>
                </a:lnTo>
                <a:lnTo>
                  <a:pt x="859" y="592"/>
                </a:lnTo>
                <a:lnTo>
                  <a:pt x="865" y="594"/>
                </a:lnTo>
                <a:lnTo>
                  <a:pt x="872" y="597"/>
                </a:lnTo>
                <a:lnTo>
                  <a:pt x="877" y="600"/>
                </a:lnTo>
                <a:lnTo>
                  <a:pt x="887" y="609"/>
                </a:lnTo>
                <a:lnTo>
                  <a:pt x="895" y="619"/>
                </a:lnTo>
                <a:lnTo>
                  <a:pt x="899" y="624"/>
                </a:lnTo>
                <a:lnTo>
                  <a:pt x="902" y="630"/>
                </a:lnTo>
                <a:lnTo>
                  <a:pt x="904" y="636"/>
                </a:lnTo>
                <a:lnTo>
                  <a:pt x="905" y="643"/>
                </a:lnTo>
                <a:lnTo>
                  <a:pt x="906" y="650"/>
                </a:lnTo>
                <a:lnTo>
                  <a:pt x="906" y="656"/>
                </a:lnTo>
                <a:lnTo>
                  <a:pt x="906" y="656"/>
                </a:lnTo>
                <a:lnTo>
                  <a:pt x="906" y="664"/>
                </a:lnTo>
                <a:lnTo>
                  <a:pt x="905" y="670"/>
                </a:lnTo>
                <a:lnTo>
                  <a:pt x="904" y="678"/>
                </a:lnTo>
                <a:lnTo>
                  <a:pt x="902" y="683"/>
                </a:lnTo>
                <a:lnTo>
                  <a:pt x="899" y="690"/>
                </a:lnTo>
                <a:lnTo>
                  <a:pt x="895" y="695"/>
                </a:lnTo>
                <a:lnTo>
                  <a:pt x="887" y="705"/>
                </a:lnTo>
                <a:lnTo>
                  <a:pt x="877" y="713"/>
                </a:lnTo>
                <a:lnTo>
                  <a:pt x="872" y="717"/>
                </a:lnTo>
                <a:lnTo>
                  <a:pt x="865" y="720"/>
                </a:lnTo>
                <a:lnTo>
                  <a:pt x="859" y="722"/>
                </a:lnTo>
                <a:lnTo>
                  <a:pt x="852" y="723"/>
                </a:lnTo>
                <a:lnTo>
                  <a:pt x="846" y="724"/>
                </a:lnTo>
                <a:lnTo>
                  <a:pt x="838" y="724"/>
                </a:lnTo>
                <a:lnTo>
                  <a:pt x="838" y="72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pic>
        <p:nvPicPr>
          <p:cNvPr id="76" name="Picture 18">
            <a:extLst>
              <a:ext uri="{FF2B5EF4-FFF2-40B4-BE49-F238E27FC236}">
                <a16:creationId xmlns:a16="http://schemas.microsoft.com/office/drawing/2014/main" id="{B0CDB3ED-F674-4457-8DA4-CCDAEEC554A2}"/>
              </a:ext>
            </a:extLst>
          </p:cNvPr>
          <p:cNvPicPr>
            <a:picLocks noChangeAspect="1" noChangeArrowheads="1"/>
          </p:cNvPicPr>
          <p:nvPr/>
        </p:nvPicPr>
        <p:blipFill>
          <a:blip r:embed="rId10">
            <a:duotone>
              <a:prstClr val="black"/>
              <a:schemeClr val="tx2">
                <a:tint val="45000"/>
                <a:satMod val="400000"/>
              </a:schemeClr>
            </a:duotone>
            <a:extLst>
              <a:ext uri="{BEBA8EAE-BF5A-486C-A8C5-ECC9F3942E4B}">
                <a14:imgProps xmlns:a14="http://schemas.microsoft.com/office/drawing/2010/main">
                  <a14:imgLayer r:embed="rId11">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905413" y="2890663"/>
            <a:ext cx="681369" cy="10288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7" name="Picture 76">
            <a:extLst>
              <a:ext uri="{FF2B5EF4-FFF2-40B4-BE49-F238E27FC236}">
                <a16:creationId xmlns:a16="http://schemas.microsoft.com/office/drawing/2014/main" id="{E5E90092-1843-4812-AB62-E4CE789F830C}"/>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889754" y="3992727"/>
            <a:ext cx="958373" cy="503426"/>
          </a:xfrm>
          <a:prstGeom prst="rect">
            <a:avLst/>
          </a:prstGeom>
          <a:ln>
            <a:noFill/>
          </a:ln>
        </p:spPr>
      </p:pic>
      <p:sp>
        <p:nvSpPr>
          <p:cNvPr id="78" name="TextBox 77">
            <a:extLst>
              <a:ext uri="{FF2B5EF4-FFF2-40B4-BE49-F238E27FC236}">
                <a16:creationId xmlns:a16="http://schemas.microsoft.com/office/drawing/2014/main" id="{96002F07-0F8D-4FA0-B497-8BA0FBE4C20A}"/>
              </a:ext>
            </a:extLst>
          </p:cNvPr>
          <p:cNvSpPr txBox="1"/>
          <p:nvPr/>
        </p:nvSpPr>
        <p:spPr>
          <a:xfrm>
            <a:off x="1188074" y="4102393"/>
            <a:ext cx="3440256" cy="212365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dirty="0">
                <a:ln>
                  <a:noFill/>
                </a:ln>
                <a:solidFill>
                  <a:srgbClr val="000000"/>
                </a:solidFill>
                <a:effectLst/>
                <a:uLnTx/>
                <a:uFillTx/>
                <a:latin typeface="Open Sans"/>
                <a:ea typeface="+mn-ea"/>
                <a:cs typeface="+mn-cs"/>
              </a:rPr>
              <a:t>Experience Data Platform </a:t>
            </a:r>
            <a:r>
              <a:rPr kumimoji="0" lang="en-US" sz="1100" b="0" i="0" u="none" strike="noStrike" kern="1200" cap="none" spc="0" normalizeH="0" baseline="0" noProof="0" dirty="0">
                <a:ln>
                  <a:noFill/>
                </a:ln>
                <a:solidFill>
                  <a:srgbClr val="000000"/>
                </a:solidFill>
                <a:effectLst/>
                <a:uLnTx/>
                <a:uFillTx/>
                <a:latin typeface="Open Sans"/>
                <a:ea typeface="+mn-ea"/>
                <a:cs typeface="+mn-cs"/>
              </a:rPr>
              <a:t>associates a persistent ID to each individual who engages with a client’s brand(s) - from when he/she was an initial prospect through a loyal custom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It includes different types of CX data such as consumer interactions with the brand across channels, social media data, survey/feedback data, customer value information, and other Marketing data giving you a foundation to understand how to better engage with each individual to maximize your CX investments</a:t>
            </a:r>
          </a:p>
        </p:txBody>
      </p:sp>
      <p:sp>
        <p:nvSpPr>
          <p:cNvPr id="79" name="Isosceles Triangle 78">
            <a:extLst>
              <a:ext uri="{FF2B5EF4-FFF2-40B4-BE49-F238E27FC236}">
                <a16:creationId xmlns:a16="http://schemas.microsoft.com/office/drawing/2014/main" id="{C2F6AC88-9DEA-4EE3-A7CF-7FCFC8BDD829}"/>
              </a:ext>
            </a:extLst>
          </p:cNvPr>
          <p:cNvSpPr/>
          <p:nvPr/>
        </p:nvSpPr>
        <p:spPr>
          <a:xfrm rot="5400000">
            <a:off x="3998409" y="3133262"/>
            <a:ext cx="940155" cy="358196"/>
          </a:xfrm>
          <a:prstGeom prst="triangle">
            <a:avLst/>
          </a:prstGeom>
          <a:solidFill>
            <a:schemeClr val="accent1"/>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0" name="Rectangle 79">
            <a:extLst>
              <a:ext uri="{FF2B5EF4-FFF2-40B4-BE49-F238E27FC236}">
                <a16:creationId xmlns:a16="http://schemas.microsoft.com/office/drawing/2014/main" id="{A691DAF6-52CC-4DE2-8648-C4BD6AD22DAC}"/>
              </a:ext>
            </a:extLst>
          </p:cNvPr>
          <p:cNvSpPr/>
          <p:nvPr/>
        </p:nvSpPr>
        <p:spPr>
          <a:xfrm>
            <a:off x="937683" y="1904301"/>
            <a:ext cx="11138632" cy="440081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nvGrpSpPr>
          <p:cNvPr id="81" name="Group 80">
            <a:extLst>
              <a:ext uri="{FF2B5EF4-FFF2-40B4-BE49-F238E27FC236}">
                <a16:creationId xmlns:a16="http://schemas.microsoft.com/office/drawing/2014/main" id="{8071AD31-94F2-4B0B-976E-2162C21F8D22}"/>
              </a:ext>
            </a:extLst>
          </p:cNvPr>
          <p:cNvGrpSpPr/>
          <p:nvPr/>
        </p:nvGrpSpPr>
        <p:grpSpPr>
          <a:xfrm>
            <a:off x="1852083" y="2521631"/>
            <a:ext cx="1403129" cy="1480070"/>
            <a:chOff x="10426673" y="578735"/>
            <a:chExt cx="1189354" cy="1291146"/>
          </a:xfrm>
        </p:grpSpPr>
        <p:sp>
          <p:nvSpPr>
            <p:cNvPr id="82" name="Flowchart: Magnetic Disk 126">
              <a:extLst>
                <a:ext uri="{FF2B5EF4-FFF2-40B4-BE49-F238E27FC236}">
                  <a16:creationId xmlns:a16="http://schemas.microsoft.com/office/drawing/2014/main" id="{8680903A-1CAC-46DE-A3CD-508C2576DBB2}"/>
                </a:ext>
              </a:extLst>
            </p:cNvPr>
            <p:cNvSpPr/>
            <p:nvPr/>
          </p:nvSpPr>
          <p:spPr>
            <a:xfrm>
              <a:off x="10427307" y="1613849"/>
              <a:ext cx="1188720" cy="256032"/>
            </a:xfrm>
            <a:prstGeom prst="flowChartMagneticDisk">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Open Sans"/>
                  <a:ea typeface="+mn-ea"/>
                  <a:cs typeface="+mn-cs"/>
                </a:rPr>
                <a:t>Clickstream Activity</a:t>
              </a:r>
            </a:p>
          </p:txBody>
        </p:sp>
        <p:sp>
          <p:nvSpPr>
            <p:cNvPr id="83" name="Flowchart: Magnetic Disk 133">
              <a:extLst>
                <a:ext uri="{FF2B5EF4-FFF2-40B4-BE49-F238E27FC236}">
                  <a16:creationId xmlns:a16="http://schemas.microsoft.com/office/drawing/2014/main" id="{5BD6773D-6F23-4EBE-966C-37079E9C5EFD}"/>
                </a:ext>
              </a:extLst>
            </p:cNvPr>
            <p:cNvSpPr/>
            <p:nvPr/>
          </p:nvSpPr>
          <p:spPr>
            <a:xfrm>
              <a:off x="10427307" y="1441330"/>
              <a:ext cx="1188720" cy="256032"/>
            </a:xfrm>
            <a:prstGeom prst="flowChartMagneticDisk">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Open Sans"/>
                  <a:ea typeface="+mn-ea"/>
                  <a:cs typeface="+mn-cs"/>
                </a:rPr>
                <a:t>Demographics</a:t>
              </a:r>
            </a:p>
          </p:txBody>
        </p:sp>
        <p:sp>
          <p:nvSpPr>
            <p:cNvPr id="84" name="Flowchart: Magnetic Disk 137">
              <a:extLst>
                <a:ext uri="{FF2B5EF4-FFF2-40B4-BE49-F238E27FC236}">
                  <a16:creationId xmlns:a16="http://schemas.microsoft.com/office/drawing/2014/main" id="{A02DC55A-25C1-4D69-A0B7-EF8241A5F814}"/>
                </a:ext>
              </a:extLst>
            </p:cNvPr>
            <p:cNvSpPr/>
            <p:nvPr/>
          </p:nvSpPr>
          <p:spPr>
            <a:xfrm>
              <a:off x="10426673" y="1268811"/>
              <a:ext cx="1188720" cy="256032"/>
            </a:xfrm>
            <a:prstGeom prst="flowChartMagneticDisk">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Open Sans"/>
                  <a:ea typeface="+mn-ea"/>
                  <a:cs typeface="+mn-cs"/>
                </a:rPr>
                <a:t>Customer Feedback</a:t>
              </a:r>
            </a:p>
          </p:txBody>
        </p:sp>
        <p:sp>
          <p:nvSpPr>
            <p:cNvPr id="85" name="Flowchart: Magnetic Disk 140">
              <a:extLst>
                <a:ext uri="{FF2B5EF4-FFF2-40B4-BE49-F238E27FC236}">
                  <a16:creationId xmlns:a16="http://schemas.microsoft.com/office/drawing/2014/main" id="{D03716B4-0B31-4155-9F95-DC89CEE0BCB7}"/>
                </a:ext>
              </a:extLst>
            </p:cNvPr>
            <p:cNvSpPr/>
            <p:nvPr/>
          </p:nvSpPr>
          <p:spPr>
            <a:xfrm>
              <a:off x="10427307" y="1096292"/>
              <a:ext cx="1188720" cy="256032"/>
            </a:xfrm>
            <a:prstGeom prst="flowChartMagneticDisk">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Open Sans"/>
                  <a:ea typeface="+mn-ea"/>
                  <a:cs typeface="+mn-cs"/>
                </a:rPr>
                <a:t>Social Data</a:t>
              </a:r>
            </a:p>
          </p:txBody>
        </p:sp>
        <p:sp>
          <p:nvSpPr>
            <p:cNvPr id="86" name="Flowchart: Magnetic Disk 143">
              <a:extLst>
                <a:ext uri="{FF2B5EF4-FFF2-40B4-BE49-F238E27FC236}">
                  <a16:creationId xmlns:a16="http://schemas.microsoft.com/office/drawing/2014/main" id="{5DFCB004-1872-433F-92C0-AEF735719573}"/>
                </a:ext>
              </a:extLst>
            </p:cNvPr>
            <p:cNvSpPr/>
            <p:nvPr/>
          </p:nvSpPr>
          <p:spPr>
            <a:xfrm>
              <a:off x="10427307" y="923773"/>
              <a:ext cx="1188720" cy="256032"/>
            </a:xfrm>
            <a:prstGeom prst="flowChartMagneticDisk">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Open Sans"/>
                  <a:ea typeface="+mn-ea"/>
                  <a:cs typeface="+mn-cs"/>
                </a:rPr>
                <a:t>Transactional Data</a:t>
              </a:r>
            </a:p>
          </p:txBody>
        </p:sp>
        <p:sp>
          <p:nvSpPr>
            <p:cNvPr id="87" name="Flowchart: Magnetic Disk 147">
              <a:extLst>
                <a:ext uri="{FF2B5EF4-FFF2-40B4-BE49-F238E27FC236}">
                  <a16:creationId xmlns:a16="http://schemas.microsoft.com/office/drawing/2014/main" id="{455A1541-D3E4-4703-966C-E4D000E155D9}"/>
                </a:ext>
              </a:extLst>
            </p:cNvPr>
            <p:cNvSpPr/>
            <p:nvPr/>
          </p:nvSpPr>
          <p:spPr>
            <a:xfrm>
              <a:off x="10426673" y="751254"/>
              <a:ext cx="1188720" cy="256032"/>
            </a:xfrm>
            <a:prstGeom prst="flowChartMagneticDisk">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Open Sans"/>
                  <a:ea typeface="+mn-ea"/>
                  <a:cs typeface="+mn-cs"/>
                </a:rPr>
                <a:t>Promotional Data</a:t>
              </a:r>
            </a:p>
          </p:txBody>
        </p:sp>
        <p:sp>
          <p:nvSpPr>
            <p:cNvPr id="88" name="Flowchart: Magnetic Disk 147">
              <a:extLst>
                <a:ext uri="{FF2B5EF4-FFF2-40B4-BE49-F238E27FC236}">
                  <a16:creationId xmlns:a16="http://schemas.microsoft.com/office/drawing/2014/main" id="{5E752B8A-EF50-4BC5-8C11-631ABFCFD563}"/>
                </a:ext>
              </a:extLst>
            </p:cNvPr>
            <p:cNvSpPr/>
            <p:nvPr/>
          </p:nvSpPr>
          <p:spPr>
            <a:xfrm>
              <a:off x="10426990" y="578735"/>
              <a:ext cx="1188720" cy="256032"/>
            </a:xfrm>
            <a:prstGeom prst="flowChartMagneticDisk">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Open Sans"/>
                  <a:ea typeface="+mn-ea"/>
                  <a:cs typeface="+mn-cs"/>
                </a:rPr>
                <a:t>Brand Interactions</a:t>
              </a:r>
            </a:p>
          </p:txBody>
        </p:sp>
      </p:grpSp>
      <p:sp>
        <p:nvSpPr>
          <p:cNvPr id="89" name="TextBox 88">
            <a:extLst>
              <a:ext uri="{FF2B5EF4-FFF2-40B4-BE49-F238E27FC236}">
                <a16:creationId xmlns:a16="http://schemas.microsoft.com/office/drawing/2014/main" id="{413EEBB0-CD85-4BF0-AF1D-09E70D5D3767}"/>
              </a:ext>
            </a:extLst>
          </p:cNvPr>
          <p:cNvSpPr txBox="1"/>
          <p:nvPr/>
        </p:nvSpPr>
        <p:spPr>
          <a:xfrm>
            <a:off x="1234666" y="2110154"/>
            <a:ext cx="261496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mn-cs"/>
              </a:rPr>
              <a:t>Experience Data Platform</a:t>
            </a:r>
          </a:p>
        </p:txBody>
      </p:sp>
    </p:spTree>
    <p:extLst>
      <p:ext uri="{BB962C8B-B14F-4D97-AF65-F5344CB8AC3E}">
        <p14:creationId xmlns:p14="http://schemas.microsoft.com/office/powerpoint/2010/main" val="33837850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B5C84B-CC9E-4F11-8B51-E62EA94119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92" name="think-cell Slide" r:id="rId6" imgW="415" imgH="416" progId="TCLayout.ActiveDocument.1">
                  <p:embed/>
                </p:oleObj>
              </mc:Choice>
              <mc:Fallback>
                <p:oleObj name="think-cell Slide" r:id="rId6" imgW="415" imgH="416" progId="TCLayout.ActiveDocument.1">
                  <p:embed/>
                  <p:pic>
                    <p:nvPicPr>
                      <p:cNvPr id="6" name="Object 5" hidden="1">
                        <a:extLst>
                          <a:ext uri="{FF2B5EF4-FFF2-40B4-BE49-F238E27FC236}">
                            <a16:creationId xmlns:a16="http://schemas.microsoft.com/office/drawing/2014/main" id="{3AB5C84B-CC9E-4F11-8B51-E62EA941193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71492E0-55CC-49EF-900B-1DAB818B27B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6173596B-A08F-4F0A-94FA-69048350D0BC}"/>
              </a:ext>
            </a:extLst>
          </p:cNvPr>
          <p:cNvSpPr>
            <a:spLocks noGrp="1"/>
          </p:cNvSpPr>
          <p:nvPr>
            <p:ph type="title"/>
          </p:nvPr>
        </p:nvSpPr>
        <p:spPr/>
        <p:txBody>
          <a:bodyPr/>
          <a:lstStyle/>
          <a:p>
            <a:r>
              <a:rPr lang="en-US" dirty="0"/>
              <a:t>We understand the many pressures you face today</a:t>
            </a:r>
          </a:p>
        </p:txBody>
      </p:sp>
      <p:sp>
        <p:nvSpPr>
          <p:cNvPr id="3" name="Text Placeholder 2">
            <a:extLst>
              <a:ext uri="{FF2B5EF4-FFF2-40B4-BE49-F238E27FC236}">
                <a16:creationId xmlns:a16="http://schemas.microsoft.com/office/drawing/2014/main" id="{330B7E9D-E909-4F57-912E-4BDA425BE04E}"/>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15C899E4-C2CD-41A8-A5EF-F9E6E0F792D5}"/>
              </a:ext>
            </a:extLst>
          </p:cNvPr>
          <p:cNvSpPr>
            <a:spLocks noGrp="1"/>
          </p:cNvSpPr>
          <p:nvPr>
            <p:ph type="body" sz="quarter" idx="15"/>
          </p:nvPr>
        </p:nvSpPr>
        <p:spPr/>
        <p:txBody>
          <a:bodyPr/>
          <a:lstStyle/>
          <a:p>
            <a:r>
              <a:rPr lang="en-US" dirty="0"/>
              <a:t>Process &amp; customer journey</a:t>
            </a:r>
          </a:p>
        </p:txBody>
      </p:sp>
      <p:sp>
        <p:nvSpPr>
          <p:cNvPr id="7" name="Rectangle 6">
            <a:extLst>
              <a:ext uri="{FF2B5EF4-FFF2-40B4-BE49-F238E27FC236}">
                <a16:creationId xmlns:a16="http://schemas.microsoft.com/office/drawing/2014/main" id="{C15ACEB0-9F89-46B1-B1F9-8764C76F6060}"/>
              </a:ext>
            </a:extLst>
          </p:cNvPr>
          <p:cNvSpPr/>
          <p:nvPr/>
        </p:nvSpPr>
        <p:spPr>
          <a:xfrm>
            <a:off x="2577605" y="1702674"/>
            <a:ext cx="8532847" cy="4688981"/>
          </a:xfrm>
          <a:prstGeom prst="rect">
            <a:avLst/>
          </a:prstGeom>
          <a:pattFill prst="pct20">
            <a:fgClr>
              <a:schemeClr val="bg1">
                <a:lumMod val="85000"/>
              </a:schemeClr>
            </a:fgClr>
            <a:bgClr>
              <a:schemeClr val="bg1"/>
            </a:bgClr>
          </a:pattFill>
          <a:ln w="22225">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prstClr val="white"/>
              </a:solidFill>
              <a:effectLst/>
              <a:uLnTx/>
              <a:uFillTx/>
              <a:ea typeface="+mn-ea"/>
              <a:cs typeface="+mn-cs"/>
            </a:endParaRPr>
          </a:p>
        </p:txBody>
      </p:sp>
      <p:grpSp>
        <p:nvGrpSpPr>
          <p:cNvPr id="8" name="Group 7">
            <a:extLst>
              <a:ext uri="{FF2B5EF4-FFF2-40B4-BE49-F238E27FC236}">
                <a16:creationId xmlns:a16="http://schemas.microsoft.com/office/drawing/2014/main" id="{67859644-235D-42A1-B165-C239166D0F8C}"/>
              </a:ext>
            </a:extLst>
          </p:cNvPr>
          <p:cNvGrpSpPr/>
          <p:nvPr/>
        </p:nvGrpSpPr>
        <p:grpSpPr>
          <a:xfrm>
            <a:off x="2525520" y="2069508"/>
            <a:ext cx="7850045" cy="4040747"/>
            <a:chOff x="2090475" y="1591933"/>
            <a:chExt cx="8632623" cy="4592724"/>
          </a:xfrm>
        </p:grpSpPr>
        <p:cxnSp>
          <p:nvCxnSpPr>
            <p:cNvPr id="9" name="Straight Connector 8">
              <a:extLst>
                <a:ext uri="{FF2B5EF4-FFF2-40B4-BE49-F238E27FC236}">
                  <a16:creationId xmlns:a16="http://schemas.microsoft.com/office/drawing/2014/main" id="{C5E110CF-C23F-43C6-B88C-EEB1AB8BBEDC}"/>
                </a:ext>
              </a:extLst>
            </p:cNvPr>
            <p:cNvCxnSpPr/>
            <p:nvPr/>
          </p:nvCxnSpPr>
          <p:spPr>
            <a:xfrm>
              <a:off x="2170404" y="3741934"/>
              <a:ext cx="1200281" cy="602939"/>
            </a:xfrm>
            <a:prstGeom prst="line">
              <a:avLst/>
            </a:prstGeom>
            <a:ln w="25400">
              <a:solidFill>
                <a:schemeClr val="accent2"/>
              </a:solidFill>
              <a:prstDash val="sysDot"/>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7577A3A-F5BC-45FC-B915-45CCB1AFD35B}"/>
                </a:ext>
              </a:extLst>
            </p:cNvPr>
            <p:cNvGrpSpPr/>
            <p:nvPr/>
          </p:nvGrpSpPr>
          <p:grpSpPr>
            <a:xfrm>
              <a:off x="2090475" y="1591933"/>
              <a:ext cx="8632623" cy="4202521"/>
              <a:chOff x="2090475" y="1591933"/>
              <a:chExt cx="8632623" cy="4202521"/>
            </a:xfrm>
          </p:grpSpPr>
          <p:cxnSp>
            <p:nvCxnSpPr>
              <p:cNvPr id="12" name="Straight Connector 11">
                <a:extLst>
                  <a:ext uri="{FF2B5EF4-FFF2-40B4-BE49-F238E27FC236}">
                    <a16:creationId xmlns:a16="http://schemas.microsoft.com/office/drawing/2014/main" id="{54C9E75C-DC9E-4ECA-969A-77491A66DF78}"/>
                  </a:ext>
                </a:extLst>
              </p:cNvPr>
              <p:cNvCxnSpPr/>
              <p:nvPr/>
            </p:nvCxnSpPr>
            <p:spPr>
              <a:xfrm>
                <a:off x="7902406" y="2988060"/>
                <a:ext cx="2820692" cy="2327468"/>
              </a:xfrm>
              <a:prstGeom prst="line">
                <a:avLst/>
              </a:prstGeom>
              <a:ln w="25400">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161BD74-5786-4AE6-AA7D-9D202A7A10F6}"/>
                  </a:ext>
                </a:extLst>
              </p:cNvPr>
              <p:cNvCxnSpPr>
                <a:endCxn id="26" idx="2"/>
              </p:cNvCxnSpPr>
              <p:nvPr/>
            </p:nvCxnSpPr>
            <p:spPr>
              <a:xfrm>
                <a:off x="2090475" y="1602946"/>
                <a:ext cx="7724273" cy="2092867"/>
              </a:xfrm>
              <a:prstGeom prst="line">
                <a:avLst/>
              </a:prstGeom>
              <a:ln w="25400">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CBA81FF-D0B0-4BE8-85AC-1118375B1E68}"/>
                  </a:ext>
                </a:extLst>
              </p:cNvPr>
              <p:cNvCxnSpPr>
                <a:endCxn id="22" idx="2"/>
              </p:cNvCxnSpPr>
              <p:nvPr/>
            </p:nvCxnSpPr>
            <p:spPr>
              <a:xfrm flipV="1">
                <a:off x="2256291" y="2841213"/>
                <a:ext cx="5205584" cy="469656"/>
              </a:xfrm>
              <a:prstGeom prst="line">
                <a:avLst/>
              </a:prstGeom>
              <a:ln w="25400">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2EF81C3-D231-44BE-9EFA-ED23C97D9AE0}"/>
                  </a:ext>
                </a:extLst>
              </p:cNvPr>
              <p:cNvCxnSpPr/>
              <p:nvPr/>
            </p:nvCxnSpPr>
            <p:spPr>
              <a:xfrm flipV="1">
                <a:off x="2170404" y="4100309"/>
                <a:ext cx="3452705" cy="1521329"/>
              </a:xfrm>
              <a:prstGeom prst="line">
                <a:avLst/>
              </a:prstGeom>
              <a:ln w="25400">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A6A6E7B-BE43-4919-A867-C4E74A9BE24E}"/>
                  </a:ext>
                </a:extLst>
              </p:cNvPr>
              <p:cNvCxnSpPr/>
              <p:nvPr/>
            </p:nvCxnSpPr>
            <p:spPr>
              <a:xfrm flipV="1">
                <a:off x="7264558" y="4652712"/>
                <a:ext cx="1418512" cy="932645"/>
              </a:xfrm>
              <a:prstGeom prst="line">
                <a:avLst/>
              </a:prstGeom>
              <a:ln w="25400">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482F98F-EAFE-4997-9586-4C08D34E517E}"/>
                  </a:ext>
                </a:extLst>
              </p:cNvPr>
              <p:cNvCxnSpPr/>
              <p:nvPr/>
            </p:nvCxnSpPr>
            <p:spPr>
              <a:xfrm flipV="1">
                <a:off x="6458881" y="1709220"/>
                <a:ext cx="3077115" cy="521484"/>
              </a:xfrm>
              <a:prstGeom prst="line">
                <a:avLst/>
              </a:prstGeom>
              <a:ln w="25400">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09B1AE1F-3432-4E1E-8D4E-CBA14867327D}"/>
                  </a:ext>
                </a:extLst>
              </p:cNvPr>
              <p:cNvCxnSpPr>
                <a:stCxn id="24" idx="6"/>
              </p:cNvCxnSpPr>
              <p:nvPr/>
            </p:nvCxnSpPr>
            <p:spPr>
              <a:xfrm flipV="1">
                <a:off x="6466556" y="2193516"/>
                <a:ext cx="3477251" cy="1761629"/>
              </a:xfrm>
              <a:prstGeom prst="line">
                <a:avLst/>
              </a:prstGeom>
              <a:ln w="25400">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B961422-669D-4694-A222-269FFF0EAFB5}"/>
                  </a:ext>
                </a:extLst>
              </p:cNvPr>
              <p:cNvCxnSpPr/>
              <p:nvPr/>
            </p:nvCxnSpPr>
            <p:spPr>
              <a:xfrm flipV="1">
                <a:off x="2272215" y="1591933"/>
                <a:ext cx="3596180" cy="116725"/>
              </a:xfrm>
              <a:prstGeom prst="line">
                <a:avLst/>
              </a:prstGeom>
              <a:ln w="25400">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12DFC6A-7CB4-4229-A4F9-6104E7D7DC0D}"/>
                  </a:ext>
                </a:extLst>
              </p:cNvPr>
              <p:cNvCxnSpPr>
                <a:endCxn id="28" idx="2"/>
              </p:cNvCxnSpPr>
              <p:nvPr/>
            </p:nvCxnSpPr>
            <p:spPr>
              <a:xfrm flipV="1">
                <a:off x="4740496" y="5612474"/>
                <a:ext cx="1126349" cy="64198"/>
              </a:xfrm>
              <a:prstGeom prst="line">
                <a:avLst/>
              </a:prstGeom>
              <a:ln w="25400">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DD63392-3FFA-49A4-98DE-6298F2827093}"/>
                  </a:ext>
                </a:extLst>
              </p:cNvPr>
              <p:cNvCxnSpPr/>
              <p:nvPr/>
            </p:nvCxnSpPr>
            <p:spPr>
              <a:xfrm>
                <a:off x="8899144" y="4930022"/>
                <a:ext cx="1007454" cy="864432"/>
              </a:xfrm>
              <a:prstGeom prst="line">
                <a:avLst/>
              </a:prstGeom>
              <a:ln w="25400">
                <a:solidFill>
                  <a:schemeClr val="accent2"/>
                </a:solidFill>
                <a:prstDash val="sysDot"/>
              </a:ln>
            </p:spPr>
            <p:style>
              <a:lnRef idx="1">
                <a:schemeClr val="accent1"/>
              </a:lnRef>
              <a:fillRef idx="0">
                <a:schemeClr val="accent1"/>
              </a:fillRef>
              <a:effectRef idx="0">
                <a:schemeClr val="accent1"/>
              </a:effectRef>
              <a:fontRef idx="minor">
                <a:schemeClr val="tx1"/>
              </a:fontRef>
            </p:style>
          </p:cxnSp>
        </p:grpSp>
        <p:cxnSp>
          <p:nvCxnSpPr>
            <p:cNvPr id="11" name="Straight Connector 10">
              <a:extLst>
                <a:ext uri="{FF2B5EF4-FFF2-40B4-BE49-F238E27FC236}">
                  <a16:creationId xmlns:a16="http://schemas.microsoft.com/office/drawing/2014/main" id="{E149EE64-2F8E-48B9-8227-7627E0A53C8D}"/>
                </a:ext>
              </a:extLst>
            </p:cNvPr>
            <p:cNvCxnSpPr/>
            <p:nvPr/>
          </p:nvCxnSpPr>
          <p:spPr>
            <a:xfrm>
              <a:off x="2170404" y="5621638"/>
              <a:ext cx="2309069" cy="563019"/>
            </a:xfrm>
            <a:prstGeom prst="line">
              <a:avLst/>
            </a:prstGeom>
            <a:ln w="25400">
              <a:solidFill>
                <a:schemeClr val="accent2"/>
              </a:solidFill>
              <a:prstDash val="sysDot"/>
            </a:ln>
          </p:spPr>
          <p:style>
            <a:lnRef idx="1">
              <a:schemeClr val="accent1"/>
            </a:lnRef>
            <a:fillRef idx="0">
              <a:schemeClr val="accent1"/>
            </a:fillRef>
            <a:effectRef idx="0">
              <a:schemeClr val="accent1"/>
            </a:effectRef>
            <a:fontRef idx="minor">
              <a:schemeClr val="tx1"/>
            </a:fontRef>
          </p:style>
        </p:cxnSp>
      </p:grpSp>
      <p:sp>
        <p:nvSpPr>
          <p:cNvPr id="22" name="Oval 21">
            <a:extLst>
              <a:ext uri="{FF2B5EF4-FFF2-40B4-BE49-F238E27FC236}">
                <a16:creationId xmlns:a16="http://schemas.microsoft.com/office/drawing/2014/main" id="{C7C111F7-B3F7-4F61-8B17-E47BB8E57DD3}"/>
              </a:ext>
            </a:extLst>
          </p:cNvPr>
          <p:cNvSpPr/>
          <p:nvPr/>
        </p:nvSpPr>
        <p:spPr>
          <a:xfrm>
            <a:off x="7409983" y="2482843"/>
            <a:ext cx="1371600" cy="13716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tx1"/>
                </a:solidFill>
                <a:effectLst/>
                <a:uLnTx/>
                <a:uFillTx/>
                <a:ea typeface="Ubuntu" charset="0"/>
                <a:cs typeface="Ubuntu" charset="0"/>
              </a:rPr>
              <a:t>Respond to ever-changing customer expectations and demands</a:t>
            </a:r>
          </a:p>
        </p:txBody>
      </p:sp>
      <p:sp>
        <p:nvSpPr>
          <p:cNvPr id="23" name="Oval 22">
            <a:extLst>
              <a:ext uri="{FF2B5EF4-FFF2-40B4-BE49-F238E27FC236}">
                <a16:creationId xmlns:a16="http://schemas.microsoft.com/office/drawing/2014/main" id="{ED9A0D68-5672-4F22-B413-31E0523ED8A0}"/>
              </a:ext>
            </a:extLst>
          </p:cNvPr>
          <p:cNvSpPr/>
          <p:nvPr/>
        </p:nvSpPr>
        <p:spPr>
          <a:xfrm>
            <a:off x="9149468" y="1777073"/>
            <a:ext cx="1371600" cy="13716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tx1"/>
                </a:solidFill>
                <a:effectLst/>
                <a:uLnTx/>
                <a:uFillTx/>
                <a:ea typeface="Ubuntu" charset="0"/>
                <a:cs typeface="Ubuntu" charset="0"/>
              </a:rPr>
              <a:t>Grow mindshare and wallet share with existing customers &amp; gain market share by attracting new ones</a:t>
            </a:r>
          </a:p>
        </p:txBody>
      </p:sp>
      <p:sp>
        <p:nvSpPr>
          <p:cNvPr id="24" name="Oval 23">
            <a:extLst>
              <a:ext uri="{FF2B5EF4-FFF2-40B4-BE49-F238E27FC236}">
                <a16:creationId xmlns:a16="http://schemas.microsoft.com/office/drawing/2014/main" id="{5A622E21-1E3B-49D5-BA07-68E6AFEC7A14}"/>
              </a:ext>
            </a:extLst>
          </p:cNvPr>
          <p:cNvSpPr/>
          <p:nvPr/>
        </p:nvSpPr>
        <p:spPr>
          <a:xfrm>
            <a:off x="5133294" y="3462898"/>
            <a:ext cx="1371600" cy="13716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tx1"/>
                </a:solidFill>
                <a:effectLst/>
                <a:uLnTx/>
                <a:uFillTx/>
                <a:ea typeface="Ubuntu" charset="0"/>
                <a:cs typeface="Ubuntu" charset="0"/>
              </a:rPr>
              <a:t>Develop leading-edge sales, marketing &amp; technological capabilities to prepare for the future</a:t>
            </a:r>
          </a:p>
        </p:txBody>
      </p:sp>
      <p:sp>
        <p:nvSpPr>
          <p:cNvPr id="25" name="Oval 24">
            <a:extLst>
              <a:ext uri="{FF2B5EF4-FFF2-40B4-BE49-F238E27FC236}">
                <a16:creationId xmlns:a16="http://schemas.microsoft.com/office/drawing/2014/main" id="{1A543763-250E-411F-9FD2-2567C2CA67EC}"/>
              </a:ext>
            </a:extLst>
          </p:cNvPr>
          <p:cNvSpPr/>
          <p:nvPr/>
        </p:nvSpPr>
        <p:spPr>
          <a:xfrm>
            <a:off x="3745634" y="4938523"/>
            <a:ext cx="1371600" cy="13716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tx1"/>
                </a:solidFill>
                <a:effectLst/>
                <a:uLnTx/>
                <a:uFillTx/>
                <a:ea typeface="Ubuntu" charset="0"/>
                <a:cs typeface="Ubuntu" charset="0"/>
              </a:rPr>
              <a:t>Compete effectively </a:t>
            </a:r>
            <a:br>
              <a:rPr kumimoji="0" lang="en-US" sz="800" b="1" i="0" u="none" strike="noStrike" kern="1200" cap="none" spc="0" normalizeH="0" baseline="0" noProof="0" dirty="0">
                <a:ln>
                  <a:noFill/>
                </a:ln>
                <a:solidFill>
                  <a:schemeClr val="tx1"/>
                </a:solidFill>
                <a:effectLst/>
                <a:uLnTx/>
                <a:uFillTx/>
                <a:ea typeface="Ubuntu" charset="0"/>
                <a:cs typeface="Ubuntu" charset="0"/>
              </a:rPr>
            </a:br>
            <a:r>
              <a:rPr kumimoji="0" lang="en-US" sz="800" b="1" i="0" u="none" strike="noStrike" kern="1200" cap="none" spc="0" normalizeH="0" baseline="0" noProof="0" dirty="0">
                <a:ln>
                  <a:noFill/>
                </a:ln>
                <a:solidFill>
                  <a:schemeClr val="tx1"/>
                </a:solidFill>
                <a:effectLst/>
                <a:uLnTx/>
                <a:uFillTx/>
                <a:ea typeface="Ubuntu" charset="0"/>
                <a:cs typeface="Ubuntu" charset="0"/>
              </a:rPr>
              <a:t>in an increasingly digital market</a:t>
            </a:r>
          </a:p>
        </p:txBody>
      </p:sp>
      <p:sp>
        <p:nvSpPr>
          <p:cNvPr id="26" name="Oval 25">
            <a:extLst>
              <a:ext uri="{FF2B5EF4-FFF2-40B4-BE49-F238E27FC236}">
                <a16:creationId xmlns:a16="http://schemas.microsoft.com/office/drawing/2014/main" id="{BB0DF688-2B62-4C61-9A34-6B96F6B30BBD}"/>
              </a:ext>
            </a:extLst>
          </p:cNvPr>
          <p:cNvSpPr/>
          <p:nvPr/>
        </p:nvSpPr>
        <p:spPr>
          <a:xfrm>
            <a:off x="9549560" y="3234733"/>
            <a:ext cx="1371600" cy="13716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tx1"/>
                </a:solidFill>
                <a:effectLst/>
                <a:uLnTx/>
                <a:uFillTx/>
                <a:ea typeface="Ubuntu" charset="0"/>
                <a:cs typeface="Ubuntu" charset="0"/>
              </a:rPr>
              <a:t>Deliver a world-class customer experience</a:t>
            </a:r>
          </a:p>
        </p:txBody>
      </p:sp>
      <p:sp>
        <p:nvSpPr>
          <p:cNvPr id="27" name="Oval 26">
            <a:extLst>
              <a:ext uri="{FF2B5EF4-FFF2-40B4-BE49-F238E27FC236}">
                <a16:creationId xmlns:a16="http://schemas.microsoft.com/office/drawing/2014/main" id="{6861CFEA-1EF5-4DCB-A621-AB6C0E5C2EE1}"/>
              </a:ext>
            </a:extLst>
          </p:cNvPr>
          <p:cNvSpPr/>
          <p:nvPr/>
        </p:nvSpPr>
        <p:spPr>
          <a:xfrm>
            <a:off x="5530864" y="1805620"/>
            <a:ext cx="1371600" cy="13716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tx1"/>
                </a:solidFill>
                <a:effectLst/>
                <a:uLnTx/>
                <a:uFillTx/>
                <a:ea typeface="Ubuntu" charset="0"/>
                <a:cs typeface="Ubuntu" charset="0"/>
              </a:rPr>
              <a:t>Predict and influence customer preferences and behaviors</a:t>
            </a:r>
          </a:p>
        </p:txBody>
      </p:sp>
      <p:sp>
        <p:nvSpPr>
          <p:cNvPr id="28" name="Oval 27">
            <a:extLst>
              <a:ext uri="{FF2B5EF4-FFF2-40B4-BE49-F238E27FC236}">
                <a16:creationId xmlns:a16="http://schemas.microsoft.com/office/drawing/2014/main" id="{93D3DE82-A9B4-483C-8E4F-69EA385A0F3E}"/>
              </a:ext>
            </a:extLst>
          </p:cNvPr>
          <p:cNvSpPr/>
          <p:nvPr/>
        </p:nvSpPr>
        <p:spPr>
          <a:xfrm>
            <a:off x="5959548" y="4921040"/>
            <a:ext cx="1371600" cy="13716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tx1"/>
                </a:solidFill>
                <a:effectLst/>
                <a:uLnTx/>
                <a:uFillTx/>
                <a:ea typeface="Ubuntu" charset="0"/>
                <a:cs typeface="Ubuntu" charset="0"/>
              </a:rPr>
              <a:t>Empower customers to self-serve effectively</a:t>
            </a:r>
          </a:p>
        </p:txBody>
      </p:sp>
      <p:sp>
        <p:nvSpPr>
          <p:cNvPr id="29" name="Oval 28">
            <a:extLst>
              <a:ext uri="{FF2B5EF4-FFF2-40B4-BE49-F238E27FC236}">
                <a16:creationId xmlns:a16="http://schemas.microsoft.com/office/drawing/2014/main" id="{9C3A8CA2-6C88-46AE-B590-0BAB650BA397}"/>
              </a:ext>
            </a:extLst>
          </p:cNvPr>
          <p:cNvSpPr/>
          <p:nvPr/>
        </p:nvSpPr>
        <p:spPr>
          <a:xfrm>
            <a:off x="9416530" y="4873268"/>
            <a:ext cx="1371600" cy="13716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tx1"/>
                </a:solidFill>
                <a:effectLst/>
                <a:uLnTx/>
                <a:uFillTx/>
                <a:ea typeface="Ubuntu" charset="0"/>
                <a:cs typeface="Ubuntu" charset="0"/>
              </a:rPr>
              <a:t>Defend against new market entrants</a:t>
            </a:r>
          </a:p>
        </p:txBody>
      </p:sp>
      <p:sp>
        <p:nvSpPr>
          <p:cNvPr id="30" name="Oval 29">
            <a:extLst>
              <a:ext uri="{FF2B5EF4-FFF2-40B4-BE49-F238E27FC236}">
                <a16:creationId xmlns:a16="http://schemas.microsoft.com/office/drawing/2014/main" id="{CFDD3ED2-C7EA-403E-A3A5-206A5107E738}"/>
              </a:ext>
            </a:extLst>
          </p:cNvPr>
          <p:cNvSpPr/>
          <p:nvPr/>
        </p:nvSpPr>
        <p:spPr>
          <a:xfrm>
            <a:off x="3092657" y="3338404"/>
            <a:ext cx="1371600" cy="13716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tx1"/>
                </a:solidFill>
                <a:effectLst/>
                <a:uLnTx/>
                <a:uFillTx/>
                <a:ea typeface="Ubuntu" charset="0"/>
                <a:cs typeface="Ubuntu" charset="0"/>
              </a:rPr>
              <a:t>Provide sales reps with data that can be used </a:t>
            </a:r>
            <a:br>
              <a:rPr kumimoji="0" lang="en-US" sz="800" b="1" i="0" u="none" strike="noStrike" kern="1200" cap="none" spc="0" normalizeH="0" baseline="0" noProof="0" dirty="0">
                <a:ln>
                  <a:noFill/>
                </a:ln>
                <a:solidFill>
                  <a:schemeClr val="tx1"/>
                </a:solidFill>
                <a:effectLst/>
                <a:uLnTx/>
                <a:uFillTx/>
                <a:ea typeface="Ubuntu" charset="0"/>
                <a:cs typeface="Ubuntu" charset="0"/>
              </a:rPr>
            </a:br>
            <a:r>
              <a:rPr kumimoji="0" lang="en-US" sz="800" b="1" i="0" u="none" strike="noStrike" kern="1200" cap="none" spc="0" normalizeH="0" baseline="0" noProof="0" dirty="0">
                <a:ln>
                  <a:noFill/>
                </a:ln>
                <a:solidFill>
                  <a:schemeClr val="tx1"/>
                </a:solidFill>
                <a:effectLst/>
                <a:uLnTx/>
                <a:uFillTx/>
                <a:ea typeface="Ubuntu" charset="0"/>
                <a:cs typeface="Ubuntu" charset="0"/>
              </a:rPr>
              <a:t>to help serve customers</a:t>
            </a:r>
          </a:p>
        </p:txBody>
      </p:sp>
      <p:sp>
        <p:nvSpPr>
          <p:cNvPr id="31" name="Oval 30">
            <a:extLst>
              <a:ext uri="{FF2B5EF4-FFF2-40B4-BE49-F238E27FC236}">
                <a16:creationId xmlns:a16="http://schemas.microsoft.com/office/drawing/2014/main" id="{1EFEC591-E88E-485C-AE4B-57B3B300AAD6}"/>
              </a:ext>
            </a:extLst>
          </p:cNvPr>
          <p:cNvSpPr/>
          <p:nvPr/>
        </p:nvSpPr>
        <p:spPr>
          <a:xfrm>
            <a:off x="3119441" y="1775424"/>
            <a:ext cx="1371600" cy="13716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tx1"/>
                </a:solidFill>
                <a:effectLst/>
                <a:uLnTx/>
                <a:uFillTx/>
                <a:ea typeface="Ubuntu" charset="0"/>
                <a:cs typeface="Ubuntu" charset="0"/>
              </a:rPr>
              <a:t>Use real-time data to make proactive recommendations</a:t>
            </a:r>
          </a:p>
        </p:txBody>
      </p:sp>
      <p:sp>
        <p:nvSpPr>
          <p:cNvPr id="32" name="Oval 31">
            <a:extLst>
              <a:ext uri="{FF2B5EF4-FFF2-40B4-BE49-F238E27FC236}">
                <a16:creationId xmlns:a16="http://schemas.microsoft.com/office/drawing/2014/main" id="{FB5EB08C-B61E-4129-8BCF-96454B082151}"/>
              </a:ext>
            </a:extLst>
          </p:cNvPr>
          <p:cNvSpPr/>
          <p:nvPr/>
        </p:nvSpPr>
        <p:spPr>
          <a:xfrm>
            <a:off x="7604609" y="4155735"/>
            <a:ext cx="1371600" cy="13716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tx1"/>
                </a:solidFill>
                <a:effectLst/>
                <a:uLnTx/>
                <a:uFillTx/>
                <a:ea typeface="Ubuntu" charset="0"/>
                <a:cs typeface="Ubuntu" charset="0"/>
              </a:rPr>
              <a:t>Automate </a:t>
            </a:r>
            <a:br>
              <a:rPr kumimoji="0" lang="en-US" sz="800" b="1" i="0" u="none" strike="noStrike" kern="1200" cap="none" spc="0" normalizeH="0" baseline="0" noProof="0" dirty="0">
                <a:ln>
                  <a:noFill/>
                </a:ln>
                <a:solidFill>
                  <a:schemeClr val="tx1"/>
                </a:solidFill>
                <a:effectLst/>
                <a:uLnTx/>
                <a:uFillTx/>
                <a:ea typeface="Ubuntu" charset="0"/>
                <a:cs typeface="Ubuntu" charset="0"/>
              </a:rPr>
            </a:br>
            <a:r>
              <a:rPr kumimoji="0" lang="en-US" sz="800" b="1" i="0" u="none" strike="noStrike" kern="1200" cap="none" spc="0" normalizeH="0" baseline="0" noProof="0" dirty="0">
                <a:ln>
                  <a:noFill/>
                </a:ln>
                <a:solidFill>
                  <a:schemeClr val="tx1"/>
                </a:solidFill>
                <a:effectLst/>
                <a:uLnTx/>
                <a:uFillTx/>
                <a:ea typeface="Ubuntu" charset="0"/>
                <a:cs typeface="Ubuntu" charset="0"/>
              </a:rPr>
              <a:t>non-revenue generating sales activities </a:t>
            </a:r>
          </a:p>
        </p:txBody>
      </p:sp>
      <p:sp>
        <p:nvSpPr>
          <p:cNvPr id="33" name="TextBox 32">
            <a:extLst>
              <a:ext uri="{FF2B5EF4-FFF2-40B4-BE49-F238E27FC236}">
                <a16:creationId xmlns:a16="http://schemas.microsoft.com/office/drawing/2014/main" id="{436C8C04-284E-40BB-9C6E-FCAAC8FA9AB0}"/>
              </a:ext>
            </a:extLst>
          </p:cNvPr>
          <p:cNvSpPr txBox="1"/>
          <p:nvPr/>
        </p:nvSpPr>
        <p:spPr>
          <a:xfrm>
            <a:off x="914399" y="2655401"/>
            <a:ext cx="1431174"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accent3"/>
                </a:solidFill>
                <a:effectLst/>
                <a:uLnTx/>
                <a:uFillTx/>
                <a:ea typeface="Libre Baskerville" charset="0"/>
                <a:cs typeface="Libre Baskerville" charset="0"/>
              </a:rPr>
              <a:t>... resonate with your customers</a:t>
            </a:r>
          </a:p>
        </p:txBody>
      </p:sp>
      <p:sp>
        <p:nvSpPr>
          <p:cNvPr id="34" name="TextBox 33">
            <a:extLst>
              <a:ext uri="{FF2B5EF4-FFF2-40B4-BE49-F238E27FC236}">
                <a16:creationId xmlns:a16="http://schemas.microsoft.com/office/drawing/2014/main" id="{F5B55CB0-F56A-48B1-BB46-506B6278AA84}"/>
              </a:ext>
            </a:extLst>
          </p:cNvPr>
          <p:cNvSpPr txBox="1"/>
          <p:nvPr/>
        </p:nvSpPr>
        <p:spPr>
          <a:xfrm>
            <a:off x="963583" y="4262540"/>
            <a:ext cx="147295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accent3"/>
                </a:solidFill>
                <a:effectLst/>
                <a:uLnTx/>
                <a:uFillTx/>
                <a:ea typeface="Libre Baskerville" charset="0"/>
                <a:cs typeface="Libre Baskerville" charset="0"/>
              </a:rPr>
              <a:t>… empower your sales force</a:t>
            </a:r>
          </a:p>
        </p:txBody>
      </p:sp>
      <p:sp>
        <p:nvSpPr>
          <p:cNvPr id="35" name="TextBox 34">
            <a:extLst>
              <a:ext uri="{FF2B5EF4-FFF2-40B4-BE49-F238E27FC236}">
                <a16:creationId xmlns:a16="http://schemas.microsoft.com/office/drawing/2014/main" id="{121D6A44-42E6-410A-A3BC-AA9469EC6EB8}"/>
              </a:ext>
            </a:extLst>
          </p:cNvPr>
          <p:cNvSpPr txBox="1"/>
          <p:nvPr/>
        </p:nvSpPr>
        <p:spPr>
          <a:xfrm>
            <a:off x="963583" y="5821503"/>
            <a:ext cx="147295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accent3"/>
                </a:solidFill>
                <a:effectLst/>
                <a:uLnTx/>
                <a:uFillTx/>
                <a:ea typeface="Libre Baskerville" charset="0"/>
                <a:cs typeface="Libre Baskerville" charset="0"/>
              </a:rPr>
              <a:t>… embrace the digital age</a:t>
            </a:r>
          </a:p>
        </p:txBody>
      </p:sp>
      <p:cxnSp>
        <p:nvCxnSpPr>
          <p:cNvPr id="36" name="Straight Connector 35">
            <a:extLst>
              <a:ext uri="{FF2B5EF4-FFF2-40B4-BE49-F238E27FC236}">
                <a16:creationId xmlns:a16="http://schemas.microsoft.com/office/drawing/2014/main" id="{6FF9E97A-77EE-44AD-97D1-A2084374C22C}"/>
              </a:ext>
            </a:extLst>
          </p:cNvPr>
          <p:cNvCxnSpPr/>
          <p:nvPr/>
        </p:nvCxnSpPr>
        <p:spPr>
          <a:xfrm>
            <a:off x="2582483" y="1702674"/>
            <a:ext cx="0" cy="4688981"/>
          </a:xfrm>
          <a:prstGeom prst="line">
            <a:avLst/>
          </a:prstGeom>
          <a:ln w="13970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37" name="Picture 36">
            <a:extLst>
              <a:ext uri="{FF2B5EF4-FFF2-40B4-BE49-F238E27FC236}">
                <a16:creationId xmlns:a16="http://schemas.microsoft.com/office/drawing/2014/main" id="{252C454F-B62F-4D9B-893F-C5CB4AA3B686}"/>
              </a:ext>
            </a:extLst>
          </p:cNvPr>
          <p:cNvPicPr>
            <a:picLocks noChangeAspect="1"/>
          </p:cNvPicPr>
          <p:nvPr/>
        </p:nvPicPr>
        <p:blipFill>
          <a:blip r:embed="rId8" cstate="hq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flipH="1">
            <a:off x="1388928" y="1952006"/>
            <a:ext cx="563081" cy="634268"/>
          </a:xfrm>
          <a:prstGeom prst="rect">
            <a:avLst/>
          </a:prstGeom>
        </p:spPr>
      </p:pic>
      <p:pic>
        <p:nvPicPr>
          <p:cNvPr id="38" name="Picture 37">
            <a:extLst>
              <a:ext uri="{FF2B5EF4-FFF2-40B4-BE49-F238E27FC236}">
                <a16:creationId xmlns:a16="http://schemas.microsoft.com/office/drawing/2014/main" id="{27048F4B-B9B9-4E01-B3BE-C7CDCEDA201D}"/>
              </a:ext>
            </a:extLst>
          </p:cNvPr>
          <p:cNvPicPr>
            <a:picLocks noChangeAspect="1"/>
          </p:cNvPicPr>
          <p:nvPr/>
        </p:nvPicPr>
        <p:blipFill>
          <a:blip r:embed="rId9" cstate="hq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1226341" y="3648534"/>
            <a:ext cx="880288" cy="541479"/>
          </a:xfrm>
          <a:prstGeom prst="rect">
            <a:avLst/>
          </a:prstGeom>
        </p:spPr>
      </p:pic>
      <p:pic>
        <p:nvPicPr>
          <p:cNvPr id="39" name="Picture 38">
            <a:extLst>
              <a:ext uri="{FF2B5EF4-FFF2-40B4-BE49-F238E27FC236}">
                <a16:creationId xmlns:a16="http://schemas.microsoft.com/office/drawing/2014/main" id="{C710D159-1DCE-45C9-98AC-F1ACE102574F}"/>
              </a:ext>
            </a:extLst>
          </p:cNvPr>
          <p:cNvPicPr>
            <a:picLocks noChangeAspect="1"/>
          </p:cNvPicPr>
          <p:nvPr/>
        </p:nvPicPr>
        <p:blipFill>
          <a:blip r:embed="rId10" cstate="hq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1517058" y="5100914"/>
            <a:ext cx="382866" cy="636026"/>
          </a:xfrm>
          <a:prstGeom prst="rect">
            <a:avLst/>
          </a:prstGeom>
        </p:spPr>
      </p:pic>
    </p:spTree>
    <p:extLst>
      <p:ext uri="{BB962C8B-B14F-4D97-AF65-F5344CB8AC3E}">
        <p14:creationId xmlns:p14="http://schemas.microsoft.com/office/powerpoint/2010/main" val="204669290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971E11D-EFC0-4CBA-AB68-F49B5F12B4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16" name="think-cell Slide" r:id="rId6" imgW="415" imgH="416" progId="TCLayout.ActiveDocument.1">
                  <p:embed/>
                </p:oleObj>
              </mc:Choice>
              <mc:Fallback>
                <p:oleObj name="think-cell Slide" r:id="rId6" imgW="415" imgH="416" progId="TCLayout.ActiveDocument.1">
                  <p:embed/>
                  <p:pic>
                    <p:nvPicPr>
                      <p:cNvPr id="5" name="Object 4" hidden="1">
                        <a:extLst>
                          <a:ext uri="{FF2B5EF4-FFF2-40B4-BE49-F238E27FC236}">
                            <a16:creationId xmlns:a16="http://schemas.microsoft.com/office/drawing/2014/main" id="{E971E11D-EFC0-4CBA-AB68-F49B5F12B45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7AEA1F-C84D-4209-BEB8-C4C481808A9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2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A57E59F3-58BE-4FDC-8482-41A19B584204}"/>
              </a:ext>
            </a:extLst>
          </p:cNvPr>
          <p:cNvSpPr>
            <a:spLocks noGrp="1"/>
          </p:cNvSpPr>
          <p:nvPr>
            <p:ph type="title"/>
          </p:nvPr>
        </p:nvSpPr>
        <p:spPr/>
        <p:txBody>
          <a:bodyPr anchor="t"/>
          <a:lstStyle/>
          <a:p>
            <a:r>
              <a:rPr lang="en-US" sz="3200" dirty="0"/>
              <a:t>…emboldened by an increasing number of non-linear moments to engage customers in their path to purchase</a:t>
            </a:r>
          </a:p>
        </p:txBody>
      </p:sp>
      <p:sp>
        <p:nvSpPr>
          <p:cNvPr id="3" name="Text Placeholder 2">
            <a:extLst>
              <a:ext uri="{FF2B5EF4-FFF2-40B4-BE49-F238E27FC236}">
                <a16:creationId xmlns:a16="http://schemas.microsoft.com/office/drawing/2014/main" id="{D62DA552-2D50-4CF0-B4C0-4CA197833F70}"/>
              </a:ext>
            </a:extLst>
          </p:cNvPr>
          <p:cNvSpPr>
            <a:spLocks noGrp="1"/>
          </p:cNvSpPr>
          <p:nvPr>
            <p:ph type="body" sz="quarter" idx="15"/>
          </p:nvPr>
        </p:nvSpPr>
        <p:spPr/>
        <p:txBody>
          <a:bodyPr/>
          <a:lstStyle/>
          <a:p>
            <a:r>
              <a:rPr lang="en-US" dirty="0"/>
              <a:t>Process &amp; customer journey</a:t>
            </a:r>
          </a:p>
        </p:txBody>
      </p:sp>
      <p:cxnSp>
        <p:nvCxnSpPr>
          <p:cNvPr id="6" name="Straight Connector 5">
            <a:extLst>
              <a:ext uri="{FF2B5EF4-FFF2-40B4-BE49-F238E27FC236}">
                <a16:creationId xmlns:a16="http://schemas.microsoft.com/office/drawing/2014/main" id="{3BC7F683-B269-483F-A0F0-2672074D8A90}"/>
              </a:ext>
            </a:extLst>
          </p:cNvPr>
          <p:cNvCxnSpPr>
            <a:stCxn id="75" idx="1"/>
          </p:cNvCxnSpPr>
          <p:nvPr/>
        </p:nvCxnSpPr>
        <p:spPr>
          <a:xfrm flipH="1" flipV="1">
            <a:off x="1939791" y="3107087"/>
            <a:ext cx="591602" cy="1620277"/>
          </a:xfrm>
          <a:prstGeom prst="line">
            <a:avLst/>
          </a:prstGeom>
          <a:noFill/>
          <a:ln w="25400" algn="ctr">
            <a:solidFill>
              <a:schemeClr val="bg1">
                <a:lumMod val="85000"/>
              </a:schemeClr>
            </a:solidFill>
            <a:miter lim="800000"/>
            <a:headEnd/>
            <a:tailEnd/>
          </a:ln>
        </p:spPr>
      </p:cxnSp>
      <p:cxnSp>
        <p:nvCxnSpPr>
          <p:cNvPr id="7" name="Straight Connector 6">
            <a:extLst>
              <a:ext uri="{FF2B5EF4-FFF2-40B4-BE49-F238E27FC236}">
                <a16:creationId xmlns:a16="http://schemas.microsoft.com/office/drawing/2014/main" id="{A2136F1F-5189-4281-B6F1-5FB556DE5057}"/>
              </a:ext>
            </a:extLst>
          </p:cNvPr>
          <p:cNvCxnSpPr>
            <a:stCxn id="81" idx="3"/>
            <a:endCxn id="75" idx="7"/>
          </p:cNvCxnSpPr>
          <p:nvPr/>
        </p:nvCxnSpPr>
        <p:spPr>
          <a:xfrm flipH="1">
            <a:off x="3484745" y="3599749"/>
            <a:ext cx="1607712" cy="1127615"/>
          </a:xfrm>
          <a:prstGeom prst="line">
            <a:avLst/>
          </a:prstGeom>
          <a:noFill/>
          <a:ln w="25400" algn="ctr">
            <a:solidFill>
              <a:schemeClr val="bg1">
                <a:lumMod val="85000"/>
              </a:schemeClr>
            </a:solidFill>
            <a:miter lim="800000"/>
            <a:headEnd/>
            <a:tailEnd/>
          </a:ln>
        </p:spPr>
      </p:cxnSp>
      <p:cxnSp>
        <p:nvCxnSpPr>
          <p:cNvPr id="8" name="Straight Connector 7">
            <a:extLst>
              <a:ext uri="{FF2B5EF4-FFF2-40B4-BE49-F238E27FC236}">
                <a16:creationId xmlns:a16="http://schemas.microsoft.com/office/drawing/2014/main" id="{4FDB617E-0959-4404-B09B-E1876E32BEB3}"/>
              </a:ext>
            </a:extLst>
          </p:cNvPr>
          <p:cNvCxnSpPr>
            <a:stCxn id="63" idx="1"/>
            <a:endCxn id="81" idx="5"/>
          </p:cNvCxnSpPr>
          <p:nvPr/>
        </p:nvCxnSpPr>
        <p:spPr>
          <a:xfrm flipH="1" flipV="1">
            <a:off x="6045809" y="3599749"/>
            <a:ext cx="1489968" cy="866475"/>
          </a:xfrm>
          <a:prstGeom prst="line">
            <a:avLst/>
          </a:prstGeom>
          <a:noFill/>
          <a:ln w="25400" algn="ctr">
            <a:solidFill>
              <a:schemeClr val="bg1">
                <a:lumMod val="85000"/>
              </a:schemeClr>
            </a:solidFill>
            <a:miter lim="800000"/>
            <a:headEnd/>
            <a:tailEnd/>
          </a:ln>
        </p:spPr>
      </p:cxnSp>
      <p:cxnSp>
        <p:nvCxnSpPr>
          <p:cNvPr id="9" name="Straight Connector 8">
            <a:extLst>
              <a:ext uri="{FF2B5EF4-FFF2-40B4-BE49-F238E27FC236}">
                <a16:creationId xmlns:a16="http://schemas.microsoft.com/office/drawing/2014/main" id="{35F53A72-D1E1-4F22-8577-1B2B5BCB8D3D}"/>
              </a:ext>
            </a:extLst>
          </p:cNvPr>
          <p:cNvCxnSpPr/>
          <p:nvPr/>
        </p:nvCxnSpPr>
        <p:spPr>
          <a:xfrm flipH="1">
            <a:off x="8575563" y="3577392"/>
            <a:ext cx="1212598" cy="992128"/>
          </a:xfrm>
          <a:prstGeom prst="line">
            <a:avLst/>
          </a:prstGeom>
          <a:noFill/>
          <a:ln w="25400" algn="ctr">
            <a:solidFill>
              <a:schemeClr val="bg1">
                <a:lumMod val="85000"/>
              </a:schemeClr>
            </a:solidFill>
            <a:miter lim="800000"/>
            <a:headEnd/>
            <a:tailEnd/>
          </a:ln>
        </p:spPr>
      </p:cxnSp>
      <p:cxnSp>
        <p:nvCxnSpPr>
          <p:cNvPr id="10" name="Straight Connector 9">
            <a:extLst>
              <a:ext uri="{FF2B5EF4-FFF2-40B4-BE49-F238E27FC236}">
                <a16:creationId xmlns:a16="http://schemas.microsoft.com/office/drawing/2014/main" id="{C87717C3-F33B-472B-ADDC-CEFAE80A9987}"/>
              </a:ext>
            </a:extLst>
          </p:cNvPr>
          <p:cNvCxnSpPr>
            <a:stCxn id="59" idx="5"/>
          </p:cNvCxnSpPr>
          <p:nvPr/>
        </p:nvCxnSpPr>
        <p:spPr>
          <a:xfrm>
            <a:off x="10848481" y="3703821"/>
            <a:ext cx="1343519" cy="685419"/>
          </a:xfrm>
          <a:prstGeom prst="line">
            <a:avLst/>
          </a:prstGeom>
          <a:noFill/>
          <a:ln w="25400" algn="ctr">
            <a:solidFill>
              <a:schemeClr val="bg1">
                <a:lumMod val="85000"/>
              </a:schemeClr>
            </a:solidFill>
            <a:miter lim="800000"/>
            <a:headEnd/>
            <a:tailEnd/>
          </a:ln>
        </p:spPr>
      </p:cxnSp>
      <p:sp>
        <p:nvSpPr>
          <p:cNvPr id="11" name="TextBox 10">
            <a:extLst>
              <a:ext uri="{FF2B5EF4-FFF2-40B4-BE49-F238E27FC236}">
                <a16:creationId xmlns:a16="http://schemas.microsoft.com/office/drawing/2014/main" id="{FC8DCDB3-B3E2-4D12-A9E5-CDC1370E3274}"/>
              </a:ext>
            </a:extLst>
          </p:cNvPr>
          <p:cNvSpPr txBox="1"/>
          <p:nvPr/>
        </p:nvSpPr>
        <p:spPr>
          <a:xfrm>
            <a:off x="2638478" y="3424126"/>
            <a:ext cx="1088277" cy="337606"/>
          </a:xfrm>
          <a:prstGeom prst="rect">
            <a:avLst/>
          </a:prstGeom>
          <a:ln>
            <a:noFill/>
          </a:ln>
        </p:spPr>
        <p:txBody>
          <a:bodyPr vert="horz" wrap="square" lIns="45720" tIns="31173" rIns="45720" bIns="31173" rtlCol="0" anchor="ctr">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Previous Experience</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12" name="TextBox 11">
            <a:extLst>
              <a:ext uri="{FF2B5EF4-FFF2-40B4-BE49-F238E27FC236}">
                <a16:creationId xmlns:a16="http://schemas.microsoft.com/office/drawing/2014/main" id="{FF4D9CD1-B620-4695-9B64-5D082B519B20}"/>
              </a:ext>
            </a:extLst>
          </p:cNvPr>
          <p:cNvSpPr txBox="1"/>
          <p:nvPr/>
        </p:nvSpPr>
        <p:spPr>
          <a:xfrm>
            <a:off x="-39342" y="2446189"/>
            <a:ext cx="871095" cy="402523"/>
          </a:xfrm>
          <a:prstGeom prst="rect">
            <a:avLst/>
          </a:prstGeom>
          <a:ln>
            <a:noFill/>
          </a:ln>
        </p:spPr>
        <p:txBody>
          <a:bodyPr vert="horz" wrap="square" lIns="45720" tIns="31173" rIns="45720" bIns="31173" rtlCol="0" anchor="ctr">
            <a:norm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YouTube</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13" name="TextBox 12">
            <a:extLst>
              <a:ext uri="{FF2B5EF4-FFF2-40B4-BE49-F238E27FC236}">
                <a16:creationId xmlns:a16="http://schemas.microsoft.com/office/drawing/2014/main" id="{F70874B6-07EC-42D6-A4E1-DBDCD26330FF}"/>
              </a:ext>
            </a:extLst>
          </p:cNvPr>
          <p:cNvSpPr txBox="1"/>
          <p:nvPr/>
        </p:nvSpPr>
        <p:spPr>
          <a:xfrm>
            <a:off x="980104" y="5932085"/>
            <a:ext cx="1563957" cy="382819"/>
          </a:xfrm>
          <a:prstGeom prst="rect">
            <a:avLst/>
          </a:prstGeom>
          <a:ln>
            <a:noFill/>
          </a:ln>
        </p:spPr>
        <p:txBody>
          <a:bodyPr vert="horz" wrap="square" lIns="45720" tIns="31173" rIns="45720" bIns="31173" rtlCol="0" anchor="ctr">
            <a:no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Online Forums/Message Boards</a:t>
            </a:r>
            <a:endParaRPr kumimoji="0" lang="en-US" sz="9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14" name="TextBox 13">
            <a:extLst>
              <a:ext uri="{FF2B5EF4-FFF2-40B4-BE49-F238E27FC236}">
                <a16:creationId xmlns:a16="http://schemas.microsoft.com/office/drawing/2014/main" id="{3FFDFA1E-AF74-4126-BF99-79A79536AB26}"/>
              </a:ext>
            </a:extLst>
          </p:cNvPr>
          <p:cNvSpPr txBox="1"/>
          <p:nvPr/>
        </p:nvSpPr>
        <p:spPr>
          <a:xfrm>
            <a:off x="897784" y="5022920"/>
            <a:ext cx="966411" cy="337606"/>
          </a:xfrm>
          <a:prstGeom prst="rect">
            <a:avLst/>
          </a:prstGeom>
          <a:ln>
            <a:noFill/>
          </a:ln>
        </p:spPr>
        <p:txBody>
          <a:bodyPr vert="horz" wrap="square" lIns="45720" tIns="31173" rIns="45720" bIns="31173" rtlCol="0" anchor="ctr">
            <a:normAutofit lnSpcReduction="10000"/>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In-Store Associate</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15" name="TextBox 14">
            <a:extLst>
              <a:ext uri="{FF2B5EF4-FFF2-40B4-BE49-F238E27FC236}">
                <a16:creationId xmlns:a16="http://schemas.microsoft.com/office/drawing/2014/main" id="{20CB166E-732D-4D8E-84D5-30DEAF0B7D6E}"/>
              </a:ext>
            </a:extLst>
          </p:cNvPr>
          <p:cNvSpPr txBox="1"/>
          <p:nvPr/>
        </p:nvSpPr>
        <p:spPr>
          <a:xfrm>
            <a:off x="3592859" y="5888319"/>
            <a:ext cx="1265705" cy="337606"/>
          </a:xfrm>
          <a:prstGeom prst="rect">
            <a:avLst/>
          </a:prstGeom>
          <a:ln>
            <a:noFill/>
          </a:ln>
        </p:spPr>
        <p:txBody>
          <a:bodyPr vert="horz" wrap="square" lIns="45720" tIns="31173" rIns="45720" bIns="31173" rtlCol="0" anchor="ctr">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Manufacturer Website</a:t>
            </a:r>
          </a:p>
        </p:txBody>
      </p:sp>
      <p:sp>
        <p:nvSpPr>
          <p:cNvPr id="16" name="TextBox 15">
            <a:extLst>
              <a:ext uri="{FF2B5EF4-FFF2-40B4-BE49-F238E27FC236}">
                <a16:creationId xmlns:a16="http://schemas.microsoft.com/office/drawing/2014/main" id="{0DA06D66-06E5-4C57-846B-B9BA67D151D2}"/>
              </a:ext>
            </a:extLst>
          </p:cNvPr>
          <p:cNvSpPr txBox="1"/>
          <p:nvPr/>
        </p:nvSpPr>
        <p:spPr>
          <a:xfrm>
            <a:off x="4170982" y="5308233"/>
            <a:ext cx="966411" cy="337606"/>
          </a:xfrm>
          <a:prstGeom prst="rect">
            <a:avLst/>
          </a:prstGeom>
          <a:ln>
            <a:noFill/>
          </a:ln>
        </p:spPr>
        <p:txBody>
          <a:bodyPr vert="horz" wrap="square" lIns="45720" tIns="31173" rIns="45720" bIns="31173" rtlCol="0" anchor="ctr">
            <a:normAutofit lnSpcReduction="10000"/>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Retailer Website</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17" name="TextBox 16">
            <a:extLst>
              <a:ext uri="{FF2B5EF4-FFF2-40B4-BE49-F238E27FC236}">
                <a16:creationId xmlns:a16="http://schemas.microsoft.com/office/drawing/2014/main" id="{FEEE4BC0-C219-47BB-9AD1-72132CCC7790}"/>
              </a:ext>
            </a:extLst>
          </p:cNvPr>
          <p:cNvSpPr txBox="1"/>
          <p:nvPr/>
        </p:nvSpPr>
        <p:spPr>
          <a:xfrm>
            <a:off x="793818" y="5402265"/>
            <a:ext cx="1116575" cy="489512"/>
          </a:xfrm>
          <a:prstGeom prst="rect">
            <a:avLst/>
          </a:prstGeom>
          <a:ln>
            <a:noFill/>
          </a:ln>
        </p:spPr>
        <p:txBody>
          <a:bodyPr vert="horz" wrap="square" lIns="45720" tIns="31173" rIns="45720" bIns="31173" rtlCol="0" anchor="ctr">
            <a:norm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Direct Mail</a:t>
            </a:r>
            <a:endParaRPr kumimoji="0" lang="en-US" sz="105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18" name="TextBox 17">
            <a:extLst>
              <a:ext uri="{FF2B5EF4-FFF2-40B4-BE49-F238E27FC236}">
                <a16:creationId xmlns:a16="http://schemas.microsoft.com/office/drawing/2014/main" id="{F4BC2E4C-4C6D-47E4-9613-7454E695A24C}"/>
              </a:ext>
            </a:extLst>
          </p:cNvPr>
          <p:cNvSpPr txBox="1"/>
          <p:nvPr/>
        </p:nvSpPr>
        <p:spPr>
          <a:xfrm>
            <a:off x="4090919" y="4609456"/>
            <a:ext cx="1116575" cy="489512"/>
          </a:xfrm>
          <a:prstGeom prst="rect">
            <a:avLst/>
          </a:prstGeom>
          <a:ln>
            <a:noFill/>
          </a:ln>
        </p:spPr>
        <p:txBody>
          <a:bodyPr vert="horz" wrap="square" lIns="45720" tIns="31173" rIns="45720" bIns="31173" rtlCol="0" anchor="ct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Personalized Email Messaging</a:t>
            </a:r>
            <a:endParaRPr kumimoji="0" lang="en-US" sz="105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19" name="TextBox 18">
            <a:extLst>
              <a:ext uri="{FF2B5EF4-FFF2-40B4-BE49-F238E27FC236}">
                <a16:creationId xmlns:a16="http://schemas.microsoft.com/office/drawing/2014/main" id="{B84F9E5E-8C35-4063-86FC-BBFB7E89681E}"/>
              </a:ext>
            </a:extLst>
          </p:cNvPr>
          <p:cNvSpPr txBox="1"/>
          <p:nvPr/>
        </p:nvSpPr>
        <p:spPr>
          <a:xfrm>
            <a:off x="8183679" y="5712363"/>
            <a:ext cx="1676311" cy="430907"/>
          </a:xfrm>
          <a:prstGeom prst="rect">
            <a:avLst/>
          </a:prstGeom>
          <a:ln>
            <a:noFill/>
          </a:ln>
        </p:spPr>
        <p:txBody>
          <a:bodyPr vert="horz" wrap="square" lIns="45720" tIns="31173" rIns="45720" bIns="31173" rtlCol="0" anchor="ctr">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Contextual Mobile Coupon Push Notification</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20" name="TextBox 19">
            <a:extLst>
              <a:ext uri="{FF2B5EF4-FFF2-40B4-BE49-F238E27FC236}">
                <a16:creationId xmlns:a16="http://schemas.microsoft.com/office/drawing/2014/main" id="{5AF9CB1F-D703-4F6F-8545-794785C3242C}"/>
              </a:ext>
            </a:extLst>
          </p:cNvPr>
          <p:cNvSpPr txBox="1"/>
          <p:nvPr/>
        </p:nvSpPr>
        <p:spPr>
          <a:xfrm>
            <a:off x="7647568" y="3715342"/>
            <a:ext cx="848201" cy="447511"/>
          </a:xfrm>
          <a:prstGeom prst="rect">
            <a:avLst/>
          </a:prstGeom>
          <a:ln>
            <a:noFill/>
          </a:ln>
        </p:spPr>
        <p:txBody>
          <a:bodyPr vert="horz" wrap="square" lIns="45720" tIns="31173" rIns="45720" bIns="31173" rtlCol="0" anchor="ct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Mobile Check-Out</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21" name="TextBox 20">
            <a:extLst>
              <a:ext uri="{FF2B5EF4-FFF2-40B4-BE49-F238E27FC236}">
                <a16:creationId xmlns:a16="http://schemas.microsoft.com/office/drawing/2014/main" id="{277E2B8F-CB2B-42A0-A039-8A773F8B48F2}"/>
              </a:ext>
            </a:extLst>
          </p:cNvPr>
          <p:cNvSpPr txBox="1"/>
          <p:nvPr/>
        </p:nvSpPr>
        <p:spPr>
          <a:xfrm>
            <a:off x="3353498" y="2612959"/>
            <a:ext cx="1143713" cy="412719"/>
          </a:xfrm>
          <a:prstGeom prst="rect">
            <a:avLst/>
          </a:prstGeom>
          <a:ln>
            <a:noFill/>
          </a:ln>
        </p:spPr>
        <p:txBody>
          <a:bodyPr vert="horz" wrap="square" lIns="45720" tIns="31173" rIns="45720" bIns="31173" rtlCol="0" anchor="ctr">
            <a:norm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QR Codes</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22" name="TextBox 21">
            <a:extLst>
              <a:ext uri="{FF2B5EF4-FFF2-40B4-BE49-F238E27FC236}">
                <a16:creationId xmlns:a16="http://schemas.microsoft.com/office/drawing/2014/main" id="{B03F4017-CF62-41DA-9576-38056061809E}"/>
              </a:ext>
            </a:extLst>
          </p:cNvPr>
          <p:cNvSpPr txBox="1"/>
          <p:nvPr/>
        </p:nvSpPr>
        <p:spPr>
          <a:xfrm>
            <a:off x="8923026" y="2138075"/>
            <a:ext cx="1277483" cy="430907"/>
          </a:xfrm>
          <a:prstGeom prst="rect">
            <a:avLst/>
          </a:prstGeom>
          <a:ln>
            <a:noFill/>
          </a:ln>
        </p:spPr>
        <p:txBody>
          <a:bodyPr vert="horz" wrap="square" lIns="45720" tIns="31173" rIns="45720" bIns="31173" rtlCol="0" anchor="ct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Customer Service</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23" name="TextBox 22">
            <a:extLst>
              <a:ext uri="{FF2B5EF4-FFF2-40B4-BE49-F238E27FC236}">
                <a16:creationId xmlns:a16="http://schemas.microsoft.com/office/drawing/2014/main" id="{5F66B624-08B9-4323-8A24-587CB89006C1}"/>
              </a:ext>
            </a:extLst>
          </p:cNvPr>
          <p:cNvSpPr txBox="1"/>
          <p:nvPr/>
        </p:nvSpPr>
        <p:spPr>
          <a:xfrm>
            <a:off x="6479643" y="2327538"/>
            <a:ext cx="1143713" cy="454893"/>
          </a:xfrm>
          <a:prstGeom prst="rect">
            <a:avLst/>
          </a:prstGeom>
          <a:ln>
            <a:noFill/>
          </a:ln>
        </p:spPr>
        <p:txBody>
          <a:bodyPr vert="horz" wrap="square" lIns="45720" tIns="31173" rIns="45720" bIns="31173" rtlCol="0" anchor="ct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Manufacturer App</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24" name="TextBox 23">
            <a:extLst>
              <a:ext uri="{FF2B5EF4-FFF2-40B4-BE49-F238E27FC236}">
                <a16:creationId xmlns:a16="http://schemas.microsoft.com/office/drawing/2014/main" id="{31C78B4D-F8AB-4DF9-BC79-E19A2F03E166}"/>
              </a:ext>
            </a:extLst>
          </p:cNvPr>
          <p:cNvSpPr txBox="1"/>
          <p:nvPr/>
        </p:nvSpPr>
        <p:spPr>
          <a:xfrm>
            <a:off x="3807850" y="3229481"/>
            <a:ext cx="705347" cy="430907"/>
          </a:xfrm>
          <a:prstGeom prst="rect">
            <a:avLst/>
          </a:prstGeom>
          <a:ln>
            <a:noFill/>
          </a:ln>
        </p:spPr>
        <p:txBody>
          <a:bodyPr vert="horz" wrap="square" lIns="45720" tIns="31173" rIns="45720" bIns="31173" rtlCol="0" anchor="ctr">
            <a:norm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In-Store Kiosk</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25" name="TextBox 24">
            <a:extLst>
              <a:ext uri="{FF2B5EF4-FFF2-40B4-BE49-F238E27FC236}">
                <a16:creationId xmlns:a16="http://schemas.microsoft.com/office/drawing/2014/main" id="{754DD74F-A548-4B4B-9C0F-3B0331AB6A03}"/>
              </a:ext>
            </a:extLst>
          </p:cNvPr>
          <p:cNvSpPr txBox="1"/>
          <p:nvPr/>
        </p:nvSpPr>
        <p:spPr>
          <a:xfrm>
            <a:off x="8083098" y="2557863"/>
            <a:ext cx="1277483" cy="430907"/>
          </a:xfrm>
          <a:prstGeom prst="rect">
            <a:avLst/>
          </a:prstGeom>
          <a:ln>
            <a:noFill/>
          </a:ln>
        </p:spPr>
        <p:txBody>
          <a:bodyPr vert="horz" wrap="square" lIns="45720" tIns="31173" rIns="45720" bIns="31173" rtlCol="0" anchor="ct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Recommendation to Friends / Family</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26" name="TextBox 25">
            <a:extLst>
              <a:ext uri="{FF2B5EF4-FFF2-40B4-BE49-F238E27FC236}">
                <a16:creationId xmlns:a16="http://schemas.microsoft.com/office/drawing/2014/main" id="{18D5D935-E61E-46BE-B9C3-11773C2DA9CF}"/>
              </a:ext>
            </a:extLst>
          </p:cNvPr>
          <p:cNvSpPr txBox="1"/>
          <p:nvPr/>
        </p:nvSpPr>
        <p:spPr>
          <a:xfrm>
            <a:off x="6521506" y="3239154"/>
            <a:ext cx="982246" cy="454893"/>
          </a:xfrm>
          <a:prstGeom prst="rect">
            <a:avLst/>
          </a:prstGeom>
          <a:ln>
            <a:noFill/>
          </a:ln>
        </p:spPr>
        <p:txBody>
          <a:bodyPr vert="horz" wrap="square" lIns="45720" tIns="31173" rIns="45720" bIns="31173" rtlCol="0" anchor="ct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In-Store Signs / Displays</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27" name="TextBox 26">
            <a:extLst>
              <a:ext uri="{FF2B5EF4-FFF2-40B4-BE49-F238E27FC236}">
                <a16:creationId xmlns:a16="http://schemas.microsoft.com/office/drawing/2014/main" id="{A5268BF1-0391-4F4D-99FD-350DA1D9BC24}"/>
              </a:ext>
            </a:extLst>
          </p:cNvPr>
          <p:cNvSpPr txBox="1"/>
          <p:nvPr/>
        </p:nvSpPr>
        <p:spPr>
          <a:xfrm>
            <a:off x="6105269" y="1962217"/>
            <a:ext cx="1587924" cy="454893"/>
          </a:xfrm>
          <a:prstGeom prst="rect">
            <a:avLst/>
          </a:prstGeom>
          <a:ln>
            <a:noFill/>
          </a:ln>
        </p:spPr>
        <p:txBody>
          <a:bodyPr vert="horz" wrap="square" lIns="45720" tIns="31173" rIns="45720" bIns="31173" rtlCol="0" anchor="ct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Retailer App</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28" name="TextBox 27">
            <a:extLst>
              <a:ext uri="{FF2B5EF4-FFF2-40B4-BE49-F238E27FC236}">
                <a16:creationId xmlns:a16="http://schemas.microsoft.com/office/drawing/2014/main" id="{DFDA3668-867D-4DD6-B5BC-7D618EF97FCE}"/>
              </a:ext>
            </a:extLst>
          </p:cNvPr>
          <p:cNvSpPr txBox="1"/>
          <p:nvPr/>
        </p:nvSpPr>
        <p:spPr>
          <a:xfrm>
            <a:off x="6675579" y="2735169"/>
            <a:ext cx="1143713" cy="454893"/>
          </a:xfrm>
          <a:prstGeom prst="rect">
            <a:avLst/>
          </a:prstGeom>
          <a:ln>
            <a:noFill/>
          </a:ln>
        </p:spPr>
        <p:txBody>
          <a:bodyPr vert="horz" wrap="square" lIns="45720" tIns="31173" rIns="45720" bIns="31173" rtlCol="0" anchor="ct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Product Packaging</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29" name="TextBox 28">
            <a:extLst>
              <a:ext uri="{FF2B5EF4-FFF2-40B4-BE49-F238E27FC236}">
                <a16:creationId xmlns:a16="http://schemas.microsoft.com/office/drawing/2014/main" id="{5DA81747-3194-4945-93E6-09B66806CE1D}"/>
              </a:ext>
            </a:extLst>
          </p:cNvPr>
          <p:cNvSpPr txBox="1"/>
          <p:nvPr/>
        </p:nvSpPr>
        <p:spPr>
          <a:xfrm>
            <a:off x="3679464" y="2088361"/>
            <a:ext cx="1143713" cy="430907"/>
          </a:xfrm>
          <a:prstGeom prst="rect">
            <a:avLst/>
          </a:prstGeom>
          <a:ln>
            <a:noFill/>
          </a:ln>
        </p:spPr>
        <p:txBody>
          <a:bodyPr vert="horz" wrap="square" lIns="45720" tIns="31173" rIns="45720" bIns="31173" rtlCol="0" anchor="ctr">
            <a:norm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Digital Shelf Displays</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30" name="TextBox 29">
            <a:extLst>
              <a:ext uri="{FF2B5EF4-FFF2-40B4-BE49-F238E27FC236}">
                <a16:creationId xmlns:a16="http://schemas.microsoft.com/office/drawing/2014/main" id="{3F6C8B63-7D1B-49DD-8F2F-896CB5366734}"/>
              </a:ext>
            </a:extLst>
          </p:cNvPr>
          <p:cNvSpPr txBox="1"/>
          <p:nvPr/>
        </p:nvSpPr>
        <p:spPr>
          <a:xfrm>
            <a:off x="6141916" y="3779473"/>
            <a:ext cx="752841" cy="337606"/>
          </a:xfrm>
          <a:prstGeom prst="rect">
            <a:avLst/>
          </a:prstGeom>
          <a:ln>
            <a:noFill/>
          </a:ln>
        </p:spPr>
        <p:txBody>
          <a:bodyPr vert="horz" wrap="square" lIns="45720" tIns="31173" rIns="45720" bIns="31173" rtlCol="0" anchor="ctr">
            <a:normAutofit lnSpcReduction="10000"/>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In-Store Associate</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31" name="TextBox 30">
            <a:extLst>
              <a:ext uri="{FF2B5EF4-FFF2-40B4-BE49-F238E27FC236}">
                <a16:creationId xmlns:a16="http://schemas.microsoft.com/office/drawing/2014/main" id="{7B2E167F-62B2-4487-A095-7EB31F579BAE}"/>
              </a:ext>
            </a:extLst>
          </p:cNvPr>
          <p:cNvSpPr txBox="1"/>
          <p:nvPr/>
        </p:nvSpPr>
        <p:spPr>
          <a:xfrm>
            <a:off x="5775509" y="5022920"/>
            <a:ext cx="1143713" cy="430907"/>
          </a:xfrm>
          <a:prstGeom prst="rect">
            <a:avLst/>
          </a:prstGeom>
          <a:ln>
            <a:noFill/>
          </a:ln>
        </p:spPr>
        <p:txBody>
          <a:bodyPr vert="horz" wrap="square" lIns="45720" tIns="31173" rIns="45720" bIns="31173" rtlCol="0" anchor="ctr">
            <a:normAutofit fontScale="92500"/>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Associate Assisted Check-Out</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32" name="TextBox 31">
            <a:extLst>
              <a:ext uri="{FF2B5EF4-FFF2-40B4-BE49-F238E27FC236}">
                <a16:creationId xmlns:a16="http://schemas.microsoft.com/office/drawing/2014/main" id="{E5BE866C-5F89-44B3-8441-B1BE9661F615}"/>
              </a:ext>
            </a:extLst>
          </p:cNvPr>
          <p:cNvSpPr txBox="1"/>
          <p:nvPr/>
        </p:nvSpPr>
        <p:spPr>
          <a:xfrm>
            <a:off x="8958782" y="5332098"/>
            <a:ext cx="1277483" cy="430907"/>
          </a:xfrm>
          <a:prstGeom prst="rect">
            <a:avLst/>
          </a:prstGeom>
          <a:ln>
            <a:noFill/>
          </a:ln>
        </p:spPr>
        <p:txBody>
          <a:bodyPr vert="horz" wrap="square" lIns="45720" tIns="31173" rIns="45720" bIns="31173" rtlCol="0" anchor="ct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Virtual Chat with Associate or Bot</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33" name="TextBox 32">
            <a:extLst>
              <a:ext uri="{FF2B5EF4-FFF2-40B4-BE49-F238E27FC236}">
                <a16:creationId xmlns:a16="http://schemas.microsoft.com/office/drawing/2014/main" id="{BEBD9A38-A462-4E94-BB16-DDA9ECC56C35}"/>
              </a:ext>
            </a:extLst>
          </p:cNvPr>
          <p:cNvSpPr txBox="1"/>
          <p:nvPr/>
        </p:nvSpPr>
        <p:spPr>
          <a:xfrm>
            <a:off x="5585831" y="4478098"/>
            <a:ext cx="1395762" cy="430907"/>
          </a:xfrm>
          <a:prstGeom prst="rect">
            <a:avLst/>
          </a:prstGeom>
          <a:ln>
            <a:noFill/>
          </a:ln>
        </p:spPr>
        <p:txBody>
          <a:bodyPr vert="horz" wrap="square" lIns="45720" tIns="31173" rIns="45720" bIns="31173" rtlCol="0" anchor="ctr">
            <a:no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In-Store Coupons / Instant Rebates</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34" name="TextBox 33">
            <a:extLst>
              <a:ext uri="{FF2B5EF4-FFF2-40B4-BE49-F238E27FC236}">
                <a16:creationId xmlns:a16="http://schemas.microsoft.com/office/drawing/2014/main" id="{0C7EB632-5439-49DA-8E7F-F58204750AF9}"/>
              </a:ext>
            </a:extLst>
          </p:cNvPr>
          <p:cNvSpPr txBox="1"/>
          <p:nvPr/>
        </p:nvSpPr>
        <p:spPr>
          <a:xfrm>
            <a:off x="8286023" y="3194263"/>
            <a:ext cx="899078" cy="430907"/>
          </a:xfrm>
          <a:prstGeom prst="rect">
            <a:avLst/>
          </a:prstGeom>
          <a:ln>
            <a:noFill/>
          </a:ln>
        </p:spPr>
        <p:txBody>
          <a:bodyPr vert="horz" wrap="square" lIns="45720" tIns="31173" rIns="45720" bIns="31173" rtlCol="0" anchor="ctr">
            <a:norm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Blog / Social Media Post</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35" name="TextBox 34">
            <a:extLst>
              <a:ext uri="{FF2B5EF4-FFF2-40B4-BE49-F238E27FC236}">
                <a16:creationId xmlns:a16="http://schemas.microsoft.com/office/drawing/2014/main" id="{9F890876-192F-4699-A3C3-D762EFA2EEEA}"/>
              </a:ext>
            </a:extLst>
          </p:cNvPr>
          <p:cNvSpPr txBox="1"/>
          <p:nvPr/>
        </p:nvSpPr>
        <p:spPr>
          <a:xfrm>
            <a:off x="10801090" y="3908193"/>
            <a:ext cx="640464" cy="430907"/>
          </a:xfrm>
          <a:prstGeom prst="rect">
            <a:avLst/>
          </a:prstGeom>
          <a:ln>
            <a:noFill/>
          </a:ln>
        </p:spPr>
        <p:txBody>
          <a:bodyPr vert="horz" wrap="square" lIns="45720" tIns="31173" rIns="45720" bIns="31173" rtlCol="0" anchor="ctr">
            <a:normAutofit fontScale="92500" lnSpcReduction="20000"/>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Online Product Review</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36" name="TextBox 35">
            <a:extLst>
              <a:ext uri="{FF2B5EF4-FFF2-40B4-BE49-F238E27FC236}">
                <a16:creationId xmlns:a16="http://schemas.microsoft.com/office/drawing/2014/main" id="{E205B1FC-F244-424B-9416-0D7328C82496}"/>
              </a:ext>
            </a:extLst>
          </p:cNvPr>
          <p:cNvSpPr txBox="1"/>
          <p:nvPr/>
        </p:nvSpPr>
        <p:spPr>
          <a:xfrm>
            <a:off x="10976547" y="2277210"/>
            <a:ext cx="1277483" cy="430907"/>
          </a:xfrm>
          <a:prstGeom prst="rect">
            <a:avLst/>
          </a:prstGeom>
          <a:ln>
            <a:noFill/>
          </a:ln>
        </p:spPr>
        <p:txBody>
          <a:bodyPr vert="horz" wrap="square" lIns="45720" tIns="31173" rIns="45720" bIns="31173" rtlCol="0" anchor="ct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Loyalty Programs</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37" name="TextBox 36">
            <a:extLst>
              <a:ext uri="{FF2B5EF4-FFF2-40B4-BE49-F238E27FC236}">
                <a16:creationId xmlns:a16="http://schemas.microsoft.com/office/drawing/2014/main" id="{C2CE7B7C-C900-4A1A-B12F-38B6B5C77F4D}"/>
              </a:ext>
            </a:extLst>
          </p:cNvPr>
          <p:cNvSpPr txBox="1"/>
          <p:nvPr/>
        </p:nvSpPr>
        <p:spPr>
          <a:xfrm>
            <a:off x="11454462" y="3015942"/>
            <a:ext cx="726307" cy="430907"/>
          </a:xfrm>
          <a:prstGeom prst="rect">
            <a:avLst/>
          </a:prstGeom>
          <a:ln>
            <a:noFill/>
          </a:ln>
        </p:spPr>
        <p:txBody>
          <a:bodyPr vert="horz" wrap="square" lIns="45720" tIns="31173" rIns="45720" bIns="31173" rtlCol="0" anchor="ct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Loyalty Apps</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38" name="TextBox 37">
            <a:extLst>
              <a:ext uri="{FF2B5EF4-FFF2-40B4-BE49-F238E27FC236}">
                <a16:creationId xmlns:a16="http://schemas.microsoft.com/office/drawing/2014/main" id="{6B8A02C3-567C-4ECA-B819-5F2198D5C294}"/>
              </a:ext>
            </a:extLst>
          </p:cNvPr>
          <p:cNvSpPr txBox="1"/>
          <p:nvPr/>
        </p:nvSpPr>
        <p:spPr>
          <a:xfrm>
            <a:off x="6591134" y="5281161"/>
            <a:ext cx="637840" cy="861403"/>
          </a:xfrm>
          <a:prstGeom prst="rect">
            <a:avLst/>
          </a:prstGeom>
          <a:ln>
            <a:noFill/>
          </a:ln>
        </p:spPr>
        <p:txBody>
          <a:bodyPr vert="horz" wrap="square" lIns="45720" tIns="31173" rIns="45720" bIns="31173" rtlCol="0" anchor="ctr">
            <a:norm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Adaptive Pricing</a:t>
            </a:r>
            <a:endParaRPr kumimoji="0" lang="en-US" sz="105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39" name="TextBox 38">
            <a:extLst>
              <a:ext uri="{FF2B5EF4-FFF2-40B4-BE49-F238E27FC236}">
                <a16:creationId xmlns:a16="http://schemas.microsoft.com/office/drawing/2014/main" id="{5E084E93-6E1D-4DDA-9ADA-4C14F173541C}"/>
              </a:ext>
            </a:extLst>
          </p:cNvPr>
          <p:cNvSpPr txBox="1"/>
          <p:nvPr/>
        </p:nvSpPr>
        <p:spPr>
          <a:xfrm>
            <a:off x="9126372" y="4826199"/>
            <a:ext cx="962412" cy="517018"/>
          </a:xfrm>
          <a:prstGeom prst="rect">
            <a:avLst/>
          </a:prstGeom>
          <a:ln>
            <a:noFill/>
          </a:ln>
        </p:spPr>
        <p:txBody>
          <a:bodyPr vert="horz" wrap="square" lIns="45720" tIns="31173" rIns="45720" bIns="31173" rtlCol="0" anchor="ct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Free Shipping and Returns</a:t>
            </a:r>
            <a:endParaRPr kumimoji="0" lang="en-US" sz="105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cxnSp>
        <p:nvCxnSpPr>
          <p:cNvPr id="40" name="Straight Connector 39">
            <a:extLst>
              <a:ext uri="{FF2B5EF4-FFF2-40B4-BE49-F238E27FC236}">
                <a16:creationId xmlns:a16="http://schemas.microsoft.com/office/drawing/2014/main" id="{8F1B1551-8AB5-45A2-AA3E-3316BA21D780}"/>
              </a:ext>
            </a:extLst>
          </p:cNvPr>
          <p:cNvCxnSpPr>
            <a:endCxn id="47" idx="3"/>
          </p:cNvCxnSpPr>
          <p:nvPr/>
        </p:nvCxnSpPr>
        <p:spPr>
          <a:xfrm flipV="1">
            <a:off x="-30875" y="3229572"/>
            <a:ext cx="1515969" cy="559724"/>
          </a:xfrm>
          <a:prstGeom prst="line">
            <a:avLst/>
          </a:prstGeom>
          <a:noFill/>
          <a:ln w="25400" algn="ctr">
            <a:solidFill>
              <a:schemeClr val="bg1">
                <a:lumMod val="85000"/>
              </a:schemeClr>
            </a:solidFill>
            <a:miter lim="800000"/>
            <a:headEnd/>
            <a:tailEnd/>
          </a:ln>
        </p:spPr>
      </p:cxnSp>
      <p:sp>
        <p:nvSpPr>
          <p:cNvPr id="41" name="TextBox 40">
            <a:extLst>
              <a:ext uri="{FF2B5EF4-FFF2-40B4-BE49-F238E27FC236}">
                <a16:creationId xmlns:a16="http://schemas.microsoft.com/office/drawing/2014/main" id="{33999470-BC9B-42E9-BEED-8AC4C442C440}"/>
              </a:ext>
            </a:extLst>
          </p:cNvPr>
          <p:cNvSpPr txBox="1"/>
          <p:nvPr/>
        </p:nvSpPr>
        <p:spPr>
          <a:xfrm>
            <a:off x="3096284" y="2468352"/>
            <a:ext cx="966411" cy="337606"/>
          </a:xfrm>
          <a:prstGeom prst="rect">
            <a:avLst/>
          </a:prstGeom>
          <a:ln>
            <a:noFill/>
          </a:ln>
        </p:spPr>
        <p:txBody>
          <a:bodyPr vert="horz" wrap="square" lIns="45720" tIns="31173" rIns="45720" bIns="31173" rtlCol="0" anchor="ctr">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Billboards</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42" name="TextBox 41">
            <a:extLst>
              <a:ext uri="{FF2B5EF4-FFF2-40B4-BE49-F238E27FC236}">
                <a16:creationId xmlns:a16="http://schemas.microsoft.com/office/drawing/2014/main" id="{2FC068D0-C84A-4685-BC23-A3B8816BC2B5}"/>
              </a:ext>
            </a:extLst>
          </p:cNvPr>
          <p:cNvSpPr txBox="1"/>
          <p:nvPr/>
        </p:nvSpPr>
        <p:spPr>
          <a:xfrm>
            <a:off x="3018493" y="3022680"/>
            <a:ext cx="966411" cy="337606"/>
          </a:xfrm>
          <a:prstGeom prst="rect">
            <a:avLst/>
          </a:prstGeom>
          <a:ln>
            <a:noFill/>
          </a:ln>
        </p:spPr>
        <p:txBody>
          <a:bodyPr vert="horz" wrap="square" lIns="45720" tIns="31173" rIns="45720" bIns="31173" rtlCol="0" anchor="ctr">
            <a:normAutofit lnSpcReduction="10000"/>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Family &amp; friends</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43" name="TextBox 42">
            <a:extLst>
              <a:ext uri="{FF2B5EF4-FFF2-40B4-BE49-F238E27FC236}">
                <a16:creationId xmlns:a16="http://schemas.microsoft.com/office/drawing/2014/main" id="{584B06FC-EB16-4F8D-8747-506A6FFD9419}"/>
              </a:ext>
            </a:extLst>
          </p:cNvPr>
          <p:cNvSpPr txBox="1"/>
          <p:nvPr/>
        </p:nvSpPr>
        <p:spPr>
          <a:xfrm>
            <a:off x="97712" y="2900470"/>
            <a:ext cx="1043961" cy="402523"/>
          </a:xfrm>
          <a:prstGeom prst="rect">
            <a:avLst/>
          </a:prstGeom>
          <a:ln>
            <a:noFill/>
          </a:ln>
        </p:spPr>
        <p:txBody>
          <a:bodyPr vert="horz" wrap="square" lIns="45720" tIns="31173" rIns="45720" bIns="31173" rtlCol="0" anchor="ct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Social Media</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44" name="TextBox 43">
            <a:extLst>
              <a:ext uri="{FF2B5EF4-FFF2-40B4-BE49-F238E27FC236}">
                <a16:creationId xmlns:a16="http://schemas.microsoft.com/office/drawing/2014/main" id="{BBA902B9-3144-4A5A-861A-582E3509CF3C}"/>
              </a:ext>
            </a:extLst>
          </p:cNvPr>
          <p:cNvSpPr txBox="1"/>
          <p:nvPr/>
        </p:nvSpPr>
        <p:spPr>
          <a:xfrm>
            <a:off x="2893533" y="1903042"/>
            <a:ext cx="897403" cy="402523"/>
          </a:xfrm>
          <a:prstGeom prst="rect">
            <a:avLst/>
          </a:prstGeom>
          <a:ln>
            <a:noFill/>
          </a:ln>
        </p:spPr>
        <p:txBody>
          <a:bodyPr vert="horz" wrap="square" lIns="45720" tIns="31173" rIns="45720" bIns="31173" rtlCol="0" anchor="ct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Pop Culture</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45" name="TextBox 44">
            <a:extLst>
              <a:ext uri="{FF2B5EF4-FFF2-40B4-BE49-F238E27FC236}">
                <a16:creationId xmlns:a16="http://schemas.microsoft.com/office/drawing/2014/main" id="{20386986-3655-41AC-B494-31AAA879A358}"/>
              </a:ext>
            </a:extLst>
          </p:cNvPr>
          <p:cNvSpPr txBox="1"/>
          <p:nvPr/>
        </p:nvSpPr>
        <p:spPr>
          <a:xfrm>
            <a:off x="134994" y="1985623"/>
            <a:ext cx="871095" cy="402523"/>
          </a:xfrm>
          <a:prstGeom prst="rect">
            <a:avLst/>
          </a:prstGeom>
          <a:ln>
            <a:noFill/>
          </a:ln>
        </p:spPr>
        <p:txBody>
          <a:bodyPr vert="horz" wrap="square" lIns="45720" tIns="31173" rIns="45720" bIns="31173" rtlCol="0" anchor="ctr">
            <a:norm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Shoe Blogs</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46" name="TextBox 45">
            <a:extLst>
              <a:ext uri="{FF2B5EF4-FFF2-40B4-BE49-F238E27FC236}">
                <a16:creationId xmlns:a16="http://schemas.microsoft.com/office/drawing/2014/main" id="{42B22A1F-0018-4871-A9DE-7BDD5D02DCEC}"/>
              </a:ext>
            </a:extLst>
          </p:cNvPr>
          <p:cNvSpPr txBox="1"/>
          <p:nvPr/>
        </p:nvSpPr>
        <p:spPr>
          <a:xfrm>
            <a:off x="2378001" y="1478897"/>
            <a:ext cx="962412" cy="562229"/>
          </a:xfrm>
          <a:prstGeom prst="rect">
            <a:avLst/>
          </a:prstGeom>
          <a:ln>
            <a:noFill/>
          </a:ln>
        </p:spPr>
        <p:txBody>
          <a:bodyPr vert="horz" wrap="square" lIns="45720" tIns="31173" rIns="45720" bIns="31173" rtlCol="0" anchor="ct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Crowdsourced Offerings</a:t>
            </a:r>
            <a:endParaRPr kumimoji="0" lang="en-US" sz="105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47" name="Oval 46">
            <a:extLst>
              <a:ext uri="{FF2B5EF4-FFF2-40B4-BE49-F238E27FC236}">
                <a16:creationId xmlns:a16="http://schemas.microsoft.com/office/drawing/2014/main" id="{831176C9-6739-41A9-8B82-7AC5321184F7}"/>
              </a:ext>
            </a:extLst>
          </p:cNvPr>
          <p:cNvSpPr>
            <a:spLocks noChangeAspect="1"/>
          </p:cNvSpPr>
          <p:nvPr/>
        </p:nvSpPr>
        <p:spPr bwMode="gray">
          <a:xfrm>
            <a:off x="1285964" y="2068958"/>
            <a:ext cx="1359744" cy="1359744"/>
          </a:xfrm>
          <a:prstGeom prst="ellipse">
            <a:avLst/>
          </a:prstGeom>
          <a:solidFill>
            <a:schemeClr val="bg1"/>
          </a:solidFill>
          <a:ln w="38100" algn="ctr">
            <a:solidFill>
              <a:schemeClr val="bg1">
                <a:lumMod val="85000"/>
              </a:schemeClr>
            </a:solidFill>
            <a:miter lim="800000"/>
            <a:headEnd/>
            <a:tailEnd/>
          </a:ln>
        </p:spPr>
        <p:txBody>
          <a:bodyPr wrap="none" lIns="0" tIns="0" rIns="0" bIns="0" rtlCol="0" anchor="t">
            <a:no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050" b="0" i="0" u="none" strike="noStrike" kern="0" cap="none" spc="-10" normalizeH="0" baseline="0" noProof="0" dirty="0">
              <a:ln>
                <a:noFill/>
              </a:ln>
              <a:solidFill>
                <a:srgbClr val="5C5C5C"/>
              </a:solidFill>
              <a:effectLst/>
              <a:uLnTx/>
              <a:uFillTx/>
              <a:latin typeface="Open Sans" charset="0"/>
              <a:ea typeface="Open Sans" charset="0"/>
              <a:cs typeface="Open Sans" charset="0"/>
            </a:endParaRPr>
          </a:p>
        </p:txBody>
      </p:sp>
      <p:sp>
        <p:nvSpPr>
          <p:cNvPr id="48" name="TextBox 47">
            <a:extLst>
              <a:ext uri="{FF2B5EF4-FFF2-40B4-BE49-F238E27FC236}">
                <a16:creationId xmlns:a16="http://schemas.microsoft.com/office/drawing/2014/main" id="{06EEABAD-E973-4549-8FCD-4D58AC8C15DE}"/>
              </a:ext>
            </a:extLst>
          </p:cNvPr>
          <p:cNvSpPr txBox="1"/>
          <p:nvPr/>
        </p:nvSpPr>
        <p:spPr>
          <a:xfrm>
            <a:off x="1358825" y="2717099"/>
            <a:ext cx="1236395" cy="400464"/>
          </a:xfrm>
          <a:prstGeom prst="rect">
            <a:avLst/>
          </a:prstGeom>
          <a:noFill/>
        </p:spPr>
        <p:txBody>
          <a:bodyPr vert="horz" wrap="square" lIns="0" tIns="0" rIns="0" bIns="0" rtlCol="0">
            <a:noAutofit/>
          </a:bodyPr>
          <a:lstStyle>
            <a:defPPr>
              <a:defRPr lang="en-US"/>
            </a:defPPr>
            <a:lvl1pPr marR="0" lvl="0" indent="0" algn="ctr" defTabSz="1219170" fontAlgn="auto">
              <a:lnSpc>
                <a:spcPct val="100000"/>
              </a:lnSpc>
              <a:spcBef>
                <a:spcPts val="200"/>
              </a:spcBef>
              <a:spcAft>
                <a:spcPts val="0"/>
              </a:spcAft>
              <a:buClrTx/>
              <a:buSzPct val="100000"/>
              <a:buFontTx/>
              <a:buNone/>
              <a:tabLst/>
              <a:defRPr kumimoji="0" sz="1000" b="1" i="0" u="none" strike="noStrike" kern="0" cap="none" spc="0" normalizeH="0" baseline="0">
                <a:ln>
                  <a:noFill/>
                </a:ln>
                <a:effectLst/>
                <a:uLnTx/>
                <a:uFillTx/>
                <a:latin typeface="Open Sans" charset="0"/>
                <a:ea typeface="Open Sans" charset="0"/>
                <a:cs typeface="Open Sans" charset="0"/>
              </a:defRPr>
            </a:lvl1pPr>
          </a:lstStyle>
          <a:p>
            <a:pPr marL="0" marR="0" lvl="0" indent="0" algn="ctr" defTabSz="1219170" rtl="0" eaLnBrk="1" fontAlgn="auto" latinLnBrk="0" hangingPunct="1">
              <a:lnSpc>
                <a:spcPct val="100000"/>
              </a:lnSpc>
              <a:spcBef>
                <a:spcPts val="200"/>
              </a:spcBef>
              <a:spcAft>
                <a:spcPts val="0"/>
              </a:spcAft>
              <a:buClrTx/>
              <a:buSzPct val="100000"/>
              <a:buFontTx/>
              <a:buNone/>
              <a:tabLst/>
              <a:defRPr/>
            </a:pPr>
            <a:r>
              <a:rPr kumimoji="0" lang="en-US" sz="1400" b="1" i="0" u="none" strike="noStrike" kern="0" cap="none" spc="0" normalizeH="0" baseline="0" noProof="0" dirty="0">
                <a:ln>
                  <a:noFill/>
                </a:ln>
                <a:solidFill>
                  <a:srgbClr val="000000"/>
                </a:solidFill>
                <a:effectLst/>
                <a:uLnTx/>
                <a:uFillTx/>
                <a:latin typeface="Open Sans" charset="0"/>
                <a:ea typeface="Open Sans" charset="0"/>
                <a:cs typeface="Open Sans" charset="0"/>
              </a:rPr>
              <a:t>Find Inspiration</a:t>
            </a:r>
          </a:p>
        </p:txBody>
      </p:sp>
      <p:grpSp>
        <p:nvGrpSpPr>
          <p:cNvPr id="49" name="Group 48">
            <a:extLst>
              <a:ext uri="{FF2B5EF4-FFF2-40B4-BE49-F238E27FC236}">
                <a16:creationId xmlns:a16="http://schemas.microsoft.com/office/drawing/2014/main" id="{7F38BB0B-35EB-482B-900A-8E23140066DE}"/>
              </a:ext>
            </a:extLst>
          </p:cNvPr>
          <p:cNvGrpSpPr>
            <a:grpSpLocks noChangeAspect="1"/>
          </p:cNvGrpSpPr>
          <p:nvPr/>
        </p:nvGrpSpPr>
        <p:grpSpPr>
          <a:xfrm>
            <a:off x="1790869" y="2272057"/>
            <a:ext cx="389211" cy="381766"/>
            <a:chOff x="2447851" y="4310214"/>
            <a:chExt cx="257164" cy="252262"/>
          </a:xfrm>
        </p:grpSpPr>
        <p:sp>
          <p:nvSpPr>
            <p:cNvPr id="50" name="Freeform 161">
              <a:extLst>
                <a:ext uri="{FF2B5EF4-FFF2-40B4-BE49-F238E27FC236}">
                  <a16:creationId xmlns:a16="http://schemas.microsoft.com/office/drawing/2014/main" id="{23790E2B-146C-481C-9F09-1EF7504074DD}"/>
                </a:ext>
              </a:extLst>
            </p:cNvPr>
            <p:cNvSpPr>
              <a:spLocks/>
            </p:cNvSpPr>
            <p:nvPr/>
          </p:nvSpPr>
          <p:spPr bwMode="auto">
            <a:xfrm>
              <a:off x="2447851" y="4430864"/>
              <a:ext cx="33338" cy="14288"/>
            </a:xfrm>
            <a:custGeom>
              <a:avLst/>
              <a:gdLst>
                <a:gd name="T0" fmla="*/ 32 w 42"/>
                <a:gd name="T1" fmla="*/ 0 h 19"/>
                <a:gd name="T2" fmla="*/ 9 w 42"/>
                <a:gd name="T3" fmla="*/ 0 h 19"/>
                <a:gd name="T4" fmla="*/ 9 w 42"/>
                <a:gd name="T5" fmla="*/ 0 h 19"/>
                <a:gd name="T6" fmla="*/ 7 w 42"/>
                <a:gd name="T7" fmla="*/ 0 h 19"/>
                <a:gd name="T8" fmla="*/ 3 w 42"/>
                <a:gd name="T9" fmla="*/ 3 h 19"/>
                <a:gd name="T10" fmla="*/ 1 w 42"/>
                <a:gd name="T11" fmla="*/ 6 h 19"/>
                <a:gd name="T12" fmla="*/ 0 w 42"/>
                <a:gd name="T13" fmla="*/ 10 h 19"/>
                <a:gd name="T14" fmla="*/ 0 w 42"/>
                <a:gd name="T15" fmla="*/ 10 h 19"/>
                <a:gd name="T16" fmla="*/ 1 w 42"/>
                <a:gd name="T17" fmla="*/ 12 h 19"/>
                <a:gd name="T18" fmla="*/ 3 w 42"/>
                <a:gd name="T19" fmla="*/ 16 h 19"/>
                <a:gd name="T20" fmla="*/ 7 w 42"/>
                <a:gd name="T21" fmla="*/ 18 h 19"/>
                <a:gd name="T22" fmla="*/ 9 w 42"/>
                <a:gd name="T23" fmla="*/ 19 h 19"/>
                <a:gd name="T24" fmla="*/ 32 w 42"/>
                <a:gd name="T25" fmla="*/ 19 h 19"/>
                <a:gd name="T26" fmla="*/ 32 w 42"/>
                <a:gd name="T27" fmla="*/ 19 h 19"/>
                <a:gd name="T28" fmla="*/ 35 w 42"/>
                <a:gd name="T29" fmla="*/ 18 h 19"/>
                <a:gd name="T30" fmla="*/ 39 w 42"/>
                <a:gd name="T31" fmla="*/ 16 h 19"/>
                <a:gd name="T32" fmla="*/ 40 w 42"/>
                <a:gd name="T33" fmla="*/ 12 h 19"/>
                <a:gd name="T34" fmla="*/ 42 w 42"/>
                <a:gd name="T35" fmla="*/ 10 h 19"/>
                <a:gd name="T36" fmla="*/ 42 w 42"/>
                <a:gd name="T37" fmla="*/ 10 h 19"/>
                <a:gd name="T38" fmla="*/ 40 w 42"/>
                <a:gd name="T39" fmla="*/ 6 h 19"/>
                <a:gd name="T40" fmla="*/ 39 w 42"/>
                <a:gd name="T41" fmla="*/ 3 h 19"/>
                <a:gd name="T42" fmla="*/ 35 w 42"/>
                <a:gd name="T43" fmla="*/ 0 h 19"/>
                <a:gd name="T44" fmla="*/ 32 w 42"/>
                <a:gd name="T45" fmla="*/ 0 h 19"/>
                <a:gd name="T46" fmla="*/ 32 w 42"/>
                <a:gd name="T4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19">
                  <a:moveTo>
                    <a:pt x="32" y="0"/>
                  </a:moveTo>
                  <a:lnTo>
                    <a:pt x="9" y="0"/>
                  </a:lnTo>
                  <a:lnTo>
                    <a:pt x="9" y="0"/>
                  </a:lnTo>
                  <a:lnTo>
                    <a:pt x="7" y="0"/>
                  </a:lnTo>
                  <a:lnTo>
                    <a:pt x="3" y="3"/>
                  </a:lnTo>
                  <a:lnTo>
                    <a:pt x="1" y="6"/>
                  </a:lnTo>
                  <a:lnTo>
                    <a:pt x="0" y="10"/>
                  </a:lnTo>
                  <a:lnTo>
                    <a:pt x="0" y="10"/>
                  </a:lnTo>
                  <a:lnTo>
                    <a:pt x="1" y="12"/>
                  </a:lnTo>
                  <a:lnTo>
                    <a:pt x="3" y="16"/>
                  </a:lnTo>
                  <a:lnTo>
                    <a:pt x="7" y="18"/>
                  </a:lnTo>
                  <a:lnTo>
                    <a:pt x="9" y="19"/>
                  </a:lnTo>
                  <a:lnTo>
                    <a:pt x="32" y="19"/>
                  </a:lnTo>
                  <a:lnTo>
                    <a:pt x="32" y="19"/>
                  </a:lnTo>
                  <a:lnTo>
                    <a:pt x="35" y="18"/>
                  </a:lnTo>
                  <a:lnTo>
                    <a:pt x="39" y="16"/>
                  </a:lnTo>
                  <a:lnTo>
                    <a:pt x="40" y="12"/>
                  </a:lnTo>
                  <a:lnTo>
                    <a:pt x="42" y="10"/>
                  </a:lnTo>
                  <a:lnTo>
                    <a:pt x="42" y="10"/>
                  </a:lnTo>
                  <a:lnTo>
                    <a:pt x="40" y="6"/>
                  </a:lnTo>
                  <a:lnTo>
                    <a:pt x="39" y="3"/>
                  </a:lnTo>
                  <a:lnTo>
                    <a:pt x="35" y="0"/>
                  </a:lnTo>
                  <a:lnTo>
                    <a:pt x="32" y="0"/>
                  </a:lnTo>
                  <a:lnTo>
                    <a:pt x="3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1" name="Freeform 162">
              <a:extLst>
                <a:ext uri="{FF2B5EF4-FFF2-40B4-BE49-F238E27FC236}">
                  <a16:creationId xmlns:a16="http://schemas.microsoft.com/office/drawing/2014/main" id="{C2051300-A3FF-4E14-8678-041A6F3EE697}"/>
                </a:ext>
              </a:extLst>
            </p:cNvPr>
            <p:cNvSpPr>
              <a:spLocks/>
            </p:cNvSpPr>
            <p:nvPr/>
          </p:nvSpPr>
          <p:spPr bwMode="auto">
            <a:xfrm>
              <a:off x="2484363" y="4345135"/>
              <a:ext cx="26988" cy="26989"/>
            </a:xfrm>
            <a:custGeom>
              <a:avLst/>
              <a:gdLst>
                <a:gd name="T0" fmla="*/ 32 w 35"/>
                <a:gd name="T1" fmla="*/ 31 h 33"/>
                <a:gd name="T2" fmla="*/ 32 w 35"/>
                <a:gd name="T3" fmla="*/ 31 h 33"/>
                <a:gd name="T4" fmla="*/ 34 w 35"/>
                <a:gd name="T5" fmla="*/ 28 h 33"/>
                <a:gd name="T6" fmla="*/ 35 w 35"/>
                <a:gd name="T7" fmla="*/ 24 h 33"/>
                <a:gd name="T8" fmla="*/ 35 w 35"/>
                <a:gd name="T9" fmla="*/ 24 h 33"/>
                <a:gd name="T10" fmla="*/ 34 w 35"/>
                <a:gd name="T11" fmla="*/ 20 h 33"/>
                <a:gd name="T12" fmla="*/ 32 w 35"/>
                <a:gd name="T13" fmla="*/ 17 h 33"/>
                <a:gd name="T14" fmla="*/ 16 w 35"/>
                <a:gd name="T15" fmla="*/ 3 h 33"/>
                <a:gd name="T16" fmla="*/ 16 w 35"/>
                <a:gd name="T17" fmla="*/ 3 h 33"/>
                <a:gd name="T18" fmla="*/ 14 w 35"/>
                <a:gd name="T19" fmla="*/ 0 h 33"/>
                <a:gd name="T20" fmla="*/ 11 w 35"/>
                <a:gd name="T21" fmla="*/ 0 h 33"/>
                <a:gd name="T22" fmla="*/ 7 w 35"/>
                <a:gd name="T23" fmla="*/ 0 h 33"/>
                <a:gd name="T24" fmla="*/ 4 w 35"/>
                <a:gd name="T25" fmla="*/ 3 h 33"/>
                <a:gd name="T26" fmla="*/ 4 w 35"/>
                <a:gd name="T27" fmla="*/ 3 h 33"/>
                <a:gd name="T28" fmla="*/ 2 w 35"/>
                <a:gd name="T29" fmla="*/ 5 h 33"/>
                <a:gd name="T30" fmla="*/ 0 w 35"/>
                <a:gd name="T31" fmla="*/ 9 h 33"/>
                <a:gd name="T32" fmla="*/ 2 w 35"/>
                <a:gd name="T33" fmla="*/ 12 h 33"/>
                <a:gd name="T34" fmla="*/ 4 w 35"/>
                <a:gd name="T35" fmla="*/ 16 h 33"/>
                <a:gd name="T36" fmla="*/ 19 w 35"/>
                <a:gd name="T37" fmla="*/ 31 h 33"/>
                <a:gd name="T38" fmla="*/ 19 w 35"/>
                <a:gd name="T39" fmla="*/ 31 h 33"/>
                <a:gd name="T40" fmla="*/ 19 w 35"/>
                <a:gd name="T41" fmla="*/ 31 h 33"/>
                <a:gd name="T42" fmla="*/ 22 w 35"/>
                <a:gd name="T43" fmla="*/ 33 h 33"/>
                <a:gd name="T44" fmla="*/ 26 w 35"/>
                <a:gd name="T45" fmla="*/ 33 h 33"/>
                <a:gd name="T46" fmla="*/ 26 w 35"/>
                <a:gd name="T47" fmla="*/ 33 h 33"/>
                <a:gd name="T48" fmla="*/ 30 w 35"/>
                <a:gd name="T49" fmla="*/ 33 h 33"/>
                <a:gd name="T50" fmla="*/ 32 w 35"/>
                <a:gd name="T51" fmla="*/ 31 h 33"/>
                <a:gd name="T52" fmla="*/ 32 w 35"/>
                <a:gd name="T53"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5" h="33">
                  <a:moveTo>
                    <a:pt x="32" y="31"/>
                  </a:moveTo>
                  <a:lnTo>
                    <a:pt x="32" y="31"/>
                  </a:lnTo>
                  <a:lnTo>
                    <a:pt x="34" y="28"/>
                  </a:lnTo>
                  <a:lnTo>
                    <a:pt x="35" y="24"/>
                  </a:lnTo>
                  <a:lnTo>
                    <a:pt x="35" y="24"/>
                  </a:lnTo>
                  <a:lnTo>
                    <a:pt x="34" y="20"/>
                  </a:lnTo>
                  <a:lnTo>
                    <a:pt x="32" y="17"/>
                  </a:lnTo>
                  <a:lnTo>
                    <a:pt x="16" y="3"/>
                  </a:lnTo>
                  <a:lnTo>
                    <a:pt x="16" y="3"/>
                  </a:lnTo>
                  <a:lnTo>
                    <a:pt x="14" y="0"/>
                  </a:lnTo>
                  <a:lnTo>
                    <a:pt x="11" y="0"/>
                  </a:lnTo>
                  <a:lnTo>
                    <a:pt x="7" y="0"/>
                  </a:lnTo>
                  <a:lnTo>
                    <a:pt x="4" y="3"/>
                  </a:lnTo>
                  <a:lnTo>
                    <a:pt x="4" y="3"/>
                  </a:lnTo>
                  <a:lnTo>
                    <a:pt x="2" y="5"/>
                  </a:lnTo>
                  <a:lnTo>
                    <a:pt x="0" y="9"/>
                  </a:lnTo>
                  <a:lnTo>
                    <a:pt x="2" y="12"/>
                  </a:lnTo>
                  <a:lnTo>
                    <a:pt x="4" y="16"/>
                  </a:lnTo>
                  <a:lnTo>
                    <a:pt x="19" y="31"/>
                  </a:lnTo>
                  <a:lnTo>
                    <a:pt x="19" y="31"/>
                  </a:lnTo>
                  <a:lnTo>
                    <a:pt x="19" y="31"/>
                  </a:lnTo>
                  <a:lnTo>
                    <a:pt x="22" y="33"/>
                  </a:lnTo>
                  <a:lnTo>
                    <a:pt x="26" y="33"/>
                  </a:lnTo>
                  <a:lnTo>
                    <a:pt x="26" y="33"/>
                  </a:lnTo>
                  <a:lnTo>
                    <a:pt x="30" y="33"/>
                  </a:lnTo>
                  <a:lnTo>
                    <a:pt x="32" y="31"/>
                  </a:lnTo>
                  <a:lnTo>
                    <a:pt x="32"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2" name="Freeform 163">
              <a:extLst>
                <a:ext uri="{FF2B5EF4-FFF2-40B4-BE49-F238E27FC236}">
                  <a16:creationId xmlns:a16="http://schemas.microsoft.com/office/drawing/2014/main" id="{2AE78AAF-1F10-48FE-8FA7-22C3DABA7BF7}"/>
                </a:ext>
              </a:extLst>
            </p:cNvPr>
            <p:cNvSpPr>
              <a:spLocks/>
            </p:cNvSpPr>
            <p:nvPr/>
          </p:nvSpPr>
          <p:spPr bwMode="auto">
            <a:xfrm>
              <a:off x="2568498" y="4310214"/>
              <a:ext cx="15874" cy="31752"/>
            </a:xfrm>
            <a:custGeom>
              <a:avLst/>
              <a:gdLst>
                <a:gd name="T0" fmla="*/ 9 w 18"/>
                <a:gd name="T1" fmla="*/ 40 h 40"/>
                <a:gd name="T2" fmla="*/ 9 w 18"/>
                <a:gd name="T3" fmla="*/ 40 h 40"/>
                <a:gd name="T4" fmla="*/ 13 w 18"/>
                <a:gd name="T5" fmla="*/ 38 h 40"/>
                <a:gd name="T6" fmla="*/ 16 w 18"/>
                <a:gd name="T7" fmla="*/ 37 h 40"/>
                <a:gd name="T8" fmla="*/ 18 w 18"/>
                <a:gd name="T9" fmla="*/ 34 h 40"/>
                <a:gd name="T10" fmla="*/ 18 w 18"/>
                <a:gd name="T11" fmla="*/ 30 h 40"/>
                <a:gd name="T12" fmla="*/ 18 w 18"/>
                <a:gd name="T13" fmla="*/ 9 h 40"/>
                <a:gd name="T14" fmla="*/ 18 w 18"/>
                <a:gd name="T15" fmla="*/ 9 h 40"/>
                <a:gd name="T16" fmla="*/ 18 w 18"/>
                <a:gd name="T17" fmla="*/ 5 h 40"/>
                <a:gd name="T18" fmla="*/ 16 w 18"/>
                <a:gd name="T19" fmla="*/ 2 h 40"/>
                <a:gd name="T20" fmla="*/ 13 w 18"/>
                <a:gd name="T21" fmla="*/ 0 h 40"/>
                <a:gd name="T22" fmla="*/ 9 w 18"/>
                <a:gd name="T23" fmla="*/ 0 h 40"/>
                <a:gd name="T24" fmla="*/ 9 w 18"/>
                <a:gd name="T25" fmla="*/ 0 h 40"/>
                <a:gd name="T26" fmla="*/ 6 w 18"/>
                <a:gd name="T27" fmla="*/ 0 h 40"/>
                <a:gd name="T28" fmla="*/ 2 w 18"/>
                <a:gd name="T29" fmla="*/ 2 h 40"/>
                <a:gd name="T30" fmla="*/ 1 w 18"/>
                <a:gd name="T31" fmla="*/ 5 h 40"/>
                <a:gd name="T32" fmla="*/ 0 w 18"/>
                <a:gd name="T33" fmla="*/ 9 h 40"/>
                <a:gd name="T34" fmla="*/ 0 w 18"/>
                <a:gd name="T35" fmla="*/ 30 h 40"/>
                <a:gd name="T36" fmla="*/ 0 w 18"/>
                <a:gd name="T37" fmla="*/ 30 h 40"/>
                <a:gd name="T38" fmla="*/ 1 w 18"/>
                <a:gd name="T39" fmla="*/ 34 h 40"/>
                <a:gd name="T40" fmla="*/ 2 w 18"/>
                <a:gd name="T41" fmla="*/ 37 h 40"/>
                <a:gd name="T42" fmla="*/ 6 w 18"/>
                <a:gd name="T43" fmla="*/ 38 h 40"/>
                <a:gd name="T44" fmla="*/ 9 w 18"/>
                <a:gd name="T45" fmla="*/ 40 h 40"/>
                <a:gd name="T46" fmla="*/ 9 w 18"/>
                <a:gd name="T4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 h="40">
                  <a:moveTo>
                    <a:pt x="9" y="40"/>
                  </a:moveTo>
                  <a:lnTo>
                    <a:pt x="9" y="40"/>
                  </a:lnTo>
                  <a:lnTo>
                    <a:pt x="13" y="38"/>
                  </a:lnTo>
                  <a:lnTo>
                    <a:pt x="16" y="37"/>
                  </a:lnTo>
                  <a:lnTo>
                    <a:pt x="18" y="34"/>
                  </a:lnTo>
                  <a:lnTo>
                    <a:pt x="18" y="30"/>
                  </a:lnTo>
                  <a:lnTo>
                    <a:pt x="18" y="9"/>
                  </a:lnTo>
                  <a:lnTo>
                    <a:pt x="18" y="9"/>
                  </a:lnTo>
                  <a:lnTo>
                    <a:pt x="18" y="5"/>
                  </a:lnTo>
                  <a:lnTo>
                    <a:pt x="16" y="2"/>
                  </a:lnTo>
                  <a:lnTo>
                    <a:pt x="13" y="0"/>
                  </a:lnTo>
                  <a:lnTo>
                    <a:pt x="9" y="0"/>
                  </a:lnTo>
                  <a:lnTo>
                    <a:pt x="9" y="0"/>
                  </a:lnTo>
                  <a:lnTo>
                    <a:pt x="6" y="0"/>
                  </a:lnTo>
                  <a:lnTo>
                    <a:pt x="2" y="2"/>
                  </a:lnTo>
                  <a:lnTo>
                    <a:pt x="1" y="5"/>
                  </a:lnTo>
                  <a:lnTo>
                    <a:pt x="0" y="9"/>
                  </a:lnTo>
                  <a:lnTo>
                    <a:pt x="0" y="30"/>
                  </a:lnTo>
                  <a:lnTo>
                    <a:pt x="0" y="30"/>
                  </a:lnTo>
                  <a:lnTo>
                    <a:pt x="1" y="34"/>
                  </a:lnTo>
                  <a:lnTo>
                    <a:pt x="2" y="37"/>
                  </a:lnTo>
                  <a:lnTo>
                    <a:pt x="6" y="38"/>
                  </a:lnTo>
                  <a:lnTo>
                    <a:pt x="9" y="40"/>
                  </a:lnTo>
                  <a:lnTo>
                    <a:pt x="9"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3" name="Freeform 164">
              <a:extLst>
                <a:ext uri="{FF2B5EF4-FFF2-40B4-BE49-F238E27FC236}">
                  <a16:creationId xmlns:a16="http://schemas.microsoft.com/office/drawing/2014/main" id="{7DEA3D87-72D0-43CA-A9FF-C51A5DAC32BD}"/>
                </a:ext>
              </a:extLst>
            </p:cNvPr>
            <p:cNvSpPr>
              <a:spLocks/>
            </p:cNvSpPr>
            <p:nvPr/>
          </p:nvSpPr>
          <p:spPr bwMode="auto">
            <a:xfrm>
              <a:off x="2643108" y="4345134"/>
              <a:ext cx="25400" cy="26989"/>
            </a:xfrm>
            <a:custGeom>
              <a:avLst/>
              <a:gdLst>
                <a:gd name="T0" fmla="*/ 18 w 34"/>
                <a:gd name="T1" fmla="*/ 3 h 33"/>
                <a:gd name="T2" fmla="*/ 3 w 34"/>
                <a:gd name="T3" fmla="*/ 17 h 33"/>
                <a:gd name="T4" fmla="*/ 3 w 34"/>
                <a:gd name="T5" fmla="*/ 17 h 33"/>
                <a:gd name="T6" fmla="*/ 0 w 34"/>
                <a:gd name="T7" fmla="*/ 20 h 33"/>
                <a:gd name="T8" fmla="*/ 0 w 34"/>
                <a:gd name="T9" fmla="*/ 24 h 33"/>
                <a:gd name="T10" fmla="*/ 0 w 34"/>
                <a:gd name="T11" fmla="*/ 24 h 33"/>
                <a:gd name="T12" fmla="*/ 0 w 34"/>
                <a:gd name="T13" fmla="*/ 28 h 33"/>
                <a:gd name="T14" fmla="*/ 3 w 34"/>
                <a:gd name="T15" fmla="*/ 31 h 33"/>
                <a:gd name="T16" fmla="*/ 3 w 34"/>
                <a:gd name="T17" fmla="*/ 31 h 33"/>
                <a:gd name="T18" fmla="*/ 6 w 34"/>
                <a:gd name="T19" fmla="*/ 33 h 33"/>
                <a:gd name="T20" fmla="*/ 10 w 34"/>
                <a:gd name="T21" fmla="*/ 33 h 33"/>
                <a:gd name="T22" fmla="*/ 10 w 34"/>
                <a:gd name="T23" fmla="*/ 33 h 33"/>
                <a:gd name="T24" fmla="*/ 12 w 34"/>
                <a:gd name="T25" fmla="*/ 33 h 33"/>
                <a:gd name="T26" fmla="*/ 16 w 34"/>
                <a:gd name="T27" fmla="*/ 31 h 33"/>
                <a:gd name="T28" fmla="*/ 31 w 34"/>
                <a:gd name="T29" fmla="*/ 16 h 33"/>
                <a:gd name="T30" fmla="*/ 31 w 34"/>
                <a:gd name="T31" fmla="*/ 16 h 33"/>
                <a:gd name="T32" fmla="*/ 34 w 34"/>
                <a:gd name="T33" fmla="*/ 12 h 33"/>
                <a:gd name="T34" fmla="*/ 34 w 34"/>
                <a:gd name="T35" fmla="*/ 9 h 33"/>
                <a:gd name="T36" fmla="*/ 34 w 34"/>
                <a:gd name="T37" fmla="*/ 5 h 33"/>
                <a:gd name="T38" fmla="*/ 31 w 34"/>
                <a:gd name="T39" fmla="*/ 3 h 33"/>
                <a:gd name="T40" fmla="*/ 31 w 34"/>
                <a:gd name="T41" fmla="*/ 3 h 33"/>
                <a:gd name="T42" fmla="*/ 29 w 34"/>
                <a:gd name="T43" fmla="*/ 0 h 33"/>
                <a:gd name="T44" fmla="*/ 25 w 34"/>
                <a:gd name="T45" fmla="*/ 0 h 33"/>
                <a:gd name="T46" fmla="*/ 22 w 34"/>
                <a:gd name="T47" fmla="*/ 0 h 33"/>
                <a:gd name="T48" fmla="*/ 18 w 34"/>
                <a:gd name="T49" fmla="*/ 3 h 33"/>
                <a:gd name="T50" fmla="*/ 18 w 34"/>
                <a:gd name="T51" fmla="*/ 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4" h="33">
                  <a:moveTo>
                    <a:pt x="18" y="3"/>
                  </a:moveTo>
                  <a:lnTo>
                    <a:pt x="3" y="17"/>
                  </a:lnTo>
                  <a:lnTo>
                    <a:pt x="3" y="17"/>
                  </a:lnTo>
                  <a:lnTo>
                    <a:pt x="0" y="20"/>
                  </a:lnTo>
                  <a:lnTo>
                    <a:pt x="0" y="24"/>
                  </a:lnTo>
                  <a:lnTo>
                    <a:pt x="0" y="24"/>
                  </a:lnTo>
                  <a:lnTo>
                    <a:pt x="0" y="28"/>
                  </a:lnTo>
                  <a:lnTo>
                    <a:pt x="3" y="31"/>
                  </a:lnTo>
                  <a:lnTo>
                    <a:pt x="3" y="31"/>
                  </a:lnTo>
                  <a:lnTo>
                    <a:pt x="6" y="33"/>
                  </a:lnTo>
                  <a:lnTo>
                    <a:pt x="10" y="33"/>
                  </a:lnTo>
                  <a:lnTo>
                    <a:pt x="10" y="33"/>
                  </a:lnTo>
                  <a:lnTo>
                    <a:pt x="12" y="33"/>
                  </a:lnTo>
                  <a:lnTo>
                    <a:pt x="16" y="31"/>
                  </a:lnTo>
                  <a:lnTo>
                    <a:pt x="31" y="16"/>
                  </a:lnTo>
                  <a:lnTo>
                    <a:pt x="31" y="16"/>
                  </a:lnTo>
                  <a:lnTo>
                    <a:pt x="34" y="12"/>
                  </a:lnTo>
                  <a:lnTo>
                    <a:pt x="34" y="9"/>
                  </a:lnTo>
                  <a:lnTo>
                    <a:pt x="34" y="5"/>
                  </a:lnTo>
                  <a:lnTo>
                    <a:pt x="31" y="3"/>
                  </a:lnTo>
                  <a:lnTo>
                    <a:pt x="31" y="3"/>
                  </a:lnTo>
                  <a:lnTo>
                    <a:pt x="29" y="0"/>
                  </a:lnTo>
                  <a:lnTo>
                    <a:pt x="25" y="0"/>
                  </a:lnTo>
                  <a:lnTo>
                    <a:pt x="22" y="0"/>
                  </a:lnTo>
                  <a:lnTo>
                    <a:pt x="18" y="3"/>
                  </a:lnTo>
                  <a:lnTo>
                    <a:pt x="18"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4" name="Freeform 165">
              <a:extLst>
                <a:ext uri="{FF2B5EF4-FFF2-40B4-BE49-F238E27FC236}">
                  <a16:creationId xmlns:a16="http://schemas.microsoft.com/office/drawing/2014/main" id="{27C9669C-60FD-48E0-A50E-EE3884256C57}"/>
                </a:ext>
              </a:extLst>
            </p:cNvPr>
            <p:cNvSpPr>
              <a:spLocks/>
            </p:cNvSpPr>
            <p:nvPr/>
          </p:nvSpPr>
          <p:spPr bwMode="auto">
            <a:xfrm>
              <a:off x="2671677" y="4430863"/>
              <a:ext cx="33338" cy="14288"/>
            </a:xfrm>
            <a:custGeom>
              <a:avLst/>
              <a:gdLst>
                <a:gd name="T0" fmla="*/ 31 w 40"/>
                <a:gd name="T1" fmla="*/ 0 h 19"/>
                <a:gd name="T2" fmla="*/ 9 w 40"/>
                <a:gd name="T3" fmla="*/ 0 h 19"/>
                <a:gd name="T4" fmla="*/ 9 w 40"/>
                <a:gd name="T5" fmla="*/ 0 h 19"/>
                <a:gd name="T6" fmla="*/ 5 w 40"/>
                <a:gd name="T7" fmla="*/ 0 h 19"/>
                <a:gd name="T8" fmla="*/ 3 w 40"/>
                <a:gd name="T9" fmla="*/ 3 h 19"/>
                <a:gd name="T10" fmla="*/ 1 w 40"/>
                <a:gd name="T11" fmla="*/ 6 h 19"/>
                <a:gd name="T12" fmla="*/ 0 w 40"/>
                <a:gd name="T13" fmla="*/ 10 h 19"/>
                <a:gd name="T14" fmla="*/ 0 w 40"/>
                <a:gd name="T15" fmla="*/ 10 h 19"/>
                <a:gd name="T16" fmla="*/ 1 w 40"/>
                <a:gd name="T17" fmla="*/ 12 h 19"/>
                <a:gd name="T18" fmla="*/ 3 w 40"/>
                <a:gd name="T19" fmla="*/ 16 h 19"/>
                <a:gd name="T20" fmla="*/ 5 w 40"/>
                <a:gd name="T21" fmla="*/ 18 h 19"/>
                <a:gd name="T22" fmla="*/ 9 w 40"/>
                <a:gd name="T23" fmla="*/ 19 h 19"/>
                <a:gd name="T24" fmla="*/ 31 w 40"/>
                <a:gd name="T25" fmla="*/ 19 h 19"/>
                <a:gd name="T26" fmla="*/ 31 w 40"/>
                <a:gd name="T27" fmla="*/ 19 h 19"/>
                <a:gd name="T28" fmla="*/ 35 w 40"/>
                <a:gd name="T29" fmla="*/ 18 h 19"/>
                <a:gd name="T30" fmla="*/ 38 w 40"/>
                <a:gd name="T31" fmla="*/ 16 h 19"/>
                <a:gd name="T32" fmla="*/ 40 w 40"/>
                <a:gd name="T33" fmla="*/ 12 h 19"/>
                <a:gd name="T34" fmla="*/ 40 w 40"/>
                <a:gd name="T35" fmla="*/ 10 h 19"/>
                <a:gd name="T36" fmla="*/ 40 w 40"/>
                <a:gd name="T37" fmla="*/ 10 h 19"/>
                <a:gd name="T38" fmla="*/ 40 w 40"/>
                <a:gd name="T39" fmla="*/ 6 h 19"/>
                <a:gd name="T40" fmla="*/ 38 w 40"/>
                <a:gd name="T41" fmla="*/ 3 h 19"/>
                <a:gd name="T42" fmla="*/ 35 w 40"/>
                <a:gd name="T43" fmla="*/ 0 h 19"/>
                <a:gd name="T44" fmla="*/ 31 w 40"/>
                <a:gd name="T45" fmla="*/ 0 h 19"/>
                <a:gd name="T46" fmla="*/ 31 w 40"/>
                <a:gd name="T4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19">
                  <a:moveTo>
                    <a:pt x="31" y="0"/>
                  </a:moveTo>
                  <a:lnTo>
                    <a:pt x="9" y="0"/>
                  </a:lnTo>
                  <a:lnTo>
                    <a:pt x="9" y="0"/>
                  </a:lnTo>
                  <a:lnTo>
                    <a:pt x="5" y="0"/>
                  </a:lnTo>
                  <a:lnTo>
                    <a:pt x="3" y="3"/>
                  </a:lnTo>
                  <a:lnTo>
                    <a:pt x="1" y="6"/>
                  </a:lnTo>
                  <a:lnTo>
                    <a:pt x="0" y="10"/>
                  </a:lnTo>
                  <a:lnTo>
                    <a:pt x="0" y="10"/>
                  </a:lnTo>
                  <a:lnTo>
                    <a:pt x="1" y="12"/>
                  </a:lnTo>
                  <a:lnTo>
                    <a:pt x="3" y="16"/>
                  </a:lnTo>
                  <a:lnTo>
                    <a:pt x="5" y="18"/>
                  </a:lnTo>
                  <a:lnTo>
                    <a:pt x="9" y="19"/>
                  </a:lnTo>
                  <a:lnTo>
                    <a:pt x="31" y="19"/>
                  </a:lnTo>
                  <a:lnTo>
                    <a:pt x="31" y="19"/>
                  </a:lnTo>
                  <a:lnTo>
                    <a:pt x="35" y="18"/>
                  </a:lnTo>
                  <a:lnTo>
                    <a:pt x="38" y="16"/>
                  </a:lnTo>
                  <a:lnTo>
                    <a:pt x="40" y="12"/>
                  </a:lnTo>
                  <a:lnTo>
                    <a:pt x="40" y="10"/>
                  </a:lnTo>
                  <a:lnTo>
                    <a:pt x="40" y="10"/>
                  </a:lnTo>
                  <a:lnTo>
                    <a:pt x="40" y="6"/>
                  </a:lnTo>
                  <a:lnTo>
                    <a:pt x="38" y="3"/>
                  </a:lnTo>
                  <a:lnTo>
                    <a:pt x="35" y="0"/>
                  </a:lnTo>
                  <a:lnTo>
                    <a:pt x="31" y="0"/>
                  </a:ln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5" name="Freeform 166">
              <a:extLst>
                <a:ext uri="{FF2B5EF4-FFF2-40B4-BE49-F238E27FC236}">
                  <a16:creationId xmlns:a16="http://schemas.microsoft.com/office/drawing/2014/main" id="{7FE24550-F4DC-426C-ADD0-6DAA9B15E94B}"/>
                </a:ext>
              </a:extLst>
            </p:cNvPr>
            <p:cNvSpPr>
              <a:spLocks/>
            </p:cNvSpPr>
            <p:nvPr/>
          </p:nvSpPr>
          <p:spPr bwMode="auto">
            <a:xfrm>
              <a:off x="2503415" y="4364186"/>
              <a:ext cx="146045" cy="153994"/>
            </a:xfrm>
            <a:custGeom>
              <a:avLst/>
              <a:gdLst>
                <a:gd name="T0" fmla="*/ 91 w 184"/>
                <a:gd name="T1" fmla="*/ 0 h 195"/>
                <a:gd name="T2" fmla="*/ 74 w 184"/>
                <a:gd name="T3" fmla="*/ 1 h 195"/>
                <a:gd name="T4" fmla="*/ 56 w 184"/>
                <a:gd name="T5" fmla="*/ 7 h 195"/>
                <a:gd name="T6" fmla="*/ 40 w 184"/>
                <a:gd name="T7" fmla="*/ 16 h 195"/>
                <a:gd name="T8" fmla="*/ 27 w 184"/>
                <a:gd name="T9" fmla="*/ 27 h 195"/>
                <a:gd name="T10" fmla="*/ 16 w 184"/>
                <a:gd name="T11" fmla="*/ 40 h 195"/>
                <a:gd name="T12" fmla="*/ 6 w 184"/>
                <a:gd name="T13" fmla="*/ 56 h 195"/>
                <a:gd name="T14" fmla="*/ 1 w 184"/>
                <a:gd name="T15" fmla="*/ 74 h 195"/>
                <a:gd name="T16" fmla="*/ 0 w 184"/>
                <a:gd name="T17" fmla="*/ 93 h 195"/>
                <a:gd name="T18" fmla="*/ 1 w 184"/>
                <a:gd name="T19" fmla="*/ 106 h 195"/>
                <a:gd name="T20" fmla="*/ 8 w 184"/>
                <a:gd name="T21" fmla="*/ 130 h 195"/>
                <a:gd name="T22" fmla="*/ 23 w 184"/>
                <a:gd name="T23" fmla="*/ 152 h 195"/>
                <a:gd name="T24" fmla="*/ 41 w 184"/>
                <a:gd name="T25" fmla="*/ 169 h 195"/>
                <a:gd name="T26" fmla="*/ 53 w 184"/>
                <a:gd name="T27" fmla="*/ 189 h 195"/>
                <a:gd name="T28" fmla="*/ 53 w 184"/>
                <a:gd name="T29" fmla="*/ 192 h 195"/>
                <a:gd name="T30" fmla="*/ 57 w 184"/>
                <a:gd name="T31" fmla="*/ 195 h 195"/>
                <a:gd name="T32" fmla="*/ 125 w 184"/>
                <a:gd name="T33" fmla="*/ 195 h 195"/>
                <a:gd name="T34" fmla="*/ 126 w 184"/>
                <a:gd name="T35" fmla="*/ 195 h 195"/>
                <a:gd name="T36" fmla="*/ 129 w 184"/>
                <a:gd name="T37" fmla="*/ 192 h 195"/>
                <a:gd name="T38" fmla="*/ 130 w 184"/>
                <a:gd name="T39" fmla="*/ 176 h 195"/>
                <a:gd name="T40" fmla="*/ 141 w 184"/>
                <a:gd name="T41" fmla="*/ 169 h 195"/>
                <a:gd name="T42" fmla="*/ 161 w 184"/>
                <a:gd name="T43" fmla="*/ 152 h 195"/>
                <a:gd name="T44" fmla="*/ 176 w 184"/>
                <a:gd name="T45" fmla="*/ 130 h 195"/>
                <a:gd name="T46" fmla="*/ 182 w 184"/>
                <a:gd name="T47" fmla="*/ 106 h 195"/>
                <a:gd name="T48" fmla="*/ 184 w 184"/>
                <a:gd name="T49" fmla="*/ 93 h 195"/>
                <a:gd name="T50" fmla="*/ 181 w 184"/>
                <a:gd name="T51" fmla="*/ 74 h 195"/>
                <a:gd name="T52" fmla="*/ 176 w 184"/>
                <a:gd name="T53" fmla="*/ 56 h 195"/>
                <a:gd name="T54" fmla="*/ 168 w 184"/>
                <a:gd name="T55" fmla="*/ 40 h 195"/>
                <a:gd name="T56" fmla="*/ 157 w 184"/>
                <a:gd name="T57" fmla="*/ 27 h 195"/>
                <a:gd name="T58" fmla="*/ 143 w 184"/>
                <a:gd name="T59" fmla="*/ 16 h 195"/>
                <a:gd name="T60" fmla="*/ 127 w 184"/>
                <a:gd name="T61" fmla="*/ 7 h 195"/>
                <a:gd name="T62" fmla="*/ 110 w 184"/>
                <a:gd name="T63" fmla="*/ 1 h 195"/>
                <a:gd name="T64" fmla="*/ 91 w 184"/>
                <a:gd name="T65"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4" h="195">
                  <a:moveTo>
                    <a:pt x="91" y="0"/>
                  </a:moveTo>
                  <a:lnTo>
                    <a:pt x="91" y="0"/>
                  </a:lnTo>
                  <a:lnTo>
                    <a:pt x="82" y="0"/>
                  </a:lnTo>
                  <a:lnTo>
                    <a:pt x="74" y="1"/>
                  </a:lnTo>
                  <a:lnTo>
                    <a:pt x="64" y="4"/>
                  </a:lnTo>
                  <a:lnTo>
                    <a:pt x="56" y="7"/>
                  </a:lnTo>
                  <a:lnTo>
                    <a:pt x="48" y="11"/>
                  </a:lnTo>
                  <a:lnTo>
                    <a:pt x="40" y="16"/>
                  </a:lnTo>
                  <a:lnTo>
                    <a:pt x="33" y="22"/>
                  </a:lnTo>
                  <a:lnTo>
                    <a:pt x="27" y="27"/>
                  </a:lnTo>
                  <a:lnTo>
                    <a:pt x="20" y="34"/>
                  </a:lnTo>
                  <a:lnTo>
                    <a:pt x="16" y="40"/>
                  </a:lnTo>
                  <a:lnTo>
                    <a:pt x="10" y="48"/>
                  </a:lnTo>
                  <a:lnTo>
                    <a:pt x="6" y="56"/>
                  </a:lnTo>
                  <a:lnTo>
                    <a:pt x="4" y="65"/>
                  </a:lnTo>
                  <a:lnTo>
                    <a:pt x="1" y="74"/>
                  </a:lnTo>
                  <a:lnTo>
                    <a:pt x="0" y="83"/>
                  </a:lnTo>
                  <a:lnTo>
                    <a:pt x="0" y="93"/>
                  </a:lnTo>
                  <a:lnTo>
                    <a:pt x="0" y="93"/>
                  </a:lnTo>
                  <a:lnTo>
                    <a:pt x="1" y="106"/>
                  </a:lnTo>
                  <a:lnTo>
                    <a:pt x="4" y="118"/>
                  </a:lnTo>
                  <a:lnTo>
                    <a:pt x="8" y="130"/>
                  </a:lnTo>
                  <a:lnTo>
                    <a:pt x="15" y="142"/>
                  </a:lnTo>
                  <a:lnTo>
                    <a:pt x="23" y="152"/>
                  </a:lnTo>
                  <a:lnTo>
                    <a:pt x="31" y="161"/>
                  </a:lnTo>
                  <a:lnTo>
                    <a:pt x="41" y="169"/>
                  </a:lnTo>
                  <a:lnTo>
                    <a:pt x="53" y="176"/>
                  </a:lnTo>
                  <a:lnTo>
                    <a:pt x="53" y="189"/>
                  </a:lnTo>
                  <a:lnTo>
                    <a:pt x="53" y="189"/>
                  </a:lnTo>
                  <a:lnTo>
                    <a:pt x="53" y="192"/>
                  </a:lnTo>
                  <a:lnTo>
                    <a:pt x="55" y="193"/>
                  </a:lnTo>
                  <a:lnTo>
                    <a:pt x="57" y="195"/>
                  </a:lnTo>
                  <a:lnTo>
                    <a:pt x="59" y="195"/>
                  </a:lnTo>
                  <a:lnTo>
                    <a:pt x="125" y="195"/>
                  </a:lnTo>
                  <a:lnTo>
                    <a:pt x="125" y="195"/>
                  </a:lnTo>
                  <a:lnTo>
                    <a:pt x="126" y="195"/>
                  </a:lnTo>
                  <a:lnTo>
                    <a:pt x="127" y="193"/>
                  </a:lnTo>
                  <a:lnTo>
                    <a:pt x="129" y="192"/>
                  </a:lnTo>
                  <a:lnTo>
                    <a:pt x="130" y="189"/>
                  </a:lnTo>
                  <a:lnTo>
                    <a:pt x="130" y="176"/>
                  </a:lnTo>
                  <a:lnTo>
                    <a:pt x="130" y="176"/>
                  </a:lnTo>
                  <a:lnTo>
                    <a:pt x="141" y="169"/>
                  </a:lnTo>
                  <a:lnTo>
                    <a:pt x="152" y="161"/>
                  </a:lnTo>
                  <a:lnTo>
                    <a:pt x="161" y="152"/>
                  </a:lnTo>
                  <a:lnTo>
                    <a:pt x="169" y="142"/>
                  </a:lnTo>
                  <a:lnTo>
                    <a:pt x="176" y="130"/>
                  </a:lnTo>
                  <a:lnTo>
                    <a:pt x="180" y="118"/>
                  </a:lnTo>
                  <a:lnTo>
                    <a:pt x="182" y="106"/>
                  </a:lnTo>
                  <a:lnTo>
                    <a:pt x="184" y="93"/>
                  </a:lnTo>
                  <a:lnTo>
                    <a:pt x="184" y="93"/>
                  </a:lnTo>
                  <a:lnTo>
                    <a:pt x="184" y="83"/>
                  </a:lnTo>
                  <a:lnTo>
                    <a:pt x="181" y="74"/>
                  </a:lnTo>
                  <a:lnTo>
                    <a:pt x="180" y="65"/>
                  </a:lnTo>
                  <a:lnTo>
                    <a:pt x="176" y="56"/>
                  </a:lnTo>
                  <a:lnTo>
                    <a:pt x="173" y="48"/>
                  </a:lnTo>
                  <a:lnTo>
                    <a:pt x="168" y="40"/>
                  </a:lnTo>
                  <a:lnTo>
                    <a:pt x="162" y="34"/>
                  </a:lnTo>
                  <a:lnTo>
                    <a:pt x="157" y="27"/>
                  </a:lnTo>
                  <a:lnTo>
                    <a:pt x="150" y="22"/>
                  </a:lnTo>
                  <a:lnTo>
                    <a:pt x="143" y="16"/>
                  </a:lnTo>
                  <a:lnTo>
                    <a:pt x="135" y="11"/>
                  </a:lnTo>
                  <a:lnTo>
                    <a:pt x="127" y="7"/>
                  </a:lnTo>
                  <a:lnTo>
                    <a:pt x="119" y="4"/>
                  </a:lnTo>
                  <a:lnTo>
                    <a:pt x="110" y="1"/>
                  </a:lnTo>
                  <a:lnTo>
                    <a:pt x="100" y="0"/>
                  </a:lnTo>
                  <a:lnTo>
                    <a:pt x="91" y="0"/>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6" name="Freeform 167">
              <a:extLst>
                <a:ext uri="{FF2B5EF4-FFF2-40B4-BE49-F238E27FC236}">
                  <a16:creationId xmlns:a16="http://schemas.microsoft.com/office/drawing/2014/main" id="{CD05E430-CA97-448F-B05B-5E12F55C755F}"/>
                </a:ext>
              </a:extLst>
            </p:cNvPr>
            <p:cNvSpPr>
              <a:spLocks/>
            </p:cNvSpPr>
            <p:nvPr/>
          </p:nvSpPr>
          <p:spPr bwMode="auto">
            <a:xfrm>
              <a:off x="2546297" y="4534089"/>
              <a:ext cx="61912" cy="9525"/>
            </a:xfrm>
            <a:custGeom>
              <a:avLst/>
              <a:gdLst>
                <a:gd name="T0" fmla="*/ 72 w 77"/>
                <a:gd name="T1" fmla="*/ 0 h 11"/>
                <a:gd name="T2" fmla="*/ 6 w 77"/>
                <a:gd name="T3" fmla="*/ 0 h 11"/>
                <a:gd name="T4" fmla="*/ 6 w 77"/>
                <a:gd name="T5" fmla="*/ 0 h 11"/>
                <a:gd name="T6" fmla="*/ 4 w 77"/>
                <a:gd name="T7" fmla="*/ 0 h 11"/>
                <a:gd name="T8" fmla="*/ 2 w 77"/>
                <a:gd name="T9" fmla="*/ 1 h 11"/>
                <a:gd name="T10" fmla="*/ 0 w 77"/>
                <a:gd name="T11" fmla="*/ 3 h 11"/>
                <a:gd name="T12" fmla="*/ 0 w 77"/>
                <a:gd name="T13" fmla="*/ 5 h 11"/>
                <a:gd name="T14" fmla="*/ 0 w 77"/>
                <a:gd name="T15" fmla="*/ 5 h 11"/>
                <a:gd name="T16" fmla="*/ 0 w 77"/>
                <a:gd name="T17" fmla="*/ 7 h 11"/>
                <a:gd name="T18" fmla="*/ 2 w 77"/>
                <a:gd name="T19" fmla="*/ 9 h 11"/>
                <a:gd name="T20" fmla="*/ 4 w 77"/>
                <a:gd name="T21" fmla="*/ 11 h 11"/>
                <a:gd name="T22" fmla="*/ 6 w 77"/>
                <a:gd name="T23" fmla="*/ 11 h 11"/>
                <a:gd name="T24" fmla="*/ 72 w 77"/>
                <a:gd name="T25" fmla="*/ 11 h 11"/>
                <a:gd name="T26" fmla="*/ 72 w 77"/>
                <a:gd name="T27" fmla="*/ 11 h 11"/>
                <a:gd name="T28" fmla="*/ 73 w 77"/>
                <a:gd name="T29" fmla="*/ 11 h 11"/>
                <a:gd name="T30" fmla="*/ 74 w 77"/>
                <a:gd name="T31" fmla="*/ 9 h 11"/>
                <a:gd name="T32" fmla="*/ 76 w 77"/>
                <a:gd name="T33" fmla="*/ 7 h 11"/>
                <a:gd name="T34" fmla="*/ 77 w 77"/>
                <a:gd name="T35" fmla="*/ 5 h 11"/>
                <a:gd name="T36" fmla="*/ 77 w 77"/>
                <a:gd name="T37" fmla="*/ 5 h 11"/>
                <a:gd name="T38" fmla="*/ 76 w 77"/>
                <a:gd name="T39" fmla="*/ 3 h 11"/>
                <a:gd name="T40" fmla="*/ 74 w 77"/>
                <a:gd name="T41" fmla="*/ 1 h 11"/>
                <a:gd name="T42" fmla="*/ 73 w 77"/>
                <a:gd name="T43" fmla="*/ 0 h 11"/>
                <a:gd name="T44" fmla="*/ 72 w 77"/>
                <a:gd name="T45" fmla="*/ 0 h 11"/>
                <a:gd name="T46" fmla="*/ 72 w 77"/>
                <a:gd name="T4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7" h="11">
                  <a:moveTo>
                    <a:pt x="72" y="0"/>
                  </a:moveTo>
                  <a:lnTo>
                    <a:pt x="6" y="0"/>
                  </a:lnTo>
                  <a:lnTo>
                    <a:pt x="6" y="0"/>
                  </a:lnTo>
                  <a:lnTo>
                    <a:pt x="4" y="0"/>
                  </a:lnTo>
                  <a:lnTo>
                    <a:pt x="2" y="1"/>
                  </a:lnTo>
                  <a:lnTo>
                    <a:pt x="0" y="3"/>
                  </a:lnTo>
                  <a:lnTo>
                    <a:pt x="0" y="5"/>
                  </a:lnTo>
                  <a:lnTo>
                    <a:pt x="0" y="5"/>
                  </a:lnTo>
                  <a:lnTo>
                    <a:pt x="0" y="7"/>
                  </a:lnTo>
                  <a:lnTo>
                    <a:pt x="2" y="9"/>
                  </a:lnTo>
                  <a:lnTo>
                    <a:pt x="4" y="11"/>
                  </a:lnTo>
                  <a:lnTo>
                    <a:pt x="6" y="11"/>
                  </a:lnTo>
                  <a:lnTo>
                    <a:pt x="72" y="11"/>
                  </a:lnTo>
                  <a:lnTo>
                    <a:pt x="72" y="11"/>
                  </a:lnTo>
                  <a:lnTo>
                    <a:pt x="73" y="11"/>
                  </a:lnTo>
                  <a:lnTo>
                    <a:pt x="74" y="9"/>
                  </a:lnTo>
                  <a:lnTo>
                    <a:pt x="76" y="7"/>
                  </a:lnTo>
                  <a:lnTo>
                    <a:pt x="77" y="5"/>
                  </a:lnTo>
                  <a:lnTo>
                    <a:pt x="77" y="5"/>
                  </a:lnTo>
                  <a:lnTo>
                    <a:pt x="76" y="3"/>
                  </a:lnTo>
                  <a:lnTo>
                    <a:pt x="74" y="1"/>
                  </a:lnTo>
                  <a:lnTo>
                    <a:pt x="73" y="0"/>
                  </a:lnTo>
                  <a:lnTo>
                    <a:pt x="72" y="0"/>
                  </a:lnTo>
                  <a:lnTo>
                    <a:pt x="7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7" name="Freeform 168">
              <a:extLst>
                <a:ext uri="{FF2B5EF4-FFF2-40B4-BE49-F238E27FC236}">
                  <a16:creationId xmlns:a16="http://schemas.microsoft.com/office/drawing/2014/main" id="{E73A32D3-9471-4327-AAD8-ADD81A195AB8}"/>
                </a:ext>
              </a:extLst>
            </p:cNvPr>
            <p:cNvSpPr>
              <a:spLocks/>
            </p:cNvSpPr>
            <p:nvPr/>
          </p:nvSpPr>
          <p:spPr bwMode="auto">
            <a:xfrm>
              <a:off x="2563813" y="4554538"/>
              <a:ext cx="25400" cy="7938"/>
            </a:xfrm>
            <a:custGeom>
              <a:avLst/>
              <a:gdLst>
                <a:gd name="T0" fmla="*/ 27 w 32"/>
                <a:gd name="T1" fmla="*/ 0 h 11"/>
                <a:gd name="T2" fmla="*/ 5 w 32"/>
                <a:gd name="T3" fmla="*/ 0 h 11"/>
                <a:gd name="T4" fmla="*/ 5 w 32"/>
                <a:gd name="T5" fmla="*/ 0 h 11"/>
                <a:gd name="T6" fmla="*/ 4 w 32"/>
                <a:gd name="T7" fmla="*/ 1 h 11"/>
                <a:gd name="T8" fmla="*/ 1 w 32"/>
                <a:gd name="T9" fmla="*/ 3 h 11"/>
                <a:gd name="T10" fmla="*/ 1 w 32"/>
                <a:gd name="T11" fmla="*/ 4 h 11"/>
                <a:gd name="T12" fmla="*/ 0 w 32"/>
                <a:gd name="T13" fmla="*/ 6 h 11"/>
                <a:gd name="T14" fmla="*/ 0 w 32"/>
                <a:gd name="T15" fmla="*/ 6 h 11"/>
                <a:gd name="T16" fmla="*/ 1 w 32"/>
                <a:gd name="T17" fmla="*/ 8 h 11"/>
                <a:gd name="T18" fmla="*/ 1 w 32"/>
                <a:gd name="T19" fmla="*/ 10 h 11"/>
                <a:gd name="T20" fmla="*/ 4 w 32"/>
                <a:gd name="T21" fmla="*/ 11 h 11"/>
                <a:gd name="T22" fmla="*/ 5 w 32"/>
                <a:gd name="T23" fmla="*/ 11 h 11"/>
                <a:gd name="T24" fmla="*/ 27 w 32"/>
                <a:gd name="T25" fmla="*/ 11 h 11"/>
                <a:gd name="T26" fmla="*/ 27 w 32"/>
                <a:gd name="T27" fmla="*/ 11 h 11"/>
                <a:gd name="T28" fmla="*/ 29 w 32"/>
                <a:gd name="T29" fmla="*/ 11 h 11"/>
                <a:gd name="T30" fmla="*/ 31 w 32"/>
                <a:gd name="T31" fmla="*/ 10 h 11"/>
                <a:gd name="T32" fmla="*/ 32 w 32"/>
                <a:gd name="T33" fmla="*/ 8 h 11"/>
                <a:gd name="T34" fmla="*/ 32 w 32"/>
                <a:gd name="T35" fmla="*/ 6 h 11"/>
                <a:gd name="T36" fmla="*/ 32 w 32"/>
                <a:gd name="T37" fmla="*/ 6 h 11"/>
                <a:gd name="T38" fmla="*/ 32 w 32"/>
                <a:gd name="T39" fmla="*/ 4 h 11"/>
                <a:gd name="T40" fmla="*/ 31 w 32"/>
                <a:gd name="T41" fmla="*/ 3 h 11"/>
                <a:gd name="T42" fmla="*/ 29 w 32"/>
                <a:gd name="T43" fmla="*/ 1 h 11"/>
                <a:gd name="T44" fmla="*/ 27 w 32"/>
                <a:gd name="T45" fmla="*/ 0 h 11"/>
                <a:gd name="T46" fmla="*/ 27 w 32"/>
                <a:gd name="T4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11">
                  <a:moveTo>
                    <a:pt x="27" y="0"/>
                  </a:moveTo>
                  <a:lnTo>
                    <a:pt x="5" y="0"/>
                  </a:lnTo>
                  <a:lnTo>
                    <a:pt x="5" y="0"/>
                  </a:lnTo>
                  <a:lnTo>
                    <a:pt x="4" y="1"/>
                  </a:lnTo>
                  <a:lnTo>
                    <a:pt x="1" y="3"/>
                  </a:lnTo>
                  <a:lnTo>
                    <a:pt x="1" y="4"/>
                  </a:lnTo>
                  <a:lnTo>
                    <a:pt x="0" y="6"/>
                  </a:lnTo>
                  <a:lnTo>
                    <a:pt x="0" y="6"/>
                  </a:lnTo>
                  <a:lnTo>
                    <a:pt x="1" y="8"/>
                  </a:lnTo>
                  <a:lnTo>
                    <a:pt x="1" y="10"/>
                  </a:lnTo>
                  <a:lnTo>
                    <a:pt x="4" y="11"/>
                  </a:lnTo>
                  <a:lnTo>
                    <a:pt x="5" y="11"/>
                  </a:lnTo>
                  <a:lnTo>
                    <a:pt x="27" y="11"/>
                  </a:lnTo>
                  <a:lnTo>
                    <a:pt x="27" y="11"/>
                  </a:lnTo>
                  <a:lnTo>
                    <a:pt x="29" y="11"/>
                  </a:lnTo>
                  <a:lnTo>
                    <a:pt x="31" y="10"/>
                  </a:lnTo>
                  <a:lnTo>
                    <a:pt x="32" y="8"/>
                  </a:lnTo>
                  <a:lnTo>
                    <a:pt x="32" y="6"/>
                  </a:lnTo>
                  <a:lnTo>
                    <a:pt x="32" y="6"/>
                  </a:lnTo>
                  <a:lnTo>
                    <a:pt x="32" y="4"/>
                  </a:lnTo>
                  <a:lnTo>
                    <a:pt x="31" y="3"/>
                  </a:lnTo>
                  <a:lnTo>
                    <a:pt x="29" y="1"/>
                  </a:lnTo>
                  <a:lnTo>
                    <a:pt x="27" y="0"/>
                  </a:lnTo>
                  <a:lnTo>
                    <a:pt x="2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58" name="Group 57">
            <a:extLst>
              <a:ext uri="{FF2B5EF4-FFF2-40B4-BE49-F238E27FC236}">
                <a16:creationId xmlns:a16="http://schemas.microsoft.com/office/drawing/2014/main" id="{C98D22D8-05FC-4825-A1B1-8F0831B2484E}"/>
              </a:ext>
            </a:extLst>
          </p:cNvPr>
          <p:cNvGrpSpPr/>
          <p:nvPr/>
        </p:nvGrpSpPr>
        <p:grpSpPr>
          <a:xfrm>
            <a:off x="9687867" y="2543207"/>
            <a:ext cx="1359744" cy="1359744"/>
            <a:chOff x="9951722" y="2754842"/>
            <a:chExt cx="1097280" cy="1097280"/>
          </a:xfrm>
        </p:grpSpPr>
        <p:sp>
          <p:nvSpPr>
            <p:cNvPr id="59" name="Oval 58">
              <a:extLst>
                <a:ext uri="{FF2B5EF4-FFF2-40B4-BE49-F238E27FC236}">
                  <a16:creationId xmlns:a16="http://schemas.microsoft.com/office/drawing/2014/main" id="{716D12A4-DA77-4494-AE14-5B59CB7783AE}"/>
                </a:ext>
              </a:extLst>
            </p:cNvPr>
            <p:cNvSpPr>
              <a:spLocks noChangeAspect="1"/>
            </p:cNvSpPr>
            <p:nvPr/>
          </p:nvSpPr>
          <p:spPr bwMode="gray">
            <a:xfrm>
              <a:off x="9951722" y="2754842"/>
              <a:ext cx="1097280" cy="1097280"/>
            </a:xfrm>
            <a:prstGeom prst="ellipse">
              <a:avLst/>
            </a:prstGeom>
            <a:solidFill>
              <a:schemeClr val="bg1"/>
            </a:solidFill>
            <a:ln w="38100" algn="ctr">
              <a:solidFill>
                <a:schemeClr val="bg1">
                  <a:lumMod val="85000"/>
                </a:schemeClr>
              </a:solidFill>
              <a:miter lim="800000"/>
              <a:headEnd/>
              <a:tailEnd/>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050" b="0" i="0" u="none" strike="noStrike" kern="0" cap="none" spc="-10" normalizeH="0" baseline="0" noProof="0" dirty="0">
                <a:ln>
                  <a:noFill/>
                </a:ln>
                <a:solidFill>
                  <a:srgbClr val="3F3F3F"/>
                </a:solidFill>
                <a:effectLst/>
                <a:uLnTx/>
                <a:uFillTx/>
                <a:latin typeface="Open Sans" charset="0"/>
                <a:ea typeface="Open Sans" charset="0"/>
                <a:cs typeface="Open Sans" charset="0"/>
              </a:endParaRPr>
            </a:p>
          </p:txBody>
        </p:sp>
        <p:sp>
          <p:nvSpPr>
            <p:cNvPr id="60" name="TextBox 59">
              <a:extLst>
                <a:ext uri="{FF2B5EF4-FFF2-40B4-BE49-F238E27FC236}">
                  <a16:creationId xmlns:a16="http://schemas.microsoft.com/office/drawing/2014/main" id="{FF2D9375-8B2B-48B2-8E1F-12C98C1E581B}"/>
                </a:ext>
              </a:extLst>
            </p:cNvPr>
            <p:cNvSpPr txBox="1"/>
            <p:nvPr/>
          </p:nvSpPr>
          <p:spPr>
            <a:xfrm>
              <a:off x="10082429" y="3300640"/>
              <a:ext cx="860724" cy="378460"/>
            </a:xfrm>
            <a:prstGeom prst="rect">
              <a:avLst/>
            </a:prstGeom>
            <a:noFill/>
          </p:spPr>
          <p:txBody>
            <a:bodyPr vert="horz" wrap="square" lIns="0" tIns="0" rIns="0" bIns="0" rtlCol="0">
              <a:noAutofit/>
            </a:bodyPr>
            <a:lstStyle/>
            <a:p>
              <a:pPr marL="0" marR="0" lvl="0" indent="0" algn="ctr" defTabSz="1219170" rtl="0" eaLnBrk="1" fontAlgn="auto" latinLnBrk="0" hangingPunct="1">
                <a:lnSpc>
                  <a:spcPct val="100000"/>
                </a:lnSpc>
                <a:spcBef>
                  <a:spcPts val="200"/>
                </a:spcBef>
                <a:spcAft>
                  <a:spcPts val="0"/>
                </a:spcAft>
                <a:buClrTx/>
                <a:buSzPct val="100000"/>
                <a:buFontTx/>
                <a:buNone/>
                <a:tabLst/>
                <a:defRPr/>
              </a:pPr>
              <a:r>
                <a:rPr kumimoji="0" lang="en-US" sz="1400" b="1" i="0" u="none" strike="noStrike" kern="0" cap="none" spc="0" normalizeH="0" baseline="0" noProof="0" dirty="0">
                  <a:ln>
                    <a:noFill/>
                  </a:ln>
                  <a:solidFill>
                    <a:srgbClr val="000000"/>
                  </a:solidFill>
                  <a:effectLst/>
                  <a:uLnTx/>
                  <a:uFillTx/>
                  <a:latin typeface="Open Sans" charset="0"/>
                  <a:ea typeface="Open Sans" charset="0"/>
                  <a:cs typeface="Open Sans" charset="0"/>
                </a:rPr>
                <a:t>Share &amp; Engage</a:t>
              </a:r>
            </a:p>
          </p:txBody>
        </p:sp>
        <p:sp>
          <p:nvSpPr>
            <p:cNvPr id="61" name="Freeform 111">
              <a:extLst>
                <a:ext uri="{FF2B5EF4-FFF2-40B4-BE49-F238E27FC236}">
                  <a16:creationId xmlns:a16="http://schemas.microsoft.com/office/drawing/2014/main" id="{837C79D9-972D-4714-8A54-6FBAF2A30348}"/>
                </a:ext>
              </a:extLst>
            </p:cNvPr>
            <p:cNvSpPr>
              <a:spLocks/>
            </p:cNvSpPr>
            <p:nvPr/>
          </p:nvSpPr>
          <p:spPr bwMode="auto">
            <a:xfrm>
              <a:off x="10392553" y="3047790"/>
              <a:ext cx="209792" cy="208580"/>
            </a:xfrm>
            <a:custGeom>
              <a:avLst/>
              <a:gdLst>
                <a:gd name="T0" fmla="*/ 333 w 345"/>
                <a:gd name="T1" fmla="*/ 20 h 342"/>
                <a:gd name="T2" fmla="*/ 326 w 345"/>
                <a:gd name="T3" fmla="*/ 25 h 342"/>
                <a:gd name="T4" fmla="*/ 318 w 345"/>
                <a:gd name="T5" fmla="*/ 82 h 342"/>
                <a:gd name="T6" fmla="*/ 295 w 345"/>
                <a:gd name="T7" fmla="*/ 52 h 342"/>
                <a:gd name="T8" fmla="*/ 268 w 345"/>
                <a:gd name="T9" fmla="*/ 29 h 342"/>
                <a:gd name="T10" fmla="*/ 247 w 345"/>
                <a:gd name="T11" fmla="*/ 16 h 342"/>
                <a:gd name="T12" fmla="*/ 198 w 345"/>
                <a:gd name="T13" fmla="*/ 1 h 342"/>
                <a:gd name="T14" fmla="*/ 149 w 345"/>
                <a:gd name="T15" fmla="*/ 1 h 342"/>
                <a:gd name="T16" fmla="*/ 115 w 345"/>
                <a:gd name="T17" fmla="*/ 9 h 342"/>
                <a:gd name="T18" fmla="*/ 71 w 345"/>
                <a:gd name="T19" fmla="*/ 32 h 342"/>
                <a:gd name="T20" fmla="*/ 35 w 345"/>
                <a:gd name="T21" fmla="*/ 67 h 342"/>
                <a:gd name="T22" fmla="*/ 17 w 345"/>
                <a:gd name="T23" fmla="*/ 96 h 342"/>
                <a:gd name="T24" fmla="*/ 2 w 345"/>
                <a:gd name="T25" fmla="*/ 145 h 342"/>
                <a:gd name="T26" fmla="*/ 2 w 345"/>
                <a:gd name="T27" fmla="*/ 194 h 342"/>
                <a:gd name="T28" fmla="*/ 16 w 345"/>
                <a:gd name="T29" fmla="*/ 243 h 342"/>
                <a:gd name="T30" fmla="*/ 43 w 345"/>
                <a:gd name="T31" fmla="*/ 285 h 342"/>
                <a:gd name="T32" fmla="*/ 82 w 345"/>
                <a:gd name="T33" fmla="*/ 317 h 342"/>
                <a:gd name="T34" fmla="*/ 115 w 345"/>
                <a:gd name="T35" fmla="*/ 333 h 342"/>
                <a:gd name="T36" fmla="*/ 172 w 345"/>
                <a:gd name="T37" fmla="*/ 342 h 342"/>
                <a:gd name="T38" fmla="*/ 196 w 345"/>
                <a:gd name="T39" fmla="*/ 341 h 342"/>
                <a:gd name="T40" fmla="*/ 231 w 345"/>
                <a:gd name="T41" fmla="*/ 332 h 342"/>
                <a:gd name="T42" fmla="*/ 263 w 345"/>
                <a:gd name="T43" fmla="*/ 317 h 342"/>
                <a:gd name="T44" fmla="*/ 291 w 345"/>
                <a:gd name="T45" fmla="*/ 294 h 342"/>
                <a:gd name="T46" fmla="*/ 314 w 345"/>
                <a:gd name="T47" fmla="*/ 267 h 342"/>
                <a:gd name="T48" fmla="*/ 326 w 345"/>
                <a:gd name="T49" fmla="*/ 246 h 342"/>
                <a:gd name="T50" fmla="*/ 325 w 345"/>
                <a:gd name="T51" fmla="*/ 235 h 342"/>
                <a:gd name="T52" fmla="*/ 318 w 345"/>
                <a:gd name="T53" fmla="*/ 231 h 342"/>
                <a:gd name="T54" fmla="*/ 310 w 345"/>
                <a:gd name="T55" fmla="*/ 233 h 342"/>
                <a:gd name="T56" fmla="*/ 301 w 345"/>
                <a:gd name="T57" fmla="*/ 251 h 342"/>
                <a:gd name="T58" fmla="*/ 271 w 345"/>
                <a:gd name="T59" fmla="*/ 285 h 342"/>
                <a:gd name="T60" fmla="*/ 235 w 345"/>
                <a:gd name="T61" fmla="*/ 309 h 342"/>
                <a:gd name="T62" fmla="*/ 193 w 345"/>
                <a:gd name="T63" fmla="*/ 321 h 342"/>
                <a:gd name="T64" fmla="*/ 149 w 345"/>
                <a:gd name="T65" fmla="*/ 321 h 342"/>
                <a:gd name="T66" fmla="*/ 106 w 345"/>
                <a:gd name="T67" fmla="*/ 307 h 342"/>
                <a:gd name="T68" fmla="*/ 80 w 345"/>
                <a:gd name="T69" fmla="*/ 291 h 342"/>
                <a:gd name="T70" fmla="*/ 49 w 345"/>
                <a:gd name="T71" fmla="*/ 259 h 342"/>
                <a:gd name="T72" fmla="*/ 29 w 345"/>
                <a:gd name="T73" fmla="*/ 220 h 342"/>
                <a:gd name="T74" fmla="*/ 21 w 345"/>
                <a:gd name="T75" fmla="*/ 178 h 342"/>
                <a:gd name="T76" fmla="*/ 25 w 345"/>
                <a:gd name="T77" fmla="*/ 134 h 342"/>
                <a:gd name="T78" fmla="*/ 36 w 345"/>
                <a:gd name="T79" fmla="*/ 104 h 342"/>
                <a:gd name="T80" fmla="*/ 61 w 345"/>
                <a:gd name="T81" fmla="*/ 67 h 342"/>
                <a:gd name="T82" fmla="*/ 95 w 345"/>
                <a:gd name="T83" fmla="*/ 40 h 342"/>
                <a:gd name="T84" fmla="*/ 135 w 345"/>
                <a:gd name="T85" fmla="*/ 24 h 342"/>
                <a:gd name="T86" fmla="*/ 180 w 345"/>
                <a:gd name="T87" fmla="*/ 20 h 342"/>
                <a:gd name="T88" fmla="*/ 223 w 345"/>
                <a:gd name="T89" fmla="*/ 29 h 342"/>
                <a:gd name="T90" fmla="*/ 248 w 345"/>
                <a:gd name="T91" fmla="*/ 40 h 342"/>
                <a:gd name="T92" fmla="*/ 275 w 345"/>
                <a:gd name="T93" fmla="*/ 60 h 342"/>
                <a:gd name="T94" fmla="*/ 297 w 345"/>
                <a:gd name="T95" fmla="*/ 86 h 342"/>
                <a:gd name="T96" fmla="*/ 248 w 345"/>
                <a:gd name="T97" fmla="*/ 87 h 342"/>
                <a:gd name="T98" fmla="*/ 240 w 345"/>
                <a:gd name="T99" fmla="*/ 90 h 342"/>
                <a:gd name="T100" fmla="*/ 236 w 345"/>
                <a:gd name="T101" fmla="*/ 96 h 342"/>
                <a:gd name="T102" fmla="*/ 239 w 345"/>
                <a:gd name="T103" fmla="*/ 103 h 342"/>
                <a:gd name="T104" fmla="*/ 323 w 345"/>
                <a:gd name="T105" fmla="*/ 118 h 342"/>
                <a:gd name="T106" fmla="*/ 330 w 345"/>
                <a:gd name="T107" fmla="*/ 117 h 342"/>
                <a:gd name="T108" fmla="*/ 334 w 345"/>
                <a:gd name="T109" fmla="*/ 110 h 342"/>
                <a:gd name="T110" fmla="*/ 345 w 345"/>
                <a:gd name="T111" fmla="*/ 28 h 342"/>
                <a:gd name="T112" fmla="*/ 337 w 345"/>
                <a:gd name="T113" fmla="*/ 2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5" h="342">
                  <a:moveTo>
                    <a:pt x="337" y="20"/>
                  </a:moveTo>
                  <a:lnTo>
                    <a:pt x="337" y="20"/>
                  </a:lnTo>
                  <a:lnTo>
                    <a:pt x="333" y="20"/>
                  </a:lnTo>
                  <a:lnTo>
                    <a:pt x="329" y="22"/>
                  </a:lnTo>
                  <a:lnTo>
                    <a:pt x="329" y="22"/>
                  </a:lnTo>
                  <a:lnTo>
                    <a:pt x="326" y="25"/>
                  </a:lnTo>
                  <a:lnTo>
                    <a:pt x="325" y="29"/>
                  </a:lnTo>
                  <a:lnTo>
                    <a:pt x="318" y="82"/>
                  </a:lnTo>
                  <a:lnTo>
                    <a:pt x="318" y="82"/>
                  </a:lnTo>
                  <a:lnTo>
                    <a:pt x="311" y="71"/>
                  </a:lnTo>
                  <a:lnTo>
                    <a:pt x="303" y="61"/>
                  </a:lnTo>
                  <a:lnTo>
                    <a:pt x="295" y="52"/>
                  </a:lnTo>
                  <a:lnTo>
                    <a:pt x="287" y="44"/>
                  </a:lnTo>
                  <a:lnTo>
                    <a:pt x="278" y="36"/>
                  </a:lnTo>
                  <a:lnTo>
                    <a:pt x="268" y="29"/>
                  </a:lnTo>
                  <a:lnTo>
                    <a:pt x="258" y="22"/>
                  </a:lnTo>
                  <a:lnTo>
                    <a:pt x="247" y="16"/>
                  </a:lnTo>
                  <a:lnTo>
                    <a:pt x="247" y="16"/>
                  </a:lnTo>
                  <a:lnTo>
                    <a:pt x="231" y="9"/>
                  </a:lnTo>
                  <a:lnTo>
                    <a:pt x="215" y="5"/>
                  </a:lnTo>
                  <a:lnTo>
                    <a:pt x="198" y="1"/>
                  </a:lnTo>
                  <a:lnTo>
                    <a:pt x="181" y="0"/>
                  </a:lnTo>
                  <a:lnTo>
                    <a:pt x="165" y="0"/>
                  </a:lnTo>
                  <a:lnTo>
                    <a:pt x="149" y="1"/>
                  </a:lnTo>
                  <a:lnTo>
                    <a:pt x="131" y="4"/>
                  </a:lnTo>
                  <a:lnTo>
                    <a:pt x="115" y="9"/>
                  </a:lnTo>
                  <a:lnTo>
                    <a:pt x="115" y="9"/>
                  </a:lnTo>
                  <a:lnTo>
                    <a:pt x="99" y="16"/>
                  </a:lnTo>
                  <a:lnTo>
                    <a:pt x="84" y="22"/>
                  </a:lnTo>
                  <a:lnTo>
                    <a:pt x="71" y="32"/>
                  </a:lnTo>
                  <a:lnTo>
                    <a:pt x="57" y="43"/>
                  </a:lnTo>
                  <a:lnTo>
                    <a:pt x="45" y="55"/>
                  </a:lnTo>
                  <a:lnTo>
                    <a:pt x="35" y="67"/>
                  </a:lnTo>
                  <a:lnTo>
                    <a:pt x="25" y="82"/>
                  </a:lnTo>
                  <a:lnTo>
                    <a:pt x="17" y="96"/>
                  </a:lnTo>
                  <a:lnTo>
                    <a:pt x="17" y="96"/>
                  </a:lnTo>
                  <a:lnTo>
                    <a:pt x="10" y="113"/>
                  </a:lnTo>
                  <a:lnTo>
                    <a:pt x="5" y="129"/>
                  </a:lnTo>
                  <a:lnTo>
                    <a:pt x="2" y="145"/>
                  </a:lnTo>
                  <a:lnTo>
                    <a:pt x="0" y="162"/>
                  </a:lnTo>
                  <a:lnTo>
                    <a:pt x="0" y="178"/>
                  </a:lnTo>
                  <a:lnTo>
                    <a:pt x="2" y="194"/>
                  </a:lnTo>
                  <a:lnTo>
                    <a:pt x="5" y="212"/>
                  </a:lnTo>
                  <a:lnTo>
                    <a:pt x="9" y="227"/>
                  </a:lnTo>
                  <a:lnTo>
                    <a:pt x="16" y="243"/>
                  </a:lnTo>
                  <a:lnTo>
                    <a:pt x="24" y="258"/>
                  </a:lnTo>
                  <a:lnTo>
                    <a:pt x="32" y="271"/>
                  </a:lnTo>
                  <a:lnTo>
                    <a:pt x="43" y="285"/>
                  </a:lnTo>
                  <a:lnTo>
                    <a:pt x="55" y="297"/>
                  </a:lnTo>
                  <a:lnTo>
                    <a:pt x="67" y="307"/>
                  </a:lnTo>
                  <a:lnTo>
                    <a:pt x="82" y="317"/>
                  </a:lnTo>
                  <a:lnTo>
                    <a:pt x="96" y="325"/>
                  </a:lnTo>
                  <a:lnTo>
                    <a:pt x="96" y="325"/>
                  </a:lnTo>
                  <a:lnTo>
                    <a:pt x="115" y="333"/>
                  </a:lnTo>
                  <a:lnTo>
                    <a:pt x="133" y="338"/>
                  </a:lnTo>
                  <a:lnTo>
                    <a:pt x="151" y="341"/>
                  </a:lnTo>
                  <a:lnTo>
                    <a:pt x="172" y="342"/>
                  </a:lnTo>
                  <a:lnTo>
                    <a:pt x="172" y="342"/>
                  </a:lnTo>
                  <a:lnTo>
                    <a:pt x="184" y="342"/>
                  </a:lnTo>
                  <a:lnTo>
                    <a:pt x="196" y="341"/>
                  </a:lnTo>
                  <a:lnTo>
                    <a:pt x="208" y="338"/>
                  </a:lnTo>
                  <a:lnTo>
                    <a:pt x="219" y="336"/>
                  </a:lnTo>
                  <a:lnTo>
                    <a:pt x="231" y="332"/>
                  </a:lnTo>
                  <a:lnTo>
                    <a:pt x="241" y="328"/>
                  </a:lnTo>
                  <a:lnTo>
                    <a:pt x="252" y="322"/>
                  </a:lnTo>
                  <a:lnTo>
                    <a:pt x="263" y="317"/>
                  </a:lnTo>
                  <a:lnTo>
                    <a:pt x="272" y="310"/>
                  </a:lnTo>
                  <a:lnTo>
                    <a:pt x="282" y="302"/>
                  </a:lnTo>
                  <a:lnTo>
                    <a:pt x="291" y="294"/>
                  </a:lnTo>
                  <a:lnTo>
                    <a:pt x="299" y="286"/>
                  </a:lnTo>
                  <a:lnTo>
                    <a:pt x="307" y="276"/>
                  </a:lnTo>
                  <a:lnTo>
                    <a:pt x="314" y="267"/>
                  </a:lnTo>
                  <a:lnTo>
                    <a:pt x="321" y="256"/>
                  </a:lnTo>
                  <a:lnTo>
                    <a:pt x="326" y="246"/>
                  </a:lnTo>
                  <a:lnTo>
                    <a:pt x="326" y="246"/>
                  </a:lnTo>
                  <a:lnTo>
                    <a:pt x="327" y="242"/>
                  </a:lnTo>
                  <a:lnTo>
                    <a:pt x="326" y="238"/>
                  </a:lnTo>
                  <a:lnTo>
                    <a:pt x="325" y="235"/>
                  </a:lnTo>
                  <a:lnTo>
                    <a:pt x="321" y="232"/>
                  </a:lnTo>
                  <a:lnTo>
                    <a:pt x="321" y="232"/>
                  </a:lnTo>
                  <a:lnTo>
                    <a:pt x="318" y="231"/>
                  </a:lnTo>
                  <a:lnTo>
                    <a:pt x="314" y="232"/>
                  </a:lnTo>
                  <a:lnTo>
                    <a:pt x="314" y="232"/>
                  </a:lnTo>
                  <a:lnTo>
                    <a:pt x="310" y="233"/>
                  </a:lnTo>
                  <a:lnTo>
                    <a:pt x="307" y="236"/>
                  </a:lnTo>
                  <a:lnTo>
                    <a:pt x="307" y="236"/>
                  </a:lnTo>
                  <a:lnTo>
                    <a:pt x="301" y="251"/>
                  </a:lnTo>
                  <a:lnTo>
                    <a:pt x="291" y="263"/>
                  </a:lnTo>
                  <a:lnTo>
                    <a:pt x="282" y="274"/>
                  </a:lnTo>
                  <a:lnTo>
                    <a:pt x="271" y="285"/>
                  </a:lnTo>
                  <a:lnTo>
                    <a:pt x="260" y="294"/>
                  </a:lnTo>
                  <a:lnTo>
                    <a:pt x="248" y="302"/>
                  </a:lnTo>
                  <a:lnTo>
                    <a:pt x="235" y="309"/>
                  </a:lnTo>
                  <a:lnTo>
                    <a:pt x="221" y="314"/>
                  </a:lnTo>
                  <a:lnTo>
                    <a:pt x="208" y="318"/>
                  </a:lnTo>
                  <a:lnTo>
                    <a:pt x="193" y="321"/>
                  </a:lnTo>
                  <a:lnTo>
                    <a:pt x="178" y="322"/>
                  </a:lnTo>
                  <a:lnTo>
                    <a:pt x="164" y="322"/>
                  </a:lnTo>
                  <a:lnTo>
                    <a:pt x="149" y="321"/>
                  </a:lnTo>
                  <a:lnTo>
                    <a:pt x="134" y="318"/>
                  </a:lnTo>
                  <a:lnTo>
                    <a:pt x="121" y="313"/>
                  </a:lnTo>
                  <a:lnTo>
                    <a:pt x="106" y="307"/>
                  </a:lnTo>
                  <a:lnTo>
                    <a:pt x="106" y="307"/>
                  </a:lnTo>
                  <a:lnTo>
                    <a:pt x="92" y="299"/>
                  </a:lnTo>
                  <a:lnTo>
                    <a:pt x="80" y="291"/>
                  </a:lnTo>
                  <a:lnTo>
                    <a:pt x="68" y="282"/>
                  </a:lnTo>
                  <a:lnTo>
                    <a:pt x="57" y="271"/>
                  </a:lnTo>
                  <a:lnTo>
                    <a:pt x="49" y="259"/>
                  </a:lnTo>
                  <a:lnTo>
                    <a:pt x="41" y="247"/>
                  </a:lnTo>
                  <a:lnTo>
                    <a:pt x="35" y="233"/>
                  </a:lnTo>
                  <a:lnTo>
                    <a:pt x="29" y="220"/>
                  </a:lnTo>
                  <a:lnTo>
                    <a:pt x="25" y="207"/>
                  </a:lnTo>
                  <a:lnTo>
                    <a:pt x="22" y="192"/>
                  </a:lnTo>
                  <a:lnTo>
                    <a:pt x="21" y="178"/>
                  </a:lnTo>
                  <a:lnTo>
                    <a:pt x="21" y="164"/>
                  </a:lnTo>
                  <a:lnTo>
                    <a:pt x="22" y="149"/>
                  </a:lnTo>
                  <a:lnTo>
                    <a:pt x="25" y="134"/>
                  </a:lnTo>
                  <a:lnTo>
                    <a:pt x="29" y="119"/>
                  </a:lnTo>
                  <a:lnTo>
                    <a:pt x="36" y="104"/>
                  </a:lnTo>
                  <a:lnTo>
                    <a:pt x="36" y="104"/>
                  </a:lnTo>
                  <a:lnTo>
                    <a:pt x="43" y="91"/>
                  </a:lnTo>
                  <a:lnTo>
                    <a:pt x="52" y="79"/>
                  </a:lnTo>
                  <a:lnTo>
                    <a:pt x="61" y="67"/>
                  </a:lnTo>
                  <a:lnTo>
                    <a:pt x="72" y="57"/>
                  </a:lnTo>
                  <a:lnTo>
                    <a:pt x="83" y="48"/>
                  </a:lnTo>
                  <a:lnTo>
                    <a:pt x="95" y="40"/>
                  </a:lnTo>
                  <a:lnTo>
                    <a:pt x="108" y="33"/>
                  </a:lnTo>
                  <a:lnTo>
                    <a:pt x="122" y="28"/>
                  </a:lnTo>
                  <a:lnTo>
                    <a:pt x="135" y="24"/>
                  </a:lnTo>
                  <a:lnTo>
                    <a:pt x="150" y="21"/>
                  </a:lnTo>
                  <a:lnTo>
                    <a:pt x="165" y="20"/>
                  </a:lnTo>
                  <a:lnTo>
                    <a:pt x="180" y="20"/>
                  </a:lnTo>
                  <a:lnTo>
                    <a:pt x="194" y="21"/>
                  </a:lnTo>
                  <a:lnTo>
                    <a:pt x="209" y="24"/>
                  </a:lnTo>
                  <a:lnTo>
                    <a:pt x="223" y="29"/>
                  </a:lnTo>
                  <a:lnTo>
                    <a:pt x="237" y="35"/>
                  </a:lnTo>
                  <a:lnTo>
                    <a:pt x="237" y="35"/>
                  </a:lnTo>
                  <a:lnTo>
                    <a:pt x="248" y="40"/>
                  </a:lnTo>
                  <a:lnTo>
                    <a:pt x="258" y="45"/>
                  </a:lnTo>
                  <a:lnTo>
                    <a:pt x="266" y="52"/>
                  </a:lnTo>
                  <a:lnTo>
                    <a:pt x="275" y="60"/>
                  </a:lnTo>
                  <a:lnTo>
                    <a:pt x="282" y="68"/>
                  </a:lnTo>
                  <a:lnTo>
                    <a:pt x="290" y="76"/>
                  </a:lnTo>
                  <a:lnTo>
                    <a:pt x="297" y="86"/>
                  </a:lnTo>
                  <a:lnTo>
                    <a:pt x="302" y="95"/>
                  </a:lnTo>
                  <a:lnTo>
                    <a:pt x="248" y="87"/>
                  </a:lnTo>
                  <a:lnTo>
                    <a:pt x="248" y="87"/>
                  </a:lnTo>
                  <a:lnTo>
                    <a:pt x="244" y="88"/>
                  </a:lnTo>
                  <a:lnTo>
                    <a:pt x="240" y="90"/>
                  </a:lnTo>
                  <a:lnTo>
                    <a:pt x="240" y="90"/>
                  </a:lnTo>
                  <a:lnTo>
                    <a:pt x="237" y="92"/>
                  </a:lnTo>
                  <a:lnTo>
                    <a:pt x="236" y="96"/>
                  </a:lnTo>
                  <a:lnTo>
                    <a:pt x="236" y="96"/>
                  </a:lnTo>
                  <a:lnTo>
                    <a:pt x="236" y="100"/>
                  </a:lnTo>
                  <a:lnTo>
                    <a:pt x="239" y="103"/>
                  </a:lnTo>
                  <a:lnTo>
                    <a:pt x="239" y="103"/>
                  </a:lnTo>
                  <a:lnTo>
                    <a:pt x="241" y="106"/>
                  </a:lnTo>
                  <a:lnTo>
                    <a:pt x="246" y="107"/>
                  </a:lnTo>
                  <a:lnTo>
                    <a:pt x="323" y="118"/>
                  </a:lnTo>
                  <a:lnTo>
                    <a:pt x="323" y="118"/>
                  </a:lnTo>
                  <a:lnTo>
                    <a:pt x="327" y="118"/>
                  </a:lnTo>
                  <a:lnTo>
                    <a:pt x="330" y="117"/>
                  </a:lnTo>
                  <a:lnTo>
                    <a:pt x="330" y="117"/>
                  </a:lnTo>
                  <a:lnTo>
                    <a:pt x="333" y="114"/>
                  </a:lnTo>
                  <a:lnTo>
                    <a:pt x="334" y="110"/>
                  </a:lnTo>
                  <a:lnTo>
                    <a:pt x="345" y="32"/>
                  </a:lnTo>
                  <a:lnTo>
                    <a:pt x="345" y="32"/>
                  </a:lnTo>
                  <a:lnTo>
                    <a:pt x="345" y="28"/>
                  </a:lnTo>
                  <a:lnTo>
                    <a:pt x="344" y="24"/>
                  </a:lnTo>
                  <a:lnTo>
                    <a:pt x="340" y="21"/>
                  </a:lnTo>
                  <a:lnTo>
                    <a:pt x="337" y="20"/>
                  </a:lnTo>
                  <a:lnTo>
                    <a:pt x="337"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62" name="Group 61">
            <a:extLst>
              <a:ext uri="{FF2B5EF4-FFF2-40B4-BE49-F238E27FC236}">
                <a16:creationId xmlns:a16="http://schemas.microsoft.com/office/drawing/2014/main" id="{EAE26479-340D-4B43-BD3E-920FCCA5B3E6}"/>
              </a:ext>
            </a:extLst>
          </p:cNvPr>
          <p:cNvGrpSpPr/>
          <p:nvPr/>
        </p:nvGrpSpPr>
        <p:grpSpPr>
          <a:xfrm>
            <a:off x="7336647" y="4267094"/>
            <a:ext cx="1359744" cy="1359744"/>
            <a:chOff x="7336647" y="4267094"/>
            <a:chExt cx="1359744" cy="1359744"/>
          </a:xfrm>
        </p:grpSpPr>
        <p:sp>
          <p:nvSpPr>
            <p:cNvPr id="63" name="Oval 62">
              <a:extLst>
                <a:ext uri="{FF2B5EF4-FFF2-40B4-BE49-F238E27FC236}">
                  <a16:creationId xmlns:a16="http://schemas.microsoft.com/office/drawing/2014/main" id="{76592DA4-9431-4FE3-9D6F-02B34F74E35E}"/>
                </a:ext>
              </a:extLst>
            </p:cNvPr>
            <p:cNvSpPr>
              <a:spLocks noChangeAspect="1"/>
            </p:cNvSpPr>
            <p:nvPr/>
          </p:nvSpPr>
          <p:spPr bwMode="gray">
            <a:xfrm>
              <a:off x="7336647" y="4267094"/>
              <a:ext cx="1359744" cy="1359744"/>
            </a:xfrm>
            <a:prstGeom prst="ellipse">
              <a:avLst/>
            </a:prstGeom>
            <a:solidFill>
              <a:schemeClr val="bg1"/>
            </a:solidFill>
            <a:ln w="38100" algn="ctr">
              <a:solidFill>
                <a:schemeClr val="bg1">
                  <a:lumMod val="85000"/>
                </a:schemeClr>
              </a:solidFill>
              <a:miter lim="800000"/>
              <a:headEnd/>
              <a:tailEnd/>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050" b="0" i="0" u="none" strike="noStrike" kern="0" cap="none" spc="-10" normalizeH="0" baseline="0" noProof="0" dirty="0">
                <a:ln>
                  <a:noFill/>
                </a:ln>
                <a:solidFill>
                  <a:srgbClr val="3F3F3F"/>
                </a:solidFill>
                <a:effectLst/>
                <a:uLnTx/>
                <a:uFillTx/>
                <a:latin typeface="Open Sans" charset="0"/>
                <a:ea typeface="Open Sans" charset="0"/>
                <a:cs typeface="Open Sans" charset="0"/>
              </a:endParaRPr>
            </a:p>
          </p:txBody>
        </p:sp>
        <p:sp>
          <p:nvSpPr>
            <p:cNvPr id="64" name="TextBox 63">
              <a:extLst>
                <a:ext uri="{FF2B5EF4-FFF2-40B4-BE49-F238E27FC236}">
                  <a16:creationId xmlns:a16="http://schemas.microsoft.com/office/drawing/2014/main" id="{36AA53BB-C3EC-44F7-9DE4-1F827C23A1E7}"/>
                </a:ext>
              </a:extLst>
            </p:cNvPr>
            <p:cNvSpPr txBox="1"/>
            <p:nvPr/>
          </p:nvSpPr>
          <p:spPr>
            <a:xfrm>
              <a:off x="7403876" y="4924221"/>
              <a:ext cx="1236395" cy="400464"/>
            </a:xfrm>
            <a:prstGeom prst="rect">
              <a:avLst/>
            </a:prstGeom>
            <a:noFill/>
          </p:spPr>
          <p:txBody>
            <a:bodyPr vert="horz" wrap="square" lIns="0" tIns="0" rIns="0" bIns="0" rtlCol="0">
              <a:noAutofit/>
            </a:bodyPr>
            <a:lstStyle/>
            <a:p>
              <a:pPr marL="0" marR="0" lvl="0" indent="0" algn="ctr" defTabSz="1219170" rtl="0" eaLnBrk="1" fontAlgn="auto" latinLnBrk="0" hangingPunct="1">
                <a:lnSpc>
                  <a:spcPct val="100000"/>
                </a:lnSpc>
                <a:spcBef>
                  <a:spcPts val="200"/>
                </a:spcBef>
                <a:spcAft>
                  <a:spcPts val="0"/>
                </a:spcAft>
                <a:buClrTx/>
                <a:buSzPct val="100000"/>
                <a:buFontTx/>
                <a:buNone/>
                <a:tabLst/>
                <a:defRPr/>
              </a:pPr>
              <a:r>
                <a:rPr kumimoji="0" lang="en-US" sz="1400" b="1" i="0" u="none" strike="noStrike" kern="0" cap="none" spc="0" normalizeH="0" baseline="0" noProof="0" dirty="0">
                  <a:ln>
                    <a:noFill/>
                  </a:ln>
                  <a:solidFill>
                    <a:srgbClr val="000000"/>
                  </a:solidFill>
                  <a:effectLst/>
                  <a:uLnTx/>
                  <a:uFillTx/>
                  <a:latin typeface="Open Sans" charset="0"/>
                  <a:ea typeface="Open Sans" charset="0"/>
                  <a:cs typeface="Open Sans" charset="0"/>
                </a:rPr>
                <a:t>Purchase </a:t>
              </a:r>
              <a:br>
                <a:rPr kumimoji="0" lang="en-US" sz="1400" b="1" i="0" u="none" strike="noStrike" kern="0" cap="none" spc="0" normalizeH="0" baseline="0" noProof="0" dirty="0">
                  <a:ln>
                    <a:noFill/>
                  </a:ln>
                  <a:solidFill>
                    <a:srgbClr val="000000"/>
                  </a:solidFill>
                  <a:effectLst/>
                  <a:uLnTx/>
                  <a:uFillTx/>
                  <a:latin typeface="Open Sans" charset="0"/>
                  <a:ea typeface="Open Sans" charset="0"/>
                  <a:cs typeface="Open Sans" charset="0"/>
                </a:rPr>
              </a:br>
              <a:r>
                <a:rPr kumimoji="0" lang="en-US" sz="1400" b="1" i="0" u="none" strike="noStrike" kern="0" cap="none" spc="0" normalizeH="0" baseline="0" noProof="0" dirty="0">
                  <a:ln>
                    <a:noFill/>
                  </a:ln>
                  <a:solidFill>
                    <a:srgbClr val="000000"/>
                  </a:solidFill>
                  <a:effectLst/>
                  <a:uLnTx/>
                  <a:uFillTx/>
                  <a:latin typeface="Open Sans" charset="0"/>
                  <a:ea typeface="Open Sans" charset="0"/>
                  <a:cs typeface="Open Sans" charset="0"/>
                </a:rPr>
                <a:t>&amp; Pay</a:t>
              </a:r>
            </a:p>
          </p:txBody>
        </p:sp>
        <p:sp>
          <p:nvSpPr>
            <p:cNvPr id="65" name="Freeform 230">
              <a:extLst>
                <a:ext uri="{FF2B5EF4-FFF2-40B4-BE49-F238E27FC236}">
                  <a16:creationId xmlns:a16="http://schemas.microsoft.com/office/drawing/2014/main" id="{061F53B7-A59D-41D2-BAE5-4E3005A65F50}"/>
                </a:ext>
              </a:extLst>
            </p:cNvPr>
            <p:cNvSpPr>
              <a:spLocks noEditPoints="1"/>
            </p:cNvSpPr>
            <p:nvPr/>
          </p:nvSpPr>
          <p:spPr bwMode="auto">
            <a:xfrm>
              <a:off x="7875022" y="4543522"/>
              <a:ext cx="300790" cy="319827"/>
            </a:xfrm>
            <a:custGeom>
              <a:avLst/>
              <a:gdLst>
                <a:gd name="T0" fmla="*/ 67 w 314"/>
                <a:gd name="T1" fmla="*/ 249 h 336"/>
                <a:gd name="T2" fmla="*/ 90 w 314"/>
                <a:gd name="T3" fmla="*/ 296 h 336"/>
                <a:gd name="T4" fmla="*/ 131 w 314"/>
                <a:gd name="T5" fmla="*/ 327 h 336"/>
                <a:gd name="T6" fmla="*/ 173 w 314"/>
                <a:gd name="T7" fmla="*/ 336 h 336"/>
                <a:gd name="T8" fmla="*/ 225 w 314"/>
                <a:gd name="T9" fmla="*/ 322 h 336"/>
                <a:gd name="T10" fmla="*/ 263 w 314"/>
                <a:gd name="T11" fmla="*/ 288 h 336"/>
                <a:gd name="T12" fmla="*/ 281 w 314"/>
                <a:gd name="T13" fmla="*/ 238 h 336"/>
                <a:gd name="T14" fmla="*/ 313 w 314"/>
                <a:gd name="T15" fmla="*/ 226 h 336"/>
                <a:gd name="T16" fmla="*/ 314 w 314"/>
                <a:gd name="T17" fmla="*/ 79 h 336"/>
                <a:gd name="T18" fmla="*/ 250 w 314"/>
                <a:gd name="T19" fmla="*/ 38 h 336"/>
                <a:gd name="T20" fmla="*/ 242 w 314"/>
                <a:gd name="T21" fmla="*/ 19 h 336"/>
                <a:gd name="T22" fmla="*/ 221 w 314"/>
                <a:gd name="T23" fmla="*/ 11 h 336"/>
                <a:gd name="T24" fmla="*/ 204 w 314"/>
                <a:gd name="T25" fmla="*/ 18 h 336"/>
                <a:gd name="T26" fmla="*/ 178 w 314"/>
                <a:gd name="T27" fmla="*/ 0 h 336"/>
                <a:gd name="T28" fmla="*/ 153 w 314"/>
                <a:gd name="T29" fmla="*/ 18 h 336"/>
                <a:gd name="T30" fmla="*/ 135 w 314"/>
                <a:gd name="T31" fmla="*/ 11 h 336"/>
                <a:gd name="T32" fmla="*/ 110 w 314"/>
                <a:gd name="T33" fmla="*/ 28 h 336"/>
                <a:gd name="T34" fmla="*/ 93 w 314"/>
                <a:gd name="T35" fmla="*/ 22 h 336"/>
                <a:gd name="T36" fmla="*/ 70 w 314"/>
                <a:gd name="T37" fmla="*/ 34 h 336"/>
                <a:gd name="T38" fmla="*/ 5 w 314"/>
                <a:gd name="T39" fmla="*/ 75 h 336"/>
                <a:gd name="T40" fmla="*/ 0 w 314"/>
                <a:gd name="T41" fmla="*/ 81 h 336"/>
                <a:gd name="T42" fmla="*/ 4 w 314"/>
                <a:gd name="T43" fmla="*/ 227 h 336"/>
                <a:gd name="T44" fmla="*/ 207 w 314"/>
                <a:gd name="T45" fmla="*/ 31 h 336"/>
                <a:gd name="T46" fmla="*/ 228 w 314"/>
                <a:gd name="T47" fmla="*/ 23 h 336"/>
                <a:gd name="T48" fmla="*/ 205 w 314"/>
                <a:gd name="T49" fmla="*/ 75 h 336"/>
                <a:gd name="T50" fmla="*/ 164 w 314"/>
                <a:gd name="T51" fmla="*/ 20 h 336"/>
                <a:gd name="T52" fmla="*/ 185 w 314"/>
                <a:gd name="T53" fmla="*/ 12 h 336"/>
                <a:gd name="T54" fmla="*/ 195 w 314"/>
                <a:gd name="T55" fmla="*/ 75 h 336"/>
                <a:gd name="T56" fmla="*/ 164 w 314"/>
                <a:gd name="T57" fmla="*/ 120 h 336"/>
                <a:gd name="T58" fmla="*/ 187 w 314"/>
                <a:gd name="T59" fmla="*/ 138 h 336"/>
                <a:gd name="T60" fmla="*/ 187 w 314"/>
                <a:gd name="T61" fmla="*/ 164 h 336"/>
                <a:gd name="T62" fmla="*/ 164 w 314"/>
                <a:gd name="T63" fmla="*/ 183 h 336"/>
                <a:gd name="T64" fmla="*/ 140 w 314"/>
                <a:gd name="T65" fmla="*/ 179 h 336"/>
                <a:gd name="T66" fmla="*/ 125 w 314"/>
                <a:gd name="T67" fmla="*/ 152 h 336"/>
                <a:gd name="T68" fmla="*/ 134 w 314"/>
                <a:gd name="T69" fmla="*/ 128 h 336"/>
                <a:gd name="T70" fmla="*/ 157 w 314"/>
                <a:gd name="T71" fmla="*/ 118 h 336"/>
                <a:gd name="T72" fmla="*/ 123 w 314"/>
                <a:gd name="T73" fmla="*/ 26 h 336"/>
                <a:gd name="T74" fmla="*/ 148 w 314"/>
                <a:gd name="T75" fmla="*/ 26 h 336"/>
                <a:gd name="T76" fmla="*/ 119 w 314"/>
                <a:gd name="T77" fmla="*/ 48 h 336"/>
                <a:gd name="T78" fmla="*/ 164 w 314"/>
                <a:gd name="T79" fmla="*/ 247 h 336"/>
                <a:gd name="T80" fmla="*/ 166 w 314"/>
                <a:gd name="T81" fmla="*/ 259 h 336"/>
                <a:gd name="T82" fmla="*/ 173 w 314"/>
                <a:gd name="T83" fmla="*/ 257 h 336"/>
                <a:gd name="T84" fmla="*/ 180 w 314"/>
                <a:gd name="T85" fmla="*/ 233 h 336"/>
                <a:gd name="T86" fmla="*/ 195 w 314"/>
                <a:gd name="T87" fmla="*/ 218 h 336"/>
                <a:gd name="T88" fmla="*/ 235 w 314"/>
                <a:gd name="T89" fmla="*/ 206 h 336"/>
                <a:gd name="T90" fmla="*/ 239 w 314"/>
                <a:gd name="T91" fmla="*/ 168 h 336"/>
                <a:gd name="T92" fmla="*/ 252 w 314"/>
                <a:gd name="T93" fmla="*/ 137 h 336"/>
                <a:gd name="T94" fmla="*/ 271 w 314"/>
                <a:gd name="T95" fmla="*/ 227 h 336"/>
                <a:gd name="T96" fmla="*/ 259 w 314"/>
                <a:gd name="T97" fmla="*/ 274 h 336"/>
                <a:gd name="T98" fmla="*/ 228 w 314"/>
                <a:gd name="T99" fmla="*/ 308 h 336"/>
                <a:gd name="T100" fmla="*/ 184 w 314"/>
                <a:gd name="T101" fmla="*/ 324 h 336"/>
                <a:gd name="T102" fmla="*/ 145 w 314"/>
                <a:gd name="T103" fmla="*/ 320 h 336"/>
                <a:gd name="T104" fmla="*/ 105 w 314"/>
                <a:gd name="T105" fmla="*/ 296 h 336"/>
                <a:gd name="T106" fmla="*/ 80 w 314"/>
                <a:gd name="T107" fmla="*/ 257 h 336"/>
                <a:gd name="T108" fmla="*/ 76 w 314"/>
                <a:gd name="T109" fmla="*/ 48 h 336"/>
                <a:gd name="T110" fmla="*/ 93 w 314"/>
                <a:gd name="T111" fmla="*/ 32 h 336"/>
                <a:gd name="T112" fmla="*/ 109 w 314"/>
                <a:gd name="T113" fmla="*/ 48 h 336"/>
                <a:gd name="T114" fmla="*/ 93 w 314"/>
                <a:gd name="T115" fmla="*/ 118 h 336"/>
                <a:gd name="T116" fmla="*/ 98 w 314"/>
                <a:gd name="T117" fmla="*/ 124 h 336"/>
                <a:gd name="T118" fmla="*/ 93 w 314"/>
                <a:gd name="T119" fmla="*/ 129 h 336"/>
                <a:gd name="T120" fmla="*/ 44 w 314"/>
                <a:gd name="T121" fmla="*/ 126 h 336"/>
                <a:gd name="T122" fmla="*/ 47 w 314"/>
                <a:gd name="T123" fmla="*/ 12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4" h="336">
                  <a:moveTo>
                    <a:pt x="5" y="227"/>
                  </a:moveTo>
                  <a:lnTo>
                    <a:pt x="66" y="227"/>
                  </a:lnTo>
                  <a:lnTo>
                    <a:pt x="66" y="227"/>
                  </a:lnTo>
                  <a:lnTo>
                    <a:pt x="66" y="238"/>
                  </a:lnTo>
                  <a:lnTo>
                    <a:pt x="67" y="249"/>
                  </a:lnTo>
                  <a:lnTo>
                    <a:pt x="70" y="259"/>
                  </a:lnTo>
                  <a:lnTo>
                    <a:pt x="74" y="269"/>
                  </a:lnTo>
                  <a:lnTo>
                    <a:pt x="78" y="278"/>
                  </a:lnTo>
                  <a:lnTo>
                    <a:pt x="83" y="288"/>
                  </a:lnTo>
                  <a:lnTo>
                    <a:pt x="90" y="296"/>
                  </a:lnTo>
                  <a:lnTo>
                    <a:pt x="97" y="304"/>
                  </a:lnTo>
                  <a:lnTo>
                    <a:pt x="105" y="310"/>
                  </a:lnTo>
                  <a:lnTo>
                    <a:pt x="113" y="317"/>
                  </a:lnTo>
                  <a:lnTo>
                    <a:pt x="122" y="322"/>
                  </a:lnTo>
                  <a:lnTo>
                    <a:pt x="131" y="327"/>
                  </a:lnTo>
                  <a:lnTo>
                    <a:pt x="141" y="331"/>
                  </a:lnTo>
                  <a:lnTo>
                    <a:pt x="152" y="333"/>
                  </a:lnTo>
                  <a:lnTo>
                    <a:pt x="162" y="335"/>
                  </a:lnTo>
                  <a:lnTo>
                    <a:pt x="173" y="336"/>
                  </a:lnTo>
                  <a:lnTo>
                    <a:pt x="173" y="336"/>
                  </a:lnTo>
                  <a:lnTo>
                    <a:pt x="184" y="335"/>
                  </a:lnTo>
                  <a:lnTo>
                    <a:pt x="195" y="333"/>
                  </a:lnTo>
                  <a:lnTo>
                    <a:pt x="205" y="331"/>
                  </a:lnTo>
                  <a:lnTo>
                    <a:pt x="216" y="327"/>
                  </a:lnTo>
                  <a:lnTo>
                    <a:pt x="225" y="322"/>
                  </a:lnTo>
                  <a:lnTo>
                    <a:pt x="234" y="317"/>
                  </a:lnTo>
                  <a:lnTo>
                    <a:pt x="242" y="310"/>
                  </a:lnTo>
                  <a:lnTo>
                    <a:pt x="250" y="304"/>
                  </a:lnTo>
                  <a:lnTo>
                    <a:pt x="256" y="296"/>
                  </a:lnTo>
                  <a:lnTo>
                    <a:pt x="263" y="288"/>
                  </a:lnTo>
                  <a:lnTo>
                    <a:pt x="268" y="278"/>
                  </a:lnTo>
                  <a:lnTo>
                    <a:pt x="274" y="269"/>
                  </a:lnTo>
                  <a:lnTo>
                    <a:pt x="277" y="259"/>
                  </a:lnTo>
                  <a:lnTo>
                    <a:pt x="279" y="249"/>
                  </a:lnTo>
                  <a:lnTo>
                    <a:pt x="281" y="238"/>
                  </a:lnTo>
                  <a:lnTo>
                    <a:pt x="282" y="227"/>
                  </a:lnTo>
                  <a:lnTo>
                    <a:pt x="309" y="227"/>
                  </a:lnTo>
                  <a:lnTo>
                    <a:pt x="309" y="227"/>
                  </a:lnTo>
                  <a:lnTo>
                    <a:pt x="311" y="227"/>
                  </a:lnTo>
                  <a:lnTo>
                    <a:pt x="313" y="226"/>
                  </a:lnTo>
                  <a:lnTo>
                    <a:pt x="314" y="224"/>
                  </a:lnTo>
                  <a:lnTo>
                    <a:pt x="314" y="222"/>
                  </a:lnTo>
                  <a:lnTo>
                    <a:pt x="314" y="81"/>
                  </a:lnTo>
                  <a:lnTo>
                    <a:pt x="314" y="81"/>
                  </a:lnTo>
                  <a:lnTo>
                    <a:pt x="314" y="79"/>
                  </a:lnTo>
                  <a:lnTo>
                    <a:pt x="313" y="77"/>
                  </a:lnTo>
                  <a:lnTo>
                    <a:pt x="311" y="75"/>
                  </a:lnTo>
                  <a:lnTo>
                    <a:pt x="309" y="75"/>
                  </a:lnTo>
                  <a:lnTo>
                    <a:pt x="250" y="75"/>
                  </a:lnTo>
                  <a:lnTo>
                    <a:pt x="250" y="38"/>
                  </a:lnTo>
                  <a:lnTo>
                    <a:pt x="250" y="38"/>
                  </a:lnTo>
                  <a:lnTo>
                    <a:pt x="248" y="32"/>
                  </a:lnTo>
                  <a:lnTo>
                    <a:pt x="247" y="27"/>
                  </a:lnTo>
                  <a:lnTo>
                    <a:pt x="244" y="23"/>
                  </a:lnTo>
                  <a:lnTo>
                    <a:pt x="242" y="19"/>
                  </a:lnTo>
                  <a:lnTo>
                    <a:pt x="238" y="15"/>
                  </a:lnTo>
                  <a:lnTo>
                    <a:pt x="232" y="12"/>
                  </a:lnTo>
                  <a:lnTo>
                    <a:pt x="228" y="11"/>
                  </a:lnTo>
                  <a:lnTo>
                    <a:pt x="221" y="11"/>
                  </a:lnTo>
                  <a:lnTo>
                    <a:pt x="221" y="11"/>
                  </a:lnTo>
                  <a:lnTo>
                    <a:pt x="217" y="11"/>
                  </a:lnTo>
                  <a:lnTo>
                    <a:pt x="212" y="12"/>
                  </a:lnTo>
                  <a:lnTo>
                    <a:pt x="208" y="15"/>
                  </a:lnTo>
                  <a:lnTo>
                    <a:pt x="204" y="18"/>
                  </a:lnTo>
                  <a:lnTo>
                    <a:pt x="204" y="18"/>
                  </a:lnTo>
                  <a:lnTo>
                    <a:pt x="200" y="11"/>
                  </a:lnTo>
                  <a:lnTo>
                    <a:pt x="195" y="4"/>
                  </a:lnTo>
                  <a:lnTo>
                    <a:pt x="187" y="1"/>
                  </a:lnTo>
                  <a:lnTo>
                    <a:pt x="178" y="0"/>
                  </a:lnTo>
                  <a:lnTo>
                    <a:pt x="178" y="0"/>
                  </a:lnTo>
                  <a:lnTo>
                    <a:pt x="170" y="1"/>
                  </a:lnTo>
                  <a:lnTo>
                    <a:pt x="164" y="4"/>
                  </a:lnTo>
                  <a:lnTo>
                    <a:pt x="157" y="11"/>
                  </a:lnTo>
                  <a:lnTo>
                    <a:pt x="153" y="18"/>
                  </a:lnTo>
                  <a:lnTo>
                    <a:pt x="153" y="18"/>
                  </a:lnTo>
                  <a:lnTo>
                    <a:pt x="150" y="15"/>
                  </a:lnTo>
                  <a:lnTo>
                    <a:pt x="145" y="12"/>
                  </a:lnTo>
                  <a:lnTo>
                    <a:pt x="141" y="11"/>
                  </a:lnTo>
                  <a:lnTo>
                    <a:pt x="135" y="11"/>
                  </a:lnTo>
                  <a:lnTo>
                    <a:pt x="135" y="11"/>
                  </a:lnTo>
                  <a:lnTo>
                    <a:pt x="127" y="12"/>
                  </a:lnTo>
                  <a:lnTo>
                    <a:pt x="119" y="15"/>
                  </a:lnTo>
                  <a:lnTo>
                    <a:pt x="114" y="22"/>
                  </a:lnTo>
                  <a:lnTo>
                    <a:pt x="110" y="28"/>
                  </a:lnTo>
                  <a:lnTo>
                    <a:pt x="110" y="28"/>
                  </a:lnTo>
                  <a:lnTo>
                    <a:pt x="106" y="26"/>
                  </a:lnTo>
                  <a:lnTo>
                    <a:pt x="102" y="23"/>
                  </a:lnTo>
                  <a:lnTo>
                    <a:pt x="97" y="22"/>
                  </a:lnTo>
                  <a:lnTo>
                    <a:pt x="93" y="22"/>
                  </a:lnTo>
                  <a:lnTo>
                    <a:pt x="93" y="22"/>
                  </a:lnTo>
                  <a:lnTo>
                    <a:pt x="87" y="22"/>
                  </a:lnTo>
                  <a:lnTo>
                    <a:pt x="82" y="23"/>
                  </a:lnTo>
                  <a:lnTo>
                    <a:pt x="76" y="26"/>
                  </a:lnTo>
                  <a:lnTo>
                    <a:pt x="72" y="30"/>
                  </a:lnTo>
                  <a:lnTo>
                    <a:pt x="70" y="34"/>
                  </a:lnTo>
                  <a:lnTo>
                    <a:pt x="67" y="38"/>
                  </a:lnTo>
                  <a:lnTo>
                    <a:pt x="66" y="43"/>
                  </a:lnTo>
                  <a:lnTo>
                    <a:pt x="66" y="48"/>
                  </a:lnTo>
                  <a:lnTo>
                    <a:pt x="66" y="75"/>
                  </a:lnTo>
                  <a:lnTo>
                    <a:pt x="5" y="75"/>
                  </a:lnTo>
                  <a:lnTo>
                    <a:pt x="5" y="75"/>
                  </a:lnTo>
                  <a:lnTo>
                    <a:pt x="4" y="75"/>
                  </a:lnTo>
                  <a:lnTo>
                    <a:pt x="1" y="77"/>
                  </a:lnTo>
                  <a:lnTo>
                    <a:pt x="1" y="79"/>
                  </a:lnTo>
                  <a:lnTo>
                    <a:pt x="0" y="81"/>
                  </a:lnTo>
                  <a:lnTo>
                    <a:pt x="0" y="222"/>
                  </a:lnTo>
                  <a:lnTo>
                    <a:pt x="0" y="222"/>
                  </a:lnTo>
                  <a:lnTo>
                    <a:pt x="1" y="224"/>
                  </a:lnTo>
                  <a:lnTo>
                    <a:pt x="1" y="226"/>
                  </a:lnTo>
                  <a:lnTo>
                    <a:pt x="4" y="227"/>
                  </a:lnTo>
                  <a:lnTo>
                    <a:pt x="5" y="227"/>
                  </a:lnTo>
                  <a:lnTo>
                    <a:pt x="5" y="227"/>
                  </a:lnTo>
                  <a:close/>
                  <a:moveTo>
                    <a:pt x="205" y="38"/>
                  </a:moveTo>
                  <a:lnTo>
                    <a:pt x="205" y="38"/>
                  </a:lnTo>
                  <a:lnTo>
                    <a:pt x="207" y="31"/>
                  </a:lnTo>
                  <a:lnTo>
                    <a:pt x="211" y="26"/>
                  </a:lnTo>
                  <a:lnTo>
                    <a:pt x="216" y="23"/>
                  </a:lnTo>
                  <a:lnTo>
                    <a:pt x="221" y="22"/>
                  </a:lnTo>
                  <a:lnTo>
                    <a:pt x="221" y="22"/>
                  </a:lnTo>
                  <a:lnTo>
                    <a:pt x="228" y="23"/>
                  </a:lnTo>
                  <a:lnTo>
                    <a:pt x="234" y="26"/>
                  </a:lnTo>
                  <a:lnTo>
                    <a:pt x="238" y="31"/>
                  </a:lnTo>
                  <a:lnTo>
                    <a:pt x="239" y="38"/>
                  </a:lnTo>
                  <a:lnTo>
                    <a:pt x="239" y="75"/>
                  </a:lnTo>
                  <a:lnTo>
                    <a:pt x="205" y="75"/>
                  </a:lnTo>
                  <a:lnTo>
                    <a:pt x="205" y="38"/>
                  </a:lnTo>
                  <a:close/>
                  <a:moveTo>
                    <a:pt x="162" y="38"/>
                  </a:moveTo>
                  <a:lnTo>
                    <a:pt x="162" y="27"/>
                  </a:lnTo>
                  <a:lnTo>
                    <a:pt x="162" y="27"/>
                  </a:lnTo>
                  <a:lnTo>
                    <a:pt x="164" y="20"/>
                  </a:lnTo>
                  <a:lnTo>
                    <a:pt x="168" y="15"/>
                  </a:lnTo>
                  <a:lnTo>
                    <a:pt x="173" y="12"/>
                  </a:lnTo>
                  <a:lnTo>
                    <a:pt x="178" y="11"/>
                  </a:lnTo>
                  <a:lnTo>
                    <a:pt x="178" y="11"/>
                  </a:lnTo>
                  <a:lnTo>
                    <a:pt x="185" y="12"/>
                  </a:lnTo>
                  <a:lnTo>
                    <a:pt x="191" y="15"/>
                  </a:lnTo>
                  <a:lnTo>
                    <a:pt x="193" y="20"/>
                  </a:lnTo>
                  <a:lnTo>
                    <a:pt x="195" y="27"/>
                  </a:lnTo>
                  <a:lnTo>
                    <a:pt x="195" y="38"/>
                  </a:lnTo>
                  <a:lnTo>
                    <a:pt x="195" y="75"/>
                  </a:lnTo>
                  <a:lnTo>
                    <a:pt x="162" y="75"/>
                  </a:lnTo>
                  <a:lnTo>
                    <a:pt x="162" y="38"/>
                  </a:lnTo>
                  <a:close/>
                  <a:moveTo>
                    <a:pt x="157" y="118"/>
                  </a:moveTo>
                  <a:lnTo>
                    <a:pt x="157" y="118"/>
                  </a:lnTo>
                  <a:lnTo>
                    <a:pt x="164" y="120"/>
                  </a:lnTo>
                  <a:lnTo>
                    <a:pt x="170" y="121"/>
                  </a:lnTo>
                  <a:lnTo>
                    <a:pt x="176" y="124"/>
                  </a:lnTo>
                  <a:lnTo>
                    <a:pt x="180" y="128"/>
                  </a:lnTo>
                  <a:lnTo>
                    <a:pt x="184" y="133"/>
                  </a:lnTo>
                  <a:lnTo>
                    <a:pt x="187" y="138"/>
                  </a:lnTo>
                  <a:lnTo>
                    <a:pt x="189" y="145"/>
                  </a:lnTo>
                  <a:lnTo>
                    <a:pt x="189" y="152"/>
                  </a:lnTo>
                  <a:lnTo>
                    <a:pt x="189" y="152"/>
                  </a:lnTo>
                  <a:lnTo>
                    <a:pt x="189" y="157"/>
                  </a:lnTo>
                  <a:lnTo>
                    <a:pt x="187" y="164"/>
                  </a:lnTo>
                  <a:lnTo>
                    <a:pt x="184" y="169"/>
                  </a:lnTo>
                  <a:lnTo>
                    <a:pt x="180" y="175"/>
                  </a:lnTo>
                  <a:lnTo>
                    <a:pt x="176" y="179"/>
                  </a:lnTo>
                  <a:lnTo>
                    <a:pt x="170" y="181"/>
                  </a:lnTo>
                  <a:lnTo>
                    <a:pt x="164" y="183"/>
                  </a:lnTo>
                  <a:lnTo>
                    <a:pt x="157" y="184"/>
                  </a:lnTo>
                  <a:lnTo>
                    <a:pt x="157" y="184"/>
                  </a:lnTo>
                  <a:lnTo>
                    <a:pt x="150" y="183"/>
                  </a:lnTo>
                  <a:lnTo>
                    <a:pt x="145" y="181"/>
                  </a:lnTo>
                  <a:lnTo>
                    <a:pt x="140" y="179"/>
                  </a:lnTo>
                  <a:lnTo>
                    <a:pt x="134" y="175"/>
                  </a:lnTo>
                  <a:lnTo>
                    <a:pt x="130" y="169"/>
                  </a:lnTo>
                  <a:lnTo>
                    <a:pt x="127" y="164"/>
                  </a:lnTo>
                  <a:lnTo>
                    <a:pt x="125" y="157"/>
                  </a:lnTo>
                  <a:lnTo>
                    <a:pt x="125" y="152"/>
                  </a:lnTo>
                  <a:lnTo>
                    <a:pt x="125" y="152"/>
                  </a:lnTo>
                  <a:lnTo>
                    <a:pt x="125" y="145"/>
                  </a:lnTo>
                  <a:lnTo>
                    <a:pt x="127" y="138"/>
                  </a:lnTo>
                  <a:lnTo>
                    <a:pt x="130" y="133"/>
                  </a:lnTo>
                  <a:lnTo>
                    <a:pt x="134" y="128"/>
                  </a:lnTo>
                  <a:lnTo>
                    <a:pt x="140" y="124"/>
                  </a:lnTo>
                  <a:lnTo>
                    <a:pt x="145" y="121"/>
                  </a:lnTo>
                  <a:lnTo>
                    <a:pt x="150" y="120"/>
                  </a:lnTo>
                  <a:lnTo>
                    <a:pt x="157" y="118"/>
                  </a:lnTo>
                  <a:lnTo>
                    <a:pt x="157" y="118"/>
                  </a:lnTo>
                  <a:close/>
                  <a:moveTo>
                    <a:pt x="119" y="48"/>
                  </a:moveTo>
                  <a:lnTo>
                    <a:pt x="119" y="38"/>
                  </a:lnTo>
                  <a:lnTo>
                    <a:pt x="119" y="38"/>
                  </a:lnTo>
                  <a:lnTo>
                    <a:pt x="121" y="31"/>
                  </a:lnTo>
                  <a:lnTo>
                    <a:pt x="123" y="26"/>
                  </a:lnTo>
                  <a:lnTo>
                    <a:pt x="129" y="23"/>
                  </a:lnTo>
                  <a:lnTo>
                    <a:pt x="135" y="22"/>
                  </a:lnTo>
                  <a:lnTo>
                    <a:pt x="135" y="22"/>
                  </a:lnTo>
                  <a:lnTo>
                    <a:pt x="142" y="23"/>
                  </a:lnTo>
                  <a:lnTo>
                    <a:pt x="148" y="26"/>
                  </a:lnTo>
                  <a:lnTo>
                    <a:pt x="150" y="31"/>
                  </a:lnTo>
                  <a:lnTo>
                    <a:pt x="152" y="38"/>
                  </a:lnTo>
                  <a:lnTo>
                    <a:pt x="152" y="75"/>
                  </a:lnTo>
                  <a:lnTo>
                    <a:pt x="119" y="75"/>
                  </a:lnTo>
                  <a:lnTo>
                    <a:pt x="119" y="48"/>
                  </a:lnTo>
                  <a:close/>
                  <a:moveTo>
                    <a:pt x="170" y="227"/>
                  </a:moveTo>
                  <a:lnTo>
                    <a:pt x="170" y="227"/>
                  </a:lnTo>
                  <a:lnTo>
                    <a:pt x="168" y="234"/>
                  </a:lnTo>
                  <a:lnTo>
                    <a:pt x="165" y="241"/>
                  </a:lnTo>
                  <a:lnTo>
                    <a:pt x="164" y="247"/>
                  </a:lnTo>
                  <a:lnTo>
                    <a:pt x="162" y="254"/>
                  </a:lnTo>
                  <a:lnTo>
                    <a:pt x="162" y="254"/>
                  </a:lnTo>
                  <a:lnTo>
                    <a:pt x="162" y="257"/>
                  </a:lnTo>
                  <a:lnTo>
                    <a:pt x="164" y="258"/>
                  </a:lnTo>
                  <a:lnTo>
                    <a:pt x="166" y="259"/>
                  </a:lnTo>
                  <a:lnTo>
                    <a:pt x="168" y="259"/>
                  </a:lnTo>
                  <a:lnTo>
                    <a:pt x="168" y="259"/>
                  </a:lnTo>
                  <a:lnTo>
                    <a:pt x="170" y="259"/>
                  </a:lnTo>
                  <a:lnTo>
                    <a:pt x="172" y="258"/>
                  </a:lnTo>
                  <a:lnTo>
                    <a:pt x="173" y="257"/>
                  </a:lnTo>
                  <a:lnTo>
                    <a:pt x="173" y="254"/>
                  </a:lnTo>
                  <a:lnTo>
                    <a:pt x="173" y="254"/>
                  </a:lnTo>
                  <a:lnTo>
                    <a:pt x="174" y="246"/>
                  </a:lnTo>
                  <a:lnTo>
                    <a:pt x="177" y="239"/>
                  </a:lnTo>
                  <a:lnTo>
                    <a:pt x="180" y="233"/>
                  </a:lnTo>
                  <a:lnTo>
                    <a:pt x="185" y="226"/>
                  </a:lnTo>
                  <a:lnTo>
                    <a:pt x="185" y="226"/>
                  </a:lnTo>
                  <a:lnTo>
                    <a:pt x="185" y="226"/>
                  </a:lnTo>
                  <a:lnTo>
                    <a:pt x="185" y="226"/>
                  </a:lnTo>
                  <a:lnTo>
                    <a:pt x="195" y="218"/>
                  </a:lnTo>
                  <a:lnTo>
                    <a:pt x="207" y="211"/>
                  </a:lnTo>
                  <a:lnTo>
                    <a:pt x="219" y="207"/>
                  </a:lnTo>
                  <a:lnTo>
                    <a:pt x="234" y="206"/>
                  </a:lnTo>
                  <a:lnTo>
                    <a:pt x="234" y="206"/>
                  </a:lnTo>
                  <a:lnTo>
                    <a:pt x="235" y="206"/>
                  </a:lnTo>
                  <a:lnTo>
                    <a:pt x="236" y="204"/>
                  </a:lnTo>
                  <a:lnTo>
                    <a:pt x="238" y="202"/>
                  </a:lnTo>
                  <a:lnTo>
                    <a:pt x="239" y="200"/>
                  </a:lnTo>
                  <a:lnTo>
                    <a:pt x="239" y="168"/>
                  </a:lnTo>
                  <a:lnTo>
                    <a:pt x="239" y="168"/>
                  </a:lnTo>
                  <a:lnTo>
                    <a:pt x="239" y="160"/>
                  </a:lnTo>
                  <a:lnTo>
                    <a:pt x="240" y="153"/>
                  </a:lnTo>
                  <a:lnTo>
                    <a:pt x="244" y="148"/>
                  </a:lnTo>
                  <a:lnTo>
                    <a:pt x="247" y="143"/>
                  </a:lnTo>
                  <a:lnTo>
                    <a:pt x="252" y="137"/>
                  </a:lnTo>
                  <a:lnTo>
                    <a:pt x="258" y="134"/>
                  </a:lnTo>
                  <a:lnTo>
                    <a:pt x="264" y="132"/>
                  </a:lnTo>
                  <a:lnTo>
                    <a:pt x="271" y="130"/>
                  </a:lnTo>
                  <a:lnTo>
                    <a:pt x="271" y="227"/>
                  </a:lnTo>
                  <a:lnTo>
                    <a:pt x="271" y="227"/>
                  </a:lnTo>
                  <a:lnTo>
                    <a:pt x="270" y="237"/>
                  </a:lnTo>
                  <a:lnTo>
                    <a:pt x="268" y="247"/>
                  </a:lnTo>
                  <a:lnTo>
                    <a:pt x="267" y="257"/>
                  </a:lnTo>
                  <a:lnTo>
                    <a:pt x="263" y="265"/>
                  </a:lnTo>
                  <a:lnTo>
                    <a:pt x="259" y="274"/>
                  </a:lnTo>
                  <a:lnTo>
                    <a:pt x="254" y="282"/>
                  </a:lnTo>
                  <a:lnTo>
                    <a:pt x="248" y="289"/>
                  </a:lnTo>
                  <a:lnTo>
                    <a:pt x="243" y="296"/>
                  </a:lnTo>
                  <a:lnTo>
                    <a:pt x="235" y="302"/>
                  </a:lnTo>
                  <a:lnTo>
                    <a:pt x="228" y="308"/>
                  </a:lnTo>
                  <a:lnTo>
                    <a:pt x="220" y="313"/>
                  </a:lnTo>
                  <a:lnTo>
                    <a:pt x="211" y="317"/>
                  </a:lnTo>
                  <a:lnTo>
                    <a:pt x="203" y="320"/>
                  </a:lnTo>
                  <a:lnTo>
                    <a:pt x="193" y="322"/>
                  </a:lnTo>
                  <a:lnTo>
                    <a:pt x="184" y="324"/>
                  </a:lnTo>
                  <a:lnTo>
                    <a:pt x="173" y="325"/>
                  </a:lnTo>
                  <a:lnTo>
                    <a:pt x="173" y="325"/>
                  </a:lnTo>
                  <a:lnTo>
                    <a:pt x="164" y="324"/>
                  </a:lnTo>
                  <a:lnTo>
                    <a:pt x="154" y="322"/>
                  </a:lnTo>
                  <a:lnTo>
                    <a:pt x="145" y="320"/>
                  </a:lnTo>
                  <a:lnTo>
                    <a:pt x="135" y="317"/>
                  </a:lnTo>
                  <a:lnTo>
                    <a:pt x="127" y="313"/>
                  </a:lnTo>
                  <a:lnTo>
                    <a:pt x="119" y="308"/>
                  </a:lnTo>
                  <a:lnTo>
                    <a:pt x="111" y="302"/>
                  </a:lnTo>
                  <a:lnTo>
                    <a:pt x="105" y="296"/>
                  </a:lnTo>
                  <a:lnTo>
                    <a:pt x="98" y="289"/>
                  </a:lnTo>
                  <a:lnTo>
                    <a:pt x="93" y="282"/>
                  </a:lnTo>
                  <a:lnTo>
                    <a:pt x="87" y="274"/>
                  </a:lnTo>
                  <a:lnTo>
                    <a:pt x="83" y="265"/>
                  </a:lnTo>
                  <a:lnTo>
                    <a:pt x="80" y="257"/>
                  </a:lnTo>
                  <a:lnTo>
                    <a:pt x="78" y="247"/>
                  </a:lnTo>
                  <a:lnTo>
                    <a:pt x="76" y="237"/>
                  </a:lnTo>
                  <a:lnTo>
                    <a:pt x="76" y="227"/>
                  </a:lnTo>
                  <a:lnTo>
                    <a:pt x="170" y="227"/>
                  </a:lnTo>
                  <a:close/>
                  <a:moveTo>
                    <a:pt x="76" y="48"/>
                  </a:moveTo>
                  <a:lnTo>
                    <a:pt x="76" y="48"/>
                  </a:lnTo>
                  <a:lnTo>
                    <a:pt x="78" y="42"/>
                  </a:lnTo>
                  <a:lnTo>
                    <a:pt x="80" y="36"/>
                  </a:lnTo>
                  <a:lnTo>
                    <a:pt x="86" y="34"/>
                  </a:lnTo>
                  <a:lnTo>
                    <a:pt x="93" y="32"/>
                  </a:lnTo>
                  <a:lnTo>
                    <a:pt x="93" y="32"/>
                  </a:lnTo>
                  <a:lnTo>
                    <a:pt x="98" y="34"/>
                  </a:lnTo>
                  <a:lnTo>
                    <a:pt x="103" y="36"/>
                  </a:lnTo>
                  <a:lnTo>
                    <a:pt x="107" y="42"/>
                  </a:lnTo>
                  <a:lnTo>
                    <a:pt x="109" y="48"/>
                  </a:lnTo>
                  <a:lnTo>
                    <a:pt x="109" y="75"/>
                  </a:lnTo>
                  <a:lnTo>
                    <a:pt x="76" y="75"/>
                  </a:lnTo>
                  <a:lnTo>
                    <a:pt x="76" y="48"/>
                  </a:lnTo>
                  <a:close/>
                  <a:moveTo>
                    <a:pt x="48" y="118"/>
                  </a:moveTo>
                  <a:lnTo>
                    <a:pt x="93" y="118"/>
                  </a:lnTo>
                  <a:lnTo>
                    <a:pt x="93" y="118"/>
                  </a:lnTo>
                  <a:lnTo>
                    <a:pt x="94" y="120"/>
                  </a:lnTo>
                  <a:lnTo>
                    <a:pt x="97" y="121"/>
                  </a:lnTo>
                  <a:lnTo>
                    <a:pt x="97" y="122"/>
                  </a:lnTo>
                  <a:lnTo>
                    <a:pt x="98" y="124"/>
                  </a:lnTo>
                  <a:lnTo>
                    <a:pt x="98" y="124"/>
                  </a:lnTo>
                  <a:lnTo>
                    <a:pt x="97" y="126"/>
                  </a:lnTo>
                  <a:lnTo>
                    <a:pt x="97" y="128"/>
                  </a:lnTo>
                  <a:lnTo>
                    <a:pt x="94" y="129"/>
                  </a:lnTo>
                  <a:lnTo>
                    <a:pt x="93" y="129"/>
                  </a:lnTo>
                  <a:lnTo>
                    <a:pt x="48" y="129"/>
                  </a:lnTo>
                  <a:lnTo>
                    <a:pt x="48" y="129"/>
                  </a:lnTo>
                  <a:lnTo>
                    <a:pt x="47" y="129"/>
                  </a:lnTo>
                  <a:lnTo>
                    <a:pt x="45" y="128"/>
                  </a:lnTo>
                  <a:lnTo>
                    <a:pt x="44" y="126"/>
                  </a:lnTo>
                  <a:lnTo>
                    <a:pt x="43" y="124"/>
                  </a:lnTo>
                  <a:lnTo>
                    <a:pt x="43" y="124"/>
                  </a:lnTo>
                  <a:lnTo>
                    <a:pt x="44" y="122"/>
                  </a:lnTo>
                  <a:lnTo>
                    <a:pt x="45" y="121"/>
                  </a:lnTo>
                  <a:lnTo>
                    <a:pt x="47" y="120"/>
                  </a:lnTo>
                  <a:lnTo>
                    <a:pt x="48" y="118"/>
                  </a:lnTo>
                  <a:lnTo>
                    <a:pt x="48"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66" name="Group 65">
            <a:extLst>
              <a:ext uri="{FF2B5EF4-FFF2-40B4-BE49-F238E27FC236}">
                <a16:creationId xmlns:a16="http://schemas.microsoft.com/office/drawing/2014/main" id="{D836AE27-A8EB-481C-B73B-2926E63ACAD8}"/>
              </a:ext>
            </a:extLst>
          </p:cNvPr>
          <p:cNvGrpSpPr/>
          <p:nvPr/>
        </p:nvGrpSpPr>
        <p:grpSpPr>
          <a:xfrm>
            <a:off x="6810529" y="6349953"/>
            <a:ext cx="5171336" cy="215444"/>
            <a:chOff x="4972699" y="6369296"/>
            <a:chExt cx="5171336" cy="215444"/>
          </a:xfrm>
        </p:grpSpPr>
        <p:sp>
          <p:nvSpPr>
            <p:cNvPr id="67" name="TextBox 66">
              <a:extLst>
                <a:ext uri="{FF2B5EF4-FFF2-40B4-BE49-F238E27FC236}">
                  <a16:creationId xmlns:a16="http://schemas.microsoft.com/office/drawing/2014/main" id="{C6A8A47B-FF82-4132-9B2D-6471F4D473A9}"/>
                </a:ext>
              </a:extLst>
            </p:cNvPr>
            <p:cNvSpPr txBox="1"/>
            <p:nvPr/>
          </p:nvSpPr>
          <p:spPr>
            <a:xfrm>
              <a:off x="6884010" y="6427385"/>
              <a:ext cx="1375760" cy="123111"/>
            </a:xfrm>
            <a:prstGeom prst="rect">
              <a:avLst/>
            </a:prstGeom>
            <a:noFill/>
            <a:ln>
              <a:noFill/>
              <a:prstDash val="dash"/>
            </a:ln>
          </p:spPr>
          <p:txBody>
            <a:bodyPr vert="horz" wrap="square" lIns="0" tIns="0" rIns="0" bIns="0" rtlCol="0" anchor="ctr">
              <a:spAutoFit/>
            </a:bodyPr>
            <a:lstStyle>
              <a:defPPr>
                <a:defRPr lang="en-US"/>
              </a:defPPr>
              <a:lvl1pPr algn="ctr">
                <a:defRPr sz="1200">
                  <a:solidFill>
                    <a:schemeClr val="accent1">
                      <a:lumMod val="75000"/>
                      <a:lumOff val="2500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latin typeface="Open Sans" charset="0"/>
                  <a:ea typeface="Open Sans" charset="0"/>
                  <a:cs typeface="Open Sans" charset="0"/>
                </a:rPr>
                <a:t>Digital Touchpoint</a:t>
              </a:r>
            </a:p>
          </p:txBody>
        </p:sp>
        <p:sp>
          <p:nvSpPr>
            <p:cNvPr id="68" name="TextBox 67">
              <a:extLst>
                <a:ext uri="{FF2B5EF4-FFF2-40B4-BE49-F238E27FC236}">
                  <a16:creationId xmlns:a16="http://schemas.microsoft.com/office/drawing/2014/main" id="{235D1023-36A0-4BAD-AE24-45CEBB2BE58E}"/>
                </a:ext>
              </a:extLst>
            </p:cNvPr>
            <p:cNvSpPr txBox="1"/>
            <p:nvPr/>
          </p:nvSpPr>
          <p:spPr>
            <a:xfrm>
              <a:off x="5391943" y="6427385"/>
              <a:ext cx="1546652" cy="123111"/>
            </a:xfrm>
            <a:prstGeom prst="rect">
              <a:avLst/>
            </a:prstGeom>
            <a:noFill/>
            <a:ln>
              <a:noFill/>
              <a:prstDash val="dash"/>
            </a:ln>
          </p:spPr>
          <p:txBody>
            <a:bodyPr vert="horz" wrap="square" lIns="0" tIns="0" rIns="0" bIns="0" rtlCol="0" anchor="ctr">
              <a:spAutoFit/>
            </a:bodyPr>
            <a:lstStyle>
              <a:defPPr>
                <a:defRPr lang="en-US"/>
              </a:defPPr>
              <a:lvl1pPr algn="ctr">
                <a:defRPr sz="1200">
                  <a:solidFill>
                    <a:schemeClr val="accent1">
                      <a:lumMod val="75000"/>
                      <a:lumOff val="2500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latin typeface="Open Sans" charset="0"/>
                  <a:ea typeface="Open Sans" charset="0"/>
                  <a:cs typeface="Open Sans" charset="0"/>
                </a:rPr>
                <a:t>Traditional Touchpoint</a:t>
              </a:r>
            </a:p>
          </p:txBody>
        </p:sp>
        <p:sp>
          <p:nvSpPr>
            <p:cNvPr id="69" name="TextBox 68">
              <a:extLst>
                <a:ext uri="{FF2B5EF4-FFF2-40B4-BE49-F238E27FC236}">
                  <a16:creationId xmlns:a16="http://schemas.microsoft.com/office/drawing/2014/main" id="{E5A01BC1-71B3-496F-B00F-CD94ACD5D065}"/>
                </a:ext>
              </a:extLst>
            </p:cNvPr>
            <p:cNvSpPr txBox="1"/>
            <p:nvPr/>
          </p:nvSpPr>
          <p:spPr>
            <a:xfrm>
              <a:off x="8119842" y="6427385"/>
              <a:ext cx="2024193" cy="123111"/>
            </a:xfrm>
            <a:prstGeom prst="rect">
              <a:avLst/>
            </a:prstGeom>
            <a:noFill/>
            <a:ln>
              <a:noFill/>
              <a:prstDash val="dash"/>
            </a:ln>
          </p:spPr>
          <p:txBody>
            <a:bodyPr vert="horz" wrap="square" lIns="0" tIns="0" rIns="0" bIns="0" rtlCol="0" anchor="ctr">
              <a:spAutoFit/>
            </a:bodyPr>
            <a:lstStyle>
              <a:defPPr>
                <a:defRPr lang="en-US"/>
              </a:defPPr>
              <a:lvl1pPr algn="ctr">
                <a:defRPr sz="1200">
                  <a:solidFill>
                    <a:schemeClr val="accent1">
                      <a:lumMod val="75000"/>
                      <a:lumOff val="25000"/>
                    </a:schemeClr>
                  </a:solidFil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latin typeface="Open Sans" charset="0"/>
                  <a:ea typeface="Open Sans" charset="0"/>
                  <a:cs typeface="Open Sans" charset="0"/>
                </a:rPr>
                <a:t>Next Gen Digital Touchpoint</a:t>
              </a:r>
            </a:p>
          </p:txBody>
        </p:sp>
        <p:sp>
          <p:nvSpPr>
            <p:cNvPr id="70" name="TextBox 69">
              <a:extLst>
                <a:ext uri="{FF2B5EF4-FFF2-40B4-BE49-F238E27FC236}">
                  <a16:creationId xmlns:a16="http://schemas.microsoft.com/office/drawing/2014/main" id="{3DF9862B-44FE-4287-99A0-386763DD8085}"/>
                </a:ext>
              </a:extLst>
            </p:cNvPr>
            <p:cNvSpPr txBox="1"/>
            <p:nvPr/>
          </p:nvSpPr>
          <p:spPr>
            <a:xfrm>
              <a:off x="4972699" y="6369296"/>
              <a:ext cx="314433" cy="215444"/>
            </a:xfrm>
            <a:prstGeom prst="rect">
              <a:avLst/>
            </a:prstGeom>
            <a:noFill/>
          </p:spPr>
          <p:txBody>
            <a:bodyPr wrap="square" lIns="0" r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Open Sans" charset="0"/>
                  <a:ea typeface="Open Sans" charset="0"/>
                  <a:cs typeface="Open Sans" charset="0"/>
                </a:rPr>
                <a:t>Key</a:t>
              </a:r>
            </a:p>
          </p:txBody>
        </p:sp>
        <p:sp>
          <p:nvSpPr>
            <p:cNvPr id="71" name="Oval 70">
              <a:extLst>
                <a:ext uri="{FF2B5EF4-FFF2-40B4-BE49-F238E27FC236}">
                  <a16:creationId xmlns:a16="http://schemas.microsoft.com/office/drawing/2014/main" id="{C6ACD758-507B-44A8-BE20-4CCCB29D3592}"/>
                </a:ext>
              </a:extLst>
            </p:cNvPr>
            <p:cNvSpPr/>
            <p:nvPr/>
          </p:nvSpPr>
          <p:spPr>
            <a:xfrm>
              <a:off x="5248230" y="6423602"/>
              <a:ext cx="99684" cy="99684"/>
            </a:xfrm>
            <a:prstGeom prst="ellipse">
              <a:avLst/>
            </a:prstGeom>
            <a:solidFill>
              <a:schemeClr val="bg1"/>
            </a:solidFill>
            <a:ln w="22225" cap="flat" cmpd="sng" algn="ctr">
              <a:solidFill>
                <a:schemeClr val="accent1"/>
              </a:solid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Open Sans" charset="0"/>
                <a:ea typeface="Open Sans" charset="0"/>
                <a:cs typeface="Open Sans" charset="0"/>
              </a:endParaRPr>
            </a:p>
          </p:txBody>
        </p:sp>
        <p:sp>
          <p:nvSpPr>
            <p:cNvPr id="72" name="Oval 71">
              <a:extLst>
                <a:ext uri="{FF2B5EF4-FFF2-40B4-BE49-F238E27FC236}">
                  <a16:creationId xmlns:a16="http://schemas.microsoft.com/office/drawing/2014/main" id="{1B0EDC8B-8117-411C-85B6-5D3C32FEE909}"/>
                </a:ext>
              </a:extLst>
            </p:cNvPr>
            <p:cNvSpPr/>
            <p:nvPr/>
          </p:nvSpPr>
          <p:spPr>
            <a:xfrm>
              <a:off x="6715790" y="6423602"/>
              <a:ext cx="99684" cy="99684"/>
            </a:xfrm>
            <a:prstGeom prst="ellipse">
              <a:avLst/>
            </a:prstGeom>
            <a:solidFill>
              <a:schemeClr val="bg1"/>
            </a:solidFill>
            <a:ln w="22225" cap="flat" cmpd="sng" algn="ctr">
              <a:solidFill>
                <a:schemeClr val="bg1">
                  <a:lumMod val="50000"/>
                </a:schemeClr>
              </a:solid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Open Sans" charset="0"/>
                <a:ea typeface="Open Sans" charset="0"/>
                <a:cs typeface="Open Sans" charset="0"/>
              </a:endParaRPr>
            </a:p>
          </p:txBody>
        </p:sp>
        <p:sp>
          <p:nvSpPr>
            <p:cNvPr id="73" name="Oval 72">
              <a:extLst>
                <a:ext uri="{FF2B5EF4-FFF2-40B4-BE49-F238E27FC236}">
                  <a16:creationId xmlns:a16="http://schemas.microsoft.com/office/drawing/2014/main" id="{407B12E1-D3C8-4F47-A556-C050033042BE}"/>
                </a:ext>
              </a:extLst>
            </p:cNvPr>
            <p:cNvSpPr/>
            <p:nvPr/>
          </p:nvSpPr>
          <p:spPr>
            <a:xfrm>
              <a:off x="7958365" y="6423602"/>
              <a:ext cx="99684" cy="99684"/>
            </a:xfrm>
            <a:prstGeom prst="ellipse">
              <a:avLst/>
            </a:prstGeom>
            <a:solidFill>
              <a:schemeClr val="bg1"/>
            </a:solidFill>
            <a:ln w="22225" cap="flat" cmpd="sng" algn="ctr">
              <a:solidFill>
                <a:schemeClr val="accent2"/>
              </a:solid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Open Sans" charset="0"/>
                <a:ea typeface="Open Sans" charset="0"/>
                <a:cs typeface="Open Sans" charset="0"/>
              </a:endParaRPr>
            </a:p>
          </p:txBody>
        </p:sp>
      </p:grpSp>
      <p:grpSp>
        <p:nvGrpSpPr>
          <p:cNvPr id="74" name="Group 73">
            <a:extLst>
              <a:ext uri="{FF2B5EF4-FFF2-40B4-BE49-F238E27FC236}">
                <a16:creationId xmlns:a16="http://schemas.microsoft.com/office/drawing/2014/main" id="{6CA264B7-C55C-46FC-B254-81687EB5F2B8}"/>
              </a:ext>
            </a:extLst>
          </p:cNvPr>
          <p:cNvGrpSpPr/>
          <p:nvPr/>
        </p:nvGrpSpPr>
        <p:grpSpPr>
          <a:xfrm>
            <a:off x="2333948" y="4529919"/>
            <a:ext cx="1348242" cy="1348242"/>
            <a:chOff x="2333948" y="4529919"/>
            <a:chExt cx="1348242" cy="1348242"/>
          </a:xfrm>
        </p:grpSpPr>
        <p:sp>
          <p:nvSpPr>
            <p:cNvPr id="75" name="Oval 74">
              <a:extLst>
                <a:ext uri="{FF2B5EF4-FFF2-40B4-BE49-F238E27FC236}">
                  <a16:creationId xmlns:a16="http://schemas.microsoft.com/office/drawing/2014/main" id="{7F0BD7E7-090E-4F66-A803-B77B6872D599}"/>
                </a:ext>
              </a:extLst>
            </p:cNvPr>
            <p:cNvSpPr>
              <a:spLocks noChangeAspect="1"/>
            </p:cNvSpPr>
            <p:nvPr/>
          </p:nvSpPr>
          <p:spPr bwMode="gray">
            <a:xfrm>
              <a:off x="2333948" y="4529919"/>
              <a:ext cx="1348242" cy="1348242"/>
            </a:xfrm>
            <a:prstGeom prst="ellipse">
              <a:avLst/>
            </a:prstGeom>
            <a:solidFill>
              <a:schemeClr val="bg1"/>
            </a:solidFill>
            <a:ln w="38100" algn="ctr">
              <a:solidFill>
                <a:schemeClr val="bg1">
                  <a:lumMod val="85000"/>
                </a:schemeClr>
              </a:solidFill>
              <a:miter lim="800000"/>
              <a:headEnd/>
              <a:tailEnd/>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730" b="0" i="0" u="none" strike="noStrike" kern="0" cap="none" spc="-10" normalizeH="0" baseline="0" noProof="0" dirty="0">
                <a:ln>
                  <a:noFill/>
                </a:ln>
                <a:solidFill>
                  <a:srgbClr val="5C5C5C"/>
                </a:solidFill>
                <a:effectLst/>
                <a:uLnTx/>
                <a:uFillTx/>
                <a:latin typeface="Open Sans" charset="0"/>
                <a:ea typeface="Open Sans" charset="0"/>
                <a:cs typeface="Open Sans" charset="0"/>
              </a:endParaRPr>
            </a:p>
          </p:txBody>
        </p:sp>
        <p:sp>
          <p:nvSpPr>
            <p:cNvPr id="76" name="TextBox 75">
              <a:extLst>
                <a:ext uri="{FF2B5EF4-FFF2-40B4-BE49-F238E27FC236}">
                  <a16:creationId xmlns:a16="http://schemas.microsoft.com/office/drawing/2014/main" id="{EFE83A6F-182C-43B6-A42D-54C047A34E90}"/>
                </a:ext>
              </a:extLst>
            </p:cNvPr>
            <p:cNvSpPr txBox="1"/>
            <p:nvPr/>
          </p:nvSpPr>
          <p:spPr>
            <a:xfrm>
              <a:off x="2393478" y="5185911"/>
              <a:ext cx="1225936" cy="397077"/>
            </a:xfrm>
            <a:prstGeom prst="rect">
              <a:avLst/>
            </a:prstGeom>
            <a:noFill/>
          </p:spPr>
          <p:txBody>
            <a:bodyPr vert="horz" wrap="square" lIns="0" tIns="0" rIns="0" bIns="0" rtlCol="0">
              <a:noAutofit/>
            </a:bodyPr>
            <a:lstStyle/>
            <a:p>
              <a:pPr marL="0" marR="0" lvl="0" indent="0" algn="ctr" defTabSz="1219170" rtl="0" eaLnBrk="1" fontAlgn="auto" latinLnBrk="0" hangingPunct="1">
                <a:lnSpc>
                  <a:spcPct val="100000"/>
                </a:lnSpc>
                <a:spcBef>
                  <a:spcPts val="200"/>
                </a:spcBef>
                <a:spcAft>
                  <a:spcPts val="0"/>
                </a:spcAft>
                <a:buClrTx/>
                <a:buSzPct val="100000"/>
                <a:buFontTx/>
                <a:buNone/>
                <a:tabLst/>
                <a:defRPr/>
              </a:pPr>
              <a:r>
                <a:rPr kumimoji="0" lang="en-US" sz="1400" b="1" i="0" u="none" strike="noStrike" kern="0" cap="none" spc="0" normalizeH="0" baseline="0" noProof="0" dirty="0">
                  <a:ln>
                    <a:noFill/>
                  </a:ln>
                  <a:solidFill>
                    <a:srgbClr val="000000"/>
                  </a:solidFill>
                  <a:effectLst/>
                  <a:uLnTx/>
                  <a:uFillTx/>
                  <a:latin typeface="Open Sans" charset="0"/>
                  <a:ea typeface="Open Sans" charset="0"/>
                  <a:cs typeface="Open Sans" charset="0"/>
                </a:rPr>
                <a:t>Browse &amp; Research</a:t>
              </a:r>
            </a:p>
          </p:txBody>
        </p:sp>
        <p:grpSp>
          <p:nvGrpSpPr>
            <p:cNvPr id="77" name="Group 76">
              <a:extLst>
                <a:ext uri="{FF2B5EF4-FFF2-40B4-BE49-F238E27FC236}">
                  <a16:creationId xmlns:a16="http://schemas.microsoft.com/office/drawing/2014/main" id="{BC15AE48-EE92-4075-90F9-B3D9401E0FDB}"/>
                </a:ext>
              </a:extLst>
            </p:cNvPr>
            <p:cNvGrpSpPr>
              <a:grpSpLocks noChangeAspect="1"/>
            </p:cNvGrpSpPr>
            <p:nvPr/>
          </p:nvGrpSpPr>
          <p:grpSpPr>
            <a:xfrm>
              <a:off x="2813145" y="4787153"/>
              <a:ext cx="330481" cy="332323"/>
              <a:chOff x="11223626" y="4299585"/>
              <a:chExt cx="284163" cy="285750"/>
            </a:xfrm>
          </p:grpSpPr>
          <p:sp>
            <p:nvSpPr>
              <p:cNvPr id="78" name="Freeform 327">
                <a:extLst>
                  <a:ext uri="{FF2B5EF4-FFF2-40B4-BE49-F238E27FC236}">
                    <a16:creationId xmlns:a16="http://schemas.microsoft.com/office/drawing/2014/main" id="{D9874B53-ADC0-4B75-B25D-9BD786C58B76}"/>
                  </a:ext>
                </a:extLst>
              </p:cNvPr>
              <p:cNvSpPr>
                <a:spLocks/>
              </p:cNvSpPr>
              <p:nvPr/>
            </p:nvSpPr>
            <p:spPr bwMode="auto">
              <a:xfrm>
                <a:off x="11260138" y="4337685"/>
                <a:ext cx="66675" cy="66675"/>
              </a:xfrm>
              <a:custGeom>
                <a:avLst/>
                <a:gdLst>
                  <a:gd name="T0" fmla="*/ 2 w 85"/>
                  <a:gd name="T1" fmla="*/ 81 h 85"/>
                  <a:gd name="T2" fmla="*/ 2 w 85"/>
                  <a:gd name="T3" fmla="*/ 81 h 85"/>
                  <a:gd name="T4" fmla="*/ 4 w 85"/>
                  <a:gd name="T5" fmla="*/ 84 h 85"/>
                  <a:gd name="T6" fmla="*/ 7 w 85"/>
                  <a:gd name="T7" fmla="*/ 84 h 85"/>
                  <a:gd name="T8" fmla="*/ 7 w 85"/>
                  <a:gd name="T9" fmla="*/ 84 h 85"/>
                  <a:gd name="T10" fmla="*/ 8 w 85"/>
                  <a:gd name="T11" fmla="*/ 85 h 85"/>
                  <a:gd name="T12" fmla="*/ 8 w 85"/>
                  <a:gd name="T13" fmla="*/ 85 h 85"/>
                  <a:gd name="T14" fmla="*/ 11 w 85"/>
                  <a:gd name="T15" fmla="*/ 84 h 85"/>
                  <a:gd name="T16" fmla="*/ 14 w 85"/>
                  <a:gd name="T17" fmla="*/ 82 h 85"/>
                  <a:gd name="T18" fmla="*/ 16 w 85"/>
                  <a:gd name="T19" fmla="*/ 80 h 85"/>
                  <a:gd name="T20" fmla="*/ 16 w 85"/>
                  <a:gd name="T21" fmla="*/ 77 h 85"/>
                  <a:gd name="T22" fmla="*/ 16 w 85"/>
                  <a:gd name="T23" fmla="*/ 77 h 85"/>
                  <a:gd name="T24" fmla="*/ 19 w 85"/>
                  <a:gd name="T25" fmla="*/ 66 h 85"/>
                  <a:gd name="T26" fmla="*/ 24 w 85"/>
                  <a:gd name="T27" fmla="*/ 56 h 85"/>
                  <a:gd name="T28" fmla="*/ 30 w 85"/>
                  <a:gd name="T29" fmla="*/ 46 h 85"/>
                  <a:gd name="T30" fmla="*/ 37 w 85"/>
                  <a:gd name="T31" fmla="*/ 37 h 85"/>
                  <a:gd name="T32" fmla="*/ 46 w 85"/>
                  <a:gd name="T33" fmla="*/ 30 h 85"/>
                  <a:gd name="T34" fmla="*/ 55 w 85"/>
                  <a:gd name="T35" fmla="*/ 23 h 85"/>
                  <a:gd name="T36" fmla="*/ 66 w 85"/>
                  <a:gd name="T37" fmla="*/ 19 h 85"/>
                  <a:gd name="T38" fmla="*/ 77 w 85"/>
                  <a:gd name="T39" fmla="*/ 17 h 85"/>
                  <a:gd name="T40" fmla="*/ 77 w 85"/>
                  <a:gd name="T41" fmla="*/ 17 h 85"/>
                  <a:gd name="T42" fmla="*/ 81 w 85"/>
                  <a:gd name="T43" fmla="*/ 15 h 85"/>
                  <a:gd name="T44" fmla="*/ 82 w 85"/>
                  <a:gd name="T45" fmla="*/ 14 h 85"/>
                  <a:gd name="T46" fmla="*/ 82 w 85"/>
                  <a:gd name="T47" fmla="*/ 14 h 85"/>
                  <a:gd name="T48" fmla="*/ 84 w 85"/>
                  <a:gd name="T49" fmla="*/ 10 h 85"/>
                  <a:gd name="T50" fmla="*/ 85 w 85"/>
                  <a:gd name="T51" fmla="*/ 7 h 85"/>
                  <a:gd name="T52" fmla="*/ 85 w 85"/>
                  <a:gd name="T53" fmla="*/ 7 h 85"/>
                  <a:gd name="T54" fmla="*/ 84 w 85"/>
                  <a:gd name="T55" fmla="*/ 4 h 85"/>
                  <a:gd name="T56" fmla="*/ 81 w 85"/>
                  <a:gd name="T57" fmla="*/ 2 h 85"/>
                  <a:gd name="T58" fmla="*/ 78 w 85"/>
                  <a:gd name="T59" fmla="*/ 0 h 85"/>
                  <a:gd name="T60" fmla="*/ 74 w 85"/>
                  <a:gd name="T61" fmla="*/ 0 h 85"/>
                  <a:gd name="T62" fmla="*/ 74 w 85"/>
                  <a:gd name="T63" fmla="*/ 0 h 85"/>
                  <a:gd name="T64" fmla="*/ 61 w 85"/>
                  <a:gd name="T65" fmla="*/ 3 h 85"/>
                  <a:gd name="T66" fmla="*/ 47 w 85"/>
                  <a:gd name="T67" fmla="*/ 8 h 85"/>
                  <a:gd name="T68" fmla="*/ 35 w 85"/>
                  <a:gd name="T69" fmla="*/ 15 h 85"/>
                  <a:gd name="T70" fmla="*/ 24 w 85"/>
                  <a:gd name="T71" fmla="*/ 25 h 85"/>
                  <a:gd name="T72" fmla="*/ 16 w 85"/>
                  <a:gd name="T73" fmla="*/ 35 h 85"/>
                  <a:gd name="T74" fmla="*/ 8 w 85"/>
                  <a:gd name="T75" fmla="*/ 47 h 85"/>
                  <a:gd name="T76" fmla="*/ 3 w 85"/>
                  <a:gd name="T77" fmla="*/ 61 h 85"/>
                  <a:gd name="T78" fmla="*/ 0 w 85"/>
                  <a:gd name="T79" fmla="*/ 74 h 85"/>
                  <a:gd name="T80" fmla="*/ 0 w 85"/>
                  <a:gd name="T81" fmla="*/ 74 h 85"/>
                  <a:gd name="T82" fmla="*/ 0 w 85"/>
                  <a:gd name="T83" fmla="*/ 78 h 85"/>
                  <a:gd name="T84" fmla="*/ 2 w 85"/>
                  <a:gd name="T85" fmla="*/ 81 h 85"/>
                  <a:gd name="T86" fmla="*/ 2 w 85"/>
                  <a:gd name="T87"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 h="85">
                    <a:moveTo>
                      <a:pt x="2" y="81"/>
                    </a:moveTo>
                    <a:lnTo>
                      <a:pt x="2" y="81"/>
                    </a:lnTo>
                    <a:lnTo>
                      <a:pt x="4" y="84"/>
                    </a:lnTo>
                    <a:lnTo>
                      <a:pt x="7" y="84"/>
                    </a:lnTo>
                    <a:lnTo>
                      <a:pt x="7" y="84"/>
                    </a:lnTo>
                    <a:lnTo>
                      <a:pt x="8" y="85"/>
                    </a:lnTo>
                    <a:lnTo>
                      <a:pt x="8" y="85"/>
                    </a:lnTo>
                    <a:lnTo>
                      <a:pt x="11" y="84"/>
                    </a:lnTo>
                    <a:lnTo>
                      <a:pt x="14" y="82"/>
                    </a:lnTo>
                    <a:lnTo>
                      <a:pt x="16" y="80"/>
                    </a:lnTo>
                    <a:lnTo>
                      <a:pt x="16" y="77"/>
                    </a:lnTo>
                    <a:lnTo>
                      <a:pt x="16" y="77"/>
                    </a:lnTo>
                    <a:lnTo>
                      <a:pt x="19" y="66"/>
                    </a:lnTo>
                    <a:lnTo>
                      <a:pt x="24" y="56"/>
                    </a:lnTo>
                    <a:lnTo>
                      <a:pt x="30" y="46"/>
                    </a:lnTo>
                    <a:lnTo>
                      <a:pt x="37" y="37"/>
                    </a:lnTo>
                    <a:lnTo>
                      <a:pt x="46" y="30"/>
                    </a:lnTo>
                    <a:lnTo>
                      <a:pt x="55" y="23"/>
                    </a:lnTo>
                    <a:lnTo>
                      <a:pt x="66" y="19"/>
                    </a:lnTo>
                    <a:lnTo>
                      <a:pt x="77" y="17"/>
                    </a:lnTo>
                    <a:lnTo>
                      <a:pt x="77" y="17"/>
                    </a:lnTo>
                    <a:lnTo>
                      <a:pt x="81" y="15"/>
                    </a:lnTo>
                    <a:lnTo>
                      <a:pt x="82" y="14"/>
                    </a:lnTo>
                    <a:lnTo>
                      <a:pt x="82" y="14"/>
                    </a:lnTo>
                    <a:lnTo>
                      <a:pt x="84" y="10"/>
                    </a:lnTo>
                    <a:lnTo>
                      <a:pt x="85" y="7"/>
                    </a:lnTo>
                    <a:lnTo>
                      <a:pt x="85" y="7"/>
                    </a:lnTo>
                    <a:lnTo>
                      <a:pt x="84" y="4"/>
                    </a:lnTo>
                    <a:lnTo>
                      <a:pt x="81" y="2"/>
                    </a:lnTo>
                    <a:lnTo>
                      <a:pt x="78" y="0"/>
                    </a:lnTo>
                    <a:lnTo>
                      <a:pt x="74" y="0"/>
                    </a:lnTo>
                    <a:lnTo>
                      <a:pt x="74" y="0"/>
                    </a:lnTo>
                    <a:lnTo>
                      <a:pt x="61" y="3"/>
                    </a:lnTo>
                    <a:lnTo>
                      <a:pt x="47" y="8"/>
                    </a:lnTo>
                    <a:lnTo>
                      <a:pt x="35" y="15"/>
                    </a:lnTo>
                    <a:lnTo>
                      <a:pt x="24" y="25"/>
                    </a:lnTo>
                    <a:lnTo>
                      <a:pt x="16" y="35"/>
                    </a:lnTo>
                    <a:lnTo>
                      <a:pt x="8" y="47"/>
                    </a:lnTo>
                    <a:lnTo>
                      <a:pt x="3" y="61"/>
                    </a:lnTo>
                    <a:lnTo>
                      <a:pt x="0" y="74"/>
                    </a:lnTo>
                    <a:lnTo>
                      <a:pt x="0" y="74"/>
                    </a:lnTo>
                    <a:lnTo>
                      <a:pt x="0" y="78"/>
                    </a:lnTo>
                    <a:lnTo>
                      <a:pt x="2" y="81"/>
                    </a:lnTo>
                    <a:lnTo>
                      <a:pt x="2" y="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9" name="Freeform 328">
                <a:extLst>
                  <a:ext uri="{FF2B5EF4-FFF2-40B4-BE49-F238E27FC236}">
                    <a16:creationId xmlns:a16="http://schemas.microsoft.com/office/drawing/2014/main" id="{34E510E1-3CEB-45E4-BC77-6ECA71185C2B}"/>
                  </a:ext>
                </a:extLst>
              </p:cNvPr>
              <p:cNvSpPr>
                <a:spLocks noEditPoints="1"/>
              </p:cNvSpPr>
              <p:nvPr/>
            </p:nvSpPr>
            <p:spPr bwMode="auto">
              <a:xfrm>
                <a:off x="11223626" y="4299585"/>
                <a:ext cx="284163" cy="285750"/>
              </a:xfrm>
              <a:custGeom>
                <a:avLst/>
                <a:gdLst>
                  <a:gd name="T0" fmla="*/ 270 w 359"/>
                  <a:gd name="T1" fmla="*/ 234 h 359"/>
                  <a:gd name="T2" fmla="*/ 265 w 359"/>
                  <a:gd name="T3" fmla="*/ 232 h 359"/>
                  <a:gd name="T4" fmla="*/ 261 w 359"/>
                  <a:gd name="T5" fmla="*/ 233 h 359"/>
                  <a:gd name="T6" fmla="*/ 237 w 359"/>
                  <a:gd name="T7" fmla="*/ 221 h 359"/>
                  <a:gd name="T8" fmla="*/ 250 w 359"/>
                  <a:gd name="T9" fmla="*/ 201 h 359"/>
                  <a:gd name="T10" fmla="*/ 264 w 359"/>
                  <a:gd name="T11" fmla="*/ 168 h 359"/>
                  <a:gd name="T12" fmla="*/ 268 w 359"/>
                  <a:gd name="T13" fmla="*/ 135 h 359"/>
                  <a:gd name="T14" fmla="*/ 265 w 359"/>
                  <a:gd name="T15" fmla="*/ 108 h 359"/>
                  <a:gd name="T16" fmla="*/ 252 w 359"/>
                  <a:gd name="T17" fmla="*/ 70 h 359"/>
                  <a:gd name="T18" fmla="*/ 229 w 359"/>
                  <a:gd name="T19" fmla="*/ 39 h 359"/>
                  <a:gd name="T20" fmla="*/ 198 w 359"/>
                  <a:gd name="T21" fmla="*/ 16 h 359"/>
                  <a:gd name="T22" fmla="*/ 161 w 359"/>
                  <a:gd name="T23" fmla="*/ 3 h 359"/>
                  <a:gd name="T24" fmla="*/ 135 w 359"/>
                  <a:gd name="T25" fmla="*/ 0 h 359"/>
                  <a:gd name="T26" fmla="*/ 94 w 359"/>
                  <a:gd name="T27" fmla="*/ 6 h 359"/>
                  <a:gd name="T28" fmla="*/ 59 w 359"/>
                  <a:gd name="T29" fmla="*/ 23 h 359"/>
                  <a:gd name="T30" fmla="*/ 31 w 359"/>
                  <a:gd name="T31" fmla="*/ 49 h 359"/>
                  <a:gd name="T32" fmla="*/ 11 w 359"/>
                  <a:gd name="T33" fmla="*/ 82 h 359"/>
                  <a:gd name="T34" fmla="*/ 2 w 359"/>
                  <a:gd name="T35" fmla="*/ 120 h 359"/>
                  <a:gd name="T36" fmla="*/ 2 w 359"/>
                  <a:gd name="T37" fmla="*/ 148 h 359"/>
                  <a:gd name="T38" fmla="*/ 11 w 359"/>
                  <a:gd name="T39" fmla="*/ 186 h 359"/>
                  <a:gd name="T40" fmla="*/ 31 w 359"/>
                  <a:gd name="T41" fmla="*/ 219 h 359"/>
                  <a:gd name="T42" fmla="*/ 59 w 359"/>
                  <a:gd name="T43" fmla="*/ 245 h 359"/>
                  <a:gd name="T44" fmla="*/ 94 w 359"/>
                  <a:gd name="T45" fmla="*/ 262 h 359"/>
                  <a:gd name="T46" fmla="*/ 135 w 359"/>
                  <a:gd name="T47" fmla="*/ 268 h 359"/>
                  <a:gd name="T48" fmla="*/ 157 w 359"/>
                  <a:gd name="T49" fmla="*/ 266 h 359"/>
                  <a:gd name="T50" fmla="*/ 191 w 359"/>
                  <a:gd name="T51" fmla="*/ 256 h 359"/>
                  <a:gd name="T52" fmla="*/ 221 w 359"/>
                  <a:gd name="T53" fmla="*/ 237 h 359"/>
                  <a:gd name="T54" fmla="*/ 234 w 359"/>
                  <a:gd name="T55" fmla="*/ 258 h 359"/>
                  <a:gd name="T56" fmla="*/ 231 w 359"/>
                  <a:gd name="T57" fmla="*/ 265 h 359"/>
                  <a:gd name="T58" fmla="*/ 320 w 359"/>
                  <a:gd name="T59" fmla="*/ 357 h 359"/>
                  <a:gd name="T60" fmla="*/ 327 w 359"/>
                  <a:gd name="T61" fmla="*/ 359 h 359"/>
                  <a:gd name="T62" fmla="*/ 327 w 359"/>
                  <a:gd name="T63" fmla="*/ 359 h 359"/>
                  <a:gd name="T64" fmla="*/ 356 w 359"/>
                  <a:gd name="T65" fmla="*/ 332 h 359"/>
                  <a:gd name="T66" fmla="*/ 359 w 359"/>
                  <a:gd name="T67" fmla="*/ 327 h 359"/>
                  <a:gd name="T68" fmla="*/ 356 w 359"/>
                  <a:gd name="T69" fmla="*/ 320 h 359"/>
                  <a:gd name="T70" fmla="*/ 135 w 359"/>
                  <a:gd name="T71" fmla="*/ 18 h 359"/>
                  <a:gd name="T72" fmla="*/ 168 w 359"/>
                  <a:gd name="T73" fmla="*/ 23 h 359"/>
                  <a:gd name="T74" fmla="*/ 199 w 359"/>
                  <a:gd name="T75" fmla="*/ 38 h 359"/>
                  <a:gd name="T76" fmla="*/ 225 w 359"/>
                  <a:gd name="T77" fmla="*/ 59 h 359"/>
                  <a:gd name="T78" fmla="*/ 242 w 359"/>
                  <a:gd name="T79" fmla="*/ 89 h 359"/>
                  <a:gd name="T80" fmla="*/ 250 w 359"/>
                  <a:gd name="T81" fmla="*/ 123 h 359"/>
                  <a:gd name="T82" fmla="*/ 250 w 359"/>
                  <a:gd name="T83" fmla="*/ 146 h 359"/>
                  <a:gd name="T84" fmla="*/ 242 w 359"/>
                  <a:gd name="T85" fmla="*/ 179 h 359"/>
                  <a:gd name="T86" fmla="*/ 225 w 359"/>
                  <a:gd name="T87" fmla="*/ 209 h 359"/>
                  <a:gd name="T88" fmla="*/ 199 w 359"/>
                  <a:gd name="T89" fmla="*/ 230 h 359"/>
                  <a:gd name="T90" fmla="*/ 168 w 359"/>
                  <a:gd name="T91" fmla="*/ 245 h 359"/>
                  <a:gd name="T92" fmla="*/ 135 w 359"/>
                  <a:gd name="T93" fmla="*/ 250 h 359"/>
                  <a:gd name="T94" fmla="*/ 110 w 359"/>
                  <a:gd name="T95" fmla="*/ 249 h 359"/>
                  <a:gd name="T96" fmla="*/ 78 w 359"/>
                  <a:gd name="T97" fmla="*/ 237 h 359"/>
                  <a:gd name="T98" fmla="*/ 51 w 359"/>
                  <a:gd name="T99" fmla="*/ 217 h 359"/>
                  <a:gd name="T100" fmla="*/ 31 w 359"/>
                  <a:gd name="T101" fmla="*/ 190 h 359"/>
                  <a:gd name="T102" fmla="*/ 20 w 359"/>
                  <a:gd name="T103" fmla="*/ 158 h 359"/>
                  <a:gd name="T104" fmla="*/ 18 w 359"/>
                  <a:gd name="T105" fmla="*/ 135 h 359"/>
                  <a:gd name="T106" fmla="*/ 23 w 359"/>
                  <a:gd name="T107" fmla="*/ 100 h 359"/>
                  <a:gd name="T108" fmla="*/ 38 w 359"/>
                  <a:gd name="T109" fmla="*/ 69 h 359"/>
                  <a:gd name="T110" fmla="*/ 61 w 359"/>
                  <a:gd name="T111" fmla="*/ 45 h 359"/>
                  <a:gd name="T112" fmla="*/ 89 w 359"/>
                  <a:gd name="T113" fmla="*/ 27 h 359"/>
                  <a:gd name="T114" fmla="*/ 122 w 359"/>
                  <a:gd name="T115" fmla="*/ 18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59">
                    <a:moveTo>
                      <a:pt x="356" y="320"/>
                    </a:moveTo>
                    <a:lnTo>
                      <a:pt x="270" y="234"/>
                    </a:lnTo>
                    <a:lnTo>
                      <a:pt x="270" y="234"/>
                    </a:lnTo>
                    <a:lnTo>
                      <a:pt x="268" y="233"/>
                    </a:lnTo>
                    <a:lnTo>
                      <a:pt x="265" y="232"/>
                    </a:lnTo>
                    <a:lnTo>
                      <a:pt x="265" y="232"/>
                    </a:lnTo>
                    <a:lnTo>
                      <a:pt x="265" y="232"/>
                    </a:lnTo>
                    <a:lnTo>
                      <a:pt x="265" y="232"/>
                    </a:lnTo>
                    <a:lnTo>
                      <a:pt x="261" y="233"/>
                    </a:lnTo>
                    <a:lnTo>
                      <a:pt x="258" y="234"/>
                    </a:lnTo>
                    <a:lnTo>
                      <a:pt x="254" y="238"/>
                    </a:lnTo>
                    <a:lnTo>
                      <a:pt x="237" y="221"/>
                    </a:lnTo>
                    <a:lnTo>
                      <a:pt x="237" y="221"/>
                    </a:lnTo>
                    <a:lnTo>
                      <a:pt x="243" y="211"/>
                    </a:lnTo>
                    <a:lnTo>
                      <a:pt x="250" y="201"/>
                    </a:lnTo>
                    <a:lnTo>
                      <a:pt x="256" y="191"/>
                    </a:lnTo>
                    <a:lnTo>
                      <a:pt x="260" y="180"/>
                    </a:lnTo>
                    <a:lnTo>
                      <a:pt x="264" y="168"/>
                    </a:lnTo>
                    <a:lnTo>
                      <a:pt x="266" y="158"/>
                    </a:lnTo>
                    <a:lnTo>
                      <a:pt x="268" y="146"/>
                    </a:lnTo>
                    <a:lnTo>
                      <a:pt x="268" y="135"/>
                    </a:lnTo>
                    <a:lnTo>
                      <a:pt x="268" y="135"/>
                    </a:lnTo>
                    <a:lnTo>
                      <a:pt x="268" y="120"/>
                    </a:lnTo>
                    <a:lnTo>
                      <a:pt x="265" y="108"/>
                    </a:lnTo>
                    <a:lnTo>
                      <a:pt x="262" y="94"/>
                    </a:lnTo>
                    <a:lnTo>
                      <a:pt x="257" y="82"/>
                    </a:lnTo>
                    <a:lnTo>
                      <a:pt x="252" y="70"/>
                    </a:lnTo>
                    <a:lnTo>
                      <a:pt x="245" y="59"/>
                    </a:lnTo>
                    <a:lnTo>
                      <a:pt x="238" y="49"/>
                    </a:lnTo>
                    <a:lnTo>
                      <a:pt x="229" y="39"/>
                    </a:lnTo>
                    <a:lnTo>
                      <a:pt x="219" y="31"/>
                    </a:lnTo>
                    <a:lnTo>
                      <a:pt x="209" y="23"/>
                    </a:lnTo>
                    <a:lnTo>
                      <a:pt x="198" y="16"/>
                    </a:lnTo>
                    <a:lnTo>
                      <a:pt x="186" y="11"/>
                    </a:lnTo>
                    <a:lnTo>
                      <a:pt x="174" y="6"/>
                    </a:lnTo>
                    <a:lnTo>
                      <a:pt x="161" y="3"/>
                    </a:lnTo>
                    <a:lnTo>
                      <a:pt x="148" y="2"/>
                    </a:lnTo>
                    <a:lnTo>
                      <a:pt x="135" y="0"/>
                    </a:lnTo>
                    <a:lnTo>
                      <a:pt x="135" y="0"/>
                    </a:lnTo>
                    <a:lnTo>
                      <a:pt x="121" y="2"/>
                    </a:lnTo>
                    <a:lnTo>
                      <a:pt x="108" y="3"/>
                    </a:lnTo>
                    <a:lnTo>
                      <a:pt x="94" y="6"/>
                    </a:lnTo>
                    <a:lnTo>
                      <a:pt x="82" y="11"/>
                    </a:lnTo>
                    <a:lnTo>
                      <a:pt x="70" y="16"/>
                    </a:lnTo>
                    <a:lnTo>
                      <a:pt x="59" y="23"/>
                    </a:lnTo>
                    <a:lnTo>
                      <a:pt x="49" y="31"/>
                    </a:lnTo>
                    <a:lnTo>
                      <a:pt x="39" y="39"/>
                    </a:lnTo>
                    <a:lnTo>
                      <a:pt x="31" y="49"/>
                    </a:lnTo>
                    <a:lnTo>
                      <a:pt x="23" y="59"/>
                    </a:lnTo>
                    <a:lnTo>
                      <a:pt x="16" y="70"/>
                    </a:lnTo>
                    <a:lnTo>
                      <a:pt x="11" y="82"/>
                    </a:lnTo>
                    <a:lnTo>
                      <a:pt x="7" y="94"/>
                    </a:lnTo>
                    <a:lnTo>
                      <a:pt x="3" y="108"/>
                    </a:lnTo>
                    <a:lnTo>
                      <a:pt x="2" y="120"/>
                    </a:lnTo>
                    <a:lnTo>
                      <a:pt x="0" y="135"/>
                    </a:lnTo>
                    <a:lnTo>
                      <a:pt x="0" y="135"/>
                    </a:lnTo>
                    <a:lnTo>
                      <a:pt x="2" y="148"/>
                    </a:lnTo>
                    <a:lnTo>
                      <a:pt x="3" y="162"/>
                    </a:lnTo>
                    <a:lnTo>
                      <a:pt x="7" y="174"/>
                    </a:lnTo>
                    <a:lnTo>
                      <a:pt x="11" y="186"/>
                    </a:lnTo>
                    <a:lnTo>
                      <a:pt x="16" y="198"/>
                    </a:lnTo>
                    <a:lnTo>
                      <a:pt x="23" y="209"/>
                    </a:lnTo>
                    <a:lnTo>
                      <a:pt x="31" y="219"/>
                    </a:lnTo>
                    <a:lnTo>
                      <a:pt x="39" y="229"/>
                    </a:lnTo>
                    <a:lnTo>
                      <a:pt x="49" y="237"/>
                    </a:lnTo>
                    <a:lnTo>
                      <a:pt x="59" y="245"/>
                    </a:lnTo>
                    <a:lnTo>
                      <a:pt x="70" y="252"/>
                    </a:lnTo>
                    <a:lnTo>
                      <a:pt x="82" y="257"/>
                    </a:lnTo>
                    <a:lnTo>
                      <a:pt x="94" y="262"/>
                    </a:lnTo>
                    <a:lnTo>
                      <a:pt x="108" y="265"/>
                    </a:lnTo>
                    <a:lnTo>
                      <a:pt x="121" y="268"/>
                    </a:lnTo>
                    <a:lnTo>
                      <a:pt x="135" y="268"/>
                    </a:lnTo>
                    <a:lnTo>
                      <a:pt x="135" y="268"/>
                    </a:lnTo>
                    <a:lnTo>
                      <a:pt x="145" y="268"/>
                    </a:lnTo>
                    <a:lnTo>
                      <a:pt x="157" y="266"/>
                    </a:lnTo>
                    <a:lnTo>
                      <a:pt x="170" y="264"/>
                    </a:lnTo>
                    <a:lnTo>
                      <a:pt x="180" y="260"/>
                    </a:lnTo>
                    <a:lnTo>
                      <a:pt x="191" y="256"/>
                    </a:lnTo>
                    <a:lnTo>
                      <a:pt x="200" y="250"/>
                    </a:lnTo>
                    <a:lnTo>
                      <a:pt x="211" y="244"/>
                    </a:lnTo>
                    <a:lnTo>
                      <a:pt x="221" y="237"/>
                    </a:lnTo>
                    <a:lnTo>
                      <a:pt x="238" y="254"/>
                    </a:lnTo>
                    <a:lnTo>
                      <a:pt x="234" y="258"/>
                    </a:lnTo>
                    <a:lnTo>
                      <a:pt x="234" y="258"/>
                    </a:lnTo>
                    <a:lnTo>
                      <a:pt x="233" y="261"/>
                    </a:lnTo>
                    <a:lnTo>
                      <a:pt x="231" y="265"/>
                    </a:lnTo>
                    <a:lnTo>
                      <a:pt x="231" y="265"/>
                    </a:lnTo>
                    <a:lnTo>
                      <a:pt x="233" y="268"/>
                    </a:lnTo>
                    <a:lnTo>
                      <a:pt x="234" y="271"/>
                    </a:lnTo>
                    <a:lnTo>
                      <a:pt x="320" y="357"/>
                    </a:lnTo>
                    <a:lnTo>
                      <a:pt x="320" y="357"/>
                    </a:lnTo>
                    <a:lnTo>
                      <a:pt x="323" y="358"/>
                    </a:lnTo>
                    <a:lnTo>
                      <a:pt x="327" y="359"/>
                    </a:lnTo>
                    <a:lnTo>
                      <a:pt x="327" y="359"/>
                    </a:lnTo>
                    <a:lnTo>
                      <a:pt x="327" y="359"/>
                    </a:lnTo>
                    <a:lnTo>
                      <a:pt x="327" y="359"/>
                    </a:lnTo>
                    <a:lnTo>
                      <a:pt x="329" y="358"/>
                    </a:lnTo>
                    <a:lnTo>
                      <a:pt x="332" y="357"/>
                    </a:lnTo>
                    <a:lnTo>
                      <a:pt x="356" y="332"/>
                    </a:lnTo>
                    <a:lnTo>
                      <a:pt x="356" y="332"/>
                    </a:lnTo>
                    <a:lnTo>
                      <a:pt x="359" y="330"/>
                    </a:lnTo>
                    <a:lnTo>
                      <a:pt x="359" y="327"/>
                    </a:lnTo>
                    <a:lnTo>
                      <a:pt x="359" y="327"/>
                    </a:lnTo>
                    <a:lnTo>
                      <a:pt x="359" y="323"/>
                    </a:lnTo>
                    <a:lnTo>
                      <a:pt x="356" y="320"/>
                    </a:lnTo>
                    <a:lnTo>
                      <a:pt x="356" y="320"/>
                    </a:lnTo>
                    <a:close/>
                    <a:moveTo>
                      <a:pt x="135" y="18"/>
                    </a:moveTo>
                    <a:lnTo>
                      <a:pt x="135" y="18"/>
                    </a:lnTo>
                    <a:lnTo>
                      <a:pt x="147" y="18"/>
                    </a:lnTo>
                    <a:lnTo>
                      <a:pt x="157" y="21"/>
                    </a:lnTo>
                    <a:lnTo>
                      <a:pt x="168" y="23"/>
                    </a:lnTo>
                    <a:lnTo>
                      <a:pt x="179" y="27"/>
                    </a:lnTo>
                    <a:lnTo>
                      <a:pt x="190" y="31"/>
                    </a:lnTo>
                    <a:lnTo>
                      <a:pt x="199" y="38"/>
                    </a:lnTo>
                    <a:lnTo>
                      <a:pt x="209" y="45"/>
                    </a:lnTo>
                    <a:lnTo>
                      <a:pt x="217" y="51"/>
                    </a:lnTo>
                    <a:lnTo>
                      <a:pt x="225" y="59"/>
                    </a:lnTo>
                    <a:lnTo>
                      <a:pt x="231" y="69"/>
                    </a:lnTo>
                    <a:lnTo>
                      <a:pt x="237" y="78"/>
                    </a:lnTo>
                    <a:lnTo>
                      <a:pt x="242" y="89"/>
                    </a:lnTo>
                    <a:lnTo>
                      <a:pt x="246" y="100"/>
                    </a:lnTo>
                    <a:lnTo>
                      <a:pt x="249" y="111"/>
                    </a:lnTo>
                    <a:lnTo>
                      <a:pt x="250" y="123"/>
                    </a:lnTo>
                    <a:lnTo>
                      <a:pt x="250" y="135"/>
                    </a:lnTo>
                    <a:lnTo>
                      <a:pt x="250" y="135"/>
                    </a:lnTo>
                    <a:lnTo>
                      <a:pt x="250" y="146"/>
                    </a:lnTo>
                    <a:lnTo>
                      <a:pt x="249" y="158"/>
                    </a:lnTo>
                    <a:lnTo>
                      <a:pt x="246" y="168"/>
                    </a:lnTo>
                    <a:lnTo>
                      <a:pt x="242" y="179"/>
                    </a:lnTo>
                    <a:lnTo>
                      <a:pt x="237" y="190"/>
                    </a:lnTo>
                    <a:lnTo>
                      <a:pt x="231" y="199"/>
                    </a:lnTo>
                    <a:lnTo>
                      <a:pt x="225" y="209"/>
                    </a:lnTo>
                    <a:lnTo>
                      <a:pt x="217" y="217"/>
                    </a:lnTo>
                    <a:lnTo>
                      <a:pt x="209" y="223"/>
                    </a:lnTo>
                    <a:lnTo>
                      <a:pt x="199" y="230"/>
                    </a:lnTo>
                    <a:lnTo>
                      <a:pt x="190" y="237"/>
                    </a:lnTo>
                    <a:lnTo>
                      <a:pt x="179" y="242"/>
                    </a:lnTo>
                    <a:lnTo>
                      <a:pt x="168" y="245"/>
                    </a:lnTo>
                    <a:lnTo>
                      <a:pt x="157" y="249"/>
                    </a:lnTo>
                    <a:lnTo>
                      <a:pt x="147" y="250"/>
                    </a:lnTo>
                    <a:lnTo>
                      <a:pt x="135" y="250"/>
                    </a:lnTo>
                    <a:lnTo>
                      <a:pt x="135" y="250"/>
                    </a:lnTo>
                    <a:lnTo>
                      <a:pt x="122" y="250"/>
                    </a:lnTo>
                    <a:lnTo>
                      <a:pt x="110" y="249"/>
                    </a:lnTo>
                    <a:lnTo>
                      <a:pt x="100" y="245"/>
                    </a:lnTo>
                    <a:lnTo>
                      <a:pt x="89" y="242"/>
                    </a:lnTo>
                    <a:lnTo>
                      <a:pt x="78" y="237"/>
                    </a:lnTo>
                    <a:lnTo>
                      <a:pt x="69" y="230"/>
                    </a:lnTo>
                    <a:lnTo>
                      <a:pt x="61" y="223"/>
                    </a:lnTo>
                    <a:lnTo>
                      <a:pt x="51" y="217"/>
                    </a:lnTo>
                    <a:lnTo>
                      <a:pt x="45" y="209"/>
                    </a:lnTo>
                    <a:lnTo>
                      <a:pt x="38" y="199"/>
                    </a:lnTo>
                    <a:lnTo>
                      <a:pt x="31" y="190"/>
                    </a:lnTo>
                    <a:lnTo>
                      <a:pt x="27" y="179"/>
                    </a:lnTo>
                    <a:lnTo>
                      <a:pt x="23" y="168"/>
                    </a:lnTo>
                    <a:lnTo>
                      <a:pt x="20" y="158"/>
                    </a:lnTo>
                    <a:lnTo>
                      <a:pt x="18" y="146"/>
                    </a:lnTo>
                    <a:lnTo>
                      <a:pt x="18" y="135"/>
                    </a:lnTo>
                    <a:lnTo>
                      <a:pt x="18" y="135"/>
                    </a:lnTo>
                    <a:lnTo>
                      <a:pt x="18" y="123"/>
                    </a:lnTo>
                    <a:lnTo>
                      <a:pt x="20" y="111"/>
                    </a:lnTo>
                    <a:lnTo>
                      <a:pt x="23" y="100"/>
                    </a:lnTo>
                    <a:lnTo>
                      <a:pt x="27" y="89"/>
                    </a:lnTo>
                    <a:lnTo>
                      <a:pt x="31" y="78"/>
                    </a:lnTo>
                    <a:lnTo>
                      <a:pt x="38" y="69"/>
                    </a:lnTo>
                    <a:lnTo>
                      <a:pt x="45" y="59"/>
                    </a:lnTo>
                    <a:lnTo>
                      <a:pt x="51" y="51"/>
                    </a:lnTo>
                    <a:lnTo>
                      <a:pt x="61" y="45"/>
                    </a:lnTo>
                    <a:lnTo>
                      <a:pt x="69" y="38"/>
                    </a:lnTo>
                    <a:lnTo>
                      <a:pt x="78" y="31"/>
                    </a:lnTo>
                    <a:lnTo>
                      <a:pt x="89" y="27"/>
                    </a:lnTo>
                    <a:lnTo>
                      <a:pt x="100" y="23"/>
                    </a:lnTo>
                    <a:lnTo>
                      <a:pt x="110" y="21"/>
                    </a:lnTo>
                    <a:lnTo>
                      <a:pt x="122" y="18"/>
                    </a:lnTo>
                    <a:lnTo>
                      <a:pt x="135" y="18"/>
                    </a:lnTo>
                    <a:lnTo>
                      <a:pt x="13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80" name="Group 79">
            <a:extLst>
              <a:ext uri="{FF2B5EF4-FFF2-40B4-BE49-F238E27FC236}">
                <a16:creationId xmlns:a16="http://schemas.microsoft.com/office/drawing/2014/main" id="{8B3BD798-49A9-443E-A82E-3B3831AC47C7}"/>
              </a:ext>
            </a:extLst>
          </p:cNvPr>
          <p:cNvGrpSpPr/>
          <p:nvPr/>
        </p:nvGrpSpPr>
        <p:grpSpPr>
          <a:xfrm>
            <a:off x="4895012" y="2448952"/>
            <a:ext cx="1348242" cy="1348242"/>
            <a:chOff x="4895012" y="2448952"/>
            <a:chExt cx="1348242" cy="1348242"/>
          </a:xfrm>
        </p:grpSpPr>
        <p:sp>
          <p:nvSpPr>
            <p:cNvPr id="81" name="Oval 80">
              <a:extLst>
                <a:ext uri="{FF2B5EF4-FFF2-40B4-BE49-F238E27FC236}">
                  <a16:creationId xmlns:a16="http://schemas.microsoft.com/office/drawing/2014/main" id="{ADAC89AD-3F82-4E75-B96A-9631873C649B}"/>
                </a:ext>
              </a:extLst>
            </p:cNvPr>
            <p:cNvSpPr>
              <a:spLocks noChangeAspect="1"/>
            </p:cNvSpPr>
            <p:nvPr/>
          </p:nvSpPr>
          <p:spPr bwMode="gray">
            <a:xfrm>
              <a:off x="4895012" y="2448952"/>
              <a:ext cx="1348242" cy="1348242"/>
            </a:xfrm>
            <a:prstGeom prst="ellipse">
              <a:avLst/>
            </a:prstGeom>
            <a:solidFill>
              <a:schemeClr val="bg1"/>
            </a:solidFill>
            <a:ln w="38100" algn="ctr">
              <a:solidFill>
                <a:schemeClr val="bg1">
                  <a:lumMod val="85000"/>
                </a:schemeClr>
              </a:solidFill>
              <a:miter lim="800000"/>
              <a:headEnd/>
              <a:tailEnd/>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730" b="0" i="0" u="none" strike="noStrike" kern="0" cap="none" spc="-10" normalizeH="0" baseline="0" noProof="0" dirty="0">
                <a:ln>
                  <a:noFill/>
                </a:ln>
                <a:solidFill>
                  <a:srgbClr val="5C5C5C"/>
                </a:solidFill>
                <a:effectLst/>
                <a:uLnTx/>
                <a:uFillTx/>
                <a:latin typeface="Open Sans" charset="0"/>
                <a:ea typeface="Open Sans" charset="0"/>
                <a:cs typeface="Open Sans" charset="0"/>
              </a:endParaRPr>
            </a:p>
          </p:txBody>
        </p:sp>
        <p:sp>
          <p:nvSpPr>
            <p:cNvPr id="82" name="TextBox 81">
              <a:extLst>
                <a:ext uri="{FF2B5EF4-FFF2-40B4-BE49-F238E27FC236}">
                  <a16:creationId xmlns:a16="http://schemas.microsoft.com/office/drawing/2014/main" id="{A9DF090C-C599-4E47-994E-D7A43D7D39AF}"/>
                </a:ext>
              </a:extLst>
            </p:cNvPr>
            <p:cNvSpPr txBox="1"/>
            <p:nvPr/>
          </p:nvSpPr>
          <p:spPr>
            <a:xfrm>
              <a:off x="4969774" y="3104944"/>
              <a:ext cx="1225936" cy="397077"/>
            </a:xfrm>
            <a:prstGeom prst="rect">
              <a:avLst/>
            </a:prstGeom>
            <a:noFill/>
            <a:ln>
              <a:noFill/>
            </a:ln>
          </p:spPr>
          <p:txBody>
            <a:bodyPr vert="horz" wrap="square" lIns="0" tIns="0" rIns="0" bIns="0" rtlCol="0">
              <a:noAutofit/>
            </a:bodyPr>
            <a:lstStyle/>
            <a:p>
              <a:pPr marL="0" marR="0" lvl="0" indent="0" algn="ctr" defTabSz="1219170" rtl="0" eaLnBrk="1" fontAlgn="auto" latinLnBrk="0" hangingPunct="1">
                <a:lnSpc>
                  <a:spcPct val="100000"/>
                </a:lnSpc>
                <a:spcBef>
                  <a:spcPts val="200"/>
                </a:spcBef>
                <a:spcAft>
                  <a:spcPts val="0"/>
                </a:spcAft>
                <a:buClrTx/>
                <a:buSzPct val="100000"/>
                <a:buFontTx/>
                <a:buNone/>
                <a:tabLst/>
                <a:defRPr/>
              </a:pPr>
              <a:r>
                <a:rPr kumimoji="0" lang="en-US" sz="1400" b="1" i="0" u="none" strike="noStrike" kern="0" cap="none" spc="0" normalizeH="0" baseline="0" noProof="0" dirty="0">
                  <a:ln>
                    <a:noFill/>
                  </a:ln>
                  <a:solidFill>
                    <a:srgbClr val="000000"/>
                  </a:solidFill>
                  <a:effectLst/>
                  <a:uLnTx/>
                  <a:uFillTx/>
                  <a:latin typeface="Open Sans" charset="0"/>
                  <a:ea typeface="Open Sans" charset="0"/>
                  <a:cs typeface="Open Sans" charset="0"/>
                </a:rPr>
                <a:t>Select &amp; Validate</a:t>
              </a:r>
            </a:p>
          </p:txBody>
        </p:sp>
        <p:grpSp>
          <p:nvGrpSpPr>
            <p:cNvPr id="83" name="Group 82">
              <a:extLst>
                <a:ext uri="{FF2B5EF4-FFF2-40B4-BE49-F238E27FC236}">
                  <a16:creationId xmlns:a16="http://schemas.microsoft.com/office/drawing/2014/main" id="{A732F41F-5A90-487F-A6C3-EB40EBCB0041}"/>
                </a:ext>
              </a:extLst>
            </p:cNvPr>
            <p:cNvGrpSpPr>
              <a:grpSpLocks noChangeAspect="1"/>
            </p:cNvGrpSpPr>
            <p:nvPr/>
          </p:nvGrpSpPr>
          <p:grpSpPr>
            <a:xfrm>
              <a:off x="5427985" y="2716306"/>
              <a:ext cx="220404" cy="333704"/>
              <a:chOff x="6896101" y="950913"/>
              <a:chExt cx="166712" cy="252413"/>
            </a:xfrm>
          </p:grpSpPr>
          <p:sp>
            <p:nvSpPr>
              <p:cNvPr id="84" name="Freeform 109">
                <a:extLst>
                  <a:ext uri="{FF2B5EF4-FFF2-40B4-BE49-F238E27FC236}">
                    <a16:creationId xmlns:a16="http://schemas.microsoft.com/office/drawing/2014/main" id="{4A6E48A7-5139-4A15-96C2-A02A2FFDAC51}"/>
                  </a:ext>
                </a:extLst>
              </p:cNvPr>
              <p:cNvSpPr>
                <a:spLocks/>
              </p:cNvSpPr>
              <p:nvPr/>
            </p:nvSpPr>
            <p:spPr bwMode="auto">
              <a:xfrm>
                <a:off x="6954838" y="950913"/>
                <a:ext cx="15875" cy="31750"/>
              </a:xfrm>
              <a:custGeom>
                <a:avLst/>
                <a:gdLst>
                  <a:gd name="T0" fmla="*/ 9 w 19"/>
                  <a:gd name="T1" fmla="*/ 39 h 39"/>
                  <a:gd name="T2" fmla="*/ 9 w 19"/>
                  <a:gd name="T3" fmla="*/ 39 h 39"/>
                  <a:gd name="T4" fmla="*/ 12 w 19"/>
                  <a:gd name="T5" fmla="*/ 39 h 39"/>
                  <a:gd name="T6" fmla="*/ 16 w 19"/>
                  <a:gd name="T7" fmla="*/ 37 h 39"/>
                  <a:gd name="T8" fmla="*/ 17 w 19"/>
                  <a:gd name="T9" fmla="*/ 34 h 39"/>
                  <a:gd name="T10" fmla="*/ 19 w 19"/>
                  <a:gd name="T11" fmla="*/ 30 h 39"/>
                  <a:gd name="T12" fmla="*/ 19 w 19"/>
                  <a:gd name="T13" fmla="*/ 9 h 39"/>
                  <a:gd name="T14" fmla="*/ 19 w 19"/>
                  <a:gd name="T15" fmla="*/ 9 h 39"/>
                  <a:gd name="T16" fmla="*/ 17 w 19"/>
                  <a:gd name="T17" fmla="*/ 6 h 39"/>
                  <a:gd name="T18" fmla="*/ 16 w 19"/>
                  <a:gd name="T19" fmla="*/ 3 h 39"/>
                  <a:gd name="T20" fmla="*/ 12 w 19"/>
                  <a:gd name="T21" fmla="*/ 0 h 39"/>
                  <a:gd name="T22" fmla="*/ 9 w 19"/>
                  <a:gd name="T23" fmla="*/ 0 h 39"/>
                  <a:gd name="T24" fmla="*/ 9 w 19"/>
                  <a:gd name="T25" fmla="*/ 0 h 39"/>
                  <a:gd name="T26" fmla="*/ 5 w 19"/>
                  <a:gd name="T27" fmla="*/ 0 h 39"/>
                  <a:gd name="T28" fmla="*/ 2 w 19"/>
                  <a:gd name="T29" fmla="*/ 3 h 39"/>
                  <a:gd name="T30" fmla="*/ 0 w 19"/>
                  <a:gd name="T31" fmla="*/ 6 h 39"/>
                  <a:gd name="T32" fmla="*/ 0 w 19"/>
                  <a:gd name="T33" fmla="*/ 9 h 39"/>
                  <a:gd name="T34" fmla="*/ 0 w 19"/>
                  <a:gd name="T35" fmla="*/ 30 h 39"/>
                  <a:gd name="T36" fmla="*/ 0 w 19"/>
                  <a:gd name="T37" fmla="*/ 30 h 39"/>
                  <a:gd name="T38" fmla="*/ 0 w 19"/>
                  <a:gd name="T39" fmla="*/ 34 h 39"/>
                  <a:gd name="T40" fmla="*/ 2 w 19"/>
                  <a:gd name="T41" fmla="*/ 37 h 39"/>
                  <a:gd name="T42" fmla="*/ 5 w 19"/>
                  <a:gd name="T43" fmla="*/ 39 h 39"/>
                  <a:gd name="T44" fmla="*/ 9 w 19"/>
                  <a:gd name="T45" fmla="*/ 39 h 39"/>
                  <a:gd name="T46" fmla="*/ 9 w 19"/>
                  <a:gd name="T4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 h="39">
                    <a:moveTo>
                      <a:pt x="9" y="39"/>
                    </a:moveTo>
                    <a:lnTo>
                      <a:pt x="9" y="39"/>
                    </a:lnTo>
                    <a:lnTo>
                      <a:pt x="12" y="39"/>
                    </a:lnTo>
                    <a:lnTo>
                      <a:pt x="16" y="37"/>
                    </a:lnTo>
                    <a:lnTo>
                      <a:pt x="17" y="34"/>
                    </a:lnTo>
                    <a:lnTo>
                      <a:pt x="19" y="30"/>
                    </a:lnTo>
                    <a:lnTo>
                      <a:pt x="19" y="9"/>
                    </a:lnTo>
                    <a:lnTo>
                      <a:pt x="19" y="9"/>
                    </a:lnTo>
                    <a:lnTo>
                      <a:pt x="17" y="6"/>
                    </a:lnTo>
                    <a:lnTo>
                      <a:pt x="16" y="3"/>
                    </a:lnTo>
                    <a:lnTo>
                      <a:pt x="12" y="0"/>
                    </a:lnTo>
                    <a:lnTo>
                      <a:pt x="9" y="0"/>
                    </a:lnTo>
                    <a:lnTo>
                      <a:pt x="9" y="0"/>
                    </a:lnTo>
                    <a:lnTo>
                      <a:pt x="5" y="0"/>
                    </a:lnTo>
                    <a:lnTo>
                      <a:pt x="2" y="3"/>
                    </a:lnTo>
                    <a:lnTo>
                      <a:pt x="0" y="6"/>
                    </a:lnTo>
                    <a:lnTo>
                      <a:pt x="0" y="9"/>
                    </a:lnTo>
                    <a:lnTo>
                      <a:pt x="0" y="30"/>
                    </a:lnTo>
                    <a:lnTo>
                      <a:pt x="0" y="30"/>
                    </a:lnTo>
                    <a:lnTo>
                      <a:pt x="0" y="34"/>
                    </a:lnTo>
                    <a:lnTo>
                      <a:pt x="2" y="37"/>
                    </a:lnTo>
                    <a:lnTo>
                      <a:pt x="5" y="39"/>
                    </a:lnTo>
                    <a:lnTo>
                      <a:pt x="9" y="39"/>
                    </a:lnTo>
                    <a:lnTo>
                      <a:pt x="9" y="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5" name="Freeform 110">
                <a:extLst>
                  <a:ext uri="{FF2B5EF4-FFF2-40B4-BE49-F238E27FC236}">
                    <a16:creationId xmlns:a16="http://schemas.microsoft.com/office/drawing/2014/main" id="{BF7C4E31-A8CC-45AA-A1EB-B5584531C1CF}"/>
                  </a:ext>
                </a:extLst>
              </p:cNvPr>
              <p:cNvSpPr>
                <a:spLocks/>
              </p:cNvSpPr>
              <p:nvPr/>
            </p:nvSpPr>
            <p:spPr bwMode="auto">
              <a:xfrm>
                <a:off x="6985001" y="968375"/>
                <a:ext cx="26988" cy="26988"/>
              </a:xfrm>
              <a:custGeom>
                <a:avLst/>
                <a:gdLst>
                  <a:gd name="T0" fmla="*/ 10 w 34"/>
                  <a:gd name="T1" fmla="*/ 33 h 33"/>
                  <a:gd name="T2" fmla="*/ 10 w 34"/>
                  <a:gd name="T3" fmla="*/ 33 h 33"/>
                  <a:gd name="T4" fmla="*/ 12 w 34"/>
                  <a:gd name="T5" fmla="*/ 32 h 33"/>
                  <a:gd name="T6" fmla="*/ 16 w 34"/>
                  <a:gd name="T7" fmla="*/ 31 h 33"/>
                  <a:gd name="T8" fmla="*/ 31 w 34"/>
                  <a:gd name="T9" fmla="*/ 16 h 33"/>
                  <a:gd name="T10" fmla="*/ 31 w 34"/>
                  <a:gd name="T11" fmla="*/ 16 h 33"/>
                  <a:gd name="T12" fmla="*/ 33 w 34"/>
                  <a:gd name="T13" fmla="*/ 12 h 33"/>
                  <a:gd name="T14" fmla="*/ 34 w 34"/>
                  <a:gd name="T15" fmla="*/ 9 h 33"/>
                  <a:gd name="T16" fmla="*/ 33 w 34"/>
                  <a:gd name="T17" fmla="*/ 5 h 33"/>
                  <a:gd name="T18" fmla="*/ 31 w 34"/>
                  <a:gd name="T19" fmla="*/ 3 h 33"/>
                  <a:gd name="T20" fmla="*/ 31 w 34"/>
                  <a:gd name="T21" fmla="*/ 3 h 33"/>
                  <a:gd name="T22" fmla="*/ 29 w 34"/>
                  <a:gd name="T23" fmla="*/ 0 h 33"/>
                  <a:gd name="T24" fmla="*/ 25 w 34"/>
                  <a:gd name="T25" fmla="*/ 0 h 33"/>
                  <a:gd name="T26" fmla="*/ 21 w 34"/>
                  <a:gd name="T27" fmla="*/ 0 h 33"/>
                  <a:gd name="T28" fmla="*/ 18 w 34"/>
                  <a:gd name="T29" fmla="*/ 3 h 33"/>
                  <a:gd name="T30" fmla="*/ 3 w 34"/>
                  <a:gd name="T31" fmla="*/ 17 h 33"/>
                  <a:gd name="T32" fmla="*/ 3 w 34"/>
                  <a:gd name="T33" fmla="*/ 17 h 33"/>
                  <a:gd name="T34" fmla="*/ 0 w 34"/>
                  <a:gd name="T35" fmla="*/ 20 h 33"/>
                  <a:gd name="T36" fmla="*/ 0 w 34"/>
                  <a:gd name="T37" fmla="*/ 24 h 33"/>
                  <a:gd name="T38" fmla="*/ 0 w 34"/>
                  <a:gd name="T39" fmla="*/ 27 h 33"/>
                  <a:gd name="T40" fmla="*/ 3 w 34"/>
                  <a:gd name="T41" fmla="*/ 31 h 33"/>
                  <a:gd name="T42" fmla="*/ 3 w 34"/>
                  <a:gd name="T43" fmla="*/ 31 h 33"/>
                  <a:gd name="T44" fmla="*/ 6 w 34"/>
                  <a:gd name="T45" fmla="*/ 32 h 33"/>
                  <a:gd name="T46" fmla="*/ 10 w 34"/>
                  <a:gd name="T47" fmla="*/ 33 h 33"/>
                  <a:gd name="T48" fmla="*/ 10 w 34"/>
                  <a:gd name="T49"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 h="33">
                    <a:moveTo>
                      <a:pt x="10" y="33"/>
                    </a:moveTo>
                    <a:lnTo>
                      <a:pt x="10" y="33"/>
                    </a:lnTo>
                    <a:lnTo>
                      <a:pt x="12" y="32"/>
                    </a:lnTo>
                    <a:lnTo>
                      <a:pt x="16" y="31"/>
                    </a:lnTo>
                    <a:lnTo>
                      <a:pt x="31" y="16"/>
                    </a:lnTo>
                    <a:lnTo>
                      <a:pt x="31" y="16"/>
                    </a:lnTo>
                    <a:lnTo>
                      <a:pt x="33" y="12"/>
                    </a:lnTo>
                    <a:lnTo>
                      <a:pt x="34" y="9"/>
                    </a:lnTo>
                    <a:lnTo>
                      <a:pt x="33" y="5"/>
                    </a:lnTo>
                    <a:lnTo>
                      <a:pt x="31" y="3"/>
                    </a:lnTo>
                    <a:lnTo>
                      <a:pt x="31" y="3"/>
                    </a:lnTo>
                    <a:lnTo>
                      <a:pt x="29" y="0"/>
                    </a:lnTo>
                    <a:lnTo>
                      <a:pt x="25" y="0"/>
                    </a:lnTo>
                    <a:lnTo>
                      <a:pt x="21" y="0"/>
                    </a:lnTo>
                    <a:lnTo>
                      <a:pt x="18" y="3"/>
                    </a:lnTo>
                    <a:lnTo>
                      <a:pt x="3" y="17"/>
                    </a:lnTo>
                    <a:lnTo>
                      <a:pt x="3" y="17"/>
                    </a:lnTo>
                    <a:lnTo>
                      <a:pt x="0" y="20"/>
                    </a:lnTo>
                    <a:lnTo>
                      <a:pt x="0" y="24"/>
                    </a:lnTo>
                    <a:lnTo>
                      <a:pt x="0" y="27"/>
                    </a:lnTo>
                    <a:lnTo>
                      <a:pt x="3" y="31"/>
                    </a:lnTo>
                    <a:lnTo>
                      <a:pt x="3" y="31"/>
                    </a:lnTo>
                    <a:lnTo>
                      <a:pt x="6" y="32"/>
                    </a:lnTo>
                    <a:lnTo>
                      <a:pt x="10" y="33"/>
                    </a:lnTo>
                    <a:lnTo>
                      <a:pt x="10" y="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6" name="Freeform 111">
                <a:extLst>
                  <a:ext uri="{FF2B5EF4-FFF2-40B4-BE49-F238E27FC236}">
                    <a16:creationId xmlns:a16="http://schemas.microsoft.com/office/drawing/2014/main" id="{C3A95535-5B1E-4074-86EF-BC2BDE297442}"/>
                  </a:ext>
                </a:extLst>
              </p:cNvPr>
              <p:cNvSpPr>
                <a:spLocks/>
              </p:cNvSpPr>
              <p:nvPr/>
            </p:nvSpPr>
            <p:spPr bwMode="auto">
              <a:xfrm>
                <a:off x="6997701" y="1009650"/>
                <a:ext cx="31750" cy="15875"/>
              </a:xfrm>
              <a:custGeom>
                <a:avLst/>
                <a:gdLst>
                  <a:gd name="T0" fmla="*/ 0 w 40"/>
                  <a:gd name="T1" fmla="*/ 10 h 19"/>
                  <a:gd name="T2" fmla="*/ 0 w 40"/>
                  <a:gd name="T3" fmla="*/ 10 h 19"/>
                  <a:gd name="T4" fmla="*/ 1 w 40"/>
                  <a:gd name="T5" fmla="*/ 12 h 19"/>
                  <a:gd name="T6" fmla="*/ 3 w 40"/>
                  <a:gd name="T7" fmla="*/ 16 h 19"/>
                  <a:gd name="T8" fmla="*/ 7 w 40"/>
                  <a:gd name="T9" fmla="*/ 18 h 19"/>
                  <a:gd name="T10" fmla="*/ 10 w 40"/>
                  <a:gd name="T11" fmla="*/ 19 h 19"/>
                  <a:gd name="T12" fmla="*/ 31 w 40"/>
                  <a:gd name="T13" fmla="*/ 19 h 19"/>
                  <a:gd name="T14" fmla="*/ 31 w 40"/>
                  <a:gd name="T15" fmla="*/ 19 h 19"/>
                  <a:gd name="T16" fmla="*/ 35 w 40"/>
                  <a:gd name="T17" fmla="*/ 18 h 19"/>
                  <a:gd name="T18" fmla="*/ 38 w 40"/>
                  <a:gd name="T19" fmla="*/ 16 h 19"/>
                  <a:gd name="T20" fmla="*/ 39 w 40"/>
                  <a:gd name="T21" fmla="*/ 12 h 19"/>
                  <a:gd name="T22" fmla="*/ 40 w 40"/>
                  <a:gd name="T23" fmla="*/ 10 h 19"/>
                  <a:gd name="T24" fmla="*/ 40 w 40"/>
                  <a:gd name="T25" fmla="*/ 10 h 19"/>
                  <a:gd name="T26" fmla="*/ 39 w 40"/>
                  <a:gd name="T27" fmla="*/ 6 h 19"/>
                  <a:gd name="T28" fmla="*/ 38 w 40"/>
                  <a:gd name="T29" fmla="*/ 3 h 19"/>
                  <a:gd name="T30" fmla="*/ 35 w 40"/>
                  <a:gd name="T31" fmla="*/ 0 h 19"/>
                  <a:gd name="T32" fmla="*/ 31 w 40"/>
                  <a:gd name="T33" fmla="*/ 0 h 19"/>
                  <a:gd name="T34" fmla="*/ 10 w 40"/>
                  <a:gd name="T35" fmla="*/ 0 h 19"/>
                  <a:gd name="T36" fmla="*/ 10 w 40"/>
                  <a:gd name="T37" fmla="*/ 0 h 19"/>
                  <a:gd name="T38" fmla="*/ 7 w 40"/>
                  <a:gd name="T39" fmla="*/ 0 h 19"/>
                  <a:gd name="T40" fmla="*/ 3 w 40"/>
                  <a:gd name="T41" fmla="*/ 3 h 19"/>
                  <a:gd name="T42" fmla="*/ 1 w 40"/>
                  <a:gd name="T43" fmla="*/ 6 h 19"/>
                  <a:gd name="T44" fmla="*/ 0 w 40"/>
                  <a:gd name="T45" fmla="*/ 10 h 19"/>
                  <a:gd name="T46" fmla="*/ 0 w 40"/>
                  <a:gd name="T47"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19">
                    <a:moveTo>
                      <a:pt x="0" y="10"/>
                    </a:moveTo>
                    <a:lnTo>
                      <a:pt x="0" y="10"/>
                    </a:lnTo>
                    <a:lnTo>
                      <a:pt x="1" y="12"/>
                    </a:lnTo>
                    <a:lnTo>
                      <a:pt x="3" y="16"/>
                    </a:lnTo>
                    <a:lnTo>
                      <a:pt x="7" y="18"/>
                    </a:lnTo>
                    <a:lnTo>
                      <a:pt x="10" y="19"/>
                    </a:lnTo>
                    <a:lnTo>
                      <a:pt x="31" y="19"/>
                    </a:lnTo>
                    <a:lnTo>
                      <a:pt x="31" y="19"/>
                    </a:lnTo>
                    <a:lnTo>
                      <a:pt x="35" y="18"/>
                    </a:lnTo>
                    <a:lnTo>
                      <a:pt x="38" y="16"/>
                    </a:lnTo>
                    <a:lnTo>
                      <a:pt x="39" y="12"/>
                    </a:lnTo>
                    <a:lnTo>
                      <a:pt x="40" y="10"/>
                    </a:lnTo>
                    <a:lnTo>
                      <a:pt x="40" y="10"/>
                    </a:lnTo>
                    <a:lnTo>
                      <a:pt x="39" y="6"/>
                    </a:lnTo>
                    <a:lnTo>
                      <a:pt x="38" y="3"/>
                    </a:lnTo>
                    <a:lnTo>
                      <a:pt x="35" y="0"/>
                    </a:lnTo>
                    <a:lnTo>
                      <a:pt x="31" y="0"/>
                    </a:lnTo>
                    <a:lnTo>
                      <a:pt x="10" y="0"/>
                    </a:lnTo>
                    <a:lnTo>
                      <a:pt x="10" y="0"/>
                    </a:lnTo>
                    <a:lnTo>
                      <a:pt x="7" y="0"/>
                    </a:lnTo>
                    <a:lnTo>
                      <a:pt x="3" y="3"/>
                    </a:lnTo>
                    <a:lnTo>
                      <a:pt x="1" y="6"/>
                    </a:lnTo>
                    <a:lnTo>
                      <a:pt x="0" y="10"/>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7" name="Freeform 112">
                <a:extLst>
                  <a:ext uri="{FF2B5EF4-FFF2-40B4-BE49-F238E27FC236}">
                    <a16:creationId xmlns:a16="http://schemas.microsoft.com/office/drawing/2014/main" id="{8BD32C92-1869-4EAC-8BD4-6D6F9388DB61}"/>
                  </a:ext>
                </a:extLst>
              </p:cNvPr>
              <p:cNvSpPr>
                <a:spLocks/>
              </p:cNvSpPr>
              <p:nvPr/>
            </p:nvSpPr>
            <p:spPr bwMode="auto">
              <a:xfrm>
                <a:off x="6913563" y="968375"/>
                <a:ext cx="26988" cy="26988"/>
              </a:xfrm>
              <a:custGeom>
                <a:avLst/>
                <a:gdLst>
                  <a:gd name="T0" fmla="*/ 18 w 34"/>
                  <a:gd name="T1" fmla="*/ 31 h 33"/>
                  <a:gd name="T2" fmla="*/ 18 w 34"/>
                  <a:gd name="T3" fmla="*/ 31 h 33"/>
                  <a:gd name="T4" fmla="*/ 21 w 34"/>
                  <a:gd name="T5" fmla="*/ 32 h 33"/>
                  <a:gd name="T6" fmla="*/ 25 w 34"/>
                  <a:gd name="T7" fmla="*/ 33 h 33"/>
                  <a:gd name="T8" fmla="*/ 25 w 34"/>
                  <a:gd name="T9" fmla="*/ 33 h 33"/>
                  <a:gd name="T10" fmla="*/ 29 w 34"/>
                  <a:gd name="T11" fmla="*/ 32 h 33"/>
                  <a:gd name="T12" fmla="*/ 31 w 34"/>
                  <a:gd name="T13" fmla="*/ 31 h 33"/>
                  <a:gd name="T14" fmla="*/ 31 w 34"/>
                  <a:gd name="T15" fmla="*/ 31 h 33"/>
                  <a:gd name="T16" fmla="*/ 33 w 34"/>
                  <a:gd name="T17" fmla="*/ 27 h 33"/>
                  <a:gd name="T18" fmla="*/ 34 w 34"/>
                  <a:gd name="T19" fmla="*/ 24 h 33"/>
                  <a:gd name="T20" fmla="*/ 33 w 34"/>
                  <a:gd name="T21" fmla="*/ 20 h 33"/>
                  <a:gd name="T22" fmla="*/ 31 w 34"/>
                  <a:gd name="T23" fmla="*/ 17 h 33"/>
                  <a:gd name="T24" fmla="*/ 17 w 34"/>
                  <a:gd name="T25" fmla="*/ 3 h 33"/>
                  <a:gd name="T26" fmla="*/ 17 w 34"/>
                  <a:gd name="T27" fmla="*/ 3 h 33"/>
                  <a:gd name="T28" fmla="*/ 13 w 34"/>
                  <a:gd name="T29" fmla="*/ 0 h 33"/>
                  <a:gd name="T30" fmla="*/ 10 w 34"/>
                  <a:gd name="T31" fmla="*/ 0 h 33"/>
                  <a:gd name="T32" fmla="*/ 6 w 34"/>
                  <a:gd name="T33" fmla="*/ 0 h 33"/>
                  <a:gd name="T34" fmla="*/ 3 w 34"/>
                  <a:gd name="T35" fmla="*/ 3 h 33"/>
                  <a:gd name="T36" fmla="*/ 3 w 34"/>
                  <a:gd name="T37" fmla="*/ 3 h 33"/>
                  <a:gd name="T38" fmla="*/ 0 w 34"/>
                  <a:gd name="T39" fmla="*/ 5 h 33"/>
                  <a:gd name="T40" fmla="*/ 0 w 34"/>
                  <a:gd name="T41" fmla="*/ 9 h 33"/>
                  <a:gd name="T42" fmla="*/ 0 w 34"/>
                  <a:gd name="T43" fmla="*/ 12 h 33"/>
                  <a:gd name="T44" fmla="*/ 3 w 34"/>
                  <a:gd name="T45" fmla="*/ 16 h 33"/>
                  <a:gd name="T46" fmla="*/ 18 w 34"/>
                  <a:gd name="T47"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 h="33">
                    <a:moveTo>
                      <a:pt x="18" y="31"/>
                    </a:moveTo>
                    <a:lnTo>
                      <a:pt x="18" y="31"/>
                    </a:lnTo>
                    <a:lnTo>
                      <a:pt x="21" y="32"/>
                    </a:lnTo>
                    <a:lnTo>
                      <a:pt x="25" y="33"/>
                    </a:lnTo>
                    <a:lnTo>
                      <a:pt x="25" y="33"/>
                    </a:lnTo>
                    <a:lnTo>
                      <a:pt x="29" y="32"/>
                    </a:lnTo>
                    <a:lnTo>
                      <a:pt x="31" y="31"/>
                    </a:lnTo>
                    <a:lnTo>
                      <a:pt x="31" y="31"/>
                    </a:lnTo>
                    <a:lnTo>
                      <a:pt x="33" y="27"/>
                    </a:lnTo>
                    <a:lnTo>
                      <a:pt x="34" y="24"/>
                    </a:lnTo>
                    <a:lnTo>
                      <a:pt x="33" y="20"/>
                    </a:lnTo>
                    <a:lnTo>
                      <a:pt x="31" y="17"/>
                    </a:lnTo>
                    <a:lnTo>
                      <a:pt x="17" y="3"/>
                    </a:lnTo>
                    <a:lnTo>
                      <a:pt x="17" y="3"/>
                    </a:lnTo>
                    <a:lnTo>
                      <a:pt x="13" y="0"/>
                    </a:lnTo>
                    <a:lnTo>
                      <a:pt x="10" y="0"/>
                    </a:lnTo>
                    <a:lnTo>
                      <a:pt x="6" y="0"/>
                    </a:lnTo>
                    <a:lnTo>
                      <a:pt x="3" y="3"/>
                    </a:lnTo>
                    <a:lnTo>
                      <a:pt x="3" y="3"/>
                    </a:lnTo>
                    <a:lnTo>
                      <a:pt x="0" y="5"/>
                    </a:lnTo>
                    <a:lnTo>
                      <a:pt x="0" y="9"/>
                    </a:lnTo>
                    <a:lnTo>
                      <a:pt x="0" y="12"/>
                    </a:lnTo>
                    <a:lnTo>
                      <a:pt x="3" y="16"/>
                    </a:lnTo>
                    <a:lnTo>
                      <a:pt x="18"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8" name="Freeform 113">
                <a:extLst>
                  <a:ext uri="{FF2B5EF4-FFF2-40B4-BE49-F238E27FC236}">
                    <a16:creationId xmlns:a16="http://schemas.microsoft.com/office/drawing/2014/main" id="{F13C2BC2-07B8-4DAD-8193-5CF3FB2AF060}"/>
                  </a:ext>
                </a:extLst>
              </p:cNvPr>
              <p:cNvSpPr>
                <a:spLocks/>
              </p:cNvSpPr>
              <p:nvPr/>
            </p:nvSpPr>
            <p:spPr bwMode="auto">
              <a:xfrm>
                <a:off x="6896101" y="1009650"/>
                <a:ext cx="31750" cy="15875"/>
              </a:xfrm>
              <a:custGeom>
                <a:avLst/>
                <a:gdLst>
                  <a:gd name="T0" fmla="*/ 39 w 39"/>
                  <a:gd name="T1" fmla="*/ 10 h 19"/>
                  <a:gd name="T2" fmla="*/ 39 w 39"/>
                  <a:gd name="T3" fmla="*/ 10 h 19"/>
                  <a:gd name="T4" fmla="*/ 39 w 39"/>
                  <a:gd name="T5" fmla="*/ 6 h 19"/>
                  <a:gd name="T6" fmla="*/ 36 w 39"/>
                  <a:gd name="T7" fmla="*/ 3 h 19"/>
                  <a:gd name="T8" fmla="*/ 34 w 39"/>
                  <a:gd name="T9" fmla="*/ 0 h 19"/>
                  <a:gd name="T10" fmla="*/ 29 w 39"/>
                  <a:gd name="T11" fmla="*/ 0 h 19"/>
                  <a:gd name="T12" fmla="*/ 8 w 39"/>
                  <a:gd name="T13" fmla="*/ 0 h 19"/>
                  <a:gd name="T14" fmla="*/ 8 w 39"/>
                  <a:gd name="T15" fmla="*/ 0 h 19"/>
                  <a:gd name="T16" fmla="*/ 5 w 39"/>
                  <a:gd name="T17" fmla="*/ 0 h 19"/>
                  <a:gd name="T18" fmla="*/ 3 w 39"/>
                  <a:gd name="T19" fmla="*/ 3 h 19"/>
                  <a:gd name="T20" fmla="*/ 0 w 39"/>
                  <a:gd name="T21" fmla="*/ 6 h 19"/>
                  <a:gd name="T22" fmla="*/ 0 w 39"/>
                  <a:gd name="T23" fmla="*/ 10 h 19"/>
                  <a:gd name="T24" fmla="*/ 0 w 39"/>
                  <a:gd name="T25" fmla="*/ 10 h 19"/>
                  <a:gd name="T26" fmla="*/ 0 w 39"/>
                  <a:gd name="T27" fmla="*/ 12 h 19"/>
                  <a:gd name="T28" fmla="*/ 3 w 39"/>
                  <a:gd name="T29" fmla="*/ 16 h 19"/>
                  <a:gd name="T30" fmla="*/ 5 w 39"/>
                  <a:gd name="T31" fmla="*/ 18 h 19"/>
                  <a:gd name="T32" fmla="*/ 8 w 39"/>
                  <a:gd name="T33" fmla="*/ 19 h 19"/>
                  <a:gd name="T34" fmla="*/ 29 w 39"/>
                  <a:gd name="T35" fmla="*/ 19 h 19"/>
                  <a:gd name="T36" fmla="*/ 29 w 39"/>
                  <a:gd name="T37" fmla="*/ 19 h 19"/>
                  <a:gd name="T38" fmla="*/ 34 w 39"/>
                  <a:gd name="T39" fmla="*/ 18 h 19"/>
                  <a:gd name="T40" fmla="*/ 36 w 39"/>
                  <a:gd name="T41" fmla="*/ 16 h 19"/>
                  <a:gd name="T42" fmla="*/ 39 w 39"/>
                  <a:gd name="T43" fmla="*/ 12 h 19"/>
                  <a:gd name="T44" fmla="*/ 39 w 39"/>
                  <a:gd name="T45" fmla="*/ 10 h 19"/>
                  <a:gd name="T46" fmla="*/ 39 w 39"/>
                  <a:gd name="T47"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19">
                    <a:moveTo>
                      <a:pt x="39" y="10"/>
                    </a:moveTo>
                    <a:lnTo>
                      <a:pt x="39" y="10"/>
                    </a:lnTo>
                    <a:lnTo>
                      <a:pt x="39" y="6"/>
                    </a:lnTo>
                    <a:lnTo>
                      <a:pt x="36" y="3"/>
                    </a:lnTo>
                    <a:lnTo>
                      <a:pt x="34" y="0"/>
                    </a:lnTo>
                    <a:lnTo>
                      <a:pt x="29" y="0"/>
                    </a:lnTo>
                    <a:lnTo>
                      <a:pt x="8" y="0"/>
                    </a:lnTo>
                    <a:lnTo>
                      <a:pt x="8" y="0"/>
                    </a:lnTo>
                    <a:lnTo>
                      <a:pt x="5" y="0"/>
                    </a:lnTo>
                    <a:lnTo>
                      <a:pt x="3" y="3"/>
                    </a:lnTo>
                    <a:lnTo>
                      <a:pt x="0" y="6"/>
                    </a:lnTo>
                    <a:lnTo>
                      <a:pt x="0" y="10"/>
                    </a:lnTo>
                    <a:lnTo>
                      <a:pt x="0" y="10"/>
                    </a:lnTo>
                    <a:lnTo>
                      <a:pt x="0" y="12"/>
                    </a:lnTo>
                    <a:lnTo>
                      <a:pt x="3" y="16"/>
                    </a:lnTo>
                    <a:lnTo>
                      <a:pt x="5" y="18"/>
                    </a:lnTo>
                    <a:lnTo>
                      <a:pt x="8" y="19"/>
                    </a:lnTo>
                    <a:lnTo>
                      <a:pt x="29" y="19"/>
                    </a:lnTo>
                    <a:lnTo>
                      <a:pt x="29" y="19"/>
                    </a:lnTo>
                    <a:lnTo>
                      <a:pt x="34" y="18"/>
                    </a:lnTo>
                    <a:lnTo>
                      <a:pt x="36" y="16"/>
                    </a:lnTo>
                    <a:lnTo>
                      <a:pt x="39" y="12"/>
                    </a:lnTo>
                    <a:lnTo>
                      <a:pt x="39" y="10"/>
                    </a:lnTo>
                    <a:lnTo>
                      <a:pt x="39"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9" name="Freeform 114">
                <a:extLst>
                  <a:ext uri="{FF2B5EF4-FFF2-40B4-BE49-F238E27FC236}">
                    <a16:creationId xmlns:a16="http://schemas.microsoft.com/office/drawing/2014/main" id="{5332AB3D-C73D-42A3-B556-9696E12C4932}"/>
                  </a:ext>
                </a:extLst>
              </p:cNvPr>
              <p:cNvSpPr>
                <a:spLocks/>
              </p:cNvSpPr>
              <p:nvPr/>
            </p:nvSpPr>
            <p:spPr bwMode="auto">
              <a:xfrm>
                <a:off x="6916763" y="1000125"/>
                <a:ext cx="146050" cy="203201"/>
              </a:xfrm>
              <a:custGeom>
                <a:avLst/>
                <a:gdLst>
                  <a:gd name="T0" fmla="*/ 167 w 184"/>
                  <a:gd name="T1" fmla="*/ 106 h 255"/>
                  <a:gd name="T2" fmla="*/ 156 w 184"/>
                  <a:gd name="T3" fmla="*/ 110 h 255"/>
                  <a:gd name="T4" fmla="*/ 150 w 184"/>
                  <a:gd name="T5" fmla="*/ 117 h 255"/>
                  <a:gd name="T6" fmla="*/ 149 w 184"/>
                  <a:gd name="T7" fmla="*/ 117 h 255"/>
                  <a:gd name="T8" fmla="*/ 149 w 184"/>
                  <a:gd name="T9" fmla="*/ 117 h 255"/>
                  <a:gd name="T10" fmla="*/ 142 w 184"/>
                  <a:gd name="T11" fmla="*/ 106 h 255"/>
                  <a:gd name="T12" fmla="*/ 132 w 184"/>
                  <a:gd name="T13" fmla="*/ 101 h 255"/>
                  <a:gd name="T14" fmla="*/ 125 w 184"/>
                  <a:gd name="T15" fmla="*/ 102 h 255"/>
                  <a:gd name="T16" fmla="*/ 116 w 184"/>
                  <a:gd name="T17" fmla="*/ 109 h 255"/>
                  <a:gd name="T18" fmla="*/ 113 w 184"/>
                  <a:gd name="T19" fmla="*/ 114 h 255"/>
                  <a:gd name="T20" fmla="*/ 112 w 184"/>
                  <a:gd name="T21" fmla="*/ 113 h 255"/>
                  <a:gd name="T22" fmla="*/ 110 w 184"/>
                  <a:gd name="T23" fmla="*/ 108 h 255"/>
                  <a:gd name="T24" fmla="*/ 101 w 184"/>
                  <a:gd name="T25" fmla="*/ 97 h 255"/>
                  <a:gd name="T26" fmla="*/ 94 w 184"/>
                  <a:gd name="T27" fmla="*/ 96 h 255"/>
                  <a:gd name="T28" fmla="*/ 87 w 184"/>
                  <a:gd name="T29" fmla="*/ 97 h 255"/>
                  <a:gd name="T30" fmla="*/ 79 w 184"/>
                  <a:gd name="T31" fmla="*/ 102 h 255"/>
                  <a:gd name="T32" fmla="*/ 77 w 184"/>
                  <a:gd name="T33" fmla="*/ 106 h 255"/>
                  <a:gd name="T34" fmla="*/ 75 w 184"/>
                  <a:gd name="T35" fmla="*/ 106 h 255"/>
                  <a:gd name="T36" fmla="*/ 75 w 184"/>
                  <a:gd name="T37" fmla="*/ 20 h 255"/>
                  <a:gd name="T38" fmla="*/ 74 w 184"/>
                  <a:gd name="T39" fmla="*/ 12 h 255"/>
                  <a:gd name="T40" fmla="*/ 65 w 184"/>
                  <a:gd name="T41" fmla="*/ 2 h 255"/>
                  <a:gd name="T42" fmla="*/ 58 w 184"/>
                  <a:gd name="T43" fmla="*/ 0 h 255"/>
                  <a:gd name="T44" fmla="*/ 50 w 184"/>
                  <a:gd name="T45" fmla="*/ 2 h 255"/>
                  <a:gd name="T46" fmla="*/ 39 w 184"/>
                  <a:gd name="T47" fmla="*/ 11 h 255"/>
                  <a:gd name="T48" fmla="*/ 38 w 184"/>
                  <a:gd name="T49" fmla="*/ 19 h 255"/>
                  <a:gd name="T50" fmla="*/ 38 w 184"/>
                  <a:gd name="T51" fmla="*/ 149 h 255"/>
                  <a:gd name="T52" fmla="*/ 36 w 184"/>
                  <a:gd name="T53" fmla="*/ 152 h 255"/>
                  <a:gd name="T54" fmla="*/ 32 w 184"/>
                  <a:gd name="T55" fmla="*/ 155 h 255"/>
                  <a:gd name="T56" fmla="*/ 30 w 184"/>
                  <a:gd name="T57" fmla="*/ 153 h 255"/>
                  <a:gd name="T58" fmla="*/ 27 w 184"/>
                  <a:gd name="T59" fmla="*/ 151 h 255"/>
                  <a:gd name="T60" fmla="*/ 27 w 184"/>
                  <a:gd name="T61" fmla="*/ 128 h 255"/>
                  <a:gd name="T62" fmla="*/ 16 w 184"/>
                  <a:gd name="T63" fmla="*/ 128 h 255"/>
                  <a:gd name="T64" fmla="*/ 5 w 184"/>
                  <a:gd name="T65" fmla="*/ 132 h 255"/>
                  <a:gd name="T66" fmla="*/ 0 w 184"/>
                  <a:gd name="T67" fmla="*/ 144 h 255"/>
                  <a:gd name="T68" fmla="*/ 0 w 184"/>
                  <a:gd name="T69" fmla="*/ 180 h 255"/>
                  <a:gd name="T70" fmla="*/ 7 w 184"/>
                  <a:gd name="T71" fmla="*/ 200 h 255"/>
                  <a:gd name="T72" fmla="*/ 19 w 184"/>
                  <a:gd name="T73" fmla="*/ 219 h 255"/>
                  <a:gd name="T74" fmla="*/ 36 w 184"/>
                  <a:gd name="T75" fmla="*/ 247 h 255"/>
                  <a:gd name="T76" fmla="*/ 165 w 184"/>
                  <a:gd name="T77" fmla="*/ 255 h 255"/>
                  <a:gd name="T78" fmla="*/ 184 w 184"/>
                  <a:gd name="T79" fmla="*/ 125 h 255"/>
                  <a:gd name="T80" fmla="*/ 183 w 184"/>
                  <a:gd name="T81" fmla="*/ 118 h 255"/>
                  <a:gd name="T82" fmla="*/ 175 w 184"/>
                  <a:gd name="T83" fmla="*/ 108 h 255"/>
                  <a:gd name="T84" fmla="*/ 167 w 184"/>
                  <a:gd name="T85" fmla="*/ 106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4" h="255">
                    <a:moveTo>
                      <a:pt x="167" y="106"/>
                    </a:moveTo>
                    <a:lnTo>
                      <a:pt x="167" y="106"/>
                    </a:lnTo>
                    <a:lnTo>
                      <a:pt x="161" y="108"/>
                    </a:lnTo>
                    <a:lnTo>
                      <a:pt x="156" y="110"/>
                    </a:lnTo>
                    <a:lnTo>
                      <a:pt x="153" y="113"/>
                    </a:lnTo>
                    <a:lnTo>
                      <a:pt x="150" y="117"/>
                    </a:lnTo>
                    <a:lnTo>
                      <a:pt x="150" y="117"/>
                    </a:lnTo>
                    <a:lnTo>
                      <a:pt x="149" y="117"/>
                    </a:lnTo>
                    <a:lnTo>
                      <a:pt x="149" y="117"/>
                    </a:lnTo>
                    <a:lnTo>
                      <a:pt x="149" y="117"/>
                    </a:lnTo>
                    <a:lnTo>
                      <a:pt x="146" y="110"/>
                    </a:lnTo>
                    <a:lnTo>
                      <a:pt x="142" y="106"/>
                    </a:lnTo>
                    <a:lnTo>
                      <a:pt x="138" y="102"/>
                    </a:lnTo>
                    <a:lnTo>
                      <a:pt x="132" y="101"/>
                    </a:lnTo>
                    <a:lnTo>
                      <a:pt x="132" y="101"/>
                    </a:lnTo>
                    <a:lnTo>
                      <a:pt x="125" y="102"/>
                    </a:lnTo>
                    <a:lnTo>
                      <a:pt x="120" y="105"/>
                    </a:lnTo>
                    <a:lnTo>
                      <a:pt x="116" y="109"/>
                    </a:lnTo>
                    <a:lnTo>
                      <a:pt x="113" y="114"/>
                    </a:lnTo>
                    <a:lnTo>
                      <a:pt x="113" y="114"/>
                    </a:lnTo>
                    <a:lnTo>
                      <a:pt x="112" y="114"/>
                    </a:lnTo>
                    <a:lnTo>
                      <a:pt x="112" y="113"/>
                    </a:lnTo>
                    <a:lnTo>
                      <a:pt x="112" y="113"/>
                    </a:lnTo>
                    <a:lnTo>
                      <a:pt x="110" y="108"/>
                    </a:lnTo>
                    <a:lnTo>
                      <a:pt x="106" y="102"/>
                    </a:lnTo>
                    <a:lnTo>
                      <a:pt x="101" y="97"/>
                    </a:lnTo>
                    <a:lnTo>
                      <a:pt x="98" y="96"/>
                    </a:lnTo>
                    <a:lnTo>
                      <a:pt x="94" y="96"/>
                    </a:lnTo>
                    <a:lnTo>
                      <a:pt x="94" y="96"/>
                    </a:lnTo>
                    <a:lnTo>
                      <a:pt x="87" y="97"/>
                    </a:lnTo>
                    <a:lnTo>
                      <a:pt x="82" y="100"/>
                    </a:lnTo>
                    <a:lnTo>
                      <a:pt x="79" y="102"/>
                    </a:lnTo>
                    <a:lnTo>
                      <a:pt x="77" y="106"/>
                    </a:lnTo>
                    <a:lnTo>
                      <a:pt x="77" y="106"/>
                    </a:lnTo>
                    <a:lnTo>
                      <a:pt x="75" y="108"/>
                    </a:lnTo>
                    <a:lnTo>
                      <a:pt x="75" y="106"/>
                    </a:lnTo>
                    <a:lnTo>
                      <a:pt x="75" y="106"/>
                    </a:lnTo>
                    <a:lnTo>
                      <a:pt x="75" y="20"/>
                    </a:lnTo>
                    <a:lnTo>
                      <a:pt x="75" y="20"/>
                    </a:lnTo>
                    <a:lnTo>
                      <a:pt x="74" y="12"/>
                    </a:lnTo>
                    <a:lnTo>
                      <a:pt x="70" y="7"/>
                    </a:lnTo>
                    <a:lnTo>
                      <a:pt x="65" y="2"/>
                    </a:lnTo>
                    <a:lnTo>
                      <a:pt x="58" y="0"/>
                    </a:lnTo>
                    <a:lnTo>
                      <a:pt x="58" y="0"/>
                    </a:lnTo>
                    <a:lnTo>
                      <a:pt x="54" y="0"/>
                    </a:lnTo>
                    <a:lnTo>
                      <a:pt x="50" y="2"/>
                    </a:lnTo>
                    <a:lnTo>
                      <a:pt x="43" y="6"/>
                    </a:lnTo>
                    <a:lnTo>
                      <a:pt x="39" y="11"/>
                    </a:lnTo>
                    <a:lnTo>
                      <a:pt x="38" y="15"/>
                    </a:lnTo>
                    <a:lnTo>
                      <a:pt x="38" y="19"/>
                    </a:lnTo>
                    <a:lnTo>
                      <a:pt x="38" y="149"/>
                    </a:lnTo>
                    <a:lnTo>
                      <a:pt x="38" y="149"/>
                    </a:lnTo>
                    <a:lnTo>
                      <a:pt x="38" y="151"/>
                    </a:lnTo>
                    <a:lnTo>
                      <a:pt x="36" y="152"/>
                    </a:lnTo>
                    <a:lnTo>
                      <a:pt x="35" y="153"/>
                    </a:lnTo>
                    <a:lnTo>
                      <a:pt x="32" y="155"/>
                    </a:lnTo>
                    <a:lnTo>
                      <a:pt x="32" y="155"/>
                    </a:lnTo>
                    <a:lnTo>
                      <a:pt x="30" y="153"/>
                    </a:lnTo>
                    <a:lnTo>
                      <a:pt x="28" y="152"/>
                    </a:lnTo>
                    <a:lnTo>
                      <a:pt x="27" y="151"/>
                    </a:lnTo>
                    <a:lnTo>
                      <a:pt x="27" y="149"/>
                    </a:lnTo>
                    <a:lnTo>
                      <a:pt x="27" y="128"/>
                    </a:lnTo>
                    <a:lnTo>
                      <a:pt x="16" y="128"/>
                    </a:lnTo>
                    <a:lnTo>
                      <a:pt x="16" y="128"/>
                    </a:lnTo>
                    <a:lnTo>
                      <a:pt x="11" y="129"/>
                    </a:lnTo>
                    <a:lnTo>
                      <a:pt x="5" y="132"/>
                    </a:lnTo>
                    <a:lnTo>
                      <a:pt x="1" y="137"/>
                    </a:lnTo>
                    <a:lnTo>
                      <a:pt x="0" y="144"/>
                    </a:lnTo>
                    <a:lnTo>
                      <a:pt x="0" y="180"/>
                    </a:lnTo>
                    <a:lnTo>
                      <a:pt x="0" y="180"/>
                    </a:lnTo>
                    <a:lnTo>
                      <a:pt x="3" y="190"/>
                    </a:lnTo>
                    <a:lnTo>
                      <a:pt x="7" y="200"/>
                    </a:lnTo>
                    <a:lnTo>
                      <a:pt x="12" y="210"/>
                    </a:lnTo>
                    <a:lnTo>
                      <a:pt x="19" y="219"/>
                    </a:lnTo>
                    <a:lnTo>
                      <a:pt x="32" y="238"/>
                    </a:lnTo>
                    <a:lnTo>
                      <a:pt x="36" y="247"/>
                    </a:lnTo>
                    <a:lnTo>
                      <a:pt x="38" y="255"/>
                    </a:lnTo>
                    <a:lnTo>
                      <a:pt x="165" y="255"/>
                    </a:lnTo>
                    <a:lnTo>
                      <a:pt x="184" y="125"/>
                    </a:lnTo>
                    <a:lnTo>
                      <a:pt x="184" y="125"/>
                    </a:lnTo>
                    <a:lnTo>
                      <a:pt x="184" y="121"/>
                    </a:lnTo>
                    <a:lnTo>
                      <a:pt x="183" y="118"/>
                    </a:lnTo>
                    <a:lnTo>
                      <a:pt x="180" y="112"/>
                    </a:lnTo>
                    <a:lnTo>
                      <a:pt x="175" y="108"/>
                    </a:lnTo>
                    <a:lnTo>
                      <a:pt x="171" y="106"/>
                    </a:lnTo>
                    <a:lnTo>
                      <a:pt x="167" y="106"/>
                    </a:lnTo>
                    <a:lnTo>
                      <a:pt x="167" y="10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90" name="Group 89">
            <a:extLst>
              <a:ext uri="{FF2B5EF4-FFF2-40B4-BE49-F238E27FC236}">
                <a16:creationId xmlns:a16="http://schemas.microsoft.com/office/drawing/2014/main" id="{BA278CC5-A648-4F6A-B413-FA296EB431E4}"/>
              </a:ext>
            </a:extLst>
          </p:cNvPr>
          <p:cNvGrpSpPr>
            <a:grpSpLocks noChangeAspect="1"/>
          </p:cNvGrpSpPr>
          <p:nvPr/>
        </p:nvGrpSpPr>
        <p:grpSpPr>
          <a:xfrm>
            <a:off x="2029119" y="1678847"/>
            <a:ext cx="320040" cy="320040"/>
            <a:chOff x="555626" y="4175125"/>
            <a:chExt cx="522288" cy="522288"/>
          </a:xfrm>
        </p:grpSpPr>
        <p:sp>
          <p:nvSpPr>
            <p:cNvPr id="91" name="Freeform 36">
              <a:extLst>
                <a:ext uri="{FF2B5EF4-FFF2-40B4-BE49-F238E27FC236}">
                  <a16:creationId xmlns:a16="http://schemas.microsoft.com/office/drawing/2014/main" id="{492D5B44-C6F8-4718-A6ED-18DD1173CC3F}"/>
                </a:ext>
              </a:extLst>
            </p:cNvPr>
            <p:cNvSpPr>
              <a:spLocks noEditPoints="1"/>
            </p:cNvSpPr>
            <p:nvPr/>
          </p:nvSpPr>
          <p:spPr bwMode="auto">
            <a:xfrm>
              <a:off x="555626" y="4175125"/>
              <a:ext cx="522288" cy="522288"/>
            </a:xfrm>
            <a:custGeom>
              <a:avLst/>
              <a:gdLst>
                <a:gd name="T0" fmla="*/ 312 w 659"/>
                <a:gd name="T1" fmla="*/ 657 h 657"/>
                <a:gd name="T2" fmla="*/ 264 w 659"/>
                <a:gd name="T3" fmla="*/ 650 h 657"/>
                <a:gd name="T4" fmla="*/ 202 w 659"/>
                <a:gd name="T5" fmla="*/ 632 h 657"/>
                <a:gd name="T6" fmla="*/ 120 w 659"/>
                <a:gd name="T7" fmla="*/ 582 h 657"/>
                <a:gd name="T8" fmla="*/ 57 w 659"/>
                <a:gd name="T9" fmla="*/ 512 h 657"/>
                <a:gd name="T10" fmla="*/ 15 w 659"/>
                <a:gd name="T11" fmla="*/ 426 h 657"/>
                <a:gd name="T12" fmla="*/ 4 w 659"/>
                <a:gd name="T13" fmla="*/ 379 h 657"/>
                <a:gd name="T14" fmla="*/ 0 w 659"/>
                <a:gd name="T15" fmla="*/ 329 h 657"/>
                <a:gd name="T16" fmla="*/ 2 w 659"/>
                <a:gd name="T17" fmla="*/ 296 h 657"/>
                <a:gd name="T18" fmla="*/ 11 w 659"/>
                <a:gd name="T19" fmla="*/ 246 h 657"/>
                <a:gd name="T20" fmla="*/ 41 w 659"/>
                <a:gd name="T21" fmla="*/ 172 h 657"/>
                <a:gd name="T22" fmla="*/ 97 w 659"/>
                <a:gd name="T23" fmla="*/ 97 h 657"/>
                <a:gd name="T24" fmla="*/ 172 w 659"/>
                <a:gd name="T25" fmla="*/ 39 h 657"/>
                <a:gd name="T26" fmla="*/ 247 w 659"/>
                <a:gd name="T27" fmla="*/ 10 h 657"/>
                <a:gd name="T28" fmla="*/ 296 w 659"/>
                <a:gd name="T29" fmla="*/ 2 h 657"/>
                <a:gd name="T30" fmla="*/ 329 w 659"/>
                <a:gd name="T31" fmla="*/ 0 h 657"/>
                <a:gd name="T32" fmla="*/ 379 w 659"/>
                <a:gd name="T33" fmla="*/ 4 h 657"/>
                <a:gd name="T34" fmla="*/ 427 w 659"/>
                <a:gd name="T35" fmla="*/ 15 h 657"/>
                <a:gd name="T36" fmla="*/ 513 w 659"/>
                <a:gd name="T37" fmla="*/ 57 h 657"/>
                <a:gd name="T38" fmla="*/ 583 w 659"/>
                <a:gd name="T39" fmla="*/ 120 h 657"/>
                <a:gd name="T40" fmla="*/ 632 w 659"/>
                <a:gd name="T41" fmla="*/ 200 h 657"/>
                <a:gd name="T42" fmla="*/ 652 w 659"/>
                <a:gd name="T43" fmla="*/ 262 h 657"/>
                <a:gd name="T44" fmla="*/ 657 w 659"/>
                <a:gd name="T45" fmla="*/ 312 h 657"/>
                <a:gd name="T46" fmla="*/ 657 w 659"/>
                <a:gd name="T47" fmla="*/ 346 h 657"/>
                <a:gd name="T48" fmla="*/ 652 w 659"/>
                <a:gd name="T49" fmla="*/ 395 h 657"/>
                <a:gd name="T50" fmla="*/ 632 w 659"/>
                <a:gd name="T51" fmla="*/ 457 h 657"/>
                <a:gd name="T52" fmla="*/ 583 w 659"/>
                <a:gd name="T53" fmla="*/ 538 h 657"/>
                <a:gd name="T54" fmla="*/ 513 w 659"/>
                <a:gd name="T55" fmla="*/ 601 h 657"/>
                <a:gd name="T56" fmla="*/ 427 w 659"/>
                <a:gd name="T57" fmla="*/ 642 h 657"/>
                <a:gd name="T58" fmla="*/ 379 w 659"/>
                <a:gd name="T59" fmla="*/ 653 h 657"/>
                <a:gd name="T60" fmla="*/ 329 w 659"/>
                <a:gd name="T61" fmla="*/ 657 h 657"/>
                <a:gd name="T62" fmla="*/ 329 w 659"/>
                <a:gd name="T63" fmla="*/ 38 h 657"/>
                <a:gd name="T64" fmla="*/ 242 w 659"/>
                <a:gd name="T65" fmla="*/ 51 h 657"/>
                <a:gd name="T66" fmla="*/ 167 w 659"/>
                <a:gd name="T67" fmla="*/ 88 h 657"/>
                <a:gd name="T68" fmla="*/ 105 w 659"/>
                <a:gd name="T69" fmla="*/ 144 h 657"/>
                <a:gd name="T70" fmla="*/ 61 w 659"/>
                <a:gd name="T71" fmla="*/ 215 h 657"/>
                <a:gd name="T72" fmla="*/ 39 w 659"/>
                <a:gd name="T73" fmla="*/ 298 h 657"/>
                <a:gd name="T74" fmla="*/ 39 w 659"/>
                <a:gd name="T75" fmla="*/ 359 h 657"/>
                <a:gd name="T76" fmla="*/ 61 w 659"/>
                <a:gd name="T77" fmla="*/ 442 h 657"/>
                <a:gd name="T78" fmla="*/ 105 w 659"/>
                <a:gd name="T79" fmla="*/ 513 h 657"/>
                <a:gd name="T80" fmla="*/ 167 w 659"/>
                <a:gd name="T81" fmla="*/ 570 h 657"/>
                <a:gd name="T82" fmla="*/ 242 w 659"/>
                <a:gd name="T83" fmla="*/ 607 h 657"/>
                <a:gd name="T84" fmla="*/ 329 w 659"/>
                <a:gd name="T85" fmla="*/ 620 h 657"/>
                <a:gd name="T86" fmla="*/ 389 w 659"/>
                <a:gd name="T87" fmla="*/ 614 h 657"/>
                <a:gd name="T88" fmla="*/ 468 w 659"/>
                <a:gd name="T89" fmla="*/ 585 h 657"/>
                <a:gd name="T90" fmla="*/ 535 w 659"/>
                <a:gd name="T91" fmla="*/ 535 h 657"/>
                <a:gd name="T92" fmla="*/ 585 w 659"/>
                <a:gd name="T93" fmla="*/ 468 h 657"/>
                <a:gd name="T94" fmla="*/ 614 w 659"/>
                <a:gd name="T95" fmla="*/ 387 h 657"/>
                <a:gd name="T96" fmla="*/ 621 w 659"/>
                <a:gd name="T97" fmla="*/ 329 h 657"/>
                <a:gd name="T98" fmla="*/ 607 w 659"/>
                <a:gd name="T99" fmla="*/ 242 h 657"/>
                <a:gd name="T100" fmla="*/ 571 w 659"/>
                <a:gd name="T101" fmla="*/ 166 h 657"/>
                <a:gd name="T102" fmla="*/ 515 w 659"/>
                <a:gd name="T103" fmla="*/ 104 h 657"/>
                <a:gd name="T104" fmla="*/ 442 w 659"/>
                <a:gd name="T105" fmla="*/ 61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29" y="657"/>
                  </a:moveTo>
                  <a:lnTo>
                    <a:pt x="329" y="657"/>
                  </a:lnTo>
                  <a:lnTo>
                    <a:pt x="312" y="657"/>
                  </a:lnTo>
                  <a:lnTo>
                    <a:pt x="296" y="656"/>
                  </a:lnTo>
                  <a:lnTo>
                    <a:pt x="280" y="653"/>
                  </a:lnTo>
                  <a:lnTo>
                    <a:pt x="264" y="650"/>
                  </a:lnTo>
                  <a:lnTo>
                    <a:pt x="247" y="648"/>
                  </a:lnTo>
                  <a:lnTo>
                    <a:pt x="231" y="642"/>
                  </a:lnTo>
                  <a:lnTo>
                    <a:pt x="202" y="632"/>
                  </a:lnTo>
                  <a:lnTo>
                    <a:pt x="172" y="618"/>
                  </a:lnTo>
                  <a:lnTo>
                    <a:pt x="145" y="601"/>
                  </a:lnTo>
                  <a:lnTo>
                    <a:pt x="120" y="582"/>
                  </a:lnTo>
                  <a:lnTo>
                    <a:pt x="97" y="562"/>
                  </a:lnTo>
                  <a:lnTo>
                    <a:pt x="76" y="538"/>
                  </a:lnTo>
                  <a:lnTo>
                    <a:pt x="57" y="512"/>
                  </a:lnTo>
                  <a:lnTo>
                    <a:pt x="41" y="485"/>
                  </a:lnTo>
                  <a:lnTo>
                    <a:pt x="26" y="457"/>
                  </a:lnTo>
                  <a:lnTo>
                    <a:pt x="15" y="426"/>
                  </a:lnTo>
                  <a:lnTo>
                    <a:pt x="11" y="411"/>
                  </a:lnTo>
                  <a:lnTo>
                    <a:pt x="7" y="395"/>
                  </a:lnTo>
                  <a:lnTo>
                    <a:pt x="4" y="379"/>
                  </a:lnTo>
                  <a:lnTo>
                    <a:pt x="2" y="362"/>
                  </a:lnTo>
                  <a:lnTo>
                    <a:pt x="0" y="346"/>
                  </a:lnTo>
                  <a:lnTo>
                    <a:pt x="0" y="329"/>
                  </a:lnTo>
                  <a:lnTo>
                    <a:pt x="0" y="329"/>
                  </a:lnTo>
                  <a:lnTo>
                    <a:pt x="0" y="312"/>
                  </a:lnTo>
                  <a:lnTo>
                    <a:pt x="2" y="296"/>
                  </a:lnTo>
                  <a:lnTo>
                    <a:pt x="4" y="278"/>
                  </a:lnTo>
                  <a:lnTo>
                    <a:pt x="7" y="262"/>
                  </a:lnTo>
                  <a:lnTo>
                    <a:pt x="11" y="246"/>
                  </a:lnTo>
                  <a:lnTo>
                    <a:pt x="15" y="231"/>
                  </a:lnTo>
                  <a:lnTo>
                    <a:pt x="26" y="200"/>
                  </a:lnTo>
                  <a:lnTo>
                    <a:pt x="41" y="172"/>
                  </a:lnTo>
                  <a:lnTo>
                    <a:pt x="57" y="145"/>
                  </a:lnTo>
                  <a:lnTo>
                    <a:pt x="76" y="120"/>
                  </a:lnTo>
                  <a:lnTo>
                    <a:pt x="97" y="97"/>
                  </a:lnTo>
                  <a:lnTo>
                    <a:pt x="120" y="76"/>
                  </a:lnTo>
                  <a:lnTo>
                    <a:pt x="145" y="57"/>
                  </a:lnTo>
                  <a:lnTo>
                    <a:pt x="172" y="39"/>
                  </a:lnTo>
                  <a:lnTo>
                    <a:pt x="202" y="26"/>
                  </a:lnTo>
                  <a:lnTo>
                    <a:pt x="231" y="15"/>
                  </a:lnTo>
                  <a:lnTo>
                    <a:pt x="247" y="10"/>
                  </a:lnTo>
                  <a:lnTo>
                    <a:pt x="264" y="7"/>
                  </a:lnTo>
                  <a:lnTo>
                    <a:pt x="280" y="4"/>
                  </a:lnTo>
                  <a:lnTo>
                    <a:pt x="296" y="2"/>
                  </a:lnTo>
                  <a:lnTo>
                    <a:pt x="312" y="0"/>
                  </a:lnTo>
                  <a:lnTo>
                    <a:pt x="329" y="0"/>
                  </a:lnTo>
                  <a:lnTo>
                    <a:pt x="329" y="0"/>
                  </a:lnTo>
                  <a:lnTo>
                    <a:pt x="346" y="0"/>
                  </a:lnTo>
                  <a:lnTo>
                    <a:pt x="363" y="2"/>
                  </a:lnTo>
                  <a:lnTo>
                    <a:pt x="379" y="4"/>
                  </a:lnTo>
                  <a:lnTo>
                    <a:pt x="395" y="7"/>
                  </a:lnTo>
                  <a:lnTo>
                    <a:pt x="411" y="10"/>
                  </a:lnTo>
                  <a:lnTo>
                    <a:pt x="427" y="15"/>
                  </a:lnTo>
                  <a:lnTo>
                    <a:pt x="457" y="26"/>
                  </a:lnTo>
                  <a:lnTo>
                    <a:pt x="485" y="39"/>
                  </a:lnTo>
                  <a:lnTo>
                    <a:pt x="513" y="57"/>
                  </a:lnTo>
                  <a:lnTo>
                    <a:pt x="538" y="76"/>
                  </a:lnTo>
                  <a:lnTo>
                    <a:pt x="562" y="97"/>
                  </a:lnTo>
                  <a:lnTo>
                    <a:pt x="583" y="120"/>
                  </a:lnTo>
                  <a:lnTo>
                    <a:pt x="602" y="145"/>
                  </a:lnTo>
                  <a:lnTo>
                    <a:pt x="618" y="172"/>
                  </a:lnTo>
                  <a:lnTo>
                    <a:pt x="632" y="200"/>
                  </a:lnTo>
                  <a:lnTo>
                    <a:pt x="644" y="231"/>
                  </a:lnTo>
                  <a:lnTo>
                    <a:pt x="648" y="246"/>
                  </a:lnTo>
                  <a:lnTo>
                    <a:pt x="652" y="262"/>
                  </a:lnTo>
                  <a:lnTo>
                    <a:pt x="654" y="278"/>
                  </a:lnTo>
                  <a:lnTo>
                    <a:pt x="656" y="296"/>
                  </a:lnTo>
                  <a:lnTo>
                    <a:pt x="657" y="312"/>
                  </a:lnTo>
                  <a:lnTo>
                    <a:pt x="659" y="329"/>
                  </a:lnTo>
                  <a:lnTo>
                    <a:pt x="659" y="329"/>
                  </a:lnTo>
                  <a:lnTo>
                    <a:pt x="657" y="346"/>
                  </a:lnTo>
                  <a:lnTo>
                    <a:pt x="656" y="362"/>
                  </a:lnTo>
                  <a:lnTo>
                    <a:pt x="654" y="379"/>
                  </a:lnTo>
                  <a:lnTo>
                    <a:pt x="652" y="395"/>
                  </a:lnTo>
                  <a:lnTo>
                    <a:pt x="648" y="411"/>
                  </a:lnTo>
                  <a:lnTo>
                    <a:pt x="644" y="426"/>
                  </a:lnTo>
                  <a:lnTo>
                    <a:pt x="632" y="457"/>
                  </a:lnTo>
                  <a:lnTo>
                    <a:pt x="618" y="485"/>
                  </a:lnTo>
                  <a:lnTo>
                    <a:pt x="602" y="512"/>
                  </a:lnTo>
                  <a:lnTo>
                    <a:pt x="583" y="538"/>
                  </a:lnTo>
                  <a:lnTo>
                    <a:pt x="562" y="562"/>
                  </a:lnTo>
                  <a:lnTo>
                    <a:pt x="538" y="582"/>
                  </a:lnTo>
                  <a:lnTo>
                    <a:pt x="513" y="601"/>
                  </a:lnTo>
                  <a:lnTo>
                    <a:pt x="485" y="618"/>
                  </a:lnTo>
                  <a:lnTo>
                    <a:pt x="457" y="632"/>
                  </a:lnTo>
                  <a:lnTo>
                    <a:pt x="427" y="642"/>
                  </a:lnTo>
                  <a:lnTo>
                    <a:pt x="411" y="648"/>
                  </a:lnTo>
                  <a:lnTo>
                    <a:pt x="395" y="650"/>
                  </a:lnTo>
                  <a:lnTo>
                    <a:pt x="379" y="653"/>
                  </a:lnTo>
                  <a:lnTo>
                    <a:pt x="363" y="656"/>
                  </a:lnTo>
                  <a:lnTo>
                    <a:pt x="346" y="657"/>
                  </a:lnTo>
                  <a:lnTo>
                    <a:pt x="329" y="657"/>
                  </a:lnTo>
                  <a:lnTo>
                    <a:pt x="329" y="657"/>
                  </a:lnTo>
                  <a:close/>
                  <a:moveTo>
                    <a:pt x="329" y="38"/>
                  </a:moveTo>
                  <a:lnTo>
                    <a:pt x="329" y="38"/>
                  </a:lnTo>
                  <a:lnTo>
                    <a:pt x="300" y="39"/>
                  </a:lnTo>
                  <a:lnTo>
                    <a:pt x="270" y="43"/>
                  </a:lnTo>
                  <a:lnTo>
                    <a:pt x="242" y="51"/>
                  </a:lnTo>
                  <a:lnTo>
                    <a:pt x="217" y="61"/>
                  </a:lnTo>
                  <a:lnTo>
                    <a:pt x="191" y="73"/>
                  </a:lnTo>
                  <a:lnTo>
                    <a:pt x="167" y="88"/>
                  </a:lnTo>
                  <a:lnTo>
                    <a:pt x="144" y="104"/>
                  </a:lnTo>
                  <a:lnTo>
                    <a:pt x="124" y="123"/>
                  </a:lnTo>
                  <a:lnTo>
                    <a:pt x="105" y="144"/>
                  </a:lnTo>
                  <a:lnTo>
                    <a:pt x="88" y="166"/>
                  </a:lnTo>
                  <a:lnTo>
                    <a:pt x="73" y="190"/>
                  </a:lnTo>
                  <a:lnTo>
                    <a:pt x="61" y="215"/>
                  </a:lnTo>
                  <a:lnTo>
                    <a:pt x="51" y="242"/>
                  </a:lnTo>
                  <a:lnTo>
                    <a:pt x="45" y="270"/>
                  </a:lnTo>
                  <a:lnTo>
                    <a:pt x="39" y="298"/>
                  </a:lnTo>
                  <a:lnTo>
                    <a:pt x="38" y="329"/>
                  </a:lnTo>
                  <a:lnTo>
                    <a:pt x="38" y="329"/>
                  </a:lnTo>
                  <a:lnTo>
                    <a:pt x="39" y="359"/>
                  </a:lnTo>
                  <a:lnTo>
                    <a:pt x="45" y="387"/>
                  </a:lnTo>
                  <a:lnTo>
                    <a:pt x="51" y="415"/>
                  </a:lnTo>
                  <a:lnTo>
                    <a:pt x="61" y="442"/>
                  </a:lnTo>
                  <a:lnTo>
                    <a:pt x="73" y="468"/>
                  </a:lnTo>
                  <a:lnTo>
                    <a:pt x="88" y="492"/>
                  </a:lnTo>
                  <a:lnTo>
                    <a:pt x="105" y="513"/>
                  </a:lnTo>
                  <a:lnTo>
                    <a:pt x="124" y="535"/>
                  </a:lnTo>
                  <a:lnTo>
                    <a:pt x="144" y="554"/>
                  </a:lnTo>
                  <a:lnTo>
                    <a:pt x="167" y="570"/>
                  </a:lnTo>
                  <a:lnTo>
                    <a:pt x="191" y="585"/>
                  </a:lnTo>
                  <a:lnTo>
                    <a:pt x="217" y="597"/>
                  </a:lnTo>
                  <a:lnTo>
                    <a:pt x="242" y="607"/>
                  </a:lnTo>
                  <a:lnTo>
                    <a:pt x="270" y="614"/>
                  </a:lnTo>
                  <a:lnTo>
                    <a:pt x="300" y="618"/>
                  </a:lnTo>
                  <a:lnTo>
                    <a:pt x="329" y="620"/>
                  </a:lnTo>
                  <a:lnTo>
                    <a:pt x="329" y="620"/>
                  </a:lnTo>
                  <a:lnTo>
                    <a:pt x="359" y="618"/>
                  </a:lnTo>
                  <a:lnTo>
                    <a:pt x="389" y="614"/>
                  </a:lnTo>
                  <a:lnTo>
                    <a:pt x="415" y="607"/>
                  </a:lnTo>
                  <a:lnTo>
                    <a:pt x="442" y="597"/>
                  </a:lnTo>
                  <a:lnTo>
                    <a:pt x="468" y="585"/>
                  </a:lnTo>
                  <a:lnTo>
                    <a:pt x="492" y="570"/>
                  </a:lnTo>
                  <a:lnTo>
                    <a:pt x="515" y="554"/>
                  </a:lnTo>
                  <a:lnTo>
                    <a:pt x="535" y="535"/>
                  </a:lnTo>
                  <a:lnTo>
                    <a:pt x="554" y="513"/>
                  </a:lnTo>
                  <a:lnTo>
                    <a:pt x="571" y="492"/>
                  </a:lnTo>
                  <a:lnTo>
                    <a:pt x="585" y="468"/>
                  </a:lnTo>
                  <a:lnTo>
                    <a:pt x="598" y="442"/>
                  </a:lnTo>
                  <a:lnTo>
                    <a:pt x="607" y="415"/>
                  </a:lnTo>
                  <a:lnTo>
                    <a:pt x="614" y="387"/>
                  </a:lnTo>
                  <a:lnTo>
                    <a:pt x="620" y="359"/>
                  </a:lnTo>
                  <a:lnTo>
                    <a:pt x="621" y="329"/>
                  </a:lnTo>
                  <a:lnTo>
                    <a:pt x="621" y="329"/>
                  </a:lnTo>
                  <a:lnTo>
                    <a:pt x="620" y="298"/>
                  </a:lnTo>
                  <a:lnTo>
                    <a:pt x="614" y="270"/>
                  </a:lnTo>
                  <a:lnTo>
                    <a:pt x="607" y="242"/>
                  </a:lnTo>
                  <a:lnTo>
                    <a:pt x="598" y="215"/>
                  </a:lnTo>
                  <a:lnTo>
                    <a:pt x="585" y="190"/>
                  </a:lnTo>
                  <a:lnTo>
                    <a:pt x="571" y="166"/>
                  </a:lnTo>
                  <a:lnTo>
                    <a:pt x="554" y="144"/>
                  </a:lnTo>
                  <a:lnTo>
                    <a:pt x="535" y="123"/>
                  </a:lnTo>
                  <a:lnTo>
                    <a:pt x="515" y="104"/>
                  </a:lnTo>
                  <a:lnTo>
                    <a:pt x="492" y="88"/>
                  </a:lnTo>
                  <a:lnTo>
                    <a:pt x="468" y="73"/>
                  </a:lnTo>
                  <a:lnTo>
                    <a:pt x="442" y="61"/>
                  </a:lnTo>
                  <a:lnTo>
                    <a:pt x="415" y="51"/>
                  </a:lnTo>
                  <a:lnTo>
                    <a:pt x="389" y="43"/>
                  </a:lnTo>
                  <a:lnTo>
                    <a:pt x="359" y="39"/>
                  </a:lnTo>
                  <a:lnTo>
                    <a:pt x="329" y="38"/>
                  </a:lnTo>
                  <a:lnTo>
                    <a:pt x="329" y="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2" name="Freeform 337">
              <a:extLst>
                <a:ext uri="{FF2B5EF4-FFF2-40B4-BE49-F238E27FC236}">
                  <a16:creationId xmlns:a16="http://schemas.microsoft.com/office/drawing/2014/main" id="{216CED74-61FF-405E-8F0A-7546D626A8E5}"/>
                </a:ext>
              </a:extLst>
            </p:cNvPr>
            <p:cNvSpPr>
              <a:spLocks/>
            </p:cNvSpPr>
            <p:nvPr/>
          </p:nvSpPr>
          <p:spPr bwMode="auto">
            <a:xfrm>
              <a:off x="773113" y="4533900"/>
              <a:ext cx="85725" cy="7938"/>
            </a:xfrm>
            <a:custGeom>
              <a:avLst/>
              <a:gdLst>
                <a:gd name="T0" fmla="*/ 102 w 107"/>
                <a:gd name="T1" fmla="*/ 0 h 9"/>
                <a:gd name="T2" fmla="*/ 5 w 107"/>
                <a:gd name="T3" fmla="*/ 0 h 9"/>
                <a:gd name="T4" fmla="*/ 5 w 107"/>
                <a:gd name="T5" fmla="*/ 0 h 9"/>
                <a:gd name="T6" fmla="*/ 1 w 107"/>
                <a:gd name="T7" fmla="*/ 1 h 9"/>
                <a:gd name="T8" fmla="*/ 0 w 107"/>
                <a:gd name="T9" fmla="*/ 4 h 9"/>
                <a:gd name="T10" fmla="*/ 0 w 107"/>
                <a:gd name="T11" fmla="*/ 4 h 9"/>
                <a:gd name="T12" fmla="*/ 1 w 107"/>
                <a:gd name="T13" fmla="*/ 8 h 9"/>
                <a:gd name="T14" fmla="*/ 5 w 107"/>
                <a:gd name="T15" fmla="*/ 9 h 9"/>
                <a:gd name="T16" fmla="*/ 102 w 107"/>
                <a:gd name="T17" fmla="*/ 9 h 9"/>
                <a:gd name="T18" fmla="*/ 102 w 107"/>
                <a:gd name="T19" fmla="*/ 9 h 9"/>
                <a:gd name="T20" fmla="*/ 106 w 107"/>
                <a:gd name="T21" fmla="*/ 8 h 9"/>
                <a:gd name="T22" fmla="*/ 107 w 107"/>
                <a:gd name="T23" fmla="*/ 4 h 9"/>
                <a:gd name="T24" fmla="*/ 107 w 107"/>
                <a:gd name="T25" fmla="*/ 4 h 9"/>
                <a:gd name="T26" fmla="*/ 106 w 107"/>
                <a:gd name="T27" fmla="*/ 1 h 9"/>
                <a:gd name="T28" fmla="*/ 102 w 107"/>
                <a:gd name="T29" fmla="*/ 0 h 9"/>
                <a:gd name="T30" fmla="*/ 102 w 107"/>
                <a:gd name="T3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7" h="9">
                  <a:moveTo>
                    <a:pt x="102" y="0"/>
                  </a:moveTo>
                  <a:lnTo>
                    <a:pt x="5" y="0"/>
                  </a:lnTo>
                  <a:lnTo>
                    <a:pt x="5" y="0"/>
                  </a:lnTo>
                  <a:lnTo>
                    <a:pt x="1" y="1"/>
                  </a:lnTo>
                  <a:lnTo>
                    <a:pt x="0" y="4"/>
                  </a:lnTo>
                  <a:lnTo>
                    <a:pt x="0" y="4"/>
                  </a:lnTo>
                  <a:lnTo>
                    <a:pt x="1" y="8"/>
                  </a:lnTo>
                  <a:lnTo>
                    <a:pt x="5" y="9"/>
                  </a:lnTo>
                  <a:lnTo>
                    <a:pt x="102" y="9"/>
                  </a:lnTo>
                  <a:lnTo>
                    <a:pt x="102" y="9"/>
                  </a:lnTo>
                  <a:lnTo>
                    <a:pt x="106" y="8"/>
                  </a:lnTo>
                  <a:lnTo>
                    <a:pt x="107" y="4"/>
                  </a:lnTo>
                  <a:lnTo>
                    <a:pt x="107" y="4"/>
                  </a:lnTo>
                  <a:lnTo>
                    <a:pt x="106" y="1"/>
                  </a:lnTo>
                  <a:lnTo>
                    <a:pt x="102" y="0"/>
                  </a:lnTo>
                  <a:lnTo>
                    <a:pt x="10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3" name="Freeform 338">
              <a:extLst>
                <a:ext uri="{FF2B5EF4-FFF2-40B4-BE49-F238E27FC236}">
                  <a16:creationId xmlns:a16="http://schemas.microsoft.com/office/drawing/2014/main" id="{6979A8FD-B23F-4795-A180-08A158B0A8F0}"/>
                </a:ext>
              </a:extLst>
            </p:cNvPr>
            <p:cNvSpPr>
              <a:spLocks/>
            </p:cNvSpPr>
            <p:nvPr/>
          </p:nvSpPr>
          <p:spPr bwMode="auto">
            <a:xfrm>
              <a:off x="796926" y="4554538"/>
              <a:ext cx="38100" cy="6350"/>
            </a:xfrm>
            <a:custGeom>
              <a:avLst/>
              <a:gdLst>
                <a:gd name="T0" fmla="*/ 43 w 49"/>
                <a:gd name="T1" fmla="*/ 0 h 10"/>
                <a:gd name="T2" fmla="*/ 4 w 49"/>
                <a:gd name="T3" fmla="*/ 0 h 10"/>
                <a:gd name="T4" fmla="*/ 4 w 49"/>
                <a:gd name="T5" fmla="*/ 0 h 10"/>
                <a:gd name="T6" fmla="*/ 2 w 49"/>
                <a:gd name="T7" fmla="*/ 1 h 10"/>
                <a:gd name="T8" fmla="*/ 0 w 49"/>
                <a:gd name="T9" fmla="*/ 6 h 10"/>
                <a:gd name="T10" fmla="*/ 0 w 49"/>
                <a:gd name="T11" fmla="*/ 6 h 10"/>
                <a:gd name="T12" fmla="*/ 2 w 49"/>
                <a:gd name="T13" fmla="*/ 8 h 10"/>
                <a:gd name="T14" fmla="*/ 4 w 49"/>
                <a:gd name="T15" fmla="*/ 10 h 10"/>
                <a:gd name="T16" fmla="*/ 43 w 49"/>
                <a:gd name="T17" fmla="*/ 10 h 10"/>
                <a:gd name="T18" fmla="*/ 43 w 49"/>
                <a:gd name="T19" fmla="*/ 10 h 10"/>
                <a:gd name="T20" fmla="*/ 47 w 49"/>
                <a:gd name="T21" fmla="*/ 8 h 10"/>
                <a:gd name="T22" fmla="*/ 49 w 49"/>
                <a:gd name="T23" fmla="*/ 6 h 10"/>
                <a:gd name="T24" fmla="*/ 49 w 49"/>
                <a:gd name="T25" fmla="*/ 6 h 10"/>
                <a:gd name="T26" fmla="*/ 47 w 49"/>
                <a:gd name="T27" fmla="*/ 1 h 10"/>
                <a:gd name="T28" fmla="*/ 43 w 49"/>
                <a:gd name="T29" fmla="*/ 0 h 10"/>
                <a:gd name="T30" fmla="*/ 43 w 49"/>
                <a:gd name="T3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9" h="10">
                  <a:moveTo>
                    <a:pt x="43" y="0"/>
                  </a:moveTo>
                  <a:lnTo>
                    <a:pt x="4" y="0"/>
                  </a:lnTo>
                  <a:lnTo>
                    <a:pt x="4" y="0"/>
                  </a:lnTo>
                  <a:lnTo>
                    <a:pt x="2" y="1"/>
                  </a:lnTo>
                  <a:lnTo>
                    <a:pt x="0" y="6"/>
                  </a:lnTo>
                  <a:lnTo>
                    <a:pt x="0" y="6"/>
                  </a:lnTo>
                  <a:lnTo>
                    <a:pt x="2" y="8"/>
                  </a:lnTo>
                  <a:lnTo>
                    <a:pt x="4" y="10"/>
                  </a:lnTo>
                  <a:lnTo>
                    <a:pt x="43" y="10"/>
                  </a:lnTo>
                  <a:lnTo>
                    <a:pt x="43" y="10"/>
                  </a:lnTo>
                  <a:lnTo>
                    <a:pt x="47" y="8"/>
                  </a:lnTo>
                  <a:lnTo>
                    <a:pt x="49" y="6"/>
                  </a:lnTo>
                  <a:lnTo>
                    <a:pt x="49" y="6"/>
                  </a:lnTo>
                  <a:lnTo>
                    <a:pt x="47" y="1"/>
                  </a:lnTo>
                  <a:lnTo>
                    <a:pt x="43" y="0"/>
                  </a:lnTo>
                  <a:lnTo>
                    <a:pt x="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4" name="Freeform 339">
              <a:extLst>
                <a:ext uri="{FF2B5EF4-FFF2-40B4-BE49-F238E27FC236}">
                  <a16:creationId xmlns:a16="http://schemas.microsoft.com/office/drawing/2014/main" id="{742A51A5-85A6-4E36-A3B8-4FF6F6FF8825}"/>
                </a:ext>
              </a:extLst>
            </p:cNvPr>
            <p:cNvSpPr>
              <a:spLocks/>
            </p:cNvSpPr>
            <p:nvPr/>
          </p:nvSpPr>
          <p:spPr bwMode="auto">
            <a:xfrm>
              <a:off x="838201" y="4419600"/>
              <a:ext cx="19050" cy="19050"/>
            </a:xfrm>
            <a:custGeom>
              <a:avLst/>
              <a:gdLst>
                <a:gd name="T0" fmla="*/ 22 w 22"/>
                <a:gd name="T1" fmla="*/ 12 h 24"/>
                <a:gd name="T2" fmla="*/ 22 w 22"/>
                <a:gd name="T3" fmla="*/ 12 h 24"/>
                <a:gd name="T4" fmla="*/ 21 w 22"/>
                <a:gd name="T5" fmla="*/ 8 h 24"/>
                <a:gd name="T6" fmla="*/ 20 w 22"/>
                <a:gd name="T7" fmla="*/ 5 h 24"/>
                <a:gd name="T8" fmla="*/ 16 w 22"/>
                <a:gd name="T9" fmla="*/ 1 h 24"/>
                <a:gd name="T10" fmla="*/ 13 w 22"/>
                <a:gd name="T11" fmla="*/ 1 h 24"/>
                <a:gd name="T12" fmla="*/ 10 w 22"/>
                <a:gd name="T13" fmla="*/ 0 h 24"/>
                <a:gd name="T14" fmla="*/ 10 w 22"/>
                <a:gd name="T15" fmla="*/ 0 h 24"/>
                <a:gd name="T16" fmla="*/ 5 w 22"/>
                <a:gd name="T17" fmla="*/ 1 h 24"/>
                <a:gd name="T18" fmla="*/ 2 w 22"/>
                <a:gd name="T19" fmla="*/ 3 h 24"/>
                <a:gd name="T20" fmla="*/ 2 w 22"/>
                <a:gd name="T21" fmla="*/ 3 h 24"/>
                <a:gd name="T22" fmla="*/ 1 w 22"/>
                <a:gd name="T23" fmla="*/ 5 h 24"/>
                <a:gd name="T24" fmla="*/ 0 w 22"/>
                <a:gd name="T25" fmla="*/ 8 h 24"/>
                <a:gd name="T26" fmla="*/ 0 w 22"/>
                <a:gd name="T27" fmla="*/ 12 h 24"/>
                <a:gd name="T28" fmla="*/ 0 w 22"/>
                <a:gd name="T29" fmla="*/ 24 h 24"/>
                <a:gd name="T30" fmla="*/ 10 w 22"/>
                <a:gd name="T31" fmla="*/ 24 h 24"/>
                <a:gd name="T32" fmla="*/ 10 w 22"/>
                <a:gd name="T33" fmla="*/ 24 h 24"/>
                <a:gd name="T34" fmla="*/ 14 w 22"/>
                <a:gd name="T35" fmla="*/ 23 h 24"/>
                <a:gd name="T36" fmla="*/ 17 w 22"/>
                <a:gd name="T37" fmla="*/ 23 h 24"/>
                <a:gd name="T38" fmla="*/ 20 w 22"/>
                <a:gd name="T39" fmla="*/ 19 h 24"/>
                <a:gd name="T40" fmla="*/ 21 w 22"/>
                <a:gd name="T41" fmla="*/ 15 h 24"/>
                <a:gd name="T42" fmla="*/ 22 w 22"/>
                <a:gd name="T43" fmla="*/ 12 h 24"/>
                <a:gd name="T44" fmla="*/ 22 w 22"/>
                <a:gd name="T45"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24">
                  <a:moveTo>
                    <a:pt x="22" y="12"/>
                  </a:moveTo>
                  <a:lnTo>
                    <a:pt x="22" y="12"/>
                  </a:lnTo>
                  <a:lnTo>
                    <a:pt x="21" y="8"/>
                  </a:lnTo>
                  <a:lnTo>
                    <a:pt x="20" y="5"/>
                  </a:lnTo>
                  <a:lnTo>
                    <a:pt x="16" y="1"/>
                  </a:lnTo>
                  <a:lnTo>
                    <a:pt x="13" y="1"/>
                  </a:lnTo>
                  <a:lnTo>
                    <a:pt x="10" y="0"/>
                  </a:lnTo>
                  <a:lnTo>
                    <a:pt x="10" y="0"/>
                  </a:lnTo>
                  <a:lnTo>
                    <a:pt x="5" y="1"/>
                  </a:lnTo>
                  <a:lnTo>
                    <a:pt x="2" y="3"/>
                  </a:lnTo>
                  <a:lnTo>
                    <a:pt x="2" y="3"/>
                  </a:lnTo>
                  <a:lnTo>
                    <a:pt x="1" y="5"/>
                  </a:lnTo>
                  <a:lnTo>
                    <a:pt x="0" y="8"/>
                  </a:lnTo>
                  <a:lnTo>
                    <a:pt x="0" y="12"/>
                  </a:lnTo>
                  <a:lnTo>
                    <a:pt x="0" y="24"/>
                  </a:lnTo>
                  <a:lnTo>
                    <a:pt x="10" y="24"/>
                  </a:lnTo>
                  <a:lnTo>
                    <a:pt x="10" y="24"/>
                  </a:lnTo>
                  <a:lnTo>
                    <a:pt x="14" y="23"/>
                  </a:lnTo>
                  <a:lnTo>
                    <a:pt x="17" y="23"/>
                  </a:lnTo>
                  <a:lnTo>
                    <a:pt x="20" y="19"/>
                  </a:lnTo>
                  <a:lnTo>
                    <a:pt x="21" y="15"/>
                  </a:lnTo>
                  <a:lnTo>
                    <a:pt x="22" y="12"/>
                  </a:lnTo>
                  <a:lnTo>
                    <a:pt x="22"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5" name="Freeform 340">
              <a:extLst>
                <a:ext uri="{FF2B5EF4-FFF2-40B4-BE49-F238E27FC236}">
                  <a16:creationId xmlns:a16="http://schemas.microsoft.com/office/drawing/2014/main" id="{C029425B-125E-4BD8-A984-256693A18C19}"/>
                </a:ext>
              </a:extLst>
            </p:cNvPr>
            <p:cNvSpPr>
              <a:spLocks/>
            </p:cNvSpPr>
            <p:nvPr/>
          </p:nvSpPr>
          <p:spPr bwMode="auto">
            <a:xfrm>
              <a:off x="806451" y="4451350"/>
              <a:ext cx="19050" cy="66675"/>
            </a:xfrm>
            <a:custGeom>
              <a:avLst/>
              <a:gdLst>
                <a:gd name="T0" fmla="*/ 12 w 25"/>
                <a:gd name="T1" fmla="*/ 0 h 83"/>
                <a:gd name="T2" fmla="*/ 0 w 25"/>
                <a:gd name="T3" fmla="*/ 0 h 83"/>
                <a:gd name="T4" fmla="*/ 0 w 25"/>
                <a:gd name="T5" fmla="*/ 83 h 83"/>
                <a:gd name="T6" fmla="*/ 25 w 25"/>
                <a:gd name="T7" fmla="*/ 83 h 83"/>
                <a:gd name="T8" fmla="*/ 25 w 25"/>
                <a:gd name="T9" fmla="*/ 0 h 83"/>
                <a:gd name="T10" fmla="*/ 12 w 25"/>
                <a:gd name="T11" fmla="*/ 0 h 83"/>
              </a:gdLst>
              <a:ahLst/>
              <a:cxnLst>
                <a:cxn ang="0">
                  <a:pos x="T0" y="T1"/>
                </a:cxn>
                <a:cxn ang="0">
                  <a:pos x="T2" y="T3"/>
                </a:cxn>
                <a:cxn ang="0">
                  <a:pos x="T4" y="T5"/>
                </a:cxn>
                <a:cxn ang="0">
                  <a:pos x="T6" y="T7"/>
                </a:cxn>
                <a:cxn ang="0">
                  <a:pos x="T8" y="T9"/>
                </a:cxn>
                <a:cxn ang="0">
                  <a:pos x="T10" y="T11"/>
                </a:cxn>
              </a:cxnLst>
              <a:rect l="0" t="0" r="r" b="b"/>
              <a:pathLst>
                <a:path w="25" h="83">
                  <a:moveTo>
                    <a:pt x="12" y="0"/>
                  </a:moveTo>
                  <a:lnTo>
                    <a:pt x="0" y="0"/>
                  </a:lnTo>
                  <a:lnTo>
                    <a:pt x="0" y="83"/>
                  </a:lnTo>
                  <a:lnTo>
                    <a:pt x="25" y="83"/>
                  </a:lnTo>
                  <a:lnTo>
                    <a:pt x="25" y="0"/>
                  </a:lnTo>
                  <a:lnTo>
                    <a:pt x="1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6" name="Freeform 341">
              <a:extLst>
                <a:ext uri="{FF2B5EF4-FFF2-40B4-BE49-F238E27FC236}">
                  <a16:creationId xmlns:a16="http://schemas.microsoft.com/office/drawing/2014/main" id="{0868E3AD-81D9-499F-9DA9-AC07D2AEAB75}"/>
                </a:ext>
              </a:extLst>
            </p:cNvPr>
            <p:cNvSpPr>
              <a:spLocks/>
            </p:cNvSpPr>
            <p:nvPr/>
          </p:nvSpPr>
          <p:spPr bwMode="auto">
            <a:xfrm>
              <a:off x="776288" y="4419600"/>
              <a:ext cx="17463" cy="19050"/>
            </a:xfrm>
            <a:custGeom>
              <a:avLst/>
              <a:gdLst>
                <a:gd name="T0" fmla="*/ 12 w 23"/>
                <a:gd name="T1" fmla="*/ 0 h 24"/>
                <a:gd name="T2" fmla="*/ 12 w 23"/>
                <a:gd name="T3" fmla="*/ 0 h 24"/>
                <a:gd name="T4" fmla="*/ 8 w 23"/>
                <a:gd name="T5" fmla="*/ 1 h 24"/>
                <a:gd name="T6" fmla="*/ 6 w 23"/>
                <a:gd name="T7" fmla="*/ 1 h 24"/>
                <a:gd name="T8" fmla="*/ 2 w 23"/>
                <a:gd name="T9" fmla="*/ 5 h 24"/>
                <a:gd name="T10" fmla="*/ 0 w 23"/>
                <a:gd name="T11" fmla="*/ 9 h 24"/>
                <a:gd name="T12" fmla="*/ 0 w 23"/>
                <a:gd name="T13" fmla="*/ 12 h 24"/>
                <a:gd name="T14" fmla="*/ 0 w 23"/>
                <a:gd name="T15" fmla="*/ 12 h 24"/>
                <a:gd name="T16" fmla="*/ 0 w 23"/>
                <a:gd name="T17" fmla="*/ 15 h 24"/>
                <a:gd name="T18" fmla="*/ 3 w 23"/>
                <a:gd name="T19" fmla="*/ 19 h 24"/>
                <a:gd name="T20" fmla="*/ 6 w 23"/>
                <a:gd name="T21" fmla="*/ 23 h 24"/>
                <a:gd name="T22" fmla="*/ 8 w 23"/>
                <a:gd name="T23" fmla="*/ 24 h 24"/>
                <a:gd name="T24" fmla="*/ 12 w 23"/>
                <a:gd name="T25" fmla="*/ 24 h 24"/>
                <a:gd name="T26" fmla="*/ 23 w 23"/>
                <a:gd name="T27" fmla="*/ 24 h 24"/>
                <a:gd name="T28" fmla="*/ 23 w 23"/>
                <a:gd name="T29" fmla="*/ 12 h 24"/>
                <a:gd name="T30" fmla="*/ 23 w 23"/>
                <a:gd name="T31" fmla="*/ 12 h 24"/>
                <a:gd name="T32" fmla="*/ 23 w 23"/>
                <a:gd name="T33" fmla="*/ 8 h 24"/>
                <a:gd name="T34" fmla="*/ 22 w 23"/>
                <a:gd name="T35" fmla="*/ 5 h 24"/>
                <a:gd name="T36" fmla="*/ 21 w 23"/>
                <a:gd name="T37" fmla="*/ 3 h 24"/>
                <a:gd name="T38" fmla="*/ 21 w 23"/>
                <a:gd name="T39" fmla="*/ 3 h 24"/>
                <a:gd name="T40" fmla="*/ 17 w 23"/>
                <a:gd name="T41" fmla="*/ 1 h 24"/>
                <a:gd name="T42" fmla="*/ 12 w 23"/>
                <a:gd name="T43" fmla="*/ 0 h 24"/>
                <a:gd name="T44" fmla="*/ 12 w 23"/>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4">
                  <a:moveTo>
                    <a:pt x="12" y="0"/>
                  </a:moveTo>
                  <a:lnTo>
                    <a:pt x="12" y="0"/>
                  </a:lnTo>
                  <a:lnTo>
                    <a:pt x="8" y="1"/>
                  </a:lnTo>
                  <a:lnTo>
                    <a:pt x="6" y="1"/>
                  </a:lnTo>
                  <a:lnTo>
                    <a:pt x="2" y="5"/>
                  </a:lnTo>
                  <a:lnTo>
                    <a:pt x="0" y="9"/>
                  </a:lnTo>
                  <a:lnTo>
                    <a:pt x="0" y="12"/>
                  </a:lnTo>
                  <a:lnTo>
                    <a:pt x="0" y="12"/>
                  </a:lnTo>
                  <a:lnTo>
                    <a:pt x="0" y="15"/>
                  </a:lnTo>
                  <a:lnTo>
                    <a:pt x="3" y="19"/>
                  </a:lnTo>
                  <a:lnTo>
                    <a:pt x="6" y="23"/>
                  </a:lnTo>
                  <a:lnTo>
                    <a:pt x="8" y="24"/>
                  </a:lnTo>
                  <a:lnTo>
                    <a:pt x="12" y="24"/>
                  </a:lnTo>
                  <a:lnTo>
                    <a:pt x="23" y="24"/>
                  </a:lnTo>
                  <a:lnTo>
                    <a:pt x="23" y="12"/>
                  </a:lnTo>
                  <a:lnTo>
                    <a:pt x="23" y="12"/>
                  </a:lnTo>
                  <a:lnTo>
                    <a:pt x="23" y="8"/>
                  </a:lnTo>
                  <a:lnTo>
                    <a:pt x="22" y="5"/>
                  </a:lnTo>
                  <a:lnTo>
                    <a:pt x="21" y="3"/>
                  </a:lnTo>
                  <a:lnTo>
                    <a:pt x="21" y="3"/>
                  </a:lnTo>
                  <a:lnTo>
                    <a:pt x="17" y="1"/>
                  </a:lnTo>
                  <a:lnTo>
                    <a:pt x="12" y="0"/>
                  </a:lnTo>
                  <a:lnTo>
                    <a:pt x="1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7" name="Freeform 342">
              <a:extLst>
                <a:ext uri="{FF2B5EF4-FFF2-40B4-BE49-F238E27FC236}">
                  <a16:creationId xmlns:a16="http://schemas.microsoft.com/office/drawing/2014/main" id="{33753FF9-BD19-4282-9729-BE75D3F7A26A}"/>
                </a:ext>
              </a:extLst>
            </p:cNvPr>
            <p:cNvSpPr>
              <a:spLocks/>
            </p:cNvSpPr>
            <p:nvPr/>
          </p:nvSpPr>
          <p:spPr bwMode="auto">
            <a:xfrm>
              <a:off x="727076" y="4316413"/>
              <a:ext cx="177800" cy="201613"/>
            </a:xfrm>
            <a:custGeom>
              <a:avLst/>
              <a:gdLst>
                <a:gd name="T0" fmla="*/ 112 w 224"/>
                <a:gd name="T1" fmla="*/ 0 h 252"/>
                <a:gd name="T2" fmla="*/ 90 w 224"/>
                <a:gd name="T3" fmla="*/ 1 h 252"/>
                <a:gd name="T4" fmla="*/ 68 w 224"/>
                <a:gd name="T5" fmla="*/ 8 h 252"/>
                <a:gd name="T6" fmla="*/ 49 w 224"/>
                <a:gd name="T7" fmla="*/ 19 h 252"/>
                <a:gd name="T8" fmla="*/ 33 w 224"/>
                <a:gd name="T9" fmla="*/ 32 h 252"/>
                <a:gd name="T10" fmla="*/ 20 w 224"/>
                <a:gd name="T11" fmla="*/ 48 h 252"/>
                <a:gd name="T12" fmla="*/ 9 w 224"/>
                <a:gd name="T13" fmla="*/ 68 h 252"/>
                <a:gd name="T14" fmla="*/ 2 w 224"/>
                <a:gd name="T15" fmla="*/ 89 h 252"/>
                <a:gd name="T16" fmla="*/ 0 w 224"/>
                <a:gd name="T17" fmla="*/ 111 h 252"/>
                <a:gd name="T18" fmla="*/ 1 w 224"/>
                <a:gd name="T19" fmla="*/ 126 h 252"/>
                <a:gd name="T20" fmla="*/ 9 w 224"/>
                <a:gd name="T21" fmla="*/ 156 h 252"/>
                <a:gd name="T22" fmla="*/ 24 w 224"/>
                <a:gd name="T23" fmla="*/ 181 h 252"/>
                <a:gd name="T24" fmla="*/ 45 w 224"/>
                <a:gd name="T25" fmla="*/ 201 h 252"/>
                <a:gd name="T26" fmla="*/ 59 w 224"/>
                <a:gd name="T27" fmla="*/ 248 h 252"/>
                <a:gd name="T28" fmla="*/ 60 w 224"/>
                <a:gd name="T29" fmla="*/ 251 h 252"/>
                <a:gd name="T30" fmla="*/ 84 w 224"/>
                <a:gd name="T31" fmla="*/ 252 h 252"/>
                <a:gd name="T32" fmla="*/ 73 w 224"/>
                <a:gd name="T33" fmla="*/ 169 h 252"/>
                <a:gd name="T34" fmla="*/ 65 w 224"/>
                <a:gd name="T35" fmla="*/ 168 h 252"/>
                <a:gd name="T36" fmla="*/ 56 w 224"/>
                <a:gd name="T37" fmla="*/ 162 h 252"/>
                <a:gd name="T38" fmla="*/ 49 w 224"/>
                <a:gd name="T39" fmla="*/ 154 h 252"/>
                <a:gd name="T40" fmla="*/ 45 w 224"/>
                <a:gd name="T41" fmla="*/ 141 h 252"/>
                <a:gd name="T42" fmla="*/ 47 w 224"/>
                <a:gd name="T43" fmla="*/ 132 h 252"/>
                <a:gd name="T44" fmla="*/ 52 w 224"/>
                <a:gd name="T45" fmla="*/ 122 h 252"/>
                <a:gd name="T46" fmla="*/ 60 w 224"/>
                <a:gd name="T47" fmla="*/ 115 h 252"/>
                <a:gd name="T48" fmla="*/ 73 w 224"/>
                <a:gd name="T49" fmla="*/ 113 h 252"/>
                <a:gd name="T50" fmla="*/ 80 w 224"/>
                <a:gd name="T51" fmla="*/ 114 h 252"/>
                <a:gd name="T52" fmla="*/ 90 w 224"/>
                <a:gd name="T53" fmla="*/ 118 h 252"/>
                <a:gd name="T54" fmla="*/ 92 w 224"/>
                <a:gd name="T55" fmla="*/ 121 h 252"/>
                <a:gd name="T56" fmla="*/ 99 w 224"/>
                <a:gd name="T57" fmla="*/ 133 h 252"/>
                <a:gd name="T58" fmla="*/ 100 w 224"/>
                <a:gd name="T59" fmla="*/ 153 h 252"/>
                <a:gd name="T60" fmla="*/ 125 w 224"/>
                <a:gd name="T61" fmla="*/ 153 h 252"/>
                <a:gd name="T62" fmla="*/ 125 w 224"/>
                <a:gd name="T63" fmla="*/ 141 h 252"/>
                <a:gd name="T64" fmla="*/ 127 w 224"/>
                <a:gd name="T65" fmla="*/ 128 h 252"/>
                <a:gd name="T66" fmla="*/ 131 w 224"/>
                <a:gd name="T67" fmla="*/ 121 h 252"/>
                <a:gd name="T68" fmla="*/ 139 w 224"/>
                <a:gd name="T69" fmla="*/ 115 h 252"/>
                <a:gd name="T70" fmla="*/ 151 w 224"/>
                <a:gd name="T71" fmla="*/ 113 h 252"/>
                <a:gd name="T72" fmla="*/ 158 w 224"/>
                <a:gd name="T73" fmla="*/ 114 h 252"/>
                <a:gd name="T74" fmla="*/ 169 w 224"/>
                <a:gd name="T75" fmla="*/ 119 h 252"/>
                <a:gd name="T76" fmla="*/ 176 w 224"/>
                <a:gd name="T77" fmla="*/ 128 h 252"/>
                <a:gd name="T78" fmla="*/ 180 w 224"/>
                <a:gd name="T79" fmla="*/ 141 h 252"/>
                <a:gd name="T80" fmla="*/ 177 w 224"/>
                <a:gd name="T81" fmla="*/ 150 h 252"/>
                <a:gd name="T82" fmla="*/ 173 w 224"/>
                <a:gd name="T83" fmla="*/ 158 h 252"/>
                <a:gd name="T84" fmla="*/ 165 w 224"/>
                <a:gd name="T85" fmla="*/ 167 h 252"/>
                <a:gd name="T86" fmla="*/ 151 w 224"/>
                <a:gd name="T87" fmla="*/ 169 h 252"/>
                <a:gd name="T88" fmla="*/ 141 w 224"/>
                <a:gd name="T89" fmla="*/ 252 h 252"/>
                <a:gd name="T90" fmla="*/ 161 w 224"/>
                <a:gd name="T91" fmla="*/ 252 h 252"/>
                <a:gd name="T92" fmla="*/ 166 w 224"/>
                <a:gd name="T93" fmla="*/ 248 h 252"/>
                <a:gd name="T94" fmla="*/ 166 w 224"/>
                <a:gd name="T95" fmla="*/ 209 h 252"/>
                <a:gd name="T96" fmla="*/ 190 w 224"/>
                <a:gd name="T97" fmla="*/ 192 h 252"/>
                <a:gd name="T98" fmla="*/ 209 w 224"/>
                <a:gd name="T99" fmla="*/ 169 h 252"/>
                <a:gd name="T100" fmla="*/ 220 w 224"/>
                <a:gd name="T101" fmla="*/ 141 h 252"/>
                <a:gd name="T102" fmla="*/ 224 w 224"/>
                <a:gd name="T103" fmla="*/ 111 h 252"/>
                <a:gd name="T104" fmla="*/ 224 w 224"/>
                <a:gd name="T105" fmla="*/ 101 h 252"/>
                <a:gd name="T106" fmla="*/ 220 w 224"/>
                <a:gd name="T107" fmla="*/ 78 h 252"/>
                <a:gd name="T108" fmla="*/ 210 w 224"/>
                <a:gd name="T109" fmla="*/ 58 h 252"/>
                <a:gd name="T110" fmla="*/ 198 w 224"/>
                <a:gd name="T111" fmla="*/ 40 h 252"/>
                <a:gd name="T112" fmla="*/ 184 w 224"/>
                <a:gd name="T113" fmla="*/ 25 h 252"/>
                <a:gd name="T114" fmla="*/ 166 w 224"/>
                <a:gd name="T115" fmla="*/ 13 h 252"/>
                <a:gd name="T116" fmla="*/ 146 w 224"/>
                <a:gd name="T117" fmla="*/ 4 h 252"/>
                <a:gd name="T118" fmla="*/ 123 w 224"/>
                <a:gd name="T119" fmla="*/ 0 h 252"/>
                <a:gd name="T120" fmla="*/ 112 w 224"/>
                <a:gd name="T1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4" h="252">
                  <a:moveTo>
                    <a:pt x="112" y="0"/>
                  </a:moveTo>
                  <a:lnTo>
                    <a:pt x="112" y="0"/>
                  </a:lnTo>
                  <a:lnTo>
                    <a:pt x="100" y="0"/>
                  </a:lnTo>
                  <a:lnTo>
                    <a:pt x="90" y="1"/>
                  </a:lnTo>
                  <a:lnTo>
                    <a:pt x="79" y="4"/>
                  </a:lnTo>
                  <a:lnTo>
                    <a:pt x="68" y="8"/>
                  </a:lnTo>
                  <a:lnTo>
                    <a:pt x="59" y="13"/>
                  </a:lnTo>
                  <a:lnTo>
                    <a:pt x="49" y="19"/>
                  </a:lnTo>
                  <a:lnTo>
                    <a:pt x="41" y="25"/>
                  </a:lnTo>
                  <a:lnTo>
                    <a:pt x="33" y="32"/>
                  </a:lnTo>
                  <a:lnTo>
                    <a:pt x="26" y="40"/>
                  </a:lnTo>
                  <a:lnTo>
                    <a:pt x="20" y="48"/>
                  </a:lnTo>
                  <a:lnTo>
                    <a:pt x="14" y="58"/>
                  </a:lnTo>
                  <a:lnTo>
                    <a:pt x="9" y="68"/>
                  </a:lnTo>
                  <a:lnTo>
                    <a:pt x="5" y="78"/>
                  </a:lnTo>
                  <a:lnTo>
                    <a:pt x="2" y="89"/>
                  </a:lnTo>
                  <a:lnTo>
                    <a:pt x="1" y="101"/>
                  </a:lnTo>
                  <a:lnTo>
                    <a:pt x="0" y="111"/>
                  </a:lnTo>
                  <a:lnTo>
                    <a:pt x="0" y="111"/>
                  </a:lnTo>
                  <a:lnTo>
                    <a:pt x="1" y="126"/>
                  </a:lnTo>
                  <a:lnTo>
                    <a:pt x="4" y="141"/>
                  </a:lnTo>
                  <a:lnTo>
                    <a:pt x="9" y="156"/>
                  </a:lnTo>
                  <a:lnTo>
                    <a:pt x="16" y="169"/>
                  </a:lnTo>
                  <a:lnTo>
                    <a:pt x="24" y="181"/>
                  </a:lnTo>
                  <a:lnTo>
                    <a:pt x="35" y="192"/>
                  </a:lnTo>
                  <a:lnTo>
                    <a:pt x="45" y="201"/>
                  </a:lnTo>
                  <a:lnTo>
                    <a:pt x="59" y="209"/>
                  </a:lnTo>
                  <a:lnTo>
                    <a:pt x="59" y="248"/>
                  </a:lnTo>
                  <a:lnTo>
                    <a:pt x="59" y="248"/>
                  </a:lnTo>
                  <a:lnTo>
                    <a:pt x="60" y="251"/>
                  </a:lnTo>
                  <a:lnTo>
                    <a:pt x="64" y="252"/>
                  </a:lnTo>
                  <a:lnTo>
                    <a:pt x="84" y="252"/>
                  </a:lnTo>
                  <a:lnTo>
                    <a:pt x="84" y="169"/>
                  </a:lnTo>
                  <a:lnTo>
                    <a:pt x="73" y="169"/>
                  </a:lnTo>
                  <a:lnTo>
                    <a:pt x="73" y="169"/>
                  </a:lnTo>
                  <a:lnTo>
                    <a:pt x="65" y="168"/>
                  </a:lnTo>
                  <a:lnTo>
                    <a:pt x="60" y="167"/>
                  </a:lnTo>
                  <a:lnTo>
                    <a:pt x="56" y="162"/>
                  </a:lnTo>
                  <a:lnTo>
                    <a:pt x="52" y="158"/>
                  </a:lnTo>
                  <a:lnTo>
                    <a:pt x="49" y="154"/>
                  </a:lnTo>
                  <a:lnTo>
                    <a:pt x="47" y="150"/>
                  </a:lnTo>
                  <a:lnTo>
                    <a:pt x="45" y="141"/>
                  </a:lnTo>
                  <a:lnTo>
                    <a:pt x="45" y="141"/>
                  </a:lnTo>
                  <a:lnTo>
                    <a:pt x="47" y="132"/>
                  </a:lnTo>
                  <a:lnTo>
                    <a:pt x="49" y="128"/>
                  </a:lnTo>
                  <a:lnTo>
                    <a:pt x="52" y="122"/>
                  </a:lnTo>
                  <a:lnTo>
                    <a:pt x="56" y="119"/>
                  </a:lnTo>
                  <a:lnTo>
                    <a:pt x="60" y="115"/>
                  </a:lnTo>
                  <a:lnTo>
                    <a:pt x="67" y="114"/>
                  </a:lnTo>
                  <a:lnTo>
                    <a:pt x="73" y="113"/>
                  </a:lnTo>
                  <a:lnTo>
                    <a:pt x="73" y="113"/>
                  </a:lnTo>
                  <a:lnTo>
                    <a:pt x="80" y="114"/>
                  </a:lnTo>
                  <a:lnTo>
                    <a:pt x="86" y="115"/>
                  </a:lnTo>
                  <a:lnTo>
                    <a:pt x="90" y="118"/>
                  </a:lnTo>
                  <a:lnTo>
                    <a:pt x="92" y="121"/>
                  </a:lnTo>
                  <a:lnTo>
                    <a:pt x="92" y="121"/>
                  </a:lnTo>
                  <a:lnTo>
                    <a:pt x="98" y="128"/>
                  </a:lnTo>
                  <a:lnTo>
                    <a:pt x="99" y="133"/>
                  </a:lnTo>
                  <a:lnTo>
                    <a:pt x="100" y="141"/>
                  </a:lnTo>
                  <a:lnTo>
                    <a:pt x="100" y="153"/>
                  </a:lnTo>
                  <a:lnTo>
                    <a:pt x="112" y="153"/>
                  </a:lnTo>
                  <a:lnTo>
                    <a:pt x="125" y="153"/>
                  </a:lnTo>
                  <a:lnTo>
                    <a:pt x="125" y="141"/>
                  </a:lnTo>
                  <a:lnTo>
                    <a:pt x="125" y="141"/>
                  </a:lnTo>
                  <a:lnTo>
                    <a:pt x="125" y="133"/>
                  </a:lnTo>
                  <a:lnTo>
                    <a:pt x="127" y="128"/>
                  </a:lnTo>
                  <a:lnTo>
                    <a:pt x="131" y="121"/>
                  </a:lnTo>
                  <a:lnTo>
                    <a:pt x="131" y="121"/>
                  </a:lnTo>
                  <a:lnTo>
                    <a:pt x="135" y="118"/>
                  </a:lnTo>
                  <a:lnTo>
                    <a:pt x="139" y="115"/>
                  </a:lnTo>
                  <a:lnTo>
                    <a:pt x="145" y="114"/>
                  </a:lnTo>
                  <a:lnTo>
                    <a:pt x="151" y="113"/>
                  </a:lnTo>
                  <a:lnTo>
                    <a:pt x="151" y="113"/>
                  </a:lnTo>
                  <a:lnTo>
                    <a:pt x="158" y="114"/>
                  </a:lnTo>
                  <a:lnTo>
                    <a:pt x="165" y="115"/>
                  </a:lnTo>
                  <a:lnTo>
                    <a:pt x="169" y="119"/>
                  </a:lnTo>
                  <a:lnTo>
                    <a:pt x="173" y="122"/>
                  </a:lnTo>
                  <a:lnTo>
                    <a:pt x="176" y="128"/>
                  </a:lnTo>
                  <a:lnTo>
                    <a:pt x="177" y="132"/>
                  </a:lnTo>
                  <a:lnTo>
                    <a:pt x="180" y="141"/>
                  </a:lnTo>
                  <a:lnTo>
                    <a:pt x="180" y="141"/>
                  </a:lnTo>
                  <a:lnTo>
                    <a:pt x="177" y="150"/>
                  </a:lnTo>
                  <a:lnTo>
                    <a:pt x="176" y="154"/>
                  </a:lnTo>
                  <a:lnTo>
                    <a:pt x="173" y="158"/>
                  </a:lnTo>
                  <a:lnTo>
                    <a:pt x="169" y="162"/>
                  </a:lnTo>
                  <a:lnTo>
                    <a:pt x="165" y="167"/>
                  </a:lnTo>
                  <a:lnTo>
                    <a:pt x="158" y="168"/>
                  </a:lnTo>
                  <a:lnTo>
                    <a:pt x="151" y="169"/>
                  </a:lnTo>
                  <a:lnTo>
                    <a:pt x="141" y="169"/>
                  </a:lnTo>
                  <a:lnTo>
                    <a:pt x="141" y="252"/>
                  </a:lnTo>
                  <a:lnTo>
                    <a:pt x="161" y="252"/>
                  </a:lnTo>
                  <a:lnTo>
                    <a:pt x="161" y="252"/>
                  </a:lnTo>
                  <a:lnTo>
                    <a:pt x="165" y="251"/>
                  </a:lnTo>
                  <a:lnTo>
                    <a:pt x="166" y="248"/>
                  </a:lnTo>
                  <a:lnTo>
                    <a:pt x="166" y="209"/>
                  </a:lnTo>
                  <a:lnTo>
                    <a:pt x="166" y="209"/>
                  </a:lnTo>
                  <a:lnTo>
                    <a:pt x="178" y="201"/>
                  </a:lnTo>
                  <a:lnTo>
                    <a:pt x="190" y="192"/>
                  </a:lnTo>
                  <a:lnTo>
                    <a:pt x="200" y="181"/>
                  </a:lnTo>
                  <a:lnTo>
                    <a:pt x="209" y="169"/>
                  </a:lnTo>
                  <a:lnTo>
                    <a:pt x="216" y="156"/>
                  </a:lnTo>
                  <a:lnTo>
                    <a:pt x="220" y="141"/>
                  </a:lnTo>
                  <a:lnTo>
                    <a:pt x="224" y="126"/>
                  </a:lnTo>
                  <a:lnTo>
                    <a:pt x="224" y="111"/>
                  </a:lnTo>
                  <a:lnTo>
                    <a:pt x="224" y="111"/>
                  </a:lnTo>
                  <a:lnTo>
                    <a:pt x="224" y="101"/>
                  </a:lnTo>
                  <a:lnTo>
                    <a:pt x="223" y="89"/>
                  </a:lnTo>
                  <a:lnTo>
                    <a:pt x="220" y="78"/>
                  </a:lnTo>
                  <a:lnTo>
                    <a:pt x="216" y="68"/>
                  </a:lnTo>
                  <a:lnTo>
                    <a:pt x="210" y="58"/>
                  </a:lnTo>
                  <a:lnTo>
                    <a:pt x="205" y="48"/>
                  </a:lnTo>
                  <a:lnTo>
                    <a:pt x="198" y="40"/>
                  </a:lnTo>
                  <a:lnTo>
                    <a:pt x="192" y="32"/>
                  </a:lnTo>
                  <a:lnTo>
                    <a:pt x="184" y="25"/>
                  </a:lnTo>
                  <a:lnTo>
                    <a:pt x="176" y="19"/>
                  </a:lnTo>
                  <a:lnTo>
                    <a:pt x="166" y="13"/>
                  </a:lnTo>
                  <a:lnTo>
                    <a:pt x="155" y="8"/>
                  </a:lnTo>
                  <a:lnTo>
                    <a:pt x="146" y="4"/>
                  </a:lnTo>
                  <a:lnTo>
                    <a:pt x="135" y="1"/>
                  </a:lnTo>
                  <a:lnTo>
                    <a:pt x="123" y="0"/>
                  </a:lnTo>
                  <a:lnTo>
                    <a:pt x="112" y="0"/>
                  </a:lnTo>
                  <a:lnTo>
                    <a:pt x="11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8" name="Freeform 343">
              <a:extLst>
                <a:ext uri="{FF2B5EF4-FFF2-40B4-BE49-F238E27FC236}">
                  <a16:creationId xmlns:a16="http://schemas.microsoft.com/office/drawing/2014/main" id="{48E9ACB0-6FD1-42B3-AE44-970BBF03E904}"/>
                </a:ext>
              </a:extLst>
            </p:cNvPr>
            <p:cNvSpPr>
              <a:spLocks/>
            </p:cNvSpPr>
            <p:nvPr/>
          </p:nvSpPr>
          <p:spPr bwMode="auto">
            <a:xfrm>
              <a:off x="825501" y="4518025"/>
              <a:ext cx="12700" cy="0"/>
            </a:xfrm>
            <a:custGeom>
              <a:avLst/>
              <a:gdLst>
                <a:gd name="T0" fmla="*/ 0 w 16"/>
                <a:gd name="T1" fmla="*/ 0 w 16"/>
                <a:gd name="T2" fmla="*/ 16 w 16"/>
                <a:gd name="T3" fmla="*/ 16 w 16"/>
                <a:gd name="T4" fmla="*/ 12 w 16"/>
                <a:gd name="T5" fmla="*/ 0 w 16"/>
              </a:gdLst>
              <a:ahLst/>
              <a:cxnLst>
                <a:cxn ang="0">
                  <a:pos x="T0" y="0"/>
                </a:cxn>
                <a:cxn ang="0">
                  <a:pos x="T1" y="0"/>
                </a:cxn>
                <a:cxn ang="0">
                  <a:pos x="T2" y="0"/>
                </a:cxn>
                <a:cxn ang="0">
                  <a:pos x="T3" y="0"/>
                </a:cxn>
                <a:cxn ang="0">
                  <a:pos x="T4" y="0"/>
                </a:cxn>
                <a:cxn ang="0">
                  <a:pos x="T5" y="0"/>
                </a:cxn>
              </a:cxnLst>
              <a:rect l="0" t="0" r="r" b="b"/>
              <a:pathLst>
                <a:path w="16">
                  <a:moveTo>
                    <a:pt x="0" y="0"/>
                  </a:moveTo>
                  <a:lnTo>
                    <a:pt x="0" y="0"/>
                  </a:lnTo>
                  <a:lnTo>
                    <a:pt x="16" y="0"/>
                  </a:lnTo>
                  <a:lnTo>
                    <a:pt x="16" y="0"/>
                  </a:lnTo>
                  <a:lnTo>
                    <a:pt x="12"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9" name="Freeform 344">
              <a:extLst>
                <a:ext uri="{FF2B5EF4-FFF2-40B4-BE49-F238E27FC236}">
                  <a16:creationId xmlns:a16="http://schemas.microsoft.com/office/drawing/2014/main" id="{64535278-D294-4F65-943F-B6DB70570C71}"/>
                </a:ext>
              </a:extLst>
            </p:cNvPr>
            <p:cNvSpPr>
              <a:spLocks/>
            </p:cNvSpPr>
            <p:nvPr/>
          </p:nvSpPr>
          <p:spPr bwMode="auto">
            <a:xfrm>
              <a:off x="793751" y="4518025"/>
              <a:ext cx="12700" cy="0"/>
            </a:xfrm>
            <a:custGeom>
              <a:avLst/>
              <a:gdLst>
                <a:gd name="T0" fmla="*/ 0 w 16"/>
                <a:gd name="T1" fmla="*/ 0 w 16"/>
                <a:gd name="T2" fmla="*/ 16 w 16"/>
                <a:gd name="T3" fmla="*/ 16 w 16"/>
                <a:gd name="T4" fmla="*/ 4 w 16"/>
                <a:gd name="T5" fmla="*/ 0 w 16"/>
              </a:gdLst>
              <a:ahLst/>
              <a:cxnLst>
                <a:cxn ang="0">
                  <a:pos x="T0" y="0"/>
                </a:cxn>
                <a:cxn ang="0">
                  <a:pos x="T1" y="0"/>
                </a:cxn>
                <a:cxn ang="0">
                  <a:pos x="T2" y="0"/>
                </a:cxn>
                <a:cxn ang="0">
                  <a:pos x="T3" y="0"/>
                </a:cxn>
                <a:cxn ang="0">
                  <a:pos x="T4" y="0"/>
                </a:cxn>
                <a:cxn ang="0">
                  <a:pos x="T5" y="0"/>
                </a:cxn>
              </a:cxnLst>
              <a:rect l="0" t="0" r="r" b="b"/>
              <a:pathLst>
                <a:path w="16">
                  <a:moveTo>
                    <a:pt x="0" y="0"/>
                  </a:moveTo>
                  <a:lnTo>
                    <a:pt x="0" y="0"/>
                  </a:lnTo>
                  <a:lnTo>
                    <a:pt x="16" y="0"/>
                  </a:lnTo>
                  <a:lnTo>
                    <a:pt x="16" y="0"/>
                  </a:lnTo>
                  <a:lnTo>
                    <a:pt x="4"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00" name="Group 99">
            <a:extLst>
              <a:ext uri="{FF2B5EF4-FFF2-40B4-BE49-F238E27FC236}">
                <a16:creationId xmlns:a16="http://schemas.microsoft.com/office/drawing/2014/main" id="{B9BB60BF-D01E-44D6-B233-F0BCE7CDD7B0}"/>
              </a:ext>
            </a:extLst>
          </p:cNvPr>
          <p:cNvGrpSpPr>
            <a:grpSpLocks noChangeAspect="1"/>
          </p:cNvGrpSpPr>
          <p:nvPr/>
        </p:nvGrpSpPr>
        <p:grpSpPr>
          <a:xfrm>
            <a:off x="2279557" y="3414418"/>
            <a:ext cx="320040" cy="320040"/>
            <a:chOff x="7594596" y="3342320"/>
            <a:chExt cx="522288" cy="522288"/>
          </a:xfrm>
        </p:grpSpPr>
        <p:sp>
          <p:nvSpPr>
            <p:cNvPr id="101" name="Freeform 50">
              <a:extLst>
                <a:ext uri="{FF2B5EF4-FFF2-40B4-BE49-F238E27FC236}">
                  <a16:creationId xmlns:a16="http://schemas.microsoft.com/office/drawing/2014/main" id="{57A3943B-937C-4702-AC56-CB1B05E06AF5}"/>
                </a:ext>
              </a:extLst>
            </p:cNvPr>
            <p:cNvSpPr>
              <a:spLocks noEditPoints="1"/>
            </p:cNvSpPr>
            <p:nvPr/>
          </p:nvSpPr>
          <p:spPr bwMode="auto">
            <a:xfrm>
              <a:off x="7594596" y="3342320"/>
              <a:ext cx="522288" cy="522288"/>
            </a:xfrm>
            <a:custGeom>
              <a:avLst/>
              <a:gdLst>
                <a:gd name="T0" fmla="*/ 312 w 659"/>
                <a:gd name="T1" fmla="*/ 658 h 659"/>
                <a:gd name="T2" fmla="*/ 262 w 659"/>
                <a:gd name="T3" fmla="*/ 652 h 659"/>
                <a:gd name="T4" fmla="*/ 202 w 659"/>
                <a:gd name="T5" fmla="*/ 632 h 659"/>
                <a:gd name="T6" fmla="*/ 120 w 659"/>
                <a:gd name="T7" fmla="*/ 584 h 659"/>
                <a:gd name="T8" fmla="*/ 57 w 659"/>
                <a:gd name="T9" fmla="*/ 514 h 659"/>
                <a:gd name="T10" fmla="*/ 15 w 659"/>
                <a:gd name="T11" fmla="*/ 428 h 659"/>
                <a:gd name="T12" fmla="*/ 4 w 659"/>
                <a:gd name="T13" fmla="*/ 379 h 659"/>
                <a:gd name="T14" fmla="*/ 0 w 659"/>
                <a:gd name="T15" fmla="*/ 330 h 659"/>
                <a:gd name="T16" fmla="*/ 2 w 659"/>
                <a:gd name="T17" fmla="*/ 296 h 659"/>
                <a:gd name="T18" fmla="*/ 11 w 659"/>
                <a:gd name="T19" fmla="*/ 248 h 659"/>
                <a:gd name="T20" fmla="*/ 41 w 659"/>
                <a:gd name="T21" fmla="*/ 172 h 659"/>
                <a:gd name="T22" fmla="*/ 97 w 659"/>
                <a:gd name="T23" fmla="*/ 97 h 659"/>
                <a:gd name="T24" fmla="*/ 172 w 659"/>
                <a:gd name="T25" fmla="*/ 41 h 659"/>
                <a:gd name="T26" fmla="*/ 248 w 659"/>
                <a:gd name="T27" fmla="*/ 11 h 659"/>
                <a:gd name="T28" fmla="*/ 296 w 659"/>
                <a:gd name="T29" fmla="*/ 2 h 659"/>
                <a:gd name="T30" fmla="*/ 330 w 659"/>
                <a:gd name="T31" fmla="*/ 0 h 659"/>
                <a:gd name="T32" fmla="*/ 379 w 659"/>
                <a:gd name="T33" fmla="*/ 4 h 659"/>
                <a:gd name="T34" fmla="*/ 426 w 659"/>
                <a:gd name="T35" fmla="*/ 15 h 659"/>
                <a:gd name="T36" fmla="*/ 514 w 659"/>
                <a:gd name="T37" fmla="*/ 57 h 659"/>
                <a:gd name="T38" fmla="*/ 584 w 659"/>
                <a:gd name="T39" fmla="*/ 120 h 659"/>
                <a:gd name="T40" fmla="*/ 632 w 659"/>
                <a:gd name="T41" fmla="*/ 202 h 659"/>
                <a:gd name="T42" fmla="*/ 652 w 659"/>
                <a:gd name="T43" fmla="*/ 264 h 659"/>
                <a:gd name="T44" fmla="*/ 658 w 659"/>
                <a:gd name="T45" fmla="*/ 312 h 659"/>
                <a:gd name="T46" fmla="*/ 658 w 659"/>
                <a:gd name="T47" fmla="*/ 347 h 659"/>
                <a:gd name="T48" fmla="*/ 652 w 659"/>
                <a:gd name="T49" fmla="*/ 396 h 659"/>
                <a:gd name="T50" fmla="*/ 632 w 659"/>
                <a:gd name="T51" fmla="*/ 457 h 659"/>
                <a:gd name="T52" fmla="*/ 584 w 659"/>
                <a:gd name="T53" fmla="*/ 539 h 659"/>
                <a:gd name="T54" fmla="*/ 514 w 659"/>
                <a:gd name="T55" fmla="*/ 603 h 659"/>
                <a:gd name="T56" fmla="*/ 426 w 659"/>
                <a:gd name="T57" fmla="*/ 644 h 659"/>
                <a:gd name="T58" fmla="*/ 379 w 659"/>
                <a:gd name="T59" fmla="*/ 655 h 659"/>
                <a:gd name="T60" fmla="*/ 330 w 659"/>
                <a:gd name="T61" fmla="*/ 659 h 659"/>
                <a:gd name="T62" fmla="*/ 330 w 659"/>
                <a:gd name="T63" fmla="*/ 38 h 659"/>
                <a:gd name="T64" fmla="*/ 242 w 659"/>
                <a:gd name="T65" fmla="*/ 51 h 659"/>
                <a:gd name="T66" fmla="*/ 167 w 659"/>
                <a:gd name="T67" fmla="*/ 88 h 659"/>
                <a:gd name="T68" fmla="*/ 105 w 659"/>
                <a:gd name="T69" fmla="*/ 144 h 659"/>
                <a:gd name="T70" fmla="*/ 61 w 659"/>
                <a:gd name="T71" fmla="*/ 217 h 659"/>
                <a:gd name="T72" fmla="*/ 39 w 659"/>
                <a:gd name="T73" fmla="*/ 300 h 659"/>
                <a:gd name="T74" fmla="*/ 39 w 659"/>
                <a:gd name="T75" fmla="*/ 359 h 659"/>
                <a:gd name="T76" fmla="*/ 61 w 659"/>
                <a:gd name="T77" fmla="*/ 443 h 659"/>
                <a:gd name="T78" fmla="*/ 105 w 659"/>
                <a:gd name="T79" fmla="*/ 515 h 659"/>
                <a:gd name="T80" fmla="*/ 167 w 659"/>
                <a:gd name="T81" fmla="*/ 572 h 659"/>
                <a:gd name="T82" fmla="*/ 242 w 659"/>
                <a:gd name="T83" fmla="*/ 608 h 659"/>
                <a:gd name="T84" fmla="*/ 330 w 659"/>
                <a:gd name="T85" fmla="*/ 621 h 659"/>
                <a:gd name="T86" fmla="*/ 387 w 659"/>
                <a:gd name="T87" fmla="*/ 615 h 659"/>
                <a:gd name="T88" fmla="*/ 468 w 659"/>
                <a:gd name="T89" fmla="*/ 586 h 659"/>
                <a:gd name="T90" fmla="*/ 535 w 659"/>
                <a:gd name="T91" fmla="*/ 535 h 659"/>
                <a:gd name="T92" fmla="*/ 585 w 659"/>
                <a:gd name="T93" fmla="*/ 468 h 659"/>
                <a:gd name="T94" fmla="*/ 614 w 659"/>
                <a:gd name="T95" fmla="*/ 389 h 659"/>
                <a:gd name="T96" fmla="*/ 621 w 659"/>
                <a:gd name="T97" fmla="*/ 330 h 659"/>
                <a:gd name="T98" fmla="*/ 608 w 659"/>
                <a:gd name="T99" fmla="*/ 244 h 659"/>
                <a:gd name="T100" fmla="*/ 570 w 659"/>
                <a:gd name="T101" fmla="*/ 167 h 659"/>
                <a:gd name="T102" fmla="*/ 515 w 659"/>
                <a:gd name="T103" fmla="*/ 105 h 659"/>
                <a:gd name="T104" fmla="*/ 442 w 659"/>
                <a:gd name="T105" fmla="*/ 61 h 659"/>
                <a:gd name="T106" fmla="*/ 359 w 659"/>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9">
                  <a:moveTo>
                    <a:pt x="330" y="659"/>
                  </a:moveTo>
                  <a:lnTo>
                    <a:pt x="330" y="659"/>
                  </a:lnTo>
                  <a:lnTo>
                    <a:pt x="312" y="658"/>
                  </a:lnTo>
                  <a:lnTo>
                    <a:pt x="296" y="656"/>
                  </a:lnTo>
                  <a:lnTo>
                    <a:pt x="280" y="655"/>
                  </a:lnTo>
                  <a:lnTo>
                    <a:pt x="262" y="652"/>
                  </a:lnTo>
                  <a:lnTo>
                    <a:pt x="248" y="648"/>
                  </a:lnTo>
                  <a:lnTo>
                    <a:pt x="231" y="644"/>
                  </a:lnTo>
                  <a:lnTo>
                    <a:pt x="202" y="632"/>
                  </a:lnTo>
                  <a:lnTo>
                    <a:pt x="172" y="619"/>
                  </a:lnTo>
                  <a:lnTo>
                    <a:pt x="145" y="603"/>
                  </a:lnTo>
                  <a:lnTo>
                    <a:pt x="120" y="584"/>
                  </a:lnTo>
                  <a:lnTo>
                    <a:pt x="97" y="562"/>
                  </a:lnTo>
                  <a:lnTo>
                    <a:pt x="76" y="539"/>
                  </a:lnTo>
                  <a:lnTo>
                    <a:pt x="57" y="514"/>
                  </a:lnTo>
                  <a:lnTo>
                    <a:pt x="41" y="487"/>
                  </a:lnTo>
                  <a:lnTo>
                    <a:pt x="26" y="457"/>
                  </a:lnTo>
                  <a:lnTo>
                    <a:pt x="15" y="428"/>
                  </a:lnTo>
                  <a:lnTo>
                    <a:pt x="11" y="412"/>
                  </a:lnTo>
                  <a:lnTo>
                    <a:pt x="7" y="396"/>
                  </a:lnTo>
                  <a:lnTo>
                    <a:pt x="4" y="379"/>
                  </a:lnTo>
                  <a:lnTo>
                    <a:pt x="2" y="363"/>
                  </a:lnTo>
                  <a:lnTo>
                    <a:pt x="0" y="347"/>
                  </a:lnTo>
                  <a:lnTo>
                    <a:pt x="0" y="330"/>
                  </a:lnTo>
                  <a:lnTo>
                    <a:pt x="0" y="330"/>
                  </a:lnTo>
                  <a:lnTo>
                    <a:pt x="0" y="312"/>
                  </a:lnTo>
                  <a:lnTo>
                    <a:pt x="2" y="296"/>
                  </a:lnTo>
                  <a:lnTo>
                    <a:pt x="4" y="280"/>
                  </a:lnTo>
                  <a:lnTo>
                    <a:pt x="7" y="264"/>
                  </a:lnTo>
                  <a:lnTo>
                    <a:pt x="11" y="248"/>
                  </a:lnTo>
                  <a:lnTo>
                    <a:pt x="15" y="232"/>
                  </a:lnTo>
                  <a:lnTo>
                    <a:pt x="26" y="202"/>
                  </a:lnTo>
                  <a:lnTo>
                    <a:pt x="41" y="172"/>
                  </a:lnTo>
                  <a:lnTo>
                    <a:pt x="57" y="146"/>
                  </a:lnTo>
                  <a:lnTo>
                    <a:pt x="76" y="120"/>
                  </a:lnTo>
                  <a:lnTo>
                    <a:pt x="97" y="97"/>
                  </a:lnTo>
                  <a:lnTo>
                    <a:pt x="120" y="76"/>
                  </a:lnTo>
                  <a:lnTo>
                    <a:pt x="145" y="57"/>
                  </a:lnTo>
                  <a:lnTo>
                    <a:pt x="172" y="41"/>
                  </a:lnTo>
                  <a:lnTo>
                    <a:pt x="202" y="26"/>
                  </a:lnTo>
                  <a:lnTo>
                    <a:pt x="231" y="15"/>
                  </a:lnTo>
                  <a:lnTo>
                    <a:pt x="248" y="11"/>
                  </a:lnTo>
                  <a:lnTo>
                    <a:pt x="262" y="7"/>
                  </a:lnTo>
                  <a:lnTo>
                    <a:pt x="280" y="4"/>
                  </a:lnTo>
                  <a:lnTo>
                    <a:pt x="296" y="2"/>
                  </a:lnTo>
                  <a:lnTo>
                    <a:pt x="312" y="2"/>
                  </a:lnTo>
                  <a:lnTo>
                    <a:pt x="330" y="0"/>
                  </a:lnTo>
                  <a:lnTo>
                    <a:pt x="330" y="0"/>
                  </a:lnTo>
                  <a:lnTo>
                    <a:pt x="346" y="2"/>
                  </a:lnTo>
                  <a:lnTo>
                    <a:pt x="363" y="2"/>
                  </a:lnTo>
                  <a:lnTo>
                    <a:pt x="379" y="4"/>
                  </a:lnTo>
                  <a:lnTo>
                    <a:pt x="395" y="7"/>
                  </a:lnTo>
                  <a:lnTo>
                    <a:pt x="412" y="11"/>
                  </a:lnTo>
                  <a:lnTo>
                    <a:pt x="426" y="15"/>
                  </a:lnTo>
                  <a:lnTo>
                    <a:pt x="457" y="26"/>
                  </a:lnTo>
                  <a:lnTo>
                    <a:pt x="485" y="41"/>
                  </a:lnTo>
                  <a:lnTo>
                    <a:pt x="514" y="57"/>
                  </a:lnTo>
                  <a:lnTo>
                    <a:pt x="538" y="76"/>
                  </a:lnTo>
                  <a:lnTo>
                    <a:pt x="562" y="97"/>
                  </a:lnTo>
                  <a:lnTo>
                    <a:pt x="584" y="120"/>
                  </a:lnTo>
                  <a:lnTo>
                    <a:pt x="602" y="146"/>
                  </a:lnTo>
                  <a:lnTo>
                    <a:pt x="619" y="172"/>
                  </a:lnTo>
                  <a:lnTo>
                    <a:pt x="632" y="202"/>
                  </a:lnTo>
                  <a:lnTo>
                    <a:pt x="643" y="232"/>
                  </a:lnTo>
                  <a:lnTo>
                    <a:pt x="648" y="248"/>
                  </a:lnTo>
                  <a:lnTo>
                    <a:pt x="652" y="264"/>
                  </a:lnTo>
                  <a:lnTo>
                    <a:pt x="655" y="280"/>
                  </a:lnTo>
                  <a:lnTo>
                    <a:pt x="656" y="296"/>
                  </a:lnTo>
                  <a:lnTo>
                    <a:pt x="658" y="312"/>
                  </a:lnTo>
                  <a:lnTo>
                    <a:pt x="659" y="330"/>
                  </a:lnTo>
                  <a:lnTo>
                    <a:pt x="659" y="330"/>
                  </a:lnTo>
                  <a:lnTo>
                    <a:pt x="658" y="347"/>
                  </a:lnTo>
                  <a:lnTo>
                    <a:pt x="656" y="363"/>
                  </a:lnTo>
                  <a:lnTo>
                    <a:pt x="655" y="379"/>
                  </a:lnTo>
                  <a:lnTo>
                    <a:pt x="652" y="396"/>
                  </a:lnTo>
                  <a:lnTo>
                    <a:pt x="648" y="412"/>
                  </a:lnTo>
                  <a:lnTo>
                    <a:pt x="643" y="428"/>
                  </a:lnTo>
                  <a:lnTo>
                    <a:pt x="632" y="457"/>
                  </a:lnTo>
                  <a:lnTo>
                    <a:pt x="619" y="487"/>
                  </a:lnTo>
                  <a:lnTo>
                    <a:pt x="602" y="514"/>
                  </a:lnTo>
                  <a:lnTo>
                    <a:pt x="584" y="539"/>
                  </a:lnTo>
                  <a:lnTo>
                    <a:pt x="562" y="562"/>
                  </a:lnTo>
                  <a:lnTo>
                    <a:pt x="538" y="584"/>
                  </a:lnTo>
                  <a:lnTo>
                    <a:pt x="514" y="603"/>
                  </a:lnTo>
                  <a:lnTo>
                    <a:pt x="485" y="619"/>
                  </a:lnTo>
                  <a:lnTo>
                    <a:pt x="457" y="632"/>
                  </a:lnTo>
                  <a:lnTo>
                    <a:pt x="426" y="644"/>
                  </a:lnTo>
                  <a:lnTo>
                    <a:pt x="412" y="648"/>
                  </a:lnTo>
                  <a:lnTo>
                    <a:pt x="395" y="652"/>
                  </a:lnTo>
                  <a:lnTo>
                    <a:pt x="379" y="655"/>
                  </a:lnTo>
                  <a:lnTo>
                    <a:pt x="363" y="656"/>
                  </a:lnTo>
                  <a:lnTo>
                    <a:pt x="346" y="658"/>
                  </a:lnTo>
                  <a:lnTo>
                    <a:pt x="330" y="659"/>
                  </a:lnTo>
                  <a:lnTo>
                    <a:pt x="330" y="659"/>
                  </a:lnTo>
                  <a:close/>
                  <a:moveTo>
                    <a:pt x="330" y="38"/>
                  </a:moveTo>
                  <a:lnTo>
                    <a:pt x="330" y="38"/>
                  </a:lnTo>
                  <a:lnTo>
                    <a:pt x="300" y="39"/>
                  </a:lnTo>
                  <a:lnTo>
                    <a:pt x="270" y="45"/>
                  </a:lnTo>
                  <a:lnTo>
                    <a:pt x="242" y="51"/>
                  </a:lnTo>
                  <a:lnTo>
                    <a:pt x="215" y="61"/>
                  </a:lnTo>
                  <a:lnTo>
                    <a:pt x="191" y="73"/>
                  </a:lnTo>
                  <a:lnTo>
                    <a:pt x="167" y="88"/>
                  </a:lnTo>
                  <a:lnTo>
                    <a:pt x="144" y="105"/>
                  </a:lnTo>
                  <a:lnTo>
                    <a:pt x="124" y="124"/>
                  </a:lnTo>
                  <a:lnTo>
                    <a:pt x="105" y="144"/>
                  </a:lnTo>
                  <a:lnTo>
                    <a:pt x="88" y="167"/>
                  </a:lnTo>
                  <a:lnTo>
                    <a:pt x="73" y="191"/>
                  </a:lnTo>
                  <a:lnTo>
                    <a:pt x="61" y="217"/>
                  </a:lnTo>
                  <a:lnTo>
                    <a:pt x="51" y="244"/>
                  </a:lnTo>
                  <a:lnTo>
                    <a:pt x="43" y="271"/>
                  </a:lnTo>
                  <a:lnTo>
                    <a:pt x="39" y="300"/>
                  </a:lnTo>
                  <a:lnTo>
                    <a:pt x="38" y="330"/>
                  </a:lnTo>
                  <a:lnTo>
                    <a:pt x="38" y="330"/>
                  </a:lnTo>
                  <a:lnTo>
                    <a:pt x="39" y="359"/>
                  </a:lnTo>
                  <a:lnTo>
                    <a:pt x="43" y="389"/>
                  </a:lnTo>
                  <a:lnTo>
                    <a:pt x="51" y="416"/>
                  </a:lnTo>
                  <a:lnTo>
                    <a:pt x="61" y="443"/>
                  </a:lnTo>
                  <a:lnTo>
                    <a:pt x="73" y="468"/>
                  </a:lnTo>
                  <a:lnTo>
                    <a:pt x="88" y="492"/>
                  </a:lnTo>
                  <a:lnTo>
                    <a:pt x="105" y="515"/>
                  </a:lnTo>
                  <a:lnTo>
                    <a:pt x="124" y="535"/>
                  </a:lnTo>
                  <a:lnTo>
                    <a:pt x="144" y="554"/>
                  </a:lnTo>
                  <a:lnTo>
                    <a:pt x="167" y="572"/>
                  </a:lnTo>
                  <a:lnTo>
                    <a:pt x="191" y="586"/>
                  </a:lnTo>
                  <a:lnTo>
                    <a:pt x="215" y="598"/>
                  </a:lnTo>
                  <a:lnTo>
                    <a:pt x="242" y="608"/>
                  </a:lnTo>
                  <a:lnTo>
                    <a:pt x="270" y="615"/>
                  </a:lnTo>
                  <a:lnTo>
                    <a:pt x="300" y="620"/>
                  </a:lnTo>
                  <a:lnTo>
                    <a:pt x="330" y="621"/>
                  </a:lnTo>
                  <a:lnTo>
                    <a:pt x="330" y="621"/>
                  </a:lnTo>
                  <a:lnTo>
                    <a:pt x="359" y="620"/>
                  </a:lnTo>
                  <a:lnTo>
                    <a:pt x="387" y="615"/>
                  </a:lnTo>
                  <a:lnTo>
                    <a:pt x="416" y="608"/>
                  </a:lnTo>
                  <a:lnTo>
                    <a:pt x="442" y="598"/>
                  </a:lnTo>
                  <a:lnTo>
                    <a:pt x="468" y="586"/>
                  </a:lnTo>
                  <a:lnTo>
                    <a:pt x="492" y="572"/>
                  </a:lnTo>
                  <a:lnTo>
                    <a:pt x="515" y="554"/>
                  </a:lnTo>
                  <a:lnTo>
                    <a:pt x="535" y="535"/>
                  </a:lnTo>
                  <a:lnTo>
                    <a:pt x="554" y="515"/>
                  </a:lnTo>
                  <a:lnTo>
                    <a:pt x="570" y="492"/>
                  </a:lnTo>
                  <a:lnTo>
                    <a:pt x="585" y="468"/>
                  </a:lnTo>
                  <a:lnTo>
                    <a:pt x="597" y="443"/>
                  </a:lnTo>
                  <a:lnTo>
                    <a:pt x="608" y="416"/>
                  </a:lnTo>
                  <a:lnTo>
                    <a:pt x="614" y="389"/>
                  </a:lnTo>
                  <a:lnTo>
                    <a:pt x="619" y="359"/>
                  </a:lnTo>
                  <a:lnTo>
                    <a:pt x="621" y="330"/>
                  </a:lnTo>
                  <a:lnTo>
                    <a:pt x="621" y="330"/>
                  </a:lnTo>
                  <a:lnTo>
                    <a:pt x="619" y="300"/>
                  </a:lnTo>
                  <a:lnTo>
                    <a:pt x="614" y="271"/>
                  </a:lnTo>
                  <a:lnTo>
                    <a:pt x="608" y="244"/>
                  </a:lnTo>
                  <a:lnTo>
                    <a:pt x="597" y="217"/>
                  </a:lnTo>
                  <a:lnTo>
                    <a:pt x="585" y="191"/>
                  </a:lnTo>
                  <a:lnTo>
                    <a:pt x="570" y="167"/>
                  </a:lnTo>
                  <a:lnTo>
                    <a:pt x="554" y="144"/>
                  </a:lnTo>
                  <a:lnTo>
                    <a:pt x="535" y="124"/>
                  </a:lnTo>
                  <a:lnTo>
                    <a:pt x="515" y="105"/>
                  </a:lnTo>
                  <a:lnTo>
                    <a:pt x="492" y="88"/>
                  </a:lnTo>
                  <a:lnTo>
                    <a:pt x="468" y="73"/>
                  </a:lnTo>
                  <a:lnTo>
                    <a:pt x="442" y="61"/>
                  </a:lnTo>
                  <a:lnTo>
                    <a:pt x="416" y="51"/>
                  </a:lnTo>
                  <a:lnTo>
                    <a:pt x="387" y="45"/>
                  </a:lnTo>
                  <a:lnTo>
                    <a:pt x="359" y="39"/>
                  </a:lnTo>
                  <a:lnTo>
                    <a:pt x="330" y="38"/>
                  </a:lnTo>
                  <a:lnTo>
                    <a:pt x="330" y="3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2" name="Freeform 250">
              <a:extLst>
                <a:ext uri="{FF2B5EF4-FFF2-40B4-BE49-F238E27FC236}">
                  <a16:creationId xmlns:a16="http://schemas.microsoft.com/office/drawing/2014/main" id="{4D1BB29A-31AC-4FFC-B450-4130242D72A4}"/>
                </a:ext>
              </a:extLst>
            </p:cNvPr>
            <p:cNvSpPr>
              <a:spLocks/>
            </p:cNvSpPr>
            <p:nvPr/>
          </p:nvSpPr>
          <p:spPr bwMode="auto">
            <a:xfrm>
              <a:off x="7727937" y="3569332"/>
              <a:ext cx="50799" cy="149225"/>
            </a:xfrm>
            <a:custGeom>
              <a:avLst/>
              <a:gdLst>
                <a:gd name="T0" fmla="*/ 58 w 63"/>
                <a:gd name="T1" fmla="*/ 0 h 188"/>
                <a:gd name="T2" fmla="*/ 6 w 63"/>
                <a:gd name="T3" fmla="*/ 0 h 188"/>
                <a:gd name="T4" fmla="*/ 6 w 63"/>
                <a:gd name="T5" fmla="*/ 0 h 188"/>
                <a:gd name="T6" fmla="*/ 3 w 63"/>
                <a:gd name="T7" fmla="*/ 0 h 188"/>
                <a:gd name="T8" fmla="*/ 2 w 63"/>
                <a:gd name="T9" fmla="*/ 1 h 188"/>
                <a:gd name="T10" fmla="*/ 0 w 63"/>
                <a:gd name="T11" fmla="*/ 2 h 188"/>
                <a:gd name="T12" fmla="*/ 0 w 63"/>
                <a:gd name="T13" fmla="*/ 5 h 188"/>
                <a:gd name="T14" fmla="*/ 0 w 63"/>
                <a:gd name="T15" fmla="*/ 182 h 188"/>
                <a:gd name="T16" fmla="*/ 0 w 63"/>
                <a:gd name="T17" fmla="*/ 182 h 188"/>
                <a:gd name="T18" fmla="*/ 0 w 63"/>
                <a:gd name="T19" fmla="*/ 185 h 188"/>
                <a:gd name="T20" fmla="*/ 2 w 63"/>
                <a:gd name="T21" fmla="*/ 186 h 188"/>
                <a:gd name="T22" fmla="*/ 3 w 63"/>
                <a:gd name="T23" fmla="*/ 188 h 188"/>
                <a:gd name="T24" fmla="*/ 6 w 63"/>
                <a:gd name="T25" fmla="*/ 188 h 188"/>
                <a:gd name="T26" fmla="*/ 58 w 63"/>
                <a:gd name="T27" fmla="*/ 188 h 188"/>
                <a:gd name="T28" fmla="*/ 58 w 63"/>
                <a:gd name="T29" fmla="*/ 188 h 188"/>
                <a:gd name="T30" fmla="*/ 59 w 63"/>
                <a:gd name="T31" fmla="*/ 188 h 188"/>
                <a:gd name="T32" fmla="*/ 61 w 63"/>
                <a:gd name="T33" fmla="*/ 186 h 188"/>
                <a:gd name="T34" fmla="*/ 62 w 63"/>
                <a:gd name="T35" fmla="*/ 185 h 188"/>
                <a:gd name="T36" fmla="*/ 63 w 63"/>
                <a:gd name="T37" fmla="*/ 182 h 188"/>
                <a:gd name="T38" fmla="*/ 63 w 63"/>
                <a:gd name="T39" fmla="*/ 5 h 188"/>
                <a:gd name="T40" fmla="*/ 63 w 63"/>
                <a:gd name="T41" fmla="*/ 5 h 188"/>
                <a:gd name="T42" fmla="*/ 62 w 63"/>
                <a:gd name="T43" fmla="*/ 2 h 188"/>
                <a:gd name="T44" fmla="*/ 61 w 63"/>
                <a:gd name="T45" fmla="*/ 1 h 188"/>
                <a:gd name="T46" fmla="*/ 59 w 63"/>
                <a:gd name="T47" fmla="*/ 0 h 188"/>
                <a:gd name="T48" fmla="*/ 58 w 63"/>
                <a:gd name="T49" fmla="*/ 0 h 188"/>
                <a:gd name="T50" fmla="*/ 58 w 63"/>
                <a:gd name="T51"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188">
                  <a:moveTo>
                    <a:pt x="58" y="0"/>
                  </a:moveTo>
                  <a:lnTo>
                    <a:pt x="6" y="0"/>
                  </a:lnTo>
                  <a:lnTo>
                    <a:pt x="6" y="0"/>
                  </a:lnTo>
                  <a:lnTo>
                    <a:pt x="3" y="0"/>
                  </a:lnTo>
                  <a:lnTo>
                    <a:pt x="2" y="1"/>
                  </a:lnTo>
                  <a:lnTo>
                    <a:pt x="0" y="2"/>
                  </a:lnTo>
                  <a:lnTo>
                    <a:pt x="0" y="5"/>
                  </a:lnTo>
                  <a:lnTo>
                    <a:pt x="0" y="182"/>
                  </a:lnTo>
                  <a:lnTo>
                    <a:pt x="0" y="182"/>
                  </a:lnTo>
                  <a:lnTo>
                    <a:pt x="0" y="185"/>
                  </a:lnTo>
                  <a:lnTo>
                    <a:pt x="2" y="186"/>
                  </a:lnTo>
                  <a:lnTo>
                    <a:pt x="3" y="188"/>
                  </a:lnTo>
                  <a:lnTo>
                    <a:pt x="6" y="188"/>
                  </a:lnTo>
                  <a:lnTo>
                    <a:pt x="58" y="188"/>
                  </a:lnTo>
                  <a:lnTo>
                    <a:pt x="58" y="188"/>
                  </a:lnTo>
                  <a:lnTo>
                    <a:pt x="59" y="188"/>
                  </a:lnTo>
                  <a:lnTo>
                    <a:pt x="61" y="186"/>
                  </a:lnTo>
                  <a:lnTo>
                    <a:pt x="62" y="185"/>
                  </a:lnTo>
                  <a:lnTo>
                    <a:pt x="63" y="182"/>
                  </a:lnTo>
                  <a:lnTo>
                    <a:pt x="63" y="5"/>
                  </a:lnTo>
                  <a:lnTo>
                    <a:pt x="63" y="5"/>
                  </a:lnTo>
                  <a:lnTo>
                    <a:pt x="62" y="2"/>
                  </a:lnTo>
                  <a:lnTo>
                    <a:pt x="61" y="1"/>
                  </a:lnTo>
                  <a:lnTo>
                    <a:pt x="59" y="0"/>
                  </a:lnTo>
                  <a:lnTo>
                    <a:pt x="58" y="0"/>
                  </a:lnTo>
                  <a:lnTo>
                    <a:pt x="5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3" name="Freeform 251">
              <a:extLst>
                <a:ext uri="{FF2B5EF4-FFF2-40B4-BE49-F238E27FC236}">
                  <a16:creationId xmlns:a16="http://schemas.microsoft.com/office/drawing/2014/main" id="{4F025AEE-4BAB-4261-8046-877132A04E1C}"/>
                </a:ext>
              </a:extLst>
            </p:cNvPr>
            <p:cNvSpPr>
              <a:spLocks/>
            </p:cNvSpPr>
            <p:nvPr/>
          </p:nvSpPr>
          <p:spPr bwMode="auto">
            <a:xfrm>
              <a:off x="7794625" y="3462973"/>
              <a:ext cx="200024" cy="255587"/>
            </a:xfrm>
            <a:custGeom>
              <a:avLst/>
              <a:gdLst>
                <a:gd name="T0" fmla="*/ 216 w 252"/>
                <a:gd name="T1" fmla="*/ 124 h 323"/>
                <a:gd name="T2" fmla="*/ 137 w 252"/>
                <a:gd name="T3" fmla="*/ 124 h 323"/>
                <a:gd name="T4" fmla="*/ 137 w 252"/>
                <a:gd name="T5" fmla="*/ 77 h 323"/>
                <a:gd name="T6" fmla="*/ 137 w 252"/>
                <a:gd name="T7" fmla="*/ 77 h 323"/>
                <a:gd name="T8" fmla="*/ 135 w 252"/>
                <a:gd name="T9" fmla="*/ 65 h 323"/>
                <a:gd name="T10" fmla="*/ 134 w 252"/>
                <a:gd name="T11" fmla="*/ 53 h 323"/>
                <a:gd name="T12" fmla="*/ 129 w 252"/>
                <a:gd name="T13" fmla="*/ 42 h 323"/>
                <a:gd name="T14" fmla="*/ 123 w 252"/>
                <a:gd name="T15" fmla="*/ 31 h 323"/>
                <a:gd name="T16" fmla="*/ 115 w 252"/>
                <a:gd name="T17" fmla="*/ 20 h 323"/>
                <a:gd name="T18" fmla="*/ 107 w 252"/>
                <a:gd name="T19" fmla="*/ 12 h 323"/>
                <a:gd name="T20" fmla="*/ 96 w 252"/>
                <a:gd name="T21" fmla="*/ 6 h 323"/>
                <a:gd name="T22" fmla="*/ 84 w 252"/>
                <a:gd name="T23" fmla="*/ 0 h 323"/>
                <a:gd name="T24" fmla="*/ 84 w 252"/>
                <a:gd name="T25" fmla="*/ 0 h 323"/>
                <a:gd name="T26" fmla="*/ 79 w 252"/>
                <a:gd name="T27" fmla="*/ 0 h 323"/>
                <a:gd name="T28" fmla="*/ 79 w 252"/>
                <a:gd name="T29" fmla="*/ 0 h 323"/>
                <a:gd name="T30" fmla="*/ 72 w 252"/>
                <a:gd name="T31" fmla="*/ 0 h 323"/>
                <a:gd name="T32" fmla="*/ 68 w 252"/>
                <a:gd name="T33" fmla="*/ 4 h 323"/>
                <a:gd name="T34" fmla="*/ 64 w 252"/>
                <a:gd name="T35" fmla="*/ 10 h 323"/>
                <a:gd name="T36" fmla="*/ 63 w 252"/>
                <a:gd name="T37" fmla="*/ 15 h 323"/>
                <a:gd name="T38" fmla="*/ 63 w 252"/>
                <a:gd name="T39" fmla="*/ 74 h 323"/>
                <a:gd name="T40" fmla="*/ 0 w 252"/>
                <a:gd name="T41" fmla="*/ 156 h 323"/>
                <a:gd name="T42" fmla="*/ 0 w 252"/>
                <a:gd name="T43" fmla="*/ 295 h 323"/>
                <a:gd name="T44" fmla="*/ 28 w 252"/>
                <a:gd name="T45" fmla="*/ 308 h 323"/>
                <a:gd name="T46" fmla="*/ 28 w 252"/>
                <a:gd name="T47" fmla="*/ 308 h 323"/>
                <a:gd name="T48" fmla="*/ 43 w 252"/>
                <a:gd name="T49" fmla="*/ 315 h 323"/>
                <a:gd name="T50" fmla="*/ 57 w 252"/>
                <a:gd name="T51" fmla="*/ 320 h 323"/>
                <a:gd name="T52" fmla="*/ 74 w 252"/>
                <a:gd name="T53" fmla="*/ 323 h 323"/>
                <a:gd name="T54" fmla="*/ 90 w 252"/>
                <a:gd name="T55" fmla="*/ 323 h 323"/>
                <a:gd name="T56" fmla="*/ 195 w 252"/>
                <a:gd name="T57" fmla="*/ 323 h 323"/>
                <a:gd name="T58" fmla="*/ 195 w 252"/>
                <a:gd name="T59" fmla="*/ 323 h 323"/>
                <a:gd name="T60" fmla="*/ 203 w 252"/>
                <a:gd name="T61" fmla="*/ 323 h 323"/>
                <a:gd name="T62" fmla="*/ 209 w 252"/>
                <a:gd name="T63" fmla="*/ 320 h 323"/>
                <a:gd name="T64" fmla="*/ 216 w 252"/>
                <a:gd name="T65" fmla="*/ 317 h 323"/>
                <a:gd name="T66" fmla="*/ 221 w 252"/>
                <a:gd name="T67" fmla="*/ 313 h 323"/>
                <a:gd name="T68" fmla="*/ 227 w 252"/>
                <a:gd name="T69" fmla="*/ 308 h 323"/>
                <a:gd name="T70" fmla="*/ 231 w 252"/>
                <a:gd name="T71" fmla="*/ 301 h 323"/>
                <a:gd name="T72" fmla="*/ 235 w 252"/>
                <a:gd name="T73" fmla="*/ 295 h 323"/>
                <a:gd name="T74" fmla="*/ 236 w 252"/>
                <a:gd name="T75" fmla="*/ 287 h 323"/>
                <a:gd name="T76" fmla="*/ 252 w 252"/>
                <a:gd name="T77" fmla="*/ 162 h 323"/>
                <a:gd name="T78" fmla="*/ 252 w 252"/>
                <a:gd name="T79" fmla="*/ 160 h 323"/>
                <a:gd name="T80" fmla="*/ 252 w 252"/>
                <a:gd name="T81" fmla="*/ 160 h 323"/>
                <a:gd name="T82" fmla="*/ 252 w 252"/>
                <a:gd name="T83" fmla="*/ 153 h 323"/>
                <a:gd name="T84" fmla="*/ 250 w 252"/>
                <a:gd name="T85" fmla="*/ 145 h 323"/>
                <a:gd name="T86" fmla="*/ 246 w 252"/>
                <a:gd name="T87" fmla="*/ 140 h 323"/>
                <a:gd name="T88" fmla="*/ 242 w 252"/>
                <a:gd name="T89" fmla="*/ 135 h 323"/>
                <a:gd name="T90" fmla="*/ 236 w 252"/>
                <a:gd name="T91" fmla="*/ 129 h 323"/>
                <a:gd name="T92" fmla="*/ 229 w 252"/>
                <a:gd name="T93" fmla="*/ 127 h 323"/>
                <a:gd name="T94" fmla="*/ 223 w 252"/>
                <a:gd name="T95" fmla="*/ 124 h 323"/>
                <a:gd name="T96" fmla="*/ 216 w 252"/>
                <a:gd name="T97" fmla="*/ 124 h 323"/>
                <a:gd name="T98" fmla="*/ 216 w 252"/>
                <a:gd name="T99" fmla="*/ 124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2" h="323">
                  <a:moveTo>
                    <a:pt x="216" y="124"/>
                  </a:moveTo>
                  <a:lnTo>
                    <a:pt x="137" y="124"/>
                  </a:lnTo>
                  <a:lnTo>
                    <a:pt x="137" y="77"/>
                  </a:lnTo>
                  <a:lnTo>
                    <a:pt x="137" y="77"/>
                  </a:lnTo>
                  <a:lnTo>
                    <a:pt x="135" y="65"/>
                  </a:lnTo>
                  <a:lnTo>
                    <a:pt x="134" y="53"/>
                  </a:lnTo>
                  <a:lnTo>
                    <a:pt x="129" y="42"/>
                  </a:lnTo>
                  <a:lnTo>
                    <a:pt x="123" y="31"/>
                  </a:lnTo>
                  <a:lnTo>
                    <a:pt x="115" y="20"/>
                  </a:lnTo>
                  <a:lnTo>
                    <a:pt x="107" y="12"/>
                  </a:lnTo>
                  <a:lnTo>
                    <a:pt x="96" y="6"/>
                  </a:lnTo>
                  <a:lnTo>
                    <a:pt x="84" y="0"/>
                  </a:lnTo>
                  <a:lnTo>
                    <a:pt x="84" y="0"/>
                  </a:lnTo>
                  <a:lnTo>
                    <a:pt x="79" y="0"/>
                  </a:lnTo>
                  <a:lnTo>
                    <a:pt x="79" y="0"/>
                  </a:lnTo>
                  <a:lnTo>
                    <a:pt x="72" y="0"/>
                  </a:lnTo>
                  <a:lnTo>
                    <a:pt x="68" y="4"/>
                  </a:lnTo>
                  <a:lnTo>
                    <a:pt x="64" y="10"/>
                  </a:lnTo>
                  <a:lnTo>
                    <a:pt x="63" y="15"/>
                  </a:lnTo>
                  <a:lnTo>
                    <a:pt x="63" y="74"/>
                  </a:lnTo>
                  <a:lnTo>
                    <a:pt x="0" y="156"/>
                  </a:lnTo>
                  <a:lnTo>
                    <a:pt x="0" y="295"/>
                  </a:lnTo>
                  <a:lnTo>
                    <a:pt x="28" y="308"/>
                  </a:lnTo>
                  <a:lnTo>
                    <a:pt x="28" y="308"/>
                  </a:lnTo>
                  <a:lnTo>
                    <a:pt x="43" y="315"/>
                  </a:lnTo>
                  <a:lnTo>
                    <a:pt x="57" y="320"/>
                  </a:lnTo>
                  <a:lnTo>
                    <a:pt x="74" y="323"/>
                  </a:lnTo>
                  <a:lnTo>
                    <a:pt x="90" y="323"/>
                  </a:lnTo>
                  <a:lnTo>
                    <a:pt x="195" y="323"/>
                  </a:lnTo>
                  <a:lnTo>
                    <a:pt x="195" y="323"/>
                  </a:lnTo>
                  <a:lnTo>
                    <a:pt x="203" y="323"/>
                  </a:lnTo>
                  <a:lnTo>
                    <a:pt x="209" y="320"/>
                  </a:lnTo>
                  <a:lnTo>
                    <a:pt x="216" y="317"/>
                  </a:lnTo>
                  <a:lnTo>
                    <a:pt x="221" y="313"/>
                  </a:lnTo>
                  <a:lnTo>
                    <a:pt x="227" y="308"/>
                  </a:lnTo>
                  <a:lnTo>
                    <a:pt x="231" y="301"/>
                  </a:lnTo>
                  <a:lnTo>
                    <a:pt x="235" y="295"/>
                  </a:lnTo>
                  <a:lnTo>
                    <a:pt x="236" y="287"/>
                  </a:lnTo>
                  <a:lnTo>
                    <a:pt x="252" y="162"/>
                  </a:lnTo>
                  <a:lnTo>
                    <a:pt x="252" y="160"/>
                  </a:lnTo>
                  <a:lnTo>
                    <a:pt x="252" y="160"/>
                  </a:lnTo>
                  <a:lnTo>
                    <a:pt x="252" y="153"/>
                  </a:lnTo>
                  <a:lnTo>
                    <a:pt x="250" y="145"/>
                  </a:lnTo>
                  <a:lnTo>
                    <a:pt x="246" y="140"/>
                  </a:lnTo>
                  <a:lnTo>
                    <a:pt x="242" y="135"/>
                  </a:lnTo>
                  <a:lnTo>
                    <a:pt x="236" y="129"/>
                  </a:lnTo>
                  <a:lnTo>
                    <a:pt x="229" y="127"/>
                  </a:lnTo>
                  <a:lnTo>
                    <a:pt x="223" y="124"/>
                  </a:lnTo>
                  <a:lnTo>
                    <a:pt x="216" y="124"/>
                  </a:lnTo>
                  <a:lnTo>
                    <a:pt x="216" y="1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04" name="Group 103">
            <a:extLst>
              <a:ext uri="{FF2B5EF4-FFF2-40B4-BE49-F238E27FC236}">
                <a16:creationId xmlns:a16="http://schemas.microsoft.com/office/drawing/2014/main" id="{AA785D03-94CD-4F9D-99C3-A7AF9D333FCF}"/>
              </a:ext>
            </a:extLst>
          </p:cNvPr>
          <p:cNvGrpSpPr>
            <a:grpSpLocks noChangeAspect="1"/>
          </p:cNvGrpSpPr>
          <p:nvPr/>
        </p:nvGrpSpPr>
        <p:grpSpPr>
          <a:xfrm>
            <a:off x="1031598" y="2039865"/>
            <a:ext cx="320040" cy="320040"/>
            <a:chOff x="9356739" y="4176710"/>
            <a:chExt cx="522289" cy="522288"/>
          </a:xfrm>
        </p:grpSpPr>
        <p:sp>
          <p:nvSpPr>
            <p:cNvPr id="105" name="Freeform 18">
              <a:extLst>
                <a:ext uri="{FF2B5EF4-FFF2-40B4-BE49-F238E27FC236}">
                  <a16:creationId xmlns:a16="http://schemas.microsoft.com/office/drawing/2014/main" id="{9DFB54B3-8481-48ED-A786-BCB9E306996C}"/>
                </a:ext>
              </a:extLst>
            </p:cNvPr>
            <p:cNvSpPr>
              <a:spLocks noEditPoints="1"/>
            </p:cNvSpPr>
            <p:nvPr/>
          </p:nvSpPr>
          <p:spPr bwMode="auto">
            <a:xfrm>
              <a:off x="9356739" y="4176710"/>
              <a:ext cx="522289" cy="522288"/>
            </a:xfrm>
            <a:custGeom>
              <a:avLst/>
              <a:gdLst>
                <a:gd name="T0" fmla="*/ 313 w 658"/>
                <a:gd name="T1" fmla="*/ 659 h 659"/>
                <a:gd name="T2" fmla="*/ 263 w 658"/>
                <a:gd name="T3" fmla="*/ 652 h 659"/>
                <a:gd name="T4" fmla="*/ 201 w 658"/>
                <a:gd name="T5" fmla="*/ 633 h 659"/>
                <a:gd name="T6" fmla="*/ 121 w 658"/>
                <a:gd name="T7" fmla="*/ 584 h 659"/>
                <a:gd name="T8" fmla="*/ 56 w 658"/>
                <a:gd name="T9" fmla="*/ 514 h 659"/>
                <a:gd name="T10" fmla="*/ 14 w 658"/>
                <a:gd name="T11" fmla="*/ 428 h 659"/>
                <a:gd name="T12" fmla="*/ 4 w 658"/>
                <a:gd name="T13" fmla="*/ 379 h 659"/>
                <a:gd name="T14" fmla="*/ 0 w 658"/>
                <a:gd name="T15" fmla="*/ 330 h 659"/>
                <a:gd name="T16" fmla="*/ 2 w 658"/>
                <a:gd name="T17" fmla="*/ 296 h 659"/>
                <a:gd name="T18" fmla="*/ 10 w 658"/>
                <a:gd name="T19" fmla="*/ 248 h 659"/>
                <a:gd name="T20" fmla="*/ 40 w 658"/>
                <a:gd name="T21" fmla="*/ 172 h 659"/>
                <a:gd name="T22" fmla="*/ 96 w 658"/>
                <a:gd name="T23" fmla="*/ 97 h 659"/>
                <a:gd name="T24" fmla="*/ 173 w 658"/>
                <a:gd name="T25" fmla="*/ 41 h 659"/>
                <a:gd name="T26" fmla="*/ 247 w 658"/>
                <a:gd name="T27" fmla="*/ 11 h 659"/>
                <a:gd name="T28" fmla="*/ 295 w 658"/>
                <a:gd name="T29" fmla="*/ 3 h 659"/>
                <a:gd name="T30" fmla="*/ 329 w 658"/>
                <a:gd name="T31" fmla="*/ 0 h 659"/>
                <a:gd name="T32" fmla="*/ 378 w 658"/>
                <a:gd name="T33" fmla="*/ 4 h 659"/>
                <a:gd name="T34" fmla="*/ 427 w 658"/>
                <a:gd name="T35" fmla="*/ 15 h 659"/>
                <a:gd name="T36" fmla="*/ 513 w 658"/>
                <a:gd name="T37" fmla="*/ 57 h 659"/>
                <a:gd name="T38" fmla="*/ 583 w 658"/>
                <a:gd name="T39" fmla="*/ 120 h 659"/>
                <a:gd name="T40" fmla="*/ 632 w 658"/>
                <a:gd name="T41" fmla="*/ 202 h 659"/>
                <a:gd name="T42" fmla="*/ 651 w 658"/>
                <a:gd name="T43" fmla="*/ 264 h 659"/>
                <a:gd name="T44" fmla="*/ 658 w 658"/>
                <a:gd name="T45" fmla="*/ 312 h 659"/>
                <a:gd name="T46" fmla="*/ 658 w 658"/>
                <a:gd name="T47" fmla="*/ 347 h 659"/>
                <a:gd name="T48" fmla="*/ 651 w 658"/>
                <a:gd name="T49" fmla="*/ 395 h 659"/>
                <a:gd name="T50" fmla="*/ 632 w 658"/>
                <a:gd name="T51" fmla="*/ 457 h 659"/>
                <a:gd name="T52" fmla="*/ 583 w 658"/>
                <a:gd name="T53" fmla="*/ 539 h 659"/>
                <a:gd name="T54" fmla="*/ 513 w 658"/>
                <a:gd name="T55" fmla="*/ 602 h 659"/>
                <a:gd name="T56" fmla="*/ 427 w 658"/>
                <a:gd name="T57" fmla="*/ 644 h 659"/>
                <a:gd name="T58" fmla="*/ 378 w 658"/>
                <a:gd name="T59" fmla="*/ 655 h 659"/>
                <a:gd name="T60" fmla="*/ 329 w 658"/>
                <a:gd name="T61" fmla="*/ 659 h 659"/>
                <a:gd name="T62" fmla="*/ 329 w 658"/>
                <a:gd name="T63" fmla="*/ 38 h 659"/>
                <a:gd name="T64" fmla="*/ 243 w 658"/>
                <a:gd name="T65" fmla="*/ 52 h 659"/>
                <a:gd name="T66" fmla="*/ 166 w 658"/>
                <a:gd name="T67" fmla="*/ 88 h 659"/>
                <a:gd name="T68" fmla="*/ 104 w 658"/>
                <a:gd name="T69" fmla="*/ 144 h 659"/>
                <a:gd name="T70" fmla="*/ 60 w 658"/>
                <a:gd name="T71" fmla="*/ 217 h 659"/>
                <a:gd name="T72" fmla="*/ 40 w 658"/>
                <a:gd name="T73" fmla="*/ 300 h 659"/>
                <a:gd name="T74" fmla="*/ 40 w 658"/>
                <a:gd name="T75" fmla="*/ 359 h 659"/>
                <a:gd name="T76" fmla="*/ 60 w 658"/>
                <a:gd name="T77" fmla="*/ 442 h 659"/>
                <a:gd name="T78" fmla="*/ 104 w 658"/>
                <a:gd name="T79" fmla="*/ 515 h 659"/>
                <a:gd name="T80" fmla="*/ 166 w 658"/>
                <a:gd name="T81" fmla="*/ 571 h 659"/>
                <a:gd name="T82" fmla="*/ 243 w 658"/>
                <a:gd name="T83" fmla="*/ 608 h 659"/>
                <a:gd name="T84" fmla="*/ 329 w 658"/>
                <a:gd name="T85" fmla="*/ 621 h 659"/>
                <a:gd name="T86" fmla="*/ 388 w 658"/>
                <a:gd name="T87" fmla="*/ 614 h 659"/>
                <a:gd name="T88" fmla="*/ 467 w 658"/>
                <a:gd name="T89" fmla="*/ 586 h 659"/>
                <a:gd name="T90" fmla="*/ 534 w 658"/>
                <a:gd name="T91" fmla="*/ 535 h 659"/>
                <a:gd name="T92" fmla="*/ 585 w 658"/>
                <a:gd name="T93" fmla="*/ 468 h 659"/>
                <a:gd name="T94" fmla="*/ 615 w 658"/>
                <a:gd name="T95" fmla="*/ 389 h 659"/>
                <a:gd name="T96" fmla="*/ 620 w 658"/>
                <a:gd name="T97" fmla="*/ 330 h 659"/>
                <a:gd name="T98" fmla="*/ 607 w 658"/>
                <a:gd name="T99" fmla="*/ 244 h 659"/>
                <a:gd name="T100" fmla="*/ 571 w 658"/>
                <a:gd name="T101" fmla="*/ 167 h 659"/>
                <a:gd name="T102" fmla="*/ 514 w 658"/>
                <a:gd name="T103" fmla="*/ 105 h 659"/>
                <a:gd name="T104" fmla="*/ 442 w 658"/>
                <a:gd name="T105" fmla="*/ 61 h 659"/>
                <a:gd name="T106" fmla="*/ 358 w 658"/>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3" y="659"/>
                  </a:lnTo>
                  <a:lnTo>
                    <a:pt x="295" y="657"/>
                  </a:lnTo>
                  <a:lnTo>
                    <a:pt x="279" y="655"/>
                  </a:lnTo>
                  <a:lnTo>
                    <a:pt x="263" y="652"/>
                  </a:lnTo>
                  <a:lnTo>
                    <a:pt x="247" y="648"/>
                  </a:lnTo>
                  <a:lnTo>
                    <a:pt x="231" y="644"/>
                  </a:lnTo>
                  <a:lnTo>
                    <a:pt x="201" y="633"/>
                  </a:lnTo>
                  <a:lnTo>
                    <a:pt x="173" y="618"/>
                  </a:lnTo>
                  <a:lnTo>
                    <a:pt x="145" y="602"/>
                  </a:lnTo>
                  <a:lnTo>
                    <a:pt x="121" y="584"/>
                  </a:lnTo>
                  <a:lnTo>
                    <a:pt x="96" y="562"/>
                  </a:lnTo>
                  <a:lnTo>
                    <a:pt x="75" y="539"/>
                  </a:lnTo>
                  <a:lnTo>
                    <a:pt x="56" y="514"/>
                  </a:lnTo>
                  <a:lnTo>
                    <a:pt x="40" y="487"/>
                  </a:lnTo>
                  <a:lnTo>
                    <a:pt x="26" y="457"/>
                  </a:lnTo>
                  <a:lnTo>
                    <a:pt x="14" y="428"/>
                  </a:lnTo>
                  <a:lnTo>
                    <a:pt x="10" y="412"/>
                  </a:lnTo>
                  <a:lnTo>
                    <a:pt x="6" y="395"/>
                  </a:lnTo>
                  <a:lnTo>
                    <a:pt x="4" y="379"/>
                  </a:lnTo>
                  <a:lnTo>
                    <a:pt x="2" y="363"/>
                  </a:lnTo>
                  <a:lnTo>
                    <a:pt x="1" y="347"/>
                  </a:lnTo>
                  <a:lnTo>
                    <a:pt x="0" y="330"/>
                  </a:lnTo>
                  <a:lnTo>
                    <a:pt x="0" y="330"/>
                  </a:lnTo>
                  <a:lnTo>
                    <a:pt x="1" y="312"/>
                  </a:lnTo>
                  <a:lnTo>
                    <a:pt x="2" y="296"/>
                  </a:lnTo>
                  <a:lnTo>
                    <a:pt x="4" y="280"/>
                  </a:lnTo>
                  <a:lnTo>
                    <a:pt x="6" y="264"/>
                  </a:lnTo>
                  <a:lnTo>
                    <a:pt x="10" y="248"/>
                  </a:lnTo>
                  <a:lnTo>
                    <a:pt x="14" y="232"/>
                  </a:lnTo>
                  <a:lnTo>
                    <a:pt x="26" y="202"/>
                  </a:lnTo>
                  <a:lnTo>
                    <a:pt x="40" y="172"/>
                  </a:lnTo>
                  <a:lnTo>
                    <a:pt x="56" y="146"/>
                  </a:lnTo>
                  <a:lnTo>
                    <a:pt x="75" y="120"/>
                  </a:lnTo>
                  <a:lnTo>
                    <a:pt x="96" y="97"/>
                  </a:lnTo>
                  <a:lnTo>
                    <a:pt x="121" y="76"/>
                  </a:lnTo>
                  <a:lnTo>
                    <a:pt x="145" y="57"/>
                  </a:lnTo>
                  <a:lnTo>
                    <a:pt x="173" y="41"/>
                  </a:lnTo>
                  <a:lnTo>
                    <a:pt x="201" y="27"/>
                  </a:lnTo>
                  <a:lnTo>
                    <a:pt x="231" y="15"/>
                  </a:lnTo>
                  <a:lnTo>
                    <a:pt x="247" y="11"/>
                  </a:lnTo>
                  <a:lnTo>
                    <a:pt x="263" y="7"/>
                  </a:lnTo>
                  <a:lnTo>
                    <a:pt x="279" y="4"/>
                  </a:lnTo>
                  <a:lnTo>
                    <a:pt x="295" y="3"/>
                  </a:lnTo>
                  <a:lnTo>
                    <a:pt x="313" y="2"/>
                  </a:lnTo>
                  <a:lnTo>
                    <a:pt x="329" y="0"/>
                  </a:lnTo>
                  <a:lnTo>
                    <a:pt x="329" y="0"/>
                  </a:lnTo>
                  <a:lnTo>
                    <a:pt x="346" y="2"/>
                  </a:lnTo>
                  <a:lnTo>
                    <a:pt x="362" y="3"/>
                  </a:lnTo>
                  <a:lnTo>
                    <a:pt x="378" y="4"/>
                  </a:lnTo>
                  <a:lnTo>
                    <a:pt x="395" y="7"/>
                  </a:lnTo>
                  <a:lnTo>
                    <a:pt x="411" y="11"/>
                  </a:lnTo>
                  <a:lnTo>
                    <a:pt x="427" y="15"/>
                  </a:lnTo>
                  <a:lnTo>
                    <a:pt x="456" y="27"/>
                  </a:lnTo>
                  <a:lnTo>
                    <a:pt x="486" y="41"/>
                  </a:lnTo>
                  <a:lnTo>
                    <a:pt x="513" y="57"/>
                  </a:lnTo>
                  <a:lnTo>
                    <a:pt x="538" y="76"/>
                  </a:lnTo>
                  <a:lnTo>
                    <a:pt x="561" y="97"/>
                  </a:lnTo>
                  <a:lnTo>
                    <a:pt x="583" y="120"/>
                  </a:lnTo>
                  <a:lnTo>
                    <a:pt x="601" y="146"/>
                  </a:lnTo>
                  <a:lnTo>
                    <a:pt x="618" y="172"/>
                  </a:lnTo>
                  <a:lnTo>
                    <a:pt x="632" y="202"/>
                  </a:lnTo>
                  <a:lnTo>
                    <a:pt x="643" y="232"/>
                  </a:lnTo>
                  <a:lnTo>
                    <a:pt x="647" y="248"/>
                  </a:lnTo>
                  <a:lnTo>
                    <a:pt x="651" y="264"/>
                  </a:lnTo>
                  <a:lnTo>
                    <a:pt x="654" y="280"/>
                  </a:lnTo>
                  <a:lnTo>
                    <a:pt x="656" y="296"/>
                  </a:lnTo>
                  <a:lnTo>
                    <a:pt x="658" y="312"/>
                  </a:lnTo>
                  <a:lnTo>
                    <a:pt x="658" y="330"/>
                  </a:lnTo>
                  <a:lnTo>
                    <a:pt x="658" y="330"/>
                  </a:lnTo>
                  <a:lnTo>
                    <a:pt x="658" y="347"/>
                  </a:lnTo>
                  <a:lnTo>
                    <a:pt x="656" y="363"/>
                  </a:lnTo>
                  <a:lnTo>
                    <a:pt x="654" y="379"/>
                  </a:lnTo>
                  <a:lnTo>
                    <a:pt x="651" y="395"/>
                  </a:lnTo>
                  <a:lnTo>
                    <a:pt x="647" y="412"/>
                  </a:lnTo>
                  <a:lnTo>
                    <a:pt x="643" y="428"/>
                  </a:lnTo>
                  <a:lnTo>
                    <a:pt x="632" y="457"/>
                  </a:lnTo>
                  <a:lnTo>
                    <a:pt x="618" y="487"/>
                  </a:lnTo>
                  <a:lnTo>
                    <a:pt x="601" y="514"/>
                  </a:lnTo>
                  <a:lnTo>
                    <a:pt x="583" y="539"/>
                  </a:lnTo>
                  <a:lnTo>
                    <a:pt x="561" y="562"/>
                  </a:lnTo>
                  <a:lnTo>
                    <a:pt x="538" y="584"/>
                  </a:lnTo>
                  <a:lnTo>
                    <a:pt x="513" y="602"/>
                  </a:lnTo>
                  <a:lnTo>
                    <a:pt x="486" y="618"/>
                  </a:lnTo>
                  <a:lnTo>
                    <a:pt x="456" y="633"/>
                  </a:lnTo>
                  <a:lnTo>
                    <a:pt x="427" y="644"/>
                  </a:lnTo>
                  <a:lnTo>
                    <a:pt x="411" y="648"/>
                  </a:lnTo>
                  <a:lnTo>
                    <a:pt x="395" y="652"/>
                  </a:lnTo>
                  <a:lnTo>
                    <a:pt x="378" y="655"/>
                  </a:lnTo>
                  <a:lnTo>
                    <a:pt x="362" y="657"/>
                  </a:lnTo>
                  <a:lnTo>
                    <a:pt x="346" y="659"/>
                  </a:lnTo>
                  <a:lnTo>
                    <a:pt x="329" y="659"/>
                  </a:lnTo>
                  <a:lnTo>
                    <a:pt x="329" y="659"/>
                  </a:lnTo>
                  <a:close/>
                  <a:moveTo>
                    <a:pt x="329" y="38"/>
                  </a:moveTo>
                  <a:lnTo>
                    <a:pt x="329" y="38"/>
                  </a:lnTo>
                  <a:lnTo>
                    <a:pt x="299" y="39"/>
                  </a:lnTo>
                  <a:lnTo>
                    <a:pt x="271" y="45"/>
                  </a:lnTo>
                  <a:lnTo>
                    <a:pt x="243" y="52"/>
                  </a:lnTo>
                  <a:lnTo>
                    <a:pt x="216" y="61"/>
                  </a:lnTo>
                  <a:lnTo>
                    <a:pt x="190" y="74"/>
                  </a:lnTo>
                  <a:lnTo>
                    <a:pt x="166" y="88"/>
                  </a:lnTo>
                  <a:lnTo>
                    <a:pt x="143" y="105"/>
                  </a:lnTo>
                  <a:lnTo>
                    <a:pt x="123" y="124"/>
                  </a:lnTo>
                  <a:lnTo>
                    <a:pt x="104" y="144"/>
                  </a:lnTo>
                  <a:lnTo>
                    <a:pt x="87" y="167"/>
                  </a:lnTo>
                  <a:lnTo>
                    <a:pt x="73" y="191"/>
                  </a:lnTo>
                  <a:lnTo>
                    <a:pt x="60" y="217"/>
                  </a:lnTo>
                  <a:lnTo>
                    <a:pt x="51" y="244"/>
                  </a:lnTo>
                  <a:lnTo>
                    <a:pt x="44" y="270"/>
                  </a:lnTo>
                  <a:lnTo>
                    <a:pt x="40" y="300"/>
                  </a:lnTo>
                  <a:lnTo>
                    <a:pt x="37" y="330"/>
                  </a:lnTo>
                  <a:lnTo>
                    <a:pt x="37" y="330"/>
                  </a:lnTo>
                  <a:lnTo>
                    <a:pt x="40" y="359"/>
                  </a:lnTo>
                  <a:lnTo>
                    <a:pt x="44" y="389"/>
                  </a:lnTo>
                  <a:lnTo>
                    <a:pt x="51" y="416"/>
                  </a:lnTo>
                  <a:lnTo>
                    <a:pt x="60" y="442"/>
                  </a:lnTo>
                  <a:lnTo>
                    <a:pt x="73" y="468"/>
                  </a:lnTo>
                  <a:lnTo>
                    <a:pt x="87" y="492"/>
                  </a:lnTo>
                  <a:lnTo>
                    <a:pt x="104" y="515"/>
                  </a:lnTo>
                  <a:lnTo>
                    <a:pt x="123" y="535"/>
                  </a:lnTo>
                  <a:lnTo>
                    <a:pt x="143" y="554"/>
                  </a:lnTo>
                  <a:lnTo>
                    <a:pt x="166" y="571"/>
                  </a:lnTo>
                  <a:lnTo>
                    <a:pt x="190" y="586"/>
                  </a:lnTo>
                  <a:lnTo>
                    <a:pt x="216" y="598"/>
                  </a:lnTo>
                  <a:lnTo>
                    <a:pt x="243" y="608"/>
                  </a:lnTo>
                  <a:lnTo>
                    <a:pt x="271" y="614"/>
                  </a:lnTo>
                  <a:lnTo>
                    <a:pt x="299" y="620"/>
                  </a:lnTo>
                  <a:lnTo>
                    <a:pt x="329" y="621"/>
                  </a:lnTo>
                  <a:lnTo>
                    <a:pt x="329" y="621"/>
                  </a:lnTo>
                  <a:lnTo>
                    <a:pt x="358" y="620"/>
                  </a:lnTo>
                  <a:lnTo>
                    <a:pt x="388" y="614"/>
                  </a:lnTo>
                  <a:lnTo>
                    <a:pt x="416" y="608"/>
                  </a:lnTo>
                  <a:lnTo>
                    <a:pt x="442" y="598"/>
                  </a:lnTo>
                  <a:lnTo>
                    <a:pt x="467" y="586"/>
                  </a:lnTo>
                  <a:lnTo>
                    <a:pt x="491" y="571"/>
                  </a:lnTo>
                  <a:lnTo>
                    <a:pt x="514" y="554"/>
                  </a:lnTo>
                  <a:lnTo>
                    <a:pt x="534" y="535"/>
                  </a:lnTo>
                  <a:lnTo>
                    <a:pt x="553" y="515"/>
                  </a:lnTo>
                  <a:lnTo>
                    <a:pt x="571" y="492"/>
                  </a:lnTo>
                  <a:lnTo>
                    <a:pt x="585" y="468"/>
                  </a:lnTo>
                  <a:lnTo>
                    <a:pt x="597" y="442"/>
                  </a:lnTo>
                  <a:lnTo>
                    <a:pt x="607" y="416"/>
                  </a:lnTo>
                  <a:lnTo>
                    <a:pt x="615" y="389"/>
                  </a:lnTo>
                  <a:lnTo>
                    <a:pt x="619" y="359"/>
                  </a:lnTo>
                  <a:lnTo>
                    <a:pt x="620" y="330"/>
                  </a:lnTo>
                  <a:lnTo>
                    <a:pt x="620" y="330"/>
                  </a:lnTo>
                  <a:lnTo>
                    <a:pt x="619" y="300"/>
                  </a:lnTo>
                  <a:lnTo>
                    <a:pt x="615" y="270"/>
                  </a:lnTo>
                  <a:lnTo>
                    <a:pt x="607" y="244"/>
                  </a:lnTo>
                  <a:lnTo>
                    <a:pt x="597" y="217"/>
                  </a:lnTo>
                  <a:lnTo>
                    <a:pt x="585" y="191"/>
                  </a:lnTo>
                  <a:lnTo>
                    <a:pt x="571" y="167"/>
                  </a:lnTo>
                  <a:lnTo>
                    <a:pt x="553" y="144"/>
                  </a:lnTo>
                  <a:lnTo>
                    <a:pt x="534" y="124"/>
                  </a:lnTo>
                  <a:lnTo>
                    <a:pt x="514" y="105"/>
                  </a:lnTo>
                  <a:lnTo>
                    <a:pt x="491" y="88"/>
                  </a:lnTo>
                  <a:lnTo>
                    <a:pt x="467" y="74"/>
                  </a:lnTo>
                  <a:lnTo>
                    <a:pt x="442" y="61"/>
                  </a:lnTo>
                  <a:lnTo>
                    <a:pt x="416" y="52"/>
                  </a:lnTo>
                  <a:lnTo>
                    <a:pt x="388" y="45"/>
                  </a:lnTo>
                  <a:lnTo>
                    <a:pt x="358" y="39"/>
                  </a:lnTo>
                  <a:lnTo>
                    <a:pt x="329" y="38"/>
                  </a:lnTo>
                  <a:lnTo>
                    <a:pt x="329" y="38"/>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6" name="Freeform 117">
              <a:extLst>
                <a:ext uri="{FF2B5EF4-FFF2-40B4-BE49-F238E27FC236}">
                  <a16:creationId xmlns:a16="http://schemas.microsoft.com/office/drawing/2014/main" id="{0A7B14DE-E4DC-4C9C-B16F-0BC8F03D584D}"/>
                </a:ext>
              </a:extLst>
            </p:cNvPr>
            <p:cNvSpPr>
              <a:spLocks noEditPoints="1"/>
            </p:cNvSpPr>
            <p:nvPr/>
          </p:nvSpPr>
          <p:spPr bwMode="auto">
            <a:xfrm>
              <a:off x="9505951" y="4337050"/>
              <a:ext cx="223838" cy="203200"/>
            </a:xfrm>
            <a:custGeom>
              <a:avLst/>
              <a:gdLst>
                <a:gd name="T0" fmla="*/ 9 w 282"/>
                <a:gd name="T1" fmla="*/ 0 h 255"/>
                <a:gd name="T2" fmla="*/ 5 w 282"/>
                <a:gd name="T3" fmla="*/ 1 h 255"/>
                <a:gd name="T4" fmla="*/ 1 w 282"/>
                <a:gd name="T5" fmla="*/ 5 h 255"/>
                <a:gd name="T6" fmla="*/ 0 w 282"/>
                <a:gd name="T7" fmla="*/ 246 h 255"/>
                <a:gd name="T8" fmla="*/ 1 w 282"/>
                <a:gd name="T9" fmla="*/ 250 h 255"/>
                <a:gd name="T10" fmla="*/ 5 w 282"/>
                <a:gd name="T11" fmla="*/ 254 h 255"/>
                <a:gd name="T12" fmla="*/ 272 w 282"/>
                <a:gd name="T13" fmla="*/ 255 h 255"/>
                <a:gd name="T14" fmla="*/ 276 w 282"/>
                <a:gd name="T15" fmla="*/ 254 h 255"/>
                <a:gd name="T16" fmla="*/ 282 w 282"/>
                <a:gd name="T17" fmla="*/ 250 h 255"/>
                <a:gd name="T18" fmla="*/ 282 w 282"/>
                <a:gd name="T19" fmla="*/ 9 h 255"/>
                <a:gd name="T20" fmla="*/ 282 w 282"/>
                <a:gd name="T21" fmla="*/ 5 h 255"/>
                <a:gd name="T22" fmla="*/ 276 w 282"/>
                <a:gd name="T23" fmla="*/ 1 h 255"/>
                <a:gd name="T24" fmla="*/ 272 w 282"/>
                <a:gd name="T25" fmla="*/ 0 h 255"/>
                <a:gd name="T26" fmla="*/ 27 w 282"/>
                <a:gd name="T27" fmla="*/ 23 h 255"/>
                <a:gd name="T28" fmla="*/ 33 w 282"/>
                <a:gd name="T29" fmla="*/ 25 h 255"/>
                <a:gd name="T30" fmla="*/ 36 w 282"/>
                <a:gd name="T31" fmla="*/ 32 h 255"/>
                <a:gd name="T32" fmla="*/ 36 w 282"/>
                <a:gd name="T33" fmla="*/ 36 h 255"/>
                <a:gd name="T34" fmla="*/ 31 w 282"/>
                <a:gd name="T35" fmla="*/ 40 h 255"/>
                <a:gd name="T36" fmla="*/ 27 w 282"/>
                <a:gd name="T37" fmla="*/ 42 h 255"/>
                <a:gd name="T38" fmla="*/ 21 w 282"/>
                <a:gd name="T39" fmla="*/ 39 h 255"/>
                <a:gd name="T40" fmla="*/ 18 w 282"/>
                <a:gd name="T41" fmla="*/ 32 h 255"/>
                <a:gd name="T42" fmla="*/ 18 w 282"/>
                <a:gd name="T43" fmla="*/ 28 h 255"/>
                <a:gd name="T44" fmla="*/ 24 w 282"/>
                <a:gd name="T45" fmla="*/ 24 h 255"/>
                <a:gd name="T46" fmla="*/ 27 w 282"/>
                <a:gd name="T47" fmla="*/ 23 h 255"/>
                <a:gd name="T48" fmla="*/ 59 w 282"/>
                <a:gd name="T49" fmla="*/ 23 h 255"/>
                <a:gd name="T50" fmla="*/ 65 w 282"/>
                <a:gd name="T51" fmla="*/ 25 h 255"/>
                <a:gd name="T52" fmla="*/ 68 w 282"/>
                <a:gd name="T53" fmla="*/ 32 h 255"/>
                <a:gd name="T54" fmla="*/ 67 w 282"/>
                <a:gd name="T55" fmla="*/ 36 h 255"/>
                <a:gd name="T56" fmla="*/ 63 w 282"/>
                <a:gd name="T57" fmla="*/ 40 h 255"/>
                <a:gd name="T58" fmla="*/ 59 w 282"/>
                <a:gd name="T59" fmla="*/ 42 h 255"/>
                <a:gd name="T60" fmla="*/ 52 w 282"/>
                <a:gd name="T61" fmla="*/ 39 h 255"/>
                <a:gd name="T62" fmla="*/ 49 w 282"/>
                <a:gd name="T63" fmla="*/ 32 h 255"/>
                <a:gd name="T64" fmla="*/ 51 w 282"/>
                <a:gd name="T65" fmla="*/ 28 h 255"/>
                <a:gd name="T66" fmla="*/ 56 w 282"/>
                <a:gd name="T67" fmla="*/ 24 h 255"/>
                <a:gd name="T68" fmla="*/ 59 w 282"/>
                <a:gd name="T69" fmla="*/ 23 h 255"/>
                <a:gd name="T70" fmla="*/ 91 w 282"/>
                <a:gd name="T71" fmla="*/ 23 h 255"/>
                <a:gd name="T72" fmla="*/ 98 w 282"/>
                <a:gd name="T73" fmla="*/ 25 h 255"/>
                <a:gd name="T74" fmla="*/ 100 w 282"/>
                <a:gd name="T75" fmla="*/ 32 h 255"/>
                <a:gd name="T76" fmla="*/ 99 w 282"/>
                <a:gd name="T77" fmla="*/ 36 h 255"/>
                <a:gd name="T78" fmla="*/ 95 w 282"/>
                <a:gd name="T79" fmla="*/ 40 h 255"/>
                <a:gd name="T80" fmla="*/ 91 w 282"/>
                <a:gd name="T81" fmla="*/ 42 h 255"/>
                <a:gd name="T82" fmla="*/ 84 w 282"/>
                <a:gd name="T83" fmla="*/ 39 h 255"/>
                <a:gd name="T84" fmla="*/ 82 w 282"/>
                <a:gd name="T85" fmla="*/ 32 h 255"/>
                <a:gd name="T86" fmla="*/ 83 w 282"/>
                <a:gd name="T87" fmla="*/ 28 h 255"/>
                <a:gd name="T88" fmla="*/ 87 w 282"/>
                <a:gd name="T89" fmla="*/ 24 h 255"/>
                <a:gd name="T90" fmla="*/ 91 w 282"/>
                <a:gd name="T91" fmla="*/ 23 h 255"/>
                <a:gd name="T92" fmla="*/ 262 w 282"/>
                <a:gd name="T93" fmla="*/ 231 h 255"/>
                <a:gd name="T94" fmla="*/ 258 w 282"/>
                <a:gd name="T95" fmla="*/ 235 h 255"/>
                <a:gd name="T96" fmla="*/ 24 w 282"/>
                <a:gd name="T97" fmla="*/ 235 h 255"/>
                <a:gd name="T98" fmla="*/ 20 w 282"/>
                <a:gd name="T99" fmla="*/ 231 h 255"/>
                <a:gd name="T100" fmla="*/ 20 w 282"/>
                <a:gd name="T101" fmla="*/ 68 h 255"/>
                <a:gd name="T102" fmla="*/ 24 w 282"/>
                <a:gd name="T103" fmla="*/ 64 h 255"/>
                <a:gd name="T104" fmla="*/ 258 w 282"/>
                <a:gd name="T105" fmla="*/ 64 h 255"/>
                <a:gd name="T106" fmla="*/ 262 w 282"/>
                <a:gd name="T107" fmla="*/ 6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2" h="255">
                  <a:moveTo>
                    <a:pt x="272" y="0"/>
                  </a:moveTo>
                  <a:lnTo>
                    <a:pt x="9" y="0"/>
                  </a:lnTo>
                  <a:lnTo>
                    <a:pt x="9" y="0"/>
                  </a:lnTo>
                  <a:lnTo>
                    <a:pt x="5" y="1"/>
                  </a:lnTo>
                  <a:lnTo>
                    <a:pt x="2" y="3"/>
                  </a:lnTo>
                  <a:lnTo>
                    <a:pt x="1" y="5"/>
                  </a:lnTo>
                  <a:lnTo>
                    <a:pt x="0" y="9"/>
                  </a:lnTo>
                  <a:lnTo>
                    <a:pt x="0" y="246"/>
                  </a:lnTo>
                  <a:lnTo>
                    <a:pt x="0" y="246"/>
                  </a:lnTo>
                  <a:lnTo>
                    <a:pt x="1" y="250"/>
                  </a:lnTo>
                  <a:lnTo>
                    <a:pt x="2" y="253"/>
                  </a:lnTo>
                  <a:lnTo>
                    <a:pt x="5" y="254"/>
                  </a:lnTo>
                  <a:lnTo>
                    <a:pt x="9" y="255"/>
                  </a:lnTo>
                  <a:lnTo>
                    <a:pt x="272" y="255"/>
                  </a:lnTo>
                  <a:lnTo>
                    <a:pt x="272" y="255"/>
                  </a:lnTo>
                  <a:lnTo>
                    <a:pt x="276" y="254"/>
                  </a:lnTo>
                  <a:lnTo>
                    <a:pt x="279" y="253"/>
                  </a:lnTo>
                  <a:lnTo>
                    <a:pt x="282" y="250"/>
                  </a:lnTo>
                  <a:lnTo>
                    <a:pt x="282" y="246"/>
                  </a:lnTo>
                  <a:lnTo>
                    <a:pt x="282" y="9"/>
                  </a:lnTo>
                  <a:lnTo>
                    <a:pt x="282" y="9"/>
                  </a:lnTo>
                  <a:lnTo>
                    <a:pt x="282" y="5"/>
                  </a:lnTo>
                  <a:lnTo>
                    <a:pt x="279" y="3"/>
                  </a:lnTo>
                  <a:lnTo>
                    <a:pt x="276" y="1"/>
                  </a:lnTo>
                  <a:lnTo>
                    <a:pt x="272" y="0"/>
                  </a:lnTo>
                  <a:lnTo>
                    <a:pt x="272" y="0"/>
                  </a:lnTo>
                  <a:close/>
                  <a:moveTo>
                    <a:pt x="27" y="23"/>
                  </a:moveTo>
                  <a:lnTo>
                    <a:pt x="27" y="23"/>
                  </a:lnTo>
                  <a:lnTo>
                    <a:pt x="31" y="24"/>
                  </a:lnTo>
                  <a:lnTo>
                    <a:pt x="33" y="25"/>
                  </a:lnTo>
                  <a:lnTo>
                    <a:pt x="36" y="28"/>
                  </a:lnTo>
                  <a:lnTo>
                    <a:pt x="36" y="32"/>
                  </a:lnTo>
                  <a:lnTo>
                    <a:pt x="36" y="32"/>
                  </a:lnTo>
                  <a:lnTo>
                    <a:pt x="36" y="36"/>
                  </a:lnTo>
                  <a:lnTo>
                    <a:pt x="33" y="39"/>
                  </a:lnTo>
                  <a:lnTo>
                    <a:pt x="31" y="40"/>
                  </a:lnTo>
                  <a:lnTo>
                    <a:pt x="27" y="42"/>
                  </a:lnTo>
                  <a:lnTo>
                    <a:pt x="27" y="42"/>
                  </a:lnTo>
                  <a:lnTo>
                    <a:pt x="24" y="40"/>
                  </a:lnTo>
                  <a:lnTo>
                    <a:pt x="21" y="39"/>
                  </a:lnTo>
                  <a:lnTo>
                    <a:pt x="18" y="36"/>
                  </a:lnTo>
                  <a:lnTo>
                    <a:pt x="18" y="32"/>
                  </a:lnTo>
                  <a:lnTo>
                    <a:pt x="18" y="32"/>
                  </a:lnTo>
                  <a:lnTo>
                    <a:pt x="18" y="28"/>
                  </a:lnTo>
                  <a:lnTo>
                    <a:pt x="21" y="25"/>
                  </a:lnTo>
                  <a:lnTo>
                    <a:pt x="24" y="24"/>
                  </a:lnTo>
                  <a:lnTo>
                    <a:pt x="27" y="23"/>
                  </a:lnTo>
                  <a:lnTo>
                    <a:pt x="27" y="23"/>
                  </a:lnTo>
                  <a:close/>
                  <a:moveTo>
                    <a:pt x="59" y="23"/>
                  </a:moveTo>
                  <a:lnTo>
                    <a:pt x="59" y="23"/>
                  </a:lnTo>
                  <a:lnTo>
                    <a:pt x="63" y="24"/>
                  </a:lnTo>
                  <a:lnTo>
                    <a:pt x="65" y="25"/>
                  </a:lnTo>
                  <a:lnTo>
                    <a:pt x="67" y="28"/>
                  </a:lnTo>
                  <a:lnTo>
                    <a:pt x="68" y="32"/>
                  </a:lnTo>
                  <a:lnTo>
                    <a:pt x="68" y="32"/>
                  </a:lnTo>
                  <a:lnTo>
                    <a:pt x="67" y="36"/>
                  </a:lnTo>
                  <a:lnTo>
                    <a:pt x="65" y="39"/>
                  </a:lnTo>
                  <a:lnTo>
                    <a:pt x="63" y="40"/>
                  </a:lnTo>
                  <a:lnTo>
                    <a:pt x="59" y="42"/>
                  </a:lnTo>
                  <a:lnTo>
                    <a:pt x="59" y="42"/>
                  </a:lnTo>
                  <a:lnTo>
                    <a:pt x="56" y="40"/>
                  </a:lnTo>
                  <a:lnTo>
                    <a:pt x="52" y="39"/>
                  </a:lnTo>
                  <a:lnTo>
                    <a:pt x="51" y="36"/>
                  </a:lnTo>
                  <a:lnTo>
                    <a:pt x="49" y="32"/>
                  </a:lnTo>
                  <a:lnTo>
                    <a:pt x="49" y="32"/>
                  </a:lnTo>
                  <a:lnTo>
                    <a:pt x="51" y="28"/>
                  </a:lnTo>
                  <a:lnTo>
                    <a:pt x="52" y="25"/>
                  </a:lnTo>
                  <a:lnTo>
                    <a:pt x="56" y="24"/>
                  </a:lnTo>
                  <a:lnTo>
                    <a:pt x="59" y="23"/>
                  </a:lnTo>
                  <a:lnTo>
                    <a:pt x="59" y="23"/>
                  </a:lnTo>
                  <a:close/>
                  <a:moveTo>
                    <a:pt x="91" y="23"/>
                  </a:moveTo>
                  <a:lnTo>
                    <a:pt x="91" y="23"/>
                  </a:lnTo>
                  <a:lnTo>
                    <a:pt x="95" y="24"/>
                  </a:lnTo>
                  <a:lnTo>
                    <a:pt x="98" y="25"/>
                  </a:lnTo>
                  <a:lnTo>
                    <a:pt x="99" y="28"/>
                  </a:lnTo>
                  <a:lnTo>
                    <a:pt x="100" y="32"/>
                  </a:lnTo>
                  <a:lnTo>
                    <a:pt x="100" y="32"/>
                  </a:lnTo>
                  <a:lnTo>
                    <a:pt x="99" y="36"/>
                  </a:lnTo>
                  <a:lnTo>
                    <a:pt x="98" y="39"/>
                  </a:lnTo>
                  <a:lnTo>
                    <a:pt x="95" y="40"/>
                  </a:lnTo>
                  <a:lnTo>
                    <a:pt x="91" y="42"/>
                  </a:lnTo>
                  <a:lnTo>
                    <a:pt x="91" y="42"/>
                  </a:lnTo>
                  <a:lnTo>
                    <a:pt x="87" y="40"/>
                  </a:lnTo>
                  <a:lnTo>
                    <a:pt x="84" y="39"/>
                  </a:lnTo>
                  <a:lnTo>
                    <a:pt x="83" y="36"/>
                  </a:lnTo>
                  <a:lnTo>
                    <a:pt x="82" y="32"/>
                  </a:lnTo>
                  <a:lnTo>
                    <a:pt x="82" y="32"/>
                  </a:lnTo>
                  <a:lnTo>
                    <a:pt x="83" y="28"/>
                  </a:lnTo>
                  <a:lnTo>
                    <a:pt x="84" y="25"/>
                  </a:lnTo>
                  <a:lnTo>
                    <a:pt x="87" y="24"/>
                  </a:lnTo>
                  <a:lnTo>
                    <a:pt x="91" y="23"/>
                  </a:lnTo>
                  <a:lnTo>
                    <a:pt x="91" y="23"/>
                  </a:lnTo>
                  <a:close/>
                  <a:moveTo>
                    <a:pt x="262" y="231"/>
                  </a:moveTo>
                  <a:lnTo>
                    <a:pt x="262" y="231"/>
                  </a:lnTo>
                  <a:lnTo>
                    <a:pt x="260" y="234"/>
                  </a:lnTo>
                  <a:lnTo>
                    <a:pt x="258" y="235"/>
                  </a:lnTo>
                  <a:lnTo>
                    <a:pt x="24" y="235"/>
                  </a:lnTo>
                  <a:lnTo>
                    <a:pt x="24" y="235"/>
                  </a:lnTo>
                  <a:lnTo>
                    <a:pt x="21" y="234"/>
                  </a:lnTo>
                  <a:lnTo>
                    <a:pt x="20" y="231"/>
                  </a:lnTo>
                  <a:lnTo>
                    <a:pt x="20" y="68"/>
                  </a:lnTo>
                  <a:lnTo>
                    <a:pt x="20" y="68"/>
                  </a:lnTo>
                  <a:lnTo>
                    <a:pt x="21" y="66"/>
                  </a:lnTo>
                  <a:lnTo>
                    <a:pt x="24" y="64"/>
                  </a:lnTo>
                  <a:lnTo>
                    <a:pt x="258" y="64"/>
                  </a:lnTo>
                  <a:lnTo>
                    <a:pt x="258" y="64"/>
                  </a:lnTo>
                  <a:lnTo>
                    <a:pt x="260" y="66"/>
                  </a:lnTo>
                  <a:lnTo>
                    <a:pt x="262" y="68"/>
                  </a:lnTo>
                  <a:lnTo>
                    <a:pt x="262" y="2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07" name="Group 106">
            <a:extLst>
              <a:ext uri="{FF2B5EF4-FFF2-40B4-BE49-F238E27FC236}">
                <a16:creationId xmlns:a16="http://schemas.microsoft.com/office/drawing/2014/main" id="{65A3D91C-4B58-4455-B058-B89AA10B88E1}"/>
              </a:ext>
            </a:extLst>
          </p:cNvPr>
          <p:cNvGrpSpPr>
            <a:grpSpLocks noChangeAspect="1"/>
          </p:cNvGrpSpPr>
          <p:nvPr/>
        </p:nvGrpSpPr>
        <p:grpSpPr>
          <a:xfrm>
            <a:off x="2644530" y="2988770"/>
            <a:ext cx="320040" cy="320040"/>
            <a:chOff x="9356754" y="5013979"/>
            <a:chExt cx="522290" cy="522290"/>
          </a:xfrm>
        </p:grpSpPr>
        <p:sp>
          <p:nvSpPr>
            <p:cNvPr id="108" name="Freeform 87">
              <a:extLst>
                <a:ext uri="{FF2B5EF4-FFF2-40B4-BE49-F238E27FC236}">
                  <a16:creationId xmlns:a16="http://schemas.microsoft.com/office/drawing/2014/main" id="{E4EA0AD5-7A32-4914-965E-0F1449605773}"/>
                </a:ext>
              </a:extLst>
            </p:cNvPr>
            <p:cNvSpPr>
              <a:spLocks noEditPoints="1"/>
            </p:cNvSpPr>
            <p:nvPr/>
          </p:nvSpPr>
          <p:spPr bwMode="auto">
            <a:xfrm>
              <a:off x="9356754" y="5013979"/>
              <a:ext cx="522290" cy="522290"/>
            </a:xfrm>
            <a:custGeom>
              <a:avLst/>
              <a:gdLst>
                <a:gd name="T0" fmla="*/ 311 w 657"/>
                <a:gd name="T1" fmla="*/ 657 h 658"/>
                <a:gd name="T2" fmla="*/ 262 w 657"/>
                <a:gd name="T3" fmla="*/ 651 h 658"/>
                <a:gd name="T4" fmla="*/ 200 w 657"/>
                <a:gd name="T5" fmla="*/ 631 h 658"/>
                <a:gd name="T6" fmla="*/ 119 w 657"/>
                <a:gd name="T7" fmla="*/ 583 h 658"/>
                <a:gd name="T8" fmla="*/ 56 w 657"/>
                <a:gd name="T9" fmla="*/ 513 h 658"/>
                <a:gd name="T10" fmla="*/ 14 w 657"/>
                <a:gd name="T11" fmla="*/ 427 h 658"/>
                <a:gd name="T12" fmla="*/ 4 w 657"/>
                <a:gd name="T13" fmla="*/ 379 h 658"/>
                <a:gd name="T14" fmla="*/ 0 w 657"/>
                <a:gd name="T15" fmla="*/ 329 h 658"/>
                <a:gd name="T16" fmla="*/ 1 w 657"/>
                <a:gd name="T17" fmla="*/ 295 h 658"/>
                <a:gd name="T18" fmla="*/ 10 w 657"/>
                <a:gd name="T19" fmla="*/ 247 h 658"/>
                <a:gd name="T20" fmla="*/ 39 w 657"/>
                <a:gd name="T21" fmla="*/ 172 h 658"/>
                <a:gd name="T22" fmla="*/ 96 w 657"/>
                <a:gd name="T23" fmla="*/ 96 h 658"/>
                <a:gd name="T24" fmla="*/ 172 w 657"/>
                <a:gd name="T25" fmla="*/ 40 h 658"/>
                <a:gd name="T26" fmla="*/ 247 w 657"/>
                <a:gd name="T27" fmla="*/ 10 h 658"/>
                <a:gd name="T28" fmla="*/ 295 w 657"/>
                <a:gd name="T29" fmla="*/ 1 h 658"/>
                <a:gd name="T30" fmla="*/ 329 w 657"/>
                <a:gd name="T31" fmla="*/ 0 h 658"/>
                <a:gd name="T32" fmla="*/ 379 w 657"/>
                <a:gd name="T33" fmla="*/ 4 h 658"/>
                <a:gd name="T34" fmla="*/ 426 w 657"/>
                <a:gd name="T35" fmla="*/ 14 h 658"/>
                <a:gd name="T36" fmla="*/ 512 w 657"/>
                <a:gd name="T37" fmla="*/ 56 h 658"/>
                <a:gd name="T38" fmla="*/ 582 w 657"/>
                <a:gd name="T39" fmla="*/ 119 h 658"/>
                <a:gd name="T40" fmla="*/ 631 w 657"/>
                <a:gd name="T41" fmla="*/ 201 h 658"/>
                <a:gd name="T42" fmla="*/ 650 w 657"/>
                <a:gd name="T43" fmla="*/ 263 h 658"/>
                <a:gd name="T44" fmla="*/ 657 w 657"/>
                <a:gd name="T45" fmla="*/ 311 h 658"/>
                <a:gd name="T46" fmla="*/ 657 w 657"/>
                <a:gd name="T47" fmla="*/ 345 h 658"/>
                <a:gd name="T48" fmla="*/ 650 w 657"/>
                <a:gd name="T49" fmla="*/ 395 h 658"/>
                <a:gd name="T50" fmla="*/ 631 w 657"/>
                <a:gd name="T51" fmla="*/ 457 h 658"/>
                <a:gd name="T52" fmla="*/ 582 w 657"/>
                <a:gd name="T53" fmla="*/ 539 h 658"/>
                <a:gd name="T54" fmla="*/ 512 w 657"/>
                <a:gd name="T55" fmla="*/ 602 h 658"/>
                <a:gd name="T56" fmla="*/ 426 w 657"/>
                <a:gd name="T57" fmla="*/ 643 h 658"/>
                <a:gd name="T58" fmla="*/ 379 w 657"/>
                <a:gd name="T59" fmla="*/ 654 h 658"/>
                <a:gd name="T60" fmla="*/ 329 w 657"/>
                <a:gd name="T61" fmla="*/ 658 h 658"/>
                <a:gd name="T62" fmla="*/ 329 w 657"/>
                <a:gd name="T63" fmla="*/ 37 h 658"/>
                <a:gd name="T64" fmla="*/ 241 w 657"/>
                <a:gd name="T65" fmla="*/ 51 h 658"/>
                <a:gd name="T66" fmla="*/ 166 w 657"/>
                <a:gd name="T67" fmla="*/ 87 h 658"/>
                <a:gd name="T68" fmla="*/ 103 w 657"/>
                <a:gd name="T69" fmla="*/ 143 h 658"/>
                <a:gd name="T70" fmla="*/ 60 w 657"/>
                <a:gd name="T71" fmla="*/ 216 h 658"/>
                <a:gd name="T72" fmla="*/ 39 w 657"/>
                <a:gd name="T73" fmla="*/ 299 h 658"/>
                <a:gd name="T74" fmla="*/ 39 w 657"/>
                <a:gd name="T75" fmla="*/ 358 h 658"/>
                <a:gd name="T76" fmla="*/ 60 w 657"/>
                <a:gd name="T77" fmla="*/ 442 h 658"/>
                <a:gd name="T78" fmla="*/ 103 w 657"/>
                <a:gd name="T79" fmla="*/ 514 h 658"/>
                <a:gd name="T80" fmla="*/ 166 w 657"/>
                <a:gd name="T81" fmla="*/ 571 h 658"/>
                <a:gd name="T82" fmla="*/ 241 w 657"/>
                <a:gd name="T83" fmla="*/ 607 h 658"/>
                <a:gd name="T84" fmla="*/ 329 w 657"/>
                <a:gd name="T85" fmla="*/ 621 h 658"/>
                <a:gd name="T86" fmla="*/ 387 w 657"/>
                <a:gd name="T87" fmla="*/ 614 h 658"/>
                <a:gd name="T88" fmla="*/ 467 w 657"/>
                <a:gd name="T89" fmla="*/ 584 h 658"/>
                <a:gd name="T90" fmla="*/ 534 w 657"/>
                <a:gd name="T91" fmla="*/ 534 h 658"/>
                <a:gd name="T92" fmla="*/ 584 w 657"/>
                <a:gd name="T93" fmla="*/ 467 h 658"/>
                <a:gd name="T94" fmla="*/ 614 w 657"/>
                <a:gd name="T95" fmla="*/ 388 h 658"/>
                <a:gd name="T96" fmla="*/ 619 w 657"/>
                <a:gd name="T97" fmla="*/ 329 h 658"/>
                <a:gd name="T98" fmla="*/ 607 w 657"/>
                <a:gd name="T99" fmla="*/ 243 h 658"/>
                <a:gd name="T100" fmla="*/ 569 w 657"/>
                <a:gd name="T101" fmla="*/ 166 h 658"/>
                <a:gd name="T102" fmla="*/ 513 w 657"/>
                <a:gd name="T103" fmla="*/ 104 h 658"/>
                <a:gd name="T104" fmla="*/ 442 w 657"/>
                <a:gd name="T105" fmla="*/ 60 h 658"/>
                <a:gd name="T106" fmla="*/ 358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1" y="657"/>
                  </a:lnTo>
                  <a:lnTo>
                    <a:pt x="295" y="655"/>
                  </a:lnTo>
                  <a:lnTo>
                    <a:pt x="278" y="654"/>
                  </a:lnTo>
                  <a:lnTo>
                    <a:pt x="262" y="651"/>
                  </a:lnTo>
                  <a:lnTo>
                    <a:pt x="247" y="647"/>
                  </a:lnTo>
                  <a:lnTo>
                    <a:pt x="231" y="643"/>
                  </a:lnTo>
                  <a:lnTo>
                    <a:pt x="200" y="631"/>
                  </a:lnTo>
                  <a:lnTo>
                    <a:pt x="172" y="618"/>
                  </a:lnTo>
                  <a:lnTo>
                    <a:pt x="145" y="602"/>
                  </a:lnTo>
                  <a:lnTo>
                    <a:pt x="119" y="583"/>
                  </a:lnTo>
                  <a:lnTo>
                    <a:pt x="96" y="561"/>
                  </a:lnTo>
                  <a:lnTo>
                    <a:pt x="75" y="539"/>
                  </a:lnTo>
                  <a:lnTo>
                    <a:pt x="56" y="513"/>
                  </a:lnTo>
                  <a:lnTo>
                    <a:pt x="39" y="485"/>
                  </a:lnTo>
                  <a:lnTo>
                    <a:pt x="25" y="457"/>
                  </a:lnTo>
                  <a:lnTo>
                    <a:pt x="14" y="427"/>
                  </a:lnTo>
                  <a:lnTo>
                    <a:pt x="10" y="411"/>
                  </a:lnTo>
                  <a:lnTo>
                    <a:pt x="6" y="395"/>
                  </a:lnTo>
                  <a:lnTo>
                    <a:pt x="4" y="379"/>
                  </a:lnTo>
                  <a:lnTo>
                    <a:pt x="1" y="362"/>
                  </a:lnTo>
                  <a:lnTo>
                    <a:pt x="0" y="345"/>
                  </a:lnTo>
                  <a:lnTo>
                    <a:pt x="0" y="329"/>
                  </a:lnTo>
                  <a:lnTo>
                    <a:pt x="0" y="329"/>
                  </a:lnTo>
                  <a:lnTo>
                    <a:pt x="0" y="311"/>
                  </a:lnTo>
                  <a:lnTo>
                    <a:pt x="1" y="295"/>
                  </a:lnTo>
                  <a:lnTo>
                    <a:pt x="4" y="279"/>
                  </a:lnTo>
                  <a:lnTo>
                    <a:pt x="6" y="263"/>
                  </a:lnTo>
                  <a:lnTo>
                    <a:pt x="10" y="247"/>
                  </a:lnTo>
                  <a:lnTo>
                    <a:pt x="14" y="231"/>
                  </a:lnTo>
                  <a:lnTo>
                    <a:pt x="25" y="201"/>
                  </a:lnTo>
                  <a:lnTo>
                    <a:pt x="39" y="172"/>
                  </a:lnTo>
                  <a:lnTo>
                    <a:pt x="56" y="145"/>
                  </a:lnTo>
                  <a:lnTo>
                    <a:pt x="75" y="119"/>
                  </a:lnTo>
                  <a:lnTo>
                    <a:pt x="96" y="96"/>
                  </a:lnTo>
                  <a:lnTo>
                    <a:pt x="119" y="75"/>
                  </a:lnTo>
                  <a:lnTo>
                    <a:pt x="145" y="56"/>
                  </a:lnTo>
                  <a:lnTo>
                    <a:pt x="172" y="40"/>
                  </a:lnTo>
                  <a:lnTo>
                    <a:pt x="200" y="25"/>
                  </a:lnTo>
                  <a:lnTo>
                    <a:pt x="231" y="14"/>
                  </a:lnTo>
                  <a:lnTo>
                    <a:pt x="247" y="10"/>
                  </a:lnTo>
                  <a:lnTo>
                    <a:pt x="262" y="6"/>
                  </a:lnTo>
                  <a:lnTo>
                    <a:pt x="278" y="4"/>
                  </a:lnTo>
                  <a:lnTo>
                    <a:pt x="295" y="1"/>
                  </a:lnTo>
                  <a:lnTo>
                    <a:pt x="311" y="0"/>
                  </a:lnTo>
                  <a:lnTo>
                    <a:pt x="329" y="0"/>
                  </a:lnTo>
                  <a:lnTo>
                    <a:pt x="329" y="0"/>
                  </a:lnTo>
                  <a:lnTo>
                    <a:pt x="345" y="0"/>
                  </a:lnTo>
                  <a:lnTo>
                    <a:pt x="362" y="1"/>
                  </a:lnTo>
                  <a:lnTo>
                    <a:pt x="379" y="4"/>
                  </a:lnTo>
                  <a:lnTo>
                    <a:pt x="395" y="6"/>
                  </a:lnTo>
                  <a:lnTo>
                    <a:pt x="411" y="10"/>
                  </a:lnTo>
                  <a:lnTo>
                    <a:pt x="426" y="14"/>
                  </a:lnTo>
                  <a:lnTo>
                    <a:pt x="457" y="25"/>
                  </a:lnTo>
                  <a:lnTo>
                    <a:pt x="485" y="40"/>
                  </a:lnTo>
                  <a:lnTo>
                    <a:pt x="512" y="56"/>
                  </a:lnTo>
                  <a:lnTo>
                    <a:pt x="537" y="75"/>
                  </a:lnTo>
                  <a:lnTo>
                    <a:pt x="561" y="96"/>
                  </a:lnTo>
                  <a:lnTo>
                    <a:pt x="582" y="119"/>
                  </a:lnTo>
                  <a:lnTo>
                    <a:pt x="602" y="145"/>
                  </a:lnTo>
                  <a:lnTo>
                    <a:pt x="618" y="172"/>
                  </a:lnTo>
                  <a:lnTo>
                    <a:pt x="631" y="201"/>
                  </a:lnTo>
                  <a:lnTo>
                    <a:pt x="642" y="231"/>
                  </a:lnTo>
                  <a:lnTo>
                    <a:pt x="647" y="247"/>
                  </a:lnTo>
                  <a:lnTo>
                    <a:pt x="650" y="263"/>
                  </a:lnTo>
                  <a:lnTo>
                    <a:pt x="654" y="279"/>
                  </a:lnTo>
                  <a:lnTo>
                    <a:pt x="655" y="295"/>
                  </a:lnTo>
                  <a:lnTo>
                    <a:pt x="657" y="311"/>
                  </a:lnTo>
                  <a:lnTo>
                    <a:pt x="657" y="329"/>
                  </a:lnTo>
                  <a:lnTo>
                    <a:pt x="657" y="329"/>
                  </a:lnTo>
                  <a:lnTo>
                    <a:pt x="657" y="345"/>
                  </a:lnTo>
                  <a:lnTo>
                    <a:pt x="655" y="362"/>
                  </a:lnTo>
                  <a:lnTo>
                    <a:pt x="654" y="379"/>
                  </a:lnTo>
                  <a:lnTo>
                    <a:pt x="650" y="395"/>
                  </a:lnTo>
                  <a:lnTo>
                    <a:pt x="647" y="411"/>
                  </a:lnTo>
                  <a:lnTo>
                    <a:pt x="642" y="427"/>
                  </a:lnTo>
                  <a:lnTo>
                    <a:pt x="631" y="457"/>
                  </a:lnTo>
                  <a:lnTo>
                    <a:pt x="618" y="485"/>
                  </a:lnTo>
                  <a:lnTo>
                    <a:pt x="602" y="513"/>
                  </a:lnTo>
                  <a:lnTo>
                    <a:pt x="582" y="539"/>
                  </a:lnTo>
                  <a:lnTo>
                    <a:pt x="561" y="561"/>
                  </a:lnTo>
                  <a:lnTo>
                    <a:pt x="537" y="583"/>
                  </a:lnTo>
                  <a:lnTo>
                    <a:pt x="512" y="602"/>
                  </a:lnTo>
                  <a:lnTo>
                    <a:pt x="485" y="618"/>
                  </a:lnTo>
                  <a:lnTo>
                    <a:pt x="457" y="631"/>
                  </a:lnTo>
                  <a:lnTo>
                    <a:pt x="426" y="643"/>
                  </a:lnTo>
                  <a:lnTo>
                    <a:pt x="411" y="647"/>
                  </a:lnTo>
                  <a:lnTo>
                    <a:pt x="395" y="651"/>
                  </a:lnTo>
                  <a:lnTo>
                    <a:pt x="379" y="654"/>
                  </a:lnTo>
                  <a:lnTo>
                    <a:pt x="362" y="655"/>
                  </a:lnTo>
                  <a:lnTo>
                    <a:pt x="345" y="657"/>
                  </a:lnTo>
                  <a:lnTo>
                    <a:pt x="329" y="658"/>
                  </a:lnTo>
                  <a:lnTo>
                    <a:pt x="329" y="658"/>
                  </a:lnTo>
                  <a:close/>
                  <a:moveTo>
                    <a:pt x="329" y="37"/>
                  </a:moveTo>
                  <a:lnTo>
                    <a:pt x="329" y="37"/>
                  </a:lnTo>
                  <a:lnTo>
                    <a:pt x="299" y="39"/>
                  </a:lnTo>
                  <a:lnTo>
                    <a:pt x="270" y="44"/>
                  </a:lnTo>
                  <a:lnTo>
                    <a:pt x="241" y="51"/>
                  </a:lnTo>
                  <a:lnTo>
                    <a:pt x="215" y="60"/>
                  </a:lnTo>
                  <a:lnTo>
                    <a:pt x="189" y="72"/>
                  </a:lnTo>
                  <a:lnTo>
                    <a:pt x="166" y="87"/>
                  </a:lnTo>
                  <a:lnTo>
                    <a:pt x="143" y="104"/>
                  </a:lnTo>
                  <a:lnTo>
                    <a:pt x="122" y="123"/>
                  </a:lnTo>
                  <a:lnTo>
                    <a:pt x="103" y="143"/>
                  </a:lnTo>
                  <a:lnTo>
                    <a:pt x="87" y="166"/>
                  </a:lnTo>
                  <a:lnTo>
                    <a:pt x="72" y="190"/>
                  </a:lnTo>
                  <a:lnTo>
                    <a:pt x="60" y="216"/>
                  </a:lnTo>
                  <a:lnTo>
                    <a:pt x="51" y="243"/>
                  </a:lnTo>
                  <a:lnTo>
                    <a:pt x="43" y="270"/>
                  </a:lnTo>
                  <a:lnTo>
                    <a:pt x="39" y="299"/>
                  </a:lnTo>
                  <a:lnTo>
                    <a:pt x="37" y="329"/>
                  </a:lnTo>
                  <a:lnTo>
                    <a:pt x="37" y="329"/>
                  </a:lnTo>
                  <a:lnTo>
                    <a:pt x="39" y="358"/>
                  </a:lnTo>
                  <a:lnTo>
                    <a:pt x="43" y="388"/>
                  </a:lnTo>
                  <a:lnTo>
                    <a:pt x="51" y="415"/>
                  </a:lnTo>
                  <a:lnTo>
                    <a:pt x="60" y="442"/>
                  </a:lnTo>
                  <a:lnTo>
                    <a:pt x="72" y="467"/>
                  </a:lnTo>
                  <a:lnTo>
                    <a:pt x="87" y="491"/>
                  </a:lnTo>
                  <a:lnTo>
                    <a:pt x="103" y="514"/>
                  </a:lnTo>
                  <a:lnTo>
                    <a:pt x="122" y="534"/>
                  </a:lnTo>
                  <a:lnTo>
                    <a:pt x="143" y="553"/>
                  </a:lnTo>
                  <a:lnTo>
                    <a:pt x="166" y="571"/>
                  </a:lnTo>
                  <a:lnTo>
                    <a:pt x="189" y="584"/>
                  </a:lnTo>
                  <a:lnTo>
                    <a:pt x="215" y="598"/>
                  </a:lnTo>
                  <a:lnTo>
                    <a:pt x="241" y="607"/>
                  </a:lnTo>
                  <a:lnTo>
                    <a:pt x="270" y="614"/>
                  </a:lnTo>
                  <a:lnTo>
                    <a:pt x="299" y="619"/>
                  </a:lnTo>
                  <a:lnTo>
                    <a:pt x="329" y="621"/>
                  </a:lnTo>
                  <a:lnTo>
                    <a:pt x="329" y="621"/>
                  </a:lnTo>
                  <a:lnTo>
                    <a:pt x="358" y="619"/>
                  </a:lnTo>
                  <a:lnTo>
                    <a:pt x="387" y="614"/>
                  </a:lnTo>
                  <a:lnTo>
                    <a:pt x="415" y="607"/>
                  </a:lnTo>
                  <a:lnTo>
                    <a:pt x="442" y="598"/>
                  </a:lnTo>
                  <a:lnTo>
                    <a:pt x="467" y="584"/>
                  </a:lnTo>
                  <a:lnTo>
                    <a:pt x="491" y="571"/>
                  </a:lnTo>
                  <a:lnTo>
                    <a:pt x="513" y="553"/>
                  </a:lnTo>
                  <a:lnTo>
                    <a:pt x="534" y="534"/>
                  </a:lnTo>
                  <a:lnTo>
                    <a:pt x="553" y="514"/>
                  </a:lnTo>
                  <a:lnTo>
                    <a:pt x="569" y="491"/>
                  </a:lnTo>
                  <a:lnTo>
                    <a:pt x="584" y="467"/>
                  </a:lnTo>
                  <a:lnTo>
                    <a:pt x="596" y="442"/>
                  </a:lnTo>
                  <a:lnTo>
                    <a:pt x="607" y="415"/>
                  </a:lnTo>
                  <a:lnTo>
                    <a:pt x="614" y="388"/>
                  </a:lnTo>
                  <a:lnTo>
                    <a:pt x="618" y="358"/>
                  </a:lnTo>
                  <a:lnTo>
                    <a:pt x="619" y="329"/>
                  </a:lnTo>
                  <a:lnTo>
                    <a:pt x="619" y="329"/>
                  </a:lnTo>
                  <a:lnTo>
                    <a:pt x="618" y="299"/>
                  </a:lnTo>
                  <a:lnTo>
                    <a:pt x="614" y="270"/>
                  </a:lnTo>
                  <a:lnTo>
                    <a:pt x="607" y="243"/>
                  </a:lnTo>
                  <a:lnTo>
                    <a:pt x="596" y="216"/>
                  </a:lnTo>
                  <a:lnTo>
                    <a:pt x="584" y="190"/>
                  </a:lnTo>
                  <a:lnTo>
                    <a:pt x="569" y="166"/>
                  </a:lnTo>
                  <a:lnTo>
                    <a:pt x="553" y="143"/>
                  </a:lnTo>
                  <a:lnTo>
                    <a:pt x="534" y="123"/>
                  </a:lnTo>
                  <a:lnTo>
                    <a:pt x="513" y="104"/>
                  </a:lnTo>
                  <a:lnTo>
                    <a:pt x="491" y="87"/>
                  </a:lnTo>
                  <a:lnTo>
                    <a:pt x="467" y="72"/>
                  </a:lnTo>
                  <a:lnTo>
                    <a:pt x="442" y="60"/>
                  </a:lnTo>
                  <a:lnTo>
                    <a:pt x="415" y="51"/>
                  </a:lnTo>
                  <a:lnTo>
                    <a:pt x="387" y="44"/>
                  </a:lnTo>
                  <a:lnTo>
                    <a:pt x="358" y="39"/>
                  </a:lnTo>
                  <a:lnTo>
                    <a:pt x="329" y="37"/>
                  </a:lnTo>
                  <a:lnTo>
                    <a:pt x="329" y="3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9" name="Freeform 279">
              <a:extLst>
                <a:ext uri="{FF2B5EF4-FFF2-40B4-BE49-F238E27FC236}">
                  <a16:creationId xmlns:a16="http://schemas.microsoft.com/office/drawing/2014/main" id="{8F0EB1DB-68E0-454F-BA7A-BF5D705A08F2}"/>
                </a:ext>
              </a:extLst>
            </p:cNvPr>
            <p:cNvSpPr>
              <a:spLocks/>
            </p:cNvSpPr>
            <p:nvPr/>
          </p:nvSpPr>
          <p:spPr bwMode="auto">
            <a:xfrm>
              <a:off x="9571042" y="5223515"/>
              <a:ext cx="182563" cy="177801"/>
            </a:xfrm>
            <a:custGeom>
              <a:avLst/>
              <a:gdLst>
                <a:gd name="T0" fmla="*/ 219 w 230"/>
                <a:gd name="T1" fmla="*/ 0 h 225"/>
                <a:gd name="T2" fmla="*/ 178 w 230"/>
                <a:gd name="T3" fmla="*/ 0 h 225"/>
                <a:gd name="T4" fmla="*/ 178 w 230"/>
                <a:gd name="T5" fmla="*/ 117 h 225"/>
                <a:gd name="T6" fmla="*/ 178 w 230"/>
                <a:gd name="T7" fmla="*/ 117 h 225"/>
                <a:gd name="T8" fmla="*/ 176 w 230"/>
                <a:gd name="T9" fmla="*/ 123 h 225"/>
                <a:gd name="T10" fmla="*/ 174 w 230"/>
                <a:gd name="T11" fmla="*/ 125 h 225"/>
                <a:gd name="T12" fmla="*/ 171 w 230"/>
                <a:gd name="T13" fmla="*/ 128 h 225"/>
                <a:gd name="T14" fmla="*/ 167 w 230"/>
                <a:gd name="T15" fmla="*/ 128 h 225"/>
                <a:gd name="T16" fmla="*/ 50 w 230"/>
                <a:gd name="T17" fmla="*/ 128 h 225"/>
                <a:gd name="T18" fmla="*/ 0 w 230"/>
                <a:gd name="T19" fmla="*/ 171 h 225"/>
                <a:gd name="T20" fmla="*/ 107 w 230"/>
                <a:gd name="T21" fmla="*/ 171 h 225"/>
                <a:gd name="T22" fmla="*/ 179 w 230"/>
                <a:gd name="T23" fmla="*/ 223 h 225"/>
                <a:gd name="T24" fmla="*/ 179 w 230"/>
                <a:gd name="T25" fmla="*/ 223 h 225"/>
                <a:gd name="T26" fmla="*/ 183 w 230"/>
                <a:gd name="T27" fmla="*/ 225 h 225"/>
                <a:gd name="T28" fmla="*/ 183 w 230"/>
                <a:gd name="T29" fmla="*/ 225 h 225"/>
                <a:gd name="T30" fmla="*/ 184 w 230"/>
                <a:gd name="T31" fmla="*/ 225 h 225"/>
                <a:gd name="T32" fmla="*/ 184 w 230"/>
                <a:gd name="T33" fmla="*/ 225 h 225"/>
                <a:gd name="T34" fmla="*/ 187 w 230"/>
                <a:gd name="T35" fmla="*/ 222 h 225"/>
                <a:gd name="T36" fmla="*/ 187 w 230"/>
                <a:gd name="T37" fmla="*/ 219 h 225"/>
                <a:gd name="T38" fmla="*/ 187 w 230"/>
                <a:gd name="T39" fmla="*/ 171 h 225"/>
                <a:gd name="T40" fmla="*/ 219 w 230"/>
                <a:gd name="T41" fmla="*/ 171 h 225"/>
                <a:gd name="T42" fmla="*/ 219 w 230"/>
                <a:gd name="T43" fmla="*/ 171 h 225"/>
                <a:gd name="T44" fmla="*/ 223 w 230"/>
                <a:gd name="T45" fmla="*/ 171 h 225"/>
                <a:gd name="T46" fmla="*/ 227 w 230"/>
                <a:gd name="T47" fmla="*/ 168 h 225"/>
                <a:gd name="T48" fmla="*/ 230 w 230"/>
                <a:gd name="T49" fmla="*/ 164 h 225"/>
                <a:gd name="T50" fmla="*/ 230 w 230"/>
                <a:gd name="T51" fmla="*/ 160 h 225"/>
                <a:gd name="T52" fmla="*/ 230 w 230"/>
                <a:gd name="T53" fmla="*/ 11 h 225"/>
                <a:gd name="T54" fmla="*/ 230 w 230"/>
                <a:gd name="T55" fmla="*/ 11 h 225"/>
                <a:gd name="T56" fmla="*/ 230 w 230"/>
                <a:gd name="T57" fmla="*/ 7 h 225"/>
                <a:gd name="T58" fmla="*/ 227 w 230"/>
                <a:gd name="T59" fmla="*/ 3 h 225"/>
                <a:gd name="T60" fmla="*/ 223 w 230"/>
                <a:gd name="T61" fmla="*/ 2 h 225"/>
                <a:gd name="T62" fmla="*/ 219 w 230"/>
                <a:gd name="T63" fmla="*/ 0 h 225"/>
                <a:gd name="T64" fmla="*/ 219 w 230"/>
                <a:gd name="T65"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0" h="225">
                  <a:moveTo>
                    <a:pt x="219" y="0"/>
                  </a:moveTo>
                  <a:lnTo>
                    <a:pt x="178" y="0"/>
                  </a:lnTo>
                  <a:lnTo>
                    <a:pt x="178" y="117"/>
                  </a:lnTo>
                  <a:lnTo>
                    <a:pt x="178" y="117"/>
                  </a:lnTo>
                  <a:lnTo>
                    <a:pt x="176" y="123"/>
                  </a:lnTo>
                  <a:lnTo>
                    <a:pt x="174" y="125"/>
                  </a:lnTo>
                  <a:lnTo>
                    <a:pt x="171" y="128"/>
                  </a:lnTo>
                  <a:lnTo>
                    <a:pt x="167" y="128"/>
                  </a:lnTo>
                  <a:lnTo>
                    <a:pt x="50" y="128"/>
                  </a:lnTo>
                  <a:lnTo>
                    <a:pt x="0" y="171"/>
                  </a:lnTo>
                  <a:lnTo>
                    <a:pt x="107" y="171"/>
                  </a:lnTo>
                  <a:lnTo>
                    <a:pt x="179" y="223"/>
                  </a:lnTo>
                  <a:lnTo>
                    <a:pt x="179" y="223"/>
                  </a:lnTo>
                  <a:lnTo>
                    <a:pt x="183" y="225"/>
                  </a:lnTo>
                  <a:lnTo>
                    <a:pt x="183" y="225"/>
                  </a:lnTo>
                  <a:lnTo>
                    <a:pt x="184" y="225"/>
                  </a:lnTo>
                  <a:lnTo>
                    <a:pt x="184" y="225"/>
                  </a:lnTo>
                  <a:lnTo>
                    <a:pt x="187" y="222"/>
                  </a:lnTo>
                  <a:lnTo>
                    <a:pt x="187" y="219"/>
                  </a:lnTo>
                  <a:lnTo>
                    <a:pt x="187" y="171"/>
                  </a:lnTo>
                  <a:lnTo>
                    <a:pt x="219" y="171"/>
                  </a:lnTo>
                  <a:lnTo>
                    <a:pt x="219" y="171"/>
                  </a:lnTo>
                  <a:lnTo>
                    <a:pt x="223" y="171"/>
                  </a:lnTo>
                  <a:lnTo>
                    <a:pt x="227" y="168"/>
                  </a:lnTo>
                  <a:lnTo>
                    <a:pt x="230" y="164"/>
                  </a:lnTo>
                  <a:lnTo>
                    <a:pt x="230" y="160"/>
                  </a:lnTo>
                  <a:lnTo>
                    <a:pt x="230" y="11"/>
                  </a:lnTo>
                  <a:lnTo>
                    <a:pt x="230" y="11"/>
                  </a:lnTo>
                  <a:lnTo>
                    <a:pt x="230" y="7"/>
                  </a:lnTo>
                  <a:lnTo>
                    <a:pt x="227" y="3"/>
                  </a:lnTo>
                  <a:lnTo>
                    <a:pt x="223" y="2"/>
                  </a:lnTo>
                  <a:lnTo>
                    <a:pt x="219" y="0"/>
                  </a:lnTo>
                  <a:lnTo>
                    <a:pt x="21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0" name="Freeform 280">
              <a:extLst>
                <a:ext uri="{FF2B5EF4-FFF2-40B4-BE49-F238E27FC236}">
                  <a16:creationId xmlns:a16="http://schemas.microsoft.com/office/drawing/2014/main" id="{0A354A4F-C706-4C85-92E0-17EA255B6A79}"/>
                </a:ext>
              </a:extLst>
            </p:cNvPr>
            <p:cNvSpPr>
              <a:spLocks/>
            </p:cNvSpPr>
            <p:nvPr/>
          </p:nvSpPr>
          <p:spPr bwMode="auto">
            <a:xfrm>
              <a:off x="9483726" y="5160009"/>
              <a:ext cx="211138" cy="212726"/>
            </a:xfrm>
            <a:custGeom>
              <a:avLst/>
              <a:gdLst>
                <a:gd name="T0" fmla="*/ 257 w 268"/>
                <a:gd name="T1" fmla="*/ 192 h 267"/>
                <a:gd name="T2" fmla="*/ 257 w 268"/>
                <a:gd name="T3" fmla="*/ 192 h 267"/>
                <a:gd name="T4" fmla="*/ 261 w 268"/>
                <a:gd name="T5" fmla="*/ 191 h 267"/>
                <a:gd name="T6" fmla="*/ 264 w 268"/>
                <a:gd name="T7" fmla="*/ 189 h 267"/>
                <a:gd name="T8" fmla="*/ 266 w 268"/>
                <a:gd name="T9" fmla="*/ 185 h 267"/>
                <a:gd name="T10" fmla="*/ 268 w 268"/>
                <a:gd name="T11" fmla="*/ 181 h 267"/>
                <a:gd name="T12" fmla="*/ 268 w 268"/>
                <a:gd name="T13" fmla="*/ 10 h 267"/>
                <a:gd name="T14" fmla="*/ 268 w 268"/>
                <a:gd name="T15" fmla="*/ 10 h 267"/>
                <a:gd name="T16" fmla="*/ 266 w 268"/>
                <a:gd name="T17" fmla="*/ 6 h 267"/>
                <a:gd name="T18" fmla="*/ 264 w 268"/>
                <a:gd name="T19" fmla="*/ 2 h 267"/>
                <a:gd name="T20" fmla="*/ 261 w 268"/>
                <a:gd name="T21" fmla="*/ 1 h 267"/>
                <a:gd name="T22" fmla="*/ 257 w 268"/>
                <a:gd name="T23" fmla="*/ 0 h 267"/>
                <a:gd name="T24" fmla="*/ 11 w 268"/>
                <a:gd name="T25" fmla="*/ 0 h 267"/>
                <a:gd name="T26" fmla="*/ 11 w 268"/>
                <a:gd name="T27" fmla="*/ 0 h 267"/>
                <a:gd name="T28" fmla="*/ 7 w 268"/>
                <a:gd name="T29" fmla="*/ 1 h 267"/>
                <a:gd name="T30" fmla="*/ 3 w 268"/>
                <a:gd name="T31" fmla="*/ 2 h 267"/>
                <a:gd name="T32" fmla="*/ 1 w 268"/>
                <a:gd name="T33" fmla="*/ 6 h 267"/>
                <a:gd name="T34" fmla="*/ 0 w 268"/>
                <a:gd name="T35" fmla="*/ 10 h 267"/>
                <a:gd name="T36" fmla="*/ 0 w 268"/>
                <a:gd name="T37" fmla="*/ 181 h 267"/>
                <a:gd name="T38" fmla="*/ 0 w 268"/>
                <a:gd name="T39" fmla="*/ 181 h 267"/>
                <a:gd name="T40" fmla="*/ 1 w 268"/>
                <a:gd name="T41" fmla="*/ 185 h 267"/>
                <a:gd name="T42" fmla="*/ 3 w 268"/>
                <a:gd name="T43" fmla="*/ 189 h 267"/>
                <a:gd name="T44" fmla="*/ 7 w 268"/>
                <a:gd name="T45" fmla="*/ 191 h 267"/>
                <a:gd name="T46" fmla="*/ 11 w 268"/>
                <a:gd name="T47" fmla="*/ 192 h 267"/>
                <a:gd name="T48" fmla="*/ 54 w 268"/>
                <a:gd name="T49" fmla="*/ 192 h 267"/>
                <a:gd name="T50" fmla="*/ 54 w 268"/>
                <a:gd name="T51" fmla="*/ 262 h 267"/>
                <a:gd name="T52" fmla="*/ 54 w 268"/>
                <a:gd name="T53" fmla="*/ 262 h 267"/>
                <a:gd name="T54" fmla="*/ 54 w 268"/>
                <a:gd name="T55" fmla="*/ 264 h 267"/>
                <a:gd name="T56" fmla="*/ 57 w 268"/>
                <a:gd name="T57" fmla="*/ 266 h 267"/>
                <a:gd name="T58" fmla="*/ 57 w 268"/>
                <a:gd name="T59" fmla="*/ 266 h 267"/>
                <a:gd name="T60" fmla="*/ 59 w 268"/>
                <a:gd name="T61" fmla="*/ 267 h 267"/>
                <a:gd name="T62" fmla="*/ 59 w 268"/>
                <a:gd name="T63" fmla="*/ 267 h 267"/>
                <a:gd name="T64" fmla="*/ 62 w 268"/>
                <a:gd name="T65" fmla="*/ 266 h 267"/>
                <a:gd name="T66" fmla="*/ 147 w 268"/>
                <a:gd name="T67" fmla="*/ 192 h 267"/>
                <a:gd name="T68" fmla="*/ 257 w 268"/>
                <a:gd name="T69" fmla="*/ 19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8" h="267">
                  <a:moveTo>
                    <a:pt x="257" y="192"/>
                  </a:moveTo>
                  <a:lnTo>
                    <a:pt x="257" y="192"/>
                  </a:lnTo>
                  <a:lnTo>
                    <a:pt x="261" y="191"/>
                  </a:lnTo>
                  <a:lnTo>
                    <a:pt x="264" y="189"/>
                  </a:lnTo>
                  <a:lnTo>
                    <a:pt x="266" y="185"/>
                  </a:lnTo>
                  <a:lnTo>
                    <a:pt x="268" y="181"/>
                  </a:lnTo>
                  <a:lnTo>
                    <a:pt x="268" y="10"/>
                  </a:lnTo>
                  <a:lnTo>
                    <a:pt x="268" y="10"/>
                  </a:lnTo>
                  <a:lnTo>
                    <a:pt x="266" y="6"/>
                  </a:lnTo>
                  <a:lnTo>
                    <a:pt x="264" y="2"/>
                  </a:lnTo>
                  <a:lnTo>
                    <a:pt x="261" y="1"/>
                  </a:lnTo>
                  <a:lnTo>
                    <a:pt x="257" y="0"/>
                  </a:lnTo>
                  <a:lnTo>
                    <a:pt x="11" y="0"/>
                  </a:lnTo>
                  <a:lnTo>
                    <a:pt x="11" y="0"/>
                  </a:lnTo>
                  <a:lnTo>
                    <a:pt x="7" y="1"/>
                  </a:lnTo>
                  <a:lnTo>
                    <a:pt x="3" y="2"/>
                  </a:lnTo>
                  <a:lnTo>
                    <a:pt x="1" y="6"/>
                  </a:lnTo>
                  <a:lnTo>
                    <a:pt x="0" y="10"/>
                  </a:lnTo>
                  <a:lnTo>
                    <a:pt x="0" y="181"/>
                  </a:lnTo>
                  <a:lnTo>
                    <a:pt x="0" y="181"/>
                  </a:lnTo>
                  <a:lnTo>
                    <a:pt x="1" y="185"/>
                  </a:lnTo>
                  <a:lnTo>
                    <a:pt x="3" y="189"/>
                  </a:lnTo>
                  <a:lnTo>
                    <a:pt x="7" y="191"/>
                  </a:lnTo>
                  <a:lnTo>
                    <a:pt x="11" y="192"/>
                  </a:lnTo>
                  <a:lnTo>
                    <a:pt x="54" y="192"/>
                  </a:lnTo>
                  <a:lnTo>
                    <a:pt x="54" y="262"/>
                  </a:lnTo>
                  <a:lnTo>
                    <a:pt x="54" y="262"/>
                  </a:lnTo>
                  <a:lnTo>
                    <a:pt x="54" y="264"/>
                  </a:lnTo>
                  <a:lnTo>
                    <a:pt x="57" y="266"/>
                  </a:lnTo>
                  <a:lnTo>
                    <a:pt x="57" y="266"/>
                  </a:lnTo>
                  <a:lnTo>
                    <a:pt x="59" y="267"/>
                  </a:lnTo>
                  <a:lnTo>
                    <a:pt x="59" y="267"/>
                  </a:lnTo>
                  <a:lnTo>
                    <a:pt x="62" y="266"/>
                  </a:lnTo>
                  <a:lnTo>
                    <a:pt x="147" y="192"/>
                  </a:lnTo>
                  <a:lnTo>
                    <a:pt x="257" y="19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11" name="Group 110">
            <a:extLst>
              <a:ext uri="{FF2B5EF4-FFF2-40B4-BE49-F238E27FC236}">
                <a16:creationId xmlns:a16="http://schemas.microsoft.com/office/drawing/2014/main" id="{42E1181E-06D0-462C-AC9A-8F7DB9DCABEB}"/>
              </a:ext>
            </a:extLst>
          </p:cNvPr>
          <p:cNvGrpSpPr/>
          <p:nvPr/>
        </p:nvGrpSpPr>
        <p:grpSpPr>
          <a:xfrm>
            <a:off x="6131092" y="2388077"/>
            <a:ext cx="320040" cy="320040"/>
            <a:chOff x="6341705" y="2847404"/>
            <a:chExt cx="320040" cy="320040"/>
          </a:xfrm>
        </p:grpSpPr>
        <p:sp>
          <p:nvSpPr>
            <p:cNvPr id="112" name="Freeform 34">
              <a:extLst>
                <a:ext uri="{FF2B5EF4-FFF2-40B4-BE49-F238E27FC236}">
                  <a16:creationId xmlns:a16="http://schemas.microsoft.com/office/drawing/2014/main" id="{E760BAD9-ABE3-4A9A-9996-BBF303D92125}"/>
                </a:ext>
              </a:extLst>
            </p:cNvPr>
            <p:cNvSpPr>
              <a:spLocks noEditPoints="1"/>
            </p:cNvSpPr>
            <p:nvPr/>
          </p:nvSpPr>
          <p:spPr bwMode="auto">
            <a:xfrm>
              <a:off x="6341705" y="2847404"/>
              <a:ext cx="320040" cy="320040"/>
            </a:xfrm>
            <a:custGeom>
              <a:avLst/>
              <a:gdLst>
                <a:gd name="T0" fmla="*/ 312 w 659"/>
                <a:gd name="T1" fmla="*/ 658 h 658"/>
                <a:gd name="T2" fmla="*/ 264 w 659"/>
                <a:gd name="T3" fmla="*/ 652 h 658"/>
                <a:gd name="T4" fmla="*/ 202 w 659"/>
                <a:gd name="T5" fmla="*/ 633 h 658"/>
                <a:gd name="T6" fmla="*/ 120 w 659"/>
                <a:gd name="T7" fmla="*/ 583 h 658"/>
                <a:gd name="T8" fmla="*/ 57 w 659"/>
                <a:gd name="T9" fmla="*/ 513 h 658"/>
                <a:gd name="T10" fmla="*/ 15 w 659"/>
                <a:gd name="T11" fmla="*/ 427 h 658"/>
                <a:gd name="T12" fmla="*/ 5 w 659"/>
                <a:gd name="T13" fmla="*/ 379 h 658"/>
                <a:gd name="T14" fmla="*/ 0 w 659"/>
                <a:gd name="T15" fmla="*/ 329 h 658"/>
                <a:gd name="T16" fmla="*/ 3 w 659"/>
                <a:gd name="T17" fmla="*/ 296 h 658"/>
                <a:gd name="T18" fmla="*/ 11 w 659"/>
                <a:gd name="T19" fmla="*/ 247 h 658"/>
                <a:gd name="T20" fmla="*/ 41 w 659"/>
                <a:gd name="T21" fmla="*/ 173 h 658"/>
                <a:gd name="T22" fmla="*/ 97 w 659"/>
                <a:gd name="T23" fmla="*/ 97 h 658"/>
                <a:gd name="T24" fmla="*/ 172 w 659"/>
                <a:gd name="T25" fmla="*/ 40 h 658"/>
                <a:gd name="T26" fmla="*/ 248 w 659"/>
                <a:gd name="T27" fmla="*/ 11 h 658"/>
                <a:gd name="T28" fmla="*/ 296 w 659"/>
                <a:gd name="T29" fmla="*/ 3 h 658"/>
                <a:gd name="T30" fmla="*/ 330 w 659"/>
                <a:gd name="T31" fmla="*/ 0 h 658"/>
                <a:gd name="T32" fmla="*/ 379 w 659"/>
                <a:gd name="T33" fmla="*/ 4 h 658"/>
                <a:gd name="T34" fmla="*/ 428 w 659"/>
                <a:gd name="T35" fmla="*/ 15 h 658"/>
                <a:gd name="T36" fmla="*/ 514 w 659"/>
                <a:gd name="T37" fmla="*/ 56 h 658"/>
                <a:gd name="T38" fmla="*/ 584 w 659"/>
                <a:gd name="T39" fmla="*/ 121 h 658"/>
                <a:gd name="T40" fmla="*/ 633 w 659"/>
                <a:gd name="T41" fmla="*/ 202 h 658"/>
                <a:gd name="T42" fmla="*/ 652 w 659"/>
                <a:gd name="T43" fmla="*/ 263 h 658"/>
                <a:gd name="T44" fmla="*/ 657 w 659"/>
                <a:gd name="T45" fmla="*/ 313 h 658"/>
                <a:gd name="T46" fmla="*/ 657 w 659"/>
                <a:gd name="T47" fmla="*/ 347 h 658"/>
                <a:gd name="T48" fmla="*/ 652 w 659"/>
                <a:gd name="T49" fmla="*/ 396 h 658"/>
                <a:gd name="T50" fmla="*/ 633 w 659"/>
                <a:gd name="T51" fmla="*/ 457 h 658"/>
                <a:gd name="T52" fmla="*/ 584 w 659"/>
                <a:gd name="T53" fmla="*/ 539 h 658"/>
                <a:gd name="T54" fmla="*/ 514 w 659"/>
                <a:gd name="T55" fmla="*/ 602 h 658"/>
                <a:gd name="T56" fmla="*/ 428 w 659"/>
                <a:gd name="T57" fmla="*/ 644 h 658"/>
                <a:gd name="T58" fmla="*/ 379 w 659"/>
                <a:gd name="T59" fmla="*/ 654 h 658"/>
                <a:gd name="T60" fmla="*/ 330 w 659"/>
                <a:gd name="T61" fmla="*/ 658 h 658"/>
                <a:gd name="T62" fmla="*/ 330 w 659"/>
                <a:gd name="T63" fmla="*/ 38 h 658"/>
                <a:gd name="T64" fmla="*/ 244 w 659"/>
                <a:gd name="T65" fmla="*/ 51 h 658"/>
                <a:gd name="T66" fmla="*/ 167 w 659"/>
                <a:gd name="T67" fmla="*/ 89 h 658"/>
                <a:gd name="T68" fmla="*/ 105 w 659"/>
                <a:gd name="T69" fmla="*/ 144 h 658"/>
                <a:gd name="T70" fmla="*/ 61 w 659"/>
                <a:gd name="T71" fmla="*/ 216 h 658"/>
                <a:gd name="T72" fmla="*/ 39 w 659"/>
                <a:gd name="T73" fmla="*/ 300 h 658"/>
                <a:gd name="T74" fmla="*/ 39 w 659"/>
                <a:gd name="T75" fmla="*/ 359 h 658"/>
                <a:gd name="T76" fmla="*/ 61 w 659"/>
                <a:gd name="T77" fmla="*/ 443 h 658"/>
                <a:gd name="T78" fmla="*/ 105 w 659"/>
                <a:gd name="T79" fmla="*/ 515 h 658"/>
                <a:gd name="T80" fmla="*/ 167 w 659"/>
                <a:gd name="T81" fmla="*/ 571 h 658"/>
                <a:gd name="T82" fmla="*/ 244 w 659"/>
                <a:gd name="T83" fmla="*/ 607 h 658"/>
                <a:gd name="T84" fmla="*/ 330 w 659"/>
                <a:gd name="T85" fmla="*/ 621 h 658"/>
                <a:gd name="T86" fmla="*/ 389 w 659"/>
                <a:gd name="T87" fmla="*/ 615 h 658"/>
                <a:gd name="T88" fmla="*/ 468 w 659"/>
                <a:gd name="T89" fmla="*/ 586 h 658"/>
                <a:gd name="T90" fmla="*/ 535 w 659"/>
                <a:gd name="T91" fmla="*/ 535 h 658"/>
                <a:gd name="T92" fmla="*/ 586 w 659"/>
                <a:gd name="T93" fmla="*/ 468 h 658"/>
                <a:gd name="T94" fmla="*/ 614 w 659"/>
                <a:gd name="T95" fmla="*/ 388 h 658"/>
                <a:gd name="T96" fmla="*/ 621 w 659"/>
                <a:gd name="T97" fmla="*/ 329 h 658"/>
                <a:gd name="T98" fmla="*/ 608 w 659"/>
                <a:gd name="T99" fmla="*/ 243 h 658"/>
                <a:gd name="T100" fmla="*/ 571 w 659"/>
                <a:gd name="T101" fmla="*/ 167 h 658"/>
                <a:gd name="T102" fmla="*/ 515 w 659"/>
                <a:gd name="T103" fmla="*/ 105 h 658"/>
                <a:gd name="T104" fmla="*/ 442 w 659"/>
                <a:gd name="T105" fmla="*/ 62 h 658"/>
                <a:gd name="T106" fmla="*/ 359 w 659"/>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30" y="658"/>
                  </a:moveTo>
                  <a:lnTo>
                    <a:pt x="330" y="658"/>
                  </a:lnTo>
                  <a:lnTo>
                    <a:pt x="312" y="658"/>
                  </a:lnTo>
                  <a:lnTo>
                    <a:pt x="296" y="657"/>
                  </a:lnTo>
                  <a:lnTo>
                    <a:pt x="280" y="654"/>
                  </a:lnTo>
                  <a:lnTo>
                    <a:pt x="264" y="652"/>
                  </a:lnTo>
                  <a:lnTo>
                    <a:pt x="248" y="648"/>
                  </a:lnTo>
                  <a:lnTo>
                    <a:pt x="232" y="644"/>
                  </a:lnTo>
                  <a:lnTo>
                    <a:pt x="202" y="633"/>
                  </a:lnTo>
                  <a:lnTo>
                    <a:pt x="172" y="618"/>
                  </a:lnTo>
                  <a:lnTo>
                    <a:pt x="146" y="602"/>
                  </a:lnTo>
                  <a:lnTo>
                    <a:pt x="120" y="583"/>
                  </a:lnTo>
                  <a:lnTo>
                    <a:pt x="97" y="562"/>
                  </a:lnTo>
                  <a:lnTo>
                    <a:pt x="76" y="539"/>
                  </a:lnTo>
                  <a:lnTo>
                    <a:pt x="57" y="513"/>
                  </a:lnTo>
                  <a:lnTo>
                    <a:pt x="41" y="486"/>
                  </a:lnTo>
                  <a:lnTo>
                    <a:pt x="26" y="457"/>
                  </a:lnTo>
                  <a:lnTo>
                    <a:pt x="15" y="427"/>
                  </a:lnTo>
                  <a:lnTo>
                    <a:pt x="11" y="411"/>
                  </a:lnTo>
                  <a:lnTo>
                    <a:pt x="7" y="396"/>
                  </a:lnTo>
                  <a:lnTo>
                    <a:pt x="5" y="379"/>
                  </a:lnTo>
                  <a:lnTo>
                    <a:pt x="3" y="363"/>
                  </a:lnTo>
                  <a:lnTo>
                    <a:pt x="2" y="347"/>
                  </a:lnTo>
                  <a:lnTo>
                    <a:pt x="0" y="329"/>
                  </a:lnTo>
                  <a:lnTo>
                    <a:pt x="0" y="329"/>
                  </a:lnTo>
                  <a:lnTo>
                    <a:pt x="2" y="313"/>
                  </a:lnTo>
                  <a:lnTo>
                    <a:pt x="3" y="296"/>
                  </a:lnTo>
                  <a:lnTo>
                    <a:pt x="5" y="279"/>
                  </a:lnTo>
                  <a:lnTo>
                    <a:pt x="7" y="263"/>
                  </a:lnTo>
                  <a:lnTo>
                    <a:pt x="11" y="247"/>
                  </a:lnTo>
                  <a:lnTo>
                    <a:pt x="15" y="232"/>
                  </a:lnTo>
                  <a:lnTo>
                    <a:pt x="26" y="202"/>
                  </a:lnTo>
                  <a:lnTo>
                    <a:pt x="41" y="173"/>
                  </a:lnTo>
                  <a:lnTo>
                    <a:pt x="57" y="145"/>
                  </a:lnTo>
                  <a:lnTo>
                    <a:pt x="76" y="121"/>
                  </a:lnTo>
                  <a:lnTo>
                    <a:pt x="97" y="97"/>
                  </a:lnTo>
                  <a:lnTo>
                    <a:pt x="120" y="75"/>
                  </a:lnTo>
                  <a:lnTo>
                    <a:pt x="146" y="56"/>
                  </a:lnTo>
                  <a:lnTo>
                    <a:pt x="172" y="40"/>
                  </a:lnTo>
                  <a:lnTo>
                    <a:pt x="202" y="27"/>
                  </a:lnTo>
                  <a:lnTo>
                    <a:pt x="232" y="15"/>
                  </a:lnTo>
                  <a:lnTo>
                    <a:pt x="248" y="11"/>
                  </a:lnTo>
                  <a:lnTo>
                    <a:pt x="264" y="7"/>
                  </a:lnTo>
                  <a:lnTo>
                    <a:pt x="280" y="4"/>
                  </a:lnTo>
                  <a:lnTo>
                    <a:pt x="296" y="3"/>
                  </a:lnTo>
                  <a:lnTo>
                    <a:pt x="312" y="1"/>
                  </a:lnTo>
                  <a:lnTo>
                    <a:pt x="330" y="0"/>
                  </a:lnTo>
                  <a:lnTo>
                    <a:pt x="330" y="0"/>
                  </a:lnTo>
                  <a:lnTo>
                    <a:pt x="347" y="1"/>
                  </a:lnTo>
                  <a:lnTo>
                    <a:pt x="363" y="3"/>
                  </a:lnTo>
                  <a:lnTo>
                    <a:pt x="379" y="4"/>
                  </a:lnTo>
                  <a:lnTo>
                    <a:pt x="395" y="7"/>
                  </a:lnTo>
                  <a:lnTo>
                    <a:pt x="412" y="11"/>
                  </a:lnTo>
                  <a:lnTo>
                    <a:pt x="428" y="15"/>
                  </a:lnTo>
                  <a:lnTo>
                    <a:pt x="457" y="27"/>
                  </a:lnTo>
                  <a:lnTo>
                    <a:pt x="487" y="40"/>
                  </a:lnTo>
                  <a:lnTo>
                    <a:pt x="514" y="56"/>
                  </a:lnTo>
                  <a:lnTo>
                    <a:pt x="539" y="75"/>
                  </a:lnTo>
                  <a:lnTo>
                    <a:pt x="562" y="97"/>
                  </a:lnTo>
                  <a:lnTo>
                    <a:pt x="584" y="121"/>
                  </a:lnTo>
                  <a:lnTo>
                    <a:pt x="602" y="145"/>
                  </a:lnTo>
                  <a:lnTo>
                    <a:pt x="618" y="173"/>
                  </a:lnTo>
                  <a:lnTo>
                    <a:pt x="633" y="202"/>
                  </a:lnTo>
                  <a:lnTo>
                    <a:pt x="644" y="232"/>
                  </a:lnTo>
                  <a:lnTo>
                    <a:pt x="648" y="247"/>
                  </a:lnTo>
                  <a:lnTo>
                    <a:pt x="652" y="263"/>
                  </a:lnTo>
                  <a:lnTo>
                    <a:pt x="655" y="279"/>
                  </a:lnTo>
                  <a:lnTo>
                    <a:pt x="656" y="296"/>
                  </a:lnTo>
                  <a:lnTo>
                    <a:pt x="657" y="313"/>
                  </a:lnTo>
                  <a:lnTo>
                    <a:pt x="659" y="329"/>
                  </a:lnTo>
                  <a:lnTo>
                    <a:pt x="659" y="329"/>
                  </a:lnTo>
                  <a:lnTo>
                    <a:pt x="657" y="347"/>
                  </a:lnTo>
                  <a:lnTo>
                    <a:pt x="656" y="363"/>
                  </a:lnTo>
                  <a:lnTo>
                    <a:pt x="655" y="379"/>
                  </a:lnTo>
                  <a:lnTo>
                    <a:pt x="652" y="396"/>
                  </a:lnTo>
                  <a:lnTo>
                    <a:pt x="648" y="411"/>
                  </a:lnTo>
                  <a:lnTo>
                    <a:pt x="644" y="427"/>
                  </a:lnTo>
                  <a:lnTo>
                    <a:pt x="633" y="457"/>
                  </a:lnTo>
                  <a:lnTo>
                    <a:pt x="618" y="486"/>
                  </a:lnTo>
                  <a:lnTo>
                    <a:pt x="602" y="513"/>
                  </a:lnTo>
                  <a:lnTo>
                    <a:pt x="584" y="539"/>
                  </a:lnTo>
                  <a:lnTo>
                    <a:pt x="562" y="562"/>
                  </a:lnTo>
                  <a:lnTo>
                    <a:pt x="539" y="583"/>
                  </a:lnTo>
                  <a:lnTo>
                    <a:pt x="514" y="602"/>
                  </a:lnTo>
                  <a:lnTo>
                    <a:pt x="487" y="618"/>
                  </a:lnTo>
                  <a:lnTo>
                    <a:pt x="457" y="633"/>
                  </a:lnTo>
                  <a:lnTo>
                    <a:pt x="428" y="644"/>
                  </a:lnTo>
                  <a:lnTo>
                    <a:pt x="412" y="648"/>
                  </a:lnTo>
                  <a:lnTo>
                    <a:pt x="395" y="652"/>
                  </a:lnTo>
                  <a:lnTo>
                    <a:pt x="379" y="654"/>
                  </a:lnTo>
                  <a:lnTo>
                    <a:pt x="363" y="657"/>
                  </a:lnTo>
                  <a:lnTo>
                    <a:pt x="347" y="658"/>
                  </a:lnTo>
                  <a:lnTo>
                    <a:pt x="330" y="658"/>
                  </a:lnTo>
                  <a:lnTo>
                    <a:pt x="330" y="658"/>
                  </a:lnTo>
                  <a:close/>
                  <a:moveTo>
                    <a:pt x="330" y="38"/>
                  </a:moveTo>
                  <a:lnTo>
                    <a:pt x="330" y="38"/>
                  </a:lnTo>
                  <a:lnTo>
                    <a:pt x="300" y="40"/>
                  </a:lnTo>
                  <a:lnTo>
                    <a:pt x="271" y="44"/>
                  </a:lnTo>
                  <a:lnTo>
                    <a:pt x="244" y="51"/>
                  </a:lnTo>
                  <a:lnTo>
                    <a:pt x="217" y="62"/>
                  </a:lnTo>
                  <a:lnTo>
                    <a:pt x="191" y="74"/>
                  </a:lnTo>
                  <a:lnTo>
                    <a:pt x="167" y="89"/>
                  </a:lnTo>
                  <a:lnTo>
                    <a:pt x="144" y="105"/>
                  </a:lnTo>
                  <a:lnTo>
                    <a:pt x="124" y="124"/>
                  </a:lnTo>
                  <a:lnTo>
                    <a:pt x="105" y="144"/>
                  </a:lnTo>
                  <a:lnTo>
                    <a:pt x="88" y="167"/>
                  </a:lnTo>
                  <a:lnTo>
                    <a:pt x="73" y="191"/>
                  </a:lnTo>
                  <a:lnTo>
                    <a:pt x="61" y="216"/>
                  </a:lnTo>
                  <a:lnTo>
                    <a:pt x="52" y="243"/>
                  </a:lnTo>
                  <a:lnTo>
                    <a:pt x="45" y="271"/>
                  </a:lnTo>
                  <a:lnTo>
                    <a:pt x="39" y="300"/>
                  </a:lnTo>
                  <a:lnTo>
                    <a:pt x="38" y="329"/>
                  </a:lnTo>
                  <a:lnTo>
                    <a:pt x="38" y="329"/>
                  </a:lnTo>
                  <a:lnTo>
                    <a:pt x="39" y="359"/>
                  </a:lnTo>
                  <a:lnTo>
                    <a:pt x="45" y="388"/>
                  </a:lnTo>
                  <a:lnTo>
                    <a:pt x="52" y="416"/>
                  </a:lnTo>
                  <a:lnTo>
                    <a:pt x="61" y="443"/>
                  </a:lnTo>
                  <a:lnTo>
                    <a:pt x="73" y="468"/>
                  </a:lnTo>
                  <a:lnTo>
                    <a:pt x="88" y="492"/>
                  </a:lnTo>
                  <a:lnTo>
                    <a:pt x="105" y="515"/>
                  </a:lnTo>
                  <a:lnTo>
                    <a:pt x="124" y="535"/>
                  </a:lnTo>
                  <a:lnTo>
                    <a:pt x="144" y="553"/>
                  </a:lnTo>
                  <a:lnTo>
                    <a:pt x="167" y="571"/>
                  </a:lnTo>
                  <a:lnTo>
                    <a:pt x="191" y="586"/>
                  </a:lnTo>
                  <a:lnTo>
                    <a:pt x="217" y="598"/>
                  </a:lnTo>
                  <a:lnTo>
                    <a:pt x="244" y="607"/>
                  </a:lnTo>
                  <a:lnTo>
                    <a:pt x="271" y="615"/>
                  </a:lnTo>
                  <a:lnTo>
                    <a:pt x="300" y="619"/>
                  </a:lnTo>
                  <a:lnTo>
                    <a:pt x="330" y="621"/>
                  </a:lnTo>
                  <a:lnTo>
                    <a:pt x="330" y="621"/>
                  </a:lnTo>
                  <a:lnTo>
                    <a:pt x="359" y="619"/>
                  </a:lnTo>
                  <a:lnTo>
                    <a:pt x="389" y="615"/>
                  </a:lnTo>
                  <a:lnTo>
                    <a:pt x="416" y="607"/>
                  </a:lnTo>
                  <a:lnTo>
                    <a:pt x="442" y="598"/>
                  </a:lnTo>
                  <a:lnTo>
                    <a:pt x="468" y="586"/>
                  </a:lnTo>
                  <a:lnTo>
                    <a:pt x="492" y="571"/>
                  </a:lnTo>
                  <a:lnTo>
                    <a:pt x="515" y="553"/>
                  </a:lnTo>
                  <a:lnTo>
                    <a:pt x="535" y="535"/>
                  </a:lnTo>
                  <a:lnTo>
                    <a:pt x="554" y="515"/>
                  </a:lnTo>
                  <a:lnTo>
                    <a:pt x="571" y="492"/>
                  </a:lnTo>
                  <a:lnTo>
                    <a:pt x="586" y="468"/>
                  </a:lnTo>
                  <a:lnTo>
                    <a:pt x="598" y="443"/>
                  </a:lnTo>
                  <a:lnTo>
                    <a:pt x="608" y="416"/>
                  </a:lnTo>
                  <a:lnTo>
                    <a:pt x="614" y="388"/>
                  </a:lnTo>
                  <a:lnTo>
                    <a:pt x="620" y="359"/>
                  </a:lnTo>
                  <a:lnTo>
                    <a:pt x="621" y="329"/>
                  </a:lnTo>
                  <a:lnTo>
                    <a:pt x="621" y="329"/>
                  </a:lnTo>
                  <a:lnTo>
                    <a:pt x="620" y="300"/>
                  </a:lnTo>
                  <a:lnTo>
                    <a:pt x="614" y="271"/>
                  </a:lnTo>
                  <a:lnTo>
                    <a:pt x="608" y="243"/>
                  </a:lnTo>
                  <a:lnTo>
                    <a:pt x="598" y="216"/>
                  </a:lnTo>
                  <a:lnTo>
                    <a:pt x="586" y="191"/>
                  </a:lnTo>
                  <a:lnTo>
                    <a:pt x="571" y="167"/>
                  </a:lnTo>
                  <a:lnTo>
                    <a:pt x="554" y="144"/>
                  </a:lnTo>
                  <a:lnTo>
                    <a:pt x="535" y="124"/>
                  </a:lnTo>
                  <a:lnTo>
                    <a:pt x="515" y="105"/>
                  </a:lnTo>
                  <a:lnTo>
                    <a:pt x="492" y="89"/>
                  </a:lnTo>
                  <a:lnTo>
                    <a:pt x="468" y="74"/>
                  </a:lnTo>
                  <a:lnTo>
                    <a:pt x="442" y="62"/>
                  </a:lnTo>
                  <a:lnTo>
                    <a:pt x="416" y="51"/>
                  </a:lnTo>
                  <a:lnTo>
                    <a:pt x="389" y="44"/>
                  </a:lnTo>
                  <a:lnTo>
                    <a:pt x="359" y="40"/>
                  </a:lnTo>
                  <a:lnTo>
                    <a:pt x="330" y="38"/>
                  </a:lnTo>
                  <a:lnTo>
                    <a:pt x="330" y="38"/>
                  </a:lnTo>
                  <a:close/>
                </a:path>
              </a:pathLst>
            </a:custGeom>
            <a:solidFill>
              <a:srgbClr val="8D8D8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3" name="Freeform 174">
              <a:extLst>
                <a:ext uri="{FF2B5EF4-FFF2-40B4-BE49-F238E27FC236}">
                  <a16:creationId xmlns:a16="http://schemas.microsoft.com/office/drawing/2014/main" id="{46B62C9E-275F-4677-AE71-A639B5A52CF7}"/>
                </a:ext>
              </a:extLst>
            </p:cNvPr>
            <p:cNvSpPr>
              <a:spLocks noEditPoints="1"/>
            </p:cNvSpPr>
            <p:nvPr/>
          </p:nvSpPr>
          <p:spPr bwMode="auto">
            <a:xfrm>
              <a:off x="6451628" y="2932035"/>
              <a:ext cx="101168" cy="148833"/>
            </a:xfrm>
            <a:custGeom>
              <a:avLst/>
              <a:gdLst>
                <a:gd name="T0" fmla="*/ 182 w 207"/>
                <a:gd name="T1" fmla="*/ 305 h 305"/>
                <a:gd name="T2" fmla="*/ 187 w 207"/>
                <a:gd name="T3" fmla="*/ 303 h 305"/>
                <a:gd name="T4" fmla="*/ 196 w 207"/>
                <a:gd name="T5" fmla="*/ 301 h 305"/>
                <a:gd name="T6" fmla="*/ 203 w 207"/>
                <a:gd name="T7" fmla="*/ 294 h 305"/>
                <a:gd name="T8" fmla="*/ 206 w 207"/>
                <a:gd name="T9" fmla="*/ 284 h 305"/>
                <a:gd name="T10" fmla="*/ 207 w 207"/>
                <a:gd name="T11" fmla="*/ 24 h 305"/>
                <a:gd name="T12" fmla="*/ 206 w 207"/>
                <a:gd name="T13" fmla="*/ 20 h 305"/>
                <a:gd name="T14" fmla="*/ 203 w 207"/>
                <a:gd name="T15" fmla="*/ 10 h 305"/>
                <a:gd name="T16" fmla="*/ 196 w 207"/>
                <a:gd name="T17" fmla="*/ 4 h 305"/>
                <a:gd name="T18" fmla="*/ 187 w 207"/>
                <a:gd name="T19" fmla="*/ 1 h 305"/>
                <a:gd name="T20" fmla="*/ 26 w 207"/>
                <a:gd name="T21" fmla="*/ 0 h 305"/>
                <a:gd name="T22" fmla="*/ 20 w 207"/>
                <a:gd name="T23" fmla="*/ 1 h 305"/>
                <a:gd name="T24" fmla="*/ 11 w 207"/>
                <a:gd name="T25" fmla="*/ 4 h 305"/>
                <a:gd name="T26" fmla="*/ 4 w 207"/>
                <a:gd name="T27" fmla="*/ 10 h 305"/>
                <a:gd name="T28" fmla="*/ 2 w 207"/>
                <a:gd name="T29" fmla="*/ 20 h 305"/>
                <a:gd name="T30" fmla="*/ 0 w 207"/>
                <a:gd name="T31" fmla="*/ 279 h 305"/>
                <a:gd name="T32" fmla="*/ 2 w 207"/>
                <a:gd name="T33" fmla="*/ 284 h 305"/>
                <a:gd name="T34" fmla="*/ 4 w 207"/>
                <a:gd name="T35" fmla="*/ 294 h 305"/>
                <a:gd name="T36" fmla="*/ 11 w 207"/>
                <a:gd name="T37" fmla="*/ 301 h 305"/>
                <a:gd name="T38" fmla="*/ 20 w 207"/>
                <a:gd name="T39" fmla="*/ 303 h 305"/>
                <a:gd name="T40" fmla="*/ 26 w 207"/>
                <a:gd name="T41" fmla="*/ 305 h 305"/>
                <a:gd name="T42" fmla="*/ 104 w 207"/>
                <a:gd name="T43" fmla="*/ 294 h 305"/>
                <a:gd name="T44" fmla="*/ 93 w 207"/>
                <a:gd name="T45" fmla="*/ 290 h 305"/>
                <a:gd name="T46" fmla="*/ 89 w 207"/>
                <a:gd name="T47" fmla="*/ 279 h 305"/>
                <a:gd name="T48" fmla="*/ 90 w 207"/>
                <a:gd name="T49" fmla="*/ 274 h 305"/>
                <a:gd name="T50" fmla="*/ 98 w 207"/>
                <a:gd name="T51" fmla="*/ 266 h 305"/>
                <a:gd name="T52" fmla="*/ 104 w 207"/>
                <a:gd name="T53" fmla="*/ 266 h 305"/>
                <a:gd name="T54" fmla="*/ 114 w 207"/>
                <a:gd name="T55" fmla="*/ 270 h 305"/>
                <a:gd name="T56" fmla="*/ 118 w 207"/>
                <a:gd name="T57" fmla="*/ 279 h 305"/>
                <a:gd name="T58" fmla="*/ 117 w 207"/>
                <a:gd name="T59" fmla="*/ 286 h 305"/>
                <a:gd name="T60" fmla="*/ 109 w 207"/>
                <a:gd name="T61" fmla="*/ 294 h 305"/>
                <a:gd name="T62" fmla="*/ 104 w 207"/>
                <a:gd name="T63" fmla="*/ 294 h 305"/>
                <a:gd name="T64" fmla="*/ 19 w 207"/>
                <a:gd name="T65" fmla="*/ 22 h 305"/>
                <a:gd name="T66" fmla="*/ 23 w 207"/>
                <a:gd name="T67" fmla="*/ 18 h 305"/>
                <a:gd name="T68" fmla="*/ 184 w 207"/>
                <a:gd name="T69" fmla="*/ 18 h 305"/>
                <a:gd name="T70" fmla="*/ 188 w 207"/>
                <a:gd name="T71" fmla="*/ 22 h 305"/>
                <a:gd name="T72" fmla="*/ 188 w 207"/>
                <a:gd name="T73" fmla="*/ 241 h 305"/>
                <a:gd name="T74" fmla="*/ 184 w 207"/>
                <a:gd name="T75" fmla="*/ 245 h 305"/>
                <a:gd name="T76" fmla="*/ 23 w 207"/>
                <a:gd name="T77" fmla="*/ 245 h 305"/>
                <a:gd name="T78" fmla="*/ 19 w 207"/>
                <a:gd name="T79" fmla="*/ 241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7" h="305">
                  <a:moveTo>
                    <a:pt x="26" y="305"/>
                  </a:moveTo>
                  <a:lnTo>
                    <a:pt x="182" y="305"/>
                  </a:lnTo>
                  <a:lnTo>
                    <a:pt x="182" y="305"/>
                  </a:lnTo>
                  <a:lnTo>
                    <a:pt x="187" y="303"/>
                  </a:lnTo>
                  <a:lnTo>
                    <a:pt x="192" y="302"/>
                  </a:lnTo>
                  <a:lnTo>
                    <a:pt x="196" y="301"/>
                  </a:lnTo>
                  <a:lnTo>
                    <a:pt x="199" y="297"/>
                  </a:lnTo>
                  <a:lnTo>
                    <a:pt x="203" y="294"/>
                  </a:lnTo>
                  <a:lnTo>
                    <a:pt x="204" y="290"/>
                  </a:lnTo>
                  <a:lnTo>
                    <a:pt x="206" y="284"/>
                  </a:lnTo>
                  <a:lnTo>
                    <a:pt x="207" y="279"/>
                  </a:lnTo>
                  <a:lnTo>
                    <a:pt x="207" y="24"/>
                  </a:lnTo>
                  <a:lnTo>
                    <a:pt x="207" y="24"/>
                  </a:lnTo>
                  <a:lnTo>
                    <a:pt x="206" y="20"/>
                  </a:lnTo>
                  <a:lnTo>
                    <a:pt x="204" y="14"/>
                  </a:lnTo>
                  <a:lnTo>
                    <a:pt x="203" y="10"/>
                  </a:lnTo>
                  <a:lnTo>
                    <a:pt x="199" y="8"/>
                  </a:lnTo>
                  <a:lnTo>
                    <a:pt x="196" y="4"/>
                  </a:lnTo>
                  <a:lnTo>
                    <a:pt x="192" y="2"/>
                  </a:lnTo>
                  <a:lnTo>
                    <a:pt x="187" y="1"/>
                  </a:lnTo>
                  <a:lnTo>
                    <a:pt x="182" y="0"/>
                  </a:lnTo>
                  <a:lnTo>
                    <a:pt x="26" y="0"/>
                  </a:lnTo>
                  <a:lnTo>
                    <a:pt x="26" y="0"/>
                  </a:lnTo>
                  <a:lnTo>
                    <a:pt x="20" y="1"/>
                  </a:lnTo>
                  <a:lnTo>
                    <a:pt x="15" y="2"/>
                  </a:lnTo>
                  <a:lnTo>
                    <a:pt x="11" y="4"/>
                  </a:lnTo>
                  <a:lnTo>
                    <a:pt x="8" y="8"/>
                  </a:lnTo>
                  <a:lnTo>
                    <a:pt x="4" y="10"/>
                  </a:lnTo>
                  <a:lnTo>
                    <a:pt x="3" y="14"/>
                  </a:lnTo>
                  <a:lnTo>
                    <a:pt x="2" y="20"/>
                  </a:lnTo>
                  <a:lnTo>
                    <a:pt x="0" y="24"/>
                  </a:lnTo>
                  <a:lnTo>
                    <a:pt x="0" y="279"/>
                  </a:lnTo>
                  <a:lnTo>
                    <a:pt x="0" y="279"/>
                  </a:lnTo>
                  <a:lnTo>
                    <a:pt x="2" y="284"/>
                  </a:lnTo>
                  <a:lnTo>
                    <a:pt x="3" y="290"/>
                  </a:lnTo>
                  <a:lnTo>
                    <a:pt x="4" y="294"/>
                  </a:lnTo>
                  <a:lnTo>
                    <a:pt x="8" y="297"/>
                  </a:lnTo>
                  <a:lnTo>
                    <a:pt x="11" y="301"/>
                  </a:lnTo>
                  <a:lnTo>
                    <a:pt x="15" y="302"/>
                  </a:lnTo>
                  <a:lnTo>
                    <a:pt x="20" y="303"/>
                  </a:lnTo>
                  <a:lnTo>
                    <a:pt x="26" y="305"/>
                  </a:lnTo>
                  <a:lnTo>
                    <a:pt x="26" y="305"/>
                  </a:lnTo>
                  <a:close/>
                  <a:moveTo>
                    <a:pt x="104" y="294"/>
                  </a:moveTo>
                  <a:lnTo>
                    <a:pt x="104" y="294"/>
                  </a:lnTo>
                  <a:lnTo>
                    <a:pt x="98" y="294"/>
                  </a:lnTo>
                  <a:lnTo>
                    <a:pt x="93" y="290"/>
                  </a:lnTo>
                  <a:lnTo>
                    <a:pt x="90" y="286"/>
                  </a:lnTo>
                  <a:lnTo>
                    <a:pt x="89" y="279"/>
                  </a:lnTo>
                  <a:lnTo>
                    <a:pt x="89" y="279"/>
                  </a:lnTo>
                  <a:lnTo>
                    <a:pt x="90" y="274"/>
                  </a:lnTo>
                  <a:lnTo>
                    <a:pt x="93" y="270"/>
                  </a:lnTo>
                  <a:lnTo>
                    <a:pt x="98" y="266"/>
                  </a:lnTo>
                  <a:lnTo>
                    <a:pt x="104" y="266"/>
                  </a:lnTo>
                  <a:lnTo>
                    <a:pt x="104" y="266"/>
                  </a:lnTo>
                  <a:lnTo>
                    <a:pt x="109" y="266"/>
                  </a:lnTo>
                  <a:lnTo>
                    <a:pt x="114" y="270"/>
                  </a:lnTo>
                  <a:lnTo>
                    <a:pt x="117" y="274"/>
                  </a:lnTo>
                  <a:lnTo>
                    <a:pt x="118" y="279"/>
                  </a:lnTo>
                  <a:lnTo>
                    <a:pt x="118" y="279"/>
                  </a:lnTo>
                  <a:lnTo>
                    <a:pt x="117" y="286"/>
                  </a:lnTo>
                  <a:lnTo>
                    <a:pt x="114" y="290"/>
                  </a:lnTo>
                  <a:lnTo>
                    <a:pt x="109" y="294"/>
                  </a:lnTo>
                  <a:lnTo>
                    <a:pt x="104" y="294"/>
                  </a:lnTo>
                  <a:lnTo>
                    <a:pt x="104" y="294"/>
                  </a:lnTo>
                  <a:close/>
                  <a:moveTo>
                    <a:pt x="19" y="22"/>
                  </a:moveTo>
                  <a:lnTo>
                    <a:pt x="19" y="22"/>
                  </a:lnTo>
                  <a:lnTo>
                    <a:pt x="20" y="20"/>
                  </a:lnTo>
                  <a:lnTo>
                    <a:pt x="23" y="18"/>
                  </a:lnTo>
                  <a:lnTo>
                    <a:pt x="184" y="18"/>
                  </a:lnTo>
                  <a:lnTo>
                    <a:pt x="184" y="18"/>
                  </a:lnTo>
                  <a:lnTo>
                    <a:pt x="187" y="20"/>
                  </a:lnTo>
                  <a:lnTo>
                    <a:pt x="188" y="22"/>
                  </a:lnTo>
                  <a:lnTo>
                    <a:pt x="188" y="241"/>
                  </a:lnTo>
                  <a:lnTo>
                    <a:pt x="188" y="241"/>
                  </a:lnTo>
                  <a:lnTo>
                    <a:pt x="187" y="244"/>
                  </a:lnTo>
                  <a:lnTo>
                    <a:pt x="184" y="245"/>
                  </a:lnTo>
                  <a:lnTo>
                    <a:pt x="23" y="245"/>
                  </a:lnTo>
                  <a:lnTo>
                    <a:pt x="23" y="245"/>
                  </a:lnTo>
                  <a:lnTo>
                    <a:pt x="20" y="244"/>
                  </a:lnTo>
                  <a:lnTo>
                    <a:pt x="19" y="241"/>
                  </a:lnTo>
                  <a:lnTo>
                    <a:pt x="19"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14" name="Group 113">
            <a:extLst>
              <a:ext uri="{FF2B5EF4-FFF2-40B4-BE49-F238E27FC236}">
                <a16:creationId xmlns:a16="http://schemas.microsoft.com/office/drawing/2014/main" id="{0426B9E6-10E1-4B29-8C64-0CFD15105843}"/>
              </a:ext>
            </a:extLst>
          </p:cNvPr>
          <p:cNvGrpSpPr/>
          <p:nvPr/>
        </p:nvGrpSpPr>
        <p:grpSpPr>
          <a:xfrm>
            <a:off x="5780696" y="2061982"/>
            <a:ext cx="320040" cy="320040"/>
            <a:chOff x="5597348" y="2042320"/>
            <a:chExt cx="320040" cy="320040"/>
          </a:xfrm>
        </p:grpSpPr>
        <p:sp>
          <p:nvSpPr>
            <p:cNvPr id="115" name="Freeform 74">
              <a:extLst>
                <a:ext uri="{FF2B5EF4-FFF2-40B4-BE49-F238E27FC236}">
                  <a16:creationId xmlns:a16="http://schemas.microsoft.com/office/drawing/2014/main" id="{C90E4985-9BF8-4AEB-A122-02A40714D52F}"/>
                </a:ext>
              </a:extLst>
            </p:cNvPr>
            <p:cNvSpPr>
              <a:spLocks noEditPoints="1"/>
            </p:cNvSpPr>
            <p:nvPr/>
          </p:nvSpPr>
          <p:spPr bwMode="auto">
            <a:xfrm>
              <a:off x="5597348" y="2042320"/>
              <a:ext cx="320040" cy="320040"/>
            </a:xfrm>
            <a:custGeom>
              <a:avLst/>
              <a:gdLst>
                <a:gd name="T0" fmla="*/ 312 w 657"/>
                <a:gd name="T1" fmla="*/ 657 h 657"/>
                <a:gd name="T2" fmla="*/ 262 w 657"/>
                <a:gd name="T3" fmla="*/ 650 h 657"/>
                <a:gd name="T4" fmla="*/ 201 w 657"/>
                <a:gd name="T5" fmla="*/ 631 h 657"/>
                <a:gd name="T6" fmla="*/ 120 w 657"/>
                <a:gd name="T7" fmla="*/ 581 h 657"/>
                <a:gd name="T8" fmla="*/ 55 w 657"/>
                <a:gd name="T9" fmla="*/ 511 h 657"/>
                <a:gd name="T10" fmla="*/ 15 w 657"/>
                <a:gd name="T11" fmla="*/ 425 h 657"/>
                <a:gd name="T12" fmla="*/ 3 w 657"/>
                <a:gd name="T13" fmla="*/ 378 h 657"/>
                <a:gd name="T14" fmla="*/ 0 w 657"/>
                <a:gd name="T15" fmla="*/ 327 h 657"/>
                <a:gd name="T16" fmla="*/ 2 w 657"/>
                <a:gd name="T17" fmla="*/ 294 h 657"/>
                <a:gd name="T18" fmla="*/ 10 w 657"/>
                <a:gd name="T19" fmla="*/ 246 h 657"/>
                <a:gd name="T20" fmla="*/ 39 w 657"/>
                <a:gd name="T21" fmla="*/ 172 h 657"/>
                <a:gd name="T22" fmla="*/ 96 w 657"/>
                <a:gd name="T23" fmla="*/ 95 h 657"/>
                <a:gd name="T24" fmla="*/ 172 w 657"/>
                <a:gd name="T25" fmla="*/ 39 h 657"/>
                <a:gd name="T26" fmla="*/ 246 w 657"/>
                <a:gd name="T27" fmla="*/ 9 h 657"/>
                <a:gd name="T28" fmla="*/ 295 w 657"/>
                <a:gd name="T29" fmla="*/ 1 h 657"/>
                <a:gd name="T30" fmla="*/ 328 w 657"/>
                <a:gd name="T31" fmla="*/ 0 h 657"/>
                <a:gd name="T32" fmla="*/ 379 w 657"/>
                <a:gd name="T33" fmla="*/ 4 h 657"/>
                <a:gd name="T34" fmla="*/ 426 w 657"/>
                <a:gd name="T35" fmla="*/ 14 h 657"/>
                <a:gd name="T36" fmla="*/ 512 w 657"/>
                <a:gd name="T37" fmla="*/ 56 h 657"/>
                <a:gd name="T38" fmla="*/ 582 w 657"/>
                <a:gd name="T39" fmla="*/ 119 h 657"/>
                <a:gd name="T40" fmla="*/ 632 w 657"/>
                <a:gd name="T41" fmla="*/ 200 h 657"/>
                <a:gd name="T42" fmla="*/ 650 w 657"/>
                <a:gd name="T43" fmla="*/ 262 h 657"/>
                <a:gd name="T44" fmla="*/ 657 w 657"/>
                <a:gd name="T45" fmla="*/ 311 h 657"/>
                <a:gd name="T46" fmla="*/ 657 w 657"/>
                <a:gd name="T47" fmla="*/ 345 h 657"/>
                <a:gd name="T48" fmla="*/ 650 w 657"/>
                <a:gd name="T49" fmla="*/ 395 h 657"/>
                <a:gd name="T50" fmla="*/ 632 w 657"/>
                <a:gd name="T51" fmla="*/ 456 h 657"/>
                <a:gd name="T52" fmla="*/ 582 w 657"/>
                <a:gd name="T53" fmla="*/ 537 h 657"/>
                <a:gd name="T54" fmla="*/ 512 w 657"/>
                <a:gd name="T55" fmla="*/ 600 h 657"/>
                <a:gd name="T56" fmla="*/ 426 w 657"/>
                <a:gd name="T57" fmla="*/ 642 h 657"/>
                <a:gd name="T58" fmla="*/ 379 w 657"/>
                <a:gd name="T59" fmla="*/ 652 h 657"/>
                <a:gd name="T60" fmla="*/ 328 w 657"/>
                <a:gd name="T61" fmla="*/ 657 h 657"/>
                <a:gd name="T62" fmla="*/ 328 w 657"/>
                <a:gd name="T63" fmla="*/ 37 h 657"/>
                <a:gd name="T64" fmla="*/ 242 w 657"/>
                <a:gd name="T65" fmla="*/ 49 h 657"/>
                <a:gd name="T66" fmla="*/ 166 w 657"/>
                <a:gd name="T67" fmla="*/ 87 h 657"/>
                <a:gd name="T68" fmla="*/ 104 w 657"/>
                <a:gd name="T69" fmla="*/ 143 h 657"/>
                <a:gd name="T70" fmla="*/ 61 w 657"/>
                <a:gd name="T71" fmla="*/ 215 h 657"/>
                <a:gd name="T72" fmla="*/ 39 w 657"/>
                <a:gd name="T73" fmla="*/ 298 h 657"/>
                <a:gd name="T74" fmla="*/ 39 w 657"/>
                <a:gd name="T75" fmla="*/ 358 h 657"/>
                <a:gd name="T76" fmla="*/ 61 w 657"/>
                <a:gd name="T77" fmla="*/ 442 h 657"/>
                <a:gd name="T78" fmla="*/ 104 w 657"/>
                <a:gd name="T79" fmla="*/ 513 h 657"/>
                <a:gd name="T80" fmla="*/ 166 w 657"/>
                <a:gd name="T81" fmla="*/ 569 h 657"/>
                <a:gd name="T82" fmla="*/ 242 w 657"/>
                <a:gd name="T83" fmla="*/ 605 h 657"/>
                <a:gd name="T84" fmla="*/ 328 w 657"/>
                <a:gd name="T85" fmla="*/ 619 h 657"/>
                <a:gd name="T86" fmla="*/ 387 w 657"/>
                <a:gd name="T87" fmla="*/ 614 h 657"/>
                <a:gd name="T88" fmla="*/ 468 w 657"/>
                <a:gd name="T89" fmla="*/ 584 h 657"/>
                <a:gd name="T90" fmla="*/ 534 w 657"/>
                <a:gd name="T91" fmla="*/ 534 h 657"/>
                <a:gd name="T92" fmla="*/ 585 w 657"/>
                <a:gd name="T93" fmla="*/ 467 h 657"/>
                <a:gd name="T94" fmla="*/ 614 w 657"/>
                <a:gd name="T95" fmla="*/ 387 h 657"/>
                <a:gd name="T96" fmla="*/ 620 w 657"/>
                <a:gd name="T97" fmla="*/ 327 h 657"/>
                <a:gd name="T98" fmla="*/ 606 w 657"/>
                <a:gd name="T99" fmla="*/ 241 h 657"/>
                <a:gd name="T100" fmla="*/ 570 w 657"/>
                <a:gd name="T101" fmla="*/ 165 h 657"/>
                <a:gd name="T102" fmla="*/ 513 w 657"/>
                <a:gd name="T103" fmla="*/ 103 h 657"/>
                <a:gd name="T104" fmla="*/ 442 w 657"/>
                <a:gd name="T105" fmla="*/ 60 h 657"/>
                <a:gd name="T106" fmla="*/ 358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5" y="655"/>
                  </a:lnTo>
                  <a:lnTo>
                    <a:pt x="278" y="652"/>
                  </a:lnTo>
                  <a:lnTo>
                    <a:pt x="262" y="650"/>
                  </a:lnTo>
                  <a:lnTo>
                    <a:pt x="246" y="647"/>
                  </a:lnTo>
                  <a:lnTo>
                    <a:pt x="231" y="642"/>
                  </a:lnTo>
                  <a:lnTo>
                    <a:pt x="201" y="631"/>
                  </a:lnTo>
                  <a:lnTo>
                    <a:pt x="172" y="618"/>
                  </a:lnTo>
                  <a:lnTo>
                    <a:pt x="145" y="600"/>
                  </a:lnTo>
                  <a:lnTo>
                    <a:pt x="120" y="581"/>
                  </a:lnTo>
                  <a:lnTo>
                    <a:pt x="96" y="560"/>
                  </a:lnTo>
                  <a:lnTo>
                    <a:pt x="74" y="537"/>
                  </a:lnTo>
                  <a:lnTo>
                    <a:pt x="55" y="511"/>
                  </a:lnTo>
                  <a:lnTo>
                    <a:pt x="39" y="485"/>
                  </a:lnTo>
                  <a:lnTo>
                    <a:pt x="26" y="456"/>
                  </a:lnTo>
                  <a:lnTo>
                    <a:pt x="15" y="425"/>
                  </a:lnTo>
                  <a:lnTo>
                    <a:pt x="10" y="411"/>
                  </a:lnTo>
                  <a:lnTo>
                    <a:pt x="6" y="395"/>
                  </a:lnTo>
                  <a:lnTo>
                    <a:pt x="3" y="378"/>
                  </a:lnTo>
                  <a:lnTo>
                    <a:pt x="2" y="361"/>
                  </a:lnTo>
                  <a:lnTo>
                    <a:pt x="0" y="345"/>
                  </a:lnTo>
                  <a:lnTo>
                    <a:pt x="0" y="327"/>
                  </a:lnTo>
                  <a:lnTo>
                    <a:pt x="0" y="327"/>
                  </a:lnTo>
                  <a:lnTo>
                    <a:pt x="0" y="311"/>
                  </a:lnTo>
                  <a:lnTo>
                    <a:pt x="2" y="294"/>
                  </a:lnTo>
                  <a:lnTo>
                    <a:pt x="3" y="278"/>
                  </a:lnTo>
                  <a:lnTo>
                    <a:pt x="6" y="262"/>
                  </a:lnTo>
                  <a:lnTo>
                    <a:pt x="10" y="246"/>
                  </a:lnTo>
                  <a:lnTo>
                    <a:pt x="15" y="231"/>
                  </a:lnTo>
                  <a:lnTo>
                    <a:pt x="26" y="200"/>
                  </a:lnTo>
                  <a:lnTo>
                    <a:pt x="39" y="172"/>
                  </a:lnTo>
                  <a:lnTo>
                    <a:pt x="55" y="145"/>
                  </a:lnTo>
                  <a:lnTo>
                    <a:pt x="74" y="119"/>
                  </a:lnTo>
                  <a:lnTo>
                    <a:pt x="96" y="95"/>
                  </a:lnTo>
                  <a:lnTo>
                    <a:pt x="120" y="75"/>
                  </a:lnTo>
                  <a:lnTo>
                    <a:pt x="145" y="56"/>
                  </a:lnTo>
                  <a:lnTo>
                    <a:pt x="172" y="39"/>
                  </a:lnTo>
                  <a:lnTo>
                    <a:pt x="201" y="25"/>
                  </a:lnTo>
                  <a:lnTo>
                    <a:pt x="231" y="14"/>
                  </a:lnTo>
                  <a:lnTo>
                    <a:pt x="246" y="9"/>
                  </a:lnTo>
                  <a:lnTo>
                    <a:pt x="262" y="6"/>
                  </a:lnTo>
                  <a:lnTo>
                    <a:pt x="278" y="4"/>
                  </a:lnTo>
                  <a:lnTo>
                    <a:pt x="295" y="1"/>
                  </a:lnTo>
                  <a:lnTo>
                    <a:pt x="312" y="0"/>
                  </a:lnTo>
                  <a:lnTo>
                    <a:pt x="328" y="0"/>
                  </a:lnTo>
                  <a:lnTo>
                    <a:pt x="328" y="0"/>
                  </a:lnTo>
                  <a:lnTo>
                    <a:pt x="346" y="0"/>
                  </a:lnTo>
                  <a:lnTo>
                    <a:pt x="362" y="1"/>
                  </a:lnTo>
                  <a:lnTo>
                    <a:pt x="379" y="4"/>
                  </a:lnTo>
                  <a:lnTo>
                    <a:pt x="395" y="6"/>
                  </a:lnTo>
                  <a:lnTo>
                    <a:pt x="410" y="9"/>
                  </a:lnTo>
                  <a:lnTo>
                    <a:pt x="426" y="14"/>
                  </a:lnTo>
                  <a:lnTo>
                    <a:pt x="456" y="25"/>
                  </a:lnTo>
                  <a:lnTo>
                    <a:pt x="485" y="39"/>
                  </a:lnTo>
                  <a:lnTo>
                    <a:pt x="512" y="56"/>
                  </a:lnTo>
                  <a:lnTo>
                    <a:pt x="538" y="75"/>
                  </a:lnTo>
                  <a:lnTo>
                    <a:pt x="560" y="95"/>
                  </a:lnTo>
                  <a:lnTo>
                    <a:pt x="582" y="119"/>
                  </a:lnTo>
                  <a:lnTo>
                    <a:pt x="601" y="145"/>
                  </a:lnTo>
                  <a:lnTo>
                    <a:pt x="617" y="172"/>
                  </a:lnTo>
                  <a:lnTo>
                    <a:pt x="632" y="200"/>
                  </a:lnTo>
                  <a:lnTo>
                    <a:pt x="642" y="231"/>
                  </a:lnTo>
                  <a:lnTo>
                    <a:pt x="646" y="246"/>
                  </a:lnTo>
                  <a:lnTo>
                    <a:pt x="650" y="262"/>
                  </a:lnTo>
                  <a:lnTo>
                    <a:pt x="653" y="278"/>
                  </a:lnTo>
                  <a:lnTo>
                    <a:pt x="656" y="294"/>
                  </a:lnTo>
                  <a:lnTo>
                    <a:pt x="657" y="311"/>
                  </a:lnTo>
                  <a:lnTo>
                    <a:pt x="657" y="327"/>
                  </a:lnTo>
                  <a:lnTo>
                    <a:pt x="657" y="327"/>
                  </a:lnTo>
                  <a:lnTo>
                    <a:pt x="657" y="345"/>
                  </a:lnTo>
                  <a:lnTo>
                    <a:pt x="656" y="361"/>
                  </a:lnTo>
                  <a:lnTo>
                    <a:pt x="653" y="378"/>
                  </a:lnTo>
                  <a:lnTo>
                    <a:pt x="650" y="395"/>
                  </a:lnTo>
                  <a:lnTo>
                    <a:pt x="646" y="411"/>
                  </a:lnTo>
                  <a:lnTo>
                    <a:pt x="642" y="425"/>
                  </a:lnTo>
                  <a:lnTo>
                    <a:pt x="632" y="456"/>
                  </a:lnTo>
                  <a:lnTo>
                    <a:pt x="617" y="485"/>
                  </a:lnTo>
                  <a:lnTo>
                    <a:pt x="601" y="511"/>
                  </a:lnTo>
                  <a:lnTo>
                    <a:pt x="582" y="537"/>
                  </a:lnTo>
                  <a:lnTo>
                    <a:pt x="560" y="560"/>
                  </a:lnTo>
                  <a:lnTo>
                    <a:pt x="538" y="581"/>
                  </a:lnTo>
                  <a:lnTo>
                    <a:pt x="512" y="600"/>
                  </a:lnTo>
                  <a:lnTo>
                    <a:pt x="485" y="618"/>
                  </a:lnTo>
                  <a:lnTo>
                    <a:pt x="456" y="631"/>
                  </a:lnTo>
                  <a:lnTo>
                    <a:pt x="426" y="642"/>
                  </a:lnTo>
                  <a:lnTo>
                    <a:pt x="410" y="647"/>
                  </a:lnTo>
                  <a:lnTo>
                    <a:pt x="395" y="650"/>
                  </a:lnTo>
                  <a:lnTo>
                    <a:pt x="379" y="652"/>
                  </a:lnTo>
                  <a:lnTo>
                    <a:pt x="362" y="655"/>
                  </a:lnTo>
                  <a:lnTo>
                    <a:pt x="346" y="657"/>
                  </a:lnTo>
                  <a:lnTo>
                    <a:pt x="328" y="657"/>
                  </a:lnTo>
                  <a:lnTo>
                    <a:pt x="328" y="657"/>
                  </a:lnTo>
                  <a:close/>
                  <a:moveTo>
                    <a:pt x="328" y="37"/>
                  </a:moveTo>
                  <a:lnTo>
                    <a:pt x="328" y="37"/>
                  </a:lnTo>
                  <a:lnTo>
                    <a:pt x="299" y="39"/>
                  </a:lnTo>
                  <a:lnTo>
                    <a:pt x="270" y="43"/>
                  </a:lnTo>
                  <a:lnTo>
                    <a:pt x="242" y="49"/>
                  </a:lnTo>
                  <a:lnTo>
                    <a:pt x="215" y="60"/>
                  </a:lnTo>
                  <a:lnTo>
                    <a:pt x="190" y="72"/>
                  </a:lnTo>
                  <a:lnTo>
                    <a:pt x="166" y="87"/>
                  </a:lnTo>
                  <a:lnTo>
                    <a:pt x="143" y="103"/>
                  </a:lnTo>
                  <a:lnTo>
                    <a:pt x="123" y="122"/>
                  </a:lnTo>
                  <a:lnTo>
                    <a:pt x="104" y="143"/>
                  </a:lnTo>
                  <a:lnTo>
                    <a:pt x="88" y="165"/>
                  </a:lnTo>
                  <a:lnTo>
                    <a:pt x="73" y="189"/>
                  </a:lnTo>
                  <a:lnTo>
                    <a:pt x="61" y="215"/>
                  </a:lnTo>
                  <a:lnTo>
                    <a:pt x="50" y="241"/>
                  </a:lnTo>
                  <a:lnTo>
                    <a:pt x="43" y="270"/>
                  </a:lnTo>
                  <a:lnTo>
                    <a:pt x="39" y="298"/>
                  </a:lnTo>
                  <a:lnTo>
                    <a:pt x="38" y="327"/>
                  </a:lnTo>
                  <a:lnTo>
                    <a:pt x="38" y="327"/>
                  </a:lnTo>
                  <a:lnTo>
                    <a:pt x="39" y="358"/>
                  </a:lnTo>
                  <a:lnTo>
                    <a:pt x="43" y="387"/>
                  </a:lnTo>
                  <a:lnTo>
                    <a:pt x="50" y="415"/>
                  </a:lnTo>
                  <a:lnTo>
                    <a:pt x="61" y="442"/>
                  </a:lnTo>
                  <a:lnTo>
                    <a:pt x="73" y="467"/>
                  </a:lnTo>
                  <a:lnTo>
                    <a:pt x="88" y="491"/>
                  </a:lnTo>
                  <a:lnTo>
                    <a:pt x="104" y="513"/>
                  </a:lnTo>
                  <a:lnTo>
                    <a:pt x="123" y="534"/>
                  </a:lnTo>
                  <a:lnTo>
                    <a:pt x="143" y="553"/>
                  </a:lnTo>
                  <a:lnTo>
                    <a:pt x="166" y="569"/>
                  </a:lnTo>
                  <a:lnTo>
                    <a:pt x="190" y="584"/>
                  </a:lnTo>
                  <a:lnTo>
                    <a:pt x="215" y="596"/>
                  </a:lnTo>
                  <a:lnTo>
                    <a:pt x="242" y="605"/>
                  </a:lnTo>
                  <a:lnTo>
                    <a:pt x="270" y="614"/>
                  </a:lnTo>
                  <a:lnTo>
                    <a:pt x="299" y="618"/>
                  </a:lnTo>
                  <a:lnTo>
                    <a:pt x="328" y="619"/>
                  </a:lnTo>
                  <a:lnTo>
                    <a:pt x="328" y="619"/>
                  </a:lnTo>
                  <a:lnTo>
                    <a:pt x="358" y="618"/>
                  </a:lnTo>
                  <a:lnTo>
                    <a:pt x="387" y="614"/>
                  </a:lnTo>
                  <a:lnTo>
                    <a:pt x="415" y="605"/>
                  </a:lnTo>
                  <a:lnTo>
                    <a:pt x="442" y="596"/>
                  </a:lnTo>
                  <a:lnTo>
                    <a:pt x="468" y="584"/>
                  </a:lnTo>
                  <a:lnTo>
                    <a:pt x="491" y="569"/>
                  </a:lnTo>
                  <a:lnTo>
                    <a:pt x="513" y="553"/>
                  </a:lnTo>
                  <a:lnTo>
                    <a:pt x="534" y="534"/>
                  </a:lnTo>
                  <a:lnTo>
                    <a:pt x="552" y="513"/>
                  </a:lnTo>
                  <a:lnTo>
                    <a:pt x="570" y="491"/>
                  </a:lnTo>
                  <a:lnTo>
                    <a:pt x="585" y="467"/>
                  </a:lnTo>
                  <a:lnTo>
                    <a:pt x="597" y="442"/>
                  </a:lnTo>
                  <a:lnTo>
                    <a:pt x="606" y="415"/>
                  </a:lnTo>
                  <a:lnTo>
                    <a:pt x="614" y="387"/>
                  </a:lnTo>
                  <a:lnTo>
                    <a:pt x="618" y="358"/>
                  </a:lnTo>
                  <a:lnTo>
                    <a:pt x="620" y="327"/>
                  </a:lnTo>
                  <a:lnTo>
                    <a:pt x="620" y="327"/>
                  </a:lnTo>
                  <a:lnTo>
                    <a:pt x="618" y="298"/>
                  </a:lnTo>
                  <a:lnTo>
                    <a:pt x="614" y="270"/>
                  </a:lnTo>
                  <a:lnTo>
                    <a:pt x="606" y="241"/>
                  </a:lnTo>
                  <a:lnTo>
                    <a:pt x="597" y="215"/>
                  </a:lnTo>
                  <a:lnTo>
                    <a:pt x="585" y="189"/>
                  </a:lnTo>
                  <a:lnTo>
                    <a:pt x="570" y="165"/>
                  </a:lnTo>
                  <a:lnTo>
                    <a:pt x="552" y="143"/>
                  </a:lnTo>
                  <a:lnTo>
                    <a:pt x="534" y="122"/>
                  </a:lnTo>
                  <a:lnTo>
                    <a:pt x="513" y="103"/>
                  </a:lnTo>
                  <a:lnTo>
                    <a:pt x="491" y="87"/>
                  </a:lnTo>
                  <a:lnTo>
                    <a:pt x="468" y="72"/>
                  </a:lnTo>
                  <a:lnTo>
                    <a:pt x="442" y="60"/>
                  </a:lnTo>
                  <a:lnTo>
                    <a:pt x="415" y="49"/>
                  </a:lnTo>
                  <a:lnTo>
                    <a:pt x="387" y="43"/>
                  </a:lnTo>
                  <a:lnTo>
                    <a:pt x="358" y="39"/>
                  </a:lnTo>
                  <a:lnTo>
                    <a:pt x="328" y="37"/>
                  </a:lnTo>
                  <a:lnTo>
                    <a:pt x="328" y="37"/>
                  </a:lnTo>
                  <a:close/>
                </a:path>
              </a:pathLst>
            </a:custGeom>
            <a:solidFill>
              <a:srgbClr val="8D8D8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6" name="Freeform 292">
              <a:extLst>
                <a:ext uri="{FF2B5EF4-FFF2-40B4-BE49-F238E27FC236}">
                  <a16:creationId xmlns:a16="http://schemas.microsoft.com/office/drawing/2014/main" id="{67DE1743-5674-4CD4-A05C-14C025793CB7}"/>
                </a:ext>
              </a:extLst>
            </p:cNvPr>
            <p:cNvSpPr>
              <a:spLocks/>
            </p:cNvSpPr>
            <p:nvPr/>
          </p:nvSpPr>
          <p:spPr bwMode="auto">
            <a:xfrm>
              <a:off x="5771473" y="2211581"/>
              <a:ext cx="18483" cy="19455"/>
            </a:xfrm>
            <a:custGeom>
              <a:avLst/>
              <a:gdLst>
                <a:gd name="T0" fmla="*/ 20 w 39"/>
                <a:gd name="T1" fmla="*/ 0 h 39"/>
                <a:gd name="T2" fmla="*/ 20 w 39"/>
                <a:gd name="T3" fmla="*/ 0 h 39"/>
                <a:gd name="T4" fmla="*/ 27 w 39"/>
                <a:gd name="T5" fmla="*/ 1 h 39"/>
                <a:gd name="T6" fmla="*/ 33 w 39"/>
                <a:gd name="T7" fmla="*/ 5 h 39"/>
                <a:gd name="T8" fmla="*/ 37 w 39"/>
                <a:gd name="T9" fmla="*/ 12 h 39"/>
                <a:gd name="T10" fmla="*/ 39 w 39"/>
                <a:gd name="T11" fmla="*/ 18 h 39"/>
                <a:gd name="T12" fmla="*/ 39 w 39"/>
                <a:gd name="T13" fmla="*/ 18 h 39"/>
                <a:gd name="T14" fmla="*/ 37 w 39"/>
                <a:gd name="T15" fmla="*/ 26 h 39"/>
                <a:gd name="T16" fmla="*/ 33 w 39"/>
                <a:gd name="T17" fmla="*/ 32 h 39"/>
                <a:gd name="T18" fmla="*/ 27 w 39"/>
                <a:gd name="T19" fmla="*/ 36 h 39"/>
                <a:gd name="T20" fmla="*/ 20 w 39"/>
                <a:gd name="T21" fmla="*/ 39 h 39"/>
                <a:gd name="T22" fmla="*/ 20 w 39"/>
                <a:gd name="T23" fmla="*/ 39 h 39"/>
                <a:gd name="T24" fmla="*/ 12 w 39"/>
                <a:gd name="T25" fmla="*/ 36 h 39"/>
                <a:gd name="T26" fmla="*/ 6 w 39"/>
                <a:gd name="T27" fmla="*/ 32 h 39"/>
                <a:gd name="T28" fmla="*/ 2 w 39"/>
                <a:gd name="T29" fmla="*/ 26 h 39"/>
                <a:gd name="T30" fmla="*/ 0 w 39"/>
                <a:gd name="T31" fmla="*/ 18 h 39"/>
                <a:gd name="T32" fmla="*/ 0 w 39"/>
                <a:gd name="T33" fmla="*/ 18 h 39"/>
                <a:gd name="T34" fmla="*/ 2 w 39"/>
                <a:gd name="T35" fmla="*/ 12 h 39"/>
                <a:gd name="T36" fmla="*/ 6 w 39"/>
                <a:gd name="T37" fmla="*/ 5 h 39"/>
                <a:gd name="T38" fmla="*/ 12 w 39"/>
                <a:gd name="T39" fmla="*/ 1 h 39"/>
                <a:gd name="T40" fmla="*/ 20 w 39"/>
                <a:gd name="T41" fmla="*/ 0 h 39"/>
                <a:gd name="T42" fmla="*/ 20 w 39"/>
                <a:gd name="T4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39">
                  <a:moveTo>
                    <a:pt x="20" y="0"/>
                  </a:moveTo>
                  <a:lnTo>
                    <a:pt x="20" y="0"/>
                  </a:lnTo>
                  <a:lnTo>
                    <a:pt x="27" y="1"/>
                  </a:lnTo>
                  <a:lnTo>
                    <a:pt x="33" y="5"/>
                  </a:lnTo>
                  <a:lnTo>
                    <a:pt x="37" y="12"/>
                  </a:lnTo>
                  <a:lnTo>
                    <a:pt x="39" y="18"/>
                  </a:lnTo>
                  <a:lnTo>
                    <a:pt x="39" y="18"/>
                  </a:lnTo>
                  <a:lnTo>
                    <a:pt x="37" y="26"/>
                  </a:lnTo>
                  <a:lnTo>
                    <a:pt x="33" y="32"/>
                  </a:lnTo>
                  <a:lnTo>
                    <a:pt x="27" y="36"/>
                  </a:lnTo>
                  <a:lnTo>
                    <a:pt x="20" y="39"/>
                  </a:lnTo>
                  <a:lnTo>
                    <a:pt x="20" y="39"/>
                  </a:lnTo>
                  <a:lnTo>
                    <a:pt x="12" y="36"/>
                  </a:lnTo>
                  <a:lnTo>
                    <a:pt x="6" y="32"/>
                  </a:lnTo>
                  <a:lnTo>
                    <a:pt x="2" y="26"/>
                  </a:lnTo>
                  <a:lnTo>
                    <a:pt x="0" y="18"/>
                  </a:lnTo>
                  <a:lnTo>
                    <a:pt x="0" y="18"/>
                  </a:lnTo>
                  <a:lnTo>
                    <a:pt x="2" y="12"/>
                  </a:lnTo>
                  <a:lnTo>
                    <a:pt x="6" y="5"/>
                  </a:lnTo>
                  <a:lnTo>
                    <a:pt x="12" y="1"/>
                  </a:lnTo>
                  <a:lnTo>
                    <a:pt x="20"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7" name="Freeform 293">
              <a:extLst>
                <a:ext uri="{FF2B5EF4-FFF2-40B4-BE49-F238E27FC236}">
                  <a16:creationId xmlns:a16="http://schemas.microsoft.com/office/drawing/2014/main" id="{654C8CB8-5C1C-4509-BFB8-01A1382D6E7B}"/>
                </a:ext>
              </a:extLst>
            </p:cNvPr>
            <p:cNvSpPr>
              <a:spLocks/>
            </p:cNvSpPr>
            <p:nvPr/>
          </p:nvSpPr>
          <p:spPr bwMode="auto">
            <a:xfrm>
              <a:off x="5815247" y="2211581"/>
              <a:ext cx="18483" cy="19455"/>
            </a:xfrm>
            <a:custGeom>
              <a:avLst/>
              <a:gdLst>
                <a:gd name="T0" fmla="*/ 19 w 38"/>
                <a:gd name="T1" fmla="*/ 0 h 39"/>
                <a:gd name="T2" fmla="*/ 19 w 38"/>
                <a:gd name="T3" fmla="*/ 0 h 39"/>
                <a:gd name="T4" fmla="*/ 26 w 38"/>
                <a:gd name="T5" fmla="*/ 1 h 39"/>
                <a:gd name="T6" fmla="*/ 32 w 38"/>
                <a:gd name="T7" fmla="*/ 5 h 39"/>
                <a:gd name="T8" fmla="*/ 36 w 38"/>
                <a:gd name="T9" fmla="*/ 12 h 39"/>
                <a:gd name="T10" fmla="*/ 38 w 38"/>
                <a:gd name="T11" fmla="*/ 18 h 39"/>
                <a:gd name="T12" fmla="*/ 38 w 38"/>
                <a:gd name="T13" fmla="*/ 18 h 39"/>
                <a:gd name="T14" fmla="*/ 36 w 38"/>
                <a:gd name="T15" fmla="*/ 26 h 39"/>
                <a:gd name="T16" fmla="*/ 32 w 38"/>
                <a:gd name="T17" fmla="*/ 32 h 39"/>
                <a:gd name="T18" fmla="*/ 26 w 38"/>
                <a:gd name="T19" fmla="*/ 36 h 39"/>
                <a:gd name="T20" fmla="*/ 19 w 38"/>
                <a:gd name="T21" fmla="*/ 39 h 39"/>
                <a:gd name="T22" fmla="*/ 19 w 38"/>
                <a:gd name="T23" fmla="*/ 39 h 39"/>
                <a:gd name="T24" fmla="*/ 11 w 38"/>
                <a:gd name="T25" fmla="*/ 36 h 39"/>
                <a:gd name="T26" fmla="*/ 5 w 38"/>
                <a:gd name="T27" fmla="*/ 32 h 39"/>
                <a:gd name="T28" fmla="*/ 1 w 38"/>
                <a:gd name="T29" fmla="*/ 26 h 39"/>
                <a:gd name="T30" fmla="*/ 0 w 38"/>
                <a:gd name="T31" fmla="*/ 18 h 39"/>
                <a:gd name="T32" fmla="*/ 0 w 38"/>
                <a:gd name="T33" fmla="*/ 18 h 39"/>
                <a:gd name="T34" fmla="*/ 1 w 38"/>
                <a:gd name="T35" fmla="*/ 12 h 39"/>
                <a:gd name="T36" fmla="*/ 5 w 38"/>
                <a:gd name="T37" fmla="*/ 5 h 39"/>
                <a:gd name="T38" fmla="*/ 11 w 38"/>
                <a:gd name="T39" fmla="*/ 1 h 39"/>
                <a:gd name="T40" fmla="*/ 19 w 38"/>
                <a:gd name="T41" fmla="*/ 0 h 39"/>
                <a:gd name="T42" fmla="*/ 19 w 38"/>
                <a:gd name="T4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 h="39">
                  <a:moveTo>
                    <a:pt x="19" y="0"/>
                  </a:moveTo>
                  <a:lnTo>
                    <a:pt x="19" y="0"/>
                  </a:lnTo>
                  <a:lnTo>
                    <a:pt x="26" y="1"/>
                  </a:lnTo>
                  <a:lnTo>
                    <a:pt x="32" y="5"/>
                  </a:lnTo>
                  <a:lnTo>
                    <a:pt x="36" y="12"/>
                  </a:lnTo>
                  <a:lnTo>
                    <a:pt x="38" y="18"/>
                  </a:lnTo>
                  <a:lnTo>
                    <a:pt x="38" y="18"/>
                  </a:lnTo>
                  <a:lnTo>
                    <a:pt x="36" y="26"/>
                  </a:lnTo>
                  <a:lnTo>
                    <a:pt x="32" y="32"/>
                  </a:lnTo>
                  <a:lnTo>
                    <a:pt x="26" y="36"/>
                  </a:lnTo>
                  <a:lnTo>
                    <a:pt x="19" y="39"/>
                  </a:lnTo>
                  <a:lnTo>
                    <a:pt x="19" y="39"/>
                  </a:lnTo>
                  <a:lnTo>
                    <a:pt x="11" y="36"/>
                  </a:lnTo>
                  <a:lnTo>
                    <a:pt x="5" y="32"/>
                  </a:lnTo>
                  <a:lnTo>
                    <a:pt x="1" y="26"/>
                  </a:lnTo>
                  <a:lnTo>
                    <a:pt x="0" y="18"/>
                  </a:lnTo>
                  <a:lnTo>
                    <a:pt x="0" y="18"/>
                  </a:lnTo>
                  <a:lnTo>
                    <a:pt x="1" y="12"/>
                  </a:lnTo>
                  <a:lnTo>
                    <a:pt x="5" y="5"/>
                  </a:lnTo>
                  <a:lnTo>
                    <a:pt x="11" y="1"/>
                  </a:lnTo>
                  <a:lnTo>
                    <a:pt x="19" y="0"/>
                  </a:lnTo>
                  <a:lnTo>
                    <a:pt x="1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8" name="Freeform 294">
              <a:extLst>
                <a:ext uri="{FF2B5EF4-FFF2-40B4-BE49-F238E27FC236}">
                  <a16:creationId xmlns:a16="http://schemas.microsoft.com/office/drawing/2014/main" id="{B9BC6541-A9D8-46F1-8E30-E09A1002A6A1}"/>
                </a:ext>
              </a:extLst>
            </p:cNvPr>
            <p:cNvSpPr>
              <a:spLocks noEditPoints="1"/>
            </p:cNvSpPr>
            <p:nvPr/>
          </p:nvSpPr>
          <p:spPr bwMode="auto">
            <a:xfrm>
              <a:off x="5709216" y="2128896"/>
              <a:ext cx="96304" cy="142997"/>
            </a:xfrm>
            <a:custGeom>
              <a:avLst/>
              <a:gdLst>
                <a:gd name="T0" fmla="*/ 179 w 199"/>
                <a:gd name="T1" fmla="*/ 219 h 294"/>
                <a:gd name="T2" fmla="*/ 20 w 199"/>
                <a:gd name="T3" fmla="*/ 56 h 294"/>
                <a:gd name="T4" fmla="*/ 179 w 199"/>
                <a:gd name="T5" fmla="*/ 86 h 294"/>
                <a:gd name="T6" fmla="*/ 199 w 199"/>
                <a:gd name="T7" fmla="*/ 24 h 294"/>
                <a:gd name="T8" fmla="*/ 199 w 199"/>
                <a:gd name="T9" fmla="*/ 19 h 294"/>
                <a:gd name="T10" fmla="*/ 195 w 199"/>
                <a:gd name="T11" fmla="*/ 11 h 294"/>
                <a:gd name="T12" fmla="*/ 189 w 199"/>
                <a:gd name="T13" fmla="*/ 4 h 294"/>
                <a:gd name="T14" fmla="*/ 180 w 199"/>
                <a:gd name="T15" fmla="*/ 0 h 294"/>
                <a:gd name="T16" fmla="*/ 24 w 199"/>
                <a:gd name="T17" fmla="*/ 0 h 294"/>
                <a:gd name="T18" fmla="*/ 19 w 199"/>
                <a:gd name="T19" fmla="*/ 0 h 294"/>
                <a:gd name="T20" fmla="*/ 11 w 199"/>
                <a:gd name="T21" fmla="*/ 4 h 294"/>
                <a:gd name="T22" fmla="*/ 4 w 199"/>
                <a:gd name="T23" fmla="*/ 11 h 294"/>
                <a:gd name="T24" fmla="*/ 0 w 199"/>
                <a:gd name="T25" fmla="*/ 19 h 294"/>
                <a:gd name="T26" fmla="*/ 0 w 199"/>
                <a:gd name="T27" fmla="*/ 271 h 294"/>
                <a:gd name="T28" fmla="*/ 0 w 199"/>
                <a:gd name="T29" fmla="*/ 275 h 294"/>
                <a:gd name="T30" fmla="*/ 4 w 199"/>
                <a:gd name="T31" fmla="*/ 283 h 294"/>
                <a:gd name="T32" fmla="*/ 11 w 199"/>
                <a:gd name="T33" fmla="*/ 290 h 294"/>
                <a:gd name="T34" fmla="*/ 19 w 199"/>
                <a:gd name="T35" fmla="*/ 294 h 294"/>
                <a:gd name="T36" fmla="*/ 176 w 199"/>
                <a:gd name="T37" fmla="*/ 294 h 294"/>
                <a:gd name="T38" fmla="*/ 180 w 199"/>
                <a:gd name="T39" fmla="*/ 294 h 294"/>
                <a:gd name="T40" fmla="*/ 189 w 199"/>
                <a:gd name="T41" fmla="*/ 290 h 294"/>
                <a:gd name="T42" fmla="*/ 195 w 199"/>
                <a:gd name="T43" fmla="*/ 283 h 294"/>
                <a:gd name="T44" fmla="*/ 199 w 199"/>
                <a:gd name="T45" fmla="*/ 275 h 294"/>
                <a:gd name="T46" fmla="*/ 199 w 199"/>
                <a:gd name="T47" fmla="*/ 171 h 294"/>
                <a:gd name="T48" fmla="*/ 99 w 199"/>
                <a:gd name="T49" fmla="*/ 271 h 294"/>
                <a:gd name="T50" fmla="*/ 94 w 199"/>
                <a:gd name="T51" fmla="*/ 270 h 294"/>
                <a:gd name="T52" fmla="*/ 86 w 199"/>
                <a:gd name="T53" fmla="*/ 262 h 294"/>
                <a:gd name="T54" fmla="*/ 86 w 199"/>
                <a:gd name="T55" fmla="*/ 257 h 294"/>
                <a:gd name="T56" fmla="*/ 90 w 199"/>
                <a:gd name="T57" fmla="*/ 246 h 294"/>
                <a:gd name="T58" fmla="*/ 99 w 199"/>
                <a:gd name="T59" fmla="*/ 242 h 294"/>
                <a:gd name="T60" fmla="*/ 105 w 199"/>
                <a:gd name="T61" fmla="*/ 243 h 294"/>
                <a:gd name="T62" fmla="*/ 113 w 199"/>
                <a:gd name="T63" fmla="*/ 251 h 294"/>
                <a:gd name="T64" fmla="*/ 114 w 199"/>
                <a:gd name="T65" fmla="*/ 257 h 294"/>
                <a:gd name="T66" fmla="*/ 110 w 199"/>
                <a:gd name="T67" fmla="*/ 266 h 294"/>
                <a:gd name="T68" fmla="*/ 99 w 199"/>
                <a:gd name="T69" fmla="*/ 27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9" h="294">
                  <a:moveTo>
                    <a:pt x="179" y="171"/>
                  </a:moveTo>
                  <a:lnTo>
                    <a:pt x="179" y="219"/>
                  </a:lnTo>
                  <a:lnTo>
                    <a:pt x="20" y="219"/>
                  </a:lnTo>
                  <a:lnTo>
                    <a:pt x="20" y="56"/>
                  </a:lnTo>
                  <a:lnTo>
                    <a:pt x="179" y="56"/>
                  </a:lnTo>
                  <a:lnTo>
                    <a:pt x="179" y="86"/>
                  </a:lnTo>
                  <a:lnTo>
                    <a:pt x="199" y="86"/>
                  </a:lnTo>
                  <a:lnTo>
                    <a:pt x="199" y="24"/>
                  </a:lnTo>
                  <a:lnTo>
                    <a:pt x="199" y="24"/>
                  </a:lnTo>
                  <a:lnTo>
                    <a:pt x="199" y="19"/>
                  </a:lnTo>
                  <a:lnTo>
                    <a:pt x="198" y="15"/>
                  </a:lnTo>
                  <a:lnTo>
                    <a:pt x="195" y="11"/>
                  </a:lnTo>
                  <a:lnTo>
                    <a:pt x="192" y="7"/>
                  </a:lnTo>
                  <a:lnTo>
                    <a:pt x="189" y="4"/>
                  </a:lnTo>
                  <a:lnTo>
                    <a:pt x="185" y="1"/>
                  </a:lnTo>
                  <a:lnTo>
                    <a:pt x="180" y="0"/>
                  </a:lnTo>
                  <a:lnTo>
                    <a:pt x="176" y="0"/>
                  </a:lnTo>
                  <a:lnTo>
                    <a:pt x="24" y="0"/>
                  </a:lnTo>
                  <a:lnTo>
                    <a:pt x="24" y="0"/>
                  </a:lnTo>
                  <a:lnTo>
                    <a:pt x="19" y="0"/>
                  </a:lnTo>
                  <a:lnTo>
                    <a:pt x="15" y="1"/>
                  </a:lnTo>
                  <a:lnTo>
                    <a:pt x="11" y="4"/>
                  </a:lnTo>
                  <a:lnTo>
                    <a:pt x="7" y="7"/>
                  </a:lnTo>
                  <a:lnTo>
                    <a:pt x="4" y="11"/>
                  </a:lnTo>
                  <a:lnTo>
                    <a:pt x="1" y="15"/>
                  </a:lnTo>
                  <a:lnTo>
                    <a:pt x="0" y="19"/>
                  </a:lnTo>
                  <a:lnTo>
                    <a:pt x="0" y="24"/>
                  </a:lnTo>
                  <a:lnTo>
                    <a:pt x="0" y="271"/>
                  </a:lnTo>
                  <a:lnTo>
                    <a:pt x="0" y="271"/>
                  </a:lnTo>
                  <a:lnTo>
                    <a:pt x="0" y="275"/>
                  </a:lnTo>
                  <a:lnTo>
                    <a:pt x="1" y="279"/>
                  </a:lnTo>
                  <a:lnTo>
                    <a:pt x="4" y="283"/>
                  </a:lnTo>
                  <a:lnTo>
                    <a:pt x="7" y="287"/>
                  </a:lnTo>
                  <a:lnTo>
                    <a:pt x="11" y="290"/>
                  </a:lnTo>
                  <a:lnTo>
                    <a:pt x="15" y="293"/>
                  </a:lnTo>
                  <a:lnTo>
                    <a:pt x="19" y="294"/>
                  </a:lnTo>
                  <a:lnTo>
                    <a:pt x="24" y="294"/>
                  </a:lnTo>
                  <a:lnTo>
                    <a:pt x="176" y="294"/>
                  </a:lnTo>
                  <a:lnTo>
                    <a:pt x="176" y="294"/>
                  </a:lnTo>
                  <a:lnTo>
                    <a:pt x="180" y="294"/>
                  </a:lnTo>
                  <a:lnTo>
                    <a:pt x="185" y="293"/>
                  </a:lnTo>
                  <a:lnTo>
                    <a:pt x="189" y="290"/>
                  </a:lnTo>
                  <a:lnTo>
                    <a:pt x="192" y="287"/>
                  </a:lnTo>
                  <a:lnTo>
                    <a:pt x="195" y="283"/>
                  </a:lnTo>
                  <a:lnTo>
                    <a:pt x="198" y="279"/>
                  </a:lnTo>
                  <a:lnTo>
                    <a:pt x="199" y="275"/>
                  </a:lnTo>
                  <a:lnTo>
                    <a:pt x="199" y="271"/>
                  </a:lnTo>
                  <a:lnTo>
                    <a:pt x="199" y="171"/>
                  </a:lnTo>
                  <a:lnTo>
                    <a:pt x="179" y="171"/>
                  </a:lnTo>
                  <a:close/>
                  <a:moveTo>
                    <a:pt x="99" y="271"/>
                  </a:moveTo>
                  <a:lnTo>
                    <a:pt x="99" y="271"/>
                  </a:lnTo>
                  <a:lnTo>
                    <a:pt x="94" y="270"/>
                  </a:lnTo>
                  <a:lnTo>
                    <a:pt x="90" y="266"/>
                  </a:lnTo>
                  <a:lnTo>
                    <a:pt x="86" y="262"/>
                  </a:lnTo>
                  <a:lnTo>
                    <a:pt x="86" y="257"/>
                  </a:lnTo>
                  <a:lnTo>
                    <a:pt x="86" y="257"/>
                  </a:lnTo>
                  <a:lnTo>
                    <a:pt x="86" y="251"/>
                  </a:lnTo>
                  <a:lnTo>
                    <a:pt x="90" y="246"/>
                  </a:lnTo>
                  <a:lnTo>
                    <a:pt x="94" y="243"/>
                  </a:lnTo>
                  <a:lnTo>
                    <a:pt x="99" y="242"/>
                  </a:lnTo>
                  <a:lnTo>
                    <a:pt x="99" y="242"/>
                  </a:lnTo>
                  <a:lnTo>
                    <a:pt x="105" y="243"/>
                  </a:lnTo>
                  <a:lnTo>
                    <a:pt x="110" y="246"/>
                  </a:lnTo>
                  <a:lnTo>
                    <a:pt x="113" y="251"/>
                  </a:lnTo>
                  <a:lnTo>
                    <a:pt x="114" y="257"/>
                  </a:lnTo>
                  <a:lnTo>
                    <a:pt x="114" y="257"/>
                  </a:lnTo>
                  <a:lnTo>
                    <a:pt x="113" y="262"/>
                  </a:lnTo>
                  <a:lnTo>
                    <a:pt x="110" y="266"/>
                  </a:lnTo>
                  <a:lnTo>
                    <a:pt x="105" y="270"/>
                  </a:lnTo>
                  <a:lnTo>
                    <a:pt x="99" y="271"/>
                  </a:lnTo>
                  <a:lnTo>
                    <a:pt x="99" y="27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9" name="Freeform 295">
              <a:extLst>
                <a:ext uri="{FF2B5EF4-FFF2-40B4-BE49-F238E27FC236}">
                  <a16:creationId xmlns:a16="http://schemas.microsoft.com/office/drawing/2014/main" id="{E7520BDE-B3B2-4DCB-A188-D84F99D62ACC}"/>
                </a:ext>
              </a:extLst>
            </p:cNvPr>
            <p:cNvSpPr>
              <a:spLocks/>
            </p:cNvSpPr>
            <p:nvPr/>
          </p:nvSpPr>
          <p:spPr bwMode="auto">
            <a:xfrm>
              <a:off x="5755909" y="2165861"/>
              <a:ext cx="73930" cy="41829"/>
            </a:xfrm>
            <a:custGeom>
              <a:avLst/>
              <a:gdLst>
                <a:gd name="T0" fmla="*/ 137 w 152"/>
                <a:gd name="T1" fmla="*/ 86 h 86"/>
                <a:gd name="T2" fmla="*/ 53 w 152"/>
                <a:gd name="T3" fmla="*/ 86 h 86"/>
                <a:gd name="T4" fmla="*/ 53 w 152"/>
                <a:gd name="T5" fmla="*/ 86 h 86"/>
                <a:gd name="T6" fmla="*/ 49 w 152"/>
                <a:gd name="T7" fmla="*/ 85 h 86"/>
                <a:gd name="T8" fmla="*/ 47 w 152"/>
                <a:gd name="T9" fmla="*/ 82 h 86"/>
                <a:gd name="T10" fmla="*/ 30 w 152"/>
                <a:gd name="T11" fmla="*/ 11 h 86"/>
                <a:gd name="T12" fmla="*/ 4 w 152"/>
                <a:gd name="T13" fmla="*/ 11 h 86"/>
                <a:gd name="T14" fmla="*/ 4 w 152"/>
                <a:gd name="T15" fmla="*/ 11 h 86"/>
                <a:gd name="T16" fmla="*/ 2 w 152"/>
                <a:gd name="T17" fmla="*/ 10 h 86"/>
                <a:gd name="T18" fmla="*/ 0 w 152"/>
                <a:gd name="T19" fmla="*/ 6 h 86"/>
                <a:gd name="T20" fmla="*/ 0 w 152"/>
                <a:gd name="T21" fmla="*/ 6 h 86"/>
                <a:gd name="T22" fmla="*/ 2 w 152"/>
                <a:gd name="T23" fmla="*/ 2 h 86"/>
                <a:gd name="T24" fmla="*/ 4 w 152"/>
                <a:gd name="T25" fmla="*/ 0 h 86"/>
                <a:gd name="T26" fmla="*/ 33 w 152"/>
                <a:gd name="T27" fmla="*/ 0 h 86"/>
                <a:gd name="T28" fmla="*/ 33 w 152"/>
                <a:gd name="T29" fmla="*/ 0 h 86"/>
                <a:gd name="T30" fmla="*/ 37 w 152"/>
                <a:gd name="T31" fmla="*/ 2 h 86"/>
                <a:gd name="T32" fmla="*/ 38 w 152"/>
                <a:gd name="T33" fmla="*/ 4 h 86"/>
                <a:gd name="T34" fmla="*/ 42 w 152"/>
                <a:gd name="T35" fmla="*/ 20 h 86"/>
                <a:gd name="T36" fmla="*/ 147 w 152"/>
                <a:gd name="T37" fmla="*/ 20 h 86"/>
                <a:gd name="T38" fmla="*/ 147 w 152"/>
                <a:gd name="T39" fmla="*/ 20 h 86"/>
                <a:gd name="T40" fmla="*/ 150 w 152"/>
                <a:gd name="T41" fmla="*/ 20 h 86"/>
                <a:gd name="T42" fmla="*/ 151 w 152"/>
                <a:gd name="T43" fmla="*/ 22 h 86"/>
                <a:gd name="T44" fmla="*/ 151 w 152"/>
                <a:gd name="T45" fmla="*/ 22 h 86"/>
                <a:gd name="T46" fmla="*/ 152 w 152"/>
                <a:gd name="T47" fmla="*/ 23 h 86"/>
                <a:gd name="T48" fmla="*/ 152 w 152"/>
                <a:gd name="T49" fmla="*/ 26 h 86"/>
                <a:gd name="T50" fmla="*/ 143 w 152"/>
                <a:gd name="T51" fmla="*/ 82 h 86"/>
                <a:gd name="T52" fmla="*/ 143 w 152"/>
                <a:gd name="T53" fmla="*/ 82 h 86"/>
                <a:gd name="T54" fmla="*/ 141 w 152"/>
                <a:gd name="T55" fmla="*/ 85 h 86"/>
                <a:gd name="T56" fmla="*/ 137 w 152"/>
                <a:gd name="T57" fmla="*/ 86 h 86"/>
                <a:gd name="T58" fmla="*/ 137 w 152"/>
                <a:gd name="T59"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2" h="86">
                  <a:moveTo>
                    <a:pt x="137" y="86"/>
                  </a:moveTo>
                  <a:lnTo>
                    <a:pt x="53" y="86"/>
                  </a:lnTo>
                  <a:lnTo>
                    <a:pt x="53" y="86"/>
                  </a:lnTo>
                  <a:lnTo>
                    <a:pt x="49" y="85"/>
                  </a:lnTo>
                  <a:lnTo>
                    <a:pt x="47" y="82"/>
                  </a:lnTo>
                  <a:lnTo>
                    <a:pt x="30" y="11"/>
                  </a:lnTo>
                  <a:lnTo>
                    <a:pt x="4" y="11"/>
                  </a:lnTo>
                  <a:lnTo>
                    <a:pt x="4" y="11"/>
                  </a:lnTo>
                  <a:lnTo>
                    <a:pt x="2" y="10"/>
                  </a:lnTo>
                  <a:lnTo>
                    <a:pt x="0" y="6"/>
                  </a:lnTo>
                  <a:lnTo>
                    <a:pt x="0" y="6"/>
                  </a:lnTo>
                  <a:lnTo>
                    <a:pt x="2" y="2"/>
                  </a:lnTo>
                  <a:lnTo>
                    <a:pt x="4" y="0"/>
                  </a:lnTo>
                  <a:lnTo>
                    <a:pt x="33" y="0"/>
                  </a:lnTo>
                  <a:lnTo>
                    <a:pt x="33" y="0"/>
                  </a:lnTo>
                  <a:lnTo>
                    <a:pt x="37" y="2"/>
                  </a:lnTo>
                  <a:lnTo>
                    <a:pt x="38" y="4"/>
                  </a:lnTo>
                  <a:lnTo>
                    <a:pt x="42" y="20"/>
                  </a:lnTo>
                  <a:lnTo>
                    <a:pt x="147" y="20"/>
                  </a:lnTo>
                  <a:lnTo>
                    <a:pt x="147" y="20"/>
                  </a:lnTo>
                  <a:lnTo>
                    <a:pt x="150" y="20"/>
                  </a:lnTo>
                  <a:lnTo>
                    <a:pt x="151" y="22"/>
                  </a:lnTo>
                  <a:lnTo>
                    <a:pt x="151" y="22"/>
                  </a:lnTo>
                  <a:lnTo>
                    <a:pt x="152" y="23"/>
                  </a:lnTo>
                  <a:lnTo>
                    <a:pt x="152" y="26"/>
                  </a:lnTo>
                  <a:lnTo>
                    <a:pt x="143" y="82"/>
                  </a:lnTo>
                  <a:lnTo>
                    <a:pt x="143" y="82"/>
                  </a:lnTo>
                  <a:lnTo>
                    <a:pt x="141" y="85"/>
                  </a:lnTo>
                  <a:lnTo>
                    <a:pt x="137" y="86"/>
                  </a:lnTo>
                  <a:lnTo>
                    <a:pt x="137" y="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20" name="Group 119">
            <a:extLst>
              <a:ext uri="{FF2B5EF4-FFF2-40B4-BE49-F238E27FC236}">
                <a16:creationId xmlns:a16="http://schemas.microsoft.com/office/drawing/2014/main" id="{6A8D24B7-76EA-4024-9720-461D3741015B}"/>
              </a:ext>
            </a:extLst>
          </p:cNvPr>
          <p:cNvGrpSpPr>
            <a:grpSpLocks noChangeAspect="1"/>
          </p:cNvGrpSpPr>
          <p:nvPr/>
        </p:nvGrpSpPr>
        <p:grpSpPr>
          <a:xfrm>
            <a:off x="6225645" y="3310957"/>
            <a:ext cx="320040" cy="320040"/>
            <a:chOff x="554038" y="1663700"/>
            <a:chExt cx="522288" cy="522288"/>
          </a:xfrm>
        </p:grpSpPr>
        <p:sp>
          <p:nvSpPr>
            <p:cNvPr id="121" name="Freeform 16">
              <a:extLst>
                <a:ext uri="{FF2B5EF4-FFF2-40B4-BE49-F238E27FC236}">
                  <a16:creationId xmlns:a16="http://schemas.microsoft.com/office/drawing/2014/main" id="{D257B215-89D6-4BBF-9106-4EFE96E2462F}"/>
                </a:ext>
              </a:extLst>
            </p:cNvPr>
            <p:cNvSpPr>
              <a:spLocks noEditPoints="1"/>
            </p:cNvSpPr>
            <p:nvPr/>
          </p:nvSpPr>
          <p:spPr bwMode="auto">
            <a:xfrm>
              <a:off x="554038" y="1663700"/>
              <a:ext cx="522288" cy="522288"/>
            </a:xfrm>
            <a:custGeom>
              <a:avLst/>
              <a:gdLst>
                <a:gd name="T0" fmla="*/ 313 w 658"/>
                <a:gd name="T1" fmla="*/ 657 h 658"/>
                <a:gd name="T2" fmla="*/ 263 w 658"/>
                <a:gd name="T3" fmla="*/ 651 h 658"/>
                <a:gd name="T4" fmla="*/ 201 w 658"/>
                <a:gd name="T5" fmla="*/ 631 h 658"/>
                <a:gd name="T6" fmla="*/ 121 w 658"/>
                <a:gd name="T7" fmla="*/ 583 h 658"/>
                <a:gd name="T8" fmla="*/ 56 w 658"/>
                <a:gd name="T9" fmla="*/ 513 h 658"/>
                <a:gd name="T10" fmla="*/ 15 w 658"/>
                <a:gd name="T11" fmla="*/ 427 h 658"/>
                <a:gd name="T12" fmla="*/ 4 w 658"/>
                <a:gd name="T13" fmla="*/ 379 h 658"/>
                <a:gd name="T14" fmla="*/ 0 w 658"/>
                <a:gd name="T15" fmla="*/ 329 h 658"/>
                <a:gd name="T16" fmla="*/ 3 w 658"/>
                <a:gd name="T17" fmla="*/ 295 h 658"/>
                <a:gd name="T18" fmla="*/ 11 w 658"/>
                <a:gd name="T19" fmla="*/ 247 h 658"/>
                <a:gd name="T20" fmla="*/ 40 w 658"/>
                <a:gd name="T21" fmla="*/ 172 h 658"/>
                <a:gd name="T22" fmla="*/ 97 w 658"/>
                <a:gd name="T23" fmla="*/ 96 h 658"/>
                <a:gd name="T24" fmla="*/ 173 w 658"/>
                <a:gd name="T25" fmla="*/ 40 h 658"/>
                <a:gd name="T26" fmla="*/ 247 w 658"/>
                <a:gd name="T27" fmla="*/ 11 h 658"/>
                <a:gd name="T28" fmla="*/ 296 w 658"/>
                <a:gd name="T29" fmla="*/ 1 h 658"/>
                <a:gd name="T30" fmla="*/ 329 w 658"/>
                <a:gd name="T31" fmla="*/ 0 h 658"/>
                <a:gd name="T32" fmla="*/ 379 w 658"/>
                <a:gd name="T33" fmla="*/ 4 h 658"/>
                <a:gd name="T34" fmla="*/ 427 w 658"/>
                <a:gd name="T35" fmla="*/ 15 h 658"/>
                <a:gd name="T36" fmla="*/ 513 w 658"/>
                <a:gd name="T37" fmla="*/ 56 h 658"/>
                <a:gd name="T38" fmla="*/ 583 w 658"/>
                <a:gd name="T39" fmla="*/ 119 h 658"/>
                <a:gd name="T40" fmla="*/ 633 w 658"/>
                <a:gd name="T41" fmla="*/ 201 h 658"/>
                <a:gd name="T42" fmla="*/ 651 w 658"/>
                <a:gd name="T43" fmla="*/ 263 h 658"/>
                <a:gd name="T44" fmla="*/ 658 w 658"/>
                <a:gd name="T45" fmla="*/ 311 h 658"/>
                <a:gd name="T46" fmla="*/ 658 w 658"/>
                <a:gd name="T47" fmla="*/ 346 h 658"/>
                <a:gd name="T48" fmla="*/ 651 w 658"/>
                <a:gd name="T49" fmla="*/ 395 h 658"/>
                <a:gd name="T50" fmla="*/ 633 w 658"/>
                <a:gd name="T51" fmla="*/ 456 h 658"/>
                <a:gd name="T52" fmla="*/ 583 w 658"/>
                <a:gd name="T53" fmla="*/ 538 h 658"/>
                <a:gd name="T54" fmla="*/ 513 w 658"/>
                <a:gd name="T55" fmla="*/ 602 h 658"/>
                <a:gd name="T56" fmla="*/ 427 w 658"/>
                <a:gd name="T57" fmla="*/ 643 h 658"/>
                <a:gd name="T58" fmla="*/ 379 w 658"/>
                <a:gd name="T59" fmla="*/ 654 h 658"/>
                <a:gd name="T60" fmla="*/ 329 w 658"/>
                <a:gd name="T61" fmla="*/ 658 h 658"/>
                <a:gd name="T62" fmla="*/ 329 w 658"/>
                <a:gd name="T63" fmla="*/ 37 h 658"/>
                <a:gd name="T64" fmla="*/ 243 w 658"/>
                <a:gd name="T65" fmla="*/ 51 h 658"/>
                <a:gd name="T66" fmla="*/ 167 w 658"/>
                <a:gd name="T67" fmla="*/ 87 h 658"/>
                <a:gd name="T68" fmla="*/ 105 w 658"/>
                <a:gd name="T69" fmla="*/ 143 h 658"/>
                <a:gd name="T70" fmla="*/ 62 w 658"/>
                <a:gd name="T71" fmla="*/ 216 h 658"/>
                <a:gd name="T72" fmla="*/ 40 w 658"/>
                <a:gd name="T73" fmla="*/ 299 h 658"/>
                <a:gd name="T74" fmla="*/ 40 w 658"/>
                <a:gd name="T75" fmla="*/ 358 h 658"/>
                <a:gd name="T76" fmla="*/ 62 w 658"/>
                <a:gd name="T77" fmla="*/ 442 h 658"/>
                <a:gd name="T78" fmla="*/ 105 w 658"/>
                <a:gd name="T79" fmla="*/ 514 h 658"/>
                <a:gd name="T80" fmla="*/ 167 w 658"/>
                <a:gd name="T81" fmla="*/ 571 h 658"/>
                <a:gd name="T82" fmla="*/ 243 w 658"/>
                <a:gd name="T83" fmla="*/ 607 h 658"/>
                <a:gd name="T84" fmla="*/ 329 w 658"/>
                <a:gd name="T85" fmla="*/ 620 h 658"/>
                <a:gd name="T86" fmla="*/ 388 w 658"/>
                <a:gd name="T87" fmla="*/ 614 h 658"/>
                <a:gd name="T88" fmla="*/ 467 w 658"/>
                <a:gd name="T89" fmla="*/ 585 h 658"/>
                <a:gd name="T90" fmla="*/ 535 w 658"/>
                <a:gd name="T91" fmla="*/ 534 h 658"/>
                <a:gd name="T92" fmla="*/ 586 w 658"/>
                <a:gd name="T93" fmla="*/ 467 h 658"/>
                <a:gd name="T94" fmla="*/ 615 w 658"/>
                <a:gd name="T95" fmla="*/ 388 h 658"/>
                <a:gd name="T96" fmla="*/ 621 w 658"/>
                <a:gd name="T97" fmla="*/ 329 h 658"/>
                <a:gd name="T98" fmla="*/ 607 w 658"/>
                <a:gd name="T99" fmla="*/ 243 h 658"/>
                <a:gd name="T100" fmla="*/ 571 w 658"/>
                <a:gd name="T101" fmla="*/ 166 h 658"/>
                <a:gd name="T102" fmla="*/ 514 w 658"/>
                <a:gd name="T103" fmla="*/ 105 h 658"/>
                <a:gd name="T104" fmla="*/ 443 w 658"/>
                <a:gd name="T105" fmla="*/ 60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7"/>
                  </a:lnTo>
                  <a:lnTo>
                    <a:pt x="296" y="655"/>
                  </a:lnTo>
                  <a:lnTo>
                    <a:pt x="279" y="654"/>
                  </a:lnTo>
                  <a:lnTo>
                    <a:pt x="263" y="651"/>
                  </a:lnTo>
                  <a:lnTo>
                    <a:pt x="247" y="647"/>
                  </a:lnTo>
                  <a:lnTo>
                    <a:pt x="232" y="643"/>
                  </a:lnTo>
                  <a:lnTo>
                    <a:pt x="201" y="631"/>
                  </a:lnTo>
                  <a:lnTo>
                    <a:pt x="173" y="618"/>
                  </a:lnTo>
                  <a:lnTo>
                    <a:pt x="145" y="602"/>
                  </a:lnTo>
                  <a:lnTo>
                    <a:pt x="121" y="583"/>
                  </a:lnTo>
                  <a:lnTo>
                    <a:pt x="97" y="561"/>
                  </a:lnTo>
                  <a:lnTo>
                    <a:pt x="75" y="538"/>
                  </a:lnTo>
                  <a:lnTo>
                    <a:pt x="56" y="513"/>
                  </a:lnTo>
                  <a:lnTo>
                    <a:pt x="40" y="486"/>
                  </a:lnTo>
                  <a:lnTo>
                    <a:pt x="27" y="456"/>
                  </a:lnTo>
                  <a:lnTo>
                    <a:pt x="15" y="427"/>
                  </a:lnTo>
                  <a:lnTo>
                    <a:pt x="11" y="411"/>
                  </a:lnTo>
                  <a:lnTo>
                    <a:pt x="7" y="395"/>
                  </a:lnTo>
                  <a:lnTo>
                    <a:pt x="4" y="379"/>
                  </a:lnTo>
                  <a:lnTo>
                    <a:pt x="3" y="362"/>
                  </a:lnTo>
                  <a:lnTo>
                    <a:pt x="1" y="346"/>
                  </a:lnTo>
                  <a:lnTo>
                    <a:pt x="0" y="329"/>
                  </a:lnTo>
                  <a:lnTo>
                    <a:pt x="0" y="329"/>
                  </a:lnTo>
                  <a:lnTo>
                    <a:pt x="1" y="311"/>
                  </a:lnTo>
                  <a:lnTo>
                    <a:pt x="3" y="295"/>
                  </a:lnTo>
                  <a:lnTo>
                    <a:pt x="4" y="279"/>
                  </a:lnTo>
                  <a:lnTo>
                    <a:pt x="7" y="263"/>
                  </a:lnTo>
                  <a:lnTo>
                    <a:pt x="11" y="247"/>
                  </a:lnTo>
                  <a:lnTo>
                    <a:pt x="15" y="231"/>
                  </a:lnTo>
                  <a:lnTo>
                    <a:pt x="27" y="201"/>
                  </a:lnTo>
                  <a:lnTo>
                    <a:pt x="40" y="172"/>
                  </a:lnTo>
                  <a:lnTo>
                    <a:pt x="56" y="145"/>
                  </a:lnTo>
                  <a:lnTo>
                    <a:pt x="75" y="119"/>
                  </a:lnTo>
                  <a:lnTo>
                    <a:pt x="97" y="96"/>
                  </a:lnTo>
                  <a:lnTo>
                    <a:pt x="121" y="75"/>
                  </a:lnTo>
                  <a:lnTo>
                    <a:pt x="145" y="56"/>
                  </a:lnTo>
                  <a:lnTo>
                    <a:pt x="173" y="40"/>
                  </a:lnTo>
                  <a:lnTo>
                    <a:pt x="201" y="25"/>
                  </a:lnTo>
                  <a:lnTo>
                    <a:pt x="232" y="15"/>
                  </a:lnTo>
                  <a:lnTo>
                    <a:pt x="247" y="11"/>
                  </a:lnTo>
                  <a:lnTo>
                    <a:pt x="263" y="6"/>
                  </a:lnTo>
                  <a:lnTo>
                    <a:pt x="279" y="4"/>
                  </a:lnTo>
                  <a:lnTo>
                    <a:pt x="296" y="1"/>
                  </a:lnTo>
                  <a:lnTo>
                    <a:pt x="313" y="1"/>
                  </a:lnTo>
                  <a:lnTo>
                    <a:pt x="329" y="0"/>
                  </a:lnTo>
                  <a:lnTo>
                    <a:pt x="329" y="0"/>
                  </a:lnTo>
                  <a:lnTo>
                    <a:pt x="347" y="1"/>
                  </a:lnTo>
                  <a:lnTo>
                    <a:pt x="363" y="1"/>
                  </a:lnTo>
                  <a:lnTo>
                    <a:pt x="379" y="4"/>
                  </a:lnTo>
                  <a:lnTo>
                    <a:pt x="396" y="6"/>
                  </a:lnTo>
                  <a:lnTo>
                    <a:pt x="411" y="11"/>
                  </a:lnTo>
                  <a:lnTo>
                    <a:pt x="427" y="15"/>
                  </a:lnTo>
                  <a:lnTo>
                    <a:pt x="457" y="25"/>
                  </a:lnTo>
                  <a:lnTo>
                    <a:pt x="486" y="40"/>
                  </a:lnTo>
                  <a:lnTo>
                    <a:pt x="513" y="56"/>
                  </a:lnTo>
                  <a:lnTo>
                    <a:pt x="539" y="75"/>
                  </a:lnTo>
                  <a:lnTo>
                    <a:pt x="561" y="96"/>
                  </a:lnTo>
                  <a:lnTo>
                    <a:pt x="583" y="119"/>
                  </a:lnTo>
                  <a:lnTo>
                    <a:pt x="602" y="145"/>
                  </a:lnTo>
                  <a:lnTo>
                    <a:pt x="618" y="172"/>
                  </a:lnTo>
                  <a:lnTo>
                    <a:pt x="633" y="201"/>
                  </a:lnTo>
                  <a:lnTo>
                    <a:pt x="643" y="231"/>
                  </a:lnTo>
                  <a:lnTo>
                    <a:pt x="647" y="247"/>
                  </a:lnTo>
                  <a:lnTo>
                    <a:pt x="651" y="263"/>
                  </a:lnTo>
                  <a:lnTo>
                    <a:pt x="654" y="279"/>
                  </a:lnTo>
                  <a:lnTo>
                    <a:pt x="657" y="295"/>
                  </a:lnTo>
                  <a:lnTo>
                    <a:pt x="658" y="311"/>
                  </a:lnTo>
                  <a:lnTo>
                    <a:pt x="658" y="329"/>
                  </a:lnTo>
                  <a:lnTo>
                    <a:pt x="658" y="329"/>
                  </a:lnTo>
                  <a:lnTo>
                    <a:pt x="658" y="346"/>
                  </a:lnTo>
                  <a:lnTo>
                    <a:pt x="657" y="362"/>
                  </a:lnTo>
                  <a:lnTo>
                    <a:pt x="654" y="379"/>
                  </a:lnTo>
                  <a:lnTo>
                    <a:pt x="651" y="395"/>
                  </a:lnTo>
                  <a:lnTo>
                    <a:pt x="647" y="411"/>
                  </a:lnTo>
                  <a:lnTo>
                    <a:pt x="643" y="427"/>
                  </a:lnTo>
                  <a:lnTo>
                    <a:pt x="633" y="456"/>
                  </a:lnTo>
                  <a:lnTo>
                    <a:pt x="618" y="486"/>
                  </a:lnTo>
                  <a:lnTo>
                    <a:pt x="602" y="513"/>
                  </a:lnTo>
                  <a:lnTo>
                    <a:pt x="583" y="538"/>
                  </a:lnTo>
                  <a:lnTo>
                    <a:pt x="561" y="561"/>
                  </a:lnTo>
                  <a:lnTo>
                    <a:pt x="539" y="583"/>
                  </a:lnTo>
                  <a:lnTo>
                    <a:pt x="513" y="602"/>
                  </a:lnTo>
                  <a:lnTo>
                    <a:pt x="486" y="618"/>
                  </a:lnTo>
                  <a:lnTo>
                    <a:pt x="457" y="631"/>
                  </a:lnTo>
                  <a:lnTo>
                    <a:pt x="427" y="643"/>
                  </a:lnTo>
                  <a:lnTo>
                    <a:pt x="411" y="647"/>
                  </a:lnTo>
                  <a:lnTo>
                    <a:pt x="396" y="651"/>
                  </a:lnTo>
                  <a:lnTo>
                    <a:pt x="379" y="654"/>
                  </a:lnTo>
                  <a:lnTo>
                    <a:pt x="363" y="655"/>
                  </a:lnTo>
                  <a:lnTo>
                    <a:pt x="347" y="657"/>
                  </a:lnTo>
                  <a:lnTo>
                    <a:pt x="329" y="658"/>
                  </a:lnTo>
                  <a:lnTo>
                    <a:pt x="329" y="658"/>
                  </a:lnTo>
                  <a:close/>
                  <a:moveTo>
                    <a:pt x="329" y="37"/>
                  </a:moveTo>
                  <a:lnTo>
                    <a:pt x="329" y="37"/>
                  </a:lnTo>
                  <a:lnTo>
                    <a:pt x="300" y="39"/>
                  </a:lnTo>
                  <a:lnTo>
                    <a:pt x="271" y="44"/>
                  </a:lnTo>
                  <a:lnTo>
                    <a:pt x="243" y="51"/>
                  </a:lnTo>
                  <a:lnTo>
                    <a:pt x="216" y="60"/>
                  </a:lnTo>
                  <a:lnTo>
                    <a:pt x="191" y="72"/>
                  </a:lnTo>
                  <a:lnTo>
                    <a:pt x="167" y="87"/>
                  </a:lnTo>
                  <a:lnTo>
                    <a:pt x="144" y="105"/>
                  </a:lnTo>
                  <a:lnTo>
                    <a:pt x="124" y="123"/>
                  </a:lnTo>
                  <a:lnTo>
                    <a:pt x="105" y="143"/>
                  </a:lnTo>
                  <a:lnTo>
                    <a:pt x="89" y="166"/>
                  </a:lnTo>
                  <a:lnTo>
                    <a:pt x="74" y="191"/>
                  </a:lnTo>
                  <a:lnTo>
                    <a:pt x="62" y="216"/>
                  </a:lnTo>
                  <a:lnTo>
                    <a:pt x="51" y="243"/>
                  </a:lnTo>
                  <a:lnTo>
                    <a:pt x="44" y="270"/>
                  </a:lnTo>
                  <a:lnTo>
                    <a:pt x="40" y="299"/>
                  </a:lnTo>
                  <a:lnTo>
                    <a:pt x="38" y="329"/>
                  </a:lnTo>
                  <a:lnTo>
                    <a:pt x="38" y="329"/>
                  </a:lnTo>
                  <a:lnTo>
                    <a:pt x="40" y="358"/>
                  </a:lnTo>
                  <a:lnTo>
                    <a:pt x="44" y="388"/>
                  </a:lnTo>
                  <a:lnTo>
                    <a:pt x="51" y="415"/>
                  </a:lnTo>
                  <a:lnTo>
                    <a:pt x="62" y="442"/>
                  </a:lnTo>
                  <a:lnTo>
                    <a:pt x="74" y="467"/>
                  </a:lnTo>
                  <a:lnTo>
                    <a:pt x="89" y="491"/>
                  </a:lnTo>
                  <a:lnTo>
                    <a:pt x="105" y="514"/>
                  </a:lnTo>
                  <a:lnTo>
                    <a:pt x="124" y="534"/>
                  </a:lnTo>
                  <a:lnTo>
                    <a:pt x="144" y="553"/>
                  </a:lnTo>
                  <a:lnTo>
                    <a:pt x="167" y="571"/>
                  </a:lnTo>
                  <a:lnTo>
                    <a:pt x="191" y="585"/>
                  </a:lnTo>
                  <a:lnTo>
                    <a:pt x="216" y="597"/>
                  </a:lnTo>
                  <a:lnTo>
                    <a:pt x="243" y="607"/>
                  </a:lnTo>
                  <a:lnTo>
                    <a:pt x="271" y="614"/>
                  </a:lnTo>
                  <a:lnTo>
                    <a:pt x="300" y="619"/>
                  </a:lnTo>
                  <a:lnTo>
                    <a:pt x="329" y="620"/>
                  </a:lnTo>
                  <a:lnTo>
                    <a:pt x="329" y="620"/>
                  </a:lnTo>
                  <a:lnTo>
                    <a:pt x="359" y="619"/>
                  </a:lnTo>
                  <a:lnTo>
                    <a:pt x="388" y="614"/>
                  </a:lnTo>
                  <a:lnTo>
                    <a:pt x="416" y="607"/>
                  </a:lnTo>
                  <a:lnTo>
                    <a:pt x="443" y="597"/>
                  </a:lnTo>
                  <a:lnTo>
                    <a:pt x="467" y="585"/>
                  </a:lnTo>
                  <a:lnTo>
                    <a:pt x="492" y="571"/>
                  </a:lnTo>
                  <a:lnTo>
                    <a:pt x="514" y="553"/>
                  </a:lnTo>
                  <a:lnTo>
                    <a:pt x="535" y="534"/>
                  </a:lnTo>
                  <a:lnTo>
                    <a:pt x="553" y="514"/>
                  </a:lnTo>
                  <a:lnTo>
                    <a:pt x="571" y="491"/>
                  </a:lnTo>
                  <a:lnTo>
                    <a:pt x="586" y="467"/>
                  </a:lnTo>
                  <a:lnTo>
                    <a:pt x="598" y="442"/>
                  </a:lnTo>
                  <a:lnTo>
                    <a:pt x="607" y="415"/>
                  </a:lnTo>
                  <a:lnTo>
                    <a:pt x="615" y="388"/>
                  </a:lnTo>
                  <a:lnTo>
                    <a:pt x="619" y="358"/>
                  </a:lnTo>
                  <a:lnTo>
                    <a:pt x="621" y="329"/>
                  </a:lnTo>
                  <a:lnTo>
                    <a:pt x="621" y="329"/>
                  </a:lnTo>
                  <a:lnTo>
                    <a:pt x="619" y="299"/>
                  </a:lnTo>
                  <a:lnTo>
                    <a:pt x="615" y="270"/>
                  </a:lnTo>
                  <a:lnTo>
                    <a:pt x="607" y="243"/>
                  </a:lnTo>
                  <a:lnTo>
                    <a:pt x="598" y="216"/>
                  </a:lnTo>
                  <a:lnTo>
                    <a:pt x="586" y="191"/>
                  </a:lnTo>
                  <a:lnTo>
                    <a:pt x="571" y="166"/>
                  </a:lnTo>
                  <a:lnTo>
                    <a:pt x="553" y="143"/>
                  </a:lnTo>
                  <a:lnTo>
                    <a:pt x="535" y="123"/>
                  </a:lnTo>
                  <a:lnTo>
                    <a:pt x="514" y="105"/>
                  </a:lnTo>
                  <a:lnTo>
                    <a:pt x="492" y="87"/>
                  </a:lnTo>
                  <a:lnTo>
                    <a:pt x="467" y="72"/>
                  </a:lnTo>
                  <a:lnTo>
                    <a:pt x="443" y="60"/>
                  </a:lnTo>
                  <a:lnTo>
                    <a:pt x="416" y="51"/>
                  </a:lnTo>
                  <a:lnTo>
                    <a:pt x="388" y="44"/>
                  </a:lnTo>
                  <a:lnTo>
                    <a:pt x="359" y="39"/>
                  </a:lnTo>
                  <a:lnTo>
                    <a:pt x="329" y="37"/>
                  </a:lnTo>
                  <a:lnTo>
                    <a:pt x="329" y="3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2" name="Freeform 98">
              <a:extLst>
                <a:ext uri="{FF2B5EF4-FFF2-40B4-BE49-F238E27FC236}">
                  <a16:creationId xmlns:a16="http://schemas.microsoft.com/office/drawing/2014/main" id="{2421ECE4-C639-4592-9FC5-77A1E07832F0}"/>
                </a:ext>
              </a:extLst>
            </p:cNvPr>
            <p:cNvSpPr>
              <a:spLocks/>
            </p:cNvSpPr>
            <p:nvPr/>
          </p:nvSpPr>
          <p:spPr bwMode="auto">
            <a:xfrm>
              <a:off x="708026" y="1784350"/>
              <a:ext cx="214313" cy="180975"/>
            </a:xfrm>
            <a:custGeom>
              <a:avLst/>
              <a:gdLst>
                <a:gd name="T0" fmla="*/ 6 w 272"/>
                <a:gd name="T1" fmla="*/ 227 h 227"/>
                <a:gd name="T2" fmla="*/ 266 w 272"/>
                <a:gd name="T3" fmla="*/ 227 h 227"/>
                <a:gd name="T4" fmla="*/ 266 w 272"/>
                <a:gd name="T5" fmla="*/ 227 h 227"/>
                <a:gd name="T6" fmla="*/ 269 w 272"/>
                <a:gd name="T7" fmla="*/ 227 h 227"/>
                <a:gd name="T8" fmla="*/ 270 w 272"/>
                <a:gd name="T9" fmla="*/ 226 h 227"/>
                <a:gd name="T10" fmla="*/ 272 w 272"/>
                <a:gd name="T11" fmla="*/ 223 h 227"/>
                <a:gd name="T12" fmla="*/ 272 w 272"/>
                <a:gd name="T13" fmla="*/ 222 h 227"/>
                <a:gd name="T14" fmla="*/ 272 w 272"/>
                <a:gd name="T15" fmla="*/ 27 h 227"/>
                <a:gd name="T16" fmla="*/ 272 w 272"/>
                <a:gd name="T17" fmla="*/ 27 h 227"/>
                <a:gd name="T18" fmla="*/ 272 w 272"/>
                <a:gd name="T19" fmla="*/ 24 h 227"/>
                <a:gd name="T20" fmla="*/ 270 w 272"/>
                <a:gd name="T21" fmla="*/ 23 h 227"/>
                <a:gd name="T22" fmla="*/ 269 w 272"/>
                <a:gd name="T23" fmla="*/ 21 h 227"/>
                <a:gd name="T24" fmla="*/ 266 w 272"/>
                <a:gd name="T25" fmla="*/ 21 h 227"/>
                <a:gd name="T26" fmla="*/ 163 w 272"/>
                <a:gd name="T27" fmla="*/ 21 h 227"/>
                <a:gd name="T28" fmla="*/ 163 w 272"/>
                <a:gd name="T29" fmla="*/ 5 h 227"/>
                <a:gd name="T30" fmla="*/ 163 w 272"/>
                <a:gd name="T31" fmla="*/ 5 h 227"/>
                <a:gd name="T32" fmla="*/ 163 w 272"/>
                <a:gd name="T33" fmla="*/ 3 h 227"/>
                <a:gd name="T34" fmla="*/ 162 w 272"/>
                <a:gd name="T35" fmla="*/ 1 h 227"/>
                <a:gd name="T36" fmla="*/ 160 w 272"/>
                <a:gd name="T37" fmla="*/ 0 h 227"/>
                <a:gd name="T38" fmla="*/ 158 w 272"/>
                <a:gd name="T39" fmla="*/ 0 h 227"/>
                <a:gd name="T40" fmla="*/ 115 w 272"/>
                <a:gd name="T41" fmla="*/ 0 h 227"/>
                <a:gd name="T42" fmla="*/ 115 w 272"/>
                <a:gd name="T43" fmla="*/ 0 h 227"/>
                <a:gd name="T44" fmla="*/ 113 w 272"/>
                <a:gd name="T45" fmla="*/ 0 h 227"/>
                <a:gd name="T46" fmla="*/ 111 w 272"/>
                <a:gd name="T47" fmla="*/ 1 h 227"/>
                <a:gd name="T48" fmla="*/ 109 w 272"/>
                <a:gd name="T49" fmla="*/ 3 h 227"/>
                <a:gd name="T50" fmla="*/ 109 w 272"/>
                <a:gd name="T51" fmla="*/ 5 h 227"/>
                <a:gd name="T52" fmla="*/ 109 w 272"/>
                <a:gd name="T53" fmla="*/ 21 h 227"/>
                <a:gd name="T54" fmla="*/ 6 w 272"/>
                <a:gd name="T55" fmla="*/ 21 h 227"/>
                <a:gd name="T56" fmla="*/ 6 w 272"/>
                <a:gd name="T57" fmla="*/ 21 h 227"/>
                <a:gd name="T58" fmla="*/ 4 w 272"/>
                <a:gd name="T59" fmla="*/ 21 h 227"/>
                <a:gd name="T60" fmla="*/ 3 w 272"/>
                <a:gd name="T61" fmla="*/ 23 h 227"/>
                <a:gd name="T62" fmla="*/ 2 w 272"/>
                <a:gd name="T63" fmla="*/ 24 h 227"/>
                <a:gd name="T64" fmla="*/ 0 w 272"/>
                <a:gd name="T65" fmla="*/ 27 h 227"/>
                <a:gd name="T66" fmla="*/ 0 w 272"/>
                <a:gd name="T67" fmla="*/ 222 h 227"/>
                <a:gd name="T68" fmla="*/ 0 w 272"/>
                <a:gd name="T69" fmla="*/ 222 h 227"/>
                <a:gd name="T70" fmla="*/ 2 w 272"/>
                <a:gd name="T71" fmla="*/ 223 h 227"/>
                <a:gd name="T72" fmla="*/ 3 w 272"/>
                <a:gd name="T73" fmla="*/ 226 h 227"/>
                <a:gd name="T74" fmla="*/ 4 w 272"/>
                <a:gd name="T75" fmla="*/ 227 h 227"/>
                <a:gd name="T76" fmla="*/ 6 w 272"/>
                <a:gd name="T77" fmla="*/ 227 h 227"/>
                <a:gd name="T78" fmla="*/ 6 w 272"/>
                <a:gd name="T79" fmla="*/ 22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2" h="227">
                  <a:moveTo>
                    <a:pt x="6" y="227"/>
                  </a:moveTo>
                  <a:lnTo>
                    <a:pt x="266" y="227"/>
                  </a:lnTo>
                  <a:lnTo>
                    <a:pt x="266" y="227"/>
                  </a:lnTo>
                  <a:lnTo>
                    <a:pt x="269" y="227"/>
                  </a:lnTo>
                  <a:lnTo>
                    <a:pt x="270" y="226"/>
                  </a:lnTo>
                  <a:lnTo>
                    <a:pt x="272" y="223"/>
                  </a:lnTo>
                  <a:lnTo>
                    <a:pt x="272" y="222"/>
                  </a:lnTo>
                  <a:lnTo>
                    <a:pt x="272" y="27"/>
                  </a:lnTo>
                  <a:lnTo>
                    <a:pt x="272" y="27"/>
                  </a:lnTo>
                  <a:lnTo>
                    <a:pt x="272" y="24"/>
                  </a:lnTo>
                  <a:lnTo>
                    <a:pt x="270" y="23"/>
                  </a:lnTo>
                  <a:lnTo>
                    <a:pt x="269" y="21"/>
                  </a:lnTo>
                  <a:lnTo>
                    <a:pt x="266" y="21"/>
                  </a:lnTo>
                  <a:lnTo>
                    <a:pt x="163" y="21"/>
                  </a:lnTo>
                  <a:lnTo>
                    <a:pt x="163" y="5"/>
                  </a:lnTo>
                  <a:lnTo>
                    <a:pt x="163" y="5"/>
                  </a:lnTo>
                  <a:lnTo>
                    <a:pt x="163" y="3"/>
                  </a:lnTo>
                  <a:lnTo>
                    <a:pt x="162" y="1"/>
                  </a:lnTo>
                  <a:lnTo>
                    <a:pt x="160" y="0"/>
                  </a:lnTo>
                  <a:lnTo>
                    <a:pt x="158" y="0"/>
                  </a:lnTo>
                  <a:lnTo>
                    <a:pt x="115" y="0"/>
                  </a:lnTo>
                  <a:lnTo>
                    <a:pt x="115" y="0"/>
                  </a:lnTo>
                  <a:lnTo>
                    <a:pt x="113" y="0"/>
                  </a:lnTo>
                  <a:lnTo>
                    <a:pt x="111" y="1"/>
                  </a:lnTo>
                  <a:lnTo>
                    <a:pt x="109" y="3"/>
                  </a:lnTo>
                  <a:lnTo>
                    <a:pt x="109" y="5"/>
                  </a:lnTo>
                  <a:lnTo>
                    <a:pt x="109" y="21"/>
                  </a:lnTo>
                  <a:lnTo>
                    <a:pt x="6" y="21"/>
                  </a:lnTo>
                  <a:lnTo>
                    <a:pt x="6" y="21"/>
                  </a:lnTo>
                  <a:lnTo>
                    <a:pt x="4" y="21"/>
                  </a:lnTo>
                  <a:lnTo>
                    <a:pt x="3" y="23"/>
                  </a:lnTo>
                  <a:lnTo>
                    <a:pt x="2" y="24"/>
                  </a:lnTo>
                  <a:lnTo>
                    <a:pt x="0" y="27"/>
                  </a:lnTo>
                  <a:lnTo>
                    <a:pt x="0" y="222"/>
                  </a:lnTo>
                  <a:lnTo>
                    <a:pt x="0" y="222"/>
                  </a:lnTo>
                  <a:lnTo>
                    <a:pt x="2" y="223"/>
                  </a:lnTo>
                  <a:lnTo>
                    <a:pt x="3" y="226"/>
                  </a:lnTo>
                  <a:lnTo>
                    <a:pt x="4" y="227"/>
                  </a:lnTo>
                  <a:lnTo>
                    <a:pt x="6" y="227"/>
                  </a:lnTo>
                  <a:lnTo>
                    <a:pt x="6" y="2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3" name="Freeform 99">
              <a:extLst>
                <a:ext uri="{FF2B5EF4-FFF2-40B4-BE49-F238E27FC236}">
                  <a16:creationId xmlns:a16="http://schemas.microsoft.com/office/drawing/2014/main" id="{6E4CE690-D1E0-4184-8574-81F2C3AFCBF4}"/>
                </a:ext>
              </a:extLst>
            </p:cNvPr>
            <p:cNvSpPr>
              <a:spLocks/>
            </p:cNvSpPr>
            <p:nvPr/>
          </p:nvSpPr>
          <p:spPr bwMode="auto">
            <a:xfrm>
              <a:off x="682626" y="1982788"/>
              <a:ext cx="265113" cy="77788"/>
            </a:xfrm>
            <a:custGeom>
              <a:avLst/>
              <a:gdLst>
                <a:gd name="T0" fmla="*/ 6 w 336"/>
                <a:gd name="T1" fmla="*/ 0 h 98"/>
                <a:gd name="T2" fmla="*/ 4 w 336"/>
                <a:gd name="T3" fmla="*/ 0 h 98"/>
                <a:gd name="T4" fmla="*/ 2 w 336"/>
                <a:gd name="T5" fmla="*/ 3 h 98"/>
                <a:gd name="T6" fmla="*/ 0 w 336"/>
                <a:gd name="T7" fmla="*/ 16 h 98"/>
                <a:gd name="T8" fmla="*/ 2 w 336"/>
                <a:gd name="T9" fmla="*/ 19 h 98"/>
                <a:gd name="T10" fmla="*/ 4 w 336"/>
                <a:gd name="T11" fmla="*/ 22 h 98"/>
                <a:gd name="T12" fmla="*/ 124 w 336"/>
                <a:gd name="T13" fmla="*/ 22 h 98"/>
                <a:gd name="T14" fmla="*/ 67 w 336"/>
                <a:gd name="T15" fmla="*/ 89 h 98"/>
                <a:gd name="T16" fmla="*/ 66 w 336"/>
                <a:gd name="T17" fmla="*/ 93 h 98"/>
                <a:gd name="T18" fmla="*/ 67 w 336"/>
                <a:gd name="T19" fmla="*/ 97 h 98"/>
                <a:gd name="T20" fmla="*/ 71 w 336"/>
                <a:gd name="T21" fmla="*/ 98 h 98"/>
                <a:gd name="T22" fmla="*/ 73 w 336"/>
                <a:gd name="T23" fmla="*/ 97 h 98"/>
                <a:gd name="T24" fmla="*/ 139 w 336"/>
                <a:gd name="T25" fmla="*/ 22 h 98"/>
                <a:gd name="T26" fmla="*/ 163 w 336"/>
                <a:gd name="T27" fmla="*/ 81 h 98"/>
                <a:gd name="T28" fmla="*/ 164 w 336"/>
                <a:gd name="T29" fmla="*/ 84 h 98"/>
                <a:gd name="T30" fmla="*/ 167 w 336"/>
                <a:gd name="T31" fmla="*/ 86 h 98"/>
                <a:gd name="T32" fmla="*/ 168 w 336"/>
                <a:gd name="T33" fmla="*/ 86 h 98"/>
                <a:gd name="T34" fmla="*/ 172 w 336"/>
                <a:gd name="T35" fmla="*/ 85 h 98"/>
                <a:gd name="T36" fmla="*/ 173 w 336"/>
                <a:gd name="T37" fmla="*/ 81 h 98"/>
                <a:gd name="T38" fmla="*/ 199 w 336"/>
                <a:gd name="T39" fmla="*/ 22 h 98"/>
                <a:gd name="T40" fmla="*/ 262 w 336"/>
                <a:gd name="T41" fmla="*/ 96 h 98"/>
                <a:gd name="T42" fmla="*/ 266 w 336"/>
                <a:gd name="T43" fmla="*/ 98 h 98"/>
                <a:gd name="T44" fmla="*/ 269 w 336"/>
                <a:gd name="T45" fmla="*/ 97 h 98"/>
                <a:gd name="T46" fmla="*/ 270 w 336"/>
                <a:gd name="T47" fmla="*/ 94 h 98"/>
                <a:gd name="T48" fmla="*/ 272 w 336"/>
                <a:gd name="T49" fmla="*/ 90 h 98"/>
                <a:gd name="T50" fmla="*/ 212 w 336"/>
                <a:gd name="T51" fmla="*/ 22 h 98"/>
                <a:gd name="T52" fmla="*/ 331 w 336"/>
                <a:gd name="T53" fmla="*/ 22 h 98"/>
                <a:gd name="T54" fmla="*/ 335 w 336"/>
                <a:gd name="T55" fmla="*/ 21 h 98"/>
                <a:gd name="T56" fmla="*/ 336 w 336"/>
                <a:gd name="T57" fmla="*/ 16 h 98"/>
                <a:gd name="T58" fmla="*/ 336 w 336"/>
                <a:gd name="T59" fmla="*/ 6 h 98"/>
                <a:gd name="T60" fmla="*/ 335 w 336"/>
                <a:gd name="T61" fmla="*/ 2 h 98"/>
                <a:gd name="T62" fmla="*/ 331 w 336"/>
                <a:gd name="T6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6" h="98">
                  <a:moveTo>
                    <a:pt x="331" y="0"/>
                  </a:moveTo>
                  <a:lnTo>
                    <a:pt x="6" y="0"/>
                  </a:lnTo>
                  <a:lnTo>
                    <a:pt x="6" y="0"/>
                  </a:lnTo>
                  <a:lnTo>
                    <a:pt x="4" y="0"/>
                  </a:lnTo>
                  <a:lnTo>
                    <a:pt x="2" y="2"/>
                  </a:lnTo>
                  <a:lnTo>
                    <a:pt x="2" y="3"/>
                  </a:lnTo>
                  <a:lnTo>
                    <a:pt x="0" y="6"/>
                  </a:lnTo>
                  <a:lnTo>
                    <a:pt x="0" y="16"/>
                  </a:lnTo>
                  <a:lnTo>
                    <a:pt x="0" y="16"/>
                  </a:lnTo>
                  <a:lnTo>
                    <a:pt x="2" y="19"/>
                  </a:lnTo>
                  <a:lnTo>
                    <a:pt x="2" y="21"/>
                  </a:lnTo>
                  <a:lnTo>
                    <a:pt x="4" y="22"/>
                  </a:lnTo>
                  <a:lnTo>
                    <a:pt x="6" y="22"/>
                  </a:lnTo>
                  <a:lnTo>
                    <a:pt x="124" y="22"/>
                  </a:lnTo>
                  <a:lnTo>
                    <a:pt x="67" y="89"/>
                  </a:lnTo>
                  <a:lnTo>
                    <a:pt x="67" y="89"/>
                  </a:lnTo>
                  <a:lnTo>
                    <a:pt x="66" y="90"/>
                  </a:lnTo>
                  <a:lnTo>
                    <a:pt x="66" y="93"/>
                  </a:lnTo>
                  <a:lnTo>
                    <a:pt x="66" y="94"/>
                  </a:lnTo>
                  <a:lnTo>
                    <a:pt x="67" y="97"/>
                  </a:lnTo>
                  <a:lnTo>
                    <a:pt x="67" y="97"/>
                  </a:lnTo>
                  <a:lnTo>
                    <a:pt x="71" y="98"/>
                  </a:lnTo>
                  <a:lnTo>
                    <a:pt x="71" y="98"/>
                  </a:lnTo>
                  <a:lnTo>
                    <a:pt x="73" y="97"/>
                  </a:lnTo>
                  <a:lnTo>
                    <a:pt x="75" y="96"/>
                  </a:lnTo>
                  <a:lnTo>
                    <a:pt x="139" y="22"/>
                  </a:lnTo>
                  <a:lnTo>
                    <a:pt x="163" y="22"/>
                  </a:lnTo>
                  <a:lnTo>
                    <a:pt x="163" y="81"/>
                  </a:lnTo>
                  <a:lnTo>
                    <a:pt x="163" y="81"/>
                  </a:lnTo>
                  <a:lnTo>
                    <a:pt x="164" y="84"/>
                  </a:lnTo>
                  <a:lnTo>
                    <a:pt x="164" y="85"/>
                  </a:lnTo>
                  <a:lnTo>
                    <a:pt x="167" y="86"/>
                  </a:lnTo>
                  <a:lnTo>
                    <a:pt x="168" y="86"/>
                  </a:lnTo>
                  <a:lnTo>
                    <a:pt x="168" y="86"/>
                  </a:lnTo>
                  <a:lnTo>
                    <a:pt x="171" y="86"/>
                  </a:lnTo>
                  <a:lnTo>
                    <a:pt x="172" y="85"/>
                  </a:lnTo>
                  <a:lnTo>
                    <a:pt x="173" y="84"/>
                  </a:lnTo>
                  <a:lnTo>
                    <a:pt x="173" y="81"/>
                  </a:lnTo>
                  <a:lnTo>
                    <a:pt x="173" y="22"/>
                  </a:lnTo>
                  <a:lnTo>
                    <a:pt x="199" y="22"/>
                  </a:lnTo>
                  <a:lnTo>
                    <a:pt x="262" y="96"/>
                  </a:lnTo>
                  <a:lnTo>
                    <a:pt x="262" y="96"/>
                  </a:lnTo>
                  <a:lnTo>
                    <a:pt x="263" y="97"/>
                  </a:lnTo>
                  <a:lnTo>
                    <a:pt x="266" y="98"/>
                  </a:lnTo>
                  <a:lnTo>
                    <a:pt x="266" y="98"/>
                  </a:lnTo>
                  <a:lnTo>
                    <a:pt x="269" y="97"/>
                  </a:lnTo>
                  <a:lnTo>
                    <a:pt x="269" y="97"/>
                  </a:lnTo>
                  <a:lnTo>
                    <a:pt x="270" y="94"/>
                  </a:lnTo>
                  <a:lnTo>
                    <a:pt x="272" y="93"/>
                  </a:lnTo>
                  <a:lnTo>
                    <a:pt x="272" y="90"/>
                  </a:lnTo>
                  <a:lnTo>
                    <a:pt x="270" y="89"/>
                  </a:lnTo>
                  <a:lnTo>
                    <a:pt x="212" y="22"/>
                  </a:lnTo>
                  <a:lnTo>
                    <a:pt x="331" y="22"/>
                  </a:lnTo>
                  <a:lnTo>
                    <a:pt x="331" y="22"/>
                  </a:lnTo>
                  <a:lnTo>
                    <a:pt x="333" y="22"/>
                  </a:lnTo>
                  <a:lnTo>
                    <a:pt x="335" y="21"/>
                  </a:lnTo>
                  <a:lnTo>
                    <a:pt x="336" y="19"/>
                  </a:lnTo>
                  <a:lnTo>
                    <a:pt x="336" y="16"/>
                  </a:lnTo>
                  <a:lnTo>
                    <a:pt x="336" y="6"/>
                  </a:lnTo>
                  <a:lnTo>
                    <a:pt x="336" y="6"/>
                  </a:lnTo>
                  <a:lnTo>
                    <a:pt x="336" y="3"/>
                  </a:lnTo>
                  <a:lnTo>
                    <a:pt x="335" y="2"/>
                  </a:lnTo>
                  <a:lnTo>
                    <a:pt x="333" y="0"/>
                  </a:lnTo>
                  <a:lnTo>
                    <a:pt x="331" y="0"/>
                  </a:lnTo>
                  <a:lnTo>
                    <a:pt x="3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24" name="Group 123">
            <a:extLst>
              <a:ext uri="{FF2B5EF4-FFF2-40B4-BE49-F238E27FC236}">
                <a16:creationId xmlns:a16="http://schemas.microsoft.com/office/drawing/2014/main" id="{3F47D709-7123-4496-97F2-FCA2E8745C3B}"/>
              </a:ext>
            </a:extLst>
          </p:cNvPr>
          <p:cNvGrpSpPr>
            <a:grpSpLocks noChangeAspect="1"/>
          </p:cNvGrpSpPr>
          <p:nvPr/>
        </p:nvGrpSpPr>
        <p:grpSpPr>
          <a:xfrm>
            <a:off x="4536091" y="2644434"/>
            <a:ext cx="320040" cy="320040"/>
            <a:chOff x="2314576" y="4180523"/>
            <a:chExt cx="522288" cy="522288"/>
          </a:xfrm>
        </p:grpSpPr>
        <p:sp>
          <p:nvSpPr>
            <p:cNvPr id="125" name="Freeform 48">
              <a:extLst>
                <a:ext uri="{FF2B5EF4-FFF2-40B4-BE49-F238E27FC236}">
                  <a16:creationId xmlns:a16="http://schemas.microsoft.com/office/drawing/2014/main" id="{3FF9E39E-D222-4444-A819-CF2C8E5D8D0E}"/>
                </a:ext>
              </a:extLst>
            </p:cNvPr>
            <p:cNvSpPr>
              <a:spLocks noEditPoints="1"/>
            </p:cNvSpPr>
            <p:nvPr/>
          </p:nvSpPr>
          <p:spPr bwMode="auto">
            <a:xfrm>
              <a:off x="2314576" y="4180523"/>
              <a:ext cx="522288" cy="522288"/>
            </a:xfrm>
            <a:custGeom>
              <a:avLst/>
              <a:gdLst>
                <a:gd name="T0" fmla="*/ 313 w 658"/>
                <a:gd name="T1" fmla="*/ 658 h 658"/>
                <a:gd name="T2" fmla="*/ 263 w 658"/>
                <a:gd name="T3" fmla="*/ 652 h 658"/>
                <a:gd name="T4" fmla="*/ 201 w 658"/>
                <a:gd name="T5" fmla="*/ 633 h 658"/>
                <a:gd name="T6" fmla="*/ 121 w 658"/>
                <a:gd name="T7" fmla="*/ 583 h 658"/>
                <a:gd name="T8" fmla="*/ 56 w 658"/>
                <a:gd name="T9" fmla="*/ 513 h 658"/>
                <a:gd name="T10" fmla="*/ 14 w 658"/>
                <a:gd name="T11" fmla="*/ 427 h 658"/>
                <a:gd name="T12" fmla="*/ 4 w 658"/>
                <a:gd name="T13" fmla="*/ 379 h 658"/>
                <a:gd name="T14" fmla="*/ 0 w 658"/>
                <a:gd name="T15" fmla="*/ 329 h 658"/>
                <a:gd name="T16" fmla="*/ 2 w 658"/>
                <a:gd name="T17" fmla="*/ 296 h 658"/>
                <a:gd name="T18" fmla="*/ 10 w 658"/>
                <a:gd name="T19" fmla="*/ 247 h 658"/>
                <a:gd name="T20" fmla="*/ 40 w 658"/>
                <a:gd name="T21" fmla="*/ 173 h 658"/>
                <a:gd name="T22" fmla="*/ 96 w 658"/>
                <a:gd name="T23" fmla="*/ 97 h 658"/>
                <a:gd name="T24" fmla="*/ 173 w 658"/>
                <a:gd name="T25" fmla="*/ 40 h 658"/>
                <a:gd name="T26" fmla="*/ 247 w 658"/>
                <a:gd name="T27" fmla="*/ 11 h 658"/>
                <a:gd name="T28" fmla="*/ 295 w 658"/>
                <a:gd name="T29" fmla="*/ 3 h 658"/>
                <a:gd name="T30" fmla="*/ 329 w 658"/>
                <a:gd name="T31" fmla="*/ 0 h 658"/>
                <a:gd name="T32" fmla="*/ 379 w 658"/>
                <a:gd name="T33" fmla="*/ 4 h 658"/>
                <a:gd name="T34" fmla="*/ 427 w 658"/>
                <a:gd name="T35" fmla="*/ 15 h 658"/>
                <a:gd name="T36" fmla="*/ 513 w 658"/>
                <a:gd name="T37" fmla="*/ 56 h 658"/>
                <a:gd name="T38" fmla="*/ 583 w 658"/>
                <a:gd name="T39" fmla="*/ 121 h 658"/>
                <a:gd name="T40" fmla="*/ 633 w 658"/>
                <a:gd name="T41" fmla="*/ 201 h 658"/>
                <a:gd name="T42" fmla="*/ 651 w 658"/>
                <a:gd name="T43" fmla="*/ 263 h 658"/>
                <a:gd name="T44" fmla="*/ 658 w 658"/>
                <a:gd name="T45" fmla="*/ 313 h 658"/>
                <a:gd name="T46" fmla="*/ 658 w 658"/>
                <a:gd name="T47" fmla="*/ 347 h 658"/>
                <a:gd name="T48" fmla="*/ 651 w 658"/>
                <a:gd name="T49" fmla="*/ 395 h 658"/>
                <a:gd name="T50" fmla="*/ 633 w 658"/>
                <a:gd name="T51" fmla="*/ 457 h 658"/>
                <a:gd name="T52" fmla="*/ 583 w 658"/>
                <a:gd name="T53" fmla="*/ 539 h 658"/>
                <a:gd name="T54" fmla="*/ 513 w 658"/>
                <a:gd name="T55" fmla="*/ 602 h 658"/>
                <a:gd name="T56" fmla="*/ 427 w 658"/>
                <a:gd name="T57" fmla="*/ 644 h 658"/>
                <a:gd name="T58" fmla="*/ 379 w 658"/>
                <a:gd name="T59" fmla="*/ 654 h 658"/>
                <a:gd name="T60" fmla="*/ 329 w 658"/>
                <a:gd name="T61" fmla="*/ 658 h 658"/>
                <a:gd name="T62" fmla="*/ 329 w 658"/>
                <a:gd name="T63" fmla="*/ 37 h 658"/>
                <a:gd name="T64" fmla="*/ 243 w 658"/>
                <a:gd name="T65" fmla="*/ 51 h 658"/>
                <a:gd name="T66" fmla="*/ 166 w 658"/>
                <a:gd name="T67" fmla="*/ 89 h 658"/>
                <a:gd name="T68" fmla="*/ 104 w 658"/>
                <a:gd name="T69" fmla="*/ 144 h 658"/>
                <a:gd name="T70" fmla="*/ 61 w 658"/>
                <a:gd name="T71" fmla="*/ 216 h 658"/>
                <a:gd name="T72" fmla="*/ 40 w 658"/>
                <a:gd name="T73" fmla="*/ 300 h 658"/>
                <a:gd name="T74" fmla="*/ 40 w 658"/>
                <a:gd name="T75" fmla="*/ 359 h 658"/>
                <a:gd name="T76" fmla="*/ 61 w 658"/>
                <a:gd name="T77" fmla="*/ 443 h 658"/>
                <a:gd name="T78" fmla="*/ 104 w 658"/>
                <a:gd name="T79" fmla="*/ 515 h 658"/>
                <a:gd name="T80" fmla="*/ 166 w 658"/>
                <a:gd name="T81" fmla="*/ 571 h 658"/>
                <a:gd name="T82" fmla="*/ 243 w 658"/>
                <a:gd name="T83" fmla="*/ 607 h 658"/>
                <a:gd name="T84" fmla="*/ 329 w 658"/>
                <a:gd name="T85" fmla="*/ 621 h 658"/>
                <a:gd name="T86" fmla="*/ 388 w 658"/>
                <a:gd name="T87" fmla="*/ 615 h 658"/>
                <a:gd name="T88" fmla="*/ 467 w 658"/>
                <a:gd name="T89" fmla="*/ 586 h 658"/>
                <a:gd name="T90" fmla="*/ 534 w 658"/>
                <a:gd name="T91" fmla="*/ 535 h 658"/>
                <a:gd name="T92" fmla="*/ 586 w 658"/>
                <a:gd name="T93" fmla="*/ 468 h 658"/>
                <a:gd name="T94" fmla="*/ 615 w 658"/>
                <a:gd name="T95" fmla="*/ 388 h 658"/>
                <a:gd name="T96" fmla="*/ 620 w 658"/>
                <a:gd name="T97" fmla="*/ 329 h 658"/>
                <a:gd name="T98" fmla="*/ 607 w 658"/>
                <a:gd name="T99" fmla="*/ 243 h 658"/>
                <a:gd name="T100" fmla="*/ 571 w 658"/>
                <a:gd name="T101" fmla="*/ 166 h 658"/>
                <a:gd name="T102" fmla="*/ 514 w 658"/>
                <a:gd name="T103" fmla="*/ 105 h 658"/>
                <a:gd name="T104" fmla="*/ 443 w 658"/>
                <a:gd name="T105" fmla="*/ 62 h 658"/>
                <a:gd name="T106" fmla="*/ 358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8"/>
                  </a:lnTo>
                  <a:lnTo>
                    <a:pt x="295" y="657"/>
                  </a:lnTo>
                  <a:lnTo>
                    <a:pt x="279" y="654"/>
                  </a:lnTo>
                  <a:lnTo>
                    <a:pt x="263" y="652"/>
                  </a:lnTo>
                  <a:lnTo>
                    <a:pt x="247" y="648"/>
                  </a:lnTo>
                  <a:lnTo>
                    <a:pt x="232" y="644"/>
                  </a:lnTo>
                  <a:lnTo>
                    <a:pt x="201" y="633"/>
                  </a:lnTo>
                  <a:lnTo>
                    <a:pt x="173" y="618"/>
                  </a:lnTo>
                  <a:lnTo>
                    <a:pt x="145" y="602"/>
                  </a:lnTo>
                  <a:lnTo>
                    <a:pt x="121" y="583"/>
                  </a:lnTo>
                  <a:lnTo>
                    <a:pt x="96" y="562"/>
                  </a:lnTo>
                  <a:lnTo>
                    <a:pt x="75" y="539"/>
                  </a:lnTo>
                  <a:lnTo>
                    <a:pt x="56" y="513"/>
                  </a:lnTo>
                  <a:lnTo>
                    <a:pt x="40" y="486"/>
                  </a:lnTo>
                  <a:lnTo>
                    <a:pt x="26" y="457"/>
                  </a:lnTo>
                  <a:lnTo>
                    <a:pt x="14" y="427"/>
                  </a:lnTo>
                  <a:lnTo>
                    <a:pt x="10" y="411"/>
                  </a:lnTo>
                  <a:lnTo>
                    <a:pt x="6" y="395"/>
                  </a:lnTo>
                  <a:lnTo>
                    <a:pt x="4" y="379"/>
                  </a:lnTo>
                  <a:lnTo>
                    <a:pt x="2" y="363"/>
                  </a:lnTo>
                  <a:lnTo>
                    <a:pt x="1" y="347"/>
                  </a:lnTo>
                  <a:lnTo>
                    <a:pt x="0" y="329"/>
                  </a:lnTo>
                  <a:lnTo>
                    <a:pt x="0" y="329"/>
                  </a:lnTo>
                  <a:lnTo>
                    <a:pt x="1" y="313"/>
                  </a:lnTo>
                  <a:lnTo>
                    <a:pt x="2" y="296"/>
                  </a:lnTo>
                  <a:lnTo>
                    <a:pt x="4" y="279"/>
                  </a:lnTo>
                  <a:lnTo>
                    <a:pt x="6" y="263"/>
                  </a:lnTo>
                  <a:lnTo>
                    <a:pt x="10" y="247"/>
                  </a:lnTo>
                  <a:lnTo>
                    <a:pt x="14" y="232"/>
                  </a:lnTo>
                  <a:lnTo>
                    <a:pt x="26" y="201"/>
                  </a:lnTo>
                  <a:lnTo>
                    <a:pt x="40" y="173"/>
                  </a:lnTo>
                  <a:lnTo>
                    <a:pt x="56" y="145"/>
                  </a:lnTo>
                  <a:lnTo>
                    <a:pt x="75" y="121"/>
                  </a:lnTo>
                  <a:lnTo>
                    <a:pt x="96" y="97"/>
                  </a:lnTo>
                  <a:lnTo>
                    <a:pt x="121" y="75"/>
                  </a:lnTo>
                  <a:lnTo>
                    <a:pt x="145" y="56"/>
                  </a:lnTo>
                  <a:lnTo>
                    <a:pt x="173" y="40"/>
                  </a:lnTo>
                  <a:lnTo>
                    <a:pt x="201" y="27"/>
                  </a:lnTo>
                  <a:lnTo>
                    <a:pt x="232" y="15"/>
                  </a:lnTo>
                  <a:lnTo>
                    <a:pt x="247" y="11"/>
                  </a:lnTo>
                  <a:lnTo>
                    <a:pt x="263" y="7"/>
                  </a:lnTo>
                  <a:lnTo>
                    <a:pt x="279" y="4"/>
                  </a:lnTo>
                  <a:lnTo>
                    <a:pt x="295" y="3"/>
                  </a:lnTo>
                  <a:lnTo>
                    <a:pt x="313" y="1"/>
                  </a:lnTo>
                  <a:lnTo>
                    <a:pt x="329" y="0"/>
                  </a:lnTo>
                  <a:lnTo>
                    <a:pt x="329" y="0"/>
                  </a:lnTo>
                  <a:lnTo>
                    <a:pt x="346" y="1"/>
                  </a:lnTo>
                  <a:lnTo>
                    <a:pt x="362" y="3"/>
                  </a:lnTo>
                  <a:lnTo>
                    <a:pt x="379" y="4"/>
                  </a:lnTo>
                  <a:lnTo>
                    <a:pt x="395" y="7"/>
                  </a:lnTo>
                  <a:lnTo>
                    <a:pt x="411" y="11"/>
                  </a:lnTo>
                  <a:lnTo>
                    <a:pt x="427" y="15"/>
                  </a:lnTo>
                  <a:lnTo>
                    <a:pt x="457" y="27"/>
                  </a:lnTo>
                  <a:lnTo>
                    <a:pt x="486" y="40"/>
                  </a:lnTo>
                  <a:lnTo>
                    <a:pt x="513" y="56"/>
                  </a:lnTo>
                  <a:lnTo>
                    <a:pt x="539" y="75"/>
                  </a:lnTo>
                  <a:lnTo>
                    <a:pt x="561" y="97"/>
                  </a:lnTo>
                  <a:lnTo>
                    <a:pt x="583" y="121"/>
                  </a:lnTo>
                  <a:lnTo>
                    <a:pt x="602" y="145"/>
                  </a:lnTo>
                  <a:lnTo>
                    <a:pt x="618" y="173"/>
                  </a:lnTo>
                  <a:lnTo>
                    <a:pt x="633" y="201"/>
                  </a:lnTo>
                  <a:lnTo>
                    <a:pt x="643" y="232"/>
                  </a:lnTo>
                  <a:lnTo>
                    <a:pt x="647" y="247"/>
                  </a:lnTo>
                  <a:lnTo>
                    <a:pt x="651" y="263"/>
                  </a:lnTo>
                  <a:lnTo>
                    <a:pt x="654" y="279"/>
                  </a:lnTo>
                  <a:lnTo>
                    <a:pt x="657" y="296"/>
                  </a:lnTo>
                  <a:lnTo>
                    <a:pt x="658" y="313"/>
                  </a:lnTo>
                  <a:lnTo>
                    <a:pt x="658" y="329"/>
                  </a:lnTo>
                  <a:lnTo>
                    <a:pt x="658" y="329"/>
                  </a:lnTo>
                  <a:lnTo>
                    <a:pt x="658" y="347"/>
                  </a:lnTo>
                  <a:lnTo>
                    <a:pt x="657" y="363"/>
                  </a:lnTo>
                  <a:lnTo>
                    <a:pt x="654" y="379"/>
                  </a:lnTo>
                  <a:lnTo>
                    <a:pt x="651" y="395"/>
                  </a:lnTo>
                  <a:lnTo>
                    <a:pt x="647" y="411"/>
                  </a:lnTo>
                  <a:lnTo>
                    <a:pt x="643" y="427"/>
                  </a:lnTo>
                  <a:lnTo>
                    <a:pt x="633" y="457"/>
                  </a:lnTo>
                  <a:lnTo>
                    <a:pt x="618" y="486"/>
                  </a:lnTo>
                  <a:lnTo>
                    <a:pt x="602" y="513"/>
                  </a:lnTo>
                  <a:lnTo>
                    <a:pt x="583" y="539"/>
                  </a:lnTo>
                  <a:lnTo>
                    <a:pt x="561" y="562"/>
                  </a:lnTo>
                  <a:lnTo>
                    <a:pt x="539" y="583"/>
                  </a:lnTo>
                  <a:lnTo>
                    <a:pt x="513" y="602"/>
                  </a:lnTo>
                  <a:lnTo>
                    <a:pt x="486" y="618"/>
                  </a:lnTo>
                  <a:lnTo>
                    <a:pt x="457" y="633"/>
                  </a:lnTo>
                  <a:lnTo>
                    <a:pt x="427" y="644"/>
                  </a:lnTo>
                  <a:lnTo>
                    <a:pt x="411" y="648"/>
                  </a:lnTo>
                  <a:lnTo>
                    <a:pt x="395" y="652"/>
                  </a:lnTo>
                  <a:lnTo>
                    <a:pt x="379" y="654"/>
                  </a:lnTo>
                  <a:lnTo>
                    <a:pt x="362" y="657"/>
                  </a:lnTo>
                  <a:lnTo>
                    <a:pt x="346" y="658"/>
                  </a:lnTo>
                  <a:lnTo>
                    <a:pt x="329" y="658"/>
                  </a:lnTo>
                  <a:lnTo>
                    <a:pt x="329" y="658"/>
                  </a:lnTo>
                  <a:close/>
                  <a:moveTo>
                    <a:pt x="329" y="37"/>
                  </a:moveTo>
                  <a:lnTo>
                    <a:pt x="329" y="37"/>
                  </a:lnTo>
                  <a:lnTo>
                    <a:pt x="299" y="40"/>
                  </a:lnTo>
                  <a:lnTo>
                    <a:pt x="271" y="44"/>
                  </a:lnTo>
                  <a:lnTo>
                    <a:pt x="243" y="51"/>
                  </a:lnTo>
                  <a:lnTo>
                    <a:pt x="216" y="62"/>
                  </a:lnTo>
                  <a:lnTo>
                    <a:pt x="190" y="74"/>
                  </a:lnTo>
                  <a:lnTo>
                    <a:pt x="166" y="89"/>
                  </a:lnTo>
                  <a:lnTo>
                    <a:pt x="143" y="105"/>
                  </a:lnTo>
                  <a:lnTo>
                    <a:pt x="123" y="123"/>
                  </a:lnTo>
                  <a:lnTo>
                    <a:pt x="104" y="144"/>
                  </a:lnTo>
                  <a:lnTo>
                    <a:pt x="88" y="166"/>
                  </a:lnTo>
                  <a:lnTo>
                    <a:pt x="73" y="191"/>
                  </a:lnTo>
                  <a:lnTo>
                    <a:pt x="61" y="216"/>
                  </a:lnTo>
                  <a:lnTo>
                    <a:pt x="51" y="243"/>
                  </a:lnTo>
                  <a:lnTo>
                    <a:pt x="44" y="271"/>
                  </a:lnTo>
                  <a:lnTo>
                    <a:pt x="40" y="300"/>
                  </a:lnTo>
                  <a:lnTo>
                    <a:pt x="37" y="329"/>
                  </a:lnTo>
                  <a:lnTo>
                    <a:pt x="37" y="329"/>
                  </a:lnTo>
                  <a:lnTo>
                    <a:pt x="40" y="359"/>
                  </a:lnTo>
                  <a:lnTo>
                    <a:pt x="44" y="388"/>
                  </a:lnTo>
                  <a:lnTo>
                    <a:pt x="51" y="416"/>
                  </a:lnTo>
                  <a:lnTo>
                    <a:pt x="61" y="443"/>
                  </a:lnTo>
                  <a:lnTo>
                    <a:pt x="73" y="468"/>
                  </a:lnTo>
                  <a:lnTo>
                    <a:pt x="88" y="492"/>
                  </a:lnTo>
                  <a:lnTo>
                    <a:pt x="104" y="515"/>
                  </a:lnTo>
                  <a:lnTo>
                    <a:pt x="123" y="535"/>
                  </a:lnTo>
                  <a:lnTo>
                    <a:pt x="143" y="554"/>
                  </a:lnTo>
                  <a:lnTo>
                    <a:pt x="166" y="571"/>
                  </a:lnTo>
                  <a:lnTo>
                    <a:pt x="190" y="586"/>
                  </a:lnTo>
                  <a:lnTo>
                    <a:pt x="216" y="598"/>
                  </a:lnTo>
                  <a:lnTo>
                    <a:pt x="243" y="607"/>
                  </a:lnTo>
                  <a:lnTo>
                    <a:pt x="271" y="615"/>
                  </a:lnTo>
                  <a:lnTo>
                    <a:pt x="299" y="619"/>
                  </a:lnTo>
                  <a:lnTo>
                    <a:pt x="329" y="621"/>
                  </a:lnTo>
                  <a:lnTo>
                    <a:pt x="329" y="621"/>
                  </a:lnTo>
                  <a:lnTo>
                    <a:pt x="358" y="619"/>
                  </a:lnTo>
                  <a:lnTo>
                    <a:pt x="388" y="615"/>
                  </a:lnTo>
                  <a:lnTo>
                    <a:pt x="416" y="607"/>
                  </a:lnTo>
                  <a:lnTo>
                    <a:pt x="443" y="598"/>
                  </a:lnTo>
                  <a:lnTo>
                    <a:pt x="467" y="586"/>
                  </a:lnTo>
                  <a:lnTo>
                    <a:pt x="491" y="571"/>
                  </a:lnTo>
                  <a:lnTo>
                    <a:pt x="514" y="554"/>
                  </a:lnTo>
                  <a:lnTo>
                    <a:pt x="534" y="535"/>
                  </a:lnTo>
                  <a:lnTo>
                    <a:pt x="553" y="515"/>
                  </a:lnTo>
                  <a:lnTo>
                    <a:pt x="571" y="492"/>
                  </a:lnTo>
                  <a:lnTo>
                    <a:pt x="586" y="468"/>
                  </a:lnTo>
                  <a:lnTo>
                    <a:pt x="598" y="443"/>
                  </a:lnTo>
                  <a:lnTo>
                    <a:pt x="607" y="416"/>
                  </a:lnTo>
                  <a:lnTo>
                    <a:pt x="615" y="388"/>
                  </a:lnTo>
                  <a:lnTo>
                    <a:pt x="619" y="359"/>
                  </a:lnTo>
                  <a:lnTo>
                    <a:pt x="620" y="329"/>
                  </a:lnTo>
                  <a:lnTo>
                    <a:pt x="620" y="329"/>
                  </a:lnTo>
                  <a:lnTo>
                    <a:pt x="619" y="300"/>
                  </a:lnTo>
                  <a:lnTo>
                    <a:pt x="615" y="271"/>
                  </a:lnTo>
                  <a:lnTo>
                    <a:pt x="607" y="243"/>
                  </a:lnTo>
                  <a:lnTo>
                    <a:pt x="598" y="216"/>
                  </a:lnTo>
                  <a:lnTo>
                    <a:pt x="586" y="191"/>
                  </a:lnTo>
                  <a:lnTo>
                    <a:pt x="571" y="166"/>
                  </a:lnTo>
                  <a:lnTo>
                    <a:pt x="553" y="144"/>
                  </a:lnTo>
                  <a:lnTo>
                    <a:pt x="534" y="123"/>
                  </a:lnTo>
                  <a:lnTo>
                    <a:pt x="514" y="105"/>
                  </a:lnTo>
                  <a:lnTo>
                    <a:pt x="491" y="89"/>
                  </a:lnTo>
                  <a:lnTo>
                    <a:pt x="467" y="74"/>
                  </a:lnTo>
                  <a:lnTo>
                    <a:pt x="443" y="62"/>
                  </a:lnTo>
                  <a:lnTo>
                    <a:pt x="416" y="51"/>
                  </a:lnTo>
                  <a:lnTo>
                    <a:pt x="388" y="44"/>
                  </a:lnTo>
                  <a:lnTo>
                    <a:pt x="358" y="40"/>
                  </a:lnTo>
                  <a:lnTo>
                    <a:pt x="329" y="37"/>
                  </a:lnTo>
                  <a:lnTo>
                    <a:pt x="329" y="3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6" name="Freeform 231">
              <a:extLst>
                <a:ext uri="{FF2B5EF4-FFF2-40B4-BE49-F238E27FC236}">
                  <a16:creationId xmlns:a16="http://schemas.microsoft.com/office/drawing/2014/main" id="{12F9919F-E811-4148-858F-A7D565291BFE}"/>
                </a:ext>
              </a:extLst>
            </p:cNvPr>
            <p:cNvSpPr>
              <a:spLocks/>
            </p:cNvSpPr>
            <p:nvPr/>
          </p:nvSpPr>
          <p:spPr bwMode="auto">
            <a:xfrm>
              <a:off x="2470151" y="4328160"/>
              <a:ext cx="38100" cy="39688"/>
            </a:xfrm>
            <a:custGeom>
              <a:avLst/>
              <a:gdLst>
                <a:gd name="T0" fmla="*/ 44 w 48"/>
                <a:gd name="T1" fmla="*/ 0 h 50"/>
                <a:gd name="T2" fmla="*/ 4 w 48"/>
                <a:gd name="T3" fmla="*/ 0 h 50"/>
                <a:gd name="T4" fmla="*/ 4 w 48"/>
                <a:gd name="T5" fmla="*/ 0 h 50"/>
                <a:gd name="T6" fmla="*/ 1 w 48"/>
                <a:gd name="T7" fmla="*/ 2 h 50"/>
                <a:gd name="T8" fmla="*/ 0 w 48"/>
                <a:gd name="T9" fmla="*/ 4 h 50"/>
                <a:gd name="T10" fmla="*/ 0 w 48"/>
                <a:gd name="T11" fmla="*/ 46 h 50"/>
                <a:gd name="T12" fmla="*/ 0 w 48"/>
                <a:gd name="T13" fmla="*/ 46 h 50"/>
                <a:gd name="T14" fmla="*/ 1 w 48"/>
                <a:gd name="T15" fmla="*/ 49 h 50"/>
                <a:gd name="T16" fmla="*/ 4 w 48"/>
                <a:gd name="T17" fmla="*/ 50 h 50"/>
                <a:gd name="T18" fmla="*/ 44 w 48"/>
                <a:gd name="T19" fmla="*/ 50 h 50"/>
                <a:gd name="T20" fmla="*/ 44 w 48"/>
                <a:gd name="T21" fmla="*/ 50 h 50"/>
                <a:gd name="T22" fmla="*/ 47 w 48"/>
                <a:gd name="T23" fmla="*/ 49 h 50"/>
                <a:gd name="T24" fmla="*/ 48 w 48"/>
                <a:gd name="T25" fmla="*/ 46 h 50"/>
                <a:gd name="T26" fmla="*/ 48 w 48"/>
                <a:gd name="T27" fmla="*/ 4 h 50"/>
                <a:gd name="T28" fmla="*/ 48 w 48"/>
                <a:gd name="T29" fmla="*/ 4 h 50"/>
                <a:gd name="T30" fmla="*/ 47 w 48"/>
                <a:gd name="T31" fmla="*/ 2 h 50"/>
                <a:gd name="T32" fmla="*/ 44 w 48"/>
                <a:gd name="T33" fmla="*/ 0 h 50"/>
                <a:gd name="T34" fmla="*/ 44 w 48"/>
                <a:gd name="T3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50">
                  <a:moveTo>
                    <a:pt x="44" y="0"/>
                  </a:moveTo>
                  <a:lnTo>
                    <a:pt x="4" y="0"/>
                  </a:lnTo>
                  <a:lnTo>
                    <a:pt x="4" y="0"/>
                  </a:lnTo>
                  <a:lnTo>
                    <a:pt x="1" y="2"/>
                  </a:lnTo>
                  <a:lnTo>
                    <a:pt x="0" y="4"/>
                  </a:lnTo>
                  <a:lnTo>
                    <a:pt x="0" y="46"/>
                  </a:lnTo>
                  <a:lnTo>
                    <a:pt x="0" y="46"/>
                  </a:lnTo>
                  <a:lnTo>
                    <a:pt x="1" y="49"/>
                  </a:lnTo>
                  <a:lnTo>
                    <a:pt x="4" y="50"/>
                  </a:lnTo>
                  <a:lnTo>
                    <a:pt x="44" y="50"/>
                  </a:lnTo>
                  <a:lnTo>
                    <a:pt x="44" y="50"/>
                  </a:lnTo>
                  <a:lnTo>
                    <a:pt x="47" y="49"/>
                  </a:lnTo>
                  <a:lnTo>
                    <a:pt x="48" y="46"/>
                  </a:lnTo>
                  <a:lnTo>
                    <a:pt x="48" y="4"/>
                  </a:lnTo>
                  <a:lnTo>
                    <a:pt x="48" y="4"/>
                  </a:lnTo>
                  <a:lnTo>
                    <a:pt x="47" y="2"/>
                  </a:lnTo>
                  <a:lnTo>
                    <a:pt x="44" y="0"/>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7" name="Freeform 232">
              <a:extLst>
                <a:ext uri="{FF2B5EF4-FFF2-40B4-BE49-F238E27FC236}">
                  <a16:creationId xmlns:a16="http://schemas.microsoft.com/office/drawing/2014/main" id="{CF190BE6-CEDA-4DC3-A4E6-1A0CDC424D46}"/>
                </a:ext>
              </a:extLst>
            </p:cNvPr>
            <p:cNvSpPr>
              <a:spLocks/>
            </p:cNvSpPr>
            <p:nvPr/>
          </p:nvSpPr>
          <p:spPr bwMode="auto">
            <a:xfrm>
              <a:off x="2527301" y="4328160"/>
              <a:ext cx="38100" cy="39688"/>
            </a:xfrm>
            <a:custGeom>
              <a:avLst/>
              <a:gdLst>
                <a:gd name="T0" fmla="*/ 4 w 49"/>
                <a:gd name="T1" fmla="*/ 50 h 50"/>
                <a:gd name="T2" fmla="*/ 45 w 49"/>
                <a:gd name="T3" fmla="*/ 50 h 50"/>
                <a:gd name="T4" fmla="*/ 45 w 49"/>
                <a:gd name="T5" fmla="*/ 50 h 50"/>
                <a:gd name="T6" fmla="*/ 49 w 49"/>
                <a:gd name="T7" fmla="*/ 49 h 50"/>
                <a:gd name="T8" fmla="*/ 49 w 49"/>
                <a:gd name="T9" fmla="*/ 46 h 50"/>
                <a:gd name="T10" fmla="*/ 49 w 49"/>
                <a:gd name="T11" fmla="*/ 4 h 50"/>
                <a:gd name="T12" fmla="*/ 49 w 49"/>
                <a:gd name="T13" fmla="*/ 4 h 50"/>
                <a:gd name="T14" fmla="*/ 49 w 49"/>
                <a:gd name="T15" fmla="*/ 2 h 50"/>
                <a:gd name="T16" fmla="*/ 45 w 49"/>
                <a:gd name="T17" fmla="*/ 0 h 50"/>
                <a:gd name="T18" fmla="*/ 4 w 49"/>
                <a:gd name="T19" fmla="*/ 0 h 50"/>
                <a:gd name="T20" fmla="*/ 4 w 49"/>
                <a:gd name="T21" fmla="*/ 0 h 50"/>
                <a:gd name="T22" fmla="*/ 2 w 49"/>
                <a:gd name="T23" fmla="*/ 2 h 50"/>
                <a:gd name="T24" fmla="*/ 0 w 49"/>
                <a:gd name="T25" fmla="*/ 4 h 50"/>
                <a:gd name="T26" fmla="*/ 0 w 49"/>
                <a:gd name="T27" fmla="*/ 46 h 50"/>
                <a:gd name="T28" fmla="*/ 0 w 49"/>
                <a:gd name="T29" fmla="*/ 46 h 50"/>
                <a:gd name="T30" fmla="*/ 2 w 49"/>
                <a:gd name="T31" fmla="*/ 49 h 50"/>
                <a:gd name="T32" fmla="*/ 4 w 49"/>
                <a:gd name="T33" fmla="*/ 50 h 50"/>
                <a:gd name="T34" fmla="*/ 4 w 49"/>
                <a:gd name="T3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50">
                  <a:moveTo>
                    <a:pt x="4" y="50"/>
                  </a:moveTo>
                  <a:lnTo>
                    <a:pt x="45" y="50"/>
                  </a:lnTo>
                  <a:lnTo>
                    <a:pt x="45" y="50"/>
                  </a:lnTo>
                  <a:lnTo>
                    <a:pt x="49" y="49"/>
                  </a:lnTo>
                  <a:lnTo>
                    <a:pt x="49" y="46"/>
                  </a:lnTo>
                  <a:lnTo>
                    <a:pt x="49" y="4"/>
                  </a:lnTo>
                  <a:lnTo>
                    <a:pt x="49" y="4"/>
                  </a:lnTo>
                  <a:lnTo>
                    <a:pt x="49" y="2"/>
                  </a:lnTo>
                  <a:lnTo>
                    <a:pt x="45" y="0"/>
                  </a:lnTo>
                  <a:lnTo>
                    <a:pt x="4" y="0"/>
                  </a:lnTo>
                  <a:lnTo>
                    <a:pt x="4" y="0"/>
                  </a:lnTo>
                  <a:lnTo>
                    <a:pt x="2" y="2"/>
                  </a:lnTo>
                  <a:lnTo>
                    <a:pt x="0" y="4"/>
                  </a:lnTo>
                  <a:lnTo>
                    <a:pt x="0" y="46"/>
                  </a:lnTo>
                  <a:lnTo>
                    <a:pt x="0" y="46"/>
                  </a:lnTo>
                  <a:lnTo>
                    <a:pt x="2" y="49"/>
                  </a:lnTo>
                  <a:lnTo>
                    <a:pt x="4" y="50"/>
                  </a:lnTo>
                  <a:lnTo>
                    <a:pt x="4" y="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8" name="Freeform 233">
              <a:extLst>
                <a:ext uri="{FF2B5EF4-FFF2-40B4-BE49-F238E27FC236}">
                  <a16:creationId xmlns:a16="http://schemas.microsoft.com/office/drawing/2014/main" id="{375A2F51-B0EB-4B29-9F25-C004A70F0A20}"/>
                </a:ext>
              </a:extLst>
            </p:cNvPr>
            <p:cNvSpPr>
              <a:spLocks/>
            </p:cNvSpPr>
            <p:nvPr/>
          </p:nvSpPr>
          <p:spPr bwMode="auto">
            <a:xfrm>
              <a:off x="2584451" y="4328160"/>
              <a:ext cx="39688" cy="39688"/>
            </a:xfrm>
            <a:custGeom>
              <a:avLst/>
              <a:gdLst>
                <a:gd name="T0" fmla="*/ 4 w 48"/>
                <a:gd name="T1" fmla="*/ 50 h 50"/>
                <a:gd name="T2" fmla="*/ 44 w 48"/>
                <a:gd name="T3" fmla="*/ 50 h 50"/>
                <a:gd name="T4" fmla="*/ 44 w 48"/>
                <a:gd name="T5" fmla="*/ 50 h 50"/>
                <a:gd name="T6" fmla="*/ 48 w 48"/>
                <a:gd name="T7" fmla="*/ 49 h 50"/>
                <a:gd name="T8" fmla="*/ 48 w 48"/>
                <a:gd name="T9" fmla="*/ 46 h 50"/>
                <a:gd name="T10" fmla="*/ 48 w 48"/>
                <a:gd name="T11" fmla="*/ 4 h 50"/>
                <a:gd name="T12" fmla="*/ 48 w 48"/>
                <a:gd name="T13" fmla="*/ 4 h 50"/>
                <a:gd name="T14" fmla="*/ 48 w 48"/>
                <a:gd name="T15" fmla="*/ 2 h 50"/>
                <a:gd name="T16" fmla="*/ 44 w 48"/>
                <a:gd name="T17" fmla="*/ 0 h 50"/>
                <a:gd name="T18" fmla="*/ 4 w 48"/>
                <a:gd name="T19" fmla="*/ 0 h 50"/>
                <a:gd name="T20" fmla="*/ 4 w 48"/>
                <a:gd name="T21" fmla="*/ 0 h 50"/>
                <a:gd name="T22" fmla="*/ 1 w 48"/>
                <a:gd name="T23" fmla="*/ 2 h 50"/>
                <a:gd name="T24" fmla="*/ 0 w 48"/>
                <a:gd name="T25" fmla="*/ 4 h 50"/>
                <a:gd name="T26" fmla="*/ 0 w 48"/>
                <a:gd name="T27" fmla="*/ 46 h 50"/>
                <a:gd name="T28" fmla="*/ 0 w 48"/>
                <a:gd name="T29" fmla="*/ 46 h 50"/>
                <a:gd name="T30" fmla="*/ 1 w 48"/>
                <a:gd name="T31" fmla="*/ 49 h 50"/>
                <a:gd name="T32" fmla="*/ 4 w 48"/>
                <a:gd name="T33" fmla="*/ 50 h 50"/>
                <a:gd name="T34" fmla="*/ 4 w 48"/>
                <a:gd name="T3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50">
                  <a:moveTo>
                    <a:pt x="4" y="50"/>
                  </a:moveTo>
                  <a:lnTo>
                    <a:pt x="44" y="50"/>
                  </a:lnTo>
                  <a:lnTo>
                    <a:pt x="44" y="50"/>
                  </a:lnTo>
                  <a:lnTo>
                    <a:pt x="48" y="49"/>
                  </a:lnTo>
                  <a:lnTo>
                    <a:pt x="48" y="46"/>
                  </a:lnTo>
                  <a:lnTo>
                    <a:pt x="48" y="4"/>
                  </a:lnTo>
                  <a:lnTo>
                    <a:pt x="48" y="4"/>
                  </a:lnTo>
                  <a:lnTo>
                    <a:pt x="48" y="2"/>
                  </a:lnTo>
                  <a:lnTo>
                    <a:pt x="44" y="0"/>
                  </a:lnTo>
                  <a:lnTo>
                    <a:pt x="4" y="0"/>
                  </a:lnTo>
                  <a:lnTo>
                    <a:pt x="4" y="0"/>
                  </a:lnTo>
                  <a:lnTo>
                    <a:pt x="1" y="2"/>
                  </a:lnTo>
                  <a:lnTo>
                    <a:pt x="0" y="4"/>
                  </a:lnTo>
                  <a:lnTo>
                    <a:pt x="0" y="46"/>
                  </a:lnTo>
                  <a:lnTo>
                    <a:pt x="0" y="46"/>
                  </a:lnTo>
                  <a:lnTo>
                    <a:pt x="1" y="49"/>
                  </a:lnTo>
                  <a:lnTo>
                    <a:pt x="4" y="50"/>
                  </a:lnTo>
                  <a:lnTo>
                    <a:pt x="4" y="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9" name="Freeform 234">
              <a:extLst>
                <a:ext uri="{FF2B5EF4-FFF2-40B4-BE49-F238E27FC236}">
                  <a16:creationId xmlns:a16="http://schemas.microsoft.com/office/drawing/2014/main" id="{516235BF-7C9B-4D97-96ED-253C130B992E}"/>
                </a:ext>
              </a:extLst>
            </p:cNvPr>
            <p:cNvSpPr>
              <a:spLocks/>
            </p:cNvSpPr>
            <p:nvPr/>
          </p:nvSpPr>
          <p:spPr bwMode="auto">
            <a:xfrm>
              <a:off x="2643188" y="4328160"/>
              <a:ext cx="39688" cy="39688"/>
            </a:xfrm>
            <a:custGeom>
              <a:avLst/>
              <a:gdLst>
                <a:gd name="T0" fmla="*/ 4 w 49"/>
                <a:gd name="T1" fmla="*/ 50 h 50"/>
                <a:gd name="T2" fmla="*/ 44 w 49"/>
                <a:gd name="T3" fmla="*/ 50 h 50"/>
                <a:gd name="T4" fmla="*/ 44 w 49"/>
                <a:gd name="T5" fmla="*/ 50 h 50"/>
                <a:gd name="T6" fmla="*/ 48 w 49"/>
                <a:gd name="T7" fmla="*/ 49 h 50"/>
                <a:gd name="T8" fmla="*/ 49 w 49"/>
                <a:gd name="T9" fmla="*/ 46 h 50"/>
                <a:gd name="T10" fmla="*/ 49 w 49"/>
                <a:gd name="T11" fmla="*/ 4 h 50"/>
                <a:gd name="T12" fmla="*/ 49 w 49"/>
                <a:gd name="T13" fmla="*/ 4 h 50"/>
                <a:gd name="T14" fmla="*/ 48 w 49"/>
                <a:gd name="T15" fmla="*/ 2 h 50"/>
                <a:gd name="T16" fmla="*/ 44 w 49"/>
                <a:gd name="T17" fmla="*/ 0 h 50"/>
                <a:gd name="T18" fmla="*/ 4 w 49"/>
                <a:gd name="T19" fmla="*/ 0 h 50"/>
                <a:gd name="T20" fmla="*/ 4 w 49"/>
                <a:gd name="T21" fmla="*/ 0 h 50"/>
                <a:gd name="T22" fmla="*/ 1 w 49"/>
                <a:gd name="T23" fmla="*/ 2 h 50"/>
                <a:gd name="T24" fmla="*/ 0 w 49"/>
                <a:gd name="T25" fmla="*/ 4 h 50"/>
                <a:gd name="T26" fmla="*/ 0 w 49"/>
                <a:gd name="T27" fmla="*/ 46 h 50"/>
                <a:gd name="T28" fmla="*/ 0 w 49"/>
                <a:gd name="T29" fmla="*/ 46 h 50"/>
                <a:gd name="T30" fmla="*/ 1 w 49"/>
                <a:gd name="T31" fmla="*/ 49 h 50"/>
                <a:gd name="T32" fmla="*/ 4 w 49"/>
                <a:gd name="T33" fmla="*/ 50 h 50"/>
                <a:gd name="T34" fmla="*/ 4 w 49"/>
                <a:gd name="T3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50">
                  <a:moveTo>
                    <a:pt x="4" y="50"/>
                  </a:moveTo>
                  <a:lnTo>
                    <a:pt x="44" y="50"/>
                  </a:lnTo>
                  <a:lnTo>
                    <a:pt x="44" y="50"/>
                  </a:lnTo>
                  <a:lnTo>
                    <a:pt x="48" y="49"/>
                  </a:lnTo>
                  <a:lnTo>
                    <a:pt x="49" y="46"/>
                  </a:lnTo>
                  <a:lnTo>
                    <a:pt x="49" y="4"/>
                  </a:lnTo>
                  <a:lnTo>
                    <a:pt x="49" y="4"/>
                  </a:lnTo>
                  <a:lnTo>
                    <a:pt x="48" y="2"/>
                  </a:lnTo>
                  <a:lnTo>
                    <a:pt x="44" y="0"/>
                  </a:lnTo>
                  <a:lnTo>
                    <a:pt x="4" y="0"/>
                  </a:lnTo>
                  <a:lnTo>
                    <a:pt x="4" y="0"/>
                  </a:lnTo>
                  <a:lnTo>
                    <a:pt x="1" y="2"/>
                  </a:lnTo>
                  <a:lnTo>
                    <a:pt x="0" y="4"/>
                  </a:lnTo>
                  <a:lnTo>
                    <a:pt x="0" y="46"/>
                  </a:lnTo>
                  <a:lnTo>
                    <a:pt x="0" y="46"/>
                  </a:lnTo>
                  <a:lnTo>
                    <a:pt x="1" y="49"/>
                  </a:lnTo>
                  <a:lnTo>
                    <a:pt x="4" y="50"/>
                  </a:lnTo>
                  <a:lnTo>
                    <a:pt x="4" y="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0" name="Freeform 235">
              <a:extLst>
                <a:ext uri="{FF2B5EF4-FFF2-40B4-BE49-F238E27FC236}">
                  <a16:creationId xmlns:a16="http://schemas.microsoft.com/office/drawing/2014/main" id="{F8CAA9C2-33B1-4E3F-9215-ED08DDCC7F19}"/>
                </a:ext>
              </a:extLst>
            </p:cNvPr>
            <p:cNvSpPr>
              <a:spLocks/>
            </p:cNvSpPr>
            <p:nvPr/>
          </p:nvSpPr>
          <p:spPr bwMode="auto">
            <a:xfrm>
              <a:off x="2470151" y="4385310"/>
              <a:ext cx="38100" cy="39688"/>
            </a:xfrm>
            <a:custGeom>
              <a:avLst/>
              <a:gdLst>
                <a:gd name="T0" fmla="*/ 44 w 48"/>
                <a:gd name="T1" fmla="*/ 0 h 50"/>
                <a:gd name="T2" fmla="*/ 4 w 48"/>
                <a:gd name="T3" fmla="*/ 0 h 50"/>
                <a:gd name="T4" fmla="*/ 4 w 48"/>
                <a:gd name="T5" fmla="*/ 0 h 50"/>
                <a:gd name="T6" fmla="*/ 1 w 48"/>
                <a:gd name="T7" fmla="*/ 1 h 50"/>
                <a:gd name="T8" fmla="*/ 0 w 48"/>
                <a:gd name="T9" fmla="*/ 4 h 50"/>
                <a:gd name="T10" fmla="*/ 0 w 48"/>
                <a:gd name="T11" fmla="*/ 46 h 50"/>
                <a:gd name="T12" fmla="*/ 0 w 48"/>
                <a:gd name="T13" fmla="*/ 46 h 50"/>
                <a:gd name="T14" fmla="*/ 1 w 48"/>
                <a:gd name="T15" fmla="*/ 48 h 50"/>
                <a:gd name="T16" fmla="*/ 4 w 48"/>
                <a:gd name="T17" fmla="*/ 50 h 50"/>
                <a:gd name="T18" fmla="*/ 44 w 48"/>
                <a:gd name="T19" fmla="*/ 50 h 50"/>
                <a:gd name="T20" fmla="*/ 44 w 48"/>
                <a:gd name="T21" fmla="*/ 50 h 50"/>
                <a:gd name="T22" fmla="*/ 47 w 48"/>
                <a:gd name="T23" fmla="*/ 48 h 50"/>
                <a:gd name="T24" fmla="*/ 48 w 48"/>
                <a:gd name="T25" fmla="*/ 46 h 50"/>
                <a:gd name="T26" fmla="*/ 48 w 48"/>
                <a:gd name="T27" fmla="*/ 4 h 50"/>
                <a:gd name="T28" fmla="*/ 48 w 48"/>
                <a:gd name="T29" fmla="*/ 4 h 50"/>
                <a:gd name="T30" fmla="*/ 47 w 48"/>
                <a:gd name="T31" fmla="*/ 1 h 50"/>
                <a:gd name="T32" fmla="*/ 44 w 48"/>
                <a:gd name="T33" fmla="*/ 0 h 50"/>
                <a:gd name="T34" fmla="*/ 44 w 48"/>
                <a:gd name="T3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50">
                  <a:moveTo>
                    <a:pt x="44" y="0"/>
                  </a:moveTo>
                  <a:lnTo>
                    <a:pt x="4" y="0"/>
                  </a:lnTo>
                  <a:lnTo>
                    <a:pt x="4" y="0"/>
                  </a:lnTo>
                  <a:lnTo>
                    <a:pt x="1" y="1"/>
                  </a:lnTo>
                  <a:lnTo>
                    <a:pt x="0" y="4"/>
                  </a:lnTo>
                  <a:lnTo>
                    <a:pt x="0" y="46"/>
                  </a:lnTo>
                  <a:lnTo>
                    <a:pt x="0" y="46"/>
                  </a:lnTo>
                  <a:lnTo>
                    <a:pt x="1" y="48"/>
                  </a:lnTo>
                  <a:lnTo>
                    <a:pt x="4" y="50"/>
                  </a:lnTo>
                  <a:lnTo>
                    <a:pt x="44" y="50"/>
                  </a:lnTo>
                  <a:lnTo>
                    <a:pt x="44" y="50"/>
                  </a:lnTo>
                  <a:lnTo>
                    <a:pt x="47" y="48"/>
                  </a:lnTo>
                  <a:lnTo>
                    <a:pt x="48" y="46"/>
                  </a:lnTo>
                  <a:lnTo>
                    <a:pt x="48" y="4"/>
                  </a:lnTo>
                  <a:lnTo>
                    <a:pt x="48" y="4"/>
                  </a:lnTo>
                  <a:lnTo>
                    <a:pt x="47" y="1"/>
                  </a:lnTo>
                  <a:lnTo>
                    <a:pt x="44" y="0"/>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1" name="Freeform 236">
              <a:extLst>
                <a:ext uri="{FF2B5EF4-FFF2-40B4-BE49-F238E27FC236}">
                  <a16:creationId xmlns:a16="http://schemas.microsoft.com/office/drawing/2014/main" id="{38DDD5A4-82D3-479A-B410-E05128043A97}"/>
                </a:ext>
              </a:extLst>
            </p:cNvPr>
            <p:cNvSpPr>
              <a:spLocks/>
            </p:cNvSpPr>
            <p:nvPr/>
          </p:nvSpPr>
          <p:spPr bwMode="auto">
            <a:xfrm>
              <a:off x="2527301" y="4385310"/>
              <a:ext cx="38100" cy="39688"/>
            </a:xfrm>
            <a:custGeom>
              <a:avLst/>
              <a:gdLst>
                <a:gd name="T0" fmla="*/ 4 w 49"/>
                <a:gd name="T1" fmla="*/ 50 h 50"/>
                <a:gd name="T2" fmla="*/ 45 w 49"/>
                <a:gd name="T3" fmla="*/ 50 h 50"/>
                <a:gd name="T4" fmla="*/ 45 w 49"/>
                <a:gd name="T5" fmla="*/ 50 h 50"/>
                <a:gd name="T6" fmla="*/ 49 w 49"/>
                <a:gd name="T7" fmla="*/ 48 h 50"/>
                <a:gd name="T8" fmla="*/ 49 w 49"/>
                <a:gd name="T9" fmla="*/ 46 h 50"/>
                <a:gd name="T10" fmla="*/ 49 w 49"/>
                <a:gd name="T11" fmla="*/ 4 h 50"/>
                <a:gd name="T12" fmla="*/ 49 w 49"/>
                <a:gd name="T13" fmla="*/ 4 h 50"/>
                <a:gd name="T14" fmla="*/ 49 w 49"/>
                <a:gd name="T15" fmla="*/ 1 h 50"/>
                <a:gd name="T16" fmla="*/ 45 w 49"/>
                <a:gd name="T17" fmla="*/ 0 h 50"/>
                <a:gd name="T18" fmla="*/ 4 w 49"/>
                <a:gd name="T19" fmla="*/ 0 h 50"/>
                <a:gd name="T20" fmla="*/ 4 w 49"/>
                <a:gd name="T21" fmla="*/ 0 h 50"/>
                <a:gd name="T22" fmla="*/ 2 w 49"/>
                <a:gd name="T23" fmla="*/ 1 h 50"/>
                <a:gd name="T24" fmla="*/ 0 w 49"/>
                <a:gd name="T25" fmla="*/ 4 h 50"/>
                <a:gd name="T26" fmla="*/ 0 w 49"/>
                <a:gd name="T27" fmla="*/ 46 h 50"/>
                <a:gd name="T28" fmla="*/ 0 w 49"/>
                <a:gd name="T29" fmla="*/ 46 h 50"/>
                <a:gd name="T30" fmla="*/ 2 w 49"/>
                <a:gd name="T31" fmla="*/ 48 h 50"/>
                <a:gd name="T32" fmla="*/ 4 w 49"/>
                <a:gd name="T33" fmla="*/ 50 h 50"/>
                <a:gd name="T34" fmla="*/ 4 w 49"/>
                <a:gd name="T3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50">
                  <a:moveTo>
                    <a:pt x="4" y="50"/>
                  </a:moveTo>
                  <a:lnTo>
                    <a:pt x="45" y="50"/>
                  </a:lnTo>
                  <a:lnTo>
                    <a:pt x="45" y="50"/>
                  </a:lnTo>
                  <a:lnTo>
                    <a:pt x="49" y="48"/>
                  </a:lnTo>
                  <a:lnTo>
                    <a:pt x="49" y="46"/>
                  </a:lnTo>
                  <a:lnTo>
                    <a:pt x="49" y="4"/>
                  </a:lnTo>
                  <a:lnTo>
                    <a:pt x="49" y="4"/>
                  </a:lnTo>
                  <a:lnTo>
                    <a:pt x="49" y="1"/>
                  </a:lnTo>
                  <a:lnTo>
                    <a:pt x="45" y="0"/>
                  </a:lnTo>
                  <a:lnTo>
                    <a:pt x="4" y="0"/>
                  </a:lnTo>
                  <a:lnTo>
                    <a:pt x="4" y="0"/>
                  </a:lnTo>
                  <a:lnTo>
                    <a:pt x="2" y="1"/>
                  </a:lnTo>
                  <a:lnTo>
                    <a:pt x="0" y="4"/>
                  </a:lnTo>
                  <a:lnTo>
                    <a:pt x="0" y="46"/>
                  </a:lnTo>
                  <a:lnTo>
                    <a:pt x="0" y="46"/>
                  </a:lnTo>
                  <a:lnTo>
                    <a:pt x="2" y="48"/>
                  </a:lnTo>
                  <a:lnTo>
                    <a:pt x="4" y="50"/>
                  </a:lnTo>
                  <a:lnTo>
                    <a:pt x="4" y="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2" name="Freeform 237">
              <a:extLst>
                <a:ext uri="{FF2B5EF4-FFF2-40B4-BE49-F238E27FC236}">
                  <a16:creationId xmlns:a16="http://schemas.microsoft.com/office/drawing/2014/main" id="{9D8527FF-301A-484E-8D14-DBABCC261D4B}"/>
                </a:ext>
              </a:extLst>
            </p:cNvPr>
            <p:cNvSpPr>
              <a:spLocks/>
            </p:cNvSpPr>
            <p:nvPr/>
          </p:nvSpPr>
          <p:spPr bwMode="auto">
            <a:xfrm>
              <a:off x="2584451" y="4385310"/>
              <a:ext cx="39688" cy="39688"/>
            </a:xfrm>
            <a:custGeom>
              <a:avLst/>
              <a:gdLst>
                <a:gd name="T0" fmla="*/ 4 w 48"/>
                <a:gd name="T1" fmla="*/ 50 h 50"/>
                <a:gd name="T2" fmla="*/ 44 w 48"/>
                <a:gd name="T3" fmla="*/ 50 h 50"/>
                <a:gd name="T4" fmla="*/ 44 w 48"/>
                <a:gd name="T5" fmla="*/ 50 h 50"/>
                <a:gd name="T6" fmla="*/ 48 w 48"/>
                <a:gd name="T7" fmla="*/ 48 h 50"/>
                <a:gd name="T8" fmla="*/ 48 w 48"/>
                <a:gd name="T9" fmla="*/ 46 h 50"/>
                <a:gd name="T10" fmla="*/ 48 w 48"/>
                <a:gd name="T11" fmla="*/ 4 h 50"/>
                <a:gd name="T12" fmla="*/ 48 w 48"/>
                <a:gd name="T13" fmla="*/ 4 h 50"/>
                <a:gd name="T14" fmla="*/ 48 w 48"/>
                <a:gd name="T15" fmla="*/ 1 h 50"/>
                <a:gd name="T16" fmla="*/ 44 w 48"/>
                <a:gd name="T17" fmla="*/ 0 h 50"/>
                <a:gd name="T18" fmla="*/ 4 w 48"/>
                <a:gd name="T19" fmla="*/ 0 h 50"/>
                <a:gd name="T20" fmla="*/ 4 w 48"/>
                <a:gd name="T21" fmla="*/ 0 h 50"/>
                <a:gd name="T22" fmla="*/ 1 w 48"/>
                <a:gd name="T23" fmla="*/ 1 h 50"/>
                <a:gd name="T24" fmla="*/ 0 w 48"/>
                <a:gd name="T25" fmla="*/ 4 h 50"/>
                <a:gd name="T26" fmla="*/ 0 w 48"/>
                <a:gd name="T27" fmla="*/ 46 h 50"/>
                <a:gd name="T28" fmla="*/ 0 w 48"/>
                <a:gd name="T29" fmla="*/ 46 h 50"/>
                <a:gd name="T30" fmla="*/ 1 w 48"/>
                <a:gd name="T31" fmla="*/ 48 h 50"/>
                <a:gd name="T32" fmla="*/ 4 w 48"/>
                <a:gd name="T33" fmla="*/ 50 h 50"/>
                <a:gd name="T34" fmla="*/ 4 w 48"/>
                <a:gd name="T3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50">
                  <a:moveTo>
                    <a:pt x="4" y="50"/>
                  </a:moveTo>
                  <a:lnTo>
                    <a:pt x="44" y="50"/>
                  </a:lnTo>
                  <a:lnTo>
                    <a:pt x="44" y="50"/>
                  </a:lnTo>
                  <a:lnTo>
                    <a:pt x="48" y="48"/>
                  </a:lnTo>
                  <a:lnTo>
                    <a:pt x="48" y="46"/>
                  </a:lnTo>
                  <a:lnTo>
                    <a:pt x="48" y="4"/>
                  </a:lnTo>
                  <a:lnTo>
                    <a:pt x="48" y="4"/>
                  </a:lnTo>
                  <a:lnTo>
                    <a:pt x="48" y="1"/>
                  </a:lnTo>
                  <a:lnTo>
                    <a:pt x="44" y="0"/>
                  </a:lnTo>
                  <a:lnTo>
                    <a:pt x="4" y="0"/>
                  </a:lnTo>
                  <a:lnTo>
                    <a:pt x="4" y="0"/>
                  </a:lnTo>
                  <a:lnTo>
                    <a:pt x="1" y="1"/>
                  </a:lnTo>
                  <a:lnTo>
                    <a:pt x="0" y="4"/>
                  </a:lnTo>
                  <a:lnTo>
                    <a:pt x="0" y="46"/>
                  </a:lnTo>
                  <a:lnTo>
                    <a:pt x="0" y="46"/>
                  </a:lnTo>
                  <a:lnTo>
                    <a:pt x="1" y="48"/>
                  </a:lnTo>
                  <a:lnTo>
                    <a:pt x="4" y="50"/>
                  </a:lnTo>
                  <a:lnTo>
                    <a:pt x="4" y="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3" name="Freeform 238">
              <a:extLst>
                <a:ext uri="{FF2B5EF4-FFF2-40B4-BE49-F238E27FC236}">
                  <a16:creationId xmlns:a16="http://schemas.microsoft.com/office/drawing/2014/main" id="{20A0B6D0-0781-4326-A825-A6DF094171B2}"/>
                </a:ext>
              </a:extLst>
            </p:cNvPr>
            <p:cNvSpPr>
              <a:spLocks/>
            </p:cNvSpPr>
            <p:nvPr/>
          </p:nvSpPr>
          <p:spPr bwMode="auto">
            <a:xfrm>
              <a:off x="2643188" y="4385310"/>
              <a:ext cx="39688" cy="39688"/>
            </a:xfrm>
            <a:custGeom>
              <a:avLst/>
              <a:gdLst>
                <a:gd name="T0" fmla="*/ 4 w 49"/>
                <a:gd name="T1" fmla="*/ 50 h 50"/>
                <a:gd name="T2" fmla="*/ 44 w 49"/>
                <a:gd name="T3" fmla="*/ 50 h 50"/>
                <a:gd name="T4" fmla="*/ 44 w 49"/>
                <a:gd name="T5" fmla="*/ 50 h 50"/>
                <a:gd name="T6" fmla="*/ 48 w 49"/>
                <a:gd name="T7" fmla="*/ 48 h 50"/>
                <a:gd name="T8" fmla="*/ 49 w 49"/>
                <a:gd name="T9" fmla="*/ 46 h 50"/>
                <a:gd name="T10" fmla="*/ 49 w 49"/>
                <a:gd name="T11" fmla="*/ 4 h 50"/>
                <a:gd name="T12" fmla="*/ 49 w 49"/>
                <a:gd name="T13" fmla="*/ 4 h 50"/>
                <a:gd name="T14" fmla="*/ 48 w 49"/>
                <a:gd name="T15" fmla="*/ 1 h 50"/>
                <a:gd name="T16" fmla="*/ 44 w 49"/>
                <a:gd name="T17" fmla="*/ 0 h 50"/>
                <a:gd name="T18" fmla="*/ 4 w 49"/>
                <a:gd name="T19" fmla="*/ 0 h 50"/>
                <a:gd name="T20" fmla="*/ 4 w 49"/>
                <a:gd name="T21" fmla="*/ 0 h 50"/>
                <a:gd name="T22" fmla="*/ 1 w 49"/>
                <a:gd name="T23" fmla="*/ 1 h 50"/>
                <a:gd name="T24" fmla="*/ 0 w 49"/>
                <a:gd name="T25" fmla="*/ 4 h 50"/>
                <a:gd name="T26" fmla="*/ 0 w 49"/>
                <a:gd name="T27" fmla="*/ 46 h 50"/>
                <a:gd name="T28" fmla="*/ 0 w 49"/>
                <a:gd name="T29" fmla="*/ 46 h 50"/>
                <a:gd name="T30" fmla="*/ 1 w 49"/>
                <a:gd name="T31" fmla="*/ 48 h 50"/>
                <a:gd name="T32" fmla="*/ 4 w 49"/>
                <a:gd name="T33" fmla="*/ 50 h 50"/>
                <a:gd name="T34" fmla="*/ 4 w 49"/>
                <a:gd name="T3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50">
                  <a:moveTo>
                    <a:pt x="4" y="50"/>
                  </a:moveTo>
                  <a:lnTo>
                    <a:pt x="44" y="50"/>
                  </a:lnTo>
                  <a:lnTo>
                    <a:pt x="44" y="50"/>
                  </a:lnTo>
                  <a:lnTo>
                    <a:pt x="48" y="48"/>
                  </a:lnTo>
                  <a:lnTo>
                    <a:pt x="49" y="46"/>
                  </a:lnTo>
                  <a:lnTo>
                    <a:pt x="49" y="4"/>
                  </a:lnTo>
                  <a:lnTo>
                    <a:pt x="49" y="4"/>
                  </a:lnTo>
                  <a:lnTo>
                    <a:pt x="48" y="1"/>
                  </a:lnTo>
                  <a:lnTo>
                    <a:pt x="44" y="0"/>
                  </a:lnTo>
                  <a:lnTo>
                    <a:pt x="4" y="0"/>
                  </a:lnTo>
                  <a:lnTo>
                    <a:pt x="4" y="0"/>
                  </a:lnTo>
                  <a:lnTo>
                    <a:pt x="1" y="1"/>
                  </a:lnTo>
                  <a:lnTo>
                    <a:pt x="0" y="4"/>
                  </a:lnTo>
                  <a:lnTo>
                    <a:pt x="0" y="46"/>
                  </a:lnTo>
                  <a:lnTo>
                    <a:pt x="0" y="46"/>
                  </a:lnTo>
                  <a:lnTo>
                    <a:pt x="1" y="48"/>
                  </a:lnTo>
                  <a:lnTo>
                    <a:pt x="4" y="50"/>
                  </a:lnTo>
                  <a:lnTo>
                    <a:pt x="4" y="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4" name="Freeform 239">
              <a:extLst>
                <a:ext uri="{FF2B5EF4-FFF2-40B4-BE49-F238E27FC236}">
                  <a16:creationId xmlns:a16="http://schemas.microsoft.com/office/drawing/2014/main" id="{D0C31E38-5952-44CE-8DCA-6DF7DD508ED5}"/>
                </a:ext>
              </a:extLst>
            </p:cNvPr>
            <p:cNvSpPr>
              <a:spLocks/>
            </p:cNvSpPr>
            <p:nvPr/>
          </p:nvSpPr>
          <p:spPr bwMode="auto">
            <a:xfrm>
              <a:off x="2470151" y="4442460"/>
              <a:ext cx="38100" cy="39688"/>
            </a:xfrm>
            <a:custGeom>
              <a:avLst/>
              <a:gdLst>
                <a:gd name="T0" fmla="*/ 44 w 48"/>
                <a:gd name="T1" fmla="*/ 0 h 50"/>
                <a:gd name="T2" fmla="*/ 4 w 48"/>
                <a:gd name="T3" fmla="*/ 0 h 50"/>
                <a:gd name="T4" fmla="*/ 4 w 48"/>
                <a:gd name="T5" fmla="*/ 0 h 50"/>
                <a:gd name="T6" fmla="*/ 1 w 48"/>
                <a:gd name="T7" fmla="*/ 2 h 50"/>
                <a:gd name="T8" fmla="*/ 0 w 48"/>
                <a:gd name="T9" fmla="*/ 4 h 50"/>
                <a:gd name="T10" fmla="*/ 0 w 48"/>
                <a:gd name="T11" fmla="*/ 46 h 50"/>
                <a:gd name="T12" fmla="*/ 0 w 48"/>
                <a:gd name="T13" fmla="*/ 46 h 50"/>
                <a:gd name="T14" fmla="*/ 1 w 48"/>
                <a:gd name="T15" fmla="*/ 49 h 50"/>
                <a:gd name="T16" fmla="*/ 4 w 48"/>
                <a:gd name="T17" fmla="*/ 50 h 50"/>
                <a:gd name="T18" fmla="*/ 44 w 48"/>
                <a:gd name="T19" fmla="*/ 50 h 50"/>
                <a:gd name="T20" fmla="*/ 44 w 48"/>
                <a:gd name="T21" fmla="*/ 50 h 50"/>
                <a:gd name="T22" fmla="*/ 47 w 48"/>
                <a:gd name="T23" fmla="*/ 49 h 50"/>
                <a:gd name="T24" fmla="*/ 48 w 48"/>
                <a:gd name="T25" fmla="*/ 46 h 50"/>
                <a:gd name="T26" fmla="*/ 48 w 48"/>
                <a:gd name="T27" fmla="*/ 4 h 50"/>
                <a:gd name="T28" fmla="*/ 48 w 48"/>
                <a:gd name="T29" fmla="*/ 4 h 50"/>
                <a:gd name="T30" fmla="*/ 47 w 48"/>
                <a:gd name="T31" fmla="*/ 2 h 50"/>
                <a:gd name="T32" fmla="*/ 44 w 48"/>
                <a:gd name="T33" fmla="*/ 0 h 50"/>
                <a:gd name="T34" fmla="*/ 44 w 48"/>
                <a:gd name="T3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50">
                  <a:moveTo>
                    <a:pt x="44" y="0"/>
                  </a:moveTo>
                  <a:lnTo>
                    <a:pt x="4" y="0"/>
                  </a:lnTo>
                  <a:lnTo>
                    <a:pt x="4" y="0"/>
                  </a:lnTo>
                  <a:lnTo>
                    <a:pt x="1" y="2"/>
                  </a:lnTo>
                  <a:lnTo>
                    <a:pt x="0" y="4"/>
                  </a:lnTo>
                  <a:lnTo>
                    <a:pt x="0" y="46"/>
                  </a:lnTo>
                  <a:lnTo>
                    <a:pt x="0" y="46"/>
                  </a:lnTo>
                  <a:lnTo>
                    <a:pt x="1" y="49"/>
                  </a:lnTo>
                  <a:lnTo>
                    <a:pt x="4" y="50"/>
                  </a:lnTo>
                  <a:lnTo>
                    <a:pt x="44" y="50"/>
                  </a:lnTo>
                  <a:lnTo>
                    <a:pt x="44" y="50"/>
                  </a:lnTo>
                  <a:lnTo>
                    <a:pt x="47" y="49"/>
                  </a:lnTo>
                  <a:lnTo>
                    <a:pt x="48" y="46"/>
                  </a:lnTo>
                  <a:lnTo>
                    <a:pt x="48" y="4"/>
                  </a:lnTo>
                  <a:lnTo>
                    <a:pt x="48" y="4"/>
                  </a:lnTo>
                  <a:lnTo>
                    <a:pt x="47" y="2"/>
                  </a:lnTo>
                  <a:lnTo>
                    <a:pt x="44" y="0"/>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5" name="Freeform 240">
              <a:extLst>
                <a:ext uri="{FF2B5EF4-FFF2-40B4-BE49-F238E27FC236}">
                  <a16:creationId xmlns:a16="http://schemas.microsoft.com/office/drawing/2014/main" id="{BFA29632-4A04-4DE3-99DB-526A711865B0}"/>
                </a:ext>
              </a:extLst>
            </p:cNvPr>
            <p:cNvSpPr>
              <a:spLocks/>
            </p:cNvSpPr>
            <p:nvPr/>
          </p:nvSpPr>
          <p:spPr bwMode="auto">
            <a:xfrm>
              <a:off x="2527301" y="4442460"/>
              <a:ext cx="38100" cy="39688"/>
            </a:xfrm>
            <a:custGeom>
              <a:avLst/>
              <a:gdLst>
                <a:gd name="T0" fmla="*/ 4 w 49"/>
                <a:gd name="T1" fmla="*/ 50 h 50"/>
                <a:gd name="T2" fmla="*/ 45 w 49"/>
                <a:gd name="T3" fmla="*/ 50 h 50"/>
                <a:gd name="T4" fmla="*/ 45 w 49"/>
                <a:gd name="T5" fmla="*/ 50 h 50"/>
                <a:gd name="T6" fmla="*/ 49 w 49"/>
                <a:gd name="T7" fmla="*/ 49 h 50"/>
                <a:gd name="T8" fmla="*/ 49 w 49"/>
                <a:gd name="T9" fmla="*/ 46 h 50"/>
                <a:gd name="T10" fmla="*/ 49 w 49"/>
                <a:gd name="T11" fmla="*/ 4 h 50"/>
                <a:gd name="T12" fmla="*/ 49 w 49"/>
                <a:gd name="T13" fmla="*/ 4 h 50"/>
                <a:gd name="T14" fmla="*/ 49 w 49"/>
                <a:gd name="T15" fmla="*/ 2 h 50"/>
                <a:gd name="T16" fmla="*/ 45 w 49"/>
                <a:gd name="T17" fmla="*/ 0 h 50"/>
                <a:gd name="T18" fmla="*/ 4 w 49"/>
                <a:gd name="T19" fmla="*/ 0 h 50"/>
                <a:gd name="T20" fmla="*/ 4 w 49"/>
                <a:gd name="T21" fmla="*/ 0 h 50"/>
                <a:gd name="T22" fmla="*/ 2 w 49"/>
                <a:gd name="T23" fmla="*/ 2 h 50"/>
                <a:gd name="T24" fmla="*/ 0 w 49"/>
                <a:gd name="T25" fmla="*/ 4 h 50"/>
                <a:gd name="T26" fmla="*/ 0 w 49"/>
                <a:gd name="T27" fmla="*/ 46 h 50"/>
                <a:gd name="T28" fmla="*/ 0 w 49"/>
                <a:gd name="T29" fmla="*/ 46 h 50"/>
                <a:gd name="T30" fmla="*/ 2 w 49"/>
                <a:gd name="T31" fmla="*/ 49 h 50"/>
                <a:gd name="T32" fmla="*/ 4 w 49"/>
                <a:gd name="T33" fmla="*/ 50 h 50"/>
                <a:gd name="T34" fmla="*/ 4 w 49"/>
                <a:gd name="T3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50">
                  <a:moveTo>
                    <a:pt x="4" y="50"/>
                  </a:moveTo>
                  <a:lnTo>
                    <a:pt x="45" y="50"/>
                  </a:lnTo>
                  <a:lnTo>
                    <a:pt x="45" y="50"/>
                  </a:lnTo>
                  <a:lnTo>
                    <a:pt x="49" y="49"/>
                  </a:lnTo>
                  <a:lnTo>
                    <a:pt x="49" y="46"/>
                  </a:lnTo>
                  <a:lnTo>
                    <a:pt x="49" y="4"/>
                  </a:lnTo>
                  <a:lnTo>
                    <a:pt x="49" y="4"/>
                  </a:lnTo>
                  <a:lnTo>
                    <a:pt x="49" y="2"/>
                  </a:lnTo>
                  <a:lnTo>
                    <a:pt x="45" y="0"/>
                  </a:lnTo>
                  <a:lnTo>
                    <a:pt x="4" y="0"/>
                  </a:lnTo>
                  <a:lnTo>
                    <a:pt x="4" y="0"/>
                  </a:lnTo>
                  <a:lnTo>
                    <a:pt x="2" y="2"/>
                  </a:lnTo>
                  <a:lnTo>
                    <a:pt x="0" y="4"/>
                  </a:lnTo>
                  <a:lnTo>
                    <a:pt x="0" y="46"/>
                  </a:lnTo>
                  <a:lnTo>
                    <a:pt x="0" y="46"/>
                  </a:lnTo>
                  <a:lnTo>
                    <a:pt x="2" y="49"/>
                  </a:lnTo>
                  <a:lnTo>
                    <a:pt x="4" y="50"/>
                  </a:lnTo>
                  <a:lnTo>
                    <a:pt x="4" y="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6" name="Freeform 241">
              <a:extLst>
                <a:ext uri="{FF2B5EF4-FFF2-40B4-BE49-F238E27FC236}">
                  <a16:creationId xmlns:a16="http://schemas.microsoft.com/office/drawing/2014/main" id="{6B9B5965-0267-46EC-BDED-80CA9CF76AD8}"/>
                </a:ext>
              </a:extLst>
            </p:cNvPr>
            <p:cNvSpPr>
              <a:spLocks/>
            </p:cNvSpPr>
            <p:nvPr/>
          </p:nvSpPr>
          <p:spPr bwMode="auto">
            <a:xfrm>
              <a:off x="2584451" y="4442460"/>
              <a:ext cx="39688" cy="39688"/>
            </a:xfrm>
            <a:custGeom>
              <a:avLst/>
              <a:gdLst>
                <a:gd name="T0" fmla="*/ 4 w 48"/>
                <a:gd name="T1" fmla="*/ 50 h 50"/>
                <a:gd name="T2" fmla="*/ 44 w 48"/>
                <a:gd name="T3" fmla="*/ 50 h 50"/>
                <a:gd name="T4" fmla="*/ 44 w 48"/>
                <a:gd name="T5" fmla="*/ 50 h 50"/>
                <a:gd name="T6" fmla="*/ 48 w 48"/>
                <a:gd name="T7" fmla="*/ 49 h 50"/>
                <a:gd name="T8" fmla="*/ 48 w 48"/>
                <a:gd name="T9" fmla="*/ 46 h 50"/>
                <a:gd name="T10" fmla="*/ 48 w 48"/>
                <a:gd name="T11" fmla="*/ 4 h 50"/>
                <a:gd name="T12" fmla="*/ 48 w 48"/>
                <a:gd name="T13" fmla="*/ 4 h 50"/>
                <a:gd name="T14" fmla="*/ 48 w 48"/>
                <a:gd name="T15" fmla="*/ 2 h 50"/>
                <a:gd name="T16" fmla="*/ 44 w 48"/>
                <a:gd name="T17" fmla="*/ 0 h 50"/>
                <a:gd name="T18" fmla="*/ 4 w 48"/>
                <a:gd name="T19" fmla="*/ 0 h 50"/>
                <a:gd name="T20" fmla="*/ 4 w 48"/>
                <a:gd name="T21" fmla="*/ 0 h 50"/>
                <a:gd name="T22" fmla="*/ 1 w 48"/>
                <a:gd name="T23" fmla="*/ 2 h 50"/>
                <a:gd name="T24" fmla="*/ 0 w 48"/>
                <a:gd name="T25" fmla="*/ 4 h 50"/>
                <a:gd name="T26" fmla="*/ 0 w 48"/>
                <a:gd name="T27" fmla="*/ 46 h 50"/>
                <a:gd name="T28" fmla="*/ 0 w 48"/>
                <a:gd name="T29" fmla="*/ 46 h 50"/>
                <a:gd name="T30" fmla="*/ 1 w 48"/>
                <a:gd name="T31" fmla="*/ 49 h 50"/>
                <a:gd name="T32" fmla="*/ 4 w 48"/>
                <a:gd name="T33" fmla="*/ 50 h 50"/>
                <a:gd name="T34" fmla="*/ 4 w 48"/>
                <a:gd name="T3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50">
                  <a:moveTo>
                    <a:pt x="4" y="50"/>
                  </a:moveTo>
                  <a:lnTo>
                    <a:pt x="44" y="50"/>
                  </a:lnTo>
                  <a:lnTo>
                    <a:pt x="44" y="50"/>
                  </a:lnTo>
                  <a:lnTo>
                    <a:pt x="48" y="49"/>
                  </a:lnTo>
                  <a:lnTo>
                    <a:pt x="48" y="46"/>
                  </a:lnTo>
                  <a:lnTo>
                    <a:pt x="48" y="4"/>
                  </a:lnTo>
                  <a:lnTo>
                    <a:pt x="48" y="4"/>
                  </a:lnTo>
                  <a:lnTo>
                    <a:pt x="48" y="2"/>
                  </a:lnTo>
                  <a:lnTo>
                    <a:pt x="44" y="0"/>
                  </a:lnTo>
                  <a:lnTo>
                    <a:pt x="4" y="0"/>
                  </a:lnTo>
                  <a:lnTo>
                    <a:pt x="4" y="0"/>
                  </a:lnTo>
                  <a:lnTo>
                    <a:pt x="1" y="2"/>
                  </a:lnTo>
                  <a:lnTo>
                    <a:pt x="0" y="4"/>
                  </a:lnTo>
                  <a:lnTo>
                    <a:pt x="0" y="46"/>
                  </a:lnTo>
                  <a:lnTo>
                    <a:pt x="0" y="46"/>
                  </a:lnTo>
                  <a:lnTo>
                    <a:pt x="1" y="49"/>
                  </a:lnTo>
                  <a:lnTo>
                    <a:pt x="4" y="50"/>
                  </a:lnTo>
                  <a:lnTo>
                    <a:pt x="4" y="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7" name="Freeform 242">
              <a:extLst>
                <a:ext uri="{FF2B5EF4-FFF2-40B4-BE49-F238E27FC236}">
                  <a16:creationId xmlns:a16="http://schemas.microsoft.com/office/drawing/2014/main" id="{E676AA0E-E676-47DE-A22B-EC68AC7C5570}"/>
                </a:ext>
              </a:extLst>
            </p:cNvPr>
            <p:cNvSpPr>
              <a:spLocks/>
            </p:cNvSpPr>
            <p:nvPr/>
          </p:nvSpPr>
          <p:spPr bwMode="auto">
            <a:xfrm>
              <a:off x="2643188" y="4442460"/>
              <a:ext cx="39688" cy="39688"/>
            </a:xfrm>
            <a:custGeom>
              <a:avLst/>
              <a:gdLst>
                <a:gd name="T0" fmla="*/ 4 w 49"/>
                <a:gd name="T1" fmla="*/ 50 h 50"/>
                <a:gd name="T2" fmla="*/ 44 w 49"/>
                <a:gd name="T3" fmla="*/ 50 h 50"/>
                <a:gd name="T4" fmla="*/ 44 w 49"/>
                <a:gd name="T5" fmla="*/ 50 h 50"/>
                <a:gd name="T6" fmla="*/ 48 w 49"/>
                <a:gd name="T7" fmla="*/ 49 h 50"/>
                <a:gd name="T8" fmla="*/ 49 w 49"/>
                <a:gd name="T9" fmla="*/ 46 h 50"/>
                <a:gd name="T10" fmla="*/ 49 w 49"/>
                <a:gd name="T11" fmla="*/ 4 h 50"/>
                <a:gd name="T12" fmla="*/ 49 w 49"/>
                <a:gd name="T13" fmla="*/ 4 h 50"/>
                <a:gd name="T14" fmla="*/ 48 w 49"/>
                <a:gd name="T15" fmla="*/ 2 h 50"/>
                <a:gd name="T16" fmla="*/ 44 w 49"/>
                <a:gd name="T17" fmla="*/ 0 h 50"/>
                <a:gd name="T18" fmla="*/ 4 w 49"/>
                <a:gd name="T19" fmla="*/ 0 h 50"/>
                <a:gd name="T20" fmla="*/ 4 w 49"/>
                <a:gd name="T21" fmla="*/ 0 h 50"/>
                <a:gd name="T22" fmla="*/ 1 w 49"/>
                <a:gd name="T23" fmla="*/ 2 h 50"/>
                <a:gd name="T24" fmla="*/ 0 w 49"/>
                <a:gd name="T25" fmla="*/ 4 h 50"/>
                <a:gd name="T26" fmla="*/ 0 w 49"/>
                <a:gd name="T27" fmla="*/ 46 h 50"/>
                <a:gd name="T28" fmla="*/ 0 w 49"/>
                <a:gd name="T29" fmla="*/ 46 h 50"/>
                <a:gd name="T30" fmla="*/ 1 w 49"/>
                <a:gd name="T31" fmla="*/ 49 h 50"/>
                <a:gd name="T32" fmla="*/ 4 w 49"/>
                <a:gd name="T33" fmla="*/ 50 h 50"/>
                <a:gd name="T34" fmla="*/ 4 w 49"/>
                <a:gd name="T3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50">
                  <a:moveTo>
                    <a:pt x="4" y="50"/>
                  </a:moveTo>
                  <a:lnTo>
                    <a:pt x="44" y="50"/>
                  </a:lnTo>
                  <a:lnTo>
                    <a:pt x="44" y="50"/>
                  </a:lnTo>
                  <a:lnTo>
                    <a:pt x="48" y="49"/>
                  </a:lnTo>
                  <a:lnTo>
                    <a:pt x="49" y="46"/>
                  </a:lnTo>
                  <a:lnTo>
                    <a:pt x="49" y="4"/>
                  </a:lnTo>
                  <a:lnTo>
                    <a:pt x="49" y="4"/>
                  </a:lnTo>
                  <a:lnTo>
                    <a:pt x="48" y="2"/>
                  </a:lnTo>
                  <a:lnTo>
                    <a:pt x="44" y="0"/>
                  </a:lnTo>
                  <a:lnTo>
                    <a:pt x="4" y="0"/>
                  </a:lnTo>
                  <a:lnTo>
                    <a:pt x="4" y="0"/>
                  </a:lnTo>
                  <a:lnTo>
                    <a:pt x="1" y="2"/>
                  </a:lnTo>
                  <a:lnTo>
                    <a:pt x="0" y="4"/>
                  </a:lnTo>
                  <a:lnTo>
                    <a:pt x="0" y="46"/>
                  </a:lnTo>
                  <a:lnTo>
                    <a:pt x="0" y="46"/>
                  </a:lnTo>
                  <a:lnTo>
                    <a:pt x="1" y="49"/>
                  </a:lnTo>
                  <a:lnTo>
                    <a:pt x="4" y="50"/>
                  </a:lnTo>
                  <a:lnTo>
                    <a:pt x="4" y="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8" name="Freeform 243">
              <a:extLst>
                <a:ext uri="{FF2B5EF4-FFF2-40B4-BE49-F238E27FC236}">
                  <a16:creationId xmlns:a16="http://schemas.microsoft.com/office/drawing/2014/main" id="{E243E6D6-CA79-4A81-AC42-BD5A152FFA79}"/>
                </a:ext>
              </a:extLst>
            </p:cNvPr>
            <p:cNvSpPr>
              <a:spLocks/>
            </p:cNvSpPr>
            <p:nvPr/>
          </p:nvSpPr>
          <p:spPr bwMode="auto">
            <a:xfrm>
              <a:off x="2470151" y="4501198"/>
              <a:ext cx="38100" cy="38100"/>
            </a:xfrm>
            <a:custGeom>
              <a:avLst/>
              <a:gdLst>
                <a:gd name="T0" fmla="*/ 44 w 48"/>
                <a:gd name="T1" fmla="*/ 0 h 50"/>
                <a:gd name="T2" fmla="*/ 4 w 48"/>
                <a:gd name="T3" fmla="*/ 0 h 50"/>
                <a:gd name="T4" fmla="*/ 4 w 48"/>
                <a:gd name="T5" fmla="*/ 0 h 50"/>
                <a:gd name="T6" fmla="*/ 1 w 48"/>
                <a:gd name="T7" fmla="*/ 1 h 50"/>
                <a:gd name="T8" fmla="*/ 0 w 48"/>
                <a:gd name="T9" fmla="*/ 4 h 50"/>
                <a:gd name="T10" fmla="*/ 0 w 48"/>
                <a:gd name="T11" fmla="*/ 46 h 50"/>
                <a:gd name="T12" fmla="*/ 0 w 48"/>
                <a:gd name="T13" fmla="*/ 46 h 50"/>
                <a:gd name="T14" fmla="*/ 1 w 48"/>
                <a:gd name="T15" fmla="*/ 48 h 50"/>
                <a:gd name="T16" fmla="*/ 4 w 48"/>
                <a:gd name="T17" fmla="*/ 50 h 50"/>
                <a:gd name="T18" fmla="*/ 44 w 48"/>
                <a:gd name="T19" fmla="*/ 50 h 50"/>
                <a:gd name="T20" fmla="*/ 44 w 48"/>
                <a:gd name="T21" fmla="*/ 50 h 50"/>
                <a:gd name="T22" fmla="*/ 47 w 48"/>
                <a:gd name="T23" fmla="*/ 48 h 50"/>
                <a:gd name="T24" fmla="*/ 48 w 48"/>
                <a:gd name="T25" fmla="*/ 46 h 50"/>
                <a:gd name="T26" fmla="*/ 48 w 48"/>
                <a:gd name="T27" fmla="*/ 4 h 50"/>
                <a:gd name="T28" fmla="*/ 48 w 48"/>
                <a:gd name="T29" fmla="*/ 4 h 50"/>
                <a:gd name="T30" fmla="*/ 47 w 48"/>
                <a:gd name="T31" fmla="*/ 1 h 50"/>
                <a:gd name="T32" fmla="*/ 44 w 48"/>
                <a:gd name="T33" fmla="*/ 0 h 50"/>
                <a:gd name="T34" fmla="*/ 44 w 48"/>
                <a:gd name="T3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50">
                  <a:moveTo>
                    <a:pt x="44" y="0"/>
                  </a:moveTo>
                  <a:lnTo>
                    <a:pt x="4" y="0"/>
                  </a:lnTo>
                  <a:lnTo>
                    <a:pt x="4" y="0"/>
                  </a:lnTo>
                  <a:lnTo>
                    <a:pt x="1" y="1"/>
                  </a:lnTo>
                  <a:lnTo>
                    <a:pt x="0" y="4"/>
                  </a:lnTo>
                  <a:lnTo>
                    <a:pt x="0" y="46"/>
                  </a:lnTo>
                  <a:lnTo>
                    <a:pt x="0" y="46"/>
                  </a:lnTo>
                  <a:lnTo>
                    <a:pt x="1" y="48"/>
                  </a:lnTo>
                  <a:lnTo>
                    <a:pt x="4" y="50"/>
                  </a:lnTo>
                  <a:lnTo>
                    <a:pt x="44" y="50"/>
                  </a:lnTo>
                  <a:lnTo>
                    <a:pt x="44" y="50"/>
                  </a:lnTo>
                  <a:lnTo>
                    <a:pt x="47" y="48"/>
                  </a:lnTo>
                  <a:lnTo>
                    <a:pt x="48" y="46"/>
                  </a:lnTo>
                  <a:lnTo>
                    <a:pt x="48" y="4"/>
                  </a:lnTo>
                  <a:lnTo>
                    <a:pt x="48" y="4"/>
                  </a:lnTo>
                  <a:lnTo>
                    <a:pt x="47" y="1"/>
                  </a:lnTo>
                  <a:lnTo>
                    <a:pt x="44" y="0"/>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9" name="Freeform 244">
              <a:extLst>
                <a:ext uri="{FF2B5EF4-FFF2-40B4-BE49-F238E27FC236}">
                  <a16:creationId xmlns:a16="http://schemas.microsoft.com/office/drawing/2014/main" id="{FDB5D9A3-CE68-4FFB-8F3E-88D9E553CD34}"/>
                </a:ext>
              </a:extLst>
            </p:cNvPr>
            <p:cNvSpPr>
              <a:spLocks/>
            </p:cNvSpPr>
            <p:nvPr/>
          </p:nvSpPr>
          <p:spPr bwMode="auto">
            <a:xfrm>
              <a:off x="2527301" y="4501198"/>
              <a:ext cx="38100" cy="38100"/>
            </a:xfrm>
            <a:custGeom>
              <a:avLst/>
              <a:gdLst>
                <a:gd name="T0" fmla="*/ 4 w 49"/>
                <a:gd name="T1" fmla="*/ 50 h 50"/>
                <a:gd name="T2" fmla="*/ 45 w 49"/>
                <a:gd name="T3" fmla="*/ 50 h 50"/>
                <a:gd name="T4" fmla="*/ 45 w 49"/>
                <a:gd name="T5" fmla="*/ 50 h 50"/>
                <a:gd name="T6" fmla="*/ 49 w 49"/>
                <a:gd name="T7" fmla="*/ 48 h 50"/>
                <a:gd name="T8" fmla="*/ 49 w 49"/>
                <a:gd name="T9" fmla="*/ 46 h 50"/>
                <a:gd name="T10" fmla="*/ 49 w 49"/>
                <a:gd name="T11" fmla="*/ 4 h 50"/>
                <a:gd name="T12" fmla="*/ 49 w 49"/>
                <a:gd name="T13" fmla="*/ 4 h 50"/>
                <a:gd name="T14" fmla="*/ 49 w 49"/>
                <a:gd name="T15" fmla="*/ 1 h 50"/>
                <a:gd name="T16" fmla="*/ 45 w 49"/>
                <a:gd name="T17" fmla="*/ 0 h 50"/>
                <a:gd name="T18" fmla="*/ 4 w 49"/>
                <a:gd name="T19" fmla="*/ 0 h 50"/>
                <a:gd name="T20" fmla="*/ 4 w 49"/>
                <a:gd name="T21" fmla="*/ 0 h 50"/>
                <a:gd name="T22" fmla="*/ 2 w 49"/>
                <a:gd name="T23" fmla="*/ 1 h 50"/>
                <a:gd name="T24" fmla="*/ 0 w 49"/>
                <a:gd name="T25" fmla="*/ 4 h 50"/>
                <a:gd name="T26" fmla="*/ 0 w 49"/>
                <a:gd name="T27" fmla="*/ 46 h 50"/>
                <a:gd name="T28" fmla="*/ 0 w 49"/>
                <a:gd name="T29" fmla="*/ 46 h 50"/>
                <a:gd name="T30" fmla="*/ 2 w 49"/>
                <a:gd name="T31" fmla="*/ 48 h 50"/>
                <a:gd name="T32" fmla="*/ 4 w 49"/>
                <a:gd name="T33" fmla="*/ 50 h 50"/>
                <a:gd name="T34" fmla="*/ 4 w 49"/>
                <a:gd name="T3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50">
                  <a:moveTo>
                    <a:pt x="4" y="50"/>
                  </a:moveTo>
                  <a:lnTo>
                    <a:pt x="45" y="50"/>
                  </a:lnTo>
                  <a:lnTo>
                    <a:pt x="45" y="50"/>
                  </a:lnTo>
                  <a:lnTo>
                    <a:pt x="49" y="48"/>
                  </a:lnTo>
                  <a:lnTo>
                    <a:pt x="49" y="46"/>
                  </a:lnTo>
                  <a:lnTo>
                    <a:pt x="49" y="4"/>
                  </a:lnTo>
                  <a:lnTo>
                    <a:pt x="49" y="4"/>
                  </a:lnTo>
                  <a:lnTo>
                    <a:pt x="49" y="1"/>
                  </a:lnTo>
                  <a:lnTo>
                    <a:pt x="45" y="0"/>
                  </a:lnTo>
                  <a:lnTo>
                    <a:pt x="4" y="0"/>
                  </a:lnTo>
                  <a:lnTo>
                    <a:pt x="4" y="0"/>
                  </a:lnTo>
                  <a:lnTo>
                    <a:pt x="2" y="1"/>
                  </a:lnTo>
                  <a:lnTo>
                    <a:pt x="0" y="4"/>
                  </a:lnTo>
                  <a:lnTo>
                    <a:pt x="0" y="46"/>
                  </a:lnTo>
                  <a:lnTo>
                    <a:pt x="0" y="46"/>
                  </a:lnTo>
                  <a:lnTo>
                    <a:pt x="2" y="48"/>
                  </a:lnTo>
                  <a:lnTo>
                    <a:pt x="4" y="50"/>
                  </a:lnTo>
                  <a:lnTo>
                    <a:pt x="4" y="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40" name="Freeform 245">
              <a:extLst>
                <a:ext uri="{FF2B5EF4-FFF2-40B4-BE49-F238E27FC236}">
                  <a16:creationId xmlns:a16="http://schemas.microsoft.com/office/drawing/2014/main" id="{F9D78694-D2D4-4D9C-A35F-9889AC6B34A0}"/>
                </a:ext>
              </a:extLst>
            </p:cNvPr>
            <p:cNvSpPr>
              <a:spLocks/>
            </p:cNvSpPr>
            <p:nvPr/>
          </p:nvSpPr>
          <p:spPr bwMode="auto">
            <a:xfrm>
              <a:off x="2584451" y="4501198"/>
              <a:ext cx="39688" cy="38100"/>
            </a:xfrm>
            <a:custGeom>
              <a:avLst/>
              <a:gdLst>
                <a:gd name="T0" fmla="*/ 4 w 48"/>
                <a:gd name="T1" fmla="*/ 50 h 50"/>
                <a:gd name="T2" fmla="*/ 44 w 48"/>
                <a:gd name="T3" fmla="*/ 50 h 50"/>
                <a:gd name="T4" fmla="*/ 44 w 48"/>
                <a:gd name="T5" fmla="*/ 50 h 50"/>
                <a:gd name="T6" fmla="*/ 48 w 48"/>
                <a:gd name="T7" fmla="*/ 48 h 50"/>
                <a:gd name="T8" fmla="*/ 48 w 48"/>
                <a:gd name="T9" fmla="*/ 46 h 50"/>
                <a:gd name="T10" fmla="*/ 48 w 48"/>
                <a:gd name="T11" fmla="*/ 4 h 50"/>
                <a:gd name="T12" fmla="*/ 48 w 48"/>
                <a:gd name="T13" fmla="*/ 4 h 50"/>
                <a:gd name="T14" fmla="*/ 48 w 48"/>
                <a:gd name="T15" fmla="*/ 1 h 50"/>
                <a:gd name="T16" fmla="*/ 44 w 48"/>
                <a:gd name="T17" fmla="*/ 0 h 50"/>
                <a:gd name="T18" fmla="*/ 4 w 48"/>
                <a:gd name="T19" fmla="*/ 0 h 50"/>
                <a:gd name="T20" fmla="*/ 4 w 48"/>
                <a:gd name="T21" fmla="*/ 0 h 50"/>
                <a:gd name="T22" fmla="*/ 1 w 48"/>
                <a:gd name="T23" fmla="*/ 1 h 50"/>
                <a:gd name="T24" fmla="*/ 0 w 48"/>
                <a:gd name="T25" fmla="*/ 4 h 50"/>
                <a:gd name="T26" fmla="*/ 0 w 48"/>
                <a:gd name="T27" fmla="*/ 46 h 50"/>
                <a:gd name="T28" fmla="*/ 0 w 48"/>
                <a:gd name="T29" fmla="*/ 46 h 50"/>
                <a:gd name="T30" fmla="*/ 1 w 48"/>
                <a:gd name="T31" fmla="*/ 48 h 50"/>
                <a:gd name="T32" fmla="*/ 4 w 48"/>
                <a:gd name="T33" fmla="*/ 50 h 50"/>
                <a:gd name="T34" fmla="*/ 4 w 48"/>
                <a:gd name="T3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50">
                  <a:moveTo>
                    <a:pt x="4" y="50"/>
                  </a:moveTo>
                  <a:lnTo>
                    <a:pt x="44" y="50"/>
                  </a:lnTo>
                  <a:lnTo>
                    <a:pt x="44" y="50"/>
                  </a:lnTo>
                  <a:lnTo>
                    <a:pt x="48" y="48"/>
                  </a:lnTo>
                  <a:lnTo>
                    <a:pt x="48" y="46"/>
                  </a:lnTo>
                  <a:lnTo>
                    <a:pt x="48" y="4"/>
                  </a:lnTo>
                  <a:lnTo>
                    <a:pt x="48" y="4"/>
                  </a:lnTo>
                  <a:lnTo>
                    <a:pt x="48" y="1"/>
                  </a:lnTo>
                  <a:lnTo>
                    <a:pt x="44" y="0"/>
                  </a:lnTo>
                  <a:lnTo>
                    <a:pt x="4" y="0"/>
                  </a:lnTo>
                  <a:lnTo>
                    <a:pt x="4" y="0"/>
                  </a:lnTo>
                  <a:lnTo>
                    <a:pt x="1" y="1"/>
                  </a:lnTo>
                  <a:lnTo>
                    <a:pt x="0" y="4"/>
                  </a:lnTo>
                  <a:lnTo>
                    <a:pt x="0" y="46"/>
                  </a:lnTo>
                  <a:lnTo>
                    <a:pt x="0" y="46"/>
                  </a:lnTo>
                  <a:lnTo>
                    <a:pt x="1" y="48"/>
                  </a:lnTo>
                  <a:lnTo>
                    <a:pt x="4" y="50"/>
                  </a:lnTo>
                  <a:lnTo>
                    <a:pt x="4" y="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41" name="Freeform 246">
              <a:extLst>
                <a:ext uri="{FF2B5EF4-FFF2-40B4-BE49-F238E27FC236}">
                  <a16:creationId xmlns:a16="http://schemas.microsoft.com/office/drawing/2014/main" id="{CF275177-ACC1-4807-B5EE-BA36D6311D67}"/>
                </a:ext>
              </a:extLst>
            </p:cNvPr>
            <p:cNvSpPr>
              <a:spLocks/>
            </p:cNvSpPr>
            <p:nvPr/>
          </p:nvSpPr>
          <p:spPr bwMode="auto">
            <a:xfrm>
              <a:off x="2643188" y="4501198"/>
              <a:ext cx="39688" cy="38100"/>
            </a:xfrm>
            <a:custGeom>
              <a:avLst/>
              <a:gdLst>
                <a:gd name="T0" fmla="*/ 49 w 49"/>
                <a:gd name="T1" fmla="*/ 4 h 50"/>
                <a:gd name="T2" fmla="*/ 49 w 49"/>
                <a:gd name="T3" fmla="*/ 4 h 50"/>
                <a:gd name="T4" fmla="*/ 48 w 49"/>
                <a:gd name="T5" fmla="*/ 1 h 50"/>
                <a:gd name="T6" fmla="*/ 44 w 49"/>
                <a:gd name="T7" fmla="*/ 0 h 50"/>
                <a:gd name="T8" fmla="*/ 4 w 49"/>
                <a:gd name="T9" fmla="*/ 0 h 50"/>
                <a:gd name="T10" fmla="*/ 4 w 49"/>
                <a:gd name="T11" fmla="*/ 0 h 50"/>
                <a:gd name="T12" fmla="*/ 1 w 49"/>
                <a:gd name="T13" fmla="*/ 1 h 50"/>
                <a:gd name="T14" fmla="*/ 0 w 49"/>
                <a:gd name="T15" fmla="*/ 4 h 50"/>
                <a:gd name="T16" fmla="*/ 0 w 49"/>
                <a:gd name="T17" fmla="*/ 46 h 50"/>
                <a:gd name="T18" fmla="*/ 0 w 49"/>
                <a:gd name="T19" fmla="*/ 46 h 50"/>
                <a:gd name="T20" fmla="*/ 1 w 49"/>
                <a:gd name="T21" fmla="*/ 48 h 50"/>
                <a:gd name="T22" fmla="*/ 4 w 49"/>
                <a:gd name="T23" fmla="*/ 50 h 50"/>
                <a:gd name="T24" fmla="*/ 44 w 49"/>
                <a:gd name="T25" fmla="*/ 50 h 50"/>
                <a:gd name="T26" fmla="*/ 44 w 49"/>
                <a:gd name="T27" fmla="*/ 50 h 50"/>
                <a:gd name="T28" fmla="*/ 48 w 49"/>
                <a:gd name="T29" fmla="*/ 48 h 50"/>
                <a:gd name="T30" fmla="*/ 49 w 49"/>
                <a:gd name="T31" fmla="*/ 46 h 50"/>
                <a:gd name="T32" fmla="*/ 49 w 49"/>
                <a:gd name="T33" fmla="*/ 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50">
                  <a:moveTo>
                    <a:pt x="49" y="4"/>
                  </a:moveTo>
                  <a:lnTo>
                    <a:pt x="49" y="4"/>
                  </a:lnTo>
                  <a:lnTo>
                    <a:pt x="48" y="1"/>
                  </a:lnTo>
                  <a:lnTo>
                    <a:pt x="44" y="0"/>
                  </a:lnTo>
                  <a:lnTo>
                    <a:pt x="4" y="0"/>
                  </a:lnTo>
                  <a:lnTo>
                    <a:pt x="4" y="0"/>
                  </a:lnTo>
                  <a:lnTo>
                    <a:pt x="1" y="1"/>
                  </a:lnTo>
                  <a:lnTo>
                    <a:pt x="0" y="4"/>
                  </a:lnTo>
                  <a:lnTo>
                    <a:pt x="0" y="46"/>
                  </a:lnTo>
                  <a:lnTo>
                    <a:pt x="0" y="46"/>
                  </a:lnTo>
                  <a:lnTo>
                    <a:pt x="1" y="48"/>
                  </a:lnTo>
                  <a:lnTo>
                    <a:pt x="4" y="50"/>
                  </a:lnTo>
                  <a:lnTo>
                    <a:pt x="44" y="50"/>
                  </a:lnTo>
                  <a:lnTo>
                    <a:pt x="44" y="50"/>
                  </a:lnTo>
                  <a:lnTo>
                    <a:pt x="48" y="48"/>
                  </a:lnTo>
                  <a:lnTo>
                    <a:pt x="49" y="46"/>
                  </a:lnTo>
                  <a:lnTo>
                    <a:pt x="49"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42" name="Group 141">
            <a:extLst>
              <a:ext uri="{FF2B5EF4-FFF2-40B4-BE49-F238E27FC236}">
                <a16:creationId xmlns:a16="http://schemas.microsoft.com/office/drawing/2014/main" id="{A2287148-1BF2-40DE-B9BA-7A96B37D9827}"/>
              </a:ext>
            </a:extLst>
          </p:cNvPr>
          <p:cNvGrpSpPr>
            <a:grpSpLocks noChangeAspect="1"/>
          </p:cNvGrpSpPr>
          <p:nvPr/>
        </p:nvGrpSpPr>
        <p:grpSpPr>
          <a:xfrm>
            <a:off x="4522617" y="3213622"/>
            <a:ext cx="321016" cy="320040"/>
            <a:chOff x="10236201" y="4178300"/>
            <a:chExt cx="522288" cy="520700"/>
          </a:xfrm>
        </p:grpSpPr>
        <p:sp>
          <p:nvSpPr>
            <p:cNvPr id="143" name="Freeform 14">
              <a:extLst>
                <a:ext uri="{FF2B5EF4-FFF2-40B4-BE49-F238E27FC236}">
                  <a16:creationId xmlns:a16="http://schemas.microsoft.com/office/drawing/2014/main" id="{8ED857B1-50F6-497E-9DD3-33249907695F}"/>
                </a:ext>
              </a:extLst>
            </p:cNvPr>
            <p:cNvSpPr>
              <a:spLocks noEditPoints="1"/>
            </p:cNvSpPr>
            <p:nvPr/>
          </p:nvSpPr>
          <p:spPr bwMode="auto">
            <a:xfrm>
              <a:off x="10236201" y="4178300"/>
              <a:ext cx="522288" cy="520700"/>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4 w 658"/>
                <a:gd name="T11" fmla="*/ 426 h 657"/>
                <a:gd name="T12" fmla="*/ 4 w 658"/>
                <a:gd name="T13" fmla="*/ 379 h 657"/>
                <a:gd name="T14" fmla="*/ 0 w 658"/>
                <a:gd name="T15" fmla="*/ 328 h 657"/>
                <a:gd name="T16" fmla="*/ 2 w 658"/>
                <a:gd name="T17" fmla="*/ 294 h 657"/>
                <a:gd name="T18" fmla="*/ 10 w 658"/>
                <a:gd name="T19" fmla="*/ 246 h 657"/>
                <a:gd name="T20" fmla="*/ 40 w 658"/>
                <a:gd name="T21" fmla="*/ 172 h 657"/>
                <a:gd name="T22" fmla="*/ 96 w 658"/>
                <a:gd name="T23" fmla="*/ 95 h 657"/>
                <a:gd name="T24" fmla="*/ 171 w 658"/>
                <a:gd name="T25" fmla="*/ 39 h 657"/>
                <a:gd name="T26" fmla="*/ 247 w 658"/>
                <a:gd name="T27" fmla="*/ 9 h 657"/>
                <a:gd name="T28" fmla="*/ 295 w 658"/>
                <a:gd name="T29" fmla="*/ 1 h 657"/>
                <a:gd name="T30" fmla="*/ 329 w 658"/>
                <a:gd name="T31" fmla="*/ 0 h 657"/>
                <a:gd name="T32" fmla="*/ 378 w 658"/>
                <a:gd name="T33" fmla="*/ 2 h 657"/>
                <a:gd name="T34" fmla="*/ 427 w 658"/>
                <a:gd name="T35" fmla="*/ 15 h 657"/>
                <a:gd name="T36" fmla="*/ 513 w 658"/>
                <a:gd name="T37" fmla="*/ 55 h 657"/>
                <a:gd name="T38" fmla="*/ 583 w 658"/>
                <a:gd name="T39" fmla="*/ 119 h 657"/>
                <a:gd name="T40" fmla="*/ 632 w 658"/>
                <a:gd name="T41" fmla="*/ 200 h 657"/>
                <a:gd name="T42" fmla="*/ 651 w 658"/>
                <a:gd name="T43" fmla="*/ 262 h 657"/>
                <a:gd name="T44" fmla="*/ 656 w 658"/>
                <a:gd name="T45" fmla="*/ 311 h 657"/>
                <a:gd name="T46" fmla="*/ 656 w 658"/>
                <a:gd name="T47" fmla="*/ 345 h 657"/>
                <a:gd name="T48" fmla="*/ 651 w 658"/>
                <a:gd name="T49" fmla="*/ 395 h 657"/>
                <a:gd name="T50" fmla="*/ 632 w 658"/>
                <a:gd name="T51" fmla="*/ 457 h 657"/>
                <a:gd name="T52" fmla="*/ 583 w 658"/>
                <a:gd name="T53" fmla="*/ 537 h 657"/>
                <a:gd name="T54" fmla="*/ 513 w 658"/>
                <a:gd name="T55" fmla="*/ 600 h 657"/>
                <a:gd name="T56" fmla="*/ 427 w 658"/>
                <a:gd name="T57" fmla="*/ 642 h 657"/>
                <a:gd name="T58" fmla="*/ 378 w 658"/>
                <a:gd name="T59" fmla="*/ 653 h 657"/>
                <a:gd name="T60" fmla="*/ 329 w 658"/>
                <a:gd name="T61" fmla="*/ 657 h 657"/>
                <a:gd name="T62" fmla="*/ 329 w 658"/>
                <a:gd name="T63" fmla="*/ 37 h 657"/>
                <a:gd name="T64" fmla="*/ 243 w 658"/>
                <a:gd name="T65" fmla="*/ 50 h 657"/>
                <a:gd name="T66" fmla="*/ 166 w 658"/>
                <a:gd name="T67" fmla="*/ 87 h 657"/>
                <a:gd name="T68" fmla="*/ 104 w 658"/>
                <a:gd name="T69" fmla="*/ 144 h 657"/>
                <a:gd name="T70" fmla="*/ 60 w 658"/>
                <a:gd name="T71" fmla="*/ 215 h 657"/>
                <a:gd name="T72" fmla="*/ 38 w 658"/>
                <a:gd name="T73" fmla="*/ 298 h 657"/>
                <a:gd name="T74" fmla="*/ 38 w 658"/>
                <a:gd name="T75" fmla="*/ 358 h 657"/>
                <a:gd name="T76" fmla="*/ 60 w 658"/>
                <a:gd name="T77" fmla="*/ 442 h 657"/>
                <a:gd name="T78" fmla="*/ 104 w 658"/>
                <a:gd name="T79" fmla="*/ 513 h 657"/>
                <a:gd name="T80" fmla="*/ 166 w 658"/>
                <a:gd name="T81" fmla="*/ 569 h 657"/>
                <a:gd name="T82" fmla="*/ 243 w 658"/>
                <a:gd name="T83" fmla="*/ 606 h 657"/>
                <a:gd name="T84" fmla="*/ 329 w 658"/>
                <a:gd name="T85" fmla="*/ 619 h 657"/>
                <a:gd name="T86" fmla="*/ 388 w 658"/>
                <a:gd name="T87" fmla="*/ 614 h 657"/>
                <a:gd name="T88" fmla="*/ 467 w 658"/>
                <a:gd name="T89" fmla="*/ 584 h 657"/>
                <a:gd name="T90" fmla="*/ 534 w 658"/>
                <a:gd name="T91" fmla="*/ 534 h 657"/>
                <a:gd name="T92" fmla="*/ 585 w 658"/>
                <a:gd name="T93" fmla="*/ 467 h 657"/>
                <a:gd name="T94" fmla="*/ 613 w 658"/>
                <a:gd name="T95" fmla="*/ 387 h 657"/>
                <a:gd name="T96" fmla="*/ 620 w 658"/>
                <a:gd name="T97" fmla="*/ 328 h 657"/>
                <a:gd name="T98" fmla="*/ 607 w 658"/>
                <a:gd name="T99" fmla="*/ 242 h 657"/>
                <a:gd name="T100" fmla="*/ 570 w 658"/>
                <a:gd name="T101" fmla="*/ 165 h 657"/>
                <a:gd name="T102" fmla="*/ 514 w 658"/>
                <a:gd name="T103" fmla="*/ 103 h 657"/>
                <a:gd name="T104" fmla="*/ 441 w 658"/>
                <a:gd name="T105" fmla="*/ 60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5"/>
                  </a:lnTo>
                  <a:lnTo>
                    <a:pt x="279" y="653"/>
                  </a:lnTo>
                  <a:lnTo>
                    <a:pt x="263" y="650"/>
                  </a:lnTo>
                  <a:lnTo>
                    <a:pt x="247" y="646"/>
                  </a:lnTo>
                  <a:lnTo>
                    <a:pt x="231" y="642"/>
                  </a:lnTo>
                  <a:lnTo>
                    <a:pt x="201" y="631"/>
                  </a:lnTo>
                  <a:lnTo>
                    <a:pt x="171" y="618"/>
                  </a:lnTo>
                  <a:lnTo>
                    <a:pt x="145" y="600"/>
                  </a:lnTo>
                  <a:lnTo>
                    <a:pt x="119" y="582"/>
                  </a:lnTo>
                  <a:lnTo>
                    <a:pt x="96" y="560"/>
                  </a:lnTo>
                  <a:lnTo>
                    <a:pt x="75" y="537"/>
                  </a:lnTo>
                  <a:lnTo>
                    <a:pt x="56" y="512"/>
                  </a:lnTo>
                  <a:lnTo>
                    <a:pt x="40" y="485"/>
                  </a:lnTo>
                  <a:lnTo>
                    <a:pt x="26" y="457"/>
                  </a:lnTo>
                  <a:lnTo>
                    <a:pt x="14" y="426"/>
                  </a:lnTo>
                  <a:lnTo>
                    <a:pt x="10" y="410"/>
                  </a:lnTo>
                  <a:lnTo>
                    <a:pt x="6" y="395"/>
                  </a:lnTo>
                  <a:lnTo>
                    <a:pt x="4" y="379"/>
                  </a:lnTo>
                  <a:lnTo>
                    <a:pt x="2" y="361"/>
                  </a:lnTo>
                  <a:lnTo>
                    <a:pt x="1" y="345"/>
                  </a:lnTo>
                  <a:lnTo>
                    <a:pt x="0" y="328"/>
                  </a:lnTo>
                  <a:lnTo>
                    <a:pt x="0" y="328"/>
                  </a:lnTo>
                  <a:lnTo>
                    <a:pt x="1" y="311"/>
                  </a:lnTo>
                  <a:lnTo>
                    <a:pt x="2" y="294"/>
                  </a:lnTo>
                  <a:lnTo>
                    <a:pt x="4" y="278"/>
                  </a:lnTo>
                  <a:lnTo>
                    <a:pt x="6" y="262"/>
                  </a:lnTo>
                  <a:lnTo>
                    <a:pt x="10" y="246"/>
                  </a:lnTo>
                  <a:lnTo>
                    <a:pt x="14" y="231"/>
                  </a:lnTo>
                  <a:lnTo>
                    <a:pt x="26" y="200"/>
                  </a:lnTo>
                  <a:lnTo>
                    <a:pt x="40" y="172"/>
                  </a:lnTo>
                  <a:lnTo>
                    <a:pt x="56" y="145"/>
                  </a:lnTo>
                  <a:lnTo>
                    <a:pt x="75" y="119"/>
                  </a:lnTo>
                  <a:lnTo>
                    <a:pt x="96" y="95"/>
                  </a:lnTo>
                  <a:lnTo>
                    <a:pt x="119" y="75"/>
                  </a:lnTo>
                  <a:lnTo>
                    <a:pt x="145" y="55"/>
                  </a:lnTo>
                  <a:lnTo>
                    <a:pt x="171" y="39"/>
                  </a:lnTo>
                  <a:lnTo>
                    <a:pt x="201" y="25"/>
                  </a:lnTo>
                  <a:lnTo>
                    <a:pt x="231" y="15"/>
                  </a:lnTo>
                  <a:lnTo>
                    <a:pt x="247" y="9"/>
                  </a:lnTo>
                  <a:lnTo>
                    <a:pt x="263" y="7"/>
                  </a:lnTo>
                  <a:lnTo>
                    <a:pt x="279" y="2"/>
                  </a:lnTo>
                  <a:lnTo>
                    <a:pt x="295" y="1"/>
                  </a:lnTo>
                  <a:lnTo>
                    <a:pt x="311" y="0"/>
                  </a:lnTo>
                  <a:lnTo>
                    <a:pt x="329" y="0"/>
                  </a:lnTo>
                  <a:lnTo>
                    <a:pt x="329" y="0"/>
                  </a:lnTo>
                  <a:lnTo>
                    <a:pt x="346" y="0"/>
                  </a:lnTo>
                  <a:lnTo>
                    <a:pt x="362" y="1"/>
                  </a:lnTo>
                  <a:lnTo>
                    <a:pt x="378" y="2"/>
                  </a:lnTo>
                  <a:lnTo>
                    <a:pt x="394" y="7"/>
                  </a:lnTo>
                  <a:lnTo>
                    <a:pt x="411" y="9"/>
                  </a:lnTo>
                  <a:lnTo>
                    <a:pt x="427" y="15"/>
                  </a:lnTo>
                  <a:lnTo>
                    <a:pt x="456" y="25"/>
                  </a:lnTo>
                  <a:lnTo>
                    <a:pt x="486" y="39"/>
                  </a:lnTo>
                  <a:lnTo>
                    <a:pt x="513" y="55"/>
                  </a:lnTo>
                  <a:lnTo>
                    <a:pt x="538" y="75"/>
                  </a:lnTo>
                  <a:lnTo>
                    <a:pt x="561" y="95"/>
                  </a:lnTo>
                  <a:lnTo>
                    <a:pt x="583" y="119"/>
                  </a:lnTo>
                  <a:lnTo>
                    <a:pt x="601" y="145"/>
                  </a:lnTo>
                  <a:lnTo>
                    <a:pt x="617" y="172"/>
                  </a:lnTo>
                  <a:lnTo>
                    <a:pt x="632" y="200"/>
                  </a:lnTo>
                  <a:lnTo>
                    <a:pt x="643" y="231"/>
                  </a:lnTo>
                  <a:lnTo>
                    <a:pt x="647" y="246"/>
                  </a:lnTo>
                  <a:lnTo>
                    <a:pt x="651" y="262"/>
                  </a:lnTo>
                  <a:lnTo>
                    <a:pt x="654" y="278"/>
                  </a:lnTo>
                  <a:lnTo>
                    <a:pt x="656" y="294"/>
                  </a:lnTo>
                  <a:lnTo>
                    <a:pt x="656" y="311"/>
                  </a:lnTo>
                  <a:lnTo>
                    <a:pt x="658" y="328"/>
                  </a:lnTo>
                  <a:lnTo>
                    <a:pt x="658" y="328"/>
                  </a:lnTo>
                  <a:lnTo>
                    <a:pt x="656" y="345"/>
                  </a:lnTo>
                  <a:lnTo>
                    <a:pt x="656" y="361"/>
                  </a:lnTo>
                  <a:lnTo>
                    <a:pt x="654" y="379"/>
                  </a:lnTo>
                  <a:lnTo>
                    <a:pt x="651" y="395"/>
                  </a:lnTo>
                  <a:lnTo>
                    <a:pt x="647" y="410"/>
                  </a:lnTo>
                  <a:lnTo>
                    <a:pt x="643" y="426"/>
                  </a:lnTo>
                  <a:lnTo>
                    <a:pt x="632" y="457"/>
                  </a:lnTo>
                  <a:lnTo>
                    <a:pt x="617" y="485"/>
                  </a:lnTo>
                  <a:lnTo>
                    <a:pt x="601" y="512"/>
                  </a:lnTo>
                  <a:lnTo>
                    <a:pt x="583" y="537"/>
                  </a:lnTo>
                  <a:lnTo>
                    <a:pt x="561" y="560"/>
                  </a:lnTo>
                  <a:lnTo>
                    <a:pt x="538" y="582"/>
                  </a:lnTo>
                  <a:lnTo>
                    <a:pt x="513" y="600"/>
                  </a:lnTo>
                  <a:lnTo>
                    <a:pt x="486" y="618"/>
                  </a:lnTo>
                  <a:lnTo>
                    <a:pt x="456" y="631"/>
                  </a:lnTo>
                  <a:lnTo>
                    <a:pt x="427" y="642"/>
                  </a:lnTo>
                  <a:lnTo>
                    <a:pt x="411" y="646"/>
                  </a:lnTo>
                  <a:lnTo>
                    <a:pt x="394" y="650"/>
                  </a:lnTo>
                  <a:lnTo>
                    <a:pt x="378" y="653"/>
                  </a:lnTo>
                  <a:lnTo>
                    <a:pt x="362" y="655"/>
                  </a:lnTo>
                  <a:lnTo>
                    <a:pt x="346" y="657"/>
                  </a:lnTo>
                  <a:lnTo>
                    <a:pt x="329" y="657"/>
                  </a:lnTo>
                  <a:lnTo>
                    <a:pt x="329" y="657"/>
                  </a:lnTo>
                  <a:close/>
                  <a:moveTo>
                    <a:pt x="329" y="37"/>
                  </a:moveTo>
                  <a:lnTo>
                    <a:pt x="329" y="37"/>
                  </a:lnTo>
                  <a:lnTo>
                    <a:pt x="299" y="39"/>
                  </a:lnTo>
                  <a:lnTo>
                    <a:pt x="270" y="43"/>
                  </a:lnTo>
                  <a:lnTo>
                    <a:pt x="243" y="50"/>
                  </a:lnTo>
                  <a:lnTo>
                    <a:pt x="216" y="60"/>
                  </a:lnTo>
                  <a:lnTo>
                    <a:pt x="190" y="72"/>
                  </a:lnTo>
                  <a:lnTo>
                    <a:pt x="166" y="87"/>
                  </a:lnTo>
                  <a:lnTo>
                    <a:pt x="143" y="103"/>
                  </a:lnTo>
                  <a:lnTo>
                    <a:pt x="123" y="122"/>
                  </a:lnTo>
                  <a:lnTo>
                    <a:pt x="104" y="144"/>
                  </a:lnTo>
                  <a:lnTo>
                    <a:pt x="87" y="165"/>
                  </a:lnTo>
                  <a:lnTo>
                    <a:pt x="72" y="189"/>
                  </a:lnTo>
                  <a:lnTo>
                    <a:pt x="60" y="215"/>
                  </a:lnTo>
                  <a:lnTo>
                    <a:pt x="51" y="242"/>
                  </a:lnTo>
                  <a:lnTo>
                    <a:pt x="44" y="270"/>
                  </a:lnTo>
                  <a:lnTo>
                    <a:pt x="38" y="298"/>
                  </a:lnTo>
                  <a:lnTo>
                    <a:pt x="37" y="328"/>
                  </a:lnTo>
                  <a:lnTo>
                    <a:pt x="37" y="328"/>
                  </a:lnTo>
                  <a:lnTo>
                    <a:pt x="38" y="358"/>
                  </a:lnTo>
                  <a:lnTo>
                    <a:pt x="44" y="387"/>
                  </a:lnTo>
                  <a:lnTo>
                    <a:pt x="51" y="415"/>
                  </a:lnTo>
                  <a:lnTo>
                    <a:pt x="60" y="442"/>
                  </a:lnTo>
                  <a:lnTo>
                    <a:pt x="72" y="467"/>
                  </a:lnTo>
                  <a:lnTo>
                    <a:pt x="87" y="491"/>
                  </a:lnTo>
                  <a:lnTo>
                    <a:pt x="104" y="513"/>
                  </a:lnTo>
                  <a:lnTo>
                    <a:pt x="123" y="534"/>
                  </a:lnTo>
                  <a:lnTo>
                    <a:pt x="143" y="553"/>
                  </a:lnTo>
                  <a:lnTo>
                    <a:pt x="166" y="569"/>
                  </a:lnTo>
                  <a:lnTo>
                    <a:pt x="190" y="584"/>
                  </a:lnTo>
                  <a:lnTo>
                    <a:pt x="216" y="596"/>
                  </a:lnTo>
                  <a:lnTo>
                    <a:pt x="243" y="606"/>
                  </a:lnTo>
                  <a:lnTo>
                    <a:pt x="270" y="614"/>
                  </a:lnTo>
                  <a:lnTo>
                    <a:pt x="299" y="618"/>
                  </a:lnTo>
                  <a:lnTo>
                    <a:pt x="329" y="619"/>
                  </a:lnTo>
                  <a:lnTo>
                    <a:pt x="329" y="619"/>
                  </a:lnTo>
                  <a:lnTo>
                    <a:pt x="358" y="618"/>
                  </a:lnTo>
                  <a:lnTo>
                    <a:pt x="388" y="614"/>
                  </a:lnTo>
                  <a:lnTo>
                    <a:pt x="415" y="606"/>
                  </a:lnTo>
                  <a:lnTo>
                    <a:pt x="441" y="596"/>
                  </a:lnTo>
                  <a:lnTo>
                    <a:pt x="467" y="584"/>
                  </a:lnTo>
                  <a:lnTo>
                    <a:pt x="491" y="569"/>
                  </a:lnTo>
                  <a:lnTo>
                    <a:pt x="514" y="553"/>
                  </a:lnTo>
                  <a:lnTo>
                    <a:pt x="534" y="534"/>
                  </a:lnTo>
                  <a:lnTo>
                    <a:pt x="553" y="513"/>
                  </a:lnTo>
                  <a:lnTo>
                    <a:pt x="570" y="491"/>
                  </a:lnTo>
                  <a:lnTo>
                    <a:pt x="585" y="467"/>
                  </a:lnTo>
                  <a:lnTo>
                    <a:pt x="597" y="442"/>
                  </a:lnTo>
                  <a:lnTo>
                    <a:pt x="607" y="415"/>
                  </a:lnTo>
                  <a:lnTo>
                    <a:pt x="613" y="387"/>
                  </a:lnTo>
                  <a:lnTo>
                    <a:pt x="619" y="358"/>
                  </a:lnTo>
                  <a:lnTo>
                    <a:pt x="620" y="328"/>
                  </a:lnTo>
                  <a:lnTo>
                    <a:pt x="620" y="328"/>
                  </a:lnTo>
                  <a:lnTo>
                    <a:pt x="619" y="298"/>
                  </a:lnTo>
                  <a:lnTo>
                    <a:pt x="613" y="270"/>
                  </a:lnTo>
                  <a:lnTo>
                    <a:pt x="607" y="242"/>
                  </a:lnTo>
                  <a:lnTo>
                    <a:pt x="597" y="215"/>
                  </a:lnTo>
                  <a:lnTo>
                    <a:pt x="585" y="189"/>
                  </a:lnTo>
                  <a:lnTo>
                    <a:pt x="570" y="165"/>
                  </a:lnTo>
                  <a:lnTo>
                    <a:pt x="553" y="144"/>
                  </a:lnTo>
                  <a:lnTo>
                    <a:pt x="534" y="122"/>
                  </a:lnTo>
                  <a:lnTo>
                    <a:pt x="514" y="103"/>
                  </a:lnTo>
                  <a:lnTo>
                    <a:pt x="491" y="87"/>
                  </a:lnTo>
                  <a:lnTo>
                    <a:pt x="467" y="72"/>
                  </a:lnTo>
                  <a:lnTo>
                    <a:pt x="441" y="60"/>
                  </a:lnTo>
                  <a:lnTo>
                    <a:pt x="415" y="50"/>
                  </a:lnTo>
                  <a:lnTo>
                    <a:pt x="388" y="43"/>
                  </a:lnTo>
                  <a:lnTo>
                    <a:pt x="358" y="39"/>
                  </a:lnTo>
                  <a:lnTo>
                    <a:pt x="329" y="37"/>
                  </a:lnTo>
                  <a:lnTo>
                    <a:pt x="329" y="3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44" name="Freeform 101">
              <a:extLst>
                <a:ext uri="{FF2B5EF4-FFF2-40B4-BE49-F238E27FC236}">
                  <a16:creationId xmlns:a16="http://schemas.microsoft.com/office/drawing/2014/main" id="{C9AC7458-AC6E-43C3-B3E2-E364AABF8AA4}"/>
                </a:ext>
              </a:extLst>
            </p:cNvPr>
            <p:cNvSpPr>
              <a:spLocks/>
            </p:cNvSpPr>
            <p:nvPr/>
          </p:nvSpPr>
          <p:spPr bwMode="auto">
            <a:xfrm>
              <a:off x="10391776" y="4340225"/>
              <a:ext cx="136525" cy="47625"/>
            </a:xfrm>
            <a:custGeom>
              <a:avLst/>
              <a:gdLst>
                <a:gd name="T0" fmla="*/ 165 w 171"/>
                <a:gd name="T1" fmla="*/ 0 h 60"/>
                <a:gd name="T2" fmla="*/ 4 w 171"/>
                <a:gd name="T3" fmla="*/ 0 h 60"/>
                <a:gd name="T4" fmla="*/ 4 w 171"/>
                <a:gd name="T5" fmla="*/ 0 h 60"/>
                <a:gd name="T6" fmla="*/ 0 w 171"/>
                <a:gd name="T7" fmla="*/ 1 h 60"/>
                <a:gd name="T8" fmla="*/ 0 w 171"/>
                <a:gd name="T9" fmla="*/ 5 h 60"/>
                <a:gd name="T10" fmla="*/ 0 w 171"/>
                <a:gd name="T11" fmla="*/ 56 h 60"/>
                <a:gd name="T12" fmla="*/ 0 w 171"/>
                <a:gd name="T13" fmla="*/ 56 h 60"/>
                <a:gd name="T14" fmla="*/ 0 w 171"/>
                <a:gd name="T15" fmla="*/ 59 h 60"/>
                <a:gd name="T16" fmla="*/ 4 w 171"/>
                <a:gd name="T17" fmla="*/ 60 h 60"/>
                <a:gd name="T18" fmla="*/ 165 w 171"/>
                <a:gd name="T19" fmla="*/ 60 h 60"/>
                <a:gd name="T20" fmla="*/ 165 w 171"/>
                <a:gd name="T21" fmla="*/ 60 h 60"/>
                <a:gd name="T22" fmla="*/ 169 w 171"/>
                <a:gd name="T23" fmla="*/ 59 h 60"/>
                <a:gd name="T24" fmla="*/ 171 w 171"/>
                <a:gd name="T25" fmla="*/ 56 h 60"/>
                <a:gd name="T26" fmla="*/ 171 w 171"/>
                <a:gd name="T27" fmla="*/ 5 h 60"/>
                <a:gd name="T28" fmla="*/ 171 w 171"/>
                <a:gd name="T29" fmla="*/ 5 h 60"/>
                <a:gd name="T30" fmla="*/ 169 w 171"/>
                <a:gd name="T31" fmla="*/ 1 h 60"/>
                <a:gd name="T32" fmla="*/ 165 w 171"/>
                <a:gd name="T33" fmla="*/ 0 h 60"/>
                <a:gd name="T34" fmla="*/ 165 w 171"/>
                <a:gd name="T35"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60">
                  <a:moveTo>
                    <a:pt x="165" y="0"/>
                  </a:moveTo>
                  <a:lnTo>
                    <a:pt x="4" y="0"/>
                  </a:lnTo>
                  <a:lnTo>
                    <a:pt x="4" y="0"/>
                  </a:lnTo>
                  <a:lnTo>
                    <a:pt x="0" y="1"/>
                  </a:lnTo>
                  <a:lnTo>
                    <a:pt x="0" y="5"/>
                  </a:lnTo>
                  <a:lnTo>
                    <a:pt x="0" y="56"/>
                  </a:lnTo>
                  <a:lnTo>
                    <a:pt x="0" y="56"/>
                  </a:lnTo>
                  <a:lnTo>
                    <a:pt x="0" y="59"/>
                  </a:lnTo>
                  <a:lnTo>
                    <a:pt x="4" y="60"/>
                  </a:lnTo>
                  <a:lnTo>
                    <a:pt x="165" y="60"/>
                  </a:lnTo>
                  <a:lnTo>
                    <a:pt x="165" y="60"/>
                  </a:lnTo>
                  <a:lnTo>
                    <a:pt x="169" y="59"/>
                  </a:lnTo>
                  <a:lnTo>
                    <a:pt x="171" y="56"/>
                  </a:lnTo>
                  <a:lnTo>
                    <a:pt x="171" y="5"/>
                  </a:lnTo>
                  <a:lnTo>
                    <a:pt x="171" y="5"/>
                  </a:lnTo>
                  <a:lnTo>
                    <a:pt x="169" y="1"/>
                  </a:lnTo>
                  <a:lnTo>
                    <a:pt x="165" y="0"/>
                  </a:lnTo>
                  <a:lnTo>
                    <a:pt x="16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45" name="Freeform 102">
              <a:extLst>
                <a:ext uri="{FF2B5EF4-FFF2-40B4-BE49-F238E27FC236}">
                  <a16:creationId xmlns:a16="http://schemas.microsoft.com/office/drawing/2014/main" id="{2008FAFE-D6D7-460C-970E-871350F32F70}"/>
                </a:ext>
              </a:extLst>
            </p:cNvPr>
            <p:cNvSpPr>
              <a:spLocks/>
            </p:cNvSpPr>
            <p:nvPr/>
          </p:nvSpPr>
          <p:spPr bwMode="auto">
            <a:xfrm>
              <a:off x="10391776" y="4414838"/>
              <a:ext cx="136525" cy="47625"/>
            </a:xfrm>
            <a:custGeom>
              <a:avLst/>
              <a:gdLst>
                <a:gd name="T0" fmla="*/ 165 w 171"/>
                <a:gd name="T1" fmla="*/ 0 h 60"/>
                <a:gd name="T2" fmla="*/ 4 w 171"/>
                <a:gd name="T3" fmla="*/ 0 h 60"/>
                <a:gd name="T4" fmla="*/ 4 w 171"/>
                <a:gd name="T5" fmla="*/ 0 h 60"/>
                <a:gd name="T6" fmla="*/ 0 w 171"/>
                <a:gd name="T7" fmla="*/ 1 h 60"/>
                <a:gd name="T8" fmla="*/ 0 w 171"/>
                <a:gd name="T9" fmla="*/ 4 h 60"/>
                <a:gd name="T10" fmla="*/ 0 w 171"/>
                <a:gd name="T11" fmla="*/ 55 h 60"/>
                <a:gd name="T12" fmla="*/ 0 w 171"/>
                <a:gd name="T13" fmla="*/ 55 h 60"/>
                <a:gd name="T14" fmla="*/ 0 w 171"/>
                <a:gd name="T15" fmla="*/ 59 h 60"/>
                <a:gd name="T16" fmla="*/ 4 w 171"/>
                <a:gd name="T17" fmla="*/ 60 h 60"/>
                <a:gd name="T18" fmla="*/ 165 w 171"/>
                <a:gd name="T19" fmla="*/ 60 h 60"/>
                <a:gd name="T20" fmla="*/ 165 w 171"/>
                <a:gd name="T21" fmla="*/ 60 h 60"/>
                <a:gd name="T22" fmla="*/ 169 w 171"/>
                <a:gd name="T23" fmla="*/ 59 h 60"/>
                <a:gd name="T24" fmla="*/ 171 w 171"/>
                <a:gd name="T25" fmla="*/ 55 h 60"/>
                <a:gd name="T26" fmla="*/ 171 w 171"/>
                <a:gd name="T27" fmla="*/ 4 h 60"/>
                <a:gd name="T28" fmla="*/ 171 w 171"/>
                <a:gd name="T29" fmla="*/ 4 h 60"/>
                <a:gd name="T30" fmla="*/ 169 w 171"/>
                <a:gd name="T31" fmla="*/ 1 h 60"/>
                <a:gd name="T32" fmla="*/ 165 w 171"/>
                <a:gd name="T33" fmla="*/ 0 h 60"/>
                <a:gd name="T34" fmla="*/ 165 w 171"/>
                <a:gd name="T35"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60">
                  <a:moveTo>
                    <a:pt x="165" y="0"/>
                  </a:moveTo>
                  <a:lnTo>
                    <a:pt x="4" y="0"/>
                  </a:lnTo>
                  <a:lnTo>
                    <a:pt x="4" y="0"/>
                  </a:lnTo>
                  <a:lnTo>
                    <a:pt x="0" y="1"/>
                  </a:lnTo>
                  <a:lnTo>
                    <a:pt x="0" y="4"/>
                  </a:lnTo>
                  <a:lnTo>
                    <a:pt x="0" y="55"/>
                  </a:lnTo>
                  <a:lnTo>
                    <a:pt x="0" y="55"/>
                  </a:lnTo>
                  <a:lnTo>
                    <a:pt x="0" y="59"/>
                  </a:lnTo>
                  <a:lnTo>
                    <a:pt x="4" y="60"/>
                  </a:lnTo>
                  <a:lnTo>
                    <a:pt x="165" y="60"/>
                  </a:lnTo>
                  <a:lnTo>
                    <a:pt x="165" y="60"/>
                  </a:lnTo>
                  <a:lnTo>
                    <a:pt x="169" y="59"/>
                  </a:lnTo>
                  <a:lnTo>
                    <a:pt x="171" y="55"/>
                  </a:lnTo>
                  <a:lnTo>
                    <a:pt x="171" y="4"/>
                  </a:lnTo>
                  <a:lnTo>
                    <a:pt x="171" y="4"/>
                  </a:lnTo>
                  <a:lnTo>
                    <a:pt x="169" y="1"/>
                  </a:lnTo>
                  <a:lnTo>
                    <a:pt x="165" y="0"/>
                  </a:lnTo>
                  <a:lnTo>
                    <a:pt x="16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46" name="Freeform 103">
              <a:extLst>
                <a:ext uri="{FF2B5EF4-FFF2-40B4-BE49-F238E27FC236}">
                  <a16:creationId xmlns:a16="http://schemas.microsoft.com/office/drawing/2014/main" id="{F9463EDA-E1D8-4C87-8C53-E407FFC03DCC}"/>
                </a:ext>
              </a:extLst>
            </p:cNvPr>
            <p:cNvSpPr>
              <a:spLocks/>
            </p:cNvSpPr>
            <p:nvPr/>
          </p:nvSpPr>
          <p:spPr bwMode="auto">
            <a:xfrm>
              <a:off x="10391776" y="4489450"/>
              <a:ext cx="136525" cy="47625"/>
            </a:xfrm>
            <a:custGeom>
              <a:avLst/>
              <a:gdLst>
                <a:gd name="T0" fmla="*/ 165 w 171"/>
                <a:gd name="T1" fmla="*/ 0 h 59"/>
                <a:gd name="T2" fmla="*/ 4 w 171"/>
                <a:gd name="T3" fmla="*/ 0 h 59"/>
                <a:gd name="T4" fmla="*/ 4 w 171"/>
                <a:gd name="T5" fmla="*/ 0 h 59"/>
                <a:gd name="T6" fmla="*/ 0 w 171"/>
                <a:gd name="T7" fmla="*/ 1 h 59"/>
                <a:gd name="T8" fmla="*/ 0 w 171"/>
                <a:gd name="T9" fmla="*/ 4 h 59"/>
                <a:gd name="T10" fmla="*/ 0 w 171"/>
                <a:gd name="T11" fmla="*/ 55 h 59"/>
                <a:gd name="T12" fmla="*/ 0 w 171"/>
                <a:gd name="T13" fmla="*/ 55 h 59"/>
                <a:gd name="T14" fmla="*/ 0 w 171"/>
                <a:gd name="T15" fmla="*/ 59 h 59"/>
                <a:gd name="T16" fmla="*/ 4 w 171"/>
                <a:gd name="T17" fmla="*/ 59 h 59"/>
                <a:gd name="T18" fmla="*/ 165 w 171"/>
                <a:gd name="T19" fmla="*/ 59 h 59"/>
                <a:gd name="T20" fmla="*/ 165 w 171"/>
                <a:gd name="T21" fmla="*/ 59 h 59"/>
                <a:gd name="T22" fmla="*/ 169 w 171"/>
                <a:gd name="T23" fmla="*/ 59 h 59"/>
                <a:gd name="T24" fmla="*/ 171 w 171"/>
                <a:gd name="T25" fmla="*/ 55 h 59"/>
                <a:gd name="T26" fmla="*/ 171 w 171"/>
                <a:gd name="T27" fmla="*/ 4 h 59"/>
                <a:gd name="T28" fmla="*/ 171 w 171"/>
                <a:gd name="T29" fmla="*/ 4 h 59"/>
                <a:gd name="T30" fmla="*/ 169 w 171"/>
                <a:gd name="T31" fmla="*/ 1 h 59"/>
                <a:gd name="T32" fmla="*/ 165 w 171"/>
                <a:gd name="T33" fmla="*/ 0 h 59"/>
                <a:gd name="T34" fmla="*/ 165 w 171"/>
                <a:gd name="T35"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59">
                  <a:moveTo>
                    <a:pt x="165" y="0"/>
                  </a:moveTo>
                  <a:lnTo>
                    <a:pt x="4" y="0"/>
                  </a:lnTo>
                  <a:lnTo>
                    <a:pt x="4" y="0"/>
                  </a:lnTo>
                  <a:lnTo>
                    <a:pt x="0" y="1"/>
                  </a:lnTo>
                  <a:lnTo>
                    <a:pt x="0" y="4"/>
                  </a:lnTo>
                  <a:lnTo>
                    <a:pt x="0" y="55"/>
                  </a:lnTo>
                  <a:lnTo>
                    <a:pt x="0" y="55"/>
                  </a:lnTo>
                  <a:lnTo>
                    <a:pt x="0" y="59"/>
                  </a:lnTo>
                  <a:lnTo>
                    <a:pt x="4" y="59"/>
                  </a:lnTo>
                  <a:lnTo>
                    <a:pt x="165" y="59"/>
                  </a:lnTo>
                  <a:lnTo>
                    <a:pt x="165" y="59"/>
                  </a:lnTo>
                  <a:lnTo>
                    <a:pt x="169" y="59"/>
                  </a:lnTo>
                  <a:lnTo>
                    <a:pt x="171" y="55"/>
                  </a:lnTo>
                  <a:lnTo>
                    <a:pt x="171" y="4"/>
                  </a:lnTo>
                  <a:lnTo>
                    <a:pt x="171" y="4"/>
                  </a:lnTo>
                  <a:lnTo>
                    <a:pt x="169" y="1"/>
                  </a:lnTo>
                  <a:lnTo>
                    <a:pt x="165" y="0"/>
                  </a:lnTo>
                  <a:lnTo>
                    <a:pt x="16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47" name="Freeform 104">
              <a:extLst>
                <a:ext uri="{FF2B5EF4-FFF2-40B4-BE49-F238E27FC236}">
                  <a16:creationId xmlns:a16="http://schemas.microsoft.com/office/drawing/2014/main" id="{37FEFD72-EF6D-4B6A-B27E-FC3B85925B0D}"/>
                </a:ext>
              </a:extLst>
            </p:cNvPr>
            <p:cNvSpPr>
              <a:spLocks/>
            </p:cNvSpPr>
            <p:nvPr/>
          </p:nvSpPr>
          <p:spPr bwMode="auto">
            <a:xfrm>
              <a:off x="10555288" y="4340225"/>
              <a:ext cx="46038" cy="196850"/>
            </a:xfrm>
            <a:custGeom>
              <a:avLst/>
              <a:gdLst>
                <a:gd name="T0" fmla="*/ 55 w 59"/>
                <a:gd name="T1" fmla="*/ 0 h 247"/>
                <a:gd name="T2" fmla="*/ 4 w 59"/>
                <a:gd name="T3" fmla="*/ 0 h 247"/>
                <a:gd name="T4" fmla="*/ 4 w 59"/>
                <a:gd name="T5" fmla="*/ 0 h 247"/>
                <a:gd name="T6" fmla="*/ 2 w 59"/>
                <a:gd name="T7" fmla="*/ 1 h 247"/>
                <a:gd name="T8" fmla="*/ 0 w 59"/>
                <a:gd name="T9" fmla="*/ 5 h 247"/>
                <a:gd name="T10" fmla="*/ 0 w 59"/>
                <a:gd name="T11" fmla="*/ 243 h 247"/>
                <a:gd name="T12" fmla="*/ 0 w 59"/>
                <a:gd name="T13" fmla="*/ 243 h 247"/>
                <a:gd name="T14" fmla="*/ 2 w 59"/>
                <a:gd name="T15" fmla="*/ 247 h 247"/>
                <a:gd name="T16" fmla="*/ 4 w 59"/>
                <a:gd name="T17" fmla="*/ 247 h 247"/>
                <a:gd name="T18" fmla="*/ 55 w 59"/>
                <a:gd name="T19" fmla="*/ 247 h 247"/>
                <a:gd name="T20" fmla="*/ 55 w 59"/>
                <a:gd name="T21" fmla="*/ 247 h 247"/>
                <a:gd name="T22" fmla="*/ 59 w 59"/>
                <a:gd name="T23" fmla="*/ 247 h 247"/>
                <a:gd name="T24" fmla="*/ 59 w 59"/>
                <a:gd name="T25" fmla="*/ 243 h 247"/>
                <a:gd name="T26" fmla="*/ 59 w 59"/>
                <a:gd name="T27" fmla="*/ 5 h 247"/>
                <a:gd name="T28" fmla="*/ 59 w 59"/>
                <a:gd name="T29" fmla="*/ 5 h 247"/>
                <a:gd name="T30" fmla="*/ 59 w 59"/>
                <a:gd name="T31" fmla="*/ 1 h 247"/>
                <a:gd name="T32" fmla="*/ 55 w 59"/>
                <a:gd name="T33" fmla="*/ 0 h 247"/>
                <a:gd name="T34" fmla="*/ 55 w 59"/>
                <a:gd name="T35"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247">
                  <a:moveTo>
                    <a:pt x="55" y="0"/>
                  </a:moveTo>
                  <a:lnTo>
                    <a:pt x="4" y="0"/>
                  </a:lnTo>
                  <a:lnTo>
                    <a:pt x="4" y="0"/>
                  </a:lnTo>
                  <a:lnTo>
                    <a:pt x="2" y="1"/>
                  </a:lnTo>
                  <a:lnTo>
                    <a:pt x="0" y="5"/>
                  </a:lnTo>
                  <a:lnTo>
                    <a:pt x="0" y="243"/>
                  </a:lnTo>
                  <a:lnTo>
                    <a:pt x="0" y="243"/>
                  </a:lnTo>
                  <a:lnTo>
                    <a:pt x="2" y="247"/>
                  </a:lnTo>
                  <a:lnTo>
                    <a:pt x="4" y="247"/>
                  </a:lnTo>
                  <a:lnTo>
                    <a:pt x="55" y="247"/>
                  </a:lnTo>
                  <a:lnTo>
                    <a:pt x="55" y="247"/>
                  </a:lnTo>
                  <a:lnTo>
                    <a:pt x="59" y="247"/>
                  </a:lnTo>
                  <a:lnTo>
                    <a:pt x="59" y="243"/>
                  </a:lnTo>
                  <a:lnTo>
                    <a:pt x="59" y="5"/>
                  </a:lnTo>
                  <a:lnTo>
                    <a:pt x="59" y="5"/>
                  </a:lnTo>
                  <a:lnTo>
                    <a:pt x="59" y="1"/>
                  </a:lnTo>
                  <a:lnTo>
                    <a:pt x="55" y="0"/>
                  </a:lnTo>
                  <a:lnTo>
                    <a:pt x="5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48" name="Group 147">
            <a:extLst>
              <a:ext uri="{FF2B5EF4-FFF2-40B4-BE49-F238E27FC236}">
                <a16:creationId xmlns:a16="http://schemas.microsoft.com/office/drawing/2014/main" id="{8FC220DC-914B-4044-B7DD-C6DA7E5755B8}"/>
              </a:ext>
            </a:extLst>
          </p:cNvPr>
          <p:cNvGrpSpPr>
            <a:grpSpLocks noChangeAspect="1"/>
          </p:cNvGrpSpPr>
          <p:nvPr/>
        </p:nvGrpSpPr>
        <p:grpSpPr>
          <a:xfrm>
            <a:off x="5831347" y="3760710"/>
            <a:ext cx="319070" cy="320040"/>
            <a:chOff x="4954588" y="1664335"/>
            <a:chExt cx="522288" cy="523875"/>
          </a:xfrm>
        </p:grpSpPr>
        <p:sp>
          <p:nvSpPr>
            <p:cNvPr id="149" name="Freeform 22">
              <a:extLst>
                <a:ext uri="{FF2B5EF4-FFF2-40B4-BE49-F238E27FC236}">
                  <a16:creationId xmlns:a16="http://schemas.microsoft.com/office/drawing/2014/main" id="{9334C730-8A53-4B2B-90E6-2E2F2FA00F09}"/>
                </a:ext>
              </a:extLst>
            </p:cNvPr>
            <p:cNvSpPr>
              <a:spLocks noEditPoints="1"/>
            </p:cNvSpPr>
            <p:nvPr/>
          </p:nvSpPr>
          <p:spPr bwMode="auto">
            <a:xfrm>
              <a:off x="4954588" y="1664335"/>
              <a:ext cx="522288" cy="523875"/>
            </a:xfrm>
            <a:custGeom>
              <a:avLst/>
              <a:gdLst>
                <a:gd name="T0" fmla="*/ 312 w 658"/>
                <a:gd name="T1" fmla="*/ 659 h 659"/>
                <a:gd name="T2" fmla="*/ 262 w 658"/>
                <a:gd name="T3" fmla="*/ 652 h 659"/>
                <a:gd name="T4" fmla="*/ 202 w 658"/>
                <a:gd name="T5" fmla="*/ 634 h 659"/>
                <a:gd name="T6" fmla="*/ 120 w 658"/>
                <a:gd name="T7" fmla="*/ 584 h 659"/>
                <a:gd name="T8" fmla="*/ 56 w 658"/>
                <a:gd name="T9" fmla="*/ 514 h 659"/>
                <a:gd name="T10" fmla="*/ 15 w 658"/>
                <a:gd name="T11" fmla="*/ 428 h 659"/>
                <a:gd name="T12" fmla="*/ 4 w 658"/>
                <a:gd name="T13" fmla="*/ 380 h 659"/>
                <a:gd name="T14" fmla="*/ 0 w 658"/>
                <a:gd name="T15" fmla="*/ 330 h 659"/>
                <a:gd name="T16" fmla="*/ 1 w 658"/>
                <a:gd name="T17" fmla="*/ 296 h 659"/>
                <a:gd name="T18" fmla="*/ 11 w 658"/>
                <a:gd name="T19" fmla="*/ 248 h 659"/>
                <a:gd name="T20" fmla="*/ 40 w 658"/>
                <a:gd name="T21" fmla="*/ 174 h 659"/>
                <a:gd name="T22" fmla="*/ 97 w 658"/>
                <a:gd name="T23" fmla="*/ 97 h 659"/>
                <a:gd name="T24" fmla="*/ 172 w 658"/>
                <a:gd name="T25" fmla="*/ 41 h 659"/>
                <a:gd name="T26" fmla="*/ 247 w 658"/>
                <a:gd name="T27" fmla="*/ 11 h 659"/>
                <a:gd name="T28" fmla="*/ 296 w 658"/>
                <a:gd name="T29" fmla="*/ 3 h 659"/>
                <a:gd name="T30" fmla="*/ 329 w 658"/>
                <a:gd name="T31" fmla="*/ 0 h 659"/>
                <a:gd name="T32" fmla="*/ 379 w 658"/>
                <a:gd name="T33" fmla="*/ 5 h 659"/>
                <a:gd name="T34" fmla="*/ 426 w 658"/>
                <a:gd name="T35" fmla="*/ 15 h 659"/>
                <a:gd name="T36" fmla="*/ 513 w 658"/>
                <a:gd name="T37" fmla="*/ 57 h 659"/>
                <a:gd name="T38" fmla="*/ 583 w 658"/>
                <a:gd name="T39" fmla="*/ 121 h 659"/>
                <a:gd name="T40" fmla="*/ 632 w 658"/>
                <a:gd name="T41" fmla="*/ 202 h 659"/>
                <a:gd name="T42" fmla="*/ 652 w 658"/>
                <a:gd name="T43" fmla="*/ 264 h 659"/>
                <a:gd name="T44" fmla="*/ 657 w 658"/>
                <a:gd name="T45" fmla="*/ 314 h 659"/>
                <a:gd name="T46" fmla="*/ 657 w 658"/>
                <a:gd name="T47" fmla="*/ 347 h 659"/>
                <a:gd name="T48" fmla="*/ 652 w 658"/>
                <a:gd name="T49" fmla="*/ 396 h 659"/>
                <a:gd name="T50" fmla="*/ 632 w 658"/>
                <a:gd name="T51" fmla="*/ 457 h 659"/>
                <a:gd name="T52" fmla="*/ 583 w 658"/>
                <a:gd name="T53" fmla="*/ 539 h 659"/>
                <a:gd name="T54" fmla="*/ 513 w 658"/>
                <a:gd name="T55" fmla="*/ 603 h 659"/>
                <a:gd name="T56" fmla="*/ 426 w 658"/>
                <a:gd name="T57" fmla="*/ 644 h 659"/>
                <a:gd name="T58" fmla="*/ 379 w 658"/>
                <a:gd name="T59" fmla="*/ 655 h 659"/>
                <a:gd name="T60" fmla="*/ 329 w 658"/>
                <a:gd name="T61" fmla="*/ 659 h 659"/>
                <a:gd name="T62" fmla="*/ 329 w 658"/>
                <a:gd name="T63" fmla="*/ 38 h 659"/>
                <a:gd name="T64" fmla="*/ 242 w 658"/>
                <a:gd name="T65" fmla="*/ 52 h 659"/>
                <a:gd name="T66" fmla="*/ 167 w 658"/>
                <a:gd name="T67" fmla="*/ 89 h 659"/>
                <a:gd name="T68" fmla="*/ 105 w 658"/>
                <a:gd name="T69" fmla="*/ 144 h 659"/>
                <a:gd name="T70" fmla="*/ 60 w 658"/>
                <a:gd name="T71" fmla="*/ 217 h 659"/>
                <a:gd name="T72" fmla="*/ 39 w 658"/>
                <a:gd name="T73" fmla="*/ 300 h 659"/>
                <a:gd name="T74" fmla="*/ 39 w 658"/>
                <a:gd name="T75" fmla="*/ 359 h 659"/>
                <a:gd name="T76" fmla="*/ 60 w 658"/>
                <a:gd name="T77" fmla="*/ 444 h 659"/>
                <a:gd name="T78" fmla="*/ 105 w 658"/>
                <a:gd name="T79" fmla="*/ 515 h 659"/>
                <a:gd name="T80" fmla="*/ 167 w 658"/>
                <a:gd name="T81" fmla="*/ 572 h 659"/>
                <a:gd name="T82" fmla="*/ 242 w 658"/>
                <a:gd name="T83" fmla="*/ 608 h 659"/>
                <a:gd name="T84" fmla="*/ 329 w 658"/>
                <a:gd name="T85" fmla="*/ 621 h 659"/>
                <a:gd name="T86" fmla="*/ 387 w 658"/>
                <a:gd name="T87" fmla="*/ 616 h 659"/>
                <a:gd name="T88" fmla="*/ 468 w 658"/>
                <a:gd name="T89" fmla="*/ 586 h 659"/>
                <a:gd name="T90" fmla="*/ 535 w 658"/>
                <a:gd name="T91" fmla="*/ 535 h 659"/>
                <a:gd name="T92" fmla="*/ 585 w 658"/>
                <a:gd name="T93" fmla="*/ 468 h 659"/>
                <a:gd name="T94" fmla="*/ 614 w 658"/>
                <a:gd name="T95" fmla="*/ 389 h 659"/>
                <a:gd name="T96" fmla="*/ 621 w 658"/>
                <a:gd name="T97" fmla="*/ 330 h 659"/>
                <a:gd name="T98" fmla="*/ 607 w 658"/>
                <a:gd name="T99" fmla="*/ 244 h 659"/>
                <a:gd name="T100" fmla="*/ 570 w 658"/>
                <a:gd name="T101" fmla="*/ 167 h 659"/>
                <a:gd name="T102" fmla="*/ 515 w 658"/>
                <a:gd name="T103" fmla="*/ 105 h 659"/>
                <a:gd name="T104" fmla="*/ 442 w 658"/>
                <a:gd name="T105" fmla="*/ 62 h 659"/>
                <a:gd name="T106" fmla="*/ 359 w 658"/>
                <a:gd name="T107" fmla="*/ 41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2" y="659"/>
                  </a:lnTo>
                  <a:lnTo>
                    <a:pt x="296" y="658"/>
                  </a:lnTo>
                  <a:lnTo>
                    <a:pt x="279" y="655"/>
                  </a:lnTo>
                  <a:lnTo>
                    <a:pt x="262" y="652"/>
                  </a:lnTo>
                  <a:lnTo>
                    <a:pt x="247" y="648"/>
                  </a:lnTo>
                  <a:lnTo>
                    <a:pt x="231" y="644"/>
                  </a:lnTo>
                  <a:lnTo>
                    <a:pt x="202" y="634"/>
                  </a:lnTo>
                  <a:lnTo>
                    <a:pt x="172" y="619"/>
                  </a:lnTo>
                  <a:lnTo>
                    <a:pt x="145" y="603"/>
                  </a:lnTo>
                  <a:lnTo>
                    <a:pt x="120" y="584"/>
                  </a:lnTo>
                  <a:lnTo>
                    <a:pt x="97" y="562"/>
                  </a:lnTo>
                  <a:lnTo>
                    <a:pt x="75" y="539"/>
                  </a:lnTo>
                  <a:lnTo>
                    <a:pt x="56" y="514"/>
                  </a:lnTo>
                  <a:lnTo>
                    <a:pt x="40" y="487"/>
                  </a:lnTo>
                  <a:lnTo>
                    <a:pt x="25" y="457"/>
                  </a:lnTo>
                  <a:lnTo>
                    <a:pt x="15" y="428"/>
                  </a:lnTo>
                  <a:lnTo>
                    <a:pt x="11" y="412"/>
                  </a:lnTo>
                  <a:lnTo>
                    <a:pt x="7" y="396"/>
                  </a:lnTo>
                  <a:lnTo>
                    <a:pt x="4" y="380"/>
                  </a:lnTo>
                  <a:lnTo>
                    <a:pt x="1" y="363"/>
                  </a:lnTo>
                  <a:lnTo>
                    <a:pt x="0" y="347"/>
                  </a:lnTo>
                  <a:lnTo>
                    <a:pt x="0" y="330"/>
                  </a:lnTo>
                  <a:lnTo>
                    <a:pt x="0" y="330"/>
                  </a:lnTo>
                  <a:lnTo>
                    <a:pt x="0" y="314"/>
                  </a:lnTo>
                  <a:lnTo>
                    <a:pt x="1" y="296"/>
                  </a:lnTo>
                  <a:lnTo>
                    <a:pt x="4" y="280"/>
                  </a:lnTo>
                  <a:lnTo>
                    <a:pt x="7" y="264"/>
                  </a:lnTo>
                  <a:lnTo>
                    <a:pt x="11" y="248"/>
                  </a:lnTo>
                  <a:lnTo>
                    <a:pt x="15" y="233"/>
                  </a:lnTo>
                  <a:lnTo>
                    <a:pt x="25" y="202"/>
                  </a:lnTo>
                  <a:lnTo>
                    <a:pt x="40" y="174"/>
                  </a:lnTo>
                  <a:lnTo>
                    <a:pt x="56" y="146"/>
                  </a:lnTo>
                  <a:lnTo>
                    <a:pt x="75" y="121"/>
                  </a:lnTo>
                  <a:lnTo>
                    <a:pt x="97" y="97"/>
                  </a:lnTo>
                  <a:lnTo>
                    <a:pt x="120" y="76"/>
                  </a:lnTo>
                  <a:lnTo>
                    <a:pt x="145" y="57"/>
                  </a:lnTo>
                  <a:lnTo>
                    <a:pt x="172" y="41"/>
                  </a:lnTo>
                  <a:lnTo>
                    <a:pt x="202" y="27"/>
                  </a:lnTo>
                  <a:lnTo>
                    <a:pt x="231" y="15"/>
                  </a:lnTo>
                  <a:lnTo>
                    <a:pt x="247" y="11"/>
                  </a:lnTo>
                  <a:lnTo>
                    <a:pt x="262" y="7"/>
                  </a:lnTo>
                  <a:lnTo>
                    <a:pt x="279" y="5"/>
                  </a:lnTo>
                  <a:lnTo>
                    <a:pt x="296" y="3"/>
                  </a:lnTo>
                  <a:lnTo>
                    <a:pt x="312" y="2"/>
                  </a:lnTo>
                  <a:lnTo>
                    <a:pt x="329" y="0"/>
                  </a:lnTo>
                  <a:lnTo>
                    <a:pt x="329" y="0"/>
                  </a:lnTo>
                  <a:lnTo>
                    <a:pt x="345" y="2"/>
                  </a:lnTo>
                  <a:lnTo>
                    <a:pt x="363" y="3"/>
                  </a:lnTo>
                  <a:lnTo>
                    <a:pt x="379" y="5"/>
                  </a:lnTo>
                  <a:lnTo>
                    <a:pt x="395" y="7"/>
                  </a:lnTo>
                  <a:lnTo>
                    <a:pt x="411" y="11"/>
                  </a:lnTo>
                  <a:lnTo>
                    <a:pt x="426" y="15"/>
                  </a:lnTo>
                  <a:lnTo>
                    <a:pt x="457" y="27"/>
                  </a:lnTo>
                  <a:lnTo>
                    <a:pt x="485" y="41"/>
                  </a:lnTo>
                  <a:lnTo>
                    <a:pt x="513" y="57"/>
                  </a:lnTo>
                  <a:lnTo>
                    <a:pt x="538" y="76"/>
                  </a:lnTo>
                  <a:lnTo>
                    <a:pt x="562" y="97"/>
                  </a:lnTo>
                  <a:lnTo>
                    <a:pt x="583" y="121"/>
                  </a:lnTo>
                  <a:lnTo>
                    <a:pt x="602" y="146"/>
                  </a:lnTo>
                  <a:lnTo>
                    <a:pt x="618" y="174"/>
                  </a:lnTo>
                  <a:lnTo>
                    <a:pt x="632" y="202"/>
                  </a:lnTo>
                  <a:lnTo>
                    <a:pt x="644" y="233"/>
                  </a:lnTo>
                  <a:lnTo>
                    <a:pt x="648" y="248"/>
                  </a:lnTo>
                  <a:lnTo>
                    <a:pt x="652" y="264"/>
                  </a:lnTo>
                  <a:lnTo>
                    <a:pt x="654" y="280"/>
                  </a:lnTo>
                  <a:lnTo>
                    <a:pt x="656" y="296"/>
                  </a:lnTo>
                  <a:lnTo>
                    <a:pt x="657" y="314"/>
                  </a:lnTo>
                  <a:lnTo>
                    <a:pt x="658" y="330"/>
                  </a:lnTo>
                  <a:lnTo>
                    <a:pt x="658" y="330"/>
                  </a:lnTo>
                  <a:lnTo>
                    <a:pt x="657" y="347"/>
                  </a:lnTo>
                  <a:lnTo>
                    <a:pt x="656" y="363"/>
                  </a:lnTo>
                  <a:lnTo>
                    <a:pt x="654" y="380"/>
                  </a:lnTo>
                  <a:lnTo>
                    <a:pt x="652" y="396"/>
                  </a:lnTo>
                  <a:lnTo>
                    <a:pt x="648" y="412"/>
                  </a:lnTo>
                  <a:lnTo>
                    <a:pt x="644" y="428"/>
                  </a:lnTo>
                  <a:lnTo>
                    <a:pt x="632" y="457"/>
                  </a:lnTo>
                  <a:lnTo>
                    <a:pt x="618" y="487"/>
                  </a:lnTo>
                  <a:lnTo>
                    <a:pt x="602" y="514"/>
                  </a:lnTo>
                  <a:lnTo>
                    <a:pt x="583" y="539"/>
                  </a:lnTo>
                  <a:lnTo>
                    <a:pt x="562" y="562"/>
                  </a:lnTo>
                  <a:lnTo>
                    <a:pt x="538" y="584"/>
                  </a:lnTo>
                  <a:lnTo>
                    <a:pt x="513" y="603"/>
                  </a:lnTo>
                  <a:lnTo>
                    <a:pt x="485" y="619"/>
                  </a:lnTo>
                  <a:lnTo>
                    <a:pt x="457" y="634"/>
                  </a:lnTo>
                  <a:lnTo>
                    <a:pt x="426" y="644"/>
                  </a:lnTo>
                  <a:lnTo>
                    <a:pt x="411" y="648"/>
                  </a:lnTo>
                  <a:lnTo>
                    <a:pt x="395" y="652"/>
                  </a:lnTo>
                  <a:lnTo>
                    <a:pt x="379" y="655"/>
                  </a:lnTo>
                  <a:lnTo>
                    <a:pt x="363" y="658"/>
                  </a:lnTo>
                  <a:lnTo>
                    <a:pt x="345" y="659"/>
                  </a:lnTo>
                  <a:lnTo>
                    <a:pt x="329" y="659"/>
                  </a:lnTo>
                  <a:lnTo>
                    <a:pt x="329" y="659"/>
                  </a:lnTo>
                  <a:close/>
                  <a:moveTo>
                    <a:pt x="329" y="38"/>
                  </a:moveTo>
                  <a:lnTo>
                    <a:pt x="329" y="38"/>
                  </a:lnTo>
                  <a:lnTo>
                    <a:pt x="300" y="41"/>
                  </a:lnTo>
                  <a:lnTo>
                    <a:pt x="270" y="45"/>
                  </a:lnTo>
                  <a:lnTo>
                    <a:pt x="242" y="52"/>
                  </a:lnTo>
                  <a:lnTo>
                    <a:pt x="215" y="62"/>
                  </a:lnTo>
                  <a:lnTo>
                    <a:pt x="191" y="74"/>
                  </a:lnTo>
                  <a:lnTo>
                    <a:pt x="167" y="89"/>
                  </a:lnTo>
                  <a:lnTo>
                    <a:pt x="144" y="105"/>
                  </a:lnTo>
                  <a:lnTo>
                    <a:pt x="124" y="124"/>
                  </a:lnTo>
                  <a:lnTo>
                    <a:pt x="105" y="144"/>
                  </a:lnTo>
                  <a:lnTo>
                    <a:pt x="87" y="167"/>
                  </a:lnTo>
                  <a:lnTo>
                    <a:pt x="73" y="191"/>
                  </a:lnTo>
                  <a:lnTo>
                    <a:pt x="60" y="217"/>
                  </a:lnTo>
                  <a:lnTo>
                    <a:pt x="51" y="244"/>
                  </a:lnTo>
                  <a:lnTo>
                    <a:pt x="43" y="272"/>
                  </a:lnTo>
                  <a:lnTo>
                    <a:pt x="39" y="300"/>
                  </a:lnTo>
                  <a:lnTo>
                    <a:pt x="38" y="330"/>
                  </a:lnTo>
                  <a:lnTo>
                    <a:pt x="38" y="330"/>
                  </a:lnTo>
                  <a:lnTo>
                    <a:pt x="39" y="359"/>
                  </a:lnTo>
                  <a:lnTo>
                    <a:pt x="43" y="389"/>
                  </a:lnTo>
                  <a:lnTo>
                    <a:pt x="51" y="417"/>
                  </a:lnTo>
                  <a:lnTo>
                    <a:pt x="60" y="444"/>
                  </a:lnTo>
                  <a:lnTo>
                    <a:pt x="73" y="468"/>
                  </a:lnTo>
                  <a:lnTo>
                    <a:pt x="87" y="492"/>
                  </a:lnTo>
                  <a:lnTo>
                    <a:pt x="105" y="515"/>
                  </a:lnTo>
                  <a:lnTo>
                    <a:pt x="124" y="535"/>
                  </a:lnTo>
                  <a:lnTo>
                    <a:pt x="144" y="554"/>
                  </a:lnTo>
                  <a:lnTo>
                    <a:pt x="167" y="572"/>
                  </a:lnTo>
                  <a:lnTo>
                    <a:pt x="191" y="586"/>
                  </a:lnTo>
                  <a:lnTo>
                    <a:pt x="215" y="599"/>
                  </a:lnTo>
                  <a:lnTo>
                    <a:pt x="242" y="608"/>
                  </a:lnTo>
                  <a:lnTo>
                    <a:pt x="270" y="616"/>
                  </a:lnTo>
                  <a:lnTo>
                    <a:pt x="300" y="620"/>
                  </a:lnTo>
                  <a:lnTo>
                    <a:pt x="329" y="621"/>
                  </a:lnTo>
                  <a:lnTo>
                    <a:pt x="329" y="621"/>
                  </a:lnTo>
                  <a:lnTo>
                    <a:pt x="359" y="620"/>
                  </a:lnTo>
                  <a:lnTo>
                    <a:pt x="387" y="616"/>
                  </a:lnTo>
                  <a:lnTo>
                    <a:pt x="415" y="608"/>
                  </a:lnTo>
                  <a:lnTo>
                    <a:pt x="442" y="599"/>
                  </a:lnTo>
                  <a:lnTo>
                    <a:pt x="468" y="586"/>
                  </a:lnTo>
                  <a:lnTo>
                    <a:pt x="492" y="572"/>
                  </a:lnTo>
                  <a:lnTo>
                    <a:pt x="515" y="554"/>
                  </a:lnTo>
                  <a:lnTo>
                    <a:pt x="535" y="535"/>
                  </a:lnTo>
                  <a:lnTo>
                    <a:pt x="554" y="515"/>
                  </a:lnTo>
                  <a:lnTo>
                    <a:pt x="570" y="492"/>
                  </a:lnTo>
                  <a:lnTo>
                    <a:pt x="585" y="468"/>
                  </a:lnTo>
                  <a:lnTo>
                    <a:pt x="597" y="444"/>
                  </a:lnTo>
                  <a:lnTo>
                    <a:pt x="607" y="417"/>
                  </a:lnTo>
                  <a:lnTo>
                    <a:pt x="614" y="389"/>
                  </a:lnTo>
                  <a:lnTo>
                    <a:pt x="618" y="359"/>
                  </a:lnTo>
                  <a:lnTo>
                    <a:pt x="621" y="330"/>
                  </a:lnTo>
                  <a:lnTo>
                    <a:pt x="621" y="330"/>
                  </a:lnTo>
                  <a:lnTo>
                    <a:pt x="618" y="300"/>
                  </a:lnTo>
                  <a:lnTo>
                    <a:pt x="614" y="272"/>
                  </a:lnTo>
                  <a:lnTo>
                    <a:pt x="607" y="244"/>
                  </a:lnTo>
                  <a:lnTo>
                    <a:pt x="597" y="217"/>
                  </a:lnTo>
                  <a:lnTo>
                    <a:pt x="585" y="191"/>
                  </a:lnTo>
                  <a:lnTo>
                    <a:pt x="570" y="167"/>
                  </a:lnTo>
                  <a:lnTo>
                    <a:pt x="554" y="144"/>
                  </a:lnTo>
                  <a:lnTo>
                    <a:pt x="535" y="124"/>
                  </a:lnTo>
                  <a:lnTo>
                    <a:pt x="515" y="105"/>
                  </a:lnTo>
                  <a:lnTo>
                    <a:pt x="492" y="89"/>
                  </a:lnTo>
                  <a:lnTo>
                    <a:pt x="468" y="74"/>
                  </a:lnTo>
                  <a:lnTo>
                    <a:pt x="442" y="62"/>
                  </a:lnTo>
                  <a:lnTo>
                    <a:pt x="415" y="52"/>
                  </a:lnTo>
                  <a:lnTo>
                    <a:pt x="387" y="45"/>
                  </a:lnTo>
                  <a:lnTo>
                    <a:pt x="359" y="41"/>
                  </a:lnTo>
                  <a:lnTo>
                    <a:pt x="329" y="38"/>
                  </a:lnTo>
                  <a:lnTo>
                    <a:pt x="329" y="3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50" name="Freeform 138">
              <a:extLst>
                <a:ext uri="{FF2B5EF4-FFF2-40B4-BE49-F238E27FC236}">
                  <a16:creationId xmlns:a16="http://schemas.microsoft.com/office/drawing/2014/main" id="{40D2C291-2918-4C57-8530-EFEEE1EC6095}"/>
                </a:ext>
              </a:extLst>
            </p:cNvPr>
            <p:cNvSpPr>
              <a:spLocks/>
            </p:cNvSpPr>
            <p:nvPr/>
          </p:nvSpPr>
          <p:spPr bwMode="auto">
            <a:xfrm>
              <a:off x="5148263" y="1778635"/>
              <a:ext cx="134938" cy="168275"/>
            </a:xfrm>
            <a:custGeom>
              <a:avLst/>
              <a:gdLst>
                <a:gd name="T0" fmla="*/ 84 w 169"/>
                <a:gd name="T1" fmla="*/ 213 h 213"/>
                <a:gd name="T2" fmla="*/ 84 w 169"/>
                <a:gd name="T3" fmla="*/ 213 h 213"/>
                <a:gd name="T4" fmla="*/ 92 w 169"/>
                <a:gd name="T5" fmla="*/ 211 h 213"/>
                <a:gd name="T6" fmla="*/ 100 w 169"/>
                <a:gd name="T7" fmla="*/ 211 h 213"/>
                <a:gd name="T8" fmla="*/ 108 w 169"/>
                <a:gd name="T9" fmla="*/ 209 h 213"/>
                <a:gd name="T10" fmla="*/ 116 w 169"/>
                <a:gd name="T11" fmla="*/ 206 h 213"/>
                <a:gd name="T12" fmla="*/ 131 w 169"/>
                <a:gd name="T13" fmla="*/ 198 h 213"/>
                <a:gd name="T14" fmla="*/ 143 w 169"/>
                <a:gd name="T15" fmla="*/ 187 h 213"/>
                <a:gd name="T16" fmla="*/ 154 w 169"/>
                <a:gd name="T17" fmla="*/ 175 h 213"/>
                <a:gd name="T18" fmla="*/ 162 w 169"/>
                <a:gd name="T19" fmla="*/ 160 h 213"/>
                <a:gd name="T20" fmla="*/ 165 w 169"/>
                <a:gd name="T21" fmla="*/ 154 h 213"/>
                <a:gd name="T22" fmla="*/ 166 w 169"/>
                <a:gd name="T23" fmla="*/ 144 h 213"/>
                <a:gd name="T24" fmla="*/ 168 w 169"/>
                <a:gd name="T25" fmla="*/ 136 h 213"/>
                <a:gd name="T26" fmla="*/ 169 w 169"/>
                <a:gd name="T27" fmla="*/ 128 h 213"/>
                <a:gd name="T28" fmla="*/ 169 w 169"/>
                <a:gd name="T29" fmla="*/ 85 h 213"/>
                <a:gd name="T30" fmla="*/ 169 w 169"/>
                <a:gd name="T31" fmla="*/ 85 h 213"/>
                <a:gd name="T32" fmla="*/ 168 w 169"/>
                <a:gd name="T33" fmla="*/ 77 h 213"/>
                <a:gd name="T34" fmla="*/ 166 w 169"/>
                <a:gd name="T35" fmla="*/ 69 h 213"/>
                <a:gd name="T36" fmla="*/ 165 w 169"/>
                <a:gd name="T37" fmla="*/ 61 h 213"/>
                <a:gd name="T38" fmla="*/ 162 w 169"/>
                <a:gd name="T39" fmla="*/ 53 h 213"/>
                <a:gd name="T40" fmla="*/ 154 w 169"/>
                <a:gd name="T41" fmla="*/ 38 h 213"/>
                <a:gd name="T42" fmla="*/ 143 w 169"/>
                <a:gd name="T43" fmla="*/ 26 h 213"/>
                <a:gd name="T44" fmla="*/ 131 w 169"/>
                <a:gd name="T45" fmla="*/ 15 h 213"/>
                <a:gd name="T46" fmla="*/ 116 w 169"/>
                <a:gd name="T47" fmla="*/ 7 h 213"/>
                <a:gd name="T48" fmla="*/ 108 w 169"/>
                <a:gd name="T49" fmla="*/ 4 h 213"/>
                <a:gd name="T50" fmla="*/ 100 w 169"/>
                <a:gd name="T51" fmla="*/ 3 h 213"/>
                <a:gd name="T52" fmla="*/ 92 w 169"/>
                <a:gd name="T53" fmla="*/ 2 h 213"/>
                <a:gd name="T54" fmla="*/ 84 w 169"/>
                <a:gd name="T55" fmla="*/ 0 h 213"/>
                <a:gd name="T56" fmla="*/ 84 w 169"/>
                <a:gd name="T57" fmla="*/ 0 h 213"/>
                <a:gd name="T58" fmla="*/ 75 w 169"/>
                <a:gd name="T59" fmla="*/ 2 h 213"/>
                <a:gd name="T60" fmla="*/ 67 w 169"/>
                <a:gd name="T61" fmla="*/ 3 h 213"/>
                <a:gd name="T62" fmla="*/ 59 w 169"/>
                <a:gd name="T63" fmla="*/ 4 h 213"/>
                <a:gd name="T64" fmla="*/ 51 w 169"/>
                <a:gd name="T65" fmla="*/ 7 h 213"/>
                <a:gd name="T66" fmla="*/ 37 w 169"/>
                <a:gd name="T67" fmla="*/ 15 h 213"/>
                <a:gd name="T68" fmla="*/ 24 w 169"/>
                <a:gd name="T69" fmla="*/ 26 h 213"/>
                <a:gd name="T70" fmla="*/ 14 w 169"/>
                <a:gd name="T71" fmla="*/ 38 h 213"/>
                <a:gd name="T72" fmla="*/ 6 w 169"/>
                <a:gd name="T73" fmla="*/ 53 h 213"/>
                <a:gd name="T74" fmla="*/ 4 w 169"/>
                <a:gd name="T75" fmla="*/ 61 h 213"/>
                <a:gd name="T76" fmla="*/ 1 w 169"/>
                <a:gd name="T77" fmla="*/ 69 h 213"/>
                <a:gd name="T78" fmla="*/ 0 w 169"/>
                <a:gd name="T79" fmla="*/ 77 h 213"/>
                <a:gd name="T80" fmla="*/ 0 w 169"/>
                <a:gd name="T81" fmla="*/ 85 h 213"/>
                <a:gd name="T82" fmla="*/ 0 w 169"/>
                <a:gd name="T83" fmla="*/ 128 h 213"/>
                <a:gd name="T84" fmla="*/ 0 w 169"/>
                <a:gd name="T85" fmla="*/ 128 h 213"/>
                <a:gd name="T86" fmla="*/ 0 w 169"/>
                <a:gd name="T87" fmla="*/ 136 h 213"/>
                <a:gd name="T88" fmla="*/ 1 w 169"/>
                <a:gd name="T89" fmla="*/ 144 h 213"/>
                <a:gd name="T90" fmla="*/ 4 w 169"/>
                <a:gd name="T91" fmla="*/ 154 h 213"/>
                <a:gd name="T92" fmla="*/ 6 w 169"/>
                <a:gd name="T93" fmla="*/ 160 h 213"/>
                <a:gd name="T94" fmla="*/ 14 w 169"/>
                <a:gd name="T95" fmla="*/ 175 h 213"/>
                <a:gd name="T96" fmla="*/ 24 w 169"/>
                <a:gd name="T97" fmla="*/ 187 h 213"/>
                <a:gd name="T98" fmla="*/ 37 w 169"/>
                <a:gd name="T99" fmla="*/ 198 h 213"/>
                <a:gd name="T100" fmla="*/ 51 w 169"/>
                <a:gd name="T101" fmla="*/ 206 h 213"/>
                <a:gd name="T102" fmla="*/ 59 w 169"/>
                <a:gd name="T103" fmla="*/ 209 h 213"/>
                <a:gd name="T104" fmla="*/ 67 w 169"/>
                <a:gd name="T105" fmla="*/ 211 h 213"/>
                <a:gd name="T106" fmla="*/ 75 w 169"/>
                <a:gd name="T107" fmla="*/ 211 h 213"/>
                <a:gd name="T108" fmla="*/ 84 w 169"/>
                <a:gd name="T109" fmla="*/ 213 h 213"/>
                <a:gd name="T110" fmla="*/ 84 w 169"/>
                <a:gd name="T111"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9" h="213">
                  <a:moveTo>
                    <a:pt x="84" y="213"/>
                  </a:moveTo>
                  <a:lnTo>
                    <a:pt x="84" y="213"/>
                  </a:lnTo>
                  <a:lnTo>
                    <a:pt x="92" y="211"/>
                  </a:lnTo>
                  <a:lnTo>
                    <a:pt x="100" y="211"/>
                  </a:lnTo>
                  <a:lnTo>
                    <a:pt x="108" y="209"/>
                  </a:lnTo>
                  <a:lnTo>
                    <a:pt x="116" y="206"/>
                  </a:lnTo>
                  <a:lnTo>
                    <a:pt x="131" y="198"/>
                  </a:lnTo>
                  <a:lnTo>
                    <a:pt x="143" y="187"/>
                  </a:lnTo>
                  <a:lnTo>
                    <a:pt x="154" y="175"/>
                  </a:lnTo>
                  <a:lnTo>
                    <a:pt x="162" y="160"/>
                  </a:lnTo>
                  <a:lnTo>
                    <a:pt x="165" y="154"/>
                  </a:lnTo>
                  <a:lnTo>
                    <a:pt x="166" y="144"/>
                  </a:lnTo>
                  <a:lnTo>
                    <a:pt x="168" y="136"/>
                  </a:lnTo>
                  <a:lnTo>
                    <a:pt x="169" y="128"/>
                  </a:lnTo>
                  <a:lnTo>
                    <a:pt x="169" y="85"/>
                  </a:lnTo>
                  <a:lnTo>
                    <a:pt x="169" y="85"/>
                  </a:lnTo>
                  <a:lnTo>
                    <a:pt x="168" y="77"/>
                  </a:lnTo>
                  <a:lnTo>
                    <a:pt x="166" y="69"/>
                  </a:lnTo>
                  <a:lnTo>
                    <a:pt x="165" y="61"/>
                  </a:lnTo>
                  <a:lnTo>
                    <a:pt x="162" y="53"/>
                  </a:lnTo>
                  <a:lnTo>
                    <a:pt x="154" y="38"/>
                  </a:lnTo>
                  <a:lnTo>
                    <a:pt x="143" y="26"/>
                  </a:lnTo>
                  <a:lnTo>
                    <a:pt x="131" y="15"/>
                  </a:lnTo>
                  <a:lnTo>
                    <a:pt x="116" y="7"/>
                  </a:lnTo>
                  <a:lnTo>
                    <a:pt x="108" y="4"/>
                  </a:lnTo>
                  <a:lnTo>
                    <a:pt x="100" y="3"/>
                  </a:lnTo>
                  <a:lnTo>
                    <a:pt x="92" y="2"/>
                  </a:lnTo>
                  <a:lnTo>
                    <a:pt x="84" y="0"/>
                  </a:lnTo>
                  <a:lnTo>
                    <a:pt x="84" y="0"/>
                  </a:lnTo>
                  <a:lnTo>
                    <a:pt x="75" y="2"/>
                  </a:lnTo>
                  <a:lnTo>
                    <a:pt x="67" y="3"/>
                  </a:lnTo>
                  <a:lnTo>
                    <a:pt x="59" y="4"/>
                  </a:lnTo>
                  <a:lnTo>
                    <a:pt x="51" y="7"/>
                  </a:lnTo>
                  <a:lnTo>
                    <a:pt x="37" y="15"/>
                  </a:lnTo>
                  <a:lnTo>
                    <a:pt x="24" y="26"/>
                  </a:lnTo>
                  <a:lnTo>
                    <a:pt x="14" y="38"/>
                  </a:lnTo>
                  <a:lnTo>
                    <a:pt x="6" y="53"/>
                  </a:lnTo>
                  <a:lnTo>
                    <a:pt x="4" y="61"/>
                  </a:lnTo>
                  <a:lnTo>
                    <a:pt x="1" y="69"/>
                  </a:lnTo>
                  <a:lnTo>
                    <a:pt x="0" y="77"/>
                  </a:lnTo>
                  <a:lnTo>
                    <a:pt x="0" y="85"/>
                  </a:lnTo>
                  <a:lnTo>
                    <a:pt x="0" y="128"/>
                  </a:lnTo>
                  <a:lnTo>
                    <a:pt x="0" y="128"/>
                  </a:lnTo>
                  <a:lnTo>
                    <a:pt x="0" y="136"/>
                  </a:lnTo>
                  <a:lnTo>
                    <a:pt x="1" y="144"/>
                  </a:lnTo>
                  <a:lnTo>
                    <a:pt x="4" y="154"/>
                  </a:lnTo>
                  <a:lnTo>
                    <a:pt x="6" y="160"/>
                  </a:lnTo>
                  <a:lnTo>
                    <a:pt x="14" y="175"/>
                  </a:lnTo>
                  <a:lnTo>
                    <a:pt x="24" y="187"/>
                  </a:lnTo>
                  <a:lnTo>
                    <a:pt x="37" y="198"/>
                  </a:lnTo>
                  <a:lnTo>
                    <a:pt x="51" y="206"/>
                  </a:lnTo>
                  <a:lnTo>
                    <a:pt x="59" y="209"/>
                  </a:lnTo>
                  <a:lnTo>
                    <a:pt x="67" y="211"/>
                  </a:lnTo>
                  <a:lnTo>
                    <a:pt x="75" y="211"/>
                  </a:lnTo>
                  <a:lnTo>
                    <a:pt x="84" y="213"/>
                  </a:lnTo>
                  <a:lnTo>
                    <a:pt x="84" y="2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51" name="Freeform 139">
              <a:extLst>
                <a:ext uri="{FF2B5EF4-FFF2-40B4-BE49-F238E27FC236}">
                  <a16:creationId xmlns:a16="http://schemas.microsoft.com/office/drawing/2014/main" id="{44C472C1-76A6-4780-8100-5D8124972C04}"/>
                </a:ext>
              </a:extLst>
            </p:cNvPr>
            <p:cNvSpPr>
              <a:spLocks/>
            </p:cNvSpPr>
            <p:nvPr/>
          </p:nvSpPr>
          <p:spPr bwMode="auto">
            <a:xfrm>
              <a:off x="5089526" y="1946910"/>
              <a:ext cx="250825" cy="101600"/>
            </a:xfrm>
            <a:custGeom>
              <a:avLst/>
              <a:gdLst>
                <a:gd name="T0" fmla="*/ 216 w 315"/>
                <a:gd name="T1" fmla="*/ 0 h 128"/>
                <a:gd name="T2" fmla="*/ 216 w 315"/>
                <a:gd name="T3" fmla="*/ 0 h 128"/>
                <a:gd name="T4" fmla="*/ 204 w 315"/>
                <a:gd name="T5" fmla="*/ 8 h 128"/>
                <a:gd name="T6" fmla="*/ 189 w 315"/>
                <a:gd name="T7" fmla="*/ 15 h 128"/>
                <a:gd name="T8" fmla="*/ 174 w 315"/>
                <a:gd name="T9" fmla="*/ 19 h 128"/>
                <a:gd name="T10" fmla="*/ 158 w 315"/>
                <a:gd name="T11" fmla="*/ 20 h 128"/>
                <a:gd name="T12" fmla="*/ 158 w 315"/>
                <a:gd name="T13" fmla="*/ 20 h 128"/>
                <a:gd name="T14" fmla="*/ 142 w 315"/>
                <a:gd name="T15" fmla="*/ 19 h 128"/>
                <a:gd name="T16" fmla="*/ 126 w 315"/>
                <a:gd name="T17" fmla="*/ 15 h 128"/>
                <a:gd name="T18" fmla="*/ 113 w 315"/>
                <a:gd name="T19" fmla="*/ 8 h 128"/>
                <a:gd name="T20" fmla="*/ 99 w 315"/>
                <a:gd name="T21" fmla="*/ 0 h 128"/>
                <a:gd name="T22" fmla="*/ 99 w 315"/>
                <a:gd name="T23" fmla="*/ 0 h 128"/>
                <a:gd name="T24" fmla="*/ 90 w 315"/>
                <a:gd name="T25" fmla="*/ 3 h 128"/>
                <a:gd name="T26" fmla="*/ 80 w 315"/>
                <a:gd name="T27" fmla="*/ 6 h 128"/>
                <a:gd name="T28" fmla="*/ 71 w 315"/>
                <a:gd name="T29" fmla="*/ 10 h 128"/>
                <a:gd name="T30" fmla="*/ 63 w 315"/>
                <a:gd name="T31" fmla="*/ 14 h 128"/>
                <a:gd name="T32" fmla="*/ 53 w 315"/>
                <a:gd name="T33" fmla="*/ 20 h 128"/>
                <a:gd name="T34" fmla="*/ 47 w 315"/>
                <a:gd name="T35" fmla="*/ 26 h 128"/>
                <a:gd name="T36" fmla="*/ 39 w 315"/>
                <a:gd name="T37" fmla="*/ 34 h 128"/>
                <a:gd name="T38" fmla="*/ 32 w 315"/>
                <a:gd name="T39" fmla="*/ 41 h 128"/>
                <a:gd name="T40" fmla="*/ 20 w 315"/>
                <a:gd name="T41" fmla="*/ 58 h 128"/>
                <a:gd name="T42" fmla="*/ 10 w 315"/>
                <a:gd name="T43" fmla="*/ 77 h 128"/>
                <a:gd name="T44" fmla="*/ 4 w 315"/>
                <a:gd name="T45" fmla="*/ 97 h 128"/>
                <a:gd name="T46" fmla="*/ 1 w 315"/>
                <a:gd name="T47" fmla="*/ 106 h 128"/>
                <a:gd name="T48" fmla="*/ 0 w 315"/>
                <a:gd name="T49" fmla="*/ 116 h 128"/>
                <a:gd name="T50" fmla="*/ 0 w 315"/>
                <a:gd name="T51" fmla="*/ 116 h 128"/>
                <a:gd name="T52" fmla="*/ 0 w 315"/>
                <a:gd name="T53" fmla="*/ 121 h 128"/>
                <a:gd name="T54" fmla="*/ 2 w 315"/>
                <a:gd name="T55" fmla="*/ 124 h 128"/>
                <a:gd name="T56" fmla="*/ 6 w 315"/>
                <a:gd name="T57" fmla="*/ 127 h 128"/>
                <a:gd name="T58" fmla="*/ 10 w 315"/>
                <a:gd name="T59" fmla="*/ 128 h 128"/>
                <a:gd name="T60" fmla="*/ 306 w 315"/>
                <a:gd name="T61" fmla="*/ 128 h 128"/>
                <a:gd name="T62" fmla="*/ 306 w 315"/>
                <a:gd name="T63" fmla="*/ 128 h 128"/>
                <a:gd name="T64" fmla="*/ 310 w 315"/>
                <a:gd name="T65" fmla="*/ 127 h 128"/>
                <a:gd name="T66" fmla="*/ 313 w 315"/>
                <a:gd name="T67" fmla="*/ 124 h 128"/>
                <a:gd name="T68" fmla="*/ 315 w 315"/>
                <a:gd name="T69" fmla="*/ 121 h 128"/>
                <a:gd name="T70" fmla="*/ 315 w 315"/>
                <a:gd name="T71" fmla="*/ 116 h 128"/>
                <a:gd name="T72" fmla="*/ 315 w 315"/>
                <a:gd name="T73" fmla="*/ 116 h 128"/>
                <a:gd name="T74" fmla="*/ 314 w 315"/>
                <a:gd name="T75" fmla="*/ 106 h 128"/>
                <a:gd name="T76" fmla="*/ 313 w 315"/>
                <a:gd name="T77" fmla="*/ 97 h 128"/>
                <a:gd name="T78" fmla="*/ 306 w 315"/>
                <a:gd name="T79" fmla="*/ 77 h 128"/>
                <a:gd name="T80" fmla="*/ 297 w 315"/>
                <a:gd name="T81" fmla="*/ 58 h 128"/>
                <a:gd name="T82" fmla="*/ 285 w 315"/>
                <a:gd name="T83" fmla="*/ 41 h 128"/>
                <a:gd name="T84" fmla="*/ 276 w 315"/>
                <a:gd name="T85" fmla="*/ 34 h 128"/>
                <a:gd name="T86" fmla="*/ 270 w 315"/>
                <a:gd name="T87" fmla="*/ 26 h 128"/>
                <a:gd name="T88" fmla="*/ 262 w 315"/>
                <a:gd name="T89" fmla="*/ 20 h 128"/>
                <a:gd name="T90" fmla="*/ 254 w 315"/>
                <a:gd name="T91" fmla="*/ 14 h 128"/>
                <a:gd name="T92" fmla="*/ 244 w 315"/>
                <a:gd name="T93" fmla="*/ 10 h 128"/>
                <a:gd name="T94" fmla="*/ 235 w 315"/>
                <a:gd name="T95" fmla="*/ 6 h 128"/>
                <a:gd name="T96" fmla="*/ 225 w 315"/>
                <a:gd name="T97" fmla="*/ 3 h 128"/>
                <a:gd name="T98" fmla="*/ 216 w 315"/>
                <a:gd name="T99" fmla="*/ 0 h 128"/>
                <a:gd name="T100" fmla="*/ 216 w 315"/>
                <a:gd name="T10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5" h="128">
                  <a:moveTo>
                    <a:pt x="216" y="0"/>
                  </a:moveTo>
                  <a:lnTo>
                    <a:pt x="216" y="0"/>
                  </a:lnTo>
                  <a:lnTo>
                    <a:pt x="204" y="8"/>
                  </a:lnTo>
                  <a:lnTo>
                    <a:pt x="189" y="15"/>
                  </a:lnTo>
                  <a:lnTo>
                    <a:pt x="174" y="19"/>
                  </a:lnTo>
                  <a:lnTo>
                    <a:pt x="158" y="20"/>
                  </a:lnTo>
                  <a:lnTo>
                    <a:pt x="158" y="20"/>
                  </a:lnTo>
                  <a:lnTo>
                    <a:pt x="142" y="19"/>
                  </a:lnTo>
                  <a:lnTo>
                    <a:pt x="126" y="15"/>
                  </a:lnTo>
                  <a:lnTo>
                    <a:pt x="113" y="8"/>
                  </a:lnTo>
                  <a:lnTo>
                    <a:pt x="99" y="0"/>
                  </a:lnTo>
                  <a:lnTo>
                    <a:pt x="99" y="0"/>
                  </a:lnTo>
                  <a:lnTo>
                    <a:pt x="90" y="3"/>
                  </a:lnTo>
                  <a:lnTo>
                    <a:pt x="80" y="6"/>
                  </a:lnTo>
                  <a:lnTo>
                    <a:pt x="71" y="10"/>
                  </a:lnTo>
                  <a:lnTo>
                    <a:pt x="63" y="14"/>
                  </a:lnTo>
                  <a:lnTo>
                    <a:pt x="53" y="20"/>
                  </a:lnTo>
                  <a:lnTo>
                    <a:pt x="47" y="26"/>
                  </a:lnTo>
                  <a:lnTo>
                    <a:pt x="39" y="34"/>
                  </a:lnTo>
                  <a:lnTo>
                    <a:pt x="32" y="41"/>
                  </a:lnTo>
                  <a:lnTo>
                    <a:pt x="20" y="58"/>
                  </a:lnTo>
                  <a:lnTo>
                    <a:pt x="10" y="77"/>
                  </a:lnTo>
                  <a:lnTo>
                    <a:pt x="4" y="97"/>
                  </a:lnTo>
                  <a:lnTo>
                    <a:pt x="1" y="106"/>
                  </a:lnTo>
                  <a:lnTo>
                    <a:pt x="0" y="116"/>
                  </a:lnTo>
                  <a:lnTo>
                    <a:pt x="0" y="116"/>
                  </a:lnTo>
                  <a:lnTo>
                    <a:pt x="0" y="121"/>
                  </a:lnTo>
                  <a:lnTo>
                    <a:pt x="2" y="124"/>
                  </a:lnTo>
                  <a:lnTo>
                    <a:pt x="6" y="127"/>
                  </a:lnTo>
                  <a:lnTo>
                    <a:pt x="10" y="128"/>
                  </a:lnTo>
                  <a:lnTo>
                    <a:pt x="306" y="128"/>
                  </a:lnTo>
                  <a:lnTo>
                    <a:pt x="306" y="128"/>
                  </a:lnTo>
                  <a:lnTo>
                    <a:pt x="310" y="127"/>
                  </a:lnTo>
                  <a:lnTo>
                    <a:pt x="313" y="124"/>
                  </a:lnTo>
                  <a:lnTo>
                    <a:pt x="315" y="121"/>
                  </a:lnTo>
                  <a:lnTo>
                    <a:pt x="315" y="116"/>
                  </a:lnTo>
                  <a:lnTo>
                    <a:pt x="315" y="116"/>
                  </a:lnTo>
                  <a:lnTo>
                    <a:pt x="314" y="106"/>
                  </a:lnTo>
                  <a:lnTo>
                    <a:pt x="313" y="97"/>
                  </a:lnTo>
                  <a:lnTo>
                    <a:pt x="306" y="77"/>
                  </a:lnTo>
                  <a:lnTo>
                    <a:pt x="297" y="58"/>
                  </a:lnTo>
                  <a:lnTo>
                    <a:pt x="285" y="41"/>
                  </a:lnTo>
                  <a:lnTo>
                    <a:pt x="276" y="34"/>
                  </a:lnTo>
                  <a:lnTo>
                    <a:pt x="270" y="26"/>
                  </a:lnTo>
                  <a:lnTo>
                    <a:pt x="262" y="20"/>
                  </a:lnTo>
                  <a:lnTo>
                    <a:pt x="254" y="14"/>
                  </a:lnTo>
                  <a:lnTo>
                    <a:pt x="244" y="10"/>
                  </a:lnTo>
                  <a:lnTo>
                    <a:pt x="235" y="6"/>
                  </a:lnTo>
                  <a:lnTo>
                    <a:pt x="225" y="3"/>
                  </a:lnTo>
                  <a:lnTo>
                    <a:pt x="216" y="0"/>
                  </a:lnTo>
                  <a:lnTo>
                    <a:pt x="2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52" name="Group 151">
            <a:extLst>
              <a:ext uri="{FF2B5EF4-FFF2-40B4-BE49-F238E27FC236}">
                <a16:creationId xmlns:a16="http://schemas.microsoft.com/office/drawing/2014/main" id="{E20AC79B-C3D9-43BC-954C-842093E30AE2}"/>
              </a:ext>
            </a:extLst>
          </p:cNvPr>
          <p:cNvGrpSpPr>
            <a:grpSpLocks noChangeAspect="1"/>
          </p:cNvGrpSpPr>
          <p:nvPr/>
        </p:nvGrpSpPr>
        <p:grpSpPr>
          <a:xfrm>
            <a:off x="4864927" y="2203259"/>
            <a:ext cx="320040" cy="320040"/>
            <a:chOff x="6710363" y="5008563"/>
            <a:chExt cx="520700" cy="520700"/>
          </a:xfrm>
        </p:grpSpPr>
        <p:sp>
          <p:nvSpPr>
            <p:cNvPr id="153" name="Freeform 77">
              <a:extLst>
                <a:ext uri="{FF2B5EF4-FFF2-40B4-BE49-F238E27FC236}">
                  <a16:creationId xmlns:a16="http://schemas.microsoft.com/office/drawing/2014/main" id="{8382E616-86E7-4AD7-8969-4F3D37B394F7}"/>
                </a:ext>
              </a:extLst>
            </p:cNvPr>
            <p:cNvSpPr>
              <a:spLocks noEditPoints="1"/>
            </p:cNvSpPr>
            <p:nvPr/>
          </p:nvSpPr>
          <p:spPr bwMode="auto">
            <a:xfrm>
              <a:off x="6710363" y="5008563"/>
              <a:ext cx="520700" cy="520700"/>
            </a:xfrm>
            <a:custGeom>
              <a:avLst/>
              <a:gdLst>
                <a:gd name="T0" fmla="*/ 311 w 657"/>
                <a:gd name="T1" fmla="*/ 657 h 657"/>
                <a:gd name="T2" fmla="*/ 262 w 657"/>
                <a:gd name="T3" fmla="*/ 650 h 657"/>
                <a:gd name="T4" fmla="*/ 200 w 657"/>
                <a:gd name="T5" fmla="*/ 632 h 657"/>
                <a:gd name="T6" fmla="*/ 119 w 657"/>
                <a:gd name="T7" fmla="*/ 582 h 657"/>
                <a:gd name="T8" fmla="*/ 56 w 657"/>
                <a:gd name="T9" fmla="*/ 512 h 657"/>
                <a:gd name="T10" fmla="*/ 14 w 657"/>
                <a:gd name="T11" fmla="*/ 426 h 657"/>
                <a:gd name="T12" fmla="*/ 4 w 657"/>
                <a:gd name="T13" fmla="*/ 379 h 657"/>
                <a:gd name="T14" fmla="*/ 0 w 657"/>
                <a:gd name="T15" fmla="*/ 329 h 657"/>
                <a:gd name="T16" fmla="*/ 1 w 657"/>
                <a:gd name="T17" fmla="*/ 296 h 657"/>
                <a:gd name="T18" fmla="*/ 9 w 657"/>
                <a:gd name="T19" fmla="*/ 246 h 657"/>
                <a:gd name="T20" fmla="*/ 39 w 657"/>
                <a:gd name="T21" fmla="*/ 172 h 657"/>
                <a:gd name="T22" fmla="*/ 95 w 657"/>
                <a:gd name="T23" fmla="*/ 97 h 657"/>
                <a:gd name="T24" fmla="*/ 172 w 657"/>
                <a:gd name="T25" fmla="*/ 39 h 657"/>
                <a:gd name="T26" fmla="*/ 245 w 657"/>
                <a:gd name="T27" fmla="*/ 11 h 657"/>
                <a:gd name="T28" fmla="*/ 294 w 657"/>
                <a:gd name="T29" fmla="*/ 2 h 657"/>
                <a:gd name="T30" fmla="*/ 327 w 657"/>
                <a:gd name="T31" fmla="*/ 0 h 657"/>
                <a:gd name="T32" fmla="*/ 378 w 657"/>
                <a:gd name="T33" fmla="*/ 4 h 657"/>
                <a:gd name="T34" fmla="*/ 425 w 657"/>
                <a:gd name="T35" fmla="*/ 15 h 657"/>
                <a:gd name="T36" fmla="*/ 511 w 657"/>
                <a:gd name="T37" fmla="*/ 57 h 657"/>
                <a:gd name="T38" fmla="*/ 581 w 657"/>
                <a:gd name="T39" fmla="*/ 120 h 657"/>
                <a:gd name="T40" fmla="*/ 631 w 657"/>
                <a:gd name="T41" fmla="*/ 200 h 657"/>
                <a:gd name="T42" fmla="*/ 650 w 657"/>
                <a:gd name="T43" fmla="*/ 262 h 657"/>
                <a:gd name="T44" fmla="*/ 657 w 657"/>
                <a:gd name="T45" fmla="*/ 312 h 657"/>
                <a:gd name="T46" fmla="*/ 657 w 657"/>
                <a:gd name="T47" fmla="*/ 346 h 657"/>
                <a:gd name="T48" fmla="*/ 650 w 657"/>
                <a:gd name="T49" fmla="*/ 395 h 657"/>
                <a:gd name="T50" fmla="*/ 631 w 657"/>
                <a:gd name="T51" fmla="*/ 457 h 657"/>
                <a:gd name="T52" fmla="*/ 581 w 657"/>
                <a:gd name="T53" fmla="*/ 538 h 657"/>
                <a:gd name="T54" fmla="*/ 511 w 657"/>
                <a:gd name="T55" fmla="*/ 601 h 657"/>
                <a:gd name="T56" fmla="*/ 425 w 657"/>
                <a:gd name="T57" fmla="*/ 642 h 657"/>
                <a:gd name="T58" fmla="*/ 378 w 657"/>
                <a:gd name="T59" fmla="*/ 654 h 657"/>
                <a:gd name="T60" fmla="*/ 327 w 657"/>
                <a:gd name="T61" fmla="*/ 657 h 657"/>
                <a:gd name="T62" fmla="*/ 327 w 657"/>
                <a:gd name="T63" fmla="*/ 38 h 657"/>
                <a:gd name="T64" fmla="*/ 241 w 657"/>
                <a:gd name="T65" fmla="*/ 51 h 657"/>
                <a:gd name="T66" fmla="*/ 165 w 657"/>
                <a:gd name="T67" fmla="*/ 88 h 657"/>
                <a:gd name="T68" fmla="*/ 103 w 657"/>
                <a:gd name="T69" fmla="*/ 144 h 657"/>
                <a:gd name="T70" fmla="*/ 60 w 657"/>
                <a:gd name="T71" fmla="*/ 215 h 657"/>
                <a:gd name="T72" fmla="*/ 39 w 657"/>
                <a:gd name="T73" fmla="*/ 299 h 657"/>
                <a:gd name="T74" fmla="*/ 39 w 657"/>
                <a:gd name="T75" fmla="*/ 359 h 657"/>
                <a:gd name="T76" fmla="*/ 60 w 657"/>
                <a:gd name="T77" fmla="*/ 442 h 657"/>
                <a:gd name="T78" fmla="*/ 103 w 657"/>
                <a:gd name="T79" fmla="*/ 513 h 657"/>
                <a:gd name="T80" fmla="*/ 165 w 657"/>
                <a:gd name="T81" fmla="*/ 570 h 657"/>
                <a:gd name="T82" fmla="*/ 241 w 657"/>
                <a:gd name="T83" fmla="*/ 607 h 657"/>
                <a:gd name="T84" fmla="*/ 327 w 657"/>
                <a:gd name="T85" fmla="*/ 620 h 657"/>
                <a:gd name="T86" fmla="*/ 387 w 657"/>
                <a:gd name="T87" fmla="*/ 614 h 657"/>
                <a:gd name="T88" fmla="*/ 467 w 657"/>
                <a:gd name="T89" fmla="*/ 585 h 657"/>
                <a:gd name="T90" fmla="*/ 534 w 657"/>
                <a:gd name="T91" fmla="*/ 535 h 657"/>
                <a:gd name="T92" fmla="*/ 584 w 657"/>
                <a:gd name="T93" fmla="*/ 468 h 657"/>
                <a:gd name="T94" fmla="*/ 614 w 657"/>
                <a:gd name="T95" fmla="*/ 387 h 657"/>
                <a:gd name="T96" fmla="*/ 619 w 657"/>
                <a:gd name="T97" fmla="*/ 329 h 657"/>
                <a:gd name="T98" fmla="*/ 605 w 657"/>
                <a:gd name="T99" fmla="*/ 242 h 657"/>
                <a:gd name="T100" fmla="*/ 569 w 657"/>
                <a:gd name="T101" fmla="*/ 166 h 657"/>
                <a:gd name="T102" fmla="*/ 513 w 657"/>
                <a:gd name="T103" fmla="*/ 104 h 657"/>
                <a:gd name="T104" fmla="*/ 442 w 657"/>
                <a:gd name="T105" fmla="*/ 61 h 657"/>
                <a:gd name="T106" fmla="*/ 358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7" y="657"/>
                  </a:moveTo>
                  <a:lnTo>
                    <a:pt x="327" y="657"/>
                  </a:lnTo>
                  <a:lnTo>
                    <a:pt x="311" y="657"/>
                  </a:lnTo>
                  <a:lnTo>
                    <a:pt x="294" y="656"/>
                  </a:lnTo>
                  <a:lnTo>
                    <a:pt x="278" y="654"/>
                  </a:lnTo>
                  <a:lnTo>
                    <a:pt x="262" y="650"/>
                  </a:lnTo>
                  <a:lnTo>
                    <a:pt x="245" y="648"/>
                  </a:lnTo>
                  <a:lnTo>
                    <a:pt x="231" y="642"/>
                  </a:lnTo>
                  <a:lnTo>
                    <a:pt x="200" y="632"/>
                  </a:lnTo>
                  <a:lnTo>
                    <a:pt x="172" y="618"/>
                  </a:lnTo>
                  <a:lnTo>
                    <a:pt x="145" y="601"/>
                  </a:lnTo>
                  <a:lnTo>
                    <a:pt x="119" y="582"/>
                  </a:lnTo>
                  <a:lnTo>
                    <a:pt x="95" y="562"/>
                  </a:lnTo>
                  <a:lnTo>
                    <a:pt x="75" y="538"/>
                  </a:lnTo>
                  <a:lnTo>
                    <a:pt x="56" y="512"/>
                  </a:lnTo>
                  <a:lnTo>
                    <a:pt x="39" y="485"/>
                  </a:lnTo>
                  <a:lnTo>
                    <a:pt x="25" y="457"/>
                  </a:lnTo>
                  <a:lnTo>
                    <a:pt x="14" y="426"/>
                  </a:lnTo>
                  <a:lnTo>
                    <a:pt x="9" y="411"/>
                  </a:lnTo>
                  <a:lnTo>
                    <a:pt x="6" y="395"/>
                  </a:lnTo>
                  <a:lnTo>
                    <a:pt x="4" y="379"/>
                  </a:lnTo>
                  <a:lnTo>
                    <a:pt x="1" y="363"/>
                  </a:lnTo>
                  <a:lnTo>
                    <a:pt x="0" y="346"/>
                  </a:lnTo>
                  <a:lnTo>
                    <a:pt x="0" y="329"/>
                  </a:lnTo>
                  <a:lnTo>
                    <a:pt x="0" y="329"/>
                  </a:lnTo>
                  <a:lnTo>
                    <a:pt x="0" y="312"/>
                  </a:lnTo>
                  <a:lnTo>
                    <a:pt x="1" y="296"/>
                  </a:lnTo>
                  <a:lnTo>
                    <a:pt x="4" y="278"/>
                  </a:lnTo>
                  <a:lnTo>
                    <a:pt x="6" y="262"/>
                  </a:lnTo>
                  <a:lnTo>
                    <a:pt x="9" y="246"/>
                  </a:lnTo>
                  <a:lnTo>
                    <a:pt x="14" y="231"/>
                  </a:lnTo>
                  <a:lnTo>
                    <a:pt x="25" y="200"/>
                  </a:lnTo>
                  <a:lnTo>
                    <a:pt x="39" y="172"/>
                  </a:lnTo>
                  <a:lnTo>
                    <a:pt x="56" y="145"/>
                  </a:lnTo>
                  <a:lnTo>
                    <a:pt x="75" y="120"/>
                  </a:lnTo>
                  <a:lnTo>
                    <a:pt x="95" y="97"/>
                  </a:lnTo>
                  <a:lnTo>
                    <a:pt x="119" y="76"/>
                  </a:lnTo>
                  <a:lnTo>
                    <a:pt x="145" y="57"/>
                  </a:lnTo>
                  <a:lnTo>
                    <a:pt x="172" y="39"/>
                  </a:lnTo>
                  <a:lnTo>
                    <a:pt x="200" y="26"/>
                  </a:lnTo>
                  <a:lnTo>
                    <a:pt x="231" y="15"/>
                  </a:lnTo>
                  <a:lnTo>
                    <a:pt x="245" y="11"/>
                  </a:lnTo>
                  <a:lnTo>
                    <a:pt x="262" y="7"/>
                  </a:lnTo>
                  <a:lnTo>
                    <a:pt x="278" y="4"/>
                  </a:lnTo>
                  <a:lnTo>
                    <a:pt x="294" y="2"/>
                  </a:lnTo>
                  <a:lnTo>
                    <a:pt x="311" y="0"/>
                  </a:lnTo>
                  <a:lnTo>
                    <a:pt x="327" y="0"/>
                  </a:lnTo>
                  <a:lnTo>
                    <a:pt x="327" y="0"/>
                  </a:lnTo>
                  <a:lnTo>
                    <a:pt x="345" y="0"/>
                  </a:lnTo>
                  <a:lnTo>
                    <a:pt x="361" y="2"/>
                  </a:lnTo>
                  <a:lnTo>
                    <a:pt x="378" y="4"/>
                  </a:lnTo>
                  <a:lnTo>
                    <a:pt x="395" y="7"/>
                  </a:lnTo>
                  <a:lnTo>
                    <a:pt x="411" y="11"/>
                  </a:lnTo>
                  <a:lnTo>
                    <a:pt x="425" y="15"/>
                  </a:lnTo>
                  <a:lnTo>
                    <a:pt x="456" y="26"/>
                  </a:lnTo>
                  <a:lnTo>
                    <a:pt x="485" y="39"/>
                  </a:lnTo>
                  <a:lnTo>
                    <a:pt x="511" y="57"/>
                  </a:lnTo>
                  <a:lnTo>
                    <a:pt x="537" y="76"/>
                  </a:lnTo>
                  <a:lnTo>
                    <a:pt x="560" y="97"/>
                  </a:lnTo>
                  <a:lnTo>
                    <a:pt x="581" y="120"/>
                  </a:lnTo>
                  <a:lnTo>
                    <a:pt x="600" y="145"/>
                  </a:lnTo>
                  <a:lnTo>
                    <a:pt x="618" y="172"/>
                  </a:lnTo>
                  <a:lnTo>
                    <a:pt x="631" y="200"/>
                  </a:lnTo>
                  <a:lnTo>
                    <a:pt x="642" y="231"/>
                  </a:lnTo>
                  <a:lnTo>
                    <a:pt x="647" y="246"/>
                  </a:lnTo>
                  <a:lnTo>
                    <a:pt x="650" y="262"/>
                  </a:lnTo>
                  <a:lnTo>
                    <a:pt x="652" y="278"/>
                  </a:lnTo>
                  <a:lnTo>
                    <a:pt x="655" y="296"/>
                  </a:lnTo>
                  <a:lnTo>
                    <a:pt x="657" y="312"/>
                  </a:lnTo>
                  <a:lnTo>
                    <a:pt x="657" y="329"/>
                  </a:lnTo>
                  <a:lnTo>
                    <a:pt x="657" y="329"/>
                  </a:lnTo>
                  <a:lnTo>
                    <a:pt x="657" y="346"/>
                  </a:lnTo>
                  <a:lnTo>
                    <a:pt x="655" y="363"/>
                  </a:lnTo>
                  <a:lnTo>
                    <a:pt x="652" y="379"/>
                  </a:lnTo>
                  <a:lnTo>
                    <a:pt x="650" y="395"/>
                  </a:lnTo>
                  <a:lnTo>
                    <a:pt x="647" y="411"/>
                  </a:lnTo>
                  <a:lnTo>
                    <a:pt x="642" y="426"/>
                  </a:lnTo>
                  <a:lnTo>
                    <a:pt x="631" y="457"/>
                  </a:lnTo>
                  <a:lnTo>
                    <a:pt x="618" y="485"/>
                  </a:lnTo>
                  <a:lnTo>
                    <a:pt x="600" y="512"/>
                  </a:lnTo>
                  <a:lnTo>
                    <a:pt x="581" y="538"/>
                  </a:lnTo>
                  <a:lnTo>
                    <a:pt x="560" y="562"/>
                  </a:lnTo>
                  <a:lnTo>
                    <a:pt x="537" y="582"/>
                  </a:lnTo>
                  <a:lnTo>
                    <a:pt x="511" y="601"/>
                  </a:lnTo>
                  <a:lnTo>
                    <a:pt x="485" y="618"/>
                  </a:lnTo>
                  <a:lnTo>
                    <a:pt x="456" y="632"/>
                  </a:lnTo>
                  <a:lnTo>
                    <a:pt x="425" y="642"/>
                  </a:lnTo>
                  <a:lnTo>
                    <a:pt x="411" y="648"/>
                  </a:lnTo>
                  <a:lnTo>
                    <a:pt x="395" y="650"/>
                  </a:lnTo>
                  <a:lnTo>
                    <a:pt x="378" y="654"/>
                  </a:lnTo>
                  <a:lnTo>
                    <a:pt x="361" y="656"/>
                  </a:lnTo>
                  <a:lnTo>
                    <a:pt x="345" y="657"/>
                  </a:lnTo>
                  <a:lnTo>
                    <a:pt x="327" y="657"/>
                  </a:lnTo>
                  <a:lnTo>
                    <a:pt x="327" y="657"/>
                  </a:lnTo>
                  <a:close/>
                  <a:moveTo>
                    <a:pt x="327" y="38"/>
                  </a:moveTo>
                  <a:lnTo>
                    <a:pt x="327" y="38"/>
                  </a:lnTo>
                  <a:lnTo>
                    <a:pt x="298" y="39"/>
                  </a:lnTo>
                  <a:lnTo>
                    <a:pt x="270" y="43"/>
                  </a:lnTo>
                  <a:lnTo>
                    <a:pt x="241" y="51"/>
                  </a:lnTo>
                  <a:lnTo>
                    <a:pt x="215" y="61"/>
                  </a:lnTo>
                  <a:lnTo>
                    <a:pt x="189" y="73"/>
                  </a:lnTo>
                  <a:lnTo>
                    <a:pt x="165" y="88"/>
                  </a:lnTo>
                  <a:lnTo>
                    <a:pt x="143" y="104"/>
                  </a:lnTo>
                  <a:lnTo>
                    <a:pt x="122" y="123"/>
                  </a:lnTo>
                  <a:lnTo>
                    <a:pt x="103" y="144"/>
                  </a:lnTo>
                  <a:lnTo>
                    <a:pt x="87" y="166"/>
                  </a:lnTo>
                  <a:lnTo>
                    <a:pt x="72" y="190"/>
                  </a:lnTo>
                  <a:lnTo>
                    <a:pt x="60" y="215"/>
                  </a:lnTo>
                  <a:lnTo>
                    <a:pt x="49" y="242"/>
                  </a:lnTo>
                  <a:lnTo>
                    <a:pt x="43" y="270"/>
                  </a:lnTo>
                  <a:lnTo>
                    <a:pt x="39" y="299"/>
                  </a:lnTo>
                  <a:lnTo>
                    <a:pt x="37" y="329"/>
                  </a:lnTo>
                  <a:lnTo>
                    <a:pt x="37" y="329"/>
                  </a:lnTo>
                  <a:lnTo>
                    <a:pt x="39" y="359"/>
                  </a:lnTo>
                  <a:lnTo>
                    <a:pt x="43" y="387"/>
                  </a:lnTo>
                  <a:lnTo>
                    <a:pt x="49" y="415"/>
                  </a:lnTo>
                  <a:lnTo>
                    <a:pt x="60" y="442"/>
                  </a:lnTo>
                  <a:lnTo>
                    <a:pt x="72" y="468"/>
                  </a:lnTo>
                  <a:lnTo>
                    <a:pt x="87" y="492"/>
                  </a:lnTo>
                  <a:lnTo>
                    <a:pt x="103" y="513"/>
                  </a:lnTo>
                  <a:lnTo>
                    <a:pt x="122" y="535"/>
                  </a:lnTo>
                  <a:lnTo>
                    <a:pt x="143" y="554"/>
                  </a:lnTo>
                  <a:lnTo>
                    <a:pt x="165" y="570"/>
                  </a:lnTo>
                  <a:lnTo>
                    <a:pt x="189" y="585"/>
                  </a:lnTo>
                  <a:lnTo>
                    <a:pt x="215" y="597"/>
                  </a:lnTo>
                  <a:lnTo>
                    <a:pt x="241" y="607"/>
                  </a:lnTo>
                  <a:lnTo>
                    <a:pt x="270" y="614"/>
                  </a:lnTo>
                  <a:lnTo>
                    <a:pt x="298" y="618"/>
                  </a:lnTo>
                  <a:lnTo>
                    <a:pt x="327" y="620"/>
                  </a:lnTo>
                  <a:lnTo>
                    <a:pt x="327" y="620"/>
                  </a:lnTo>
                  <a:lnTo>
                    <a:pt x="358" y="618"/>
                  </a:lnTo>
                  <a:lnTo>
                    <a:pt x="387" y="614"/>
                  </a:lnTo>
                  <a:lnTo>
                    <a:pt x="415" y="607"/>
                  </a:lnTo>
                  <a:lnTo>
                    <a:pt x="442" y="597"/>
                  </a:lnTo>
                  <a:lnTo>
                    <a:pt x="467" y="585"/>
                  </a:lnTo>
                  <a:lnTo>
                    <a:pt x="491" y="570"/>
                  </a:lnTo>
                  <a:lnTo>
                    <a:pt x="513" y="554"/>
                  </a:lnTo>
                  <a:lnTo>
                    <a:pt x="534" y="535"/>
                  </a:lnTo>
                  <a:lnTo>
                    <a:pt x="553" y="513"/>
                  </a:lnTo>
                  <a:lnTo>
                    <a:pt x="569" y="492"/>
                  </a:lnTo>
                  <a:lnTo>
                    <a:pt x="584" y="468"/>
                  </a:lnTo>
                  <a:lnTo>
                    <a:pt x="596" y="442"/>
                  </a:lnTo>
                  <a:lnTo>
                    <a:pt x="605" y="415"/>
                  </a:lnTo>
                  <a:lnTo>
                    <a:pt x="614" y="387"/>
                  </a:lnTo>
                  <a:lnTo>
                    <a:pt x="618" y="359"/>
                  </a:lnTo>
                  <a:lnTo>
                    <a:pt x="619" y="329"/>
                  </a:lnTo>
                  <a:lnTo>
                    <a:pt x="619" y="329"/>
                  </a:lnTo>
                  <a:lnTo>
                    <a:pt x="618" y="299"/>
                  </a:lnTo>
                  <a:lnTo>
                    <a:pt x="614" y="270"/>
                  </a:lnTo>
                  <a:lnTo>
                    <a:pt x="605" y="242"/>
                  </a:lnTo>
                  <a:lnTo>
                    <a:pt x="596" y="215"/>
                  </a:lnTo>
                  <a:lnTo>
                    <a:pt x="584" y="190"/>
                  </a:lnTo>
                  <a:lnTo>
                    <a:pt x="569" y="166"/>
                  </a:lnTo>
                  <a:lnTo>
                    <a:pt x="553" y="144"/>
                  </a:lnTo>
                  <a:lnTo>
                    <a:pt x="534" y="123"/>
                  </a:lnTo>
                  <a:lnTo>
                    <a:pt x="513" y="104"/>
                  </a:lnTo>
                  <a:lnTo>
                    <a:pt x="491" y="88"/>
                  </a:lnTo>
                  <a:lnTo>
                    <a:pt x="467" y="73"/>
                  </a:lnTo>
                  <a:lnTo>
                    <a:pt x="442" y="61"/>
                  </a:lnTo>
                  <a:lnTo>
                    <a:pt x="415" y="51"/>
                  </a:lnTo>
                  <a:lnTo>
                    <a:pt x="387" y="43"/>
                  </a:lnTo>
                  <a:lnTo>
                    <a:pt x="358" y="39"/>
                  </a:lnTo>
                  <a:lnTo>
                    <a:pt x="327" y="38"/>
                  </a:lnTo>
                  <a:lnTo>
                    <a:pt x="327" y="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54" name="Freeform 299">
              <a:extLst>
                <a:ext uri="{FF2B5EF4-FFF2-40B4-BE49-F238E27FC236}">
                  <a16:creationId xmlns:a16="http://schemas.microsoft.com/office/drawing/2014/main" id="{C7864E14-CFB5-415D-A6ED-6F97EDAAD819}"/>
                </a:ext>
              </a:extLst>
            </p:cNvPr>
            <p:cNvSpPr>
              <a:spLocks noEditPoints="1"/>
            </p:cNvSpPr>
            <p:nvPr/>
          </p:nvSpPr>
          <p:spPr bwMode="auto">
            <a:xfrm>
              <a:off x="6861176" y="5164138"/>
              <a:ext cx="244475" cy="246063"/>
            </a:xfrm>
            <a:custGeom>
              <a:avLst/>
              <a:gdLst>
                <a:gd name="T0" fmla="*/ 307 w 308"/>
                <a:gd name="T1" fmla="*/ 176 h 309"/>
                <a:gd name="T2" fmla="*/ 132 w 308"/>
                <a:gd name="T3" fmla="*/ 1 h 309"/>
                <a:gd name="T4" fmla="*/ 132 w 308"/>
                <a:gd name="T5" fmla="*/ 1 h 309"/>
                <a:gd name="T6" fmla="*/ 131 w 308"/>
                <a:gd name="T7" fmla="*/ 1 h 309"/>
                <a:gd name="T8" fmla="*/ 128 w 308"/>
                <a:gd name="T9" fmla="*/ 0 h 309"/>
                <a:gd name="T10" fmla="*/ 46 w 308"/>
                <a:gd name="T11" fmla="*/ 0 h 309"/>
                <a:gd name="T12" fmla="*/ 46 w 308"/>
                <a:gd name="T13" fmla="*/ 0 h 309"/>
                <a:gd name="T14" fmla="*/ 45 w 308"/>
                <a:gd name="T15" fmla="*/ 1 h 309"/>
                <a:gd name="T16" fmla="*/ 43 w 308"/>
                <a:gd name="T17" fmla="*/ 1 h 309"/>
                <a:gd name="T18" fmla="*/ 2 w 308"/>
                <a:gd name="T19" fmla="*/ 43 h 309"/>
                <a:gd name="T20" fmla="*/ 2 w 308"/>
                <a:gd name="T21" fmla="*/ 43 h 309"/>
                <a:gd name="T22" fmla="*/ 0 w 308"/>
                <a:gd name="T23" fmla="*/ 44 h 309"/>
                <a:gd name="T24" fmla="*/ 0 w 308"/>
                <a:gd name="T25" fmla="*/ 47 h 309"/>
                <a:gd name="T26" fmla="*/ 0 w 308"/>
                <a:gd name="T27" fmla="*/ 129 h 309"/>
                <a:gd name="T28" fmla="*/ 0 w 308"/>
                <a:gd name="T29" fmla="*/ 129 h 309"/>
                <a:gd name="T30" fmla="*/ 0 w 308"/>
                <a:gd name="T31" fmla="*/ 130 h 309"/>
                <a:gd name="T32" fmla="*/ 2 w 308"/>
                <a:gd name="T33" fmla="*/ 133 h 309"/>
                <a:gd name="T34" fmla="*/ 176 w 308"/>
                <a:gd name="T35" fmla="*/ 307 h 309"/>
                <a:gd name="T36" fmla="*/ 176 w 308"/>
                <a:gd name="T37" fmla="*/ 307 h 309"/>
                <a:gd name="T38" fmla="*/ 178 w 308"/>
                <a:gd name="T39" fmla="*/ 307 h 309"/>
                <a:gd name="T40" fmla="*/ 180 w 308"/>
                <a:gd name="T41" fmla="*/ 309 h 309"/>
                <a:gd name="T42" fmla="*/ 180 w 308"/>
                <a:gd name="T43" fmla="*/ 309 h 309"/>
                <a:gd name="T44" fmla="*/ 182 w 308"/>
                <a:gd name="T45" fmla="*/ 307 h 309"/>
                <a:gd name="T46" fmla="*/ 183 w 308"/>
                <a:gd name="T47" fmla="*/ 307 h 309"/>
                <a:gd name="T48" fmla="*/ 307 w 308"/>
                <a:gd name="T49" fmla="*/ 184 h 309"/>
                <a:gd name="T50" fmla="*/ 307 w 308"/>
                <a:gd name="T51" fmla="*/ 184 h 309"/>
                <a:gd name="T52" fmla="*/ 308 w 308"/>
                <a:gd name="T53" fmla="*/ 182 h 309"/>
                <a:gd name="T54" fmla="*/ 308 w 308"/>
                <a:gd name="T55" fmla="*/ 180 h 309"/>
                <a:gd name="T56" fmla="*/ 308 w 308"/>
                <a:gd name="T57" fmla="*/ 178 h 309"/>
                <a:gd name="T58" fmla="*/ 307 w 308"/>
                <a:gd name="T59" fmla="*/ 176 h 309"/>
                <a:gd name="T60" fmla="*/ 307 w 308"/>
                <a:gd name="T61" fmla="*/ 176 h 309"/>
                <a:gd name="T62" fmla="*/ 88 w 308"/>
                <a:gd name="T63" fmla="*/ 109 h 309"/>
                <a:gd name="T64" fmla="*/ 88 w 308"/>
                <a:gd name="T65" fmla="*/ 109 h 309"/>
                <a:gd name="T66" fmla="*/ 84 w 308"/>
                <a:gd name="T67" fmla="*/ 107 h 309"/>
                <a:gd name="T68" fmla="*/ 80 w 308"/>
                <a:gd name="T69" fmla="*/ 106 h 309"/>
                <a:gd name="T70" fmla="*/ 73 w 308"/>
                <a:gd name="T71" fmla="*/ 102 h 309"/>
                <a:gd name="T72" fmla="*/ 69 w 308"/>
                <a:gd name="T73" fmla="*/ 95 h 309"/>
                <a:gd name="T74" fmla="*/ 68 w 308"/>
                <a:gd name="T75" fmla="*/ 91 h 309"/>
                <a:gd name="T76" fmla="*/ 68 w 308"/>
                <a:gd name="T77" fmla="*/ 87 h 309"/>
                <a:gd name="T78" fmla="*/ 68 w 308"/>
                <a:gd name="T79" fmla="*/ 87 h 309"/>
                <a:gd name="T80" fmla="*/ 68 w 308"/>
                <a:gd name="T81" fmla="*/ 83 h 309"/>
                <a:gd name="T82" fmla="*/ 69 w 308"/>
                <a:gd name="T83" fmla="*/ 79 h 309"/>
                <a:gd name="T84" fmla="*/ 73 w 308"/>
                <a:gd name="T85" fmla="*/ 74 h 309"/>
                <a:gd name="T86" fmla="*/ 80 w 308"/>
                <a:gd name="T87" fmla="*/ 68 h 309"/>
                <a:gd name="T88" fmla="*/ 84 w 308"/>
                <a:gd name="T89" fmla="*/ 67 h 309"/>
                <a:gd name="T90" fmla="*/ 88 w 308"/>
                <a:gd name="T91" fmla="*/ 67 h 309"/>
                <a:gd name="T92" fmla="*/ 88 w 308"/>
                <a:gd name="T93" fmla="*/ 67 h 309"/>
                <a:gd name="T94" fmla="*/ 92 w 308"/>
                <a:gd name="T95" fmla="*/ 67 h 309"/>
                <a:gd name="T96" fmla="*/ 96 w 308"/>
                <a:gd name="T97" fmla="*/ 68 h 309"/>
                <a:gd name="T98" fmla="*/ 103 w 308"/>
                <a:gd name="T99" fmla="*/ 74 h 309"/>
                <a:gd name="T100" fmla="*/ 107 w 308"/>
                <a:gd name="T101" fmla="*/ 79 h 309"/>
                <a:gd name="T102" fmla="*/ 108 w 308"/>
                <a:gd name="T103" fmla="*/ 83 h 309"/>
                <a:gd name="T104" fmla="*/ 108 w 308"/>
                <a:gd name="T105" fmla="*/ 87 h 309"/>
                <a:gd name="T106" fmla="*/ 108 w 308"/>
                <a:gd name="T107" fmla="*/ 87 h 309"/>
                <a:gd name="T108" fmla="*/ 108 w 308"/>
                <a:gd name="T109" fmla="*/ 91 h 309"/>
                <a:gd name="T110" fmla="*/ 107 w 308"/>
                <a:gd name="T111" fmla="*/ 95 h 309"/>
                <a:gd name="T112" fmla="*/ 103 w 308"/>
                <a:gd name="T113" fmla="*/ 102 h 309"/>
                <a:gd name="T114" fmla="*/ 96 w 308"/>
                <a:gd name="T115" fmla="*/ 106 h 309"/>
                <a:gd name="T116" fmla="*/ 92 w 308"/>
                <a:gd name="T117" fmla="*/ 107 h 309"/>
                <a:gd name="T118" fmla="*/ 88 w 308"/>
                <a:gd name="T119" fmla="*/ 109 h 309"/>
                <a:gd name="T120" fmla="*/ 88 w 308"/>
                <a:gd name="T121" fmla="*/ 109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8" h="309">
                  <a:moveTo>
                    <a:pt x="307" y="176"/>
                  </a:moveTo>
                  <a:lnTo>
                    <a:pt x="132" y="1"/>
                  </a:lnTo>
                  <a:lnTo>
                    <a:pt x="132" y="1"/>
                  </a:lnTo>
                  <a:lnTo>
                    <a:pt x="131" y="1"/>
                  </a:lnTo>
                  <a:lnTo>
                    <a:pt x="128" y="0"/>
                  </a:lnTo>
                  <a:lnTo>
                    <a:pt x="46" y="0"/>
                  </a:lnTo>
                  <a:lnTo>
                    <a:pt x="46" y="0"/>
                  </a:lnTo>
                  <a:lnTo>
                    <a:pt x="45" y="1"/>
                  </a:lnTo>
                  <a:lnTo>
                    <a:pt x="43" y="1"/>
                  </a:lnTo>
                  <a:lnTo>
                    <a:pt x="2" y="43"/>
                  </a:lnTo>
                  <a:lnTo>
                    <a:pt x="2" y="43"/>
                  </a:lnTo>
                  <a:lnTo>
                    <a:pt x="0" y="44"/>
                  </a:lnTo>
                  <a:lnTo>
                    <a:pt x="0" y="47"/>
                  </a:lnTo>
                  <a:lnTo>
                    <a:pt x="0" y="129"/>
                  </a:lnTo>
                  <a:lnTo>
                    <a:pt x="0" y="129"/>
                  </a:lnTo>
                  <a:lnTo>
                    <a:pt x="0" y="130"/>
                  </a:lnTo>
                  <a:lnTo>
                    <a:pt x="2" y="133"/>
                  </a:lnTo>
                  <a:lnTo>
                    <a:pt x="176" y="307"/>
                  </a:lnTo>
                  <a:lnTo>
                    <a:pt x="176" y="307"/>
                  </a:lnTo>
                  <a:lnTo>
                    <a:pt x="178" y="307"/>
                  </a:lnTo>
                  <a:lnTo>
                    <a:pt x="180" y="309"/>
                  </a:lnTo>
                  <a:lnTo>
                    <a:pt x="180" y="309"/>
                  </a:lnTo>
                  <a:lnTo>
                    <a:pt x="182" y="307"/>
                  </a:lnTo>
                  <a:lnTo>
                    <a:pt x="183" y="307"/>
                  </a:lnTo>
                  <a:lnTo>
                    <a:pt x="307" y="184"/>
                  </a:lnTo>
                  <a:lnTo>
                    <a:pt x="307" y="184"/>
                  </a:lnTo>
                  <a:lnTo>
                    <a:pt x="308" y="182"/>
                  </a:lnTo>
                  <a:lnTo>
                    <a:pt x="308" y="180"/>
                  </a:lnTo>
                  <a:lnTo>
                    <a:pt x="308" y="178"/>
                  </a:lnTo>
                  <a:lnTo>
                    <a:pt x="307" y="176"/>
                  </a:lnTo>
                  <a:lnTo>
                    <a:pt x="307" y="176"/>
                  </a:lnTo>
                  <a:close/>
                  <a:moveTo>
                    <a:pt x="88" y="109"/>
                  </a:moveTo>
                  <a:lnTo>
                    <a:pt x="88" y="109"/>
                  </a:lnTo>
                  <a:lnTo>
                    <a:pt x="84" y="107"/>
                  </a:lnTo>
                  <a:lnTo>
                    <a:pt x="80" y="106"/>
                  </a:lnTo>
                  <a:lnTo>
                    <a:pt x="73" y="102"/>
                  </a:lnTo>
                  <a:lnTo>
                    <a:pt x="69" y="95"/>
                  </a:lnTo>
                  <a:lnTo>
                    <a:pt x="68" y="91"/>
                  </a:lnTo>
                  <a:lnTo>
                    <a:pt x="68" y="87"/>
                  </a:lnTo>
                  <a:lnTo>
                    <a:pt x="68" y="87"/>
                  </a:lnTo>
                  <a:lnTo>
                    <a:pt x="68" y="83"/>
                  </a:lnTo>
                  <a:lnTo>
                    <a:pt x="69" y="79"/>
                  </a:lnTo>
                  <a:lnTo>
                    <a:pt x="73" y="74"/>
                  </a:lnTo>
                  <a:lnTo>
                    <a:pt x="80" y="68"/>
                  </a:lnTo>
                  <a:lnTo>
                    <a:pt x="84" y="67"/>
                  </a:lnTo>
                  <a:lnTo>
                    <a:pt x="88" y="67"/>
                  </a:lnTo>
                  <a:lnTo>
                    <a:pt x="88" y="67"/>
                  </a:lnTo>
                  <a:lnTo>
                    <a:pt x="92" y="67"/>
                  </a:lnTo>
                  <a:lnTo>
                    <a:pt x="96" y="68"/>
                  </a:lnTo>
                  <a:lnTo>
                    <a:pt x="103" y="74"/>
                  </a:lnTo>
                  <a:lnTo>
                    <a:pt x="107" y="79"/>
                  </a:lnTo>
                  <a:lnTo>
                    <a:pt x="108" y="83"/>
                  </a:lnTo>
                  <a:lnTo>
                    <a:pt x="108" y="87"/>
                  </a:lnTo>
                  <a:lnTo>
                    <a:pt x="108" y="87"/>
                  </a:lnTo>
                  <a:lnTo>
                    <a:pt x="108" y="91"/>
                  </a:lnTo>
                  <a:lnTo>
                    <a:pt x="107" y="95"/>
                  </a:lnTo>
                  <a:lnTo>
                    <a:pt x="103" y="102"/>
                  </a:lnTo>
                  <a:lnTo>
                    <a:pt x="96" y="106"/>
                  </a:lnTo>
                  <a:lnTo>
                    <a:pt x="92" y="107"/>
                  </a:lnTo>
                  <a:lnTo>
                    <a:pt x="88" y="109"/>
                  </a:lnTo>
                  <a:lnTo>
                    <a:pt x="88" y="10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55" name="Group 154">
            <a:extLst>
              <a:ext uri="{FF2B5EF4-FFF2-40B4-BE49-F238E27FC236}">
                <a16:creationId xmlns:a16="http://schemas.microsoft.com/office/drawing/2014/main" id="{0D83DEB8-DE8A-482C-8883-C1EA45648CA5}"/>
              </a:ext>
            </a:extLst>
          </p:cNvPr>
          <p:cNvGrpSpPr>
            <a:grpSpLocks noChangeAspect="1"/>
          </p:cNvGrpSpPr>
          <p:nvPr/>
        </p:nvGrpSpPr>
        <p:grpSpPr>
          <a:xfrm>
            <a:off x="6304458" y="2839835"/>
            <a:ext cx="320040" cy="320040"/>
            <a:chOff x="4954588" y="3343275"/>
            <a:chExt cx="522288" cy="522288"/>
          </a:xfrm>
        </p:grpSpPr>
        <p:sp>
          <p:nvSpPr>
            <p:cNvPr id="156" name="Freeform 41">
              <a:extLst>
                <a:ext uri="{FF2B5EF4-FFF2-40B4-BE49-F238E27FC236}">
                  <a16:creationId xmlns:a16="http://schemas.microsoft.com/office/drawing/2014/main" id="{CD937A0B-D30C-464B-9669-8121D357A4CF}"/>
                </a:ext>
              </a:extLst>
            </p:cNvPr>
            <p:cNvSpPr>
              <a:spLocks noEditPoints="1"/>
            </p:cNvSpPr>
            <p:nvPr/>
          </p:nvSpPr>
          <p:spPr bwMode="auto">
            <a:xfrm>
              <a:off x="4954588" y="3343275"/>
              <a:ext cx="522288" cy="522288"/>
            </a:xfrm>
            <a:custGeom>
              <a:avLst/>
              <a:gdLst>
                <a:gd name="T0" fmla="*/ 313 w 658"/>
                <a:gd name="T1" fmla="*/ 658 h 658"/>
                <a:gd name="T2" fmla="*/ 263 w 658"/>
                <a:gd name="T3" fmla="*/ 651 h 658"/>
                <a:gd name="T4" fmla="*/ 201 w 658"/>
                <a:gd name="T5" fmla="*/ 632 h 658"/>
                <a:gd name="T6" fmla="*/ 121 w 658"/>
                <a:gd name="T7" fmla="*/ 583 h 658"/>
                <a:gd name="T8" fmla="*/ 56 w 658"/>
                <a:gd name="T9" fmla="*/ 513 h 658"/>
                <a:gd name="T10" fmla="*/ 14 w 658"/>
                <a:gd name="T11" fmla="*/ 427 h 658"/>
                <a:gd name="T12" fmla="*/ 4 w 658"/>
                <a:gd name="T13" fmla="*/ 378 h 658"/>
                <a:gd name="T14" fmla="*/ 0 w 658"/>
                <a:gd name="T15" fmla="*/ 329 h 658"/>
                <a:gd name="T16" fmla="*/ 2 w 658"/>
                <a:gd name="T17" fmla="*/ 295 h 658"/>
                <a:gd name="T18" fmla="*/ 10 w 658"/>
                <a:gd name="T19" fmla="*/ 247 h 658"/>
                <a:gd name="T20" fmla="*/ 40 w 658"/>
                <a:gd name="T21" fmla="*/ 172 h 658"/>
                <a:gd name="T22" fmla="*/ 96 w 658"/>
                <a:gd name="T23" fmla="*/ 96 h 658"/>
                <a:gd name="T24" fmla="*/ 173 w 658"/>
                <a:gd name="T25" fmla="*/ 40 h 658"/>
                <a:gd name="T26" fmla="*/ 247 w 658"/>
                <a:gd name="T27" fmla="*/ 10 h 658"/>
                <a:gd name="T28" fmla="*/ 295 w 658"/>
                <a:gd name="T29" fmla="*/ 2 h 658"/>
                <a:gd name="T30" fmla="*/ 329 w 658"/>
                <a:gd name="T31" fmla="*/ 0 h 658"/>
                <a:gd name="T32" fmla="*/ 378 w 658"/>
                <a:gd name="T33" fmla="*/ 4 h 658"/>
                <a:gd name="T34" fmla="*/ 427 w 658"/>
                <a:gd name="T35" fmla="*/ 14 h 658"/>
                <a:gd name="T36" fmla="*/ 513 w 658"/>
                <a:gd name="T37" fmla="*/ 56 h 658"/>
                <a:gd name="T38" fmla="*/ 583 w 658"/>
                <a:gd name="T39" fmla="*/ 119 h 658"/>
                <a:gd name="T40" fmla="*/ 632 w 658"/>
                <a:gd name="T41" fmla="*/ 201 h 658"/>
                <a:gd name="T42" fmla="*/ 651 w 658"/>
                <a:gd name="T43" fmla="*/ 263 h 658"/>
                <a:gd name="T44" fmla="*/ 658 w 658"/>
                <a:gd name="T45" fmla="*/ 311 h 658"/>
                <a:gd name="T46" fmla="*/ 658 w 658"/>
                <a:gd name="T47" fmla="*/ 346 h 658"/>
                <a:gd name="T48" fmla="*/ 651 w 658"/>
                <a:gd name="T49" fmla="*/ 395 h 658"/>
                <a:gd name="T50" fmla="*/ 632 w 658"/>
                <a:gd name="T51" fmla="*/ 456 h 658"/>
                <a:gd name="T52" fmla="*/ 583 w 658"/>
                <a:gd name="T53" fmla="*/ 538 h 658"/>
                <a:gd name="T54" fmla="*/ 513 w 658"/>
                <a:gd name="T55" fmla="*/ 601 h 658"/>
                <a:gd name="T56" fmla="*/ 427 w 658"/>
                <a:gd name="T57" fmla="*/ 643 h 658"/>
                <a:gd name="T58" fmla="*/ 378 w 658"/>
                <a:gd name="T59" fmla="*/ 654 h 658"/>
                <a:gd name="T60" fmla="*/ 329 w 658"/>
                <a:gd name="T61" fmla="*/ 658 h 658"/>
                <a:gd name="T62" fmla="*/ 329 w 658"/>
                <a:gd name="T63" fmla="*/ 37 h 658"/>
                <a:gd name="T64" fmla="*/ 243 w 658"/>
                <a:gd name="T65" fmla="*/ 51 h 658"/>
                <a:gd name="T66" fmla="*/ 166 w 658"/>
                <a:gd name="T67" fmla="*/ 87 h 658"/>
                <a:gd name="T68" fmla="*/ 104 w 658"/>
                <a:gd name="T69" fmla="*/ 143 h 658"/>
                <a:gd name="T70" fmla="*/ 61 w 658"/>
                <a:gd name="T71" fmla="*/ 216 h 658"/>
                <a:gd name="T72" fmla="*/ 40 w 658"/>
                <a:gd name="T73" fmla="*/ 299 h 658"/>
                <a:gd name="T74" fmla="*/ 40 w 658"/>
                <a:gd name="T75" fmla="*/ 358 h 658"/>
                <a:gd name="T76" fmla="*/ 61 w 658"/>
                <a:gd name="T77" fmla="*/ 442 h 658"/>
                <a:gd name="T78" fmla="*/ 104 w 658"/>
                <a:gd name="T79" fmla="*/ 514 h 658"/>
                <a:gd name="T80" fmla="*/ 166 w 658"/>
                <a:gd name="T81" fmla="*/ 570 h 658"/>
                <a:gd name="T82" fmla="*/ 243 w 658"/>
                <a:gd name="T83" fmla="*/ 607 h 658"/>
                <a:gd name="T84" fmla="*/ 329 w 658"/>
                <a:gd name="T85" fmla="*/ 620 h 658"/>
                <a:gd name="T86" fmla="*/ 388 w 658"/>
                <a:gd name="T87" fmla="*/ 613 h 658"/>
                <a:gd name="T88" fmla="*/ 467 w 658"/>
                <a:gd name="T89" fmla="*/ 585 h 658"/>
                <a:gd name="T90" fmla="*/ 534 w 658"/>
                <a:gd name="T91" fmla="*/ 534 h 658"/>
                <a:gd name="T92" fmla="*/ 585 w 658"/>
                <a:gd name="T93" fmla="*/ 467 h 658"/>
                <a:gd name="T94" fmla="*/ 615 w 658"/>
                <a:gd name="T95" fmla="*/ 388 h 658"/>
                <a:gd name="T96" fmla="*/ 620 w 658"/>
                <a:gd name="T97" fmla="*/ 329 h 658"/>
                <a:gd name="T98" fmla="*/ 607 w 658"/>
                <a:gd name="T99" fmla="*/ 243 h 658"/>
                <a:gd name="T100" fmla="*/ 570 w 658"/>
                <a:gd name="T101" fmla="*/ 166 h 658"/>
                <a:gd name="T102" fmla="*/ 514 w 658"/>
                <a:gd name="T103" fmla="*/ 104 h 658"/>
                <a:gd name="T104" fmla="*/ 443 w 658"/>
                <a:gd name="T105" fmla="*/ 60 h 658"/>
                <a:gd name="T106" fmla="*/ 358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8"/>
                  </a:lnTo>
                  <a:lnTo>
                    <a:pt x="295" y="656"/>
                  </a:lnTo>
                  <a:lnTo>
                    <a:pt x="279" y="654"/>
                  </a:lnTo>
                  <a:lnTo>
                    <a:pt x="263" y="651"/>
                  </a:lnTo>
                  <a:lnTo>
                    <a:pt x="247" y="647"/>
                  </a:lnTo>
                  <a:lnTo>
                    <a:pt x="232" y="643"/>
                  </a:lnTo>
                  <a:lnTo>
                    <a:pt x="201" y="632"/>
                  </a:lnTo>
                  <a:lnTo>
                    <a:pt x="173" y="617"/>
                  </a:lnTo>
                  <a:lnTo>
                    <a:pt x="145" y="601"/>
                  </a:lnTo>
                  <a:lnTo>
                    <a:pt x="121" y="583"/>
                  </a:lnTo>
                  <a:lnTo>
                    <a:pt x="96" y="561"/>
                  </a:lnTo>
                  <a:lnTo>
                    <a:pt x="75" y="538"/>
                  </a:lnTo>
                  <a:lnTo>
                    <a:pt x="56" y="513"/>
                  </a:lnTo>
                  <a:lnTo>
                    <a:pt x="40" y="486"/>
                  </a:lnTo>
                  <a:lnTo>
                    <a:pt x="27" y="456"/>
                  </a:lnTo>
                  <a:lnTo>
                    <a:pt x="14" y="427"/>
                  </a:lnTo>
                  <a:lnTo>
                    <a:pt x="10" y="411"/>
                  </a:lnTo>
                  <a:lnTo>
                    <a:pt x="6" y="395"/>
                  </a:lnTo>
                  <a:lnTo>
                    <a:pt x="4" y="378"/>
                  </a:lnTo>
                  <a:lnTo>
                    <a:pt x="2" y="362"/>
                  </a:lnTo>
                  <a:lnTo>
                    <a:pt x="1" y="346"/>
                  </a:lnTo>
                  <a:lnTo>
                    <a:pt x="0" y="329"/>
                  </a:lnTo>
                  <a:lnTo>
                    <a:pt x="0" y="329"/>
                  </a:lnTo>
                  <a:lnTo>
                    <a:pt x="1" y="311"/>
                  </a:lnTo>
                  <a:lnTo>
                    <a:pt x="2" y="295"/>
                  </a:lnTo>
                  <a:lnTo>
                    <a:pt x="4" y="279"/>
                  </a:lnTo>
                  <a:lnTo>
                    <a:pt x="6" y="263"/>
                  </a:lnTo>
                  <a:lnTo>
                    <a:pt x="10" y="247"/>
                  </a:lnTo>
                  <a:lnTo>
                    <a:pt x="14" y="231"/>
                  </a:lnTo>
                  <a:lnTo>
                    <a:pt x="27" y="201"/>
                  </a:lnTo>
                  <a:lnTo>
                    <a:pt x="40" y="172"/>
                  </a:lnTo>
                  <a:lnTo>
                    <a:pt x="56" y="145"/>
                  </a:lnTo>
                  <a:lnTo>
                    <a:pt x="75" y="119"/>
                  </a:lnTo>
                  <a:lnTo>
                    <a:pt x="96" y="96"/>
                  </a:lnTo>
                  <a:lnTo>
                    <a:pt x="121" y="75"/>
                  </a:lnTo>
                  <a:lnTo>
                    <a:pt x="145" y="56"/>
                  </a:lnTo>
                  <a:lnTo>
                    <a:pt x="173" y="40"/>
                  </a:lnTo>
                  <a:lnTo>
                    <a:pt x="201" y="26"/>
                  </a:lnTo>
                  <a:lnTo>
                    <a:pt x="232" y="14"/>
                  </a:lnTo>
                  <a:lnTo>
                    <a:pt x="247" y="10"/>
                  </a:lnTo>
                  <a:lnTo>
                    <a:pt x="263" y="6"/>
                  </a:lnTo>
                  <a:lnTo>
                    <a:pt x="279" y="4"/>
                  </a:lnTo>
                  <a:lnTo>
                    <a:pt x="295" y="2"/>
                  </a:lnTo>
                  <a:lnTo>
                    <a:pt x="313" y="1"/>
                  </a:lnTo>
                  <a:lnTo>
                    <a:pt x="329" y="0"/>
                  </a:lnTo>
                  <a:lnTo>
                    <a:pt x="329" y="0"/>
                  </a:lnTo>
                  <a:lnTo>
                    <a:pt x="346" y="1"/>
                  </a:lnTo>
                  <a:lnTo>
                    <a:pt x="362" y="2"/>
                  </a:lnTo>
                  <a:lnTo>
                    <a:pt x="378" y="4"/>
                  </a:lnTo>
                  <a:lnTo>
                    <a:pt x="396" y="6"/>
                  </a:lnTo>
                  <a:lnTo>
                    <a:pt x="411" y="10"/>
                  </a:lnTo>
                  <a:lnTo>
                    <a:pt x="427" y="14"/>
                  </a:lnTo>
                  <a:lnTo>
                    <a:pt x="456" y="26"/>
                  </a:lnTo>
                  <a:lnTo>
                    <a:pt x="486" y="40"/>
                  </a:lnTo>
                  <a:lnTo>
                    <a:pt x="513" y="56"/>
                  </a:lnTo>
                  <a:lnTo>
                    <a:pt x="538" y="75"/>
                  </a:lnTo>
                  <a:lnTo>
                    <a:pt x="561" y="96"/>
                  </a:lnTo>
                  <a:lnTo>
                    <a:pt x="583" y="119"/>
                  </a:lnTo>
                  <a:lnTo>
                    <a:pt x="601" y="145"/>
                  </a:lnTo>
                  <a:lnTo>
                    <a:pt x="617" y="172"/>
                  </a:lnTo>
                  <a:lnTo>
                    <a:pt x="632" y="201"/>
                  </a:lnTo>
                  <a:lnTo>
                    <a:pt x="643" y="231"/>
                  </a:lnTo>
                  <a:lnTo>
                    <a:pt x="647" y="247"/>
                  </a:lnTo>
                  <a:lnTo>
                    <a:pt x="651" y="263"/>
                  </a:lnTo>
                  <a:lnTo>
                    <a:pt x="654" y="279"/>
                  </a:lnTo>
                  <a:lnTo>
                    <a:pt x="656" y="295"/>
                  </a:lnTo>
                  <a:lnTo>
                    <a:pt x="658" y="311"/>
                  </a:lnTo>
                  <a:lnTo>
                    <a:pt x="658" y="329"/>
                  </a:lnTo>
                  <a:lnTo>
                    <a:pt x="658" y="329"/>
                  </a:lnTo>
                  <a:lnTo>
                    <a:pt x="658" y="346"/>
                  </a:lnTo>
                  <a:lnTo>
                    <a:pt x="656" y="362"/>
                  </a:lnTo>
                  <a:lnTo>
                    <a:pt x="654" y="378"/>
                  </a:lnTo>
                  <a:lnTo>
                    <a:pt x="651" y="395"/>
                  </a:lnTo>
                  <a:lnTo>
                    <a:pt x="647" y="411"/>
                  </a:lnTo>
                  <a:lnTo>
                    <a:pt x="643" y="427"/>
                  </a:lnTo>
                  <a:lnTo>
                    <a:pt x="632" y="456"/>
                  </a:lnTo>
                  <a:lnTo>
                    <a:pt x="617" y="486"/>
                  </a:lnTo>
                  <a:lnTo>
                    <a:pt x="601" y="513"/>
                  </a:lnTo>
                  <a:lnTo>
                    <a:pt x="583" y="538"/>
                  </a:lnTo>
                  <a:lnTo>
                    <a:pt x="561" y="561"/>
                  </a:lnTo>
                  <a:lnTo>
                    <a:pt x="538" y="583"/>
                  </a:lnTo>
                  <a:lnTo>
                    <a:pt x="513" y="601"/>
                  </a:lnTo>
                  <a:lnTo>
                    <a:pt x="486" y="617"/>
                  </a:lnTo>
                  <a:lnTo>
                    <a:pt x="456" y="632"/>
                  </a:lnTo>
                  <a:lnTo>
                    <a:pt x="427" y="643"/>
                  </a:lnTo>
                  <a:lnTo>
                    <a:pt x="411" y="647"/>
                  </a:lnTo>
                  <a:lnTo>
                    <a:pt x="396" y="651"/>
                  </a:lnTo>
                  <a:lnTo>
                    <a:pt x="378" y="654"/>
                  </a:lnTo>
                  <a:lnTo>
                    <a:pt x="362" y="656"/>
                  </a:lnTo>
                  <a:lnTo>
                    <a:pt x="346" y="658"/>
                  </a:lnTo>
                  <a:lnTo>
                    <a:pt x="329" y="658"/>
                  </a:lnTo>
                  <a:lnTo>
                    <a:pt x="329" y="658"/>
                  </a:lnTo>
                  <a:close/>
                  <a:moveTo>
                    <a:pt x="329" y="37"/>
                  </a:moveTo>
                  <a:lnTo>
                    <a:pt x="329" y="37"/>
                  </a:lnTo>
                  <a:lnTo>
                    <a:pt x="299" y="39"/>
                  </a:lnTo>
                  <a:lnTo>
                    <a:pt x="271" y="44"/>
                  </a:lnTo>
                  <a:lnTo>
                    <a:pt x="243" y="51"/>
                  </a:lnTo>
                  <a:lnTo>
                    <a:pt x="216" y="60"/>
                  </a:lnTo>
                  <a:lnTo>
                    <a:pt x="190" y="72"/>
                  </a:lnTo>
                  <a:lnTo>
                    <a:pt x="166" y="87"/>
                  </a:lnTo>
                  <a:lnTo>
                    <a:pt x="143" y="104"/>
                  </a:lnTo>
                  <a:lnTo>
                    <a:pt x="123" y="123"/>
                  </a:lnTo>
                  <a:lnTo>
                    <a:pt x="104" y="143"/>
                  </a:lnTo>
                  <a:lnTo>
                    <a:pt x="88" y="166"/>
                  </a:lnTo>
                  <a:lnTo>
                    <a:pt x="74" y="190"/>
                  </a:lnTo>
                  <a:lnTo>
                    <a:pt x="61" y="216"/>
                  </a:lnTo>
                  <a:lnTo>
                    <a:pt x="51" y="243"/>
                  </a:lnTo>
                  <a:lnTo>
                    <a:pt x="44" y="270"/>
                  </a:lnTo>
                  <a:lnTo>
                    <a:pt x="40" y="299"/>
                  </a:lnTo>
                  <a:lnTo>
                    <a:pt x="37" y="329"/>
                  </a:lnTo>
                  <a:lnTo>
                    <a:pt x="37" y="329"/>
                  </a:lnTo>
                  <a:lnTo>
                    <a:pt x="40" y="358"/>
                  </a:lnTo>
                  <a:lnTo>
                    <a:pt x="44" y="388"/>
                  </a:lnTo>
                  <a:lnTo>
                    <a:pt x="51" y="415"/>
                  </a:lnTo>
                  <a:lnTo>
                    <a:pt x="61" y="442"/>
                  </a:lnTo>
                  <a:lnTo>
                    <a:pt x="74" y="467"/>
                  </a:lnTo>
                  <a:lnTo>
                    <a:pt x="88" y="491"/>
                  </a:lnTo>
                  <a:lnTo>
                    <a:pt x="104" y="514"/>
                  </a:lnTo>
                  <a:lnTo>
                    <a:pt x="123" y="534"/>
                  </a:lnTo>
                  <a:lnTo>
                    <a:pt x="143" y="553"/>
                  </a:lnTo>
                  <a:lnTo>
                    <a:pt x="166" y="570"/>
                  </a:lnTo>
                  <a:lnTo>
                    <a:pt x="190" y="585"/>
                  </a:lnTo>
                  <a:lnTo>
                    <a:pt x="216" y="597"/>
                  </a:lnTo>
                  <a:lnTo>
                    <a:pt x="243" y="607"/>
                  </a:lnTo>
                  <a:lnTo>
                    <a:pt x="271" y="613"/>
                  </a:lnTo>
                  <a:lnTo>
                    <a:pt x="299" y="619"/>
                  </a:lnTo>
                  <a:lnTo>
                    <a:pt x="329" y="620"/>
                  </a:lnTo>
                  <a:lnTo>
                    <a:pt x="329" y="620"/>
                  </a:lnTo>
                  <a:lnTo>
                    <a:pt x="358" y="619"/>
                  </a:lnTo>
                  <a:lnTo>
                    <a:pt x="388" y="613"/>
                  </a:lnTo>
                  <a:lnTo>
                    <a:pt x="416" y="607"/>
                  </a:lnTo>
                  <a:lnTo>
                    <a:pt x="443" y="597"/>
                  </a:lnTo>
                  <a:lnTo>
                    <a:pt x="467" y="585"/>
                  </a:lnTo>
                  <a:lnTo>
                    <a:pt x="491" y="570"/>
                  </a:lnTo>
                  <a:lnTo>
                    <a:pt x="514" y="553"/>
                  </a:lnTo>
                  <a:lnTo>
                    <a:pt x="534" y="534"/>
                  </a:lnTo>
                  <a:lnTo>
                    <a:pt x="553" y="514"/>
                  </a:lnTo>
                  <a:lnTo>
                    <a:pt x="570" y="491"/>
                  </a:lnTo>
                  <a:lnTo>
                    <a:pt x="585" y="467"/>
                  </a:lnTo>
                  <a:lnTo>
                    <a:pt x="597" y="442"/>
                  </a:lnTo>
                  <a:lnTo>
                    <a:pt x="607" y="415"/>
                  </a:lnTo>
                  <a:lnTo>
                    <a:pt x="615" y="388"/>
                  </a:lnTo>
                  <a:lnTo>
                    <a:pt x="619" y="358"/>
                  </a:lnTo>
                  <a:lnTo>
                    <a:pt x="620" y="329"/>
                  </a:lnTo>
                  <a:lnTo>
                    <a:pt x="620" y="329"/>
                  </a:lnTo>
                  <a:lnTo>
                    <a:pt x="619" y="299"/>
                  </a:lnTo>
                  <a:lnTo>
                    <a:pt x="615" y="270"/>
                  </a:lnTo>
                  <a:lnTo>
                    <a:pt x="607" y="243"/>
                  </a:lnTo>
                  <a:lnTo>
                    <a:pt x="597" y="216"/>
                  </a:lnTo>
                  <a:lnTo>
                    <a:pt x="585" y="190"/>
                  </a:lnTo>
                  <a:lnTo>
                    <a:pt x="570" y="166"/>
                  </a:lnTo>
                  <a:lnTo>
                    <a:pt x="553" y="143"/>
                  </a:lnTo>
                  <a:lnTo>
                    <a:pt x="534" y="123"/>
                  </a:lnTo>
                  <a:lnTo>
                    <a:pt x="514" y="104"/>
                  </a:lnTo>
                  <a:lnTo>
                    <a:pt x="491" y="87"/>
                  </a:lnTo>
                  <a:lnTo>
                    <a:pt x="467" y="72"/>
                  </a:lnTo>
                  <a:lnTo>
                    <a:pt x="443" y="60"/>
                  </a:lnTo>
                  <a:lnTo>
                    <a:pt x="416" y="51"/>
                  </a:lnTo>
                  <a:lnTo>
                    <a:pt x="388" y="44"/>
                  </a:lnTo>
                  <a:lnTo>
                    <a:pt x="358" y="39"/>
                  </a:lnTo>
                  <a:lnTo>
                    <a:pt x="329" y="37"/>
                  </a:lnTo>
                  <a:lnTo>
                    <a:pt x="329" y="3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57" name="Freeform 136">
              <a:extLst>
                <a:ext uri="{FF2B5EF4-FFF2-40B4-BE49-F238E27FC236}">
                  <a16:creationId xmlns:a16="http://schemas.microsoft.com/office/drawing/2014/main" id="{3148D365-83AF-4208-9922-D365103DDADE}"/>
                </a:ext>
              </a:extLst>
            </p:cNvPr>
            <p:cNvSpPr>
              <a:spLocks/>
            </p:cNvSpPr>
            <p:nvPr/>
          </p:nvSpPr>
          <p:spPr bwMode="auto">
            <a:xfrm>
              <a:off x="5173663" y="3470275"/>
              <a:ext cx="76200" cy="41275"/>
            </a:xfrm>
            <a:custGeom>
              <a:avLst/>
              <a:gdLst>
                <a:gd name="T0" fmla="*/ 6 w 96"/>
                <a:gd name="T1" fmla="*/ 0 h 53"/>
                <a:gd name="T2" fmla="*/ 6 w 96"/>
                <a:gd name="T3" fmla="*/ 0 h 53"/>
                <a:gd name="T4" fmla="*/ 3 w 96"/>
                <a:gd name="T5" fmla="*/ 0 h 53"/>
                <a:gd name="T6" fmla="*/ 2 w 96"/>
                <a:gd name="T7" fmla="*/ 1 h 53"/>
                <a:gd name="T8" fmla="*/ 0 w 96"/>
                <a:gd name="T9" fmla="*/ 3 h 53"/>
                <a:gd name="T10" fmla="*/ 0 w 96"/>
                <a:gd name="T11" fmla="*/ 5 h 53"/>
                <a:gd name="T12" fmla="*/ 0 w 96"/>
                <a:gd name="T13" fmla="*/ 47 h 53"/>
                <a:gd name="T14" fmla="*/ 0 w 96"/>
                <a:gd name="T15" fmla="*/ 47 h 53"/>
                <a:gd name="T16" fmla="*/ 0 w 96"/>
                <a:gd name="T17" fmla="*/ 50 h 53"/>
                <a:gd name="T18" fmla="*/ 2 w 96"/>
                <a:gd name="T19" fmla="*/ 51 h 53"/>
                <a:gd name="T20" fmla="*/ 3 w 96"/>
                <a:gd name="T21" fmla="*/ 53 h 53"/>
                <a:gd name="T22" fmla="*/ 6 w 96"/>
                <a:gd name="T23" fmla="*/ 53 h 53"/>
                <a:gd name="T24" fmla="*/ 90 w 96"/>
                <a:gd name="T25" fmla="*/ 53 h 53"/>
                <a:gd name="T26" fmla="*/ 90 w 96"/>
                <a:gd name="T27" fmla="*/ 53 h 53"/>
                <a:gd name="T28" fmla="*/ 92 w 96"/>
                <a:gd name="T29" fmla="*/ 53 h 53"/>
                <a:gd name="T30" fmla="*/ 93 w 96"/>
                <a:gd name="T31" fmla="*/ 51 h 53"/>
                <a:gd name="T32" fmla="*/ 94 w 96"/>
                <a:gd name="T33" fmla="*/ 50 h 53"/>
                <a:gd name="T34" fmla="*/ 96 w 96"/>
                <a:gd name="T35" fmla="*/ 47 h 53"/>
                <a:gd name="T36" fmla="*/ 96 w 96"/>
                <a:gd name="T37" fmla="*/ 5 h 53"/>
                <a:gd name="T38" fmla="*/ 96 w 96"/>
                <a:gd name="T39" fmla="*/ 5 h 53"/>
                <a:gd name="T40" fmla="*/ 94 w 96"/>
                <a:gd name="T41" fmla="*/ 3 h 53"/>
                <a:gd name="T42" fmla="*/ 93 w 96"/>
                <a:gd name="T43" fmla="*/ 1 h 53"/>
                <a:gd name="T44" fmla="*/ 92 w 96"/>
                <a:gd name="T45" fmla="*/ 0 h 53"/>
                <a:gd name="T46" fmla="*/ 90 w 96"/>
                <a:gd name="T47" fmla="*/ 0 h 53"/>
                <a:gd name="T48" fmla="*/ 6 w 96"/>
                <a:gd name="T49"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6" h="53">
                  <a:moveTo>
                    <a:pt x="6" y="0"/>
                  </a:moveTo>
                  <a:lnTo>
                    <a:pt x="6" y="0"/>
                  </a:lnTo>
                  <a:lnTo>
                    <a:pt x="3" y="0"/>
                  </a:lnTo>
                  <a:lnTo>
                    <a:pt x="2" y="1"/>
                  </a:lnTo>
                  <a:lnTo>
                    <a:pt x="0" y="3"/>
                  </a:lnTo>
                  <a:lnTo>
                    <a:pt x="0" y="5"/>
                  </a:lnTo>
                  <a:lnTo>
                    <a:pt x="0" y="47"/>
                  </a:lnTo>
                  <a:lnTo>
                    <a:pt x="0" y="47"/>
                  </a:lnTo>
                  <a:lnTo>
                    <a:pt x="0" y="50"/>
                  </a:lnTo>
                  <a:lnTo>
                    <a:pt x="2" y="51"/>
                  </a:lnTo>
                  <a:lnTo>
                    <a:pt x="3" y="53"/>
                  </a:lnTo>
                  <a:lnTo>
                    <a:pt x="6" y="53"/>
                  </a:lnTo>
                  <a:lnTo>
                    <a:pt x="90" y="53"/>
                  </a:lnTo>
                  <a:lnTo>
                    <a:pt x="90" y="53"/>
                  </a:lnTo>
                  <a:lnTo>
                    <a:pt x="92" y="53"/>
                  </a:lnTo>
                  <a:lnTo>
                    <a:pt x="93" y="51"/>
                  </a:lnTo>
                  <a:lnTo>
                    <a:pt x="94" y="50"/>
                  </a:lnTo>
                  <a:lnTo>
                    <a:pt x="96" y="47"/>
                  </a:lnTo>
                  <a:lnTo>
                    <a:pt x="96" y="5"/>
                  </a:lnTo>
                  <a:lnTo>
                    <a:pt x="96" y="5"/>
                  </a:lnTo>
                  <a:lnTo>
                    <a:pt x="94" y="3"/>
                  </a:lnTo>
                  <a:lnTo>
                    <a:pt x="93" y="1"/>
                  </a:lnTo>
                  <a:lnTo>
                    <a:pt x="92" y="0"/>
                  </a:lnTo>
                  <a:lnTo>
                    <a:pt x="90" y="0"/>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58" name="Freeform 137">
              <a:extLst>
                <a:ext uri="{FF2B5EF4-FFF2-40B4-BE49-F238E27FC236}">
                  <a16:creationId xmlns:a16="http://schemas.microsoft.com/office/drawing/2014/main" id="{6ECCEB27-3DCF-4DB9-92A0-27EE37E51D51}"/>
                </a:ext>
              </a:extLst>
            </p:cNvPr>
            <p:cNvSpPr>
              <a:spLocks/>
            </p:cNvSpPr>
            <p:nvPr/>
          </p:nvSpPr>
          <p:spPr bwMode="auto">
            <a:xfrm>
              <a:off x="5140326" y="3524250"/>
              <a:ext cx="142875" cy="125413"/>
            </a:xfrm>
            <a:custGeom>
              <a:avLst/>
              <a:gdLst>
                <a:gd name="T0" fmla="*/ 180 w 180"/>
                <a:gd name="T1" fmla="*/ 142 h 158"/>
                <a:gd name="T2" fmla="*/ 180 w 180"/>
                <a:gd name="T3" fmla="*/ 142 h 158"/>
                <a:gd name="T4" fmla="*/ 179 w 180"/>
                <a:gd name="T5" fmla="*/ 131 h 158"/>
                <a:gd name="T6" fmla="*/ 176 w 180"/>
                <a:gd name="T7" fmla="*/ 121 h 158"/>
                <a:gd name="T8" fmla="*/ 171 w 180"/>
                <a:gd name="T9" fmla="*/ 111 h 158"/>
                <a:gd name="T10" fmla="*/ 166 w 180"/>
                <a:gd name="T11" fmla="*/ 103 h 158"/>
                <a:gd name="T12" fmla="*/ 157 w 180"/>
                <a:gd name="T13" fmla="*/ 96 h 158"/>
                <a:gd name="T14" fmla="*/ 148 w 180"/>
                <a:gd name="T15" fmla="*/ 90 h 158"/>
                <a:gd name="T16" fmla="*/ 139 w 180"/>
                <a:gd name="T17" fmla="*/ 86 h 158"/>
                <a:gd name="T18" fmla="*/ 128 w 180"/>
                <a:gd name="T19" fmla="*/ 84 h 158"/>
                <a:gd name="T20" fmla="*/ 128 w 180"/>
                <a:gd name="T21" fmla="*/ 0 h 158"/>
                <a:gd name="T22" fmla="*/ 54 w 180"/>
                <a:gd name="T23" fmla="*/ 0 h 158"/>
                <a:gd name="T24" fmla="*/ 54 w 180"/>
                <a:gd name="T25" fmla="*/ 84 h 158"/>
                <a:gd name="T26" fmla="*/ 54 w 180"/>
                <a:gd name="T27" fmla="*/ 84 h 158"/>
                <a:gd name="T28" fmla="*/ 43 w 180"/>
                <a:gd name="T29" fmla="*/ 86 h 158"/>
                <a:gd name="T30" fmla="*/ 33 w 180"/>
                <a:gd name="T31" fmla="*/ 90 h 158"/>
                <a:gd name="T32" fmla="*/ 25 w 180"/>
                <a:gd name="T33" fmla="*/ 96 h 158"/>
                <a:gd name="T34" fmla="*/ 16 w 180"/>
                <a:gd name="T35" fmla="*/ 103 h 158"/>
                <a:gd name="T36" fmla="*/ 10 w 180"/>
                <a:gd name="T37" fmla="*/ 111 h 158"/>
                <a:gd name="T38" fmla="*/ 4 w 180"/>
                <a:gd name="T39" fmla="*/ 121 h 158"/>
                <a:gd name="T40" fmla="*/ 2 w 180"/>
                <a:gd name="T41" fmla="*/ 131 h 158"/>
                <a:gd name="T42" fmla="*/ 0 w 180"/>
                <a:gd name="T43" fmla="*/ 142 h 158"/>
                <a:gd name="T44" fmla="*/ 0 w 180"/>
                <a:gd name="T45" fmla="*/ 158 h 158"/>
                <a:gd name="T46" fmla="*/ 180 w 180"/>
                <a:gd name="T47" fmla="*/ 158 h 158"/>
                <a:gd name="T48" fmla="*/ 180 w 180"/>
                <a:gd name="T49" fmla="*/ 14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0" h="158">
                  <a:moveTo>
                    <a:pt x="180" y="142"/>
                  </a:moveTo>
                  <a:lnTo>
                    <a:pt x="180" y="142"/>
                  </a:lnTo>
                  <a:lnTo>
                    <a:pt x="179" y="131"/>
                  </a:lnTo>
                  <a:lnTo>
                    <a:pt x="176" y="121"/>
                  </a:lnTo>
                  <a:lnTo>
                    <a:pt x="171" y="111"/>
                  </a:lnTo>
                  <a:lnTo>
                    <a:pt x="166" y="103"/>
                  </a:lnTo>
                  <a:lnTo>
                    <a:pt x="157" y="96"/>
                  </a:lnTo>
                  <a:lnTo>
                    <a:pt x="148" y="90"/>
                  </a:lnTo>
                  <a:lnTo>
                    <a:pt x="139" y="86"/>
                  </a:lnTo>
                  <a:lnTo>
                    <a:pt x="128" y="84"/>
                  </a:lnTo>
                  <a:lnTo>
                    <a:pt x="128" y="0"/>
                  </a:lnTo>
                  <a:lnTo>
                    <a:pt x="54" y="0"/>
                  </a:lnTo>
                  <a:lnTo>
                    <a:pt x="54" y="84"/>
                  </a:lnTo>
                  <a:lnTo>
                    <a:pt x="54" y="84"/>
                  </a:lnTo>
                  <a:lnTo>
                    <a:pt x="43" y="86"/>
                  </a:lnTo>
                  <a:lnTo>
                    <a:pt x="33" y="90"/>
                  </a:lnTo>
                  <a:lnTo>
                    <a:pt x="25" y="96"/>
                  </a:lnTo>
                  <a:lnTo>
                    <a:pt x="16" y="103"/>
                  </a:lnTo>
                  <a:lnTo>
                    <a:pt x="10" y="111"/>
                  </a:lnTo>
                  <a:lnTo>
                    <a:pt x="4" y="121"/>
                  </a:lnTo>
                  <a:lnTo>
                    <a:pt x="2" y="131"/>
                  </a:lnTo>
                  <a:lnTo>
                    <a:pt x="0" y="142"/>
                  </a:lnTo>
                  <a:lnTo>
                    <a:pt x="0" y="158"/>
                  </a:lnTo>
                  <a:lnTo>
                    <a:pt x="180" y="158"/>
                  </a:lnTo>
                  <a:lnTo>
                    <a:pt x="180" y="1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59" name="Freeform 138">
              <a:extLst>
                <a:ext uri="{FF2B5EF4-FFF2-40B4-BE49-F238E27FC236}">
                  <a16:creationId xmlns:a16="http://schemas.microsoft.com/office/drawing/2014/main" id="{45B9EB38-7D26-4CF8-AF96-CAEE52B74642}"/>
                </a:ext>
              </a:extLst>
            </p:cNvPr>
            <p:cNvSpPr>
              <a:spLocks/>
            </p:cNvSpPr>
            <p:nvPr/>
          </p:nvSpPr>
          <p:spPr bwMode="auto">
            <a:xfrm>
              <a:off x="5140326" y="3662363"/>
              <a:ext cx="142875" cy="74613"/>
            </a:xfrm>
            <a:custGeom>
              <a:avLst/>
              <a:gdLst>
                <a:gd name="T0" fmla="*/ 6 w 180"/>
                <a:gd name="T1" fmla="*/ 94 h 94"/>
                <a:gd name="T2" fmla="*/ 175 w 180"/>
                <a:gd name="T3" fmla="*/ 94 h 94"/>
                <a:gd name="T4" fmla="*/ 175 w 180"/>
                <a:gd name="T5" fmla="*/ 94 h 94"/>
                <a:gd name="T6" fmla="*/ 178 w 180"/>
                <a:gd name="T7" fmla="*/ 94 h 94"/>
                <a:gd name="T8" fmla="*/ 179 w 180"/>
                <a:gd name="T9" fmla="*/ 93 h 94"/>
                <a:gd name="T10" fmla="*/ 180 w 180"/>
                <a:gd name="T11" fmla="*/ 92 h 94"/>
                <a:gd name="T12" fmla="*/ 180 w 180"/>
                <a:gd name="T13" fmla="*/ 90 h 94"/>
                <a:gd name="T14" fmla="*/ 180 w 180"/>
                <a:gd name="T15" fmla="*/ 0 h 94"/>
                <a:gd name="T16" fmla="*/ 0 w 180"/>
                <a:gd name="T17" fmla="*/ 0 h 94"/>
                <a:gd name="T18" fmla="*/ 0 w 180"/>
                <a:gd name="T19" fmla="*/ 90 h 94"/>
                <a:gd name="T20" fmla="*/ 0 w 180"/>
                <a:gd name="T21" fmla="*/ 90 h 94"/>
                <a:gd name="T22" fmla="*/ 2 w 180"/>
                <a:gd name="T23" fmla="*/ 92 h 94"/>
                <a:gd name="T24" fmla="*/ 3 w 180"/>
                <a:gd name="T25" fmla="*/ 93 h 94"/>
                <a:gd name="T26" fmla="*/ 4 w 180"/>
                <a:gd name="T27" fmla="*/ 94 h 94"/>
                <a:gd name="T28" fmla="*/ 6 w 180"/>
                <a:gd name="T29" fmla="*/ 94 h 94"/>
                <a:gd name="T30" fmla="*/ 6 w 180"/>
                <a:gd name="T31"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0" h="94">
                  <a:moveTo>
                    <a:pt x="6" y="94"/>
                  </a:moveTo>
                  <a:lnTo>
                    <a:pt x="175" y="94"/>
                  </a:lnTo>
                  <a:lnTo>
                    <a:pt x="175" y="94"/>
                  </a:lnTo>
                  <a:lnTo>
                    <a:pt x="178" y="94"/>
                  </a:lnTo>
                  <a:lnTo>
                    <a:pt x="179" y="93"/>
                  </a:lnTo>
                  <a:lnTo>
                    <a:pt x="180" y="92"/>
                  </a:lnTo>
                  <a:lnTo>
                    <a:pt x="180" y="90"/>
                  </a:lnTo>
                  <a:lnTo>
                    <a:pt x="180" y="0"/>
                  </a:lnTo>
                  <a:lnTo>
                    <a:pt x="0" y="0"/>
                  </a:lnTo>
                  <a:lnTo>
                    <a:pt x="0" y="90"/>
                  </a:lnTo>
                  <a:lnTo>
                    <a:pt x="0" y="90"/>
                  </a:lnTo>
                  <a:lnTo>
                    <a:pt x="2" y="92"/>
                  </a:lnTo>
                  <a:lnTo>
                    <a:pt x="3" y="93"/>
                  </a:lnTo>
                  <a:lnTo>
                    <a:pt x="4" y="94"/>
                  </a:lnTo>
                  <a:lnTo>
                    <a:pt x="6" y="94"/>
                  </a:lnTo>
                  <a:lnTo>
                    <a:pt x="6" y="9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60" name="Group 159">
            <a:extLst>
              <a:ext uri="{FF2B5EF4-FFF2-40B4-BE49-F238E27FC236}">
                <a16:creationId xmlns:a16="http://schemas.microsoft.com/office/drawing/2014/main" id="{3FC1BB3E-4740-4B8E-BDC2-5528326FE9D5}"/>
              </a:ext>
            </a:extLst>
          </p:cNvPr>
          <p:cNvGrpSpPr>
            <a:grpSpLocks noChangeAspect="1"/>
          </p:cNvGrpSpPr>
          <p:nvPr/>
        </p:nvGrpSpPr>
        <p:grpSpPr>
          <a:xfrm>
            <a:off x="1910464" y="5019339"/>
            <a:ext cx="319070" cy="320040"/>
            <a:chOff x="4954588" y="1664335"/>
            <a:chExt cx="522288" cy="523875"/>
          </a:xfrm>
        </p:grpSpPr>
        <p:sp>
          <p:nvSpPr>
            <p:cNvPr id="161" name="Freeform 22">
              <a:extLst>
                <a:ext uri="{FF2B5EF4-FFF2-40B4-BE49-F238E27FC236}">
                  <a16:creationId xmlns:a16="http://schemas.microsoft.com/office/drawing/2014/main" id="{6B5E5860-F5DA-463A-994B-D70296CF403F}"/>
                </a:ext>
              </a:extLst>
            </p:cNvPr>
            <p:cNvSpPr>
              <a:spLocks noEditPoints="1"/>
            </p:cNvSpPr>
            <p:nvPr/>
          </p:nvSpPr>
          <p:spPr bwMode="auto">
            <a:xfrm>
              <a:off x="4954588" y="1664335"/>
              <a:ext cx="522288" cy="523875"/>
            </a:xfrm>
            <a:custGeom>
              <a:avLst/>
              <a:gdLst>
                <a:gd name="T0" fmla="*/ 312 w 658"/>
                <a:gd name="T1" fmla="*/ 659 h 659"/>
                <a:gd name="T2" fmla="*/ 262 w 658"/>
                <a:gd name="T3" fmla="*/ 652 h 659"/>
                <a:gd name="T4" fmla="*/ 202 w 658"/>
                <a:gd name="T5" fmla="*/ 634 h 659"/>
                <a:gd name="T6" fmla="*/ 120 w 658"/>
                <a:gd name="T7" fmla="*/ 584 h 659"/>
                <a:gd name="T8" fmla="*/ 56 w 658"/>
                <a:gd name="T9" fmla="*/ 514 h 659"/>
                <a:gd name="T10" fmla="*/ 15 w 658"/>
                <a:gd name="T11" fmla="*/ 428 h 659"/>
                <a:gd name="T12" fmla="*/ 4 w 658"/>
                <a:gd name="T13" fmla="*/ 380 h 659"/>
                <a:gd name="T14" fmla="*/ 0 w 658"/>
                <a:gd name="T15" fmla="*/ 330 h 659"/>
                <a:gd name="T16" fmla="*/ 1 w 658"/>
                <a:gd name="T17" fmla="*/ 296 h 659"/>
                <a:gd name="T18" fmla="*/ 11 w 658"/>
                <a:gd name="T19" fmla="*/ 248 h 659"/>
                <a:gd name="T20" fmla="*/ 40 w 658"/>
                <a:gd name="T21" fmla="*/ 174 h 659"/>
                <a:gd name="T22" fmla="*/ 97 w 658"/>
                <a:gd name="T23" fmla="*/ 97 h 659"/>
                <a:gd name="T24" fmla="*/ 172 w 658"/>
                <a:gd name="T25" fmla="*/ 41 h 659"/>
                <a:gd name="T26" fmla="*/ 247 w 658"/>
                <a:gd name="T27" fmla="*/ 11 h 659"/>
                <a:gd name="T28" fmla="*/ 296 w 658"/>
                <a:gd name="T29" fmla="*/ 3 h 659"/>
                <a:gd name="T30" fmla="*/ 329 w 658"/>
                <a:gd name="T31" fmla="*/ 0 h 659"/>
                <a:gd name="T32" fmla="*/ 379 w 658"/>
                <a:gd name="T33" fmla="*/ 5 h 659"/>
                <a:gd name="T34" fmla="*/ 426 w 658"/>
                <a:gd name="T35" fmla="*/ 15 h 659"/>
                <a:gd name="T36" fmla="*/ 513 w 658"/>
                <a:gd name="T37" fmla="*/ 57 h 659"/>
                <a:gd name="T38" fmla="*/ 583 w 658"/>
                <a:gd name="T39" fmla="*/ 121 h 659"/>
                <a:gd name="T40" fmla="*/ 632 w 658"/>
                <a:gd name="T41" fmla="*/ 202 h 659"/>
                <a:gd name="T42" fmla="*/ 652 w 658"/>
                <a:gd name="T43" fmla="*/ 264 h 659"/>
                <a:gd name="T44" fmla="*/ 657 w 658"/>
                <a:gd name="T45" fmla="*/ 314 h 659"/>
                <a:gd name="T46" fmla="*/ 657 w 658"/>
                <a:gd name="T47" fmla="*/ 347 h 659"/>
                <a:gd name="T48" fmla="*/ 652 w 658"/>
                <a:gd name="T49" fmla="*/ 396 h 659"/>
                <a:gd name="T50" fmla="*/ 632 w 658"/>
                <a:gd name="T51" fmla="*/ 457 h 659"/>
                <a:gd name="T52" fmla="*/ 583 w 658"/>
                <a:gd name="T53" fmla="*/ 539 h 659"/>
                <a:gd name="T54" fmla="*/ 513 w 658"/>
                <a:gd name="T55" fmla="*/ 603 h 659"/>
                <a:gd name="T56" fmla="*/ 426 w 658"/>
                <a:gd name="T57" fmla="*/ 644 h 659"/>
                <a:gd name="T58" fmla="*/ 379 w 658"/>
                <a:gd name="T59" fmla="*/ 655 h 659"/>
                <a:gd name="T60" fmla="*/ 329 w 658"/>
                <a:gd name="T61" fmla="*/ 659 h 659"/>
                <a:gd name="T62" fmla="*/ 329 w 658"/>
                <a:gd name="T63" fmla="*/ 38 h 659"/>
                <a:gd name="T64" fmla="*/ 242 w 658"/>
                <a:gd name="T65" fmla="*/ 52 h 659"/>
                <a:gd name="T66" fmla="*/ 167 w 658"/>
                <a:gd name="T67" fmla="*/ 89 h 659"/>
                <a:gd name="T68" fmla="*/ 105 w 658"/>
                <a:gd name="T69" fmla="*/ 144 h 659"/>
                <a:gd name="T70" fmla="*/ 60 w 658"/>
                <a:gd name="T71" fmla="*/ 217 h 659"/>
                <a:gd name="T72" fmla="*/ 39 w 658"/>
                <a:gd name="T73" fmla="*/ 300 h 659"/>
                <a:gd name="T74" fmla="*/ 39 w 658"/>
                <a:gd name="T75" fmla="*/ 359 h 659"/>
                <a:gd name="T76" fmla="*/ 60 w 658"/>
                <a:gd name="T77" fmla="*/ 444 h 659"/>
                <a:gd name="T78" fmla="*/ 105 w 658"/>
                <a:gd name="T79" fmla="*/ 515 h 659"/>
                <a:gd name="T80" fmla="*/ 167 w 658"/>
                <a:gd name="T81" fmla="*/ 572 h 659"/>
                <a:gd name="T82" fmla="*/ 242 w 658"/>
                <a:gd name="T83" fmla="*/ 608 h 659"/>
                <a:gd name="T84" fmla="*/ 329 w 658"/>
                <a:gd name="T85" fmla="*/ 621 h 659"/>
                <a:gd name="T86" fmla="*/ 387 w 658"/>
                <a:gd name="T87" fmla="*/ 616 h 659"/>
                <a:gd name="T88" fmla="*/ 468 w 658"/>
                <a:gd name="T89" fmla="*/ 586 h 659"/>
                <a:gd name="T90" fmla="*/ 535 w 658"/>
                <a:gd name="T91" fmla="*/ 535 h 659"/>
                <a:gd name="T92" fmla="*/ 585 w 658"/>
                <a:gd name="T93" fmla="*/ 468 h 659"/>
                <a:gd name="T94" fmla="*/ 614 w 658"/>
                <a:gd name="T95" fmla="*/ 389 h 659"/>
                <a:gd name="T96" fmla="*/ 621 w 658"/>
                <a:gd name="T97" fmla="*/ 330 h 659"/>
                <a:gd name="T98" fmla="*/ 607 w 658"/>
                <a:gd name="T99" fmla="*/ 244 h 659"/>
                <a:gd name="T100" fmla="*/ 570 w 658"/>
                <a:gd name="T101" fmla="*/ 167 h 659"/>
                <a:gd name="T102" fmla="*/ 515 w 658"/>
                <a:gd name="T103" fmla="*/ 105 h 659"/>
                <a:gd name="T104" fmla="*/ 442 w 658"/>
                <a:gd name="T105" fmla="*/ 62 h 659"/>
                <a:gd name="T106" fmla="*/ 359 w 658"/>
                <a:gd name="T107" fmla="*/ 41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2" y="659"/>
                  </a:lnTo>
                  <a:lnTo>
                    <a:pt x="296" y="658"/>
                  </a:lnTo>
                  <a:lnTo>
                    <a:pt x="279" y="655"/>
                  </a:lnTo>
                  <a:lnTo>
                    <a:pt x="262" y="652"/>
                  </a:lnTo>
                  <a:lnTo>
                    <a:pt x="247" y="648"/>
                  </a:lnTo>
                  <a:lnTo>
                    <a:pt x="231" y="644"/>
                  </a:lnTo>
                  <a:lnTo>
                    <a:pt x="202" y="634"/>
                  </a:lnTo>
                  <a:lnTo>
                    <a:pt x="172" y="619"/>
                  </a:lnTo>
                  <a:lnTo>
                    <a:pt x="145" y="603"/>
                  </a:lnTo>
                  <a:lnTo>
                    <a:pt x="120" y="584"/>
                  </a:lnTo>
                  <a:lnTo>
                    <a:pt x="97" y="562"/>
                  </a:lnTo>
                  <a:lnTo>
                    <a:pt x="75" y="539"/>
                  </a:lnTo>
                  <a:lnTo>
                    <a:pt x="56" y="514"/>
                  </a:lnTo>
                  <a:lnTo>
                    <a:pt x="40" y="487"/>
                  </a:lnTo>
                  <a:lnTo>
                    <a:pt x="25" y="457"/>
                  </a:lnTo>
                  <a:lnTo>
                    <a:pt x="15" y="428"/>
                  </a:lnTo>
                  <a:lnTo>
                    <a:pt x="11" y="412"/>
                  </a:lnTo>
                  <a:lnTo>
                    <a:pt x="7" y="396"/>
                  </a:lnTo>
                  <a:lnTo>
                    <a:pt x="4" y="380"/>
                  </a:lnTo>
                  <a:lnTo>
                    <a:pt x="1" y="363"/>
                  </a:lnTo>
                  <a:lnTo>
                    <a:pt x="0" y="347"/>
                  </a:lnTo>
                  <a:lnTo>
                    <a:pt x="0" y="330"/>
                  </a:lnTo>
                  <a:lnTo>
                    <a:pt x="0" y="330"/>
                  </a:lnTo>
                  <a:lnTo>
                    <a:pt x="0" y="314"/>
                  </a:lnTo>
                  <a:lnTo>
                    <a:pt x="1" y="296"/>
                  </a:lnTo>
                  <a:lnTo>
                    <a:pt x="4" y="280"/>
                  </a:lnTo>
                  <a:lnTo>
                    <a:pt x="7" y="264"/>
                  </a:lnTo>
                  <a:lnTo>
                    <a:pt x="11" y="248"/>
                  </a:lnTo>
                  <a:lnTo>
                    <a:pt x="15" y="233"/>
                  </a:lnTo>
                  <a:lnTo>
                    <a:pt x="25" y="202"/>
                  </a:lnTo>
                  <a:lnTo>
                    <a:pt x="40" y="174"/>
                  </a:lnTo>
                  <a:lnTo>
                    <a:pt x="56" y="146"/>
                  </a:lnTo>
                  <a:lnTo>
                    <a:pt x="75" y="121"/>
                  </a:lnTo>
                  <a:lnTo>
                    <a:pt x="97" y="97"/>
                  </a:lnTo>
                  <a:lnTo>
                    <a:pt x="120" y="76"/>
                  </a:lnTo>
                  <a:lnTo>
                    <a:pt x="145" y="57"/>
                  </a:lnTo>
                  <a:lnTo>
                    <a:pt x="172" y="41"/>
                  </a:lnTo>
                  <a:lnTo>
                    <a:pt x="202" y="27"/>
                  </a:lnTo>
                  <a:lnTo>
                    <a:pt x="231" y="15"/>
                  </a:lnTo>
                  <a:lnTo>
                    <a:pt x="247" y="11"/>
                  </a:lnTo>
                  <a:lnTo>
                    <a:pt x="262" y="7"/>
                  </a:lnTo>
                  <a:lnTo>
                    <a:pt x="279" y="5"/>
                  </a:lnTo>
                  <a:lnTo>
                    <a:pt x="296" y="3"/>
                  </a:lnTo>
                  <a:lnTo>
                    <a:pt x="312" y="2"/>
                  </a:lnTo>
                  <a:lnTo>
                    <a:pt x="329" y="0"/>
                  </a:lnTo>
                  <a:lnTo>
                    <a:pt x="329" y="0"/>
                  </a:lnTo>
                  <a:lnTo>
                    <a:pt x="345" y="2"/>
                  </a:lnTo>
                  <a:lnTo>
                    <a:pt x="363" y="3"/>
                  </a:lnTo>
                  <a:lnTo>
                    <a:pt x="379" y="5"/>
                  </a:lnTo>
                  <a:lnTo>
                    <a:pt x="395" y="7"/>
                  </a:lnTo>
                  <a:lnTo>
                    <a:pt x="411" y="11"/>
                  </a:lnTo>
                  <a:lnTo>
                    <a:pt x="426" y="15"/>
                  </a:lnTo>
                  <a:lnTo>
                    <a:pt x="457" y="27"/>
                  </a:lnTo>
                  <a:lnTo>
                    <a:pt x="485" y="41"/>
                  </a:lnTo>
                  <a:lnTo>
                    <a:pt x="513" y="57"/>
                  </a:lnTo>
                  <a:lnTo>
                    <a:pt x="538" y="76"/>
                  </a:lnTo>
                  <a:lnTo>
                    <a:pt x="562" y="97"/>
                  </a:lnTo>
                  <a:lnTo>
                    <a:pt x="583" y="121"/>
                  </a:lnTo>
                  <a:lnTo>
                    <a:pt x="602" y="146"/>
                  </a:lnTo>
                  <a:lnTo>
                    <a:pt x="618" y="174"/>
                  </a:lnTo>
                  <a:lnTo>
                    <a:pt x="632" y="202"/>
                  </a:lnTo>
                  <a:lnTo>
                    <a:pt x="644" y="233"/>
                  </a:lnTo>
                  <a:lnTo>
                    <a:pt x="648" y="248"/>
                  </a:lnTo>
                  <a:lnTo>
                    <a:pt x="652" y="264"/>
                  </a:lnTo>
                  <a:lnTo>
                    <a:pt x="654" y="280"/>
                  </a:lnTo>
                  <a:lnTo>
                    <a:pt x="656" y="296"/>
                  </a:lnTo>
                  <a:lnTo>
                    <a:pt x="657" y="314"/>
                  </a:lnTo>
                  <a:lnTo>
                    <a:pt x="658" y="330"/>
                  </a:lnTo>
                  <a:lnTo>
                    <a:pt x="658" y="330"/>
                  </a:lnTo>
                  <a:lnTo>
                    <a:pt x="657" y="347"/>
                  </a:lnTo>
                  <a:lnTo>
                    <a:pt x="656" y="363"/>
                  </a:lnTo>
                  <a:lnTo>
                    <a:pt x="654" y="380"/>
                  </a:lnTo>
                  <a:lnTo>
                    <a:pt x="652" y="396"/>
                  </a:lnTo>
                  <a:lnTo>
                    <a:pt x="648" y="412"/>
                  </a:lnTo>
                  <a:lnTo>
                    <a:pt x="644" y="428"/>
                  </a:lnTo>
                  <a:lnTo>
                    <a:pt x="632" y="457"/>
                  </a:lnTo>
                  <a:lnTo>
                    <a:pt x="618" y="487"/>
                  </a:lnTo>
                  <a:lnTo>
                    <a:pt x="602" y="514"/>
                  </a:lnTo>
                  <a:lnTo>
                    <a:pt x="583" y="539"/>
                  </a:lnTo>
                  <a:lnTo>
                    <a:pt x="562" y="562"/>
                  </a:lnTo>
                  <a:lnTo>
                    <a:pt x="538" y="584"/>
                  </a:lnTo>
                  <a:lnTo>
                    <a:pt x="513" y="603"/>
                  </a:lnTo>
                  <a:lnTo>
                    <a:pt x="485" y="619"/>
                  </a:lnTo>
                  <a:lnTo>
                    <a:pt x="457" y="634"/>
                  </a:lnTo>
                  <a:lnTo>
                    <a:pt x="426" y="644"/>
                  </a:lnTo>
                  <a:lnTo>
                    <a:pt x="411" y="648"/>
                  </a:lnTo>
                  <a:lnTo>
                    <a:pt x="395" y="652"/>
                  </a:lnTo>
                  <a:lnTo>
                    <a:pt x="379" y="655"/>
                  </a:lnTo>
                  <a:lnTo>
                    <a:pt x="363" y="658"/>
                  </a:lnTo>
                  <a:lnTo>
                    <a:pt x="345" y="659"/>
                  </a:lnTo>
                  <a:lnTo>
                    <a:pt x="329" y="659"/>
                  </a:lnTo>
                  <a:lnTo>
                    <a:pt x="329" y="659"/>
                  </a:lnTo>
                  <a:close/>
                  <a:moveTo>
                    <a:pt x="329" y="38"/>
                  </a:moveTo>
                  <a:lnTo>
                    <a:pt x="329" y="38"/>
                  </a:lnTo>
                  <a:lnTo>
                    <a:pt x="300" y="41"/>
                  </a:lnTo>
                  <a:lnTo>
                    <a:pt x="270" y="45"/>
                  </a:lnTo>
                  <a:lnTo>
                    <a:pt x="242" y="52"/>
                  </a:lnTo>
                  <a:lnTo>
                    <a:pt x="215" y="62"/>
                  </a:lnTo>
                  <a:lnTo>
                    <a:pt x="191" y="74"/>
                  </a:lnTo>
                  <a:lnTo>
                    <a:pt x="167" y="89"/>
                  </a:lnTo>
                  <a:lnTo>
                    <a:pt x="144" y="105"/>
                  </a:lnTo>
                  <a:lnTo>
                    <a:pt x="124" y="124"/>
                  </a:lnTo>
                  <a:lnTo>
                    <a:pt x="105" y="144"/>
                  </a:lnTo>
                  <a:lnTo>
                    <a:pt x="87" y="167"/>
                  </a:lnTo>
                  <a:lnTo>
                    <a:pt x="73" y="191"/>
                  </a:lnTo>
                  <a:lnTo>
                    <a:pt x="60" y="217"/>
                  </a:lnTo>
                  <a:lnTo>
                    <a:pt x="51" y="244"/>
                  </a:lnTo>
                  <a:lnTo>
                    <a:pt x="43" y="272"/>
                  </a:lnTo>
                  <a:lnTo>
                    <a:pt x="39" y="300"/>
                  </a:lnTo>
                  <a:lnTo>
                    <a:pt x="38" y="330"/>
                  </a:lnTo>
                  <a:lnTo>
                    <a:pt x="38" y="330"/>
                  </a:lnTo>
                  <a:lnTo>
                    <a:pt x="39" y="359"/>
                  </a:lnTo>
                  <a:lnTo>
                    <a:pt x="43" y="389"/>
                  </a:lnTo>
                  <a:lnTo>
                    <a:pt x="51" y="417"/>
                  </a:lnTo>
                  <a:lnTo>
                    <a:pt x="60" y="444"/>
                  </a:lnTo>
                  <a:lnTo>
                    <a:pt x="73" y="468"/>
                  </a:lnTo>
                  <a:lnTo>
                    <a:pt x="87" y="492"/>
                  </a:lnTo>
                  <a:lnTo>
                    <a:pt x="105" y="515"/>
                  </a:lnTo>
                  <a:lnTo>
                    <a:pt x="124" y="535"/>
                  </a:lnTo>
                  <a:lnTo>
                    <a:pt x="144" y="554"/>
                  </a:lnTo>
                  <a:lnTo>
                    <a:pt x="167" y="572"/>
                  </a:lnTo>
                  <a:lnTo>
                    <a:pt x="191" y="586"/>
                  </a:lnTo>
                  <a:lnTo>
                    <a:pt x="215" y="599"/>
                  </a:lnTo>
                  <a:lnTo>
                    <a:pt x="242" y="608"/>
                  </a:lnTo>
                  <a:lnTo>
                    <a:pt x="270" y="616"/>
                  </a:lnTo>
                  <a:lnTo>
                    <a:pt x="300" y="620"/>
                  </a:lnTo>
                  <a:lnTo>
                    <a:pt x="329" y="621"/>
                  </a:lnTo>
                  <a:lnTo>
                    <a:pt x="329" y="621"/>
                  </a:lnTo>
                  <a:lnTo>
                    <a:pt x="359" y="620"/>
                  </a:lnTo>
                  <a:lnTo>
                    <a:pt x="387" y="616"/>
                  </a:lnTo>
                  <a:lnTo>
                    <a:pt x="415" y="608"/>
                  </a:lnTo>
                  <a:lnTo>
                    <a:pt x="442" y="599"/>
                  </a:lnTo>
                  <a:lnTo>
                    <a:pt x="468" y="586"/>
                  </a:lnTo>
                  <a:lnTo>
                    <a:pt x="492" y="572"/>
                  </a:lnTo>
                  <a:lnTo>
                    <a:pt x="515" y="554"/>
                  </a:lnTo>
                  <a:lnTo>
                    <a:pt x="535" y="535"/>
                  </a:lnTo>
                  <a:lnTo>
                    <a:pt x="554" y="515"/>
                  </a:lnTo>
                  <a:lnTo>
                    <a:pt x="570" y="492"/>
                  </a:lnTo>
                  <a:lnTo>
                    <a:pt x="585" y="468"/>
                  </a:lnTo>
                  <a:lnTo>
                    <a:pt x="597" y="444"/>
                  </a:lnTo>
                  <a:lnTo>
                    <a:pt x="607" y="417"/>
                  </a:lnTo>
                  <a:lnTo>
                    <a:pt x="614" y="389"/>
                  </a:lnTo>
                  <a:lnTo>
                    <a:pt x="618" y="359"/>
                  </a:lnTo>
                  <a:lnTo>
                    <a:pt x="621" y="330"/>
                  </a:lnTo>
                  <a:lnTo>
                    <a:pt x="621" y="330"/>
                  </a:lnTo>
                  <a:lnTo>
                    <a:pt x="618" y="300"/>
                  </a:lnTo>
                  <a:lnTo>
                    <a:pt x="614" y="272"/>
                  </a:lnTo>
                  <a:lnTo>
                    <a:pt x="607" y="244"/>
                  </a:lnTo>
                  <a:lnTo>
                    <a:pt x="597" y="217"/>
                  </a:lnTo>
                  <a:lnTo>
                    <a:pt x="585" y="191"/>
                  </a:lnTo>
                  <a:lnTo>
                    <a:pt x="570" y="167"/>
                  </a:lnTo>
                  <a:lnTo>
                    <a:pt x="554" y="144"/>
                  </a:lnTo>
                  <a:lnTo>
                    <a:pt x="535" y="124"/>
                  </a:lnTo>
                  <a:lnTo>
                    <a:pt x="515" y="105"/>
                  </a:lnTo>
                  <a:lnTo>
                    <a:pt x="492" y="89"/>
                  </a:lnTo>
                  <a:lnTo>
                    <a:pt x="468" y="74"/>
                  </a:lnTo>
                  <a:lnTo>
                    <a:pt x="442" y="62"/>
                  </a:lnTo>
                  <a:lnTo>
                    <a:pt x="415" y="52"/>
                  </a:lnTo>
                  <a:lnTo>
                    <a:pt x="387" y="45"/>
                  </a:lnTo>
                  <a:lnTo>
                    <a:pt x="359" y="41"/>
                  </a:lnTo>
                  <a:lnTo>
                    <a:pt x="329" y="38"/>
                  </a:lnTo>
                  <a:lnTo>
                    <a:pt x="329" y="3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62" name="Freeform 138">
              <a:extLst>
                <a:ext uri="{FF2B5EF4-FFF2-40B4-BE49-F238E27FC236}">
                  <a16:creationId xmlns:a16="http://schemas.microsoft.com/office/drawing/2014/main" id="{24EF0989-79C7-441B-AD68-8ACDB65F4A30}"/>
                </a:ext>
              </a:extLst>
            </p:cNvPr>
            <p:cNvSpPr>
              <a:spLocks/>
            </p:cNvSpPr>
            <p:nvPr/>
          </p:nvSpPr>
          <p:spPr bwMode="auto">
            <a:xfrm>
              <a:off x="5148263" y="1778635"/>
              <a:ext cx="134938" cy="168275"/>
            </a:xfrm>
            <a:custGeom>
              <a:avLst/>
              <a:gdLst>
                <a:gd name="T0" fmla="*/ 84 w 169"/>
                <a:gd name="T1" fmla="*/ 213 h 213"/>
                <a:gd name="T2" fmla="*/ 84 w 169"/>
                <a:gd name="T3" fmla="*/ 213 h 213"/>
                <a:gd name="T4" fmla="*/ 92 w 169"/>
                <a:gd name="T5" fmla="*/ 211 h 213"/>
                <a:gd name="T6" fmla="*/ 100 w 169"/>
                <a:gd name="T7" fmla="*/ 211 h 213"/>
                <a:gd name="T8" fmla="*/ 108 w 169"/>
                <a:gd name="T9" fmla="*/ 209 h 213"/>
                <a:gd name="T10" fmla="*/ 116 w 169"/>
                <a:gd name="T11" fmla="*/ 206 h 213"/>
                <a:gd name="T12" fmla="*/ 131 w 169"/>
                <a:gd name="T13" fmla="*/ 198 h 213"/>
                <a:gd name="T14" fmla="*/ 143 w 169"/>
                <a:gd name="T15" fmla="*/ 187 h 213"/>
                <a:gd name="T16" fmla="*/ 154 w 169"/>
                <a:gd name="T17" fmla="*/ 175 h 213"/>
                <a:gd name="T18" fmla="*/ 162 w 169"/>
                <a:gd name="T19" fmla="*/ 160 h 213"/>
                <a:gd name="T20" fmla="*/ 165 w 169"/>
                <a:gd name="T21" fmla="*/ 154 h 213"/>
                <a:gd name="T22" fmla="*/ 166 w 169"/>
                <a:gd name="T23" fmla="*/ 144 h 213"/>
                <a:gd name="T24" fmla="*/ 168 w 169"/>
                <a:gd name="T25" fmla="*/ 136 h 213"/>
                <a:gd name="T26" fmla="*/ 169 w 169"/>
                <a:gd name="T27" fmla="*/ 128 h 213"/>
                <a:gd name="T28" fmla="*/ 169 w 169"/>
                <a:gd name="T29" fmla="*/ 85 h 213"/>
                <a:gd name="T30" fmla="*/ 169 w 169"/>
                <a:gd name="T31" fmla="*/ 85 h 213"/>
                <a:gd name="T32" fmla="*/ 168 w 169"/>
                <a:gd name="T33" fmla="*/ 77 h 213"/>
                <a:gd name="T34" fmla="*/ 166 w 169"/>
                <a:gd name="T35" fmla="*/ 69 h 213"/>
                <a:gd name="T36" fmla="*/ 165 w 169"/>
                <a:gd name="T37" fmla="*/ 61 h 213"/>
                <a:gd name="T38" fmla="*/ 162 w 169"/>
                <a:gd name="T39" fmla="*/ 53 h 213"/>
                <a:gd name="T40" fmla="*/ 154 w 169"/>
                <a:gd name="T41" fmla="*/ 38 h 213"/>
                <a:gd name="T42" fmla="*/ 143 w 169"/>
                <a:gd name="T43" fmla="*/ 26 h 213"/>
                <a:gd name="T44" fmla="*/ 131 w 169"/>
                <a:gd name="T45" fmla="*/ 15 h 213"/>
                <a:gd name="T46" fmla="*/ 116 w 169"/>
                <a:gd name="T47" fmla="*/ 7 h 213"/>
                <a:gd name="T48" fmla="*/ 108 w 169"/>
                <a:gd name="T49" fmla="*/ 4 h 213"/>
                <a:gd name="T50" fmla="*/ 100 w 169"/>
                <a:gd name="T51" fmla="*/ 3 h 213"/>
                <a:gd name="T52" fmla="*/ 92 w 169"/>
                <a:gd name="T53" fmla="*/ 2 h 213"/>
                <a:gd name="T54" fmla="*/ 84 w 169"/>
                <a:gd name="T55" fmla="*/ 0 h 213"/>
                <a:gd name="T56" fmla="*/ 84 w 169"/>
                <a:gd name="T57" fmla="*/ 0 h 213"/>
                <a:gd name="T58" fmla="*/ 75 w 169"/>
                <a:gd name="T59" fmla="*/ 2 h 213"/>
                <a:gd name="T60" fmla="*/ 67 w 169"/>
                <a:gd name="T61" fmla="*/ 3 h 213"/>
                <a:gd name="T62" fmla="*/ 59 w 169"/>
                <a:gd name="T63" fmla="*/ 4 h 213"/>
                <a:gd name="T64" fmla="*/ 51 w 169"/>
                <a:gd name="T65" fmla="*/ 7 h 213"/>
                <a:gd name="T66" fmla="*/ 37 w 169"/>
                <a:gd name="T67" fmla="*/ 15 h 213"/>
                <a:gd name="T68" fmla="*/ 24 w 169"/>
                <a:gd name="T69" fmla="*/ 26 h 213"/>
                <a:gd name="T70" fmla="*/ 14 w 169"/>
                <a:gd name="T71" fmla="*/ 38 h 213"/>
                <a:gd name="T72" fmla="*/ 6 w 169"/>
                <a:gd name="T73" fmla="*/ 53 h 213"/>
                <a:gd name="T74" fmla="*/ 4 w 169"/>
                <a:gd name="T75" fmla="*/ 61 h 213"/>
                <a:gd name="T76" fmla="*/ 1 w 169"/>
                <a:gd name="T77" fmla="*/ 69 h 213"/>
                <a:gd name="T78" fmla="*/ 0 w 169"/>
                <a:gd name="T79" fmla="*/ 77 h 213"/>
                <a:gd name="T80" fmla="*/ 0 w 169"/>
                <a:gd name="T81" fmla="*/ 85 h 213"/>
                <a:gd name="T82" fmla="*/ 0 w 169"/>
                <a:gd name="T83" fmla="*/ 128 h 213"/>
                <a:gd name="T84" fmla="*/ 0 w 169"/>
                <a:gd name="T85" fmla="*/ 128 h 213"/>
                <a:gd name="T86" fmla="*/ 0 w 169"/>
                <a:gd name="T87" fmla="*/ 136 h 213"/>
                <a:gd name="T88" fmla="*/ 1 w 169"/>
                <a:gd name="T89" fmla="*/ 144 h 213"/>
                <a:gd name="T90" fmla="*/ 4 w 169"/>
                <a:gd name="T91" fmla="*/ 154 h 213"/>
                <a:gd name="T92" fmla="*/ 6 w 169"/>
                <a:gd name="T93" fmla="*/ 160 h 213"/>
                <a:gd name="T94" fmla="*/ 14 w 169"/>
                <a:gd name="T95" fmla="*/ 175 h 213"/>
                <a:gd name="T96" fmla="*/ 24 w 169"/>
                <a:gd name="T97" fmla="*/ 187 h 213"/>
                <a:gd name="T98" fmla="*/ 37 w 169"/>
                <a:gd name="T99" fmla="*/ 198 h 213"/>
                <a:gd name="T100" fmla="*/ 51 w 169"/>
                <a:gd name="T101" fmla="*/ 206 h 213"/>
                <a:gd name="T102" fmla="*/ 59 w 169"/>
                <a:gd name="T103" fmla="*/ 209 h 213"/>
                <a:gd name="T104" fmla="*/ 67 w 169"/>
                <a:gd name="T105" fmla="*/ 211 h 213"/>
                <a:gd name="T106" fmla="*/ 75 w 169"/>
                <a:gd name="T107" fmla="*/ 211 h 213"/>
                <a:gd name="T108" fmla="*/ 84 w 169"/>
                <a:gd name="T109" fmla="*/ 213 h 213"/>
                <a:gd name="T110" fmla="*/ 84 w 169"/>
                <a:gd name="T111"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9" h="213">
                  <a:moveTo>
                    <a:pt x="84" y="213"/>
                  </a:moveTo>
                  <a:lnTo>
                    <a:pt x="84" y="213"/>
                  </a:lnTo>
                  <a:lnTo>
                    <a:pt x="92" y="211"/>
                  </a:lnTo>
                  <a:lnTo>
                    <a:pt x="100" y="211"/>
                  </a:lnTo>
                  <a:lnTo>
                    <a:pt x="108" y="209"/>
                  </a:lnTo>
                  <a:lnTo>
                    <a:pt x="116" y="206"/>
                  </a:lnTo>
                  <a:lnTo>
                    <a:pt x="131" y="198"/>
                  </a:lnTo>
                  <a:lnTo>
                    <a:pt x="143" y="187"/>
                  </a:lnTo>
                  <a:lnTo>
                    <a:pt x="154" y="175"/>
                  </a:lnTo>
                  <a:lnTo>
                    <a:pt x="162" y="160"/>
                  </a:lnTo>
                  <a:lnTo>
                    <a:pt x="165" y="154"/>
                  </a:lnTo>
                  <a:lnTo>
                    <a:pt x="166" y="144"/>
                  </a:lnTo>
                  <a:lnTo>
                    <a:pt x="168" y="136"/>
                  </a:lnTo>
                  <a:lnTo>
                    <a:pt x="169" y="128"/>
                  </a:lnTo>
                  <a:lnTo>
                    <a:pt x="169" y="85"/>
                  </a:lnTo>
                  <a:lnTo>
                    <a:pt x="169" y="85"/>
                  </a:lnTo>
                  <a:lnTo>
                    <a:pt x="168" y="77"/>
                  </a:lnTo>
                  <a:lnTo>
                    <a:pt x="166" y="69"/>
                  </a:lnTo>
                  <a:lnTo>
                    <a:pt x="165" y="61"/>
                  </a:lnTo>
                  <a:lnTo>
                    <a:pt x="162" y="53"/>
                  </a:lnTo>
                  <a:lnTo>
                    <a:pt x="154" y="38"/>
                  </a:lnTo>
                  <a:lnTo>
                    <a:pt x="143" y="26"/>
                  </a:lnTo>
                  <a:lnTo>
                    <a:pt x="131" y="15"/>
                  </a:lnTo>
                  <a:lnTo>
                    <a:pt x="116" y="7"/>
                  </a:lnTo>
                  <a:lnTo>
                    <a:pt x="108" y="4"/>
                  </a:lnTo>
                  <a:lnTo>
                    <a:pt x="100" y="3"/>
                  </a:lnTo>
                  <a:lnTo>
                    <a:pt x="92" y="2"/>
                  </a:lnTo>
                  <a:lnTo>
                    <a:pt x="84" y="0"/>
                  </a:lnTo>
                  <a:lnTo>
                    <a:pt x="84" y="0"/>
                  </a:lnTo>
                  <a:lnTo>
                    <a:pt x="75" y="2"/>
                  </a:lnTo>
                  <a:lnTo>
                    <a:pt x="67" y="3"/>
                  </a:lnTo>
                  <a:lnTo>
                    <a:pt x="59" y="4"/>
                  </a:lnTo>
                  <a:lnTo>
                    <a:pt x="51" y="7"/>
                  </a:lnTo>
                  <a:lnTo>
                    <a:pt x="37" y="15"/>
                  </a:lnTo>
                  <a:lnTo>
                    <a:pt x="24" y="26"/>
                  </a:lnTo>
                  <a:lnTo>
                    <a:pt x="14" y="38"/>
                  </a:lnTo>
                  <a:lnTo>
                    <a:pt x="6" y="53"/>
                  </a:lnTo>
                  <a:lnTo>
                    <a:pt x="4" y="61"/>
                  </a:lnTo>
                  <a:lnTo>
                    <a:pt x="1" y="69"/>
                  </a:lnTo>
                  <a:lnTo>
                    <a:pt x="0" y="77"/>
                  </a:lnTo>
                  <a:lnTo>
                    <a:pt x="0" y="85"/>
                  </a:lnTo>
                  <a:lnTo>
                    <a:pt x="0" y="128"/>
                  </a:lnTo>
                  <a:lnTo>
                    <a:pt x="0" y="128"/>
                  </a:lnTo>
                  <a:lnTo>
                    <a:pt x="0" y="136"/>
                  </a:lnTo>
                  <a:lnTo>
                    <a:pt x="1" y="144"/>
                  </a:lnTo>
                  <a:lnTo>
                    <a:pt x="4" y="154"/>
                  </a:lnTo>
                  <a:lnTo>
                    <a:pt x="6" y="160"/>
                  </a:lnTo>
                  <a:lnTo>
                    <a:pt x="14" y="175"/>
                  </a:lnTo>
                  <a:lnTo>
                    <a:pt x="24" y="187"/>
                  </a:lnTo>
                  <a:lnTo>
                    <a:pt x="37" y="198"/>
                  </a:lnTo>
                  <a:lnTo>
                    <a:pt x="51" y="206"/>
                  </a:lnTo>
                  <a:lnTo>
                    <a:pt x="59" y="209"/>
                  </a:lnTo>
                  <a:lnTo>
                    <a:pt x="67" y="211"/>
                  </a:lnTo>
                  <a:lnTo>
                    <a:pt x="75" y="211"/>
                  </a:lnTo>
                  <a:lnTo>
                    <a:pt x="84" y="213"/>
                  </a:lnTo>
                  <a:lnTo>
                    <a:pt x="84" y="2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63" name="Freeform 139">
              <a:extLst>
                <a:ext uri="{FF2B5EF4-FFF2-40B4-BE49-F238E27FC236}">
                  <a16:creationId xmlns:a16="http://schemas.microsoft.com/office/drawing/2014/main" id="{B9C9E7AC-26E2-4C9E-BB30-3A0821CFC180}"/>
                </a:ext>
              </a:extLst>
            </p:cNvPr>
            <p:cNvSpPr>
              <a:spLocks/>
            </p:cNvSpPr>
            <p:nvPr/>
          </p:nvSpPr>
          <p:spPr bwMode="auto">
            <a:xfrm>
              <a:off x="5089526" y="1946910"/>
              <a:ext cx="250825" cy="101600"/>
            </a:xfrm>
            <a:custGeom>
              <a:avLst/>
              <a:gdLst>
                <a:gd name="T0" fmla="*/ 216 w 315"/>
                <a:gd name="T1" fmla="*/ 0 h 128"/>
                <a:gd name="T2" fmla="*/ 216 w 315"/>
                <a:gd name="T3" fmla="*/ 0 h 128"/>
                <a:gd name="T4" fmla="*/ 204 w 315"/>
                <a:gd name="T5" fmla="*/ 8 h 128"/>
                <a:gd name="T6" fmla="*/ 189 w 315"/>
                <a:gd name="T7" fmla="*/ 15 h 128"/>
                <a:gd name="T8" fmla="*/ 174 w 315"/>
                <a:gd name="T9" fmla="*/ 19 h 128"/>
                <a:gd name="T10" fmla="*/ 158 w 315"/>
                <a:gd name="T11" fmla="*/ 20 h 128"/>
                <a:gd name="T12" fmla="*/ 158 w 315"/>
                <a:gd name="T13" fmla="*/ 20 h 128"/>
                <a:gd name="T14" fmla="*/ 142 w 315"/>
                <a:gd name="T15" fmla="*/ 19 h 128"/>
                <a:gd name="T16" fmla="*/ 126 w 315"/>
                <a:gd name="T17" fmla="*/ 15 h 128"/>
                <a:gd name="T18" fmla="*/ 113 w 315"/>
                <a:gd name="T19" fmla="*/ 8 h 128"/>
                <a:gd name="T20" fmla="*/ 99 w 315"/>
                <a:gd name="T21" fmla="*/ 0 h 128"/>
                <a:gd name="T22" fmla="*/ 99 w 315"/>
                <a:gd name="T23" fmla="*/ 0 h 128"/>
                <a:gd name="T24" fmla="*/ 90 w 315"/>
                <a:gd name="T25" fmla="*/ 3 h 128"/>
                <a:gd name="T26" fmla="*/ 80 w 315"/>
                <a:gd name="T27" fmla="*/ 6 h 128"/>
                <a:gd name="T28" fmla="*/ 71 w 315"/>
                <a:gd name="T29" fmla="*/ 10 h 128"/>
                <a:gd name="T30" fmla="*/ 63 w 315"/>
                <a:gd name="T31" fmla="*/ 14 h 128"/>
                <a:gd name="T32" fmla="*/ 53 w 315"/>
                <a:gd name="T33" fmla="*/ 20 h 128"/>
                <a:gd name="T34" fmla="*/ 47 w 315"/>
                <a:gd name="T35" fmla="*/ 26 h 128"/>
                <a:gd name="T36" fmla="*/ 39 w 315"/>
                <a:gd name="T37" fmla="*/ 34 h 128"/>
                <a:gd name="T38" fmla="*/ 32 w 315"/>
                <a:gd name="T39" fmla="*/ 41 h 128"/>
                <a:gd name="T40" fmla="*/ 20 w 315"/>
                <a:gd name="T41" fmla="*/ 58 h 128"/>
                <a:gd name="T42" fmla="*/ 10 w 315"/>
                <a:gd name="T43" fmla="*/ 77 h 128"/>
                <a:gd name="T44" fmla="*/ 4 w 315"/>
                <a:gd name="T45" fmla="*/ 97 h 128"/>
                <a:gd name="T46" fmla="*/ 1 w 315"/>
                <a:gd name="T47" fmla="*/ 106 h 128"/>
                <a:gd name="T48" fmla="*/ 0 w 315"/>
                <a:gd name="T49" fmla="*/ 116 h 128"/>
                <a:gd name="T50" fmla="*/ 0 w 315"/>
                <a:gd name="T51" fmla="*/ 116 h 128"/>
                <a:gd name="T52" fmla="*/ 0 w 315"/>
                <a:gd name="T53" fmla="*/ 121 h 128"/>
                <a:gd name="T54" fmla="*/ 2 w 315"/>
                <a:gd name="T55" fmla="*/ 124 h 128"/>
                <a:gd name="T56" fmla="*/ 6 w 315"/>
                <a:gd name="T57" fmla="*/ 127 h 128"/>
                <a:gd name="T58" fmla="*/ 10 w 315"/>
                <a:gd name="T59" fmla="*/ 128 h 128"/>
                <a:gd name="T60" fmla="*/ 306 w 315"/>
                <a:gd name="T61" fmla="*/ 128 h 128"/>
                <a:gd name="T62" fmla="*/ 306 w 315"/>
                <a:gd name="T63" fmla="*/ 128 h 128"/>
                <a:gd name="T64" fmla="*/ 310 w 315"/>
                <a:gd name="T65" fmla="*/ 127 h 128"/>
                <a:gd name="T66" fmla="*/ 313 w 315"/>
                <a:gd name="T67" fmla="*/ 124 h 128"/>
                <a:gd name="T68" fmla="*/ 315 w 315"/>
                <a:gd name="T69" fmla="*/ 121 h 128"/>
                <a:gd name="T70" fmla="*/ 315 w 315"/>
                <a:gd name="T71" fmla="*/ 116 h 128"/>
                <a:gd name="T72" fmla="*/ 315 w 315"/>
                <a:gd name="T73" fmla="*/ 116 h 128"/>
                <a:gd name="T74" fmla="*/ 314 w 315"/>
                <a:gd name="T75" fmla="*/ 106 h 128"/>
                <a:gd name="T76" fmla="*/ 313 w 315"/>
                <a:gd name="T77" fmla="*/ 97 h 128"/>
                <a:gd name="T78" fmla="*/ 306 w 315"/>
                <a:gd name="T79" fmla="*/ 77 h 128"/>
                <a:gd name="T80" fmla="*/ 297 w 315"/>
                <a:gd name="T81" fmla="*/ 58 h 128"/>
                <a:gd name="T82" fmla="*/ 285 w 315"/>
                <a:gd name="T83" fmla="*/ 41 h 128"/>
                <a:gd name="T84" fmla="*/ 276 w 315"/>
                <a:gd name="T85" fmla="*/ 34 h 128"/>
                <a:gd name="T86" fmla="*/ 270 w 315"/>
                <a:gd name="T87" fmla="*/ 26 h 128"/>
                <a:gd name="T88" fmla="*/ 262 w 315"/>
                <a:gd name="T89" fmla="*/ 20 h 128"/>
                <a:gd name="T90" fmla="*/ 254 w 315"/>
                <a:gd name="T91" fmla="*/ 14 h 128"/>
                <a:gd name="T92" fmla="*/ 244 w 315"/>
                <a:gd name="T93" fmla="*/ 10 h 128"/>
                <a:gd name="T94" fmla="*/ 235 w 315"/>
                <a:gd name="T95" fmla="*/ 6 h 128"/>
                <a:gd name="T96" fmla="*/ 225 w 315"/>
                <a:gd name="T97" fmla="*/ 3 h 128"/>
                <a:gd name="T98" fmla="*/ 216 w 315"/>
                <a:gd name="T99" fmla="*/ 0 h 128"/>
                <a:gd name="T100" fmla="*/ 216 w 315"/>
                <a:gd name="T10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5" h="128">
                  <a:moveTo>
                    <a:pt x="216" y="0"/>
                  </a:moveTo>
                  <a:lnTo>
                    <a:pt x="216" y="0"/>
                  </a:lnTo>
                  <a:lnTo>
                    <a:pt x="204" y="8"/>
                  </a:lnTo>
                  <a:lnTo>
                    <a:pt x="189" y="15"/>
                  </a:lnTo>
                  <a:lnTo>
                    <a:pt x="174" y="19"/>
                  </a:lnTo>
                  <a:lnTo>
                    <a:pt x="158" y="20"/>
                  </a:lnTo>
                  <a:lnTo>
                    <a:pt x="158" y="20"/>
                  </a:lnTo>
                  <a:lnTo>
                    <a:pt x="142" y="19"/>
                  </a:lnTo>
                  <a:lnTo>
                    <a:pt x="126" y="15"/>
                  </a:lnTo>
                  <a:lnTo>
                    <a:pt x="113" y="8"/>
                  </a:lnTo>
                  <a:lnTo>
                    <a:pt x="99" y="0"/>
                  </a:lnTo>
                  <a:lnTo>
                    <a:pt x="99" y="0"/>
                  </a:lnTo>
                  <a:lnTo>
                    <a:pt x="90" y="3"/>
                  </a:lnTo>
                  <a:lnTo>
                    <a:pt x="80" y="6"/>
                  </a:lnTo>
                  <a:lnTo>
                    <a:pt x="71" y="10"/>
                  </a:lnTo>
                  <a:lnTo>
                    <a:pt x="63" y="14"/>
                  </a:lnTo>
                  <a:lnTo>
                    <a:pt x="53" y="20"/>
                  </a:lnTo>
                  <a:lnTo>
                    <a:pt x="47" y="26"/>
                  </a:lnTo>
                  <a:lnTo>
                    <a:pt x="39" y="34"/>
                  </a:lnTo>
                  <a:lnTo>
                    <a:pt x="32" y="41"/>
                  </a:lnTo>
                  <a:lnTo>
                    <a:pt x="20" y="58"/>
                  </a:lnTo>
                  <a:lnTo>
                    <a:pt x="10" y="77"/>
                  </a:lnTo>
                  <a:lnTo>
                    <a:pt x="4" y="97"/>
                  </a:lnTo>
                  <a:lnTo>
                    <a:pt x="1" y="106"/>
                  </a:lnTo>
                  <a:lnTo>
                    <a:pt x="0" y="116"/>
                  </a:lnTo>
                  <a:lnTo>
                    <a:pt x="0" y="116"/>
                  </a:lnTo>
                  <a:lnTo>
                    <a:pt x="0" y="121"/>
                  </a:lnTo>
                  <a:lnTo>
                    <a:pt x="2" y="124"/>
                  </a:lnTo>
                  <a:lnTo>
                    <a:pt x="6" y="127"/>
                  </a:lnTo>
                  <a:lnTo>
                    <a:pt x="10" y="128"/>
                  </a:lnTo>
                  <a:lnTo>
                    <a:pt x="306" y="128"/>
                  </a:lnTo>
                  <a:lnTo>
                    <a:pt x="306" y="128"/>
                  </a:lnTo>
                  <a:lnTo>
                    <a:pt x="310" y="127"/>
                  </a:lnTo>
                  <a:lnTo>
                    <a:pt x="313" y="124"/>
                  </a:lnTo>
                  <a:lnTo>
                    <a:pt x="315" y="121"/>
                  </a:lnTo>
                  <a:lnTo>
                    <a:pt x="315" y="116"/>
                  </a:lnTo>
                  <a:lnTo>
                    <a:pt x="315" y="116"/>
                  </a:lnTo>
                  <a:lnTo>
                    <a:pt x="314" y="106"/>
                  </a:lnTo>
                  <a:lnTo>
                    <a:pt x="313" y="97"/>
                  </a:lnTo>
                  <a:lnTo>
                    <a:pt x="306" y="77"/>
                  </a:lnTo>
                  <a:lnTo>
                    <a:pt x="297" y="58"/>
                  </a:lnTo>
                  <a:lnTo>
                    <a:pt x="285" y="41"/>
                  </a:lnTo>
                  <a:lnTo>
                    <a:pt x="276" y="34"/>
                  </a:lnTo>
                  <a:lnTo>
                    <a:pt x="270" y="26"/>
                  </a:lnTo>
                  <a:lnTo>
                    <a:pt x="262" y="20"/>
                  </a:lnTo>
                  <a:lnTo>
                    <a:pt x="254" y="14"/>
                  </a:lnTo>
                  <a:lnTo>
                    <a:pt x="244" y="10"/>
                  </a:lnTo>
                  <a:lnTo>
                    <a:pt x="235" y="6"/>
                  </a:lnTo>
                  <a:lnTo>
                    <a:pt x="225" y="3"/>
                  </a:lnTo>
                  <a:lnTo>
                    <a:pt x="216" y="0"/>
                  </a:lnTo>
                  <a:lnTo>
                    <a:pt x="2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64" name="Group 163">
            <a:extLst>
              <a:ext uri="{FF2B5EF4-FFF2-40B4-BE49-F238E27FC236}">
                <a16:creationId xmlns:a16="http://schemas.microsoft.com/office/drawing/2014/main" id="{E59F4483-3364-40CF-9972-3ED8E4D9D7DD}"/>
              </a:ext>
            </a:extLst>
          </p:cNvPr>
          <p:cNvGrpSpPr>
            <a:grpSpLocks noChangeAspect="1"/>
          </p:cNvGrpSpPr>
          <p:nvPr/>
        </p:nvGrpSpPr>
        <p:grpSpPr>
          <a:xfrm>
            <a:off x="3804341" y="5308233"/>
            <a:ext cx="320040" cy="320040"/>
            <a:chOff x="9353551" y="823913"/>
            <a:chExt cx="522288" cy="522288"/>
          </a:xfrm>
        </p:grpSpPr>
        <p:sp>
          <p:nvSpPr>
            <p:cNvPr id="165" name="Freeform 40">
              <a:extLst>
                <a:ext uri="{FF2B5EF4-FFF2-40B4-BE49-F238E27FC236}">
                  <a16:creationId xmlns:a16="http://schemas.microsoft.com/office/drawing/2014/main" id="{15AD8008-0B91-4425-8A31-B1893DED8AD4}"/>
                </a:ext>
              </a:extLst>
            </p:cNvPr>
            <p:cNvSpPr>
              <a:spLocks noEditPoints="1"/>
            </p:cNvSpPr>
            <p:nvPr/>
          </p:nvSpPr>
          <p:spPr bwMode="auto">
            <a:xfrm>
              <a:off x="9353551" y="823913"/>
              <a:ext cx="522288" cy="522288"/>
            </a:xfrm>
            <a:custGeom>
              <a:avLst/>
              <a:gdLst>
                <a:gd name="T0" fmla="*/ 311 w 656"/>
                <a:gd name="T1" fmla="*/ 657 h 659"/>
                <a:gd name="T2" fmla="*/ 262 w 656"/>
                <a:gd name="T3" fmla="*/ 652 h 659"/>
                <a:gd name="T4" fmla="*/ 200 w 656"/>
                <a:gd name="T5" fmla="*/ 633 h 659"/>
                <a:gd name="T6" fmla="*/ 119 w 656"/>
                <a:gd name="T7" fmla="*/ 583 h 659"/>
                <a:gd name="T8" fmla="*/ 56 w 656"/>
                <a:gd name="T9" fmla="*/ 514 h 659"/>
                <a:gd name="T10" fmla="*/ 14 w 656"/>
                <a:gd name="T11" fmla="*/ 428 h 659"/>
                <a:gd name="T12" fmla="*/ 4 w 656"/>
                <a:gd name="T13" fmla="*/ 379 h 659"/>
                <a:gd name="T14" fmla="*/ 0 w 656"/>
                <a:gd name="T15" fmla="*/ 329 h 659"/>
                <a:gd name="T16" fmla="*/ 1 w 656"/>
                <a:gd name="T17" fmla="*/ 296 h 659"/>
                <a:gd name="T18" fmla="*/ 9 w 656"/>
                <a:gd name="T19" fmla="*/ 248 h 659"/>
                <a:gd name="T20" fmla="*/ 39 w 656"/>
                <a:gd name="T21" fmla="*/ 172 h 659"/>
                <a:gd name="T22" fmla="*/ 96 w 656"/>
                <a:gd name="T23" fmla="*/ 97 h 659"/>
                <a:gd name="T24" fmla="*/ 172 w 656"/>
                <a:gd name="T25" fmla="*/ 41 h 659"/>
                <a:gd name="T26" fmla="*/ 245 w 656"/>
                <a:gd name="T27" fmla="*/ 11 h 659"/>
                <a:gd name="T28" fmla="*/ 295 w 656"/>
                <a:gd name="T29" fmla="*/ 3 h 659"/>
                <a:gd name="T30" fmla="*/ 329 w 656"/>
                <a:gd name="T31" fmla="*/ 0 h 659"/>
                <a:gd name="T32" fmla="*/ 378 w 656"/>
                <a:gd name="T33" fmla="*/ 4 h 659"/>
                <a:gd name="T34" fmla="*/ 425 w 656"/>
                <a:gd name="T35" fmla="*/ 15 h 659"/>
                <a:gd name="T36" fmla="*/ 511 w 656"/>
                <a:gd name="T37" fmla="*/ 57 h 659"/>
                <a:gd name="T38" fmla="*/ 581 w 656"/>
                <a:gd name="T39" fmla="*/ 120 h 659"/>
                <a:gd name="T40" fmla="*/ 631 w 656"/>
                <a:gd name="T41" fmla="*/ 202 h 659"/>
                <a:gd name="T42" fmla="*/ 650 w 656"/>
                <a:gd name="T43" fmla="*/ 264 h 659"/>
                <a:gd name="T44" fmla="*/ 656 w 656"/>
                <a:gd name="T45" fmla="*/ 312 h 659"/>
                <a:gd name="T46" fmla="*/ 656 w 656"/>
                <a:gd name="T47" fmla="*/ 347 h 659"/>
                <a:gd name="T48" fmla="*/ 650 w 656"/>
                <a:gd name="T49" fmla="*/ 395 h 659"/>
                <a:gd name="T50" fmla="*/ 631 w 656"/>
                <a:gd name="T51" fmla="*/ 457 h 659"/>
                <a:gd name="T52" fmla="*/ 581 w 656"/>
                <a:gd name="T53" fmla="*/ 539 h 659"/>
                <a:gd name="T54" fmla="*/ 511 w 656"/>
                <a:gd name="T55" fmla="*/ 602 h 659"/>
                <a:gd name="T56" fmla="*/ 425 w 656"/>
                <a:gd name="T57" fmla="*/ 644 h 659"/>
                <a:gd name="T58" fmla="*/ 378 w 656"/>
                <a:gd name="T59" fmla="*/ 655 h 659"/>
                <a:gd name="T60" fmla="*/ 329 w 656"/>
                <a:gd name="T61" fmla="*/ 659 h 659"/>
                <a:gd name="T62" fmla="*/ 329 w 656"/>
                <a:gd name="T63" fmla="*/ 38 h 659"/>
                <a:gd name="T64" fmla="*/ 241 w 656"/>
                <a:gd name="T65" fmla="*/ 51 h 659"/>
                <a:gd name="T66" fmla="*/ 165 w 656"/>
                <a:gd name="T67" fmla="*/ 88 h 659"/>
                <a:gd name="T68" fmla="*/ 103 w 656"/>
                <a:gd name="T69" fmla="*/ 144 h 659"/>
                <a:gd name="T70" fmla="*/ 60 w 656"/>
                <a:gd name="T71" fmla="*/ 217 h 659"/>
                <a:gd name="T72" fmla="*/ 39 w 656"/>
                <a:gd name="T73" fmla="*/ 300 h 659"/>
                <a:gd name="T74" fmla="*/ 39 w 656"/>
                <a:gd name="T75" fmla="*/ 359 h 659"/>
                <a:gd name="T76" fmla="*/ 60 w 656"/>
                <a:gd name="T77" fmla="*/ 442 h 659"/>
                <a:gd name="T78" fmla="*/ 103 w 656"/>
                <a:gd name="T79" fmla="*/ 515 h 659"/>
                <a:gd name="T80" fmla="*/ 165 w 656"/>
                <a:gd name="T81" fmla="*/ 571 h 659"/>
                <a:gd name="T82" fmla="*/ 241 w 656"/>
                <a:gd name="T83" fmla="*/ 608 h 659"/>
                <a:gd name="T84" fmla="*/ 329 w 656"/>
                <a:gd name="T85" fmla="*/ 621 h 659"/>
                <a:gd name="T86" fmla="*/ 386 w 656"/>
                <a:gd name="T87" fmla="*/ 614 h 659"/>
                <a:gd name="T88" fmla="*/ 467 w 656"/>
                <a:gd name="T89" fmla="*/ 586 h 659"/>
                <a:gd name="T90" fmla="*/ 534 w 656"/>
                <a:gd name="T91" fmla="*/ 535 h 659"/>
                <a:gd name="T92" fmla="*/ 584 w 656"/>
                <a:gd name="T93" fmla="*/ 468 h 659"/>
                <a:gd name="T94" fmla="*/ 613 w 656"/>
                <a:gd name="T95" fmla="*/ 389 h 659"/>
                <a:gd name="T96" fmla="*/ 619 w 656"/>
                <a:gd name="T97" fmla="*/ 329 h 659"/>
                <a:gd name="T98" fmla="*/ 607 w 656"/>
                <a:gd name="T99" fmla="*/ 244 h 659"/>
                <a:gd name="T100" fmla="*/ 569 w 656"/>
                <a:gd name="T101" fmla="*/ 167 h 659"/>
                <a:gd name="T102" fmla="*/ 513 w 656"/>
                <a:gd name="T103" fmla="*/ 105 h 659"/>
                <a:gd name="T104" fmla="*/ 442 w 656"/>
                <a:gd name="T105" fmla="*/ 61 h 659"/>
                <a:gd name="T106" fmla="*/ 358 w 656"/>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6" h="659">
                  <a:moveTo>
                    <a:pt x="329" y="659"/>
                  </a:moveTo>
                  <a:lnTo>
                    <a:pt x="329" y="659"/>
                  </a:lnTo>
                  <a:lnTo>
                    <a:pt x="311" y="657"/>
                  </a:lnTo>
                  <a:lnTo>
                    <a:pt x="295" y="657"/>
                  </a:lnTo>
                  <a:lnTo>
                    <a:pt x="278" y="655"/>
                  </a:lnTo>
                  <a:lnTo>
                    <a:pt x="262" y="652"/>
                  </a:lnTo>
                  <a:lnTo>
                    <a:pt x="245" y="648"/>
                  </a:lnTo>
                  <a:lnTo>
                    <a:pt x="231" y="644"/>
                  </a:lnTo>
                  <a:lnTo>
                    <a:pt x="200" y="633"/>
                  </a:lnTo>
                  <a:lnTo>
                    <a:pt x="172" y="618"/>
                  </a:lnTo>
                  <a:lnTo>
                    <a:pt x="145" y="602"/>
                  </a:lnTo>
                  <a:lnTo>
                    <a:pt x="119" y="583"/>
                  </a:lnTo>
                  <a:lnTo>
                    <a:pt x="96" y="562"/>
                  </a:lnTo>
                  <a:lnTo>
                    <a:pt x="75" y="539"/>
                  </a:lnTo>
                  <a:lnTo>
                    <a:pt x="56" y="514"/>
                  </a:lnTo>
                  <a:lnTo>
                    <a:pt x="39" y="487"/>
                  </a:lnTo>
                  <a:lnTo>
                    <a:pt x="25" y="457"/>
                  </a:lnTo>
                  <a:lnTo>
                    <a:pt x="14" y="428"/>
                  </a:lnTo>
                  <a:lnTo>
                    <a:pt x="9" y="411"/>
                  </a:lnTo>
                  <a:lnTo>
                    <a:pt x="6" y="395"/>
                  </a:lnTo>
                  <a:lnTo>
                    <a:pt x="4" y="379"/>
                  </a:lnTo>
                  <a:lnTo>
                    <a:pt x="1" y="363"/>
                  </a:lnTo>
                  <a:lnTo>
                    <a:pt x="0" y="347"/>
                  </a:lnTo>
                  <a:lnTo>
                    <a:pt x="0" y="329"/>
                  </a:lnTo>
                  <a:lnTo>
                    <a:pt x="0" y="329"/>
                  </a:lnTo>
                  <a:lnTo>
                    <a:pt x="0" y="312"/>
                  </a:lnTo>
                  <a:lnTo>
                    <a:pt x="1" y="296"/>
                  </a:lnTo>
                  <a:lnTo>
                    <a:pt x="4" y="280"/>
                  </a:lnTo>
                  <a:lnTo>
                    <a:pt x="6" y="264"/>
                  </a:lnTo>
                  <a:lnTo>
                    <a:pt x="9" y="248"/>
                  </a:lnTo>
                  <a:lnTo>
                    <a:pt x="14" y="231"/>
                  </a:lnTo>
                  <a:lnTo>
                    <a:pt x="25" y="202"/>
                  </a:lnTo>
                  <a:lnTo>
                    <a:pt x="39" y="172"/>
                  </a:lnTo>
                  <a:lnTo>
                    <a:pt x="56" y="145"/>
                  </a:lnTo>
                  <a:lnTo>
                    <a:pt x="75" y="120"/>
                  </a:lnTo>
                  <a:lnTo>
                    <a:pt x="96" y="97"/>
                  </a:lnTo>
                  <a:lnTo>
                    <a:pt x="119" y="76"/>
                  </a:lnTo>
                  <a:lnTo>
                    <a:pt x="145" y="57"/>
                  </a:lnTo>
                  <a:lnTo>
                    <a:pt x="172" y="41"/>
                  </a:lnTo>
                  <a:lnTo>
                    <a:pt x="200" y="27"/>
                  </a:lnTo>
                  <a:lnTo>
                    <a:pt x="231" y="15"/>
                  </a:lnTo>
                  <a:lnTo>
                    <a:pt x="245" y="11"/>
                  </a:lnTo>
                  <a:lnTo>
                    <a:pt x="262" y="7"/>
                  </a:lnTo>
                  <a:lnTo>
                    <a:pt x="278" y="4"/>
                  </a:lnTo>
                  <a:lnTo>
                    <a:pt x="295" y="3"/>
                  </a:lnTo>
                  <a:lnTo>
                    <a:pt x="311" y="2"/>
                  </a:lnTo>
                  <a:lnTo>
                    <a:pt x="329" y="0"/>
                  </a:lnTo>
                  <a:lnTo>
                    <a:pt x="329" y="0"/>
                  </a:lnTo>
                  <a:lnTo>
                    <a:pt x="345" y="2"/>
                  </a:lnTo>
                  <a:lnTo>
                    <a:pt x="362" y="3"/>
                  </a:lnTo>
                  <a:lnTo>
                    <a:pt x="378" y="4"/>
                  </a:lnTo>
                  <a:lnTo>
                    <a:pt x="395" y="7"/>
                  </a:lnTo>
                  <a:lnTo>
                    <a:pt x="411" y="11"/>
                  </a:lnTo>
                  <a:lnTo>
                    <a:pt x="425" y="15"/>
                  </a:lnTo>
                  <a:lnTo>
                    <a:pt x="456" y="27"/>
                  </a:lnTo>
                  <a:lnTo>
                    <a:pt x="485" y="41"/>
                  </a:lnTo>
                  <a:lnTo>
                    <a:pt x="511" y="57"/>
                  </a:lnTo>
                  <a:lnTo>
                    <a:pt x="537" y="76"/>
                  </a:lnTo>
                  <a:lnTo>
                    <a:pt x="561" y="97"/>
                  </a:lnTo>
                  <a:lnTo>
                    <a:pt x="581" y="120"/>
                  </a:lnTo>
                  <a:lnTo>
                    <a:pt x="600" y="145"/>
                  </a:lnTo>
                  <a:lnTo>
                    <a:pt x="618" y="172"/>
                  </a:lnTo>
                  <a:lnTo>
                    <a:pt x="631" y="202"/>
                  </a:lnTo>
                  <a:lnTo>
                    <a:pt x="642" y="231"/>
                  </a:lnTo>
                  <a:lnTo>
                    <a:pt x="647" y="248"/>
                  </a:lnTo>
                  <a:lnTo>
                    <a:pt x="650" y="264"/>
                  </a:lnTo>
                  <a:lnTo>
                    <a:pt x="652" y="280"/>
                  </a:lnTo>
                  <a:lnTo>
                    <a:pt x="655" y="296"/>
                  </a:lnTo>
                  <a:lnTo>
                    <a:pt x="656" y="312"/>
                  </a:lnTo>
                  <a:lnTo>
                    <a:pt x="656" y="329"/>
                  </a:lnTo>
                  <a:lnTo>
                    <a:pt x="656" y="329"/>
                  </a:lnTo>
                  <a:lnTo>
                    <a:pt x="656" y="347"/>
                  </a:lnTo>
                  <a:lnTo>
                    <a:pt x="655" y="363"/>
                  </a:lnTo>
                  <a:lnTo>
                    <a:pt x="652" y="379"/>
                  </a:lnTo>
                  <a:lnTo>
                    <a:pt x="650" y="395"/>
                  </a:lnTo>
                  <a:lnTo>
                    <a:pt x="647" y="411"/>
                  </a:lnTo>
                  <a:lnTo>
                    <a:pt x="642" y="428"/>
                  </a:lnTo>
                  <a:lnTo>
                    <a:pt x="631" y="457"/>
                  </a:lnTo>
                  <a:lnTo>
                    <a:pt x="618" y="487"/>
                  </a:lnTo>
                  <a:lnTo>
                    <a:pt x="600" y="514"/>
                  </a:lnTo>
                  <a:lnTo>
                    <a:pt x="581" y="539"/>
                  </a:lnTo>
                  <a:lnTo>
                    <a:pt x="561" y="562"/>
                  </a:lnTo>
                  <a:lnTo>
                    <a:pt x="537" y="583"/>
                  </a:lnTo>
                  <a:lnTo>
                    <a:pt x="511" y="602"/>
                  </a:lnTo>
                  <a:lnTo>
                    <a:pt x="485" y="618"/>
                  </a:lnTo>
                  <a:lnTo>
                    <a:pt x="456" y="633"/>
                  </a:lnTo>
                  <a:lnTo>
                    <a:pt x="425" y="644"/>
                  </a:lnTo>
                  <a:lnTo>
                    <a:pt x="411" y="648"/>
                  </a:lnTo>
                  <a:lnTo>
                    <a:pt x="395" y="652"/>
                  </a:lnTo>
                  <a:lnTo>
                    <a:pt x="378" y="655"/>
                  </a:lnTo>
                  <a:lnTo>
                    <a:pt x="362" y="657"/>
                  </a:lnTo>
                  <a:lnTo>
                    <a:pt x="345" y="657"/>
                  </a:lnTo>
                  <a:lnTo>
                    <a:pt x="329" y="659"/>
                  </a:lnTo>
                  <a:lnTo>
                    <a:pt x="329" y="659"/>
                  </a:lnTo>
                  <a:close/>
                  <a:moveTo>
                    <a:pt x="329" y="38"/>
                  </a:moveTo>
                  <a:lnTo>
                    <a:pt x="329" y="38"/>
                  </a:lnTo>
                  <a:lnTo>
                    <a:pt x="298" y="39"/>
                  </a:lnTo>
                  <a:lnTo>
                    <a:pt x="270" y="45"/>
                  </a:lnTo>
                  <a:lnTo>
                    <a:pt x="241" y="51"/>
                  </a:lnTo>
                  <a:lnTo>
                    <a:pt x="215" y="61"/>
                  </a:lnTo>
                  <a:lnTo>
                    <a:pt x="189" y="73"/>
                  </a:lnTo>
                  <a:lnTo>
                    <a:pt x="165" y="88"/>
                  </a:lnTo>
                  <a:lnTo>
                    <a:pt x="143" y="105"/>
                  </a:lnTo>
                  <a:lnTo>
                    <a:pt x="122" y="124"/>
                  </a:lnTo>
                  <a:lnTo>
                    <a:pt x="103" y="144"/>
                  </a:lnTo>
                  <a:lnTo>
                    <a:pt x="87" y="167"/>
                  </a:lnTo>
                  <a:lnTo>
                    <a:pt x="72" y="191"/>
                  </a:lnTo>
                  <a:lnTo>
                    <a:pt x="60" y="217"/>
                  </a:lnTo>
                  <a:lnTo>
                    <a:pt x="51" y="244"/>
                  </a:lnTo>
                  <a:lnTo>
                    <a:pt x="43" y="270"/>
                  </a:lnTo>
                  <a:lnTo>
                    <a:pt x="39" y="300"/>
                  </a:lnTo>
                  <a:lnTo>
                    <a:pt x="37" y="329"/>
                  </a:lnTo>
                  <a:lnTo>
                    <a:pt x="37" y="329"/>
                  </a:lnTo>
                  <a:lnTo>
                    <a:pt x="39" y="359"/>
                  </a:lnTo>
                  <a:lnTo>
                    <a:pt x="43" y="389"/>
                  </a:lnTo>
                  <a:lnTo>
                    <a:pt x="51" y="415"/>
                  </a:lnTo>
                  <a:lnTo>
                    <a:pt x="60" y="442"/>
                  </a:lnTo>
                  <a:lnTo>
                    <a:pt x="72" y="468"/>
                  </a:lnTo>
                  <a:lnTo>
                    <a:pt x="87" y="492"/>
                  </a:lnTo>
                  <a:lnTo>
                    <a:pt x="103" y="515"/>
                  </a:lnTo>
                  <a:lnTo>
                    <a:pt x="122" y="535"/>
                  </a:lnTo>
                  <a:lnTo>
                    <a:pt x="143" y="554"/>
                  </a:lnTo>
                  <a:lnTo>
                    <a:pt x="165" y="571"/>
                  </a:lnTo>
                  <a:lnTo>
                    <a:pt x="189" y="586"/>
                  </a:lnTo>
                  <a:lnTo>
                    <a:pt x="215" y="598"/>
                  </a:lnTo>
                  <a:lnTo>
                    <a:pt x="241" y="608"/>
                  </a:lnTo>
                  <a:lnTo>
                    <a:pt x="270" y="614"/>
                  </a:lnTo>
                  <a:lnTo>
                    <a:pt x="298" y="620"/>
                  </a:lnTo>
                  <a:lnTo>
                    <a:pt x="329" y="621"/>
                  </a:lnTo>
                  <a:lnTo>
                    <a:pt x="329" y="621"/>
                  </a:lnTo>
                  <a:lnTo>
                    <a:pt x="358" y="620"/>
                  </a:lnTo>
                  <a:lnTo>
                    <a:pt x="386" y="614"/>
                  </a:lnTo>
                  <a:lnTo>
                    <a:pt x="415" y="608"/>
                  </a:lnTo>
                  <a:lnTo>
                    <a:pt x="442" y="598"/>
                  </a:lnTo>
                  <a:lnTo>
                    <a:pt x="467" y="586"/>
                  </a:lnTo>
                  <a:lnTo>
                    <a:pt x="491" y="571"/>
                  </a:lnTo>
                  <a:lnTo>
                    <a:pt x="513" y="554"/>
                  </a:lnTo>
                  <a:lnTo>
                    <a:pt x="534" y="535"/>
                  </a:lnTo>
                  <a:lnTo>
                    <a:pt x="553" y="515"/>
                  </a:lnTo>
                  <a:lnTo>
                    <a:pt x="569" y="492"/>
                  </a:lnTo>
                  <a:lnTo>
                    <a:pt x="584" y="468"/>
                  </a:lnTo>
                  <a:lnTo>
                    <a:pt x="596" y="442"/>
                  </a:lnTo>
                  <a:lnTo>
                    <a:pt x="607" y="415"/>
                  </a:lnTo>
                  <a:lnTo>
                    <a:pt x="613" y="389"/>
                  </a:lnTo>
                  <a:lnTo>
                    <a:pt x="618" y="359"/>
                  </a:lnTo>
                  <a:lnTo>
                    <a:pt x="619" y="329"/>
                  </a:lnTo>
                  <a:lnTo>
                    <a:pt x="619" y="329"/>
                  </a:lnTo>
                  <a:lnTo>
                    <a:pt x="618" y="300"/>
                  </a:lnTo>
                  <a:lnTo>
                    <a:pt x="613" y="270"/>
                  </a:lnTo>
                  <a:lnTo>
                    <a:pt x="607" y="244"/>
                  </a:lnTo>
                  <a:lnTo>
                    <a:pt x="596" y="217"/>
                  </a:lnTo>
                  <a:lnTo>
                    <a:pt x="584" y="191"/>
                  </a:lnTo>
                  <a:lnTo>
                    <a:pt x="569" y="167"/>
                  </a:lnTo>
                  <a:lnTo>
                    <a:pt x="553" y="144"/>
                  </a:lnTo>
                  <a:lnTo>
                    <a:pt x="534" y="124"/>
                  </a:lnTo>
                  <a:lnTo>
                    <a:pt x="513" y="105"/>
                  </a:lnTo>
                  <a:lnTo>
                    <a:pt x="491" y="88"/>
                  </a:lnTo>
                  <a:lnTo>
                    <a:pt x="467" y="73"/>
                  </a:lnTo>
                  <a:lnTo>
                    <a:pt x="442" y="61"/>
                  </a:lnTo>
                  <a:lnTo>
                    <a:pt x="415" y="51"/>
                  </a:lnTo>
                  <a:lnTo>
                    <a:pt x="386" y="45"/>
                  </a:lnTo>
                  <a:lnTo>
                    <a:pt x="358" y="39"/>
                  </a:lnTo>
                  <a:lnTo>
                    <a:pt x="329" y="38"/>
                  </a:lnTo>
                  <a:lnTo>
                    <a:pt x="329" y="38"/>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66" name="Freeform 178">
              <a:extLst>
                <a:ext uri="{FF2B5EF4-FFF2-40B4-BE49-F238E27FC236}">
                  <a16:creationId xmlns:a16="http://schemas.microsoft.com/office/drawing/2014/main" id="{44E90575-8390-47D8-AC5B-A1E341D1BAB1}"/>
                </a:ext>
              </a:extLst>
            </p:cNvPr>
            <p:cNvSpPr>
              <a:spLocks/>
            </p:cNvSpPr>
            <p:nvPr/>
          </p:nvSpPr>
          <p:spPr bwMode="auto">
            <a:xfrm>
              <a:off x="9493251" y="1127125"/>
              <a:ext cx="250825" cy="66675"/>
            </a:xfrm>
            <a:custGeom>
              <a:avLst/>
              <a:gdLst>
                <a:gd name="T0" fmla="*/ 314 w 315"/>
                <a:gd name="T1" fmla="*/ 62 h 84"/>
                <a:gd name="T2" fmla="*/ 288 w 315"/>
                <a:gd name="T3" fmla="*/ 3 h 84"/>
                <a:gd name="T4" fmla="*/ 288 w 315"/>
                <a:gd name="T5" fmla="*/ 3 h 84"/>
                <a:gd name="T6" fmla="*/ 286 w 315"/>
                <a:gd name="T7" fmla="*/ 0 h 84"/>
                <a:gd name="T8" fmla="*/ 283 w 315"/>
                <a:gd name="T9" fmla="*/ 0 h 84"/>
                <a:gd name="T10" fmla="*/ 32 w 315"/>
                <a:gd name="T11" fmla="*/ 0 h 84"/>
                <a:gd name="T12" fmla="*/ 32 w 315"/>
                <a:gd name="T13" fmla="*/ 0 h 84"/>
                <a:gd name="T14" fmla="*/ 29 w 315"/>
                <a:gd name="T15" fmla="*/ 0 h 84"/>
                <a:gd name="T16" fmla="*/ 26 w 315"/>
                <a:gd name="T17" fmla="*/ 3 h 84"/>
                <a:gd name="T18" fmla="*/ 1 w 315"/>
                <a:gd name="T19" fmla="*/ 62 h 84"/>
                <a:gd name="T20" fmla="*/ 1 w 315"/>
                <a:gd name="T21" fmla="*/ 62 h 84"/>
                <a:gd name="T22" fmla="*/ 0 w 315"/>
                <a:gd name="T23" fmla="*/ 66 h 84"/>
                <a:gd name="T24" fmla="*/ 0 w 315"/>
                <a:gd name="T25" fmla="*/ 70 h 84"/>
                <a:gd name="T26" fmla="*/ 1 w 315"/>
                <a:gd name="T27" fmla="*/ 74 h 84"/>
                <a:gd name="T28" fmla="*/ 2 w 315"/>
                <a:gd name="T29" fmla="*/ 77 h 84"/>
                <a:gd name="T30" fmla="*/ 2 w 315"/>
                <a:gd name="T31" fmla="*/ 77 h 84"/>
                <a:gd name="T32" fmla="*/ 5 w 315"/>
                <a:gd name="T33" fmla="*/ 79 h 84"/>
                <a:gd name="T34" fmla="*/ 8 w 315"/>
                <a:gd name="T35" fmla="*/ 82 h 84"/>
                <a:gd name="T36" fmla="*/ 12 w 315"/>
                <a:gd name="T37" fmla="*/ 84 h 84"/>
                <a:gd name="T38" fmla="*/ 16 w 315"/>
                <a:gd name="T39" fmla="*/ 84 h 84"/>
                <a:gd name="T40" fmla="*/ 299 w 315"/>
                <a:gd name="T41" fmla="*/ 84 h 84"/>
                <a:gd name="T42" fmla="*/ 299 w 315"/>
                <a:gd name="T43" fmla="*/ 84 h 84"/>
                <a:gd name="T44" fmla="*/ 303 w 315"/>
                <a:gd name="T45" fmla="*/ 84 h 84"/>
                <a:gd name="T46" fmla="*/ 307 w 315"/>
                <a:gd name="T47" fmla="*/ 82 h 84"/>
                <a:gd name="T48" fmla="*/ 310 w 315"/>
                <a:gd name="T49" fmla="*/ 79 h 84"/>
                <a:gd name="T50" fmla="*/ 313 w 315"/>
                <a:gd name="T51" fmla="*/ 77 h 84"/>
                <a:gd name="T52" fmla="*/ 313 w 315"/>
                <a:gd name="T53" fmla="*/ 77 h 84"/>
                <a:gd name="T54" fmla="*/ 314 w 315"/>
                <a:gd name="T55" fmla="*/ 74 h 84"/>
                <a:gd name="T56" fmla="*/ 315 w 315"/>
                <a:gd name="T57" fmla="*/ 70 h 84"/>
                <a:gd name="T58" fmla="*/ 315 w 315"/>
                <a:gd name="T59" fmla="*/ 66 h 84"/>
                <a:gd name="T60" fmla="*/ 314 w 315"/>
                <a:gd name="T61" fmla="*/ 62 h 84"/>
                <a:gd name="T62" fmla="*/ 314 w 315"/>
                <a:gd name="T63" fmla="*/ 6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15" h="84">
                  <a:moveTo>
                    <a:pt x="314" y="62"/>
                  </a:moveTo>
                  <a:lnTo>
                    <a:pt x="288" y="3"/>
                  </a:lnTo>
                  <a:lnTo>
                    <a:pt x="288" y="3"/>
                  </a:lnTo>
                  <a:lnTo>
                    <a:pt x="286" y="0"/>
                  </a:lnTo>
                  <a:lnTo>
                    <a:pt x="283" y="0"/>
                  </a:lnTo>
                  <a:lnTo>
                    <a:pt x="32" y="0"/>
                  </a:lnTo>
                  <a:lnTo>
                    <a:pt x="32" y="0"/>
                  </a:lnTo>
                  <a:lnTo>
                    <a:pt x="29" y="0"/>
                  </a:lnTo>
                  <a:lnTo>
                    <a:pt x="26" y="3"/>
                  </a:lnTo>
                  <a:lnTo>
                    <a:pt x="1" y="62"/>
                  </a:lnTo>
                  <a:lnTo>
                    <a:pt x="1" y="62"/>
                  </a:lnTo>
                  <a:lnTo>
                    <a:pt x="0" y="66"/>
                  </a:lnTo>
                  <a:lnTo>
                    <a:pt x="0" y="70"/>
                  </a:lnTo>
                  <a:lnTo>
                    <a:pt x="1" y="74"/>
                  </a:lnTo>
                  <a:lnTo>
                    <a:pt x="2" y="77"/>
                  </a:lnTo>
                  <a:lnTo>
                    <a:pt x="2" y="77"/>
                  </a:lnTo>
                  <a:lnTo>
                    <a:pt x="5" y="79"/>
                  </a:lnTo>
                  <a:lnTo>
                    <a:pt x="8" y="82"/>
                  </a:lnTo>
                  <a:lnTo>
                    <a:pt x="12" y="84"/>
                  </a:lnTo>
                  <a:lnTo>
                    <a:pt x="16" y="84"/>
                  </a:lnTo>
                  <a:lnTo>
                    <a:pt x="299" y="84"/>
                  </a:lnTo>
                  <a:lnTo>
                    <a:pt x="299" y="84"/>
                  </a:lnTo>
                  <a:lnTo>
                    <a:pt x="303" y="84"/>
                  </a:lnTo>
                  <a:lnTo>
                    <a:pt x="307" y="82"/>
                  </a:lnTo>
                  <a:lnTo>
                    <a:pt x="310" y="79"/>
                  </a:lnTo>
                  <a:lnTo>
                    <a:pt x="313" y="77"/>
                  </a:lnTo>
                  <a:lnTo>
                    <a:pt x="313" y="77"/>
                  </a:lnTo>
                  <a:lnTo>
                    <a:pt x="314" y="74"/>
                  </a:lnTo>
                  <a:lnTo>
                    <a:pt x="315" y="70"/>
                  </a:lnTo>
                  <a:lnTo>
                    <a:pt x="315" y="66"/>
                  </a:lnTo>
                  <a:lnTo>
                    <a:pt x="314" y="62"/>
                  </a:lnTo>
                  <a:lnTo>
                    <a:pt x="314"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67" name="Freeform 179">
              <a:extLst>
                <a:ext uri="{FF2B5EF4-FFF2-40B4-BE49-F238E27FC236}">
                  <a16:creationId xmlns:a16="http://schemas.microsoft.com/office/drawing/2014/main" id="{DF337EE8-6F7D-4591-9571-F11E3A1CBA74}"/>
                </a:ext>
              </a:extLst>
            </p:cNvPr>
            <p:cNvSpPr>
              <a:spLocks noEditPoints="1"/>
            </p:cNvSpPr>
            <p:nvPr/>
          </p:nvSpPr>
          <p:spPr bwMode="auto">
            <a:xfrm>
              <a:off x="9515476" y="969963"/>
              <a:ext cx="207963" cy="149225"/>
            </a:xfrm>
            <a:custGeom>
              <a:avLst/>
              <a:gdLst>
                <a:gd name="T0" fmla="*/ 6 w 262"/>
                <a:gd name="T1" fmla="*/ 188 h 188"/>
                <a:gd name="T2" fmla="*/ 257 w 262"/>
                <a:gd name="T3" fmla="*/ 188 h 188"/>
                <a:gd name="T4" fmla="*/ 257 w 262"/>
                <a:gd name="T5" fmla="*/ 188 h 188"/>
                <a:gd name="T6" fmla="*/ 260 w 262"/>
                <a:gd name="T7" fmla="*/ 188 h 188"/>
                <a:gd name="T8" fmla="*/ 261 w 262"/>
                <a:gd name="T9" fmla="*/ 187 h 188"/>
                <a:gd name="T10" fmla="*/ 262 w 262"/>
                <a:gd name="T11" fmla="*/ 186 h 188"/>
                <a:gd name="T12" fmla="*/ 262 w 262"/>
                <a:gd name="T13" fmla="*/ 183 h 188"/>
                <a:gd name="T14" fmla="*/ 262 w 262"/>
                <a:gd name="T15" fmla="*/ 26 h 188"/>
                <a:gd name="T16" fmla="*/ 262 w 262"/>
                <a:gd name="T17" fmla="*/ 26 h 188"/>
                <a:gd name="T18" fmla="*/ 262 w 262"/>
                <a:gd name="T19" fmla="*/ 21 h 188"/>
                <a:gd name="T20" fmla="*/ 261 w 262"/>
                <a:gd name="T21" fmla="*/ 15 h 188"/>
                <a:gd name="T22" fmla="*/ 258 w 262"/>
                <a:gd name="T23" fmla="*/ 11 h 188"/>
                <a:gd name="T24" fmla="*/ 254 w 262"/>
                <a:gd name="T25" fmla="*/ 7 h 188"/>
                <a:gd name="T26" fmla="*/ 250 w 262"/>
                <a:gd name="T27" fmla="*/ 4 h 188"/>
                <a:gd name="T28" fmla="*/ 246 w 262"/>
                <a:gd name="T29" fmla="*/ 2 h 188"/>
                <a:gd name="T30" fmla="*/ 241 w 262"/>
                <a:gd name="T31" fmla="*/ 0 h 188"/>
                <a:gd name="T32" fmla="*/ 237 w 262"/>
                <a:gd name="T33" fmla="*/ 0 h 188"/>
                <a:gd name="T34" fmla="*/ 26 w 262"/>
                <a:gd name="T35" fmla="*/ 0 h 188"/>
                <a:gd name="T36" fmla="*/ 26 w 262"/>
                <a:gd name="T37" fmla="*/ 0 h 188"/>
                <a:gd name="T38" fmla="*/ 22 w 262"/>
                <a:gd name="T39" fmla="*/ 0 h 188"/>
                <a:gd name="T40" fmla="*/ 17 w 262"/>
                <a:gd name="T41" fmla="*/ 2 h 188"/>
                <a:gd name="T42" fmla="*/ 13 w 262"/>
                <a:gd name="T43" fmla="*/ 4 h 188"/>
                <a:gd name="T44" fmla="*/ 8 w 262"/>
                <a:gd name="T45" fmla="*/ 7 h 188"/>
                <a:gd name="T46" fmla="*/ 4 w 262"/>
                <a:gd name="T47" fmla="*/ 11 h 188"/>
                <a:gd name="T48" fmla="*/ 3 w 262"/>
                <a:gd name="T49" fmla="*/ 15 h 188"/>
                <a:gd name="T50" fmla="*/ 0 w 262"/>
                <a:gd name="T51" fmla="*/ 21 h 188"/>
                <a:gd name="T52" fmla="*/ 0 w 262"/>
                <a:gd name="T53" fmla="*/ 26 h 188"/>
                <a:gd name="T54" fmla="*/ 0 w 262"/>
                <a:gd name="T55" fmla="*/ 183 h 188"/>
                <a:gd name="T56" fmla="*/ 0 w 262"/>
                <a:gd name="T57" fmla="*/ 183 h 188"/>
                <a:gd name="T58" fmla="*/ 0 w 262"/>
                <a:gd name="T59" fmla="*/ 186 h 188"/>
                <a:gd name="T60" fmla="*/ 2 w 262"/>
                <a:gd name="T61" fmla="*/ 187 h 188"/>
                <a:gd name="T62" fmla="*/ 3 w 262"/>
                <a:gd name="T63" fmla="*/ 188 h 188"/>
                <a:gd name="T64" fmla="*/ 6 w 262"/>
                <a:gd name="T65" fmla="*/ 188 h 188"/>
                <a:gd name="T66" fmla="*/ 6 w 262"/>
                <a:gd name="T67" fmla="*/ 188 h 188"/>
                <a:gd name="T68" fmla="*/ 18 w 262"/>
                <a:gd name="T69" fmla="*/ 25 h 188"/>
                <a:gd name="T70" fmla="*/ 18 w 262"/>
                <a:gd name="T71" fmla="*/ 25 h 188"/>
                <a:gd name="T72" fmla="*/ 18 w 262"/>
                <a:gd name="T73" fmla="*/ 22 h 188"/>
                <a:gd name="T74" fmla="*/ 19 w 262"/>
                <a:gd name="T75" fmla="*/ 21 h 188"/>
                <a:gd name="T76" fmla="*/ 21 w 262"/>
                <a:gd name="T77" fmla="*/ 19 h 188"/>
                <a:gd name="T78" fmla="*/ 23 w 262"/>
                <a:gd name="T79" fmla="*/ 19 h 188"/>
                <a:gd name="T80" fmla="*/ 240 w 262"/>
                <a:gd name="T81" fmla="*/ 19 h 188"/>
                <a:gd name="T82" fmla="*/ 240 w 262"/>
                <a:gd name="T83" fmla="*/ 19 h 188"/>
                <a:gd name="T84" fmla="*/ 241 w 262"/>
                <a:gd name="T85" fmla="*/ 19 h 188"/>
                <a:gd name="T86" fmla="*/ 244 w 262"/>
                <a:gd name="T87" fmla="*/ 21 h 188"/>
                <a:gd name="T88" fmla="*/ 244 w 262"/>
                <a:gd name="T89" fmla="*/ 22 h 188"/>
                <a:gd name="T90" fmla="*/ 245 w 262"/>
                <a:gd name="T91" fmla="*/ 25 h 188"/>
                <a:gd name="T92" fmla="*/ 245 w 262"/>
                <a:gd name="T93" fmla="*/ 166 h 188"/>
                <a:gd name="T94" fmla="*/ 245 w 262"/>
                <a:gd name="T95" fmla="*/ 166 h 188"/>
                <a:gd name="T96" fmla="*/ 244 w 262"/>
                <a:gd name="T97" fmla="*/ 167 h 188"/>
                <a:gd name="T98" fmla="*/ 244 w 262"/>
                <a:gd name="T99" fmla="*/ 170 h 188"/>
                <a:gd name="T100" fmla="*/ 241 w 262"/>
                <a:gd name="T101" fmla="*/ 170 h 188"/>
                <a:gd name="T102" fmla="*/ 240 w 262"/>
                <a:gd name="T103" fmla="*/ 171 h 188"/>
                <a:gd name="T104" fmla="*/ 23 w 262"/>
                <a:gd name="T105" fmla="*/ 171 h 188"/>
                <a:gd name="T106" fmla="*/ 23 w 262"/>
                <a:gd name="T107" fmla="*/ 171 h 188"/>
                <a:gd name="T108" fmla="*/ 21 w 262"/>
                <a:gd name="T109" fmla="*/ 170 h 188"/>
                <a:gd name="T110" fmla="*/ 19 w 262"/>
                <a:gd name="T111" fmla="*/ 170 h 188"/>
                <a:gd name="T112" fmla="*/ 18 w 262"/>
                <a:gd name="T113" fmla="*/ 167 h 188"/>
                <a:gd name="T114" fmla="*/ 18 w 262"/>
                <a:gd name="T115" fmla="*/ 166 h 188"/>
                <a:gd name="T116" fmla="*/ 18 w 262"/>
                <a:gd name="T117" fmla="*/ 25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2" h="188">
                  <a:moveTo>
                    <a:pt x="6" y="188"/>
                  </a:moveTo>
                  <a:lnTo>
                    <a:pt x="257" y="188"/>
                  </a:lnTo>
                  <a:lnTo>
                    <a:pt x="257" y="188"/>
                  </a:lnTo>
                  <a:lnTo>
                    <a:pt x="260" y="188"/>
                  </a:lnTo>
                  <a:lnTo>
                    <a:pt x="261" y="187"/>
                  </a:lnTo>
                  <a:lnTo>
                    <a:pt x="262" y="186"/>
                  </a:lnTo>
                  <a:lnTo>
                    <a:pt x="262" y="183"/>
                  </a:lnTo>
                  <a:lnTo>
                    <a:pt x="262" y="26"/>
                  </a:lnTo>
                  <a:lnTo>
                    <a:pt x="262" y="26"/>
                  </a:lnTo>
                  <a:lnTo>
                    <a:pt x="262" y="21"/>
                  </a:lnTo>
                  <a:lnTo>
                    <a:pt x="261" y="15"/>
                  </a:lnTo>
                  <a:lnTo>
                    <a:pt x="258" y="11"/>
                  </a:lnTo>
                  <a:lnTo>
                    <a:pt x="254" y="7"/>
                  </a:lnTo>
                  <a:lnTo>
                    <a:pt x="250" y="4"/>
                  </a:lnTo>
                  <a:lnTo>
                    <a:pt x="246" y="2"/>
                  </a:lnTo>
                  <a:lnTo>
                    <a:pt x="241" y="0"/>
                  </a:lnTo>
                  <a:lnTo>
                    <a:pt x="237" y="0"/>
                  </a:lnTo>
                  <a:lnTo>
                    <a:pt x="26" y="0"/>
                  </a:lnTo>
                  <a:lnTo>
                    <a:pt x="26" y="0"/>
                  </a:lnTo>
                  <a:lnTo>
                    <a:pt x="22" y="0"/>
                  </a:lnTo>
                  <a:lnTo>
                    <a:pt x="17" y="2"/>
                  </a:lnTo>
                  <a:lnTo>
                    <a:pt x="13" y="4"/>
                  </a:lnTo>
                  <a:lnTo>
                    <a:pt x="8" y="7"/>
                  </a:lnTo>
                  <a:lnTo>
                    <a:pt x="4" y="11"/>
                  </a:lnTo>
                  <a:lnTo>
                    <a:pt x="3" y="15"/>
                  </a:lnTo>
                  <a:lnTo>
                    <a:pt x="0" y="21"/>
                  </a:lnTo>
                  <a:lnTo>
                    <a:pt x="0" y="26"/>
                  </a:lnTo>
                  <a:lnTo>
                    <a:pt x="0" y="183"/>
                  </a:lnTo>
                  <a:lnTo>
                    <a:pt x="0" y="183"/>
                  </a:lnTo>
                  <a:lnTo>
                    <a:pt x="0" y="186"/>
                  </a:lnTo>
                  <a:lnTo>
                    <a:pt x="2" y="187"/>
                  </a:lnTo>
                  <a:lnTo>
                    <a:pt x="3" y="188"/>
                  </a:lnTo>
                  <a:lnTo>
                    <a:pt x="6" y="188"/>
                  </a:lnTo>
                  <a:lnTo>
                    <a:pt x="6" y="188"/>
                  </a:lnTo>
                  <a:close/>
                  <a:moveTo>
                    <a:pt x="18" y="25"/>
                  </a:moveTo>
                  <a:lnTo>
                    <a:pt x="18" y="25"/>
                  </a:lnTo>
                  <a:lnTo>
                    <a:pt x="18" y="22"/>
                  </a:lnTo>
                  <a:lnTo>
                    <a:pt x="19" y="21"/>
                  </a:lnTo>
                  <a:lnTo>
                    <a:pt x="21" y="19"/>
                  </a:lnTo>
                  <a:lnTo>
                    <a:pt x="23" y="19"/>
                  </a:lnTo>
                  <a:lnTo>
                    <a:pt x="240" y="19"/>
                  </a:lnTo>
                  <a:lnTo>
                    <a:pt x="240" y="19"/>
                  </a:lnTo>
                  <a:lnTo>
                    <a:pt x="241" y="19"/>
                  </a:lnTo>
                  <a:lnTo>
                    <a:pt x="244" y="21"/>
                  </a:lnTo>
                  <a:lnTo>
                    <a:pt x="244" y="22"/>
                  </a:lnTo>
                  <a:lnTo>
                    <a:pt x="245" y="25"/>
                  </a:lnTo>
                  <a:lnTo>
                    <a:pt x="245" y="166"/>
                  </a:lnTo>
                  <a:lnTo>
                    <a:pt x="245" y="166"/>
                  </a:lnTo>
                  <a:lnTo>
                    <a:pt x="244" y="167"/>
                  </a:lnTo>
                  <a:lnTo>
                    <a:pt x="244" y="170"/>
                  </a:lnTo>
                  <a:lnTo>
                    <a:pt x="241" y="170"/>
                  </a:lnTo>
                  <a:lnTo>
                    <a:pt x="240" y="171"/>
                  </a:lnTo>
                  <a:lnTo>
                    <a:pt x="23" y="171"/>
                  </a:lnTo>
                  <a:lnTo>
                    <a:pt x="23" y="171"/>
                  </a:lnTo>
                  <a:lnTo>
                    <a:pt x="21" y="170"/>
                  </a:lnTo>
                  <a:lnTo>
                    <a:pt x="19" y="170"/>
                  </a:lnTo>
                  <a:lnTo>
                    <a:pt x="18" y="167"/>
                  </a:lnTo>
                  <a:lnTo>
                    <a:pt x="18" y="166"/>
                  </a:lnTo>
                  <a:lnTo>
                    <a:pt x="18"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68" name="Group 167">
            <a:extLst>
              <a:ext uri="{FF2B5EF4-FFF2-40B4-BE49-F238E27FC236}">
                <a16:creationId xmlns:a16="http://schemas.microsoft.com/office/drawing/2014/main" id="{985164E8-C34F-4D7B-8EB0-9EB74B2447CD}"/>
              </a:ext>
            </a:extLst>
          </p:cNvPr>
          <p:cNvGrpSpPr>
            <a:grpSpLocks noChangeAspect="1"/>
          </p:cNvGrpSpPr>
          <p:nvPr/>
        </p:nvGrpSpPr>
        <p:grpSpPr>
          <a:xfrm>
            <a:off x="3223615" y="5874790"/>
            <a:ext cx="320040" cy="320040"/>
            <a:chOff x="9353551" y="823913"/>
            <a:chExt cx="522288" cy="522288"/>
          </a:xfrm>
        </p:grpSpPr>
        <p:sp>
          <p:nvSpPr>
            <p:cNvPr id="169" name="Freeform 40">
              <a:extLst>
                <a:ext uri="{FF2B5EF4-FFF2-40B4-BE49-F238E27FC236}">
                  <a16:creationId xmlns:a16="http://schemas.microsoft.com/office/drawing/2014/main" id="{96E18154-DD39-43DC-8A20-F7C3B7E51481}"/>
                </a:ext>
              </a:extLst>
            </p:cNvPr>
            <p:cNvSpPr>
              <a:spLocks noEditPoints="1"/>
            </p:cNvSpPr>
            <p:nvPr/>
          </p:nvSpPr>
          <p:spPr bwMode="auto">
            <a:xfrm>
              <a:off x="9353551" y="823913"/>
              <a:ext cx="522288" cy="522288"/>
            </a:xfrm>
            <a:custGeom>
              <a:avLst/>
              <a:gdLst>
                <a:gd name="T0" fmla="*/ 311 w 656"/>
                <a:gd name="T1" fmla="*/ 657 h 659"/>
                <a:gd name="T2" fmla="*/ 262 w 656"/>
                <a:gd name="T3" fmla="*/ 652 h 659"/>
                <a:gd name="T4" fmla="*/ 200 w 656"/>
                <a:gd name="T5" fmla="*/ 633 h 659"/>
                <a:gd name="T6" fmla="*/ 119 w 656"/>
                <a:gd name="T7" fmla="*/ 583 h 659"/>
                <a:gd name="T8" fmla="*/ 56 w 656"/>
                <a:gd name="T9" fmla="*/ 514 h 659"/>
                <a:gd name="T10" fmla="*/ 14 w 656"/>
                <a:gd name="T11" fmla="*/ 428 h 659"/>
                <a:gd name="T12" fmla="*/ 4 w 656"/>
                <a:gd name="T13" fmla="*/ 379 h 659"/>
                <a:gd name="T14" fmla="*/ 0 w 656"/>
                <a:gd name="T15" fmla="*/ 329 h 659"/>
                <a:gd name="T16" fmla="*/ 1 w 656"/>
                <a:gd name="T17" fmla="*/ 296 h 659"/>
                <a:gd name="T18" fmla="*/ 9 w 656"/>
                <a:gd name="T19" fmla="*/ 248 h 659"/>
                <a:gd name="T20" fmla="*/ 39 w 656"/>
                <a:gd name="T21" fmla="*/ 172 h 659"/>
                <a:gd name="T22" fmla="*/ 96 w 656"/>
                <a:gd name="T23" fmla="*/ 97 h 659"/>
                <a:gd name="T24" fmla="*/ 172 w 656"/>
                <a:gd name="T25" fmla="*/ 41 h 659"/>
                <a:gd name="T26" fmla="*/ 245 w 656"/>
                <a:gd name="T27" fmla="*/ 11 h 659"/>
                <a:gd name="T28" fmla="*/ 295 w 656"/>
                <a:gd name="T29" fmla="*/ 3 h 659"/>
                <a:gd name="T30" fmla="*/ 329 w 656"/>
                <a:gd name="T31" fmla="*/ 0 h 659"/>
                <a:gd name="T32" fmla="*/ 378 w 656"/>
                <a:gd name="T33" fmla="*/ 4 h 659"/>
                <a:gd name="T34" fmla="*/ 425 w 656"/>
                <a:gd name="T35" fmla="*/ 15 h 659"/>
                <a:gd name="T36" fmla="*/ 511 w 656"/>
                <a:gd name="T37" fmla="*/ 57 h 659"/>
                <a:gd name="T38" fmla="*/ 581 w 656"/>
                <a:gd name="T39" fmla="*/ 120 h 659"/>
                <a:gd name="T40" fmla="*/ 631 w 656"/>
                <a:gd name="T41" fmla="*/ 202 h 659"/>
                <a:gd name="T42" fmla="*/ 650 w 656"/>
                <a:gd name="T43" fmla="*/ 264 h 659"/>
                <a:gd name="T44" fmla="*/ 656 w 656"/>
                <a:gd name="T45" fmla="*/ 312 h 659"/>
                <a:gd name="T46" fmla="*/ 656 w 656"/>
                <a:gd name="T47" fmla="*/ 347 h 659"/>
                <a:gd name="T48" fmla="*/ 650 w 656"/>
                <a:gd name="T49" fmla="*/ 395 h 659"/>
                <a:gd name="T50" fmla="*/ 631 w 656"/>
                <a:gd name="T51" fmla="*/ 457 h 659"/>
                <a:gd name="T52" fmla="*/ 581 w 656"/>
                <a:gd name="T53" fmla="*/ 539 h 659"/>
                <a:gd name="T54" fmla="*/ 511 w 656"/>
                <a:gd name="T55" fmla="*/ 602 h 659"/>
                <a:gd name="T56" fmla="*/ 425 w 656"/>
                <a:gd name="T57" fmla="*/ 644 h 659"/>
                <a:gd name="T58" fmla="*/ 378 w 656"/>
                <a:gd name="T59" fmla="*/ 655 h 659"/>
                <a:gd name="T60" fmla="*/ 329 w 656"/>
                <a:gd name="T61" fmla="*/ 659 h 659"/>
                <a:gd name="T62" fmla="*/ 329 w 656"/>
                <a:gd name="T63" fmla="*/ 38 h 659"/>
                <a:gd name="T64" fmla="*/ 241 w 656"/>
                <a:gd name="T65" fmla="*/ 51 h 659"/>
                <a:gd name="T66" fmla="*/ 165 w 656"/>
                <a:gd name="T67" fmla="*/ 88 h 659"/>
                <a:gd name="T68" fmla="*/ 103 w 656"/>
                <a:gd name="T69" fmla="*/ 144 h 659"/>
                <a:gd name="T70" fmla="*/ 60 w 656"/>
                <a:gd name="T71" fmla="*/ 217 h 659"/>
                <a:gd name="T72" fmla="*/ 39 w 656"/>
                <a:gd name="T73" fmla="*/ 300 h 659"/>
                <a:gd name="T74" fmla="*/ 39 w 656"/>
                <a:gd name="T75" fmla="*/ 359 h 659"/>
                <a:gd name="T76" fmla="*/ 60 w 656"/>
                <a:gd name="T77" fmla="*/ 442 h 659"/>
                <a:gd name="T78" fmla="*/ 103 w 656"/>
                <a:gd name="T79" fmla="*/ 515 h 659"/>
                <a:gd name="T80" fmla="*/ 165 w 656"/>
                <a:gd name="T81" fmla="*/ 571 h 659"/>
                <a:gd name="T82" fmla="*/ 241 w 656"/>
                <a:gd name="T83" fmla="*/ 608 h 659"/>
                <a:gd name="T84" fmla="*/ 329 w 656"/>
                <a:gd name="T85" fmla="*/ 621 h 659"/>
                <a:gd name="T86" fmla="*/ 386 w 656"/>
                <a:gd name="T87" fmla="*/ 614 h 659"/>
                <a:gd name="T88" fmla="*/ 467 w 656"/>
                <a:gd name="T89" fmla="*/ 586 h 659"/>
                <a:gd name="T90" fmla="*/ 534 w 656"/>
                <a:gd name="T91" fmla="*/ 535 h 659"/>
                <a:gd name="T92" fmla="*/ 584 w 656"/>
                <a:gd name="T93" fmla="*/ 468 h 659"/>
                <a:gd name="T94" fmla="*/ 613 w 656"/>
                <a:gd name="T95" fmla="*/ 389 h 659"/>
                <a:gd name="T96" fmla="*/ 619 w 656"/>
                <a:gd name="T97" fmla="*/ 329 h 659"/>
                <a:gd name="T98" fmla="*/ 607 w 656"/>
                <a:gd name="T99" fmla="*/ 244 h 659"/>
                <a:gd name="T100" fmla="*/ 569 w 656"/>
                <a:gd name="T101" fmla="*/ 167 h 659"/>
                <a:gd name="T102" fmla="*/ 513 w 656"/>
                <a:gd name="T103" fmla="*/ 105 h 659"/>
                <a:gd name="T104" fmla="*/ 442 w 656"/>
                <a:gd name="T105" fmla="*/ 61 h 659"/>
                <a:gd name="T106" fmla="*/ 358 w 656"/>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6" h="659">
                  <a:moveTo>
                    <a:pt x="329" y="659"/>
                  </a:moveTo>
                  <a:lnTo>
                    <a:pt x="329" y="659"/>
                  </a:lnTo>
                  <a:lnTo>
                    <a:pt x="311" y="657"/>
                  </a:lnTo>
                  <a:lnTo>
                    <a:pt x="295" y="657"/>
                  </a:lnTo>
                  <a:lnTo>
                    <a:pt x="278" y="655"/>
                  </a:lnTo>
                  <a:lnTo>
                    <a:pt x="262" y="652"/>
                  </a:lnTo>
                  <a:lnTo>
                    <a:pt x="245" y="648"/>
                  </a:lnTo>
                  <a:lnTo>
                    <a:pt x="231" y="644"/>
                  </a:lnTo>
                  <a:lnTo>
                    <a:pt x="200" y="633"/>
                  </a:lnTo>
                  <a:lnTo>
                    <a:pt x="172" y="618"/>
                  </a:lnTo>
                  <a:lnTo>
                    <a:pt x="145" y="602"/>
                  </a:lnTo>
                  <a:lnTo>
                    <a:pt x="119" y="583"/>
                  </a:lnTo>
                  <a:lnTo>
                    <a:pt x="96" y="562"/>
                  </a:lnTo>
                  <a:lnTo>
                    <a:pt x="75" y="539"/>
                  </a:lnTo>
                  <a:lnTo>
                    <a:pt x="56" y="514"/>
                  </a:lnTo>
                  <a:lnTo>
                    <a:pt x="39" y="487"/>
                  </a:lnTo>
                  <a:lnTo>
                    <a:pt x="25" y="457"/>
                  </a:lnTo>
                  <a:lnTo>
                    <a:pt x="14" y="428"/>
                  </a:lnTo>
                  <a:lnTo>
                    <a:pt x="9" y="411"/>
                  </a:lnTo>
                  <a:lnTo>
                    <a:pt x="6" y="395"/>
                  </a:lnTo>
                  <a:lnTo>
                    <a:pt x="4" y="379"/>
                  </a:lnTo>
                  <a:lnTo>
                    <a:pt x="1" y="363"/>
                  </a:lnTo>
                  <a:lnTo>
                    <a:pt x="0" y="347"/>
                  </a:lnTo>
                  <a:lnTo>
                    <a:pt x="0" y="329"/>
                  </a:lnTo>
                  <a:lnTo>
                    <a:pt x="0" y="329"/>
                  </a:lnTo>
                  <a:lnTo>
                    <a:pt x="0" y="312"/>
                  </a:lnTo>
                  <a:lnTo>
                    <a:pt x="1" y="296"/>
                  </a:lnTo>
                  <a:lnTo>
                    <a:pt x="4" y="280"/>
                  </a:lnTo>
                  <a:lnTo>
                    <a:pt x="6" y="264"/>
                  </a:lnTo>
                  <a:lnTo>
                    <a:pt x="9" y="248"/>
                  </a:lnTo>
                  <a:lnTo>
                    <a:pt x="14" y="231"/>
                  </a:lnTo>
                  <a:lnTo>
                    <a:pt x="25" y="202"/>
                  </a:lnTo>
                  <a:lnTo>
                    <a:pt x="39" y="172"/>
                  </a:lnTo>
                  <a:lnTo>
                    <a:pt x="56" y="145"/>
                  </a:lnTo>
                  <a:lnTo>
                    <a:pt x="75" y="120"/>
                  </a:lnTo>
                  <a:lnTo>
                    <a:pt x="96" y="97"/>
                  </a:lnTo>
                  <a:lnTo>
                    <a:pt x="119" y="76"/>
                  </a:lnTo>
                  <a:lnTo>
                    <a:pt x="145" y="57"/>
                  </a:lnTo>
                  <a:lnTo>
                    <a:pt x="172" y="41"/>
                  </a:lnTo>
                  <a:lnTo>
                    <a:pt x="200" y="27"/>
                  </a:lnTo>
                  <a:lnTo>
                    <a:pt x="231" y="15"/>
                  </a:lnTo>
                  <a:lnTo>
                    <a:pt x="245" y="11"/>
                  </a:lnTo>
                  <a:lnTo>
                    <a:pt x="262" y="7"/>
                  </a:lnTo>
                  <a:lnTo>
                    <a:pt x="278" y="4"/>
                  </a:lnTo>
                  <a:lnTo>
                    <a:pt x="295" y="3"/>
                  </a:lnTo>
                  <a:lnTo>
                    <a:pt x="311" y="2"/>
                  </a:lnTo>
                  <a:lnTo>
                    <a:pt x="329" y="0"/>
                  </a:lnTo>
                  <a:lnTo>
                    <a:pt x="329" y="0"/>
                  </a:lnTo>
                  <a:lnTo>
                    <a:pt x="345" y="2"/>
                  </a:lnTo>
                  <a:lnTo>
                    <a:pt x="362" y="3"/>
                  </a:lnTo>
                  <a:lnTo>
                    <a:pt x="378" y="4"/>
                  </a:lnTo>
                  <a:lnTo>
                    <a:pt x="395" y="7"/>
                  </a:lnTo>
                  <a:lnTo>
                    <a:pt x="411" y="11"/>
                  </a:lnTo>
                  <a:lnTo>
                    <a:pt x="425" y="15"/>
                  </a:lnTo>
                  <a:lnTo>
                    <a:pt x="456" y="27"/>
                  </a:lnTo>
                  <a:lnTo>
                    <a:pt x="485" y="41"/>
                  </a:lnTo>
                  <a:lnTo>
                    <a:pt x="511" y="57"/>
                  </a:lnTo>
                  <a:lnTo>
                    <a:pt x="537" y="76"/>
                  </a:lnTo>
                  <a:lnTo>
                    <a:pt x="561" y="97"/>
                  </a:lnTo>
                  <a:lnTo>
                    <a:pt x="581" y="120"/>
                  </a:lnTo>
                  <a:lnTo>
                    <a:pt x="600" y="145"/>
                  </a:lnTo>
                  <a:lnTo>
                    <a:pt x="618" y="172"/>
                  </a:lnTo>
                  <a:lnTo>
                    <a:pt x="631" y="202"/>
                  </a:lnTo>
                  <a:lnTo>
                    <a:pt x="642" y="231"/>
                  </a:lnTo>
                  <a:lnTo>
                    <a:pt x="647" y="248"/>
                  </a:lnTo>
                  <a:lnTo>
                    <a:pt x="650" y="264"/>
                  </a:lnTo>
                  <a:lnTo>
                    <a:pt x="652" y="280"/>
                  </a:lnTo>
                  <a:lnTo>
                    <a:pt x="655" y="296"/>
                  </a:lnTo>
                  <a:lnTo>
                    <a:pt x="656" y="312"/>
                  </a:lnTo>
                  <a:lnTo>
                    <a:pt x="656" y="329"/>
                  </a:lnTo>
                  <a:lnTo>
                    <a:pt x="656" y="329"/>
                  </a:lnTo>
                  <a:lnTo>
                    <a:pt x="656" y="347"/>
                  </a:lnTo>
                  <a:lnTo>
                    <a:pt x="655" y="363"/>
                  </a:lnTo>
                  <a:lnTo>
                    <a:pt x="652" y="379"/>
                  </a:lnTo>
                  <a:lnTo>
                    <a:pt x="650" y="395"/>
                  </a:lnTo>
                  <a:lnTo>
                    <a:pt x="647" y="411"/>
                  </a:lnTo>
                  <a:lnTo>
                    <a:pt x="642" y="428"/>
                  </a:lnTo>
                  <a:lnTo>
                    <a:pt x="631" y="457"/>
                  </a:lnTo>
                  <a:lnTo>
                    <a:pt x="618" y="487"/>
                  </a:lnTo>
                  <a:lnTo>
                    <a:pt x="600" y="514"/>
                  </a:lnTo>
                  <a:lnTo>
                    <a:pt x="581" y="539"/>
                  </a:lnTo>
                  <a:lnTo>
                    <a:pt x="561" y="562"/>
                  </a:lnTo>
                  <a:lnTo>
                    <a:pt x="537" y="583"/>
                  </a:lnTo>
                  <a:lnTo>
                    <a:pt x="511" y="602"/>
                  </a:lnTo>
                  <a:lnTo>
                    <a:pt x="485" y="618"/>
                  </a:lnTo>
                  <a:lnTo>
                    <a:pt x="456" y="633"/>
                  </a:lnTo>
                  <a:lnTo>
                    <a:pt x="425" y="644"/>
                  </a:lnTo>
                  <a:lnTo>
                    <a:pt x="411" y="648"/>
                  </a:lnTo>
                  <a:lnTo>
                    <a:pt x="395" y="652"/>
                  </a:lnTo>
                  <a:lnTo>
                    <a:pt x="378" y="655"/>
                  </a:lnTo>
                  <a:lnTo>
                    <a:pt x="362" y="657"/>
                  </a:lnTo>
                  <a:lnTo>
                    <a:pt x="345" y="657"/>
                  </a:lnTo>
                  <a:lnTo>
                    <a:pt x="329" y="659"/>
                  </a:lnTo>
                  <a:lnTo>
                    <a:pt x="329" y="659"/>
                  </a:lnTo>
                  <a:close/>
                  <a:moveTo>
                    <a:pt x="329" y="38"/>
                  </a:moveTo>
                  <a:lnTo>
                    <a:pt x="329" y="38"/>
                  </a:lnTo>
                  <a:lnTo>
                    <a:pt x="298" y="39"/>
                  </a:lnTo>
                  <a:lnTo>
                    <a:pt x="270" y="45"/>
                  </a:lnTo>
                  <a:lnTo>
                    <a:pt x="241" y="51"/>
                  </a:lnTo>
                  <a:lnTo>
                    <a:pt x="215" y="61"/>
                  </a:lnTo>
                  <a:lnTo>
                    <a:pt x="189" y="73"/>
                  </a:lnTo>
                  <a:lnTo>
                    <a:pt x="165" y="88"/>
                  </a:lnTo>
                  <a:lnTo>
                    <a:pt x="143" y="105"/>
                  </a:lnTo>
                  <a:lnTo>
                    <a:pt x="122" y="124"/>
                  </a:lnTo>
                  <a:lnTo>
                    <a:pt x="103" y="144"/>
                  </a:lnTo>
                  <a:lnTo>
                    <a:pt x="87" y="167"/>
                  </a:lnTo>
                  <a:lnTo>
                    <a:pt x="72" y="191"/>
                  </a:lnTo>
                  <a:lnTo>
                    <a:pt x="60" y="217"/>
                  </a:lnTo>
                  <a:lnTo>
                    <a:pt x="51" y="244"/>
                  </a:lnTo>
                  <a:lnTo>
                    <a:pt x="43" y="270"/>
                  </a:lnTo>
                  <a:lnTo>
                    <a:pt x="39" y="300"/>
                  </a:lnTo>
                  <a:lnTo>
                    <a:pt x="37" y="329"/>
                  </a:lnTo>
                  <a:lnTo>
                    <a:pt x="37" y="329"/>
                  </a:lnTo>
                  <a:lnTo>
                    <a:pt x="39" y="359"/>
                  </a:lnTo>
                  <a:lnTo>
                    <a:pt x="43" y="389"/>
                  </a:lnTo>
                  <a:lnTo>
                    <a:pt x="51" y="415"/>
                  </a:lnTo>
                  <a:lnTo>
                    <a:pt x="60" y="442"/>
                  </a:lnTo>
                  <a:lnTo>
                    <a:pt x="72" y="468"/>
                  </a:lnTo>
                  <a:lnTo>
                    <a:pt x="87" y="492"/>
                  </a:lnTo>
                  <a:lnTo>
                    <a:pt x="103" y="515"/>
                  </a:lnTo>
                  <a:lnTo>
                    <a:pt x="122" y="535"/>
                  </a:lnTo>
                  <a:lnTo>
                    <a:pt x="143" y="554"/>
                  </a:lnTo>
                  <a:lnTo>
                    <a:pt x="165" y="571"/>
                  </a:lnTo>
                  <a:lnTo>
                    <a:pt x="189" y="586"/>
                  </a:lnTo>
                  <a:lnTo>
                    <a:pt x="215" y="598"/>
                  </a:lnTo>
                  <a:lnTo>
                    <a:pt x="241" y="608"/>
                  </a:lnTo>
                  <a:lnTo>
                    <a:pt x="270" y="614"/>
                  </a:lnTo>
                  <a:lnTo>
                    <a:pt x="298" y="620"/>
                  </a:lnTo>
                  <a:lnTo>
                    <a:pt x="329" y="621"/>
                  </a:lnTo>
                  <a:lnTo>
                    <a:pt x="329" y="621"/>
                  </a:lnTo>
                  <a:lnTo>
                    <a:pt x="358" y="620"/>
                  </a:lnTo>
                  <a:lnTo>
                    <a:pt x="386" y="614"/>
                  </a:lnTo>
                  <a:lnTo>
                    <a:pt x="415" y="608"/>
                  </a:lnTo>
                  <a:lnTo>
                    <a:pt x="442" y="598"/>
                  </a:lnTo>
                  <a:lnTo>
                    <a:pt x="467" y="586"/>
                  </a:lnTo>
                  <a:lnTo>
                    <a:pt x="491" y="571"/>
                  </a:lnTo>
                  <a:lnTo>
                    <a:pt x="513" y="554"/>
                  </a:lnTo>
                  <a:lnTo>
                    <a:pt x="534" y="535"/>
                  </a:lnTo>
                  <a:lnTo>
                    <a:pt x="553" y="515"/>
                  </a:lnTo>
                  <a:lnTo>
                    <a:pt x="569" y="492"/>
                  </a:lnTo>
                  <a:lnTo>
                    <a:pt x="584" y="468"/>
                  </a:lnTo>
                  <a:lnTo>
                    <a:pt x="596" y="442"/>
                  </a:lnTo>
                  <a:lnTo>
                    <a:pt x="607" y="415"/>
                  </a:lnTo>
                  <a:lnTo>
                    <a:pt x="613" y="389"/>
                  </a:lnTo>
                  <a:lnTo>
                    <a:pt x="618" y="359"/>
                  </a:lnTo>
                  <a:lnTo>
                    <a:pt x="619" y="329"/>
                  </a:lnTo>
                  <a:lnTo>
                    <a:pt x="619" y="329"/>
                  </a:lnTo>
                  <a:lnTo>
                    <a:pt x="618" y="300"/>
                  </a:lnTo>
                  <a:lnTo>
                    <a:pt x="613" y="270"/>
                  </a:lnTo>
                  <a:lnTo>
                    <a:pt x="607" y="244"/>
                  </a:lnTo>
                  <a:lnTo>
                    <a:pt x="596" y="217"/>
                  </a:lnTo>
                  <a:lnTo>
                    <a:pt x="584" y="191"/>
                  </a:lnTo>
                  <a:lnTo>
                    <a:pt x="569" y="167"/>
                  </a:lnTo>
                  <a:lnTo>
                    <a:pt x="553" y="144"/>
                  </a:lnTo>
                  <a:lnTo>
                    <a:pt x="534" y="124"/>
                  </a:lnTo>
                  <a:lnTo>
                    <a:pt x="513" y="105"/>
                  </a:lnTo>
                  <a:lnTo>
                    <a:pt x="491" y="88"/>
                  </a:lnTo>
                  <a:lnTo>
                    <a:pt x="467" y="73"/>
                  </a:lnTo>
                  <a:lnTo>
                    <a:pt x="442" y="61"/>
                  </a:lnTo>
                  <a:lnTo>
                    <a:pt x="415" y="51"/>
                  </a:lnTo>
                  <a:lnTo>
                    <a:pt x="386" y="45"/>
                  </a:lnTo>
                  <a:lnTo>
                    <a:pt x="358" y="39"/>
                  </a:lnTo>
                  <a:lnTo>
                    <a:pt x="329" y="38"/>
                  </a:lnTo>
                  <a:lnTo>
                    <a:pt x="329" y="38"/>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0" name="Freeform 178">
              <a:extLst>
                <a:ext uri="{FF2B5EF4-FFF2-40B4-BE49-F238E27FC236}">
                  <a16:creationId xmlns:a16="http://schemas.microsoft.com/office/drawing/2014/main" id="{73388073-628C-47A9-80B5-1E37A7D48067}"/>
                </a:ext>
              </a:extLst>
            </p:cNvPr>
            <p:cNvSpPr>
              <a:spLocks/>
            </p:cNvSpPr>
            <p:nvPr/>
          </p:nvSpPr>
          <p:spPr bwMode="auto">
            <a:xfrm>
              <a:off x="9493251" y="1127125"/>
              <a:ext cx="250825" cy="66675"/>
            </a:xfrm>
            <a:custGeom>
              <a:avLst/>
              <a:gdLst>
                <a:gd name="T0" fmla="*/ 314 w 315"/>
                <a:gd name="T1" fmla="*/ 62 h 84"/>
                <a:gd name="T2" fmla="*/ 288 w 315"/>
                <a:gd name="T3" fmla="*/ 3 h 84"/>
                <a:gd name="T4" fmla="*/ 288 w 315"/>
                <a:gd name="T5" fmla="*/ 3 h 84"/>
                <a:gd name="T6" fmla="*/ 286 w 315"/>
                <a:gd name="T7" fmla="*/ 0 h 84"/>
                <a:gd name="T8" fmla="*/ 283 w 315"/>
                <a:gd name="T9" fmla="*/ 0 h 84"/>
                <a:gd name="T10" fmla="*/ 32 w 315"/>
                <a:gd name="T11" fmla="*/ 0 h 84"/>
                <a:gd name="T12" fmla="*/ 32 w 315"/>
                <a:gd name="T13" fmla="*/ 0 h 84"/>
                <a:gd name="T14" fmla="*/ 29 w 315"/>
                <a:gd name="T15" fmla="*/ 0 h 84"/>
                <a:gd name="T16" fmla="*/ 26 w 315"/>
                <a:gd name="T17" fmla="*/ 3 h 84"/>
                <a:gd name="T18" fmla="*/ 1 w 315"/>
                <a:gd name="T19" fmla="*/ 62 h 84"/>
                <a:gd name="T20" fmla="*/ 1 w 315"/>
                <a:gd name="T21" fmla="*/ 62 h 84"/>
                <a:gd name="T22" fmla="*/ 0 w 315"/>
                <a:gd name="T23" fmla="*/ 66 h 84"/>
                <a:gd name="T24" fmla="*/ 0 w 315"/>
                <a:gd name="T25" fmla="*/ 70 h 84"/>
                <a:gd name="T26" fmla="*/ 1 w 315"/>
                <a:gd name="T27" fmla="*/ 74 h 84"/>
                <a:gd name="T28" fmla="*/ 2 w 315"/>
                <a:gd name="T29" fmla="*/ 77 h 84"/>
                <a:gd name="T30" fmla="*/ 2 w 315"/>
                <a:gd name="T31" fmla="*/ 77 h 84"/>
                <a:gd name="T32" fmla="*/ 5 w 315"/>
                <a:gd name="T33" fmla="*/ 79 h 84"/>
                <a:gd name="T34" fmla="*/ 8 w 315"/>
                <a:gd name="T35" fmla="*/ 82 h 84"/>
                <a:gd name="T36" fmla="*/ 12 w 315"/>
                <a:gd name="T37" fmla="*/ 84 h 84"/>
                <a:gd name="T38" fmla="*/ 16 w 315"/>
                <a:gd name="T39" fmla="*/ 84 h 84"/>
                <a:gd name="T40" fmla="*/ 299 w 315"/>
                <a:gd name="T41" fmla="*/ 84 h 84"/>
                <a:gd name="T42" fmla="*/ 299 w 315"/>
                <a:gd name="T43" fmla="*/ 84 h 84"/>
                <a:gd name="T44" fmla="*/ 303 w 315"/>
                <a:gd name="T45" fmla="*/ 84 h 84"/>
                <a:gd name="T46" fmla="*/ 307 w 315"/>
                <a:gd name="T47" fmla="*/ 82 h 84"/>
                <a:gd name="T48" fmla="*/ 310 w 315"/>
                <a:gd name="T49" fmla="*/ 79 h 84"/>
                <a:gd name="T50" fmla="*/ 313 w 315"/>
                <a:gd name="T51" fmla="*/ 77 h 84"/>
                <a:gd name="T52" fmla="*/ 313 w 315"/>
                <a:gd name="T53" fmla="*/ 77 h 84"/>
                <a:gd name="T54" fmla="*/ 314 w 315"/>
                <a:gd name="T55" fmla="*/ 74 h 84"/>
                <a:gd name="T56" fmla="*/ 315 w 315"/>
                <a:gd name="T57" fmla="*/ 70 h 84"/>
                <a:gd name="T58" fmla="*/ 315 w 315"/>
                <a:gd name="T59" fmla="*/ 66 h 84"/>
                <a:gd name="T60" fmla="*/ 314 w 315"/>
                <a:gd name="T61" fmla="*/ 62 h 84"/>
                <a:gd name="T62" fmla="*/ 314 w 315"/>
                <a:gd name="T63" fmla="*/ 6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15" h="84">
                  <a:moveTo>
                    <a:pt x="314" y="62"/>
                  </a:moveTo>
                  <a:lnTo>
                    <a:pt x="288" y="3"/>
                  </a:lnTo>
                  <a:lnTo>
                    <a:pt x="288" y="3"/>
                  </a:lnTo>
                  <a:lnTo>
                    <a:pt x="286" y="0"/>
                  </a:lnTo>
                  <a:lnTo>
                    <a:pt x="283" y="0"/>
                  </a:lnTo>
                  <a:lnTo>
                    <a:pt x="32" y="0"/>
                  </a:lnTo>
                  <a:lnTo>
                    <a:pt x="32" y="0"/>
                  </a:lnTo>
                  <a:lnTo>
                    <a:pt x="29" y="0"/>
                  </a:lnTo>
                  <a:lnTo>
                    <a:pt x="26" y="3"/>
                  </a:lnTo>
                  <a:lnTo>
                    <a:pt x="1" y="62"/>
                  </a:lnTo>
                  <a:lnTo>
                    <a:pt x="1" y="62"/>
                  </a:lnTo>
                  <a:lnTo>
                    <a:pt x="0" y="66"/>
                  </a:lnTo>
                  <a:lnTo>
                    <a:pt x="0" y="70"/>
                  </a:lnTo>
                  <a:lnTo>
                    <a:pt x="1" y="74"/>
                  </a:lnTo>
                  <a:lnTo>
                    <a:pt x="2" y="77"/>
                  </a:lnTo>
                  <a:lnTo>
                    <a:pt x="2" y="77"/>
                  </a:lnTo>
                  <a:lnTo>
                    <a:pt x="5" y="79"/>
                  </a:lnTo>
                  <a:lnTo>
                    <a:pt x="8" y="82"/>
                  </a:lnTo>
                  <a:lnTo>
                    <a:pt x="12" y="84"/>
                  </a:lnTo>
                  <a:lnTo>
                    <a:pt x="16" y="84"/>
                  </a:lnTo>
                  <a:lnTo>
                    <a:pt x="299" y="84"/>
                  </a:lnTo>
                  <a:lnTo>
                    <a:pt x="299" y="84"/>
                  </a:lnTo>
                  <a:lnTo>
                    <a:pt x="303" y="84"/>
                  </a:lnTo>
                  <a:lnTo>
                    <a:pt x="307" y="82"/>
                  </a:lnTo>
                  <a:lnTo>
                    <a:pt x="310" y="79"/>
                  </a:lnTo>
                  <a:lnTo>
                    <a:pt x="313" y="77"/>
                  </a:lnTo>
                  <a:lnTo>
                    <a:pt x="313" y="77"/>
                  </a:lnTo>
                  <a:lnTo>
                    <a:pt x="314" y="74"/>
                  </a:lnTo>
                  <a:lnTo>
                    <a:pt x="315" y="70"/>
                  </a:lnTo>
                  <a:lnTo>
                    <a:pt x="315" y="66"/>
                  </a:lnTo>
                  <a:lnTo>
                    <a:pt x="314" y="62"/>
                  </a:lnTo>
                  <a:lnTo>
                    <a:pt x="314"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1" name="Freeform 179">
              <a:extLst>
                <a:ext uri="{FF2B5EF4-FFF2-40B4-BE49-F238E27FC236}">
                  <a16:creationId xmlns:a16="http://schemas.microsoft.com/office/drawing/2014/main" id="{00EEF31D-15EF-4A35-9F1C-E9F47ED22019}"/>
                </a:ext>
              </a:extLst>
            </p:cNvPr>
            <p:cNvSpPr>
              <a:spLocks noEditPoints="1"/>
            </p:cNvSpPr>
            <p:nvPr/>
          </p:nvSpPr>
          <p:spPr bwMode="auto">
            <a:xfrm>
              <a:off x="9515476" y="969963"/>
              <a:ext cx="207963" cy="149225"/>
            </a:xfrm>
            <a:custGeom>
              <a:avLst/>
              <a:gdLst>
                <a:gd name="T0" fmla="*/ 6 w 262"/>
                <a:gd name="T1" fmla="*/ 188 h 188"/>
                <a:gd name="T2" fmla="*/ 257 w 262"/>
                <a:gd name="T3" fmla="*/ 188 h 188"/>
                <a:gd name="T4" fmla="*/ 257 w 262"/>
                <a:gd name="T5" fmla="*/ 188 h 188"/>
                <a:gd name="T6" fmla="*/ 260 w 262"/>
                <a:gd name="T7" fmla="*/ 188 h 188"/>
                <a:gd name="T8" fmla="*/ 261 w 262"/>
                <a:gd name="T9" fmla="*/ 187 h 188"/>
                <a:gd name="T10" fmla="*/ 262 w 262"/>
                <a:gd name="T11" fmla="*/ 186 h 188"/>
                <a:gd name="T12" fmla="*/ 262 w 262"/>
                <a:gd name="T13" fmla="*/ 183 h 188"/>
                <a:gd name="T14" fmla="*/ 262 w 262"/>
                <a:gd name="T15" fmla="*/ 26 h 188"/>
                <a:gd name="T16" fmla="*/ 262 w 262"/>
                <a:gd name="T17" fmla="*/ 26 h 188"/>
                <a:gd name="T18" fmla="*/ 262 w 262"/>
                <a:gd name="T19" fmla="*/ 21 h 188"/>
                <a:gd name="T20" fmla="*/ 261 w 262"/>
                <a:gd name="T21" fmla="*/ 15 h 188"/>
                <a:gd name="T22" fmla="*/ 258 w 262"/>
                <a:gd name="T23" fmla="*/ 11 h 188"/>
                <a:gd name="T24" fmla="*/ 254 w 262"/>
                <a:gd name="T25" fmla="*/ 7 h 188"/>
                <a:gd name="T26" fmla="*/ 250 w 262"/>
                <a:gd name="T27" fmla="*/ 4 h 188"/>
                <a:gd name="T28" fmla="*/ 246 w 262"/>
                <a:gd name="T29" fmla="*/ 2 h 188"/>
                <a:gd name="T30" fmla="*/ 241 w 262"/>
                <a:gd name="T31" fmla="*/ 0 h 188"/>
                <a:gd name="T32" fmla="*/ 237 w 262"/>
                <a:gd name="T33" fmla="*/ 0 h 188"/>
                <a:gd name="T34" fmla="*/ 26 w 262"/>
                <a:gd name="T35" fmla="*/ 0 h 188"/>
                <a:gd name="T36" fmla="*/ 26 w 262"/>
                <a:gd name="T37" fmla="*/ 0 h 188"/>
                <a:gd name="T38" fmla="*/ 22 w 262"/>
                <a:gd name="T39" fmla="*/ 0 h 188"/>
                <a:gd name="T40" fmla="*/ 17 w 262"/>
                <a:gd name="T41" fmla="*/ 2 h 188"/>
                <a:gd name="T42" fmla="*/ 13 w 262"/>
                <a:gd name="T43" fmla="*/ 4 h 188"/>
                <a:gd name="T44" fmla="*/ 8 w 262"/>
                <a:gd name="T45" fmla="*/ 7 h 188"/>
                <a:gd name="T46" fmla="*/ 4 w 262"/>
                <a:gd name="T47" fmla="*/ 11 h 188"/>
                <a:gd name="T48" fmla="*/ 3 w 262"/>
                <a:gd name="T49" fmla="*/ 15 h 188"/>
                <a:gd name="T50" fmla="*/ 0 w 262"/>
                <a:gd name="T51" fmla="*/ 21 h 188"/>
                <a:gd name="T52" fmla="*/ 0 w 262"/>
                <a:gd name="T53" fmla="*/ 26 h 188"/>
                <a:gd name="T54" fmla="*/ 0 w 262"/>
                <a:gd name="T55" fmla="*/ 183 h 188"/>
                <a:gd name="T56" fmla="*/ 0 w 262"/>
                <a:gd name="T57" fmla="*/ 183 h 188"/>
                <a:gd name="T58" fmla="*/ 0 w 262"/>
                <a:gd name="T59" fmla="*/ 186 h 188"/>
                <a:gd name="T60" fmla="*/ 2 w 262"/>
                <a:gd name="T61" fmla="*/ 187 h 188"/>
                <a:gd name="T62" fmla="*/ 3 w 262"/>
                <a:gd name="T63" fmla="*/ 188 h 188"/>
                <a:gd name="T64" fmla="*/ 6 w 262"/>
                <a:gd name="T65" fmla="*/ 188 h 188"/>
                <a:gd name="T66" fmla="*/ 6 w 262"/>
                <a:gd name="T67" fmla="*/ 188 h 188"/>
                <a:gd name="T68" fmla="*/ 18 w 262"/>
                <a:gd name="T69" fmla="*/ 25 h 188"/>
                <a:gd name="T70" fmla="*/ 18 w 262"/>
                <a:gd name="T71" fmla="*/ 25 h 188"/>
                <a:gd name="T72" fmla="*/ 18 w 262"/>
                <a:gd name="T73" fmla="*/ 22 h 188"/>
                <a:gd name="T74" fmla="*/ 19 w 262"/>
                <a:gd name="T75" fmla="*/ 21 h 188"/>
                <a:gd name="T76" fmla="*/ 21 w 262"/>
                <a:gd name="T77" fmla="*/ 19 h 188"/>
                <a:gd name="T78" fmla="*/ 23 w 262"/>
                <a:gd name="T79" fmla="*/ 19 h 188"/>
                <a:gd name="T80" fmla="*/ 240 w 262"/>
                <a:gd name="T81" fmla="*/ 19 h 188"/>
                <a:gd name="T82" fmla="*/ 240 w 262"/>
                <a:gd name="T83" fmla="*/ 19 h 188"/>
                <a:gd name="T84" fmla="*/ 241 w 262"/>
                <a:gd name="T85" fmla="*/ 19 h 188"/>
                <a:gd name="T86" fmla="*/ 244 w 262"/>
                <a:gd name="T87" fmla="*/ 21 h 188"/>
                <a:gd name="T88" fmla="*/ 244 w 262"/>
                <a:gd name="T89" fmla="*/ 22 h 188"/>
                <a:gd name="T90" fmla="*/ 245 w 262"/>
                <a:gd name="T91" fmla="*/ 25 h 188"/>
                <a:gd name="T92" fmla="*/ 245 w 262"/>
                <a:gd name="T93" fmla="*/ 166 h 188"/>
                <a:gd name="T94" fmla="*/ 245 w 262"/>
                <a:gd name="T95" fmla="*/ 166 h 188"/>
                <a:gd name="T96" fmla="*/ 244 w 262"/>
                <a:gd name="T97" fmla="*/ 167 h 188"/>
                <a:gd name="T98" fmla="*/ 244 w 262"/>
                <a:gd name="T99" fmla="*/ 170 h 188"/>
                <a:gd name="T100" fmla="*/ 241 w 262"/>
                <a:gd name="T101" fmla="*/ 170 h 188"/>
                <a:gd name="T102" fmla="*/ 240 w 262"/>
                <a:gd name="T103" fmla="*/ 171 h 188"/>
                <a:gd name="T104" fmla="*/ 23 w 262"/>
                <a:gd name="T105" fmla="*/ 171 h 188"/>
                <a:gd name="T106" fmla="*/ 23 w 262"/>
                <a:gd name="T107" fmla="*/ 171 h 188"/>
                <a:gd name="T108" fmla="*/ 21 w 262"/>
                <a:gd name="T109" fmla="*/ 170 h 188"/>
                <a:gd name="T110" fmla="*/ 19 w 262"/>
                <a:gd name="T111" fmla="*/ 170 h 188"/>
                <a:gd name="T112" fmla="*/ 18 w 262"/>
                <a:gd name="T113" fmla="*/ 167 h 188"/>
                <a:gd name="T114" fmla="*/ 18 w 262"/>
                <a:gd name="T115" fmla="*/ 166 h 188"/>
                <a:gd name="T116" fmla="*/ 18 w 262"/>
                <a:gd name="T117" fmla="*/ 25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2" h="188">
                  <a:moveTo>
                    <a:pt x="6" y="188"/>
                  </a:moveTo>
                  <a:lnTo>
                    <a:pt x="257" y="188"/>
                  </a:lnTo>
                  <a:lnTo>
                    <a:pt x="257" y="188"/>
                  </a:lnTo>
                  <a:lnTo>
                    <a:pt x="260" y="188"/>
                  </a:lnTo>
                  <a:lnTo>
                    <a:pt x="261" y="187"/>
                  </a:lnTo>
                  <a:lnTo>
                    <a:pt x="262" y="186"/>
                  </a:lnTo>
                  <a:lnTo>
                    <a:pt x="262" y="183"/>
                  </a:lnTo>
                  <a:lnTo>
                    <a:pt x="262" y="26"/>
                  </a:lnTo>
                  <a:lnTo>
                    <a:pt x="262" y="26"/>
                  </a:lnTo>
                  <a:lnTo>
                    <a:pt x="262" y="21"/>
                  </a:lnTo>
                  <a:lnTo>
                    <a:pt x="261" y="15"/>
                  </a:lnTo>
                  <a:lnTo>
                    <a:pt x="258" y="11"/>
                  </a:lnTo>
                  <a:lnTo>
                    <a:pt x="254" y="7"/>
                  </a:lnTo>
                  <a:lnTo>
                    <a:pt x="250" y="4"/>
                  </a:lnTo>
                  <a:lnTo>
                    <a:pt x="246" y="2"/>
                  </a:lnTo>
                  <a:lnTo>
                    <a:pt x="241" y="0"/>
                  </a:lnTo>
                  <a:lnTo>
                    <a:pt x="237" y="0"/>
                  </a:lnTo>
                  <a:lnTo>
                    <a:pt x="26" y="0"/>
                  </a:lnTo>
                  <a:lnTo>
                    <a:pt x="26" y="0"/>
                  </a:lnTo>
                  <a:lnTo>
                    <a:pt x="22" y="0"/>
                  </a:lnTo>
                  <a:lnTo>
                    <a:pt x="17" y="2"/>
                  </a:lnTo>
                  <a:lnTo>
                    <a:pt x="13" y="4"/>
                  </a:lnTo>
                  <a:lnTo>
                    <a:pt x="8" y="7"/>
                  </a:lnTo>
                  <a:lnTo>
                    <a:pt x="4" y="11"/>
                  </a:lnTo>
                  <a:lnTo>
                    <a:pt x="3" y="15"/>
                  </a:lnTo>
                  <a:lnTo>
                    <a:pt x="0" y="21"/>
                  </a:lnTo>
                  <a:lnTo>
                    <a:pt x="0" y="26"/>
                  </a:lnTo>
                  <a:lnTo>
                    <a:pt x="0" y="183"/>
                  </a:lnTo>
                  <a:lnTo>
                    <a:pt x="0" y="183"/>
                  </a:lnTo>
                  <a:lnTo>
                    <a:pt x="0" y="186"/>
                  </a:lnTo>
                  <a:lnTo>
                    <a:pt x="2" y="187"/>
                  </a:lnTo>
                  <a:lnTo>
                    <a:pt x="3" y="188"/>
                  </a:lnTo>
                  <a:lnTo>
                    <a:pt x="6" y="188"/>
                  </a:lnTo>
                  <a:lnTo>
                    <a:pt x="6" y="188"/>
                  </a:lnTo>
                  <a:close/>
                  <a:moveTo>
                    <a:pt x="18" y="25"/>
                  </a:moveTo>
                  <a:lnTo>
                    <a:pt x="18" y="25"/>
                  </a:lnTo>
                  <a:lnTo>
                    <a:pt x="18" y="22"/>
                  </a:lnTo>
                  <a:lnTo>
                    <a:pt x="19" y="21"/>
                  </a:lnTo>
                  <a:lnTo>
                    <a:pt x="21" y="19"/>
                  </a:lnTo>
                  <a:lnTo>
                    <a:pt x="23" y="19"/>
                  </a:lnTo>
                  <a:lnTo>
                    <a:pt x="240" y="19"/>
                  </a:lnTo>
                  <a:lnTo>
                    <a:pt x="240" y="19"/>
                  </a:lnTo>
                  <a:lnTo>
                    <a:pt x="241" y="19"/>
                  </a:lnTo>
                  <a:lnTo>
                    <a:pt x="244" y="21"/>
                  </a:lnTo>
                  <a:lnTo>
                    <a:pt x="244" y="22"/>
                  </a:lnTo>
                  <a:lnTo>
                    <a:pt x="245" y="25"/>
                  </a:lnTo>
                  <a:lnTo>
                    <a:pt x="245" y="166"/>
                  </a:lnTo>
                  <a:lnTo>
                    <a:pt x="245" y="166"/>
                  </a:lnTo>
                  <a:lnTo>
                    <a:pt x="244" y="167"/>
                  </a:lnTo>
                  <a:lnTo>
                    <a:pt x="244" y="170"/>
                  </a:lnTo>
                  <a:lnTo>
                    <a:pt x="241" y="170"/>
                  </a:lnTo>
                  <a:lnTo>
                    <a:pt x="240" y="171"/>
                  </a:lnTo>
                  <a:lnTo>
                    <a:pt x="23" y="171"/>
                  </a:lnTo>
                  <a:lnTo>
                    <a:pt x="23" y="171"/>
                  </a:lnTo>
                  <a:lnTo>
                    <a:pt x="21" y="170"/>
                  </a:lnTo>
                  <a:lnTo>
                    <a:pt x="19" y="170"/>
                  </a:lnTo>
                  <a:lnTo>
                    <a:pt x="18" y="167"/>
                  </a:lnTo>
                  <a:lnTo>
                    <a:pt x="18" y="166"/>
                  </a:lnTo>
                  <a:lnTo>
                    <a:pt x="18"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72" name="Group 171">
            <a:extLst>
              <a:ext uri="{FF2B5EF4-FFF2-40B4-BE49-F238E27FC236}">
                <a16:creationId xmlns:a16="http://schemas.microsoft.com/office/drawing/2014/main" id="{64BF0439-D063-46F2-8E37-4CD8DAD727F9}"/>
              </a:ext>
            </a:extLst>
          </p:cNvPr>
          <p:cNvGrpSpPr>
            <a:grpSpLocks noChangeAspect="1"/>
          </p:cNvGrpSpPr>
          <p:nvPr/>
        </p:nvGrpSpPr>
        <p:grpSpPr>
          <a:xfrm>
            <a:off x="1980324" y="5485735"/>
            <a:ext cx="321016" cy="320040"/>
            <a:chOff x="3198813" y="836613"/>
            <a:chExt cx="522288" cy="520700"/>
          </a:xfrm>
        </p:grpSpPr>
        <p:sp>
          <p:nvSpPr>
            <p:cNvPr id="173" name="Freeform 7">
              <a:extLst>
                <a:ext uri="{FF2B5EF4-FFF2-40B4-BE49-F238E27FC236}">
                  <a16:creationId xmlns:a16="http://schemas.microsoft.com/office/drawing/2014/main" id="{ED89BA87-40E0-41B0-922C-6B2665662754}"/>
                </a:ext>
              </a:extLst>
            </p:cNvPr>
            <p:cNvSpPr>
              <a:spLocks noEditPoints="1"/>
            </p:cNvSpPr>
            <p:nvPr/>
          </p:nvSpPr>
          <p:spPr bwMode="auto">
            <a:xfrm>
              <a:off x="3198813" y="836613"/>
              <a:ext cx="522288" cy="520700"/>
            </a:xfrm>
            <a:custGeom>
              <a:avLst/>
              <a:gdLst>
                <a:gd name="T0" fmla="*/ 311 w 657"/>
                <a:gd name="T1" fmla="*/ 657 h 657"/>
                <a:gd name="T2" fmla="*/ 263 w 657"/>
                <a:gd name="T3" fmla="*/ 650 h 657"/>
                <a:gd name="T4" fmla="*/ 201 w 657"/>
                <a:gd name="T5" fmla="*/ 632 h 657"/>
                <a:gd name="T6" fmla="*/ 119 w 657"/>
                <a:gd name="T7" fmla="*/ 582 h 657"/>
                <a:gd name="T8" fmla="*/ 56 w 657"/>
                <a:gd name="T9" fmla="*/ 512 h 657"/>
                <a:gd name="T10" fmla="*/ 14 w 657"/>
                <a:gd name="T11" fmla="*/ 426 h 657"/>
                <a:gd name="T12" fmla="*/ 4 w 657"/>
                <a:gd name="T13" fmla="*/ 379 h 657"/>
                <a:gd name="T14" fmla="*/ 0 w 657"/>
                <a:gd name="T15" fmla="*/ 328 h 657"/>
                <a:gd name="T16" fmla="*/ 1 w 657"/>
                <a:gd name="T17" fmla="*/ 295 h 657"/>
                <a:gd name="T18" fmla="*/ 10 w 657"/>
                <a:gd name="T19" fmla="*/ 246 h 657"/>
                <a:gd name="T20" fmla="*/ 40 w 657"/>
                <a:gd name="T21" fmla="*/ 172 h 657"/>
                <a:gd name="T22" fmla="*/ 96 w 657"/>
                <a:gd name="T23" fmla="*/ 96 h 657"/>
                <a:gd name="T24" fmla="*/ 171 w 657"/>
                <a:gd name="T25" fmla="*/ 39 h 657"/>
                <a:gd name="T26" fmla="*/ 247 w 657"/>
                <a:gd name="T27" fmla="*/ 10 h 657"/>
                <a:gd name="T28" fmla="*/ 295 w 657"/>
                <a:gd name="T29" fmla="*/ 2 h 657"/>
                <a:gd name="T30" fmla="*/ 329 w 657"/>
                <a:gd name="T31" fmla="*/ 0 h 657"/>
                <a:gd name="T32" fmla="*/ 378 w 657"/>
                <a:gd name="T33" fmla="*/ 3 h 657"/>
                <a:gd name="T34" fmla="*/ 427 w 657"/>
                <a:gd name="T35" fmla="*/ 15 h 657"/>
                <a:gd name="T36" fmla="*/ 512 w 657"/>
                <a:gd name="T37" fmla="*/ 56 h 657"/>
                <a:gd name="T38" fmla="*/ 582 w 657"/>
                <a:gd name="T39" fmla="*/ 120 h 657"/>
                <a:gd name="T40" fmla="*/ 631 w 657"/>
                <a:gd name="T41" fmla="*/ 201 h 657"/>
                <a:gd name="T42" fmla="*/ 651 w 657"/>
                <a:gd name="T43" fmla="*/ 262 h 657"/>
                <a:gd name="T44" fmla="*/ 656 w 657"/>
                <a:gd name="T45" fmla="*/ 312 h 657"/>
                <a:gd name="T46" fmla="*/ 656 w 657"/>
                <a:gd name="T47" fmla="*/ 346 h 657"/>
                <a:gd name="T48" fmla="*/ 651 w 657"/>
                <a:gd name="T49" fmla="*/ 395 h 657"/>
                <a:gd name="T50" fmla="*/ 631 w 657"/>
                <a:gd name="T51" fmla="*/ 457 h 657"/>
                <a:gd name="T52" fmla="*/ 582 w 657"/>
                <a:gd name="T53" fmla="*/ 538 h 657"/>
                <a:gd name="T54" fmla="*/ 512 w 657"/>
                <a:gd name="T55" fmla="*/ 601 h 657"/>
                <a:gd name="T56" fmla="*/ 427 w 657"/>
                <a:gd name="T57" fmla="*/ 642 h 657"/>
                <a:gd name="T58" fmla="*/ 378 w 657"/>
                <a:gd name="T59" fmla="*/ 653 h 657"/>
                <a:gd name="T60" fmla="*/ 329 w 657"/>
                <a:gd name="T61" fmla="*/ 657 h 657"/>
                <a:gd name="T62" fmla="*/ 329 w 657"/>
                <a:gd name="T63" fmla="*/ 38 h 657"/>
                <a:gd name="T64" fmla="*/ 243 w 657"/>
                <a:gd name="T65" fmla="*/ 50 h 657"/>
                <a:gd name="T66" fmla="*/ 166 w 657"/>
                <a:gd name="T67" fmla="*/ 88 h 657"/>
                <a:gd name="T68" fmla="*/ 104 w 657"/>
                <a:gd name="T69" fmla="*/ 144 h 657"/>
                <a:gd name="T70" fmla="*/ 60 w 657"/>
                <a:gd name="T71" fmla="*/ 215 h 657"/>
                <a:gd name="T72" fmla="*/ 39 w 657"/>
                <a:gd name="T73" fmla="*/ 299 h 657"/>
                <a:gd name="T74" fmla="*/ 39 w 657"/>
                <a:gd name="T75" fmla="*/ 358 h 657"/>
                <a:gd name="T76" fmla="*/ 60 w 657"/>
                <a:gd name="T77" fmla="*/ 442 h 657"/>
                <a:gd name="T78" fmla="*/ 104 w 657"/>
                <a:gd name="T79" fmla="*/ 513 h 657"/>
                <a:gd name="T80" fmla="*/ 166 w 657"/>
                <a:gd name="T81" fmla="*/ 570 h 657"/>
                <a:gd name="T82" fmla="*/ 243 w 657"/>
                <a:gd name="T83" fmla="*/ 606 h 657"/>
                <a:gd name="T84" fmla="*/ 329 w 657"/>
                <a:gd name="T85" fmla="*/ 620 h 657"/>
                <a:gd name="T86" fmla="*/ 388 w 657"/>
                <a:gd name="T87" fmla="*/ 614 h 657"/>
                <a:gd name="T88" fmla="*/ 467 w 657"/>
                <a:gd name="T89" fmla="*/ 585 h 657"/>
                <a:gd name="T90" fmla="*/ 534 w 657"/>
                <a:gd name="T91" fmla="*/ 535 h 657"/>
                <a:gd name="T92" fmla="*/ 584 w 657"/>
                <a:gd name="T93" fmla="*/ 468 h 657"/>
                <a:gd name="T94" fmla="*/ 613 w 657"/>
                <a:gd name="T95" fmla="*/ 387 h 657"/>
                <a:gd name="T96" fmla="*/ 620 w 657"/>
                <a:gd name="T97" fmla="*/ 328 h 657"/>
                <a:gd name="T98" fmla="*/ 606 w 657"/>
                <a:gd name="T99" fmla="*/ 242 h 657"/>
                <a:gd name="T100" fmla="*/ 570 w 657"/>
                <a:gd name="T101" fmla="*/ 166 h 657"/>
                <a:gd name="T102" fmla="*/ 514 w 657"/>
                <a:gd name="T103" fmla="*/ 104 h 657"/>
                <a:gd name="T104" fmla="*/ 441 w 657"/>
                <a:gd name="T105" fmla="*/ 61 h 657"/>
                <a:gd name="T106" fmla="*/ 358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1" y="657"/>
                  </a:lnTo>
                  <a:lnTo>
                    <a:pt x="295" y="656"/>
                  </a:lnTo>
                  <a:lnTo>
                    <a:pt x="279" y="653"/>
                  </a:lnTo>
                  <a:lnTo>
                    <a:pt x="263" y="650"/>
                  </a:lnTo>
                  <a:lnTo>
                    <a:pt x="247" y="646"/>
                  </a:lnTo>
                  <a:lnTo>
                    <a:pt x="231" y="642"/>
                  </a:lnTo>
                  <a:lnTo>
                    <a:pt x="201" y="632"/>
                  </a:lnTo>
                  <a:lnTo>
                    <a:pt x="171" y="617"/>
                  </a:lnTo>
                  <a:lnTo>
                    <a:pt x="145" y="601"/>
                  </a:lnTo>
                  <a:lnTo>
                    <a:pt x="119" y="582"/>
                  </a:lnTo>
                  <a:lnTo>
                    <a:pt x="96" y="560"/>
                  </a:lnTo>
                  <a:lnTo>
                    <a:pt x="75" y="538"/>
                  </a:lnTo>
                  <a:lnTo>
                    <a:pt x="56" y="512"/>
                  </a:lnTo>
                  <a:lnTo>
                    <a:pt x="40" y="485"/>
                  </a:lnTo>
                  <a:lnTo>
                    <a:pt x="25" y="457"/>
                  </a:lnTo>
                  <a:lnTo>
                    <a:pt x="14" y="426"/>
                  </a:lnTo>
                  <a:lnTo>
                    <a:pt x="10" y="410"/>
                  </a:lnTo>
                  <a:lnTo>
                    <a:pt x="6" y="395"/>
                  </a:lnTo>
                  <a:lnTo>
                    <a:pt x="4" y="379"/>
                  </a:lnTo>
                  <a:lnTo>
                    <a:pt x="1" y="362"/>
                  </a:lnTo>
                  <a:lnTo>
                    <a:pt x="0" y="346"/>
                  </a:lnTo>
                  <a:lnTo>
                    <a:pt x="0" y="328"/>
                  </a:lnTo>
                  <a:lnTo>
                    <a:pt x="0" y="328"/>
                  </a:lnTo>
                  <a:lnTo>
                    <a:pt x="0" y="312"/>
                  </a:lnTo>
                  <a:lnTo>
                    <a:pt x="1" y="295"/>
                  </a:lnTo>
                  <a:lnTo>
                    <a:pt x="4" y="278"/>
                  </a:lnTo>
                  <a:lnTo>
                    <a:pt x="6" y="262"/>
                  </a:lnTo>
                  <a:lnTo>
                    <a:pt x="10" y="246"/>
                  </a:lnTo>
                  <a:lnTo>
                    <a:pt x="14" y="231"/>
                  </a:lnTo>
                  <a:lnTo>
                    <a:pt x="25" y="201"/>
                  </a:lnTo>
                  <a:lnTo>
                    <a:pt x="40" y="172"/>
                  </a:lnTo>
                  <a:lnTo>
                    <a:pt x="56" y="145"/>
                  </a:lnTo>
                  <a:lnTo>
                    <a:pt x="75" y="120"/>
                  </a:lnTo>
                  <a:lnTo>
                    <a:pt x="96" y="96"/>
                  </a:lnTo>
                  <a:lnTo>
                    <a:pt x="119" y="76"/>
                  </a:lnTo>
                  <a:lnTo>
                    <a:pt x="145" y="56"/>
                  </a:lnTo>
                  <a:lnTo>
                    <a:pt x="171" y="39"/>
                  </a:lnTo>
                  <a:lnTo>
                    <a:pt x="201" y="26"/>
                  </a:lnTo>
                  <a:lnTo>
                    <a:pt x="231" y="15"/>
                  </a:lnTo>
                  <a:lnTo>
                    <a:pt x="247" y="10"/>
                  </a:lnTo>
                  <a:lnTo>
                    <a:pt x="263" y="7"/>
                  </a:lnTo>
                  <a:lnTo>
                    <a:pt x="279" y="3"/>
                  </a:lnTo>
                  <a:lnTo>
                    <a:pt x="295" y="2"/>
                  </a:lnTo>
                  <a:lnTo>
                    <a:pt x="311" y="0"/>
                  </a:lnTo>
                  <a:lnTo>
                    <a:pt x="329" y="0"/>
                  </a:lnTo>
                  <a:lnTo>
                    <a:pt x="329" y="0"/>
                  </a:lnTo>
                  <a:lnTo>
                    <a:pt x="345" y="0"/>
                  </a:lnTo>
                  <a:lnTo>
                    <a:pt x="362" y="2"/>
                  </a:lnTo>
                  <a:lnTo>
                    <a:pt x="378" y="3"/>
                  </a:lnTo>
                  <a:lnTo>
                    <a:pt x="394" y="7"/>
                  </a:lnTo>
                  <a:lnTo>
                    <a:pt x="410" y="10"/>
                  </a:lnTo>
                  <a:lnTo>
                    <a:pt x="427" y="15"/>
                  </a:lnTo>
                  <a:lnTo>
                    <a:pt x="456" y="26"/>
                  </a:lnTo>
                  <a:lnTo>
                    <a:pt x="484" y="39"/>
                  </a:lnTo>
                  <a:lnTo>
                    <a:pt x="512" y="56"/>
                  </a:lnTo>
                  <a:lnTo>
                    <a:pt x="538" y="76"/>
                  </a:lnTo>
                  <a:lnTo>
                    <a:pt x="561" y="96"/>
                  </a:lnTo>
                  <a:lnTo>
                    <a:pt x="582" y="120"/>
                  </a:lnTo>
                  <a:lnTo>
                    <a:pt x="601" y="145"/>
                  </a:lnTo>
                  <a:lnTo>
                    <a:pt x="617" y="172"/>
                  </a:lnTo>
                  <a:lnTo>
                    <a:pt x="631" y="201"/>
                  </a:lnTo>
                  <a:lnTo>
                    <a:pt x="643" y="231"/>
                  </a:lnTo>
                  <a:lnTo>
                    <a:pt x="647" y="246"/>
                  </a:lnTo>
                  <a:lnTo>
                    <a:pt x="651" y="262"/>
                  </a:lnTo>
                  <a:lnTo>
                    <a:pt x="653" y="278"/>
                  </a:lnTo>
                  <a:lnTo>
                    <a:pt x="655" y="295"/>
                  </a:lnTo>
                  <a:lnTo>
                    <a:pt x="656" y="312"/>
                  </a:lnTo>
                  <a:lnTo>
                    <a:pt x="657" y="328"/>
                  </a:lnTo>
                  <a:lnTo>
                    <a:pt x="657" y="328"/>
                  </a:lnTo>
                  <a:lnTo>
                    <a:pt x="656" y="346"/>
                  </a:lnTo>
                  <a:lnTo>
                    <a:pt x="655" y="362"/>
                  </a:lnTo>
                  <a:lnTo>
                    <a:pt x="653" y="379"/>
                  </a:lnTo>
                  <a:lnTo>
                    <a:pt x="651" y="395"/>
                  </a:lnTo>
                  <a:lnTo>
                    <a:pt x="647" y="410"/>
                  </a:lnTo>
                  <a:lnTo>
                    <a:pt x="643" y="426"/>
                  </a:lnTo>
                  <a:lnTo>
                    <a:pt x="631" y="457"/>
                  </a:lnTo>
                  <a:lnTo>
                    <a:pt x="617" y="485"/>
                  </a:lnTo>
                  <a:lnTo>
                    <a:pt x="601" y="512"/>
                  </a:lnTo>
                  <a:lnTo>
                    <a:pt x="582" y="538"/>
                  </a:lnTo>
                  <a:lnTo>
                    <a:pt x="561" y="560"/>
                  </a:lnTo>
                  <a:lnTo>
                    <a:pt x="538" y="582"/>
                  </a:lnTo>
                  <a:lnTo>
                    <a:pt x="512" y="601"/>
                  </a:lnTo>
                  <a:lnTo>
                    <a:pt x="484" y="617"/>
                  </a:lnTo>
                  <a:lnTo>
                    <a:pt x="456" y="632"/>
                  </a:lnTo>
                  <a:lnTo>
                    <a:pt x="427" y="642"/>
                  </a:lnTo>
                  <a:lnTo>
                    <a:pt x="410" y="646"/>
                  </a:lnTo>
                  <a:lnTo>
                    <a:pt x="394" y="650"/>
                  </a:lnTo>
                  <a:lnTo>
                    <a:pt x="378" y="653"/>
                  </a:lnTo>
                  <a:lnTo>
                    <a:pt x="362" y="656"/>
                  </a:lnTo>
                  <a:lnTo>
                    <a:pt x="345" y="657"/>
                  </a:lnTo>
                  <a:lnTo>
                    <a:pt x="329" y="657"/>
                  </a:lnTo>
                  <a:lnTo>
                    <a:pt x="329" y="657"/>
                  </a:lnTo>
                  <a:close/>
                  <a:moveTo>
                    <a:pt x="329" y="38"/>
                  </a:moveTo>
                  <a:lnTo>
                    <a:pt x="329" y="38"/>
                  </a:lnTo>
                  <a:lnTo>
                    <a:pt x="299" y="39"/>
                  </a:lnTo>
                  <a:lnTo>
                    <a:pt x="269" y="43"/>
                  </a:lnTo>
                  <a:lnTo>
                    <a:pt x="243" y="50"/>
                  </a:lnTo>
                  <a:lnTo>
                    <a:pt x="216" y="61"/>
                  </a:lnTo>
                  <a:lnTo>
                    <a:pt x="190" y="73"/>
                  </a:lnTo>
                  <a:lnTo>
                    <a:pt x="166" y="88"/>
                  </a:lnTo>
                  <a:lnTo>
                    <a:pt x="143" y="104"/>
                  </a:lnTo>
                  <a:lnTo>
                    <a:pt x="123" y="123"/>
                  </a:lnTo>
                  <a:lnTo>
                    <a:pt x="104" y="144"/>
                  </a:lnTo>
                  <a:lnTo>
                    <a:pt x="87" y="166"/>
                  </a:lnTo>
                  <a:lnTo>
                    <a:pt x="72" y="190"/>
                  </a:lnTo>
                  <a:lnTo>
                    <a:pt x="60" y="215"/>
                  </a:lnTo>
                  <a:lnTo>
                    <a:pt x="51" y="242"/>
                  </a:lnTo>
                  <a:lnTo>
                    <a:pt x="44" y="270"/>
                  </a:lnTo>
                  <a:lnTo>
                    <a:pt x="39" y="299"/>
                  </a:lnTo>
                  <a:lnTo>
                    <a:pt x="37" y="328"/>
                  </a:lnTo>
                  <a:lnTo>
                    <a:pt x="37" y="328"/>
                  </a:lnTo>
                  <a:lnTo>
                    <a:pt x="39" y="358"/>
                  </a:lnTo>
                  <a:lnTo>
                    <a:pt x="44" y="387"/>
                  </a:lnTo>
                  <a:lnTo>
                    <a:pt x="51" y="415"/>
                  </a:lnTo>
                  <a:lnTo>
                    <a:pt x="60" y="442"/>
                  </a:lnTo>
                  <a:lnTo>
                    <a:pt x="72" y="468"/>
                  </a:lnTo>
                  <a:lnTo>
                    <a:pt x="87" y="491"/>
                  </a:lnTo>
                  <a:lnTo>
                    <a:pt x="104" y="513"/>
                  </a:lnTo>
                  <a:lnTo>
                    <a:pt x="123" y="535"/>
                  </a:lnTo>
                  <a:lnTo>
                    <a:pt x="143" y="554"/>
                  </a:lnTo>
                  <a:lnTo>
                    <a:pt x="166" y="570"/>
                  </a:lnTo>
                  <a:lnTo>
                    <a:pt x="190" y="585"/>
                  </a:lnTo>
                  <a:lnTo>
                    <a:pt x="216" y="597"/>
                  </a:lnTo>
                  <a:lnTo>
                    <a:pt x="243" y="606"/>
                  </a:lnTo>
                  <a:lnTo>
                    <a:pt x="269" y="614"/>
                  </a:lnTo>
                  <a:lnTo>
                    <a:pt x="299" y="618"/>
                  </a:lnTo>
                  <a:lnTo>
                    <a:pt x="329" y="620"/>
                  </a:lnTo>
                  <a:lnTo>
                    <a:pt x="329" y="620"/>
                  </a:lnTo>
                  <a:lnTo>
                    <a:pt x="358" y="618"/>
                  </a:lnTo>
                  <a:lnTo>
                    <a:pt x="388" y="614"/>
                  </a:lnTo>
                  <a:lnTo>
                    <a:pt x="414" y="606"/>
                  </a:lnTo>
                  <a:lnTo>
                    <a:pt x="441" y="597"/>
                  </a:lnTo>
                  <a:lnTo>
                    <a:pt x="467" y="585"/>
                  </a:lnTo>
                  <a:lnTo>
                    <a:pt x="491" y="570"/>
                  </a:lnTo>
                  <a:lnTo>
                    <a:pt x="514" y="554"/>
                  </a:lnTo>
                  <a:lnTo>
                    <a:pt x="534" y="535"/>
                  </a:lnTo>
                  <a:lnTo>
                    <a:pt x="553" y="513"/>
                  </a:lnTo>
                  <a:lnTo>
                    <a:pt x="570" y="491"/>
                  </a:lnTo>
                  <a:lnTo>
                    <a:pt x="584" y="468"/>
                  </a:lnTo>
                  <a:lnTo>
                    <a:pt x="597" y="442"/>
                  </a:lnTo>
                  <a:lnTo>
                    <a:pt x="606" y="415"/>
                  </a:lnTo>
                  <a:lnTo>
                    <a:pt x="613" y="387"/>
                  </a:lnTo>
                  <a:lnTo>
                    <a:pt x="619" y="358"/>
                  </a:lnTo>
                  <a:lnTo>
                    <a:pt x="620" y="328"/>
                  </a:lnTo>
                  <a:lnTo>
                    <a:pt x="620" y="328"/>
                  </a:lnTo>
                  <a:lnTo>
                    <a:pt x="619" y="299"/>
                  </a:lnTo>
                  <a:lnTo>
                    <a:pt x="613" y="270"/>
                  </a:lnTo>
                  <a:lnTo>
                    <a:pt x="606" y="242"/>
                  </a:lnTo>
                  <a:lnTo>
                    <a:pt x="597" y="215"/>
                  </a:lnTo>
                  <a:lnTo>
                    <a:pt x="584" y="190"/>
                  </a:lnTo>
                  <a:lnTo>
                    <a:pt x="570" y="166"/>
                  </a:lnTo>
                  <a:lnTo>
                    <a:pt x="553" y="144"/>
                  </a:lnTo>
                  <a:lnTo>
                    <a:pt x="534" y="123"/>
                  </a:lnTo>
                  <a:lnTo>
                    <a:pt x="514" y="104"/>
                  </a:lnTo>
                  <a:lnTo>
                    <a:pt x="491" y="88"/>
                  </a:lnTo>
                  <a:lnTo>
                    <a:pt x="467" y="73"/>
                  </a:lnTo>
                  <a:lnTo>
                    <a:pt x="441" y="61"/>
                  </a:lnTo>
                  <a:lnTo>
                    <a:pt x="414" y="50"/>
                  </a:lnTo>
                  <a:lnTo>
                    <a:pt x="388" y="43"/>
                  </a:lnTo>
                  <a:lnTo>
                    <a:pt x="358" y="39"/>
                  </a:lnTo>
                  <a:lnTo>
                    <a:pt x="329" y="38"/>
                  </a:lnTo>
                  <a:lnTo>
                    <a:pt x="329" y="3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4" name="Freeform 77">
              <a:extLst>
                <a:ext uri="{FF2B5EF4-FFF2-40B4-BE49-F238E27FC236}">
                  <a16:creationId xmlns:a16="http://schemas.microsoft.com/office/drawing/2014/main" id="{12AC0F44-4735-4595-9CCD-5E1E29D698EF}"/>
                </a:ext>
              </a:extLst>
            </p:cNvPr>
            <p:cNvSpPr>
              <a:spLocks/>
            </p:cNvSpPr>
            <p:nvPr/>
          </p:nvSpPr>
          <p:spPr bwMode="auto">
            <a:xfrm>
              <a:off x="3363913" y="1022350"/>
              <a:ext cx="193675" cy="77788"/>
            </a:xfrm>
            <a:custGeom>
              <a:avLst/>
              <a:gdLst>
                <a:gd name="T0" fmla="*/ 237 w 245"/>
                <a:gd name="T1" fmla="*/ 0 h 99"/>
                <a:gd name="T2" fmla="*/ 8 w 245"/>
                <a:gd name="T3" fmla="*/ 0 h 99"/>
                <a:gd name="T4" fmla="*/ 8 w 245"/>
                <a:gd name="T5" fmla="*/ 0 h 99"/>
                <a:gd name="T6" fmla="*/ 4 w 245"/>
                <a:gd name="T7" fmla="*/ 0 h 99"/>
                <a:gd name="T8" fmla="*/ 3 w 245"/>
                <a:gd name="T9" fmla="*/ 2 h 99"/>
                <a:gd name="T10" fmla="*/ 0 w 245"/>
                <a:gd name="T11" fmla="*/ 5 h 99"/>
                <a:gd name="T12" fmla="*/ 0 w 245"/>
                <a:gd name="T13" fmla="*/ 7 h 99"/>
                <a:gd name="T14" fmla="*/ 0 w 245"/>
                <a:gd name="T15" fmla="*/ 31 h 99"/>
                <a:gd name="T16" fmla="*/ 0 w 245"/>
                <a:gd name="T17" fmla="*/ 31 h 99"/>
                <a:gd name="T18" fmla="*/ 0 w 245"/>
                <a:gd name="T19" fmla="*/ 33 h 99"/>
                <a:gd name="T20" fmla="*/ 2 w 245"/>
                <a:gd name="T21" fmla="*/ 35 h 99"/>
                <a:gd name="T22" fmla="*/ 121 w 245"/>
                <a:gd name="T23" fmla="*/ 99 h 99"/>
                <a:gd name="T24" fmla="*/ 121 w 245"/>
                <a:gd name="T25" fmla="*/ 99 h 99"/>
                <a:gd name="T26" fmla="*/ 123 w 245"/>
                <a:gd name="T27" fmla="*/ 99 h 99"/>
                <a:gd name="T28" fmla="*/ 123 w 245"/>
                <a:gd name="T29" fmla="*/ 99 h 99"/>
                <a:gd name="T30" fmla="*/ 124 w 245"/>
                <a:gd name="T31" fmla="*/ 99 h 99"/>
                <a:gd name="T32" fmla="*/ 242 w 245"/>
                <a:gd name="T33" fmla="*/ 35 h 99"/>
                <a:gd name="T34" fmla="*/ 242 w 245"/>
                <a:gd name="T35" fmla="*/ 35 h 99"/>
                <a:gd name="T36" fmla="*/ 243 w 245"/>
                <a:gd name="T37" fmla="*/ 33 h 99"/>
                <a:gd name="T38" fmla="*/ 245 w 245"/>
                <a:gd name="T39" fmla="*/ 31 h 99"/>
                <a:gd name="T40" fmla="*/ 245 w 245"/>
                <a:gd name="T41" fmla="*/ 7 h 99"/>
                <a:gd name="T42" fmla="*/ 245 w 245"/>
                <a:gd name="T43" fmla="*/ 7 h 99"/>
                <a:gd name="T44" fmla="*/ 243 w 245"/>
                <a:gd name="T45" fmla="*/ 5 h 99"/>
                <a:gd name="T46" fmla="*/ 242 w 245"/>
                <a:gd name="T47" fmla="*/ 2 h 99"/>
                <a:gd name="T48" fmla="*/ 239 w 245"/>
                <a:gd name="T49" fmla="*/ 0 h 99"/>
                <a:gd name="T50" fmla="*/ 237 w 245"/>
                <a:gd name="T51" fmla="*/ 0 h 99"/>
                <a:gd name="T52" fmla="*/ 237 w 245"/>
                <a:gd name="T53"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5" h="99">
                  <a:moveTo>
                    <a:pt x="237" y="0"/>
                  </a:moveTo>
                  <a:lnTo>
                    <a:pt x="8" y="0"/>
                  </a:lnTo>
                  <a:lnTo>
                    <a:pt x="8" y="0"/>
                  </a:lnTo>
                  <a:lnTo>
                    <a:pt x="4" y="0"/>
                  </a:lnTo>
                  <a:lnTo>
                    <a:pt x="3" y="2"/>
                  </a:lnTo>
                  <a:lnTo>
                    <a:pt x="0" y="5"/>
                  </a:lnTo>
                  <a:lnTo>
                    <a:pt x="0" y="7"/>
                  </a:lnTo>
                  <a:lnTo>
                    <a:pt x="0" y="31"/>
                  </a:lnTo>
                  <a:lnTo>
                    <a:pt x="0" y="31"/>
                  </a:lnTo>
                  <a:lnTo>
                    <a:pt x="0" y="33"/>
                  </a:lnTo>
                  <a:lnTo>
                    <a:pt x="2" y="35"/>
                  </a:lnTo>
                  <a:lnTo>
                    <a:pt x="121" y="99"/>
                  </a:lnTo>
                  <a:lnTo>
                    <a:pt x="121" y="99"/>
                  </a:lnTo>
                  <a:lnTo>
                    <a:pt x="123" y="99"/>
                  </a:lnTo>
                  <a:lnTo>
                    <a:pt x="123" y="99"/>
                  </a:lnTo>
                  <a:lnTo>
                    <a:pt x="124" y="99"/>
                  </a:lnTo>
                  <a:lnTo>
                    <a:pt x="242" y="35"/>
                  </a:lnTo>
                  <a:lnTo>
                    <a:pt x="242" y="35"/>
                  </a:lnTo>
                  <a:lnTo>
                    <a:pt x="243" y="33"/>
                  </a:lnTo>
                  <a:lnTo>
                    <a:pt x="245" y="31"/>
                  </a:lnTo>
                  <a:lnTo>
                    <a:pt x="245" y="7"/>
                  </a:lnTo>
                  <a:lnTo>
                    <a:pt x="245" y="7"/>
                  </a:lnTo>
                  <a:lnTo>
                    <a:pt x="243" y="5"/>
                  </a:lnTo>
                  <a:lnTo>
                    <a:pt x="242" y="2"/>
                  </a:lnTo>
                  <a:lnTo>
                    <a:pt x="239" y="0"/>
                  </a:lnTo>
                  <a:lnTo>
                    <a:pt x="237" y="0"/>
                  </a:lnTo>
                  <a:lnTo>
                    <a:pt x="2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5" name="Freeform 78">
              <a:extLst>
                <a:ext uri="{FF2B5EF4-FFF2-40B4-BE49-F238E27FC236}">
                  <a16:creationId xmlns:a16="http://schemas.microsoft.com/office/drawing/2014/main" id="{D9DF61F2-4B99-41D2-B5A7-668BF62B54B2}"/>
                </a:ext>
              </a:extLst>
            </p:cNvPr>
            <p:cNvSpPr>
              <a:spLocks/>
            </p:cNvSpPr>
            <p:nvPr/>
          </p:nvSpPr>
          <p:spPr bwMode="auto">
            <a:xfrm>
              <a:off x="3363913" y="1068388"/>
              <a:ext cx="193675" cy="109538"/>
            </a:xfrm>
            <a:custGeom>
              <a:avLst/>
              <a:gdLst>
                <a:gd name="T0" fmla="*/ 128 w 245"/>
                <a:gd name="T1" fmla="*/ 62 h 139"/>
                <a:gd name="T2" fmla="*/ 128 w 245"/>
                <a:gd name="T3" fmla="*/ 62 h 139"/>
                <a:gd name="T4" fmla="*/ 123 w 245"/>
                <a:gd name="T5" fmla="*/ 63 h 139"/>
                <a:gd name="T6" fmla="*/ 123 w 245"/>
                <a:gd name="T7" fmla="*/ 63 h 139"/>
                <a:gd name="T8" fmla="*/ 117 w 245"/>
                <a:gd name="T9" fmla="*/ 62 h 139"/>
                <a:gd name="T10" fmla="*/ 0 w 245"/>
                <a:gd name="T11" fmla="*/ 0 h 139"/>
                <a:gd name="T12" fmla="*/ 0 w 245"/>
                <a:gd name="T13" fmla="*/ 0 h 139"/>
                <a:gd name="T14" fmla="*/ 0 w 245"/>
                <a:gd name="T15" fmla="*/ 0 h 139"/>
                <a:gd name="T16" fmla="*/ 0 w 245"/>
                <a:gd name="T17" fmla="*/ 130 h 139"/>
                <a:gd name="T18" fmla="*/ 0 w 245"/>
                <a:gd name="T19" fmla="*/ 130 h 139"/>
                <a:gd name="T20" fmla="*/ 0 w 245"/>
                <a:gd name="T21" fmla="*/ 133 h 139"/>
                <a:gd name="T22" fmla="*/ 3 w 245"/>
                <a:gd name="T23" fmla="*/ 136 h 139"/>
                <a:gd name="T24" fmla="*/ 4 w 245"/>
                <a:gd name="T25" fmla="*/ 137 h 139"/>
                <a:gd name="T26" fmla="*/ 8 w 245"/>
                <a:gd name="T27" fmla="*/ 139 h 139"/>
                <a:gd name="T28" fmla="*/ 237 w 245"/>
                <a:gd name="T29" fmla="*/ 139 h 139"/>
                <a:gd name="T30" fmla="*/ 237 w 245"/>
                <a:gd name="T31" fmla="*/ 139 h 139"/>
                <a:gd name="T32" fmla="*/ 239 w 245"/>
                <a:gd name="T33" fmla="*/ 137 h 139"/>
                <a:gd name="T34" fmla="*/ 242 w 245"/>
                <a:gd name="T35" fmla="*/ 136 h 139"/>
                <a:gd name="T36" fmla="*/ 243 w 245"/>
                <a:gd name="T37" fmla="*/ 133 h 139"/>
                <a:gd name="T38" fmla="*/ 245 w 245"/>
                <a:gd name="T39" fmla="*/ 130 h 139"/>
                <a:gd name="T40" fmla="*/ 245 w 245"/>
                <a:gd name="T41" fmla="*/ 0 h 139"/>
                <a:gd name="T42" fmla="*/ 245 w 245"/>
                <a:gd name="T43" fmla="*/ 0 h 139"/>
                <a:gd name="T44" fmla="*/ 245 w 245"/>
                <a:gd name="T45" fmla="*/ 0 h 139"/>
                <a:gd name="T46" fmla="*/ 128 w 245"/>
                <a:gd name="T47" fmla="*/ 6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5" h="139">
                  <a:moveTo>
                    <a:pt x="128" y="62"/>
                  </a:moveTo>
                  <a:lnTo>
                    <a:pt x="128" y="62"/>
                  </a:lnTo>
                  <a:lnTo>
                    <a:pt x="123" y="63"/>
                  </a:lnTo>
                  <a:lnTo>
                    <a:pt x="123" y="63"/>
                  </a:lnTo>
                  <a:lnTo>
                    <a:pt x="117" y="62"/>
                  </a:lnTo>
                  <a:lnTo>
                    <a:pt x="0" y="0"/>
                  </a:lnTo>
                  <a:lnTo>
                    <a:pt x="0" y="0"/>
                  </a:lnTo>
                  <a:lnTo>
                    <a:pt x="0" y="0"/>
                  </a:lnTo>
                  <a:lnTo>
                    <a:pt x="0" y="130"/>
                  </a:lnTo>
                  <a:lnTo>
                    <a:pt x="0" y="130"/>
                  </a:lnTo>
                  <a:lnTo>
                    <a:pt x="0" y="133"/>
                  </a:lnTo>
                  <a:lnTo>
                    <a:pt x="3" y="136"/>
                  </a:lnTo>
                  <a:lnTo>
                    <a:pt x="4" y="137"/>
                  </a:lnTo>
                  <a:lnTo>
                    <a:pt x="8" y="139"/>
                  </a:lnTo>
                  <a:lnTo>
                    <a:pt x="237" y="139"/>
                  </a:lnTo>
                  <a:lnTo>
                    <a:pt x="237" y="139"/>
                  </a:lnTo>
                  <a:lnTo>
                    <a:pt x="239" y="137"/>
                  </a:lnTo>
                  <a:lnTo>
                    <a:pt x="242" y="136"/>
                  </a:lnTo>
                  <a:lnTo>
                    <a:pt x="243" y="133"/>
                  </a:lnTo>
                  <a:lnTo>
                    <a:pt x="245" y="130"/>
                  </a:lnTo>
                  <a:lnTo>
                    <a:pt x="245" y="0"/>
                  </a:lnTo>
                  <a:lnTo>
                    <a:pt x="245" y="0"/>
                  </a:lnTo>
                  <a:lnTo>
                    <a:pt x="245" y="0"/>
                  </a:lnTo>
                  <a:lnTo>
                    <a:pt x="128"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76" name="Group 175">
            <a:extLst>
              <a:ext uri="{FF2B5EF4-FFF2-40B4-BE49-F238E27FC236}">
                <a16:creationId xmlns:a16="http://schemas.microsoft.com/office/drawing/2014/main" id="{961CCF53-3B3A-4B92-9ECF-AEE2F02F3116}"/>
              </a:ext>
            </a:extLst>
          </p:cNvPr>
          <p:cNvGrpSpPr>
            <a:grpSpLocks noChangeAspect="1"/>
          </p:cNvGrpSpPr>
          <p:nvPr/>
        </p:nvGrpSpPr>
        <p:grpSpPr>
          <a:xfrm>
            <a:off x="3738647" y="4685364"/>
            <a:ext cx="320040" cy="320040"/>
            <a:chOff x="8480426" y="4178300"/>
            <a:chExt cx="522288" cy="522288"/>
          </a:xfrm>
        </p:grpSpPr>
        <p:sp>
          <p:nvSpPr>
            <p:cNvPr id="177" name="Freeform 71">
              <a:extLst>
                <a:ext uri="{FF2B5EF4-FFF2-40B4-BE49-F238E27FC236}">
                  <a16:creationId xmlns:a16="http://schemas.microsoft.com/office/drawing/2014/main" id="{8B605C7C-58A1-46E0-97F2-82A90C48AB3C}"/>
                </a:ext>
              </a:extLst>
            </p:cNvPr>
            <p:cNvSpPr>
              <a:spLocks noEditPoints="1"/>
            </p:cNvSpPr>
            <p:nvPr/>
          </p:nvSpPr>
          <p:spPr bwMode="auto">
            <a:xfrm>
              <a:off x="8480426" y="4178300"/>
              <a:ext cx="522288" cy="522288"/>
            </a:xfrm>
            <a:custGeom>
              <a:avLst/>
              <a:gdLst>
                <a:gd name="T0" fmla="*/ 313 w 658"/>
                <a:gd name="T1" fmla="*/ 658 h 658"/>
                <a:gd name="T2" fmla="*/ 263 w 658"/>
                <a:gd name="T3" fmla="*/ 651 h 658"/>
                <a:gd name="T4" fmla="*/ 201 w 658"/>
                <a:gd name="T5" fmla="*/ 632 h 658"/>
                <a:gd name="T6" fmla="*/ 121 w 658"/>
                <a:gd name="T7" fmla="*/ 582 h 658"/>
                <a:gd name="T8" fmla="*/ 56 w 658"/>
                <a:gd name="T9" fmla="*/ 513 h 658"/>
                <a:gd name="T10" fmla="*/ 15 w 658"/>
                <a:gd name="T11" fmla="*/ 427 h 658"/>
                <a:gd name="T12" fmla="*/ 4 w 658"/>
                <a:gd name="T13" fmla="*/ 378 h 658"/>
                <a:gd name="T14" fmla="*/ 0 w 658"/>
                <a:gd name="T15" fmla="*/ 329 h 658"/>
                <a:gd name="T16" fmla="*/ 3 w 658"/>
                <a:gd name="T17" fmla="*/ 295 h 658"/>
                <a:gd name="T18" fmla="*/ 11 w 658"/>
                <a:gd name="T19" fmla="*/ 247 h 658"/>
                <a:gd name="T20" fmla="*/ 40 w 658"/>
                <a:gd name="T21" fmla="*/ 173 h 658"/>
                <a:gd name="T22" fmla="*/ 97 w 658"/>
                <a:gd name="T23" fmla="*/ 96 h 658"/>
                <a:gd name="T24" fmla="*/ 173 w 658"/>
                <a:gd name="T25" fmla="*/ 40 h 658"/>
                <a:gd name="T26" fmla="*/ 247 w 658"/>
                <a:gd name="T27" fmla="*/ 10 h 658"/>
                <a:gd name="T28" fmla="*/ 295 w 658"/>
                <a:gd name="T29" fmla="*/ 2 h 658"/>
                <a:gd name="T30" fmla="*/ 329 w 658"/>
                <a:gd name="T31" fmla="*/ 0 h 658"/>
                <a:gd name="T32" fmla="*/ 379 w 658"/>
                <a:gd name="T33" fmla="*/ 4 h 658"/>
                <a:gd name="T34" fmla="*/ 427 w 658"/>
                <a:gd name="T35" fmla="*/ 14 h 658"/>
                <a:gd name="T36" fmla="*/ 513 w 658"/>
                <a:gd name="T37" fmla="*/ 56 h 658"/>
                <a:gd name="T38" fmla="*/ 583 w 658"/>
                <a:gd name="T39" fmla="*/ 120 h 658"/>
                <a:gd name="T40" fmla="*/ 632 w 658"/>
                <a:gd name="T41" fmla="*/ 201 h 658"/>
                <a:gd name="T42" fmla="*/ 651 w 658"/>
                <a:gd name="T43" fmla="*/ 263 h 658"/>
                <a:gd name="T44" fmla="*/ 658 w 658"/>
                <a:gd name="T45" fmla="*/ 313 h 658"/>
                <a:gd name="T46" fmla="*/ 658 w 658"/>
                <a:gd name="T47" fmla="*/ 346 h 658"/>
                <a:gd name="T48" fmla="*/ 651 w 658"/>
                <a:gd name="T49" fmla="*/ 394 h 658"/>
                <a:gd name="T50" fmla="*/ 632 w 658"/>
                <a:gd name="T51" fmla="*/ 456 h 658"/>
                <a:gd name="T52" fmla="*/ 583 w 658"/>
                <a:gd name="T53" fmla="*/ 538 h 658"/>
                <a:gd name="T54" fmla="*/ 513 w 658"/>
                <a:gd name="T55" fmla="*/ 601 h 658"/>
                <a:gd name="T56" fmla="*/ 427 w 658"/>
                <a:gd name="T57" fmla="*/ 643 h 658"/>
                <a:gd name="T58" fmla="*/ 379 w 658"/>
                <a:gd name="T59" fmla="*/ 654 h 658"/>
                <a:gd name="T60" fmla="*/ 329 w 658"/>
                <a:gd name="T61" fmla="*/ 658 h 658"/>
                <a:gd name="T62" fmla="*/ 329 w 658"/>
                <a:gd name="T63" fmla="*/ 37 h 658"/>
                <a:gd name="T64" fmla="*/ 243 w 658"/>
                <a:gd name="T65" fmla="*/ 51 h 658"/>
                <a:gd name="T66" fmla="*/ 166 w 658"/>
                <a:gd name="T67" fmla="*/ 87 h 658"/>
                <a:gd name="T68" fmla="*/ 105 w 658"/>
                <a:gd name="T69" fmla="*/ 143 h 658"/>
                <a:gd name="T70" fmla="*/ 62 w 658"/>
                <a:gd name="T71" fmla="*/ 216 h 658"/>
                <a:gd name="T72" fmla="*/ 40 w 658"/>
                <a:gd name="T73" fmla="*/ 299 h 658"/>
                <a:gd name="T74" fmla="*/ 40 w 658"/>
                <a:gd name="T75" fmla="*/ 358 h 658"/>
                <a:gd name="T76" fmla="*/ 62 w 658"/>
                <a:gd name="T77" fmla="*/ 441 h 658"/>
                <a:gd name="T78" fmla="*/ 105 w 658"/>
                <a:gd name="T79" fmla="*/ 514 h 658"/>
                <a:gd name="T80" fmla="*/ 166 w 658"/>
                <a:gd name="T81" fmla="*/ 570 h 658"/>
                <a:gd name="T82" fmla="*/ 243 w 658"/>
                <a:gd name="T83" fmla="*/ 607 h 658"/>
                <a:gd name="T84" fmla="*/ 329 w 658"/>
                <a:gd name="T85" fmla="*/ 620 h 658"/>
                <a:gd name="T86" fmla="*/ 388 w 658"/>
                <a:gd name="T87" fmla="*/ 615 h 658"/>
                <a:gd name="T88" fmla="*/ 467 w 658"/>
                <a:gd name="T89" fmla="*/ 585 h 658"/>
                <a:gd name="T90" fmla="*/ 534 w 658"/>
                <a:gd name="T91" fmla="*/ 534 h 658"/>
                <a:gd name="T92" fmla="*/ 585 w 658"/>
                <a:gd name="T93" fmla="*/ 467 h 658"/>
                <a:gd name="T94" fmla="*/ 615 w 658"/>
                <a:gd name="T95" fmla="*/ 388 h 658"/>
                <a:gd name="T96" fmla="*/ 620 w 658"/>
                <a:gd name="T97" fmla="*/ 329 h 658"/>
                <a:gd name="T98" fmla="*/ 607 w 658"/>
                <a:gd name="T99" fmla="*/ 243 h 658"/>
                <a:gd name="T100" fmla="*/ 571 w 658"/>
                <a:gd name="T101" fmla="*/ 166 h 658"/>
                <a:gd name="T102" fmla="*/ 514 w 658"/>
                <a:gd name="T103" fmla="*/ 104 h 658"/>
                <a:gd name="T104" fmla="*/ 443 w 658"/>
                <a:gd name="T105" fmla="*/ 60 h 658"/>
                <a:gd name="T106" fmla="*/ 358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8"/>
                  </a:lnTo>
                  <a:lnTo>
                    <a:pt x="295" y="656"/>
                  </a:lnTo>
                  <a:lnTo>
                    <a:pt x="279" y="654"/>
                  </a:lnTo>
                  <a:lnTo>
                    <a:pt x="263" y="651"/>
                  </a:lnTo>
                  <a:lnTo>
                    <a:pt x="247" y="647"/>
                  </a:lnTo>
                  <a:lnTo>
                    <a:pt x="232" y="643"/>
                  </a:lnTo>
                  <a:lnTo>
                    <a:pt x="201" y="632"/>
                  </a:lnTo>
                  <a:lnTo>
                    <a:pt x="173" y="617"/>
                  </a:lnTo>
                  <a:lnTo>
                    <a:pt x="145" y="601"/>
                  </a:lnTo>
                  <a:lnTo>
                    <a:pt x="121" y="582"/>
                  </a:lnTo>
                  <a:lnTo>
                    <a:pt x="97" y="561"/>
                  </a:lnTo>
                  <a:lnTo>
                    <a:pt x="75" y="538"/>
                  </a:lnTo>
                  <a:lnTo>
                    <a:pt x="56" y="513"/>
                  </a:lnTo>
                  <a:lnTo>
                    <a:pt x="40" y="486"/>
                  </a:lnTo>
                  <a:lnTo>
                    <a:pt x="27" y="456"/>
                  </a:lnTo>
                  <a:lnTo>
                    <a:pt x="15" y="427"/>
                  </a:lnTo>
                  <a:lnTo>
                    <a:pt x="11" y="411"/>
                  </a:lnTo>
                  <a:lnTo>
                    <a:pt x="7" y="394"/>
                  </a:lnTo>
                  <a:lnTo>
                    <a:pt x="4" y="378"/>
                  </a:lnTo>
                  <a:lnTo>
                    <a:pt x="3" y="362"/>
                  </a:lnTo>
                  <a:lnTo>
                    <a:pt x="1" y="346"/>
                  </a:lnTo>
                  <a:lnTo>
                    <a:pt x="0" y="329"/>
                  </a:lnTo>
                  <a:lnTo>
                    <a:pt x="0" y="329"/>
                  </a:lnTo>
                  <a:lnTo>
                    <a:pt x="1" y="313"/>
                  </a:lnTo>
                  <a:lnTo>
                    <a:pt x="3" y="295"/>
                  </a:lnTo>
                  <a:lnTo>
                    <a:pt x="4" y="279"/>
                  </a:lnTo>
                  <a:lnTo>
                    <a:pt x="7" y="263"/>
                  </a:lnTo>
                  <a:lnTo>
                    <a:pt x="11" y="247"/>
                  </a:lnTo>
                  <a:lnTo>
                    <a:pt x="15" y="231"/>
                  </a:lnTo>
                  <a:lnTo>
                    <a:pt x="27" y="201"/>
                  </a:lnTo>
                  <a:lnTo>
                    <a:pt x="40" y="173"/>
                  </a:lnTo>
                  <a:lnTo>
                    <a:pt x="56" y="145"/>
                  </a:lnTo>
                  <a:lnTo>
                    <a:pt x="75" y="120"/>
                  </a:lnTo>
                  <a:lnTo>
                    <a:pt x="97" y="96"/>
                  </a:lnTo>
                  <a:lnTo>
                    <a:pt x="121" y="75"/>
                  </a:lnTo>
                  <a:lnTo>
                    <a:pt x="145" y="56"/>
                  </a:lnTo>
                  <a:lnTo>
                    <a:pt x="173" y="40"/>
                  </a:lnTo>
                  <a:lnTo>
                    <a:pt x="201" y="26"/>
                  </a:lnTo>
                  <a:lnTo>
                    <a:pt x="232" y="14"/>
                  </a:lnTo>
                  <a:lnTo>
                    <a:pt x="247" y="10"/>
                  </a:lnTo>
                  <a:lnTo>
                    <a:pt x="263" y="6"/>
                  </a:lnTo>
                  <a:lnTo>
                    <a:pt x="279" y="4"/>
                  </a:lnTo>
                  <a:lnTo>
                    <a:pt x="295" y="2"/>
                  </a:lnTo>
                  <a:lnTo>
                    <a:pt x="313" y="1"/>
                  </a:lnTo>
                  <a:lnTo>
                    <a:pt x="329" y="0"/>
                  </a:lnTo>
                  <a:lnTo>
                    <a:pt x="329" y="0"/>
                  </a:lnTo>
                  <a:lnTo>
                    <a:pt x="346" y="1"/>
                  </a:lnTo>
                  <a:lnTo>
                    <a:pt x="362" y="2"/>
                  </a:lnTo>
                  <a:lnTo>
                    <a:pt x="379" y="4"/>
                  </a:lnTo>
                  <a:lnTo>
                    <a:pt x="395" y="6"/>
                  </a:lnTo>
                  <a:lnTo>
                    <a:pt x="411" y="10"/>
                  </a:lnTo>
                  <a:lnTo>
                    <a:pt x="427" y="14"/>
                  </a:lnTo>
                  <a:lnTo>
                    <a:pt x="456" y="26"/>
                  </a:lnTo>
                  <a:lnTo>
                    <a:pt x="486" y="40"/>
                  </a:lnTo>
                  <a:lnTo>
                    <a:pt x="513" y="56"/>
                  </a:lnTo>
                  <a:lnTo>
                    <a:pt x="538" y="75"/>
                  </a:lnTo>
                  <a:lnTo>
                    <a:pt x="561" y="96"/>
                  </a:lnTo>
                  <a:lnTo>
                    <a:pt x="583" y="120"/>
                  </a:lnTo>
                  <a:lnTo>
                    <a:pt x="601" y="145"/>
                  </a:lnTo>
                  <a:lnTo>
                    <a:pt x="618" y="173"/>
                  </a:lnTo>
                  <a:lnTo>
                    <a:pt x="632" y="201"/>
                  </a:lnTo>
                  <a:lnTo>
                    <a:pt x="643" y="231"/>
                  </a:lnTo>
                  <a:lnTo>
                    <a:pt x="647" y="247"/>
                  </a:lnTo>
                  <a:lnTo>
                    <a:pt x="651" y="263"/>
                  </a:lnTo>
                  <a:lnTo>
                    <a:pt x="654" y="279"/>
                  </a:lnTo>
                  <a:lnTo>
                    <a:pt x="657" y="295"/>
                  </a:lnTo>
                  <a:lnTo>
                    <a:pt x="658" y="313"/>
                  </a:lnTo>
                  <a:lnTo>
                    <a:pt x="658" y="329"/>
                  </a:lnTo>
                  <a:lnTo>
                    <a:pt x="658" y="329"/>
                  </a:lnTo>
                  <a:lnTo>
                    <a:pt x="658" y="346"/>
                  </a:lnTo>
                  <a:lnTo>
                    <a:pt x="657" y="362"/>
                  </a:lnTo>
                  <a:lnTo>
                    <a:pt x="654" y="378"/>
                  </a:lnTo>
                  <a:lnTo>
                    <a:pt x="651" y="394"/>
                  </a:lnTo>
                  <a:lnTo>
                    <a:pt x="647" y="411"/>
                  </a:lnTo>
                  <a:lnTo>
                    <a:pt x="643" y="427"/>
                  </a:lnTo>
                  <a:lnTo>
                    <a:pt x="632" y="456"/>
                  </a:lnTo>
                  <a:lnTo>
                    <a:pt x="618" y="486"/>
                  </a:lnTo>
                  <a:lnTo>
                    <a:pt x="601" y="513"/>
                  </a:lnTo>
                  <a:lnTo>
                    <a:pt x="583" y="538"/>
                  </a:lnTo>
                  <a:lnTo>
                    <a:pt x="561" y="561"/>
                  </a:lnTo>
                  <a:lnTo>
                    <a:pt x="538" y="582"/>
                  </a:lnTo>
                  <a:lnTo>
                    <a:pt x="513" y="601"/>
                  </a:lnTo>
                  <a:lnTo>
                    <a:pt x="486" y="617"/>
                  </a:lnTo>
                  <a:lnTo>
                    <a:pt x="456" y="632"/>
                  </a:lnTo>
                  <a:lnTo>
                    <a:pt x="427" y="643"/>
                  </a:lnTo>
                  <a:lnTo>
                    <a:pt x="411" y="647"/>
                  </a:lnTo>
                  <a:lnTo>
                    <a:pt x="395" y="651"/>
                  </a:lnTo>
                  <a:lnTo>
                    <a:pt x="379" y="654"/>
                  </a:lnTo>
                  <a:lnTo>
                    <a:pt x="362" y="656"/>
                  </a:lnTo>
                  <a:lnTo>
                    <a:pt x="346" y="658"/>
                  </a:lnTo>
                  <a:lnTo>
                    <a:pt x="329" y="658"/>
                  </a:lnTo>
                  <a:lnTo>
                    <a:pt x="329" y="658"/>
                  </a:lnTo>
                  <a:close/>
                  <a:moveTo>
                    <a:pt x="329" y="37"/>
                  </a:moveTo>
                  <a:lnTo>
                    <a:pt x="329" y="37"/>
                  </a:lnTo>
                  <a:lnTo>
                    <a:pt x="299" y="40"/>
                  </a:lnTo>
                  <a:lnTo>
                    <a:pt x="271" y="44"/>
                  </a:lnTo>
                  <a:lnTo>
                    <a:pt x="243" y="51"/>
                  </a:lnTo>
                  <a:lnTo>
                    <a:pt x="216" y="60"/>
                  </a:lnTo>
                  <a:lnTo>
                    <a:pt x="191" y="73"/>
                  </a:lnTo>
                  <a:lnTo>
                    <a:pt x="166" y="87"/>
                  </a:lnTo>
                  <a:lnTo>
                    <a:pt x="144" y="104"/>
                  </a:lnTo>
                  <a:lnTo>
                    <a:pt x="123" y="123"/>
                  </a:lnTo>
                  <a:lnTo>
                    <a:pt x="105" y="143"/>
                  </a:lnTo>
                  <a:lnTo>
                    <a:pt x="89" y="166"/>
                  </a:lnTo>
                  <a:lnTo>
                    <a:pt x="74" y="190"/>
                  </a:lnTo>
                  <a:lnTo>
                    <a:pt x="62" y="216"/>
                  </a:lnTo>
                  <a:lnTo>
                    <a:pt x="51" y="243"/>
                  </a:lnTo>
                  <a:lnTo>
                    <a:pt x="44" y="271"/>
                  </a:lnTo>
                  <a:lnTo>
                    <a:pt x="40" y="299"/>
                  </a:lnTo>
                  <a:lnTo>
                    <a:pt x="38" y="329"/>
                  </a:lnTo>
                  <a:lnTo>
                    <a:pt x="38" y="329"/>
                  </a:lnTo>
                  <a:lnTo>
                    <a:pt x="40" y="358"/>
                  </a:lnTo>
                  <a:lnTo>
                    <a:pt x="44" y="388"/>
                  </a:lnTo>
                  <a:lnTo>
                    <a:pt x="51" y="416"/>
                  </a:lnTo>
                  <a:lnTo>
                    <a:pt x="62" y="441"/>
                  </a:lnTo>
                  <a:lnTo>
                    <a:pt x="74" y="467"/>
                  </a:lnTo>
                  <a:lnTo>
                    <a:pt x="89" y="491"/>
                  </a:lnTo>
                  <a:lnTo>
                    <a:pt x="105" y="514"/>
                  </a:lnTo>
                  <a:lnTo>
                    <a:pt x="123" y="534"/>
                  </a:lnTo>
                  <a:lnTo>
                    <a:pt x="144" y="553"/>
                  </a:lnTo>
                  <a:lnTo>
                    <a:pt x="166" y="570"/>
                  </a:lnTo>
                  <a:lnTo>
                    <a:pt x="191" y="585"/>
                  </a:lnTo>
                  <a:lnTo>
                    <a:pt x="216" y="597"/>
                  </a:lnTo>
                  <a:lnTo>
                    <a:pt x="243" y="607"/>
                  </a:lnTo>
                  <a:lnTo>
                    <a:pt x="271" y="615"/>
                  </a:lnTo>
                  <a:lnTo>
                    <a:pt x="299" y="619"/>
                  </a:lnTo>
                  <a:lnTo>
                    <a:pt x="329" y="620"/>
                  </a:lnTo>
                  <a:lnTo>
                    <a:pt x="329" y="620"/>
                  </a:lnTo>
                  <a:lnTo>
                    <a:pt x="358" y="619"/>
                  </a:lnTo>
                  <a:lnTo>
                    <a:pt x="388" y="615"/>
                  </a:lnTo>
                  <a:lnTo>
                    <a:pt x="416" y="607"/>
                  </a:lnTo>
                  <a:lnTo>
                    <a:pt x="443" y="597"/>
                  </a:lnTo>
                  <a:lnTo>
                    <a:pt x="467" y="585"/>
                  </a:lnTo>
                  <a:lnTo>
                    <a:pt x="491" y="570"/>
                  </a:lnTo>
                  <a:lnTo>
                    <a:pt x="514" y="553"/>
                  </a:lnTo>
                  <a:lnTo>
                    <a:pt x="534" y="534"/>
                  </a:lnTo>
                  <a:lnTo>
                    <a:pt x="553" y="514"/>
                  </a:lnTo>
                  <a:lnTo>
                    <a:pt x="571" y="491"/>
                  </a:lnTo>
                  <a:lnTo>
                    <a:pt x="585" y="467"/>
                  </a:lnTo>
                  <a:lnTo>
                    <a:pt x="597" y="441"/>
                  </a:lnTo>
                  <a:lnTo>
                    <a:pt x="607" y="416"/>
                  </a:lnTo>
                  <a:lnTo>
                    <a:pt x="615" y="388"/>
                  </a:lnTo>
                  <a:lnTo>
                    <a:pt x="619" y="358"/>
                  </a:lnTo>
                  <a:lnTo>
                    <a:pt x="620" y="329"/>
                  </a:lnTo>
                  <a:lnTo>
                    <a:pt x="620" y="329"/>
                  </a:lnTo>
                  <a:lnTo>
                    <a:pt x="619" y="299"/>
                  </a:lnTo>
                  <a:lnTo>
                    <a:pt x="615" y="271"/>
                  </a:lnTo>
                  <a:lnTo>
                    <a:pt x="607" y="243"/>
                  </a:lnTo>
                  <a:lnTo>
                    <a:pt x="597" y="216"/>
                  </a:lnTo>
                  <a:lnTo>
                    <a:pt x="585" y="190"/>
                  </a:lnTo>
                  <a:lnTo>
                    <a:pt x="571" y="166"/>
                  </a:lnTo>
                  <a:lnTo>
                    <a:pt x="553" y="143"/>
                  </a:lnTo>
                  <a:lnTo>
                    <a:pt x="534" y="123"/>
                  </a:lnTo>
                  <a:lnTo>
                    <a:pt x="514" y="104"/>
                  </a:lnTo>
                  <a:lnTo>
                    <a:pt x="491" y="87"/>
                  </a:lnTo>
                  <a:lnTo>
                    <a:pt x="467" y="73"/>
                  </a:lnTo>
                  <a:lnTo>
                    <a:pt x="443" y="60"/>
                  </a:lnTo>
                  <a:lnTo>
                    <a:pt x="416" y="51"/>
                  </a:lnTo>
                  <a:lnTo>
                    <a:pt x="388" y="44"/>
                  </a:lnTo>
                  <a:lnTo>
                    <a:pt x="358" y="40"/>
                  </a:lnTo>
                  <a:lnTo>
                    <a:pt x="329" y="37"/>
                  </a:lnTo>
                  <a:lnTo>
                    <a:pt x="329" y="3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8" name="Freeform 217">
              <a:extLst>
                <a:ext uri="{FF2B5EF4-FFF2-40B4-BE49-F238E27FC236}">
                  <a16:creationId xmlns:a16="http://schemas.microsoft.com/office/drawing/2014/main" id="{53136D6F-DB81-422F-A9E2-321A18545DD4}"/>
                </a:ext>
              </a:extLst>
            </p:cNvPr>
            <p:cNvSpPr>
              <a:spLocks noEditPoints="1"/>
            </p:cNvSpPr>
            <p:nvPr/>
          </p:nvSpPr>
          <p:spPr bwMode="auto">
            <a:xfrm>
              <a:off x="8621713" y="4306888"/>
              <a:ext cx="241300" cy="241300"/>
            </a:xfrm>
            <a:custGeom>
              <a:avLst/>
              <a:gdLst>
                <a:gd name="T0" fmla="*/ 257 w 304"/>
                <a:gd name="T1" fmla="*/ 102 h 304"/>
                <a:gd name="T2" fmla="*/ 257 w 304"/>
                <a:gd name="T3" fmla="*/ 10 h 304"/>
                <a:gd name="T4" fmla="*/ 254 w 304"/>
                <a:gd name="T5" fmla="*/ 3 h 304"/>
                <a:gd name="T6" fmla="*/ 247 w 304"/>
                <a:gd name="T7" fmla="*/ 0 h 304"/>
                <a:gd name="T8" fmla="*/ 57 w 304"/>
                <a:gd name="T9" fmla="*/ 0 h 304"/>
                <a:gd name="T10" fmla="*/ 51 w 304"/>
                <a:gd name="T11" fmla="*/ 3 h 304"/>
                <a:gd name="T12" fmla="*/ 49 w 304"/>
                <a:gd name="T13" fmla="*/ 10 h 304"/>
                <a:gd name="T14" fmla="*/ 2 w 304"/>
                <a:gd name="T15" fmla="*/ 195 h 304"/>
                <a:gd name="T16" fmla="*/ 0 w 304"/>
                <a:gd name="T17" fmla="*/ 198 h 304"/>
                <a:gd name="T18" fmla="*/ 0 w 304"/>
                <a:gd name="T19" fmla="*/ 294 h 304"/>
                <a:gd name="T20" fmla="*/ 2 w 304"/>
                <a:gd name="T21" fmla="*/ 298 h 304"/>
                <a:gd name="T22" fmla="*/ 6 w 304"/>
                <a:gd name="T23" fmla="*/ 302 h 304"/>
                <a:gd name="T24" fmla="*/ 294 w 304"/>
                <a:gd name="T25" fmla="*/ 304 h 304"/>
                <a:gd name="T26" fmla="*/ 298 w 304"/>
                <a:gd name="T27" fmla="*/ 302 h 304"/>
                <a:gd name="T28" fmla="*/ 304 w 304"/>
                <a:gd name="T29" fmla="*/ 298 h 304"/>
                <a:gd name="T30" fmla="*/ 304 w 304"/>
                <a:gd name="T31" fmla="*/ 199 h 304"/>
                <a:gd name="T32" fmla="*/ 304 w 304"/>
                <a:gd name="T33" fmla="*/ 198 h 304"/>
                <a:gd name="T34" fmla="*/ 302 w 304"/>
                <a:gd name="T35" fmla="*/ 195 h 304"/>
                <a:gd name="T36" fmla="*/ 49 w 304"/>
                <a:gd name="T37" fmla="*/ 191 h 304"/>
                <a:gd name="T38" fmla="*/ 49 w 304"/>
                <a:gd name="T39" fmla="*/ 142 h 304"/>
                <a:gd name="T40" fmla="*/ 66 w 304"/>
                <a:gd name="T41" fmla="*/ 191 h 304"/>
                <a:gd name="T42" fmla="*/ 238 w 304"/>
                <a:gd name="T43" fmla="*/ 19 h 304"/>
                <a:gd name="T44" fmla="*/ 200 w 304"/>
                <a:gd name="T45" fmla="*/ 191 h 304"/>
                <a:gd name="T46" fmla="*/ 196 w 304"/>
                <a:gd name="T47" fmla="*/ 191 h 304"/>
                <a:gd name="T48" fmla="*/ 191 w 304"/>
                <a:gd name="T49" fmla="*/ 196 h 304"/>
                <a:gd name="T50" fmla="*/ 191 w 304"/>
                <a:gd name="T51" fmla="*/ 228 h 304"/>
                <a:gd name="T52" fmla="*/ 114 w 304"/>
                <a:gd name="T53" fmla="*/ 199 h 304"/>
                <a:gd name="T54" fmla="*/ 113 w 304"/>
                <a:gd name="T55" fmla="*/ 196 h 304"/>
                <a:gd name="T56" fmla="*/ 109 w 304"/>
                <a:gd name="T57" fmla="*/ 191 h 304"/>
                <a:gd name="T58" fmla="*/ 105 w 304"/>
                <a:gd name="T59" fmla="*/ 191 h 304"/>
                <a:gd name="T60" fmla="*/ 257 w 304"/>
                <a:gd name="T61" fmla="*/ 142 h 304"/>
                <a:gd name="T62" fmla="*/ 257 w 304"/>
                <a:gd name="T63" fmla="*/ 191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4" h="304">
                  <a:moveTo>
                    <a:pt x="302" y="195"/>
                  </a:moveTo>
                  <a:lnTo>
                    <a:pt x="257" y="102"/>
                  </a:lnTo>
                  <a:lnTo>
                    <a:pt x="257" y="10"/>
                  </a:lnTo>
                  <a:lnTo>
                    <a:pt x="257" y="10"/>
                  </a:lnTo>
                  <a:lnTo>
                    <a:pt x="255" y="5"/>
                  </a:lnTo>
                  <a:lnTo>
                    <a:pt x="254" y="3"/>
                  </a:lnTo>
                  <a:lnTo>
                    <a:pt x="251" y="1"/>
                  </a:lnTo>
                  <a:lnTo>
                    <a:pt x="247" y="0"/>
                  </a:lnTo>
                  <a:lnTo>
                    <a:pt x="57" y="0"/>
                  </a:lnTo>
                  <a:lnTo>
                    <a:pt x="57" y="0"/>
                  </a:lnTo>
                  <a:lnTo>
                    <a:pt x="54" y="1"/>
                  </a:lnTo>
                  <a:lnTo>
                    <a:pt x="51" y="3"/>
                  </a:lnTo>
                  <a:lnTo>
                    <a:pt x="49" y="5"/>
                  </a:lnTo>
                  <a:lnTo>
                    <a:pt x="49" y="10"/>
                  </a:lnTo>
                  <a:lnTo>
                    <a:pt x="49" y="102"/>
                  </a:lnTo>
                  <a:lnTo>
                    <a:pt x="2" y="195"/>
                  </a:lnTo>
                  <a:lnTo>
                    <a:pt x="2" y="195"/>
                  </a:lnTo>
                  <a:lnTo>
                    <a:pt x="0" y="198"/>
                  </a:lnTo>
                  <a:lnTo>
                    <a:pt x="0" y="199"/>
                  </a:lnTo>
                  <a:lnTo>
                    <a:pt x="0" y="294"/>
                  </a:lnTo>
                  <a:lnTo>
                    <a:pt x="0" y="294"/>
                  </a:lnTo>
                  <a:lnTo>
                    <a:pt x="2" y="298"/>
                  </a:lnTo>
                  <a:lnTo>
                    <a:pt x="3" y="301"/>
                  </a:lnTo>
                  <a:lnTo>
                    <a:pt x="6" y="302"/>
                  </a:lnTo>
                  <a:lnTo>
                    <a:pt x="10" y="304"/>
                  </a:lnTo>
                  <a:lnTo>
                    <a:pt x="294" y="304"/>
                  </a:lnTo>
                  <a:lnTo>
                    <a:pt x="294" y="304"/>
                  </a:lnTo>
                  <a:lnTo>
                    <a:pt x="298" y="302"/>
                  </a:lnTo>
                  <a:lnTo>
                    <a:pt x="301" y="301"/>
                  </a:lnTo>
                  <a:lnTo>
                    <a:pt x="304" y="298"/>
                  </a:lnTo>
                  <a:lnTo>
                    <a:pt x="304" y="294"/>
                  </a:lnTo>
                  <a:lnTo>
                    <a:pt x="304" y="199"/>
                  </a:lnTo>
                  <a:lnTo>
                    <a:pt x="304" y="199"/>
                  </a:lnTo>
                  <a:lnTo>
                    <a:pt x="304" y="198"/>
                  </a:lnTo>
                  <a:lnTo>
                    <a:pt x="302" y="195"/>
                  </a:lnTo>
                  <a:lnTo>
                    <a:pt x="302" y="195"/>
                  </a:lnTo>
                  <a:close/>
                  <a:moveTo>
                    <a:pt x="49" y="142"/>
                  </a:moveTo>
                  <a:lnTo>
                    <a:pt x="49" y="191"/>
                  </a:lnTo>
                  <a:lnTo>
                    <a:pt x="24" y="191"/>
                  </a:lnTo>
                  <a:lnTo>
                    <a:pt x="49" y="142"/>
                  </a:lnTo>
                  <a:close/>
                  <a:moveTo>
                    <a:pt x="105" y="191"/>
                  </a:moveTo>
                  <a:lnTo>
                    <a:pt x="66" y="191"/>
                  </a:lnTo>
                  <a:lnTo>
                    <a:pt x="66" y="19"/>
                  </a:lnTo>
                  <a:lnTo>
                    <a:pt x="238" y="19"/>
                  </a:lnTo>
                  <a:lnTo>
                    <a:pt x="238" y="191"/>
                  </a:lnTo>
                  <a:lnTo>
                    <a:pt x="200" y="191"/>
                  </a:lnTo>
                  <a:lnTo>
                    <a:pt x="200" y="191"/>
                  </a:lnTo>
                  <a:lnTo>
                    <a:pt x="196" y="191"/>
                  </a:lnTo>
                  <a:lnTo>
                    <a:pt x="194" y="194"/>
                  </a:lnTo>
                  <a:lnTo>
                    <a:pt x="191" y="196"/>
                  </a:lnTo>
                  <a:lnTo>
                    <a:pt x="191" y="199"/>
                  </a:lnTo>
                  <a:lnTo>
                    <a:pt x="191" y="228"/>
                  </a:lnTo>
                  <a:lnTo>
                    <a:pt x="114" y="228"/>
                  </a:lnTo>
                  <a:lnTo>
                    <a:pt x="114" y="199"/>
                  </a:lnTo>
                  <a:lnTo>
                    <a:pt x="114" y="199"/>
                  </a:lnTo>
                  <a:lnTo>
                    <a:pt x="113" y="196"/>
                  </a:lnTo>
                  <a:lnTo>
                    <a:pt x="112" y="194"/>
                  </a:lnTo>
                  <a:lnTo>
                    <a:pt x="109" y="191"/>
                  </a:lnTo>
                  <a:lnTo>
                    <a:pt x="105" y="191"/>
                  </a:lnTo>
                  <a:lnTo>
                    <a:pt x="105" y="191"/>
                  </a:lnTo>
                  <a:close/>
                  <a:moveTo>
                    <a:pt x="257" y="191"/>
                  </a:moveTo>
                  <a:lnTo>
                    <a:pt x="257" y="142"/>
                  </a:lnTo>
                  <a:lnTo>
                    <a:pt x="281" y="191"/>
                  </a:lnTo>
                  <a:lnTo>
                    <a:pt x="257" y="19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9" name="Freeform 218">
              <a:extLst>
                <a:ext uri="{FF2B5EF4-FFF2-40B4-BE49-F238E27FC236}">
                  <a16:creationId xmlns:a16="http://schemas.microsoft.com/office/drawing/2014/main" id="{CC035D72-27C7-492D-B44D-B64D0373817F}"/>
                </a:ext>
              </a:extLst>
            </p:cNvPr>
            <p:cNvSpPr>
              <a:spLocks/>
            </p:cNvSpPr>
            <p:nvPr/>
          </p:nvSpPr>
          <p:spPr bwMode="auto">
            <a:xfrm>
              <a:off x="8697913" y="4346575"/>
              <a:ext cx="88900" cy="12700"/>
            </a:xfrm>
            <a:custGeom>
              <a:avLst/>
              <a:gdLst>
                <a:gd name="T0" fmla="*/ 8 w 111"/>
                <a:gd name="T1" fmla="*/ 16 h 16"/>
                <a:gd name="T2" fmla="*/ 103 w 111"/>
                <a:gd name="T3" fmla="*/ 16 h 16"/>
                <a:gd name="T4" fmla="*/ 103 w 111"/>
                <a:gd name="T5" fmla="*/ 16 h 16"/>
                <a:gd name="T6" fmla="*/ 106 w 111"/>
                <a:gd name="T7" fmla="*/ 15 h 16"/>
                <a:gd name="T8" fmla="*/ 109 w 111"/>
                <a:gd name="T9" fmla="*/ 13 h 16"/>
                <a:gd name="T10" fmla="*/ 110 w 111"/>
                <a:gd name="T11" fmla="*/ 11 h 16"/>
                <a:gd name="T12" fmla="*/ 111 w 111"/>
                <a:gd name="T13" fmla="*/ 8 h 16"/>
                <a:gd name="T14" fmla="*/ 111 w 111"/>
                <a:gd name="T15" fmla="*/ 8 h 16"/>
                <a:gd name="T16" fmla="*/ 110 w 111"/>
                <a:gd name="T17" fmla="*/ 4 h 16"/>
                <a:gd name="T18" fmla="*/ 109 w 111"/>
                <a:gd name="T19" fmla="*/ 2 h 16"/>
                <a:gd name="T20" fmla="*/ 106 w 111"/>
                <a:gd name="T21" fmla="*/ 0 h 16"/>
                <a:gd name="T22" fmla="*/ 103 w 111"/>
                <a:gd name="T23" fmla="*/ 0 h 16"/>
                <a:gd name="T24" fmla="*/ 8 w 111"/>
                <a:gd name="T25" fmla="*/ 0 h 16"/>
                <a:gd name="T26" fmla="*/ 8 w 111"/>
                <a:gd name="T27" fmla="*/ 0 h 16"/>
                <a:gd name="T28" fmla="*/ 5 w 111"/>
                <a:gd name="T29" fmla="*/ 0 h 16"/>
                <a:gd name="T30" fmla="*/ 3 w 111"/>
                <a:gd name="T31" fmla="*/ 2 h 16"/>
                <a:gd name="T32" fmla="*/ 0 w 111"/>
                <a:gd name="T33" fmla="*/ 4 h 16"/>
                <a:gd name="T34" fmla="*/ 0 w 111"/>
                <a:gd name="T35" fmla="*/ 8 h 16"/>
                <a:gd name="T36" fmla="*/ 0 w 111"/>
                <a:gd name="T37" fmla="*/ 8 h 16"/>
                <a:gd name="T38" fmla="*/ 0 w 111"/>
                <a:gd name="T39" fmla="*/ 11 h 16"/>
                <a:gd name="T40" fmla="*/ 3 w 111"/>
                <a:gd name="T41" fmla="*/ 13 h 16"/>
                <a:gd name="T42" fmla="*/ 5 w 111"/>
                <a:gd name="T43" fmla="*/ 15 h 16"/>
                <a:gd name="T44" fmla="*/ 8 w 111"/>
                <a:gd name="T45" fmla="*/ 16 h 16"/>
                <a:gd name="T46" fmla="*/ 8 w 111"/>
                <a:gd name="T4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1" h="16">
                  <a:moveTo>
                    <a:pt x="8" y="16"/>
                  </a:moveTo>
                  <a:lnTo>
                    <a:pt x="103" y="16"/>
                  </a:lnTo>
                  <a:lnTo>
                    <a:pt x="103" y="16"/>
                  </a:lnTo>
                  <a:lnTo>
                    <a:pt x="106" y="15"/>
                  </a:lnTo>
                  <a:lnTo>
                    <a:pt x="109" y="13"/>
                  </a:lnTo>
                  <a:lnTo>
                    <a:pt x="110" y="11"/>
                  </a:lnTo>
                  <a:lnTo>
                    <a:pt x="111" y="8"/>
                  </a:lnTo>
                  <a:lnTo>
                    <a:pt x="111" y="8"/>
                  </a:lnTo>
                  <a:lnTo>
                    <a:pt x="110" y="4"/>
                  </a:lnTo>
                  <a:lnTo>
                    <a:pt x="109" y="2"/>
                  </a:lnTo>
                  <a:lnTo>
                    <a:pt x="106" y="0"/>
                  </a:lnTo>
                  <a:lnTo>
                    <a:pt x="103" y="0"/>
                  </a:lnTo>
                  <a:lnTo>
                    <a:pt x="8" y="0"/>
                  </a:lnTo>
                  <a:lnTo>
                    <a:pt x="8" y="0"/>
                  </a:lnTo>
                  <a:lnTo>
                    <a:pt x="5" y="0"/>
                  </a:lnTo>
                  <a:lnTo>
                    <a:pt x="3" y="2"/>
                  </a:lnTo>
                  <a:lnTo>
                    <a:pt x="0" y="4"/>
                  </a:lnTo>
                  <a:lnTo>
                    <a:pt x="0" y="8"/>
                  </a:lnTo>
                  <a:lnTo>
                    <a:pt x="0" y="8"/>
                  </a:lnTo>
                  <a:lnTo>
                    <a:pt x="0" y="11"/>
                  </a:lnTo>
                  <a:lnTo>
                    <a:pt x="3" y="13"/>
                  </a:lnTo>
                  <a:lnTo>
                    <a:pt x="5" y="15"/>
                  </a:lnTo>
                  <a:lnTo>
                    <a:pt x="8" y="16"/>
                  </a:lnTo>
                  <a:lnTo>
                    <a:pt x="8"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80" name="Freeform 219">
              <a:extLst>
                <a:ext uri="{FF2B5EF4-FFF2-40B4-BE49-F238E27FC236}">
                  <a16:creationId xmlns:a16="http://schemas.microsoft.com/office/drawing/2014/main" id="{1C540ACF-7237-4D3D-A9FC-A0A4EAFE84E8}"/>
                </a:ext>
              </a:extLst>
            </p:cNvPr>
            <p:cNvSpPr>
              <a:spLocks/>
            </p:cNvSpPr>
            <p:nvPr/>
          </p:nvSpPr>
          <p:spPr bwMode="auto">
            <a:xfrm>
              <a:off x="8697913" y="4383088"/>
              <a:ext cx="88900" cy="12700"/>
            </a:xfrm>
            <a:custGeom>
              <a:avLst/>
              <a:gdLst>
                <a:gd name="T0" fmla="*/ 8 w 111"/>
                <a:gd name="T1" fmla="*/ 16 h 16"/>
                <a:gd name="T2" fmla="*/ 103 w 111"/>
                <a:gd name="T3" fmla="*/ 16 h 16"/>
                <a:gd name="T4" fmla="*/ 103 w 111"/>
                <a:gd name="T5" fmla="*/ 16 h 16"/>
                <a:gd name="T6" fmla="*/ 106 w 111"/>
                <a:gd name="T7" fmla="*/ 15 h 16"/>
                <a:gd name="T8" fmla="*/ 109 w 111"/>
                <a:gd name="T9" fmla="*/ 13 h 16"/>
                <a:gd name="T10" fmla="*/ 110 w 111"/>
                <a:gd name="T11" fmla="*/ 11 h 16"/>
                <a:gd name="T12" fmla="*/ 111 w 111"/>
                <a:gd name="T13" fmla="*/ 8 h 16"/>
                <a:gd name="T14" fmla="*/ 111 w 111"/>
                <a:gd name="T15" fmla="*/ 8 h 16"/>
                <a:gd name="T16" fmla="*/ 110 w 111"/>
                <a:gd name="T17" fmla="*/ 4 h 16"/>
                <a:gd name="T18" fmla="*/ 109 w 111"/>
                <a:gd name="T19" fmla="*/ 1 h 16"/>
                <a:gd name="T20" fmla="*/ 106 w 111"/>
                <a:gd name="T21" fmla="*/ 0 h 16"/>
                <a:gd name="T22" fmla="*/ 103 w 111"/>
                <a:gd name="T23" fmla="*/ 0 h 16"/>
                <a:gd name="T24" fmla="*/ 8 w 111"/>
                <a:gd name="T25" fmla="*/ 0 h 16"/>
                <a:gd name="T26" fmla="*/ 8 w 111"/>
                <a:gd name="T27" fmla="*/ 0 h 16"/>
                <a:gd name="T28" fmla="*/ 5 w 111"/>
                <a:gd name="T29" fmla="*/ 0 h 16"/>
                <a:gd name="T30" fmla="*/ 3 w 111"/>
                <a:gd name="T31" fmla="*/ 1 h 16"/>
                <a:gd name="T32" fmla="*/ 0 w 111"/>
                <a:gd name="T33" fmla="*/ 4 h 16"/>
                <a:gd name="T34" fmla="*/ 0 w 111"/>
                <a:gd name="T35" fmla="*/ 8 h 16"/>
                <a:gd name="T36" fmla="*/ 0 w 111"/>
                <a:gd name="T37" fmla="*/ 8 h 16"/>
                <a:gd name="T38" fmla="*/ 0 w 111"/>
                <a:gd name="T39" fmla="*/ 11 h 16"/>
                <a:gd name="T40" fmla="*/ 3 w 111"/>
                <a:gd name="T41" fmla="*/ 13 h 16"/>
                <a:gd name="T42" fmla="*/ 5 w 111"/>
                <a:gd name="T43" fmla="*/ 15 h 16"/>
                <a:gd name="T44" fmla="*/ 8 w 111"/>
                <a:gd name="T45" fmla="*/ 16 h 16"/>
                <a:gd name="T46" fmla="*/ 8 w 111"/>
                <a:gd name="T4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1" h="16">
                  <a:moveTo>
                    <a:pt x="8" y="16"/>
                  </a:moveTo>
                  <a:lnTo>
                    <a:pt x="103" y="16"/>
                  </a:lnTo>
                  <a:lnTo>
                    <a:pt x="103" y="16"/>
                  </a:lnTo>
                  <a:lnTo>
                    <a:pt x="106" y="15"/>
                  </a:lnTo>
                  <a:lnTo>
                    <a:pt x="109" y="13"/>
                  </a:lnTo>
                  <a:lnTo>
                    <a:pt x="110" y="11"/>
                  </a:lnTo>
                  <a:lnTo>
                    <a:pt x="111" y="8"/>
                  </a:lnTo>
                  <a:lnTo>
                    <a:pt x="111" y="8"/>
                  </a:lnTo>
                  <a:lnTo>
                    <a:pt x="110" y="4"/>
                  </a:lnTo>
                  <a:lnTo>
                    <a:pt x="109" y="1"/>
                  </a:lnTo>
                  <a:lnTo>
                    <a:pt x="106" y="0"/>
                  </a:lnTo>
                  <a:lnTo>
                    <a:pt x="103" y="0"/>
                  </a:lnTo>
                  <a:lnTo>
                    <a:pt x="8" y="0"/>
                  </a:lnTo>
                  <a:lnTo>
                    <a:pt x="8" y="0"/>
                  </a:lnTo>
                  <a:lnTo>
                    <a:pt x="5" y="0"/>
                  </a:lnTo>
                  <a:lnTo>
                    <a:pt x="3" y="1"/>
                  </a:lnTo>
                  <a:lnTo>
                    <a:pt x="0" y="4"/>
                  </a:lnTo>
                  <a:lnTo>
                    <a:pt x="0" y="8"/>
                  </a:lnTo>
                  <a:lnTo>
                    <a:pt x="0" y="8"/>
                  </a:lnTo>
                  <a:lnTo>
                    <a:pt x="0" y="11"/>
                  </a:lnTo>
                  <a:lnTo>
                    <a:pt x="3" y="13"/>
                  </a:lnTo>
                  <a:lnTo>
                    <a:pt x="5" y="15"/>
                  </a:lnTo>
                  <a:lnTo>
                    <a:pt x="8" y="16"/>
                  </a:lnTo>
                  <a:lnTo>
                    <a:pt x="8"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81" name="Freeform 220">
              <a:extLst>
                <a:ext uri="{FF2B5EF4-FFF2-40B4-BE49-F238E27FC236}">
                  <a16:creationId xmlns:a16="http://schemas.microsoft.com/office/drawing/2014/main" id="{6ABADE68-C1EA-44D5-B27D-1164EC67551B}"/>
                </a:ext>
              </a:extLst>
            </p:cNvPr>
            <p:cNvSpPr>
              <a:spLocks/>
            </p:cNvSpPr>
            <p:nvPr/>
          </p:nvSpPr>
          <p:spPr bwMode="auto">
            <a:xfrm>
              <a:off x="8697913" y="4421188"/>
              <a:ext cx="50800" cy="12700"/>
            </a:xfrm>
            <a:custGeom>
              <a:avLst/>
              <a:gdLst>
                <a:gd name="T0" fmla="*/ 63 w 63"/>
                <a:gd name="T1" fmla="*/ 8 h 16"/>
                <a:gd name="T2" fmla="*/ 63 w 63"/>
                <a:gd name="T3" fmla="*/ 8 h 16"/>
                <a:gd name="T4" fmla="*/ 63 w 63"/>
                <a:gd name="T5" fmla="*/ 5 h 16"/>
                <a:gd name="T6" fmla="*/ 60 w 63"/>
                <a:gd name="T7" fmla="*/ 2 h 16"/>
                <a:gd name="T8" fmla="*/ 59 w 63"/>
                <a:gd name="T9" fmla="*/ 1 h 16"/>
                <a:gd name="T10" fmla="*/ 55 w 63"/>
                <a:gd name="T11" fmla="*/ 0 h 16"/>
                <a:gd name="T12" fmla="*/ 8 w 63"/>
                <a:gd name="T13" fmla="*/ 0 h 16"/>
                <a:gd name="T14" fmla="*/ 8 w 63"/>
                <a:gd name="T15" fmla="*/ 0 h 16"/>
                <a:gd name="T16" fmla="*/ 5 w 63"/>
                <a:gd name="T17" fmla="*/ 1 h 16"/>
                <a:gd name="T18" fmla="*/ 3 w 63"/>
                <a:gd name="T19" fmla="*/ 2 h 16"/>
                <a:gd name="T20" fmla="*/ 0 w 63"/>
                <a:gd name="T21" fmla="*/ 5 h 16"/>
                <a:gd name="T22" fmla="*/ 0 w 63"/>
                <a:gd name="T23" fmla="*/ 8 h 16"/>
                <a:gd name="T24" fmla="*/ 0 w 63"/>
                <a:gd name="T25" fmla="*/ 8 h 16"/>
                <a:gd name="T26" fmla="*/ 0 w 63"/>
                <a:gd name="T27" fmla="*/ 11 h 16"/>
                <a:gd name="T28" fmla="*/ 3 w 63"/>
                <a:gd name="T29" fmla="*/ 13 h 16"/>
                <a:gd name="T30" fmla="*/ 5 w 63"/>
                <a:gd name="T31" fmla="*/ 16 h 16"/>
                <a:gd name="T32" fmla="*/ 8 w 63"/>
                <a:gd name="T33" fmla="*/ 16 h 16"/>
                <a:gd name="T34" fmla="*/ 55 w 63"/>
                <a:gd name="T35" fmla="*/ 16 h 16"/>
                <a:gd name="T36" fmla="*/ 55 w 63"/>
                <a:gd name="T37" fmla="*/ 16 h 16"/>
                <a:gd name="T38" fmla="*/ 59 w 63"/>
                <a:gd name="T39" fmla="*/ 16 h 16"/>
                <a:gd name="T40" fmla="*/ 60 w 63"/>
                <a:gd name="T41" fmla="*/ 13 h 16"/>
                <a:gd name="T42" fmla="*/ 63 w 63"/>
                <a:gd name="T43" fmla="*/ 11 h 16"/>
                <a:gd name="T44" fmla="*/ 63 w 63"/>
                <a:gd name="T45" fmla="*/ 8 h 16"/>
                <a:gd name="T46" fmla="*/ 63 w 63"/>
                <a:gd name="T4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3" h="16">
                  <a:moveTo>
                    <a:pt x="63" y="8"/>
                  </a:moveTo>
                  <a:lnTo>
                    <a:pt x="63" y="8"/>
                  </a:lnTo>
                  <a:lnTo>
                    <a:pt x="63" y="5"/>
                  </a:lnTo>
                  <a:lnTo>
                    <a:pt x="60" y="2"/>
                  </a:lnTo>
                  <a:lnTo>
                    <a:pt x="59" y="1"/>
                  </a:lnTo>
                  <a:lnTo>
                    <a:pt x="55" y="0"/>
                  </a:lnTo>
                  <a:lnTo>
                    <a:pt x="8" y="0"/>
                  </a:lnTo>
                  <a:lnTo>
                    <a:pt x="8" y="0"/>
                  </a:lnTo>
                  <a:lnTo>
                    <a:pt x="5" y="1"/>
                  </a:lnTo>
                  <a:lnTo>
                    <a:pt x="3" y="2"/>
                  </a:lnTo>
                  <a:lnTo>
                    <a:pt x="0" y="5"/>
                  </a:lnTo>
                  <a:lnTo>
                    <a:pt x="0" y="8"/>
                  </a:lnTo>
                  <a:lnTo>
                    <a:pt x="0" y="8"/>
                  </a:lnTo>
                  <a:lnTo>
                    <a:pt x="0" y="11"/>
                  </a:lnTo>
                  <a:lnTo>
                    <a:pt x="3" y="13"/>
                  </a:lnTo>
                  <a:lnTo>
                    <a:pt x="5" y="16"/>
                  </a:lnTo>
                  <a:lnTo>
                    <a:pt x="8" y="16"/>
                  </a:lnTo>
                  <a:lnTo>
                    <a:pt x="55" y="16"/>
                  </a:lnTo>
                  <a:lnTo>
                    <a:pt x="55" y="16"/>
                  </a:lnTo>
                  <a:lnTo>
                    <a:pt x="59" y="16"/>
                  </a:lnTo>
                  <a:lnTo>
                    <a:pt x="60" y="13"/>
                  </a:lnTo>
                  <a:lnTo>
                    <a:pt x="63" y="11"/>
                  </a:lnTo>
                  <a:lnTo>
                    <a:pt x="63" y="8"/>
                  </a:lnTo>
                  <a:lnTo>
                    <a:pt x="63"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82" name="Group 181">
            <a:extLst>
              <a:ext uri="{FF2B5EF4-FFF2-40B4-BE49-F238E27FC236}">
                <a16:creationId xmlns:a16="http://schemas.microsoft.com/office/drawing/2014/main" id="{BC9EC5D3-BF7F-4CE0-90B9-342D7266AA99}"/>
              </a:ext>
            </a:extLst>
          </p:cNvPr>
          <p:cNvGrpSpPr>
            <a:grpSpLocks noChangeAspect="1"/>
          </p:cNvGrpSpPr>
          <p:nvPr/>
        </p:nvGrpSpPr>
        <p:grpSpPr>
          <a:xfrm>
            <a:off x="6965912" y="5067509"/>
            <a:ext cx="319070" cy="320040"/>
            <a:chOff x="4954588" y="1664335"/>
            <a:chExt cx="522288" cy="523875"/>
          </a:xfrm>
        </p:grpSpPr>
        <p:sp>
          <p:nvSpPr>
            <p:cNvPr id="183" name="Freeform 22">
              <a:extLst>
                <a:ext uri="{FF2B5EF4-FFF2-40B4-BE49-F238E27FC236}">
                  <a16:creationId xmlns:a16="http://schemas.microsoft.com/office/drawing/2014/main" id="{4A91E2A5-AE0D-4C31-9BDE-C2A40946F445}"/>
                </a:ext>
              </a:extLst>
            </p:cNvPr>
            <p:cNvSpPr>
              <a:spLocks noEditPoints="1"/>
            </p:cNvSpPr>
            <p:nvPr/>
          </p:nvSpPr>
          <p:spPr bwMode="auto">
            <a:xfrm>
              <a:off x="4954588" y="1664335"/>
              <a:ext cx="522288" cy="523875"/>
            </a:xfrm>
            <a:custGeom>
              <a:avLst/>
              <a:gdLst>
                <a:gd name="T0" fmla="*/ 312 w 658"/>
                <a:gd name="T1" fmla="*/ 659 h 659"/>
                <a:gd name="T2" fmla="*/ 262 w 658"/>
                <a:gd name="T3" fmla="*/ 652 h 659"/>
                <a:gd name="T4" fmla="*/ 202 w 658"/>
                <a:gd name="T5" fmla="*/ 634 h 659"/>
                <a:gd name="T6" fmla="*/ 120 w 658"/>
                <a:gd name="T7" fmla="*/ 584 h 659"/>
                <a:gd name="T8" fmla="*/ 56 w 658"/>
                <a:gd name="T9" fmla="*/ 514 h 659"/>
                <a:gd name="T10" fmla="*/ 15 w 658"/>
                <a:gd name="T11" fmla="*/ 428 h 659"/>
                <a:gd name="T12" fmla="*/ 4 w 658"/>
                <a:gd name="T13" fmla="*/ 380 h 659"/>
                <a:gd name="T14" fmla="*/ 0 w 658"/>
                <a:gd name="T15" fmla="*/ 330 h 659"/>
                <a:gd name="T16" fmla="*/ 1 w 658"/>
                <a:gd name="T17" fmla="*/ 296 h 659"/>
                <a:gd name="T18" fmla="*/ 11 w 658"/>
                <a:gd name="T19" fmla="*/ 248 h 659"/>
                <a:gd name="T20" fmla="*/ 40 w 658"/>
                <a:gd name="T21" fmla="*/ 174 h 659"/>
                <a:gd name="T22" fmla="*/ 97 w 658"/>
                <a:gd name="T23" fmla="*/ 97 h 659"/>
                <a:gd name="T24" fmla="*/ 172 w 658"/>
                <a:gd name="T25" fmla="*/ 41 h 659"/>
                <a:gd name="T26" fmla="*/ 247 w 658"/>
                <a:gd name="T27" fmla="*/ 11 h 659"/>
                <a:gd name="T28" fmla="*/ 296 w 658"/>
                <a:gd name="T29" fmla="*/ 3 h 659"/>
                <a:gd name="T30" fmla="*/ 329 w 658"/>
                <a:gd name="T31" fmla="*/ 0 h 659"/>
                <a:gd name="T32" fmla="*/ 379 w 658"/>
                <a:gd name="T33" fmla="*/ 5 h 659"/>
                <a:gd name="T34" fmla="*/ 426 w 658"/>
                <a:gd name="T35" fmla="*/ 15 h 659"/>
                <a:gd name="T36" fmla="*/ 513 w 658"/>
                <a:gd name="T37" fmla="*/ 57 h 659"/>
                <a:gd name="T38" fmla="*/ 583 w 658"/>
                <a:gd name="T39" fmla="*/ 121 h 659"/>
                <a:gd name="T40" fmla="*/ 632 w 658"/>
                <a:gd name="T41" fmla="*/ 202 h 659"/>
                <a:gd name="T42" fmla="*/ 652 w 658"/>
                <a:gd name="T43" fmla="*/ 264 h 659"/>
                <a:gd name="T44" fmla="*/ 657 w 658"/>
                <a:gd name="T45" fmla="*/ 314 h 659"/>
                <a:gd name="T46" fmla="*/ 657 w 658"/>
                <a:gd name="T47" fmla="*/ 347 h 659"/>
                <a:gd name="T48" fmla="*/ 652 w 658"/>
                <a:gd name="T49" fmla="*/ 396 h 659"/>
                <a:gd name="T50" fmla="*/ 632 w 658"/>
                <a:gd name="T51" fmla="*/ 457 h 659"/>
                <a:gd name="T52" fmla="*/ 583 w 658"/>
                <a:gd name="T53" fmla="*/ 539 h 659"/>
                <a:gd name="T54" fmla="*/ 513 w 658"/>
                <a:gd name="T55" fmla="*/ 603 h 659"/>
                <a:gd name="T56" fmla="*/ 426 w 658"/>
                <a:gd name="T57" fmla="*/ 644 h 659"/>
                <a:gd name="T58" fmla="*/ 379 w 658"/>
                <a:gd name="T59" fmla="*/ 655 h 659"/>
                <a:gd name="T60" fmla="*/ 329 w 658"/>
                <a:gd name="T61" fmla="*/ 659 h 659"/>
                <a:gd name="T62" fmla="*/ 329 w 658"/>
                <a:gd name="T63" fmla="*/ 38 h 659"/>
                <a:gd name="T64" fmla="*/ 242 w 658"/>
                <a:gd name="T65" fmla="*/ 52 h 659"/>
                <a:gd name="T66" fmla="*/ 167 w 658"/>
                <a:gd name="T67" fmla="*/ 89 h 659"/>
                <a:gd name="T68" fmla="*/ 105 w 658"/>
                <a:gd name="T69" fmla="*/ 144 h 659"/>
                <a:gd name="T70" fmla="*/ 60 w 658"/>
                <a:gd name="T71" fmla="*/ 217 h 659"/>
                <a:gd name="T72" fmla="*/ 39 w 658"/>
                <a:gd name="T73" fmla="*/ 300 h 659"/>
                <a:gd name="T74" fmla="*/ 39 w 658"/>
                <a:gd name="T75" fmla="*/ 359 h 659"/>
                <a:gd name="T76" fmla="*/ 60 w 658"/>
                <a:gd name="T77" fmla="*/ 444 h 659"/>
                <a:gd name="T78" fmla="*/ 105 w 658"/>
                <a:gd name="T79" fmla="*/ 515 h 659"/>
                <a:gd name="T80" fmla="*/ 167 w 658"/>
                <a:gd name="T81" fmla="*/ 572 h 659"/>
                <a:gd name="T82" fmla="*/ 242 w 658"/>
                <a:gd name="T83" fmla="*/ 608 h 659"/>
                <a:gd name="T84" fmla="*/ 329 w 658"/>
                <a:gd name="T85" fmla="*/ 621 h 659"/>
                <a:gd name="T86" fmla="*/ 387 w 658"/>
                <a:gd name="T87" fmla="*/ 616 h 659"/>
                <a:gd name="T88" fmla="*/ 468 w 658"/>
                <a:gd name="T89" fmla="*/ 586 h 659"/>
                <a:gd name="T90" fmla="*/ 535 w 658"/>
                <a:gd name="T91" fmla="*/ 535 h 659"/>
                <a:gd name="T92" fmla="*/ 585 w 658"/>
                <a:gd name="T93" fmla="*/ 468 h 659"/>
                <a:gd name="T94" fmla="*/ 614 w 658"/>
                <a:gd name="T95" fmla="*/ 389 h 659"/>
                <a:gd name="T96" fmla="*/ 621 w 658"/>
                <a:gd name="T97" fmla="*/ 330 h 659"/>
                <a:gd name="T98" fmla="*/ 607 w 658"/>
                <a:gd name="T99" fmla="*/ 244 h 659"/>
                <a:gd name="T100" fmla="*/ 570 w 658"/>
                <a:gd name="T101" fmla="*/ 167 h 659"/>
                <a:gd name="T102" fmla="*/ 515 w 658"/>
                <a:gd name="T103" fmla="*/ 105 h 659"/>
                <a:gd name="T104" fmla="*/ 442 w 658"/>
                <a:gd name="T105" fmla="*/ 62 h 659"/>
                <a:gd name="T106" fmla="*/ 359 w 658"/>
                <a:gd name="T107" fmla="*/ 41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2" y="659"/>
                  </a:lnTo>
                  <a:lnTo>
                    <a:pt x="296" y="658"/>
                  </a:lnTo>
                  <a:lnTo>
                    <a:pt x="279" y="655"/>
                  </a:lnTo>
                  <a:lnTo>
                    <a:pt x="262" y="652"/>
                  </a:lnTo>
                  <a:lnTo>
                    <a:pt x="247" y="648"/>
                  </a:lnTo>
                  <a:lnTo>
                    <a:pt x="231" y="644"/>
                  </a:lnTo>
                  <a:lnTo>
                    <a:pt x="202" y="634"/>
                  </a:lnTo>
                  <a:lnTo>
                    <a:pt x="172" y="619"/>
                  </a:lnTo>
                  <a:lnTo>
                    <a:pt x="145" y="603"/>
                  </a:lnTo>
                  <a:lnTo>
                    <a:pt x="120" y="584"/>
                  </a:lnTo>
                  <a:lnTo>
                    <a:pt x="97" y="562"/>
                  </a:lnTo>
                  <a:lnTo>
                    <a:pt x="75" y="539"/>
                  </a:lnTo>
                  <a:lnTo>
                    <a:pt x="56" y="514"/>
                  </a:lnTo>
                  <a:lnTo>
                    <a:pt x="40" y="487"/>
                  </a:lnTo>
                  <a:lnTo>
                    <a:pt x="25" y="457"/>
                  </a:lnTo>
                  <a:lnTo>
                    <a:pt x="15" y="428"/>
                  </a:lnTo>
                  <a:lnTo>
                    <a:pt x="11" y="412"/>
                  </a:lnTo>
                  <a:lnTo>
                    <a:pt x="7" y="396"/>
                  </a:lnTo>
                  <a:lnTo>
                    <a:pt x="4" y="380"/>
                  </a:lnTo>
                  <a:lnTo>
                    <a:pt x="1" y="363"/>
                  </a:lnTo>
                  <a:lnTo>
                    <a:pt x="0" y="347"/>
                  </a:lnTo>
                  <a:lnTo>
                    <a:pt x="0" y="330"/>
                  </a:lnTo>
                  <a:lnTo>
                    <a:pt x="0" y="330"/>
                  </a:lnTo>
                  <a:lnTo>
                    <a:pt x="0" y="314"/>
                  </a:lnTo>
                  <a:lnTo>
                    <a:pt x="1" y="296"/>
                  </a:lnTo>
                  <a:lnTo>
                    <a:pt x="4" y="280"/>
                  </a:lnTo>
                  <a:lnTo>
                    <a:pt x="7" y="264"/>
                  </a:lnTo>
                  <a:lnTo>
                    <a:pt x="11" y="248"/>
                  </a:lnTo>
                  <a:lnTo>
                    <a:pt x="15" y="233"/>
                  </a:lnTo>
                  <a:lnTo>
                    <a:pt x="25" y="202"/>
                  </a:lnTo>
                  <a:lnTo>
                    <a:pt x="40" y="174"/>
                  </a:lnTo>
                  <a:lnTo>
                    <a:pt x="56" y="146"/>
                  </a:lnTo>
                  <a:lnTo>
                    <a:pt x="75" y="121"/>
                  </a:lnTo>
                  <a:lnTo>
                    <a:pt x="97" y="97"/>
                  </a:lnTo>
                  <a:lnTo>
                    <a:pt x="120" y="76"/>
                  </a:lnTo>
                  <a:lnTo>
                    <a:pt x="145" y="57"/>
                  </a:lnTo>
                  <a:lnTo>
                    <a:pt x="172" y="41"/>
                  </a:lnTo>
                  <a:lnTo>
                    <a:pt x="202" y="27"/>
                  </a:lnTo>
                  <a:lnTo>
                    <a:pt x="231" y="15"/>
                  </a:lnTo>
                  <a:lnTo>
                    <a:pt x="247" y="11"/>
                  </a:lnTo>
                  <a:lnTo>
                    <a:pt x="262" y="7"/>
                  </a:lnTo>
                  <a:lnTo>
                    <a:pt x="279" y="5"/>
                  </a:lnTo>
                  <a:lnTo>
                    <a:pt x="296" y="3"/>
                  </a:lnTo>
                  <a:lnTo>
                    <a:pt x="312" y="2"/>
                  </a:lnTo>
                  <a:lnTo>
                    <a:pt x="329" y="0"/>
                  </a:lnTo>
                  <a:lnTo>
                    <a:pt x="329" y="0"/>
                  </a:lnTo>
                  <a:lnTo>
                    <a:pt x="345" y="2"/>
                  </a:lnTo>
                  <a:lnTo>
                    <a:pt x="363" y="3"/>
                  </a:lnTo>
                  <a:lnTo>
                    <a:pt x="379" y="5"/>
                  </a:lnTo>
                  <a:lnTo>
                    <a:pt x="395" y="7"/>
                  </a:lnTo>
                  <a:lnTo>
                    <a:pt x="411" y="11"/>
                  </a:lnTo>
                  <a:lnTo>
                    <a:pt x="426" y="15"/>
                  </a:lnTo>
                  <a:lnTo>
                    <a:pt x="457" y="27"/>
                  </a:lnTo>
                  <a:lnTo>
                    <a:pt x="485" y="41"/>
                  </a:lnTo>
                  <a:lnTo>
                    <a:pt x="513" y="57"/>
                  </a:lnTo>
                  <a:lnTo>
                    <a:pt x="538" y="76"/>
                  </a:lnTo>
                  <a:lnTo>
                    <a:pt x="562" y="97"/>
                  </a:lnTo>
                  <a:lnTo>
                    <a:pt x="583" y="121"/>
                  </a:lnTo>
                  <a:lnTo>
                    <a:pt x="602" y="146"/>
                  </a:lnTo>
                  <a:lnTo>
                    <a:pt x="618" y="174"/>
                  </a:lnTo>
                  <a:lnTo>
                    <a:pt x="632" y="202"/>
                  </a:lnTo>
                  <a:lnTo>
                    <a:pt x="644" y="233"/>
                  </a:lnTo>
                  <a:lnTo>
                    <a:pt x="648" y="248"/>
                  </a:lnTo>
                  <a:lnTo>
                    <a:pt x="652" y="264"/>
                  </a:lnTo>
                  <a:lnTo>
                    <a:pt x="654" y="280"/>
                  </a:lnTo>
                  <a:lnTo>
                    <a:pt x="656" y="296"/>
                  </a:lnTo>
                  <a:lnTo>
                    <a:pt x="657" y="314"/>
                  </a:lnTo>
                  <a:lnTo>
                    <a:pt x="658" y="330"/>
                  </a:lnTo>
                  <a:lnTo>
                    <a:pt x="658" y="330"/>
                  </a:lnTo>
                  <a:lnTo>
                    <a:pt x="657" y="347"/>
                  </a:lnTo>
                  <a:lnTo>
                    <a:pt x="656" y="363"/>
                  </a:lnTo>
                  <a:lnTo>
                    <a:pt x="654" y="380"/>
                  </a:lnTo>
                  <a:lnTo>
                    <a:pt x="652" y="396"/>
                  </a:lnTo>
                  <a:lnTo>
                    <a:pt x="648" y="412"/>
                  </a:lnTo>
                  <a:lnTo>
                    <a:pt x="644" y="428"/>
                  </a:lnTo>
                  <a:lnTo>
                    <a:pt x="632" y="457"/>
                  </a:lnTo>
                  <a:lnTo>
                    <a:pt x="618" y="487"/>
                  </a:lnTo>
                  <a:lnTo>
                    <a:pt x="602" y="514"/>
                  </a:lnTo>
                  <a:lnTo>
                    <a:pt x="583" y="539"/>
                  </a:lnTo>
                  <a:lnTo>
                    <a:pt x="562" y="562"/>
                  </a:lnTo>
                  <a:lnTo>
                    <a:pt x="538" y="584"/>
                  </a:lnTo>
                  <a:lnTo>
                    <a:pt x="513" y="603"/>
                  </a:lnTo>
                  <a:lnTo>
                    <a:pt x="485" y="619"/>
                  </a:lnTo>
                  <a:lnTo>
                    <a:pt x="457" y="634"/>
                  </a:lnTo>
                  <a:lnTo>
                    <a:pt x="426" y="644"/>
                  </a:lnTo>
                  <a:lnTo>
                    <a:pt x="411" y="648"/>
                  </a:lnTo>
                  <a:lnTo>
                    <a:pt x="395" y="652"/>
                  </a:lnTo>
                  <a:lnTo>
                    <a:pt x="379" y="655"/>
                  </a:lnTo>
                  <a:lnTo>
                    <a:pt x="363" y="658"/>
                  </a:lnTo>
                  <a:lnTo>
                    <a:pt x="345" y="659"/>
                  </a:lnTo>
                  <a:lnTo>
                    <a:pt x="329" y="659"/>
                  </a:lnTo>
                  <a:lnTo>
                    <a:pt x="329" y="659"/>
                  </a:lnTo>
                  <a:close/>
                  <a:moveTo>
                    <a:pt x="329" y="38"/>
                  </a:moveTo>
                  <a:lnTo>
                    <a:pt x="329" y="38"/>
                  </a:lnTo>
                  <a:lnTo>
                    <a:pt x="300" y="41"/>
                  </a:lnTo>
                  <a:lnTo>
                    <a:pt x="270" y="45"/>
                  </a:lnTo>
                  <a:lnTo>
                    <a:pt x="242" y="52"/>
                  </a:lnTo>
                  <a:lnTo>
                    <a:pt x="215" y="62"/>
                  </a:lnTo>
                  <a:lnTo>
                    <a:pt x="191" y="74"/>
                  </a:lnTo>
                  <a:lnTo>
                    <a:pt x="167" y="89"/>
                  </a:lnTo>
                  <a:lnTo>
                    <a:pt x="144" y="105"/>
                  </a:lnTo>
                  <a:lnTo>
                    <a:pt x="124" y="124"/>
                  </a:lnTo>
                  <a:lnTo>
                    <a:pt x="105" y="144"/>
                  </a:lnTo>
                  <a:lnTo>
                    <a:pt x="87" y="167"/>
                  </a:lnTo>
                  <a:lnTo>
                    <a:pt x="73" y="191"/>
                  </a:lnTo>
                  <a:lnTo>
                    <a:pt x="60" y="217"/>
                  </a:lnTo>
                  <a:lnTo>
                    <a:pt x="51" y="244"/>
                  </a:lnTo>
                  <a:lnTo>
                    <a:pt x="43" y="272"/>
                  </a:lnTo>
                  <a:lnTo>
                    <a:pt x="39" y="300"/>
                  </a:lnTo>
                  <a:lnTo>
                    <a:pt x="38" y="330"/>
                  </a:lnTo>
                  <a:lnTo>
                    <a:pt x="38" y="330"/>
                  </a:lnTo>
                  <a:lnTo>
                    <a:pt x="39" y="359"/>
                  </a:lnTo>
                  <a:lnTo>
                    <a:pt x="43" y="389"/>
                  </a:lnTo>
                  <a:lnTo>
                    <a:pt x="51" y="417"/>
                  </a:lnTo>
                  <a:lnTo>
                    <a:pt x="60" y="444"/>
                  </a:lnTo>
                  <a:lnTo>
                    <a:pt x="73" y="468"/>
                  </a:lnTo>
                  <a:lnTo>
                    <a:pt x="87" y="492"/>
                  </a:lnTo>
                  <a:lnTo>
                    <a:pt x="105" y="515"/>
                  </a:lnTo>
                  <a:lnTo>
                    <a:pt x="124" y="535"/>
                  </a:lnTo>
                  <a:lnTo>
                    <a:pt x="144" y="554"/>
                  </a:lnTo>
                  <a:lnTo>
                    <a:pt x="167" y="572"/>
                  </a:lnTo>
                  <a:lnTo>
                    <a:pt x="191" y="586"/>
                  </a:lnTo>
                  <a:lnTo>
                    <a:pt x="215" y="599"/>
                  </a:lnTo>
                  <a:lnTo>
                    <a:pt x="242" y="608"/>
                  </a:lnTo>
                  <a:lnTo>
                    <a:pt x="270" y="616"/>
                  </a:lnTo>
                  <a:lnTo>
                    <a:pt x="300" y="620"/>
                  </a:lnTo>
                  <a:lnTo>
                    <a:pt x="329" y="621"/>
                  </a:lnTo>
                  <a:lnTo>
                    <a:pt x="329" y="621"/>
                  </a:lnTo>
                  <a:lnTo>
                    <a:pt x="359" y="620"/>
                  </a:lnTo>
                  <a:lnTo>
                    <a:pt x="387" y="616"/>
                  </a:lnTo>
                  <a:lnTo>
                    <a:pt x="415" y="608"/>
                  </a:lnTo>
                  <a:lnTo>
                    <a:pt x="442" y="599"/>
                  </a:lnTo>
                  <a:lnTo>
                    <a:pt x="468" y="586"/>
                  </a:lnTo>
                  <a:lnTo>
                    <a:pt x="492" y="572"/>
                  </a:lnTo>
                  <a:lnTo>
                    <a:pt x="515" y="554"/>
                  </a:lnTo>
                  <a:lnTo>
                    <a:pt x="535" y="535"/>
                  </a:lnTo>
                  <a:lnTo>
                    <a:pt x="554" y="515"/>
                  </a:lnTo>
                  <a:lnTo>
                    <a:pt x="570" y="492"/>
                  </a:lnTo>
                  <a:lnTo>
                    <a:pt x="585" y="468"/>
                  </a:lnTo>
                  <a:lnTo>
                    <a:pt x="597" y="444"/>
                  </a:lnTo>
                  <a:lnTo>
                    <a:pt x="607" y="417"/>
                  </a:lnTo>
                  <a:lnTo>
                    <a:pt x="614" y="389"/>
                  </a:lnTo>
                  <a:lnTo>
                    <a:pt x="618" y="359"/>
                  </a:lnTo>
                  <a:lnTo>
                    <a:pt x="621" y="330"/>
                  </a:lnTo>
                  <a:lnTo>
                    <a:pt x="621" y="330"/>
                  </a:lnTo>
                  <a:lnTo>
                    <a:pt x="618" y="300"/>
                  </a:lnTo>
                  <a:lnTo>
                    <a:pt x="614" y="272"/>
                  </a:lnTo>
                  <a:lnTo>
                    <a:pt x="607" y="244"/>
                  </a:lnTo>
                  <a:lnTo>
                    <a:pt x="597" y="217"/>
                  </a:lnTo>
                  <a:lnTo>
                    <a:pt x="585" y="191"/>
                  </a:lnTo>
                  <a:lnTo>
                    <a:pt x="570" y="167"/>
                  </a:lnTo>
                  <a:lnTo>
                    <a:pt x="554" y="144"/>
                  </a:lnTo>
                  <a:lnTo>
                    <a:pt x="535" y="124"/>
                  </a:lnTo>
                  <a:lnTo>
                    <a:pt x="515" y="105"/>
                  </a:lnTo>
                  <a:lnTo>
                    <a:pt x="492" y="89"/>
                  </a:lnTo>
                  <a:lnTo>
                    <a:pt x="468" y="74"/>
                  </a:lnTo>
                  <a:lnTo>
                    <a:pt x="442" y="62"/>
                  </a:lnTo>
                  <a:lnTo>
                    <a:pt x="415" y="52"/>
                  </a:lnTo>
                  <a:lnTo>
                    <a:pt x="387" y="45"/>
                  </a:lnTo>
                  <a:lnTo>
                    <a:pt x="359" y="41"/>
                  </a:lnTo>
                  <a:lnTo>
                    <a:pt x="329" y="38"/>
                  </a:lnTo>
                  <a:lnTo>
                    <a:pt x="329" y="3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84" name="Freeform 138">
              <a:extLst>
                <a:ext uri="{FF2B5EF4-FFF2-40B4-BE49-F238E27FC236}">
                  <a16:creationId xmlns:a16="http://schemas.microsoft.com/office/drawing/2014/main" id="{34B2E740-6642-419F-9C1E-CD00C39E1CE7}"/>
                </a:ext>
              </a:extLst>
            </p:cNvPr>
            <p:cNvSpPr>
              <a:spLocks/>
            </p:cNvSpPr>
            <p:nvPr/>
          </p:nvSpPr>
          <p:spPr bwMode="auto">
            <a:xfrm>
              <a:off x="5148263" y="1778635"/>
              <a:ext cx="134938" cy="168275"/>
            </a:xfrm>
            <a:custGeom>
              <a:avLst/>
              <a:gdLst>
                <a:gd name="T0" fmla="*/ 84 w 169"/>
                <a:gd name="T1" fmla="*/ 213 h 213"/>
                <a:gd name="T2" fmla="*/ 84 w 169"/>
                <a:gd name="T3" fmla="*/ 213 h 213"/>
                <a:gd name="T4" fmla="*/ 92 w 169"/>
                <a:gd name="T5" fmla="*/ 211 h 213"/>
                <a:gd name="T6" fmla="*/ 100 w 169"/>
                <a:gd name="T7" fmla="*/ 211 h 213"/>
                <a:gd name="T8" fmla="*/ 108 w 169"/>
                <a:gd name="T9" fmla="*/ 209 h 213"/>
                <a:gd name="T10" fmla="*/ 116 w 169"/>
                <a:gd name="T11" fmla="*/ 206 h 213"/>
                <a:gd name="T12" fmla="*/ 131 w 169"/>
                <a:gd name="T13" fmla="*/ 198 h 213"/>
                <a:gd name="T14" fmla="*/ 143 w 169"/>
                <a:gd name="T15" fmla="*/ 187 h 213"/>
                <a:gd name="T16" fmla="*/ 154 w 169"/>
                <a:gd name="T17" fmla="*/ 175 h 213"/>
                <a:gd name="T18" fmla="*/ 162 w 169"/>
                <a:gd name="T19" fmla="*/ 160 h 213"/>
                <a:gd name="T20" fmla="*/ 165 w 169"/>
                <a:gd name="T21" fmla="*/ 154 h 213"/>
                <a:gd name="T22" fmla="*/ 166 w 169"/>
                <a:gd name="T23" fmla="*/ 144 h 213"/>
                <a:gd name="T24" fmla="*/ 168 w 169"/>
                <a:gd name="T25" fmla="*/ 136 h 213"/>
                <a:gd name="T26" fmla="*/ 169 w 169"/>
                <a:gd name="T27" fmla="*/ 128 h 213"/>
                <a:gd name="T28" fmla="*/ 169 w 169"/>
                <a:gd name="T29" fmla="*/ 85 h 213"/>
                <a:gd name="T30" fmla="*/ 169 w 169"/>
                <a:gd name="T31" fmla="*/ 85 h 213"/>
                <a:gd name="T32" fmla="*/ 168 w 169"/>
                <a:gd name="T33" fmla="*/ 77 h 213"/>
                <a:gd name="T34" fmla="*/ 166 w 169"/>
                <a:gd name="T35" fmla="*/ 69 h 213"/>
                <a:gd name="T36" fmla="*/ 165 w 169"/>
                <a:gd name="T37" fmla="*/ 61 h 213"/>
                <a:gd name="T38" fmla="*/ 162 w 169"/>
                <a:gd name="T39" fmla="*/ 53 h 213"/>
                <a:gd name="T40" fmla="*/ 154 w 169"/>
                <a:gd name="T41" fmla="*/ 38 h 213"/>
                <a:gd name="T42" fmla="*/ 143 w 169"/>
                <a:gd name="T43" fmla="*/ 26 h 213"/>
                <a:gd name="T44" fmla="*/ 131 w 169"/>
                <a:gd name="T45" fmla="*/ 15 h 213"/>
                <a:gd name="T46" fmla="*/ 116 w 169"/>
                <a:gd name="T47" fmla="*/ 7 h 213"/>
                <a:gd name="T48" fmla="*/ 108 w 169"/>
                <a:gd name="T49" fmla="*/ 4 h 213"/>
                <a:gd name="T50" fmla="*/ 100 w 169"/>
                <a:gd name="T51" fmla="*/ 3 h 213"/>
                <a:gd name="T52" fmla="*/ 92 w 169"/>
                <a:gd name="T53" fmla="*/ 2 h 213"/>
                <a:gd name="T54" fmla="*/ 84 w 169"/>
                <a:gd name="T55" fmla="*/ 0 h 213"/>
                <a:gd name="T56" fmla="*/ 84 w 169"/>
                <a:gd name="T57" fmla="*/ 0 h 213"/>
                <a:gd name="T58" fmla="*/ 75 w 169"/>
                <a:gd name="T59" fmla="*/ 2 h 213"/>
                <a:gd name="T60" fmla="*/ 67 w 169"/>
                <a:gd name="T61" fmla="*/ 3 h 213"/>
                <a:gd name="T62" fmla="*/ 59 w 169"/>
                <a:gd name="T63" fmla="*/ 4 h 213"/>
                <a:gd name="T64" fmla="*/ 51 w 169"/>
                <a:gd name="T65" fmla="*/ 7 h 213"/>
                <a:gd name="T66" fmla="*/ 37 w 169"/>
                <a:gd name="T67" fmla="*/ 15 h 213"/>
                <a:gd name="T68" fmla="*/ 24 w 169"/>
                <a:gd name="T69" fmla="*/ 26 h 213"/>
                <a:gd name="T70" fmla="*/ 14 w 169"/>
                <a:gd name="T71" fmla="*/ 38 h 213"/>
                <a:gd name="T72" fmla="*/ 6 w 169"/>
                <a:gd name="T73" fmla="*/ 53 h 213"/>
                <a:gd name="T74" fmla="*/ 4 w 169"/>
                <a:gd name="T75" fmla="*/ 61 h 213"/>
                <a:gd name="T76" fmla="*/ 1 w 169"/>
                <a:gd name="T77" fmla="*/ 69 h 213"/>
                <a:gd name="T78" fmla="*/ 0 w 169"/>
                <a:gd name="T79" fmla="*/ 77 h 213"/>
                <a:gd name="T80" fmla="*/ 0 w 169"/>
                <a:gd name="T81" fmla="*/ 85 h 213"/>
                <a:gd name="T82" fmla="*/ 0 w 169"/>
                <a:gd name="T83" fmla="*/ 128 h 213"/>
                <a:gd name="T84" fmla="*/ 0 w 169"/>
                <a:gd name="T85" fmla="*/ 128 h 213"/>
                <a:gd name="T86" fmla="*/ 0 w 169"/>
                <a:gd name="T87" fmla="*/ 136 h 213"/>
                <a:gd name="T88" fmla="*/ 1 w 169"/>
                <a:gd name="T89" fmla="*/ 144 h 213"/>
                <a:gd name="T90" fmla="*/ 4 w 169"/>
                <a:gd name="T91" fmla="*/ 154 h 213"/>
                <a:gd name="T92" fmla="*/ 6 w 169"/>
                <a:gd name="T93" fmla="*/ 160 h 213"/>
                <a:gd name="T94" fmla="*/ 14 w 169"/>
                <a:gd name="T95" fmla="*/ 175 h 213"/>
                <a:gd name="T96" fmla="*/ 24 w 169"/>
                <a:gd name="T97" fmla="*/ 187 h 213"/>
                <a:gd name="T98" fmla="*/ 37 w 169"/>
                <a:gd name="T99" fmla="*/ 198 h 213"/>
                <a:gd name="T100" fmla="*/ 51 w 169"/>
                <a:gd name="T101" fmla="*/ 206 h 213"/>
                <a:gd name="T102" fmla="*/ 59 w 169"/>
                <a:gd name="T103" fmla="*/ 209 h 213"/>
                <a:gd name="T104" fmla="*/ 67 w 169"/>
                <a:gd name="T105" fmla="*/ 211 h 213"/>
                <a:gd name="T106" fmla="*/ 75 w 169"/>
                <a:gd name="T107" fmla="*/ 211 h 213"/>
                <a:gd name="T108" fmla="*/ 84 w 169"/>
                <a:gd name="T109" fmla="*/ 213 h 213"/>
                <a:gd name="T110" fmla="*/ 84 w 169"/>
                <a:gd name="T111"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9" h="213">
                  <a:moveTo>
                    <a:pt x="84" y="213"/>
                  </a:moveTo>
                  <a:lnTo>
                    <a:pt x="84" y="213"/>
                  </a:lnTo>
                  <a:lnTo>
                    <a:pt x="92" y="211"/>
                  </a:lnTo>
                  <a:lnTo>
                    <a:pt x="100" y="211"/>
                  </a:lnTo>
                  <a:lnTo>
                    <a:pt x="108" y="209"/>
                  </a:lnTo>
                  <a:lnTo>
                    <a:pt x="116" y="206"/>
                  </a:lnTo>
                  <a:lnTo>
                    <a:pt x="131" y="198"/>
                  </a:lnTo>
                  <a:lnTo>
                    <a:pt x="143" y="187"/>
                  </a:lnTo>
                  <a:lnTo>
                    <a:pt x="154" y="175"/>
                  </a:lnTo>
                  <a:lnTo>
                    <a:pt x="162" y="160"/>
                  </a:lnTo>
                  <a:lnTo>
                    <a:pt x="165" y="154"/>
                  </a:lnTo>
                  <a:lnTo>
                    <a:pt x="166" y="144"/>
                  </a:lnTo>
                  <a:lnTo>
                    <a:pt x="168" y="136"/>
                  </a:lnTo>
                  <a:lnTo>
                    <a:pt x="169" y="128"/>
                  </a:lnTo>
                  <a:lnTo>
                    <a:pt x="169" y="85"/>
                  </a:lnTo>
                  <a:lnTo>
                    <a:pt x="169" y="85"/>
                  </a:lnTo>
                  <a:lnTo>
                    <a:pt x="168" y="77"/>
                  </a:lnTo>
                  <a:lnTo>
                    <a:pt x="166" y="69"/>
                  </a:lnTo>
                  <a:lnTo>
                    <a:pt x="165" y="61"/>
                  </a:lnTo>
                  <a:lnTo>
                    <a:pt x="162" y="53"/>
                  </a:lnTo>
                  <a:lnTo>
                    <a:pt x="154" y="38"/>
                  </a:lnTo>
                  <a:lnTo>
                    <a:pt x="143" y="26"/>
                  </a:lnTo>
                  <a:lnTo>
                    <a:pt x="131" y="15"/>
                  </a:lnTo>
                  <a:lnTo>
                    <a:pt x="116" y="7"/>
                  </a:lnTo>
                  <a:lnTo>
                    <a:pt x="108" y="4"/>
                  </a:lnTo>
                  <a:lnTo>
                    <a:pt x="100" y="3"/>
                  </a:lnTo>
                  <a:lnTo>
                    <a:pt x="92" y="2"/>
                  </a:lnTo>
                  <a:lnTo>
                    <a:pt x="84" y="0"/>
                  </a:lnTo>
                  <a:lnTo>
                    <a:pt x="84" y="0"/>
                  </a:lnTo>
                  <a:lnTo>
                    <a:pt x="75" y="2"/>
                  </a:lnTo>
                  <a:lnTo>
                    <a:pt x="67" y="3"/>
                  </a:lnTo>
                  <a:lnTo>
                    <a:pt x="59" y="4"/>
                  </a:lnTo>
                  <a:lnTo>
                    <a:pt x="51" y="7"/>
                  </a:lnTo>
                  <a:lnTo>
                    <a:pt x="37" y="15"/>
                  </a:lnTo>
                  <a:lnTo>
                    <a:pt x="24" y="26"/>
                  </a:lnTo>
                  <a:lnTo>
                    <a:pt x="14" y="38"/>
                  </a:lnTo>
                  <a:lnTo>
                    <a:pt x="6" y="53"/>
                  </a:lnTo>
                  <a:lnTo>
                    <a:pt x="4" y="61"/>
                  </a:lnTo>
                  <a:lnTo>
                    <a:pt x="1" y="69"/>
                  </a:lnTo>
                  <a:lnTo>
                    <a:pt x="0" y="77"/>
                  </a:lnTo>
                  <a:lnTo>
                    <a:pt x="0" y="85"/>
                  </a:lnTo>
                  <a:lnTo>
                    <a:pt x="0" y="128"/>
                  </a:lnTo>
                  <a:lnTo>
                    <a:pt x="0" y="128"/>
                  </a:lnTo>
                  <a:lnTo>
                    <a:pt x="0" y="136"/>
                  </a:lnTo>
                  <a:lnTo>
                    <a:pt x="1" y="144"/>
                  </a:lnTo>
                  <a:lnTo>
                    <a:pt x="4" y="154"/>
                  </a:lnTo>
                  <a:lnTo>
                    <a:pt x="6" y="160"/>
                  </a:lnTo>
                  <a:lnTo>
                    <a:pt x="14" y="175"/>
                  </a:lnTo>
                  <a:lnTo>
                    <a:pt x="24" y="187"/>
                  </a:lnTo>
                  <a:lnTo>
                    <a:pt x="37" y="198"/>
                  </a:lnTo>
                  <a:lnTo>
                    <a:pt x="51" y="206"/>
                  </a:lnTo>
                  <a:lnTo>
                    <a:pt x="59" y="209"/>
                  </a:lnTo>
                  <a:lnTo>
                    <a:pt x="67" y="211"/>
                  </a:lnTo>
                  <a:lnTo>
                    <a:pt x="75" y="211"/>
                  </a:lnTo>
                  <a:lnTo>
                    <a:pt x="84" y="213"/>
                  </a:lnTo>
                  <a:lnTo>
                    <a:pt x="84" y="2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85" name="Freeform 139">
              <a:extLst>
                <a:ext uri="{FF2B5EF4-FFF2-40B4-BE49-F238E27FC236}">
                  <a16:creationId xmlns:a16="http://schemas.microsoft.com/office/drawing/2014/main" id="{AB5AEF21-200C-4905-A8C2-8E611E686E16}"/>
                </a:ext>
              </a:extLst>
            </p:cNvPr>
            <p:cNvSpPr>
              <a:spLocks/>
            </p:cNvSpPr>
            <p:nvPr/>
          </p:nvSpPr>
          <p:spPr bwMode="auto">
            <a:xfrm>
              <a:off x="5089526" y="1946910"/>
              <a:ext cx="250825" cy="101600"/>
            </a:xfrm>
            <a:custGeom>
              <a:avLst/>
              <a:gdLst>
                <a:gd name="T0" fmla="*/ 216 w 315"/>
                <a:gd name="T1" fmla="*/ 0 h 128"/>
                <a:gd name="T2" fmla="*/ 216 w 315"/>
                <a:gd name="T3" fmla="*/ 0 h 128"/>
                <a:gd name="T4" fmla="*/ 204 w 315"/>
                <a:gd name="T5" fmla="*/ 8 h 128"/>
                <a:gd name="T6" fmla="*/ 189 w 315"/>
                <a:gd name="T7" fmla="*/ 15 h 128"/>
                <a:gd name="T8" fmla="*/ 174 w 315"/>
                <a:gd name="T9" fmla="*/ 19 h 128"/>
                <a:gd name="T10" fmla="*/ 158 w 315"/>
                <a:gd name="T11" fmla="*/ 20 h 128"/>
                <a:gd name="T12" fmla="*/ 158 w 315"/>
                <a:gd name="T13" fmla="*/ 20 h 128"/>
                <a:gd name="T14" fmla="*/ 142 w 315"/>
                <a:gd name="T15" fmla="*/ 19 h 128"/>
                <a:gd name="T16" fmla="*/ 126 w 315"/>
                <a:gd name="T17" fmla="*/ 15 h 128"/>
                <a:gd name="T18" fmla="*/ 113 w 315"/>
                <a:gd name="T19" fmla="*/ 8 h 128"/>
                <a:gd name="T20" fmla="*/ 99 w 315"/>
                <a:gd name="T21" fmla="*/ 0 h 128"/>
                <a:gd name="T22" fmla="*/ 99 w 315"/>
                <a:gd name="T23" fmla="*/ 0 h 128"/>
                <a:gd name="T24" fmla="*/ 90 w 315"/>
                <a:gd name="T25" fmla="*/ 3 h 128"/>
                <a:gd name="T26" fmla="*/ 80 w 315"/>
                <a:gd name="T27" fmla="*/ 6 h 128"/>
                <a:gd name="T28" fmla="*/ 71 w 315"/>
                <a:gd name="T29" fmla="*/ 10 h 128"/>
                <a:gd name="T30" fmla="*/ 63 w 315"/>
                <a:gd name="T31" fmla="*/ 14 h 128"/>
                <a:gd name="T32" fmla="*/ 53 w 315"/>
                <a:gd name="T33" fmla="*/ 20 h 128"/>
                <a:gd name="T34" fmla="*/ 47 w 315"/>
                <a:gd name="T35" fmla="*/ 26 h 128"/>
                <a:gd name="T36" fmla="*/ 39 w 315"/>
                <a:gd name="T37" fmla="*/ 34 h 128"/>
                <a:gd name="T38" fmla="*/ 32 w 315"/>
                <a:gd name="T39" fmla="*/ 41 h 128"/>
                <a:gd name="T40" fmla="*/ 20 w 315"/>
                <a:gd name="T41" fmla="*/ 58 h 128"/>
                <a:gd name="T42" fmla="*/ 10 w 315"/>
                <a:gd name="T43" fmla="*/ 77 h 128"/>
                <a:gd name="T44" fmla="*/ 4 w 315"/>
                <a:gd name="T45" fmla="*/ 97 h 128"/>
                <a:gd name="T46" fmla="*/ 1 w 315"/>
                <a:gd name="T47" fmla="*/ 106 h 128"/>
                <a:gd name="T48" fmla="*/ 0 w 315"/>
                <a:gd name="T49" fmla="*/ 116 h 128"/>
                <a:gd name="T50" fmla="*/ 0 w 315"/>
                <a:gd name="T51" fmla="*/ 116 h 128"/>
                <a:gd name="T52" fmla="*/ 0 w 315"/>
                <a:gd name="T53" fmla="*/ 121 h 128"/>
                <a:gd name="T54" fmla="*/ 2 w 315"/>
                <a:gd name="T55" fmla="*/ 124 h 128"/>
                <a:gd name="T56" fmla="*/ 6 w 315"/>
                <a:gd name="T57" fmla="*/ 127 h 128"/>
                <a:gd name="T58" fmla="*/ 10 w 315"/>
                <a:gd name="T59" fmla="*/ 128 h 128"/>
                <a:gd name="T60" fmla="*/ 306 w 315"/>
                <a:gd name="T61" fmla="*/ 128 h 128"/>
                <a:gd name="T62" fmla="*/ 306 w 315"/>
                <a:gd name="T63" fmla="*/ 128 h 128"/>
                <a:gd name="T64" fmla="*/ 310 w 315"/>
                <a:gd name="T65" fmla="*/ 127 h 128"/>
                <a:gd name="T66" fmla="*/ 313 w 315"/>
                <a:gd name="T67" fmla="*/ 124 h 128"/>
                <a:gd name="T68" fmla="*/ 315 w 315"/>
                <a:gd name="T69" fmla="*/ 121 h 128"/>
                <a:gd name="T70" fmla="*/ 315 w 315"/>
                <a:gd name="T71" fmla="*/ 116 h 128"/>
                <a:gd name="T72" fmla="*/ 315 w 315"/>
                <a:gd name="T73" fmla="*/ 116 h 128"/>
                <a:gd name="T74" fmla="*/ 314 w 315"/>
                <a:gd name="T75" fmla="*/ 106 h 128"/>
                <a:gd name="T76" fmla="*/ 313 w 315"/>
                <a:gd name="T77" fmla="*/ 97 h 128"/>
                <a:gd name="T78" fmla="*/ 306 w 315"/>
                <a:gd name="T79" fmla="*/ 77 h 128"/>
                <a:gd name="T80" fmla="*/ 297 w 315"/>
                <a:gd name="T81" fmla="*/ 58 h 128"/>
                <a:gd name="T82" fmla="*/ 285 w 315"/>
                <a:gd name="T83" fmla="*/ 41 h 128"/>
                <a:gd name="T84" fmla="*/ 276 w 315"/>
                <a:gd name="T85" fmla="*/ 34 h 128"/>
                <a:gd name="T86" fmla="*/ 270 w 315"/>
                <a:gd name="T87" fmla="*/ 26 h 128"/>
                <a:gd name="T88" fmla="*/ 262 w 315"/>
                <a:gd name="T89" fmla="*/ 20 h 128"/>
                <a:gd name="T90" fmla="*/ 254 w 315"/>
                <a:gd name="T91" fmla="*/ 14 h 128"/>
                <a:gd name="T92" fmla="*/ 244 w 315"/>
                <a:gd name="T93" fmla="*/ 10 h 128"/>
                <a:gd name="T94" fmla="*/ 235 w 315"/>
                <a:gd name="T95" fmla="*/ 6 h 128"/>
                <a:gd name="T96" fmla="*/ 225 w 315"/>
                <a:gd name="T97" fmla="*/ 3 h 128"/>
                <a:gd name="T98" fmla="*/ 216 w 315"/>
                <a:gd name="T99" fmla="*/ 0 h 128"/>
                <a:gd name="T100" fmla="*/ 216 w 315"/>
                <a:gd name="T10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5" h="128">
                  <a:moveTo>
                    <a:pt x="216" y="0"/>
                  </a:moveTo>
                  <a:lnTo>
                    <a:pt x="216" y="0"/>
                  </a:lnTo>
                  <a:lnTo>
                    <a:pt x="204" y="8"/>
                  </a:lnTo>
                  <a:lnTo>
                    <a:pt x="189" y="15"/>
                  </a:lnTo>
                  <a:lnTo>
                    <a:pt x="174" y="19"/>
                  </a:lnTo>
                  <a:lnTo>
                    <a:pt x="158" y="20"/>
                  </a:lnTo>
                  <a:lnTo>
                    <a:pt x="158" y="20"/>
                  </a:lnTo>
                  <a:lnTo>
                    <a:pt x="142" y="19"/>
                  </a:lnTo>
                  <a:lnTo>
                    <a:pt x="126" y="15"/>
                  </a:lnTo>
                  <a:lnTo>
                    <a:pt x="113" y="8"/>
                  </a:lnTo>
                  <a:lnTo>
                    <a:pt x="99" y="0"/>
                  </a:lnTo>
                  <a:lnTo>
                    <a:pt x="99" y="0"/>
                  </a:lnTo>
                  <a:lnTo>
                    <a:pt x="90" y="3"/>
                  </a:lnTo>
                  <a:lnTo>
                    <a:pt x="80" y="6"/>
                  </a:lnTo>
                  <a:lnTo>
                    <a:pt x="71" y="10"/>
                  </a:lnTo>
                  <a:lnTo>
                    <a:pt x="63" y="14"/>
                  </a:lnTo>
                  <a:lnTo>
                    <a:pt x="53" y="20"/>
                  </a:lnTo>
                  <a:lnTo>
                    <a:pt x="47" y="26"/>
                  </a:lnTo>
                  <a:lnTo>
                    <a:pt x="39" y="34"/>
                  </a:lnTo>
                  <a:lnTo>
                    <a:pt x="32" y="41"/>
                  </a:lnTo>
                  <a:lnTo>
                    <a:pt x="20" y="58"/>
                  </a:lnTo>
                  <a:lnTo>
                    <a:pt x="10" y="77"/>
                  </a:lnTo>
                  <a:lnTo>
                    <a:pt x="4" y="97"/>
                  </a:lnTo>
                  <a:lnTo>
                    <a:pt x="1" y="106"/>
                  </a:lnTo>
                  <a:lnTo>
                    <a:pt x="0" y="116"/>
                  </a:lnTo>
                  <a:lnTo>
                    <a:pt x="0" y="116"/>
                  </a:lnTo>
                  <a:lnTo>
                    <a:pt x="0" y="121"/>
                  </a:lnTo>
                  <a:lnTo>
                    <a:pt x="2" y="124"/>
                  </a:lnTo>
                  <a:lnTo>
                    <a:pt x="6" y="127"/>
                  </a:lnTo>
                  <a:lnTo>
                    <a:pt x="10" y="128"/>
                  </a:lnTo>
                  <a:lnTo>
                    <a:pt x="306" y="128"/>
                  </a:lnTo>
                  <a:lnTo>
                    <a:pt x="306" y="128"/>
                  </a:lnTo>
                  <a:lnTo>
                    <a:pt x="310" y="127"/>
                  </a:lnTo>
                  <a:lnTo>
                    <a:pt x="313" y="124"/>
                  </a:lnTo>
                  <a:lnTo>
                    <a:pt x="315" y="121"/>
                  </a:lnTo>
                  <a:lnTo>
                    <a:pt x="315" y="116"/>
                  </a:lnTo>
                  <a:lnTo>
                    <a:pt x="315" y="116"/>
                  </a:lnTo>
                  <a:lnTo>
                    <a:pt x="314" y="106"/>
                  </a:lnTo>
                  <a:lnTo>
                    <a:pt x="313" y="97"/>
                  </a:lnTo>
                  <a:lnTo>
                    <a:pt x="306" y="77"/>
                  </a:lnTo>
                  <a:lnTo>
                    <a:pt x="297" y="58"/>
                  </a:lnTo>
                  <a:lnTo>
                    <a:pt x="285" y="41"/>
                  </a:lnTo>
                  <a:lnTo>
                    <a:pt x="276" y="34"/>
                  </a:lnTo>
                  <a:lnTo>
                    <a:pt x="270" y="26"/>
                  </a:lnTo>
                  <a:lnTo>
                    <a:pt x="262" y="20"/>
                  </a:lnTo>
                  <a:lnTo>
                    <a:pt x="254" y="14"/>
                  </a:lnTo>
                  <a:lnTo>
                    <a:pt x="244" y="10"/>
                  </a:lnTo>
                  <a:lnTo>
                    <a:pt x="235" y="6"/>
                  </a:lnTo>
                  <a:lnTo>
                    <a:pt x="225" y="3"/>
                  </a:lnTo>
                  <a:lnTo>
                    <a:pt x="216" y="0"/>
                  </a:lnTo>
                  <a:lnTo>
                    <a:pt x="2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86" name="Group 185">
            <a:extLst>
              <a:ext uri="{FF2B5EF4-FFF2-40B4-BE49-F238E27FC236}">
                <a16:creationId xmlns:a16="http://schemas.microsoft.com/office/drawing/2014/main" id="{4265851B-1BE1-4E05-8165-491A03DC6154}"/>
              </a:ext>
            </a:extLst>
          </p:cNvPr>
          <p:cNvGrpSpPr>
            <a:grpSpLocks noChangeAspect="1"/>
          </p:cNvGrpSpPr>
          <p:nvPr/>
        </p:nvGrpSpPr>
        <p:grpSpPr>
          <a:xfrm>
            <a:off x="7254535" y="5542322"/>
            <a:ext cx="320040" cy="320040"/>
            <a:chOff x="6716713" y="4183698"/>
            <a:chExt cx="522288" cy="522288"/>
          </a:xfrm>
        </p:grpSpPr>
        <p:sp>
          <p:nvSpPr>
            <p:cNvPr id="187" name="Freeform 73">
              <a:extLst>
                <a:ext uri="{FF2B5EF4-FFF2-40B4-BE49-F238E27FC236}">
                  <a16:creationId xmlns:a16="http://schemas.microsoft.com/office/drawing/2014/main" id="{D89E8A97-99A2-4F5A-83EA-4BE501665581}"/>
                </a:ext>
              </a:extLst>
            </p:cNvPr>
            <p:cNvSpPr>
              <a:spLocks noEditPoints="1"/>
            </p:cNvSpPr>
            <p:nvPr/>
          </p:nvSpPr>
          <p:spPr bwMode="auto">
            <a:xfrm>
              <a:off x="6716713" y="4183698"/>
              <a:ext cx="522288" cy="522288"/>
            </a:xfrm>
            <a:custGeom>
              <a:avLst/>
              <a:gdLst>
                <a:gd name="T0" fmla="*/ 312 w 657"/>
                <a:gd name="T1" fmla="*/ 657 h 657"/>
                <a:gd name="T2" fmla="*/ 262 w 657"/>
                <a:gd name="T3" fmla="*/ 650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8 h 657"/>
                <a:gd name="T16" fmla="*/ 2 w 657"/>
                <a:gd name="T17" fmla="*/ 294 h 657"/>
                <a:gd name="T18" fmla="*/ 10 w 657"/>
                <a:gd name="T19" fmla="*/ 246 h 657"/>
                <a:gd name="T20" fmla="*/ 39 w 657"/>
                <a:gd name="T21" fmla="*/ 172 h 657"/>
                <a:gd name="T22" fmla="*/ 96 w 657"/>
                <a:gd name="T23" fmla="*/ 95 h 657"/>
                <a:gd name="T24" fmla="*/ 172 w 657"/>
                <a:gd name="T25" fmla="*/ 39 h 657"/>
                <a:gd name="T26" fmla="*/ 246 w 657"/>
                <a:gd name="T27" fmla="*/ 9 h 657"/>
                <a:gd name="T28" fmla="*/ 295 w 657"/>
                <a:gd name="T29" fmla="*/ 1 h 657"/>
                <a:gd name="T30" fmla="*/ 328 w 657"/>
                <a:gd name="T31" fmla="*/ 0 h 657"/>
                <a:gd name="T32" fmla="*/ 379 w 657"/>
                <a:gd name="T33" fmla="*/ 4 h 657"/>
                <a:gd name="T34" fmla="*/ 426 w 657"/>
                <a:gd name="T35" fmla="*/ 15 h 657"/>
                <a:gd name="T36" fmla="*/ 512 w 657"/>
                <a:gd name="T37" fmla="*/ 56 h 657"/>
                <a:gd name="T38" fmla="*/ 582 w 657"/>
                <a:gd name="T39" fmla="*/ 119 h 657"/>
                <a:gd name="T40" fmla="*/ 632 w 657"/>
                <a:gd name="T41" fmla="*/ 200 h 657"/>
                <a:gd name="T42" fmla="*/ 651 w 657"/>
                <a:gd name="T43" fmla="*/ 262 h 657"/>
                <a:gd name="T44" fmla="*/ 657 w 657"/>
                <a:gd name="T45" fmla="*/ 312 h 657"/>
                <a:gd name="T46" fmla="*/ 657 w 657"/>
                <a:gd name="T47" fmla="*/ 345 h 657"/>
                <a:gd name="T48" fmla="*/ 651 w 657"/>
                <a:gd name="T49" fmla="*/ 395 h 657"/>
                <a:gd name="T50" fmla="*/ 632 w 657"/>
                <a:gd name="T51" fmla="*/ 457 h 657"/>
                <a:gd name="T52" fmla="*/ 582 w 657"/>
                <a:gd name="T53" fmla="*/ 537 h 657"/>
                <a:gd name="T54" fmla="*/ 512 w 657"/>
                <a:gd name="T55" fmla="*/ 601 h 657"/>
                <a:gd name="T56" fmla="*/ 426 w 657"/>
                <a:gd name="T57" fmla="*/ 642 h 657"/>
                <a:gd name="T58" fmla="*/ 379 w 657"/>
                <a:gd name="T59" fmla="*/ 653 h 657"/>
                <a:gd name="T60" fmla="*/ 328 w 657"/>
                <a:gd name="T61" fmla="*/ 657 h 657"/>
                <a:gd name="T62" fmla="*/ 328 w 657"/>
                <a:gd name="T63" fmla="*/ 37 h 657"/>
                <a:gd name="T64" fmla="*/ 242 w 657"/>
                <a:gd name="T65" fmla="*/ 50 h 657"/>
                <a:gd name="T66" fmla="*/ 166 w 657"/>
                <a:gd name="T67" fmla="*/ 87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6 w 657"/>
                <a:gd name="T81" fmla="*/ 570 h 657"/>
                <a:gd name="T82" fmla="*/ 242 w 657"/>
                <a:gd name="T83" fmla="*/ 606 h 657"/>
                <a:gd name="T84" fmla="*/ 328 w 657"/>
                <a:gd name="T85" fmla="*/ 619 h 657"/>
                <a:gd name="T86" fmla="*/ 387 w 657"/>
                <a:gd name="T87" fmla="*/ 614 h 657"/>
                <a:gd name="T88" fmla="*/ 468 w 657"/>
                <a:gd name="T89" fmla="*/ 585 h 657"/>
                <a:gd name="T90" fmla="*/ 535 w 657"/>
                <a:gd name="T91" fmla="*/ 535 h 657"/>
                <a:gd name="T92" fmla="*/ 585 w 657"/>
                <a:gd name="T93" fmla="*/ 468 h 657"/>
                <a:gd name="T94" fmla="*/ 614 w 657"/>
                <a:gd name="T95" fmla="*/ 387 h 657"/>
                <a:gd name="T96" fmla="*/ 620 w 657"/>
                <a:gd name="T97" fmla="*/ 328 h 657"/>
                <a:gd name="T98" fmla="*/ 606 w 657"/>
                <a:gd name="T99" fmla="*/ 242 h 657"/>
                <a:gd name="T100" fmla="*/ 570 w 657"/>
                <a:gd name="T101" fmla="*/ 165 h 657"/>
                <a:gd name="T102" fmla="*/ 514 w 657"/>
                <a:gd name="T103" fmla="*/ 103 h 657"/>
                <a:gd name="T104" fmla="*/ 442 w 657"/>
                <a:gd name="T105" fmla="*/ 60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5" y="656"/>
                  </a:lnTo>
                  <a:lnTo>
                    <a:pt x="278" y="653"/>
                  </a:lnTo>
                  <a:lnTo>
                    <a:pt x="262" y="650"/>
                  </a:lnTo>
                  <a:lnTo>
                    <a:pt x="246" y="646"/>
                  </a:lnTo>
                  <a:lnTo>
                    <a:pt x="231" y="642"/>
                  </a:lnTo>
                  <a:lnTo>
                    <a:pt x="200" y="632"/>
                  </a:lnTo>
                  <a:lnTo>
                    <a:pt x="172" y="618"/>
                  </a:lnTo>
                  <a:lnTo>
                    <a:pt x="145" y="601"/>
                  </a:lnTo>
                  <a:lnTo>
                    <a:pt x="120" y="582"/>
                  </a:lnTo>
                  <a:lnTo>
                    <a:pt x="96" y="560"/>
                  </a:lnTo>
                  <a:lnTo>
                    <a:pt x="75" y="537"/>
                  </a:lnTo>
                  <a:lnTo>
                    <a:pt x="57" y="512"/>
                  </a:lnTo>
                  <a:lnTo>
                    <a:pt x="39" y="485"/>
                  </a:lnTo>
                  <a:lnTo>
                    <a:pt x="26" y="457"/>
                  </a:lnTo>
                  <a:lnTo>
                    <a:pt x="15" y="426"/>
                  </a:lnTo>
                  <a:lnTo>
                    <a:pt x="10" y="411"/>
                  </a:lnTo>
                  <a:lnTo>
                    <a:pt x="7" y="395"/>
                  </a:lnTo>
                  <a:lnTo>
                    <a:pt x="4" y="379"/>
                  </a:lnTo>
                  <a:lnTo>
                    <a:pt x="2" y="361"/>
                  </a:lnTo>
                  <a:lnTo>
                    <a:pt x="0" y="345"/>
                  </a:lnTo>
                  <a:lnTo>
                    <a:pt x="0" y="328"/>
                  </a:lnTo>
                  <a:lnTo>
                    <a:pt x="0" y="328"/>
                  </a:lnTo>
                  <a:lnTo>
                    <a:pt x="0" y="312"/>
                  </a:lnTo>
                  <a:lnTo>
                    <a:pt x="2" y="294"/>
                  </a:lnTo>
                  <a:lnTo>
                    <a:pt x="4" y="278"/>
                  </a:lnTo>
                  <a:lnTo>
                    <a:pt x="7" y="262"/>
                  </a:lnTo>
                  <a:lnTo>
                    <a:pt x="10" y="246"/>
                  </a:lnTo>
                  <a:lnTo>
                    <a:pt x="15" y="231"/>
                  </a:lnTo>
                  <a:lnTo>
                    <a:pt x="26" y="200"/>
                  </a:lnTo>
                  <a:lnTo>
                    <a:pt x="39" y="172"/>
                  </a:lnTo>
                  <a:lnTo>
                    <a:pt x="57" y="145"/>
                  </a:lnTo>
                  <a:lnTo>
                    <a:pt x="75" y="119"/>
                  </a:lnTo>
                  <a:lnTo>
                    <a:pt x="96" y="95"/>
                  </a:lnTo>
                  <a:lnTo>
                    <a:pt x="120" y="75"/>
                  </a:lnTo>
                  <a:lnTo>
                    <a:pt x="145" y="56"/>
                  </a:lnTo>
                  <a:lnTo>
                    <a:pt x="172" y="39"/>
                  </a:lnTo>
                  <a:lnTo>
                    <a:pt x="200" y="25"/>
                  </a:lnTo>
                  <a:lnTo>
                    <a:pt x="231" y="15"/>
                  </a:lnTo>
                  <a:lnTo>
                    <a:pt x="246" y="9"/>
                  </a:lnTo>
                  <a:lnTo>
                    <a:pt x="262" y="7"/>
                  </a:lnTo>
                  <a:lnTo>
                    <a:pt x="278" y="4"/>
                  </a:lnTo>
                  <a:lnTo>
                    <a:pt x="295" y="1"/>
                  </a:lnTo>
                  <a:lnTo>
                    <a:pt x="312" y="0"/>
                  </a:lnTo>
                  <a:lnTo>
                    <a:pt x="328" y="0"/>
                  </a:lnTo>
                  <a:lnTo>
                    <a:pt x="328" y="0"/>
                  </a:lnTo>
                  <a:lnTo>
                    <a:pt x="346" y="0"/>
                  </a:lnTo>
                  <a:lnTo>
                    <a:pt x="362" y="1"/>
                  </a:lnTo>
                  <a:lnTo>
                    <a:pt x="379" y="4"/>
                  </a:lnTo>
                  <a:lnTo>
                    <a:pt x="395" y="7"/>
                  </a:lnTo>
                  <a:lnTo>
                    <a:pt x="411" y="9"/>
                  </a:lnTo>
                  <a:lnTo>
                    <a:pt x="426" y="15"/>
                  </a:lnTo>
                  <a:lnTo>
                    <a:pt x="457" y="25"/>
                  </a:lnTo>
                  <a:lnTo>
                    <a:pt x="485" y="39"/>
                  </a:lnTo>
                  <a:lnTo>
                    <a:pt x="512" y="56"/>
                  </a:lnTo>
                  <a:lnTo>
                    <a:pt x="538" y="75"/>
                  </a:lnTo>
                  <a:lnTo>
                    <a:pt x="561" y="95"/>
                  </a:lnTo>
                  <a:lnTo>
                    <a:pt x="582" y="119"/>
                  </a:lnTo>
                  <a:lnTo>
                    <a:pt x="601" y="145"/>
                  </a:lnTo>
                  <a:lnTo>
                    <a:pt x="618" y="172"/>
                  </a:lnTo>
                  <a:lnTo>
                    <a:pt x="632" y="200"/>
                  </a:lnTo>
                  <a:lnTo>
                    <a:pt x="643" y="231"/>
                  </a:lnTo>
                  <a:lnTo>
                    <a:pt x="648" y="246"/>
                  </a:lnTo>
                  <a:lnTo>
                    <a:pt x="651" y="262"/>
                  </a:lnTo>
                  <a:lnTo>
                    <a:pt x="653" y="278"/>
                  </a:lnTo>
                  <a:lnTo>
                    <a:pt x="656" y="294"/>
                  </a:lnTo>
                  <a:lnTo>
                    <a:pt x="657" y="312"/>
                  </a:lnTo>
                  <a:lnTo>
                    <a:pt x="657" y="328"/>
                  </a:lnTo>
                  <a:lnTo>
                    <a:pt x="657" y="328"/>
                  </a:lnTo>
                  <a:lnTo>
                    <a:pt x="657" y="345"/>
                  </a:lnTo>
                  <a:lnTo>
                    <a:pt x="656" y="361"/>
                  </a:lnTo>
                  <a:lnTo>
                    <a:pt x="653" y="379"/>
                  </a:lnTo>
                  <a:lnTo>
                    <a:pt x="651" y="395"/>
                  </a:lnTo>
                  <a:lnTo>
                    <a:pt x="648" y="411"/>
                  </a:lnTo>
                  <a:lnTo>
                    <a:pt x="643" y="426"/>
                  </a:lnTo>
                  <a:lnTo>
                    <a:pt x="632" y="457"/>
                  </a:lnTo>
                  <a:lnTo>
                    <a:pt x="618" y="485"/>
                  </a:lnTo>
                  <a:lnTo>
                    <a:pt x="601" y="512"/>
                  </a:lnTo>
                  <a:lnTo>
                    <a:pt x="582" y="537"/>
                  </a:lnTo>
                  <a:lnTo>
                    <a:pt x="561" y="560"/>
                  </a:lnTo>
                  <a:lnTo>
                    <a:pt x="538" y="582"/>
                  </a:lnTo>
                  <a:lnTo>
                    <a:pt x="512" y="601"/>
                  </a:lnTo>
                  <a:lnTo>
                    <a:pt x="485" y="618"/>
                  </a:lnTo>
                  <a:lnTo>
                    <a:pt x="457" y="632"/>
                  </a:lnTo>
                  <a:lnTo>
                    <a:pt x="426" y="642"/>
                  </a:lnTo>
                  <a:lnTo>
                    <a:pt x="411" y="646"/>
                  </a:lnTo>
                  <a:lnTo>
                    <a:pt x="395" y="650"/>
                  </a:lnTo>
                  <a:lnTo>
                    <a:pt x="379" y="653"/>
                  </a:lnTo>
                  <a:lnTo>
                    <a:pt x="362" y="656"/>
                  </a:lnTo>
                  <a:lnTo>
                    <a:pt x="346" y="657"/>
                  </a:lnTo>
                  <a:lnTo>
                    <a:pt x="328" y="657"/>
                  </a:lnTo>
                  <a:lnTo>
                    <a:pt x="328" y="657"/>
                  </a:lnTo>
                  <a:close/>
                  <a:moveTo>
                    <a:pt x="328" y="37"/>
                  </a:moveTo>
                  <a:lnTo>
                    <a:pt x="328" y="37"/>
                  </a:lnTo>
                  <a:lnTo>
                    <a:pt x="299" y="39"/>
                  </a:lnTo>
                  <a:lnTo>
                    <a:pt x="270" y="43"/>
                  </a:lnTo>
                  <a:lnTo>
                    <a:pt x="242" y="50"/>
                  </a:lnTo>
                  <a:lnTo>
                    <a:pt x="215" y="60"/>
                  </a:lnTo>
                  <a:lnTo>
                    <a:pt x="190" y="72"/>
                  </a:lnTo>
                  <a:lnTo>
                    <a:pt x="166" y="87"/>
                  </a:lnTo>
                  <a:lnTo>
                    <a:pt x="144" y="103"/>
                  </a:lnTo>
                  <a:lnTo>
                    <a:pt x="123" y="122"/>
                  </a:lnTo>
                  <a:lnTo>
                    <a:pt x="104" y="144"/>
                  </a:lnTo>
                  <a:lnTo>
                    <a:pt x="88" y="165"/>
                  </a:lnTo>
                  <a:lnTo>
                    <a:pt x="73" y="189"/>
                  </a:lnTo>
                  <a:lnTo>
                    <a:pt x="61" y="215"/>
                  </a:lnTo>
                  <a:lnTo>
                    <a:pt x="50" y="242"/>
                  </a:lnTo>
                  <a:lnTo>
                    <a:pt x="43" y="270"/>
                  </a:lnTo>
                  <a:lnTo>
                    <a:pt x="39" y="298"/>
                  </a:lnTo>
                  <a:lnTo>
                    <a:pt x="38" y="328"/>
                  </a:lnTo>
                  <a:lnTo>
                    <a:pt x="38" y="328"/>
                  </a:lnTo>
                  <a:lnTo>
                    <a:pt x="39" y="359"/>
                  </a:lnTo>
                  <a:lnTo>
                    <a:pt x="43" y="387"/>
                  </a:lnTo>
                  <a:lnTo>
                    <a:pt x="50" y="415"/>
                  </a:lnTo>
                  <a:lnTo>
                    <a:pt x="61" y="442"/>
                  </a:lnTo>
                  <a:lnTo>
                    <a:pt x="73" y="468"/>
                  </a:lnTo>
                  <a:lnTo>
                    <a:pt x="88" y="492"/>
                  </a:lnTo>
                  <a:lnTo>
                    <a:pt x="104" y="513"/>
                  </a:lnTo>
                  <a:lnTo>
                    <a:pt x="123" y="535"/>
                  </a:lnTo>
                  <a:lnTo>
                    <a:pt x="144" y="554"/>
                  </a:lnTo>
                  <a:lnTo>
                    <a:pt x="166" y="570"/>
                  </a:lnTo>
                  <a:lnTo>
                    <a:pt x="190" y="585"/>
                  </a:lnTo>
                  <a:lnTo>
                    <a:pt x="215" y="597"/>
                  </a:lnTo>
                  <a:lnTo>
                    <a:pt x="242" y="606"/>
                  </a:lnTo>
                  <a:lnTo>
                    <a:pt x="270" y="614"/>
                  </a:lnTo>
                  <a:lnTo>
                    <a:pt x="299" y="618"/>
                  </a:lnTo>
                  <a:lnTo>
                    <a:pt x="328" y="619"/>
                  </a:lnTo>
                  <a:lnTo>
                    <a:pt x="328" y="619"/>
                  </a:lnTo>
                  <a:lnTo>
                    <a:pt x="359" y="618"/>
                  </a:lnTo>
                  <a:lnTo>
                    <a:pt x="387" y="614"/>
                  </a:lnTo>
                  <a:lnTo>
                    <a:pt x="415" y="606"/>
                  </a:lnTo>
                  <a:lnTo>
                    <a:pt x="442" y="597"/>
                  </a:lnTo>
                  <a:lnTo>
                    <a:pt x="468" y="585"/>
                  </a:lnTo>
                  <a:lnTo>
                    <a:pt x="492" y="570"/>
                  </a:lnTo>
                  <a:lnTo>
                    <a:pt x="514" y="554"/>
                  </a:lnTo>
                  <a:lnTo>
                    <a:pt x="535" y="535"/>
                  </a:lnTo>
                  <a:lnTo>
                    <a:pt x="554" y="513"/>
                  </a:lnTo>
                  <a:lnTo>
                    <a:pt x="570" y="492"/>
                  </a:lnTo>
                  <a:lnTo>
                    <a:pt x="585" y="468"/>
                  </a:lnTo>
                  <a:lnTo>
                    <a:pt x="597" y="442"/>
                  </a:lnTo>
                  <a:lnTo>
                    <a:pt x="606" y="415"/>
                  </a:lnTo>
                  <a:lnTo>
                    <a:pt x="614" y="387"/>
                  </a:lnTo>
                  <a:lnTo>
                    <a:pt x="618" y="359"/>
                  </a:lnTo>
                  <a:lnTo>
                    <a:pt x="620" y="328"/>
                  </a:lnTo>
                  <a:lnTo>
                    <a:pt x="620" y="328"/>
                  </a:lnTo>
                  <a:lnTo>
                    <a:pt x="618" y="298"/>
                  </a:lnTo>
                  <a:lnTo>
                    <a:pt x="614" y="270"/>
                  </a:lnTo>
                  <a:lnTo>
                    <a:pt x="606" y="242"/>
                  </a:lnTo>
                  <a:lnTo>
                    <a:pt x="597" y="215"/>
                  </a:lnTo>
                  <a:lnTo>
                    <a:pt x="585" y="189"/>
                  </a:lnTo>
                  <a:lnTo>
                    <a:pt x="570" y="165"/>
                  </a:lnTo>
                  <a:lnTo>
                    <a:pt x="554" y="144"/>
                  </a:lnTo>
                  <a:lnTo>
                    <a:pt x="535" y="122"/>
                  </a:lnTo>
                  <a:lnTo>
                    <a:pt x="514" y="103"/>
                  </a:lnTo>
                  <a:lnTo>
                    <a:pt x="492" y="87"/>
                  </a:lnTo>
                  <a:lnTo>
                    <a:pt x="468" y="72"/>
                  </a:lnTo>
                  <a:lnTo>
                    <a:pt x="442" y="60"/>
                  </a:lnTo>
                  <a:lnTo>
                    <a:pt x="415" y="50"/>
                  </a:lnTo>
                  <a:lnTo>
                    <a:pt x="387" y="43"/>
                  </a:lnTo>
                  <a:lnTo>
                    <a:pt x="359" y="39"/>
                  </a:lnTo>
                  <a:lnTo>
                    <a:pt x="328" y="37"/>
                  </a:lnTo>
                  <a:lnTo>
                    <a:pt x="328" y="3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88" name="Freeform 216">
              <a:extLst>
                <a:ext uri="{FF2B5EF4-FFF2-40B4-BE49-F238E27FC236}">
                  <a16:creationId xmlns:a16="http://schemas.microsoft.com/office/drawing/2014/main" id="{020D5847-7597-4055-9C4F-AD1F69CBA42D}"/>
                </a:ext>
              </a:extLst>
            </p:cNvPr>
            <p:cNvSpPr>
              <a:spLocks noEditPoints="1"/>
            </p:cNvSpPr>
            <p:nvPr/>
          </p:nvSpPr>
          <p:spPr bwMode="auto">
            <a:xfrm>
              <a:off x="6831013" y="4294823"/>
              <a:ext cx="296863" cy="298450"/>
            </a:xfrm>
            <a:custGeom>
              <a:avLst/>
              <a:gdLst>
                <a:gd name="T0" fmla="*/ 321 w 374"/>
                <a:gd name="T1" fmla="*/ 151 h 375"/>
                <a:gd name="T2" fmla="*/ 336 w 374"/>
                <a:gd name="T3" fmla="*/ 81 h 375"/>
                <a:gd name="T4" fmla="*/ 336 w 374"/>
                <a:gd name="T5" fmla="*/ 73 h 375"/>
                <a:gd name="T6" fmla="*/ 298 w 374"/>
                <a:gd name="T7" fmla="*/ 36 h 375"/>
                <a:gd name="T8" fmla="*/ 255 w 374"/>
                <a:gd name="T9" fmla="*/ 67 h 375"/>
                <a:gd name="T10" fmla="*/ 216 w 374"/>
                <a:gd name="T11" fmla="*/ 5 h 375"/>
                <a:gd name="T12" fmla="*/ 211 w 374"/>
                <a:gd name="T13" fmla="*/ 0 h 375"/>
                <a:gd name="T14" fmla="*/ 159 w 374"/>
                <a:gd name="T15" fmla="*/ 1 h 375"/>
                <a:gd name="T16" fmla="*/ 151 w 374"/>
                <a:gd name="T17" fmla="*/ 54 h 375"/>
                <a:gd name="T18" fmla="*/ 79 w 374"/>
                <a:gd name="T19" fmla="*/ 38 h 375"/>
                <a:gd name="T20" fmla="*/ 71 w 374"/>
                <a:gd name="T21" fmla="*/ 38 h 375"/>
                <a:gd name="T22" fmla="*/ 35 w 374"/>
                <a:gd name="T23" fmla="*/ 77 h 375"/>
                <a:gd name="T24" fmla="*/ 66 w 374"/>
                <a:gd name="T25" fmla="*/ 118 h 375"/>
                <a:gd name="T26" fmla="*/ 5 w 374"/>
                <a:gd name="T27" fmla="*/ 157 h 375"/>
                <a:gd name="T28" fmla="*/ 0 w 374"/>
                <a:gd name="T29" fmla="*/ 163 h 375"/>
                <a:gd name="T30" fmla="*/ 1 w 374"/>
                <a:gd name="T31" fmla="*/ 215 h 375"/>
                <a:gd name="T32" fmla="*/ 52 w 374"/>
                <a:gd name="T33" fmla="*/ 224 h 375"/>
                <a:gd name="T34" fmla="*/ 36 w 374"/>
                <a:gd name="T35" fmla="*/ 294 h 375"/>
                <a:gd name="T36" fmla="*/ 38 w 374"/>
                <a:gd name="T37" fmla="*/ 302 h 375"/>
                <a:gd name="T38" fmla="*/ 74 w 374"/>
                <a:gd name="T39" fmla="*/ 339 h 375"/>
                <a:gd name="T40" fmla="*/ 79 w 374"/>
                <a:gd name="T41" fmla="*/ 337 h 375"/>
                <a:gd name="T42" fmla="*/ 133 w 374"/>
                <a:gd name="T43" fmla="*/ 316 h 375"/>
                <a:gd name="T44" fmla="*/ 156 w 374"/>
                <a:gd name="T45" fmla="*/ 370 h 375"/>
                <a:gd name="T46" fmla="*/ 211 w 374"/>
                <a:gd name="T47" fmla="*/ 375 h 375"/>
                <a:gd name="T48" fmla="*/ 216 w 374"/>
                <a:gd name="T49" fmla="*/ 370 h 375"/>
                <a:gd name="T50" fmla="*/ 239 w 374"/>
                <a:gd name="T51" fmla="*/ 316 h 375"/>
                <a:gd name="T52" fmla="*/ 294 w 374"/>
                <a:gd name="T53" fmla="*/ 337 h 375"/>
                <a:gd name="T54" fmla="*/ 300 w 374"/>
                <a:gd name="T55" fmla="*/ 339 h 375"/>
                <a:gd name="T56" fmla="*/ 336 w 374"/>
                <a:gd name="T57" fmla="*/ 302 h 375"/>
                <a:gd name="T58" fmla="*/ 308 w 374"/>
                <a:gd name="T59" fmla="*/ 257 h 375"/>
                <a:gd name="T60" fmla="*/ 321 w 374"/>
                <a:gd name="T61" fmla="*/ 224 h 375"/>
                <a:gd name="T62" fmla="*/ 372 w 374"/>
                <a:gd name="T63" fmla="*/ 215 h 375"/>
                <a:gd name="T64" fmla="*/ 374 w 374"/>
                <a:gd name="T65" fmla="*/ 163 h 375"/>
                <a:gd name="T66" fmla="*/ 368 w 374"/>
                <a:gd name="T67" fmla="*/ 157 h 375"/>
                <a:gd name="T68" fmla="*/ 179 w 374"/>
                <a:gd name="T69" fmla="*/ 266 h 375"/>
                <a:gd name="T70" fmla="*/ 142 w 374"/>
                <a:gd name="T71" fmla="*/ 254 h 375"/>
                <a:gd name="T72" fmla="*/ 113 w 374"/>
                <a:gd name="T73" fmla="*/ 219 h 375"/>
                <a:gd name="T74" fmla="*/ 108 w 374"/>
                <a:gd name="T75" fmla="*/ 187 h 375"/>
                <a:gd name="T76" fmla="*/ 109 w 374"/>
                <a:gd name="T77" fmla="*/ 171 h 375"/>
                <a:gd name="T78" fmla="*/ 130 w 374"/>
                <a:gd name="T79" fmla="*/ 132 h 375"/>
                <a:gd name="T80" fmla="*/ 171 w 374"/>
                <a:gd name="T81" fmla="*/ 109 h 375"/>
                <a:gd name="T82" fmla="*/ 187 w 374"/>
                <a:gd name="T83" fmla="*/ 108 h 375"/>
                <a:gd name="T84" fmla="*/ 218 w 374"/>
                <a:gd name="T85" fmla="*/ 114 h 375"/>
                <a:gd name="T86" fmla="*/ 253 w 374"/>
                <a:gd name="T87" fmla="*/ 142 h 375"/>
                <a:gd name="T88" fmla="*/ 266 w 374"/>
                <a:gd name="T89" fmla="*/ 179 h 375"/>
                <a:gd name="T90" fmla="*/ 266 w 374"/>
                <a:gd name="T91" fmla="*/ 196 h 375"/>
                <a:gd name="T92" fmla="*/ 253 w 374"/>
                <a:gd name="T93" fmla="*/ 233 h 375"/>
                <a:gd name="T94" fmla="*/ 218 w 374"/>
                <a:gd name="T95" fmla="*/ 261 h 375"/>
                <a:gd name="T96" fmla="*/ 187 w 374"/>
                <a:gd name="T97" fmla="*/ 267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74" h="375">
                  <a:moveTo>
                    <a:pt x="368" y="157"/>
                  </a:moveTo>
                  <a:lnTo>
                    <a:pt x="321" y="151"/>
                  </a:lnTo>
                  <a:lnTo>
                    <a:pt x="321" y="151"/>
                  </a:lnTo>
                  <a:lnTo>
                    <a:pt x="314" y="134"/>
                  </a:lnTo>
                  <a:lnTo>
                    <a:pt x="308" y="118"/>
                  </a:lnTo>
                  <a:lnTo>
                    <a:pt x="336" y="81"/>
                  </a:lnTo>
                  <a:lnTo>
                    <a:pt x="336" y="81"/>
                  </a:lnTo>
                  <a:lnTo>
                    <a:pt x="337" y="77"/>
                  </a:lnTo>
                  <a:lnTo>
                    <a:pt x="336" y="73"/>
                  </a:lnTo>
                  <a:lnTo>
                    <a:pt x="302" y="38"/>
                  </a:lnTo>
                  <a:lnTo>
                    <a:pt x="302" y="38"/>
                  </a:lnTo>
                  <a:lnTo>
                    <a:pt x="298" y="36"/>
                  </a:lnTo>
                  <a:lnTo>
                    <a:pt x="294" y="38"/>
                  </a:lnTo>
                  <a:lnTo>
                    <a:pt x="255" y="67"/>
                  </a:lnTo>
                  <a:lnTo>
                    <a:pt x="255" y="67"/>
                  </a:lnTo>
                  <a:lnTo>
                    <a:pt x="239" y="59"/>
                  </a:lnTo>
                  <a:lnTo>
                    <a:pt x="223" y="54"/>
                  </a:lnTo>
                  <a:lnTo>
                    <a:pt x="216" y="5"/>
                  </a:lnTo>
                  <a:lnTo>
                    <a:pt x="216" y="5"/>
                  </a:lnTo>
                  <a:lnTo>
                    <a:pt x="215" y="1"/>
                  </a:lnTo>
                  <a:lnTo>
                    <a:pt x="211" y="0"/>
                  </a:lnTo>
                  <a:lnTo>
                    <a:pt x="163" y="0"/>
                  </a:lnTo>
                  <a:lnTo>
                    <a:pt x="163" y="0"/>
                  </a:lnTo>
                  <a:lnTo>
                    <a:pt x="159" y="1"/>
                  </a:lnTo>
                  <a:lnTo>
                    <a:pt x="156" y="5"/>
                  </a:lnTo>
                  <a:lnTo>
                    <a:pt x="151" y="54"/>
                  </a:lnTo>
                  <a:lnTo>
                    <a:pt x="151" y="54"/>
                  </a:lnTo>
                  <a:lnTo>
                    <a:pt x="133" y="59"/>
                  </a:lnTo>
                  <a:lnTo>
                    <a:pt x="118" y="67"/>
                  </a:lnTo>
                  <a:lnTo>
                    <a:pt x="79" y="38"/>
                  </a:lnTo>
                  <a:lnTo>
                    <a:pt x="79" y="38"/>
                  </a:lnTo>
                  <a:lnTo>
                    <a:pt x="75" y="36"/>
                  </a:lnTo>
                  <a:lnTo>
                    <a:pt x="71" y="38"/>
                  </a:lnTo>
                  <a:lnTo>
                    <a:pt x="38" y="73"/>
                  </a:lnTo>
                  <a:lnTo>
                    <a:pt x="38" y="73"/>
                  </a:lnTo>
                  <a:lnTo>
                    <a:pt x="35" y="77"/>
                  </a:lnTo>
                  <a:lnTo>
                    <a:pt x="36" y="81"/>
                  </a:lnTo>
                  <a:lnTo>
                    <a:pt x="66" y="118"/>
                  </a:lnTo>
                  <a:lnTo>
                    <a:pt x="66" y="118"/>
                  </a:lnTo>
                  <a:lnTo>
                    <a:pt x="58" y="134"/>
                  </a:lnTo>
                  <a:lnTo>
                    <a:pt x="52" y="151"/>
                  </a:lnTo>
                  <a:lnTo>
                    <a:pt x="5" y="157"/>
                  </a:lnTo>
                  <a:lnTo>
                    <a:pt x="5" y="157"/>
                  </a:lnTo>
                  <a:lnTo>
                    <a:pt x="1" y="160"/>
                  </a:lnTo>
                  <a:lnTo>
                    <a:pt x="0" y="163"/>
                  </a:lnTo>
                  <a:lnTo>
                    <a:pt x="0" y="211"/>
                  </a:lnTo>
                  <a:lnTo>
                    <a:pt x="0" y="211"/>
                  </a:lnTo>
                  <a:lnTo>
                    <a:pt x="1" y="215"/>
                  </a:lnTo>
                  <a:lnTo>
                    <a:pt x="5" y="218"/>
                  </a:lnTo>
                  <a:lnTo>
                    <a:pt x="52" y="224"/>
                  </a:lnTo>
                  <a:lnTo>
                    <a:pt x="52" y="224"/>
                  </a:lnTo>
                  <a:lnTo>
                    <a:pt x="58" y="241"/>
                  </a:lnTo>
                  <a:lnTo>
                    <a:pt x="66" y="257"/>
                  </a:lnTo>
                  <a:lnTo>
                    <a:pt x="36" y="294"/>
                  </a:lnTo>
                  <a:lnTo>
                    <a:pt x="36" y="294"/>
                  </a:lnTo>
                  <a:lnTo>
                    <a:pt x="35" y="298"/>
                  </a:lnTo>
                  <a:lnTo>
                    <a:pt x="38" y="302"/>
                  </a:lnTo>
                  <a:lnTo>
                    <a:pt x="71" y="337"/>
                  </a:lnTo>
                  <a:lnTo>
                    <a:pt x="71" y="337"/>
                  </a:lnTo>
                  <a:lnTo>
                    <a:pt x="74" y="339"/>
                  </a:lnTo>
                  <a:lnTo>
                    <a:pt x="75" y="339"/>
                  </a:lnTo>
                  <a:lnTo>
                    <a:pt x="75" y="339"/>
                  </a:lnTo>
                  <a:lnTo>
                    <a:pt x="79" y="337"/>
                  </a:lnTo>
                  <a:lnTo>
                    <a:pt x="118" y="308"/>
                  </a:lnTo>
                  <a:lnTo>
                    <a:pt x="118" y="308"/>
                  </a:lnTo>
                  <a:lnTo>
                    <a:pt x="133" y="316"/>
                  </a:lnTo>
                  <a:lnTo>
                    <a:pt x="151" y="321"/>
                  </a:lnTo>
                  <a:lnTo>
                    <a:pt x="156" y="370"/>
                  </a:lnTo>
                  <a:lnTo>
                    <a:pt x="156" y="370"/>
                  </a:lnTo>
                  <a:lnTo>
                    <a:pt x="159" y="374"/>
                  </a:lnTo>
                  <a:lnTo>
                    <a:pt x="163" y="375"/>
                  </a:lnTo>
                  <a:lnTo>
                    <a:pt x="211" y="375"/>
                  </a:lnTo>
                  <a:lnTo>
                    <a:pt x="211" y="375"/>
                  </a:lnTo>
                  <a:lnTo>
                    <a:pt x="215" y="374"/>
                  </a:lnTo>
                  <a:lnTo>
                    <a:pt x="216" y="370"/>
                  </a:lnTo>
                  <a:lnTo>
                    <a:pt x="223" y="321"/>
                  </a:lnTo>
                  <a:lnTo>
                    <a:pt x="223" y="321"/>
                  </a:lnTo>
                  <a:lnTo>
                    <a:pt x="239" y="316"/>
                  </a:lnTo>
                  <a:lnTo>
                    <a:pt x="255" y="308"/>
                  </a:lnTo>
                  <a:lnTo>
                    <a:pt x="294" y="337"/>
                  </a:lnTo>
                  <a:lnTo>
                    <a:pt x="294" y="337"/>
                  </a:lnTo>
                  <a:lnTo>
                    <a:pt x="297" y="339"/>
                  </a:lnTo>
                  <a:lnTo>
                    <a:pt x="297" y="339"/>
                  </a:lnTo>
                  <a:lnTo>
                    <a:pt x="300" y="339"/>
                  </a:lnTo>
                  <a:lnTo>
                    <a:pt x="302" y="337"/>
                  </a:lnTo>
                  <a:lnTo>
                    <a:pt x="336" y="302"/>
                  </a:lnTo>
                  <a:lnTo>
                    <a:pt x="336" y="302"/>
                  </a:lnTo>
                  <a:lnTo>
                    <a:pt x="337" y="298"/>
                  </a:lnTo>
                  <a:lnTo>
                    <a:pt x="336" y="294"/>
                  </a:lnTo>
                  <a:lnTo>
                    <a:pt x="308" y="257"/>
                  </a:lnTo>
                  <a:lnTo>
                    <a:pt x="308" y="257"/>
                  </a:lnTo>
                  <a:lnTo>
                    <a:pt x="314" y="241"/>
                  </a:lnTo>
                  <a:lnTo>
                    <a:pt x="321" y="224"/>
                  </a:lnTo>
                  <a:lnTo>
                    <a:pt x="368" y="218"/>
                  </a:lnTo>
                  <a:lnTo>
                    <a:pt x="368" y="218"/>
                  </a:lnTo>
                  <a:lnTo>
                    <a:pt x="372" y="215"/>
                  </a:lnTo>
                  <a:lnTo>
                    <a:pt x="374" y="211"/>
                  </a:lnTo>
                  <a:lnTo>
                    <a:pt x="374" y="163"/>
                  </a:lnTo>
                  <a:lnTo>
                    <a:pt x="374" y="163"/>
                  </a:lnTo>
                  <a:lnTo>
                    <a:pt x="372" y="160"/>
                  </a:lnTo>
                  <a:lnTo>
                    <a:pt x="368" y="157"/>
                  </a:lnTo>
                  <a:lnTo>
                    <a:pt x="368" y="157"/>
                  </a:lnTo>
                  <a:close/>
                  <a:moveTo>
                    <a:pt x="187" y="267"/>
                  </a:moveTo>
                  <a:lnTo>
                    <a:pt x="187" y="267"/>
                  </a:lnTo>
                  <a:lnTo>
                    <a:pt x="179" y="266"/>
                  </a:lnTo>
                  <a:lnTo>
                    <a:pt x="171" y="266"/>
                  </a:lnTo>
                  <a:lnTo>
                    <a:pt x="156" y="261"/>
                  </a:lnTo>
                  <a:lnTo>
                    <a:pt x="142" y="254"/>
                  </a:lnTo>
                  <a:lnTo>
                    <a:pt x="130" y="243"/>
                  </a:lnTo>
                  <a:lnTo>
                    <a:pt x="121" y="233"/>
                  </a:lnTo>
                  <a:lnTo>
                    <a:pt x="113" y="219"/>
                  </a:lnTo>
                  <a:lnTo>
                    <a:pt x="109" y="203"/>
                  </a:lnTo>
                  <a:lnTo>
                    <a:pt x="108" y="196"/>
                  </a:lnTo>
                  <a:lnTo>
                    <a:pt x="108" y="187"/>
                  </a:lnTo>
                  <a:lnTo>
                    <a:pt x="108" y="187"/>
                  </a:lnTo>
                  <a:lnTo>
                    <a:pt x="108" y="179"/>
                  </a:lnTo>
                  <a:lnTo>
                    <a:pt x="109" y="171"/>
                  </a:lnTo>
                  <a:lnTo>
                    <a:pt x="113" y="156"/>
                  </a:lnTo>
                  <a:lnTo>
                    <a:pt x="121" y="142"/>
                  </a:lnTo>
                  <a:lnTo>
                    <a:pt x="130" y="132"/>
                  </a:lnTo>
                  <a:lnTo>
                    <a:pt x="142" y="121"/>
                  </a:lnTo>
                  <a:lnTo>
                    <a:pt x="156" y="114"/>
                  </a:lnTo>
                  <a:lnTo>
                    <a:pt x="171" y="109"/>
                  </a:lnTo>
                  <a:lnTo>
                    <a:pt x="179" y="108"/>
                  </a:lnTo>
                  <a:lnTo>
                    <a:pt x="187" y="108"/>
                  </a:lnTo>
                  <a:lnTo>
                    <a:pt x="187" y="108"/>
                  </a:lnTo>
                  <a:lnTo>
                    <a:pt x="195" y="108"/>
                  </a:lnTo>
                  <a:lnTo>
                    <a:pt x="203" y="109"/>
                  </a:lnTo>
                  <a:lnTo>
                    <a:pt x="218" y="114"/>
                  </a:lnTo>
                  <a:lnTo>
                    <a:pt x="231" y="121"/>
                  </a:lnTo>
                  <a:lnTo>
                    <a:pt x="243" y="132"/>
                  </a:lnTo>
                  <a:lnTo>
                    <a:pt x="253" y="142"/>
                  </a:lnTo>
                  <a:lnTo>
                    <a:pt x="259" y="156"/>
                  </a:lnTo>
                  <a:lnTo>
                    <a:pt x="265" y="171"/>
                  </a:lnTo>
                  <a:lnTo>
                    <a:pt x="266" y="179"/>
                  </a:lnTo>
                  <a:lnTo>
                    <a:pt x="266" y="187"/>
                  </a:lnTo>
                  <a:lnTo>
                    <a:pt x="266" y="187"/>
                  </a:lnTo>
                  <a:lnTo>
                    <a:pt x="266" y="196"/>
                  </a:lnTo>
                  <a:lnTo>
                    <a:pt x="265" y="203"/>
                  </a:lnTo>
                  <a:lnTo>
                    <a:pt x="259" y="219"/>
                  </a:lnTo>
                  <a:lnTo>
                    <a:pt x="253" y="233"/>
                  </a:lnTo>
                  <a:lnTo>
                    <a:pt x="243" y="243"/>
                  </a:lnTo>
                  <a:lnTo>
                    <a:pt x="231" y="254"/>
                  </a:lnTo>
                  <a:lnTo>
                    <a:pt x="218" y="261"/>
                  </a:lnTo>
                  <a:lnTo>
                    <a:pt x="203" y="266"/>
                  </a:lnTo>
                  <a:lnTo>
                    <a:pt x="195" y="266"/>
                  </a:lnTo>
                  <a:lnTo>
                    <a:pt x="187" y="267"/>
                  </a:lnTo>
                  <a:lnTo>
                    <a:pt x="187" y="2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89" name="Group 188">
            <a:extLst>
              <a:ext uri="{FF2B5EF4-FFF2-40B4-BE49-F238E27FC236}">
                <a16:creationId xmlns:a16="http://schemas.microsoft.com/office/drawing/2014/main" id="{14EF0763-B7B7-4D5A-B25E-81B9FB9D2125}"/>
              </a:ext>
            </a:extLst>
          </p:cNvPr>
          <p:cNvGrpSpPr>
            <a:grpSpLocks noChangeAspect="1"/>
          </p:cNvGrpSpPr>
          <p:nvPr/>
        </p:nvGrpSpPr>
        <p:grpSpPr>
          <a:xfrm>
            <a:off x="8807556" y="4909105"/>
            <a:ext cx="320040" cy="320040"/>
            <a:chOff x="6711951" y="5853113"/>
            <a:chExt cx="522288" cy="522288"/>
          </a:xfrm>
        </p:grpSpPr>
        <p:sp>
          <p:nvSpPr>
            <p:cNvPr id="190" name="Freeform 90">
              <a:extLst>
                <a:ext uri="{FF2B5EF4-FFF2-40B4-BE49-F238E27FC236}">
                  <a16:creationId xmlns:a16="http://schemas.microsoft.com/office/drawing/2014/main" id="{0E8AA17F-9031-440D-BC02-127F0CB387D5}"/>
                </a:ext>
              </a:extLst>
            </p:cNvPr>
            <p:cNvSpPr>
              <a:spLocks noEditPoints="1"/>
            </p:cNvSpPr>
            <p:nvPr/>
          </p:nvSpPr>
          <p:spPr bwMode="auto">
            <a:xfrm>
              <a:off x="6711951" y="5853113"/>
              <a:ext cx="522288" cy="522288"/>
            </a:xfrm>
            <a:custGeom>
              <a:avLst/>
              <a:gdLst>
                <a:gd name="T0" fmla="*/ 313 w 658"/>
                <a:gd name="T1" fmla="*/ 657 h 657"/>
                <a:gd name="T2" fmla="*/ 263 w 658"/>
                <a:gd name="T3" fmla="*/ 651 h 657"/>
                <a:gd name="T4" fmla="*/ 202 w 658"/>
                <a:gd name="T5" fmla="*/ 632 h 657"/>
                <a:gd name="T6" fmla="*/ 121 w 658"/>
                <a:gd name="T7" fmla="*/ 582 h 657"/>
                <a:gd name="T8" fmla="*/ 56 w 658"/>
                <a:gd name="T9" fmla="*/ 512 h 657"/>
                <a:gd name="T10" fmla="*/ 15 w 658"/>
                <a:gd name="T11" fmla="*/ 426 h 657"/>
                <a:gd name="T12" fmla="*/ 4 w 658"/>
                <a:gd name="T13" fmla="*/ 379 h 657"/>
                <a:gd name="T14" fmla="*/ 0 w 658"/>
                <a:gd name="T15" fmla="*/ 330 h 657"/>
                <a:gd name="T16" fmla="*/ 3 w 658"/>
                <a:gd name="T17" fmla="*/ 296 h 657"/>
                <a:gd name="T18" fmla="*/ 11 w 658"/>
                <a:gd name="T19" fmla="*/ 246 h 657"/>
                <a:gd name="T20" fmla="*/ 40 w 658"/>
                <a:gd name="T21" fmla="*/ 172 h 657"/>
                <a:gd name="T22" fmla="*/ 97 w 658"/>
                <a:gd name="T23" fmla="*/ 97 h 657"/>
                <a:gd name="T24" fmla="*/ 173 w 658"/>
                <a:gd name="T25" fmla="*/ 39 h 657"/>
                <a:gd name="T26" fmla="*/ 247 w 658"/>
                <a:gd name="T27" fmla="*/ 11 h 657"/>
                <a:gd name="T28" fmla="*/ 296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3 w 658"/>
                <a:gd name="T41" fmla="*/ 201 h 657"/>
                <a:gd name="T42" fmla="*/ 651 w 658"/>
                <a:gd name="T43" fmla="*/ 262 h 657"/>
                <a:gd name="T44" fmla="*/ 658 w 658"/>
                <a:gd name="T45" fmla="*/ 312 h 657"/>
                <a:gd name="T46" fmla="*/ 658 w 658"/>
                <a:gd name="T47" fmla="*/ 346 h 657"/>
                <a:gd name="T48" fmla="*/ 651 w 658"/>
                <a:gd name="T49" fmla="*/ 395 h 657"/>
                <a:gd name="T50" fmla="*/ 633 w 658"/>
                <a:gd name="T51" fmla="*/ 457 h 657"/>
                <a:gd name="T52" fmla="*/ 583 w 658"/>
                <a:gd name="T53" fmla="*/ 538 h 657"/>
                <a:gd name="T54" fmla="*/ 513 w 658"/>
                <a:gd name="T55" fmla="*/ 601 h 657"/>
                <a:gd name="T56" fmla="*/ 427 w 658"/>
                <a:gd name="T57" fmla="*/ 643 h 657"/>
                <a:gd name="T58" fmla="*/ 379 w 658"/>
                <a:gd name="T59" fmla="*/ 655 h 657"/>
                <a:gd name="T60" fmla="*/ 329 w 658"/>
                <a:gd name="T61" fmla="*/ 657 h 657"/>
                <a:gd name="T62" fmla="*/ 329 w 658"/>
                <a:gd name="T63" fmla="*/ 38 h 657"/>
                <a:gd name="T64" fmla="*/ 243 w 658"/>
                <a:gd name="T65" fmla="*/ 52 h 657"/>
                <a:gd name="T66" fmla="*/ 167 w 658"/>
                <a:gd name="T67" fmla="*/ 88 h 657"/>
                <a:gd name="T68" fmla="*/ 105 w 658"/>
                <a:gd name="T69" fmla="*/ 144 h 657"/>
                <a:gd name="T70" fmla="*/ 62 w 658"/>
                <a:gd name="T71" fmla="*/ 215 h 657"/>
                <a:gd name="T72" fmla="*/ 40 w 658"/>
                <a:gd name="T73" fmla="*/ 299 h 657"/>
                <a:gd name="T74" fmla="*/ 40 w 658"/>
                <a:gd name="T75" fmla="*/ 359 h 657"/>
                <a:gd name="T76" fmla="*/ 62 w 658"/>
                <a:gd name="T77" fmla="*/ 442 h 657"/>
                <a:gd name="T78" fmla="*/ 105 w 658"/>
                <a:gd name="T79" fmla="*/ 514 h 657"/>
                <a:gd name="T80" fmla="*/ 167 w 658"/>
                <a:gd name="T81" fmla="*/ 570 h 657"/>
                <a:gd name="T82" fmla="*/ 243 w 658"/>
                <a:gd name="T83" fmla="*/ 608 h 657"/>
                <a:gd name="T84" fmla="*/ 329 w 658"/>
                <a:gd name="T85" fmla="*/ 620 h 657"/>
                <a:gd name="T86" fmla="*/ 388 w 658"/>
                <a:gd name="T87" fmla="*/ 614 h 657"/>
                <a:gd name="T88" fmla="*/ 467 w 658"/>
                <a:gd name="T89" fmla="*/ 585 h 657"/>
                <a:gd name="T90" fmla="*/ 535 w 658"/>
                <a:gd name="T91" fmla="*/ 535 h 657"/>
                <a:gd name="T92" fmla="*/ 586 w 658"/>
                <a:gd name="T93" fmla="*/ 468 h 657"/>
                <a:gd name="T94" fmla="*/ 615 w 658"/>
                <a:gd name="T95" fmla="*/ 387 h 657"/>
                <a:gd name="T96" fmla="*/ 621 w 658"/>
                <a:gd name="T97" fmla="*/ 330 h 657"/>
                <a:gd name="T98" fmla="*/ 607 w 658"/>
                <a:gd name="T99" fmla="*/ 242 h 657"/>
                <a:gd name="T100" fmla="*/ 571 w 658"/>
                <a:gd name="T101" fmla="*/ 166 h 657"/>
                <a:gd name="T102" fmla="*/ 514 w 658"/>
                <a:gd name="T103" fmla="*/ 104 h 657"/>
                <a:gd name="T104" fmla="*/ 443 w 658"/>
                <a:gd name="T105" fmla="*/ 61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6"/>
                  </a:lnTo>
                  <a:lnTo>
                    <a:pt x="279" y="655"/>
                  </a:lnTo>
                  <a:lnTo>
                    <a:pt x="263" y="651"/>
                  </a:lnTo>
                  <a:lnTo>
                    <a:pt x="247" y="648"/>
                  </a:lnTo>
                  <a:lnTo>
                    <a:pt x="232" y="643"/>
                  </a:lnTo>
                  <a:lnTo>
                    <a:pt x="202" y="632"/>
                  </a:lnTo>
                  <a:lnTo>
                    <a:pt x="173" y="618"/>
                  </a:lnTo>
                  <a:lnTo>
                    <a:pt x="145" y="601"/>
                  </a:lnTo>
                  <a:lnTo>
                    <a:pt x="121" y="582"/>
                  </a:lnTo>
                  <a:lnTo>
                    <a:pt x="97" y="562"/>
                  </a:lnTo>
                  <a:lnTo>
                    <a:pt x="75" y="538"/>
                  </a:lnTo>
                  <a:lnTo>
                    <a:pt x="56" y="512"/>
                  </a:lnTo>
                  <a:lnTo>
                    <a:pt x="40" y="485"/>
                  </a:lnTo>
                  <a:lnTo>
                    <a:pt x="27" y="457"/>
                  </a:lnTo>
                  <a:lnTo>
                    <a:pt x="15" y="426"/>
                  </a:lnTo>
                  <a:lnTo>
                    <a:pt x="11" y="411"/>
                  </a:lnTo>
                  <a:lnTo>
                    <a:pt x="7" y="395"/>
                  </a:lnTo>
                  <a:lnTo>
                    <a:pt x="4" y="379"/>
                  </a:lnTo>
                  <a:lnTo>
                    <a:pt x="3" y="363"/>
                  </a:lnTo>
                  <a:lnTo>
                    <a:pt x="1" y="346"/>
                  </a:lnTo>
                  <a:lnTo>
                    <a:pt x="0" y="330"/>
                  </a:lnTo>
                  <a:lnTo>
                    <a:pt x="0" y="330"/>
                  </a:lnTo>
                  <a:lnTo>
                    <a:pt x="1" y="312"/>
                  </a:lnTo>
                  <a:lnTo>
                    <a:pt x="3" y="296"/>
                  </a:lnTo>
                  <a:lnTo>
                    <a:pt x="4" y="279"/>
                  </a:lnTo>
                  <a:lnTo>
                    <a:pt x="7" y="262"/>
                  </a:lnTo>
                  <a:lnTo>
                    <a:pt x="11" y="246"/>
                  </a:lnTo>
                  <a:lnTo>
                    <a:pt x="15" y="231"/>
                  </a:lnTo>
                  <a:lnTo>
                    <a:pt x="27" y="201"/>
                  </a:lnTo>
                  <a:lnTo>
                    <a:pt x="40" y="172"/>
                  </a:lnTo>
                  <a:lnTo>
                    <a:pt x="56" y="146"/>
                  </a:lnTo>
                  <a:lnTo>
                    <a:pt x="75" y="120"/>
                  </a:lnTo>
                  <a:lnTo>
                    <a:pt x="97" y="97"/>
                  </a:lnTo>
                  <a:lnTo>
                    <a:pt x="121" y="76"/>
                  </a:lnTo>
                  <a:lnTo>
                    <a:pt x="145" y="57"/>
                  </a:lnTo>
                  <a:lnTo>
                    <a:pt x="173" y="39"/>
                  </a:lnTo>
                  <a:lnTo>
                    <a:pt x="202" y="26"/>
                  </a:lnTo>
                  <a:lnTo>
                    <a:pt x="232" y="15"/>
                  </a:lnTo>
                  <a:lnTo>
                    <a:pt x="247" y="11"/>
                  </a:lnTo>
                  <a:lnTo>
                    <a:pt x="263" y="7"/>
                  </a:lnTo>
                  <a:lnTo>
                    <a:pt x="279" y="4"/>
                  </a:lnTo>
                  <a:lnTo>
                    <a:pt x="296" y="2"/>
                  </a:lnTo>
                  <a:lnTo>
                    <a:pt x="313" y="0"/>
                  </a:lnTo>
                  <a:lnTo>
                    <a:pt x="329" y="0"/>
                  </a:lnTo>
                  <a:lnTo>
                    <a:pt x="329" y="0"/>
                  </a:lnTo>
                  <a:lnTo>
                    <a:pt x="347" y="0"/>
                  </a:lnTo>
                  <a:lnTo>
                    <a:pt x="363" y="2"/>
                  </a:lnTo>
                  <a:lnTo>
                    <a:pt x="379" y="4"/>
                  </a:lnTo>
                  <a:lnTo>
                    <a:pt x="396" y="7"/>
                  </a:lnTo>
                  <a:lnTo>
                    <a:pt x="411" y="11"/>
                  </a:lnTo>
                  <a:lnTo>
                    <a:pt x="427" y="15"/>
                  </a:lnTo>
                  <a:lnTo>
                    <a:pt x="457" y="26"/>
                  </a:lnTo>
                  <a:lnTo>
                    <a:pt x="486" y="39"/>
                  </a:lnTo>
                  <a:lnTo>
                    <a:pt x="513" y="57"/>
                  </a:lnTo>
                  <a:lnTo>
                    <a:pt x="539" y="76"/>
                  </a:lnTo>
                  <a:lnTo>
                    <a:pt x="561" y="97"/>
                  </a:lnTo>
                  <a:lnTo>
                    <a:pt x="583" y="120"/>
                  </a:lnTo>
                  <a:lnTo>
                    <a:pt x="602" y="146"/>
                  </a:lnTo>
                  <a:lnTo>
                    <a:pt x="618" y="172"/>
                  </a:lnTo>
                  <a:lnTo>
                    <a:pt x="633" y="201"/>
                  </a:lnTo>
                  <a:lnTo>
                    <a:pt x="643" y="231"/>
                  </a:lnTo>
                  <a:lnTo>
                    <a:pt x="647" y="246"/>
                  </a:lnTo>
                  <a:lnTo>
                    <a:pt x="651" y="262"/>
                  </a:lnTo>
                  <a:lnTo>
                    <a:pt x="654" y="279"/>
                  </a:lnTo>
                  <a:lnTo>
                    <a:pt x="657" y="296"/>
                  </a:lnTo>
                  <a:lnTo>
                    <a:pt x="658" y="312"/>
                  </a:lnTo>
                  <a:lnTo>
                    <a:pt x="658" y="330"/>
                  </a:lnTo>
                  <a:lnTo>
                    <a:pt x="658" y="330"/>
                  </a:lnTo>
                  <a:lnTo>
                    <a:pt x="658" y="346"/>
                  </a:lnTo>
                  <a:lnTo>
                    <a:pt x="657" y="363"/>
                  </a:lnTo>
                  <a:lnTo>
                    <a:pt x="654" y="379"/>
                  </a:lnTo>
                  <a:lnTo>
                    <a:pt x="651" y="395"/>
                  </a:lnTo>
                  <a:lnTo>
                    <a:pt x="647" y="411"/>
                  </a:lnTo>
                  <a:lnTo>
                    <a:pt x="643" y="426"/>
                  </a:lnTo>
                  <a:lnTo>
                    <a:pt x="633" y="457"/>
                  </a:lnTo>
                  <a:lnTo>
                    <a:pt x="618" y="485"/>
                  </a:lnTo>
                  <a:lnTo>
                    <a:pt x="602" y="512"/>
                  </a:lnTo>
                  <a:lnTo>
                    <a:pt x="583" y="538"/>
                  </a:lnTo>
                  <a:lnTo>
                    <a:pt x="561" y="562"/>
                  </a:lnTo>
                  <a:lnTo>
                    <a:pt x="539" y="582"/>
                  </a:lnTo>
                  <a:lnTo>
                    <a:pt x="513" y="601"/>
                  </a:lnTo>
                  <a:lnTo>
                    <a:pt x="486" y="618"/>
                  </a:lnTo>
                  <a:lnTo>
                    <a:pt x="457" y="632"/>
                  </a:lnTo>
                  <a:lnTo>
                    <a:pt x="427" y="643"/>
                  </a:lnTo>
                  <a:lnTo>
                    <a:pt x="411" y="648"/>
                  </a:lnTo>
                  <a:lnTo>
                    <a:pt x="396" y="651"/>
                  </a:lnTo>
                  <a:lnTo>
                    <a:pt x="379" y="655"/>
                  </a:lnTo>
                  <a:lnTo>
                    <a:pt x="363" y="656"/>
                  </a:lnTo>
                  <a:lnTo>
                    <a:pt x="347" y="657"/>
                  </a:lnTo>
                  <a:lnTo>
                    <a:pt x="329" y="657"/>
                  </a:lnTo>
                  <a:lnTo>
                    <a:pt x="329" y="657"/>
                  </a:lnTo>
                  <a:close/>
                  <a:moveTo>
                    <a:pt x="329" y="38"/>
                  </a:moveTo>
                  <a:lnTo>
                    <a:pt x="329" y="38"/>
                  </a:lnTo>
                  <a:lnTo>
                    <a:pt x="300" y="39"/>
                  </a:lnTo>
                  <a:lnTo>
                    <a:pt x="271" y="43"/>
                  </a:lnTo>
                  <a:lnTo>
                    <a:pt x="243" y="52"/>
                  </a:lnTo>
                  <a:lnTo>
                    <a:pt x="216" y="61"/>
                  </a:lnTo>
                  <a:lnTo>
                    <a:pt x="191" y="73"/>
                  </a:lnTo>
                  <a:lnTo>
                    <a:pt x="167" y="88"/>
                  </a:lnTo>
                  <a:lnTo>
                    <a:pt x="144" y="104"/>
                  </a:lnTo>
                  <a:lnTo>
                    <a:pt x="124" y="123"/>
                  </a:lnTo>
                  <a:lnTo>
                    <a:pt x="105" y="144"/>
                  </a:lnTo>
                  <a:lnTo>
                    <a:pt x="89" y="166"/>
                  </a:lnTo>
                  <a:lnTo>
                    <a:pt x="74" y="190"/>
                  </a:lnTo>
                  <a:lnTo>
                    <a:pt x="62" y="215"/>
                  </a:lnTo>
                  <a:lnTo>
                    <a:pt x="51" y="242"/>
                  </a:lnTo>
                  <a:lnTo>
                    <a:pt x="44" y="270"/>
                  </a:lnTo>
                  <a:lnTo>
                    <a:pt x="40" y="299"/>
                  </a:lnTo>
                  <a:lnTo>
                    <a:pt x="38" y="330"/>
                  </a:lnTo>
                  <a:lnTo>
                    <a:pt x="38" y="330"/>
                  </a:lnTo>
                  <a:lnTo>
                    <a:pt x="40" y="359"/>
                  </a:lnTo>
                  <a:lnTo>
                    <a:pt x="44" y="387"/>
                  </a:lnTo>
                  <a:lnTo>
                    <a:pt x="51" y="416"/>
                  </a:lnTo>
                  <a:lnTo>
                    <a:pt x="62" y="442"/>
                  </a:lnTo>
                  <a:lnTo>
                    <a:pt x="74" y="468"/>
                  </a:lnTo>
                  <a:lnTo>
                    <a:pt x="89" y="492"/>
                  </a:lnTo>
                  <a:lnTo>
                    <a:pt x="105" y="514"/>
                  </a:lnTo>
                  <a:lnTo>
                    <a:pt x="124" y="535"/>
                  </a:lnTo>
                  <a:lnTo>
                    <a:pt x="144" y="554"/>
                  </a:lnTo>
                  <a:lnTo>
                    <a:pt x="167" y="570"/>
                  </a:lnTo>
                  <a:lnTo>
                    <a:pt x="191" y="585"/>
                  </a:lnTo>
                  <a:lnTo>
                    <a:pt x="216" y="597"/>
                  </a:lnTo>
                  <a:lnTo>
                    <a:pt x="243" y="608"/>
                  </a:lnTo>
                  <a:lnTo>
                    <a:pt x="271" y="614"/>
                  </a:lnTo>
                  <a:lnTo>
                    <a:pt x="300" y="618"/>
                  </a:lnTo>
                  <a:lnTo>
                    <a:pt x="329" y="620"/>
                  </a:lnTo>
                  <a:lnTo>
                    <a:pt x="329" y="620"/>
                  </a:lnTo>
                  <a:lnTo>
                    <a:pt x="359" y="618"/>
                  </a:lnTo>
                  <a:lnTo>
                    <a:pt x="388" y="614"/>
                  </a:lnTo>
                  <a:lnTo>
                    <a:pt x="416" y="608"/>
                  </a:lnTo>
                  <a:lnTo>
                    <a:pt x="443" y="597"/>
                  </a:lnTo>
                  <a:lnTo>
                    <a:pt x="467" y="585"/>
                  </a:lnTo>
                  <a:lnTo>
                    <a:pt x="492" y="570"/>
                  </a:lnTo>
                  <a:lnTo>
                    <a:pt x="514" y="554"/>
                  </a:lnTo>
                  <a:lnTo>
                    <a:pt x="535" y="535"/>
                  </a:lnTo>
                  <a:lnTo>
                    <a:pt x="553" y="514"/>
                  </a:lnTo>
                  <a:lnTo>
                    <a:pt x="571" y="492"/>
                  </a:lnTo>
                  <a:lnTo>
                    <a:pt x="586" y="468"/>
                  </a:lnTo>
                  <a:lnTo>
                    <a:pt x="598" y="442"/>
                  </a:lnTo>
                  <a:lnTo>
                    <a:pt x="607" y="416"/>
                  </a:lnTo>
                  <a:lnTo>
                    <a:pt x="615" y="387"/>
                  </a:lnTo>
                  <a:lnTo>
                    <a:pt x="619" y="359"/>
                  </a:lnTo>
                  <a:lnTo>
                    <a:pt x="621" y="330"/>
                  </a:lnTo>
                  <a:lnTo>
                    <a:pt x="621" y="330"/>
                  </a:lnTo>
                  <a:lnTo>
                    <a:pt x="619" y="299"/>
                  </a:lnTo>
                  <a:lnTo>
                    <a:pt x="615" y="270"/>
                  </a:lnTo>
                  <a:lnTo>
                    <a:pt x="607" y="242"/>
                  </a:lnTo>
                  <a:lnTo>
                    <a:pt x="598" y="215"/>
                  </a:lnTo>
                  <a:lnTo>
                    <a:pt x="586" y="190"/>
                  </a:lnTo>
                  <a:lnTo>
                    <a:pt x="571" y="166"/>
                  </a:lnTo>
                  <a:lnTo>
                    <a:pt x="553" y="144"/>
                  </a:lnTo>
                  <a:lnTo>
                    <a:pt x="535" y="123"/>
                  </a:lnTo>
                  <a:lnTo>
                    <a:pt x="514" y="104"/>
                  </a:lnTo>
                  <a:lnTo>
                    <a:pt x="492" y="88"/>
                  </a:lnTo>
                  <a:lnTo>
                    <a:pt x="467" y="73"/>
                  </a:lnTo>
                  <a:lnTo>
                    <a:pt x="443" y="61"/>
                  </a:lnTo>
                  <a:lnTo>
                    <a:pt x="416" y="52"/>
                  </a:lnTo>
                  <a:lnTo>
                    <a:pt x="388" y="43"/>
                  </a:lnTo>
                  <a:lnTo>
                    <a:pt x="359" y="39"/>
                  </a:lnTo>
                  <a:lnTo>
                    <a:pt x="329" y="38"/>
                  </a:lnTo>
                  <a:lnTo>
                    <a:pt x="329" y="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91" name="Freeform 331">
              <a:extLst>
                <a:ext uri="{FF2B5EF4-FFF2-40B4-BE49-F238E27FC236}">
                  <a16:creationId xmlns:a16="http://schemas.microsoft.com/office/drawing/2014/main" id="{5B0B63D2-7636-4AF4-BCFD-D6C5B6175593}"/>
                </a:ext>
              </a:extLst>
            </p:cNvPr>
            <p:cNvSpPr>
              <a:spLocks noEditPoints="1"/>
            </p:cNvSpPr>
            <p:nvPr/>
          </p:nvSpPr>
          <p:spPr bwMode="auto">
            <a:xfrm>
              <a:off x="6821488" y="6011863"/>
              <a:ext cx="301625" cy="204788"/>
            </a:xfrm>
            <a:custGeom>
              <a:avLst/>
              <a:gdLst>
                <a:gd name="T0" fmla="*/ 342 w 380"/>
                <a:gd name="T1" fmla="*/ 67 h 256"/>
                <a:gd name="T2" fmla="*/ 341 w 380"/>
                <a:gd name="T3" fmla="*/ 63 h 256"/>
                <a:gd name="T4" fmla="*/ 232 w 380"/>
                <a:gd name="T5" fmla="*/ 60 h 256"/>
                <a:gd name="T6" fmla="*/ 232 w 380"/>
                <a:gd name="T7" fmla="*/ 2 h 256"/>
                <a:gd name="T8" fmla="*/ 227 w 380"/>
                <a:gd name="T9" fmla="*/ 0 h 256"/>
                <a:gd name="T10" fmla="*/ 4 w 380"/>
                <a:gd name="T11" fmla="*/ 0 h 256"/>
                <a:gd name="T12" fmla="*/ 0 w 380"/>
                <a:gd name="T13" fmla="*/ 5 h 256"/>
                <a:gd name="T14" fmla="*/ 0 w 380"/>
                <a:gd name="T15" fmla="*/ 216 h 256"/>
                <a:gd name="T16" fmla="*/ 5 w 380"/>
                <a:gd name="T17" fmla="*/ 220 h 256"/>
                <a:gd name="T18" fmla="*/ 63 w 380"/>
                <a:gd name="T19" fmla="*/ 228 h 256"/>
                <a:gd name="T20" fmla="*/ 76 w 380"/>
                <a:gd name="T21" fmla="*/ 247 h 256"/>
                <a:gd name="T22" fmla="*/ 96 w 380"/>
                <a:gd name="T23" fmla="*/ 256 h 256"/>
                <a:gd name="T24" fmla="*/ 111 w 380"/>
                <a:gd name="T25" fmla="*/ 256 h 256"/>
                <a:gd name="T26" fmla="*/ 131 w 380"/>
                <a:gd name="T27" fmla="*/ 247 h 256"/>
                <a:gd name="T28" fmla="*/ 143 w 380"/>
                <a:gd name="T29" fmla="*/ 228 h 256"/>
                <a:gd name="T30" fmla="*/ 256 w 380"/>
                <a:gd name="T31" fmla="*/ 220 h 256"/>
                <a:gd name="T32" fmla="*/ 260 w 380"/>
                <a:gd name="T33" fmla="*/ 235 h 256"/>
                <a:gd name="T34" fmla="*/ 274 w 380"/>
                <a:gd name="T35" fmla="*/ 251 h 256"/>
                <a:gd name="T36" fmla="*/ 294 w 380"/>
                <a:gd name="T37" fmla="*/ 256 h 256"/>
                <a:gd name="T38" fmla="*/ 307 w 380"/>
                <a:gd name="T39" fmla="*/ 253 h 256"/>
                <a:gd name="T40" fmla="*/ 323 w 380"/>
                <a:gd name="T41" fmla="*/ 240 h 256"/>
                <a:gd name="T42" fmla="*/ 330 w 380"/>
                <a:gd name="T43" fmla="*/ 220 h 256"/>
                <a:gd name="T44" fmla="*/ 376 w 380"/>
                <a:gd name="T45" fmla="*/ 220 h 256"/>
                <a:gd name="T46" fmla="*/ 380 w 380"/>
                <a:gd name="T47" fmla="*/ 213 h 256"/>
                <a:gd name="T48" fmla="*/ 379 w 380"/>
                <a:gd name="T49" fmla="*/ 137 h 256"/>
                <a:gd name="T50" fmla="*/ 103 w 380"/>
                <a:gd name="T51" fmla="*/ 244 h 256"/>
                <a:gd name="T52" fmla="*/ 91 w 380"/>
                <a:gd name="T53" fmla="*/ 241 h 256"/>
                <a:gd name="T54" fmla="*/ 78 w 380"/>
                <a:gd name="T55" fmla="*/ 231 h 256"/>
                <a:gd name="T56" fmla="*/ 74 w 380"/>
                <a:gd name="T57" fmla="*/ 213 h 256"/>
                <a:gd name="T58" fmla="*/ 75 w 380"/>
                <a:gd name="T59" fmla="*/ 201 h 256"/>
                <a:gd name="T60" fmla="*/ 87 w 380"/>
                <a:gd name="T61" fmla="*/ 188 h 256"/>
                <a:gd name="T62" fmla="*/ 103 w 380"/>
                <a:gd name="T63" fmla="*/ 184 h 256"/>
                <a:gd name="T64" fmla="*/ 115 w 380"/>
                <a:gd name="T65" fmla="*/ 185 h 256"/>
                <a:gd name="T66" fmla="*/ 129 w 380"/>
                <a:gd name="T67" fmla="*/ 197 h 256"/>
                <a:gd name="T68" fmla="*/ 134 w 380"/>
                <a:gd name="T69" fmla="*/ 213 h 256"/>
                <a:gd name="T70" fmla="*/ 131 w 380"/>
                <a:gd name="T71" fmla="*/ 225 h 256"/>
                <a:gd name="T72" fmla="*/ 121 w 380"/>
                <a:gd name="T73" fmla="*/ 239 h 256"/>
                <a:gd name="T74" fmla="*/ 103 w 380"/>
                <a:gd name="T75" fmla="*/ 244 h 256"/>
                <a:gd name="T76" fmla="*/ 294 w 380"/>
                <a:gd name="T77" fmla="*/ 244 h 256"/>
                <a:gd name="T78" fmla="*/ 280 w 380"/>
                <a:gd name="T79" fmla="*/ 240 h 256"/>
                <a:gd name="T80" fmla="*/ 271 w 380"/>
                <a:gd name="T81" fmla="*/ 229 h 256"/>
                <a:gd name="T82" fmla="*/ 270 w 380"/>
                <a:gd name="T83" fmla="*/ 220 h 256"/>
                <a:gd name="T84" fmla="*/ 274 w 380"/>
                <a:gd name="T85" fmla="*/ 206 h 256"/>
                <a:gd name="T86" fmla="*/ 284 w 380"/>
                <a:gd name="T87" fmla="*/ 197 h 256"/>
                <a:gd name="T88" fmla="*/ 294 w 380"/>
                <a:gd name="T89" fmla="*/ 196 h 256"/>
                <a:gd name="T90" fmla="*/ 307 w 380"/>
                <a:gd name="T91" fmla="*/ 200 h 256"/>
                <a:gd name="T92" fmla="*/ 317 w 380"/>
                <a:gd name="T93" fmla="*/ 210 h 256"/>
                <a:gd name="T94" fmla="*/ 318 w 380"/>
                <a:gd name="T95" fmla="*/ 220 h 256"/>
                <a:gd name="T96" fmla="*/ 314 w 380"/>
                <a:gd name="T97" fmla="*/ 233 h 256"/>
                <a:gd name="T98" fmla="*/ 303 w 380"/>
                <a:gd name="T99" fmla="*/ 243 h 256"/>
                <a:gd name="T100" fmla="*/ 294 w 380"/>
                <a:gd name="T101" fmla="*/ 244 h 256"/>
                <a:gd name="T102" fmla="*/ 327 w 380"/>
                <a:gd name="T103" fmla="*/ 208 h 256"/>
                <a:gd name="T104" fmla="*/ 319 w 380"/>
                <a:gd name="T105" fmla="*/ 194 h 256"/>
                <a:gd name="T106" fmla="*/ 305 w 380"/>
                <a:gd name="T107" fmla="*/ 185 h 256"/>
                <a:gd name="T108" fmla="*/ 294 w 380"/>
                <a:gd name="T109" fmla="*/ 184 h 256"/>
                <a:gd name="T110" fmla="*/ 276 w 380"/>
                <a:gd name="T111" fmla="*/ 188 h 256"/>
                <a:gd name="T112" fmla="*/ 264 w 380"/>
                <a:gd name="T113" fmla="*/ 198 h 256"/>
                <a:gd name="T114" fmla="*/ 232 w 380"/>
                <a:gd name="T115" fmla="*/ 208 h 256"/>
                <a:gd name="T116" fmla="*/ 330 w 380"/>
                <a:gd name="T117" fmla="*/ 129 h 256"/>
                <a:gd name="T118" fmla="*/ 334 w 380"/>
                <a:gd name="T119" fmla="*/ 13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0" h="256">
                  <a:moveTo>
                    <a:pt x="374" y="135"/>
                  </a:moveTo>
                  <a:lnTo>
                    <a:pt x="342" y="123"/>
                  </a:lnTo>
                  <a:lnTo>
                    <a:pt x="342" y="67"/>
                  </a:lnTo>
                  <a:lnTo>
                    <a:pt x="342" y="67"/>
                  </a:lnTo>
                  <a:lnTo>
                    <a:pt x="342" y="64"/>
                  </a:lnTo>
                  <a:lnTo>
                    <a:pt x="341" y="63"/>
                  </a:lnTo>
                  <a:lnTo>
                    <a:pt x="340" y="61"/>
                  </a:lnTo>
                  <a:lnTo>
                    <a:pt x="337" y="60"/>
                  </a:lnTo>
                  <a:lnTo>
                    <a:pt x="232" y="60"/>
                  </a:lnTo>
                  <a:lnTo>
                    <a:pt x="232" y="5"/>
                  </a:lnTo>
                  <a:lnTo>
                    <a:pt x="232" y="5"/>
                  </a:lnTo>
                  <a:lnTo>
                    <a:pt x="232" y="2"/>
                  </a:lnTo>
                  <a:lnTo>
                    <a:pt x="231" y="1"/>
                  </a:lnTo>
                  <a:lnTo>
                    <a:pt x="228" y="0"/>
                  </a:lnTo>
                  <a:lnTo>
                    <a:pt x="227" y="0"/>
                  </a:lnTo>
                  <a:lnTo>
                    <a:pt x="5" y="0"/>
                  </a:lnTo>
                  <a:lnTo>
                    <a:pt x="5" y="0"/>
                  </a:lnTo>
                  <a:lnTo>
                    <a:pt x="4" y="0"/>
                  </a:lnTo>
                  <a:lnTo>
                    <a:pt x="1" y="1"/>
                  </a:lnTo>
                  <a:lnTo>
                    <a:pt x="0" y="2"/>
                  </a:lnTo>
                  <a:lnTo>
                    <a:pt x="0" y="5"/>
                  </a:lnTo>
                  <a:lnTo>
                    <a:pt x="0" y="213"/>
                  </a:lnTo>
                  <a:lnTo>
                    <a:pt x="0" y="213"/>
                  </a:lnTo>
                  <a:lnTo>
                    <a:pt x="0" y="216"/>
                  </a:lnTo>
                  <a:lnTo>
                    <a:pt x="1" y="219"/>
                  </a:lnTo>
                  <a:lnTo>
                    <a:pt x="4" y="220"/>
                  </a:lnTo>
                  <a:lnTo>
                    <a:pt x="5" y="220"/>
                  </a:lnTo>
                  <a:lnTo>
                    <a:pt x="62" y="220"/>
                  </a:lnTo>
                  <a:lnTo>
                    <a:pt x="62" y="220"/>
                  </a:lnTo>
                  <a:lnTo>
                    <a:pt x="63" y="228"/>
                  </a:lnTo>
                  <a:lnTo>
                    <a:pt x="67" y="235"/>
                  </a:lnTo>
                  <a:lnTo>
                    <a:pt x="71" y="240"/>
                  </a:lnTo>
                  <a:lnTo>
                    <a:pt x="76" y="247"/>
                  </a:lnTo>
                  <a:lnTo>
                    <a:pt x="82" y="251"/>
                  </a:lnTo>
                  <a:lnTo>
                    <a:pt x="88" y="253"/>
                  </a:lnTo>
                  <a:lnTo>
                    <a:pt x="96" y="256"/>
                  </a:lnTo>
                  <a:lnTo>
                    <a:pt x="103" y="256"/>
                  </a:lnTo>
                  <a:lnTo>
                    <a:pt x="103" y="256"/>
                  </a:lnTo>
                  <a:lnTo>
                    <a:pt x="111" y="256"/>
                  </a:lnTo>
                  <a:lnTo>
                    <a:pt x="119" y="253"/>
                  </a:lnTo>
                  <a:lnTo>
                    <a:pt x="126" y="251"/>
                  </a:lnTo>
                  <a:lnTo>
                    <a:pt x="131" y="247"/>
                  </a:lnTo>
                  <a:lnTo>
                    <a:pt x="137" y="240"/>
                  </a:lnTo>
                  <a:lnTo>
                    <a:pt x="141" y="235"/>
                  </a:lnTo>
                  <a:lnTo>
                    <a:pt x="143" y="228"/>
                  </a:lnTo>
                  <a:lnTo>
                    <a:pt x="146" y="220"/>
                  </a:lnTo>
                  <a:lnTo>
                    <a:pt x="227" y="220"/>
                  </a:lnTo>
                  <a:lnTo>
                    <a:pt x="256" y="220"/>
                  </a:lnTo>
                  <a:lnTo>
                    <a:pt x="256" y="220"/>
                  </a:lnTo>
                  <a:lnTo>
                    <a:pt x="258" y="228"/>
                  </a:lnTo>
                  <a:lnTo>
                    <a:pt x="260" y="235"/>
                  </a:lnTo>
                  <a:lnTo>
                    <a:pt x="263" y="240"/>
                  </a:lnTo>
                  <a:lnTo>
                    <a:pt x="267" y="245"/>
                  </a:lnTo>
                  <a:lnTo>
                    <a:pt x="274" y="251"/>
                  </a:lnTo>
                  <a:lnTo>
                    <a:pt x="279" y="253"/>
                  </a:lnTo>
                  <a:lnTo>
                    <a:pt x="286" y="256"/>
                  </a:lnTo>
                  <a:lnTo>
                    <a:pt x="294" y="256"/>
                  </a:lnTo>
                  <a:lnTo>
                    <a:pt x="294" y="256"/>
                  </a:lnTo>
                  <a:lnTo>
                    <a:pt x="301" y="256"/>
                  </a:lnTo>
                  <a:lnTo>
                    <a:pt x="307" y="253"/>
                  </a:lnTo>
                  <a:lnTo>
                    <a:pt x="314" y="251"/>
                  </a:lnTo>
                  <a:lnTo>
                    <a:pt x="319" y="245"/>
                  </a:lnTo>
                  <a:lnTo>
                    <a:pt x="323" y="240"/>
                  </a:lnTo>
                  <a:lnTo>
                    <a:pt x="327" y="235"/>
                  </a:lnTo>
                  <a:lnTo>
                    <a:pt x="330" y="228"/>
                  </a:lnTo>
                  <a:lnTo>
                    <a:pt x="330" y="220"/>
                  </a:lnTo>
                  <a:lnTo>
                    <a:pt x="373" y="220"/>
                  </a:lnTo>
                  <a:lnTo>
                    <a:pt x="373" y="220"/>
                  </a:lnTo>
                  <a:lnTo>
                    <a:pt x="376" y="220"/>
                  </a:lnTo>
                  <a:lnTo>
                    <a:pt x="377" y="219"/>
                  </a:lnTo>
                  <a:lnTo>
                    <a:pt x="379" y="216"/>
                  </a:lnTo>
                  <a:lnTo>
                    <a:pt x="380" y="213"/>
                  </a:lnTo>
                  <a:lnTo>
                    <a:pt x="380" y="141"/>
                  </a:lnTo>
                  <a:lnTo>
                    <a:pt x="380" y="141"/>
                  </a:lnTo>
                  <a:lnTo>
                    <a:pt x="379" y="137"/>
                  </a:lnTo>
                  <a:lnTo>
                    <a:pt x="374" y="135"/>
                  </a:lnTo>
                  <a:lnTo>
                    <a:pt x="374" y="135"/>
                  </a:lnTo>
                  <a:close/>
                  <a:moveTo>
                    <a:pt x="103" y="244"/>
                  </a:moveTo>
                  <a:lnTo>
                    <a:pt x="103" y="244"/>
                  </a:lnTo>
                  <a:lnTo>
                    <a:pt x="98" y="244"/>
                  </a:lnTo>
                  <a:lnTo>
                    <a:pt x="91" y="241"/>
                  </a:lnTo>
                  <a:lnTo>
                    <a:pt x="87" y="239"/>
                  </a:lnTo>
                  <a:lnTo>
                    <a:pt x="82" y="236"/>
                  </a:lnTo>
                  <a:lnTo>
                    <a:pt x="78" y="231"/>
                  </a:lnTo>
                  <a:lnTo>
                    <a:pt x="75" y="225"/>
                  </a:lnTo>
                  <a:lnTo>
                    <a:pt x="74" y="220"/>
                  </a:lnTo>
                  <a:lnTo>
                    <a:pt x="74" y="213"/>
                  </a:lnTo>
                  <a:lnTo>
                    <a:pt x="74" y="213"/>
                  </a:lnTo>
                  <a:lnTo>
                    <a:pt x="74" y="208"/>
                  </a:lnTo>
                  <a:lnTo>
                    <a:pt x="75" y="201"/>
                  </a:lnTo>
                  <a:lnTo>
                    <a:pt x="78" y="197"/>
                  </a:lnTo>
                  <a:lnTo>
                    <a:pt x="82" y="192"/>
                  </a:lnTo>
                  <a:lnTo>
                    <a:pt x="87" y="188"/>
                  </a:lnTo>
                  <a:lnTo>
                    <a:pt x="91" y="185"/>
                  </a:lnTo>
                  <a:lnTo>
                    <a:pt x="98" y="184"/>
                  </a:lnTo>
                  <a:lnTo>
                    <a:pt x="103" y="184"/>
                  </a:lnTo>
                  <a:lnTo>
                    <a:pt x="103" y="184"/>
                  </a:lnTo>
                  <a:lnTo>
                    <a:pt x="110" y="184"/>
                  </a:lnTo>
                  <a:lnTo>
                    <a:pt x="115" y="185"/>
                  </a:lnTo>
                  <a:lnTo>
                    <a:pt x="121" y="188"/>
                  </a:lnTo>
                  <a:lnTo>
                    <a:pt x="126" y="192"/>
                  </a:lnTo>
                  <a:lnTo>
                    <a:pt x="129" y="197"/>
                  </a:lnTo>
                  <a:lnTo>
                    <a:pt x="131" y="201"/>
                  </a:lnTo>
                  <a:lnTo>
                    <a:pt x="134" y="208"/>
                  </a:lnTo>
                  <a:lnTo>
                    <a:pt x="134" y="213"/>
                  </a:lnTo>
                  <a:lnTo>
                    <a:pt x="134" y="213"/>
                  </a:lnTo>
                  <a:lnTo>
                    <a:pt x="134" y="220"/>
                  </a:lnTo>
                  <a:lnTo>
                    <a:pt x="131" y="225"/>
                  </a:lnTo>
                  <a:lnTo>
                    <a:pt x="129" y="231"/>
                  </a:lnTo>
                  <a:lnTo>
                    <a:pt x="126" y="236"/>
                  </a:lnTo>
                  <a:lnTo>
                    <a:pt x="121" y="239"/>
                  </a:lnTo>
                  <a:lnTo>
                    <a:pt x="115" y="241"/>
                  </a:lnTo>
                  <a:lnTo>
                    <a:pt x="110" y="244"/>
                  </a:lnTo>
                  <a:lnTo>
                    <a:pt x="103" y="244"/>
                  </a:lnTo>
                  <a:lnTo>
                    <a:pt x="103" y="244"/>
                  </a:lnTo>
                  <a:close/>
                  <a:moveTo>
                    <a:pt x="294" y="244"/>
                  </a:moveTo>
                  <a:lnTo>
                    <a:pt x="294" y="244"/>
                  </a:lnTo>
                  <a:lnTo>
                    <a:pt x="289" y="244"/>
                  </a:lnTo>
                  <a:lnTo>
                    <a:pt x="284" y="243"/>
                  </a:lnTo>
                  <a:lnTo>
                    <a:pt x="280" y="240"/>
                  </a:lnTo>
                  <a:lnTo>
                    <a:pt x="276" y="237"/>
                  </a:lnTo>
                  <a:lnTo>
                    <a:pt x="274" y="233"/>
                  </a:lnTo>
                  <a:lnTo>
                    <a:pt x="271" y="229"/>
                  </a:lnTo>
                  <a:lnTo>
                    <a:pt x="270" y="225"/>
                  </a:lnTo>
                  <a:lnTo>
                    <a:pt x="270" y="220"/>
                  </a:lnTo>
                  <a:lnTo>
                    <a:pt x="270" y="220"/>
                  </a:lnTo>
                  <a:lnTo>
                    <a:pt x="270" y="215"/>
                  </a:lnTo>
                  <a:lnTo>
                    <a:pt x="271" y="210"/>
                  </a:lnTo>
                  <a:lnTo>
                    <a:pt x="274" y="206"/>
                  </a:lnTo>
                  <a:lnTo>
                    <a:pt x="276" y="202"/>
                  </a:lnTo>
                  <a:lnTo>
                    <a:pt x="280" y="200"/>
                  </a:lnTo>
                  <a:lnTo>
                    <a:pt x="284" y="197"/>
                  </a:lnTo>
                  <a:lnTo>
                    <a:pt x="289" y="196"/>
                  </a:lnTo>
                  <a:lnTo>
                    <a:pt x="294" y="196"/>
                  </a:lnTo>
                  <a:lnTo>
                    <a:pt x="294" y="196"/>
                  </a:lnTo>
                  <a:lnTo>
                    <a:pt x="298" y="196"/>
                  </a:lnTo>
                  <a:lnTo>
                    <a:pt x="303" y="197"/>
                  </a:lnTo>
                  <a:lnTo>
                    <a:pt x="307" y="200"/>
                  </a:lnTo>
                  <a:lnTo>
                    <a:pt x="311" y="202"/>
                  </a:lnTo>
                  <a:lnTo>
                    <a:pt x="314" y="206"/>
                  </a:lnTo>
                  <a:lnTo>
                    <a:pt x="317" y="210"/>
                  </a:lnTo>
                  <a:lnTo>
                    <a:pt x="318" y="215"/>
                  </a:lnTo>
                  <a:lnTo>
                    <a:pt x="318" y="220"/>
                  </a:lnTo>
                  <a:lnTo>
                    <a:pt x="318" y="220"/>
                  </a:lnTo>
                  <a:lnTo>
                    <a:pt x="318" y="225"/>
                  </a:lnTo>
                  <a:lnTo>
                    <a:pt x="317" y="229"/>
                  </a:lnTo>
                  <a:lnTo>
                    <a:pt x="314" y="233"/>
                  </a:lnTo>
                  <a:lnTo>
                    <a:pt x="311" y="237"/>
                  </a:lnTo>
                  <a:lnTo>
                    <a:pt x="307" y="240"/>
                  </a:lnTo>
                  <a:lnTo>
                    <a:pt x="303" y="243"/>
                  </a:lnTo>
                  <a:lnTo>
                    <a:pt x="298" y="244"/>
                  </a:lnTo>
                  <a:lnTo>
                    <a:pt x="294" y="244"/>
                  </a:lnTo>
                  <a:lnTo>
                    <a:pt x="294" y="244"/>
                  </a:lnTo>
                  <a:close/>
                  <a:moveTo>
                    <a:pt x="368" y="208"/>
                  </a:moveTo>
                  <a:lnTo>
                    <a:pt x="327" y="208"/>
                  </a:lnTo>
                  <a:lnTo>
                    <a:pt x="327" y="208"/>
                  </a:lnTo>
                  <a:lnTo>
                    <a:pt x="326" y="202"/>
                  </a:lnTo>
                  <a:lnTo>
                    <a:pt x="322" y="198"/>
                  </a:lnTo>
                  <a:lnTo>
                    <a:pt x="319" y="194"/>
                  </a:lnTo>
                  <a:lnTo>
                    <a:pt x="315" y="190"/>
                  </a:lnTo>
                  <a:lnTo>
                    <a:pt x="310" y="188"/>
                  </a:lnTo>
                  <a:lnTo>
                    <a:pt x="305" y="185"/>
                  </a:lnTo>
                  <a:lnTo>
                    <a:pt x="299" y="184"/>
                  </a:lnTo>
                  <a:lnTo>
                    <a:pt x="294" y="184"/>
                  </a:lnTo>
                  <a:lnTo>
                    <a:pt x="294" y="184"/>
                  </a:lnTo>
                  <a:lnTo>
                    <a:pt x="287" y="184"/>
                  </a:lnTo>
                  <a:lnTo>
                    <a:pt x="282" y="185"/>
                  </a:lnTo>
                  <a:lnTo>
                    <a:pt x="276" y="188"/>
                  </a:lnTo>
                  <a:lnTo>
                    <a:pt x="272" y="190"/>
                  </a:lnTo>
                  <a:lnTo>
                    <a:pt x="268" y="194"/>
                  </a:lnTo>
                  <a:lnTo>
                    <a:pt x="264" y="198"/>
                  </a:lnTo>
                  <a:lnTo>
                    <a:pt x="262" y="202"/>
                  </a:lnTo>
                  <a:lnTo>
                    <a:pt x="259" y="208"/>
                  </a:lnTo>
                  <a:lnTo>
                    <a:pt x="232" y="208"/>
                  </a:lnTo>
                  <a:lnTo>
                    <a:pt x="232" y="73"/>
                  </a:lnTo>
                  <a:lnTo>
                    <a:pt x="330" y="73"/>
                  </a:lnTo>
                  <a:lnTo>
                    <a:pt x="330" y="129"/>
                  </a:lnTo>
                  <a:lnTo>
                    <a:pt x="330" y="129"/>
                  </a:lnTo>
                  <a:lnTo>
                    <a:pt x="331" y="131"/>
                  </a:lnTo>
                  <a:lnTo>
                    <a:pt x="334" y="134"/>
                  </a:lnTo>
                  <a:lnTo>
                    <a:pt x="368" y="145"/>
                  </a:lnTo>
                  <a:lnTo>
                    <a:pt x="368" y="20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92" name="Freeform 332">
              <a:extLst>
                <a:ext uri="{FF2B5EF4-FFF2-40B4-BE49-F238E27FC236}">
                  <a16:creationId xmlns:a16="http://schemas.microsoft.com/office/drawing/2014/main" id="{21630043-A58F-420B-B87B-D0662C2F8852}"/>
                </a:ext>
              </a:extLst>
            </p:cNvPr>
            <p:cNvSpPr>
              <a:spLocks/>
            </p:cNvSpPr>
            <p:nvPr/>
          </p:nvSpPr>
          <p:spPr bwMode="auto">
            <a:xfrm>
              <a:off x="7035801" y="6089650"/>
              <a:ext cx="28575" cy="28575"/>
            </a:xfrm>
            <a:custGeom>
              <a:avLst/>
              <a:gdLst>
                <a:gd name="T0" fmla="*/ 29 w 36"/>
                <a:gd name="T1" fmla="*/ 24 h 36"/>
                <a:gd name="T2" fmla="*/ 12 w 36"/>
                <a:gd name="T3" fmla="*/ 24 h 36"/>
                <a:gd name="T4" fmla="*/ 12 w 36"/>
                <a:gd name="T5" fmla="*/ 5 h 36"/>
                <a:gd name="T6" fmla="*/ 12 w 36"/>
                <a:gd name="T7" fmla="*/ 5 h 36"/>
                <a:gd name="T8" fmla="*/ 10 w 36"/>
                <a:gd name="T9" fmla="*/ 2 h 36"/>
                <a:gd name="T10" fmla="*/ 9 w 36"/>
                <a:gd name="T11" fmla="*/ 1 h 36"/>
                <a:gd name="T12" fmla="*/ 8 w 36"/>
                <a:gd name="T13" fmla="*/ 0 h 36"/>
                <a:gd name="T14" fmla="*/ 5 w 36"/>
                <a:gd name="T15" fmla="*/ 0 h 36"/>
                <a:gd name="T16" fmla="*/ 5 w 36"/>
                <a:gd name="T17" fmla="*/ 0 h 36"/>
                <a:gd name="T18" fmla="*/ 2 w 36"/>
                <a:gd name="T19" fmla="*/ 0 h 36"/>
                <a:gd name="T20" fmla="*/ 1 w 36"/>
                <a:gd name="T21" fmla="*/ 1 h 36"/>
                <a:gd name="T22" fmla="*/ 0 w 36"/>
                <a:gd name="T23" fmla="*/ 2 h 36"/>
                <a:gd name="T24" fmla="*/ 0 w 36"/>
                <a:gd name="T25" fmla="*/ 5 h 36"/>
                <a:gd name="T26" fmla="*/ 0 w 36"/>
                <a:gd name="T27" fmla="*/ 31 h 36"/>
                <a:gd name="T28" fmla="*/ 0 w 36"/>
                <a:gd name="T29" fmla="*/ 31 h 36"/>
                <a:gd name="T30" fmla="*/ 0 w 36"/>
                <a:gd name="T31" fmla="*/ 32 h 36"/>
                <a:gd name="T32" fmla="*/ 1 w 36"/>
                <a:gd name="T33" fmla="*/ 35 h 36"/>
                <a:gd name="T34" fmla="*/ 2 w 36"/>
                <a:gd name="T35" fmla="*/ 36 h 36"/>
                <a:gd name="T36" fmla="*/ 5 w 36"/>
                <a:gd name="T37" fmla="*/ 36 h 36"/>
                <a:gd name="T38" fmla="*/ 29 w 36"/>
                <a:gd name="T39" fmla="*/ 36 h 36"/>
                <a:gd name="T40" fmla="*/ 29 w 36"/>
                <a:gd name="T41" fmla="*/ 36 h 36"/>
                <a:gd name="T42" fmla="*/ 32 w 36"/>
                <a:gd name="T43" fmla="*/ 36 h 36"/>
                <a:gd name="T44" fmla="*/ 35 w 36"/>
                <a:gd name="T45" fmla="*/ 35 h 36"/>
                <a:gd name="T46" fmla="*/ 36 w 36"/>
                <a:gd name="T47" fmla="*/ 32 h 36"/>
                <a:gd name="T48" fmla="*/ 36 w 36"/>
                <a:gd name="T49" fmla="*/ 31 h 36"/>
                <a:gd name="T50" fmla="*/ 36 w 36"/>
                <a:gd name="T51" fmla="*/ 31 h 36"/>
                <a:gd name="T52" fmla="*/ 36 w 36"/>
                <a:gd name="T53" fmla="*/ 28 h 36"/>
                <a:gd name="T54" fmla="*/ 35 w 36"/>
                <a:gd name="T55" fmla="*/ 25 h 36"/>
                <a:gd name="T56" fmla="*/ 32 w 36"/>
                <a:gd name="T57" fmla="*/ 24 h 36"/>
                <a:gd name="T58" fmla="*/ 29 w 36"/>
                <a:gd name="T59" fmla="*/ 24 h 36"/>
                <a:gd name="T60" fmla="*/ 29 w 36"/>
                <a:gd name="T61"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6" h="36">
                  <a:moveTo>
                    <a:pt x="29" y="24"/>
                  </a:moveTo>
                  <a:lnTo>
                    <a:pt x="12" y="24"/>
                  </a:lnTo>
                  <a:lnTo>
                    <a:pt x="12" y="5"/>
                  </a:lnTo>
                  <a:lnTo>
                    <a:pt x="12" y="5"/>
                  </a:lnTo>
                  <a:lnTo>
                    <a:pt x="10" y="2"/>
                  </a:lnTo>
                  <a:lnTo>
                    <a:pt x="9" y="1"/>
                  </a:lnTo>
                  <a:lnTo>
                    <a:pt x="8" y="0"/>
                  </a:lnTo>
                  <a:lnTo>
                    <a:pt x="5" y="0"/>
                  </a:lnTo>
                  <a:lnTo>
                    <a:pt x="5" y="0"/>
                  </a:lnTo>
                  <a:lnTo>
                    <a:pt x="2" y="0"/>
                  </a:lnTo>
                  <a:lnTo>
                    <a:pt x="1" y="1"/>
                  </a:lnTo>
                  <a:lnTo>
                    <a:pt x="0" y="2"/>
                  </a:lnTo>
                  <a:lnTo>
                    <a:pt x="0" y="5"/>
                  </a:lnTo>
                  <a:lnTo>
                    <a:pt x="0" y="31"/>
                  </a:lnTo>
                  <a:lnTo>
                    <a:pt x="0" y="31"/>
                  </a:lnTo>
                  <a:lnTo>
                    <a:pt x="0" y="32"/>
                  </a:lnTo>
                  <a:lnTo>
                    <a:pt x="1" y="35"/>
                  </a:lnTo>
                  <a:lnTo>
                    <a:pt x="2" y="36"/>
                  </a:lnTo>
                  <a:lnTo>
                    <a:pt x="5" y="36"/>
                  </a:lnTo>
                  <a:lnTo>
                    <a:pt x="29" y="36"/>
                  </a:lnTo>
                  <a:lnTo>
                    <a:pt x="29" y="36"/>
                  </a:lnTo>
                  <a:lnTo>
                    <a:pt x="32" y="36"/>
                  </a:lnTo>
                  <a:lnTo>
                    <a:pt x="35" y="35"/>
                  </a:lnTo>
                  <a:lnTo>
                    <a:pt x="36" y="32"/>
                  </a:lnTo>
                  <a:lnTo>
                    <a:pt x="36" y="31"/>
                  </a:lnTo>
                  <a:lnTo>
                    <a:pt x="36" y="31"/>
                  </a:lnTo>
                  <a:lnTo>
                    <a:pt x="36" y="28"/>
                  </a:lnTo>
                  <a:lnTo>
                    <a:pt x="35" y="25"/>
                  </a:lnTo>
                  <a:lnTo>
                    <a:pt x="32" y="24"/>
                  </a:lnTo>
                  <a:lnTo>
                    <a:pt x="29" y="24"/>
                  </a:lnTo>
                  <a:lnTo>
                    <a:pt x="29"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93" name="Group 192">
            <a:extLst>
              <a:ext uri="{FF2B5EF4-FFF2-40B4-BE49-F238E27FC236}">
                <a16:creationId xmlns:a16="http://schemas.microsoft.com/office/drawing/2014/main" id="{8E71C1A6-8CB9-40E9-86FE-AADB4F1F6C5C}"/>
              </a:ext>
            </a:extLst>
          </p:cNvPr>
          <p:cNvGrpSpPr/>
          <p:nvPr/>
        </p:nvGrpSpPr>
        <p:grpSpPr>
          <a:xfrm>
            <a:off x="7389376" y="4019060"/>
            <a:ext cx="320040" cy="320040"/>
            <a:chOff x="6956274" y="4486888"/>
            <a:chExt cx="320040" cy="320040"/>
          </a:xfrm>
        </p:grpSpPr>
        <p:sp>
          <p:nvSpPr>
            <p:cNvPr id="194" name="Freeform 71">
              <a:extLst>
                <a:ext uri="{FF2B5EF4-FFF2-40B4-BE49-F238E27FC236}">
                  <a16:creationId xmlns:a16="http://schemas.microsoft.com/office/drawing/2014/main" id="{4E733580-2D6C-49BD-9284-A32C9347D11C}"/>
                </a:ext>
              </a:extLst>
            </p:cNvPr>
            <p:cNvSpPr>
              <a:spLocks noEditPoints="1"/>
            </p:cNvSpPr>
            <p:nvPr/>
          </p:nvSpPr>
          <p:spPr bwMode="auto">
            <a:xfrm>
              <a:off x="6956274" y="4486888"/>
              <a:ext cx="320040" cy="320040"/>
            </a:xfrm>
            <a:custGeom>
              <a:avLst/>
              <a:gdLst>
                <a:gd name="T0" fmla="*/ 312 w 657"/>
                <a:gd name="T1" fmla="*/ 657 h 657"/>
                <a:gd name="T2" fmla="*/ 262 w 657"/>
                <a:gd name="T3" fmla="*/ 650 h 657"/>
                <a:gd name="T4" fmla="*/ 201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8 h 657"/>
                <a:gd name="T16" fmla="*/ 2 w 657"/>
                <a:gd name="T17" fmla="*/ 294 h 657"/>
                <a:gd name="T18" fmla="*/ 11 w 657"/>
                <a:gd name="T19" fmla="*/ 246 h 657"/>
                <a:gd name="T20" fmla="*/ 39 w 657"/>
                <a:gd name="T21" fmla="*/ 172 h 657"/>
                <a:gd name="T22" fmla="*/ 97 w 657"/>
                <a:gd name="T23" fmla="*/ 96 h 657"/>
                <a:gd name="T24" fmla="*/ 172 w 657"/>
                <a:gd name="T25" fmla="*/ 39 h 657"/>
                <a:gd name="T26" fmla="*/ 246 w 657"/>
                <a:gd name="T27" fmla="*/ 10 h 657"/>
                <a:gd name="T28" fmla="*/ 296 w 657"/>
                <a:gd name="T29" fmla="*/ 2 h 657"/>
                <a:gd name="T30" fmla="*/ 329 w 657"/>
                <a:gd name="T31" fmla="*/ 0 h 657"/>
                <a:gd name="T32" fmla="*/ 379 w 657"/>
                <a:gd name="T33" fmla="*/ 3 h 657"/>
                <a:gd name="T34" fmla="*/ 426 w 657"/>
                <a:gd name="T35" fmla="*/ 15 h 657"/>
                <a:gd name="T36" fmla="*/ 512 w 657"/>
                <a:gd name="T37" fmla="*/ 55 h 657"/>
                <a:gd name="T38" fmla="*/ 582 w 657"/>
                <a:gd name="T39" fmla="*/ 120 h 657"/>
                <a:gd name="T40" fmla="*/ 632 w 657"/>
                <a:gd name="T41" fmla="*/ 200 h 657"/>
                <a:gd name="T42" fmla="*/ 650 w 657"/>
                <a:gd name="T43" fmla="*/ 262 h 657"/>
                <a:gd name="T44" fmla="*/ 657 w 657"/>
                <a:gd name="T45" fmla="*/ 312 h 657"/>
                <a:gd name="T46" fmla="*/ 657 w 657"/>
                <a:gd name="T47" fmla="*/ 346 h 657"/>
                <a:gd name="T48" fmla="*/ 650 w 657"/>
                <a:gd name="T49" fmla="*/ 395 h 657"/>
                <a:gd name="T50" fmla="*/ 632 w 657"/>
                <a:gd name="T51" fmla="*/ 457 h 657"/>
                <a:gd name="T52" fmla="*/ 582 w 657"/>
                <a:gd name="T53" fmla="*/ 538 h 657"/>
                <a:gd name="T54" fmla="*/ 512 w 657"/>
                <a:gd name="T55" fmla="*/ 601 h 657"/>
                <a:gd name="T56" fmla="*/ 426 w 657"/>
                <a:gd name="T57" fmla="*/ 642 h 657"/>
                <a:gd name="T58" fmla="*/ 379 w 657"/>
                <a:gd name="T59" fmla="*/ 653 h 657"/>
                <a:gd name="T60" fmla="*/ 329 w 657"/>
                <a:gd name="T61" fmla="*/ 657 h 657"/>
                <a:gd name="T62" fmla="*/ 329 w 657"/>
                <a:gd name="T63" fmla="*/ 38 h 657"/>
                <a:gd name="T64" fmla="*/ 242 w 657"/>
                <a:gd name="T65" fmla="*/ 50 h 657"/>
                <a:gd name="T66" fmla="*/ 166 w 657"/>
                <a:gd name="T67" fmla="*/ 88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6 w 657"/>
                <a:gd name="T81" fmla="*/ 570 h 657"/>
                <a:gd name="T82" fmla="*/ 242 w 657"/>
                <a:gd name="T83" fmla="*/ 606 h 657"/>
                <a:gd name="T84" fmla="*/ 329 w 657"/>
                <a:gd name="T85" fmla="*/ 620 h 657"/>
                <a:gd name="T86" fmla="*/ 387 w 657"/>
                <a:gd name="T87" fmla="*/ 614 h 657"/>
                <a:gd name="T88" fmla="*/ 468 w 657"/>
                <a:gd name="T89" fmla="*/ 585 h 657"/>
                <a:gd name="T90" fmla="*/ 535 w 657"/>
                <a:gd name="T91" fmla="*/ 535 h 657"/>
                <a:gd name="T92" fmla="*/ 585 w 657"/>
                <a:gd name="T93" fmla="*/ 468 h 657"/>
                <a:gd name="T94" fmla="*/ 614 w 657"/>
                <a:gd name="T95" fmla="*/ 387 h 657"/>
                <a:gd name="T96" fmla="*/ 620 w 657"/>
                <a:gd name="T97" fmla="*/ 328 h 657"/>
                <a:gd name="T98" fmla="*/ 607 w 657"/>
                <a:gd name="T99" fmla="*/ 242 h 657"/>
                <a:gd name="T100" fmla="*/ 570 w 657"/>
                <a:gd name="T101" fmla="*/ 166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6"/>
                  </a:lnTo>
                  <a:lnTo>
                    <a:pt x="278" y="653"/>
                  </a:lnTo>
                  <a:lnTo>
                    <a:pt x="262" y="650"/>
                  </a:lnTo>
                  <a:lnTo>
                    <a:pt x="246" y="646"/>
                  </a:lnTo>
                  <a:lnTo>
                    <a:pt x="231" y="642"/>
                  </a:lnTo>
                  <a:lnTo>
                    <a:pt x="201" y="632"/>
                  </a:lnTo>
                  <a:lnTo>
                    <a:pt x="172" y="618"/>
                  </a:lnTo>
                  <a:lnTo>
                    <a:pt x="145" y="601"/>
                  </a:lnTo>
                  <a:lnTo>
                    <a:pt x="120" y="582"/>
                  </a:lnTo>
                  <a:lnTo>
                    <a:pt x="97" y="560"/>
                  </a:lnTo>
                  <a:lnTo>
                    <a:pt x="76" y="538"/>
                  </a:lnTo>
                  <a:lnTo>
                    <a:pt x="57" y="512"/>
                  </a:lnTo>
                  <a:lnTo>
                    <a:pt x="39" y="485"/>
                  </a:lnTo>
                  <a:lnTo>
                    <a:pt x="26" y="457"/>
                  </a:lnTo>
                  <a:lnTo>
                    <a:pt x="15" y="426"/>
                  </a:lnTo>
                  <a:lnTo>
                    <a:pt x="11" y="411"/>
                  </a:lnTo>
                  <a:lnTo>
                    <a:pt x="7" y="395"/>
                  </a:lnTo>
                  <a:lnTo>
                    <a:pt x="4" y="379"/>
                  </a:lnTo>
                  <a:lnTo>
                    <a:pt x="2" y="362"/>
                  </a:lnTo>
                  <a:lnTo>
                    <a:pt x="0" y="346"/>
                  </a:lnTo>
                  <a:lnTo>
                    <a:pt x="0" y="328"/>
                  </a:lnTo>
                  <a:lnTo>
                    <a:pt x="0" y="328"/>
                  </a:lnTo>
                  <a:lnTo>
                    <a:pt x="0" y="312"/>
                  </a:lnTo>
                  <a:lnTo>
                    <a:pt x="2" y="294"/>
                  </a:lnTo>
                  <a:lnTo>
                    <a:pt x="4" y="278"/>
                  </a:lnTo>
                  <a:lnTo>
                    <a:pt x="7" y="262"/>
                  </a:lnTo>
                  <a:lnTo>
                    <a:pt x="11" y="246"/>
                  </a:lnTo>
                  <a:lnTo>
                    <a:pt x="15" y="231"/>
                  </a:lnTo>
                  <a:lnTo>
                    <a:pt x="26" y="200"/>
                  </a:lnTo>
                  <a:lnTo>
                    <a:pt x="39" y="172"/>
                  </a:lnTo>
                  <a:lnTo>
                    <a:pt x="57" y="145"/>
                  </a:lnTo>
                  <a:lnTo>
                    <a:pt x="76" y="120"/>
                  </a:lnTo>
                  <a:lnTo>
                    <a:pt x="97" y="96"/>
                  </a:lnTo>
                  <a:lnTo>
                    <a:pt x="120" y="76"/>
                  </a:lnTo>
                  <a:lnTo>
                    <a:pt x="145" y="55"/>
                  </a:lnTo>
                  <a:lnTo>
                    <a:pt x="172" y="39"/>
                  </a:lnTo>
                  <a:lnTo>
                    <a:pt x="201" y="26"/>
                  </a:lnTo>
                  <a:lnTo>
                    <a:pt x="231" y="15"/>
                  </a:lnTo>
                  <a:lnTo>
                    <a:pt x="246" y="10"/>
                  </a:lnTo>
                  <a:lnTo>
                    <a:pt x="262" y="7"/>
                  </a:lnTo>
                  <a:lnTo>
                    <a:pt x="278" y="3"/>
                  </a:lnTo>
                  <a:lnTo>
                    <a:pt x="296" y="2"/>
                  </a:lnTo>
                  <a:lnTo>
                    <a:pt x="312" y="0"/>
                  </a:lnTo>
                  <a:lnTo>
                    <a:pt x="329" y="0"/>
                  </a:lnTo>
                  <a:lnTo>
                    <a:pt x="329" y="0"/>
                  </a:lnTo>
                  <a:lnTo>
                    <a:pt x="346" y="0"/>
                  </a:lnTo>
                  <a:lnTo>
                    <a:pt x="363" y="2"/>
                  </a:lnTo>
                  <a:lnTo>
                    <a:pt x="379" y="3"/>
                  </a:lnTo>
                  <a:lnTo>
                    <a:pt x="395" y="7"/>
                  </a:lnTo>
                  <a:lnTo>
                    <a:pt x="411" y="10"/>
                  </a:lnTo>
                  <a:lnTo>
                    <a:pt x="426" y="15"/>
                  </a:lnTo>
                  <a:lnTo>
                    <a:pt x="457" y="26"/>
                  </a:lnTo>
                  <a:lnTo>
                    <a:pt x="485" y="39"/>
                  </a:lnTo>
                  <a:lnTo>
                    <a:pt x="512" y="55"/>
                  </a:lnTo>
                  <a:lnTo>
                    <a:pt x="538" y="76"/>
                  </a:lnTo>
                  <a:lnTo>
                    <a:pt x="562" y="96"/>
                  </a:lnTo>
                  <a:lnTo>
                    <a:pt x="582" y="120"/>
                  </a:lnTo>
                  <a:lnTo>
                    <a:pt x="601" y="145"/>
                  </a:lnTo>
                  <a:lnTo>
                    <a:pt x="618" y="172"/>
                  </a:lnTo>
                  <a:lnTo>
                    <a:pt x="632" y="200"/>
                  </a:lnTo>
                  <a:lnTo>
                    <a:pt x="642" y="231"/>
                  </a:lnTo>
                  <a:lnTo>
                    <a:pt x="648" y="246"/>
                  </a:lnTo>
                  <a:lnTo>
                    <a:pt x="650" y="262"/>
                  </a:lnTo>
                  <a:lnTo>
                    <a:pt x="655" y="278"/>
                  </a:lnTo>
                  <a:lnTo>
                    <a:pt x="656" y="294"/>
                  </a:lnTo>
                  <a:lnTo>
                    <a:pt x="657" y="312"/>
                  </a:lnTo>
                  <a:lnTo>
                    <a:pt x="657" y="328"/>
                  </a:lnTo>
                  <a:lnTo>
                    <a:pt x="657" y="328"/>
                  </a:lnTo>
                  <a:lnTo>
                    <a:pt x="657" y="346"/>
                  </a:lnTo>
                  <a:lnTo>
                    <a:pt x="656" y="362"/>
                  </a:lnTo>
                  <a:lnTo>
                    <a:pt x="655" y="379"/>
                  </a:lnTo>
                  <a:lnTo>
                    <a:pt x="650" y="395"/>
                  </a:lnTo>
                  <a:lnTo>
                    <a:pt x="648" y="411"/>
                  </a:lnTo>
                  <a:lnTo>
                    <a:pt x="642" y="426"/>
                  </a:lnTo>
                  <a:lnTo>
                    <a:pt x="632" y="457"/>
                  </a:lnTo>
                  <a:lnTo>
                    <a:pt x="618" y="485"/>
                  </a:lnTo>
                  <a:lnTo>
                    <a:pt x="601" y="512"/>
                  </a:lnTo>
                  <a:lnTo>
                    <a:pt x="582" y="538"/>
                  </a:lnTo>
                  <a:lnTo>
                    <a:pt x="562" y="560"/>
                  </a:lnTo>
                  <a:lnTo>
                    <a:pt x="538" y="582"/>
                  </a:lnTo>
                  <a:lnTo>
                    <a:pt x="512" y="601"/>
                  </a:lnTo>
                  <a:lnTo>
                    <a:pt x="485" y="618"/>
                  </a:lnTo>
                  <a:lnTo>
                    <a:pt x="457" y="632"/>
                  </a:lnTo>
                  <a:lnTo>
                    <a:pt x="426" y="642"/>
                  </a:lnTo>
                  <a:lnTo>
                    <a:pt x="411" y="646"/>
                  </a:lnTo>
                  <a:lnTo>
                    <a:pt x="395" y="650"/>
                  </a:lnTo>
                  <a:lnTo>
                    <a:pt x="379" y="653"/>
                  </a:lnTo>
                  <a:lnTo>
                    <a:pt x="363" y="656"/>
                  </a:lnTo>
                  <a:lnTo>
                    <a:pt x="346" y="657"/>
                  </a:lnTo>
                  <a:lnTo>
                    <a:pt x="329" y="657"/>
                  </a:lnTo>
                  <a:lnTo>
                    <a:pt x="329" y="657"/>
                  </a:lnTo>
                  <a:close/>
                  <a:moveTo>
                    <a:pt x="329" y="38"/>
                  </a:moveTo>
                  <a:lnTo>
                    <a:pt x="329" y="38"/>
                  </a:lnTo>
                  <a:lnTo>
                    <a:pt x="299" y="39"/>
                  </a:lnTo>
                  <a:lnTo>
                    <a:pt x="270" y="43"/>
                  </a:lnTo>
                  <a:lnTo>
                    <a:pt x="242" y="50"/>
                  </a:lnTo>
                  <a:lnTo>
                    <a:pt x="215" y="61"/>
                  </a:lnTo>
                  <a:lnTo>
                    <a:pt x="190" y="73"/>
                  </a:lnTo>
                  <a:lnTo>
                    <a:pt x="166" y="88"/>
                  </a:lnTo>
                  <a:lnTo>
                    <a:pt x="144" y="104"/>
                  </a:lnTo>
                  <a:lnTo>
                    <a:pt x="123" y="123"/>
                  </a:lnTo>
                  <a:lnTo>
                    <a:pt x="104" y="144"/>
                  </a:lnTo>
                  <a:lnTo>
                    <a:pt x="88" y="166"/>
                  </a:lnTo>
                  <a:lnTo>
                    <a:pt x="73" y="190"/>
                  </a:lnTo>
                  <a:lnTo>
                    <a:pt x="61" y="215"/>
                  </a:lnTo>
                  <a:lnTo>
                    <a:pt x="51" y="242"/>
                  </a:lnTo>
                  <a:lnTo>
                    <a:pt x="43" y="270"/>
                  </a:lnTo>
                  <a:lnTo>
                    <a:pt x="39" y="298"/>
                  </a:lnTo>
                  <a:lnTo>
                    <a:pt x="38" y="328"/>
                  </a:lnTo>
                  <a:lnTo>
                    <a:pt x="38" y="328"/>
                  </a:lnTo>
                  <a:lnTo>
                    <a:pt x="39" y="359"/>
                  </a:lnTo>
                  <a:lnTo>
                    <a:pt x="43" y="387"/>
                  </a:lnTo>
                  <a:lnTo>
                    <a:pt x="51" y="415"/>
                  </a:lnTo>
                  <a:lnTo>
                    <a:pt x="61" y="442"/>
                  </a:lnTo>
                  <a:lnTo>
                    <a:pt x="73" y="468"/>
                  </a:lnTo>
                  <a:lnTo>
                    <a:pt x="88" y="492"/>
                  </a:lnTo>
                  <a:lnTo>
                    <a:pt x="104" y="513"/>
                  </a:lnTo>
                  <a:lnTo>
                    <a:pt x="123" y="535"/>
                  </a:lnTo>
                  <a:lnTo>
                    <a:pt x="144" y="554"/>
                  </a:lnTo>
                  <a:lnTo>
                    <a:pt x="166" y="570"/>
                  </a:lnTo>
                  <a:lnTo>
                    <a:pt x="190" y="585"/>
                  </a:lnTo>
                  <a:lnTo>
                    <a:pt x="215" y="597"/>
                  </a:lnTo>
                  <a:lnTo>
                    <a:pt x="242" y="606"/>
                  </a:lnTo>
                  <a:lnTo>
                    <a:pt x="270" y="614"/>
                  </a:lnTo>
                  <a:lnTo>
                    <a:pt x="299" y="618"/>
                  </a:lnTo>
                  <a:lnTo>
                    <a:pt x="329" y="620"/>
                  </a:lnTo>
                  <a:lnTo>
                    <a:pt x="329" y="620"/>
                  </a:lnTo>
                  <a:lnTo>
                    <a:pt x="359" y="618"/>
                  </a:lnTo>
                  <a:lnTo>
                    <a:pt x="387" y="614"/>
                  </a:lnTo>
                  <a:lnTo>
                    <a:pt x="415" y="606"/>
                  </a:lnTo>
                  <a:lnTo>
                    <a:pt x="442" y="597"/>
                  </a:lnTo>
                  <a:lnTo>
                    <a:pt x="468" y="585"/>
                  </a:lnTo>
                  <a:lnTo>
                    <a:pt x="492" y="570"/>
                  </a:lnTo>
                  <a:lnTo>
                    <a:pt x="513" y="554"/>
                  </a:lnTo>
                  <a:lnTo>
                    <a:pt x="535" y="535"/>
                  </a:lnTo>
                  <a:lnTo>
                    <a:pt x="554" y="513"/>
                  </a:lnTo>
                  <a:lnTo>
                    <a:pt x="570" y="492"/>
                  </a:lnTo>
                  <a:lnTo>
                    <a:pt x="585" y="468"/>
                  </a:lnTo>
                  <a:lnTo>
                    <a:pt x="597" y="442"/>
                  </a:lnTo>
                  <a:lnTo>
                    <a:pt x="607" y="415"/>
                  </a:lnTo>
                  <a:lnTo>
                    <a:pt x="614" y="387"/>
                  </a:lnTo>
                  <a:lnTo>
                    <a:pt x="618" y="359"/>
                  </a:lnTo>
                  <a:lnTo>
                    <a:pt x="620" y="328"/>
                  </a:lnTo>
                  <a:lnTo>
                    <a:pt x="620" y="328"/>
                  </a:lnTo>
                  <a:lnTo>
                    <a:pt x="618" y="298"/>
                  </a:lnTo>
                  <a:lnTo>
                    <a:pt x="614" y="270"/>
                  </a:lnTo>
                  <a:lnTo>
                    <a:pt x="607" y="242"/>
                  </a:lnTo>
                  <a:lnTo>
                    <a:pt x="597" y="215"/>
                  </a:lnTo>
                  <a:lnTo>
                    <a:pt x="585" y="190"/>
                  </a:lnTo>
                  <a:lnTo>
                    <a:pt x="570" y="166"/>
                  </a:lnTo>
                  <a:lnTo>
                    <a:pt x="554" y="144"/>
                  </a:lnTo>
                  <a:lnTo>
                    <a:pt x="535" y="123"/>
                  </a:lnTo>
                  <a:lnTo>
                    <a:pt x="513" y="104"/>
                  </a:lnTo>
                  <a:lnTo>
                    <a:pt x="492" y="88"/>
                  </a:lnTo>
                  <a:lnTo>
                    <a:pt x="468" y="73"/>
                  </a:lnTo>
                  <a:lnTo>
                    <a:pt x="442" y="61"/>
                  </a:lnTo>
                  <a:lnTo>
                    <a:pt x="415" y="50"/>
                  </a:lnTo>
                  <a:lnTo>
                    <a:pt x="387" y="43"/>
                  </a:lnTo>
                  <a:lnTo>
                    <a:pt x="359" y="39"/>
                  </a:lnTo>
                  <a:lnTo>
                    <a:pt x="329" y="38"/>
                  </a:lnTo>
                  <a:lnTo>
                    <a:pt x="329" y="38"/>
                  </a:lnTo>
                  <a:close/>
                </a:path>
              </a:pathLst>
            </a:custGeom>
            <a:solidFill>
              <a:srgbClr val="8D8D8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95" name="Freeform 289">
              <a:extLst>
                <a:ext uri="{FF2B5EF4-FFF2-40B4-BE49-F238E27FC236}">
                  <a16:creationId xmlns:a16="http://schemas.microsoft.com/office/drawing/2014/main" id="{1D770BB5-A4AF-4261-AF5D-CFE6AD4C5BBF}"/>
                </a:ext>
              </a:extLst>
            </p:cNvPr>
            <p:cNvSpPr>
              <a:spLocks/>
            </p:cNvSpPr>
            <p:nvPr/>
          </p:nvSpPr>
          <p:spPr bwMode="auto">
            <a:xfrm>
              <a:off x="7134290" y="4609456"/>
              <a:ext cx="20428" cy="4864"/>
            </a:xfrm>
            <a:custGeom>
              <a:avLst/>
              <a:gdLst>
                <a:gd name="T0" fmla="*/ 36 w 41"/>
                <a:gd name="T1" fmla="*/ 0 h 11"/>
                <a:gd name="T2" fmla="*/ 5 w 41"/>
                <a:gd name="T3" fmla="*/ 0 h 11"/>
                <a:gd name="T4" fmla="*/ 5 w 41"/>
                <a:gd name="T5" fmla="*/ 0 h 11"/>
                <a:gd name="T6" fmla="*/ 2 w 41"/>
                <a:gd name="T7" fmla="*/ 0 h 11"/>
                <a:gd name="T8" fmla="*/ 1 w 41"/>
                <a:gd name="T9" fmla="*/ 2 h 11"/>
                <a:gd name="T10" fmla="*/ 0 w 41"/>
                <a:gd name="T11" fmla="*/ 3 h 11"/>
                <a:gd name="T12" fmla="*/ 0 w 41"/>
                <a:gd name="T13" fmla="*/ 6 h 11"/>
                <a:gd name="T14" fmla="*/ 0 w 41"/>
                <a:gd name="T15" fmla="*/ 6 h 11"/>
                <a:gd name="T16" fmla="*/ 0 w 41"/>
                <a:gd name="T17" fmla="*/ 7 h 11"/>
                <a:gd name="T18" fmla="*/ 1 w 41"/>
                <a:gd name="T19" fmla="*/ 9 h 11"/>
                <a:gd name="T20" fmla="*/ 2 w 41"/>
                <a:gd name="T21" fmla="*/ 10 h 11"/>
                <a:gd name="T22" fmla="*/ 5 w 41"/>
                <a:gd name="T23" fmla="*/ 11 h 11"/>
                <a:gd name="T24" fmla="*/ 36 w 41"/>
                <a:gd name="T25" fmla="*/ 11 h 11"/>
                <a:gd name="T26" fmla="*/ 36 w 41"/>
                <a:gd name="T27" fmla="*/ 11 h 11"/>
                <a:gd name="T28" fmla="*/ 39 w 41"/>
                <a:gd name="T29" fmla="*/ 10 h 11"/>
                <a:gd name="T30" fmla="*/ 40 w 41"/>
                <a:gd name="T31" fmla="*/ 9 h 11"/>
                <a:gd name="T32" fmla="*/ 41 w 41"/>
                <a:gd name="T33" fmla="*/ 7 h 11"/>
                <a:gd name="T34" fmla="*/ 41 w 41"/>
                <a:gd name="T35" fmla="*/ 6 h 11"/>
                <a:gd name="T36" fmla="*/ 41 w 41"/>
                <a:gd name="T37" fmla="*/ 6 h 11"/>
                <a:gd name="T38" fmla="*/ 41 w 41"/>
                <a:gd name="T39" fmla="*/ 3 h 11"/>
                <a:gd name="T40" fmla="*/ 40 w 41"/>
                <a:gd name="T41" fmla="*/ 2 h 11"/>
                <a:gd name="T42" fmla="*/ 39 w 41"/>
                <a:gd name="T43" fmla="*/ 0 h 11"/>
                <a:gd name="T44" fmla="*/ 36 w 41"/>
                <a:gd name="T45" fmla="*/ 0 h 11"/>
                <a:gd name="T46" fmla="*/ 36 w 41"/>
                <a:gd name="T4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1" h="11">
                  <a:moveTo>
                    <a:pt x="36" y="0"/>
                  </a:moveTo>
                  <a:lnTo>
                    <a:pt x="5" y="0"/>
                  </a:lnTo>
                  <a:lnTo>
                    <a:pt x="5" y="0"/>
                  </a:lnTo>
                  <a:lnTo>
                    <a:pt x="2" y="0"/>
                  </a:lnTo>
                  <a:lnTo>
                    <a:pt x="1" y="2"/>
                  </a:lnTo>
                  <a:lnTo>
                    <a:pt x="0" y="3"/>
                  </a:lnTo>
                  <a:lnTo>
                    <a:pt x="0" y="6"/>
                  </a:lnTo>
                  <a:lnTo>
                    <a:pt x="0" y="6"/>
                  </a:lnTo>
                  <a:lnTo>
                    <a:pt x="0" y="7"/>
                  </a:lnTo>
                  <a:lnTo>
                    <a:pt x="1" y="9"/>
                  </a:lnTo>
                  <a:lnTo>
                    <a:pt x="2" y="10"/>
                  </a:lnTo>
                  <a:lnTo>
                    <a:pt x="5" y="11"/>
                  </a:lnTo>
                  <a:lnTo>
                    <a:pt x="36" y="11"/>
                  </a:lnTo>
                  <a:lnTo>
                    <a:pt x="36" y="11"/>
                  </a:lnTo>
                  <a:lnTo>
                    <a:pt x="39" y="10"/>
                  </a:lnTo>
                  <a:lnTo>
                    <a:pt x="40" y="9"/>
                  </a:lnTo>
                  <a:lnTo>
                    <a:pt x="41" y="7"/>
                  </a:lnTo>
                  <a:lnTo>
                    <a:pt x="41" y="6"/>
                  </a:lnTo>
                  <a:lnTo>
                    <a:pt x="41" y="6"/>
                  </a:lnTo>
                  <a:lnTo>
                    <a:pt x="41" y="3"/>
                  </a:lnTo>
                  <a:lnTo>
                    <a:pt x="40" y="2"/>
                  </a:lnTo>
                  <a:lnTo>
                    <a:pt x="39" y="0"/>
                  </a:lnTo>
                  <a:lnTo>
                    <a:pt x="36" y="0"/>
                  </a:lnTo>
                  <a:lnTo>
                    <a:pt x="3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96" name="Freeform 290">
              <a:extLst>
                <a:ext uri="{FF2B5EF4-FFF2-40B4-BE49-F238E27FC236}">
                  <a16:creationId xmlns:a16="http://schemas.microsoft.com/office/drawing/2014/main" id="{E33EEB7D-27E4-4929-8158-CF23B1D30852}"/>
                </a:ext>
              </a:extLst>
            </p:cNvPr>
            <p:cNvSpPr>
              <a:spLocks/>
            </p:cNvSpPr>
            <p:nvPr/>
          </p:nvSpPr>
          <p:spPr bwMode="auto">
            <a:xfrm>
              <a:off x="7174173" y="4609456"/>
              <a:ext cx="10701" cy="4864"/>
            </a:xfrm>
            <a:custGeom>
              <a:avLst/>
              <a:gdLst>
                <a:gd name="T0" fmla="*/ 15 w 20"/>
                <a:gd name="T1" fmla="*/ 0 h 11"/>
                <a:gd name="T2" fmla="*/ 4 w 20"/>
                <a:gd name="T3" fmla="*/ 0 h 11"/>
                <a:gd name="T4" fmla="*/ 4 w 20"/>
                <a:gd name="T5" fmla="*/ 0 h 11"/>
                <a:gd name="T6" fmla="*/ 3 w 20"/>
                <a:gd name="T7" fmla="*/ 0 h 11"/>
                <a:gd name="T8" fmla="*/ 1 w 20"/>
                <a:gd name="T9" fmla="*/ 2 h 11"/>
                <a:gd name="T10" fmla="*/ 0 w 20"/>
                <a:gd name="T11" fmla="*/ 3 h 11"/>
                <a:gd name="T12" fmla="*/ 0 w 20"/>
                <a:gd name="T13" fmla="*/ 6 h 11"/>
                <a:gd name="T14" fmla="*/ 0 w 20"/>
                <a:gd name="T15" fmla="*/ 6 h 11"/>
                <a:gd name="T16" fmla="*/ 0 w 20"/>
                <a:gd name="T17" fmla="*/ 7 h 11"/>
                <a:gd name="T18" fmla="*/ 1 w 20"/>
                <a:gd name="T19" fmla="*/ 9 h 11"/>
                <a:gd name="T20" fmla="*/ 3 w 20"/>
                <a:gd name="T21" fmla="*/ 10 h 11"/>
                <a:gd name="T22" fmla="*/ 4 w 20"/>
                <a:gd name="T23" fmla="*/ 11 h 11"/>
                <a:gd name="T24" fmla="*/ 15 w 20"/>
                <a:gd name="T25" fmla="*/ 11 h 11"/>
                <a:gd name="T26" fmla="*/ 15 w 20"/>
                <a:gd name="T27" fmla="*/ 11 h 11"/>
                <a:gd name="T28" fmla="*/ 17 w 20"/>
                <a:gd name="T29" fmla="*/ 10 h 11"/>
                <a:gd name="T30" fmla="*/ 19 w 20"/>
                <a:gd name="T31" fmla="*/ 9 h 11"/>
                <a:gd name="T32" fmla="*/ 20 w 20"/>
                <a:gd name="T33" fmla="*/ 7 h 11"/>
                <a:gd name="T34" fmla="*/ 20 w 20"/>
                <a:gd name="T35" fmla="*/ 6 h 11"/>
                <a:gd name="T36" fmla="*/ 20 w 20"/>
                <a:gd name="T37" fmla="*/ 6 h 11"/>
                <a:gd name="T38" fmla="*/ 20 w 20"/>
                <a:gd name="T39" fmla="*/ 3 h 11"/>
                <a:gd name="T40" fmla="*/ 19 w 20"/>
                <a:gd name="T41" fmla="*/ 2 h 11"/>
                <a:gd name="T42" fmla="*/ 17 w 20"/>
                <a:gd name="T43" fmla="*/ 0 h 11"/>
                <a:gd name="T44" fmla="*/ 15 w 20"/>
                <a:gd name="T45" fmla="*/ 0 h 11"/>
                <a:gd name="T46" fmla="*/ 15 w 20"/>
                <a:gd name="T4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11">
                  <a:moveTo>
                    <a:pt x="15" y="0"/>
                  </a:moveTo>
                  <a:lnTo>
                    <a:pt x="4" y="0"/>
                  </a:lnTo>
                  <a:lnTo>
                    <a:pt x="4" y="0"/>
                  </a:lnTo>
                  <a:lnTo>
                    <a:pt x="3" y="0"/>
                  </a:lnTo>
                  <a:lnTo>
                    <a:pt x="1" y="2"/>
                  </a:lnTo>
                  <a:lnTo>
                    <a:pt x="0" y="3"/>
                  </a:lnTo>
                  <a:lnTo>
                    <a:pt x="0" y="6"/>
                  </a:lnTo>
                  <a:lnTo>
                    <a:pt x="0" y="6"/>
                  </a:lnTo>
                  <a:lnTo>
                    <a:pt x="0" y="7"/>
                  </a:lnTo>
                  <a:lnTo>
                    <a:pt x="1" y="9"/>
                  </a:lnTo>
                  <a:lnTo>
                    <a:pt x="3" y="10"/>
                  </a:lnTo>
                  <a:lnTo>
                    <a:pt x="4" y="11"/>
                  </a:lnTo>
                  <a:lnTo>
                    <a:pt x="15" y="11"/>
                  </a:lnTo>
                  <a:lnTo>
                    <a:pt x="15" y="11"/>
                  </a:lnTo>
                  <a:lnTo>
                    <a:pt x="17" y="10"/>
                  </a:lnTo>
                  <a:lnTo>
                    <a:pt x="19" y="9"/>
                  </a:lnTo>
                  <a:lnTo>
                    <a:pt x="20" y="7"/>
                  </a:lnTo>
                  <a:lnTo>
                    <a:pt x="20" y="6"/>
                  </a:lnTo>
                  <a:lnTo>
                    <a:pt x="20" y="6"/>
                  </a:lnTo>
                  <a:lnTo>
                    <a:pt x="20" y="3"/>
                  </a:lnTo>
                  <a:lnTo>
                    <a:pt x="19" y="2"/>
                  </a:lnTo>
                  <a:lnTo>
                    <a:pt x="17" y="0"/>
                  </a:lnTo>
                  <a:lnTo>
                    <a:pt x="15" y="0"/>
                  </a:lnTo>
                  <a:lnTo>
                    <a:pt x="1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97" name="Freeform 291">
              <a:extLst>
                <a:ext uri="{FF2B5EF4-FFF2-40B4-BE49-F238E27FC236}">
                  <a16:creationId xmlns:a16="http://schemas.microsoft.com/office/drawing/2014/main" id="{751EAA03-D717-4D2C-A62C-A07F2B4A54B2}"/>
                </a:ext>
              </a:extLst>
            </p:cNvPr>
            <p:cNvSpPr>
              <a:spLocks noEditPoints="1"/>
            </p:cNvSpPr>
            <p:nvPr/>
          </p:nvSpPr>
          <p:spPr bwMode="auto">
            <a:xfrm>
              <a:off x="7059387" y="4568600"/>
              <a:ext cx="144942" cy="155642"/>
            </a:xfrm>
            <a:custGeom>
              <a:avLst/>
              <a:gdLst>
                <a:gd name="T0" fmla="*/ 118 w 300"/>
                <a:gd name="T1" fmla="*/ 0 h 320"/>
                <a:gd name="T2" fmla="*/ 117 w 300"/>
                <a:gd name="T3" fmla="*/ 2 h 320"/>
                <a:gd name="T4" fmla="*/ 114 w 300"/>
                <a:gd name="T5" fmla="*/ 4 h 320"/>
                <a:gd name="T6" fmla="*/ 113 w 300"/>
                <a:gd name="T7" fmla="*/ 22 h 320"/>
                <a:gd name="T8" fmla="*/ 26 w 300"/>
                <a:gd name="T9" fmla="*/ 22 h 320"/>
                <a:gd name="T10" fmla="*/ 16 w 300"/>
                <a:gd name="T11" fmla="*/ 23 h 320"/>
                <a:gd name="T12" fmla="*/ 8 w 300"/>
                <a:gd name="T13" fmla="*/ 28 h 320"/>
                <a:gd name="T14" fmla="*/ 2 w 300"/>
                <a:gd name="T15" fmla="*/ 36 h 320"/>
                <a:gd name="T16" fmla="*/ 0 w 300"/>
                <a:gd name="T17" fmla="*/ 47 h 320"/>
                <a:gd name="T18" fmla="*/ 0 w 300"/>
                <a:gd name="T19" fmla="*/ 294 h 320"/>
                <a:gd name="T20" fmla="*/ 2 w 300"/>
                <a:gd name="T21" fmla="*/ 305 h 320"/>
                <a:gd name="T22" fmla="*/ 8 w 300"/>
                <a:gd name="T23" fmla="*/ 313 h 320"/>
                <a:gd name="T24" fmla="*/ 16 w 300"/>
                <a:gd name="T25" fmla="*/ 319 h 320"/>
                <a:gd name="T26" fmla="*/ 26 w 300"/>
                <a:gd name="T27" fmla="*/ 320 h 320"/>
                <a:gd name="T28" fmla="*/ 171 w 300"/>
                <a:gd name="T29" fmla="*/ 320 h 320"/>
                <a:gd name="T30" fmla="*/ 180 w 300"/>
                <a:gd name="T31" fmla="*/ 319 h 320"/>
                <a:gd name="T32" fmla="*/ 188 w 300"/>
                <a:gd name="T33" fmla="*/ 313 h 320"/>
                <a:gd name="T34" fmla="*/ 194 w 300"/>
                <a:gd name="T35" fmla="*/ 305 h 320"/>
                <a:gd name="T36" fmla="*/ 196 w 300"/>
                <a:gd name="T37" fmla="*/ 294 h 320"/>
                <a:gd name="T38" fmla="*/ 294 w 300"/>
                <a:gd name="T39" fmla="*/ 135 h 320"/>
                <a:gd name="T40" fmla="*/ 296 w 300"/>
                <a:gd name="T41" fmla="*/ 135 h 320"/>
                <a:gd name="T42" fmla="*/ 298 w 300"/>
                <a:gd name="T43" fmla="*/ 132 h 320"/>
                <a:gd name="T44" fmla="*/ 300 w 300"/>
                <a:gd name="T45" fmla="*/ 6 h 320"/>
                <a:gd name="T46" fmla="*/ 298 w 300"/>
                <a:gd name="T47" fmla="*/ 4 h 320"/>
                <a:gd name="T48" fmla="*/ 296 w 300"/>
                <a:gd name="T49" fmla="*/ 2 h 320"/>
                <a:gd name="T50" fmla="*/ 294 w 300"/>
                <a:gd name="T51" fmla="*/ 0 h 320"/>
                <a:gd name="T52" fmla="*/ 98 w 300"/>
                <a:gd name="T53" fmla="*/ 294 h 320"/>
                <a:gd name="T54" fmla="*/ 88 w 300"/>
                <a:gd name="T55" fmla="*/ 290 h 320"/>
                <a:gd name="T56" fmla="*/ 82 w 300"/>
                <a:gd name="T57" fmla="*/ 280 h 320"/>
                <a:gd name="T58" fmla="*/ 84 w 300"/>
                <a:gd name="T59" fmla="*/ 273 h 320"/>
                <a:gd name="T60" fmla="*/ 92 w 300"/>
                <a:gd name="T61" fmla="*/ 265 h 320"/>
                <a:gd name="T62" fmla="*/ 98 w 300"/>
                <a:gd name="T63" fmla="*/ 263 h 320"/>
                <a:gd name="T64" fmla="*/ 109 w 300"/>
                <a:gd name="T65" fmla="*/ 267 h 320"/>
                <a:gd name="T66" fmla="*/ 113 w 300"/>
                <a:gd name="T67" fmla="*/ 280 h 320"/>
                <a:gd name="T68" fmla="*/ 113 w 300"/>
                <a:gd name="T69" fmla="*/ 285 h 320"/>
                <a:gd name="T70" fmla="*/ 104 w 300"/>
                <a:gd name="T71" fmla="*/ 293 h 320"/>
                <a:gd name="T72" fmla="*/ 98 w 300"/>
                <a:gd name="T73" fmla="*/ 294 h 320"/>
                <a:gd name="T74" fmla="*/ 22 w 300"/>
                <a:gd name="T75" fmla="*/ 238 h 320"/>
                <a:gd name="T76" fmla="*/ 113 w 300"/>
                <a:gd name="T77" fmla="*/ 78 h 320"/>
                <a:gd name="T78" fmla="*/ 113 w 300"/>
                <a:gd name="T79" fmla="*/ 129 h 320"/>
                <a:gd name="T80" fmla="*/ 114 w 300"/>
                <a:gd name="T81" fmla="*/ 133 h 320"/>
                <a:gd name="T82" fmla="*/ 118 w 300"/>
                <a:gd name="T83" fmla="*/ 135 h 320"/>
                <a:gd name="T84" fmla="*/ 175 w 300"/>
                <a:gd name="T85" fmla="*/ 238 h 320"/>
                <a:gd name="T86" fmla="*/ 124 w 300"/>
                <a:gd name="T87" fmla="*/ 125 h 320"/>
                <a:gd name="T88" fmla="*/ 289 w 300"/>
                <a:gd name="T89" fmla="*/ 53 h 320"/>
                <a:gd name="T90" fmla="*/ 289 w 300"/>
                <a:gd name="T91" fmla="*/ 42 h 320"/>
                <a:gd name="T92" fmla="*/ 124 w 300"/>
                <a:gd name="T93" fmla="*/ 11 h 320"/>
                <a:gd name="T94" fmla="*/ 289 w 300"/>
                <a:gd name="T95" fmla="*/ 4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00" h="320">
                  <a:moveTo>
                    <a:pt x="294" y="0"/>
                  </a:moveTo>
                  <a:lnTo>
                    <a:pt x="118" y="0"/>
                  </a:lnTo>
                  <a:lnTo>
                    <a:pt x="118" y="0"/>
                  </a:lnTo>
                  <a:lnTo>
                    <a:pt x="117" y="2"/>
                  </a:lnTo>
                  <a:lnTo>
                    <a:pt x="114" y="2"/>
                  </a:lnTo>
                  <a:lnTo>
                    <a:pt x="114" y="4"/>
                  </a:lnTo>
                  <a:lnTo>
                    <a:pt x="113" y="6"/>
                  </a:lnTo>
                  <a:lnTo>
                    <a:pt x="113" y="22"/>
                  </a:lnTo>
                  <a:lnTo>
                    <a:pt x="26" y="22"/>
                  </a:lnTo>
                  <a:lnTo>
                    <a:pt x="26" y="22"/>
                  </a:lnTo>
                  <a:lnTo>
                    <a:pt x="20" y="22"/>
                  </a:lnTo>
                  <a:lnTo>
                    <a:pt x="16" y="23"/>
                  </a:lnTo>
                  <a:lnTo>
                    <a:pt x="11" y="26"/>
                  </a:lnTo>
                  <a:lnTo>
                    <a:pt x="8" y="28"/>
                  </a:lnTo>
                  <a:lnTo>
                    <a:pt x="4" y="32"/>
                  </a:lnTo>
                  <a:lnTo>
                    <a:pt x="2" y="36"/>
                  </a:lnTo>
                  <a:lnTo>
                    <a:pt x="0" y="42"/>
                  </a:lnTo>
                  <a:lnTo>
                    <a:pt x="0" y="47"/>
                  </a:lnTo>
                  <a:lnTo>
                    <a:pt x="0" y="294"/>
                  </a:lnTo>
                  <a:lnTo>
                    <a:pt x="0" y="294"/>
                  </a:lnTo>
                  <a:lnTo>
                    <a:pt x="0" y="300"/>
                  </a:lnTo>
                  <a:lnTo>
                    <a:pt x="2" y="305"/>
                  </a:lnTo>
                  <a:lnTo>
                    <a:pt x="4" y="309"/>
                  </a:lnTo>
                  <a:lnTo>
                    <a:pt x="8" y="313"/>
                  </a:lnTo>
                  <a:lnTo>
                    <a:pt x="11" y="316"/>
                  </a:lnTo>
                  <a:lnTo>
                    <a:pt x="16" y="319"/>
                  </a:lnTo>
                  <a:lnTo>
                    <a:pt x="20" y="320"/>
                  </a:lnTo>
                  <a:lnTo>
                    <a:pt x="26" y="320"/>
                  </a:lnTo>
                  <a:lnTo>
                    <a:pt x="171" y="320"/>
                  </a:lnTo>
                  <a:lnTo>
                    <a:pt x="171" y="320"/>
                  </a:lnTo>
                  <a:lnTo>
                    <a:pt x="176" y="320"/>
                  </a:lnTo>
                  <a:lnTo>
                    <a:pt x="180" y="319"/>
                  </a:lnTo>
                  <a:lnTo>
                    <a:pt x="184" y="316"/>
                  </a:lnTo>
                  <a:lnTo>
                    <a:pt x="188" y="313"/>
                  </a:lnTo>
                  <a:lnTo>
                    <a:pt x="192" y="309"/>
                  </a:lnTo>
                  <a:lnTo>
                    <a:pt x="194" y="305"/>
                  </a:lnTo>
                  <a:lnTo>
                    <a:pt x="195" y="300"/>
                  </a:lnTo>
                  <a:lnTo>
                    <a:pt x="196" y="294"/>
                  </a:lnTo>
                  <a:lnTo>
                    <a:pt x="196" y="135"/>
                  </a:lnTo>
                  <a:lnTo>
                    <a:pt x="294" y="135"/>
                  </a:lnTo>
                  <a:lnTo>
                    <a:pt x="294" y="135"/>
                  </a:lnTo>
                  <a:lnTo>
                    <a:pt x="296" y="135"/>
                  </a:lnTo>
                  <a:lnTo>
                    <a:pt x="298" y="133"/>
                  </a:lnTo>
                  <a:lnTo>
                    <a:pt x="298" y="132"/>
                  </a:lnTo>
                  <a:lnTo>
                    <a:pt x="300" y="129"/>
                  </a:lnTo>
                  <a:lnTo>
                    <a:pt x="300" y="6"/>
                  </a:lnTo>
                  <a:lnTo>
                    <a:pt x="300" y="6"/>
                  </a:lnTo>
                  <a:lnTo>
                    <a:pt x="298" y="4"/>
                  </a:lnTo>
                  <a:lnTo>
                    <a:pt x="298" y="2"/>
                  </a:lnTo>
                  <a:lnTo>
                    <a:pt x="296" y="2"/>
                  </a:lnTo>
                  <a:lnTo>
                    <a:pt x="294" y="0"/>
                  </a:lnTo>
                  <a:lnTo>
                    <a:pt x="294" y="0"/>
                  </a:lnTo>
                  <a:close/>
                  <a:moveTo>
                    <a:pt x="98" y="294"/>
                  </a:moveTo>
                  <a:lnTo>
                    <a:pt x="98" y="294"/>
                  </a:lnTo>
                  <a:lnTo>
                    <a:pt x="92" y="293"/>
                  </a:lnTo>
                  <a:lnTo>
                    <a:pt x="88" y="290"/>
                  </a:lnTo>
                  <a:lnTo>
                    <a:pt x="84" y="285"/>
                  </a:lnTo>
                  <a:lnTo>
                    <a:pt x="82" y="280"/>
                  </a:lnTo>
                  <a:lnTo>
                    <a:pt x="82" y="280"/>
                  </a:lnTo>
                  <a:lnTo>
                    <a:pt x="84" y="273"/>
                  </a:lnTo>
                  <a:lnTo>
                    <a:pt x="88" y="267"/>
                  </a:lnTo>
                  <a:lnTo>
                    <a:pt x="92" y="265"/>
                  </a:lnTo>
                  <a:lnTo>
                    <a:pt x="98" y="263"/>
                  </a:lnTo>
                  <a:lnTo>
                    <a:pt x="98" y="263"/>
                  </a:lnTo>
                  <a:lnTo>
                    <a:pt x="104" y="265"/>
                  </a:lnTo>
                  <a:lnTo>
                    <a:pt x="109" y="267"/>
                  </a:lnTo>
                  <a:lnTo>
                    <a:pt x="113" y="273"/>
                  </a:lnTo>
                  <a:lnTo>
                    <a:pt x="113" y="280"/>
                  </a:lnTo>
                  <a:lnTo>
                    <a:pt x="113" y="280"/>
                  </a:lnTo>
                  <a:lnTo>
                    <a:pt x="113" y="285"/>
                  </a:lnTo>
                  <a:lnTo>
                    <a:pt x="109" y="290"/>
                  </a:lnTo>
                  <a:lnTo>
                    <a:pt x="104" y="293"/>
                  </a:lnTo>
                  <a:lnTo>
                    <a:pt x="98" y="294"/>
                  </a:lnTo>
                  <a:lnTo>
                    <a:pt x="98" y="294"/>
                  </a:lnTo>
                  <a:close/>
                  <a:moveTo>
                    <a:pt x="175" y="238"/>
                  </a:moveTo>
                  <a:lnTo>
                    <a:pt x="22" y="238"/>
                  </a:lnTo>
                  <a:lnTo>
                    <a:pt x="22" y="78"/>
                  </a:lnTo>
                  <a:lnTo>
                    <a:pt x="113" y="78"/>
                  </a:lnTo>
                  <a:lnTo>
                    <a:pt x="113" y="129"/>
                  </a:lnTo>
                  <a:lnTo>
                    <a:pt x="113" y="129"/>
                  </a:lnTo>
                  <a:lnTo>
                    <a:pt x="114" y="132"/>
                  </a:lnTo>
                  <a:lnTo>
                    <a:pt x="114" y="133"/>
                  </a:lnTo>
                  <a:lnTo>
                    <a:pt x="117" y="135"/>
                  </a:lnTo>
                  <a:lnTo>
                    <a:pt x="118" y="135"/>
                  </a:lnTo>
                  <a:lnTo>
                    <a:pt x="175" y="135"/>
                  </a:lnTo>
                  <a:lnTo>
                    <a:pt x="175" y="238"/>
                  </a:lnTo>
                  <a:close/>
                  <a:moveTo>
                    <a:pt x="289" y="125"/>
                  </a:moveTo>
                  <a:lnTo>
                    <a:pt x="124" y="125"/>
                  </a:lnTo>
                  <a:lnTo>
                    <a:pt x="124" y="53"/>
                  </a:lnTo>
                  <a:lnTo>
                    <a:pt x="289" y="53"/>
                  </a:lnTo>
                  <a:lnTo>
                    <a:pt x="289" y="125"/>
                  </a:lnTo>
                  <a:close/>
                  <a:moveTo>
                    <a:pt x="289" y="42"/>
                  </a:moveTo>
                  <a:lnTo>
                    <a:pt x="124" y="42"/>
                  </a:lnTo>
                  <a:lnTo>
                    <a:pt x="124" y="11"/>
                  </a:lnTo>
                  <a:lnTo>
                    <a:pt x="289" y="11"/>
                  </a:lnTo>
                  <a:lnTo>
                    <a:pt x="289" y="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98" name="Group 197">
            <a:extLst>
              <a:ext uri="{FF2B5EF4-FFF2-40B4-BE49-F238E27FC236}">
                <a16:creationId xmlns:a16="http://schemas.microsoft.com/office/drawing/2014/main" id="{79887B2F-ECCD-4507-8635-906A6C464749}"/>
              </a:ext>
            </a:extLst>
          </p:cNvPr>
          <p:cNvGrpSpPr>
            <a:grpSpLocks noChangeAspect="1"/>
          </p:cNvGrpSpPr>
          <p:nvPr/>
        </p:nvGrpSpPr>
        <p:grpSpPr>
          <a:xfrm>
            <a:off x="7823628" y="5743246"/>
            <a:ext cx="320040" cy="320040"/>
            <a:chOff x="11117263" y="5011738"/>
            <a:chExt cx="520700" cy="520700"/>
          </a:xfrm>
        </p:grpSpPr>
        <p:sp>
          <p:nvSpPr>
            <p:cNvPr id="199" name="Freeform 75">
              <a:extLst>
                <a:ext uri="{FF2B5EF4-FFF2-40B4-BE49-F238E27FC236}">
                  <a16:creationId xmlns:a16="http://schemas.microsoft.com/office/drawing/2014/main" id="{D44E2514-59B1-4159-B10D-8A10B5EA36A7}"/>
                </a:ext>
              </a:extLst>
            </p:cNvPr>
            <p:cNvSpPr>
              <a:spLocks noEditPoints="1"/>
            </p:cNvSpPr>
            <p:nvPr/>
          </p:nvSpPr>
          <p:spPr bwMode="auto">
            <a:xfrm>
              <a:off x="11117263" y="5011738"/>
              <a:ext cx="520700" cy="520700"/>
            </a:xfrm>
            <a:custGeom>
              <a:avLst/>
              <a:gdLst>
                <a:gd name="T0" fmla="*/ 312 w 657"/>
                <a:gd name="T1" fmla="*/ 657 h 657"/>
                <a:gd name="T2" fmla="*/ 262 w 657"/>
                <a:gd name="T3" fmla="*/ 650 h 657"/>
                <a:gd name="T4" fmla="*/ 202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9 h 657"/>
                <a:gd name="T16" fmla="*/ 2 w 657"/>
                <a:gd name="T17" fmla="*/ 296 h 657"/>
                <a:gd name="T18" fmla="*/ 11 w 657"/>
                <a:gd name="T19" fmla="*/ 248 h 657"/>
                <a:gd name="T20" fmla="*/ 40 w 657"/>
                <a:gd name="T21" fmla="*/ 172 h 657"/>
                <a:gd name="T22" fmla="*/ 97 w 657"/>
                <a:gd name="T23" fmla="*/ 97 h 657"/>
                <a:gd name="T24" fmla="*/ 172 w 657"/>
                <a:gd name="T25" fmla="*/ 41 h 657"/>
                <a:gd name="T26" fmla="*/ 247 w 657"/>
                <a:gd name="T27" fmla="*/ 11 h 657"/>
                <a:gd name="T28" fmla="*/ 296 w 657"/>
                <a:gd name="T29" fmla="*/ 2 h 657"/>
                <a:gd name="T30" fmla="*/ 329 w 657"/>
                <a:gd name="T31" fmla="*/ 0 h 657"/>
                <a:gd name="T32" fmla="*/ 379 w 657"/>
                <a:gd name="T33" fmla="*/ 4 h 657"/>
                <a:gd name="T34" fmla="*/ 426 w 657"/>
                <a:gd name="T35" fmla="*/ 15 h 657"/>
                <a:gd name="T36" fmla="*/ 512 w 657"/>
                <a:gd name="T37" fmla="*/ 57 h 657"/>
                <a:gd name="T38" fmla="*/ 583 w 657"/>
                <a:gd name="T39" fmla="*/ 120 h 657"/>
                <a:gd name="T40" fmla="*/ 631 w 657"/>
                <a:gd name="T41" fmla="*/ 200 h 657"/>
                <a:gd name="T42" fmla="*/ 650 w 657"/>
                <a:gd name="T43" fmla="*/ 262 h 657"/>
                <a:gd name="T44" fmla="*/ 657 w 657"/>
                <a:gd name="T45" fmla="*/ 312 h 657"/>
                <a:gd name="T46" fmla="*/ 657 w 657"/>
                <a:gd name="T47" fmla="*/ 346 h 657"/>
                <a:gd name="T48" fmla="*/ 650 w 657"/>
                <a:gd name="T49" fmla="*/ 395 h 657"/>
                <a:gd name="T50" fmla="*/ 631 w 657"/>
                <a:gd name="T51" fmla="*/ 457 h 657"/>
                <a:gd name="T52" fmla="*/ 583 w 657"/>
                <a:gd name="T53" fmla="*/ 538 h 657"/>
                <a:gd name="T54" fmla="*/ 512 w 657"/>
                <a:gd name="T55" fmla="*/ 602 h 657"/>
                <a:gd name="T56" fmla="*/ 426 w 657"/>
                <a:gd name="T57" fmla="*/ 642 h 657"/>
                <a:gd name="T58" fmla="*/ 379 w 657"/>
                <a:gd name="T59" fmla="*/ 654 h 657"/>
                <a:gd name="T60" fmla="*/ 329 w 657"/>
                <a:gd name="T61" fmla="*/ 657 h 657"/>
                <a:gd name="T62" fmla="*/ 329 w 657"/>
                <a:gd name="T63" fmla="*/ 38 h 657"/>
                <a:gd name="T64" fmla="*/ 242 w 657"/>
                <a:gd name="T65" fmla="*/ 51 h 657"/>
                <a:gd name="T66" fmla="*/ 167 w 657"/>
                <a:gd name="T67" fmla="*/ 88 h 657"/>
                <a:gd name="T68" fmla="*/ 105 w 657"/>
                <a:gd name="T69" fmla="*/ 144 h 657"/>
                <a:gd name="T70" fmla="*/ 61 w 657"/>
                <a:gd name="T71" fmla="*/ 215 h 657"/>
                <a:gd name="T72" fmla="*/ 39 w 657"/>
                <a:gd name="T73" fmla="*/ 300 h 657"/>
                <a:gd name="T74" fmla="*/ 39 w 657"/>
                <a:gd name="T75" fmla="*/ 359 h 657"/>
                <a:gd name="T76" fmla="*/ 61 w 657"/>
                <a:gd name="T77" fmla="*/ 442 h 657"/>
                <a:gd name="T78" fmla="*/ 105 w 657"/>
                <a:gd name="T79" fmla="*/ 513 h 657"/>
                <a:gd name="T80" fmla="*/ 167 w 657"/>
                <a:gd name="T81" fmla="*/ 570 h 657"/>
                <a:gd name="T82" fmla="*/ 242 w 657"/>
                <a:gd name="T83" fmla="*/ 607 h 657"/>
                <a:gd name="T84" fmla="*/ 329 w 657"/>
                <a:gd name="T85" fmla="*/ 620 h 657"/>
                <a:gd name="T86" fmla="*/ 387 w 657"/>
                <a:gd name="T87" fmla="*/ 614 h 657"/>
                <a:gd name="T88" fmla="*/ 468 w 657"/>
                <a:gd name="T89" fmla="*/ 585 h 657"/>
                <a:gd name="T90" fmla="*/ 535 w 657"/>
                <a:gd name="T91" fmla="*/ 535 h 657"/>
                <a:gd name="T92" fmla="*/ 584 w 657"/>
                <a:gd name="T93" fmla="*/ 468 h 657"/>
                <a:gd name="T94" fmla="*/ 614 w 657"/>
                <a:gd name="T95" fmla="*/ 387 h 657"/>
                <a:gd name="T96" fmla="*/ 619 w 657"/>
                <a:gd name="T97" fmla="*/ 329 h 657"/>
                <a:gd name="T98" fmla="*/ 607 w 657"/>
                <a:gd name="T99" fmla="*/ 242 h 657"/>
                <a:gd name="T100" fmla="*/ 570 w 657"/>
                <a:gd name="T101" fmla="*/ 167 h 657"/>
                <a:gd name="T102" fmla="*/ 515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6"/>
                  </a:lnTo>
                  <a:lnTo>
                    <a:pt x="278" y="654"/>
                  </a:lnTo>
                  <a:lnTo>
                    <a:pt x="262" y="650"/>
                  </a:lnTo>
                  <a:lnTo>
                    <a:pt x="247" y="648"/>
                  </a:lnTo>
                  <a:lnTo>
                    <a:pt x="231" y="642"/>
                  </a:lnTo>
                  <a:lnTo>
                    <a:pt x="202" y="632"/>
                  </a:lnTo>
                  <a:lnTo>
                    <a:pt x="172" y="618"/>
                  </a:lnTo>
                  <a:lnTo>
                    <a:pt x="145" y="602"/>
                  </a:lnTo>
                  <a:lnTo>
                    <a:pt x="120" y="582"/>
                  </a:lnTo>
                  <a:lnTo>
                    <a:pt x="97" y="562"/>
                  </a:lnTo>
                  <a:lnTo>
                    <a:pt x="75" y="538"/>
                  </a:lnTo>
                  <a:lnTo>
                    <a:pt x="57" y="512"/>
                  </a:lnTo>
                  <a:lnTo>
                    <a:pt x="40" y="485"/>
                  </a:lnTo>
                  <a:lnTo>
                    <a:pt x="26" y="457"/>
                  </a:lnTo>
                  <a:lnTo>
                    <a:pt x="15" y="426"/>
                  </a:lnTo>
                  <a:lnTo>
                    <a:pt x="11" y="411"/>
                  </a:lnTo>
                  <a:lnTo>
                    <a:pt x="7" y="395"/>
                  </a:lnTo>
                  <a:lnTo>
                    <a:pt x="4" y="379"/>
                  </a:lnTo>
                  <a:lnTo>
                    <a:pt x="2" y="363"/>
                  </a:lnTo>
                  <a:lnTo>
                    <a:pt x="0" y="346"/>
                  </a:lnTo>
                  <a:lnTo>
                    <a:pt x="0" y="329"/>
                  </a:lnTo>
                  <a:lnTo>
                    <a:pt x="0" y="329"/>
                  </a:lnTo>
                  <a:lnTo>
                    <a:pt x="0" y="312"/>
                  </a:lnTo>
                  <a:lnTo>
                    <a:pt x="2" y="296"/>
                  </a:lnTo>
                  <a:lnTo>
                    <a:pt x="4" y="278"/>
                  </a:lnTo>
                  <a:lnTo>
                    <a:pt x="7" y="262"/>
                  </a:lnTo>
                  <a:lnTo>
                    <a:pt x="11" y="248"/>
                  </a:lnTo>
                  <a:lnTo>
                    <a:pt x="15" y="231"/>
                  </a:lnTo>
                  <a:lnTo>
                    <a:pt x="26" y="200"/>
                  </a:lnTo>
                  <a:lnTo>
                    <a:pt x="40" y="172"/>
                  </a:lnTo>
                  <a:lnTo>
                    <a:pt x="57" y="145"/>
                  </a:lnTo>
                  <a:lnTo>
                    <a:pt x="75" y="120"/>
                  </a:lnTo>
                  <a:lnTo>
                    <a:pt x="97" y="97"/>
                  </a:lnTo>
                  <a:lnTo>
                    <a:pt x="120" y="76"/>
                  </a:lnTo>
                  <a:lnTo>
                    <a:pt x="145" y="57"/>
                  </a:lnTo>
                  <a:lnTo>
                    <a:pt x="172" y="41"/>
                  </a:lnTo>
                  <a:lnTo>
                    <a:pt x="202" y="26"/>
                  </a:lnTo>
                  <a:lnTo>
                    <a:pt x="231" y="15"/>
                  </a:lnTo>
                  <a:lnTo>
                    <a:pt x="247" y="11"/>
                  </a:lnTo>
                  <a:lnTo>
                    <a:pt x="262" y="7"/>
                  </a:lnTo>
                  <a:lnTo>
                    <a:pt x="278" y="4"/>
                  </a:lnTo>
                  <a:lnTo>
                    <a:pt x="296" y="2"/>
                  </a:lnTo>
                  <a:lnTo>
                    <a:pt x="312" y="0"/>
                  </a:lnTo>
                  <a:lnTo>
                    <a:pt x="329" y="0"/>
                  </a:lnTo>
                  <a:lnTo>
                    <a:pt x="329" y="0"/>
                  </a:lnTo>
                  <a:lnTo>
                    <a:pt x="345" y="0"/>
                  </a:lnTo>
                  <a:lnTo>
                    <a:pt x="363" y="2"/>
                  </a:lnTo>
                  <a:lnTo>
                    <a:pt x="379" y="4"/>
                  </a:lnTo>
                  <a:lnTo>
                    <a:pt x="395" y="7"/>
                  </a:lnTo>
                  <a:lnTo>
                    <a:pt x="411" y="11"/>
                  </a:lnTo>
                  <a:lnTo>
                    <a:pt x="426" y="15"/>
                  </a:lnTo>
                  <a:lnTo>
                    <a:pt x="457" y="26"/>
                  </a:lnTo>
                  <a:lnTo>
                    <a:pt x="485" y="41"/>
                  </a:lnTo>
                  <a:lnTo>
                    <a:pt x="512" y="57"/>
                  </a:lnTo>
                  <a:lnTo>
                    <a:pt x="537" y="76"/>
                  </a:lnTo>
                  <a:lnTo>
                    <a:pt x="562" y="97"/>
                  </a:lnTo>
                  <a:lnTo>
                    <a:pt x="583" y="120"/>
                  </a:lnTo>
                  <a:lnTo>
                    <a:pt x="602" y="145"/>
                  </a:lnTo>
                  <a:lnTo>
                    <a:pt x="618" y="172"/>
                  </a:lnTo>
                  <a:lnTo>
                    <a:pt x="631" y="200"/>
                  </a:lnTo>
                  <a:lnTo>
                    <a:pt x="642" y="231"/>
                  </a:lnTo>
                  <a:lnTo>
                    <a:pt x="648" y="248"/>
                  </a:lnTo>
                  <a:lnTo>
                    <a:pt x="650" y="262"/>
                  </a:lnTo>
                  <a:lnTo>
                    <a:pt x="654" y="278"/>
                  </a:lnTo>
                  <a:lnTo>
                    <a:pt x="656" y="296"/>
                  </a:lnTo>
                  <a:lnTo>
                    <a:pt x="657" y="312"/>
                  </a:lnTo>
                  <a:lnTo>
                    <a:pt x="657" y="329"/>
                  </a:lnTo>
                  <a:lnTo>
                    <a:pt x="657" y="329"/>
                  </a:lnTo>
                  <a:lnTo>
                    <a:pt x="657" y="346"/>
                  </a:lnTo>
                  <a:lnTo>
                    <a:pt x="656" y="363"/>
                  </a:lnTo>
                  <a:lnTo>
                    <a:pt x="654" y="379"/>
                  </a:lnTo>
                  <a:lnTo>
                    <a:pt x="650" y="395"/>
                  </a:lnTo>
                  <a:lnTo>
                    <a:pt x="648" y="411"/>
                  </a:lnTo>
                  <a:lnTo>
                    <a:pt x="642" y="426"/>
                  </a:lnTo>
                  <a:lnTo>
                    <a:pt x="631" y="457"/>
                  </a:lnTo>
                  <a:lnTo>
                    <a:pt x="618" y="485"/>
                  </a:lnTo>
                  <a:lnTo>
                    <a:pt x="602" y="512"/>
                  </a:lnTo>
                  <a:lnTo>
                    <a:pt x="583" y="538"/>
                  </a:lnTo>
                  <a:lnTo>
                    <a:pt x="562" y="562"/>
                  </a:lnTo>
                  <a:lnTo>
                    <a:pt x="537" y="582"/>
                  </a:lnTo>
                  <a:lnTo>
                    <a:pt x="512" y="602"/>
                  </a:lnTo>
                  <a:lnTo>
                    <a:pt x="485" y="618"/>
                  </a:lnTo>
                  <a:lnTo>
                    <a:pt x="457" y="632"/>
                  </a:lnTo>
                  <a:lnTo>
                    <a:pt x="426" y="642"/>
                  </a:lnTo>
                  <a:lnTo>
                    <a:pt x="411" y="648"/>
                  </a:lnTo>
                  <a:lnTo>
                    <a:pt x="395" y="650"/>
                  </a:lnTo>
                  <a:lnTo>
                    <a:pt x="379" y="654"/>
                  </a:lnTo>
                  <a:lnTo>
                    <a:pt x="363" y="656"/>
                  </a:lnTo>
                  <a:lnTo>
                    <a:pt x="345" y="657"/>
                  </a:lnTo>
                  <a:lnTo>
                    <a:pt x="329" y="657"/>
                  </a:lnTo>
                  <a:lnTo>
                    <a:pt x="329" y="657"/>
                  </a:lnTo>
                  <a:close/>
                  <a:moveTo>
                    <a:pt x="329" y="38"/>
                  </a:moveTo>
                  <a:lnTo>
                    <a:pt x="329" y="38"/>
                  </a:lnTo>
                  <a:lnTo>
                    <a:pt x="300" y="39"/>
                  </a:lnTo>
                  <a:lnTo>
                    <a:pt x="270" y="43"/>
                  </a:lnTo>
                  <a:lnTo>
                    <a:pt x="242" y="51"/>
                  </a:lnTo>
                  <a:lnTo>
                    <a:pt x="215" y="61"/>
                  </a:lnTo>
                  <a:lnTo>
                    <a:pt x="190" y="73"/>
                  </a:lnTo>
                  <a:lnTo>
                    <a:pt x="167" y="88"/>
                  </a:lnTo>
                  <a:lnTo>
                    <a:pt x="144" y="104"/>
                  </a:lnTo>
                  <a:lnTo>
                    <a:pt x="124" y="123"/>
                  </a:lnTo>
                  <a:lnTo>
                    <a:pt x="105" y="144"/>
                  </a:lnTo>
                  <a:lnTo>
                    <a:pt x="87" y="167"/>
                  </a:lnTo>
                  <a:lnTo>
                    <a:pt x="73" y="190"/>
                  </a:lnTo>
                  <a:lnTo>
                    <a:pt x="61" y="215"/>
                  </a:lnTo>
                  <a:lnTo>
                    <a:pt x="51" y="242"/>
                  </a:lnTo>
                  <a:lnTo>
                    <a:pt x="43" y="270"/>
                  </a:lnTo>
                  <a:lnTo>
                    <a:pt x="39" y="300"/>
                  </a:lnTo>
                  <a:lnTo>
                    <a:pt x="38" y="329"/>
                  </a:lnTo>
                  <a:lnTo>
                    <a:pt x="38" y="329"/>
                  </a:lnTo>
                  <a:lnTo>
                    <a:pt x="39" y="359"/>
                  </a:lnTo>
                  <a:lnTo>
                    <a:pt x="43" y="387"/>
                  </a:lnTo>
                  <a:lnTo>
                    <a:pt x="51" y="415"/>
                  </a:lnTo>
                  <a:lnTo>
                    <a:pt x="61" y="442"/>
                  </a:lnTo>
                  <a:lnTo>
                    <a:pt x="73" y="468"/>
                  </a:lnTo>
                  <a:lnTo>
                    <a:pt x="87" y="492"/>
                  </a:lnTo>
                  <a:lnTo>
                    <a:pt x="105" y="513"/>
                  </a:lnTo>
                  <a:lnTo>
                    <a:pt x="124" y="535"/>
                  </a:lnTo>
                  <a:lnTo>
                    <a:pt x="144" y="554"/>
                  </a:lnTo>
                  <a:lnTo>
                    <a:pt x="167" y="570"/>
                  </a:lnTo>
                  <a:lnTo>
                    <a:pt x="190" y="585"/>
                  </a:lnTo>
                  <a:lnTo>
                    <a:pt x="215" y="597"/>
                  </a:lnTo>
                  <a:lnTo>
                    <a:pt x="242" y="607"/>
                  </a:lnTo>
                  <a:lnTo>
                    <a:pt x="270" y="614"/>
                  </a:lnTo>
                  <a:lnTo>
                    <a:pt x="300" y="618"/>
                  </a:lnTo>
                  <a:lnTo>
                    <a:pt x="329" y="620"/>
                  </a:lnTo>
                  <a:lnTo>
                    <a:pt x="329" y="620"/>
                  </a:lnTo>
                  <a:lnTo>
                    <a:pt x="359" y="618"/>
                  </a:lnTo>
                  <a:lnTo>
                    <a:pt x="387" y="614"/>
                  </a:lnTo>
                  <a:lnTo>
                    <a:pt x="415" y="607"/>
                  </a:lnTo>
                  <a:lnTo>
                    <a:pt x="442" y="597"/>
                  </a:lnTo>
                  <a:lnTo>
                    <a:pt x="468" y="585"/>
                  </a:lnTo>
                  <a:lnTo>
                    <a:pt x="492" y="570"/>
                  </a:lnTo>
                  <a:lnTo>
                    <a:pt x="515" y="554"/>
                  </a:lnTo>
                  <a:lnTo>
                    <a:pt x="535" y="535"/>
                  </a:lnTo>
                  <a:lnTo>
                    <a:pt x="554" y="513"/>
                  </a:lnTo>
                  <a:lnTo>
                    <a:pt x="570" y="492"/>
                  </a:lnTo>
                  <a:lnTo>
                    <a:pt x="584" y="468"/>
                  </a:lnTo>
                  <a:lnTo>
                    <a:pt x="597" y="442"/>
                  </a:lnTo>
                  <a:lnTo>
                    <a:pt x="607" y="415"/>
                  </a:lnTo>
                  <a:lnTo>
                    <a:pt x="614" y="387"/>
                  </a:lnTo>
                  <a:lnTo>
                    <a:pt x="618" y="359"/>
                  </a:lnTo>
                  <a:lnTo>
                    <a:pt x="619" y="329"/>
                  </a:lnTo>
                  <a:lnTo>
                    <a:pt x="619" y="329"/>
                  </a:lnTo>
                  <a:lnTo>
                    <a:pt x="618" y="300"/>
                  </a:lnTo>
                  <a:lnTo>
                    <a:pt x="614" y="270"/>
                  </a:lnTo>
                  <a:lnTo>
                    <a:pt x="607" y="242"/>
                  </a:lnTo>
                  <a:lnTo>
                    <a:pt x="597" y="215"/>
                  </a:lnTo>
                  <a:lnTo>
                    <a:pt x="584" y="190"/>
                  </a:lnTo>
                  <a:lnTo>
                    <a:pt x="570" y="167"/>
                  </a:lnTo>
                  <a:lnTo>
                    <a:pt x="554" y="144"/>
                  </a:lnTo>
                  <a:lnTo>
                    <a:pt x="535" y="123"/>
                  </a:lnTo>
                  <a:lnTo>
                    <a:pt x="515" y="104"/>
                  </a:lnTo>
                  <a:lnTo>
                    <a:pt x="492" y="88"/>
                  </a:lnTo>
                  <a:lnTo>
                    <a:pt x="468" y="73"/>
                  </a:lnTo>
                  <a:lnTo>
                    <a:pt x="442" y="61"/>
                  </a:lnTo>
                  <a:lnTo>
                    <a:pt x="415" y="51"/>
                  </a:lnTo>
                  <a:lnTo>
                    <a:pt x="387" y="43"/>
                  </a:lnTo>
                  <a:lnTo>
                    <a:pt x="359" y="39"/>
                  </a:lnTo>
                  <a:lnTo>
                    <a:pt x="329" y="38"/>
                  </a:lnTo>
                  <a:lnTo>
                    <a:pt x="329" y="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00" name="Freeform 296">
              <a:extLst>
                <a:ext uri="{FF2B5EF4-FFF2-40B4-BE49-F238E27FC236}">
                  <a16:creationId xmlns:a16="http://schemas.microsoft.com/office/drawing/2014/main" id="{946F8B92-8B25-4A37-95AE-1CBFB91CC4BF}"/>
                </a:ext>
              </a:extLst>
            </p:cNvPr>
            <p:cNvSpPr>
              <a:spLocks noEditPoints="1"/>
            </p:cNvSpPr>
            <p:nvPr/>
          </p:nvSpPr>
          <p:spPr bwMode="auto">
            <a:xfrm>
              <a:off x="11296651" y="5153025"/>
              <a:ext cx="211138" cy="233363"/>
            </a:xfrm>
            <a:custGeom>
              <a:avLst/>
              <a:gdLst>
                <a:gd name="T0" fmla="*/ 200 w 266"/>
                <a:gd name="T1" fmla="*/ 154 h 294"/>
                <a:gd name="T2" fmla="*/ 200 w 266"/>
                <a:gd name="T3" fmla="*/ 23 h 294"/>
                <a:gd name="T4" fmla="*/ 198 w 266"/>
                <a:gd name="T5" fmla="*/ 15 h 294"/>
                <a:gd name="T6" fmla="*/ 192 w 266"/>
                <a:gd name="T7" fmla="*/ 7 h 294"/>
                <a:gd name="T8" fmla="*/ 186 w 266"/>
                <a:gd name="T9" fmla="*/ 1 h 294"/>
                <a:gd name="T10" fmla="*/ 176 w 266"/>
                <a:gd name="T11" fmla="*/ 0 h 294"/>
                <a:gd name="T12" fmla="*/ 24 w 266"/>
                <a:gd name="T13" fmla="*/ 0 h 294"/>
                <a:gd name="T14" fmla="*/ 15 w 266"/>
                <a:gd name="T15" fmla="*/ 1 h 294"/>
                <a:gd name="T16" fmla="*/ 7 w 266"/>
                <a:gd name="T17" fmla="*/ 7 h 294"/>
                <a:gd name="T18" fmla="*/ 2 w 266"/>
                <a:gd name="T19" fmla="*/ 15 h 294"/>
                <a:gd name="T20" fmla="*/ 0 w 266"/>
                <a:gd name="T21" fmla="*/ 23 h 294"/>
                <a:gd name="T22" fmla="*/ 0 w 266"/>
                <a:gd name="T23" fmla="*/ 270 h 294"/>
                <a:gd name="T24" fmla="*/ 2 w 266"/>
                <a:gd name="T25" fmla="*/ 279 h 294"/>
                <a:gd name="T26" fmla="*/ 7 w 266"/>
                <a:gd name="T27" fmla="*/ 287 h 294"/>
                <a:gd name="T28" fmla="*/ 15 w 266"/>
                <a:gd name="T29" fmla="*/ 293 h 294"/>
                <a:gd name="T30" fmla="*/ 24 w 266"/>
                <a:gd name="T31" fmla="*/ 294 h 294"/>
                <a:gd name="T32" fmla="*/ 176 w 266"/>
                <a:gd name="T33" fmla="*/ 294 h 294"/>
                <a:gd name="T34" fmla="*/ 186 w 266"/>
                <a:gd name="T35" fmla="*/ 293 h 294"/>
                <a:gd name="T36" fmla="*/ 192 w 266"/>
                <a:gd name="T37" fmla="*/ 287 h 294"/>
                <a:gd name="T38" fmla="*/ 198 w 266"/>
                <a:gd name="T39" fmla="*/ 279 h 294"/>
                <a:gd name="T40" fmla="*/ 200 w 266"/>
                <a:gd name="T41" fmla="*/ 270 h 294"/>
                <a:gd name="T42" fmla="*/ 211 w 266"/>
                <a:gd name="T43" fmla="*/ 274 h 294"/>
                <a:gd name="T44" fmla="*/ 215 w 266"/>
                <a:gd name="T45" fmla="*/ 275 h 294"/>
                <a:gd name="T46" fmla="*/ 218 w 266"/>
                <a:gd name="T47" fmla="*/ 274 h 294"/>
                <a:gd name="T48" fmla="*/ 219 w 266"/>
                <a:gd name="T49" fmla="*/ 270 h 294"/>
                <a:gd name="T50" fmla="*/ 108 w 266"/>
                <a:gd name="T51" fmla="*/ 157 h 294"/>
                <a:gd name="T52" fmla="*/ 104 w 266"/>
                <a:gd name="T53" fmla="*/ 152 h 294"/>
                <a:gd name="T54" fmla="*/ 100 w 266"/>
                <a:gd name="T55" fmla="*/ 142 h 294"/>
                <a:gd name="T56" fmla="*/ 100 w 266"/>
                <a:gd name="T57" fmla="*/ 132 h 294"/>
                <a:gd name="T58" fmla="*/ 104 w 266"/>
                <a:gd name="T59" fmla="*/ 121 h 294"/>
                <a:gd name="T60" fmla="*/ 108 w 266"/>
                <a:gd name="T61" fmla="*/ 116 h 294"/>
                <a:gd name="T62" fmla="*/ 116 w 266"/>
                <a:gd name="T63" fmla="*/ 110 h 294"/>
                <a:gd name="T64" fmla="*/ 126 w 266"/>
                <a:gd name="T65" fmla="*/ 107 h 294"/>
                <a:gd name="T66" fmla="*/ 137 w 266"/>
                <a:gd name="T67" fmla="*/ 110 h 294"/>
                <a:gd name="T68" fmla="*/ 148 w 266"/>
                <a:gd name="T69" fmla="*/ 116 h 294"/>
                <a:gd name="T70" fmla="*/ 258 w 266"/>
                <a:gd name="T71" fmla="*/ 227 h 294"/>
                <a:gd name="T72" fmla="*/ 265 w 266"/>
                <a:gd name="T73" fmla="*/ 227 h 294"/>
                <a:gd name="T74" fmla="*/ 266 w 266"/>
                <a:gd name="T75" fmla="*/ 223 h 294"/>
                <a:gd name="T76" fmla="*/ 265 w 266"/>
                <a:gd name="T77" fmla="*/ 220 h 294"/>
                <a:gd name="T78" fmla="*/ 100 w 266"/>
                <a:gd name="T79" fmla="*/ 270 h 294"/>
                <a:gd name="T80" fmla="*/ 90 w 266"/>
                <a:gd name="T81" fmla="*/ 266 h 294"/>
                <a:gd name="T82" fmla="*/ 86 w 266"/>
                <a:gd name="T83" fmla="*/ 257 h 294"/>
                <a:gd name="T84" fmla="*/ 86 w 266"/>
                <a:gd name="T85" fmla="*/ 251 h 294"/>
                <a:gd name="T86" fmla="*/ 94 w 266"/>
                <a:gd name="T87" fmla="*/ 243 h 294"/>
                <a:gd name="T88" fmla="*/ 100 w 266"/>
                <a:gd name="T89" fmla="*/ 242 h 294"/>
                <a:gd name="T90" fmla="*/ 110 w 266"/>
                <a:gd name="T91" fmla="*/ 246 h 294"/>
                <a:gd name="T92" fmla="*/ 114 w 266"/>
                <a:gd name="T93" fmla="*/ 257 h 294"/>
                <a:gd name="T94" fmla="*/ 113 w 266"/>
                <a:gd name="T95" fmla="*/ 262 h 294"/>
                <a:gd name="T96" fmla="*/ 105 w 266"/>
                <a:gd name="T97" fmla="*/ 270 h 294"/>
                <a:gd name="T98" fmla="*/ 100 w 266"/>
                <a:gd name="T99" fmla="*/ 270 h 294"/>
                <a:gd name="T100" fmla="*/ 155 w 266"/>
                <a:gd name="T101" fmla="*/ 110 h 294"/>
                <a:gd name="T102" fmla="*/ 148 w 266"/>
                <a:gd name="T103" fmla="*/ 105 h 294"/>
                <a:gd name="T104" fmla="*/ 134 w 266"/>
                <a:gd name="T105" fmla="*/ 99 h 294"/>
                <a:gd name="T106" fmla="*/ 120 w 266"/>
                <a:gd name="T107" fmla="*/ 99 h 294"/>
                <a:gd name="T108" fmla="*/ 106 w 266"/>
                <a:gd name="T109" fmla="*/ 105 h 294"/>
                <a:gd name="T110" fmla="*/ 43 w 266"/>
                <a:gd name="T111" fmla="*/ 109 h 294"/>
                <a:gd name="T112" fmla="*/ 39 w 266"/>
                <a:gd name="T113" fmla="*/ 110 h 294"/>
                <a:gd name="T114" fmla="*/ 38 w 266"/>
                <a:gd name="T115" fmla="*/ 161 h 294"/>
                <a:gd name="T116" fmla="*/ 39 w 266"/>
                <a:gd name="T117" fmla="*/ 165 h 294"/>
                <a:gd name="T118" fmla="*/ 104 w 266"/>
                <a:gd name="T119" fmla="*/ 167 h 294"/>
                <a:gd name="T120" fmla="*/ 20 w 266"/>
                <a:gd name="T121" fmla="*/ 219 h 294"/>
                <a:gd name="T122" fmla="*/ 179 w 266"/>
                <a:gd name="T123" fmla="*/ 56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6" h="294">
                  <a:moveTo>
                    <a:pt x="265" y="220"/>
                  </a:moveTo>
                  <a:lnTo>
                    <a:pt x="200" y="154"/>
                  </a:lnTo>
                  <a:lnTo>
                    <a:pt x="200" y="23"/>
                  </a:lnTo>
                  <a:lnTo>
                    <a:pt x="200" y="23"/>
                  </a:lnTo>
                  <a:lnTo>
                    <a:pt x="199" y="19"/>
                  </a:lnTo>
                  <a:lnTo>
                    <a:pt x="198" y="15"/>
                  </a:lnTo>
                  <a:lnTo>
                    <a:pt x="196" y="11"/>
                  </a:lnTo>
                  <a:lnTo>
                    <a:pt x="192" y="7"/>
                  </a:lnTo>
                  <a:lnTo>
                    <a:pt x="190" y="4"/>
                  </a:lnTo>
                  <a:lnTo>
                    <a:pt x="186" y="1"/>
                  </a:lnTo>
                  <a:lnTo>
                    <a:pt x="180" y="0"/>
                  </a:lnTo>
                  <a:lnTo>
                    <a:pt x="176" y="0"/>
                  </a:lnTo>
                  <a:lnTo>
                    <a:pt x="24" y="0"/>
                  </a:lnTo>
                  <a:lnTo>
                    <a:pt x="24" y="0"/>
                  </a:lnTo>
                  <a:lnTo>
                    <a:pt x="19" y="0"/>
                  </a:lnTo>
                  <a:lnTo>
                    <a:pt x="15" y="1"/>
                  </a:lnTo>
                  <a:lnTo>
                    <a:pt x="11" y="4"/>
                  </a:lnTo>
                  <a:lnTo>
                    <a:pt x="7" y="7"/>
                  </a:lnTo>
                  <a:lnTo>
                    <a:pt x="4" y="11"/>
                  </a:lnTo>
                  <a:lnTo>
                    <a:pt x="2" y="15"/>
                  </a:lnTo>
                  <a:lnTo>
                    <a:pt x="0" y="19"/>
                  </a:lnTo>
                  <a:lnTo>
                    <a:pt x="0" y="23"/>
                  </a:lnTo>
                  <a:lnTo>
                    <a:pt x="0" y="270"/>
                  </a:lnTo>
                  <a:lnTo>
                    <a:pt x="0" y="270"/>
                  </a:lnTo>
                  <a:lnTo>
                    <a:pt x="0" y="275"/>
                  </a:lnTo>
                  <a:lnTo>
                    <a:pt x="2" y="279"/>
                  </a:lnTo>
                  <a:lnTo>
                    <a:pt x="4" y="283"/>
                  </a:lnTo>
                  <a:lnTo>
                    <a:pt x="7" y="287"/>
                  </a:lnTo>
                  <a:lnTo>
                    <a:pt x="11" y="290"/>
                  </a:lnTo>
                  <a:lnTo>
                    <a:pt x="15" y="293"/>
                  </a:lnTo>
                  <a:lnTo>
                    <a:pt x="19" y="294"/>
                  </a:lnTo>
                  <a:lnTo>
                    <a:pt x="24" y="294"/>
                  </a:lnTo>
                  <a:lnTo>
                    <a:pt x="176" y="294"/>
                  </a:lnTo>
                  <a:lnTo>
                    <a:pt x="176" y="294"/>
                  </a:lnTo>
                  <a:lnTo>
                    <a:pt x="180" y="294"/>
                  </a:lnTo>
                  <a:lnTo>
                    <a:pt x="186" y="293"/>
                  </a:lnTo>
                  <a:lnTo>
                    <a:pt x="190" y="290"/>
                  </a:lnTo>
                  <a:lnTo>
                    <a:pt x="192" y="287"/>
                  </a:lnTo>
                  <a:lnTo>
                    <a:pt x="196" y="283"/>
                  </a:lnTo>
                  <a:lnTo>
                    <a:pt x="198" y="279"/>
                  </a:lnTo>
                  <a:lnTo>
                    <a:pt x="199" y="275"/>
                  </a:lnTo>
                  <a:lnTo>
                    <a:pt x="200" y="270"/>
                  </a:lnTo>
                  <a:lnTo>
                    <a:pt x="200" y="262"/>
                  </a:lnTo>
                  <a:lnTo>
                    <a:pt x="211" y="274"/>
                  </a:lnTo>
                  <a:lnTo>
                    <a:pt x="211" y="274"/>
                  </a:lnTo>
                  <a:lnTo>
                    <a:pt x="215" y="275"/>
                  </a:lnTo>
                  <a:lnTo>
                    <a:pt x="215" y="275"/>
                  </a:lnTo>
                  <a:lnTo>
                    <a:pt x="218" y="274"/>
                  </a:lnTo>
                  <a:lnTo>
                    <a:pt x="218" y="274"/>
                  </a:lnTo>
                  <a:lnTo>
                    <a:pt x="219" y="270"/>
                  </a:lnTo>
                  <a:lnTo>
                    <a:pt x="218" y="267"/>
                  </a:lnTo>
                  <a:lnTo>
                    <a:pt x="108" y="157"/>
                  </a:lnTo>
                  <a:lnTo>
                    <a:pt x="108" y="157"/>
                  </a:lnTo>
                  <a:lnTo>
                    <a:pt x="104" y="152"/>
                  </a:lnTo>
                  <a:lnTo>
                    <a:pt x="101" y="148"/>
                  </a:lnTo>
                  <a:lnTo>
                    <a:pt x="100" y="142"/>
                  </a:lnTo>
                  <a:lnTo>
                    <a:pt x="98" y="137"/>
                  </a:lnTo>
                  <a:lnTo>
                    <a:pt x="100" y="132"/>
                  </a:lnTo>
                  <a:lnTo>
                    <a:pt x="101" y="126"/>
                  </a:lnTo>
                  <a:lnTo>
                    <a:pt x="104" y="121"/>
                  </a:lnTo>
                  <a:lnTo>
                    <a:pt x="108" y="116"/>
                  </a:lnTo>
                  <a:lnTo>
                    <a:pt x="108" y="116"/>
                  </a:lnTo>
                  <a:lnTo>
                    <a:pt x="112" y="113"/>
                  </a:lnTo>
                  <a:lnTo>
                    <a:pt x="116" y="110"/>
                  </a:lnTo>
                  <a:lnTo>
                    <a:pt x="121" y="109"/>
                  </a:lnTo>
                  <a:lnTo>
                    <a:pt x="126" y="107"/>
                  </a:lnTo>
                  <a:lnTo>
                    <a:pt x="133" y="109"/>
                  </a:lnTo>
                  <a:lnTo>
                    <a:pt x="137" y="110"/>
                  </a:lnTo>
                  <a:lnTo>
                    <a:pt x="143" y="113"/>
                  </a:lnTo>
                  <a:lnTo>
                    <a:pt x="148" y="116"/>
                  </a:lnTo>
                  <a:lnTo>
                    <a:pt x="258" y="227"/>
                  </a:lnTo>
                  <a:lnTo>
                    <a:pt x="258" y="227"/>
                  </a:lnTo>
                  <a:lnTo>
                    <a:pt x="262" y="228"/>
                  </a:lnTo>
                  <a:lnTo>
                    <a:pt x="265" y="227"/>
                  </a:lnTo>
                  <a:lnTo>
                    <a:pt x="265" y="227"/>
                  </a:lnTo>
                  <a:lnTo>
                    <a:pt x="266" y="223"/>
                  </a:lnTo>
                  <a:lnTo>
                    <a:pt x="265" y="220"/>
                  </a:lnTo>
                  <a:lnTo>
                    <a:pt x="265" y="220"/>
                  </a:lnTo>
                  <a:close/>
                  <a:moveTo>
                    <a:pt x="100" y="270"/>
                  </a:moveTo>
                  <a:lnTo>
                    <a:pt x="100" y="270"/>
                  </a:lnTo>
                  <a:lnTo>
                    <a:pt x="94" y="270"/>
                  </a:lnTo>
                  <a:lnTo>
                    <a:pt x="90" y="266"/>
                  </a:lnTo>
                  <a:lnTo>
                    <a:pt x="86" y="262"/>
                  </a:lnTo>
                  <a:lnTo>
                    <a:pt x="86" y="257"/>
                  </a:lnTo>
                  <a:lnTo>
                    <a:pt x="86" y="257"/>
                  </a:lnTo>
                  <a:lnTo>
                    <a:pt x="86" y="251"/>
                  </a:lnTo>
                  <a:lnTo>
                    <a:pt x="90" y="246"/>
                  </a:lnTo>
                  <a:lnTo>
                    <a:pt x="94" y="243"/>
                  </a:lnTo>
                  <a:lnTo>
                    <a:pt x="100" y="242"/>
                  </a:lnTo>
                  <a:lnTo>
                    <a:pt x="100" y="242"/>
                  </a:lnTo>
                  <a:lnTo>
                    <a:pt x="105" y="243"/>
                  </a:lnTo>
                  <a:lnTo>
                    <a:pt x="110" y="246"/>
                  </a:lnTo>
                  <a:lnTo>
                    <a:pt x="113" y="251"/>
                  </a:lnTo>
                  <a:lnTo>
                    <a:pt x="114" y="257"/>
                  </a:lnTo>
                  <a:lnTo>
                    <a:pt x="114" y="257"/>
                  </a:lnTo>
                  <a:lnTo>
                    <a:pt x="113" y="262"/>
                  </a:lnTo>
                  <a:lnTo>
                    <a:pt x="110" y="266"/>
                  </a:lnTo>
                  <a:lnTo>
                    <a:pt x="105" y="270"/>
                  </a:lnTo>
                  <a:lnTo>
                    <a:pt x="100" y="270"/>
                  </a:lnTo>
                  <a:lnTo>
                    <a:pt x="100" y="270"/>
                  </a:lnTo>
                  <a:close/>
                  <a:moveTo>
                    <a:pt x="179" y="134"/>
                  </a:moveTo>
                  <a:lnTo>
                    <a:pt x="155" y="110"/>
                  </a:lnTo>
                  <a:lnTo>
                    <a:pt x="155" y="110"/>
                  </a:lnTo>
                  <a:lnTo>
                    <a:pt x="148" y="105"/>
                  </a:lnTo>
                  <a:lnTo>
                    <a:pt x="141" y="101"/>
                  </a:lnTo>
                  <a:lnTo>
                    <a:pt x="134" y="99"/>
                  </a:lnTo>
                  <a:lnTo>
                    <a:pt x="128" y="98"/>
                  </a:lnTo>
                  <a:lnTo>
                    <a:pt x="120" y="99"/>
                  </a:lnTo>
                  <a:lnTo>
                    <a:pt x="113" y="101"/>
                  </a:lnTo>
                  <a:lnTo>
                    <a:pt x="106" y="105"/>
                  </a:lnTo>
                  <a:lnTo>
                    <a:pt x="101" y="109"/>
                  </a:lnTo>
                  <a:lnTo>
                    <a:pt x="43" y="109"/>
                  </a:lnTo>
                  <a:lnTo>
                    <a:pt x="43" y="109"/>
                  </a:lnTo>
                  <a:lnTo>
                    <a:pt x="39" y="110"/>
                  </a:lnTo>
                  <a:lnTo>
                    <a:pt x="38" y="114"/>
                  </a:lnTo>
                  <a:lnTo>
                    <a:pt x="38" y="161"/>
                  </a:lnTo>
                  <a:lnTo>
                    <a:pt x="38" y="161"/>
                  </a:lnTo>
                  <a:lnTo>
                    <a:pt x="39" y="165"/>
                  </a:lnTo>
                  <a:lnTo>
                    <a:pt x="43" y="167"/>
                  </a:lnTo>
                  <a:lnTo>
                    <a:pt x="104" y="167"/>
                  </a:lnTo>
                  <a:lnTo>
                    <a:pt x="156" y="219"/>
                  </a:lnTo>
                  <a:lnTo>
                    <a:pt x="20" y="219"/>
                  </a:lnTo>
                  <a:lnTo>
                    <a:pt x="20" y="56"/>
                  </a:lnTo>
                  <a:lnTo>
                    <a:pt x="179" y="56"/>
                  </a:lnTo>
                  <a:lnTo>
                    <a:pt x="179" y="1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01" name="Freeform 297">
              <a:extLst>
                <a:ext uri="{FF2B5EF4-FFF2-40B4-BE49-F238E27FC236}">
                  <a16:creationId xmlns:a16="http://schemas.microsoft.com/office/drawing/2014/main" id="{4F19B839-3E87-4021-9502-9B6E4DC20295}"/>
                </a:ext>
              </a:extLst>
            </p:cNvPr>
            <p:cNvSpPr>
              <a:spLocks/>
            </p:cNvSpPr>
            <p:nvPr/>
          </p:nvSpPr>
          <p:spPr bwMode="auto">
            <a:xfrm>
              <a:off x="11398251" y="5262563"/>
              <a:ext cx="15875" cy="15875"/>
            </a:xfrm>
            <a:custGeom>
              <a:avLst/>
              <a:gdLst>
                <a:gd name="T0" fmla="*/ 12 w 20"/>
                <a:gd name="T1" fmla="*/ 1 h 20"/>
                <a:gd name="T2" fmla="*/ 2 w 20"/>
                <a:gd name="T3" fmla="*/ 12 h 20"/>
                <a:gd name="T4" fmla="*/ 2 w 20"/>
                <a:gd name="T5" fmla="*/ 12 h 20"/>
                <a:gd name="T6" fmla="*/ 0 w 20"/>
                <a:gd name="T7" fmla="*/ 15 h 20"/>
                <a:gd name="T8" fmla="*/ 2 w 20"/>
                <a:gd name="T9" fmla="*/ 17 h 20"/>
                <a:gd name="T10" fmla="*/ 2 w 20"/>
                <a:gd name="T11" fmla="*/ 17 h 20"/>
                <a:gd name="T12" fmla="*/ 5 w 20"/>
                <a:gd name="T13" fmla="*/ 20 h 20"/>
                <a:gd name="T14" fmla="*/ 5 w 20"/>
                <a:gd name="T15" fmla="*/ 20 h 20"/>
                <a:gd name="T16" fmla="*/ 8 w 20"/>
                <a:gd name="T17" fmla="*/ 17 h 20"/>
                <a:gd name="T18" fmla="*/ 19 w 20"/>
                <a:gd name="T19" fmla="*/ 8 h 20"/>
                <a:gd name="T20" fmla="*/ 19 w 20"/>
                <a:gd name="T21" fmla="*/ 8 h 20"/>
                <a:gd name="T22" fmla="*/ 20 w 20"/>
                <a:gd name="T23" fmla="*/ 5 h 20"/>
                <a:gd name="T24" fmla="*/ 19 w 20"/>
                <a:gd name="T25" fmla="*/ 1 h 20"/>
                <a:gd name="T26" fmla="*/ 19 w 20"/>
                <a:gd name="T27" fmla="*/ 1 h 20"/>
                <a:gd name="T28" fmla="*/ 15 w 20"/>
                <a:gd name="T29" fmla="*/ 0 h 20"/>
                <a:gd name="T30" fmla="*/ 12 w 20"/>
                <a:gd name="T31" fmla="*/ 1 h 20"/>
                <a:gd name="T32" fmla="*/ 12 w 20"/>
                <a:gd name="T33"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2" y="1"/>
                  </a:moveTo>
                  <a:lnTo>
                    <a:pt x="2" y="12"/>
                  </a:lnTo>
                  <a:lnTo>
                    <a:pt x="2" y="12"/>
                  </a:lnTo>
                  <a:lnTo>
                    <a:pt x="0" y="15"/>
                  </a:lnTo>
                  <a:lnTo>
                    <a:pt x="2" y="17"/>
                  </a:lnTo>
                  <a:lnTo>
                    <a:pt x="2" y="17"/>
                  </a:lnTo>
                  <a:lnTo>
                    <a:pt x="5" y="20"/>
                  </a:lnTo>
                  <a:lnTo>
                    <a:pt x="5" y="20"/>
                  </a:lnTo>
                  <a:lnTo>
                    <a:pt x="8" y="17"/>
                  </a:lnTo>
                  <a:lnTo>
                    <a:pt x="19" y="8"/>
                  </a:lnTo>
                  <a:lnTo>
                    <a:pt x="19" y="8"/>
                  </a:lnTo>
                  <a:lnTo>
                    <a:pt x="20" y="5"/>
                  </a:lnTo>
                  <a:lnTo>
                    <a:pt x="19" y="1"/>
                  </a:lnTo>
                  <a:lnTo>
                    <a:pt x="19" y="1"/>
                  </a:lnTo>
                  <a:lnTo>
                    <a:pt x="15" y="0"/>
                  </a:lnTo>
                  <a:lnTo>
                    <a:pt x="12" y="1"/>
                  </a:lnTo>
                  <a:lnTo>
                    <a:pt x="12"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02" name="Group 201">
            <a:extLst>
              <a:ext uri="{FF2B5EF4-FFF2-40B4-BE49-F238E27FC236}">
                <a16:creationId xmlns:a16="http://schemas.microsoft.com/office/drawing/2014/main" id="{5EDA2C41-3865-4039-AE92-0477077F6A95}"/>
              </a:ext>
            </a:extLst>
          </p:cNvPr>
          <p:cNvGrpSpPr/>
          <p:nvPr/>
        </p:nvGrpSpPr>
        <p:grpSpPr>
          <a:xfrm>
            <a:off x="8629181" y="5364970"/>
            <a:ext cx="320040" cy="320040"/>
            <a:chOff x="10399262" y="4754481"/>
            <a:chExt cx="522288" cy="522288"/>
          </a:xfrm>
        </p:grpSpPr>
        <p:sp>
          <p:nvSpPr>
            <p:cNvPr id="203" name="Freeform 436">
              <a:extLst>
                <a:ext uri="{FF2B5EF4-FFF2-40B4-BE49-F238E27FC236}">
                  <a16:creationId xmlns:a16="http://schemas.microsoft.com/office/drawing/2014/main" id="{194650BA-D62F-427B-BE50-9E83272C70C4}"/>
                </a:ext>
              </a:extLst>
            </p:cNvPr>
            <p:cNvSpPr>
              <a:spLocks noEditPoints="1"/>
            </p:cNvSpPr>
            <p:nvPr/>
          </p:nvSpPr>
          <p:spPr bwMode="auto">
            <a:xfrm>
              <a:off x="10399262" y="4754481"/>
              <a:ext cx="522288" cy="522288"/>
            </a:xfrm>
            <a:custGeom>
              <a:avLst/>
              <a:gdLst>
                <a:gd name="T0" fmla="*/ 312 w 659"/>
                <a:gd name="T1" fmla="*/ 657 h 657"/>
                <a:gd name="T2" fmla="*/ 264 w 659"/>
                <a:gd name="T3" fmla="*/ 650 h 657"/>
                <a:gd name="T4" fmla="*/ 202 w 659"/>
                <a:gd name="T5" fmla="*/ 631 h 657"/>
                <a:gd name="T6" fmla="*/ 120 w 659"/>
                <a:gd name="T7" fmla="*/ 582 h 657"/>
                <a:gd name="T8" fmla="*/ 57 w 659"/>
                <a:gd name="T9" fmla="*/ 512 h 657"/>
                <a:gd name="T10" fmla="*/ 15 w 659"/>
                <a:gd name="T11" fmla="*/ 426 h 657"/>
                <a:gd name="T12" fmla="*/ 4 w 659"/>
                <a:gd name="T13" fmla="*/ 379 h 657"/>
                <a:gd name="T14" fmla="*/ 0 w 659"/>
                <a:gd name="T15" fmla="*/ 328 h 657"/>
                <a:gd name="T16" fmla="*/ 3 w 659"/>
                <a:gd name="T17" fmla="*/ 294 h 657"/>
                <a:gd name="T18" fmla="*/ 11 w 659"/>
                <a:gd name="T19" fmla="*/ 246 h 657"/>
                <a:gd name="T20" fmla="*/ 41 w 659"/>
                <a:gd name="T21" fmla="*/ 172 h 657"/>
                <a:gd name="T22" fmla="*/ 97 w 659"/>
                <a:gd name="T23" fmla="*/ 95 h 657"/>
                <a:gd name="T24" fmla="*/ 172 w 659"/>
                <a:gd name="T25" fmla="*/ 39 h 657"/>
                <a:gd name="T26" fmla="*/ 248 w 659"/>
                <a:gd name="T27" fmla="*/ 9 h 657"/>
                <a:gd name="T28" fmla="*/ 296 w 659"/>
                <a:gd name="T29" fmla="*/ 1 h 657"/>
                <a:gd name="T30" fmla="*/ 330 w 659"/>
                <a:gd name="T31" fmla="*/ 0 h 657"/>
                <a:gd name="T32" fmla="*/ 379 w 659"/>
                <a:gd name="T33" fmla="*/ 2 h 657"/>
                <a:gd name="T34" fmla="*/ 428 w 659"/>
                <a:gd name="T35" fmla="*/ 15 h 657"/>
                <a:gd name="T36" fmla="*/ 514 w 659"/>
                <a:gd name="T37" fmla="*/ 55 h 657"/>
                <a:gd name="T38" fmla="*/ 583 w 659"/>
                <a:gd name="T39" fmla="*/ 119 h 657"/>
                <a:gd name="T40" fmla="*/ 633 w 659"/>
                <a:gd name="T41" fmla="*/ 200 h 657"/>
                <a:gd name="T42" fmla="*/ 652 w 659"/>
                <a:gd name="T43" fmla="*/ 262 h 657"/>
                <a:gd name="T44" fmla="*/ 657 w 659"/>
                <a:gd name="T45" fmla="*/ 311 h 657"/>
                <a:gd name="T46" fmla="*/ 657 w 659"/>
                <a:gd name="T47" fmla="*/ 345 h 657"/>
                <a:gd name="T48" fmla="*/ 652 w 659"/>
                <a:gd name="T49" fmla="*/ 395 h 657"/>
                <a:gd name="T50" fmla="*/ 633 w 659"/>
                <a:gd name="T51" fmla="*/ 457 h 657"/>
                <a:gd name="T52" fmla="*/ 583 w 659"/>
                <a:gd name="T53" fmla="*/ 537 h 657"/>
                <a:gd name="T54" fmla="*/ 514 w 659"/>
                <a:gd name="T55" fmla="*/ 600 h 657"/>
                <a:gd name="T56" fmla="*/ 428 w 659"/>
                <a:gd name="T57" fmla="*/ 642 h 657"/>
                <a:gd name="T58" fmla="*/ 379 w 659"/>
                <a:gd name="T59" fmla="*/ 653 h 657"/>
                <a:gd name="T60" fmla="*/ 330 w 659"/>
                <a:gd name="T61" fmla="*/ 657 h 657"/>
                <a:gd name="T62" fmla="*/ 330 w 659"/>
                <a:gd name="T63" fmla="*/ 37 h 657"/>
                <a:gd name="T64" fmla="*/ 244 w 659"/>
                <a:gd name="T65" fmla="*/ 49 h 657"/>
                <a:gd name="T66" fmla="*/ 167 w 659"/>
                <a:gd name="T67" fmla="*/ 87 h 657"/>
                <a:gd name="T68" fmla="*/ 105 w 659"/>
                <a:gd name="T69" fmla="*/ 144 h 657"/>
                <a:gd name="T70" fmla="*/ 61 w 659"/>
                <a:gd name="T71" fmla="*/ 215 h 657"/>
                <a:gd name="T72" fmla="*/ 39 w 659"/>
                <a:gd name="T73" fmla="*/ 298 h 657"/>
                <a:gd name="T74" fmla="*/ 39 w 659"/>
                <a:gd name="T75" fmla="*/ 357 h 657"/>
                <a:gd name="T76" fmla="*/ 61 w 659"/>
                <a:gd name="T77" fmla="*/ 442 h 657"/>
                <a:gd name="T78" fmla="*/ 105 w 659"/>
                <a:gd name="T79" fmla="*/ 513 h 657"/>
                <a:gd name="T80" fmla="*/ 167 w 659"/>
                <a:gd name="T81" fmla="*/ 569 h 657"/>
                <a:gd name="T82" fmla="*/ 244 w 659"/>
                <a:gd name="T83" fmla="*/ 606 h 657"/>
                <a:gd name="T84" fmla="*/ 330 w 659"/>
                <a:gd name="T85" fmla="*/ 619 h 657"/>
                <a:gd name="T86" fmla="*/ 389 w 659"/>
                <a:gd name="T87" fmla="*/ 614 h 657"/>
                <a:gd name="T88" fmla="*/ 468 w 659"/>
                <a:gd name="T89" fmla="*/ 584 h 657"/>
                <a:gd name="T90" fmla="*/ 535 w 659"/>
                <a:gd name="T91" fmla="*/ 535 h 657"/>
                <a:gd name="T92" fmla="*/ 586 w 659"/>
                <a:gd name="T93" fmla="*/ 467 h 657"/>
                <a:gd name="T94" fmla="*/ 614 w 659"/>
                <a:gd name="T95" fmla="*/ 387 h 657"/>
                <a:gd name="T96" fmla="*/ 621 w 659"/>
                <a:gd name="T97" fmla="*/ 328 h 657"/>
                <a:gd name="T98" fmla="*/ 608 w 659"/>
                <a:gd name="T99" fmla="*/ 242 h 657"/>
                <a:gd name="T100" fmla="*/ 571 w 659"/>
                <a:gd name="T101" fmla="*/ 165 h 657"/>
                <a:gd name="T102" fmla="*/ 515 w 659"/>
                <a:gd name="T103" fmla="*/ 103 h 657"/>
                <a:gd name="T104" fmla="*/ 442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5"/>
                  </a:lnTo>
                  <a:lnTo>
                    <a:pt x="280" y="653"/>
                  </a:lnTo>
                  <a:lnTo>
                    <a:pt x="264" y="650"/>
                  </a:lnTo>
                  <a:lnTo>
                    <a:pt x="248" y="646"/>
                  </a:lnTo>
                  <a:lnTo>
                    <a:pt x="231" y="642"/>
                  </a:lnTo>
                  <a:lnTo>
                    <a:pt x="202" y="631"/>
                  </a:lnTo>
                  <a:lnTo>
                    <a:pt x="172" y="618"/>
                  </a:lnTo>
                  <a:lnTo>
                    <a:pt x="145" y="600"/>
                  </a:lnTo>
                  <a:lnTo>
                    <a:pt x="120" y="582"/>
                  </a:lnTo>
                  <a:lnTo>
                    <a:pt x="97" y="560"/>
                  </a:lnTo>
                  <a:lnTo>
                    <a:pt x="76" y="537"/>
                  </a:lnTo>
                  <a:lnTo>
                    <a:pt x="57" y="512"/>
                  </a:lnTo>
                  <a:lnTo>
                    <a:pt x="41" y="485"/>
                  </a:lnTo>
                  <a:lnTo>
                    <a:pt x="27" y="457"/>
                  </a:lnTo>
                  <a:lnTo>
                    <a:pt x="15" y="426"/>
                  </a:lnTo>
                  <a:lnTo>
                    <a:pt x="11" y="410"/>
                  </a:lnTo>
                  <a:lnTo>
                    <a:pt x="7" y="395"/>
                  </a:lnTo>
                  <a:lnTo>
                    <a:pt x="4" y="379"/>
                  </a:lnTo>
                  <a:lnTo>
                    <a:pt x="3" y="361"/>
                  </a:lnTo>
                  <a:lnTo>
                    <a:pt x="2" y="345"/>
                  </a:lnTo>
                  <a:lnTo>
                    <a:pt x="0" y="328"/>
                  </a:lnTo>
                  <a:lnTo>
                    <a:pt x="0" y="328"/>
                  </a:lnTo>
                  <a:lnTo>
                    <a:pt x="2" y="311"/>
                  </a:lnTo>
                  <a:lnTo>
                    <a:pt x="3" y="294"/>
                  </a:lnTo>
                  <a:lnTo>
                    <a:pt x="4" y="278"/>
                  </a:lnTo>
                  <a:lnTo>
                    <a:pt x="7" y="262"/>
                  </a:lnTo>
                  <a:lnTo>
                    <a:pt x="11" y="246"/>
                  </a:lnTo>
                  <a:lnTo>
                    <a:pt x="15" y="231"/>
                  </a:lnTo>
                  <a:lnTo>
                    <a:pt x="27" y="200"/>
                  </a:lnTo>
                  <a:lnTo>
                    <a:pt x="41" y="172"/>
                  </a:lnTo>
                  <a:lnTo>
                    <a:pt x="57" y="145"/>
                  </a:lnTo>
                  <a:lnTo>
                    <a:pt x="76" y="119"/>
                  </a:lnTo>
                  <a:lnTo>
                    <a:pt x="97" y="95"/>
                  </a:lnTo>
                  <a:lnTo>
                    <a:pt x="120" y="75"/>
                  </a:lnTo>
                  <a:lnTo>
                    <a:pt x="145" y="55"/>
                  </a:lnTo>
                  <a:lnTo>
                    <a:pt x="172" y="39"/>
                  </a:lnTo>
                  <a:lnTo>
                    <a:pt x="202" y="25"/>
                  </a:lnTo>
                  <a:lnTo>
                    <a:pt x="231" y="15"/>
                  </a:lnTo>
                  <a:lnTo>
                    <a:pt x="248" y="9"/>
                  </a:lnTo>
                  <a:lnTo>
                    <a:pt x="264" y="6"/>
                  </a:lnTo>
                  <a:lnTo>
                    <a:pt x="280" y="2"/>
                  </a:lnTo>
                  <a:lnTo>
                    <a:pt x="296" y="1"/>
                  </a:lnTo>
                  <a:lnTo>
                    <a:pt x="312" y="0"/>
                  </a:lnTo>
                  <a:lnTo>
                    <a:pt x="330" y="0"/>
                  </a:lnTo>
                  <a:lnTo>
                    <a:pt x="330" y="0"/>
                  </a:lnTo>
                  <a:lnTo>
                    <a:pt x="347" y="0"/>
                  </a:lnTo>
                  <a:lnTo>
                    <a:pt x="363" y="1"/>
                  </a:lnTo>
                  <a:lnTo>
                    <a:pt x="379" y="2"/>
                  </a:lnTo>
                  <a:lnTo>
                    <a:pt x="395" y="6"/>
                  </a:lnTo>
                  <a:lnTo>
                    <a:pt x="411" y="9"/>
                  </a:lnTo>
                  <a:lnTo>
                    <a:pt x="428" y="15"/>
                  </a:lnTo>
                  <a:lnTo>
                    <a:pt x="457" y="25"/>
                  </a:lnTo>
                  <a:lnTo>
                    <a:pt x="487" y="39"/>
                  </a:lnTo>
                  <a:lnTo>
                    <a:pt x="514" y="55"/>
                  </a:lnTo>
                  <a:lnTo>
                    <a:pt x="539" y="75"/>
                  </a:lnTo>
                  <a:lnTo>
                    <a:pt x="562" y="95"/>
                  </a:lnTo>
                  <a:lnTo>
                    <a:pt x="583" y="119"/>
                  </a:lnTo>
                  <a:lnTo>
                    <a:pt x="602" y="145"/>
                  </a:lnTo>
                  <a:lnTo>
                    <a:pt x="618" y="172"/>
                  </a:lnTo>
                  <a:lnTo>
                    <a:pt x="633" y="200"/>
                  </a:lnTo>
                  <a:lnTo>
                    <a:pt x="644" y="231"/>
                  </a:lnTo>
                  <a:lnTo>
                    <a:pt x="648" y="246"/>
                  </a:lnTo>
                  <a:lnTo>
                    <a:pt x="652" y="262"/>
                  </a:lnTo>
                  <a:lnTo>
                    <a:pt x="655" y="278"/>
                  </a:lnTo>
                  <a:lnTo>
                    <a:pt x="657" y="294"/>
                  </a:lnTo>
                  <a:lnTo>
                    <a:pt x="657" y="311"/>
                  </a:lnTo>
                  <a:lnTo>
                    <a:pt x="659" y="328"/>
                  </a:lnTo>
                  <a:lnTo>
                    <a:pt x="659" y="328"/>
                  </a:lnTo>
                  <a:lnTo>
                    <a:pt x="657" y="345"/>
                  </a:lnTo>
                  <a:lnTo>
                    <a:pt x="657" y="361"/>
                  </a:lnTo>
                  <a:lnTo>
                    <a:pt x="655" y="379"/>
                  </a:lnTo>
                  <a:lnTo>
                    <a:pt x="652" y="395"/>
                  </a:lnTo>
                  <a:lnTo>
                    <a:pt x="648" y="410"/>
                  </a:lnTo>
                  <a:lnTo>
                    <a:pt x="644" y="426"/>
                  </a:lnTo>
                  <a:lnTo>
                    <a:pt x="633" y="457"/>
                  </a:lnTo>
                  <a:lnTo>
                    <a:pt x="618" y="485"/>
                  </a:lnTo>
                  <a:lnTo>
                    <a:pt x="602" y="512"/>
                  </a:lnTo>
                  <a:lnTo>
                    <a:pt x="583" y="537"/>
                  </a:lnTo>
                  <a:lnTo>
                    <a:pt x="562" y="560"/>
                  </a:lnTo>
                  <a:lnTo>
                    <a:pt x="539" y="582"/>
                  </a:lnTo>
                  <a:lnTo>
                    <a:pt x="514" y="600"/>
                  </a:lnTo>
                  <a:lnTo>
                    <a:pt x="487" y="618"/>
                  </a:lnTo>
                  <a:lnTo>
                    <a:pt x="457" y="631"/>
                  </a:lnTo>
                  <a:lnTo>
                    <a:pt x="428" y="642"/>
                  </a:lnTo>
                  <a:lnTo>
                    <a:pt x="411" y="646"/>
                  </a:lnTo>
                  <a:lnTo>
                    <a:pt x="395" y="650"/>
                  </a:lnTo>
                  <a:lnTo>
                    <a:pt x="379" y="653"/>
                  </a:lnTo>
                  <a:lnTo>
                    <a:pt x="363" y="655"/>
                  </a:lnTo>
                  <a:lnTo>
                    <a:pt x="347" y="657"/>
                  </a:lnTo>
                  <a:lnTo>
                    <a:pt x="330" y="657"/>
                  </a:lnTo>
                  <a:lnTo>
                    <a:pt x="330" y="657"/>
                  </a:lnTo>
                  <a:close/>
                  <a:moveTo>
                    <a:pt x="330" y="37"/>
                  </a:moveTo>
                  <a:lnTo>
                    <a:pt x="330" y="37"/>
                  </a:lnTo>
                  <a:lnTo>
                    <a:pt x="300" y="39"/>
                  </a:lnTo>
                  <a:lnTo>
                    <a:pt x="270" y="43"/>
                  </a:lnTo>
                  <a:lnTo>
                    <a:pt x="244" y="49"/>
                  </a:lnTo>
                  <a:lnTo>
                    <a:pt x="217" y="60"/>
                  </a:lnTo>
                  <a:lnTo>
                    <a:pt x="191" y="72"/>
                  </a:lnTo>
                  <a:lnTo>
                    <a:pt x="167" y="87"/>
                  </a:lnTo>
                  <a:lnTo>
                    <a:pt x="144" y="103"/>
                  </a:lnTo>
                  <a:lnTo>
                    <a:pt x="124" y="122"/>
                  </a:lnTo>
                  <a:lnTo>
                    <a:pt x="105" y="144"/>
                  </a:lnTo>
                  <a:lnTo>
                    <a:pt x="88" y="165"/>
                  </a:lnTo>
                  <a:lnTo>
                    <a:pt x="73" y="189"/>
                  </a:lnTo>
                  <a:lnTo>
                    <a:pt x="61" y="215"/>
                  </a:lnTo>
                  <a:lnTo>
                    <a:pt x="51" y="242"/>
                  </a:lnTo>
                  <a:lnTo>
                    <a:pt x="45" y="270"/>
                  </a:lnTo>
                  <a:lnTo>
                    <a:pt x="39" y="298"/>
                  </a:lnTo>
                  <a:lnTo>
                    <a:pt x="38" y="328"/>
                  </a:lnTo>
                  <a:lnTo>
                    <a:pt x="38" y="328"/>
                  </a:lnTo>
                  <a:lnTo>
                    <a:pt x="39" y="357"/>
                  </a:lnTo>
                  <a:lnTo>
                    <a:pt x="45" y="387"/>
                  </a:lnTo>
                  <a:lnTo>
                    <a:pt x="51" y="415"/>
                  </a:lnTo>
                  <a:lnTo>
                    <a:pt x="61" y="442"/>
                  </a:lnTo>
                  <a:lnTo>
                    <a:pt x="73" y="467"/>
                  </a:lnTo>
                  <a:lnTo>
                    <a:pt x="88" y="490"/>
                  </a:lnTo>
                  <a:lnTo>
                    <a:pt x="105" y="513"/>
                  </a:lnTo>
                  <a:lnTo>
                    <a:pt x="124" y="535"/>
                  </a:lnTo>
                  <a:lnTo>
                    <a:pt x="144" y="553"/>
                  </a:lnTo>
                  <a:lnTo>
                    <a:pt x="167" y="569"/>
                  </a:lnTo>
                  <a:lnTo>
                    <a:pt x="191" y="584"/>
                  </a:lnTo>
                  <a:lnTo>
                    <a:pt x="217" y="596"/>
                  </a:lnTo>
                  <a:lnTo>
                    <a:pt x="244" y="606"/>
                  </a:lnTo>
                  <a:lnTo>
                    <a:pt x="270" y="614"/>
                  </a:lnTo>
                  <a:lnTo>
                    <a:pt x="300" y="618"/>
                  </a:lnTo>
                  <a:lnTo>
                    <a:pt x="330" y="619"/>
                  </a:lnTo>
                  <a:lnTo>
                    <a:pt x="330" y="619"/>
                  </a:lnTo>
                  <a:lnTo>
                    <a:pt x="359" y="618"/>
                  </a:lnTo>
                  <a:lnTo>
                    <a:pt x="389" y="614"/>
                  </a:lnTo>
                  <a:lnTo>
                    <a:pt x="415" y="606"/>
                  </a:lnTo>
                  <a:lnTo>
                    <a:pt x="442" y="596"/>
                  </a:lnTo>
                  <a:lnTo>
                    <a:pt x="468" y="584"/>
                  </a:lnTo>
                  <a:lnTo>
                    <a:pt x="492" y="569"/>
                  </a:lnTo>
                  <a:lnTo>
                    <a:pt x="515" y="553"/>
                  </a:lnTo>
                  <a:lnTo>
                    <a:pt x="535" y="535"/>
                  </a:lnTo>
                  <a:lnTo>
                    <a:pt x="554" y="513"/>
                  </a:lnTo>
                  <a:lnTo>
                    <a:pt x="571" y="490"/>
                  </a:lnTo>
                  <a:lnTo>
                    <a:pt x="586" y="467"/>
                  </a:lnTo>
                  <a:lnTo>
                    <a:pt x="598" y="442"/>
                  </a:lnTo>
                  <a:lnTo>
                    <a:pt x="608" y="415"/>
                  </a:lnTo>
                  <a:lnTo>
                    <a:pt x="614" y="387"/>
                  </a:lnTo>
                  <a:lnTo>
                    <a:pt x="620" y="357"/>
                  </a:lnTo>
                  <a:lnTo>
                    <a:pt x="621" y="328"/>
                  </a:lnTo>
                  <a:lnTo>
                    <a:pt x="621" y="328"/>
                  </a:lnTo>
                  <a:lnTo>
                    <a:pt x="620" y="298"/>
                  </a:lnTo>
                  <a:lnTo>
                    <a:pt x="614" y="270"/>
                  </a:lnTo>
                  <a:lnTo>
                    <a:pt x="608" y="242"/>
                  </a:lnTo>
                  <a:lnTo>
                    <a:pt x="598" y="215"/>
                  </a:lnTo>
                  <a:lnTo>
                    <a:pt x="586" y="189"/>
                  </a:lnTo>
                  <a:lnTo>
                    <a:pt x="571" y="165"/>
                  </a:lnTo>
                  <a:lnTo>
                    <a:pt x="554" y="144"/>
                  </a:lnTo>
                  <a:lnTo>
                    <a:pt x="535" y="122"/>
                  </a:lnTo>
                  <a:lnTo>
                    <a:pt x="515" y="103"/>
                  </a:lnTo>
                  <a:lnTo>
                    <a:pt x="492" y="87"/>
                  </a:lnTo>
                  <a:lnTo>
                    <a:pt x="468" y="72"/>
                  </a:lnTo>
                  <a:lnTo>
                    <a:pt x="442" y="60"/>
                  </a:lnTo>
                  <a:lnTo>
                    <a:pt x="415" y="49"/>
                  </a:lnTo>
                  <a:lnTo>
                    <a:pt x="389" y="43"/>
                  </a:lnTo>
                  <a:lnTo>
                    <a:pt x="359" y="39"/>
                  </a:lnTo>
                  <a:lnTo>
                    <a:pt x="330" y="37"/>
                  </a:lnTo>
                  <a:lnTo>
                    <a:pt x="330" y="3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204" name="Group 203">
              <a:extLst>
                <a:ext uri="{FF2B5EF4-FFF2-40B4-BE49-F238E27FC236}">
                  <a16:creationId xmlns:a16="http://schemas.microsoft.com/office/drawing/2014/main" id="{7795271B-4CBB-4D37-81FE-D51ED42943AB}"/>
                </a:ext>
              </a:extLst>
            </p:cNvPr>
            <p:cNvGrpSpPr/>
            <p:nvPr/>
          </p:nvGrpSpPr>
          <p:grpSpPr>
            <a:xfrm rot="20562379">
              <a:off x="10526231" y="4905194"/>
              <a:ext cx="253776" cy="244475"/>
              <a:chOff x="10526487" y="4906881"/>
              <a:chExt cx="253776" cy="244475"/>
            </a:xfrm>
          </p:grpSpPr>
          <p:sp>
            <p:nvSpPr>
              <p:cNvPr id="205" name="Freeform 439">
                <a:extLst>
                  <a:ext uri="{FF2B5EF4-FFF2-40B4-BE49-F238E27FC236}">
                    <a16:creationId xmlns:a16="http://schemas.microsoft.com/office/drawing/2014/main" id="{11E8F834-62CD-4273-9D89-381EC52F6586}"/>
                  </a:ext>
                </a:extLst>
              </p:cNvPr>
              <p:cNvSpPr>
                <a:spLocks/>
              </p:cNvSpPr>
              <p:nvPr/>
            </p:nvSpPr>
            <p:spPr bwMode="auto">
              <a:xfrm>
                <a:off x="10700887" y="4906881"/>
                <a:ext cx="61913" cy="61913"/>
              </a:xfrm>
              <a:custGeom>
                <a:avLst/>
                <a:gdLst>
                  <a:gd name="T0" fmla="*/ 39 w 78"/>
                  <a:gd name="T1" fmla="*/ 77 h 77"/>
                  <a:gd name="T2" fmla="*/ 39 w 78"/>
                  <a:gd name="T3" fmla="*/ 77 h 77"/>
                  <a:gd name="T4" fmla="*/ 47 w 78"/>
                  <a:gd name="T5" fmla="*/ 77 h 77"/>
                  <a:gd name="T6" fmla="*/ 54 w 78"/>
                  <a:gd name="T7" fmla="*/ 75 h 77"/>
                  <a:gd name="T8" fmla="*/ 60 w 78"/>
                  <a:gd name="T9" fmla="*/ 71 h 77"/>
                  <a:gd name="T10" fmla="*/ 66 w 78"/>
                  <a:gd name="T11" fmla="*/ 67 h 77"/>
                  <a:gd name="T12" fmla="*/ 71 w 78"/>
                  <a:gd name="T13" fmla="*/ 60 h 77"/>
                  <a:gd name="T14" fmla="*/ 75 w 78"/>
                  <a:gd name="T15" fmla="*/ 53 h 77"/>
                  <a:gd name="T16" fmla="*/ 76 w 78"/>
                  <a:gd name="T17" fmla="*/ 47 h 77"/>
                  <a:gd name="T18" fmla="*/ 78 w 78"/>
                  <a:gd name="T19" fmla="*/ 39 h 77"/>
                  <a:gd name="T20" fmla="*/ 78 w 78"/>
                  <a:gd name="T21" fmla="*/ 39 h 77"/>
                  <a:gd name="T22" fmla="*/ 76 w 78"/>
                  <a:gd name="T23" fmla="*/ 30 h 77"/>
                  <a:gd name="T24" fmla="*/ 75 w 78"/>
                  <a:gd name="T25" fmla="*/ 24 h 77"/>
                  <a:gd name="T26" fmla="*/ 71 w 78"/>
                  <a:gd name="T27" fmla="*/ 17 h 77"/>
                  <a:gd name="T28" fmla="*/ 66 w 78"/>
                  <a:gd name="T29" fmla="*/ 10 h 77"/>
                  <a:gd name="T30" fmla="*/ 60 w 78"/>
                  <a:gd name="T31" fmla="*/ 6 h 77"/>
                  <a:gd name="T32" fmla="*/ 54 w 78"/>
                  <a:gd name="T33" fmla="*/ 2 h 77"/>
                  <a:gd name="T34" fmla="*/ 47 w 78"/>
                  <a:gd name="T35" fmla="*/ 0 h 77"/>
                  <a:gd name="T36" fmla="*/ 39 w 78"/>
                  <a:gd name="T37" fmla="*/ 0 h 77"/>
                  <a:gd name="T38" fmla="*/ 39 w 78"/>
                  <a:gd name="T39" fmla="*/ 0 h 77"/>
                  <a:gd name="T40" fmla="*/ 31 w 78"/>
                  <a:gd name="T41" fmla="*/ 0 h 77"/>
                  <a:gd name="T42" fmla="*/ 23 w 78"/>
                  <a:gd name="T43" fmla="*/ 2 h 77"/>
                  <a:gd name="T44" fmla="*/ 16 w 78"/>
                  <a:gd name="T45" fmla="*/ 6 h 77"/>
                  <a:gd name="T46" fmla="*/ 11 w 78"/>
                  <a:gd name="T47" fmla="*/ 10 h 77"/>
                  <a:gd name="T48" fmla="*/ 7 w 78"/>
                  <a:gd name="T49" fmla="*/ 17 h 77"/>
                  <a:gd name="T50" fmla="*/ 3 w 78"/>
                  <a:gd name="T51" fmla="*/ 24 h 77"/>
                  <a:gd name="T52" fmla="*/ 0 w 78"/>
                  <a:gd name="T53" fmla="*/ 30 h 77"/>
                  <a:gd name="T54" fmla="*/ 0 w 78"/>
                  <a:gd name="T55" fmla="*/ 39 h 77"/>
                  <a:gd name="T56" fmla="*/ 0 w 78"/>
                  <a:gd name="T57" fmla="*/ 39 h 77"/>
                  <a:gd name="T58" fmla="*/ 0 w 78"/>
                  <a:gd name="T59" fmla="*/ 47 h 77"/>
                  <a:gd name="T60" fmla="*/ 3 w 78"/>
                  <a:gd name="T61" fmla="*/ 53 h 77"/>
                  <a:gd name="T62" fmla="*/ 7 w 78"/>
                  <a:gd name="T63" fmla="*/ 60 h 77"/>
                  <a:gd name="T64" fmla="*/ 11 w 78"/>
                  <a:gd name="T65" fmla="*/ 67 h 77"/>
                  <a:gd name="T66" fmla="*/ 16 w 78"/>
                  <a:gd name="T67" fmla="*/ 71 h 77"/>
                  <a:gd name="T68" fmla="*/ 23 w 78"/>
                  <a:gd name="T69" fmla="*/ 75 h 77"/>
                  <a:gd name="T70" fmla="*/ 31 w 78"/>
                  <a:gd name="T71" fmla="*/ 77 h 77"/>
                  <a:gd name="T72" fmla="*/ 39 w 78"/>
                  <a:gd name="T73" fmla="*/ 77 h 77"/>
                  <a:gd name="T74" fmla="*/ 39 w 78"/>
                  <a:gd name="T75"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 h="77">
                    <a:moveTo>
                      <a:pt x="39" y="77"/>
                    </a:moveTo>
                    <a:lnTo>
                      <a:pt x="39" y="77"/>
                    </a:lnTo>
                    <a:lnTo>
                      <a:pt x="47" y="77"/>
                    </a:lnTo>
                    <a:lnTo>
                      <a:pt x="54" y="75"/>
                    </a:lnTo>
                    <a:lnTo>
                      <a:pt x="60" y="71"/>
                    </a:lnTo>
                    <a:lnTo>
                      <a:pt x="66" y="67"/>
                    </a:lnTo>
                    <a:lnTo>
                      <a:pt x="71" y="60"/>
                    </a:lnTo>
                    <a:lnTo>
                      <a:pt x="75" y="53"/>
                    </a:lnTo>
                    <a:lnTo>
                      <a:pt x="76" y="47"/>
                    </a:lnTo>
                    <a:lnTo>
                      <a:pt x="78" y="39"/>
                    </a:lnTo>
                    <a:lnTo>
                      <a:pt x="78" y="39"/>
                    </a:lnTo>
                    <a:lnTo>
                      <a:pt x="76" y="30"/>
                    </a:lnTo>
                    <a:lnTo>
                      <a:pt x="75" y="24"/>
                    </a:lnTo>
                    <a:lnTo>
                      <a:pt x="71" y="17"/>
                    </a:lnTo>
                    <a:lnTo>
                      <a:pt x="66" y="10"/>
                    </a:lnTo>
                    <a:lnTo>
                      <a:pt x="60" y="6"/>
                    </a:lnTo>
                    <a:lnTo>
                      <a:pt x="54" y="2"/>
                    </a:lnTo>
                    <a:lnTo>
                      <a:pt x="47" y="0"/>
                    </a:lnTo>
                    <a:lnTo>
                      <a:pt x="39" y="0"/>
                    </a:lnTo>
                    <a:lnTo>
                      <a:pt x="39" y="0"/>
                    </a:lnTo>
                    <a:lnTo>
                      <a:pt x="31" y="0"/>
                    </a:lnTo>
                    <a:lnTo>
                      <a:pt x="23" y="2"/>
                    </a:lnTo>
                    <a:lnTo>
                      <a:pt x="16" y="6"/>
                    </a:lnTo>
                    <a:lnTo>
                      <a:pt x="11" y="10"/>
                    </a:lnTo>
                    <a:lnTo>
                      <a:pt x="7" y="17"/>
                    </a:lnTo>
                    <a:lnTo>
                      <a:pt x="3" y="24"/>
                    </a:lnTo>
                    <a:lnTo>
                      <a:pt x="0" y="30"/>
                    </a:lnTo>
                    <a:lnTo>
                      <a:pt x="0" y="39"/>
                    </a:lnTo>
                    <a:lnTo>
                      <a:pt x="0" y="39"/>
                    </a:lnTo>
                    <a:lnTo>
                      <a:pt x="0" y="47"/>
                    </a:lnTo>
                    <a:lnTo>
                      <a:pt x="3" y="53"/>
                    </a:lnTo>
                    <a:lnTo>
                      <a:pt x="7" y="60"/>
                    </a:lnTo>
                    <a:lnTo>
                      <a:pt x="11" y="67"/>
                    </a:lnTo>
                    <a:lnTo>
                      <a:pt x="16" y="71"/>
                    </a:lnTo>
                    <a:lnTo>
                      <a:pt x="23" y="75"/>
                    </a:lnTo>
                    <a:lnTo>
                      <a:pt x="31" y="77"/>
                    </a:lnTo>
                    <a:lnTo>
                      <a:pt x="39" y="77"/>
                    </a:lnTo>
                    <a:lnTo>
                      <a:pt x="39"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206" name="Group 205">
                <a:extLst>
                  <a:ext uri="{FF2B5EF4-FFF2-40B4-BE49-F238E27FC236}">
                    <a16:creationId xmlns:a16="http://schemas.microsoft.com/office/drawing/2014/main" id="{B522AB65-30CC-4916-8FDC-6D31788139F2}"/>
                  </a:ext>
                </a:extLst>
              </p:cNvPr>
              <p:cNvGrpSpPr/>
              <p:nvPr/>
            </p:nvGrpSpPr>
            <p:grpSpPr>
              <a:xfrm>
                <a:off x="10526487" y="4919581"/>
                <a:ext cx="253776" cy="231775"/>
                <a:chOff x="10526487" y="4919581"/>
                <a:chExt cx="253776" cy="231775"/>
              </a:xfrm>
            </p:grpSpPr>
            <p:sp>
              <p:nvSpPr>
                <p:cNvPr id="207" name="Freeform 440">
                  <a:extLst>
                    <a:ext uri="{FF2B5EF4-FFF2-40B4-BE49-F238E27FC236}">
                      <a16:creationId xmlns:a16="http://schemas.microsoft.com/office/drawing/2014/main" id="{8309CF83-D55A-4687-8BF9-CE8588EB5911}"/>
                    </a:ext>
                  </a:extLst>
                </p:cNvPr>
                <p:cNvSpPr>
                  <a:spLocks/>
                </p:cNvSpPr>
                <p:nvPr/>
              </p:nvSpPr>
              <p:spPr bwMode="auto">
                <a:xfrm>
                  <a:off x="10591350" y="4919581"/>
                  <a:ext cx="188913" cy="231775"/>
                </a:xfrm>
                <a:custGeom>
                  <a:avLst/>
                  <a:gdLst>
                    <a:gd name="T0" fmla="*/ 237 w 239"/>
                    <a:gd name="T1" fmla="*/ 96 h 291"/>
                    <a:gd name="T2" fmla="*/ 226 w 239"/>
                    <a:gd name="T3" fmla="*/ 90 h 291"/>
                    <a:gd name="T4" fmla="*/ 214 w 239"/>
                    <a:gd name="T5" fmla="*/ 92 h 291"/>
                    <a:gd name="T6" fmla="*/ 135 w 239"/>
                    <a:gd name="T7" fmla="*/ 67 h 291"/>
                    <a:gd name="T8" fmla="*/ 135 w 239"/>
                    <a:gd name="T9" fmla="*/ 67 h 291"/>
                    <a:gd name="T10" fmla="*/ 135 w 239"/>
                    <a:gd name="T11" fmla="*/ 67 h 291"/>
                    <a:gd name="T12" fmla="*/ 73 w 239"/>
                    <a:gd name="T13" fmla="*/ 5 h 291"/>
                    <a:gd name="T14" fmla="*/ 62 w 239"/>
                    <a:gd name="T15" fmla="*/ 0 h 291"/>
                    <a:gd name="T16" fmla="*/ 51 w 239"/>
                    <a:gd name="T17" fmla="*/ 4 h 291"/>
                    <a:gd name="T18" fmla="*/ 7 w 239"/>
                    <a:gd name="T19" fmla="*/ 37 h 291"/>
                    <a:gd name="T20" fmla="*/ 0 w 239"/>
                    <a:gd name="T21" fmla="*/ 47 h 291"/>
                    <a:gd name="T22" fmla="*/ 2 w 239"/>
                    <a:gd name="T23" fmla="*/ 57 h 291"/>
                    <a:gd name="T24" fmla="*/ 3 w 239"/>
                    <a:gd name="T25" fmla="*/ 61 h 291"/>
                    <a:gd name="T26" fmla="*/ 12 w 239"/>
                    <a:gd name="T27" fmla="*/ 67 h 291"/>
                    <a:gd name="T28" fmla="*/ 23 w 239"/>
                    <a:gd name="T29" fmla="*/ 66 h 291"/>
                    <a:gd name="T30" fmla="*/ 59 w 239"/>
                    <a:gd name="T31" fmla="*/ 39 h 291"/>
                    <a:gd name="T32" fmla="*/ 54 w 239"/>
                    <a:gd name="T33" fmla="*/ 123 h 291"/>
                    <a:gd name="T34" fmla="*/ 50 w 239"/>
                    <a:gd name="T35" fmla="*/ 129 h 291"/>
                    <a:gd name="T36" fmla="*/ 45 w 239"/>
                    <a:gd name="T37" fmla="*/ 139 h 291"/>
                    <a:gd name="T38" fmla="*/ 43 w 239"/>
                    <a:gd name="T39" fmla="*/ 146 h 291"/>
                    <a:gd name="T40" fmla="*/ 47 w 239"/>
                    <a:gd name="T41" fmla="*/ 164 h 291"/>
                    <a:gd name="T42" fmla="*/ 59 w 239"/>
                    <a:gd name="T43" fmla="*/ 177 h 291"/>
                    <a:gd name="T44" fmla="*/ 81 w 239"/>
                    <a:gd name="T45" fmla="*/ 264 h 291"/>
                    <a:gd name="T46" fmla="*/ 78 w 239"/>
                    <a:gd name="T47" fmla="*/ 270 h 291"/>
                    <a:gd name="T48" fmla="*/ 81 w 239"/>
                    <a:gd name="T49" fmla="*/ 283 h 291"/>
                    <a:gd name="T50" fmla="*/ 85 w 239"/>
                    <a:gd name="T51" fmla="*/ 287 h 291"/>
                    <a:gd name="T52" fmla="*/ 94 w 239"/>
                    <a:gd name="T53" fmla="*/ 291 h 291"/>
                    <a:gd name="T54" fmla="*/ 98 w 239"/>
                    <a:gd name="T55" fmla="*/ 290 h 291"/>
                    <a:gd name="T56" fmla="*/ 106 w 239"/>
                    <a:gd name="T57" fmla="*/ 287 h 291"/>
                    <a:gd name="T58" fmla="*/ 153 w 239"/>
                    <a:gd name="T59" fmla="*/ 216 h 291"/>
                    <a:gd name="T60" fmla="*/ 156 w 239"/>
                    <a:gd name="T61" fmla="*/ 211 h 291"/>
                    <a:gd name="T62" fmla="*/ 156 w 239"/>
                    <a:gd name="T63" fmla="*/ 204 h 291"/>
                    <a:gd name="T64" fmla="*/ 148 w 239"/>
                    <a:gd name="T65" fmla="*/ 193 h 291"/>
                    <a:gd name="T66" fmla="*/ 82 w 239"/>
                    <a:gd name="T67" fmla="*/ 152 h 291"/>
                    <a:gd name="T68" fmla="*/ 79 w 239"/>
                    <a:gd name="T69" fmla="*/ 147 h 291"/>
                    <a:gd name="T70" fmla="*/ 82 w 239"/>
                    <a:gd name="T71" fmla="*/ 143 h 291"/>
                    <a:gd name="T72" fmla="*/ 167 w 239"/>
                    <a:gd name="T73" fmla="*/ 146 h 291"/>
                    <a:gd name="T74" fmla="*/ 172 w 239"/>
                    <a:gd name="T75" fmla="*/ 150 h 291"/>
                    <a:gd name="T76" fmla="*/ 179 w 239"/>
                    <a:gd name="T77" fmla="*/ 152 h 291"/>
                    <a:gd name="T78" fmla="*/ 187 w 239"/>
                    <a:gd name="T79" fmla="*/ 149 h 291"/>
                    <a:gd name="T80" fmla="*/ 233 w 239"/>
                    <a:gd name="T81" fmla="*/ 121 h 291"/>
                    <a:gd name="T82" fmla="*/ 239 w 239"/>
                    <a:gd name="T83" fmla="*/ 110 h 291"/>
                    <a:gd name="T84" fmla="*/ 237 w 239"/>
                    <a:gd name="T85" fmla="*/ 9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9" h="291">
                      <a:moveTo>
                        <a:pt x="237" y="96"/>
                      </a:moveTo>
                      <a:lnTo>
                        <a:pt x="237" y="96"/>
                      </a:lnTo>
                      <a:lnTo>
                        <a:pt x="233" y="92"/>
                      </a:lnTo>
                      <a:lnTo>
                        <a:pt x="226" y="90"/>
                      </a:lnTo>
                      <a:lnTo>
                        <a:pt x="219" y="90"/>
                      </a:lnTo>
                      <a:lnTo>
                        <a:pt x="214" y="92"/>
                      </a:lnTo>
                      <a:lnTo>
                        <a:pt x="180" y="113"/>
                      </a:lnTo>
                      <a:lnTo>
                        <a:pt x="135" y="67"/>
                      </a:lnTo>
                      <a:lnTo>
                        <a:pt x="135" y="67"/>
                      </a:lnTo>
                      <a:lnTo>
                        <a:pt x="135" y="67"/>
                      </a:lnTo>
                      <a:lnTo>
                        <a:pt x="135" y="67"/>
                      </a:lnTo>
                      <a:lnTo>
                        <a:pt x="135" y="67"/>
                      </a:lnTo>
                      <a:lnTo>
                        <a:pt x="73" y="5"/>
                      </a:lnTo>
                      <a:lnTo>
                        <a:pt x="73" y="5"/>
                      </a:lnTo>
                      <a:lnTo>
                        <a:pt x="67" y="1"/>
                      </a:lnTo>
                      <a:lnTo>
                        <a:pt x="62" y="0"/>
                      </a:lnTo>
                      <a:lnTo>
                        <a:pt x="57" y="1"/>
                      </a:lnTo>
                      <a:lnTo>
                        <a:pt x="51" y="4"/>
                      </a:lnTo>
                      <a:lnTo>
                        <a:pt x="7" y="37"/>
                      </a:lnTo>
                      <a:lnTo>
                        <a:pt x="7" y="37"/>
                      </a:lnTo>
                      <a:lnTo>
                        <a:pt x="3" y="41"/>
                      </a:lnTo>
                      <a:lnTo>
                        <a:pt x="0" y="47"/>
                      </a:lnTo>
                      <a:lnTo>
                        <a:pt x="0" y="52"/>
                      </a:lnTo>
                      <a:lnTo>
                        <a:pt x="2" y="57"/>
                      </a:lnTo>
                      <a:lnTo>
                        <a:pt x="2" y="57"/>
                      </a:lnTo>
                      <a:lnTo>
                        <a:pt x="3" y="61"/>
                      </a:lnTo>
                      <a:lnTo>
                        <a:pt x="6" y="64"/>
                      </a:lnTo>
                      <a:lnTo>
                        <a:pt x="12" y="67"/>
                      </a:lnTo>
                      <a:lnTo>
                        <a:pt x="19" y="67"/>
                      </a:lnTo>
                      <a:lnTo>
                        <a:pt x="23" y="66"/>
                      </a:lnTo>
                      <a:lnTo>
                        <a:pt x="26" y="64"/>
                      </a:lnTo>
                      <a:lnTo>
                        <a:pt x="59" y="39"/>
                      </a:lnTo>
                      <a:lnTo>
                        <a:pt x="98" y="79"/>
                      </a:lnTo>
                      <a:lnTo>
                        <a:pt x="54" y="123"/>
                      </a:lnTo>
                      <a:lnTo>
                        <a:pt x="54" y="123"/>
                      </a:lnTo>
                      <a:lnTo>
                        <a:pt x="50" y="129"/>
                      </a:lnTo>
                      <a:lnTo>
                        <a:pt x="46" y="134"/>
                      </a:lnTo>
                      <a:lnTo>
                        <a:pt x="45" y="139"/>
                      </a:lnTo>
                      <a:lnTo>
                        <a:pt x="43" y="146"/>
                      </a:lnTo>
                      <a:lnTo>
                        <a:pt x="43" y="146"/>
                      </a:lnTo>
                      <a:lnTo>
                        <a:pt x="43" y="156"/>
                      </a:lnTo>
                      <a:lnTo>
                        <a:pt x="47" y="164"/>
                      </a:lnTo>
                      <a:lnTo>
                        <a:pt x="51" y="170"/>
                      </a:lnTo>
                      <a:lnTo>
                        <a:pt x="59" y="177"/>
                      </a:lnTo>
                      <a:lnTo>
                        <a:pt x="116" y="212"/>
                      </a:lnTo>
                      <a:lnTo>
                        <a:pt x="81" y="264"/>
                      </a:lnTo>
                      <a:lnTo>
                        <a:pt x="81" y="264"/>
                      </a:lnTo>
                      <a:lnTo>
                        <a:pt x="78" y="270"/>
                      </a:lnTo>
                      <a:lnTo>
                        <a:pt x="78" y="276"/>
                      </a:lnTo>
                      <a:lnTo>
                        <a:pt x="81" y="283"/>
                      </a:lnTo>
                      <a:lnTo>
                        <a:pt x="85" y="287"/>
                      </a:lnTo>
                      <a:lnTo>
                        <a:pt x="85" y="287"/>
                      </a:lnTo>
                      <a:lnTo>
                        <a:pt x="89" y="290"/>
                      </a:lnTo>
                      <a:lnTo>
                        <a:pt x="94" y="291"/>
                      </a:lnTo>
                      <a:lnTo>
                        <a:pt x="94" y="291"/>
                      </a:lnTo>
                      <a:lnTo>
                        <a:pt x="98" y="290"/>
                      </a:lnTo>
                      <a:lnTo>
                        <a:pt x="102" y="289"/>
                      </a:lnTo>
                      <a:lnTo>
                        <a:pt x="106" y="287"/>
                      </a:lnTo>
                      <a:lnTo>
                        <a:pt x="109" y="283"/>
                      </a:lnTo>
                      <a:lnTo>
                        <a:pt x="153" y="216"/>
                      </a:lnTo>
                      <a:lnTo>
                        <a:pt x="153" y="216"/>
                      </a:lnTo>
                      <a:lnTo>
                        <a:pt x="156" y="211"/>
                      </a:lnTo>
                      <a:lnTo>
                        <a:pt x="156" y="204"/>
                      </a:lnTo>
                      <a:lnTo>
                        <a:pt x="156" y="204"/>
                      </a:lnTo>
                      <a:lnTo>
                        <a:pt x="153" y="197"/>
                      </a:lnTo>
                      <a:lnTo>
                        <a:pt x="148" y="193"/>
                      </a:lnTo>
                      <a:lnTo>
                        <a:pt x="82" y="152"/>
                      </a:lnTo>
                      <a:lnTo>
                        <a:pt x="82" y="152"/>
                      </a:lnTo>
                      <a:lnTo>
                        <a:pt x="81" y="150"/>
                      </a:lnTo>
                      <a:lnTo>
                        <a:pt x="79" y="147"/>
                      </a:lnTo>
                      <a:lnTo>
                        <a:pt x="81" y="145"/>
                      </a:lnTo>
                      <a:lnTo>
                        <a:pt x="82" y="143"/>
                      </a:lnTo>
                      <a:lnTo>
                        <a:pt x="122" y="102"/>
                      </a:lnTo>
                      <a:lnTo>
                        <a:pt x="167" y="146"/>
                      </a:lnTo>
                      <a:lnTo>
                        <a:pt x="167" y="146"/>
                      </a:lnTo>
                      <a:lnTo>
                        <a:pt x="172" y="150"/>
                      </a:lnTo>
                      <a:lnTo>
                        <a:pt x="179" y="152"/>
                      </a:lnTo>
                      <a:lnTo>
                        <a:pt x="179" y="152"/>
                      </a:lnTo>
                      <a:lnTo>
                        <a:pt x="183" y="150"/>
                      </a:lnTo>
                      <a:lnTo>
                        <a:pt x="187" y="149"/>
                      </a:lnTo>
                      <a:lnTo>
                        <a:pt x="233" y="121"/>
                      </a:lnTo>
                      <a:lnTo>
                        <a:pt x="233" y="121"/>
                      </a:lnTo>
                      <a:lnTo>
                        <a:pt x="237" y="115"/>
                      </a:lnTo>
                      <a:lnTo>
                        <a:pt x="239" y="110"/>
                      </a:lnTo>
                      <a:lnTo>
                        <a:pt x="239" y="103"/>
                      </a:lnTo>
                      <a:lnTo>
                        <a:pt x="237" y="96"/>
                      </a:lnTo>
                      <a:lnTo>
                        <a:pt x="237"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08" name="Freeform 441">
                  <a:extLst>
                    <a:ext uri="{FF2B5EF4-FFF2-40B4-BE49-F238E27FC236}">
                      <a16:creationId xmlns:a16="http://schemas.microsoft.com/office/drawing/2014/main" id="{A249513C-9442-41FD-9B74-A4136D91EAEA}"/>
                    </a:ext>
                  </a:extLst>
                </p:cNvPr>
                <p:cNvSpPr>
                  <a:spLocks/>
                </p:cNvSpPr>
                <p:nvPr/>
              </p:nvSpPr>
              <p:spPr bwMode="auto">
                <a:xfrm>
                  <a:off x="10526487" y="5061225"/>
                  <a:ext cx="96838" cy="47625"/>
                </a:xfrm>
                <a:custGeom>
                  <a:avLst/>
                  <a:gdLst>
                    <a:gd name="T0" fmla="*/ 93 w 122"/>
                    <a:gd name="T1" fmla="*/ 6 h 61"/>
                    <a:gd name="T2" fmla="*/ 71 w 122"/>
                    <a:gd name="T3" fmla="*/ 27 h 61"/>
                    <a:gd name="T4" fmla="*/ 16 w 122"/>
                    <a:gd name="T5" fmla="*/ 27 h 61"/>
                    <a:gd name="T6" fmla="*/ 16 w 122"/>
                    <a:gd name="T7" fmla="*/ 27 h 61"/>
                    <a:gd name="T8" fmla="*/ 9 w 122"/>
                    <a:gd name="T9" fmla="*/ 29 h 61"/>
                    <a:gd name="T10" fmla="*/ 4 w 122"/>
                    <a:gd name="T11" fmla="*/ 33 h 61"/>
                    <a:gd name="T12" fmla="*/ 1 w 122"/>
                    <a:gd name="T13" fmla="*/ 38 h 61"/>
                    <a:gd name="T14" fmla="*/ 0 w 122"/>
                    <a:gd name="T15" fmla="*/ 45 h 61"/>
                    <a:gd name="T16" fmla="*/ 0 w 122"/>
                    <a:gd name="T17" fmla="*/ 45 h 61"/>
                    <a:gd name="T18" fmla="*/ 1 w 122"/>
                    <a:gd name="T19" fmla="*/ 51 h 61"/>
                    <a:gd name="T20" fmla="*/ 4 w 122"/>
                    <a:gd name="T21" fmla="*/ 57 h 61"/>
                    <a:gd name="T22" fmla="*/ 9 w 122"/>
                    <a:gd name="T23" fmla="*/ 59 h 61"/>
                    <a:gd name="T24" fmla="*/ 16 w 122"/>
                    <a:gd name="T25" fmla="*/ 61 h 61"/>
                    <a:gd name="T26" fmla="*/ 78 w 122"/>
                    <a:gd name="T27" fmla="*/ 61 h 61"/>
                    <a:gd name="T28" fmla="*/ 78 w 122"/>
                    <a:gd name="T29" fmla="*/ 61 h 61"/>
                    <a:gd name="T30" fmla="*/ 84 w 122"/>
                    <a:gd name="T31" fmla="*/ 59 h 61"/>
                    <a:gd name="T32" fmla="*/ 90 w 122"/>
                    <a:gd name="T33" fmla="*/ 57 h 61"/>
                    <a:gd name="T34" fmla="*/ 117 w 122"/>
                    <a:gd name="T35" fmla="*/ 29 h 61"/>
                    <a:gd name="T36" fmla="*/ 117 w 122"/>
                    <a:gd name="T37" fmla="*/ 29 h 61"/>
                    <a:gd name="T38" fmla="*/ 121 w 122"/>
                    <a:gd name="T39" fmla="*/ 23 h 61"/>
                    <a:gd name="T40" fmla="*/ 122 w 122"/>
                    <a:gd name="T41" fmla="*/ 16 h 61"/>
                    <a:gd name="T42" fmla="*/ 121 w 122"/>
                    <a:gd name="T43" fmla="*/ 11 h 61"/>
                    <a:gd name="T44" fmla="*/ 117 w 122"/>
                    <a:gd name="T45" fmla="*/ 6 h 61"/>
                    <a:gd name="T46" fmla="*/ 117 w 122"/>
                    <a:gd name="T47" fmla="*/ 6 h 61"/>
                    <a:gd name="T48" fmla="*/ 111 w 122"/>
                    <a:gd name="T49" fmla="*/ 2 h 61"/>
                    <a:gd name="T50" fmla="*/ 105 w 122"/>
                    <a:gd name="T51" fmla="*/ 0 h 61"/>
                    <a:gd name="T52" fmla="*/ 99 w 122"/>
                    <a:gd name="T53" fmla="*/ 2 h 61"/>
                    <a:gd name="T54" fmla="*/ 93 w 122"/>
                    <a:gd name="T55" fmla="*/ 6 h 61"/>
                    <a:gd name="T56" fmla="*/ 93 w 122"/>
                    <a:gd name="T57" fmla="*/ 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2" h="61">
                      <a:moveTo>
                        <a:pt x="93" y="6"/>
                      </a:moveTo>
                      <a:lnTo>
                        <a:pt x="71" y="27"/>
                      </a:lnTo>
                      <a:lnTo>
                        <a:pt x="16" y="27"/>
                      </a:lnTo>
                      <a:lnTo>
                        <a:pt x="16" y="27"/>
                      </a:lnTo>
                      <a:lnTo>
                        <a:pt x="9" y="29"/>
                      </a:lnTo>
                      <a:lnTo>
                        <a:pt x="4" y="33"/>
                      </a:lnTo>
                      <a:lnTo>
                        <a:pt x="1" y="38"/>
                      </a:lnTo>
                      <a:lnTo>
                        <a:pt x="0" y="45"/>
                      </a:lnTo>
                      <a:lnTo>
                        <a:pt x="0" y="45"/>
                      </a:lnTo>
                      <a:lnTo>
                        <a:pt x="1" y="51"/>
                      </a:lnTo>
                      <a:lnTo>
                        <a:pt x="4" y="57"/>
                      </a:lnTo>
                      <a:lnTo>
                        <a:pt x="9" y="59"/>
                      </a:lnTo>
                      <a:lnTo>
                        <a:pt x="16" y="61"/>
                      </a:lnTo>
                      <a:lnTo>
                        <a:pt x="78" y="61"/>
                      </a:lnTo>
                      <a:lnTo>
                        <a:pt x="78" y="61"/>
                      </a:lnTo>
                      <a:lnTo>
                        <a:pt x="84" y="59"/>
                      </a:lnTo>
                      <a:lnTo>
                        <a:pt x="90" y="57"/>
                      </a:lnTo>
                      <a:lnTo>
                        <a:pt x="117" y="29"/>
                      </a:lnTo>
                      <a:lnTo>
                        <a:pt x="117" y="29"/>
                      </a:lnTo>
                      <a:lnTo>
                        <a:pt x="121" y="23"/>
                      </a:lnTo>
                      <a:lnTo>
                        <a:pt x="122" y="16"/>
                      </a:lnTo>
                      <a:lnTo>
                        <a:pt x="121" y="11"/>
                      </a:lnTo>
                      <a:lnTo>
                        <a:pt x="117" y="6"/>
                      </a:lnTo>
                      <a:lnTo>
                        <a:pt x="117" y="6"/>
                      </a:lnTo>
                      <a:lnTo>
                        <a:pt x="111" y="2"/>
                      </a:lnTo>
                      <a:lnTo>
                        <a:pt x="105" y="0"/>
                      </a:lnTo>
                      <a:lnTo>
                        <a:pt x="99" y="2"/>
                      </a:lnTo>
                      <a:lnTo>
                        <a:pt x="93" y="6"/>
                      </a:lnTo>
                      <a:lnTo>
                        <a:pt x="93"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grpSp>
        <p:nvGrpSpPr>
          <p:cNvPr id="209" name="Group 208">
            <a:extLst>
              <a:ext uri="{FF2B5EF4-FFF2-40B4-BE49-F238E27FC236}">
                <a16:creationId xmlns:a16="http://schemas.microsoft.com/office/drawing/2014/main" id="{761BABBC-B921-459F-9E5C-E0E75832B6D1}"/>
              </a:ext>
            </a:extLst>
          </p:cNvPr>
          <p:cNvGrpSpPr>
            <a:grpSpLocks noChangeAspect="1"/>
          </p:cNvGrpSpPr>
          <p:nvPr/>
        </p:nvGrpSpPr>
        <p:grpSpPr>
          <a:xfrm>
            <a:off x="6985835" y="4538646"/>
            <a:ext cx="321991" cy="320040"/>
            <a:chOff x="5830888" y="5008563"/>
            <a:chExt cx="523875" cy="520700"/>
          </a:xfrm>
        </p:grpSpPr>
        <p:sp>
          <p:nvSpPr>
            <p:cNvPr id="210" name="Freeform 76">
              <a:extLst>
                <a:ext uri="{FF2B5EF4-FFF2-40B4-BE49-F238E27FC236}">
                  <a16:creationId xmlns:a16="http://schemas.microsoft.com/office/drawing/2014/main" id="{DA09DCDF-2D9E-4604-8076-A7CF061A587B}"/>
                </a:ext>
              </a:extLst>
            </p:cNvPr>
            <p:cNvSpPr>
              <a:spLocks noEditPoints="1"/>
            </p:cNvSpPr>
            <p:nvPr/>
          </p:nvSpPr>
          <p:spPr bwMode="auto">
            <a:xfrm>
              <a:off x="5830888" y="5008563"/>
              <a:ext cx="523875" cy="520700"/>
            </a:xfrm>
            <a:custGeom>
              <a:avLst/>
              <a:gdLst>
                <a:gd name="T0" fmla="*/ 312 w 658"/>
                <a:gd name="T1" fmla="*/ 657 h 657"/>
                <a:gd name="T2" fmla="*/ 263 w 658"/>
                <a:gd name="T3" fmla="*/ 650 h 657"/>
                <a:gd name="T4" fmla="*/ 201 w 658"/>
                <a:gd name="T5" fmla="*/ 632 h 657"/>
                <a:gd name="T6" fmla="*/ 119 w 658"/>
                <a:gd name="T7" fmla="*/ 582 h 657"/>
                <a:gd name="T8" fmla="*/ 56 w 658"/>
                <a:gd name="T9" fmla="*/ 512 h 657"/>
                <a:gd name="T10" fmla="*/ 15 w 658"/>
                <a:gd name="T11" fmla="*/ 426 h 657"/>
                <a:gd name="T12" fmla="*/ 4 w 658"/>
                <a:gd name="T13" fmla="*/ 379 h 657"/>
                <a:gd name="T14" fmla="*/ 0 w 658"/>
                <a:gd name="T15" fmla="*/ 329 h 657"/>
                <a:gd name="T16" fmla="*/ 1 w 658"/>
                <a:gd name="T17" fmla="*/ 296 h 657"/>
                <a:gd name="T18" fmla="*/ 11 w 658"/>
                <a:gd name="T19" fmla="*/ 246 h 657"/>
                <a:gd name="T20" fmla="*/ 40 w 658"/>
                <a:gd name="T21" fmla="*/ 172 h 657"/>
                <a:gd name="T22" fmla="*/ 97 w 658"/>
                <a:gd name="T23" fmla="*/ 97 h 657"/>
                <a:gd name="T24" fmla="*/ 172 w 658"/>
                <a:gd name="T25" fmla="*/ 39 h 657"/>
                <a:gd name="T26" fmla="*/ 247 w 658"/>
                <a:gd name="T27" fmla="*/ 11 h 657"/>
                <a:gd name="T28" fmla="*/ 295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1 w 658"/>
                <a:gd name="T41" fmla="*/ 200 h 657"/>
                <a:gd name="T42" fmla="*/ 651 w 658"/>
                <a:gd name="T43" fmla="*/ 262 h 657"/>
                <a:gd name="T44" fmla="*/ 657 w 658"/>
                <a:gd name="T45" fmla="*/ 312 h 657"/>
                <a:gd name="T46" fmla="*/ 657 w 658"/>
                <a:gd name="T47" fmla="*/ 346 h 657"/>
                <a:gd name="T48" fmla="*/ 651 w 658"/>
                <a:gd name="T49" fmla="*/ 395 h 657"/>
                <a:gd name="T50" fmla="*/ 631 w 658"/>
                <a:gd name="T51" fmla="*/ 457 h 657"/>
                <a:gd name="T52" fmla="*/ 583 w 658"/>
                <a:gd name="T53" fmla="*/ 538 h 657"/>
                <a:gd name="T54" fmla="*/ 513 w 658"/>
                <a:gd name="T55" fmla="*/ 601 h 657"/>
                <a:gd name="T56" fmla="*/ 427 w 658"/>
                <a:gd name="T57" fmla="*/ 642 h 657"/>
                <a:gd name="T58" fmla="*/ 379 w 658"/>
                <a:gd name="T59" fmla="*/ 654 h 657"/>
                <a:gd name="T60" fmla="*/ 329 w 658"/>
                <a:gd name="T61" fmla="*/ 657 h 657"/>
                <a:gd name="T62" fmla="*/ 329 w 658"/>
                <a:gd name="T63" fmla="*/ 38 h 657"/>
                <a:gd name="T64" fmla="*/ 243 w 658"/>
                <a:gd name="T65" fmla="*/ 51 h 657"/>
                <a:gd name="T66" fmla="*/ 166 w 658"/>
                <a:gd name="T67" fmla="*/ 88 h 657"/>
                <a:gd name="T68" fmla="*/ 105 w 658"/>
                <a:gd name="T69" fmla="*/ 144 h 657"/>
                <a:gd name="T70" fmla="*/ 60 w 658"/>
                <a:gd name="T71" fmla="*/ 215 h 657"/>
                <a:gd name="T72" fmla="*/ 39 w 658"/>
                <a:gd name="T73" fmla="*/ 299 h 657"/>
                <a:gd name="T74" fmla="*/ 39 w 658"/>
                <a:gd name="T75" fmla="*/ 359 h 657"/>
                <a:gd name="T76" fmla="*/ 60 w 658"/>
                <a:gd name="T77" fmla="*/ 442 h 657"/>
                <a:gd name="T78" fmla="*/ 105 w 658"/>
                <a:gd name="T79" fmla="*/ 513 h 657"/>
                <a:gd name="T80" fmla="*/ 166 w 658"/>
                <a:gd name="T81" fmla="*/ 570 h 657"/>
                <a:gd name="T82" fmla="*/ 243 w 658"/>
                <a:gd name="T83" fmla="*/ 607 h 657"/>
                <a:gd name="T84" fmla="*/ 329 w 658"/>
                <a:gd name="T85" fmla="*/ 620 h 657"/>
                <a:gd name="T86" fmla="*/ 388 w 658"/>
                <a:gd name="T87" fmla="*/ 614 h 657"/>
                <a:gd name="T88" fmla="*/ 467 w 658"/>
                <a:gd name="T89" fmla="*/ 585 h 657"/>
                <a:gd name="T90" fmla="*/ 534 w 658"/>
                <a:gd name="T91" fmla="*/ 535 h 657"/>
                <a:gd name="T92" fmla="*/ 584 w 658"/>
                <a:gd name="T93" fmla="*/ 468 h 657"/>
                <a:gd name="T94" fmla="*/ 614 w 658"/>
                <a:gd name="T95" fmla="*/ 387 h 657"/>
                <a:gd name="T96" fmla="*/ 620 w 658"/>
                <a:gd name="T97" fmla="*/ 329 h 657"/>
                <a:gd name="T98" fmla="*/ 607 w 658"/>
                <a:gd name="T99" fmla="*/ 242 h 657"/>
                <a:gd name="T100" fmla="*/ 571 w 658"/>
                <a:gd name="T101" fmla="*/ 166 h 657"/>
                <a:gd name="T102" fmla="*/ 514 w 658"/>
                <a:gd name="T103" fmla="*/ 104 h 657"/>
                <a:gd name="T104" fmla="*/ 442 w 658"/>
                <a:gd name="T105" fmla="*/ 61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2" y="657"/>
                  </a:lnTo>
                  <a:lnTo>
                    <a:pt x="295" y="656"/>
                  </a:lnTo>
                  <a:lnTo>
                    <a:pt x="279" y="654"/>
                  </a:lnTo>
                  <a:lnTo>
                    <a:pt x="263" y="650"/>
                  </a:lnTo>
                  <a:lnTo>
                    <a:pt x="247" y="648"/>
                  </a:lnTo>
                  <a:lnTo>
                    <a:pt x="231" y="642"/>
                  </a:lnTo>
                  <a:lnTo>
                    <a:pt x="201" y="632"/>
                  </a:lnTo>
                  <a:lnTo>
                    <a:pt x="172" y="618"/>
                  </a:lnTo>
                  <a:lnTo>
                    <a:pt x="145" y="601"/>
                  </a:lnTo>
                  <a:lnTo>
                    <a:pt x="119" y="582"/>
                  </a:lnTo>
                  <a:lnTo>
                    <a:pt x="97" y="562"/>
                  </a:lnTo>
                  <a:lnTo>
                    <a:pt x="75" y="538"/>
                  </a:lnTo>
                  <a:lnTo>
                    <a:pt x="56" y="512"/>
                  </a:lnTo>
                  <a:lnTo>
                    <a:pt x="40" y="485"/>
                  </a:lnTo>
                  <a:lnTo>
                    <a:pt x="25" y="457"/>
                  </a:lnTo>
                  <a:lnTo>
                    <a:pt x="15" y="426"/>
                  </a:lnTo>
                  <a:lnTo>
                    <a:pt x="11" y="411"/>
                  </a:lnTo>
                  <a:lnTo>
                    <a:pt x="7" y="395"/>
                  </a:lnTo>
                  <a:lnTo>
                    <a:pt x="4" y="379"/>
                  </a:lnTo>
                  <a:lnTo>
                    <a:pt x="1" y="363"/>
                  </a:lnTo>
                  <a:lnTo>
                    <a:pt x="0" y="346"/>
                  </a:lnTo>
                  <a:lnTo>
                    <a:pt x="0" y="329"/>
                  </a:lnTo>
                  <a:lnTo>
                    <a:pt x="0" y="329"/>
                  </a:lnTo>
                  <a:lnTo>
                    <a:pt x="0" y="312"/>
                  </a:lnTo>
                  <a:lnTo>
                    <a:pt x="1" y="296"/>
                  </a:lnTo>
                  <a:lnTo>
                    <a:pt x="4" y="278"/>
                  </a:lnTo>
                  <a:lnTo>
                    <a:pt x="7" y="262"/>
                  </a:lnTo>
                  <a:lnTo>
                    <a:pt x="11" y="246"/>
                  </a:lnTo>
                  <a:lnTo>
                    <a:pt x="15" y="231"/>
                  </a:lnTo>
                  <a:lnTo>
                    <a:pt x="25" y="200"/>
                  </a:lnTo>
                  <a:lnTo>
                    <a:pt x="40" y="172"/>
                  </a:lnTo>
                  <a:lnTo>
                    <a:pt x="56" y="145"/>
                  </a:lnTo>
                  <a:lnTo>
                    <a:pt x="75" y="120"/>
                  </a:lnTo>
                  <a:lnTo>
                    <a:pt x="97" y="97"/>
                  </a:lnTo>
                  <a:lnTo>
                    <a:pt x="119" y="76"/>
                  </a:lnTo>
                  <a:lnTo>
                    <a:pt x="145" y="57"/>
                  </a:lnTo>
                  <a:lnTo>
                    <a:pt x="172" y="39"/>
                  </a:lnTo>
                  <a:lnTo>
                    <a:pt x="201" y="26"/>
                  </a:lnTo>
                  <a:lnTo>
                    <a:pt x="231" y="15"/>
                  </a:lnTo>
                  <a:lnTo>
                    <a:pt x="247" y="11"/>
                  </a:lnTo>
                  <a:lnTo>
                    <a:pt x="263" y="7"/>
                  </a:lnTo>
                  <a:lnTo>
                    <a:pt x="279" y="4"/>
                  </a:lnTo>
                  <a:lnTo>
                    <a:pt x="295" y="2"/>
                  </a:lnTo>
                  <a:lnTo>
                    <a:pt x="312" y="0"/>
                  </a:lnTo>
                  <a:lnTo>
                    <a:pt x="329" y="0"/>
                  </a:lnTo>
                  <a:lnTo>
                    <a:pt x="329" y="0"/>
                  </a:lnTo>
                  <a:lnTo>
                    <a:pt x="346" y="0"/>
                  </a:lnTo>
                  <a:lnTo>
                    <a:pt x="363" y="2"/>
                  </a:lnTo>
                  <a:lnTo>
                    <a:pt x="379" y="4"/>
                  </a:lnTo>
                  <a:lnTo>
                    <a:pt x="395" y="7"/>
                  </a:lnTo>
                  <a:lnTo>
                    <a:pt x="411" y="11"/>
                  </a:lnTo>
                  <a:lnTo>
                    <a:pt x="427" y="15"/>
                  </a:lnTo>
                  <a:lnTo>
                    <a:pt x="457" y="26"/>
                  </a:lnTo>
                  <a:lnTo>
                    <a:pt x="486" y="39"/>
                  </a:lnTo>
                  <a:lnTo>
                    <a:pt x="513" y="57"/>
                  </a:lnTo>
                  <a:lnTo>
                    <a:pt x="539" y="76"/>
                  </a:lnTo>
                  <a:lnTo>
                    <a:pt x="561" y="97"/>
                  </a:lnTo>
                  <a:lnTo>
                    <a:pt x="583" y="120"/>
                  </a:lnTo>
                  <a:lnTo>
                    <a:pt x="602" y="145"/>
                  </a:lnTo>
                  <a:lnTo>
                    <a:pt x="618" y="172"/>
                  </a:lnTo>
                  <a:lnTo>
                    <a:pt x="631" y="200"/>
                  </a:lnTo>
                  <a:lnTo>
                    <a:pt x="643" y="231"/>
                  </a:lnTo>
                  <a:lnTo>
                    <a:pt x="647" y="246"/>
                  </a:lnTo>
                  <a:lnTo>
                    <a:pt x="651" y="262"/>
                  </a:lnTo>
                  <a:lnTo>
                    <a:pt x="654" y="278"/>
                  </a:lnTo>
                  <a:lnTo>
                    <a:pt x="655" y="296"/>
                  </a:lnTo>
                  <a:lnTo>
                    <a:pt x="657" y="312"/>
                  </a:lnTo>
                  <a:lnTo>
                    <a:pt x="658" y="329"/>
                  </a:lnTo>
                  <a:lnTo>
                    <a:pt x="658" y="329"/>
                  </a:lnTo>
                  <a:lnTo>
                    <a:pt x="657" y="346"/>
                  </a:lnTo>
                  <a:lnTo>
                    <a:pt x="655" y="363"/>
                  </a:lnTo>
                  <a:lnTo>
                    <a:pt x="654" y="379"/>
                  </a:lnTo>
                  <a:lnTo>
                    <a:pt x="651" y="395"/>
                  </a:lnTo>
                  <a:lnTo>
                    <a:pt x="647" y="411"/>
                  </a:lnTo>
                  <a:lnTo>
                    <a:pt x="643" y="426"/>
                  </a:lnTo>
                  <a:lnTo>
                    <a:pt x="631" y="457"/>
                  </a:lnTo>
                  <a:lnTo>
                    <a:pt x="618" y="485"/>
                  </a:lnTo>
                  <a:lnTo>
                    <a:pt x="602" y="512"/>
                  </a:lnTo>
                  <a:lnTo>
                    <a:pt x="583" y="538"/>
                  </a:lnTo>
                  <a:lnTo>
                    <a:pt x="561" y="562"/>
                  </a:lnTo>
                  <a:lnTo>
                    <a:pt x="539" y="582"/>
                  </a:lnTo>
                  <a:lnTo>
                    <a:pt x="513" y="601"/>
                  </a:lnTo>
                  <a:lnTo>
                    <a:pt x="486" y="618"/>
                  </a:lnTo>
                  <a:lnTo>
                    <a:pt x="457" y="632"/>
                  </a:lnTo>
                  <a:lnTo>
                    <a:pt x="427" y="642"/>
                  </a:lnTo>
                  <a:lnTo>
                    <a:pt x="411" y="648"/>
                  </a:lnTo>
                  <a:lnTo>
                    <a:pt x="395" y="650"/>
                  </a:lnTo>
                  <a:lnTo>
                    <a:pt x="379" y="654"/>
                  </a:lnTo>
                  <a:lnTo>
                    <a:pt x="363" y="656"/>
                  </a:lnTo>
                  <a:lnTo>
                    <a:pt x="346" y="657"/>
                  </a:lnTo>
                  <a:lnTo>
                    <a:pt x="329" y="657"/>
                  </a:lnTo>
                  <a:lnTo>
                    <a:pt x="329" y="657"/>
                  </a:lnTo>
                  <a:close/>
                  <a:moveTo>
                    <a:pt x="329" y="38"/>
                  </a:moveTo>
                  <a:lnTo>
                    <a:pt x="329" y="38"/>
                  </a:lnTo>
                  <a:lnTo>
                    <a:pt x="299" y="39"/>
                  </a:lnTo>
                  <a:lnTo>
                    <a:pt x="270" y="43"/>
                  </a:lnTo>
                  <a:lnTo>
                    <a:pt x="243" y="51"/>
                  </a:lnTo>
                  <a:lnTo>
                    <a:pt x="216" y="61"/>
                  </a:lnTo>
                  <a:lnTo>
                    <a:pt x="191" y="73"/>
                  </a:lnTo>
                  <a:lnTo>
                    <a:pt x="166" y="88"/>
                  </a:lnTo>
                  <a:lnTo>
                    <a:pt x="144" y="104"/>
                  </a:lnTo>
                  <a:lnTo>
                    <a:pt x="123" y="123"/>
                  </a:lnTo>
                  <a:lnTo>
                    <a:pt x="105" y="144"/>
                  </a:lnTo>
                  <a:lnTo>
                    <a:pt x="87" y="166"/>
                  </a:lnTo>
                  <a:lnTo>
                    <a:pt x="72" y="190"/>
                  </a:lnTo>
                  <a:lnTo>
                    <a:pt x="60" y="215"/>
                  </a:lnTo>
                  <a:lnTo>
                    <a:pt x="51" y="242"/>
                  </a:lnTo>
                  <a:lnTo>
                    <a:pt x="44" y="270"/>
                  </a:lnTo>
                  <a:lnTo>
                    <a:pt x="39" y="299"/>
                  </a:lnTo>
                  <a:lnTo>
                    <a:pt x="37" y="329"/>
                  </a:lnTo>
                  <a:lnTo>
                    <a:pt x="37" y="329"/>
                  </a:lnTo>
                  <a:lnTo>
                    <a:pt x="39" y="359"/>
                  </a:lnTo>
                  <a:lnTo>
                    <a:pt x="44" y="387"/>
                  </a:lnTo>
                  <a:lnTo>
                    <a:pt x="51" y="415"/>
                  </a:lnTo>
                  <a:lnTo>
                    <a:pt x="60" y="442"/>
                  </a:lnTo>
                  <a:lnTo>
                    <a:pt x="72" y="468"/>
                  </a:lnTo>
                  <a:lnTo>
                    <a:pt x="87" y="492"/>
                  </a:lnTo>
                  <a:lnTo>
                    <a:pt x="105" y="513"/>
                  </a:lnTo>
                  <a:lnTo>
                    <a:pt x="123" y="535"/>
                  </a:lnTo>
                  <a:lnTo>
                    <a:pt x="144" y="554"/>
                  </a:lnTo>
                  <a:lnTo>
                    <a:pt x="166" y="570"/>
                  </a:lnTo>
                  <a:lnTo>
                    <a:pt x="191" y="585"/>
                  </a:lnTo>
                  <a:lnTo>
                    <a:pt x="216" y="597"/>
                  </a:lnTo>
                  <a:lnTo>
                    <a:pt x="243" y="607"/>
                  </a:lnTo>
                  <a:lnTo>
                    <a:pt x="270" y="614"/>
                  </a:lnTo>
                  <a:lnTo>
                    <a:pt x="299" y="618"/>
                  </a:lnTo>
                  <a:lnTo>
                    <a:pt x="329" y="620"/>
                  </a:lnTo>
                  <a:lnTo>
                    <a:pt x="329" y="620"/>
                  </a:lnTo>
                  <a:lnTo>
                    <a:pt x="359" y="618"/>
                  </a:lnTo>
                  <a:lnTo>
                    <a:pt x="388" y="614"/>
                  </a:lnTo>
                  <a:lnTo>
                    <a:pt x="415" y="607"/>
                  </a:lnTo>
                  <a:lnTo>
                    <a:pt x="442" y="597"/>
                  </a:lnTo>
                  <a:lnTo>
                    <a:pt x="467" y="585"/>
                  </a:lnTo>
                  <a:lnTo>
                    <a:pt x="491" y="570"/>
                  </a:lnTo>
                  <a:lnTo>
                    <a:pt x="514" y="554"/>
                  </a:lnTo>
                  <a:lnTo>
                    <a:pt x="534" y="535"/>
                  </a:lnTo>
                  <a:lnTo>
                    <a:pt x="553" y="513"/>
                  </a:lnTo>
                  <a:lnTo>
                    <a:pt x="571" y="492"/>
                  </a:lnTo>
                  <a:lnTo>
                    <a:pt x="584" y="468"/>
                  </a:lnTo>
                  <a:lnTo>
                    <a:pt x="598" y="442"/>
                  </a:lnTo>
                  <a:lnTo>
                    <a:pt x="607" y="415"/>
                  </a:lnTo>
                  <a:lnTo>
                    <a:pt x="614" y="387"/>
                  </a:lnTo>
                  <a:lnTo>
                    <a:pt x="619" y="359"/>
                  </a:lnTo>
                  <a:lnTo>
                    <a:pt x="620" y="329"/>
                  </a:lnTo>
                  <a:lnTo>
                    <a:pt x="620" y="329"/>
                  </a:lnTo>
                  <a:lnTo>
                    <a:pt x="619" y="299"/>
                  </a:lnTo>
                  <a:lnTo>
                    <a:pt x="614" y="270"/>
                  </a:lnTo>
                  <a:lnTo>
                    <a:pt x="607" y="242"/>
                  </a:lnTo>
                  <a:lnTo>
                    <a:pt x="598" y="215"/>
                  </a:lnTo>
                  <a:lnTo>
                    <a:pt x="584" y="190"/>
                  </a:lnTo>
                  <a:lnTo>
                    <a:pt x="571" y="166"/>
                  </a:lnTo>
                  <a:lnTo>
                    <a:pt x="553" y="144"/>
                  </a:lnTo>
                  <a:lnTo>
                    <a:pt x="534" y="123"/>
                  </a:lnTo>
                  <a:lnTo>
                    <a:pt x="514" y="104"/>
                  </a:lnTo>
                  <a:lnTo>
                    <a:pt x="491" y="88"/>
                  </a:lnTo>
                  <a:lnTo>
                    <a:pt x="467" y="73"/>
                  </a:lnTo>
                  <a:lnTo>
                    <a:pt x="442" y="61"/>
                  </a:lnTo>
                  <a:lnTo>
                    <a:pt x="415" y="51"/>
                  </a:lnTo>
                  <a:lnTo>
                    <a:pt x="388" y="43"/>
                  </a:lnTo>
                  <a:lnTo>
                    <a:pt x="359" y="39"/>
                  </a:lnTo>
                  <a:lnTo>
                    <a:pt x="329" y="38"/>
                  </a:lnTo>
                  <a:lnTo>
                    <a:pt x="329" y="3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11" name="Freeform 298">
              <a:extLst>
                <a:ext uri="{FF2B5EF4-FFF2-40B4-BE49-F238E27FC236}">
                  <a16:creationId xmlns:a16="http://schemas.microsoft.com/office/drawing/2014/main" id="{8873002D-5F6D-44FF-BD5B-DAEAF6B3F8DE}"/>
                </a:ext>
              </a:extLst>
            </p:cNvPr>
            <p:cNvSpPr>
              <a:spLocks noEditPoints="1"/>
            </p:cNvSpPr>
            <p:nvPr/>
          </p:nvSpPr>
          <p:spPr bwMode="auto">
            <a:xfrm>
              <a:off x="5983288" y="5168900"/>
              <a:ext cx="244475" cy="244475"/>
            </a:xfrm>
            <a:custGeom>
              <a:avLst/>
              <a:gdLst>
                <a:gd name="T0" fmla="*/ 133 w 309"/>
                <a:gd name="T1" fmla="*/ 1 h 308"/>
                <a:gd name="T2" fmla="*/ 130 w 309"/>
                <a:gd name="T3" fmla="*/ 0 h 308"/>
                <a:gd name="T4" fmla="*/ 5 w 309"/>
                <a:gd name="T5" fmla="*/ 0 h 308"/>
                <a:gd name="T6" fmla="*/ 4 w 309"/>
                <a:gd name="T7" fmla="*/ 0 h 308"/>
                <a:gd name="T8" fmla="*/ 1 w 309"/>
                <a:gd name="T9" fmla="*/ 3 h 308"/>
                <a:gd name="T10" fmla="*/ 0 w 309"/>
                <a:gd name="T11" fmla="*/ 128 h 308"/>
                <a:gd name="T12" fmla="*/ 1 w 309"/>
                <a:gd name="T13" fmla="*/ 130 h 308"/>
                <a:gd name="T14" fmla="*/ 176 w 309"/>
                <a:gd name="T15" fmla="*/ 306 h 308"/>
                <a:gd name="T16" fmla="*/ 178 w 309"/>
                <a:gd name="T17" fmla="*/ 308 h 308"/>
                <a:gd name="T18" fmla="*/ 180 w 309"/>
                <a:gd name="T19" fmla="*/ 308 h 308"/>
                <a:gd name="T20" fmla="*/ 184 w 309"/>
                <a:gd name="T21" fmla="*/ 306 h 308"/>
                <a:gd name="T22" fmla="*/ 306 w 309"/>
                <a:gd name="T23" fmla="*/ 183 h 308"/>
                <a:gd name="T24" fmla="*/ 309 w 309"/>
                <a:gd name="T25" fmla="*/ 179 h 308"/>
                <a:gd name="T26" fmla="*/ 306 w 309"/>
                <a:gd name="T27" fmla="*/ 176 h 308"/>
                <a:gd name="T28" fmla="*/ 78 w 309"/>
                <a:gd name="T29" fmla="*/ 97 h 308"/>
                <a:gd name="T30" fmla="*/ 73 w 309"/>
                <a:gd name="T31" fmla="*/ 97 h 308"/>
                <a:gd name="T32" fmla="*/ 63 w 309"/>
                <a:gd name="T33" fmla="*/ 91 h 308"/>
                <a:gd name="T34" fmla="*/ 57 w 309"/>
                <a:gd name="T35" fmla="*/ 81 h 308"/>
                <a:gd name="T36" fmla="*/ 56 w 309"/>
                <a:gd name="T37" fmla="*/ 77 h 308"/>
                <a:gd name="T38" fmla="*/ 59 w 309"/>
                <a:gd name="T39" fmla="*/ 69 h 308"/>
                <a:gd name="T40" fmla="*/ 69 w 309"/>
                <a:gd name="T41" fmla="*/ 58 h 308"/>
                <a:gd name="T42" fmla="*/ 78 w 309"/>
                <a:gd name="T43" fmla="*/ 57 h 308"/>
                <a:gd name="T44" fmla="*/ 82 w 309"/>
                <a:gd name="T45" fmla="*/ 57 h 308"/>
                <a:gd name="T46" fmla="*/ 91 w 309"/>
                <a:gd name="T47" fmla="*/ 62 h 308"/>
                <a:gd name="T48" fmla="*/ 98 w 309"/>
                <a:gd name="T49" fmla="*/ 73 h 308"/>
                <a:gd name="T50" fmla="*/ 98 w 309"/>
                <a:gd name="T51" fmla="*/ 77 h 308"/>
                <a:gd name="T52" fmla="*/ 96 w 309"/>
                <a:gd name="T53" fmla="*/ 85 h 308"/>
                <a:gd name="T54" fmla="*/ 86 w 309"/>
                <a:gd name="T55" fmla="*/ 96 h 308"/>
                <a:gd name="T56" fmla="*/ 78 w 309"/>
                <a:gd name="T57" fmla="*/ 97 h 308"/>
                <a:gd name="T58" fmla="*/ 184 w 309"/>
                <a:gd name="T59" fmla="*/ 224 h 308"/>
                <a:gd name="T60" fmla="*/ 182 w 309"/>
                <a:gd name="T61" fmla="*/ 226 h 308"/>
                <a:gd name="T62" fmla="*/ 180 w 309"/>
                <a:gd name="T63" fmla="*/ 226 h 308"/>
                <a:gd name="T64" fmla="*/ 176 w 309"/>
                <a:gd name="T65" fmla="*/ 224 h 308"/>
                <a:gd name="T66" fmla="*/ 104 w 309"/>
                <a:gd name="T67" fmla="*/ 152 h 308"/>
                <a:gd name="T68" fmla="*/ 103 w 309"/>
                <a:gd name="T69" fmla="*/ 148 h 308"/>
                <a:gd name="T70" fmla="*/ 104 w 309"/>
                <a:gd name="T71" fmla="*/ 145 h 308"/>
                <a:gd name="T72" fmla="*/ 106 w 309"/>
                <a:gd name="T73" fmla="*/ 144 h 308"/>
                <a:gd name="T74" fmla="*/ 110 w 309"/>
                <a:gd name="T75" fmla="*/ 144 h 308"/>
                <a:gd name="T76" fmla="*/ 184 w 309"/>
                <a:gd name="T77" fmla="*/ 216 h 308"/>
                <a:gd name="T78" fmla="*/ 185 w 309"/>
                <a:gd name="T79" fmla="*/ 219 h 308"/>
                <a:gd name="T80" fmla="*/ 185 w 309"/>
                <a:gd name="T81" fmla="*/ 222 h 308"/>
                <a:gd name="T82" fmla="*/ 184 w 309"/>
                <a:gd name="T83" fmla="*/ 224 h 308"/>
                <a:gd name="T84" fmla="*/ 224 w 309"/>
                <a:gd name="T85" fmla="*/ 183 h 308"/>
                <a:gd name="T86" fmla="*/ 221 w 309"/>
                <a:gd name="T87" fmla="*/ 184 h 308"/>
                <a:gd name="T88" fmla="*/ 219 w 309"/>
                <a:gd name="T89" fmla="*/ 184 h 308"/>
                <a:gd name="T90" fmla="*/ 145 w 309"/>
                <a:gd name="T91" fmla="*/ 112 h 308"/>
                <a:gd name="T92" fmla="*/ 145 w 309"/>
                <a:gd name="T93" fmla="*/ 109 h 308"/>
                <a:gd name="T94" fmla="*/ 145 w 309"/>
                <a:gd name="T95" fmla="*/ 106 h 308"/>
                <a:gd name="T96" fmla="*/ 145 w 309"/>
                <a:gd name="T97" fmla="*/ 104 h 308"/>
                <a:gd name="T98" fmla="*/ 149 w 309"/>
                <a:gd name="T99" fmla="*/ 102 h 308"/>
                <a:gd name="T100" fmla="*/ 153 w 309"/>
                <a:gd name="T101" fmla="*/ 104 h 308"/>
                <a:gd name="T102" fmla="*/ 224 w 309"/>
                <a:gd name="T103" fmla="*/ 176 h 308"/>
                <a:gd name="T104" fmla="*/ 225 w 309"/>
                <a:gd name="T105" fmla="*/ 179 h 308"/>
                <a:gd name="T106" fmla="*/ 224 w 309"/>
                <a:gd name="T107" fmla="*/ 183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9" h="308">
                  <a:moveTo>
                    <a:pt x="306" y="176"/>
                  </a:moveTo>
                  <a:lnTo>
                    <a:pt x="133" y="1"/>
                  </a:lnTo>
                  <a:lnTo>
                    <a:pt x="133" y="1"/>
                  </a:lnTo>
                  <a:lnTo>
                    <a:pt x="130" y="0"/>
                  </a:lnTo>
                  <a:lnTo>
                    <a:pt x="129" y="0"/>
                  </a:lnTo>
                  <a:lnTo>
                    <a:pt x="5" y="0"/>
                  </a:lnTo>
                  <a:lnTo>
                    <a:pt x="5" y="0"/>
                  </a:lnTo>
                  <a:lnTo>
                    <a:pt x="4" y="0"/>
                  </a:lnTo>
                  <a:lnTo>
                    <a:pt x="1" y="1"/>
                  </a:lnTo>
                  <a:lnTo>
                    <a:pt x="1" y="3"/>
                  </a:lnTo>
                  <a:lnTo>
                    <a:pt x="0" y="4"/>
                  </a:lnTo>
                  <a:lnTo>
                    <a:pt x="0" y="128"/>
                  </a:lnTo>
                  <a:lnTo>
                    <a:pt x="0" y="128"/>
                  </a:lnTo>
                  <a:lnTo>
                    <a:pt x="1" y="130"/>
                  </a:lnTo>
                  <a:lnTo>
                    <a:pt x="1" y="132"/>
                  </a:lnTo>
                  <a:lnTo>
                    <a:pt x="176" y="306"/>
                  </a:lnTo>
                  <a:lnTo>
                    <a:pt x="176" y="306"/>
                  </a:lnTo>
                  <a:lnTo>
                    <a:pt x="178" y="308"/>
                  </a:lnTo>
                  <a:lnTo>
                    <a:pt x="180" y="308"/>
                  </a:lnTo>
                  <a:lnTo>
                    <a:pt x="180" y="308"/>
                  </a:lnTo>
                  <a:lnTo>
                    <a:pt x="181" y="308"/>
                  </a:lnTo>
                  <a:lnTo>
                    <a:pt x="184" y="306"/>
                  </a:lnTo>
                  <a:lnTo>
                    <a:pt x="306" y="183"/>
                  </a:lnTo>
                  <a:lnTo>
                    <a:pt x="306" y="183"/>
                  </a:lnTo>
                  <a:lnTo>
                    <a:pt x="307" y="181"/>
                  </a:lnTo>
                  <a:lnTo>
                    <a:pt x="309" y="179"/>
                  </a:lnTo>
                  <a:lnTo>
                    <a:pt x="307" y="177"/>
                  </a:lnTo>
                  <a:lnTo>
                    <a:pt x="306" y="176"/>
                  </a:lnTo>
                  <a:lnTo>
                    <a:pt x="306" y="176"/>
                  </a:lnTo>
                  <a:close/>
                  <a:moveTo>
                    <a:pt x="78" y="97"/>
                  </a:moveTo>
                  <a:lnTo>
                    <a:pt x="78" y="97"/>
                  </a:lnTo>
                  <a:lnTo>
                    <a:pt x="73" y="97"/>
                  </a:lnTo>
                  <a:lnTo>
                    <a:pt x="69" y="96"/>
                  </a:lnTo>
                  <a:lnTo>
                    <a:pt x="63" y="91"/>
                  </a:lnTo>
                  <a:lnTo>
                    <a:pt x="59" y="85"/>
                  </a:lnTo>
                  <a:lnTo>
                    <a:pt x="57" y="81"/>
                  </a:lnTo>
                  <a:lnTo>
                    <a:pt x="56" y="77"/>
                  </a:lnTo>
                  <a:lnTo>
                    <a:pt x="56" y="77"/>
                  </a:lnTo>
                  <a:lnTo>
                    <a:pt x="57" y="73"/>
                  </a:lnTo>
                  <a:lnTo>
                    <a:pt x="59" y="69"/>
                  </a:lnTo>
                  <a:lnTo>
                    <a:pt x="63" y="62"/>
                  </a:lnTo>
                  <a:lnTo>
                    <a:pt x="69" y="58"/>
                  </a:lnTo>
                  <a:lnTo>
                    <a:pt x="73" y="57"/>
                  </a:lnTo>
                  <a:lnTo>
                    <a:pt x="78" y="57"/>
                  </a:lnTo>
                  <a:lnTo>
                    <a:pt x="78" y="57"/>
                  </a:lnTo>
                  <a:lnTo>
                    <a:pt x="82" y="57"/>
                  </a:lnTo>
                  <a:lnTo>
                    <a:pt x="86" y="58"/>
                  </a:lnTo>
                  <a:lnTo>
                    <a:pt x="91" y="62"/>
                  </a:lnTo>
                  <a:lnTo>
                    <a:pt x="96" y="69"/>
                  </a:lnTo>
                  <a:lnTo>
                    <a:pt x="98" y="73"/>
                  </a:lnTo>
                  <a:lnTo>
                    <a:pt x="98" y="77"/>
                  </a:lnTo>
                  <a:lnTo>
                    <a:pt x="98" y="77"/>
                  </a:lnTo>
                  <a:lnTo>
                    <a:pt x="98" y="81"/>
                  </a:lnTo>
                  <a:lnTo>
                    <a:pt x="96" y="85"/>
                  </a:lnTo>
                  <a:lnTo>
                    <a:pt x="91" y="91"/>
                  </a:lnTo>
                  <a:lnTo>
                    <a:pt x="86" y="96"/>
                  </a:lnTo>
                  <a:lnTo>
                    <a:pt x="82" y="97"/>
                  </a:lnTo>
                  <a:lnTo>
                    <a:pt x="78" y="97"/>
                  </a:lnTo>
                  <a:lnTo>
                    <a:pt x="78" y="97"/>
                  </a:lnTo>
                  <a:close/>
                  <a:moveTo>
                    <a:pt x="184" y="224"/>
                  </a:moveTo>
                  <a:lnTo>
                    <a:pt x="184" y="224"/>
                  </a:lnTo>
                  <a:lnTo>
                    <a:pt x="182" y="226"/>
                  </a:lnTo>
                  <a:lnTo>
                    <a:pt x="180" y="226"/>
                  </a:lnTo>
                  <a:lnTo>
                    <a:pt x="180" y="226"/>
                  </a:lnTo>
                  <a:lnTo>
                    <a:pt x="178" y="226"/>
                  </a:lnTo>
                  <a:lnTo>
                    <a:pt x="176" y="224"/>
                  </a:lnTo>
                  <a:lnTo>
                    <a:pt x="104" y="152"/>
                  </a:lnTo>
                  <a:lnTo>
                    <a:pt x="104" y="152"/>
                  </a:lnTo>
                  <a:lnTo>
                    <a:pt x="103" y="151"/>
                  </a:lnTo>
                  <a:lnTo>
                    <a:pt x="103" y="148"/>
                  </a:lnTo>
                  <a:lnTo>
                    <a:pt x="103" y="147"/>
                  </a:lnTo>
                  <a:lnTo>
                    <a:pt x="104" y="145"/>
                  </a:lnTo>
                  <a:lnTo>
                    <a:pt x="104" y="145"/>
                  </a:lnTo>
                  <a:lnTo>
                    <a:pt x="106" y="144"/>
                  </a:lnTo>
                  <a:lnTo>
                    <a:pt x="108" y="144"/>
                  </a:lnTo>
                  <a:lnTo>
                    <a:pt x="110" y="144"/>
                  </a:lnTo>
                  <a:lnTo>
                    <a:pt x="111" y="145"/>
                  </a:lnTo>
                  <a:lnTo>
                    <a:pt x="184" y="216"/>
                  </a:lnTo>
                  <a:lnTo>
                    <a:pt x="184" y="216"/>
                  </a:lnTo>
                  <a:lnTo>
                    <a:pt x="185" y="219"/>
                  </a:lnTo>
                  <a:lnTo>
                    <a:pt x="185" y="220"/>
                  </a:lnTo>
                  <a:lnTo>
                    <a:pt x="185" y="222"/>
                  </a:lnTo>
                  <a:lnTo>
                    <a:pt x="184" y="224"/>
                  </a:lnTo>
                  <a:lnTo>
                    <a:pt x="184" y="224"/>
                  </a:lnTo>
                  <a:close/>
                  <a:moveTo>
                    <a:pt x="224" y="183"/>
                  </a:moveTo>
                  <a:lnTo>
                    <a:pt x="224" y="183"/>
                  </a:lnTo>
                  <a:lnTo>
                    <a:pt x="223" y="184"/>
                  </a:lnTo>
                  <a:lnTo>
                    <a:pt x="221" y="184"/>
                  </a:lnTo>
                  <a:lnTo>
                    <a:pt x="221" y="184"/>
                  </a:lnTo>
                  <a:lnTo>
                    <a:pt x="219" y="184"/>
                  </a:lnTo>
                  <a:lnTo>
                    <a:pt x="217" y="183"/>
                  </a:lnTo>
                  <a:lnTo>
                    <a:pt x="145" y="112"/>
                  </a:lnTo>
                  <a:lnTo>
                    <a:pt x="145" y="112"/>
                  </a:lnTo>
                  <a:lnTo>
                    <a:pt x="145" y="109"/>
                  </a:lnTo>
                  <a:lnTo>
                    <a:pt x="143" y="108"/>
                  </a:lnTo>
                  <a:lnTo>
                    <a:pt x="145" y="106"/>
                  </a:lnTo>
                  <a:lnTo>
                    <a:pt x="145" y="104"/>
                  </a:lnTo>
                  <a:lnTo>
                    <a:pt x="145" y="104"/>
                  </a:lnTo>
                  <a:lnTo>
                    <a:pt x="147" y="102"/>
                  </a:lnTo>
                  <a:lnTo>
                    <a:pt x="149" y="102"/>
                  </a:lnTo>
                  <a:lnTo>
                    <a:pt x="151" y="102"/>
                  </a:lnTo>
                  <a:lnTo>
                    <a:pt x="153" y="104"/>
                  </a:lnTo>
                  <a:lnTo>
                    <a:pt x="224" y="176"/>
                  </a:lnTo>
                  <a:lnTo>
                    <a:pt x="224" y="176"/>
                  </a:lnTo>
                  <a:lnTo>
                    <a:pt x="225" y="177"/>
                  </a:lnTo>
                  <a:lnTo>
                    <a:pt x="225" y="179"/>
                  </a:lnTo>
                  <a:lnTo>
                    <a:pt x="225" y="181"/>
                  </a:lnTo>
                  <a:lnTo>
                    <a:pt x="224" y="183"/>
                  </a:lnTo>
                  <a:lnTo>
                    <a:pt x="224" y="18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12" name="Group 211">
            <a:extLst>
              <a:ext uri="{FF2B5EF4-FFF2-40B4-BE49-F238E27FC236}">
                <a16:creationId xmlns:a16="http://schemas.microsoft.com/office/drawing/2014/main" id="{2029B108-3C17-4939-B95B-D14983D74D32}"/>
              </a:ext>
            </a:extLst>
          </p:cNvPr>
          <p:cNvGrpSpPr>
            <a:grpSpLocks noChangeAspect="1"/>
          </p:cNvGrpSpPr>
          <p:nvPr/>
        </p:nvGrpSpPr>
        <p:grpSpPr>
          <a:xfrm>
            <a:off x="10639221" y="2283375"/>
            <a:ext cx="321012" cy="320040"/>
            <a:chOff x="5834063" y="3342323"/>
            <a:chExt cx="523875" cy="522288"/>
          </a:xfrm>
        </p:grpSpPr>
        <p:sp>
          <p:nvSpPr>
            <p:cNvPr id="213" name="Freeform 56">
              <a:extLst>
                <a:ext uri="{FF2B5EF4-FFF2-40B4-BE49-F238E27FC236}">
                  <a16:creationId xmlns:a16="http://schemas.microsoft.com/office/drawing/2014/main" id="{97F770B6-3A61-4C0B-9239-3CECF8F9471E}"/>
                </a:ext>
              </a:extLst>
            </p:cNvPr>
            <p:cNvSpPr>
              <a:spLocks noEditPoints="1"/>
            </p:cNvSpPr>
            <p:nvPr/>
          </p:nvSpPr>
          <p:spPr bwMode="auto">
            <a:xfrm>
              <a:off x="5834063" y="3342323"/>
              <a:ext cx="523875" cy="522288"/>
            </a:xfrm>
            <a:custGeom>
              <a:avLst/>
              <a:gdLst>
                <a:gd name="T0" fmla="*/ 312 w 658"/>
                <a:gd name="T1" fmla="*/ 658 h 659"/>
                <a:gd name="T2" fmla="*/ 262 w 658"/>
                <a:gd name="T3" fmla="*/ 652 h 659"/>
                <a:gd name="T4" fmla="*/ 201 w 658"/>
                <a:gd name="T5" fmla="*/ 632 h 659"/>
                <a:gd name="T6" fmla="*/ 119 w 658"/>
                <a:gd name="T7" fmla="*/ 584 h 659"/>
                <a:gd name="T8" fmla="*/ 56 w 658"/>
                <a:gd name="T9" fmla="*/ 514 h 659"/>
                <a:gd name="T10" fmla="*/ 15 w 658"/>
                <a:gd name="T11" fmla="*/ 428 h 659"/>
                <a:gd name="T12" fmla="*/ 4 w 658"/>
                <a:gd name="T13" fmla="*/ 379 h 659"/>
                <a:gd name="T14" fmla="*/ 0 w 658"/>
                <a:gd name="T15" fmla="*/ 330 h 659"/>
                <a:gd name="T16" fmla="*/ 1 w 658"/>
                <a:gd name="T17" fmla="*/ 296 h 659"/>
                <a:gd name="T18" fmla="*/ 10 w 658"/>
                <a:gd name="T19" fmla="*/ 248 h 659"/>
                <a:gd name="T20" fmla="*/ 40 w 658"/>
                <a:gd name="T21" fmla="*/ 172 h 659"/>
                <a:gd name="T22" fmla="*/ 96 w 658"/>
                <a:gd name="T23" fmla="*/ 97 h 659"/>
                <a:gd name="T24" fmla="*/ 172 w 658"/>
                <a:gd name="T25" fmla="*/ 41 h 659"/>
                <a:gd name="T26" fmla="*/ 247 w 658"/>
                <a:gd name="T27" fmla="*/ 11 h 659"/>
                <a:gd name="T28" fmla="*/ 295 w 658"/>
                <a:gd name="T29" fmla="*/ 2 h 659"/>
                <a:gd name="T30" fmla="*/ 329 w 658"/>
                <a:gd name="T31" fmla="*/ 0 h 659"/>
                <a:gd name="T32" fmla="*/ 379 w 658"/>
                <a:gd name="T33" fmla="*/ 4 h 659"/>
                <a:gd name="T34" fmla="*/ 426 w 658"/>
                <a:gd name="T35" fmla="*/ 15 h 659"/>
                <a:gd name="T36" fmla="*/ 513 w 658"/>
                <a:gd name="T37" fmla="*/ 57 h 659"/>
                <a:gd name="T38" fmla="*/ 583 w 658"/>
                <a:gd name="T39" fmla="*/ 120 h 659"/>
                <a:gd name="T40" fmla="*/ 631 w 658"/>
                <a:gd name="T41" fmla="*/ 202 h 659"/>
                <a:gd name="T42" fmla="*/ 652 w 658"/>
                <a:gd name="T43" fmla="*/ 264 h 659"/>
                <a:gd name="T44" fmla="*/ 657 w 658"/>
                <a:gd name="T45" fmla="*/ 312 h 659"/>
                <a:gd name="T46" fmla="*/ 657 w 658"/>
                <a:gd name="T47" fmla="*/ 347 h 659"/>
                <a:gd name="T48" fmla="*/ 652 w 658"/>
                <a:gd name="T49" fmla="*/ 396 h 659"/>
                <a:gd name="T50" fmla="*/ 631 w 658"/>
                <a:gd name="T51" fmla="*/ 457 h 659"/>
                <a:gd name="T52" fmla="*/ 583 w 658"/>
                <a:gd name="T53" fmla="*/ 539 h 659"/>
                <a:gd name="T54" fmla="*/ 513 w 658"/>
                <a:gd name="T55" fmla="*/ 603 h 659"/>
                <a:gd name="T56" fmla="*/ 426 w 658"/>
                <a:gd name="T57" fmla="*/ 644 h 659"/>
                <a:gd name="T58" fmla="*/ 379 w 658"/>
                <a:gd name="T59" fmla="*/ 655 h 659"/>
                <a:gd name="T60" fmla="*/ 329 w 658"/>
                <a:gd name="T61" fmla="*/ 659 h 659"/>
                <a:gd name="T62" fmla="*/ 329 w 658"/>
                <a:gd name="T63" fmla="*/ 38 h 659"/>
                <a:gd name="T64" fmla="*/ 242 w 658"/>
                <a:gd name="T65" fmla="*/ 51 h 659"/>
                <a:gd name="T66" fmla="*/ 166 w 658"/>
                <a:gd name="T67" fmla="*/ 88 h 659"/>
                <a:gd name="T68" fmla="*/ 105 w 658"/>
                <a:gd name="T69" fmla="*/ 144 h 659"/>
                <a:gd name="T70" fmla="*/ 60 w 658"/>
                <a:gd name="T71" fmla="*/ 217 h 659"/>
                <a:gd name="T72" fmla="*/ 39 w 658"/>
                <a:gd name="T73" fmla="*/ 300 h 659"/>
                <a:gd name="T74" fmla="*/ 39 w 658"/>
                <a:gd name="T75" fmla="*/ 359 h 659"/>
                <a:gd name="T76" fmla="*/ 60 w 658"/>
                <a:gd name="T77" fmla="*/ 443 h 659"/>
                <a:gd name="T78" fmla="*/ 105 w 658"/>
                <a:gd name="T79" fmla="*/ 515 h 659"/>
                <a:gd name="T80" fmla="*/ 166 w 658"/>
                <a:gd name="T81" fmla="*/ 572 h 659"/>
                <a:gd name="T82" fmla="*/ 242 w 658"/>
                <a:gd name="T83" fmla="*/ 608 h 659"/>
                <a:gd name="T84" fmla="*/ 329 w 658"/>
                <a:gd name="T85" fmla="*/ 621 h 659"/>
                <a:gd name="T86" fmla="*/ 387 w 658"/>
                <a:gd name="T87" fmla="*/ 615 h 659"/>
                <a:gd name="T88" fmla="*/ 467 w 658"/>
                <a:gd name="T89" fmla="*/ 586 h 659"/>
                <a:gd name="T90" fmla="*/ 535 w 658"/>
                <a:gd name="T91" fmla="*/ 535 h 659"/>
                <a:gd name="T92" fmla="*/ 584 w 658"/>
                <a:gd name="T93" fmla="*/ 468 h 659"/>
                <a:gd name="T94" fmla="*/ 614 w 658"/>
                <a:gd name="T95" fmla="*/ 389 h 659"/>
                <a:gd name="T96" fmla="*/ 621 w 658"/>
                <a:gd name="T97" fmla="*/ 330 h 659"/>
                <a:gd name="T98" fmla="*/ 607 w 658"/>
                <a:gd name="T99" fmla="*/ 244 h 659"/>
                <a:gd name="T100" fmla="*/ 570 w 658"/>
                <a:gd name="T101" fmla="*/ 167 h 659"/>
                <a:gd name="T102" fmla="*/ 514 w 658"/>
                <a:gd name="T103" fmla="*/ 105 h 659"/>
                <a:gd name="T104" fmla="*/ 442 w 658"/>
                <a:gd name="T105" fmla="*/ 61 h 659"/>
                <a:gd name="T106" fmla="*/ 359 w 658"/>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2" y="658"/>
                  </a:lnTo>
                  <a:lnTo>
                    <a:pt x="295" y="656"/>
                  </a:lnTo>
                  <a:lnTo>
                    <a:pt x="279" y="655"/>
                  </a:lnTo>
                  <a:lnTo>
                    <a:pt x="262" y="652"/>
                  </a:lnTo>
                  <a:lnTo>
                    <a:pt x="247" y="648"/>
                  </a:lnTo>
                  <a:lnTo>
                    <a:pt x="231" y="644"/>
                  </a:lnTo>
                  <a:lnTo>
                    <a:pt x="201" y="632"/>
                  </a:lnTo>
                  <a:lnTo>
                    <a:pt x="172" y="619"/>
                  </a:lnTo>
                  <a:lnTo>
                    <a:pt x="145" y="603"/>
                  </a:lnTo>
                  <a:lnTo>
                    <a:pt x="119" y="584"/>
                  </a:lnTo>
                  <a:lnTo>
                    <a:pt x="96" y="562"/>
                  </a:lnTo>
                  <a:lnTo>
                    <a:pt x="75" y="539"/>
                  </a:lnTo>
                  <a:lnTo>
                    <a:pt x="56" y="514"/>
                  </a:lnTo>
                  <a:lnTo>
                    <a:pt x="40" y="487"/>
                  </a:lnTo>
                  <a:lnTo>
                    <a:pt x="25" y="457"/>
                  </a:lnTo>
                  <a:lnTo>
                    <a:pt x="15" y="428"/>
                  </a:lnTo>
                  <a:lnTo>
                    <a:pt x="10" y="412"/>
                  </a:lnTo>
                  <a:lnTo>
                    <a:pt x="6" y="396"/>
                  </a:lnTo>
                  <a:lnTo>
                    <a:pt x="4" y="379"/>
                  </a:lnTo>
                  <a:lnTo>
                    <a:pt x="1" y="363"/>
                  </a:lnTo>
                  <a:lnTo>
                    <a:pt x="0" y="347"/>
                  </a:lnTo>
                  <a:lnTo>
                    <a:pt x="0" y="330"/>
                  </a:lnTo>
                  <a:lnTo>
                    <a:pt x="0" y="330"/>
                  </a:lnTo>
                  <a:lnTo>
                    <a:pt x="0" y="312"/>
                  </a:lnTo>
                  <a:lnTo>
                    <a:pt x="1" y="296"/>
                  </a:lnTo>
                  <a:lnTo>
                    <a:pt x="4" y="280"/>
                  </a:lnTo>
                  <a:lnTo>
                    <a:pt x="6" y="264"/>
                  </a:lnTo>
                  <a:lnTo>
                    <a:pt x="10" y="248"/>
                  </a:lnTo>
                  <a:lnTo>
                    <a:pt x="15" y="232"/>
                  </a:lnTo>
                  <a:lnTo>
                    <a:pt x="25" y="202"/>
                  </a:lnTo>
                  <a:lnTo>
                    <a:pt x="40" y="172"/>
                  </a:lnTo>
                  <a:lnTo>
                    <a:pt x="56" y="146"/>
                  </a:lnTo>
                  <a:lnTo>
                    <a:pt x="75" y="120"/>
                  </a:lnTo>
                  <a:lnTo>
                    <a:pt x="96" y="97"/>
                  </a:lnTo>
                  <a:lnTo>
                    <a:pt x="119" y="76"/>
                  </a:lnTo>
                  <a:lnTo>
                    <a:pt x="145" y="57"/>
                  </a:lnTo>
                  <a:lnTo>
                    <a:pt x="172" y="41"/>
                  </a:lnTo>
                  <a:lnTo>
                    <a:pt x="201" y="26"/>
                  </a:lnTo>
                  <a:lnTo>
                    <a:pt x="231" y="15"/>
                  </a:lnTo>
                  <a:lnTo>
                    <a:pt x="247" y="11"/>
                  </a:lnTo>
                  <a:lnTo>
                    <a:pt x="262" y="7"/>
                  </a:lnTo>
                  <a:lnTo>
                    <a:pt x="279" y="4"/>
                  </a:lnTo>
                  <a:lnTo>
                    <a:pt x="295" y="2"/>
                  </a:lnTo>
                  <a:lnTo>
                    <a:pt x="312" y="2"/>
                  </a:lnTo>
                  <a:lnTo>
                    <a:pt x="329" y="0"/>
                  </a:lnTo>
                  <a:lnTo>
                    <a:pt x="329" y="0"/>
                  </a:lnTo>
                  <a:lnTo>
                    <a:pt x="345" y="2"/>
                  </a:lnTo>
                  <a:lnTo>
                    <a:pt x="363" y="2"/>
                  </a:lnTo>
                  <a:lnTo>
                    <a:pt x="379" y="4"/>
                  </a:lnTo>
                  <a:lnTo>
                    <a:pt x="395" y="7"/>
                  </a:lnTo>
                  <a:lnTo>
                    <a:pt x="411" y="11"/>
                  </a:lnTo>
                  <a:lnTo>
                    <a:pt x="426" y="15"/>
                  </a:lnTo>
                  <a:lnTo>
                    <a:pt x="457" y="26"/>
                  </a:lnTo>
                  <a:lnTo>
                    <a:pt x="485" y="41"/>
                  </a:lnTo>
                  <a:lnTo>
                    <a:pt x="513" y="57"/>
                  </a:lnTo>
                  <a:lnTo>
                    <a:pt x="537" y="76"/>
                  </a:lnTo>
                  <a:lnTo>
                    <a:pt x="562" y="97"/>
                  </a:lnTo>
                  <a:lnTo>
                    <a:pt x="583" y="120"/>
                  </a:lnTo>
                  <a:lnTo>
                    <a:pt x="602" y="146"/>
                  </a:lnTo>
                  <a:lnTo>
                    <a:pt x="618" y="172"/>
                  </a:lnTo>
                  <a:lnTo>
                    <a:pt x="631" y="202"/>
                  </a:lnTo>
                  <a:lnTo>
                    <a:pt x="643" y="232"/>
                  </a:lnTo>
                  <a:lnTo>
                    <a:pt x="648" y="248"/>
                  </a:lnTo>
                  <a:lnTo>
                    <a:pt x="652" y="264"/>
                  </a:lnTo>
                  <a:lnTo>
                    <a:pt x="654" y="280"/>
                  </a:lnTo>
                  <a:lnTo>
                    <a:pt x="656" y="296"/>
                  </a:lnTo>
                  <a:lnTo>
                    <a:pt x="657" y="312"/>
                  </a:lnTo>
                  <a:lnTo>
                    <a:pt x="658" y="330"/>
                  </a:lnTo>
                  <a:lnTo>
                    <a:pt x="658" y="330"/>
                  </a:lnTo>
                  <a:lnTo>
                    <a:pt x="657" y="347"/>
                  </a:lnTo>
                  <a:lnTo>
                    <a:pt x="656" y="363"/>
                  </a:lnTo>
                  <a:lnTo>
                    <a:pt x="654" y="379"/>
                  </a:lnTo>
                  <a:lnTo>
                    <a:pt x="652" y="396"/>
                  </a:lnTo>
                  <a:lnTo>
                    <a:pt x="648" y="412"/>
                  </a:lnTo>
                  <a:lnTo>
                    <a:pt x="643" y="428"/>
                  </a:lnTo>
                  <a:lnTo>
                    <a:pt x="631" y="457"/>
                  </a:lnTo>
                  <a:lnTo>
                    <a:pt x="618" y="487"/>
                  </a:lnTo>
                  <a:lnTo>
                    <a:pt x="602" y="514"/>
                  </a:lnTo>
                  <a:lnTo>
                    <a:pt x="583" y="539"/>
                  </a:lnTo>
                  <a:lnTo>
                    <a:pt x="562" y="562"/>
                  </a:lnTo>
                  <a:lnTo>
                    <a:pt x="537" y="584"/>
                  </a:lnTo>
                  <a:lnTo>
                    <a:pt x="513" y="603"/>
                  </a:lnTo>
                  <a:lnTo>
                    <a:pt x="485" y="619"/>
                  </a:lnTo>
                  <a:lnTo>
                    <a:pt x="457" y="632"/>
                  </a:lnTo>
                  <a:lnTo>
                    <a:pt x="426" y="644"/>
                  </a:lnTo>
                  <a:lnTo>
                    <a:pt x="411" y="648"/>
                  </a:lnTo>
                  <a:lnTo>
                    <a:pt x="395" y="652"/>
                  </a:lnTo>
                  <a:lnTo>
                    <a:pt x="379" y="655"/>
                  </a:lnTo>
                  <a:lnTo>
                    <a:pt x="363" y="656"/>
                  </a:lnTo>
                  <a:lnTo>
                    <a:pt x="345" y="658"/>
                  </a:lnTo>
                  <a:lnTo>
                    <a:pt x="329" y="659"/>
                  </a:lnTo>
                  <a:lnTo>
                    <a:pt x="329" y="659"/>
                  </a:lnTo>
                  <a:close/>
                  <a:moveTo>
                    <a:pt x="329" y="38"/>
                  </a:moveTo>
                  <a:lnTo>
                    <a:pt x="329" y="38"/>
                  </a:lnTo>
                  <a:lnTo>
                    <a:pt x="299" y="39"/>
                  </a:lnTo>
                  <a:lnTo>
                    <a:pt x="270" y="45"/>
                  </a:lnTo>
                  <a:lnTo>
                    <a:pt x="242" y="51"/>
                  </a:lnTo>
                  <a:lnTo>
                    <a:pt x="215" y="61"/>
                  </a:lnTo>
                  <a:lnTo>
                    <a:pt x="191" y="73"/>
                  </a:lnTo>
                  <a:lnTo>
                    <a:pt x="166" y="88"/>
                  </a:lnTo>
                  <a:lnTo>
                    <a:pt x="144" y="105"/>
                  </a:lnTo>
                  <a:lnTo>
                    <a:pt x="123" y="124"/>
                  </a:lnTo>
                  <a:lnTo>
                    <a:pt x="105" y="144"/>
                  </a:lnTo>
                  <a:lnTo>
                    <a:pt x="87" y="167"/>
                  </a:lnTo>
                  <a:lnTo>
                    <a:pt x="72" y="191"/>
                  </a:lnTo>
                  <a:lnTo>
                    <a:pt x="60" y="217"/>
                  </a:lnTo>
                  <a:lnTo>
                    <a:pt x="51" y="244"/>
                  </a:lnTo>
                  <a:lnTo>
                    <a:pt x="43" y="271"/>
                  </a:lnTo>
                  <a:lnTo>
                    <a:pt x="39" y="300"/>
                  </a:lnTo>
                  <a:lnTo>
                    <a:pt x="37" y="330"/>
                  </a:lnTo>
                  <a:lnTo>
                    <a:pt x="37" y="330"/>
                  </a:lnTo>
                  <a:lnTo>
                    <a:pt x="39" y="359"/>
                  </a:lnTo>
                  <a:lnTo>
                    <a:pt x="43" y="389"/>
                  </a:lnTo>
                  <a:lnTo>
                    <a:pt x="51" y="416"/>
                  </a:lnTo>
                  <a:lnTo>
                    <a:pt x="60" y="443"/>
                  </a:lnTo>
                  <a:lnTo>
                    <a:pt x="72" y="468"/>
                  </a:lnTo>
                  <a:lnTo>
                    <a:pt x="87" y="492"/>
                  </a:lnTo>
                  <a:lnTo>
                    <a:pt x="105" y="515"/>
                  </a:lnTo>
                  <a:lnTo>
                    <a:pt x="123" y="535"/>
                  </a:lnTo>
                  <a:lnTo>
                    <a:pt x="144" y="554"/>
                  </a:lnTo>
                  <a:lnTo>
                    <a:pt x="166" y="572"/>
                  </a:lnTo>
                  <a:lnTo>
                    <a:pt x="191" y="586"/>
                  </a:lnTo>
                  <a:lnTo>
                    <a:pt x="215" y="598"/>
                  </a:lnTo>
                  <a:lnTo>
                    <a:pt x="242" y="608"/>
                  </a:lnTo>
                  <a:lnTo>
                    <a:pt x="270" y="615"/>
                  </a:lnTo>
                  <a:lnTo>
                    <a:pt x="299" y="620"/>
                  </a:lnTo>
                  <a:lnTo>
                    <a:pt x="329" y="621"/>
                  </a:lnTo>
                  <a:lnTo>
                    <a:pt x="329" y="621"/>
                  </a:lnTo>
                  <a:lnTo>
                    <a:pt x="359" y="620"/>
                  </a:lnTo>
                  <a:lnTo>
                    <a:pt x="387" y="615"/>
                  </a:lnTo>
                  <a:lnTo>
                    <a:pt x="415" y="608"/>
                  </a:lnTo>
                  <a:lnTo>
                    <a:pt x="442" y="598"/>
                  </a:lnTo>
                  <a:lnTo>
                    <a:pt x="467" y="586"/>
                  </a:lnTo>
                  <a:lnTo>
                    <a:pt x="492" y="572"/>
                  </a:lnTo>
                  <a:lnTo>
                    <a:pt x="514" y="554"/>
                  </a:lnTo>
                  <a:lnTo>
                    <a:pt x="535" y="535"/>
                  </a:lnTo>
                  <a:lnTo>
                    <a:pt x="553" y="515"/>
                  </a:lnTo>
                  <a:lnTo>
                    <a:pt x="570" y="492"/>
                  </a:lnTo>
                  <a:lnTo>
                    <a:pt x="584" y="468"/>
                  </a:lnTo>
                  <a:lnTo>
                    <a:pt x="596" y="443"/>
                  </a:lnTo>
                  <a:lnTo>
                    <a:pt x="607" y="416"/>
                  </a:lnTo>
                  <a:lnTo>
                    <a:pt x="614" y="389"/>
                  </a:lnTo>
                  <a:lnTo>
                    <a:pt x="618" y="359"/>
                  </a:lnTo>
                  <a:lnTo>
                    <a:pt x="621" y="330"/>
                  </a:lnTo>
                  <a:lnTo>
                    <a:pt x="621" y="330"/>
                  </a:lnTo>
                  <a:lnTo>
                    <a:pt x="618" y="300"/>
                  </a:lnTo>
                  <a:lnTo>
                    <a:pt x="614" y="271"/>
                  </a:lnTo>
                  <a:lnTo>
                    <a:pt x="607" y="244"/>
                  </a:lnTo>
                  <a:lnTo>
                    <a:pt x="596" y="217"/>
                  </a:lnTo>
                  <a:lnTo>
                    <a:pt x="584" y="191"/>
                  </a:lnTo>
                  <a:lnTo>
                    <a:pt x="570" y="167"/>
                  </a:lnTo>
                  <a:lnTo>
                    <a:pt x="553" y="144"/>
                  </a:lnTo>
                  <a:lnTo>
                    <a:pt x="535" y="124"/>
                  </a:lnTo>
                  <a:lnTo>
                    <a:pt x="514" y="105"/>
                  </a:lnTo>
                  <a:lnTo>
                    <a:pt x="492" y="88"/>
                  </a:lnTo>
                  <a:lnTo>
                    <a:pt x="467" y="73"/>
                  </a:lnTo>
                  <a:lnTo>
                    <a:pt x="442" y="61"/>
                  </a:lnTo>
                  <a:lnTo>
                    <a:pt x="415" y="51"/>
                  </a:lnTo>
                  <a:lnTo>
                    <a:pt x="387" y="45"/>
                  </a:lnTo>
                  <a:lnTo>
                    <a:pt x="359" y="39"/>
                  </a:lnTo>
                  <a:lnTo>
                    <a:pt x="329" y="38"/>
                  </a:lnTo>
                  <a:lnTo>
                    <a:pt x="329" y="3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14" name="Freeform 217">
              <a:extLst>
                <a:ext uri="{FF2B5EF4-FFF2-40B4-BE49-F238E27FC236}">
                  <a16:creationId xmlns:a16="http://schemas.microsoft.com/office/drawing/2014/main" id="{D0102145-2589-4686-9E67-E24428F7522A}"/>
                </a:ext>
              </a:extLst>
            </p:cNvPr>
            <p:cNvSpPr>
              <a:spLocks/>
            </p:cNvSpPr>
            <p:nvPr/>
          </p:nvSpPr>
          <p:spPr bwMode="auto">
            <a:xfrm>
              <a:off x="5964238" y="3467735"/>
              <a:ext cx="263525" cy="249238"/>
            </a:xfrm>
            <a:custGeom>
              <a:avLst/>
              <a:gdLst>
                <a:gd name="T0" fmla="*/ 330 w 330"/>
                <a:gd name="T1" fmla="*/ 120 h 314"/>
                <a:gd name="T2" fmla="*/ 330 w 330"/>
                <a:gd name="T3" fmla="*/ 120 h 314"/>
                <a:gd name="T4" fmla="*/ 328 w 330"/>
                <a:gd name="T5" fmla="*/ 117 h 314"/>
                <a:gd name="T6" fmla="*/ 325 w 330"/>
                <a:gd name="T7" fmla="*/ 116 h 314"/>
                <a:gd name="T8" fmla="*/ 217 w 330"/>
                <a:gd name="T9" fmla="*/ 101 h 314"/>
                <a:gd name="T10" fmla="*/ 170 w 330"/>
                <a:gd name="T11" fmla="*/ 4 h 314"/>
                <a:gd name="T12" fmla="*/ 170 w 330"/>
                <a:gd name="T13" fmla="*/ 4 h 314"/>
                <a:gd name="T14" fmla="*/ 168 w 330"/>
                <a:gd name="T15" fmla="*/ 1 h 314"/>
                <a:gd name="T16" fmla="*/ 165 w 330"/>
                <a:gd name="T17" fmla="*/ 0 h 314"/>
                <a:gd name="T18" fmla="*/ 162 w 330"/>
                <a:gd name="T19" fmla="*/ 1 h 314"/>
                <a:gd name="T20" fmla="*/ 160 w 330"/>
                <a:gd name="T21" fmla="*/ 4 h 314"/>
                <a:gd name="T22" fmla="*/ 111 w 330"/>
                <a:gd name="T23" fmla="*/ 101 h 314"/>
                <a:gd name="T24" fmla="*/ 5 w 330"/>
                <a:gd name="T25" fmla="*/ 116 h 314"/>
                <a:gd name="T26" fmla="*/ 5 w 330"/>
                <a:gd name="T27" fmla="*/ 116 h 314"/>
                <a:gd name="T28" fmla="*/ 2 w 330"/>
                <a:gd name="T29" fmla="*/ 117 h 314"/>
                <a:gd name="T30" fmla="*/ 0 w 330"/>
                <a:gd name="T31" fmla="*/ 120 h 314"/>
                <a:gd name="T32" fmla="*/ 0 w 330"/>
                <a:gd name="T33" fmla="*/ 120 h 314"/>
                <a:gd name="T34" fmla="*/ 0 w 330"/>
                <a:gd name="T35" fmla="*/ 124 h 314"/>
                <a:gd name="T36" fmla="*/ 1 w 330"/>
                <a:gd name="T37" fmla="*/ 126 h 314"/>
                <a:gd name="T38" fmla="*/ 79 w 330"/>
                <a:gd name="T39" fmla="*/ 202 h 314"/>
                <a:gd name="T40" fmla="*/ 60 w 330"/>
                <a:gd name="T41" fmla="*/ 308 h 314"/>
                <a:gd name="T42" fmla="*/ 60 w 330"/>
                <a:gd name="T43" fmla="*/ 308 h 314"/>
                <a:gd name="T44" fmla="*/ 62 w 330"/>
                <a:gd name="T45" fmla="*/ 312 h 314"/>
                <a:gd name="T46" fmla="*/ 63 w 330"/>
                <a:gd name="T47" fmla="*/ 314 h 314"/>
                <a:gd name="T48" fmla="*/ 63 w 330"/>
                <a:gd name="T49" fmla="*/ 314 h 314"/>
                <a:gd name="T50" fmla="*/ 66 w 330"/>
                <a:gd name="T51" fmla="*/ 314 h 314"/>
                <a:gd name="T52" fmla="*/ 70 w 330"/>
                <a:gd name="T53" fmla="*/ 314 h 314"/>
                <a:gd name="T54" fmla="*/ 165 w 330"/>
                <a:gd name="T55" fmla="*/ 263 h 314"/>
                <a:gd name="T56" fmla="*/ 260 w 330"/>
                <a:gd name="T57" fmla="*/ 314 h 314"/>
                <a:gd name="T58" fmla="*/ 260 w 330"/>
                <a:gd name="T59" fmla="*/ 314 h 314"/>
                <a:gd name="T60" fmla="*/ 263 w 330"/>
                <a:gd name="T61" fmla="*/ 314 h 314"/>
                <a:gd name="T62" fmla="*/ 263 w 330"/>
                <a:gd name="T63" fmla="*/ 314 h 314"/>
                <a:gd name="T64" fmla="*/ 267 w 330"/>
                <a:gd name="T65" fmla="*/ 314 h 314"/>
                <a:gd name="T66" fmla="*/ 267 w 330"/>
                <a:gd name="T67" fmla="*/ 314 h 314"/>
                <a:gd name="T68" fmla="*/ 268 w 330"/>
                <a:gd name="T69" fmla="*/ 312 h 314"/>
                <a:gd name="T70" fmla="*/ 268 w 330"/>
                <a:gd name="T71" fmla="*/ 308 h 314"/>
                <a:gd name="T72" fmla="*/ 251 w 330"/>
                <a:gd name="T73" fmla="*/ 202 h 314"/>
                <a:gd name="T74" fmla="*/ 329 w 330"/>
                <a:gd name="T75" fmla="*/ 126 h 314"/>
                <a:gd name="T76" fmla="*/ 329 w 330"/>
                <a:gd name="T77" fmla="*/ 126 h 314"/>
                <a:gd name="T78" fmla="*/ 330 w 330"/>
                <a:gd name="T79" fmla="*/ 124 h 314"/>
                <a:gd name="T80" fmla="*/ 330 w 330"/>
                <a:gd name="T81" fmla="*/ 120 h 314"/>
                <a:gd name="T82" fmla="*/ 330 w 330"/>
                <a:gd name="T83" fmla="*/ 12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0" h="314">
                  <a:moveTo>
                    <a:pt x="330" y="120"/>
                  </a:moveTo>
                  <a:lnTo>
                    <a:pt x="330" y="120"/>
                  </a:lnTo>
                  <a:lnTo>
                    <a:pt x="328" y="117"/>
                  </a:lnTo>
                  <a:lnTo>
                    <a:pt x="325" y="116"/>
                  </a:lnTo>
                  <a:lnTo>
                    <a:pt x="217" y="101"/>
                  </a:lnTo>
                  <a:lnTo>
                    <a:pt x="170" y="4"/>
                  </a:lnTo>
                  <a:lnTo>
                    <a:pt x="170" y="4"/>
                  </a:lnTo>
                  <a:lnTo>
                    <a:pt x="168" y="1"/>
                  </a:lnTo>
                  <a:lnTo>
                    <a:pt x="165" y="0"/>
                  </a:lnTo>
                  <a:lnTo>
                    <a:pt x="162" y="1"/>
                  </a:lnTo>
                  <a:lnTo>
                    <a:pt x="160" y="4"/>
                  </a:lnTo>
                  <a:lnTo>
                    <a:pt x="111" y="101"/>
                  </a:lnTo>
                  <a:lnTo>
                    <a:pt x="5" y="116"/>
                  </a:lnTo>
                  <a:lnTo>
                    <a:pt x="5" y="116"/>
                  </a:lnTo>
                  <a:lnTo>
                    <a:pt x="2" y="117"/>
                  </a:lnTo>
                  <a:lnTo>
                    <a:pt x="0" y="120"/>
                  </a:lnTo>
                  <a:lnTo>
                    <a:pt x="0" y="120"/>
                  </a:lnTo>
                  <a:lnTo>
                    <a:pt x="0" y="124"/>
                  </a:lnTo>
                  <a:lnTo>
                    <a:pt x="1" y="126"/>
                  </a:lnTo>
                  <a:lnTo>
                    <a:pt x="79" y="202"/>
                  </a:lnTo>
                  <a:lnTo>
                    <a:pt x="60" y="308"/>
                  </a:lnTo>
                  <a:lnTo>
                    <a:pt x="60" y="308"/>
                  </a:lnTo>
                  <a:lnTo>
                    <a:pt x="62" y="312"/>
                  </a:lnTo>
                  <a:lnTo>
                    <a:pt x="63" y="314"/>
                  </a:lnTo>
                  <a:lnTo>
                    <a:pt x="63" y="314"/>
                  </a:lnTo>
                  <a:lnTo>
                    <a:pt x="66" y="314"/>
                  </a:lnTo>
                  <a:lnTo>
                    <a:pt x="70" y="314"/>
                  </a:lnTo>
                  <a:lnTo>
                    <a:pt x="165" y="263"/>
                  </a:lnTo>
                  <a:lnTo>
                    <a:pt x="260" y="314"/>
                  </a:lnTo>
                  <a:lnTo>
                    <a:pt x="260" y="314"/>
                  </a:lnTo>
                  <a:lnTo>
                    <a:pt x="263" y="314"/>
                  </a:lnTo>
                  <a:lnTo>
                    <a:pt x="263" y="314"/>
                  </a:lnTo>
                  <a:lnTo>
                    <a:pt x="267" y="314"/>
                  </a:lnTo>
                  <a:lnTo>
                    <a:pt x="267" y="314"/>
                  </a:lnTo>
                  <a:lnTo>
                    <a:pt x="268" y="312"/>
                  </a:lnTo>
                  <a:lnTo>
                    <a:pt x="268" y="308"/>
                  </a:lnTo>
                  <a:lnTo>
                    <a:pt x="251" y="202"/>
                  </a:lnTo>
                  <a:lnTo>
                    <a:pt x="329" y="126"/>
                  </a:lnTo>
                  <a:lnTo>
                    <a:pt x="329" y="126"/>
                  </a:lnTo>
                  <a:lnTo>
                    <a:pt x="330" y="124"/>
                  </a:lnTo>
                  <a:lnTo>
                    <a:pt x="330" y="120"/>
                  </a:lnTo>
                  <a:lnTo>
                    <a:pt x="33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15" name="Group 214">
            <a:extLst>
              <a:ext uri="{FF2B5EF4-FFF2-40B4-BE49-F238E27FC236}">
                <a16:creationId xmlns:a16="http://schemas.microsoft.com/office/drawing/2014/main" id="{5A3F5B49-BF2A-4C3F-85FA-5484ED176BC1}"/>
              </a:ext>
            </a:extLst>
          </p:cNvPr>
          <p:cNvGrpSpPr>
            <a:grpSpLocks noChangeAspect="1"/>
          </p:cNvGrpSpPr>
          <p:nvPr/>
        </p:nvGrpSpPr>
        <p:grpSpPr>
          <a:xfrm>
            <a:off x="10097600" y="2173684"/>
            <a:ext cx="319067" cy="320040"/>
            <a:chOff x="11114088" y="1655763"/>
            <a:chExt cx="520700" cy="522288"/>
          </a:xfrm>
        </p:grpSpPr>
        <p:sp>
          <p:nvSpPr>
            <p:cNvPr id="216" name="Freeform 76">
              <a:extLst>
                <a:ext uri="{FF2B5EF4-FFF2-40B4-BE49-F238E27FC236}">
                  <a16:creationId xmlns:a16="http://schemas.microsoft.com/office/drawing/2014/main" id="{A4D98914-16D5-40FC-91CD-53FAAB02B464}"/>
                </a:ext>
              </a:extLst>
            </p:cNvPr>
            <p:cNvSpPr>
              <a:spLocks noEditPoints="1"/>
            </p:cNvSpPr>
            <p:nvPr/>
          </p:nvSpPr>
          <p:spPr bwMode="auto">
            <a:xfrm>
              <a:off x="11114088" y="1655763"/>
              <a:ext cx="520700" cy="522288"/>
            </a:xfrm>
            <a:custGeom>
              <a:avLst/>
              <a:gdLst>
                <a:gd name="T0" fmla="*/ 312 w 657"/>
                <a:gd name="T1" fmla="*/ 659 h 659"/>
                <a:gd name="T2" fmla="*/ 262 w 657"/>
                <a:gd name="T3" fmla="*/ 652 h 659"/>
                <a:gd name="T4" fmla="*/ 200 w 657"/>
                <a:gd name="T5" fmla="*/ 633 h 659"/>
                <a:gd name="T6" fmla="*/ 120 w 657"/>
                <a:gd name="T7" fmla="*/ 583 h 659"/>
                <a:gd name="T8" fmla="*/ 56 w 657"/>
                <a:gd name="T9" fmla="*/ 513 h 659"/>
                <a:gd name="T10" fmla="*/ 15 w 657"/>
                <a:gd name="T11" fmla="*/ 427 h 659"/>
                <a:gd name="T12" fmla="*/ 4 w 657"/>
                <a:gd name="T13" fmla="*/ 379 h 659"/>
                <a:gd name="T14" fmla="*/ 0 w 657"/>
                <a:gd name="T15" fmla="*/ 329 h 659"/>
                <a:gd name="T16" fmla="*/ 1 w 657"/>
                <a:gd name="T17" fmla="*/ 296 h 659"/>
                <a:gd name="T18" fmla="*/ 11 w 657"/>
                <a:gd name="T19" fmla="*/ 247 h 659"/>
                <a:gd name="T20" fmla="*/ 39 w 657"/>
                <a:gd name="T21" fmla="*/ 174 h 659"/>
                <a:gd name="T22" fmla="*/ 97 w 657"/>
                <a:gd name="T23" fmla="*/ 97 h 659"/>
                <a:gd name="T24" fmla="*/ 172 w 657"/>
                <a:gd name="T25" fmla="*/ 41 h 659"/>
                <a:gd name="T26" fmla="*/ 246 w 657"/>
                <a:gd name="T27" fmla="*/ 11 h 659"/>
                <a:gd name="T28" fmla="*/ 296 w 657"/>
                <a:gd name="T29" fmla="*/ 3 h 659"/>
                <a:gd name="T30" fmla="*/ 329 w 657"/>
                <a:gd name="T31" fmla="*/ 0 h 659"/>
                <a:gd name="T32" fmla="*/ 379 w 657"/>
                <a:gd name="T33" fmla="*/ 4 h 659"/>
                <a:gd name="T34" fmla="*/ 426 w 657"/>
                <a:gd name="T35" fmla="*/ 15 h 659"/>
                <a:gd name="T36" fmla="*/ 512 w 657"/>
                <a:gd name="T37" fmla="*/ 57 h 659"/>
                <a:gd name="T38" fmla="*/ 582 w 657"/>
                <a:gd name="T39" fmla="*/ 121 h 659"/>
                <a:gd name="T40" fmla="*/ 631 w 657"/>
                <a:gd name="T41" fmla="*/ 202 h 659"/>
                <a:gd name="T42" fmla="*/ 650 w 657"/>
                <a:gd name="T43" fmla="*/ 264 h 659"/>
                <a:gd name="T44" fmla="*/ 657 w 657"/>
                <a:gd name="T45" fmla="*/ 313 h 659"/>
                <a:gd name="T46" fmla="*/ 657 w 657"/>
                <a:gd name="T47" fmla="*/ 347 h 659"/>
                <a:gd name="T48" fmla="*/ 650 w 657"/>
                <a:gd name="T49" fmla="*/ 395 h 659"/>
                <a:gd name="T50" fmla="*/ 631 w 657"/>
                <a:gd name="T51" fmla="*/ 457 h 659"/>
                <a:gd name="T52" fmla="*/ 582 w 657"/>
                <a:gd name="T53" fmla="*/ 539 h 659"/>
                <a:gd name="T54" fmla="*/ 512 w 657"/>
                <a:gd name="T55" fmla="*/ 602 h 659"/>
                <a:gd name="T56" fmla="*/ 426 w 657"/>
                <a:gd name="T57" fmla="*/ 644 h 659"/>
                <a:gd name="T58" fmla="*/ 379 w 657"/>
                <a:gd name="T59" fmla="*/ 654 h 659"/>
                <a:gd name="T60" fmla="*/ 329 w 657"/>
                <a:gd name="T61" fmla="*/ 659 h 659"/>
                <a:gd name="T62" fmla="*/ 329 w 657"/>
                <a:gd name="T63" fmla="*/ 38 h 659"/>
                <a:gd name="T64" fmla="*/ 242 w 657"/>
                <a:gd name="T65" fmla="*/ 51 h 659"/>
                <a:gd name="T66" fmla="*/ 165 w 657"/>
                <a:gd name="T67" fmla="*/ 88 h 659"/>
                <a:gd name="T68" fmla="*/ 104 w 657"/>
                <a:gd name="T69" fmla="*/ 144 h 659"/>
                <a:gd name="T70" fmla="*/ 61 w 657"/>
                <a:gd name="T71" fmla="*/ 217 h 659"/>
                <a:gd name="T72" fmla="*/ 39 w 657"/>
                <a:gd name="T73" fmla="*/ 300 h 659"/>
                <a:gd name="T74" fmla="*/ 39 w 657"/>
                <a:gd name="T75" fmla="*/ 359 h 659"/>
                <a:gd name="T76" fmla="*/ 61 w 657"/>
                <a:gd name="T77" fmla="*/ 442 h 659"/>
                <a:gd name="T78" fmla="*/ 104 w 657"/>
                <a:gd name="T79" fmla="*/ 515 h 659"/>
                <a:gd name="T80" fmla="*/ 165 w 657"/>
                <a:gd name="T81" fmla="*/ 571 h 659"/>
                <a:gd name="T82" fmla="*/ 242 w 657"/>
                <a:gd name="T83" fmla="*/ 607 h 659"/>
                <a:gd name="T84" fmla="*/ 329 w 657"/>
                <a:gd name="T85" fmla="*/ 621 h 659"/>
                <a:gd name="T86" fmla="*/ 387 w 657"/>
                <a:gd name="T87" fmla="*/ 614 h 659"/>
                <a:gd name="T88" fmla="*/ 468 w 657"/>
                <a:gd name="T89" fmla="*/ 586 h 659"/>
                <a:gd name="T90" fmla="*/ 535 w 657"/>
                <a:gd name="T91" fmla="*/ 535 h 659"/>
                <a:gd name="T92" fmla="*/ 584 w 657"/>
                <a:gd name="T93" fmla="*/ 468 h 659"/>
                <a:gd name="T94" fmla="*/ 614 w 657"/>
                <a:gd name="T95" fmla="*/ 388 h 659"/>
                <a:gd name="T96" fmla="*/ 619 w 657"/>
                <a:gd name="T97" fmla="*/ 329 h 659"/>
                <a:gd name="T98" fmla="*/ 607 w 657"/>
                <a:gd name="T99" fmla="*/ 243 h 659"/>
                <a:gd name="T100" fmla="*/ 570 w 657"/>
                <a:gd name="T101" fmla="*/ 167 h 659"/>
                <a:gd name="T102" fmla="*/ 513 w 657"/>
                <a:gd name="T103" fmla="*/ 105 h 659"/>
                <a:gd name="T104" fmla="*/ 442 w 657"/>
                <a:gd name="T105" fmla="*/ 61 h 659"/>
                <a:gd name="T106" fmla="*/ 359 w 657"/>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9">
                  <a:moveTo>
                    <a:pt x="329" y="659"/>
                  </a:moveTo>
                  <a:lnTo>
                    <a:pt x="329" y="659"/>
                  </a:lnTo>
                  <a:lnTo>
                    <a:pt x="312" y="659"/>
                  </a:lnTo>
                  <a:lnTo>
                    <a:pt x="296" y="657"/>
                  </a:lnTo>
                  <a:lnTo>
                    <a:pt x="278" y="654"/>
                  </a:lnTo>
                  <a:lnTo>
                    <a:pt x="262" y="652"/>
                  </a:lnTo>
                  <a:lnTo>
                    <a:pt x="246" y="648"/>
                  </a:lnTo>
                  <a:lnTo>
                    <a:pt x="231" y="644"/>
                  </a:lnTo>
                  <a:lnTo>
                    <a:pt x="200" y="633"/>
                  </a:lnTo>
                  <a:lnTo>
                    <a:pt x="172" y="618"/>
                  </a:lnTo>
                  <a:lnTo>
                    <a:pt x="145" y="602"/>
                  </a:lnTo>
                  <a:lnTo>
                    <a:pt x="120" y="583"/>
                  </a:lnTo>
                  <a:lnTo>
                    <a:pt x="97" y="562"/>
                  </a:lnTo>
                  <a:lnTo>
                    <a:pt x="75" y="539"/>
                  </a:lnTo>
                  <a:lnTo>
                    <a:pt x="56" y="513"/>
                  </a:lnTo>
                  <a:lnTo>
                    <a:pt x="39" y="487"/>
                  </a:lnTo>
                  <a:lnTo>
                    <a:pt x="26" y="457"/>
                  </a:lnTo>
                  <a:lnTo>
                    <a:pt x="15" y="427"/>
                  </a:lnTo>
                  <a:lnTo>
                    <a:pt x="11" y="411"/>
                  </a:lnTo>
                  <a:lnTo>
                    <a:pt x="7" y="395"/>
                  </a:lnTo>
                  <a:lnTo>
                    <a:pt x="4" y="379"/>
                  </a:lnTo>
                  <a:lnTo>
                    <a:pt x="1" y="363"/>
                  </a:lnTo>
                  <a:lnTo>
                    <a:pt x="0" y="347"/>
                  </a:lnTo>
                  <a:lnTo>
                    <a:pt x="0" y="329"/>
                  </a:lnTo>
                  <a:lnTo>
                    <a:pt x="0" y="329"/>
                  </a:lnTo>
                  <a:lnTo>
                    <a:pt x="0" y="313"/>
                  </a:lnTo>
                  <a:lnTo>
                    <a:pt x="1" y="296"/>
                  </a:lnTo>
                  <a:lnTo>
                    <a:pt x="4" y="280"/>
                  </a:lnTo>
                  <a:lnTo>
                    <a:pt x="7" y="264"/>
                  </a:lnTo>
                  <a:lnTo>
                    <a:pt x="11" y="247"/>
                  </a:lnTo>
                  <a:lnTo>
                    <a:pt x="15" y="231"/>
                  </a:lnTo>
                  <a:lnTo>
                    <a:pt x="26" y="202"/>
                  </a:lnTo>
                  <a:lnTo>
                    <a:pt x="39" y="174"/>
                  </a:lnTo>
                  <a:lnTo>
                    <a:pt x="56" y="145"/>
                  </a:lnTo>
                  <a:lnTo>
                    <a:pt x="75" y="121"/>
                  </a:lnTo>
                  <a:lnTo>
                    <a:pt x="97" y="97"/>
                  </a:lnTo>
                  <a:lnTo>
                    <a:pt x="120" y="75"/>
                  </a:lnTo>
                  <a:lnTo>
                    <a:pt x="145" y="57"/>
                  </a:lnTo>
                  <a:lnTo>
                    <a:pt x="172" y="41"/>
                  </a:lnTo>
                  <a:lnTo>
                    <a:pt x="200" y="27"/>
                  </a:lnTo>
                  <a:lnTo>
                    <a:pt x="231" y="15"/>
                  </a:lnTo>
                  <a:lnTo>
                    <a:pt x="246" y="11"/>
                  </a:lnTo>
                  <a:lnTo>
                    <a:pt x="262" y="7"/>
                  </a:lnTo>
                  <a:lnTo>
                    <a:pt x="278" y="4"/>
                  </a:lnTo>
                  <a:lnTo>
                    <a:pt x="296" y="3"/>
                  </a:lnTo>
                  <a:lnTo>
                    <a:pt x="312" y="2"/>
                  </a:lnTo>
                  <a:lnTo>
                    <a:pt x="329" y="0"/>
                  </a:lnTo>
                  <a:lnTo>
                    <a:pt x="329" y="0"/>
                  </a:lnTo>
                  <a:lnTo>
                    <a:pt x="345" y="2"/>
                  </a:lnTo>
                  <a:lnTo>
                    <a:pt x="363" y="3"/>
                  </a:lnTo>
                  <a:lnTo>
                    <a:pt x="379" y="4"/>
                  </a:lnTo>
                  <a:lnTo>
                    <a:pt x="395" y="7"/>
                  </a:lnTo>
                  <a:lnTo>
                    <a:pt x="411" y="11"/>
                  </a:lnTo>
                  <a:lnTo>
                    <a:pt x="426" y="15"/>
                  </a:lnTo>
                  <a:lnTo>
                    <a:pt x="457" y="27"/>
                  </a:lnTo>
                  <a:lnTo>
                    <a:pt x="485" y="41"/>
                  </a:lnTo>
                  <a:lnTo>
                    <a:pt x="512" y="57"/>
                  </a:lnTo>
                  <a:lnTo>
                    <a:pt x="537" y="75"/>
                  </a:lnTo>
                  <a:lnTo>
                    <a:pt x="562" y="97"/>
                  </a:lnTo>
                  <a:lnTo>
                    <a:pt x="582" y="121"/>
                  </a:lnTo>
                  <a:lnTo>
                    <a:pt x="601" y="145"/>
                  </a:lnTo>
                  <a:lnTo>
                    <a:pt x="618" y="174"/>
                  </a:lnTo>
                  <a:lnTo>
                    <a:pt x="631" y="202"/>
                  </a:lnTo>
                  <a:lnTo>
                    <a:pt x="642" y="231"/>
                  </a:lnTo>
                  <a:lnTo>
                    <a:pt x="648" y="247"/>
                  </a:lnTo>
                  <a:lnTo>
                    <a:pt x="650" y="264"/>
                  </a:lnTo>
                  <a:lnTo>
                    <a:pt x="654" y="280"/>
                  </a:lnTo>
                  <a:lnTo>
                    <a:pt x="656" y="296"/>
                  </a:lnTo>
                  <a:lnTo>
                    <a:pt x="657" y="313"/>
                  </a:lnTo>
                  <a:lnTo>
                    <a:pt x="657" y="329"/>
                  </a:lnTo>
                  <a:lnTo>
                    <a:pt x="657" y="329"/>
                  </a:lnTo>
                  <a:lnTo>
                    <a:pt x="657" y="347"/>
                  </a:lnTo>
                  <a:lnTo>
                    <a:pt x="656" y="363"/>
                  </a:lnTo>
                  <a:lnTo>
                    <a:pt x="654" y="379"/>
                  </a:lnTo>
                  <a:lnTo>
                    <a:pt x="650" y="395"/>
                  </a:lnTo>
                  <a:lnTo>
                    <a:pt x="648" y="411"/>
                  </a:lnTo>
                  <a:lnTo>
                    <a:pt x="642" y="427"/>
                  </a:lnTo>
                  <a:lnTo>
                    <a:pt x="631" y="457"/>
                  </a:lnTo>
                  <a:lnTo>
                    <a:pt x="618" y="487"/>
                  </a:lnTo>
                  <a:lnTo>
                    <a:pt x="601" y="513"/>
                  </a:lnTo>
                  <a:lnTo>
                    <a:pt x="582" y="539"/>
                  </a:lnTo>
                  <a:lnTo>
                    <a:pt x="562" y="562"/>
                  </a:lnTo>
                  <a:lnTo>
                    <a:pt x="537" y="583"/>
                  </a:lnTo>
                  <a:lnTo>
                    <a:pt x="512" y="602"/>
                  </a:lnTo>
                  <a:lnTo>
                    <a:pt x="485" y="618"/>
                  </a:lnTo>
                  <a:lnTo>
                    <a:pt x="457" y="633"/>
                  </a:lnTo>
                  <a:lnTo>
                    <a:pt x="426" y="644"/>
                  </a:lnTo>
                  <a:lnTo>
                    <a:pt x="411" y="648"/>
                  </a:lnTo>
                  <a:lnTo>
                    <a:pt x="395" y="652"/>
                  </a:lnTo>
                  <a:lnTo>
                    <a:pt x="379" y="654"/>
                  </a:lnTo>
                  <a:lnTo>
                    <a:pt x="363" y="657"/>
                  </a:lnTo>
                  <a:lnTo>
                    <a:pt x="345" y="659"/>
                  </a:lnTo>
                  <a:lnTo>
                    <a:pt x="329" y="659"/>
                  </a:lnTo>
                  <a:lnTo>
                    <a:pt x="329" y="659"/>
                  </a:lnTo>
                  <a:close/>
                  <a:moveTo>
                    <a:pt x="329" y="38"/>
                  </a:moveTo>
                  <a:lnTo>
                    <a:pt x="329" y="38"/>
                  </a:lnTo>
                  <a:lnTo>
                    <a:pt x="298" y="39"/>
                  </a:lnTo>
                  <a:lnTo>
                    <a:pt x="270" y="45"/>
                  </a:lnTo>
                  <a:lnTo>
                    <a:pt x="242" y="51"/>
                  </a:lnTo>
                  <a:lnTo>
                    <a:pt x="215" y="61"/>
                  </a:lnTo>
                  <a:lnTo>
                    <a:pt x="189" y="74"/>
                  </a:lnTo>
                  <a:lnTo>
                    <a:pt x="165" y="88"/>
                  </a:lnTo>
                  <a:lnTo>
                    <a:pt x="144" y="105"/>
                  </a:lnTo>
                  <a:lnTo>
                    <a:pt x="122" y="124"/>
                  </a:lnTo>
                  <a:lnTo>
                    <a:pt x="104" y="144"/>
                  </a:lnTo>
                  <a:lnTo>
                    <a:pt x="87" y="167"/>
                  </a:lnTo>
                  <a:lnTo>
                    <a:pt x="73" y="191"/>
                  </a:lnTo>
                  <a:lnTo>
                    <a:pt x="61" y="217"/>
                  </a:lnTo>
                  <a:lnTo>
                    <a:pt x="51" y="243"/>
                  </a:lnTo>
                  <a:lnTo>
                    <a:pt x="43" y="272"/>
                  </a:lnTo>
                  <a:lnTo>
                    <a:pt x="39" y="300"/>
                  </a:lnTo>
                  <a:lnTo>
                    <a:pt x="38" y="329"/>
                  </a:lnTo>
                  <a:lnTo>
                    <a:pt x="38" y="329"/>
                  </a:lnTo>
                  <a:lnTo>
                    <a:pt x="39" y="359"/>
                  </a:lnTo>
                  <a:lnTo>
                    <a:pt x="43" y="388"/>
                  </a:lnTo>
                  <a:lnTo>
                    <a:pt x="51" y="417"/>
                  </a:lnTo>
                  <a:lnTo>
                    <a:pt x="61" y="442"/>
                  </a:lnTo>
                  <a:lnTo>
                    <a:pt x="73" y="468"/>
                  </a:lnTo>
                  <a:lnTo>
                    <a:pt x="87" y="492"/>
                  </a:lnTo>
                  <a:lnTo>
                    <a:pt x="104" y="515"/>
                  </a:lnTo>
                  <a:lnTo>
                    <a:pt x="122" y="535"/>
                  </a:lnTo>
                  <a:lnTo>
                    <a:pt x="144" y="554"/>
                  </a:lnTo>
                  <a:lnTo>
                    <a:pt x="165" y="571"/>
                  </a:lnTo>
                  <a:lnTo>
                    <a:pt x="189" y="586"/>
                  </a:lnTo>
                  <a:lnTo>
                    <a:pt x="215" y="598"/>
                  </a:lnTo>
                  <a:lnTo>
                    <a:pt x="242" y="607"/>
                  </a:lnTo>
                  <a:lnTo>
                    <a:pt x="270" y="614"/>
                  </a:lnTo>
                  <a:lnTo>
                    <a:pt x="298" y="620"/>
                  </a:lnTo>
                  <a:lnTo>
                    <a:pt x="329" y="621"/>
                  </a:lnTo>
                  <a:lnTo>
                    <a:pt x="329" y="621"/>
                  </a:lnTo>
                  <a:lnTo>
                    <a:pt x="359" y="620"/>
                  </a:lnTo>
                  <a:lnTo>
                    <a:pt x="387" y="614"/>
                  </a:lnTo>
                  <a:lnTo>
                    <a:pt x="415" y="607"/>
                  </a:lnTo>
                  <a:lnTo>
                    <a:pt x="442" y="598"/>
                  </a:lnTo>
                  <a:lnTo>
                    <a:pt x="468" y="586"/>
                  </a:lnTo>
                  <a:lnTo>
                    <a:pt x="492" y="571"/>
                  </a:lnTo>
                  <a:lnTo>
                    <a:pt x="513" y="554"/>
                  </a:lnTo>
                  <a:lnTo>
                    <a:pt x="535" y="535"/>
                  </a:lnTo>
                  <a:lnTo>
                    <a:pt x="554" y="515"/>
                  </a:lnTo>
                  <a:lnTo>
                    <a:pt x="570" y="492"/>
                  </a:lnTo>
                  <a:lnTo>
                    <a:pt x="584" y="468"/>
                  </a:lnTo>
                  <a:lnTo>
                    <a:pt x="597" y="442"/>
                  </a:lnTo>
                  <a:lnTo>
                    <a:pt x="607" y="417"/>
                  </a:lnTo>
                  <a:lnTo>
                    <a:pt x="614" y="388"/>
                  </a:lnTo>
                  <a:lnTo>
                    <a:pt x="618" y="359"/>
                  </a:lnTo>
                  <a:lnTo>
                    <a:pt x="619" y="329"/>
                  </a:lnTo>
                  <a:lnTo>
                    <a:pt x="619" y="329"/>
                  </a:lnTo>
                  <a:lnTo>
                    <a:pt x="618" y="300"/>
                  </a:lnTo>
                  <a:lnTo>
                    <a:pt x="614" y="272"/>
                  </a:lnTo>
                  <a:lnTo>
                    <a:pt x="607" y="243"/>
                  </a:lnTo>
                  <a:lnTo>
                    <a:pt x="597" y="217"/>
                  </a:lnTo>
                  <a:lnTo>
                    <a:pt x="584" y="191"/>
                  </a:lnTo>
                  <a:lnTo>
                    <a:pt x="570" y="167"/>
                  </a:lnTo>
                  <a:lnTo>
                    <a:pt x="554" y="144"/>
                  </a:lnTo>
                  <a:lnTo>
                    <a:pt x="535" y="124"/>
                  </a:lnTo>
                  <a:lnTo>
                    <a:pt x="513" y="105"/>
                  </a:lnTo>
                  <a:lnTo>
                    <a:pt x="492" y="88"/>
                  </a:lnTo>
                  <a:lnTo>
                    <a:pt x="468" y="74"/>
                  </a:lnTo>
                  <a:lnTo>
                    <a:pt x="442" y="61"/>
                  </a:lnTo>
                  <a:lnTo>
                    <a:pt x="415" y="51"/>
                  </a:lnTo>
                  <a:lnTo>
                    <a:pt x="387" y="45"/>
                  </a:lnTo>
                  <a:lnTo>
                    <a:pt x="359" y="39"/>
                  </a:lnTo>
                  <a:lnTo>
                    <a:pt x="329" y="38"/>
                  </a:lnTo>
                  <a:lnTo>
                    <a:pt x="329" y="3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17" name="Freeform 255">
              <a:extLst>
                <a:ext uri="{FF2B5EF4-FFF2-40B4-BE49-F238E27FC236}">
                  <a16:creationId xmlns:a16="http://schemas.microsoft.com/office/drawing/2014/main" id="{C627A8F5-D315-42CD-966D-AE1B06A61F23}"/>
                </a:ext>
              </a:extLst>
            </p:cNvPr>
            <p:cNvSpPr>
              <a:spLocks/>
            </p:cNvSpPr>
            <p:nvPr/>
          </p:nvSpPr>
          <p:spPr bwMode="auto">
            <a:xfrm>
              <a:off x="11256963" y="1779588"/>
              <a:ext cx="233363" cy="268288"/>
            </a:xfrm>
            <a:custGeom>
              <a:avLst/>
              <a:gdLst>
                <a:gd name="T0" fmla="*/ 284 w 295"/>
                <a:gd name="T1" fmla="*/ 105 h 338"/>
                <a:gd name="T2" fmla="*/ 280 w 295"/>
                <a:gd name="T3" fmla="*/ 74 h 338"/>
                <a:gd name="T4" fmla="*/ 266 w 295"/>
                <a:gd name="T5" fmla="*/ 47 h 338"/>
                <a:gd name="T6" fmla="*/ 246 w 295"/>
                <a:gd name="T7" fmla="*/ 25 h 338"/>
                <a:gd name="T8" fmla="*/ 221 w 295"/>
                <a:gd name="T9" fmla="*/ 8 h 338"/>
                <a:gd name="T10" fmla="*/ 190 w 295"/>
                <a:gd name="T11" fmla="*/ 2 h 338"/>
                <a:gd name="T12" fmla="*/ 116 w 295"/>
                <a:gd name="T13" fmla="*/ 0 h 338"/>
                <a:gd name="T14" fmla="*/ 85 w 295"/>
                <a:gd name="T15" fmla="*/ 6 h 338"/>
                <a:gd name="T16" fmla="*/ 57 w 295"/>
                <a:gd name="T17" fmla="*/ 19 h 338"/>
                <a:gd name="T18" fmla="*/ 35 w 295"/>
                <a:gd name="T19" fmla="*/ 39 h 338"/>
                <a:gd name="T20" fmla="*/ 19 w 295"/>
                <a:gd name="T21" fmla="*/ 65 h 338"/>
                <a:gd name="T22" fmla="*/ 11 w 295"/>
                <a:gd name="T23" fmla="*/ 94 h 338"/>
                <a:gd name="T24" fmla="*/ 11 w 295"/>
                <a:gd name="T25" fmla="*/ 159 h 338"/>
                <a:gd name="T26" fmla="*/ 2 w 295"/>
                <a:gd name="T27" fmla="*/ 186 h 338"/>
                <a:gd name="T28" fmla="*/ 2 w 295"/>
                <a:gd name="T29" fmla="*/ 206 h 338"/>
                <a:gd name="T30" fmla="*/ 13 w 295"/>
                <a:gd name="T31" fmla="*/ 234 h 338"/>
                <a:gd name="T32" fmla="*/ 34 w 295"/>
                <a:gd name="T33" fmla="*/ 254 h 338"/>
                <a:gd name="T34" fmla="*/ 43 w 295"/>
                <a:gd name="T35" fmla="*/ 307 h 338"/>
                <a:gd name="T36" fmla="*/ 49 w 295"/>
                <a:gd name="T37" fmla="*/ 316 h 338"/>
                <a:gd name="T38" fmla="*/ 85 w 295"/>
                <a:gd name="T39" fmla="*/ 328 h 338"/>
                <a:gd name="T40" fmla="*/ 88 w 295"/>
                <a:gd name="T41" fmla="*/ 335 h 338"/>
                <a:gd name="T42" fmla="*/ 179 w 295"/>
                <a:gd name="T43" fmla="*/ 338 h 338"/>
                <a:gd name="T44" fmla="*/ 186 w 295"/>
                <a:gd name="T45" fmla="*/ 335 h 338"/>
                <a:gd name="T46" fmla="*/ 188 w 295"/>
                <a:gd name="T47" fmla="*/ 296 h 338"/>
                <a:gd name="T48" fmla="*/ 186 w 295"/>
                <a:gd name="T49" fmla="*/ 289 h 338"/>
                <a:gd name="T50" fmla="*/ 94 w 295"/>
                <a:gd name="T51" fmla="*/ 287 h 338"/>
                <a:gd name="T52" fmla="*/ 88 w 295"/>
                <a:gd name="T53" fmla="*/ 289 h 338"/>
                <a:gd name="T54" fmla="*/ 85 w 295"/>
                <a:gd name="T55" fmla="*/ 297 h 338"/>
                <a:gd name="T56" fmla="*/ 62 w 295"/>
                <a:gd name="T57" fmla="*/ 262 h 338"/>
                <a:gd name="T58" fmla="*/ 86 w 295"/>
                <a:gd name="T59" fmla="*/ 261 h 338"/>
                <a:gd name="T60" fmla="*/ 93 w 295"/>
                <a:gd name="T61" fmla="*/ 254 h 338"/>
                <a:gd name="T62" fmla="*/ 93 w 295"/>
                <a:gd name="T63" fmla="*/ 140 h 338"/>
                <a:gd name="T64" fmla="*/ 89 w 295"/>
                <a:gd name="T65" fmla="*/ 132 h 338"/>
                <a:gd name="T66" fmla="*/ 80 w 295"/>
                <a:gd name="T67" fmla="*/ 129 h 338"/>
                <a:gd name="T68" fmla="*/ 57 w 295"/>
                <a:gd name="T69" fmla="*/ 129 h 338"/>
                <a:gd name="T70" fmla="*/ 30 w 295"/>
                <a:gd name="T71" fmla="*/ 140 h 338"/>
                <a:gd name="T72" fmla="*/ 30 w 295"/>
                <a:gd name="T73" fmla="*/ 97 h 338"/>
                <a:gd name="T74" fmla="*/ 37 w 295"/>
                <a:gd name="T75" fmla="*/ 72 h 338"/>
                <a:gd name="T76" fmla="*/ 56 w 295"/>
                <a:gd name="T77" fmla="*/ 45 h 338"/>
                <a:gd name="T78" fmla="*/ 82 w 295"/>
                <a:gd name="T79" fmla="*/ 26 h 338"/>
                <a:gd name="T80" fmla="*/ 107 w 295"/>
                <a:gd name="T81" fmla="*/ 21 h 338"/>
                <a:gd name="T82" fmla="*/ 179 w 295"/>
                <a:gd name="T83" fmla="*/ 19 h 338"/>
                <a:gd name="T84" fmla="*/ 205 w 295"/>
                <a:gd name="T85" fmla="*/ 23 h 338"/>
                <a:gd name="T86" fmla="*/ 227 w 295"/>
                <a:gd name="T87" fmla="*/ 34 h 338"/>
                <a:gd name="T88" fmla="*/ 256 w 295"/>
                <a:gd name="T89" fmla="*/ 65 h 338"/>
                <a:gd name="T90" fmla="*/ 264 w 295"/>
                <a:gd name="T91" fmla="*/ 88 h 338"/>
                <a:gd name="T92" fmla="*/ 265 w 295"/>
                <a:gd name="T93" fmla="*/ 140 h 338"/>
                <a:gd name="T94" fmla="*/ 253 w 295"/>
                <a:gd name="T95" fmla="*/ 133 h 338"/>
                <a:gd name="T96" fmla="*/ 223 w 295"/>
                <a:gd name="T97" fmla="*/ 128 h 338"/>
                <a:gd name="T98" fmla="*/ 209 w 295"/>
                <a:gd name="T99" fmla="*/ 131 h 338"/>
                <a:gd name="T100" fmla="*/ 202 w 295"/>
                <a:gd name="T101" fmla="*/ 136 h 338"/>
                <a:gd name="T102" fmla="*/ 202 w 295"/>
                <a:gd name="T103" fmla="*/ 252 h 338"/>
                <a:gd name="T104" fmla="*/ 206 w 295"/>
                <a:gd name="T105" fmla="*/ 260 h 338"/>
                <a:gd name="T106" fmla="*/ 218 w 295"/>
                <a:gd name="T107" fmla="*/ 262 h 338"/>
                <a:gd name="T108" fmla="*/ 241 w 295"/>
                <a:gd name="T109" fmla="*/ 262 h 338"/>
                <a:gd name="T110" fmla="*/ 274 w 295"/>
                <a:gd name="T111" fmla="*/ 244 h 338"/>
                <a:gd name="T112" fmla="*/ 293 w 295"/>
                <a:gd name="T113" fmla="*/ 209 h 338"/>
                <a:gd name="T114" fmla="*/ 295 w 295"/>
                <a:gd name="T115" fmla="*/ 186 h 338"/>
                <a:gd name="T116" fmla="*/ 284 w 295"/>
                <a:gd name="T117" fmla="*/ 159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5" h="338">
                  <a:moveTo>
                    <a:pt x="284" y="159"/>
                  </a:moveTo>
                  <a:lnTo>
                    <a:pt x="284" y="105"/>
                  </a:lnTo>
                  <a:lnTo>
                    <a:pt x="284" y="105"/>
                  </a:lnTo>
                  <a:lnTo>
                    <a:pt x="284" y="94"/>
                  </a:lnTo>
                  <a:lnTo>
                    <a:pt x="283" y="85"/>
                  </a:lnTo>
                  <a:lnTo>
                    <a:pt x="280" y="74"/>
                  </a:lnTo>
                  <a:lnTo>
                    <a:pt x="276" y="65"/>
                  </a:lnTo>
                  <a:lnTo>
                    <a:pt x="272" y="55"/>
                  </a:lnTo>
                  <a:lnTo>
                    <a:pt x="266" y="47"/>
                  </a:lnTo>
                  <a:lnTo>
                    <a:pt x="260" y="39"/>
                  </a:lnTo>
                  <a:lnTo>
                    <a:pt x="253" y="31"/>
                  </a:lnTo>
                  <a:lnTo>
                    <a:pt x="246" y="25"/>
                  </a:lnTo>
                  <a:lnTo>
                    <a:pt x="238" y="19"/>
                  </a:lnTo>
                  <a:lnTo>
                    <a:pt x="229" y="14"/>
                  </a:lnTo>
                  <a:lnTo>
                    <a:pt x="221" y="8"/>
                  </a:lnTo>
                  <a:lnTo>
                    <a:pt x="210" y="6"/>
                  </a:lnTo>
                  <a:lnTo>
                    <a:pt x="201" y="3"/>
                  </a:lnTo>
                  <a:lnTo>
                    <a:pt x="190" y="2"/>
                  </a:lnTo>
                  <a:lnTo>
                    <a:pt x="179" y="0"/>
                  </a:lnTo>
                  <a:lnTo>
                    <a:pt x="116" y="0"/>
                  </a:lnTo>
                  <a:lnTo>
                    <a:pt x="116" y="0"/>
                  </a:lnTo>
                  <a:lnTo>
                    <a:pt x="105" y="2"/>
                  </a:lnTo>
                  <a:lnTo>
                    <a:pt x="94" y="3"/>
                  </a:lnTo>
                  <a:lnTo>
                    <a:pt x="85" y="6"/>
                  </a:lnTo>
                  <a:lnTo>
                    <a:pt x="76" y="8"/>
                  </a:lnTo>
                  <a:lnTo>
                    <a:pt x="66" y="14"/>
                  </a:lnTo>
                  <a:lnTo>
                    <a:pt x="57" y="19"/>
                  </a:lnTo>
                  <a:lnTo>
                    <a:pt x="49" y="25"/>
                  </a:lnTo>
                  <a:lnTo>
                    <a:pt x="42" y="31"/>
                  </a:lnTo>
                  <a:lnTo>
                    <a:pt x="35" y="39"/>
                  </a:lnTo>
                  <a:lnTo>
                    <a:pt x="29" y="47"/>
                  </a:lnTo>
                  <a:lnTo>
                    <a:pt x="23" y="55"/>
                  </a:lnTo>
                  <a:lnTo>
                    <a:pt x="19" y="65"/>
                  </a:lnTo>
                  <a:lnTo>
                    <a:pt x="15" y="74"/>
                  </a:lnTo>
                  <a:lnTo>
                    <a:pt x="14" y="85"/>
                  </a:lnTo>
                  <a:lnTo>
                    <a:pt x="11" y="94"/>
                  </a:lnTo>
                  <a:lnTo>
                    <a:pt x="11" y="105"/>
                  </a:lnTo>
                  <a:lnTo>
                    <a:pt x="11" y="159"/>
                  </a:lnTo>
                  <a:lnTo>
                    <a:pt x="11" y="159"/>
                  </a:lnTo>
                  <a:lnTo>
                    <a:pt x="7" y="168"/>
                  </a:lnTo>
                  <a:lnTo>
                    <a:pt x="3" y="176"/>
                  </a:lnTo>
                  <a:lnTo>
                    <a:pt x="2" y="186"/>
                  </a:lnTo>
                  <a:lnTo>
                    <a:pt x="0" y="195"/>
                  </a:lnTo>
                  <a:lnTo>
                    <a:pt x="0" y="195"/>
                  </a:lnTo>
                  <a:lnTo>
                    <a:pt x="2" y="206"/>
                  </a:lnTo>
                  <a:lnTo>
                    <a:pt x="3" y="215"/>
                  </a:lnTo>
                  <a:lnTo>
                    <a:pt x="7" y="225"/>
                  </a:lnTo>
                  <a:lnTo>
                    <a:pt x="13" y="234"/>
                  </a:lnTo>
                  <a:lnTo>
                    <a:pt x="18" y="241"/>
                  </a:lnTo>
                  <a:lnTo>
                    <a:pt x="26" y="248"/>
                  </a:lnTo>
                  <a:lnTo>
                    <a:pt x="34" y="254"/>
                  </a:lnTo>
                  <a:lnTo>
                    <a:pt x="43" y="258"/>
                  </a:lnTo>
                  <a:lnTo>
                    <a:pt x="43" y="307"/>
                  </a:lnTo>
                  <a:lnTo>
                    <a:pt x="43" y="307"/>
                  </a:lnTo>
                  <a:lnTo>
                    <a:pt x="43" y="311"/>
                  </a:lnTo>
                  <a:lnTo>
                    <a:pt x="46" y="313"/>
                  </a:lnTo>
                  <a:lnTo>
                    <a:pt x="49" y="316"/>
                  </a:lnTo>
                  <a:lnTo>
                    <a:pt x="53" y="316"/>
                  </a:lnTo>
                  <a:lnTo>
                    <a:pt x="85" y="316"/>
                  </a:lnTo>
                  <a:lnTo>
                    <a:pt x="85" y="328"/>
                  </a:lnTo>
                  <a:lnTo>
                    <a:pt x="85" y="328"/>
                  </a:lnTo>
                  <a:lnTo>
                    <a:pt x="86" y="332"/>
                  </a:lnTo>
                  <a:lnTo>
                    <a:pt x="88" y="335"/>
                  </a:lnTo>
                  <a:lnTo>
                    <a:pt x="90" y="336"/>
                  </a:lnTo>
                  <a:lnTo>
                    <a:pt x="94" y="338"/>
                  </a:lnTo>
                  <a:lnTo>
                    <a:pt x="179" y="338"/>
                  </a:lnTo>
                  <a:lnTo>
                    <a:pt x="179" y="338"/>
                  </a:lnTo>
                  <a:lnTo>
                    <a:pt x="183" y="336"/>
                  </a:lnTo>
                  <a:lnTo>
                    <a:pt x="186" y="335"/>
                  </a:lnTo>
                  <a:lnTo>
                    <a:pt x="188" y="332"/>
                  </a:lnTo>
                  <a:lnTo>
                    <a:pt x="188" y="328"/>
                  </a:lnTo>
                  <a:lnTo>
                    <a:pt x="188" y="296"/>
                  </a:lnTo>
                  <a:lnTo>
                    <a:pt x="188" y="296"/>
                  </a:lnTo>
                  <a:lnTo>
                    <a:pt x="188" y="293"/>
                  </a:lnTo>
                  <a:lnTo>
                    <a:pt x="186" y="289"/>
                  </a:lnTo>
                  <a:lnTo>
                    <a:pt x="183" y="288"/>
                  </a:lnTo>
                  <a:lnTo>
                    <a:pt x="179" y="287"/>
                  </a:lnTo>
                  <a:lnTo>
                    <a:pt x="94" y="287"/>
                  </a:lnTo>
                  <a:lnTo>
                    <a:pt x="94" y="287"/>
                  </a:lnTo>
                  <a:lnTo>
                    <a:pt x="90" y="288"/>
                  </a:lnTo>
                  <a:lnTo>
                    <a:pt x="88" y="289"/>
                  </a:lnTo>
                  <a:lnTo>
                    <a:pt x="86" y="293"/>
                  </a:lnTo>
                  <a:lnTo>
                    <a:pt x="85" y="296"/>
                  </a:lnTo>
                  <a:lnTo>
                    <a:pt x="85" y="297"/>
                  </a:lnTo>
                  <a:lnTo>
                    <a:pt x="62" y="297"/>
                  </a:lnTo>
                  <a:lnTo>
                    <a:pt x="62" y="262"/>
                  </a:lnTo>
                  <a:lnTo>
                    <a:pt x="62" y="262"/>
                  </a:lnTo>
                  <a:lnTo>
                    <a:pt x="74" y="264"/>
                  </a:lnTo>
                  <a:lnTo>
                    <a:pt x="86" y="261"/>
                  </a:lnTo>
                  <a:lnTo>
                    <a:pt x="86" y="261"/>
                  </a:lnTo>
                  <a:lnTo>
                    <a:pt x="89" y="260"/>
                  </a:lnTo>
                  <a:lnTo>
                    <a:pt x="92" y="257"/>
                  </a:lnTo>
                  <a:lnTo>
                    <a:pt x="93" y="254"/>
                  </a:lnTo>
                  <a:lnTo>
                    <a:pt x="93" y="252"/>
                  </a:lnTo>
                  <a:lnTo>
                    <a:pt x="93" y="140"/>
                  </a:lnTo>
                  <a:lnTo>
                    <a:pt x="93" y="140"/>
                  </a:lnTo>
                  <a:lnTo>
                    <a:pt x="93" y="136"/>
                  </a:lnTo>
                  <a:lnTo>
                    <a:pt x="92" y="133"/>
                  </a:lnTo>
                  <a:lnTo>
                    <a:pt x="89" y="132"/>
                  </a:lnTo>
                  <a:lnTo>
                    <a:pt x="86" y="131"/>
                  </a:lnTo>
                  <a:lnTo>
                    <a:pt x="86" y="131"/>
                  </a:lnTo>
                  <a:lnTo>
                    <a:pt x="80" y="129"/>
                  </a:lnTo>
                  <a:lnTo>
                    <a:pt x="72" y="128"/>
                  </a:lnTo>
                  <a:lnTo>
                    <a:pt x="64" y="128"/>
                  </a:lnTo>
                  <a:lnTo>
                    <a:pt x="57" y="129"/>
                  </a:lnTo>
                  <a:lnTo>
                    <a:pt x="42" y="133"/>
                  </a:lnTo>
                  <a:lnTo>
                    <a:pt x="37" y="136"/>
                  </a:lnTo>
                  <a:lnTo>
                    <a:pt x="30" y="140"/>
                  </a:lnTo>
                  <a:lnTo>
                    <a:pt x="30" y="105"/>
                  </a:lnTo>
                  <a:lnTo>
                    <a:pt x="30" y="105"/>
                  </a:lnTo>
                  <a:lnTo>
                    <a:pt x="30" y="97"/>
                  </a:lnTo>
                  <a:lnTo>
                    <a:pt x="31" y="88"/>
                  </a:lnTo>
                  <a:lnTo>
                    <a:pt x="34" y="80"/>
                  </a:lnTo>
                  <a:lnTo>
                    <a:pt x="37" y="72"/>
                  </a:lnTo>
                  <a:lnTo>
                    <a:pt x="41" y="65"/>
                  </a:lnTo>
                  <a:lnTo>
                    <a:pt x="45" y="57"/>
                  </a:lnTo>
                  <a:lnTo>
                    <a:pt x="56" y="45"/>
                  </a:lnTo>
                  <a:lnTo>
                    <a:pt x="68" y="34"/>
                  </a:lnTo>
                  <a:lnTo>
                    <a:pt x="74" y="30"/>
                  </a:lnTo>
                  <a:lnTo>
                    <a:pt x="82" y="26"/>
                  </a:lnTo>
                  <a:lnTo>
                    <a:pt x="90" y="23"/>
                  </a:lnTo>
                  <a:lnTo>
                    <a:pt x="98" y="22"/>
                  </a:lnTo>
                  <a:lnTo>
                    <a:pt x="107" y="21"/>
                  </a:lnTo>
                  <a:lnTo>
                    <a:pt x="116" y="19"/>
                  </a:lnTo>
                  <a:lnTo>
                    <a:pt x="179" y="19"/>
                  </a:lnTo>
                  <a:lnTo>
                    <a:pt x="179" y="19"/>
                  </a:lnTo>
                  <a:lnTo>
                    <a:pt x="188" y="21"/>
                  </a:lnTo>
                  <a:lnTo>
                    <a:pt x="197" y="22"/>
                  </a:lnTo>
                  <a:lnTo>
                    <a:pt x="205" y="23"/>
                  </a:lnTo>
                  <a:lnTo>
                    <a:pt x="213" y="26"/>
                  </a:lnTo>
                  <a:lnTo>
                    <a:pt x="221" y="30"/>
                  </a:lnTo>
                  <a:lnTo>
                    <a:pt x="227" y="34"/>
                  </a:lnTo>
                  <a:lnTo>
                    <a:pt x="241" y="45"/>
                  </a:lnTo>
                  <a:lnTo>
                    <a:pt x="250" y="57"/>
                  </a:lnTo>
                  <a:lnTo>
                    <a:pt x="256" y="65"/>
                  </a:lnTo>
                  <a:lnTo>
                    <a:pt x="258" y="72"/>
                  </a:lnTo>
                  <a:lnTo>
                    <a:pt x="261" y="80"/>
                  </a:lnTo>
                  <a:lnTo>
                    <a:pt x="264" y="88"/>
                  </a:lnTo>
                  <a:lnTo>
                    <a:pt x="265" y="97"/>
                  </a:lnTo>
                  <a:lnTo>
                    <a:pt x="265" y="105"/>
                  </a:lnTo>
                  <a:lnTo>
                    <a:pt x="265" y="140"/>
                  </a:lnTo>
                  <a:lnTo>
                    <a:pt x="265" y="140"/>
                  </a:lnTo>
                  <a:lnTo>
                    <a:pt x="260" y="136"/>
                  </a:lnTo>
                  <a:lnTo>
                    <a:pt x="253" y="133"/>
                  </a:lnTo>
                  <a:lnTo>
                    <a:pt x="238" y="129"/>
                  </a:lnTo>
                  <a:lnTo>
                    <a:pt x="231" y="128"/>
                  </a:lnTo>
                  <a:lnTo>
                    <a:pt x="223" y="128"/>
                  </a:lnTo>
                  <a:lnTo>
                    <a:pt x="217" y="129"/>
                  </a:lnTo>
                  <a:lnTo>
                    <a:pt x="209" y="131"/>
                  </a:lnTo>
                  <a:lnTo>
                    <a:pt x="209" y="131"/>
                  </a:lnTo>
                  <a:lnTo>
                    <a:pt x="206" y="132"/>
                  </a:lnTo>
                  <a:lnTo>
                    <a:pt x="203" y="133"/>
                  </a:lnTo>
                  <a:lnTo>
                    <a:pt x="202" y="136"/>
                  </a:lnTo>
                  <a:lnTo>
                    <a:pt x="202" y="140"/>
                  </a:lnTo>
                  <a:lnTo>
                    <a:pt x="202" y="252"/>
                  </a:lnTo>
                  <a:lnTo>
                    <a:pt x="202" y="252"/>
                  </a:lnTo>
                  <a:lnTo>
                    <a:pt x="202" y="254"/>
                  </a:lnTo>
                  <a:lnTo>
                    <a:pt x="203" y="257"/>
                  </a:lnTo>
                  <a:lnTo>
                    <a:pt x="206" y="260"/>
                  </a:lnTo>
                  <a:lnTo>
                    <a:pt x="209" y="261"/>
                  </a:lnTo>
                  <a:lnTo>
                    <a:pt x="209" y="261"/>
                  </a:lnTo>
                  <a:lnTo>
                    <a:pt x="218" y="262"/>
                  </a:lnTo>
                  <a:lnTo>
                    <a:pt x="227" y="264"/>
                  </a:lnTo>
                  <a:lnTo>
                    <a:pt x="227" y="264"/>
                  </a:lnTo>
                  <a:lnTo>
                    <a:pt x="241" y="262"/>
                  </a:lnTo>
                  <a:lnTo>
                    <a:pt x="253" y="258"/>
                  </a:lnTo>
                  <a:lnTo>
                    <a:pt x="265" y="252"/>
                  </a:lnTo>
                  <a:lnTo>
                    <a:pt x="274" y="244"/>
                  </a:lnTo>
                  <a:lnTo>
                    <a:pt x="283" y="233"/>
                  </a:lnTo>
                  <a:lnTo>
                    <a:pt x="289" y="222"/>
                  </a:lnTo>
                  <a:lnTo>
                    <a:pt x="293" y="209"/>
                  </a:lnTo>
                  <a:lnTo>
                    <a:pt x="295" y="195"/>
                  </a:lnTo>
                  <a:lnTo>
                    <a:pt x="295" y="195"/>
                  </a:lnTo>
                  <a:lnTo>
                    <a:pt x="295" y="186"/>
                  </a:lnTo>
                  <a:lnTo>
                    <a:pt x="292" y="176"/>
                  </a:lnTo>
                  <a:lnTo>
                    <a:pt x="289" y="168"/>
                  </a:lnTo>
                  <a:lnTo>
                    <a:pt x="284" y="159"/>
                  </a:lnTo>
                  <a:lnTo>
                    <a:pt x="284" y="15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18" name="Group 217">
            <a:extLst>
              <a:ext uri="{FF2B5EF4-FFF2-40B4-BE49-F238E27FC236}">
                <a16:creationId xmlns:a16="http://schemas.microsoft.com/office/drawing/2014/main" id="{AB0EDE92-F8E0-4133-AAC1-65E4027D113A}"/>
              </a:ext>
            </a:extLst>
          </p:cNvPr>
          <p:cNvGrpSpPr/>
          <p:nvPr/>
        </p:nvGrpSpPr>
        <p:grpSpPr>
          <a:xfrm>
            <a:off x="11121514" y="3071798"/>
            <a:ext cx="320040" cy="320040"/>
            <a:chOff x="11053604" y="2723135"/>
            <a:chExt cx="320040" cy="320040"/>
          </a:xfrm>
        </p:grpSpPr>
        <p:sp>
          <p:nvSpPr>
            <p:cNvPr id="219" name="Freeform 34">
              <a:extLst>
                <a:ext uri="{FF2B5EF4-FFF2-40B4-BE49-F238E27FC236}">
                  <a16:creationId xmlns:a16="http://schemas.microsoft.com/office/drawing/2014/main" id="{063F95A2-2E2F-4CFC-8281-2EE956A4E2D0}"/>
                </a:ext>
              </a:extLst>
            </p:cNvPr>
            <p:cNvSpPr>
              <a:spLocks noEditPoints="1"/>
            </p:cNvSpPr>
            <p:nvPr/>
          </p:nvSpPr>
          <p:spPr bwMode="auto">
            <a:xfrm>
              <a:off x="11053604" y="2723135"/>
              <a:ext cx="320040" cy="320040"/>
            </a:xfrm>
            <a:custGeom>
              <a:avLst/>
              <a:gdLst>
                <a:gd name="T0" fmla="*/ 312 w 659"/>
                <a:gd name="T1" fmla="*/ 658 h 658"/>
                <a:gd name="T2" fmla="*/ 264 w 659"/>
                <a:gd name="T3" fmla="*/ 652 h 658"/>
                <a:gd name="T4" fmla="*/ 202 w 659"/>
                <a:gd name="T5" fmla="*/ 633 h 658"/>
                <a:gd name="T6" fmla="*/ 120 w 659"/>
                <a:gd name="T7" fmla="*/ 583 h 658"/>
                <a:gd name="T8" fmla="*/ 57 w 659"/>
                <a:gd name="T9" fmla="*/ 513 h 658"/>
                <a:gd name="T10" fmla="*/ 15 w 659"/>
                <a:gd name="T11" fmla="*/ 427 h 658"/>
                <a:gd name="T12" fmla="*/ 5 w 659"/>
                <a:gd name="T13" fmla="*/ 379 h 658"/>
                <a:gd name="T14" fmla="*/ 0 w 659"/>
                <a:gd name="T15" fmla="*/ 329 h 658"/>
                <a:gd name="T16" fmla="*/ 3 w 659"/>
                <a:gd name="T17" fmla="*/ 296 h 658"/>
                <a:gd name="T18" fmla="*/ 11 w 659"/>
                <a:gd name="T19" fmla="*/ 247 h 658"/>
                <a:gd name="T20" fmla="*/ 41 w 659"/>
                <a:gd name="T21" fmla="*/ 173 h 658"/>
                <a:gd name="T22" fmla="*/ 97 w 659"/>
                <a:gd name="T23" fmla="*/ 97 h 658"/>
                <a:gd name="T24" fmla="*/ 172 w 659"/>
                <a:gd name="T25" fmla="*/ 40 h 658"/>
                <a:gd name="T26" fmla="*/ 248 w 659"/>
                <a:gd name="T27" fmla="*/ 11 h 658"/>
                <a:gd name="T28" fmla="*/ 296 w 659"/>
                <a:gd name="T29" fmla="*/ 3 h 658"/>
                <a:gd name="T30" fmla="*/ 330 w 659"/>
                <a:gd name="T31" fmla="*/ 0 h 658"/>
                <a:gd name="T32" fmla="*/ 379 w 659"/>
                <a:gd name="T33" fmla="*/ 4 h 658"/>
                <a:gd name="T34" fmla="*/ 428 w 659"/>
                <a:gd name="T35" fmla="*/ 15 h 658"/>
                <a:gd name="T36" fmla="*/ 514 w 659"/>
                <a:gd name="T37" fmla="*/ 56 h 658"/>
                <a:gd name="T38" fmla="*/ 584 w 659"/>
                <a:gd name="T39" fmla="*/ 121 h 658"/>
                <a:gd name="T40" fmla="*/ 633 w 659"/>
                <a:gd name="T41" fmla="*/ 202 h 658"/>
                <a:gd name="T42" fmla="*/ 652 w 659"/>
                <a:gd name="T43" fmla="*/ 263 h 658"/>
                <a:gd name="T44" fmla="*/ 657 w 659"/>
                <a:gd name="T45" fmla="*/ 313 h 658"/>
                <a:gd name="T46" fmla="*/ 657 w 659"/>
                <a:gd name="T47" fmla="*/ 347 h 658"/>
                <a:gd name="T48" fmla="*/ 652 w 659"/>
                <a:gd name="T49" fmla="*/ 396 h 658"/>
                <a:gd name="T50" fmla="*/ 633 w 659"/>
                <a:gd name="T51" fmla="*/ 457 h 658"/>
                <a:gd name="T52" fmla="*/ 584 w 659"/>
                <a:gd name="T53" fmla="*/ 539 h 658"/>
                <a:gd name="T54" fmla="*/ 514 w 659"/>
                <a:gd name="T55" fmla="*/ 602 h 658"/>
                <a:gd name="T56" fmla="*/ 428 w 659"/>
                <a:gd name="T57" fmla="*/ 644 h 658"/>
                <a:gd name="T58" fmla="*/ 379 w 659"/>
                <a:gd name="T59" fmla="*/ 654 h 658"/>
                <a:gd name="T60" fmla="*/ 330 w 659"/>
                <a:gd name="T61" fmla="*/ 658 h 658"/>
                <a:gd name="T62" fmla="*/ 330 w 659"/>
                <a:gd name="T63" fmla="*/ 38 h 658"/>
                <a:gd name="T64" fmla="*/ 244 w 659"/>
                <a:gd name="T65" fmla="*/ 51 h 658"/>
                <a:gd name="T66" fmla="*/ 167 w 659"/>
                <a:gd name="T67" fmla="*/ 89 h 658"/>
                <a:gd name="T68" fmla="*/ 105 w 659"/>
                <a:gd name="T69" fmla="*/ 144 h 658"/>
                <a:gd name="T70" fmla="*/ 61 w 659"/>
                <a:gd name="T71" fmla="*/ 216 h 658"/>
                <a:gd name="T72" fmla="*/ 39 w 659"/>
                <a:gd name="T73" fmla="*/ 300 h 658"/>
                <a:gd name="T74" fmla="*/ 39 w 659"/>
                <a:gd name="T75" fmla="*/ 359 h 658"/>
                <a:gd name="T76" fmla="*/ 61 w 659"/>
                <a:gd name="T77" fmla="*/ 443 h 658"/>
                <a:gd name="T78" fmla="*/ 105 w 659"/>
                <a:gd name="T79" fmla="*/ 515 h 658"/>
                <a:gd name="T80" fmla="*/ 167 w 659"/>
                <a:gd name="T81" fmla="*/ 571 h 658"/>
                <a:gd name="T82" fmla="*/ 244 w 659"/>
                <a:gd name="T83" fmla="*/ 607 h 658"/>
                <a:gd name="T84" fmla="*/ 330 w 659"/>
                <a:gd name="T85" fmla="*/ 621 h 658"/>
                <a:gd name="T86" fmla="*/ 389 w 659"/>
                <a:gd name="T87" fmla="*/ 615 h 658"/>
                <a:gd name="T88" fmla="*/ 468 w 659"/>
                <a:gd name="T89" fmla="*/ 586 h 658"/>
                <a:gd name="T90" fmla="*/ 535 w 659"/>
                <a:gd name="T91" fmla="*/ 535 h 658"/>
                <a:gd name="T92" fmla="*/ 586 w 659"/>
                <a:gd name="T93" fmla="*/ 468 h 658"/>
                <a:gd name="T94" fmla="*/ 614 w 659"/>
                <a:gd name="T95" fmla="*/ 388 h 658"/>
                <a:gd name="T96" fmla="*/ 621 w 659"/>
                <a:gd name="T97" fmla="*/ 329 h 658"/>
                <a:gd name="T98" fmla="*/ 608 w 659"/>
                <a:gd name="T99" fmla="*/ 243 h 658"/>
                <a:gd name="T100" fmla="*/ 571 w 659"/>
                <a:gd name="T101" fmla="*/ 167 h 658"/>
                <a:gd name="T102" fmla="*/ 515 w 659"/>
                <a:gd name="T103" fmla="*/ 105 h 658"/>
                <a:gd name="T104" fmla="*/ 442 w 659"/>
                <a:gd name="T105" fmla="*/ 62 h 658"/>
                <a:gd name="T106" fmla="*/ 359 w 659"/>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30" y="658"/>
                  </a:moveTo>
                  <a:lnTo>
                    <a:pt x="330" y="658"/>
                  </a:lnTo>
                  <a:lnTo>
                    <a:pt x="312" y="658"/>
                  </a:lnTo>
                  <a:lnTo>
                    <a:pt x="296" y="657"/>
                  </a:lnTo>
                  <a:lnTo>
                    <a:pt x="280" y="654"/>
                  </a:lnTo>
                  <a:lnTo>
                    <a:pt x="264" y="652"/>
                  </a:lnTo>
                  <a:lnTo>
                    <a:pt x="248" y="648"/>
                  </a:lnTo>
                  <a:lnTo>
                    <a:pt x="232" y="644"/>
                  </a:lnTo>
                  <a:lnTo>
                    <a:pt x="202" y="633"/>
                  </a:lnTo>
                  <a:lnTo>
                    <a:pt x="172" y="618"/>
                  </a:lnTo>
                  <a:lnTo>
                    <a:pt x="146" y="602"/>
                  </a:lnTo>
                  <a:lnTo>
                    <a:pt x="120" y="583"/>
                  </a:lnTo>
                  <a:lnTo>
                    <a:pt x="97" y="562"/>
                  </a:lnTo>
                  <a:lnTo>
                    <a:pt x="76" y="539"/>
                  </a:lnTo>
                  <a:lnTo>
                    <a:pt x="57" y="513"/>
                  </a:lnTo>
                  <a:lnTo>
                    <a:pt x="41" y="486"/>
                  </a:lnTo>
                  <a:lnTo>
                    <a:pt x="26" y="457"/>
                  </a:lnTo>
                  <a:lnTo>
                    <a:pt x="15" y="427"/>
                  </a:lnTo>
                  <a:lnTo>
                    <a:pt x="11" y="411"/>
                  </a:lnTo>
                  <a:lnTo>
                    <a:pt x="7" y="396"/>
                  </a:lnTo>
                  <a:lnTo>
                    <a:pt x="5" y="379"/>
                  </a:lnTo>
                  <a:lnTo>
                    <a:pt x="3" y="363"/>
                  </a:lnTo>
                  <a:lnTo>
                    <a:pt x="2" y="347"/>
                  </a:lnTo>
                  <a:lnTo>
                    <a:pt x="0" y="329"/>
                  </a:lnTo>
                  <a:lnTo>
                    <a:pt x="0" y="329"/>
                  </a:lnTo>
                  <a:lnTo>
                    <a:pt x="2" y="313"/>
                  </a:lnTo>
                  <a:lnTo>
                    <a:pt x="3" y="296"/>
                  </a:lnTo>
                  <a:lnTo>
                    <a:pt x="5" y="279"/>
                  </a:lnTo>
                  <a:lnTo>
                    <a:pt x="7" y="263"/>
                  </a:lnTo>
                  <a:lnTo>
                    <a:pt x="11" y="247"/>
                  </a:lnTo>
                  <a:lnTo>
                    <a:pt x="15" y="232"/>
                  </a:lnTo>
                  <a:lnTo>
                    <a:pt x="26" y="202"/>
                  </a:lnTo>
                  <a:lnTo>
                    <a:pt x="41" y="173"/>
                  </a:lnTo>
                  <a:lnTo>
                    <a:pt x="57" y="145"/>
                  </a:lnTo>
                  <a:lnTo>
                    <a:pt x="76" y="121"/>
                  </a:lnTo>
                  <a:lnTo>
                    <a:pt x="97" y="97"/>
                  </a:lnTo>
                  <a:lnTo>
                    <a:pt x="120" y="75"/>
                  </a:lnTo>
                  <a:lnTo>
                    <a:pt x="146" y="56"/>
                  </a:lnTo>
                  <a:lnTo>
                    <a:pt x="172" y="40"/>
                  </a:lnTo>
                  <a:lnTo>
                    <a:pt x="202" y="27"/>
                  </a:lnTo>
                  <a:lnTo>
                    <a:pt x="232" y="15"/>
                  </a:lnTo>
                  <a:lnTo>
                    <a:pt x="248" y="11"/>
                  </a:lnTo>
                  <a:lnTo>
                    <a:pt x="264" y="7"/>
                  </a:lnTo>
                  <a:lnTo>
                    <a:pt x="280" y="4"/>
                  </a:lnTo>
                  <a:lnTo>
                    <a:pt x="296" y="3"/>
                  </a:lnTo>
                  <a:lnTo>
                    <a:pt x="312" y="1"/>
                  </a:lnTo>
                  <a:lnTo>
                    <a:pt x="330" y="0"/>
                  </a:lnTo>
                  <a:lnTo>
                    <a:pt x="330" y="0"/>
                  </a:lnTo>
                  <a:lnTo>
                    <a:pt x="347" y="1"/>
                  </a:lnTo>
                  <a:lnTo>
                    <a:pt x="363" y="3"/>
                  </a:lnTo>
                  <a:lnTo>
                    <a:pt x="379" y="4"/>
                  </a:lnTo>
                  <a:lnTo>
                    <a:pt x="395" y="7"/>
                  </a:lnTo>
                  <a:lnTo>
                    <a:pt x="412" y="11"/>
                  </a:lnTo>
                  <a:lnTo>
                    <a:pt x="428" y="15"/>
                  </a:lnTo>
                  <a:lnTo>
                    <a:pt x="457" y="27"/>
                  </a:lnTo>
                  <a:lnTo>
                    <a:pt x="487" y="40"/>
                  </a:lnTo>
                  <a:lnTo>
                    <a:pt x="514" y="56"/>
                  </a:lnTo>
                  <a:lnTo>
                    <a:pt x="539" y="75"/>
                  </a:lnTo>
                  <a:lnTo>
                    <a:pt x="562" y="97"/>
                  </a:lnTo>
                  <a:lnTo>
                    <a:pt x="584" y="121"/>
                  </a:lnTo>
                  <a:lnTo>
                    <a:pt x="602" y="145"/>
                  </a:lnTo>
                  <a:lnTo>
                    <a:pt x="618" y="173"/>
                  </a:lnTo>
                  <a:lnTo>
                    <a:pt x="633" y="202"/>
                  </a:lnTo>
                  <a:lnTo>
                    <a:pt x="644" y="232"/>
                  </a:lnTo>
                  <a:lnTo>
                    <a:pt x="648" y="247"/>
                  </a:lnTo>
                  <a:lnTo>
                    <a:pt x="652" y="263"/>
                  </a:lnTo>
                  <a:lnTo>
                    <a:pt x="655" y="279"/>
                  </a:lnTo>
                  <a:lnTo>
                    <a:pt x="656" y="296"/>
                  </a:lnTo>
                  <a:lnTo>
                    <a:pt x="657" y="313"/>
                  </a:lnTo>
                  <a:lnTo>
                    <a:pt x="659" y="329"/>
                  </a:lnTo>
                  <a:lnTo>
                    <a:pt x="659" y="329"/>
                  </a:lnTo>
                  <a:lnTo>
                    <a:pt x="657" y="347"/>
                  </a:lnTo>
                  <a:lnTo>
                    <a:pt x="656" y="363"/>
                  </a:lnTo>
                  <a:lnTo>
                    <a:pt x="655" y="379"/>
                  </a:lnTo>
                  <a:lnTo>
                    <a:pt x="652" y="396"/>
                  </a:lnTo>
                  <a:lnTo>
                    <a:pt x="648" y="411"/>
                  </a:lnTo>
                  <a:lnTo>
                    <a:pt x="644" y="427"/>
                  </a:lnTo>
                  <a:lnTo>
                    <a:pt x="633" y="457"/>
                  </a:lnTo>
                  <a:lnTo>
                    <a:pt x="618" y="486"/>
                  </a:lnTo>
                  <a:lnTo>
                    <a:pt x="602" y="513"/>
                  </a:lnTo>
                  <a:lnTo>
                    <a:pt x="584" y="539"/>
                  </a:lnTo>
                  <a:lnTo>
                    <a:pt x="562" y="562"/>
                  </a:lnTo>
                  <a:lnTo>
                    <a:pt x="539" y="583"/>
                  </a:lnTo>
                  <a:lnTo>
                    <a:pt x="514" y="602"/>
                  </a:lnTo>
                  <a:lnTo>
                    <a:pt x="487" y="618"/>
                  </a:lnTo>
                  <a:lnTo>
                    <a:pt x="457" y="633"/>
                  </a:lnTo>
                  <a:lnTo>
                    <a:pt x="428" y="644"/>
                  </a:lnTo>
                  <a:lnTo>
                    <a:pt x="412" y="648"/>
                  </a:lnTo>
                  <a:lnTo>
                    <a:pt x="395" y="652"/>
                  </a:lnTo>
                  <a:lnTo>
                    <a:pt x="379" y="654"/>
                  </a:lnTo>
                  <a:lnTo>
                    <a:pt x="363" y="657"/>
                  </a:lnTo>
                  <a:lnTo>
                    <a:pt x="347" y="658"/>
                  </a:lnTo>
                  <a:lnTo>
                    <a:pt x="330" y="658"/>
                  </a:lnTo>
                  <a:lnTo>
                    <a:pt x="330" y="658"/>
                  </a:lnTo>
                  <a:close/>
                  <a:moveTo>
                    <a:pt x="330" y="38"/>
                  </a:moveTo>
                  <a:lnTo>
                    <a:pt x="330" y="38"/>
                  </a:lnTo>
                  <a:lnTo>
                    <a:pt x="300" y="40"/>
                  </a:lnTo>
                  <a:lnTo>
                    <a:pt x="271" y="44"/>
                  </a:lnTo>
                  <a:lnTo>
                    <a:pt x="244" y="51"/>
                  </a:lnTo>
                  <a:lnTo>
                    <a:pt x="217" y="62"/>
                  </a:lnTo>
                  <a:lnTo>
                    <a:pt x="191" y="74"/>
                  </a:lnTo>
                  <a:lnTo>
                    <a:pt x="167" y="89"/>
                  </a:lnTo>
                  <a:lnTo>
                    <a:pt x="144" y="105"/>
                  </a:lnTo>
                  <a:lnTo>
                    <a:pt x="124" y="124"/>
                  </a:lnTo>
                  <a:lnTo>
                    <a:pt x="105" y="144"/>
                  </a:lnTo>
                  <a:lnTo>
                    <a:pt x="88" y="167"/>
                  </a:lnTo>
                  <a:lnTo>
                    <a:pt x="73" y="191"/>
                  </a:lnTo>
                  <a:lnTo>
                    <a:pt x="61" y="216"/>
                  </a:lnTo>
                  <a:lnTo>
                    <a:pt x="52" y="243"/>
                  </a:lnTo>
                  <a:lnTo>
                    <a:pt x="45" y="271"/>
                  </a:lnTo>
                  <a:lnTo>
                    <a:pt x="39" y="300"/>
                  </a:lnTo>
                  <a:lnTo>
                    <a:pt x="38" y="329"/>
                  </a:lnTo>
                  <a:lnTo>
                    <a:pt x="38" y="329"/>
                  </a:lnTo>
                  <a:lnTo>
                    <a:pt x="39" y="359"/>
                  </a:lnTo>
                  <a:lnTo>
                    <a:pt x="45" y="388"/>
                  </a:lnTo>
                  <a:lnTo>
                    <a:pt x="52" y="416"/>
                  </a:lnTo>
                  <a:lnTo>
                    <a:pt x="61" y="443"/>
                  </a:lnTo>
                  <a:lnTo>
                    <a:pt x="73" y="468"/>
                  </a:lnTo>
                  <a:lnTo>
                    <a:pt x="88" y="492"/>
                  </a:lnTo>
                  <a:lnTo>
                    <a:pt x="105" y="515"/>
                  </a:lnTo>
                  <a:lnTo>
                    <a:pt x="124" y="535"/>
                  </a:lnTo>
                  <a:lnTo>
                    <a:pt x="144" y="553"/>
                  </a:lnTo>
                  <a:lnTo>
                    <a:pt x="167" y="571"/>
                  </a:lnTo>
                  <a:lnTo>
                    <a:pt x="191" y="586"/>
                  </a:lnTo>
                  <a:lnTo>
                    <a:pt x="217" y="598"/>
                  </a:lnTo>
                  <a:lnTo>
                    <a:pt x="244" y="607"/>
                  </a:lnTo>
                  <a:lnTo>
                    <a:pt x="271" y="615"/>
                  </a:lnTo>
                  <a:lnTo>
                    <a:pt x="300" y="619"/>
                  </a:lnTo>
                  <a:lnTo>
                    <a:pt x="330" y="621"/>
                  </a:lnTo>
                  <a:lnTo>
                    <a:pt x="330" y="621"/>
                  </a:lnTo>
                  <a:lnTo>
                    <a:pt x="359" y="619"/>
                  </a:lnTo>
                  <a:lnTo>
                    <a:pt x="389" y="615"/>
                  </a:lnTo>
                  <a:lnTo>
                    <a:pt x="416" y="607"/>
                  </a:lnTo>
                  <a:lnTo>
                    <a:pt x="442" y="598"/>
                  </a:lnTo>
                  <a:lnTo>
                    <a:pt x="468" y="586"/>
                  </a:lnTo>
                  <a:lnTo>
                    <a:pt x="492" y="571"/>
                  </a:lnTo>
                  <a:lnTo>
                    <a:pt x="515" y="553"/>
                  </a:lnTo>
                  <a:lnTo>
                    <a:pt x="535" y="535"/>
                  </a:lnTo>
                  <a:lnTo>
                    <a:pt x="554" y="515"/>
                  </a:lnTo>
                  <a:lnTo>
                    <a:pt x="571" y="492"/>
                  </a:lnTo>
                  <a:lnTo>
                    <a:pt x="586" y="468"/>
                  </a:lnTo>
                  <a:lnTo>
                    <a:pt x="598" y="443"/>
                  </a:lnTo>
                  <a:lnTo>
                    <a:pt x="608" y="416"/>
                  </a:lnTo>
                  <a:lnTo>
                    <a:pt x="614" y="388"/>
                  </a:lnTo>
                  <a:lnTo>
                    <a:pt x="620" y="359"/>
                  </a:lnTo>
                  <a:lnTo>
                    <a:pt x="621" y="329"/>
                  </a:lnTo>
                  <a:lnTo>
                    <a:pt x="621" y="329"/>
                  </a:lnTo>
                  <a:lnTo>
                    <a:pt x="620" y="300"/>
                  </a:lnTo>
                  <a:lnTo>
                    <a:pt x="614" y="271"/>
                  </a:lnTo>
                  <a:lnTo>
                    <a:pt x="608" y="243"/>
                  </a:lnTo>
                  <a:lnTo>
                    <a:pt x="598" y="216"/>
                  </a:lnTo>
                  <a:lnTo>
                    <a:pt x="586" y="191"/>
                  </a:lnTo>
                  <a:lnTo>
                    <a:pt x="571" y="167"/>
                  </a:lnTo>
                  <a:lnTo>
                    <a:pt x="554" y="144"/>
                  </a:lnTo>
                  <a:lnTo>
                    <a:pt x="535" y="124"/>
                  </a:lnTo>
                  <a:lnTo>
                    <a:pt x="515" y="105"/>
                  </a:lnTo>
                  <a:lnTo>
                    <a:pt x="492" y="89"/>
                  </a:lnTo>
                  <a:lnTo>
                    <a:pt x="468" y="74"/>
                  </a:lnTo>
                  <a:lnTo>
                    <a:pt x="442" y="62"/>
                  </a:lnTo>
                  <a:lnTo>
                    <a:pt x="416" y="51"/>
                  </a:lnTo>
                  <a:lnTo>
                    <a:pt x="389" y="44"/>
                  </a:lnTo>
                  <a:lnTo>
                    <a:pt x="359" y="40"/>
                  </a:lnTo>
                  <a:lnTo>
                    <a:pt x="330" y="38"/>
                  </a:lnTo>
                  <a:lnTo>
                    <a:pt x="330" y="38"/>
                  </a:lnTo>
                  <a:close/>
                </a:path>
              </a:pathLst>
            </a:custGeom>
            <a:solidFill>
              <a:srgbClr val="8D8D8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20" name="Freeform 174">
              <a:extLst>
                <a:ext uri="{FF2B5EF4-FFF2-40B4-BE49-F238E27FC236}">
                  <a16:creationId xmlns:a16="http://schemas.microsoft.com/office/drawing/2014/main" id="{C62786B1-03D4-4F71-9CB2-07A6669A02EF}"/>
                </a:ext>
              </a:extLst>
            </p:cNvPr>
            <p:cNvSpPr>
              <a:spLocks noEditPoints="1"/>
            </p:cNvSpPr>
            <p:nvPr/>
          </p:nvSpPr>
          <p:spPr bwMode="auto">
            <a:xfrm>
              <a:off x="11163527" y="2807766"/>
              <a:ext cx="101168" cy="148833"/>
            </a:xfrm>
            <a:custGeom>
              <a:avLst/>
              <a:gdLst>
                <a:gd name="T0" fmla="*/ 182 w 207"/>
                <a:gd name="T1" fmla="*/ 305 h 305"/>
                <a:gd name="T2" fmla="*/ 187 w 207"/>
                <a:gd name="T3" fmla="*/ 303 h 305"/>
                <a:gd name="T4" fmla="*/ 196 w 207"/>
                <a:gd name="T5" fmla="*/ 301 h 305"/>
                <a:gd name="T6" fmla="*/ 203 w 207"/>
                <a:gd name="T7" fmla="*/ 294 h 305"/>
                <a:gd name="T8" fmla="*/ 206 w 207"/>
                <a:gd name="T9" fmla="*/ 284 h 305"/>
                <a:gd name="T10" fmla="*/ 207 w 207"/>
                <a:gd name="T11" fmla="*/ 24 h 305"/>
                <a:gd name="T12" fmla="*/ 206 w 207"/>
                <a:gd name="T13" fmla="*/ 20 h 305"/>
                <a:gd name="T14" fmla="*/ 203 w 207"/>
                <a:gd name="T15" fmla="*/ 10 h 305"/>
                <a:gd name="T16" fmla="*/ 196 w 207"/>
                <a:gd name="T17" fmla="*/ 4 h 305"/>
                <a:gd name="T18" fmla="*/ 187 w 207"/>
                <a:gd name="T19" fmla="*/ 1 h 305"/>
                <a:gd name="T20" fmla="*/ 26 w 207"/>
                <a:gd name="T21" fmla="*/ 0 h 305"/>
                <a:gd name="T22" fmla="*/ 20 w 207"/>
                <a:gd name="T23" fmla="*/ 1 h 305"/>
                <a:gd name="T24" fmla="*/ 11 w 207"/>
                <a:gd name="T25" fmla="*/ 4 h 305"/>
                <a:gd name="T26" fmla="*/ 4 w 207"/>
                <a:gd name="T27" fmla="*/ 10 h 305"/>
                <a:gd name="T28" fmla="*/ 2 w 207"/>
                <a:gd name="T29" fmla="*/ 20 h 305"/>
                <a:gd name="T30" fmla="*/ 0 w 207"/>
                <a:gd name="T31" fmla="*/ 279 h 305"/>
                <a:gd name="T32" fmla="*/ 2 w 207"/>
                <a:gd name="T33" fmla="*/ 284 h 305"/>
                <a:gd name="T34" fmla="*/ 4 w 207"/>
                <a:gd name="T35" fmla="*/ 294 h 305"/>
                <a:gd name="T36" fmla="*/ 11 w 207"/>
                <a:gd name="T37" fmla="*/ 301 h 305"/>
                <a:gd name="T38" fmla="*/ 20 w 207"/>
                <a:gd name="T39" fmla="*/ 303 h 305"/>
                <a:gd name="T40" fmla="*/ 26 w 207"/>
                <a:gd name="T41" fmla="*/ 305 h 305"/>
                <a:gd name="T42" fmla="*/ 104 w 207"/>
                <a:gd name="T43" fmla="*/ 294 h 305"/>
                <a:gd name="T44" fmla="*/ 93 w 207"/>
                <a:gd name="T45" fmla="*/ 290 h 305"/>
                <a:gd name="T46" fmla="*/ 89 w 207"/>
                <a:gd name="T47" fmla="*/ 279 h 305"/>
                <a:gd name="T48" fmla="*/ 90 w 207"/>
                <a:gd name="T49" fmla="*/ 274 h 305"/>
                <a:gd name="T50" fmla="*/ 98 w 207"/>
                <a:gd name="T51" fmla="*/ 266 h 305"/>
                <a:gd name="T52" fmla="*/ 104 w 207"/>
                <a:gd name="T53" fmla="*/ 266 h 305"/>
                <a:gd name="T54" fmla="*/ 114 w 207"/>
                <a:gd name="T55" fmla="*/ 270 h 305"/>
                <a:gd name="T56" fmla="*/ 118 w 207"/>
                <a:gd name="T57" fmla="*/ 279 h 305"/>
                <a:gd name="T58" fmla="*/ 117 w 207"/>
                <a:gd name="T59" fmla="*/ 286 h 305"/>
                <a:gd name="T60" fmla="*/ 109 w 207"/>
                <a:gd name="T61" fmla="*/ 294 h 305"/>
                <a:gd name="T62" fmla="*/ 104 w 207"/>
                <a:gd name="T63" fmla="*/ 294 h 305"/>
                <a:gd name="T64" fmla="*/ 19 w 207"/>
                <a:gd name="T65" fmla="*/ 22 h 305"/>
                <a:gd name="T66" fmla="*/ 23 w 207"/>
                <a:gd name="T67" fmla="*/ 18 h 305"/>
                <a:gd name="T68" fmla="*/ 184 w 207"/>
                <a:gd name="T69" fmla="*/ 18 h 305"/>
                <a:gd name="T70" fmla="*/ 188 w 207"/>
                <a:gd name="T71" fmla="*/ 22 h 305"/>
                <a:gd name="T72" fmla="*/ 188 w 207"/>
                <a:gd name="T73" fmla="*/ 241 h 305"/>
                <a:gd name="T74" fmla="*/ 184 w 207"/>
                <a:gd name="T75" fmla="*/ 245 h 305"/>
                <a:gd name="T76" fmla="*/ 23 w 207"/>
                <a:gd name="T77" fmla="*/ 245 h 305"/>
                <a:gd name="T78" fmla="*/ 19 w 207"/>
                <a:gd name="T79" fmla="*/ 241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7" h="305">
                  <a:moveTo>
                    <a:pt x="26" y="305"/>
                  </a:moveTo>
                  <a:lnTo>
                    <a:pt x="182" y="305"/>
                  </a:lnTo>
                  <a:lnTo>
                    <a:pt x="182" y="305"/>
                  </a:lnTo>
                  <a:lnTo>
                    <a:pt x="187" y="303"/>
                  </a:lnTo>
                  <a:lnTo>
                    <a:pt x="192" y="302"/>
                  </a:lnTo>
                  <a:lnTo>
                    <a:pt x="196" y="301"/>
                  </a:lnTo>
                  <a:lnTo>
                    <a:pt x="199" y="297"/>
                  </a:lnTo>
                  <a:lnTo>
                    <a:pt x="203" y="294"/>
                  </a:lnTo>
                  <a:lnTo>
                    <a:pt x="204" y="290"/>
                  </a:lnTo>
                  <a:lnTo>
                    <a:pt x="206" y="284"/>
                  </a:lnTo>
                  <a:lnTo>
                    <a:pt x="207" y="279"/>
                  </a:lnTo>
                  <a:lnTo>
                    <a:pt x="207" y="24"/>
                  </a:lnTo>
                  <a:lnTo>
                    <a:pt x="207" y="24"/>
                  </a:lnTo>
                  <a:lnTo>
                    <a:pt x="206" y="20"/>
                  </a:lnTo>
                  <a:lnTo>
                    <a:pt x="204" y="14"/>
                  </a:lnTo>
                  <a:lnTo>
                    <a:pt x="203" y="10"/>
                  </a:lnTo>
                  <a:lnTo>
                    <a:pt x="199" y="8"/>
                  </a:lnTo>
                  <a:lnTo>
                    <a:pt x="196" y="4"/>
                  </a:lnTo>
                  <a:lnTo>
                    <a:pt x="192" y="2"/>
                  </a:lnTo>
                  <a:lnTo>
                    <a:pt x="187" y="1"/>
                  </a:lnTo>
                  <a:lnTo>
                    <a:pt x="182" y="0"/>
                  </a:lnTo>
                  <a:lnTo>
                    <a:pt x="26" y="0"/>
                  </a:lnTo>
                  <a:lnTo>
                    <a:pt x="26" y="0"/>
                  </a:lnTo>
                  <a:lnTo>
                    <a:pt x="20" y="1"/>
                  </a:lnTo>
                  <a:lnTo>
                    <a:pt x="15" y="2"/>
                  </a:lnTo>
                  <a:lnTo>
                    <a:pt x="11" y="4"/>
                  </a:lnTo>
                  <a:lnTo>
                    <a:pt x="8" y="8"/>
                  </a:lnTo>
                  <a:lnTo>
                    <a:pt x="4" y="10"/>
                  </a:lnTo>
                  <a:lnTo>
                    <a:pt x="3" y="14"/>
                  </a:lnTo>
                  <a:lnTo>
                    <a:pt x="2" y="20"/>
                  </a:lnTo>
                  <a:lnTo>
                    <a:pt x="0" y="24"/>
                  </a:lnTo>
                  <a:lnTo>
                    <a:pt x="0" y="279"/>
                  </a:lnTo>
                  <a:lnTo>
                    <a:pt x="0" y="279"/>
                  </a:lnTo>
                  <a:lnTo>
                    <a:pt x="2" y="284"/>
                  </a:lnTo>
                  <a:lnTo>
                    <a:pt x="3" y="290"/>
                  </a:lnTo>
                  <a:lnTo>
                    <a:pt x="4" y="294"/>
                  </a:lnTo>
                  <a:lnTo>
                    <a:pt x="8" y="297"/>
                  </a:lnTo>
                  <a:lnTo>
                    <a:pt x="11" y="301"/>
                  </a:lnTo>
                  <a:lnTo>
                    <a:pt x="15" y="302"/>
                  </a:lnTo>
                  <a:lnTo>
                    <a:pt x="20" y="303"/>
                  </a:lnTo>
                  <a:lnTo>
                    <a:pt x="26" y="305"/>
                  </a:lnTo>
                  <a:lnTo>
                    <a:pt x="26" y="305"/>
                  </a:lnTo>
                  <a:close/>
                  <a:moveTo>
                    <a:pt x="104" y="294"/>
                  </a:moveTo>
                  <a:lnTo>
                    <a:pt x="104" y="294"/>
                  </a:lnTo>
                  <a:lnTo>
                    <a:pt x="98" y="294"/>
                  </a:lnTo>
                  <a:lnTo>
                    <a:pt x="93" y="290"/>
                  </a:lnTo>
                  <a:lnTo>
                    <a:pt x="90" y="286"/>
                  </a:lnTo>
                  <a:lnTo>
                    <a:pt x="89" y="279"/>
                  </a:lnTo>
                  <a:lnTo>
                    <a:pt x="89" y="279"/>
                  </a:lnTo>
                  <a:lnTo>
                    <a:pt x="90" y="274"/>
                  </a:lnTo>
                  <a:lnTo>
                    <a:pt x="93" y="270"/>
                  </a:lnTo>
                  <a:lnTo>
                    <a:pt x="98" y="266"/>
                  </a:lnTo>
                  <a:lnTo>
                    <a:pt x="104" y="266"/>
                  </a:lnTo>
                  <a:lnTo>
                    <a:pt x="104" y="266"/>
                  </a:lnTo>
                  <a:lnTo>
                    <a:pt x="109" y="266"/>
                  </a:lnTo>
                  <a:lnTo>
                    <a:pt x="114" y="270"/>
                  </a:lnTo>
                  <a:lnTo>
                    <a:pt x="117" y="274"/>
                  </a:lnTo>
                  <a:lnTo>
                    <a:pt x="118" y="279"/>
                  </a:lnTo>
                  <a:lnTo>
                    <a:pt x="118" y="279"/>
                  </a:lnTo>
                  <a:lnTo>
                    <a:pt x="117" y="286"/>
                  </a:lnTo>
                  <a:lnTo>
                    <a:pt x="114" y="290"/>
                  </a:lnTo>
                  <a:lnTo>
                    <a:pt x="109" y="294"/>
                  </a:lnTo>
                  <a:lnTo>
                    <a:pt x="104" y="294"/>
                  </a:lnTo>
                  <a:lnTo>
                    <a:pt x="104" y="294"/>
                  </a:lnTo>
                  <a:close/>
                  <a:moveTo>
                    <a:pt x="19" y="22"/>
                  </a:moveTo>
                  <a:lnTo>
                    <a:pt x="19" y="22"/>
                  </a:lnTo>
                  <a:lnTo>
                    <a:pt x="20" y="20"/>
                  </a:lnTo>
                  <a:lnTo>
                    <a:pt x="23" y="18"/>
                  </a:lnTo>
                  <a:lnTo>
                    <a:pt x="184" y="18"/>
                  </a:lnTo>
                  <a:lnTo>
                    <a:pt x="184" y="18"/>
                  </a:lnTo>
                  <a:lnTo>
                    <a:pt x="187" y="20"/>
                  </a:lnTo>
                  <a:lnTo>
                    <a:pt x="188" y="22"/>
                  </a:lnTo>
                  <a:lnTo>
                    <a:pt x="188" y="241"/>
                  </a:lnTo>
                  <a:lnTo>
                    <a:pt x="188" y="241"/>
                  </a:lnTo>
                  <a:lnTo>
                    <a:pt x="187" y="244"/>
                  </a:lnTo>
                  <a:lnTo>
                    <a:pt x="184" y="245"/>
                  </a:lnTo>
                  <a:lnTo>
                    <a:pt x="23" y="245"/>
                  </a:lnTo>
                  <a:lnTo>
                    <a:pt x="23" y="245"/>
                  </a:lnTo>
                  <a:lnTo>
                    <a:pt x="20" y="244"/>
                  </a:lnTo>
                  <a:lnTo>
                    <a:pt x="19" y="241"/>
                  </a:lnTo>
                  <a:lnTo>
                    <a:pt x="19"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21" name="Group 220">
            <a:extLst>
              <a:ext uri="{FF2B5EF4-FFF2-40B4-BE49-F238E27FC236}">
                <a16:creationId xmlns:a16="http://schemas.microsoft.com/office/drawing/2014/main" id="{3A26FE80-77D1-45AF-94BD-E9C49794DD44}"/>
              </a:ext>
            </a:extLst>
          </p:cNvPr>
          <p:cNvGrpSpPr/>
          <p:nvPr/>
        </p:nvGrpSpPr>
        <p:grpSpPr>
          <a:xfrm>
            <a:off x="10416516" y="3965846"/>
            <a:ext cx="320040" cy="320040"/>
            <a:chOff x="11129775" y="3320223"/>
            <a:chExt cx="320040" cy="320040"/>
          </a:xfrm>
        </p:grpSpPr>
        <p:sp>
          <p:nvSpPr>
            <p:cNvPr id="222" name="Freeform 40">
              <a:extLst>
                <a:ext uri="{FF2B5EF4-FFF2-40B4-BE49-F238E27FC236}">
                  <a16:creationId xmlns:a16="http://schemas.microsoft.com/office/drawing/2014/main" id="{F6169713-B500-4A28-806C-309FF715E86E}"/>
                </a:ext>
              </a:extLst>
            </p:cNvPr>
            <p:cNvSpPr>
              <a:spLocks noEditPoints="1"/>
            </p:cNvSpPr>
            <p:nvPr/>
          </p:nvSpPr>
          <p:spPr bwMode="auto">
            <a:xfrm>
              <a:off x="11129775" y="3320223"/>
              <a:ext cx="320040" cy="320040"/>
            </a:xfrm>
            <a:custGeom>
              <a:avLst/>
              <a:gdLst>
                <a:gd name="T0" fmla="*/ 311 w 656"/>
                <a:gd name="T1" fmla="*/ 657 h 659"/>
                <a:gd name="T2" fmla="*/ 262 w 656"/>
                <a:gd name="T3" fmla="*/ 652 h 659"/>
                <a:gd name="T4" fmla="*/ 200 w 656"/>
                <a:gd name="T5" fmla="*/ 633 h 659"/>
                <a:gd name="T6" fmla="*/ 119 w 656"/>
                <a:gd name="T7" fmla="*/ 583 h 659"/>
                <a:gd name="T8" fmla="*/ 56 w 656"/>
                <a:gd name="T9" fmla="*/ 514 h 659"/>
                <a:gd name="T10" fmla="*/ 14 w 656"/>
                <a:gd name="T11" fmla="*/ 428 h 659"/>
                <a:gd name="T12" fmla="*/ 4 w 656"/>
                <a:gd name="T13" fmla="*/ 379 h 659"/>
                <a:gd name="T14" fmla="*/ 0 w 656"/>
                <a:gd name="T15" fmla="*/ 329 h 659"/>
                <a:gd name="T16" fmla="*/ 1 w 656"/>
                <a:gd name="T17" fmla="*/ 296 h 659"/>
                <a:gd name="T18" fmla="*/ 9 w 656"/>
                <a:gd name="T19" fmla="*/ 248 h 659"/>
                <a:gd name="T20" fmla="*/ 39 w 656"/>
                <a:gd name="T21" fmla="*/ 172 h 659"/>
                <a:gd name="T22" fmla="*/ 96 w 656"/>
                <a:gd name="T23" fmla="*/ 97 h 659"/>
                <a:gd name="T24" fmla="*/ 172 w 656"/>
                <a:gd name="T25" fmla="*/ 41 h 659"/>
                <a:gd name="T26" fmla="*/ 245 w 656"/>
                <a:gd name="T27" fmla="*/ 11 h 659"/>
                <a:gd name="T28" fmla="*/ 295 w 656"/>
                <a:gd name="T29" fmla="*/ 3 h 659"/>
                <a:gd name="T30" fmla="*/ 329 w 656"/>
                <a:gd name="T31" fmla="*/ 0 h 659"/>
                <a:gd name="T32" fmla="*/ 378 w 656"/>
                <a:gd name="T33" fmla="*/ 4 h 659"/>
                <a:gd name="T34" fmla="*/ 425 w 656"/>
                <a:gd name="T35" fmla="*/ 15 h 659"/>
                <a:gd name="T36" fmla="*/ 511 w 656"/>
                <a:gd name="T37" fmla="*/ 57 h 659"/>
                <a:gd name="T38" fmla="*/ 581 w 656"/>
                <a:gd name="T39" fmla="*/ 120 h 659"/>
                <a:gd name="T40" fmla="*/ 631 w 656"/>
                <a:gd name="T41" fmla="*/ 202 h 659"/>
                <a:gd name="T42" fmla="*/ 650 w 656"/>
                <a:gd name="T43" fmla="*/ 264 h 659"/>
                <a:gd name="T44" fmla="*/ 656 w 656"/>
                <a:gd name="T45" fmla="*/ 312 h 659"/>
                <a:gd name="T46" fmla="*/ 656 w 656"/>
                <a:gd name="T47" fmla="*/ 347 h 659"/>
                <a:gd name="T48" fmla="*/ 650 w 656"/>
                <a:gd name="T49" fmla="*/ 395 h 659"/>
                <a:gd name="T50" fmla="*/ 631 w 656"/>
                <a:gd name="T51" fmla="*/ 457 h 659"/>
                <a:gd name="T52" fmla="*/ 581 w 656"/>
                <a:gd name="T53" fmla="*/ 539 h 659"/>
                <a:gd name="T54" fmla="*/ 511 w 656"/>
                <a:gd name="T55" fmla="*/ 602 h 659"/>
                <a:gd name="T56" fmla="*/ 425 w 656"/>
                <a:gd name="T57" fmla="*/ 644 h 659"/>
                <a:gd name="T58" fmla="*/ 378 w 656"/>
                <a:gd name="T59" fmla="*/ 655 h 659"/>
                <a:gd name="T60" fmla="*/ 329 w 656"/>
                <a:gd name="T61" fmla="*/ 659 h 659"/>
                <a:gd name="T62" fmla="*/ 329 w 656"/>
                <a:gd name="T63" fmla="*/ 38 h 659"/>
                <a:gd name="T64" fmla="*/ 241 w 656"/>
                <a:gd name="T65" fmla="*/ 51 h 659"/>
                <a:gd name="T66" fmla="*/ 165 w 656"/>
                <a:gd name="T67" fmla="*/ 88 h 659"/>
                <a:gd name="T68" fmla="*/ 103 w 656"/>
                <a:gd name="T69" fmla="*/ 144 h 659"/>
                <a:gd name="T70" fmla="*/ 60 w 656"/>
                <a:gd name="T71" fmla="*/ 217 h 659"/>
                <a:gd name="T72" fmla="*/ 39 w 656"/>
                <a:gd name="T73" fmla="*/ 300 h 659"/>
                <a:gd name="T74" fmla="*/ 39 w 656"/>
                <a:gd name="T75" fmla="*/ 359 h 659"/>
                <a:gd name="T76" fmla="*/ 60 w 656"/>
                <a:gd name="T77" fmla="*/ 442 h 659"/>
                <a:gd name="T78" fmla="*/ 103 w 656"/>
                <a:gd name="T79" fmla="*/ 515 h 659"/>
                <a:gd name="T80" fmla="*/ 165 w 656"/>
                <a:gd name="T81" fmla="*/ 571 h 659"/>
                <a:gd name="T82" fmla="*/ 241 w 656"/>
                <a:gd name="T83" fmla="*/ 608 h 659"/>
                <a:gd name="T84" fmla="*/ 329 w 656"/>
                <a:gd name="T85" fmla="*/ 621 h 659"/>
                <a:gd name="T86" fmla="*/ 386 w 656"/>
                <a:gd name="T87" fmla="*/ 614 h 659"/>
                <a:gd name="T88" fmla="*/ 467 w 656"/>
                <a:gd name="T89" fmla="*/ 586 h 659"/>
                <a:gd name="T90" fmla="*/ 534 w 656"/>
                <a:gd name="T91" fmla="*/ 535 h 659"/>
                <a:gd name="T92" fmla="*/ 584 w 656"/>
                <a:gd name="T93" fmla="*/ 468 h 659"/>
                <a:gd name="T94" fmla="*/ 613 w 656"/>
                <a:gd name="T95" fmla="*/ 389 h 659"/>
                <a:gd name="T96" fmla="*/ 619 w 656"/>
                <a:gd name="T97" fmla="*/ 329 h 659"/>
                <a:gd name="T98" fmla="*/ 607 w 656"/>
                <a:gd name="T99" fmla="*/ 244 h 659"/>
                <a:gd name="T100" fmla="*/ 569 w 656"/>
                <a:gd name="T101" fmla="*/ 167 h 659"/>
                <a:gd name="T102" fmla="*/ 513 w 656"/>
                <a:gd name="T103" fmla="*/ 105 h 659"/>
                <a:gd name="T104" fmla="*/ 442 w 656"/>
                <a:gd name="T105" fmla="*/ 61 h 659"/>
                <a:gd name="T106" fmla="*/ 358 w 656"/>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6" h="659">
                  <a:moveTo>
                    <a:pt x="329" y="659"/>
                  </a:moveTo>
                  <a:lnTo>
                    <a:pt x="329" y="659"/>
                  </a:lnTo>
                  <a:lnTo>
                    <a:pt x="311" y="657"/>
                  </a:lnTo>
                  <a:lnTo>
                    <a:pt x="295" y="657"/>
                  </a:lnTo>
                  <a:lnTo>
                    <a:pt x="278" y="655"/>
                  </a:lnTo>
                  <a:lnTo>
                    <a:pt x="262" y="652"/>
                  </a:lnTo>
                  <a:lnTo>
                    <a:pt x="245" y="648"/>
                  </a:lnTo>
                  <a:lnTo>
                    <a:pt x="231" y="644"/>
                  </a:lnTo>
                  <a:lnTo>
                    <a:pt x="200" y="633"/>
                  </a:lnTo>
                  <a:lnTo>
                    <a:pt x="172" y="618"/>
                  </a:lnTo>
                  <a:lnTo>
                    <a:pt x="145" y="602"/>
                  </a:lnTo>
                  <a:lnTo>
                    <a:pt x="119" y="583"/>
                  </a:lnTo>
                  <a:lnTo>
                    <a:pt x="96" y="562"/>
                  </a:lnTo>
                  <a:lnTo>
                    <a:pt x="75" y="539"/>
                  </a:lnTo>
                  <a:lnTo>
                    <a:pt x="56" y="514"/>
                  </a:lnTo>
                  <a:lnTo>
                    <a:pt x="39" y="487"/>
                  </a:lnTo>
                  <a:lnTo>
                    <a:pt x="25" y="457"/>
                  </a:lnTo>
                  <a:lnTo>
                    <a:pt x="14" y="428"/>
                  </a:lnTo>
                  <a:lnTo>
                    <a:pt x="9" y="411"/>
                  </a:lnTo>
                  <a:lnTo>
                    <a:pt x="6" y="395"/>
                  </a:lnTo>
                  <a:lnTo>
                    <a:pt x="4" y="379"/>
                  </a:lnTo>
                  <a:lnTo>
                    <a:pt x="1" y="363"/>
                  </a:lnTo>
                  <a:lnTo>
                    <a:pt x="0" y="347"/>
                  </a:lnTo>
                  <a:lnTo>
                    <a:pt x="0" y="329"/>
                  </a:lnTo>
                  <a:lnTo>
                    <a:pt x="0" y="329"/>
                  </a:lnTo>
                  <a:lnTo>
                    <a:pt x="0" y="312"/>
                  </a:lnTo>
                  <a:lnTo>
                    <a:pt x="1" y="296"/>
                  </a:lnTo>
                  <a:lnTo>
                    <a:pt x="4" y="280"/>
                  </a:lnTo>
                  <a:lnTo>
                    <a:pt x="6" y="264"/>
                  </a:lnTo>
                  <a:lnTo>
                    <a:pt x="9" y="248"/>
                  </a:lnTo>
                  <a:lnTo>
                    <a:pt x="14" y="231"/>
                  </a:lnTo>
                  <a:lnTo>
                    <a:pt x="25" y="202"/>
                  </a:lnTo>
                  <a:lnTo>
                    <a:pt x="39" y="172"/>
                  </a:lnTo>
                  <a:lnTo>
                    <a:pt x="56" y="145"/>
                  </a:lnTo>
                  <a:lnTo>
                    <a:pt x="75" y="120"/>
                  </a:lnTo>
                  <a:lnTo>
                    <a:pt x="96" y="97"/>
                  </a:lnTo>
                  <a:lnTo>
                    <a:pt x="119" y="76"/>
                  </a:lnTo>
                  <a:lnTo>
                    <a:pt x="145" y="57"/>
                  </a:lnTo>
                  <a:lnTo>
                    <a:pt x="172" y="41"/>
                  </a:lnTo>
                  <a:lnTo>
                    <a:pt x="200" y="27"/>
                  </a:lnTo>
                  <a:lnTo>
                    <a:pt x="231" y="15"/>
                  </a:lnTo>
                  <a:lnTo>
                    <a:pt x="245" y="11"/>
                  </a:lnTo>
                  <a:lnTo>
                    <a:pt x="262" y="7"/>
                  </a:lnTo>
                  <a:lnTo>
                    <a:pt x="278" y="4"/>
                  </a:lnTo>
                  <a:lnTo>
                    <a:pt x="295" y="3"/>
                  </a:lnTo>
                  <a:lnTo>
                    <a:pt x="311" y="2"/>
                  </a:lnTo>
                  <a:lnTo>
                    <a:pt x="329" y="0"/>
                  </a:lnTo>
                  <a:lnTo>
                    <a:pt x="329" y="0"/>
                  </a:lnTo>
                  <a:lnTo>
                    <a:pt x="345" y="2"/>
                  </a:lnTo>
                  <a:lnTo>
                    <a:pt x="362" y="3"/>
                  </a:lnTo>
                  <a:lnTo>
                    <a:pt x="378" y="4"/>
                  </a:lnTo>
                  <a:lnTo>
                    <a:pt x="395" y="7"/>
                  </a:lnTo>
                  <a:lnTo>
                    <a:pt x="411" y="11"/>
                  </a:lnTo>
                  <a:lnTo>
                    <a:pt x="425" y="15"/>
                  </a:lnTo>
                  <a:lnTo>
                    <a:pt x="456" y="27"/>
                  </a:lnTo>
                  <a:lnTo>
                    <a:pt x="485" y="41"/>
                  </a:lnTo>
                  <a:lnTo>
                    <a:pt x="511" y="57"/>
                  </a:lnTo>
                  <a:lnTo>
                    <a:pt x="537" y="76"/>
                  </a:lnTo>
                  <a:lnTo>
                    <a:pt x="561" y="97"/>
                  </a:lnTo>
                  <a:lnTo>
                    <a:pt x="581" y="120"/>
                  </a:lnTo>
                  <a:lnTo>
                    <a:pt x="600" y="145"/>
                  </a:lnTo>
                  <a:lnTo>
                    <a:pt x="618" y="172"/>
                  </a:lnTo>
                  <a:lnTo>
                    <a:pt x="631" y="202"/>
                  </a:lnTo>
                  <a:lnTo>
                    <a:pt x="642" y="231"/>
                  </a:lnTo>
                  <a:lnTo>
                    <a:pt x="647" y="248"/>
                  </a:lnTo>
                  <a:lnTo>
                    <a:pt x="650" y="264"/>
                  </a:lnTo>
                  <a:lnTo>
                    <a:pt x="652" y="280"/>
                  </a:lnTo>
                  <a:lnTo>
                    <a:pt x="655" y="296"/>
                  </a:lnTo>
                  <a:lnTo>
                    <a:pt x="656" y="312"/>
                  </a:lnTo>
                  <a:lnTo>
                    <a:pt x="656" y="329"/>
                  </a:lnTo>
                  <a:lnTo>
                    <a:pt x="656" y="329"/>
                  </a:lnTo>
                  <a:lnTo>
                    <a:pt x="656" y="347"/>
                  </a:lnTo>
                  <a:lnTo>
                    <a:pt x="655" y="363"/>
                  </a:lnTo>
                  <a:lnTo>
                    <a:pt x="652" y="379"/>
                  </a:lnTo>
                  <a:lnTo>
                    <a:pt x="650" y="395"/>
                  </a:lnTo>
                  <a:lnTo>
                    <a:pt x="647" y="411"/>
                  </a:lnTo>
                  <a:lnTo>
                    <a:pt x="642" y="428"/>
                  </a:lnTo>
                  <a:lnTo>
                    <a:pt x="631" y="457"/>
                  </a:lnTo>
                  <a:lnTo>
                    <a:pt x="618" y="487"/>
                  </a:lnTo>
                  <a:lnTo>
                    <a:pt x="600" y="514"/>
                  </a:lnTo>
                  <a:lnTo>
                    <a:pt x="581" y="539"/>
                  </a:lnTo>
                  <a:lnTo>
                    <a:pt x="561" y="562"/>
                  </a:lnTo>
                  <a:lnTo>
                    <a:pt x="537" y="583"/>
                  </a:lnTo>
                  <a:lnTo>
                    <a:pt x="511" y="602"/>
                  </a:lnTo>
                  <a:lnTo>
                    <a:pt x="485" y="618"/>
                  </a:lnTo>
                  <a:lnTo>
                    <a:pt x="456" y="633"/>
                  </a:lnTo>
                  <a:lnTo>
                    <a:pt x="425" y="644"/>
                  </a:lnTo>
                  <a:lnTo>
                    <a:pt x="411" y="648"/>
                  </a:lnTo>
                  <a:lnTo>
                    <a:pt x="395" y="652"/>
                  </a:lnTo>
                  <a:lnTo>
                    <a:pt x="378" y="655"/>
                  </a:lnTo>
                  <a:lnTo>
                    <a:pt x="362" y="657"/>
                  </a:lnTo>
                  <a:lnTo>
                    <a:pt x="345" y="657"/>
                  </a:lnTo>
                  <a:lnTo>
                    <a:pt x="329" y="659"/>
                  </a:lnTo>
                  <a:lnTo>
                    <a:pt x="329" y="659"/>
                  </a:lnTo>
                  <a:close/>
                  <a:moveTo>
                    <a:pt x="329" y="38"/>
                  </a:moveTo>
                  <a:lnTo>
                    <a:pt x="329" y="38"/>
                  </a:lnTo>
                  <a:lnTo>
                    <a:pt x="298" y="39"/>
                  </a:lnTo>
                  <a:lnTo>
                    <a:pt x="270" y="45"/>
                  </a:lnTo>
                  <a:lnTo>
                    <a:pt x="241" y="51"/>
                  </a:lnTo>
                  <a:lnTo>
                    <a:pt x="215" y="61"/>
                  </a:lnTo>
                  <a:lnTo>
                    <a:pt x="189" y="73"/>
                  </a:lnTo>
                  <a:lnTo>
                    <a:pt x="165" y="88"/>
                  </a:lnTo>
                  <a:lnTo>
                    <a:pt x="143" y="105"/>
                  </a:lnTo>
                  <a:lnTo>
                    <a:pt x="122" y="124"/>
                  </a:lnTo>
                  <a:lnTo>
                    <a:pt x="103" y="144"/>
                  </a:lnTo>
                  <a:lnTo>
                    <a:pt x="87" y="167"/>
                  </a:lnTo>
                  <a:lnTo>
                    <a:pt x="72" y="191"/>
                  </a:lnTo>
                  <a:lnTo>
                    <a:pt x="60" y="217"/>
                  </a:lnTo>
                  <a:lnTo>
                    <a:pt x="51" y="244"/>
                  </a:lnTo>
                  <a:lnTo>
                    <a:pt x="43" y="270"/>
                  </a:lnTo>
                  <a:lnTo>
                    <a:pt x="39" y="300"/>
                  </a:lnTo>
                  <a:lnTo>
                    <a:pt x="37" y="329"/>
                  </a:lnTo>
                  <a:lnTo>
                    <a:pt x="37" y="329"/>
                  </a:lnTo>
                  <a:lnTo>
                    <a:pt x="39" y="359"/>
                  </a:lnTo>
                  <a:lnTo>
                    <a:pt x="43" y="389"/>
                  </a:lnTo>
                  <a:lnTo>
                    <a:pt x="51" y="415"/>
                  </a:lnTo>
                  <a:lnTo>
                    <a:pt x="60" y="442"/>
                  </a:lnTo>
                  <a:lnTo>
                    <a:pt x="72" y="468"/>
                  </a:lnTo>
                  <a:lnTo>
                    <a:pt x="87" y="492"/>
                  </a:lnTo>
                  <a:lnTo>
                    <a:pt x="103" y="515"/>
                  </a:lnTo>
                  <a:lnTo>
                    <a:pt x="122" y="535"/>
                  </a:lnTo>
                  <a:lnTo>
                    <a:pt x="143" y="554"/>
                  </a:lnTo>
                  <a:lnTo>
                    <a:pt x="165" y="571"/>
                  </a:lnTo>
                  <a:lnTo>
                    <a:pt x="189" y="586"/>
                  </a:lnTo>
                  <a:lnTo>
                    <a:pt x="215" y="598"/>
                  </a:lnTo>
                  <a:lnTo>
                    <a:pt x="241" y="608"/>
                  </a:lnTo>
                  <a:lnTo>
                    <a:pt x="270" y="614"/>
                  </a:lnTo>
                  <a:lnTo>
                    <a:pt x="298" y="620"/>
                  </a:lnTo>
                  <a:lnTo>
                    <a:pt x="329" y="621"/>
                  </a:lnTo>
                  <a:lnTo>
                    <a:pt x="329" y="621"/>
                  </a:lnTo>
                  <a:lnTo>
                    <a:pt x="358" y="620"/>
                  </a:lnTo>
                  <a:lnTo>
                    <a:pt x="386" y="614"/>
                  </a:lnTo>
                  <a:lnTo>
                    <a:pt x="415" y="608"/>
                  </a:lnTo>
                  <a:lnTo>
                    <a:pt x="442" y="598"/>
                  </a:lnTo>
                  <a:lnTo>
                    <a:pt x="467" y="586"/>
                  </a:lnTo>
                  <a:lnTo>
                    <a:pt x="491" y="571"/>
                  </a:lnTo>
                  <a:lnTo>
                    <a:pt x="513" y="554"/>
                  </a:lnTo>
                  <a:lnTo>
                    <a:pt x="534" y="535"/>
                  </a:lnTo>
                  <a:lnTo>
                    <a:pt x="553" y="515"/>
                  </a:lnTo>
                  <a:lnTo>
                    <a:pt x="569" y="492"/>
                  </a:lnTo>
                  <a:lnTo>
                    <a:pt x="584" y="468"/>
                  </a:lnTo>
                  <a:lnTo>
                    <a:pt x="596" y="442"/>
                  </a:lnTo>
                  <a:lnTo>
                    <a:pt x="607" y="415"/>
                  </a:lnTo>
                  <a:lnTo>
                    <a:pt x="613" y="389"/>
                  </a:lnTo>
                  <a:lnTo>
                    <a:pt x="618" y="359"/>
                  </a:lnTo>
                  <a:lnTo>
                    <a:pt x="619" y="329"/>
                  </a:lnTo>
                  <a:lnTo>
                    <a:pt x="619" y="329"/>
                  </a:lnTo>
                  <a:lnTo>
                    <a:pt x="618" y="300"/>
                  </a:lnTo>
                  <a:lnTo>
                    <a:pt x="613" y="270"/>
                  </a:lnTo>
                  <a:lnTo>
                    <a:pt x="607" y="244"/>
                  </a:lnTo>
                  <a:lnTo>
                    <a:pt x="596" y="217"/>
                  </a:lnTo>
                  <a:lnTo>
                    <a:pt x="584" y="191"/>
                  </a:lnTo>
                  <a:lnTo>
                    <a:pt x="569" y="167"/>
                  </a:lnTo>
                  <a:lnTo>
                    <a:pt x="553" y="144"/>
                  </a:lnTo>
                  <a:lnTo>
                    <a:pt x="534" y="124"/>
                  </a:lnTo>
                  <a:lnTo>
                    <a:pt x="513" y="105"/>
                  </a:lnTo>
                  <a:lnTo>
                    <a:pt x="491" y="88"/>
                  </a:lnTo>
                  <a:lnTo>
                    <a:pt x="467" y="73"/>
                  </a:lnTo>
                  <a:lnTo>
                    <a:pt x="442" y="61"/>
                  </a:lnTo>
                  <a:lnTo>
                    <a:pt x="415" y="51"/>
                  </a:lnTo>
                  <a:lnTo>
                    <a:pt x="386" y="45"/>
                  </a:lnTo>
                  <a:lnTo>
                    <a:pt x="358" y="39"/>
                  </a:lnTo>
                  <a:lnTo>
                    <a:pt x="329" y="38"/>
                  </a:lnTo>
                  <a:lnTo>
                    <a:pt x="329" y="38"/>
                  </a:lnTo>
                  <a:close/>
                </a:path>
              </a:pathLst>
            </a:custGeom>
            <a:solidFill>
              <a:srgbClr val="8D8D8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23" name="Freeform 178">
              <a:extLst>
                <a:ext uri="{FF2B5EF4-FFF2-40B4-BE49-F238E27FC236}">
                  <a16:creationId xmlns:a16="http://schemas.microsoft.com/office/drawing/2014/main" id="{BCE39FB1-66A3-4180-8E23-31ECD6F0EB06}"/>
                </a:ext>
              </a:extLst>
            </p:cNvPr>
            <p:cNvSpPr>
              <a:spLocks/>
            </p:cNvSpPr>
            <p:nvPr/>
          </p:nvSpPr>
          <p:spPr bwMode="auto">
            <a:xfrm>
              <a:off x="11215378" y="3506021"/>
              <a:ext cx="153697" cy="40856"/>
            </a:xfrm>
            <a:custGeom>
              <a:avLst/>
              <a:gdLst>
                <a:gd name="T0" fmla="*/ 314 w 315"/>
                <a:gd name="T1" fmla="*/ 62 h 84"/>
                <a:gd name="T2" fmla="*/ 288 w 315"/>
                <a:gd name="T3" fmla="*/ 3 h 84"/>
                <a:gd name="T4" fmla="*/ 288 w 315"/>
                <a:gd name="T5" fmla="*/ 3 h 84"/>
                <a:gd name="T6" fmla="*/ 286 w 315"/>
                <a:gd name="T7" fmla="*/ 0 h 84"/>
                <a:gd name="T8" fmla="*/ 283 w 315"/>
                <a:gd name="T9" fmla="*/ 0 h 84"/>
                <a:gd name="T10" fmla="*/ 32 w 315"/>
                <a:gd name="T11" fmla="*/ 0 h 84"/>
                <a:gd name="T12" fmla="*/ 32 w 315"/>
                <a:gd name="T13" fmla="*/ 0 h 84"/>
                <a:gd name="T14" fmla="*/ 29 w 315"/>
                <a:gd name="T15" fmla="*/ 0 h 84"/>
                <a:gd name="T16" fmla="*/ 26 w 315"/>
                <a:gd name="T17" fmla="*/ 3 h 84"/>
                <a:gd name="T18" fmla="*/ 1 w 315"/>
                <a:gd name="T19" fmla="*/ 62 h 84"/>
                <a:gd name="T20" fmla="*/ 1 w 315"/>
                <a:gd name="T21" fmla="*/ 62 h 84"/>
                <a:gd name="T22" fmla="*/ 0 w 315"/>
                <a:gd name="T23" fmla="*/ 66 h 84"/>
                <a:gd name="T24" fmla="*/ 0 w 315"/>
                <a:gd name="T25" fmla="*/ 70 h 84"/>
                <a:gd name="T26" fmla="*/ 1 w 315"/>
                <a:gd name="T27" fmla="*/ 74 h 84"/>
                <a:gd name="T28" fmla="*/ 2 w 315"/>
                <a:gd name="T29" fmla="*/ 77 h 84"/>
                <a:gd name="T30" fmla="*/ 2 w 315"/>
                <a:gd name="T31" fmla="*/ 77 h 84"/>
                <a:gd name="T32" fmla="*/ 5 w 315"/>
                <a:gd name="T33" fmla="*/ 79 h 84"/>
                <a:gd name="T34" fmla="*/ 8 w 315"/>
                <a:gd name="T35" fmla="*/ 82 h 84"/>
                <a:gd name="T36" fmla="*/ 12 w 315"/>
                <a:gd name="T37" fmla="*/ 84 h 84"/>
                <a:gd name="T38" fmla="*/ 16 w 315"/>
                <a:gd name="T39" fmla="*/ 84 h 84"/>
                <a:gd name="T40" fmla="*/ 299 w 315"/>
                <a:gd name="T41" fmla="*/ 84 h 84"/>
                <a:gd name="T42" fmla="*/ 299 w 315"/>
                <a:gd name="T43" fmla="*/ 84 h 84"/>
                <a:gd name="T44" fmla="*/ 303 w 315"/>
                <a:gd name="T45" fmla="*/ 84 h 84"/>
                <a:gd name="T46" fmla="*/ 307 w 315"/>
                <a:gd name="T47" fmla="*/ 82 h 84"/>
                <a:gd name="T48" fmla="*/ 310 w 315"/>
                <a:gd name="T49" fmla="*/ 79 h 84"/>
                <a:gd name="T50" fmla="*/ 313 w 315"/>
                <a:gd name="T51" fmla="*/ 77 h 84"/>
                <a:gd name="T52" fmla="*/ 313 w 315"/>
                <a:gd name="T53" fmla="*/ 77 h 84"/>
                <a:gd name="T54" fmla="*/ 314 w 315"/>
                <a:gd name="T55" fmla="*/ 74 h 84"/>
                <a:gd name="T56" fmla="*/ 315 w 315"/>
                <a:gd name="T57" fmla="*/ 70 h 84"/>
                <a:gd name="T58" fmla="*/ 315 w 315"/>
                <a:gd name="T59" fmla="*/ 66 h 84"/>
                <a:gd name="T60" fmla="*/ 314 w 315"/>
                <a:gd name="T61" fmla="*/ 62 h 84"/>
                <a:gd name="T62" fmla="*/ 314 w 315"/>
                <a:gd name="T63" fmla="*/ 6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15" h="84">
                  <a:moveTo>
                    <a:pt x="314" y="62"/>
                  </a:moveTo>
                  <a:lnTo>
                    <a:pt x="288" y="3"/>
                  </a:lnTo>
                  <a:lnTo>
                    <a:pt x="288" y="3"/>
                  </a:lnTo>
                  <a:lnTo>
                    <a:pt x="286" y="0"/>
                  </a:lnTo>
                  <a:lnTo>
                    <a:pt x="283" y="0"/>
                  </a:lnTo>
                  <a:lnTo>
                    <a:pt x="32" y="0"/>
                  </a:lnTo>
                  <a:lnTo>
                    <a:pt x="32" y="0"/>
                  </a:lnTo>
                  <a:lnTo>
                    <a:pt x="29" y="0"/>
                  </a:lnTo>
                  <a:lnTo>
                    <a:pt x="26" y="3"/>
                  </a:lnTo>
                  <a:lnTo>
                    <a:pt x="1" y="62"/>
                  </a:lnTo>
                  <a:lnTo>
                    <a:pt x="1" y="62"/>
                  </a:lnTo>
                  <a:lnTo>
                    <a:pt x="0" y="66"/>
                  </a:lnTo>
                  <a:lnTo>
                    <a:pt x="0" y="70"/>
                  </a:lnTo>
                  <a:lnTo>
                    <a:pt x="1" y="74"/>
                  </a:lnTo>
                  <a:lnTo>
                    <a:pt x="2" y="77"/>
                  </a:lnTo>
                  <a:lnTo>
                    <a:pt x="2" y="77"/>
                  </a:lnTo>
                  <a:lnTo>
                    <a:pt x="5" y="79"/>
                  </a:lnTo>
                  <a:lnTo>
                    <a:pt x="8" y="82"/>
                  </a:lnTo>
                  <a:lnTo>
                    <a:pt x="12" y="84"/>
                  </a:lnTo>
                  <a:lnTo>
                    <a:pt x="16" y="84"/>
                  </a:lnTo>
                  <a:lnTo>
                    <a:pt x="299" y="84"/>
                  </a:lnTo>
                  <a:lnTo>
                    <a:pt x="299" y="84"/>
                  </a:lnTo>
                  <a:lnTo>
                    <a:pt x="303" y="84"/>
                  </a:lnTo>
                  <a:lnTo>
                    <a:pt x="307" y="82"/>
                  </a:lnTo>
                  <a:lnTo>
                    <a:pt x="310" y="79"/>
                  </a:lnTo>
                  <a:lnTo>
                    <a:pt x="313" y="77"/>
                  </a:lnTo>
                  <a:lnTo>
                    <a:pt x="313" y="77"/>
                  </a:lnTo>
                  <a:lnTo>
                    <a:pt x="314" y="74"/>
                  </a:lnTo>
                  <a:lnTo>
                    <a:pt x="315" y="70"/>
                  </a:lnTo>
                  <a:lnTo>
                    <a:pt x="315" y="66"/>
                  </a:lnTo>
                  <a:lnTo>
                    <a:pt x="314" y="62"/>
                  </a:lnTo>
                  <a:lnTo>
                    <a:pt x="314"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24" name="Freeform 179">
              <a:extLst>
                <a:ext uri="{FF2B5EF4-FFF2-40B4-BE49-F238E27FC236}">
                  <a16:creationId xmlns:a16="http://schemas.microsoft.com/office/drawing/2014/main" id="{7077B710-BFF1-4625-B62B-A163AF754792}"/>
                </a:ext>
              </a:extLst>
            </p:cNvPr>
            <p:cNvSpPr>
              <a:spLocks noEditPoints="1"/>
            </p:cNvSpPr>
            <p:nvPr/>
          </p:nvSpPr>
          <p:spPr bwMode="auto">
            <a:xfrm>
              <a:off x="11228997" y="3409717"/>
              <a:ext cx="127433" cy="91440"/>
            </a:xfrm>
            <a:custGeom>
              <a:avLst/>
              <a:gdLst>
                <a:gd name="T0" fmla="*/ 6 w 262"/>
                <a:gd name="T1" fmla="*/ 188 h 188"/>
                <a:gd name="T2" fmla="*/ 257 w 262"/>
                <a:gd name="T3" fmla="*/ 188 h 188"/>
                <a:gd name="T4" fmla="*/ 257 w 262"/>
                <a:gd name="T5" fmla="*/ 188 h 188"/>
                <a:gd name="T6" fmla="*/ 260 w 262"/>
                <a:gd name="T7" fmla="*/ 188 h 188"/>
                <a:gd name="T8" fmla="*/ 261 w 262"/>
                <a:gd name="T9" fmla="*/ 187 h 188"/>
                <a:gd name="T10" fmla="*/ 262 w 262"/>
                <a:gd name="T11" fmla="*/ 186 h 188"/>
                <a:gd name="T12" fmla="*/ 262 w 262"/>
                <a:gd name="T13" fmla="*/ 183 h 188"/>
                <a:gd name="T14" fmla="*/ 262 w 262"/>
                <a:gd name="T15" fmla="*/ 26 h 188"/>
                <a:gd name="T16" fmla="*/ 262 w 262"/>
                <a:gd name="T17" fmla="*/ 26 h 188"/>
                <a:gd name="T18" fmla="*/ 262 w 262"/>
                <a:gd name="T19" fmla="*/ 21 h 188"/>
                <a:gd name="T20" fmla="*/ 261 w 262"/>
                <a:gd name="T21" fmla="*/ 15 h 188"/>
                <a:gd name="T22" fmla="*/ 258 w 262"/>
                <a:gd name="T23" fmla="*/ 11 h 188"/>
                <a:gd name="T24" fmla="*/ 254 w 262"/>
                <a:gd name="T25" fmla="*/ 7 h 188"/>
                <a:gd name="T26" fmla="*/ 250 w 262"/>
                <a:gd name="T27" fmla="*/ 4 h 188"/>
                <a:gd name="T28" fmla="*/ 246 w 262"/>
                <a:gd name="T29" fmla="*/ 2 h 188"/>
                <a:gd name="T30" fmla="*/ 241 w 262"/>
                <a:gd name="T31" fmla="*/ 0 h 188"/>
                <a:gd name="T32" fmla="*/ 237 w 262"/>
                <a:gd name="T33" fmla="*/ 0 h 188"/>
                <a:gd name="T34" fmla="*/ 26 w 262"/>
                <a:gd name="T35" fmla="*/ 0 h 188"/>
                <a:gd name="T36" fmla="*/ 26 w 262"/>
                <a:gd name="T37" fmla="*/ 0 h 188"/>
                <a:gd name="T38" fmla="*/ 22 w 262"/>
                <a:gd name="T39" fmla="*/ 0 h 188"/>
                <a:gd name="T40" fmla="*/ 17 w 262"/>
                <a:gd name="T41" fmla="*/ 2 h 188"/>
                <a:gd name="T42" fmla="*/ 13 w 262"/>
                <a:gd name="T43" fmla="*/ 4 h 188"/>
                <a:gd name="T44" fmla="*/ 8 w 262"/>
                <a:gd name="T45" fmla="*/ 7 h 188"/>
                <a:gd name="T46" fmla="*/ 4 w 262"/>
                <a:gd name="T47" fmla="*/ 11 h 188"/>
                <a:gd name="T48" fmla="*/ 3 w 262"/>
                <a:gd name="T49" fmla="*/ 15 h 188"/>
                <a:gd name="T50" fmla="*/ 0 w 262"/>
                <a:gd name="T51" fmla="*/ 21 h 188"/>
                <a:gd name="T52" fmla="*/ 0 w 262"/>
                <a:gd name="T53" fmla="*/ 26 h 188"/>
                <a:gd name="T54" fmla="*/ 0 w 262"/>
                <a:gd name="T55" fmla="*/ 183 h 188"/>
                <a:gd name="T56" fmla="*/ 0 w 262"/>
                <a:gd name="T57" fmla="*/ 183 h 188"/>
                <a:gd name="T58" fmla="*/ 0 w 262"/>
                <a:gd name="T59" fmla="*/ 186 h 188"/>
                <a:gd name="T60" fmla="*/ 2 w 262"/>
                <a:gd name="T61" fmla="*/ 187 h 188"/>
                <a:gd name="T62" fmla="*/ 3 w 262"/>
                <a:gd name="T63" fmla="*/ 188 h 188"/>
                <a:gd name="T64" fmla="*/ 6 w 262"/>
                <a:gd name="T65" fmla="*/ 188 h 188"/>
                <a:gd name="T66" fmla="*/ 6 w 262"/>
                <a:gd name="T67" fmla="*/ 188 h 188"/>
                <a:gd name="T68" fmla="*/ 18 w 262"/>
                <a:gd name="T69" fmla="*/ 25 h 188"/>
                <a:gd name="T70" fmla="*/ 18 w 262"/>
                <a:gd name="T71" fmla="*/ 25 h 188"/>
                <a:gd name="T72" fmla="*/ 18 w 262"/>
                <a:gd name="T73" fmla="*/ 22 h 188"/>
                <a:gd name="T74" fmla="*/ 19 w 262"/>
                <a:gd name="T75" fmla="*/ 21 h 188"/>
                <a:gd name="T76" fmla="*/ 21 w 262"/>
                <a:gd name="T77" fmla="*/ 19 h 188"/>
                <a:gd name="T78" fmla="*/ 23 w 262"/>
                <a:gd name="T79" fmla="*/ 19 h 188"/>
                <a:gd name="T80" fmla="*/ 240 w 262"/>
                <a:gd name="T81" fmla="*/ 19 h 188"/>
                <a:gd name="T82" fmla="*/ 240 w 262"/>
                <a:gd name="T83" fmla="*/ 19 h 188"/>
                <a:gd name="T84" fmla="*/ 241 w 262"/>
                <a:gd name="T85" fmla="*/ 19 h 188"/>
                <a:gd name="T86" fmla="*/ 244 w 262"/>
                <a:gd name="T87" fmla="*/ 21 h 188"/>
                <a:gd name="T88" fmla="*/ 244 w 262"/>
                <a:gd name="T89" fmla="*/ 22 h 188"/>
                <a:gd name="T90" fmla="*/ 245 w 262"/>
                <a:gd name="T91" fmla="*/ 25 h 188"/>
                <a:gd name="T92" fmla="*/ 245 w 262"/>
                <a:gd name="T93" fmla="*/ 166 h 188"/>
                <a:gd name="T94" fmla="*/ 245 w 262"/>
                <a:gd name="T95" fmla="*/ 166 h 188"/>
                <a:gd name="T96" fmla="*/ 244 w 262"/>
                <a:gd name="T97" fmla="*/ 167 h 188"/>
                <a:gd name="T98" fmla="*/ 244 w 262"/>
                <a:gd name="T99" fmla="*/ 170 h 188"/>
                <a:gd name="T100" fmla="*/ 241 w 262"/>
                <a:gd name="T101" fmla="*/ 170 h 188"/>
                <a:gd name="T102" fmla="*/ 240 w 262"/>
                <a:gd name="T103" fmla="*/ 171 h 188"/>
                <a:gd name="T104" fmla="*/ 23 w 262"/>
                <a:gd name="T105" fmla="*/ 171 h 188"/>
                <a:gd name="T106" fmla="*/ 23 w 262"/>
                <a:gd name="T107" fmla="*/ 171 h 188"/>
                <a:gd name="T108" fmla="*/ 21 w 262"/>
                <a:gd name="T109" fmla="*/ 170 h 188"/>
                <a:gd name="T110" fmla="*/ 19 w 262"/>
                <a:gd name="T111" fmla="*/ 170 h 188"/>
                <a:gd name="T112" fmla="*/ 18 w 262"/>
                <a:gd name="T113" fmla="*/ 167 h 188"/>
                <a:gd name="T114" fmla="*/ 18 w 262"/>
                <a:gd name="T115" fmla="*/ 166 h 188"/>
                <a:gd name="T116" fmla="*/ 18 w 262"/>
                <a:gd name="T117" fmla="*/ 25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2" h="188">
                  <a:moveTo>
                    <a:pt x="6" y="188"/>
                  </a:moveTo>
                  <a:lnTo>
                    <a:pt x="257" y="188"/>
                  </a:lnTo>
                  <a:lnTo>
                    <a:pt x="257" y="188"/>
                  </a:lnTo>
                  <a:lnTo>
                    <a:pt x="260" y="188"/>
                  </a:lnTo>
                  <a:lnTo>
                    <a:pt x="261" y="187"/>
                  </a:lnTo>
                  <a:lnTo>
                    <a:pt x="262" y="186"/>
                  </a:lnTo>
                  <a:lnTo>
                    <a:pt x="262" y="183"/>
                  </a:lnTo>
                  <a:lnTo>
                    <a:pt x="262" y="26"/>
                  </a:lnTo>
                  <a:lnTo>
                    <a:pt x="262" y="26"/>
                  </a:lnTo>
                  <a:lnTo>
                    <a:pt x="262" y="21"/>
                  </a:lnTo>
                  <a:lnTo>
                    <a:pt x="261" y="15"/>
                  </a:lnTo>
                  <a:lnTo>
                    <a:pt x="258" y="11"/>
                  </a:lnTo>
                  <a:lnTo>
                    <a:pt x="254" y="7"/>
                  </a:lnTo>
                  <a:lnTo>
                    <a:pt x="250" y="4"/>
                  </a:lnTo>
                  <a:lnTo>
                    <a:pt x="246" y="2"/>
                  </a:lnTo>
                  <a:lnTo>
                    <a:pt x="241" y="0"/>
                  </a:lnTo>
                  <a:lnTo>
                    <a:pt x="237" y="0"/>
                  </a:lnTo>
                  <a:lnTo>
                    <a:pt x="26" y="0"/>
                  </a:lnTo>
                  <a:lnTo>
                    <a:pt x="26" y="0"/>
                  </a:lnTo>
                  <a:lnTo>
                    <a:pt x="22" y="0"/>
                  </a:lnTo>
                  <a:lnTo>
                    <a:pt x="17" y="2"/>
                  </a:lnTo>
                  <a:lnTo>
                    <a:pt x="13" y="4"/>
                  </a:lnTo>
                  <a:lnTo>
                    <a:pt x="8" y="7"/>
                  </a:lnTo>
                  <a:lnTo>
                    <a:pt x="4" y="11"/>
                  </a:lnTo>
                  <a:lnTo>
                    <a:pt x="3" y="15"/>
                  </a:lnTo>
                  <a:lnTo>
                    <a:pt x="0" y="21"/>
                  </a:lnTo>
                  <a:lnTo>
                    <a:pt x="0" y="26"/>
                  </a:lnTo>
                  <a:lnTo>
                    <a:pt x="0" y="183"/>
                  </a:lnTo>
                  <a:lnTo>
                    <a:pt x="0" y="183"/>
                  </a:lnTo>
                  <a:lnTo>
                    <a:pt x="0" y="186"/>
                  </a:lnTo>
                  <a:lnTo>
                    <a:pt x="2" y="187"/>
                  </a:lnTo>
                  <a:lnTo>
                    <a:pt x="3" y="188"/>
                  </a:lnTo>
                  <a:lnTo>
                    <a:pt x="6" y="188"/>
                  </a:lnTo>
                  <a:lnTo>
                    <a:pt x="6" y="188"/>
                  </a:lnTo>
                  <a:close/>
                  <a:moveTo>
                    <a:pt x="18" y="25"/>
                  </a:moveTo>
                  <a:lnTo>
                    <a:pt x="18" y="25"/>
                  </a:lnTo>
                  <a:lnTo>
                    <a:pt x="18" y="22"/>
                  </a:lnTo>
                  <a:lnTo>
                    <a:pt x="19" y="21"/>
                  </a:lnTo>
                  <a:lnTo>
                    <a:pt x="21" y="19"/>
                  </a:lnTo>
                  <a:lnTo>
                    <a:pt x="23" y="19"/>
                  </a:lnTo>
                  <a:lnTo>
                    <a:pt x="240" y="19"/>
                  </a:lnTo>
                  <a:lnTo>
                    <a:pt x="240" y="19"/>
                  </a:lnTo>
                  <a:lnTo>
                    <a:pt x="241" y="19"/>
                  </a:lnTo>
                  <a:lnTo>
                    <a:pt x="244" y="21"/>
                  </a:lnTo>
                  <a:lnTo>
                    <a:pt x="244" y="22"/>
                  </a:lnTo>
                  <a:lnTo>
                    <a:pt x="245" y="25"/>
                  </a:lnTo>
                  <a:lnTo>
                    <a:pt x="245" y="166"/>
                  </a:lnTo>
                  <a:lnTo>
                    <a:pt x="245" y="166"/>
                  </a:lnTo>
                  <a:lnTo>
                    <a:pt x="244" y="167"/>
                  </a:lnTo>
                  <a:lnTo>
                    <a:pt x="244" y="170"/>
                  </a:lnTo>
                  <a:lnTo>
                    <a:pt x="241" y="170"/>
                  </a:lnTo>
                  <a:lnTo>
                    <a:pt x="240" y="171"/>
                  </a:lnTo>
                  <a:lnTo>
                    <a:pt x="23" y="171"/>
                  </a:lnTo>
                  <a:lnTo>
                    <a:pt x="23" y="171"/>
                  </a:lnTo>
                  <a:lnTo>
                    <a:pt x="21" y="170"/>
                  </a:lnTo>
                  <a:lnTo>
                    <a:pt x="19" y="170"/>
                  </a:lnTo>
                  <a:lnTo>
                    <a:pt x="18" y="167"/>
                  </a:lnTo>
                  <a:lnTo>
                    <a:pt x="18" y="166"/>
                  </a:lnTo>
                  <a:lnTo>
                    <a:pt x="18"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25" name="Group 224">
            <a:extLst>
              <a:ext uri="{FF2B5EF4-FFF2-40B4-BE49-F238E27FC236}">
                <a16:creationId xmlns:a16="http://schemas.microsoft.com/office/drawing/2014/main" id="{5A491E74-C270-4155-B29D-9C750A2EF30E}"/>
              </a:ext>
            </a:extLst>
          </p:cNvPr>
          <p:cNvGrpSpPr>
            <a:grpSpLocks noChangeAspect="1"/>
          </p:cNvGrpSpPr>
          <p:nvPr/>
        </p:nvGrpSpPr>
        <p:grpSpPr>
          <a:xfrm>
            <a:off x="9330876" y="2641189"/>
            <a:ext cx="320040" cy="320040"/>
            <a:chOff x="9356726" y="5013960"/>
            <a:chExt cx="522288" cy="522288"/>
          </a:xfrm>
        </p:grpSpPr>
        <p:sp>
          <p:nvSpPr>
            <p:cNvPr id="226" name="Freeform 87">
              <a:extLst>
                <a:ext uri="{FF2B5EF4-FFF2-40B4-BE49-F238E27FC236}">
                  <a16:creationId xmlns:a16="http://schemas.microsoft.com/office/drawing/2014/main" id="{D8D9AC31-036D-40B1-A51F-E0109D48B88A}"/>
                </a:ext>
              </a:extLst>
            </p:cNvPr>
            <p:cNvSpPr>
              <a:spLocks noEditPoints="1"/>
            </p:cNvSpPr>
            <p:nvPr/>
          </p:nvSpPr>
          <p:spPr bwMode="auto">
            <a:xfrm>
              <a:off x="9356726" y="5013960"/>
              <a:ext cx="522288" cy="522288"/>
            </a:xfrm>
            <a:custGeom>
              <a:avLst/>
              <a:gdLst>
                <a:gd name="T0" fmla="*/ 311 w 657"/>
                <a:gd name="T1" fmla="*/ 657 h 658"/>
                <a:gd name="T2" fmla="*/ 262 w 657"/>
                <a:gd name="T3" fmla="*/ 651 h 658"/>
                <a:gd name="T4" fmla="*/ 200 w 657"/>
                <a:gd name="T5" fmla="*/ 631 h 658"/>
                <a:gd name="T6" fmla="*/ 119 w 657"/>
                <a:gd name="T7" fmla="*/ 583 h 658"/>
                <a:gd name="T8" fmla="*/ 56 w 657"/>
                <a:gd name="T9" fmla="*/ 513 h 658"/>
                <a:gd name="T10" fmla="*/ 14 w 657"/>
                <a:gd name="T11" fmla="*/ 427 h 658"/>
                <a:gd name="T12" fmla="*/ 4 w 657"/>
                <a:gd name="T13" fmla="*/ 379 h 658"/>
                <a:gd name="T14" fmla="*/ 0 w 657"/>
                <a:gd name="T15" fmla="*/ 329 h 658"/>
                <a:gd name="T16" fmla="*/ 1 w 657"/>
                <a:gd name="T17" fmla="*/ 295 h 658"/>
                <a:gd name="T18" fmla="*/ 10 w 657"/>
                <a:gd name="T19" fmla="*/ 247 h 658"/>
                <a:gd name="T20" fmla="*/ 39 w 657"/>
                <a:gd name="T21" fmla="*/ 172 h 658"/>
                <a:gd name="T22" fmla="*/ 96 w 657"/>
                <a:gd name="T23" fmla="*/ 96 h 658"/>
                <a:gd name="T24" fmla="*/ 172 w 657"/>
                <a:gd name="T25" fmla="*/ 40 h 658"/>
                <a:gd name="T26" fmla="*/ 247 w 657"/>
                <a:gd name="T27" fmla="*/ 10 h 658"/>
                <a:gd name="T28" fmla="*/ 295 w 657"/>
                <a:gd name="T29" fmla="*/ 1 h 658"/>
                <a:gd name="T30" fmla="*/ 329 w 657"/>
                <a:gd name="T31" fmla="*/ 0 h 658"/>
                <a:gd name="T32" fmla="*/ 379 w 657"/>
                <a:gd name="T33" fmla="*/ 4 h 658"/>
                <a:gd name="T34" fmla="*/ 426 w 657"/>
                <a:gd name="T35" fmla="*/ 14 h 658"/>
                <a:gd name="T36" fmla="*/ 512 w 657"/>
                <a:gd name="T37" fmla="*/ 56 h 658"/>
                <a:gd name="T38" fmla="*/ 582 w 657"/>
                <a:gd name="T39" fmla="*/ 119 h 658"/>
                <a:gd name="T40" fmla="*/ 631 w 657"/>
                <a:gd name="T41" fmla="*/ 201 h 658"/>
                <a:gd name="T42" fmla="*/ 650 w 657"/>
                <a:gd name="T43" fmla="*/ 263 h 658"/>
                <a:gd name="T44" fmla="*/ 657 w 657"/>
                <a:gd name="T45" fmla="*/ 311 h 658"/>
                <a:gd name="T46" fmla="*/ 657 w 657"/>
                <a:gd name="T47" fmla="*/ 345 h 658"/>
                <a:gd name="T48" fmla="*/ 650 w 657"/>
                <a:gd name="T49" fmla="*/ 395 h 658"/>
                <a:gd name="T50" fmla="*/ 631 w 657"/>
                <a:gd name="T51" fmla="*/ 457 h 658"/>
                <a:gd name="T52" fmla="*/ 582 w 657"/>
                <a:gd name="T53" fmla="*/ 539 h 658"/>
                <a:gd name="T54" fmla="*/ 512 w 657"/>
                <a:gd name="T55" fmla="*/ 602 h 658"/>
                <a:gd name="T56" fmla="*/ 426 w 657"/>
                <a:gd name="T57" fmla="*/ 643 h 658"/>
                <a:gd name="T58" fmla="*/ 379 w 657"/>
                <a:gd name="T59" fmla="*/ 654 h 658"/>
                <a:gd name="T60" fmla="*/ 329 w 657"/>
                <a:gd name="T61" fmla="*/ 658 h 658"/>
                <a:gd name="T62" fmla="*/ 329 w 657"/>
                <a:gd name="T63" fmla="*/ 37 h 658"/>
                <a:gd name="T64" fmla="*/ 241 w 657"/>
                <a:gd name="T65" fmla="*/ 51 h 658"/>
                <a:gd name="T66" fmla="*/ 166 w 657"/>
                <a:gd name="T67" fmla="*/ 87 h 658"/>
                <a:gd name="T68" fmla="*/ 103 w 657"/>
                <a:gd name="T69" fmla="*/ 143 h 658"/>
                <a:gd name="T70" fmla="*/ 60 w 657"/>
                <a:gd name="T71" fmla="*/ 216 h 658"/>
                <a:gd name="T72" fmla="*/ 39 w 657"/>
                <a:gd name="T73" fmla="*/ 299 h 658"/>
                <a:gd name="T74" fmla="*/ 39 w 657"/>
                <a:gd name="T75" fmla="*/ 358 h 658"/>
                <a:gd name="T76" fmla="*/ 60 w 657"/>
                <a:gd name="T77" fmla="*/ 442 h 658"/>
                <a:gd name="T78" fmla="*/ 103 w 657"/>
                <a:gd name="T79" fmla="*/ 514 h 658"/>
                <a:gd name="T80" fmla="*/ 166 w 657"/>
                <a:gd name="T81" fmla="*/ 571 h 658"/>
                <a:gd name="T82" fmla="*/ 241 w 657"/>
                <a:gd name="T83" fmla="*/ 607 h 658"/>
                <a:gd name="T84" fmla="*/ 329 w 657"/>
                <a:gd name="T85" fmla="*/ 621 h 658"/>
                <a:gd name="T86" fmla="*/ 387 w 657"/>
                <a:gd name="T87" fmla="*/ 614 h 658"/>
                <a:gd name="T88" fmla="*/ 467 w 657"/>
                <a:gd name="T89" fmla="*/ 584 h 658"/>
                <a:gd name="T90" fmla="*/ 534 w 657"/>
                <a:gd name="T91" fmla="*/ 534 h 658"/>
                <a:gd name="T92" fmla="*/ 584 w 657"/>
                <a:gd name="T93" fmla="*/ 467 h 658"/>
                <a:gd name="T94" fmla="*/ 614 w 657"/>
                <a:gd name="T95" fmla="*/ 388 h 658"/>
                <a:gd name="T96" fmla="*/ 619 w 657"/>
                <a:gd name="T97" fmla="*/ 329 h 658"/>
                <a:gd name="T98" fmla="*/ 607 w 657"/>
                <a:gd name="T99" fmla="*/ 243 h 658"/>
                <a:gd name="T100" fmla="*/ 569 w 657"/>
                <a:gd name="T101" fmla="*/ 166 h 658"/>
                <a:gd name="T102" fmla="*/ 513 w 657"/>
                <a:gd name="T103" fmla="*/ 104 h 658"/>
                <a:gd name="T104" fmla="*/ 442 w 657"/>
                <a:gd name="T105" fmla="*/ 60 h 658"/>
                <a:gd name="T106" fmla="*/ 358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1" y="657"/>
                  </a:lnTo>
                  <a:lnTo>
                    <a:pt x="295" y="655"/>
                  </a:lnTo>
                  <a:lnTo>
                    <a:pt x="278" y="654"/>
                  </a:lnTo>
                  <a:lnTo>
                    <a:pt x="262" y="651"/>
                  </a:lnTo>
                  <a:lnTo>
                    <a:pt x="247" y="647"/>
                  </a:lnTo>
                  <a:lnTo>
                    <a:pt x="231" y="643"/>
                  </a:lnTo>
                  <a:lnTo>
                    <a:pt x="200" y="631"/>
                  </a:lnTo>
                  <a:lnTo>
                    <a:pt x="172" y="618"/>
                  </a:lnTo>
                  <a:lnTo>
                    <a:pt x="145" y="602"/>
                  </a:lnTo>
                  <a:lnTo>
                    <a:pt x="119" y="583"/>
                  </a:lnTo>
                  <a:lnTo>
                    <a:pt x="96" y="561"/>
                  </a:lnTo>
                  <a:lnTo>
                    <a:pt x="75" y="539"/>
                  </a:lnTo>
                  <a:lnTo>
                    <a:pt x="56" y="513"/>
                  </a:lnTo>
                  <a:lnTo>
                    <a:pt x="39" y="485"/>
                  </a:lnTo>
                  <a:lnTo>
                    <a:pt x="25" y="457"/>
                  </a:lnTo>
                  <a:lnTo>
                    <a:pt x="14" y="427"/>
                  </a:lnTo>
                  <a:lnTo>
                    <a:pt x="10" y="411"/>
                  </a:lnTo>
                  <a:lnTo>
                    <a:pt x="6" y="395"/>
                  </a:lnTo>
                  <a:lnTo>
                    <a:pt x="4" y="379"/>
                  </a:lnTo>
                  <a:lnTo>
                    <a:pt x="1" y="362"/>
                  </a:lnTo>
                  <a:lnTo>
                    <a:pt x="0" y="345"/>
                  </a:lnTo>
                  <a:lnTo>
                    <a:pt x="0" y="329"/>
                  </a:lnTo>
                  <a:lnTo>
                    <a:pt x="0" y="329"/>
                  </a:lnTo>
                  <a:lnTo>
                    <a:pt x="0" y="311"/>
                  </a:lnTo>
                  <a:lnTo>
                    <a:pt x="1" y="295"/>
                  </a:lnTo>
                  <a:lnTo>
                    <a:pt x="4" y="279"/>
                  </a:lnTo>
                  <a:lnTo>
                    <a:pt x="6" y="263"/>
                  </a:lnTo>
                  <a:lnTo>
                    <a:pt x="10" y="247"/>
                  </a:lnTo>
                  <a:lnTo>
                    <a:pt x="14" y="231"/>
                  </a:lnTo>
                  <a:lnTo>
                    <a:pt x="25" y="201"/>
                  </a:lnTo>
                  <a:lnTo>
                    <a:pt x="39" y="172"/>
                  </a:lnTo>
                  <a:lnTo>
                    <a:pt x="56" y="145"/>
                  </a:lnTo>
                  <a:lnTo>
                    <a:pt x="75" y="119"/>
                  </a:lnTo>
                  <a:lnTo>
                    <a:pt x="96" y="96"/>
                  </a:lnTo>
                  <a:lnTo>
                    <a:pt x="119" y="75"/>
                  </a:lnTo>
                  <a:lnTo>
                    <a:pt x="145" y="56"/>
                  </a:lnTo>
                  <a:lnTo>
                    <a:pt x="172" y="40"/>
                  </a:lnTo>
                  <a:lnTo>
                    <a:pt x="200" y="25"/>
                  </a:lnTo>
                  <a:lnTo>
                    <a:pt x="231" y="14"/>
                  </a:lnTo>
                  <a:lnTo>
                    <a:pt x="247" y="10"/>
                  </a:lnTo>
                  <a:lnTo>
                    <a:pt x="262" y="6"/>
                  </a:lnTo>
                  <a:lnTo>
                    <a:pt x="278" y="4"/>
                  </a:lnTo>
                  <a:lnTo>
                    <a:pt x="295" y="1"/>
                  </a:lnTo>
                  <a:lnTo>
                    <a:pt x="311" y="0"/>
                  </a:lnTo>
                  <a:lnTo>
                    <a:pt x="329" y="0"/>
                  </a:lnTo>
                  <a:lnTo>
                    <a:pt x="329" y="0"/>
                  </a:lnTo>
                  <a:lnTo>
                    <a:pt x="345" y="0"/>
                  </a:lnTo>
                  <a:lnTo>
                    <a:pt x="362" y="1"/>
                  </a:lnTo>
                  <a:lnTo>
                    <a:pt x="379" y="4"/>
                  </a:lnTo>
                  <a:lnTo>
                    <a:pt x="395" y="6"/>
                  </a:lnTo>
                  <a:lnTo>
                    <a:pt x="411" y="10"/>
                  </a:lnTo>
                  <a:lnTo>
                    <a:pt x="426" y="14"/>
                  </a:lnTo>
                  <a:lnTo>
                    <a:pt x="457" y="25"/>
                  </a:lnTo>
                  <a:lnTo>
                    <a:pt x="485" y="40"/>
                  </a:lnTo>
                  <a:lnTo>
                    <a:pt x="512" y="56"/>
                  </a:lnTo>
                  <a:lnTo>
                    <a:pt x="537" y="75"/>
                  </a:lnTo>
                  <a:lnTo>
                    <a:pt x="561" y="96"/>
                  </a:lnTo>
                  <a:lnTo>
                    <a:pt x="582" y="119"/>
                  </a:lnTo>
                  <a:lnTo>
                    <a:pt x="602" y="145"/>
                  </a:lnTo>
                  <a:lnTo>
                    <a:pt x="618" y="172"/>
                  </a:lnTo>
                  <a:lnTo>
                    <a:pt x="631" y="201"/>
                  </a:lnTo>
                  <a:lnTo>
                    <a:pt x="642" y="231"/>
                  </a:lnTo>
                  <a:lnTo>
                    <a:pt x="647" y="247"/>
                  </a:lnTo>
                  <a:lnTo>
                    <a:pt x="650" y="263"/>
                  </a:lnTo>
                  <a:lnTo>
                    <a:pt x="654" y="279"/>
                  </a:lnTo>
                  <a:lnTo>
                    <a:pt x="655" y="295"/>
                  </a:lnTo>
                  <a:lnTo>
                    <a:pt x="657" y="311"/>
                  </a:lnTo>
                  <a:lnTo>
                    <a:pt x="657" y="329"/>
                  </a:lnTo>
                  <a:lnTo>
                    <a:pt x="657" y="329"/>
                  </a:lnTo>
                  <a:lnTo>
                    <a:pt x="657" y="345"/>
                  </a:lnTo>
                  <a:lnTo>
                    <a:pt x="655" y="362"/>
                  </a:lnTo>
                  <a:lnTo>
                    <a:pt x="654" y="379"/>
                  </a:lnTo>
                  <a:lnTo>
                    <a:pt x="650" y="395"/>
                  </a:lnTo>
                  <a:lnTo>
                    <a:pt x="647" y="411"/>
                  </a:lnTo>
                  <a:lnTo>
                    <a:pt x="642" y="427"/>
                  </a:lnTo>
                  <a:lnTo>
                    <a:pt x="631" y="457"/>
                  </a:lnTo>
                  <a:lnTo>
                    <a:pt x="618" y="485"/>
                  </a:lnTo>
                  <a:lnTo>
                    <a:pt x="602" y="513"/>
                  </a:lnTo>
                  <a:lnTo>
                    <a:pt x="582" y="539"/>
                  </a:lnTo>
                  <a:lnTo>
                    <a:pt x="561" y="561"/>
                  </a:lnTo>
                  <a:lnTo>
                    <a:pt x="537" y="583"/>
                  </a:lnTo>
                  <a:lnTo>
                    <a:pt x="512" y="602"/>
                  </a:lnTo>
                  <a:lnTo>
                    <a:pt x="485" y="618"/>
                  </a:lnTo>
                  <a:lnTo>
                    <a:pt x="457" y="631"/>
                  </a:lnTo>
                  <a:lnTo>
                    <a:pt x="426" y="643"/>
                  </a:lnTo>
                  <a:lnTo>
                    <a:pt x="411" y="647"/>
                  </a:lnTo>
                  <a:lnTo>
                    <a:pt x="395" y="651"/>
                  </a:lnTo>
                  <a:lnTo>
                    <a:pt x="379" y="654"/>
                  </a:lnTo>
                  <a:lnTo>
                    <a:pt x="362" y="655"/>
                  </a:lnTo>
                  <a:lnTo>
                    <a:pt x="345" y="657"/>
                  </a:lnTo>
                  <a:lnTo>
                    <a:pt x="329" y="658"/>
                  </a:lnTo>
                  <a:lnTo>
                    <a:pt x="329" y="658"/>
                  </a:lnTo>
                  <a:close/>
                  <a:moveTo>
                    <a:pt x="329" y="37"/>
                  </a:moveTo>
                  <a:lnTo>
                    <a:pt x="329" y="37"/>
                  </a:lnTo>
                  <a:lnTo>
                    <a:pt x="299" y="39"/>
                  </a:lnTo>
                  <a:lnTo>
                    <a:pt x="270" y="44"/>
                  </a:lnTo>
                  <a:lnTo>
                    <a:pt x="241" y="51"/>
                  </a:lnTo>
                  <a:lnTo>
                    <a:pt x="215" y="60"/>
                  </a:lnTo>
                  <a:lnTo>
                    <a:pt x="189" y="72"/>
                  </a:lnTo>
                  <a:lnTo>
                    <a:pt x="166" y="87"/>
                  </a:lnTo>
                  <a:lnTo>
                    <a:pt x="143" y="104"/>
                  </a:lnTo>
                  <a:lnTo>
                    <a:pt x="122" y="123"/>
                  </a:lnTo>
                  <a:lnTo>
                    <a:pt x="103" y="143"/>
                  </a:lnTo>
                  <a:lnTo>
                    <a:pt x="87" y="166"/>
                  </a:lnTo>
                  <a:lnTo>
                    <a:pt x="72" y="190"/>
                  </a:lnTo>
                  <a:lnTo>
                    <a:pt x="60" y="216"/>
                  </a:lnTo>
                  <a:lnTo>
                    <a:pt x="51" y="243"/>
                  </a:lnTo>
                  <a:lnTo>
                    <a:pt x="43" y="270"/>
                  </a:lnTo>
                  <a:lnTo>
                    <a:pt x="39" y="299"/>
                  </a:lnTo>
                  <a:lnTo>
                    <a:pt x="37" y="329"/>
                  </a:lnTo>
                  <a:lnTo>
                    <a:pt x="37" y="329"/>
                  </a:lnTo>
                  <a:lnTo>
                    <a:pt x="39" y="358"/>
                  </a:lnTo>
                  <a:lnTo>
                    <a:pt x="43" y="388"/>
                  </a:lnTo>
                  <a:lnTo>
                    <a:pt x="51" y="415"/>
                  </a:lnTo>
                  <a:lnTo>
                    <a:pt x="60" y="442"/>
                  </a:lnTo>
                  <a:lnTo>
                    <a:pt x="72" y="467"/>
                  </a:lnTo>
                  <a:lnTo>
                    <a:pt x="87" y="491"/>
                  </a:lnTo>
                  <a:lnTo>
                    <a:pt x="103" y="514"/>
                  </a:lnTo>
                  <a:lnTo>
                    <a:pt x="122" y="534"/>
                  </a:lnTo>
                  <a:lnTo>
                    <a:pt x="143" y="553"/>
                  </a:lnTo>
                  <a:lnTo>
                    <a:pt x="166" y="571"/>
                  </a:lnTo>
                  <a:lnTo>
                    <a:pt x="189" y="584"/>
                  </a:lnTo>
                  <a:lnTo>
                    <a:pt x="215" y="598"/>
                  </a:lnTo>
                  <a:lnTo>
                    <a:pt x="241" y="607"/>
                  </a:lnTo>
                  <a:lnTo>
                    <a:pt x="270" y="614"/>
                  </a:lnTo>
                  <a:lnTo>
                    <a:pt x="299" y="619"/>
                  </a:lnTo>
                  <a:lnTo>
                    <a:pt x="329" y="621"/>
                  </a:lnTo>
                  <a:lnTo>
                    <a:pt x="329" y="621"/>
                  </a:lnTo>
                  <a:lnTo>
                    <a:pt x="358" y="619"/>
                  </a:lnTo>
                  <a:lnTo>
                    <a:pt x="387" y="614"/>
                  </a:lnTo>
                  <a:lnTo>
                    <a:pt x="415" y="607"/>
                  </a:lnTo>
                  <a:lnTo>
                    <a:pt x="442" y="598"/>
                  </a:lnTo>
                  <a:lnTo>
                    <a:pt x="467" y="584"/>
                  </a:lnTo>
                  <a:lnTo>
                    <a:pt x="491" y="571"/>
                  </a:lnTo>
                  <a:lnTo>
                    <a:pt x="513" y="553"/>
                  </a:lnTo>
                  <a:lnTo>
                    <a:pt x="534" y="534"/>
                  </a:lnTo>
                  <a:lnTo>
                    <a:pt x="553" y="514"/>
                  </a:lnTo>
                  <a:lnTo>
                    <a:pt x="569" y="491"/>
                  </a:lnTo>
                  <a:lnTo>
                    <a:pt x="584" y="467"/>
                  </a:lnTo>
                  <a:lnTo>
                    <a:pt x="596" y="442"/>
                  </a:lnTo>
                  <a:lnTo>
                    <a:pt x="607" y="415"/>
                  </a:lnTo>
                  <a:lnTo>
                    <a:pt x="614" y="388"/>
                  </a:lnTo>
                  <a:lnTo>
                    <a:pt x="618" y="358"/>
                  </a:lnTo>
                  <a:lnTo>
                    <a:pt x="619" y="329"/>
                  </a:lnTo>
                  <a:lnTo>
                    <a:pt x="619" y="329"/>
                  </a:lnTo>
                  <a:lnTo>
                    <a:pt x="618" y="299"/>
                  </a:lnTo>
                  <a:lnTo>
                    <a:pt x="614" y="270"/>
                  </a:lnTo>
                  <a:lnTo>
                    <a:pt x="607" y="243"/>
                  </a:lnTo>
                  <a:lnTo>
                    <a:pt x="596" y="216"/>
                  </a:lnTo>
                  <a:lnTo>
                    <a:pt x="584" y="190"/>
                  </a:lnTo>
                  <a:lnTo>
                    <a:pt x="569" y="166"/>
                  </a:lnTo>
                  <a:lnTo>
                    <a:pt x="553" y="143"/>
                  </a:lnTo>
                  <a:lnTo>
                    <a:pt x="534" y="123"/>
                  </a:lnTo>
                  <a:lnTo>
                    <a:pt x="513" y="104"/>
                  </a:lnTo>
                  <a:lnTo>
                    <a:pt x="491" y="87"/>
                  </a:lnTo>
                  <a:lnTo>
                    <a:pt x="467" y="72"/>
                  </a:lnTo>
                  <a:lnTo>
                    <a:pt x="442" y="60"/>
                  </a:lnTo>
                  <a:lnTo>
                    <a:pt x="415" y="51"/>
                  </a:lnTo>
                  <a:lnTo>
                    <a:pt x="387" y="44"/>
                  </a:lnTo>
                  <a:lnTo>
                    <a:pt x="358" y="39"/>
                  </a:lnTo>
                  <a:lnTo>
                    <a:pt x="329" y="37"/>
                  </a:lnTo>
                  <a:lnTo>
                    <a:pt x="329" y="3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27" name="Freeform 279">
              <a:extLst>
                <a:ext uri="{FF2B5EF4-FFF2-40B4-BE49-F238E27FC236}">
                  <a16:creationId xmlns:a16="http://schemas.microsoft.com/office/drawing/2014/main" id="{7CBB5606-9CB6-4488-B389-2C9A75723184}"/>
                </a:ext>
              </a:extLst>
            </p:cNvPr>
            <p:cNvSpPr>
              <a:spLocks/>
            </p:cNvSpPr>
            <p:nvPr/>
          </p:nvSpPr>
          <p:spPr bwMode="auto">
            <a:xfrm>
              <a:off x="9571038" y="5223510"/>
              <a:ext cx="182563" cy="177800"/>
            </a:xfrm>
            <a:custGeom>
              <a:avLst/>
              <a:gdLst>
                <a:gd name="T0" fmla="*/ 219 w 230"/>
                <a:gd name="T1" fmla="*/ 0 h 225"/>
                <a:gd name="T2" fmla="*/ 178 w 230"/>
                <a:gd name="T3" fmla="*/ 0 h 225"/>
                <a:gd name="T4" fmla="*/ 178 w 230"/>
                <a:gd name="T5" fmla="*/ 117 h 225"/>
                <a:gd name="T6" fmla="*/ 178 w 230"/>
                <a:gd name="T7" fmla="*/ 117 h 225"/>
                <a:gd name="T8" fmla="*/ 176 w 230"/>
                <a:gd name="T9" fmla="*/ 123 h 225"/>
                <a:gd name="T10" fmla="*/ 174 w 230"/>
                <a:gd name="T11" fmla="*/ 125 h 225"/>
                <a:gd name="T12" fmla="*/ 171 w 230"/>
                <a:gd name="T13" fmla="*/ 128 h 225"/>
                <a:gd name="T14" fmla="*/ 167 w 230"/>
                <a:gd name="T15" fmla="*/ 128 h 225"/>
                <a:gd name="T16" fmla="*/ 50 w 230"/>
                <a:gd name="T17" fmla="*/ 128 h 225"/>
                <a:gd name="T18" fmla="*/ 0 w 230"/>
                <a:gd name="T19" fmla="*/ 171 h 225"/>
                <a:gd name="T20" fmla="*/ 107 w 230"/>
                <a:gd name="T21" fmla="*/ 171 h 225"/>
                <a:gd name="T22" fmla="*/ 179 w 230"/>
                <a:gd name="T23" fmla="*/ 223 h 225"/>
                <a:gd name="T24" fmla="*/ 179 w 230"/>
                <a:gd name="T25" fmla="*/ 223 h 225"/>
                <a:gd name="T26" fmla="*/ 183 w 230"/>
                <a:gd name="T27" fmla="*/ 225 h 225"/>
                <a:gd name="T28" fmla="*/ 183 w 230"/>
                <a:gd name="T29" fmla="*/ 225 h 225"/>
                <a:gd name="T30" fmla="*/ 184 w 230"/>
                <a:gd name="T31" fmla="*/ 225 h 225"/>
                <a:gd name="T32" fmla="*/ 184 w 230"/>
                <a:gd name="T33" fmla="*/ 225 h 225"/>
                <a:gd name="T34" fmla="*/ 187 w 230"/>
                <a:gd name="T35" fmla="*/ 222 h 225"/>
                <a:gd name="T36" fmla="*/ 187 w 230"/>
                <a:gd name="T37" fmla="*/ 219 h 225"/>
                <a:gd name="T38" fmla="*/ 187 w 230"/>
                <a:gd name="T39" fmla="*/ 171 h 225"/>
                <a:gd name="T40" fmla="*/ 219 w 230"/>
                <a:gd name="T41" fmla="*/ 171 h 225"/>
                <a:gd name="T42" fmla="*/ 219 w 230"/>
                <a:gd name="T43" fmla="*/ 171 h 225"/>
                <a:gd name="T44" fmla="*/ 223 w 230"/>
                <a:gd name="T45" fmla="*/ 171 h 225"/>
                <a:gd name="T46" fmla="*/ 227 w 230"/>
                <a:gd name="T47" fmla="*/ 168 h 225"/>
                <a:gd name="T48" fmla="*/ 230 w 230"/>
                <a:gd name="T49" fmla="*/ 164 h 225"/>
                <a:gd name="T50" fmla="*/ 230 w 230"/>
                <a:gd name="T51" fmla="*/ 160 h 225"/>
                <a:gd name="T52" fmla="*/ 230 w 230"/>
                <a:gd name="T53" fmla="*/ 11 h 225"/>
                <a:gd name="T54" fmla="*/ 230 w 230"/>
                <a:gd name="T55" fmla="*/ 11 h 225"/>
                <a:gd name="T56" fmla="*/ 230 w 230"/>
                <a:gd name="T57" fmla="*/ 7 h 225"/>
                <a:gd name="T58" fmla="*/ 227 w 230"/>
                <a:gd name="T59" fmla="*/ 3 h 225"/>
                <a:gd name="T60" fmla="*/ 223 w 230"/>
                <a:gd name="T61" fmla="*/ 2 h 225"/>
                <a:gd name="T62" fmla="*/ 219 w 230"/>
                <a:gd name="T63" fmla="*/ 0 h 225"/>
                <a:gd name="T64" fmla="*/ 219 w 230"/>
                <a:gd name="T65"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0" h="225">
                  <a:moveTo>
                    <a:pt x="219" y="0"/>
                  </a:moveTo>
                  <a:lnTo>
                    <a:pt x="178" y="0"/>
                  </a:lnTo>
                  <a:lnTo>
                    <a:pt x="178" y="117"/>
                  </a:lnTo>
                  <a:lnTo>
                    <a:pt x="178" y="117"/>
                  </a:lnTo>
                  <a:lnTo>
                    <a:pt x="176" y="123"/>
                  </a:lnTo>
                  <a:lnTo>
                    <a:pt x="174" y="125"/>
                  </a:lnTo>
                  <a:lnTo>
                    <a:pt x="171" y="128"/>
                  </a:lnTo>
                  <a:lnTo>
                    <a:pt x="167" y="128"/>
                  </a:lnTo>
                  <a:lnTo>
                    <a:pt x="50" y="128"/>
                  </a:lnTo>
                  <a:lnTo>
                    <a:pt x="0" y="171"/>
                  </a:lnTo>
                  <a:lnTo>
                    <a:pt x="107" y="171"/>
                  </a:lnTo>
                  <a:lnTo>
                    <a:pt x="179" y="223"/>
                  </a:lnTo>
                  <a:lnTo>
                    <a:pt x="179" y="223"/>
                  </a:lnTo>
                  <a:lnTo>
                    <a:pt x="183" y="225"/>
                  </a:lnTo>
                  <a:lnTo>
                    <a:pt x="183" y="225"/>
                  </a:lnTo>
                  <a:lnTo>
                    <a:pt x="184" y="225"/>
                  </a:lnTo>
                  <a:lnTo>
                    <a:pt x="184" y="225"/>
                  </a:lnTo>
                  <a:lnTo>
                    <a:pt x="187" y="222"/>
                  </a:lnTo>
                  <a:lnTo>
                    <a:pt x="187" y="219"/>
                  </a:lnTo>
                  <a:lnTo>
                    <a:pt x="187" y="171"/>
                  </a:lnTo>
                  <a:lnTo>
                    <a:pt x="219" y="171"/>
                  </a:lnTo>
                  <a:lnTo>
                    <a:pt x="219" y="171"/>
                  </a:lnTo>
                  <a:lnTo>
                    <a:pt x="223" y="171"/>
                  </a:lnTo>
                  <a:lnTo>
                    <a:pt x="227" y="168"/>
                  </a:lnTo>
                  <a:lnTo>
                    <a:pt x="230" y="164"/>
                  </a:lnTo>
                  <a:lnTo>
                    <a:pt x="230" y="160"/>
                  </a:lnTo>
                  <a:lnTo>
                    <a:pt x="230" y="11"/>
                  </a:lnTo>
                  <a:lnTo>
                    <a:pt x="230" y="11"/>
                  </a:lnTo>
                  <a:lnTo>
                    <a:pt x="230" y="7"/>
                  </a:lnTo>
                  <a:lnTo>
                    <a:pt x="227" y="3"/>
                  </a:lnTo>
                  <a:lnTo>
                    <a:pt x="223" y="2"/>
                  </a:lnTo>
                  <a:lnTo>
                    <a:pt x="219" y="0"/>
                  </a:lnTo>
                  <a:lnTo>
                    <a:pt x="21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28" name="Freeform 280">
              <a:extLst>
                <a:ext uri="{FF2B5EF4-FFF2-40B4-BE49-F238E27FC236}">
                  <a16:creationId xmlns:a16="http://schemas.microsoft.com/office/drawing/2014/main" id="{39AA5267-346C-4A90-9A50-979EBB6C1D3E}"/>
                </a:ext>
              </a:extLst>
            </p:cNvPr>
            <p:cNvSpPr>
              <a:spLocks/>
            </p:cNvSpPr>
            <p:nvPr/>
          </p:nvSpPr>
          <p:spPr bwMode="auto">
            <a:xfrm>
              <a:off x="9483726" y="5160010"/>
              <a:ext cx="211138" cy="212725"/>
            </a:xfrm>
            <a:custGeom>
              <a:avLst/>
              <a:gdLst>
                <a:gd name="T0" fmla="*/ 257 w 268"/>
                <a:gd name="T1" fmla="*/ 192 h 267"/>
                <a:gd name="T2" fmla="*/ 257 w 268"/>
                <a:gd name="T3" fmla="*/ 192 h 267"/>
                <a:gd name="T4" fmla="*/ 261 w 268"/>
                <a:gd name="T5" fmla="*/ 191 h 267"/>
                <a:gd name="T6" fmla="*/ 264 w 268"/>
                <a:gd name="T7" fmla="*/ 189 h 267"/>
                <a:gd name="T8" fmla="*/ 266 w 268"/>
                <a:gd name="T9" fmla="*/ 185 h 267"/>
                <a:gd name="T10" fmla="*/ 268 w 268"/>
                <a:gd name="T11" fmla="*/ 181 h 267"/>
                <a:gd name="T12" fmla="*/ 268 w 268"/>
                <a:gd name="T13" fmla="*/ 10 h 267"/>
                <a:gd name="T14" fmla="*/ 268 w 268"/>
                <a:gd name="T15" fmla="*/ 10 h 267"/>
                <a:gd name="T16" fmla="*/ 266 w 268"/>
                <a:gd name="T17" fmla="*/ 6 h 267"/>
                <a:gd name="T18" fmla="*/ 264 w 268"/>
                <a:gd name="T19" fmla="*/ 2 h 267"/>
                <a:gd name="T20" fmla="*/ 261 w 268"/>
                <a:gd name="T21" fmla="*/ 1 h 267"/>
                <a:gd name="T22" fmla="*/ 257 w 268"/>
                <a:gd name="T23" fmla="*/ 0 h 267"/>
                <a:gd name="T24" fmla="*/ 11 w 268"/>
                <a:gd name="T25" fmla="*/ 0 h 267"/>
                <a:gd name="T26" fmla="*/ 11 w 268"/>
                <a:gd name="T27" fmla="*/ 0 h 267"/>
                <a:gd name="T28" fmla="*/ 7 w 268"/>
                <a:gd name="T29" fmla="*/ 1 h 267"/>
                <a:gd name="T30" fmla="*/ 3 w 268"/>
                <a:gd name="T31" fmla="*/ 2 h 267"/>
                <a:gd name="T32" fmla="*/ 1 w 268"/>
                <a:gd name="T33" fmla="*/ 6 h 267"/>
                <a:gd name="T34" fmla="*/ 0 w 268"/>
                <a:gd name="T35" fmla="*/ 10 h 267"/>
                <a:gd name="T36" fmla="*/ 0 w 268"/>
                <a:gd name="T37" fmla="*/ 181 h 267"/>
                <a:gd name="T38" fmla="*/ 0 w 268"/>
                <a:gd name="T39" fmla="*/ 181 h 267"/>
                <a:gd name="T40" fmla="*/ 1 w 268"/>
                <a:gd name="T41" fmla="*/ 185 h 267"/>
                <a:gd name="T42" fmla="*/ 3 w 268"/>
                <a:gd name="T43" fmla="*/ 189 h 267"/>
                <a:gd name="T44" fmla="*/ 7 w 268"/>
                <a:gd name="T45" fmla="*/ 191 h 267"/>
                <a:gd name="T46" fmla="*/ 11 w 268"/>
                <a:gd name="T47" fmla="*/ 192 h 267"/>
                <a:gd name="T48" fmla="*/ 54 w 268"/>
                <a:gd name="T49" fmla="*/ 192 h 267"/>
                <a:gd name="T50" fmla="*/ 54 w 268"/>
                <a:gd name="T51" fmla="*/ 262 h 267"/>
                <a:gd name="T52" fmla="*/ 54 w 268"/>
                <a:gd name="T53" fmla="*/ 262 h 267"/>
                <a:gd name="T54" fmla="*/ 54 w 268"/>
                <a:gd name="T55" fmla="*/ 264 h 267"/>
                <a:gd name="T56" fmla="*/ 57 w 268"/>
                <a:gd name="T57" fmla="*/ 266 h 267"/>
                <a:gd name="T58" fmla="*/ 57 w 268"/>
                <a:gd name="T59" fmla="*/ 266 h 267"/>
                <a:gd name="T60" fmla="*/ 59 w 268"/>
                <a:gd name="T61" fmla="*/ 267 h 267"/>
                <a:gd name="T62" fmla="*/ 59 w 268"/>
                <a:gd name="T63" fmla="*/ 267 h 267"/>
                <a:gd name="T64" fmla="*/ 62 w 268"/>
                <a:gd name="T65" fmla="*/ 266 h 267"/>
                <a:gd name="T66" fmla="*/ 147 w 268"/>
                <a:gd name="T67" fmla="*/ 192 h 267"/>
                <a:gd name="T68" fmla="*/ 257 w 268"/>
                <a:gd name="T69" fmla="*/ 19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8" h="267">
                  <a:moveTo>
                    <a:pt x="257" y="192"/>
                  </a:moveTo>
                  <a:lnTo>
                    <a:pt x="257" y="192"/>
                  </a:lnTo>
                  <a:lnTo>
                    <a:pt x="261" y="191"/>
                  </a:lnTo>
                  <a:lnTo>
                    <a:pt x="264" y="189"/>
                  </a:lnTo>
                  <a:lnTo>
                    <a:pt x="266" y="185"/>
                  </a:lnTo>
                  <a:lnTo>
                    <a:pt x="268" y="181"/>
                  </a:lnTo>
                  <a:lnTo>
                    <a:pt x="268" y="10"/>
                  </a:lnTo>
                  <a:lnTo>
                    <a:pt x="268" y="10"/>
                  </a:lnTo>
                  <a:lnTo>
                    <a:pt x="266" y="6"/>
                  </a:lnTo>
                  <a:lnTo>
                    <a:pt x="264" y="2"/>
                  </a:lnTo>
                  <a:lnTo>
                    <a:pt x="261" y="1"/>
                  </a:lnTo>
                  <a:lnTo>
                    <a:pt x="257" y="0"/>
                  </a:lnTo>
                  <a:lnTo>
                    <a:pt x="11" y="0"/>
                  </a:lnTo>
                  <a:lnTo>
                    <a:pt x="11" y="0"/>
                  </a:lnTo>
                  <a:lnTo>
                    <a:pt x="7" y="1"/>
                  </a:lnTo>
                  <a:lnTo>
                    <a:pt x="3" y="2"/>
                  </a:lnTo>
                  <a:lnTo>
                    <a:pt x="1" y="6"/>
                  </a:lnTo>
                  <a:lnTo>
                    <a:pt x="0" y="10"/>
                  </a:lnTo>
                  <a:lnTo>
                    <a:pt x="0" y="181"/>
                  </a:lnTo>
                  <a:lnTo>
                    <a:pt x="0" y="181"/>
                  </a:lnTo>
                  <a:lnTo>
                    <a:pt x="1" y="185"/>
                  </a:lnTo>
                  <a:lnTo>
                    <a:pt x="3" y="189"/>
                  </a:lnTo>
                  <a:lnTo>
                    <a:pt x="7" y="191"/>
                  </a:lnTo>
                  <a:lnTo>
                    <a:pt x="11" y="192"/>
                  </a:lnTo>
                  <a:lnTo>
                    <a:pt x="54" y="192"/>
                  </a:lnTo>
                  <a:lnTo>
                    <a:pt x="54" y="262"/>
                  </a:lnTo>
                  <a:lnTo>
                    <a:pt x="54" y="262"/>
                  </a:lnTo>
                  <a:lnTo>
                    <a:pt x="54" y="264"/>
                  </a:lnTo>
                  <a:lnTo>
                    <a:pt x="57" y="266"/>
                  </a:lnTo>
                  <a:lnTo>
                    <a:pt x="57" y="266"/>
                  </a:lnTo>
                  <a:lnTo>
                    <a:pt x="59" y="267"/>
                  </a:lnTo>
                  <a:lnTo>
                    <a:pt x="59" y="267"/>
                  </a:lnTo>
                  <a:lnTo>
                    <a:pt x="62" y="266"/>
                  </a:lnTo>
                  <a:lnTo>
                    <a:pt x="147" y="192"/>
                  </a:lnTo>
                  <a:lnTo>
                    <a:pt x="257" y="19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29" name="Group 228">
            <a:extLst>
              <a:ext uri="{FF2B5EF4-FFF2-40B4-BE49-F238E27FC236}">
                <a16:creationId xmlns:a16="http://schemas.microsoft.com/office/drawing/2014/main" id="{C45AB4FB-4672-480B-AD6A-56CFF36F3CE4}"/>
              </a:ext>
            </a:extLst>
          </p:cNvPr>
          <p:cNvGrpSpPr/>
          <p:nvPr/>
        </p:nvGrpSpPr>
        <p:grpSpPr>
          <a:xfrm>
            <a:off x="9277484" y="3229873"/>
            <a:ext cx="320040" cy="320040"/>
            <a:chOff x="9277484" y="3229873"/>
            <a:chExt cx="320040" cy="320040"/>
          </a:xfrm>
        </p:grpSpPr>
        <p:sp>
          <p:nvSpPr>
            <p:cNvPr id="230" name="Freeform 476">
              <a:extLst>
                <a:ext uri="{FF2B5EF4-FFF2-40B4-BE49-F238E27FC236}">
                  <a16:creationId xmlns:a16="http://schemas.microsoft.com/office/drawing/2014/main" id="{19BE46A2-026F-4CA2-8597-50412708DD24}"/>
                </a:ext>
              </a:extLst>
            </p:cNvPr>
            <p:cNvSpPr>
              <a:spLocks noEditPoints="1"/>
            </p:cNvSpPr>
            <p:nvPr/>
          </p:nvSpPr>
          <p:spPr bwMode="auto">
            <a:xfrm>
              <a:off x="9277484" y="3229873"/>
              <a:ext cx="320040" cy="320040"/>
            </a:xfrm>
            <a:custGeom>
              <a:avLst/>
              <a:gdLst>
                <a:gd name="T0" fmla="*/ 312 w 658"/>
                <a:gd name="T1" fmla="*/ 658 h 658"/>
                <a:gd name="T2" fmla="*/ 262 w 658"/>
                <a:gd name="T3" fmla="*/ 651 h 658"/>
                <a:gd name="T4" fmla="*/ 201 w 658"/>
                <a:gd name="T5" fmla="*/ 633 h 658"/>
                <a:gd name="T6" fmla="*/ 120 w 658"/>
                <a:gd name="T7" fmla="*/ 583 h 658"/>
                <a:gd name="T8" fmla="*/ 56 w 658"/>
                <a:gd name="T9" fmla="*/ 513 h 658"/>
                <a:gd name="T10" fmla="*/ 15 w 658"/>
                <a:gd name="T11" fmla="*/ 427 h 658"/>
                <a:gd name="T12" fmla="*/ 4 w 658"/>
                <a:gd name="T13" fmla="*/ 379 h 658"/>
                <a:gd name="T14" fmla="*/ 0 w 658"/>
                <a:gd name="T15" fmla="*/ 329 h 658"/>
                <a:gd name="T16" fmla="*/ 1 w 658"/>
                <a:gd name="T17" fmla="*/ 295 h 658"/>
                <a:gd name="T18" fmla="*/ 11 w 658"/>
                <a:gd name="T19" fmla="*/ 247 h 658"/>
                <a:gd name="T20" fmla="*/ 40 w 658"/>
                <a:gd name="T21" fmla="*/ 173 h 658"/>
                <a:gd name="T22" fmla="*/ 97 w 658"/>
                <a:gd name="T23" fmla="*/ 97 h 658"/>
                <a:gd name="T24" fmla="*/ 172 w 658"/>
                <a:gd name="T25" fmla="*/ 40 h 658"/>
                <a:gd name="T26" fmla="*/ 247 w 658"/>
                <a:gd name="T27" fmla="*/ 11 h 658"/>
                <a:gd name="T28" fmla="*/ 295 w 658"/>
                <a:gd name="T29" fmla="*/ 3 h 658"/>
                <a:gd name="T30" fmla="*/ 329 w 658"/>
                <a:gd name="T31" fmla="*/ 0 h 658"/>
                <a:gd name="T32" fmla="*/ 379 w 658"/>
                <a:gd name="T33" fmla="*/ 4 h 658"/>
                <a:gd name="T34" fmla="*/ 426 w 658"/>
                <a:gd name="T35" fmla="*/ 15 h 658"/>
                <a:gd name="T36" fmla="*/ 513 w 658"/>
                <a:gd name="T37" fmla="*/ 56 h 658"/>
                <a:gd name="T38" fmla="*/ 583 w 658"/>
                <a:gd name="T39" fmla="*/ 121 h 658"/>
                <a:gd name="T40" fmla="*/ 631 w 658"/>
                <a:gd name="T41" fmla="*/ 201 h 658"/>
                <a:gd name="T42" fmla="*/ 651 w 658"/>
                <a:gd name="T43" fmla="*/ 263 h 658"/>
                <a:gd name="T44" fmla="*/ 657 w 658"/>
                <a:gd name="T45" fmla="*/ 313 h 658"/>
                <a:gd name="T46" fmla="*/ 657 w 658"/>
                <a:gd name="T47" fmla="*/ 347 h 658"/>
                <a:gd name="T48" fmla="*/ 651 w 658"/>
                <a:gd name="T49" fmla="*/ 395 h 658"/>
                <a:gd name="T50" fmla="*/ 631 w 658"/>
                <a:gd name="T51" fmla="*/ 457 h 658"/>
                <a:gd name="T52" fmla="*/ 583 w 658"/>
                <a:gd name="T53" fmla="*/ 539 h 658"/>
                <a:gd name="T54" fmla="*/ 513 w 658"/>
                <a:gd name="T55" fmla="*/ 602 h 658"/>
                <a:gd name="T56" fmla="*/ 426 w 658"/>
                <a:gd name="T57" fmla="*/ 643 h 658"/>
                <a:gd name="T58" fmla="*/ 379 w 658"/>
                <a:gd name="T59" fmla="*/ 654 h 658"/>
                <a:gd name="T60" fmla="*/ 329 w 658"/>
                <a:gd name="T61" fmla="*/ 658 h 658"/>
                <a:gd name="T62" fmla="*/ 329 w 658"/>
                <a:gd name="T63" fmla="*/ 38 h 658"/>
                <a:gd name="T64" fmla="*/ 242 w 658"/>
                <a:gd name="T65" fmla="*/ 51 h 658"/>
                <a:gd name="T66" fmla="*/ 167 w 658"/>
                <a:gd name="T67" fmla="*/ 87 h 658"/>
                <a:gd name="T68" fmla="*/ 105 w 658"/>
                <a:gd name="T69" fmla="*/ 144 h 658"/>
                <a:gd name="T70" fmla="*/ 60 w 658"/>
                <a:gd name="T71" fmla="*/ 216 h 658"/>
                <a:gd name="T72" fmla="*/ 39 w 658"/>
                <a:gd name="T73" fmla="*/ 299 h 658"/>
                <a:gd name="T74" fmla="*/ 39 w 658"/>
                <a:gd name="T75" fmla="*/ 359 h 658"/>
                <a:gd name="T76" fmla="*/ 60 w 658"/>
                <a:gd name="T77" fmla="*/ 442 h 658"/>
                <a:gd name="T78" fmla="*/ 105 w 658"/>
                <a:gd name="T79" fmla="*/ 514 h 658"/>
                <a:gd name="T80" fmla="*/ 167 w 658"/>
                <a:gd name="T81" fmla="*/ 571 h 658"/>
                <a:gd name="T82" fmla="*/ 242 w 658"/>
                <a:gd name="T83" fmla="*/ 607 h 658"/>
                <a:gd name="T84" fmla="*/ 329 w 658"/>
                <a:gd name="T85" fmla="*/ 620 h 658"/>
                <a:gd name="T86" fmla="*/ 387 w 658"/>
                <a:gd name="T87" fmla="*/ 614 h 658"/>
                <a:gd name="T88" fmla="*/ 467 w 658"/>
                <a:gd name="T89" fmla="*/ 586 h 658"/>
                <a:gd name="T90" fmla="*/ 535 w 658"/>
                <a:gd name="T91" fmla="*/ 535 h 658"/>
                <a:gd name="T92" fmla="*/ 584 w 658"/>
                <a:gd name="T93" fmla="*/ 467 h 658"/>
                <a:gd name="T94" fmla="*/ 614 w 658"/>
                <a:gd name="T95" fmla="*/ 388 h 658"/>
                <a:gd name="T96" fmla="*/ 621 w 658"/>
                <a:gd name="T97" fmla="*/ 329 h 658"/>
                <a:gd name="T98" fmla="*/ 607 w 658"/>
                <a:gd name="T99" fmla="*/ 243 h 658"/>
                <a:gd name="T100" fmla="*/ 569 w 658"/>
                <a:gd name="T101" fmla="*/ 167 h 658"/>
                <a:gd name="T102" fmla="*/ 514 w 658"/>
                <a:gd name="T103" fmla="*/ 105 h 658"/>
                <a:gd name="T104" fmla="*/ 442 w 658"/>
                <a:gd name="T105" fmla="*/ 60 h 658"/>
                <a:gd name="T106" fmla="*/ 359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2" y="658"/>
                  </a:lnTo>
                  <a:lnTo>
                    <a:pt x="295" y="657"/>
                  </a:lnTo>
                  <a:lnTo>
                    <a:pt x="279" y="654"/>
                  </a:lnTo>
                  <a:lnTo>
                    <a:pt x="262" y="651"/>
                  </a:lnTo>
                  <a:lnTo>
                    <a:pt x="247" y="647"/>
                  </a:lnTo>
                  <a:lnTo>
                    <a:pt x="231" y="643"/>
                  </a:lnTo>
                  <a:lnTo>
                    <a:pt x="201" y="633"/>
                  </a:lnTo>
                  <a:lnTo>
                    <a:pt x="172" y="618"/>
                  </a:lnTo>
                  <a:lnTo>
                    <a:pt x="145" y="602"/>
                  </a:lnTo>
                  <a:lnTo>
                    <a:pt x="120" y="583"/>
                  </a:lnTo>
                  <a:lnTo>
                    <a:pt x="97" y="561"/>
                  </a:lnTo>
                  <a:lnTo>
                    <a:pt x="75" y="539"/>
                  </a:lnTo>
                  <a:lnTo>
                    <a:pt x="56" y="513"/>
                  </a:lnTo>
                  <a:lnTo>
                    <a:pt x="40" y="486"/>
                  </a:lnTo>
                  <a:lnTo>
                    <a:pt x="26" y="457"/>
                  </a:lnTo>
                  <a:lnTo>
                    <a:pt x="15" y="427"/>
                  </a:lnTo>
                  <a:lnTo>
                    <a:pt x="11" y="411"/>
                  </a:lnTo>
                  <a:lnTo>
                    <a:pt x="7" y="395"/>
                  </a:lnTo>
                  <a:lnTo>
                    <a:pt x="4" y="379"/>
                  </a:lnTo>
                  <a:lnTo>
                    <a:pt x="1" y="363"/>
                  </a:lnTo>
                  <a:lnTo>
                    <a:pt x="0" y="347"/>
                  </a:lnTo>
                  <a:lnTo>
                    <a:pt x="0" y="329"/>
                  </a:lnTo>
                  <a:lnTo>
                    <a:pt x="0" y="329"/>
                  </a:lnTo>
                  <a:lnTo>
                    <a:pt x="0" y="313"/>
                  </a:lnTo>
                  <a:lnTo>
                    <a:pt x="1" y="295"/>
                  </a:lnTo>
                  <a:lnTo>
                    <a:pt x="4" y="279"/>
                  </a:lnTo>
                  <a:lnTo>
                    <a:pt x="7" y="263"/>
                  </a:lnTo>
                  <a:lnTo>
                    <a:pt x="11" y="247"/>
                  </a:lnTo>
                  <a:lnTo>
                    <a:pt x="15" y="231"/>
                  </a:lnTo>
                  <a:lnTo>
                    <a:pt x="26" y="201"/>
                  </a:lnTo>
                  <a:lnTo>
                    <a:pt x="40" y="173"/>
                  </a:lnTo>
                  <a:lnTo>
                    <a:pt x="56" y="145"/>
                  </a:lnTo>
                  <a:lnTo>
                    <a:pt x="75" y="121"/>
                  </a:lnTo>
                  <a:lnTo>
                    <a:pt x="97" y="97"/>
                  </a:lnTo>
                  <a:lnTo>
                    <a:pt x="120" y="75"/>
                  </a:lnTo>
                  <a:lnTo>
                    <a:pt x="145" y="56"/>
                  </a:lnTo>
                  <a:lnTo>
                    <a:pt x="172" y="40"/>
                  </a:lnTo>
                  <a:lnTo>
                    <a:pt x="201" y="27"/>
                  </a:lnTo>
                  <a:lnTo>
                    <a:pt x="231" y="15"/>
                  </a:lnTo>
                  <a:lnTo>
                    <a:pt x="247" y="11"/>
                  </a:lnTo>
                  <a:lnTo>
                    <a:pt x="262" y="7"/>
                  </a:lnTo>
                  <a:lnTo>
                    <a:pt x="279" y="4"/>
                  </a:lnTo>
                  <a:lnTo>
                    <a:pt x="295" y="3"/>
                  </a:lnTo>
                  <a:lnTo>
                    <a:pt x="312" y="1"/>
                  </a:lnTo>
                  <a:lnTo>
                    <a:pt x="329" y="0"/>
                  </a:lnTo>
                  <a:lnTo>
                    <a:pt x="329" y="0"/>
                  </a:lnTo>
                  <a:lnTo>
                    <a:pt x="345" y="1"/>
                  </a:lnTo>
                  <a:lnTo>
                    <a:pt x="363" y="3"/>
                  </a:lnTo>
                  <a:lnTo>
                    <a:pt x="379" y="4"/>
                  </a:lnTo>
                  <a:lnTo>
                    <a:pt x="395" y="7"/>
                  </a:lnTo>
                  <a:lnTo>
                    <a:pt x="411" y="11"/>
                  </a:lnTo>
                  <a:lnTo>
                    <a:pt x="426" y="15"/>
                  </a:lnTo>
                  <a:lnTo>
                    <a:pt x="457" y="27"/>
                  </a:lnTo>
                  <a:lnTo>
                    <a:pt x="485" y="40"/>
                  </a:lnTo>
                  <a:lnTo>
                    <a:pt x="513" y="56"/>
                  </a:lnTo>
                  <a:lnTo>
                    <a:pt x="537" y="75"/>
                  </a:lnTo>
                  <a:lnTo>
                    <a:pt x="561" y="97"/>
                  </a:lnTo>
                  <a:lnTo>
                    <a:pt x="583" y="121"/>
                  </a:lnTo>
                  <a:lnTo>
                    <a:pt x="602" y="145"/>
                  </a:lnTo>
                  <a:lnTo>
                    <a:pt x="618" y="173"/>
                  </a:lnTo>
                  <a:lnTo>
                    <a:pt x="631" y="201"/>
                  </a:lnTo>
                  <a:lnTo>
                    <a:pt x="643" y="231"/>
                  </a:lnTo>
                  <a:lnTo>
                    <a:pt x="647" y="247"/>
                  </a:lnTo>
                  <a:lnTo>
                    <a:pt x="651" y="263"/>
                  </a:lnTo>
                  <a:lnTo>
                    <a:pt x="654" y="279"/>
                  </a:lnTo>
                  <a:lnTo>
                    <a:pt x="655" y="295"/>
                  </a:lnTo>
                  <a:lnTo>
                    <a:pt x="657" y="313"/>
                  </a:lnTo>
                  <a:lnTo>
                    <a:pt x="658" y="329"/>
                  </a:lnTo>
                  <a:lnTo>
                    <a:pt x="658" y="329"/>
                  </a:lnTo>
                  <a:lnTo>
                    <a:pt x="657" y="347"/>
                  </a:lnTo>
                  <a:lnTo>
                    <a:pt x="655" y="363"/>
                  </a:lnTo>
                  <a:lnTo>
                    <a:pt x="654" y="379"/>
                  </a:lnTo>
                  <a:lnTo>
                    <a:pt x="651" y="395"/>
                  </a:lnTo>
                  <a:lnTo>
                    <a:pt x="647" y="411"/>
                  </a:lnTo>
                  <a:lnTo>
                    <a:pt x="643" y="427"/>
                  </a:lnTo>
                  <a:lnTo>
                    <a:pt x="631" y="457"/>
                  </a:lnTo>
                  <a:lnTo>
                    <a:pt x="618" y="486"/>
                  </a:lnTo>
                  <a:lnTo>
                    <a:pt x="602" y="513"/>
                  </a:lnTo>
                  <a:lnTo>
                    <a:pt x="583" y="539"/>
                  </a:lnTo>
                  <a:lnTo>
                    <a:pt x="561" y="561"/>
                  </a:lnTo>
                  <a:lnTo>
                    <a:pt x="537" y="583"/>
                  </a:lnTo>
                  <a:lnTo>
                    <a:pt x="513" y="602"/>
                  </a:lnTo>
                  <a:lnTo>
                    <a:pt x="485" y="618"/>
                  </a:lnTo>
                  <a:lnTo>
                    <a:pt x="457" y="633"/>
                  </a:lnTo>
                  <a:lnTo>
                    <a:pt x="426" y="643"/>
                  </a:lnTo>
                  <a:lnTo>
                    <a:pt x="411" y="647"/>
                  </a:lnTo>
                  <a:lnTo>
                    <a:pt x="395" y="651"/>
                  </a:lnTo>
                  <a:lnTo>
                    <a:pt x="379" y="654"/>
                  </a:lnTo>
                  <a:lnTo>
                    <a:pt x="363" y="657"/>
                  </a:lnTo>
                  <a:lnTo>
                    <a:pt x="345" y="658"/>
                  </a:lnTo>
                  <a:lnTo>
                    <a:pt x="329" y="658"/>
                  </a:lnTo>
                  <a:lnTo>
                    <a:pt x="329" y="658"/>
                  </a:lnTo>
                  <a:close/>
                  <a:moveTo>
                    <a:pt x="329" y="38"/>
                  </a:moveTo>
                  <a:lnTo>
                    <a:pt x="329" y="38"/>
                  </a:lnTo>
                  <a:lnTo>
                    <a:pt x="300" y="40"/>
                  </a:lnTo>
                  <a:lnTo>
                    <a:pt x="270" y="44"/>
                  </a:lnTo>
                  <a:lnTo>
                    <a:pt x="242" y="51"/>
                  </a:lnTo>
                  <a:lnTo>
                    <a:pt x="215" y="60"/>
                  </a:lnTo>
                  <a:lnTo>
                    <a:pt x="191" y="74"/>
                  </a:lnTo>
                  <a:lnTo>
                    <a:pt x="167" y="87"/>
                  </a:lnTo>
                  <a:lnTo>
                    <a:pt x="144" y="105"/>
                  </a:lnTo>
                  <a:lnTo>
                    <a:pt x="124" y="124"/>
                  </a:lnTo>
                  <a:lnTo>
                    <a:pt x="105" y="144"/>
                  </a:lnTo>
                  <a:lnTo>
                    <a:pt x="87" y="167"/>
                  </a:lnTo>
                  <a:lnTo>
                    <a:pt x="73" y="191"/>
                  </a:lnTo>
                  <a:lnTo>
                    <a:pt x="60" y="216"/>
                  </a:lnTo>
                  <a:lnTo>
                    <a:pt x="51" y="243"/>
                  </a:lnTo>
                  <a:lnTo>
                    <a:pt x="43" y="271"/>
                  </a:lnTo>
                  <a:lnTo>
                    <a:pt x="39" y="299"/>
                  </a:lnTo>
                  <a:lnTo>
                    <a:pt x="38" y="329"/>
                  </a:lnTo>
                  <a:lnTo>
                    <a:pt x="38" y="329"/>
                  </a:lnTo>
                  <a:lnTo>
                    <a:pt x="39" y="359"/>
                  </a:lnTo>
                  <a:lnTo>
                    <a:pt x="43" y="388"/>
                  </a:lnTo>
                  <a:lnTo>
                    <a:pt x="51" y="416"/>
                  </a:lnTo>
                  <a:lnTo>
                    <a:pt x="60" y="442"/>
                  </a:lnTo>
                  <a:lnTo>
                    <a:pt x="73" y="467"/>
                  </a:lnTo>
                  <a:lnTo>
                    <a:pt x="87" y="492"/>
                  </a:lnTo>
                  <a:lnTo>
                    <a:pt x="105" y="514"/>
                  </a:lnTo>
                  <a:lnTo>
                    <a:pt x="124" y="535"/>
                  </a:lnTo>
                  <a:lnTo>
                    <a:pt x="144" y="553"/>
                  </a:lnTo>
                  <a:lnTo>
                    <a:pt x="167" y="571"/>
                  </a:lnTo>
                  <a:lnTo>
                    <a:pt x="191" y="586"/>
                  </a:lnTo>
                  <a:lnTo>
                    <a:pt x="215" y="598"/>
                  </a:lnTo>
                  <a:lnTo>
                    <a:pt x="242" y="607"/>
                  </a:lnTo>
                  <a:lnTo>
                    <a:pt x="270" y="614"/>
                  </a:lnTo>
                  <a:lnTo>
                    <a:pt x="300" y="619"/>
                  </a:lnTo>
                  <a:lnTo>
                    <a:pt x="329" y="620"/>
                  </a:lnTo>
                  <a:lnTo>
                    <a:pt x="329" y="620"/>
                  </a:lnTo>
                  <a:lnTo>
                    <a:pt x="359" y="619"/>
                  </a:lnTo>
                  <a:lnTo>
                    <a:pt x="387" y="614"/>
                  </a:lnTo>
                  <a:lnTo>
                    <a:pt x="415" y="607"/>
                  </a:lnTo>
                  <a:lnTo>
                    <a:pt x="442" y="598"/>
                  </a:lnTo>
                  <a:lnTo>
                    <a:pt x="467" y="586"/>
                  </a:lnTo>
                  <a:lnTo>
                    <a:pt x="492" y="571"/>
                  </a:lnTo>
                  <a:lnTo>
                    <a:pt x="514" y="553"/>
                  </a:lnTo>
                  <a:lnTo>
                    <a:pt x="535" y="535"/>
                  </a:lnTo>
                  <a:lnTo>
                    <a:pt x="553" y="514"/>
                  </a:lnTo>
                  <a:lnTo>
                    <a:pt x="569" y="492"/>
                  </a:lnTo>
                  <a:lnTo>
                    <a:pt x="584" y="467"/>
                  </a:lnTo>
                  <a:lnTo>
                    <a:pt x="596" y="442"/>
                  </a:lnTo>
                  <a:lnTo>
                    <a:pt x="607" y="416"/>
                  </a:lnTo>
                  <a:lnTo>
                    <a:pt x="614" y="388"/>
                  </a:lnTo>
                  <a:lnTo>
                    <a:pt x="618" y="359"/>
                  </a:lnTo>
                  <a:lnTo>
                    <a:pt x="621" y="329"/>
                  </a:lnTo>
                  <a:lnTo>
                    <a:pt x="621" y="329"/>
                  </a:lnTo>
                  <a:lnTo>
                    <a:pt x="618" y="299"/>
                  </a:lnTo>
                  <a:lnTo>
                    <a:pt x="614" y="271"/>
                  </a:lnTo>
                  <a:lnTo>
                    <a:pt x="607" y="243"/>
                  </a:lnTo>
                  <a:lnTo>
                    <a:pt x="596" y="216"/>
                  </a:lnTo>
                  <a:lnTo>
                    <a:pt x="584" y="191"/>
                  </a:lnTo>
                  <a:lnTo>
                    <a:pt x="569" y="167"/>
                  </a:lnTo>
                  <a:lnTo>
                    <a:pt x="553" y="144"/>
                  </a:lnTo>
                  <a:lnTo>
                    <a:pt x="535" y="124"/>
                  </a:lnTo>
                  <a:lnTo>
                    <a:pt x="514" y="105"/>
                  </a:lnTo>
                  <a:lnTo>
                    <a:pt x="492" y="87"/>
                  </a:lnTo>
                  <a:lnTo>
                    <a:pt x="467" y="74"/>
                  </a:lnTo>
                  <a:lnTo>
                    <a:pt x="442" y="60"/>
                  </a:lnTo>
                  <a:lnTo>
                    <a:pt x="415" y="51"/>
                  </a:lnTo>
                  <a:lnTo>
                    <a:pt x="387" y="44"/>
                  </a:lnTo>
                  <a:lnTo>
                    <a:pt x="359" y="40"/>
                  </a:lnTo>
                  <a:lnTo>
                    <a:pt x="329" y="38"/>
                  </a:lnTo>
                  <a:lnTo>
                    <a:pt x="329" y="3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31" name="Freeform 477">
              <a:extLst>
                <a:ext uri="{FF2B5EF4-FFF2-40B4-BE49-F238E27FC236}">
                  <a16:creationId xmlns:a16="http://schemas.microsoft.com/office/drawing/2014/main" id="{9A8D29B2-4497-41A6-9A24-88111F0FDC77}"/>
                </a:ext>
              </a:extLst>
            </p:cNvPr>
            <p:cNvSpPr>
              <a:spLocks/>
            </p:cNvSpPr>
            <p:nvPr/>
          </p:nvSpPr>
          <p:spPr bwMode="auto">
            <a:xfrm>
              <a:off x="9399080" y="3317422"/>
              <a:ext cx="76849" cy="148833"/>
            </a:xfrm>
            <a:custGeom>
              <a:avLst/>
              <a:gdLst>
                <a:gd name="T0" fmla="*/ 45 w 158"/>
                <a:gd name="T1" fmla="*/ 306 h 306"/>
                <a:gd name="T2" fmla="*/ 103 w 158"/>
                <a:gd name="T3" fmla="*/ 306 h 306"/>
                <a:gd name="T4" fmla="*/ 103 w 158"/>
                <a:gd name="T5" fmla="*/ 167 h 306"/>
                <a:gd name="T6" fmla="*/ 150 w 158"/>
                <a:gd name="T7" fmla="*/ 167 h 306"/>
                <a:gd name="T8" fmla="*/ 157 w 158"/>
                <a:gd name="T9" fmla="*/ 113 h 306"/>
                <a:gd name="T10" fmla="*/ 103 w 158"/>
                <a:gd name="T11" fmla="*/ 113 h 306"/>
                <a:gd name="T12" fmla="*/ 103 w 158"/>
                <a:gd name="T13" fmla="*/ 78 h 306"/>
                <a:gd name="T14" fmla="*/ 103 w 158"/>
                <a:gd name="T15" fmla="*/ 78 h 306"/>
                <a:gd name="T16" fmla="*/ 103 w 158"/>
                <a:gd name="T17" fmla="*/ 67 h 306"/>
                <a:gd name="T18" fmla="*/ 105 w 158"/>
                <a:gd name="T19" fmla="*/ 62 h 306"/>
                <a:gd name="T20" fmla="*/ 107 w 158"/>
                <a:gd name="T21" fmla="*/ 58 h 306"/>
                <a:gd name="T22" fmla="*/ 111 w 158"/>
                <a:gd name="T23" fmla="*/ 55 h 306"/>
                <a:gd name="T24" fmla="*/ 115 w 158"/>
                <a:gd name="T25" fmla="*/ 52 h 306"/>
                <a:gd name="T26" fmla="*/ 122 w 158"/>
                <a:gd name="T27" fmla="*/ 51 h 306"/>
                <a:gd name="T28" fmla="*/ 130 w 158"/>
                <a:gd name="T29" fmla="*/ 51 h 306"/>
                <a:gd name="T30" fmla="*/ 158 w 158"/>
                <a:gd name="T31" fmla="*/ 51 h 306"/>
                <a:gd name="T32" fmla="*/ 158 w 158"/>
                <a:gd name="T33" fmla="*/ 1 h 306"/>
                <a:gd name="T34" fmla="*/ 158 w 158"/>
                <a:gd name="T35" fmla="*/ 1 h 306"/>
                <a:gd name="T36" fmla="*/ 144 w 158"/>
                <a:gd name="T37" fmla="*/ 1 h 306"/>
                <a:gd name="T38" fmla="*/ 117 w 158"/>
                <a:gd name="T39" fmla="*/ 0 h 306"/>
                <a:gd name="T40" fmla="*/ 117 w 158"/>
                <a:gd name="T41" fmla="*/ 0 h 306"/>
                <a:gd name="T42" fmla="*/ 102 w 158"/>
                <a:gd name="T43" fmla="*/ 1 h 306"/>
                <a:gd name="T44" fmla="*/ 88 w 158"/>
                <a:gd name="T45" fmla="*/ 4 h 306"/>
                <a:gd name="T46" fmla="*/ 76 w 158"/>
                <a:gd name="T47" fmla="*/ 11 h 306"/>
                <a:gd name="T48" fmla="*/ 66 w 158"/>
                <a:gd name="T49" fmla="*/ 19 h 306"/>
                <a:gd name="T50" fmla="*/ 58 w 158"/>
                <a:gd name="T51" fmla="*/ 28 h 306"/>
                <a:gd name="T52" fmla="*/ 51 w 158"/>
                <a:gd name="T53" fmla="*/ 40 h 306"/>
                <a:gd name="T54" fmla="*/ 47 w 158"/>
                <a:gd name="T55" fmla="*/ 55 h 306"/>
                <a:gd name="T56" fmla="*/ 45 w 158"/>
                <a:gd name="T57" fmla="*/ 72 h 306"/>
                <a:gd name="T58" fmla="*/ 45 w 158"/>
                <a:gd name="T59" fmla="*/ 113 h 306"/>
                <a:gd name="T60" fmla="*/ 0 w 158"/>
                <a:gd name="T61" fmla="*/ 113 h 306"/>
                <a:gd name="T62" fmla="*/ 0 w 158"/>
                <a:gd name="T63" fmla="*/ 167 h 306"/>
                <a:gd name="T64" fmla="*/ 45 w 158"/>
                <a:gd name="T65" fmla="*/ 167 h 306"/>
                <a:gd name="T66" fmla="*/ 45 w 158"/>
                <a:gd name="T67" fmla="*/ 3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8" h="306">
                  <a:moveTo>
                    <a:pt x="45" y="306"/>
                  </a:moveTo>
                  <a:lnTo>
                    <a:pt x="103" y="306"/>
                  </a:lnTo>
                  <a:lnTo>
                    <a:pt x="103" y="167"/>
                  </a:lnTo>
                  <a:lnTo>
                    <a:pt x="150" y="167"/>
                  </a:lnTo>
                  <a:lnTo>
                    <a:pt x="157" y="113"/>
                  </a:lnTo>
                  <a:lnTo>
                    <a:pt x="103" y="113"/>
                  </a:lnTo>
                  <a:lnTo>
                    <a:pt x="103" y="78"/>
                  </a:lnTo>
                  <a:lnTo>
                    <a:pt x="103" y="78"/>
                  </a:lnTo>
                  <a:lnTo>
                    <a:pt x="103" y="67"/>
                  </a:lnTo>
                  <a:lnTo>
                    <a:pt x="105" y="62"/>
                  </a:lnTo>
                  <a:lnTo>
                    <a:pt x="107" y="58"/>
                  </a:lnTo>
                  <a:lnTo>
                    <a:pt x="111" y="55"/>
                  </a:lnTo>
                  <a:lnTo>
                    <a:pt x="115" y="52"/>
                  </a:lnTo>
                  <a:lnTo>
                    <a:pt x="122" y="51"/>
                  </a:lnTo>
                  <a:lnTo>
                    <a:pt x="130" y="51"/>
                  </a:lnTo>
                  <a:lnTo>
                    <a:pt x="158" y="51"/>
                  </a:lnTo>
                  <a:lnTo>
                    <a:pt x="158" y="1"/>
                  </a:lnTo>
                  <a:lnTo>
                    <a:pt x="158" y="1"/>
                  </a:lnTo>
                  <a:lnTo>
                    <a:pt x="144" y="1"/>
                  </a:lnTo>
                  <a:lnTo>
                    <a:pt x="117" y="0"/>
                  </a:lnTo>
                  <a:lnTo>
                    <a:pt x="117" y="0"/>
                  </a:lnTo>
                  <a:lnTo>
                    <a:pt x="102" y="1"/>
                  </a:lnTo>
                  <a:lnTo>
                    <a:pt x="88" y="4"/>
                  </a:lnTo>
                  <a:lnTo>
                    <a:pt x="76" y="11"/>
                  </a:lnTo>
                  <a:lnTo>
                    <a:pt x="66" y="19"/>
                  </a:lnTo>
                  <a:lnTo>
                    <a:pt x="58" y="28"/>
                  </a:lnTo>
                  <a:lnTo>
                    <a:pt x="51" y="40"/>
                  </a:lnTo>
                  <a:lnTo>
                    <a:pt x="47" y="55"/>
                  </a:lnTo>
                  <a:lnTo>
                    <a:pt x="45" y="72"/>
                  </a:lnTo>
                  <a:lnTo>
                    <a:pt x="45" y="113"/>
                  </a:lnTo>
                  <a:lnTo>
                    <a:pt x="0" y="113"/>
                  </a:lnTo>
                  <a:lnTo>
                    <a:pt x="0" y="167"/>
                  </a:lnTo>
                  <a:lnTo>
                    <a:pt x="45" y="167"/>
                  </a:lnTo>
                  <a:lnTo>
                    <a:pt x="45" y="30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32" name="Group 231">
            <a:extLst>
              <a:ext uri="{FF2B5EF4-FFF2-40B4-BE49-F238E27FC236}">
                <a16:creationId xmlns:a16="http://schemas.microsoft.com/office/drawing/2014/main" id="{A0C52132-754F-4513-B6A8-F461AAF36FE4}"/>
              </a:ext>
            </a:extLst>
          </p:cNvPr>
          <p:cNvGrpSpPr/>
          <p:nvPr/>
        </p:nvGrpSpPr>
        <p:grpSpPr>
          <a:xfrm>
            <a:off x="965046" y="2920234"/>
            <a:ext cx="320040" cy="319067"/>
            <a:chOff x="2251567" y="3385489"/>
            <a:chExt cx="320040" cy="319067"/>
          </a:xfrm>
        </p:grpSpPr>
        <p:sp>
          <p:nvSpPr>
            <p:cNvPr id="233" name="Freeform 41">
              <a:extLst>
                <a:ext uri="{FF2B5EF4-FFF2-40B4-BE49-F238E27FC236}">
                  <a16:creationId xmlns:a16="http://schemas.microsoft.com/office/drawing/2014/main" id="{8E50F9AF-422D-46D6-AD20-66B8874C1476}"/>
                </a:ext>
              </a:extLst>
            </p:cNvPr>
            <p:cNvSpPr>
              <a:spLocks noEditPoints="1"/>
            </p:cNvSpPr>
            <p:nvPr/>
          </p:nvSpPr>
          <p:spPr bwMode="auto">
            <a:xfrm>
              <a:off x="2251567" y="3385489"/>
              <a:ext cx="320040" cy="319067"/>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5 w 658"/>
                <a:gd name="T11" fmla="*/ 426 h 657"/>
                <a:gd name="T12" fmla="*/ 4 w 658"/>
                <a:gd name="T13" fmla="*/ 379 h 657"/>
                <a:gd name="T14" fmla="*/ 0 w 658"/>
                <a:gd name="T15" fmla="*/ 329 h 657"/>
                <a:gd name="T16" fmla="*/ 2 w 658"/>
                <a:gd name="T17" fmla="*/ 296 h 657"/>
                <a:gd name="T18" fmla="*/ 10 w 658"/>
                <a:gd name="T19" fmla="*/ 246 h 657"/>
                <a:gd name="T20" fmla="*/ 40 w 658"/>
                <a:gd name="T21" fmla="*/ 172 h 657"/>
                <a:gd name="T22" fmla="*/ 96 w 658"/>
                <a:gd name="T23" fmla="*/ 97 h 657"/>
                <a:gd name="T24" fmla="*/ 172 w 658"/>
                <a:gd name="T25" fmla="*/ 39 h 657"/>
                <a:gd name="T26" fmla="*/ 247 w 658"/>
                <a:gd name="T27" fmla="*/ 9 h 657"/>
                <a:gd name="T28" fmla="*/ 295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2 w 658"/>
                <a:gd name="T41" fmla="*/ 200 h 657"/>
                <a:gd name="T42" fmla="*/ 651 w 658"/>
                <a:gd name="T43" fmla="*/ 262 h 657"/>
                <a:gd name="T44" fmla="*/ 657 w 658"/>
                <a:gd name="T45" fmla="*/ 312 h 657"/>
                <a:gd name="T46" fmla="*/ 657 w 658"/>
                <a:gd name="T47" fmla="*/ 345 h 657"/>
                <a:gd name="T48" fmla="*/ 651 w 658"/>
                <a:gd name="T49" fmla="*/ 395 h 657"/>
                <a:gd name="T50" fmla="*/ 632 w 658"/>
                <a:gd name="T51" fmla="*/ 457 h 657"/>
                <a:gd name="T52" fmla="*/ 583 w 658"/>
                <a:gd name="T53" fmla="*/ 537 h 657"/>
                <a:gd name="T54" fmla="*/ 513 w 658"/>
                <a:gd name="T55" fmla="*/ 601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6 w 658"/>
                <a:gd name="T67" fmla="*/ 87 h 657"/>
                <a:gd name="T68" fmla="*/ 105 w 658"/>
                <a:gd name="T69" fmla="*/ 144 h 657"/>
                <a:gd name="T70" fmla="*/ 60 w 658"/>
                <a:gd name="T71" fmla="*/ 215 h 657"/>
                <a:gd name="T72" fmla="*/ 39 w 658"/>
                <a:gd name="T73" fmla="*/ 298 h 657"/>
                <a:gd name="T74" fmla="*/ 39 w 658"/>
                <a:gd name="T75" fmla="*/ 359 h 657"/>
                <a:gd name="T76" fmla="*/ 60 w 658"/>
                <a:gd name="T77" fmla="*/ 442 h 657"/>
                <a:gd name="T78" fmla="*/ 105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5 w 658"/>
                <a:gd name="T93" fmla="*/ 468 h 657"/>
                <a:gd name="T94" fmla="*/ 614 w 658"/>
                <a:gd name="T95" fmla="*/ 387 h 657"/>
                <a:gd name="T96" fmla="*/ 620 w 658"/>
                <a:gd name="T97" fmla="*/ 329 h 657"/>
                <a:gd name="T98" fmla="*/ 607 w 658"/>
                <a:gd name="T99" fmla="*/ 242 h 657"/>
                <a:gd name="T100" fmla="*/ 571 w 658"/>
                <a:gd name="T101" fmla="*/ 165 h 657"/>
                <a:gd name="T102" fmla="*/ 514 w 658"/>
                <a:gd name="T103" fmla="*/ 103 h 657"/>
                <a:gd name="T104" fmla="*/ 442 w 658"/>
                <a:gd name="T105" fmla="*/ 60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6"/>
                  </a:lnTo>
                  <a:lnTo>
                    <a:pt x="279" y="653"/>
                  </a:lnTo>
                  <a:lnTo>
                    <a:pt x="263" y="650"/>
                  </a:lnTo>
                  <a:lnTo>
                    <a:pt x="247" y="648"/>
                  </a:lnTo>
                  <a:lnTo>
                    <a:pt x="231" y="642"/>
                  </a:lnTo>
                  <a:lnTo>
                    <a:pt x="201" y="631"/>
                  </a:lnTo>
                  <a:lnTo>
                    <a:pt x="172" y="618"/>
                  </a:lnTo>
                  <a:lnTo>
                    <a:pt x="145" y="601"/>
                  </a:lnTo>
                  <a:lnTo>
                    <a:pt x="119" y="582"/>
                  </a:lnTo>
                  <a:lnTo>
                    <a:pt x="96" y="562"/>
                  </a:lnTo>
                  <a:lnTo>
                    <a:pt x="75" y="537"/>
                  </a:lnTo>
                  <a:lnTo>
                    <a:pt x="56" y="512"/>
                  </a:lnTo>
                  <a:lnTo>
                    <a:pt x="40" y="485"/>
                  </a:lnTo>
                  <a:lnTo>
                    <a:pt x="25" y="457"/>
                  </a:lnTo>
                  <a:lnTo>
                    <a:pt x="15" y="426"/>
                  </a:lnTo>
                  <a:lnTo>
                    <a:pt x="10" y="411"/>
                  </a:lnTo>
                  <a:lnTo>
                    <a:pt x="6" y="395"/>
                  </a:lnTo>
                  <a:lnTo>
                    <a:pt x="4" y="379"/>
                  </a:lnTo>
                  <a:lnTo>
                    <a:pt x="2" y="363"/>
                  </a:lnTo>
                  <a:lnTo>
                    <a:pt x="1" y="345"/>
                  </a:lnTo>
                  <a:lnTo>
                    <a:pt x="0" y="329"/>
                  </a:lnTo>
                  <a:lnTo>
                    <a:pt x="0" y="329"/>
                  </a:lnTo>
                  <a:lnTo>
                    <a:pt x="1" y="312"/>
                  </a:lnTo>
                  <a:lnTo>
                    <a:pt x="2" y="296"/>
                  </a:lnTo>
                  <a:lnTo>
                    <a:pt x="4" y="278"/>
                  </a:lnTo>
                  <a:lnTo>
                    <a:pt x="6" y="262"/>
                  </a:lnTo>
                  <a:lnTo>
                    <a:pt x="10" y="246"/>
                  </a:lnTo>
                  <a:lnTo>
                    <a:pt x="15" y="231"/>
                  </a:lnTo>
                  <a:lnTo>
                    <a:pt x="25" y="200"/>
                  </a:lnTo>
                  <a:lnTo>
                    <a:pt x="40" y="172"/>
                  </a:lnTo>
                  <a:lnTo>
                    <a:pt x="56" y="145"/>
                  </a:lnTo>
                  <a:lnTo>
                    <a:pt x="75" y="120"/>
                  </a:lnTo>
                  <a:lnTo>
                    <a:pt x="96" y="97"/>
                  </a:lnTo>
                  <a:lnTo>
                    <a:pt x="119" y="75"/>
                  </a:lnTo>
                  <a:lnTo>
                    <a:pt x="145" y="56"/>
                  </a:lnTo>
                  <a:lnTo>
                    <a:pt x="172" y="39"/>
                  </a:lnTo>
                  <a:lnTo>
                    <a:pt x="201" y="26"/>
                  </a:lnTo>
                  <a:lnTo>
                    <a:pt x="231" y="15"/>
                  </a:lnTo>
                  <a:lnTo>
                    <a:pt x="247" y="9"/>
                  </a:lnTo>
                  <a:lnTo>
                    <a:pt x="263" y="7"/>
                  </a:lnTo>
                  <a:lnTo>
                    <a:pt x="279" y="4"/>
                  </a:lnTo>
                  <a:lnTo>
                    <a:pt x="295" y="1"/>
                  </a:lnTo>
                  <a:lnTo>
                    <a:pt x="311" y="0"/>
                  </a:lnTo>
                  <a:lnTo>
                    <a:pt x="329" y="0"/>
                  </a:lnTo>
                  <a:lnTo>
                    <a:pt x="329" y="0"/>
                  </a:lnTo>
                  <a:lnTo>
                    <a:pt x="346" y="0"/>
                  </a:lnTo>
                  <a:lnTo>
                    <a:pt x="362" y="1"/>
                  </a:lnTo>
                  <a:lnTo>
                    <a:pt x="379" y="4"/>
                  </a:lnTo>
                  <a:lnTo>
                    <a:pt x="395" y="7"/>
                  </a:lnTo>
                  <a:lnTo>
                    <a:pt x="411" y="9"/>
                  </a:lnTo>
                  <a:lnTo>
                    <a:pt x="427" y="15"/>
                  </a:lnTo>
                  <a:lnTo>
                    <a:pt x="456" y="26"/>
                  </a:lnTo>
                  <a:lnTo>
                    <a:pt x="486" y="39"/>
                  </a:lnTo>
                  <a:lnTo>
                    <a:pt x="513" y="56"/>
                  </a:lnTo>
                  <a:lnTo>
                    <a:pt x="538" y="75"/>
                  </a:lnTo>
                  <a:lnTo>
                    <a:pt x="561" y="97"/>
                  </a:lnTo>
                  <a:lnTo>
                    <a:pt x="583" y="120"/>
                  </a:lnTo>
                  <a:lnTo>
                    <a:pt x="602" y="145"/>
                  </a:lnTo>
                  <a:lnTo>
                    <a:pt x="618" y="172"/>
                  </a:lnTo>
                  <a:lnTo>
                    <a:pt x="632" y="200"/>
                  </a:lnTo>
                  <a:lnTo>
                    <a:pt x="643" y="231"/>
                  </a:lnTo>
                  <a:lnTo>
                    <a:pt x="647" y="246"/>
                  </a:lnTo>
                  <a:lnTo>
                    <a:pt x="651" y="262"/>
                  </a:lnTo>
                  <a:lnTo>
                    <a:pt x="654" y="278"/>
                  </a:lnTo>
                  <a:lnTo>
                    <a:pt x="655" y="296"/>
                  </a:lnTo>
                  <a:lnTo>
                    <a:pt x="657" y="312"/>
                  </a:lnTo>
                  <a:lnTo>
                    <a:pt x="658" y="329"/>
                  </a:lnTo>
                  <a:lnTo>
                    <a:pt x="658" y="329"/>
                  </a:lnTo>
                  <a:lnTo>
                    <a:pt x="657" y="345"/>
                  </a:lnTo>
                  <a:lnTo>
                    <a:pt x="655" y="363"/>
                  </a:lnTo>
                  <a:lnTo>
                    <a:pt x="654" y="379"/>
                  </a:lnTo>
                  <a:lnTo>
                    <a:pt x="651" y="395"/>
                  </a:lnTo>
                  <a:lnTo>
                    <a:pt x="647" y="411"/>
                  </a:lnTo>
                  <a:lnTo>
                    <a:pt x="643" y="426"/>
                  </a:lnTo>
                  <a:lnTo>
                    <a:pt x="632" y="457"/>
                  </a:lnTo>
                  <a:lnTo>
                    <a:pt x="618" y="485"/>
                  </a:lnTo>
                  <a:lnTo>
                    <a:pt x="602" y="512"/>
                  </a:lnTo>
                  <a:lnTo>
                    <a:pt x="583" y="537"/>
                  </a:lnTo>
                  <a:lnTo>
                    <a:pt x="561" y="562"/>
                  </a:lnTo>
                  <a:lnTo>
                    <a:pt x="538" y="582"/>
                  </a:lnTo>
                  <a:lnTo>
                    <a:pt x="513" y="601"/>
                  </a:lnTo>
                  <a:lnTo>
                    <a:pt x="486" y="618"/>
                  </a:lnTo>
                  <a:lnTo>
                    <a:pt x="456" y="631"/>
                  </a:lnTo>
                  <a:lnTo>
                    <a:pt x="427" y="642"/>
                  </a:lnTo>
                  <a:lnTo>
                    <a:pt x="411" y="648"/>
                  </a:lnTo>
                  <a:lnTo>
                    <a:pt x="395" y="650"/>
                  </a:lnTo>
                  <a:lnTo>
                    <a:pt x="379" y="653"/>
                  </a:lnTo>
                  <a:lnTo>
                    <a:pt x="362" y="656"/>
                  </a:lnTo>
                  <a:lnTo>
                    <a:pt x="346" y="657"/>
                  </a:lnTo>
                  <a:lnTo>
                    <a:pt x="329" y="657"/>
                  </a:lnTo>
                  <a:lnTo>
                    <a:pt x="329" y="657"/>
                  </a:lnTo>
                  <a:close/>
                  <a:moveTo>
                    <a:pt x="329" y="38"/>
                  </a:moveTo>
                  <a:lnTo>
                    <a:pt x="329" y="38"/>
                  </a:lnTo>
                  <a:lnTo>
                    <a:pt x="299" y="39"/>
                  </a:lnTo>
                  <a:lnTo>
                    <a:pt x="270" y="43"/>
                  </a:lnTo>
                  <a:lnTo>
                    <a:pt x="243" y="51"/>
                  </a:lnTo>
                  <a:lnTo>
                    <a:pt x="216" y="60"/>
                  </a:lnTo>
                  <a:lnTo>
                    <a:pt x="191" y="73"/>
                  </a:lnTo>
                  <a:lnTo>
                    <a:pt x="166" y="87"/>
                  </a:lnTo>
                  <a:lnTo>
                    <a:pt x="143" y="103"/>
                  </a:lnTo>
                  <a:lnTo>
                    <a:pt x="123" y="122"/>
                  </a:lnTo>
                  <a:lnTo>
                    <a:pt x="105" y="144"/>
                  </a:lnTo>
                  <a:lnTo>
                    <a:pt x="87" y="165"/>
                  </a:lnTo>
                  <a:lnTo>
                    <a:pt x="72" y="189"/>
                  </a:lnTo>
                  <a:lnTo>
                    <a:pt x="60" y="215"/>
                  </a:lnTo>
                  <a:lnTo>
                    <a:pt x="51" y="242"/>
                  </a:lnTo>
                  <a:lnTo>
                    <a:pt x="44" y="270"/>
                  </a:lnTo>
                  <a:lnTo>
                    <a:pt x="39" y="298"/>
                  </a:lnTo>
                  <a:lnTo>
                    <a:pt x="37" y="329"/>
                  </a:lnTo>
                  <a:lnTo>
                    <a:pt x="37" y="329"/>
                  </a:lnTo>
                  <a:lnTo>
                    <a:pt x="39" y="359"/>
                  </a:lnTo>
                  <a:lnTo>
                    <a:pt x="44" y="387"/>
                  </a:lnTo>
                  <a:lnTo>
                    <a:pt x="51" y="415"/>
                  </a:lnTo>
                  <a:lnTo>
                    <a:pt x="60" y="442"/>
                  </a:lnTo>
                  <a:lnTo>
                    <a:pt x="72" y="468"/>
                  </a:lnTo>
                  <a:lnTo>
                    <a:pt x="87" y="492"/>
                  </a:lnTo>
                  <a:lnTo>
                    <a:pt x="105" y="513"/>
                  </a:lnTo>
                  <a:lnTo>
                    <a:pt x="123" y="535"/>
                  </a:lnTo>
                  <a:lnTo>
                    <a:pt x="143" y="553"/>
                  </a:lnTo>
                  <a:lnTo>
                    <a:pt x="166" y="570"/>
                  </a:lnTo>
                  <a:lnTo>
                    <a:pt x="191" y="584"/>
                  </a:lnTo>
                  <a:lnTo>
                    <a:pt x="216" y="596"/>
                  </a:lnTo>
                  <a:lnTo>
                    <a:pt x="243" y="607"/>
                  </a:lnTo>
                  <a:lnTo>
                    <a:pt x="270" y="614"/>
                  </a:lnTo>
                  <a:lnTo>
                    <a:pt x="299" y="618"/>
                  </a:lnTo>
                  <a:lnTo>
                    <a:pt x="329" y="619"/>
                  </a:lnTo>
                  <a:lnTo>
                    <a:pt x="329" y="619"/>
                  </a:lnTo>
                  <a:lnTo>
                    <a:pt x="358" y="618"/>
                  </a:lnTo>
                  <a:lnTo>
                    <a:pt x="388" y="614"/>
                  </a:lnTo>
                  <a:lnTo>
                    <a:pt x="415" y="607"/>
                  </a:lnTo>
                  <a:lnTo>
                    <a:pt x="442" y="596"/>
                  </a:lnTo>
                  <a:lnTo>
                    <a:pt x="467" y="584"/>
                  </a:lnTo>
                  <a:lnTo>
                    <a:pt x="491" y="570"/>
                  </a:lnTo>
                  <a:lnTo>
                    <a:pt x="514" y="553"/>
                  </a:lnTo>
                  <a:lnTo>
                    <a:pt x="534" y="535"/>
                  </a:lnTo>
                  <a:lnTo>
                    <a:pt x="553" y="513"/>
                  </a:lnTo>
                  <a:lnTo>
                    <a:pt x="571" y="492"/>
                  </a:lnTo>
                  <a:lnTo>
                    <a:pt x="585" y="468"/>
                  </a:lnTo>
                  <a:lnTo>
                    <a:pt x="598" y="442"/>
                  </a:lnTo>
                  <a:lnTo>
                    <a:pt x="607" y="415"/>
                  </a:lnTo>
                  <a:lnTo>
                    <a:pt x="614" y="387"/>
                  </a:lnTo>
                  <a:lnTo>
                    <a:pt x="619" y="359"/>
                  </a:lnTo>
                  <a:lnTo>
                    <a:pt x="620" y="329"/>
                  </a:lnTo>
                  <a:lnTo>
                    <a:pt x="620" y="329"/>
                  </a:lnTo>
                  <a:lnTo>
                    <a:pt x="619" y="298"/>
                  </a:lnTo>
                  <a:lnTo>
                    <a:pt x="614" y="270"/>
                  </a:lnTo>
                  <a:lnTo>
                    <a:pt x="607" y="242"/>
                  </a:lnTo>
                  <a:lnTo>
                    <a:pt x="598" y="215"/>
                  </a:lnTo>
                  <a:lnTo>
                    <a:pt x="585" y="189"/>
                  </a:lnTo>
                  <a:lnTo>
                    <a:pt x="571" y="165"/>
                  </a:lnTo>
                  <a:lnTo>
                    <a:pt x="553" y="144"/>
                  </a:lnTo>
                  <a:lnTo>
                    <a:pt x="534" y="122"/>
                  </a:lnTo>
                  <a:lnTo>
                    <a:pt x="514" y="103"/>
                  </a:lnTo>
                  <a:lnTo>
                    <a:pt x="491" y="87"/>
                  </a:lnTo>
                  <a:lnTo>
                    <a:pt x="467" y="73"/>
                  </a:lnTo>
                  <a:lnTo>
                    <a:pt x="442" y="60"/>
                  </a:lnTo>
                  <a:lnTo>
                    <a:pt x="415" y="51"/>
                  </a:lnTo>
                  <a:lnTo>
                    <a:pt x="388" y="43"/>
                  </a:lnTo>
                  <a:lnTo>
                    <a:pt x="358" y="39"/>
                  </a:lnTo>
                  <a:lnTo>
                    <a:pt x="329" y="38"/>
                  </a:lnTo>
                  <a:lnTo>
                    <a:pt x="329" y="38"/>
                  </a:lnTo>
                  <a:close/>
                </a:path>
              </a:pathLst>
            </a:custGeom>
            <a:solidFill>
              <a:srgbClr val="8D8D8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pic>
          <p:nvPicPr>
            <p:cNvPr id="234" name="Picture 233" descr="facebook.eps">
              <a:extLst>
                <a:ext uri="{FF2B5EF4-FFF2-40B4-BE49-F238E27FC236}">
                  <a16:creationId xmlns:a16="http://schemas.microsoft.com/office/drawing/2014/main" id="{3D151EE4-2F5C-4B27-945B-18CAE533143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356913" y="3441174"/>
              <a:ext cx="96272" cy="192544"/>
            </a:xfrm>
            <a:prstGeom prst="rect">
              <a:avLst/>
            </a:prstGeom>
          </p:spPr>
        </p:pic>
      </p:grpSp>
      <p:grpSp>
        <p:nvGrpSpPr>
          <p:cNvPr id="235" name="Group 234">
            <a:extLst>
              <a:ext uri="{FF2B5EF4-FFF2-40B4-BE49-F238E27FC236}">
                <a16:creationId xmlns:a16="http://schemas.microsoft.com/office/drawing/2014/main" id="{B21BBDCA-8989-4897-9784-7CADD7773807}"/>
              </a:ext>
            </a:extLst>
          </p:cNvPr>
          <p:cNvGrpSpPr/>
          <p:nvPr/>
        </p:nvGrpSpPr>
        <p:grpSpPr>
          <a:xfrm>
            <a:off x="2723074" y="2490382"/>
            <a:ext cx="320040" cy="320040"/>
            <a:chOff x="2606119" y="2123554"/>
            <a:chExt cx="320040" cy="320040"/>
          </a:xfrm>
        </p:grpSpPr>
        <p:sp>
          <p:nvSpPr>
            <p:cNvPr id="236" name="Freeform 66">
              <a:extLst>
                <a:ext uri="{FF2B5EF4-FFF2-40B4-BE49-F238E27FC236}">
                  <a16:creationId xmlns:a16="http://schemas.microsoft.com/office/drawing/2014/main" id="{3D62273A-845E-46CB-AB72-BD87C97AC261}"/>
                </a:ext>
              </a:extLst>
            </p:cNvPr>
            <p:cNvSpPr>
              <a:spLocks noEditPoints="1"/>
            </p:cNvSpPr>
            <p:nvPr/>
          </p:nvSpPr>
          <p:spPr bwMode="auto">
            <a:xfrm>
              <a:off x="2606119" y="2123554"/>
              <a:ext cx="320040" cy="320040"/>
            </a:xfrm>
            <a:custGeom>
              <a:avLst/>
              <a:gdLst>
                <a:gd name="T0" fmla="*/ 312 w 658"/>
                <a:gd name="T1" fmla="*/ 659 h 659"/>
                <a:gd name="T2" fmla="*/ 264 w 658"/>
                <a:gd name="T3" fmla="*/ 652 h 659"/>
                <a:gd name="T4" fmla="*/ 202 w 658"/>
                <a:gd name="T5" fmla="*/ 633 h 659"/>
                <a:gd name="T6" fmla="*/ 120 w 658"/>
                <a:gd name="T7" fmla="*/ 583 h 659"/>
                <a:gd name="T8" fmla="*/ 57 w 658"/>
                <a:gd name="T9" fmla="*/ 513 h 659"/>
                <a:gd name="T10" fmla="*/ 15 w 658"/>
                <a:gd name="T11" fmla="*/ 427 h 659"/>
                <a:gd name="T12" fmla="*/ 4 w 658"/>
                <a:gd name="T13" fmla="*/ 379 h 659"/>
                <a:gd name="T14" fmla="*/ 0 w 658"/>
                <a:gd name="T15" fmla="*/ 329 h 659"/>
                <a:gd name="T16" fmla="*/ 2 w 658"/>
                <a:gd name="T17" fmla="*/ 296 h 659"/>
                <a:gd name="T18" fmla="*/ 11 w 658"/>
                <a:gd name="T19" fmla="*/ 248 h 659"/>
                <a:gd name="T20" fmla="*/ 41 w 658"/>
                <a:gd name="T21" fmla="*/ 174 h 659"/>
                <a:gd name="T22" fmla="*/ 97 w 658"/>
                <a:gd name="T23" fmla="*/ 97 h 659"/>
                <a:gd name="T24" fmla="*/ 172 w 658"/>
                <a:gd name="T25" fmla="*/ 41 h 659"/>
                <a:gd name="T26" fmla="*/ 248 w 658"/>
                <a:gd name="T27" fmla="*/ 11 h 659"/>
                <a:gd name="T28" fmla="*/ 296 w 658"/>
                <a:gd name="T29" fmla="*/ 3 h 659"/>
                <a:gd name="T30" fmla="*/ 329 w 658"/>
                <a:gd name="T31" fmla="*/ 0 h 659"/>
                <a:gd name="T32" fmla="*/ 379 w 658"/>
                <a:gd name="T33" fmla="*/ 4 h 659"/>
                <a:gd name="T34" fmla="*/ 427 w 658"/>
                <a:gd name="T35" fmla="*/ 15 h 659"/>
                <a:gd name="T36" fmla="*/ 513 w 658"/>
                <a:gd name="T37" fmla="*/ 57 h 659"/>
                <a:gd name="T38" fmla="*/ 583 w 658"/>
                <a:gd name="T39" fmla="*/ 121 h 659"/>
                <a:gd name="T40" fmla="*/ 632 w 658"/>
                <a:gd name="T41" fmla="*/ 202 h 659"/>
                <a:gd name="T42" fmla="*/ 652 w 658"/>
                <a:gd name="T43" fmla="*/ 264 h 659"/>
                <a:gd name="T44" fmla="*/ 657 w 658"/>
                <a:gd name="T45" fmla="*/ 313 h 659"/>
                <a:gd name="T46" fmla="*/ 657 w 658"/>
                <a:gd name="T47" fmla="*/ 347 h 659"/>
                <a:gd name="T48" fmla="*/ 652 w 658"/>
                <a:gd name="T49" fmla="*/ 395 h 659"/>
                <a:gd name="T50" fmla="*/ 632 w 658"/>
                <a:gd name="T51" fmla="*/ 457 h 659"/>
                <a:gd name="T52" fmla="*/ 583 w 658"/>
                <a:gd name="T53" fmla="*/ 539 h 659"/>
                <a:gd name="T54" fmla="*/ 513 w 658"/>
                <a:gd name="T55" fmla="*/ 602 h 659"/>
                <a:gd name="T56" fmla="*/ 427 w 658"/>
                <a:gd name="T57" fmla="*/ 644 h 659"/>
                <a:gd name="T58" fmla="*/ 379 w 658"/>
                <a:gd name="T59" fmla="*/ 654 h 659"/>
                <a:gd name="T60" fmla="*/ 329 w 658"/>
                <a:gd name="T61" fmla="*/ 659 h 659"/>
                <a:gd name="T62" fmla="*/ 329 w 658"/>
                <a:gd name="T63" fmla="*/ 38 h 659"/>
                <a:gd name="T64" fmla="*/ 242 w 658"/>
                <a:gd name="T65" fmla="*/ 51 h 659"/>
                <a:gd name="T66" fmla="*/ 167 w 658"/>
                <a:gd name="T67" fmla="*/ 89 h 659"/>
                <a:gd name="T68" fmla="*/ 105 w 658"/>
                <a:gd name="T69" fmla="*/ 144 h 659"/>
                <a:gd name="T70" fmla="*/ 61 w 658"/>
                <a:gd name="T71" fmla="*/ 217 h 659"/>
                <a:gd name="T72" fmla="*/ 39 w 658"/>
                <a:gd name="T73" fmla="*/ 300 h 659"/>
                <a:gd name="T74" fmla="*/ 39 w 658"/>
                <a:gd name="T75" fmla="*/ 359 h 659"/>
                <a:gd name="T76" fmla="*/ 61 w 658"/>
                <a:gd name="T77" fmla="*/ 444 h 659"/>
                <a:gd name="T78" fmla="*/ 105 w 658"/>
                <a:gd name="T79" fmla="*/ 515 h 659"/>
                <a:gd name="T80" fmla="*/ 167 w 658"/>
                <a:gd name="T81" fmla="*/ 571 h 659"/>
                <a:gd name="T82" fmla="*/ 242 w 658"/>
                <a:gd name="T83" fmla="*/ 607 h 659"/>
                <a:gd name="T84" fmla="*/ 329 w 658"/>
                <a:gd name="T85" fmla="*/ 621 h 659"/>
                <a:gd name="T86" fmla="*/ 387 w 658"/>
                <a:gd name="T87" fmla="*/ 616 h 659"/>
                <a:gd name="T88" fmla="*/ 468 w 658"/>
                <a:gd name="T89" fmla="*/ 586 h 659"/>
                <a:gd name="T90" fmla="*/ 535 w 658"/>
                <a:gd name="T91" fmla="*/ 535 h 659"/>
                <a:gd name="T92" fmla="*/ 585 w 658"/>
                <a:gd name="T93" fmla="*/ 468 h 659"/>
                <a:gd name="T94" fmla="*/ 614 w 658"/>
                <a:gd name="T95" fmla="*/ 389 h 659"/>
                <a:gd name="T96" fmla="*/ 621 w 658"/>
                <a:gd name="T97" fmla="*/ 329 h 659"/>
                <a:gd name="T98" fmla="*/ 607 w 658"/>
                <a:gd name="T99" fmla="*/ 243 h 659"/>
                <a:gd name="T100" fmla="*/ 571 w 658"/>
                <a:gd name="T101" fmla="*/ 167 h 659"/>
                <a:gd name="T102" fmla="*/ 515 w 658"/>
                <a:gd name="T103" fmla="*/ 105 h 659"/>
                <a:gd name="T104" fmla="*/ 442 w 658"/>
                <a:gd name="T105" fmla="*/ 62 h 659"/>
                <a:gd name="T106" fmla="*/ 359 w 658"/>
                <a:gd name="T107" fmla="*/ 41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2" y="659"/>
                  </a:lnTo>
                  <a:lnTo>
                    <a:pt x="296" y="657"/>
                  </a:lnTo>
                  <a:lnTo>
                    <a:pt x="280" y="654"/>
                  </a:lnTo>
                  <a:lnTo>
                    <a:pt x="264" y="652"/>
                  </a:lnTo>
                  <a:lnTo>
                    <a:pt x="248" y="648"/>
                  </a:lnTo>
                  <a:lnTo>
                    <a:pt x="231" y="644"/>
                  </a:lnTo>
                  <a:lnTo>
                    <a:pt x="202" y="633"/>
                  </a:lnTo>
                  <a:lnTo>
                    <a:pt x="172" y="618"/>
                  </a:lnTo>
                  <a:lnTo>
                    <a:pt x="145" y="602"/>
                  </a:lnTo>
                  <a:lnTo>
                    <a:pt x="120" y="583"/>
                  </a:lnTo>
                  <a:lnTo>
                    <a:pt x="97" y="562"/>
                  </a:lnTo>
                  <a:lnTo>
                    <a:pt x="76" y="539"/>
                  </a:lnTo>
                  <a:lnTo>
                    <a:pt x="57" y="513"/>
                  </a:lnTo>
                  <a:lnTo>
                    <a:pt x="41" y="487"/>
                  </a:lnTo>
                  <a:lnTo>
                    <a:pt x="26" y="457"/>
                  </a:lnTo>
                  <a:lnTo>
                    <a:pt x="15" y="427"/>
                  </a:lnTo>
                  <a:lnTo>
                    <a:pt x="11" y="411"/>
                  </a:lnTo>
                  <a:lnTo>
                    <a:pt x="7" y="395"/>
                  </a:lnTo>
                  <a:lnTo>
                    <a:pt x="4" y="379"/>
                  </a:lnTo>
                  <a:lnTo>
                    <a:pt x="2" y="363"/>
                  </a:lnTo>
                  <a:lnTo>
                    <a:pt x="0" y="347"/>
                  </a:lnTo>
                  <a:lnTo>
                    <a:pt x="0" y="329"/>
                  </a:lnTo>
                  <a:lnTo>
                    <a:pt x="0" y="329"/>
                  </a:lnTo>
                  <a:lnTo>
                    <a:pt x="0" y="313"/>
                  </a:lnTo>
                  <a:lnTo>
                    <a:pt x="2" y="296"/>
                  </a:lnTo>
                  <a:lnTo>
                    <a:pt x="4" y="280"/>
                  </a:lnTo>
                  <a:lnTo>
                    <a:pt x="7" y="264"/>
                  </a:lnTo>
                  <a:lnTo>
                    <a:pt x="11" y="248"/>
                  </a:lnTo>
                  <a:lnTo>
                    <a:pt x="15" y="233"/>
                  </a:lnTo>
                  <a:lnTo>
                    <a:pt x="26" y="202"/>
                  </a:lnTo>
                  <a:lnTo>
                    <a:pt x="41" y="174"/>
                  </a:lnTo>
                  <a:lnTo>
                    <a:pt x="57" y="145"/>
                  </a:lnTo>
                  <a:lnTo>
                    <a:pt x="76" y="121"/>
                  </a:lnTo>
                  <a:lnTo>
                    <a:pt x="97" y="97"/>
                  </a:lnTo>
                  <a:lnTo>
                    <a:pt x="120" y="76"/>
                  </a:lnTo>
                  <a:lnTo>
                    <a:pt x="145" y="57"/>
                  </a:lnTo>
                  <a:lnTo>
                    <a:pt x="172" y="41"/>
                  </a:lnTo>
                  <a:lnTo>
                    <a:pt x="202" y="27"/>
                  </a:lnTo>
                  <a:lnTo>
                    <a:pt x="231" y="15"/>
                  </a:lnTo>
                  <a:lnTo>
                    <a:pt x="248" y="11"/>
                  </a:lnTo>
                  <a:lnTo>
                    <a:pt x="264" y="7"/>
                  </a:lnTo>
                  <a:lnTo>
                    <a:pt x="280" y="4"/>
                  </a:lnTo>
                  <a:lnTo>
                    <a:pt x="296" y="3"/>
                  </a:lnTo>
                  <a:lnTo>
                    <a:pt x="312" y="2"/>
                  </a:lnTo>
                  <a:lnTo>
                    <a:pt x="329" y="0"/>
                  </a:lnTo>
                  <a:lnTo>
                    <a:pt x="329" y="0"/>
                  </a:lnTo>
                  <a:lnTo>
                    <a:pt x="346" y="2"/>
                  </a:lnTo>
                  <a:lnTo>
                    <a:pt x="363" y="3"/>
                  </a:lnTo>
                  <a:lnTo>
                    <a:pt x="379" y="4"/>
                  </a:lnTo>
                  <a:lnTo>
                    <a:pt x="395" y="7"/>
                  </a:lnTo>
                  <a:lnTo>
                    <a:pt x="411" y="11"/>
                  </a:lnTo>
                  <a:lnTo>
                    <a:pt x="427" y="15"/>
                  </a:lnTo>
                  <a:lnTo>
                    <a:pt x="457" y="27"/>
                  </a:lnTo>
                  <a:lnTo>
                    <a:pt x="485" y="41"/>
                  </a:lnTo>
                  <a:lnTo>
                    <a:pt x="513" y="57"/>
                  </a:lnTo>
                  <a:lnTo>
                    <a:pt x="538" y="76"/>
                  </a:lnTo>
                  <a:lnTo>
                    <a:pt x="562" y="97"/>
                  </a:lnTo>
                  <a:lnTo>
                    <a:pt x="583" y="121"/>
                  </a:lnTo>
                  <a:lnTo>
                    <a:pt x="602" y="145"/>
                  </a:lnTo>
                  <a:lnTo>
                    <a:pt x="618" y="174"/>
                  </a:lnTo>
                  <a:lnTo>
                    <a:pt x="632" y="202"/>
                  </a:lnTo>
                  <a:lnTo>
                    <a:pt x="644" y="233"/>
                  </a:lnTo>
                  <a:lnTo>
                    <a:pt x="648" y="248"/>
                  </a:lnTo>
                  <a:lnTo>
                    <a:pt x="652" y="264"/>
                  </a:lnTo>
                  <a:lnTo>
                    <a:pt x="654" y="280"/>
                  </a:lnTo>
                  <a:lnTo>
                    <a:pt x="656" y="296"/>
                  </a:lnTo>
                  <a:lnTo>
                    <a:pt x="657" y="313"/>
                  </a:lnTo>
                  <a:lnTo>
                    <a:pt x="658" y="329"/>
                  </a:lnTo>
                  <a:lnTo>
                    <a:pt x="658" y="329"/>
                  </a:lnTo>
                  <a:lnTo>
                    <a:pt x="657" y="347"/>
                  </a:lnTo>
                  <a:lnTo>
                    <a:pt x="656" y="363"/>
                  </a:lnTo>
                  <a:lnTo>
                    <a:pt x="654" y="379"/>
                  </a:lnTo>
                  <a:lnTo>
                    <a:pt x="652" y="395"/>
                  </a:lnTo>
                  <a:lnTo>
                    <a:pt x="648" y="411"/>
                  </a:lnTo>
                  <a:lnTo>
                    <a:pt x="644" y="427"/>
                  </a:lnTo>
                  <a:lnTo>
                    <a:pt x="632" y="457"/>
                  </a:lnTo>
                  <a:lnTo>
                    <a:pt x="618" y="487"/>
                  </a:lnTo>
                  <a:lnTo>
                    <a:pt x="602" y="513"/>
                  </a:lnTo>
                  <a:lnTo>
                    <a:pt x="583" y="539"/>
                  </a:lnTo>
                  <a:lnTo>
                    <a:pt x="562" y="562"/>
                  </a:lnTo>
                  <a:lnTo>
                    <a:pt x="538" y="583"/>
                  </a:lnTo>
                  <a:lnTo>
                    <a:pt x="513" y="602"/>
                  </a:lnTo>
                  <a:lnTo>
                    <a:pt x="485" y="618"/>
                  </a:lnTo>
                  <a:lnTo>
                    <a:pt x="457" y="633"/>
                  </a:lnTo>
                  <a:lnTo>
                    <a:pt x="427" y="644"/>
                  </a:lnTo>
                  <a:lnTo>
                    <a:pt x="411" y="648"/>
                  </a:lnTo>
                  <a:lnTo>
                    <a:pt x="395" y="652"/>
                  </a:lnTo>
                  <a:lnTo>
                    <a:pt x="379" y="654"/>
                  </a:lnTo>
                  <a:lnTo>
                    <a:pt x="363" y="657"/>
                  </a:lnTo>
                  <a:lnTo>
                    <a:pt x="346" y="659"/>
                  </a:lnTo>
                  <a:lnTo>
                    <a:pt x="329" y="659"/>
                  </a:lnTo>
                  <a:lnTo>
                    <a:pt x="329" y="659"/>
                  </a:lnTo>
                  <a:close/>
                  <a:moveTo>
                    <a:pt x="329" y="38"/>
                  </a:moveTo>
                  <a:lnTo>
                    <a:pt x="329" y="38"/>
                  </a:lnTo>
                  <a:lnTo>
                    <a:pt x="300" y="41"/>
                  </a:lnTo>
                  <a:lnTo>
                    <a:pt x="270" y="45"/>
                  </a:lnTo>
                  <a:lnTo>
                    <a:pt x="242" y="51"/>
                  </a:lnTo>
                  <a:lnTo>
                    <a:pt x="217" y="62"/>
                  </a:lnTo>
                  <a:lnTo>
                    <a:pt x="191" y="74"/>
                  </a:lnTo>
                  <a:lnTo>
                    <a:pt x="167" y="89"/>
                  </a:lnTo>
                  <a:lnTo>
                    <a:pt x="144" y="105"/>
                  </a:lnTo>
                  <a:lnTo>
                    <a:pt x="124" y="124"/>
                  </a:lnTo>
                  <a:lnTo>
                    <a:pt x="105" y="144"/>
                  </a:lnTo>
                  <a:lnTo>
                    <a:pt x="88" y="167"/>
                  </a:lnTo>
                  <a:lnTo>
                    <a:pt x="73" y="191"/>
                  </a:lnTo>
                  <a:lnTo>
                    <a:pt x="61" y="217"/>
                  </a:lnTo>
                  <a:lnTo>
                    <a:pt x="51" y="243"/>
                  </a:lnTo>
                  <a:lnTo>
                    <a:pt x="45" y="272"/>
                  </a:lnTo>
                  <a:lnTo>
                    <a:pt x="39" y="300"/>
                  </a:lnTo>
                  <a:lnTo>
                    <a:pt x="38" y="329"/>
                  </a:lnTo>
                  <a:lnTo>
                    <a:pt x="38" y="329"/>
                  </a:lnTo>
                  <a:lnTo>
                    <a:pt x="39" y="359"/>
                  </a:lnTo>
                  <a:lnTo>
                    <a:pt x="45" y="389"/>
                  </a:lnTo>
                  <a:lnTo>
                    <a:pt x="51" y="417"/>
                  </a:lnTo>
                  <a:lnTo>
                    <a:pt x="61" y="444"/>
                  </a:lnTo>
                  <a:lnTo>
                    <a:pt x="73" y="468"/>
                  </a:lnTo>
                  <a:lnTo>
                    <a:pt x="88" y="492"/>
                  </a:lnTo>
                  <a:lnTo>
                    <a:pt x="105" y="515"/>
                  </a:lnTo>
                  <a:lnTo>
                    <a:pt x="124" y="535"/>
                  </a:lnTo>
                  <a:lnTo>
                    <a:pt x="144" y="554"/>
                  </a:lnTo>
                  <a:lnTo>
                    <a:pt x="167" y="571"/>
                  </a:lnTo>
                  <a:lnTo>
                    <a:pt x="191" y="586"/>
                  </a:lnTo>
                  <a:lnTo>
                    <a:pt x="217" y="598"/>
                  </a:lnTo>
                  <a:lnTo>
                    <a:pt x="242" y="607"/>
                  </a:lnTo>
                  <a:lnTo>
                    <a:pt x="270" y="616"/>
                  </a:lnTo>
                  <a:lnTo>
                    <a:pt x="300" y="620"/>
                  </a:lnTo>
                  <a:lnTo>
                    <a:pt x="329" y="621"/>
                  </a:lnTo>
                  <a:lnTo>
                    <a:pt x="329" y="621"/>
                  </a:lnTo>
                  <a:lnTo>
                    <a:pt x="359" y="620"/>
                  </a:lnTo>
                  <a:lnTo>
                    <a:pt x="387" y="616"/>
                  </a:lnTo>
                  <a:lnTo>
                    <a:pt x="415" y="607"/>
                  </a:lnTo>
                  <a:lnTo>
                    <a:pt x="442" y="598"/>
                  </a:lnTo>
                  <a:lnTo>
                    <a:pt x="468" y="586"/>
                  </a:lnTo>
                  <a:lnTo>
                    <a:pt x="492" y="571"/>
                  </a:lnTo>
                  <a:lnTo>
                    <a:pt x="515" y="554"/>
                  </a:lnTo>
                  <a:lnTo>
                    <a:pt x="535" y="535"/>
                  </a:lnTo>
                  <a:lnTo>
                    <a:pt x="554" y="515"/>
                  </a:lnTo>
                  <a:lnTo>
                    <a:pt x="571" y="492"/>
                  </a:lnTo>
                  <a:lnTo>
                    <a:pt x="585" y="468"/>
                  </a:lnTo>
                  <a:lnTo>
                    <a:pt x="598" y="444"/>
                  </a:lnTo>
                  <a:lnTo>
                    <a:pt x="607" y="417"/>
                  </a:lnTo>
                  <a:lnTo>
                    <a:pt x="614" y="389"/>
                  </a:lnTo>
                  <a:lnTo>
                    <a:pt x="620" y="359"/>
                  </a:lnTo>
                  <a:lnTo>
                    <a:pt x="621" y="329"/>
                  </a:lnTo>
                  <a:lnTo>
                    <a:pt x="621" y="329"/>
                  </a:lnTo>
                  <a:lnTo>
                    <a:pt x="620" y="300"/>
                  </a:lnTo>
                  <a:lnTo>
                    <a:pt x="614" y="272"/>
                  </a:lnTo>
                  <a:lnTo>
                    <a:pt x="607" y="243"/>
                  </a:lnTo>
                  <a:lnTo>
                    <a:pt x="598" y="217"/>
                  </a:lnTo>
                  <a:lnTo>
                    <a:pt x="585" y="191"/>
                  </a:lnTo>
                  <a:lnTo>
                    <a:pt x="571" y="167"/>
                  </a:lnTo>
                  <a:lnTo>
                    <a:pt x="554" y="144"/>
                  </a:lnTo>
                  <a:lnTo>
                    <a:pt x="535" y="124"/>
                  </a:lnTo>
                  <a:lnTo>
                    <a:pt x="515" y="105"/>
                  </a:lnTo>
                  <a:lnTo>
                    <a:pt x="492" y="89"/>
                  </a:lnTo>
                  <a:lnTo>
                    <a:pt x="468" y="74"/>
                  </a:lnTo>
                  <a:lnTo>
                    <a:pt x="442" y="62"/>
                  </a:lnTo>
                  <a:lnTo>
                    <a:pt x="415" y="51"/>
                  </a:lnTo>
                  <a:lnTo>
                    <a:pt x="387" y="45"/>
                  </a:lnTo>
                  <a:lnTo>
                    <a:pt x="359" y="41"/>
                  </a:lnTo>
                  <a:lnTo>
                    <a:pt x="329" y="38"/>
                  </a:lnTo>
                  <a:lnTo>
                    <a:pt x="329" y="3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237" name="Group 236">
              <a:extLst>
                <a:ext uri="{FF2B5EF4-FFF2-40B4-BE49-F238E27FC236}">
                  <a16:creationId xmlns:a16="http://schemas.microsoft.com/office/drawing/2014/main" id="{2257A80A-B3F4-436A-972D-716A0D927045}"/>
                </a:ext>
              </a:extLst>
            </p:cNvPr>
            <p:cNvGrpSpPr/>
            <p:nvPr/>
          </p:nvGrpSpPr>
          <p:grpSpPr>
            <a:xfrm>
              <a:off x="2671071" y="2201995"/>
              <a:ext cx="199197" cy="160878"/>
              <a:chOff x="4164047" y="2260606"/>
              <a:chExt cx="915954" cy="917577"/>
            </a:xfrm>
            <a:solidFill>
              <a:schemeClr val="tx1"/>
            </a:solidFill>
          </p:grpSpPr>
          <p:sp>
            <p:nvSpPr>
              <p:cNvPr id="238" name="Freeform 48">
                <a:extLst>
                  <a:ext uri="{FF2B5EF4-FFF2-40B4-BE49-F238E27FC236}">
                    <a16:creationId xmlns:a16="http://schemas.microsoft.com/office/drawing/2014/main" id="{A5887E2F-3F06-40B6-B7BB-2B501E04A1CE}"/>
                  </a:ext>
                </a:extLst>
              </p:cNvPr>
              <p:cNvSpPr>
                <a:spLocks/>
              </p:cNvSpPr>
              <p:nvPr/>
            </p:nvSpPr>
            <p:spPr bwMode="auto">
              <a:xfrm>
                <a:off x="4308510" y="3013082"/>
                <a:ext cx="125412" cy="165101"/>
              </a:xfrm>
              <a:custGeom>
                <a:avLst/>
                <a:gdLst>
                  <a:gd name="T0" fmla="*/ 0 w 69"/>
                  <a:gd name="T1" fmla="*/ 0 h 91"/>
                  <a:gd name="T2" fmla="*/ 0 w 69"/>
                  <a:gd name="T3" fmla="*/ 61 h 91"/>
                  <a:gd name="T4" fmla="*/ 34 w 69"/>
                  <a:gd name="T5" fmla="*/ 91 h 91"/>
                  <a:gd name="T6" fmla="*/ 69 w 69"/>
                  <a:gd name="T7" fmla="*/ 61 h 91"/>
                  <a:gd name="T8" fmla="*/ 69 w 69"/>
                  <a:gd name="T9" fmla="*/ 9 h 91"/>
                  <a:gd name="T10" fmla="*/ 41 w 69"/>
                  <a:gd name="T11" fmla="*/ 9 h 91"/>
                  <a:gd name="T12" fmla="*/ 0 w 6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69" h="91">
                    <a:moveTo>
                      <a:pt x="0" y="0"/>
                    </a:moveTo>
                    <a:cubicBezTo>
                      <a:pt x="0" y="61"/>
                      <a:pt x="0" y="61"/>
                      <a:pt x="0" y="61"/>
                    </a:cubicBezTo>
                    <a:cubicBezTo>
                      <a:pt x="0" y="78"/>
                      <a:pt x="15" y="91"/>
                      <a:pt x="34" y="91"/>
                    </a:cubicBezTo>
                    <a:cubicBezTo>
                      <a:pt x="54" y="91"/>
                      <a:pt x="69" y="78"/>
                      <a:pt x="69" y="61"/>
                    </a:cubicBezTo>
                    <a:cubicBezTo>
                      <a:pt x="69" y="9"/>
                      <a:pt x="69" y="9"/>
                      <a:pt x="69" y="9"/>
                    </a:cubicBezTo>
                    <a:cubicBezTo>
                      <a:pt x="41" y="9"/>
                      <a:pt x="41" y="9"/>
                      <a:pt x="41" y="9"/>
                    </a:cubicBezTo>
                    <a:cubicBezTo>
                      <a:pt x="26" y="9"/>
                      <a:pt x="12" y="6"/>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39" name="Freeform 49">
                <a:extLst>
                  <a:ext uri="{FF2B5EF4-FFF2-40B4-BE49-F238E27FC236}">
                    <a16:creationId xmlns:a16="http://schemas.microsoft.com/office/drawing/2014/main" id="{0B3024C1-9178-443C-9695-68D336920720}"/>
                  </a:ext>
                </a:extLst>
              </p:cNvPr>
              <p:cNvSpPr>
                <a:spLocks/>
              </p:cNvSpPr>
              <p:nvPr/>
            </p:nvSpPr>
            <p:spPr bwMode="auto">
              <a:xfrm>
                <a:off x="4806990" y="3013082"/>
                <a:ext cx="127003" cy="165101"/>
              </a:xfrm>
              <a:custGeom>
                <a:avLst/>
                <a:gdLst>
                  <a:gd name="T0" fmla="*/ 0 w 70"/>
                  <a:gd name="T1" fmla="*/ 9 h 91"/>
                  <a:gd name="T2" fmla="*/ 0 w 70"/>
                  <a:gd name="T3" fmla="*/ 61 h 91"/>
                  <a:gd name="T4" fmla="*/ 35 w 70"/>
                  <a:gd name="T5" fmla="*/ 91 h 91"/>
                  <a:gd name="T6" fmla="*/ 70 w 70"/>
                  <a:gd name="T7" fmla="*/ 61 h 91"/>
                  <a:gd name="T8" fmla="*/ 70 w 70"/>
                  <a:gd name="T9" fmla="*/ 0 h 91"/>
                  <a:gd name="T10" fmla="*/ 29 w 70"/>
                  <a:gd name="T11" fmla="*/ 9 h 91"/>
                  <a:gd name="T12" fmla="*/ 0 w 70"/>
                  <a:gd name="T13" fmla="*/ 9 h 91"/>
                </a:gdLst>
                <a:ahLst/>
                <a:cxnLst>
                  <a:cxn ang="0">
                    <a:pos x="T0" y="T1"/>
                  </a:cxn>
                  <a:cxn ang="0">
                    <a:pos x="T2" y="T3"/>
                  </a:cxn>
                  <a:cxn ang="0">
                    <a:pos x="T4" y="T5"/>
                  </a:cxn>
                  <a:cxn ang="0">
                    <a:pos x="T6" y="T7"/>
                  </a:cxn>
                  <a:cxn ang="0">
                    <a:pos x="T8" y="T9"/>
                  </a:cxn>
                  <a:cxn ang="0">
                    <a:pos x="T10" y="T11"/>
                  </a:cxn>
                  <a:cxn ang="0">
                    <a:pos x="T12" y="T13"/>
                  </a:cxn>
                </a:cxnLst>
                <a:rect l="0" t="0" r="r" b="b"/>
                <a:pathLst>
                  <a:path w="70" h="91">
                    <a:moveTo>
                      <a:pt x="0" y="9"/>
                    </a:moveTo>
                    <a:cubicBezTo>
                      <a:pt x="0" y="61"/>
                      <a:pt x="0" y="61"/>
                      <a:pt x="0" y="61"/>
                    </a:cubicBezTo>
                    <a:cubicBezTo>
                      <a:pt x="0" y="78"/>
                      <a:pt x="16" y="91"/>
                      <a:pt x="35" y="91"/>
                    </a:cubicBezTo>
                    <a:cubicBezTo>
                      <a:pt x="54" y="91"/>
                      <a:pt x="70" y="78"/>
                      <a:pt x="70" y="61"/>
                    </a:cubicBezTo>
                    <a:cubicBezTo>
                      <a:pt x="70" y="0"/>
                      <a:pt x="70" y="0"/>
                      <a:pt x="70" y="0"/>
                    </a:cubicBezTo>
                    <a:cubicBezTo>
                      <a:pt x="58" y="6"/>
                      <a:pt x="44" y="9"/>
                      <a:pt x="29" y="9"/>
                    </a:cubicBez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40" name="Freeform 50">
                <a:extLst>
                  <a:ext uri="{FF2B5EF4-FFF2-40B4-BE49-F238E27FC236}">
                    <a16:creationId xmlns:a16="http://schemas.microsoft.com/office/drawing/2014/main" id="{596F826F-7BE9-4151-A4AB-E495AB3F4CC2}"/>
                  </a:ext>
                </a:extLst>
              </p:cNvPr>
              <p:cNvSpPr>
                <a:spLocks noEditPoints="1"/>
              </p:cNvSpPr>
              <p:nvPr/>
            </p:nvSpPr>
            <p:spPr bwMode="auto">
              <a:xfrm>
                <a:off x="4229135" y="2260606"/>
                <a:ext cx="784233" cy="758824"/>
              </a:xfrm>
              <a:custGeom>
                <a:avLst/>
                <a:gdLst>
                  <a:gd name="T0" fmla="*/ 431 w 431"/>
                  <a:gd name="T1" fmla="*/ 81 h 417"/>
                  <a:gd name="T2" fmla="*/ 431 w 431"/>
                  <a:gd name="T3" fmla="*/ 336 h 417"/>
                  <a:gd name="T4" fmla="*/ 387 w 431"/>
                  <a:gd name="T5" fmla="*/ 407 h 417"/>
                  <a:gd name="T6" fmla="*/ 347 w 431"/>
                  <a:gd name="T7" fmla="*/ 417 h 417"/>
                  <a:gd name="T8" fmla="*/ 318 w 431"/>
                  <a:gd name="T9" fmla="*/ 417 h 417"/>
                  <a:gd name="T10" fmla="*/ 112 w 431"/>
                  <a:gd name="T11" fmla="*/ 417 h 417"/>
                  <a:gd name="T12" fmla="*/ 85 w 431"/>
                  <a:gd name="T13" fmla="*/ 417 h 417"/>
                  <a:gd name="T14" fmla="*/ 43 w 431"/>
                  <a:gd name="T15" fmla="*/ 406 h 417"/>
                  <a:gd name="T16" fmla="*/ 0 w 431"/>
                  <a:gd name="T17" fmla="*/ 336 h 417"/>
                  <a:gd name="T18" fmla="*/ 0 w 431"/>
                  <a:gd name="T19" fmla="*/ 81 h 417"/>
                  <a:gd name="T20" fmla="*/ 85 w 431"/>
                  <a:gd name="T21" fmla="*/ 0 h 417"/>
                  <a:gd name="T22" fmla="*/ 347 w 431"/>
                  <a:gd name="T23" fmla="*/ 0 h 417"/>
                  <a:gd name="T24" fmla="*/ 431 w 431"/>
                  <a:gd name="T25" fmla="*/ 81 h 417"/>
                  <a:gd name="T26" fmla="*/ 79 w 431"/>
                  <a:gd name="T27" fmla="*/ 301 h 417"/>
                  <a:gd name="T28" fmla="*/ 38 w 431"/>
                  <a:gd name="T29" fmla="*/ 339 h 417"/>
                  <a:gd name="T30" fmla="*/ 79 w 431"/>
                  <a:gd name="T31" fmla="*/ 378 h 417"/>
                  <a:gd name="T32" fmla="*/ 119 w 431"/>
                  <a:gd name="T33" fmla="*/ 339 h 417"/>
                  <a:gd name="T34" fmla="*/ 79 w 431"/>
                  <a:gd name="T35" fmla="*/ 301 h 417"/>
                  <a:gd name="T36" fmla="*/ 383 w 431"/>
                  <a:gd name="T37" fmla="*/ 101 h 417"/>
                  <a:gd name="T38" fmla="*/ 342 w 431"/>
                  <a:gd name="T39" fmla="*/ 64 h 417"/>
                  <a:gd name="T40" fmla="*/ 89 w 431"/>
                  <a:gd name="T41" fmla="*/ 64 h 417"/>
                  <a:gd name="T42" fmla="*/ 48 w 431"/>
                  <a:gd name="T43" fmla="*/ 101 h 417"/>
                  <a:gd name="T44" fmla="*/ 48 w 431"/>
                  <a:gd name="T45" fmla="*/ 173 h 417"/>
                  <a:gd name="T46" fmla="*/ 89 w 431"/>
                  <a:gd name="T47" fmla="*/ 210 h 417"/>
                  <a:gd name="T48" fmla="*/ 342 w 431"/>
                  <a:gd name="T49" fmla="*/ 210 h 417"/>
                  <a:gd name="T50" fmla="*/ 383 w 431"/>
                  <a:gd name="T51" fmla="*/ 173 h 417"/>
                  <a:gd name="T52" fmla="*/ 383 w 431"/>
                  <a:gd name="T53" fmla="*/ 101 h 417"/>
                  <a:gd name="T54" fmla="*/ 352 w 431"/>
                  <a:gd name="T55" fmla="*/ 302 h 417"/>
                  <a:gd name="T56" fmla="*/ 312 w 431"/>
                  <a:gd name="T57" fmla="*/ 341 h 417"/>
                  <a:gd name="T58" fmla="*/ 352 w 431"/>
                  <a:gd name="T59" fmla="*/ 379 h 417"/>
                  <a:gd name="T60" fmla="*/ 393 w 431"/>
                  <a:gd name="T61" fmla="*/ 341 h 417"/>
                  <a:gd name="T62" fmla="*/ 352 w 431"/>
                  <a:gd name="T63" fmla="*/ 302 h 417"/>
                  <a:gd name="T64" fmla="*/ 341 w 431"/>
                  <a:gd name="T65" fmla="*/ 14 h 417"/>
                  <a:gd name="T66" fmla="*/ 90 w 431"/>
                  <a:gd name="T67" fmla="*/ 14 h 417"/>
                  <a:gd name="T68" fmla="*/ 90 w 431"/>
                  <a:gd name="T69" fmla="*/ 40 h 417"/>
                  <a:gd name="T70" fmla="*/ 341 w 431"/>
                  <a:gd name="T71" fmla="*/ 40 h 417"/>
                  <a:gd name="T72" fmla="*/ 341 w 431"/>
                  <a:gd name="T73" fmla="*/ 14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31" h="417">
                    <a:moveTo>
                      <a:pt x="431" y="81"/>
                    </a:moveTo>
                    <a:cubicBezTo>
                      <a:pt x="431" y="336"/>
                      <a:pt x="431" y="336"/>
                      <a:pt x="431" y="336"/>
                    </a:cubicBezTo>
                    <a:cubicBezTo>
                      <a:pt x="431" y="366"/>
                      <a:pt x="413" y="393"/>
                      <a:pt x="387" y="407"/>
                    </a:cubicBezTo>
                    <a:cubicBezTo>
                      <a:pt x="375" y="413"/>
                      <a:pt x="361" y="417"/>
                      <a:pt x="347" y="417"/>
                    </a:cubicBezTo>
                    <a:cubicBezTo>
                      <a:pt x="318" y="417"/>
                      <a:pt x="318" y="417"/>
                      <a:pt x="318" y="417"/>
                    </a:cubicBezTo>
                    <a:cubicBezTo>
                      <a:pt x="112" y="417"/>
                      <a:pt x="112" y="417"/>
                      <a:pt x="112" y="417"/>
                    </a:cubicBezTo>
                    <a:cubicBezTo>
                      <a:pt x="85" y="417"/>
                      <a:pt x="85" y="417"/>
                      <a:pt x="85" y="417"/>
                    </a:cubicBezTo>
                    <a:cubicBezTo>
                      <a:pt x="70" y="417"/>
                      <a:pt x="55" y="413"/>
                      <a:pt x="43" y="406"/>
                    </a:cubicBezTo>
                    <a:cubicBezTo>
                      <a:pt x="17" y="392"/>
                      <a:pt x="0" y="366"/>
                      <a:pt x="0" y="336"/>
                    </a:cubicBezTo>
                    <a:cubicBezTo>
                      <a:pt x="0" y="81"/>
                      <a:pt x="0" y="81"/>
                      <a:pt x="0" y="81"/>
                    </a:cubicBezTo>
                    <a:cubicBezTo>
                      <a:pt x="0" y="36"/>
                      <a:pt x="38" y="0"/>
                      <a:pt x="85" y="0"/>
                    </a:cubicBezTo>
                    <a:cubicBezTo>
                      <a:pt x="347" y="0"/>
                      <a:pt x="347" y="0"/>
                      <a:pt x="347" y="0"/>
                    </a:cubicBezTo>
                    <a:cubicBezTo>
                      <a:pt x="393" y="0"/>
                      <a:pt x="431" y="36"/>
                      <a:pt x="431" y="81"/>
                    </a:cubicBezTo>
                    <a:close/>
                    <a:moveTo>
                      <a:pt x="79" y="301"/>
                    </a:moveTo>
                    <a:cubicBezTo>
                      <a:pt x="56" y="301"/>
                      <a:pt x="38" y="318"/>
                      <a:pt x="38" y="339"/>
                    </a:cubicBezTo>
                    <a:cubicBezTo>
                      <a:pt x="38" y="361"/>
                      <a:pt x="56" y="378"/>
                      <a:pt x="79" y="378"/>
                    </a:cubicBezTo>
                    <a:cubicBezTo>
                      <a:pt x="101" y="378"/>
                      <a:pt x="119" y="361"/>
                      <a:pt x="119" y="339"/>
                    </a:cubicBezTo>
                    <a:cubicBezTo>
                      <a:pt x="119" y="318"/>
                      <a:pt x="101" y="301"/>
                      <a:pt x="79" y="301"/>
                    </a:cubicBezTo>
                    <a:close/>
                    <a:moveTo>
                      <a:pt x="383" y="101"/>
                    </a:moveTo>
                    <a:cubicBezTo>
                      <a:pt x="383" y="81"/>
                      <a:pt x="365" y="64"/>
                      <a:pt x="342" y="64"/>
                    </a:cubicBezTo>
                    <a:cubicBezTo>
                      <a:pt x="89" y="64"/>
                      <a:pt x="89" y="64"/>
                      <a:pt x="89" y="64"/>
                    </a:cubicBezTo>
                    <a:cubicBezTo>
                      <a:pt x="67" y="64"/>
                      <a:pt x="48" y="81"/>
                      <a:pt x="48" y="101"/>
                    </a:cubicBezTo>
                    <a:cubicBezTo>
                      <a:pt x="48" y="173"/>
                      <a:pt x="48" y="173"/>
                      <a:pt x="48" y="173"/>
                    </a:cubicBezTo>
                    <a:cubicBezTo>
                      <a:pt x="48" y="194"/>
                      <a:pt x="67" y="210"/>
                      <a:pt x="89" y="210"/>
                    </a:cubicBezTo>
                    <a:cubicBezTo>
                      <a:pt x="342" y="210"/>
                      <a:pt x="342" y="210"/>
                      <a:pt x="342" y="210"/>
                    </a:cubicBezTo>
                    <a:cubicBezTo>
                      <a:pt x="365" y="210"/>
                      <a:pt x="383" y="194"/>
                      <a:pt x="383" y="173"/>
                    </a:cubicBezTo>
                    <a:lnTo>
                      <a:pt x="383" y="101"/>
                    </a:lnTo>
                    <a:close/>
                    <a:moveTo>
                      <a:pt x="352" y="302"/>
                    </a:moveTo>
                    <a:cubicBezTo>
                      <a:pt x="330" y="302"/>
                      <a:pt x="312" y="320"/>
                      <a:pt x="312" y="341"/>
                    </a:cubicBezTo>
                    <a:cubicBezTo>
                      <a:pt x="312" y="362"/>
                      <a:pt x="330" y="379"/>
                      <a:pt x="352" y="379"/>
                    </a:cubicBezTo>
                    <a:cubicBezTo>
                      <a:pt x="375" y="379"/>
                      <a:pt x="393" y="362"/>
                      <a:pt x="393" y="341"/>
                    </a:cubicBezTo>
                    <a:cubicBezTo>
                      <a:pt x="393" y="320"/>
                      <a:pt x="375" y="302"/>
                      <a:pt x="352" y="302"/>
                    </a:cubicBezTo>
                    <a:close/>
                    <a:moveTo>
                      <a:pt x="341" y="14"/>
                    </a:moveTo>
                    <a:cubicBezTo>
                      <a:pt x="90" y="14"/>
                      <a:pt x="90" y="14"/>
                      <a:pt x="90" y="14"/>
                    </a:cubicBezTo>
                    <a:cubicBezTo>
                      <a:pt x="90" y="40"/>
                      <a:pt x="90" y="40"/>
                      <a:pt x="90" y="40"/>
                    </a:cubicBezTo>
                    <a:cubicBezTo>
                      <a:pt x="341" y="40"/>
                      <a:pt x="341" y="40"/>
                      <a:pt x="341" y="40"/>
                    </a:cubicBezTo>
                    <a:lnTo>
                      <a:pt x="341"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41" name="Freeform 51">
                <a:extLst>
                  <a:ext uri="{FF2B5EF4-FFF2-40B4-BE49-F238E27FC236}">
                    <a16:creationId xmlns:a16="http://schemas.microsoft.com/office/drawing/2014/main" id="{0F3FDCBC-3687-4E8A-B95A-9643A3A3DE47}"/>
                  </a:ext>
                </a:extLst>
              </p:cNvPr>
              <p:cNvSpPr>
                <a:spLocks/>
              </p:cNvSpPr>
              <p:nvPr/>
            </p:nvSpPr>
            <p:spPr bwMode="auto">
              <a:xfrm>
                <a:off x="4175161" y="2576520"/>
                <a:ext cx="117476" cy="80962"/>
              </a:xfrm>
              <a:custGeom>
                <a:avLst/>
                <a:gdLst>
                  <a:gd name="T0" fmla="*/ 57 w 65"/>
                  <a:gd name="T1" fmla="*/ 43 h 45"/>
                  <a:gd name="T2" fmla="*/ 64 w 65"/>
                  <a:gd name="T3" fmla="*/ 43 h 45"/>
                  <a:gd name="T4" fmla="*/ 64 w 65"/>
                  <a:gd name="T5" fmla="*/ 43 h 45"/>
                  <a:gd name="T6" fmla="*/ 62 w 65"/>
                  <a:gd name="T7" fmla="*/ 36 h 45"/>
                  <a:gd name="T8" fmla="*/ 8 w 65"/>
                  <a:gd name="T9" fmla="*/ 2 h 45"/>
                  <a:gd name="T10" fmla="*/ 1 w 65"/>
                  <a:gd name="T11" fmla="*/ 2 h 45"/>
                  <a:gd name="T12" fmla="*/ 1 w 65"/>
                  <a:gd name="T13" fmla="*/ 2 h 45"/>
                  <a:gd name="T14" fmla="*/ 3 w 65"/>
                  <a:gd name="T15" fmla="*/ 9 h 45"/>
                  <a:gd name="T16" fmla="*/ 57 w 65"/>
                  <a:gd name="T17" fmla="*/ 4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45">
                    <a:moveTo>
                      <a:pt x="57" y="43"/>
                    </a:moveTo>
                    <a:cubicBezTo>
                      <a:pt x="59" y="45"/>
                      <a:pt x="63" y="45"/>
                      <a:pt x="64" y="43"/>
                    </a:cubicBezTo>
                    <a:cubicBezTo>
                      <a:pt x="64" y="43"/>
                      <a:pt x="64" y="43"/>
                      <a:pt x="64" y="43"/>
                    </a:cubicBezTo>
                    <a:cubicBezTo>
                      <a:pt x="65" y="41"/>
                      <a:pt x="64" y="38"/>
                      <a:pt x="62" y="36"/>
                    </a:cubicBezTo>
                    <a:cubicBezTo>
                      <a:pt x="8" y="2"/>
                      <a:pt x="8" y="2"/>
                      <a:pt x="8" y="2"/>
                    </a:cubicBezTo>
                    <a:cubicBezTo>
                      <a:pt x="6" y="0"/>
                      <a:pt x="2" y="0"/>
                      <a:pt x="1" y="2"/>
                    </a:cubicBezTo>
                    <a:cubicBezTo>
                      <a:pt x="1" y="2"/>
                      <a:pt x="1" y="2"/>
                      <a:pt x="1" y="2"/>
                    </a:cubicBezTo>
                    <a:cubicBezTo>
                      <a:pt x="0" y="4"/>
                      <a:pt x="1" y="7"/>
                      <a:pt x="3" y="9"/>
                    </a:cubicBezTo>
                    <a:lnTo>
                      <a:pt x="57"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42" name="Freeform 52">
                <a:extLst>
                  <a:ext uri="{FF2B5EF4-FFF2-40B4-BE49-F238E27FC236}">
                    <a16:creationId xmlns:a16="http://schemas.microsoft.com/office/drawing/2014/main" id="{A5979B57-D7EF-48D2-A23A-26B1D8A5FE5A}"/>
                  </a:ext>
                </a:extLst>
              </p:cNvPr>
              <p:cNvSpPr>
                <a:spLocks/>
              </p:cNvSpPr>
              <p:nvPr/>
            </p:nvSpPr>
            <p:spPr bwMode="auto">
              <a:xfrm>
                <a:off x="4164047" y="2519371"/>
                <a:ext cx="36515" cy="103189"/>
              </a:xfrm>
              <a:custGeom>
                <a:avLst/>
                <a:gdLst>
                  <a:gd name="T0" fmla="*/ 10 w 20"/>
                  <a:gd name="T1" fmla="*/ 0 h 57"/>
                  <a:gd name="T2" fmla="*/ 20 w 20"/>
                  <a:gd name="T3" fmla="*/ 56 h 57"/>
                  <a:gd name="T4" fmla="*/ 3 w 20"/>
                  <a:gd name="T5" fmla="*/ 30 h 57"/>
                  <a:gd name="T6" fmla="*/ 10 w 20"/>
                  <a:gd name="T7" fmla="*/ 0 h 57"/>
                </a:gdLst>
                <a:ahLst/>
                <a:cxnLst>
                  <a:cxn ang="0">
                    <a:pos x="T0" y="T1"/>
                  </a:cxn>
                  <a:cxn ang="0">
                    <a:pos x="T2" y="T3"/>
                  </a:cxn>
                  <a:cxn ang="0">
                    <a:pos x="T4" y="T5"/>
                  </a:cxn>
                  <a:cxn ang="0">
                    <a:pos x="T6" y="T7"/>
                  </a:cxn>
                </a:cxnLst>
                <a:rect l="0" t="0" r="r" b="b"/>
                <a:pathLst>
                  <a:path w="20" h="57">
                    <a:moveTo>
                      <a:pt x="10" y="0"/>
                    </a:moveTo>
                    <a:cubicBezTo>
                      <a:pt x="20" y="56"/>
                      <a:pt x="20" y="56"/>
                      <a:pt x="20" y="56"/>
                    </a:cubicBezTo>
                    <a:cubicBezTo>
                      <a:pt x="13" y="57"/>
                      <a:pt x="5" y="46"/>
                      <a:pt x="3" y="30"/>
                    </a:cubicBezTo>
                    <a:cubicBezTo>
                      <a:pt x="0" y="15"/>
                      <a:pt x="3" y="2"/>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43" name="Freeform 53">
                <a:extLst>
                  <a:ext uri="{FF2B5EF4-FFF2-40B4-BE49-F238E27FC236}">
                    <a16:creationId xmlns:a16="http://schemas.microsoft.com/office/drawing/2014/main" id="{4BF85F02-5EC5-4D5A-A2EC-981144CB87D8}"/>
                  </a:ext>
                </a:extLst>
              </p:cNvPr>
              <p:cNvSpPr>
                <a:spLocks/>
              </p:cNvSpPr>
              <p:nvPr/>
            </p:nvSpPr>
            <p:spPr bwMode="auto">
              <a:xfrm>
                <a:off x="4949871" y="2576526"/>
                <a:ext cx="119062" cy="80962"/>
              </a:xfrm>
              <a:custGeom>
                <a:avLst/>
                <a:gdLst>
                  <a:gd name="T0" fmla="*/ 9 w 66"/>
                  <a:gd name="T1" fmla="*/ 43 h 45"/>
                  <a:gd name="T2" fmla="*/ 1 w 66"/>
                  <a:gd name="T3" fmla="*/ 43 h 45"/>
                  <a:gd name="T4" fmla="*/ 1 w 66"/>
                  <a:gd name="T5" fmla="*/ 43 h 45"/>
                  <a:gd name="T6" fmla="*/ 4 w 66"/>
                  <a:gd name="T7" fmla="*/ 36 h 45"/>
                  <a:gd name="T8" fmla="*/ 57 w 66"/>
                  <a:gd name="T9" fmla="*/ 2 h 45"/>
                  <a:gd name="T10" fmla="*/ 64 w 66"/>
                  <a:gd name="T11" fmla="*/ 2 h 45"/>
                  <a:gd name="T12" fmla="*/ 64 w 66"/>
                  <a:gd name="T13" fmla="*/ 2 h 45"/>
                  <a:gd name="T14" fmla="*/ 62 w 66"/>
                  <a:gd name="T15" fmla="*/ 9 h 45"/>
                  <a:gd name="T16" fmla="*/ 9 w 66"/>
                  <a:gd name="T17" fmla="*/ 4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45">
                    <a:moveTo>
                      <a:pt x="9" y="43"/>
                    </a:moveTo>
                    <a:cubicBezTo>
                      <a:pt x="6" y="45"/>
                      <a:pt x="3" y="45"/>
                      <a:pt x="1" y="43"/>
                    </a:cubicBezTo>
                    <a:cubicBezTo>
                      <a:pt x="1" y="43"/>
                      <a:pt x="1" y="43"/>
                      <a:pt x="1" y="43"/>
                    </a:cubicBezTo>
                    <a:cubicBezTo>
                      <a:pt x="0" y="41"/>
                      <a:pt x="1" y="38"/>
                      <a:pt x="4" y="36"/>
                    </a:cubicBezTo>
                    <a:cubicBezTo>
                      <a:pt x="57" y="2"/>
                      <a:pt x="57" y="2"/>
                      <a:pt x="57" y="2"/>
                    </a:cubicBezTo>
                    <a:cubicBezTo>
                      <a:pt x="60" y="0"/>
                      <a:pt x="63" y="0"/>
                      <a:pt x="64" y="2"/>
                    </a:cubicBezTo>
                    <a:cubicBezTo>
                      <a:pt x="64" y="2"/>
                      <a:pt x="64" y="2"/>
                      <a:pt x="64" y="2"/>
                    </a:cubicBezTo>
                    <a:cubicBezTo>
                      <a:pt x="66" y="4"/>
                      <a:pt x="65" y="7"/>
                      <a:pt x="62" y="9"/>
                    </a:cubicBezTo>
                    <a:lnTo>
                      <a:pt x="9"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44" name="Freeform 54">
                <a:extLst>
                  <a:ext uri="{FF2B5EF4-FFF2-40B4-BE49-F238E27FC236}">
                    <a16:creationId xmlns:a16="http://schemas.microsoft.com/office/drawing/2014/main" id="{A5C69CB1-318B-4B10-AEF0-890585230716}"/>
                  </a:ext>
                </a:extLst>
              </p:cNvPr>
              <p:cNvSpPr>
                <a:spLocks/>
              </p:cNvSpPr>
              <p:nvPr/>
            </p:nvSpPr>
            <p:spPr bwMode="auto">
              <a:xfrm>
                <a:off x="5041900" y="2519365"/>
                <a:ext cx="38101" cy="103189"/>
              </a:xfrm>
              <a:custGeom>
                <a:avLst/>
                <a:gdLst>
                  <a:gd name="T0" fmla="*/ 11 w 21"/>
                  <a:gd name="T1" fmla="*/ 0 h 57"/>
                  <a:gd name="T2" fmla="*/ 0 w 21"/>
                  <a:gd name="T3" fmla="*/ 56 h 57"/>
                  <a:gd name="T4" fmla="*/ 18 w 21"/>
                  <a:gd name="T5" fmla="*/ 30 h 57"/>
                  <a:gd name="T6" fmla="*/ 11 w 21"/>
                  <a:gd name="T7" fmla="*/ 0 h 57"/>
                </a:gdLst>
                <a:ahLst/>
                <a:cxnLst>
                  <a:cxn ang="0">
                    <a:pos x="T0" y="T1"/>
                  </a:cxn>
                  <a:cxn ang="0">
                    <a:pos x="T2" y="T3"/>
                  </a:cxn>
                  <a:cxn ang="0">
                    <a:pos x="T4" y="T5"/>
                  </a:cxn>
                  <a:cxn ang="0">
                    <a:pos x="T6" y="T7"/>
                  </a:cxn>
                </a:cxnLst>
                <a:rect l="0" t="0" r="r" b="b"/>
                <a:pathLst>
                  <a:path w="21" h="57">
                    <a:moveTo>
                      <a:pt x="11" y="0"/>
                    </a:moveTo>
                    <a:cubicBezTo>
                      <a:pt x="0" y="56"/>
                      <a:pt x="0" y="56"/>
                      <a:pt x="0" y="56"/>
                    </a:cubicBezTo>
                    <a:cubicBezTo>
                      <a:pt x="7" y="57"/>
                      <a:pt x="15" y="46"/>
                      <a:pt x="18" y="30"/>
                    </a:cubicBezTo>
                    <a:cubicBezTo>
                      <a:pt x="21" y="15"/>
                      <a:pt x="18"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245" name="Group 244">
            <a:extLst>
              <a:ext uri="{FF2B5EF4-FFF2-40B4-BE49-F238E27FC236}">
                <a16:creationId xmlns:a16="http://schemas.microsoft.com/office/drawing/2014/main" id="{F3E714BB-92F7-408B-B76E-32AE65FABFD3}"/>
              </a:ext>
            </a:extLst>
          </p:cNvPr>
          <p:cNvGrpSpPr/>
          <p:nvPr/>
        </p:nvGrpSpPr>
        <p:grpSpPr>
          <a:xfrm>
            <a:off x="2538788" y="1932027"/>
            <a:ext cx="320040" cy="321013"/>
            <a:chOff x="2145378" y="1714059"/>
            <a:chExt cx="320040" cy="321013"/>
          </a:xfrm>
        </p:grpSpPr>
        <p:sp>
          <p:nvSpPr>
            <p:cNvPr id="246" name="Freeform 92">
              <a:extLst>
                <a:ext uri="{FF2B5EF4-FFF2-40B4-BE49-F238E27FC236}">
                  <a16:creationId xmlns:a16="http://schemas.microsoft.com/office/drawing/2014/main" id="{9FD754BE-0D9E-497B-A2BA-18B5EFECF97A}"/>
                </a:ext>
              </a:extLst>
            </p:cNvPr>
            <p:cNvSpPr>
              <a:spLocks noEditPoints="1"/>
            </p:cNvSpPr>
            <p:nvPr/>
          </p:nvSpPr>
          <p:spPr bwMode="auto">
            <a:xfrm>
              <a:off x="2145378" y="1714059"/>
              <a:ext cx="320040" cy="321013"/>
            </a:xfrm>
            <a:custGeom>
              <a:avLst/>
              <a:gdLst>
                <a:gd name="T0" fmla="*/ 312 w 657"/>
                <a:gd name="T1" fmla="*/ 657 h 658"/>
                <a:gd name="T2" fmla="*/ 262 w 657"/>
                <a:gd name="T3" fmla="*/ 651 h 658"/>
                <a:gd name="T4" fmla="*/ 200 w 657"/>
                <a:gd name="T5" fmla="*/ 631 h 658"/>
                <a:gd name="T6" fmla="*/ 120 w 657"/>
                <a:gd name="T7" fmla="*/ 583 h 658"/>
                <a:gd name="T8" fmla="*/ 57 w 657"/>
                <a:gd name="T9" fmla="*/ 513 h 658"/>
                <a:gd name="T10" fmla="*/ 15 w 657"/>
                <a:gd name="T11" fmla="*/ 427 h 658"/>
                <a:gd name="T12" fmla="*/ 4 w 657"/>
                <a:gd name="T13" fmla="*/ 379 h 658"/>
                <a:gd name="T14" fmla="*/ 0 w 657"/>
                <a:gd name="T15" fmla="*/ 329 h 658"/>
                <a:gd name="T16" fmla="*/ 2 w 657"/>
                <a:gd name="T17" fmla="*/ 295 h 658"/>
                <a:gd name="T18" fmla="*/ 10 w 657"/>
                <a:gd name="T19" fmla="*/ 247 h 658"/>
                <a:gd name="T20" fmla="*/ 39 w 657"/>
                <a:gd name="T21" fmla="*/ 172 h 658"/>
                <a:gd name="T22" fmla="*/ 97 w 657"/>
                <a:gd name="T23" fmla="*/ 97 h 658"/>
                <a:gd name="T24" fmla="*/ 172 w 657"/>
                <a:gd name="T25" fmla="*/ 40 h 658"/>
                <a:gd name="T26" fmla="*/ 246 w 657"/>
                <a:gd name="T27" fmla="*/ 11 h 658"/>
                <a:gd name="T28" fmla="*/ 296 w 657"/>
                <a:gd name="T29" fmla="*/ 1 h 658"/>
                <a:gd name="T30" fmla="*/ 329 w 657"/>
                <a:gd name="T31" fmla="*/ 0 h 658"/>
                <a:gd name="T32" fmla="*/ 379 w 657"/>
                <a:gd name="T33" fmla="*/ 4 h 658"/>
                <a:gd name="T34" fmla="*/ 426 w 657"/>
                <a:gd name="T35" fmla="*/ 15 h 658"/>
                <a:gd name="T36" fmla="*/ 512 w 657"/>
                <a:gd name="T37" fmla="*/ 56 h 658"/>
                <a:gd name="T38" fmla="*/ 582 w 657"/>
                <a:gd name="T39" fmla="*/ 119 h 658"/>
                <a:gd name="T40" fmla="*/ 632 w 657"/>
                <a:gd name="T41" fmla="*/ 201 h 658"/>
                <a:gd name="T42" fmla="*/ 650 w 657"/>
                <a:gd name="T43" fmla="*/ 263 h 658"/>
                <a:gd name="T44" fmla="*/ 657 w 657"/>
                <a:gd name="T45" fmla="*/ 312 h 658"/>
                <a:gd name="T46" fmla="*/ 657 w 657"/>
                <a:gd name="T47" fmla="*/ 347 h 658"/>
                <a:gd name="T48" fmla="*/ 650 w 657"/>
                <a:gd name="T49" fmla="*/ 395 h 658"/>
                <a:gd name="T50" fmla="*/ 632 w 657"/>
                <a:gd name="T51" fmla="*/ 457 h 658"/>
                <a:gd name="T52" fmla="*/ 582 w 657"/>
                <a:gd name="T53" fmla="*/ 539 h 658"/>
                <a:gd name="T54" fmla="*/ 512 w 657"/>
                <a:gd name="T55" fmla="*/ 602 h 658"/>
                <a:gd name="T56" fmla="*/ 426 w 657"/>
                <a:gd name="T57" fmla="*/ 643 h 658"/>
                <a:gd name="T58" fmla="*/ 379 w 657"/>
                <a:gd name="T59" fmla="*/ 654 h 658"/>
                <a:gd name="T60" fmla="*/ 329 w 657"/>
                <a:gd name="T61" fmla="*/ 658 h 658"/>
                <a:gd name="T62" fmla="*/ 329 w 657"/>
                <a:gd name="T63" fmla="*/ 38 h 658"/>
                <a:gd name="T64" fmla="*/ 242 w 657"/>
                <a:gd name="T65" fmla="*/ 51 h 658"/>
                <a:gd name="T66" fmla="*/ 166 w 657"/>
                <a:gd name="T67" fmla="*/ 87 h 658"/>
                <a:gd name="T68" fmla="*/ 104 w 657"/>
                <a:gd name="T69" fmla="*/ 144 h 658"/>
                <a:gd name="T70" fmla="*/ 61 w 657"/>
                <a:gd name="T71" fmla="*/ 216 h 658"/>
                <a:gd name="T72" fmla="*/ 39 w 657"/>
                <a:gd name="T73" fmla="*/ 299 h 658"/>
                <a:gd name="T74" fmla="*/ 39 w 657"/>
                <a:gd name="T75" fmla="*/ 359 h 658"/>
                <a:gd name="T76" fmla="*/ 61 w 657"/>
                <a:gd name="T77" fmla="*/ 442 h 658"/>
                <a:gd name="T78" fmla="*/ 104 w 657"/>
                <a:gd name="T79" fmla="*/ 514 h 658"/>
                <a:gd name="T80" fmla="*/ 166 w 657"/>
                <a:gd name="T81" fmla="*/ 571 h 658"/>
                <a:gd name="T82" fmla="*/ 242 w 657"/>
                <a:gd name="T83" fmla="*/ 607 h 658"/>
                <a:gd name="T84" fmla="*/ 329 w 657"/>
                <a:gd name="T85" fmla="*/ 621 h 658"/>
                <a:gd name="T86" fmla="*/ 387 w 657"/>
                <a:gd name="T87" fmla="*/ 614 h 658"/>
                <a:gd name="T88" fmla="*/ 468 w 657"/>
                <a:gd name="T89" fmla="*/ 584 h 658"/>
                <a:gd name="T90" fmla="*/ 535 w 657"/>
                <a:gd name="T91" fmla="*/ 535 h 658"/>
                <a:gd name="T92" fmla="*/ 585 w 657"/>
                <a:gd name="T93" fmla="*/ 467 h 658"/>
                <a:gd name="T94" fmla="*/ 614 w 657"/>
                <a:gd name="T95" fmla="*/ 388 h 658"/>
                <a:gd name="T96" fmla="*/ 620 w 657"/>
                <a:gd name="T97" fmla="*/ 329 h 658"/>
                <a:gd name="T98" fmla="*/ 607 w 657"/>
                <a:gd name="T99" fmla="*/ 243 h 658"/>
                <a:gd name="T100" fmla="*/ 570 w 657"/>
                <a:gd name="T101" fmla="*/ 166 h 658"/>
                <a:gd name="T102" fmla="*/ 513 w 657"/>
                <a:gd name="T103" fmla="*/ 105 h 658"/>
                <a:gd name="T104" fmla="*/ 442 w 657"/>
                <a:gd name="T105" fmla="*/ 60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7"/>
                  </a:lnTo>
                  <a:lnTo>
                    <a:pt x="296" y="656"/>
                  </a:lnTo>
                  <a:lnTo>
                    <a:pt x="278" y="654"/>
                  </a:lnTo>
                  <a:lnTo>
                    <a:pt x="262" y="651"/>
                  </a:lnTo>
                  <a:lnTo>
                    <a:pt x="246" y="647"/>
                  </a:lnTo>
                  <a:lnTo>
                    <a:pt x="231" y="643"/>
                  </a:lnTo>
                  <a:lnTo>
                    <a:pt x="200" y="631"/>
                  </a:lnTo>
                  <a:lnTo>
                    <a:pt x="172" y="618"/>
                  </a:lnTo>
                  <a:lnTo>
                    <a:pt x="145" y="602"/>
                  </a:lnTo>
                  <a:lnTo>
                    <a:pt x="120" y="583"/>
                  </a:lnTo>
                  <a:lnTo>
                    <a:pt x="97" y="561"/>
                  </a:lnTo>
                  <a:lnTo>
                    <a:pt x="75" y="539"/>
                  </a:lnTo>
                  <a:lnTo>
                    <a:pt x="57" y="513"/>
                  </a:lnTo>
                  <a:lnTo>
                    <a:pt x="39" y="486"/>
                  </a:lnTo>
                  <a:lnTo>
                    <a:pt x="26" y="457"/>
                  </a:lnTo>
                  <a:lnTo>
                    <a:pt x="15" y="427"/>
                  </a:lnTo>
                  <a:lnTo>
                    <a:pt x="10" y="411"/>
                  </a:lnTo>
                  <a:lnTo>
                    <a:pt x="7" y="395"/>
                  </a:lnTo>
                  <a:lnTo>
                    <a:pt x="4" y="379"/>
                  </a:lnTo>
                  <a:lnTo>
                    <a:pt x="2" y="363"/>
                  </a:lnTo>
                  <a:lnTo>
                    <a:pt x="0" y="347"/>
                  </a:lnTo>
                  <a:lnTo>
                    <a:pt x="0" y="329"/>
                  </a:lnTo>
                  <a:lnTo>
                    <a:pt x="0" y="329"/>
                  </a:lnTo>
                  <a:lnTo>
                    <a:pt x="0" y="312"/>
                  </a:lnTo>
                  <a:lnTo>
                    <a:pt x="2" y="295"/>
                  </a:lnTo>
                  <a:lnTo>
                    <a:pt x="4" y="279"/>
                  </a:lnTo>
                  <a:lnTo>
                    <a:pt x="7" y="263"/>
                  </a:lnTo>
                  <a:lnTo>
                    <a:pt x="10" y="247"/>
                  </a:lnTo>
                  <a:lnTo>
                    <a:pt x="15" y="231"/>
                  </a:lnTo>
                  <a:lnTo>
                    <a:pt x="26" y="201"/>
                  </a:lnTo>
                  <a:lnTo>
                    <a:pt x="39" y="172"/>
                  </a:lnTo>
                  <a:lnTo>
                    <a:pt x="57" y="145"/>
                  </a:lnTo>
                  <a:lnTo>
                    <a:pt x="75" y="119"/>
                  </a:lnTo>
                  <a:lnTo>
                    <a:pt x="97" y="97"/>
                  </a:lnTo>
                  <a:lnTo>
                    <a:pt x="120" y="75"/>
                  </a:lnTo>
                  <a:lnTo>
                    <a:pt x="145" y="56"/>
                  </a:lnTo>
                  <a:lnTo>
                    <a:pt x="172" y="40"/>
                  </a:lnTo>
                  <a:lnTo>
                    <a:pt x="200" y="25"/>
                  </a:lnTo>
                  <a:lnTo>
                    <a:pt x="231" y="15"/>
                  </a:lnTo>
                  <a:lnTo>
                    <a:pt x="246" y="11"/>
                  </a:lnTo>
                  <a:lnTo>
                    <a:pt x="262" y="7"/>
                  </a:lnTo>
                  <a:lnTo>
                    <a:pt x="278" y="4"/>
                  </a:lnTo>
                  <a:lnTo>
                    <a:pt x="296" y="1"/>
                  </a:lnTo>
                  <a:lnTo>
                    <a:pt x="312" y="0"/>
                  </a:lnTo>
                  <a:lnTo>
                    <a:pt x="329" y="0"/>
                  </a:lnTo>
                  <a:lnTo>
                    <a:pt x="329" y="0"/>
                  </a:lnTo>
                  <a:lnTo>
                    <a:pt x="346" y="0"/>
                  </a:lnTo>
                  <a:lnTo>
                    <a:pt x="363" y="1"/>
                  </a:lnTo>
                  <a:lnTo>
                    <a:pt x="379" y="4"/>
                  </a:lnTo>
                  <a:lnTo>
                    <a:pt x="395" y="7"/>
                  </a:lnTo>
                  <a:lnTo>
                    <a:pt x="411" y="11"/>
                  </a:lnTo>
                  <a:lnTo>
                    <a:pt x="426" y="15"/>
                  </a:lnTo>
                  <a:lnTo>
                    <a:pt x="457" y="25"/>
                  </a:lnTo>
                  <a:lnTo>
                    <a:pt x="485" y="40"/>
                  </a:lnTo>
                  <a:lnTo>
                    <a:pt x="512" y="56"/>
                  </a:lnTo>
                  <a:lnTo>
                    <a:pt x="538" y="75"/>
                  </a:lnTo>
                  <a:lnTo>
                    <a:pt x="562" y="97"/>
                  </a:lnTo>
                  <a:lnTo>
                    <a:pt x="582" y="119"/>
                  </a:lnTo>
                  <a:lnTo>
                    <a:pt x="601" y="145"/>
                  </a:lnTo>
                  <a:lnTo>
                    <a:pt x="618" y="172"/>
                  </a:lnTo>
                  <a:lnTo>
                    <a:pt x="632" y="201"/>
                  </a:lnTo>
                  <a:lnTo>
                    <a:pt x="642" y="231"/>
                  </a:lnTo>
                  <a:lnTo>
                    <a:pt x="648" y="247"/>
                  </a:lnTo>
                  <a:lnTo>
                    <a:pt x="650" y="263"/>
                  </a:lnTo>
                  <a:lnTo>
                    <a:pt x="653" y="279"/>
                  </a:lnTo>
                  <a:lnTo>
                    <a:pt x="656" y="295"/>
                  </a:lnTo>
                  <a:lnTo>
                    <a:pt x="657" y="312"/>
                  </a:lnTo>
                  <a:lnTo>
                    <a:pt x="657" y="329"/>
                  </a:lnTo>
                  <a:lnTo>
                    <a:pt x="657" y="329"/>
                  </a:lnTo>
                  <a:lnTo>
                    <a:pt x="657" y="347"/>
                  </a:lnTo>
                  <a:lnTo>
                    <a:pt x="656" y="363"/>
                  </a:lnTo>
                  <a:lnTo>
                    <a:pt x="653" y="379"/>
                  </a:lnTo>
                  <a:lnTo>
                    <a:pt x="650" y="395"/>
                  </a:lnTo>
                  <a:lnTo>
                    <a:pt x="648" y="411"/>
                  </a:lnTo>
                  <a:lnTo>
                    <a:pt x="642" y="427"/>
                  </a:lnTo>
                  <a:lnTo>
                    <a:pt x="632" y="457"/>
                  </a:lnTo>
                  <a:lnTo>
                    <a:pt x="618" y="486"/>
                  </a:lnTo>
                  <a:lnTo>
                    <a:pt x="601" y="513"/>
                  </a:lnTo>
                  <a:lnTo>
                    <a:pt x="582" y="539"/>
                  </a:lnTo>
                  <a:lnTo>
                    <a:pt x="562" y="561"/>
                  </a:lnTo>
                  <a:lnTo>
                    <a:pt x="538" y="583"/>
                  </a:lnTo>
                  <a:lnTo>
                    <a:pt x="512" y="602"/>
                  </a:lnTo>
                  <a:lnTo>
                    <a:pt x="485" y="618"/>
                  </a:lnTo>
                  <a:lnTo>
                    <a:pt x="457" y="631"/>
                  </a:lnTo>
                  <a:lnTo>
                    <a:pt x="426" y="643"/>
                  </a:lnTo>
                  <a:lnTo>
                    <a:pt x="411" y="647"/>
                  </a:lnTo>
                  <a:lnTo>
                    <a:pt x="395" y="651"/>
                  </a:lnTo>
                  <a:lnTo>
                    <a:pt x="379" y="654"/>
                  </a:lnTo>
                  <a:lnTo>
                    <a:pt x="363" y="656"/>
                  </a:lnTo>
                  <a:lnTo>
                    <a:pt x="346" y="657"/>
                  </a:lnTo>
                  <a:lnTo>
                    <a:pt x="329" y="658"/>
                  </a:lnTo>
                  <a:lnTo>
                    <a:pt x="329" y="658"/>
                  </a:lnTo>
                  <a:close/>
                  <a:moveTo>
                    <a:pt x="329" y="38"/>
                  </a:moveTo>
                  <a:lnTo>
                    <a:pt x="329" y="38"/>
                  </a:lnTo>
                  <a:lnTo>
                    <a:pt x="298" y="39"/>
                  </a:lnTo>
                  <a:lnTo>
                    <a:pt x="270" y="44"/>
                  </a:lnTo>
                  <a:lnTo>
                    <a:pt x="242" y="51"/>
                  </a:lnTo>
                  <a:lnTo>
                    <a:pt x="215" y="60"/>
                  </a:lnTo>
                  <a:lnTo>
                    <a:pt x="190" y="72"/>
                  </a:lnTo>
                  <a:lnTo>
                    <a:pt x="166" y="87"/>
                  </a:lnTo>
                  <a:lnTo>
                    <a:pt x="144" y="105"/>
                  </a:lnTo>
                  <a:lnTo>
                    <a:pt x="123" y="124"/>
                  </a:lnTo>
                  <a:lnTo>
                    <a:pt x="104" y="144"/>
                  </a:lnTo>
                  <a:lnTo>
                    <a:pt x="88" y="166"/>
                  </a:lnTo>
                  <a:lnTo>
                    <a:pt x="73" y="191"/>
                  </a:lnTo>
                  <a:lnTo>
                    <a:pt x="61" y="216"/>
                  </a:lnTo>
                  <a:lnTo>
                    <a:pt x="51" y="243"/>
                  </a:lnTo>
                  <a:lnTo>
                    <a:pt x="43" y="270"/>
                  </a:lnTo>
                  <a:lnTo>
                    <a:pt x="39" y="299"/>
                  </a:lnTo>
                  <a:lnTo>
                    <a:pt x="38" y="329"/>
                  </a:lnTo>
                  <a:lnTo>
                    <a:pt x="38" y="329"/>
                  </a:lnTo>
                  <a:lnTo>
                    <a:pt x="39" y="359"/>
                  </a:lnTo>
                  <a:lnTo>
                    <a:pt x="43" y="388"/>
                  </a:lnTo>
                  <a:lnTo>
                    <a:pt x="51" y="415"/>
                  </a:lnTo>
                  <a:lnTo>
                    <a:pt x="61" y="442"/>
                  </a:lnTo>
                  <a:lnTo>
                    <a:pt x="73" y="467"/>
                  </a:lnTo>
                  <a:lnTo>
                    <a:pt x="88" y="492"/>
                  </a:lnTo>
                  <a:lnTo>
                    <a:pt x="104" y="514"/>
                  </a:lnTo>
                  <a:lnTo>
                    <a:pt x="123" y="535"/>
                  </a:lnTo>
                  <a:lnTo>
                    <a:pt x="144" y="553"/>
                  </a:lnTo>
                  <a:lnTo>
                    <a:pt x="166" y="571"/>
                  </a:lnTo>
                  <a:lnTo>
                    <a:pt x="190" y="584"/>
                  </a:lnTo>
                  <a:lnTo>
                    <a:pt x="215" y="598"/>
                  </a:lnTo>
                  <a:lnTo>
                    <a:pt x="242" y="607"/>
                  </a:lnTo>
                  <a:lnTo>
                    <a:pt x="270" y="614"/>
                  </a:lnTo>
                  <a:lnTo>
                    <a:pt x="298" y="619"/>
                  </a:lnTo>
                  <a:lnTo>
                    <a:pt x="329" y="621"/>
                  </a:lnTo>
                  <a:lnTo>
                    <a:pt x="329" y="621"/>
                  </a:lnTo>
                  <a:lnTo>
                    <a:pt x="359" y="619"/>
                  </a:lnTo>
                  <a:lnTo>
                    <a:pt x="387" y="614"/>
                  </a:lnTo>
                  <a:lnTo>
                    <a:pt x="415" y="607"/>
                  </a:lnTo>
                  <a:lnTo>
                    <a:pt x="442" y="598"/>
                  </a:lnTo>
                  <a:lnTo>
                    <a:pt x="468" y="584"/>
                  </a:lnTo>
                  <a:lnTo>
                    <a:pt x="492" y="571"/>
                  </a:lnTo>
                  <a:lnTo>
                    <a:pt x="513" y="553"/>
                  </a:lnTo>
                  <a:lnTo>
                    <a:pt x="535" y="535"/>
                  </a:lnTo>
                  <a:lnTo>
                    <a:pt x="554" y="514"/>
                  </a:lnTo>
                  <a:lnTo>
                    <a:pt x="570" y="492"/>
                  </a:lnTo>
                  <a:lnTo>
                    <a:pt x="585" y="467"/>
                  </a:lnTo>
                  <a:lnTo>
                    <a:pt x="597" y="442"/>
                  </a:lnTo>
                  <a:lnTo>
                    <a:pt x="607" y="415"/>
                  </a:lnTo>
                  <a:lnTo>
                    <a:pt x="614" y="388"/>
                  </a:lnTo>
                  <a:lnTo>
                    <a:pt x="618" y="359"/>
                  </a:lnTo>
                  <a:lnTo>
                    <a:pt x="620" y="329"/>
                  </a:lnTo>
                  <a:lnTo>
                    <a:pt x="620" y="329"/>
                  </a:lnTo>
                  <a:lnTo>
                    <a:pt x="618" y="299"/>
                  </a:lnTo>
                  <a:lnTo>
                    <a:pt x="614" y="270"/>
                  </a:lnTo>
                  <a:lnTo>
                    <a:pt x="607" y="243"/>
                  </a:lnTo>
                  <a:lnTo>
                    <a:pt x="597" y="216"/>
                  </a:lnTo>
                  <a:lnTo>
                    <a:pt x="585" y="191"/>
                  </a:lnTo>
                  <a:lnTo>
                    <a:pt x="570" y="166"/>
                  </a:lnTo>
                  <a:lnTo>
                    <a:pt x="554" y="144"/>
                  </a:lnTo>
                  <a:lnTo>
                    <a:pt x="535" y="124"/>
                  </a:lnTo>
                  <a:lnTo>
                    <a:pt x="513" y="105"/>
                  </a:lnTo>
                  <a:lnTo>
                    <a:pt x="492" y="87"/>
                  </a:lnTo>
                  <a:lnTo>
                    <a:pt x="468" y="72"/>
                  </a:lnTo>
                  <a:lnTo>
                    <a:pt x="442" y="60"/>
                  </a:lnTo>
                  <a:lnTo>
                    <a:pt x="415" y="51"/>
                  </a:lnTo>
                  <a:lnTo>
                    <a:pt x="387" y="44"/>
                  </a:lnTo>
                  <a:lnTo>
                    <a:pt x="359" y="39"/>
                  </a:lnTo>
                  <a:lnTo>
                    <a:pt x="329" y="38"/>
                  </a:lnTo>
                  <a:lnTo>
                    <a:pt x="329" y="3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pic>
          <p:nvPicPr>
            <p:cNvPr id="247" name="Picture 246" descr="star22.ai">
              <a:extLst>
                <a:ext uri="{FF2B5EF4-FFF2-40B4-BE49-F238E27FC236}">
                  <a16:creationId xmlns:a16="http://schemas.microsoft.com/office/drawing/2014/main" id="{649C9274-0D05-48A3-8DF4-BAB8A8FF09AA}"/>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25481" t="20416" r="22117" b="25727"/>
            <a:stretch/>
          </p:blipFill>
          <p:spPr>
            <a:xfrm>
              <a:off x="2193540" y="1731064"/>
              <a:ext cx="241161" cy="247859"/>
            </a:xfrm>
            <a:prstGeom prst="rect">
              <a:avLst/>
            </a:prstGeom>
          </p:spPr>
        </p:pic>
      </p:grpSp>
      <p:grpSp>
        <p:nvGrpSpPr>
          <p:cNvPr id="248" name="Group 247">
            <a:extLst>
              <a:ext uri="{FF2B5EF4-FFF2-40B4-BE49-F238E27FC236}">
                <a16:creationId xmlns:a16="http://schemas.microsoft.com/office/drawing/2014/main" id="{226C2DD7-549F-4926-BC17-04C76EF8C493}"/>
              </a:ext>
            </a:extLst>
          </p:cNvPr>
          <p:cNvGrpSpPr/>
          <p:nvPr/>
        </p:nvGrpSpPr>
        <p:grpSpPr>
          <a:xfrm>
            <a:off x="862259" y="2485042"/>
            <a:ext cx="320040" cy="320040"/>
            <a:chOff x="862259" y="2485042"/>
            <a:chExt cx="320040" cy="320040"/>
          </a:xfrm>
        </p:grpSpPr>
        <p:sp>
          <p:nvSpPr>
            <p:cNvPr id="249" name="Freeform 28">
              <a:extLst>
                <a:ext uri="{FF2B5EF4-FFF2-40B4-BE49-F238E27FC236}">
                  <a16:creationId xmlns:a16="http://schemas.microsoft.com/office/drawing/2014/main" id="{294DC8AD-1CBA-42B3-9106-A7C3B9FD9E01}"/>
                </a:ext>
              </a:extLst>
            </p:cNvPr>
            <p:cNvSpPr>
              <a:spLocks noEditPoints="1"/>
            </p:cNvSpPr>
            <p:nvPr/>
          </p:nvSpPr>
          <p:spPr bwMode="auto">
            <a:xfrm>
              <a:off x="862259" y="2485042"/>
              <a:ext cx="320040" cy="320040"/>
            </a:xfrm>
            <a:custGeom>
              <a:avLst/>
              <a:gdLst>
                <a:gd name="T0" fmla="*/ 313 w 659"/>
                <a:gd name="T1" fmla="*/ 659 h 659"/>
                <a:gd name="T2" fmla="*/ 264 w 659"/>
                <a:gd name="T3" fmla="*/ 652 h 659"/>
                <a:gd name="T4" fmla="*/ 202 w 659"/>
                <a:gd name="T5" fmla="*/ 633 h 659"/>
                <a:gd name="T6" fmla="*/ 120 w 659"/>
                <a:gd name="T7" fmla="*/ 583 h 659"/>
                <a:gd name="T8" fmla="*/ 57 w 659"/>
                <a:gd name="T9" fmla="*/ 513 h 659"/>
                <a:gd name="T10" fmla="*/ 15 w 659"/>
                <a:gd name="T11" fmla="*/ 427 h 659"/>
                <a:gd name="T12" fmla="*/ 4 w 659"/>
                <a:gd name="T13" fmla="*/ 379 h 659"/>
                <a:gd name="T14" fmla="*/ 0 w 659"/>
                <a:gd name="T15" fmla="*/ 329 h 659"/>
                <a:gd name="T16" fmla="*/ 3 w 659"/>
                <a:gd name="T17" fmla="*/ 296 h 659"/>
                <a:gd name="T18" fmla="*/ 11 w 659"/>
                <a:gd name="T19" fmla="*/ 247 h 659"/>
                <a:gd name="T20" fmla="*/ 41 w 659"/>
                <a:gd name="T21" fmla="*/ 174 h 659"/>
                <a:gd name="T22" fmla="*/ 97 w 659"/>
                <a:gd name="T23" fmla="*/ 97 h 659"/>
                <a:gd name="T24" fmla="*/ 174 w 659"/>
                <a:gd name="T25" fmla="*/ 41 h 659"/>
                <a:gd name="T26" fmla="*/ 248 w 659"/>
                <a:gd name="T27" fmla="*/ 11 h 659"/>
                <a:gd name="T28" fmla="*/ 296 w 659"/>
                <a:gd name="T29" fmla="*/ 3 h 659"/>
                <a:gd name="T30" fmla="*/ 330 w 659"/>
                <a:gd name="T31" fmla="*/ 0 h 659"/>
                <a:gd name="T32" fmla="*/ 379 w 659"/>
                <a:gd name="T33" fmla="*/ 4 h 659"/>
                <a:gd name="T34" fmla="*/ 428 w 659"/>
                <a:gd name="T35" fmla="*/ 15 h 659"/>
                <a:gd name="T36" fmla="*/ 514 w 659"/>
                <a:gd name="T37" fmla="*/ 57 h 659"/>
                <a:gd name="T38" fmla="*/ 583 w 659"/>
                <a:gd name="T39" fmla="*/ 121 h 659"/>
                <a:gd name="T40" fmla="*/ 633 w 659"/>
                <a:gd name="T41" fmla="*/ 202 h 659"/>
                <a:gd name="T42" fmla="*/ 652 w 659"/>
                <a:gd name="T43" fmla="*/ 264 h 659"/>
                <a:gd name="T44" fmla="*/ 659 w 659"/>
                <a:gd name="T45" fmla="*/ 313 h 659"/>
                <a:gd name="T46" fmla="*/ 659 w 659"/>
                <a:gd name="T47" fmla="*/ 347 h 659"/>
                <a:gd name="T48" fmla="*/ 652 w 659"/>
                <a:gd name="T49" fmla="*/ 395 h 659"/>
                <a:gd name="T50" fmla="*/ 633 w 659"/>
                <a:gd name="T51" fmla="*/ 457 h 659"/>
                <a:gd name="T52" fmla="*/ 583 w 659"/>
                <a:gd name="T53" fmla="*/ 539 h 659"/>
                <a:gd name="T54" fmla="*/ 514 w 659"/>
                <a:gd name="T55" fmla="*/ 602 h 659"/>
                <a:gd name="T56" fmla="*/ 428 w 659"/>
                <a:gd name="T57" fmla="*/ 644 h 659"/>
                <a:gd name="T58" fmla="*/ 379 w 659"/>
                <a:gd name="T59" fmla="*/ 654 h 659"/>
                <a:gd name="T60" fmla="*/ 330 w 659"/>
                <a:gd name="T61" fmla="*/ 659 h 659"/>
                <a:gd name="T62" fmla="*/ 330 w 659"/>
                <a:gd name="T63" fmla="*/ 38 h 659"/>
                <a:gd name="T64" fmla="*/ 244 w 659"/>
                <a:gd name="T65" fmla="*/ 51 h 659"/>
                <a:gd name="T66" fmla="*/ 167 w 659"/>
                <a:gd name="T67" fmla="*/ 88 h 659"/>
                <a:gd name="T68" fmla="*/ 105 w 659"/>
                <a:gd name="T69" fmla="*/ 144 h 659"/>
                <a:gd name="T70" fmla="*/ 61 w 659"/>
                <a:gd name="T71" fmla="*/ 217 h 659"/>
                <a:gd name="T72" fmla="*/ 39 w 659"/>
                <a:gd name="T73" fmla="*/ 300 h 659"/>
                <a:gd name="T74" fmla="*/ 39 w 659"/>
                <a:gd name="T75" fmla="*/ 359 h 659"/>
                <a:gd name="T76" fmla="*/ 61 w 659"/>
                <a:gd name="T77" fmla="*/ 442 h 659"/>
                <a:gd name="T78" fmla="*/ 105 w 659"/>
                <a:gd name="T79" fmla="*/ 515 h 659"/>
                <a:gd name="T80" fmla="*/ 167 w 659"/>
                <a:gd name="T81" fmla="*/ 571 h 659"/>
                <a:gd name="T82" fmla="*/ 244 w 659"/>
                <a:gd name="T83" fmla="*/ 607 h 659"/>
                <a:gd name="T84" fmla="*/ 330 w 659"/>
                <a:gd name="T85" fmla="*/ 621 h 659"/>
                <a:gd name="T86" fmla="*/ 389 w 659"/>
                <a:gd name="T87" fmla="*/ 614 h 659"/>
                <a:gd name="T88" fmla="*/ 468 w 659"/>
                <a:gd name="T89" fmla="*/ 586 h 659"/>
                <a:gd name="T90" fmla="*/ 535 w 659"/>
                <a:gd name="T91" fmla="*/ 535 h 659"/>
                <a:gd name="T92" fmla="*/ 586 w 659"/>
                <a:gd name="T93" fmla="*/ 468 h 659"/>
                <a:gd name="T94" fmla="*/ 614 w 659"/>
                <a:gd name="T95" fmla="*/ 388 h 659"/>
                <a:gd name="T96" fmla="*/ 621 w 659"/>
                <a:gd name="T97" fmla="*/ 329 h 659"/>
                <a:gd name="T98" fmla="*/ 608 w 659"/>
                <a:gd name="T99" fmla="*/ 243 h 659"/>
                <a:gd name="T100" fmla="*/ 571 w 659"/>
                <a:gd name="T101" fmla="*/ 167 h 659"/>
                <a:gd name="T102" fmla="*/ 515 w 659"/>
                <a:gd name="T103" fmla="*/ 105 h 659"/>
                <a:gd name="T104" fmla="*/ 442 w 659"/>
                <a:gd name="T105" fmla="*/ 61 h 659"/>
                <a:gd name="T106" fmla="*/ 359 w 659"/>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9">
                  <a:moveTo>
                    <a:pt x="330" y="659"/>
                  </a:moveTo>
                  <a:lnTo>
                    <a:pt x="330" y="659"/>
                  </a:lnTo>
                  <a:lnTo>
                    <a:pt x="313" y="659"/>
                  </a:lnTo>
                  <a:lnTo>
                    <a:pt x="296" y="657"/>
                  </a:lnTo>
                  <a:lnTo>
                    <a:pt x="280" y="654"/>
                  </a:lnTo>
                  <a:lnTo>
                    <a:pt x="264" y="652"/>
                  </a:lnTo>
                  <a:lnTo>
                    <a:pt x="248" y="648"/>
                  </a:lnTo>
                  <a:lnTo>
                    <a:pt x="231" y="644"/>
                  </a:lnTo>
                  <a:lnTo>
                    <a:pt x="202" y="633"/>
                  </a:lnTo>
                  <a:lnTo>
                    <a:pt x="174" y="618"/>
                  </a:lnTo>
                  <a:lnTo>
                    <a:pt x="146" y="602"/>
                  </a:lnTo>
                  <a:lnTo>
                    <a:pt x="120" y="583"/>
                  </a:lnTo>
                  <a:lnTo>
                    <a:pt x="97" y="562"/>
                  </a:lnTo>
                  <a:lnTo>
                    <a:pt x="76" y="539"/>
                  </a:lnTo>
                  <a:lnTo>
                    <a:pt x="57" y="513"/>
                  </a:lnTo>
                  <a:lnTo>
                    <a:pt x="41" y="487"/>
                  </a:lnTo>
                  <a:lnTo>
                    <a:pt x="27" y="457"/>
                  </a:lnTo>
                  <a:lnTo>
                    <a:pt x="15" y="427"/>
                  </a:lnTo>
                  <a:lnTo>
                    <a:pt x="11" y="411"/>
                  </a:lnTo>
                  <a:lnTo>
                    <a:pt x="7" y="395"/>
                  </a:lnTo>
                  <a:lnTo>
                    <a:pt x="4" y="379"/>
                  </a:lnTo>
                  <a:lnTo>
                    <a:pt x="3" y="363"/>
                  </a:lnTo>
                  <a:lnTo>
                    <a:pt x="2" y="347"/>
                  </a:lnTo>
                  <a:lnTo>
                    <a:pt x="0" y="329"/>
                  </a:lnTo>
                  <a:lnTo>
                    <a:pt x="0" y="329"/>
                  </a:lnTo>
                  <a:lnTo>
                    <a:pt x="2" y="313"/>
                  </a:lnTo>
                  <a:lnTo>
                    <a:pt x="3" y="296"/>
                  </a:lnTo>
                  <a:lnTo>
                    <a:pt x="4" y="280"/>
                  </a:lnTo>
                  <a:lnTo>
                    <a:pt x="7" y="264"/>
                  </a:lnTo>
                  <a:lnTo>
                    <a:pt x="11" y="247"/>
                  </a:lnTo>
                  <a:lnTo>
                    <a:pt x="15" y="231"/>
                  </a:lnTo>
                  <a:lnTo>
                    <a:pt x="27" y="202"/>
                  </a:lnTo>
                  <a:lnTo>
                    <a:pt x="41" y="174"/>
                  </a:lnTo>
                  <a:lnTo>
                    <a:pt x="57" y="145"/>
                  </a:lnTo>
                  <a:lnTo>
                    <a:pt x="76" y="121"/>
                  </a:lnTo>
                  <a:lnTo>
                    <a:pt x="97" y="97"/>
                  </a:lnTo>
                  <a:lnTo>
                    <a:pt x="120" y="75"/>
                  </a:lnTo>
                  <a:lnTo>
                    <a:pt x="146" y="57"/>
                  </a:lnTo>
                  <a:lnTo>
                    <a:pt x="174" y="41"/>
                  </a:lnTo>
                  <a:lnTo>
                    <a:pt x="202" y="27"/>
                  </a:lnTo>
                  <a:lnTo>
                    <a:pt x="231" y="15"/>
                  </a:lnTo>
                  <a:lnTo>
                    <a:pt x="248" y="11"/>
                  </a:lnTo>
                  <a:lnTo>
                    <a:pt x="264" y="7"/>
                  </a:lnTo>
                  <a:lnTo>
                    <a:pt x="280" y="4"/>
                  </a:lnTo>
                  <a:lnTo>
                    <a:pt x="296" y="3"/>
                  </a:lnTo>
                  <a:lnTo>
                    <a:pt x="313" y="2"/>
                  </a:lnTo>
                  <a:lnTo>
                    <a:pt x="330" y="0"/>
                  </a:lnTo>
                  <a:lnTo>
                    <a:pt x="330" y="0"/>
                  </a:lnTo>
                  <a:lnTo>
                    <a:pt x="347" y="2"/>
                  </a:lnTo>
                  <a:lnTo>
                    <a:pt x="363" y="3"/>
                  </a:lnTo>
                  <a:lnTo>
                    <a:pt x="379" y="4"/>
                  </a:lnTo>
                  <a:lnTo>
                    <a:pt x="395" y="7"/>
                  </a:lnTo>
                  <a:lnTo>
                    <a:pt x="411" y="11"/>
                  </a:lnTo>
                  <a:lnTo>
                    <a:pt x="428" y="15"/>
                  </a:lnTo>
                  <a:lnTo>
                    <a:pt x="457" y="27"/>
                  </a:lnTo>
                  <a:lnTo>
                    <a:pt x="487" y="41"/>
                  </a:lnTo>
                  <a:lnTo>
                    <a:pt x="514" y="57"/>
                  </a:lnTo>
                  <a:lnTo>
                    <a:pt x="539" y="75"/>
                  </a:lnTo>
                  <a:lnTo>
                    <a:pt x="562" y="97"/>
                  </a:lnTo>
                  <a:lnTo>
                    <a:pt x="583" y="121"/>
                  </a:lnTo>
                  <a:lnTo>
                    <a:pt x="602" y="145"/>
                  </a:lnTo>
                  <a:lnTo>
                    <a:pt x="618" y="174"/>
                  </a:lnTo>
                  <a:lnTo>
                    <a:pt x="633" y="202"/>
                  </a:lnTo>
                  <a:lnTo>
                    <a:pt x="644" y="231"/>
                  </a:lnTo>
                  <a:lnTo>
                    <a:pt x="648" y="247"/>
                  </a:lnTo>
                  <a:lnTo>
                    <a:pt x="652" y="264"/>
                  </a:lnTo>
                  <a:lnTo>
                    <a:pt x="655" y="280"/>
                  </a:lnTo>
                  <a:lnTo>
                    <a:pt x="657" y="296"/>
                  </a:lnTo>
                  <a:lnTo>
                    <a:pt x="659" y="313"/>
                  </a:lnTo>
                  <a:lnTo>
                    <a:pt x="659" y="329"/>
                  </a:lnTo>
                  <a:lnTo>
                    <a:pt x="659" y="329"/>
                  </a:lnTo>
                  <a:lnTo>
                    <a:pt x="659" y="347"/>
                  </a:lnTo>
                  <a:lnTo>
                    <a:pt x="657" y="363"/>
                  </a:lnTo>
                  <a:lnTo>
                    <a:pt x="655" y="379"/>
                  </a:lnTo>
                  <a:lnTo>
                    <a:pt x="652" y="395"/>
                  </a:lnTo>
                  <a:lnTo>
                    <a:pt x="648" y="411"/>
                  </a:lnTo>
                  <a:lnTo>
                    <a:pt x="644" y="427"/>
                  </a:lnTo>
                  <a:lnTo>
                    <a:pt x="633" y="457"/>
                  </a:lnTo>
                  <a:lnTo>
                    <a:pt x="618" y="487"/>
                  </a:lnTo>
                  <a:lnTo>
                    <a:pt x="602" y="513"/>
                  </a:lnTo>
                  <a:lnTo>
                    <a:pt x="583" y="539"/>
                  </a:lnTo>
                  <a:lnTo>
                    <a:pt x="562" y="562"/>
                  </a:lnTo>
                  <a:lnTo>
                    <a:pt x="539" y="583"/>
                  </a:lnTo>
                  <a:lnTo>
                    <a:pt x="514" y="602"/>
                  </a:lnTo>
                  <a:lnTo>
                    <a:pt x="487" y="618"/>
                  </a:lnTo>
                  <a:lnTo>
                    <a:pt x="457" y="633"/>
                  </a:lnTo>
                  <a:lnTo>
                    <a:pt x="428" y="644"/>
                  </a:lnTo>
                  <a:lnTo>
                    <a:pt x="411" y="648"/>
                  </a:lnTo>
                  <a:lnTo>
                    <a:pt x="395" y="652"/>
                  </a:lnTo>
                  <a:lnTo>
                    <a:pt x="379" y="654"/>
                  </a:lnTo>
                  <a:lnTo>
                    <a:pt x="363" y="657"/>
                  </a:lnTo>
                  <a:lnTo>
                    <a:pt x="347" y="659"/>
                  </a:lnTo>
                  <a:lnTo>
                    <a:pt x="330" y="659"/>
                  </a:lnTo>
                  <a:lnTo>
                    <a:pt x="330" y="659"/>
                  </a:lnTo>
                  <a:close/>
                  <a:moveTo>
                    <a:pt x="330" y="38"/>
                  </a:moveTo>
                  <a:lnTo>
                    <a:pt x="330" y="38"/>
                  </a:lnTo>
                  <a:lnTo>
                    <a:pt x="300" y="39"/>
                  </a:lnTo>
                  <a:lnTo>
                    <a:pt x="270" y="45"/>
                  </a:lnTo>
                  <a:lnTo>
                    <a:pt x="244" y="51"/>
                  </a:lnTo>
                  <a:lnTo>
                    <a:pt x="217" y="61"/>
                  </a:lnTo>
                  <a:lnTo>
                    <a:pt x="191" y="74"/>
                  </a:lnTo>
                  <a:lnTo>
                    <a:pt x="167" y="88"/>
                  </a:lnTo>
                  <a:lnTo>
                    <a:pt x="144" y="105"/>
                  </a:lnTo>
                  <a:lnTo>
                    <a:pt x="124" y="124"/>
                  </a:lnTo>
                  <a:lnTo>
                    <a:pt x="105" y="144"/>
                  </a:lnTo>
                  <a:lnTo>
                    <a:pt x="88" y="167"/>
                  </a:lnTo>
                  <a:lnTo>
                    <a:pt x="74" y="191"/>
                  </a:lnTo>
                  <a:lnTo>
                    <a:pt x="61" y="217"/>
                  </a:lnTo>
                  <a:lnTo>
                    <a:pt x="51" y="243"/>
                  </a:lnTo>
                  <a:lnTo>
                    <a:pt x="45" y="272"/>
                  </a:lnTo>
                  <a:lnTo>
                    <a:pt x="39" y="300"/>
                  </a:lnTo>
                  <a:lnTo>
                    <a:pt x="38" y="329"/>
                  </a:lnTo>
                  <a:lnTo>
                    <a:pt x="38" y="329"/>
                  </a:lnTo>
                  <a:lnTo>
                    <a:pt x="39" y="359"/>
                  </a:lnTo>
                  <a:lnTo>
                    <a:pt x="45" y="388"/>
                  </a:lnTo>
                  <a:lnTo>
                    <a:pt x="51" y="417"/>
                  </a:lnTo>
                  <a:lnTo>
                    <a:pt x="61" y="442"/>
                  </a:lnTo>
                  <a:lnTo>
                    <a:pt x="74" y="468"/>
                  </a:lnTo>
                  <a:lnTo>
                    <a:pt x="88" y="492"/>
                  </a:lnTo>
                  <a:lnTo>
                    <a:pt x="105" y="515"/>
                  </a:lnTo>
                  <a:lnTo>
                    <a:pt x="124" y="535"/>
                  </a:lnTo>
                  <a:lnTo>
                    <a:pt x="144" y="554"/>
                  </a:lnTo>
                  <a:lnTo>
                    <a:pt x="167" y="571"/>
                  </a:lnTo>
                  <a:lnTo>
                    <a:pt x="191" y="586"/>
                  </a:lnTo>
                  <a:lnTo>
                    <a:pt x="217" y="598"/>
                  </a:lnTo>
                  <a:lnTo>
                    <a:pt x="244" y="607"/>
                  </a:lnTo>
                  <a:lnTo>
                    <a:pt x="270" y="614"/>
                  </a:lnTo>
                  <a:lnTo>
                    <a:pt x="300" y="620"/>
                  </a:lnTo>
                  <a:lnTo>
                    <a:pt x="330" y="621"/>
                  </a:lnTo>
                  <a:lnTo>
                    <a:pt x="330" y="621"/>
                  </a:lnTo>
                  <a:lnTo>
                    <a:pt x="359" y="620"/>
                  </a:lnTo>
                  <a:lnTo>
                    <a:pt x="389" y="614"/>
                  </a:lnTo>
                  <a:lnTo>
                    <a:pt x="416" y="607"/>
                  </a:lnTo>
                  <a:lnTo>
                    <a:pt x="442" y="598"/>
                  </a:lnTo>
                  <a:lnTo>
                    <a:pt x="468" y="586"/>
                  </a:lnTo>
                  <a:lnTo>
                    <a:pt x="492" y="571"/>
                  </a:lnTo>
                  <a:lnTo>
                    <a:pt x="515" y="554"/>
                  </a:lnTo>
                  <a:lnTo>
                    <a:pt x="535" y="535"/>
                  </a:lnTo>
                  <a:lnTo>
                    <a:pt x="554" y="515"/>
                  </a:lnTo>
                  <a:lnTo>
                    <a:pt x="571" y="492"/>
                  </a:lnTo>
                  <a:lnTo>
                    <a:pt x="586" y="468"/>
                  </a:lnTo>
                  <a:lnTo>
                    <a:pt x="598" y="442"/>
                  </a:lnTo>
                  <a:lnTo>
                    <a:pt x="608" y="417"/>
                  </a:lnTo>
                  <a:lnTo>
                    <a:pt x="614" y="388"/>
                  </a:lnTo>
                  <a:lnTo>
                    <a:pt x="620" y="359"/>
                  </a:lnTo>
                  <a:lnTo>
                    <a:pt x="621" y="329"/>
                  </a:lnTo>
                  <a:lnTo>
                    <a:pt x="621" y="329"/>
                  </a:lnTo>
                  <a:lnTo>
                    <a:pt x="620" y="300"/>
                  </a:lnTo>
                  <a:lnTo>
                    <a:pt x="614" y="272"/>
                  </a:lnTo>
                  <a:lnTo>
                    <a:pt x="608" y="243"/>
                  </a:lnTo>
                  <a:lnTo>
                    <a:pt x="598" y="217"/>
                  </a:lnTo>
                  <a:lnTo>
                    <a:pt x="586" y="191"/>
                  </a:lnTo>
                  <a:lnTo>
                    <a:pt x="571" y="167"/>
                  </a:lnTo>
                  <a:lnTo>
                    <a:pt x="554" y="144"/>
                  </a:lnTo>
                  <a:lnTo>
                    <a:pt x="535" y="124"/>
                  </a:lnTo>
                  <a:lnTo>
                    <a:pt x="515" y="105"/>
                  </a:lnTo>
                  <a:lnTo>
                    <a:pt x="492" y="88"/>
                  </a:lnTo>
                  <a:lnTo>
                    <a:pt x="468" y="74"/>
                  </a:lnTo>
                  <a:lnTo>
                    <a:pt x="442" y="61"/>
                  </a:lnTo>
                  <a:lnTo>
                    <a:pt x="416" y="51"/>
                  </a:lnTo>
                  <a:lnTo>
                    <a:pt x="389" y="45"/>
                  </a:lnTo>
                  <a:lnTo>
                    <a:pt x="359" y="39"/>
                  </a:lnTo>
                  <a:lnTo>
                    <a:pt x="330" y="38"/>
                  </a:lnTo>
                  <a:lnTo>
                    <a:pt x="330" y="38"/>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pic>
          <p:nvPicPr>
            <p:cNvPr id="250" name="Picture 249" descr="youtube.eps">
              <a:extLst>
                <a:ext uri="{FF2B5EF4-FFF2-40B4-BE49-F238E27FC236}">
                  <a16:creationId xmlns:a16="http://schemas.microsoft.com/office/drawing/2014/main" id="{515D9FB5-C5A7-459B-A605-69878010B59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19527" y="2538997"/>
              <a:ext cx="208280" cy="208280"/>
            </a:xfrm>
            <a:prstGeom prst="rect">
              <a:avLst/>
            </a:prstGeom>
          </p:spPr>
        </p:pic>
      </p:grpSp>
      <p:grpSp>
        <p:nvGrpSpPr>
          <p:cNvPr id="251" name="Group 250">
            <a:extLst>
              <a:ext uri="{FF2B5EF4-FFF2-40B4-BE49-F238E27FC236}">
                <a16:creationId xmlns:a16="http://schemas.microsoft.com/office/drawing/2014/main" id="{7D47324E-C6D8-472D-AAA9-84C6F3784884}"/>
              </a:ext>
            </a:extLst>
          </p:cNvPr>
          <p:cNvGrpSpPr/>
          <p:nvPr/>
        </p:nvGrpSpPr>
        <p:grpSpPr>
          <a:xfrm>
            <a:off x="2630252" y="5945187"/>
            <a:ext cx="319067" cy="320040"/>
            <a:chOff x="2263909" y="5798627"/>
            <a:chExt cx="319067" cy="320040"/>
          </a:xfrm>
        </p:grpSpPr>
        <p:sp>
          <p:nvSpPr>
            <p:cNvPr id="252" name="Freeform 68">
              <a:extLst>
                <a:ext uri="{FF2B5EF4-FFF2-40B4-BE49-F238E27FC236}">
                  <a16:creationId xmlns:a16="http://schemas.microsoft.com/office/drawing/2014/main" id="{AEF3D865-DEAA-48B5-94DF-7F7142EDE696}"/>
                </a:ext>
              </a:extLst>
            </p:cNvPr>
            <p:cNvSpPr>
              <a:spLocks noEditPoints="1"/>
            </p:cNvSpPr>
            <p:nvPr/>
          </p:nvSpPr>
          <p:spPr bwMode="auto">
            <a:xfrm>
              <a:off x="2263909" y="5798627"/>
              <a:ext cx="319067" cy="320040"/>
            </a:xfrm>
            <a:custGeom>
              <a:avLst/>
              <a:gdLst>
                <a:gd name="T0" fmla="*/ 311 w 656"/>
                <a:gd name="T1" fmla="*/ 658 h 658"/>
                <a:gd name="T2" fmla="*/ 261 w 656"/>
                <a:gd name="T3" fmla="*/ 651 h 658"/>
                <a:gd name="T4" fmla="*/ 200 w 656"/>
                <a:gd name="T5" fmla="*/ 633 h 658"/>
                <a:gd name="T6" fmla="*/ 119 w 656"/>
                <a:gd name="T7" fmla="*/ 583 h 658"/>
                <a:gd name="T8" fmla="*/ 55 w 656"/>
                <a:gd name="T9" fmla="*/ 513 h 658"/>
                <a:gd name="T10" fmla="*/ 14 w 656"/>
                <a:gd name="T11" fmla="*/ 427 h 658"/>
                <a:gd name="T12" fmla="*/ 2 w 656"/>
                <a:gd name="T13" fmla="*/ 379 h 658"/>
                <a:gd name="T14" fmla="*/ 0 w 656"/>
                <a:gd name="T15" fmla="*/ 329 h 658"/>
                <a:gd name="T16" fmla="*/ 1 w 656"/>
                <a:gd name="T17" fmla="*/ 296 h 658"/>
                <a:gd name="T18" fmla="*/ 9 w 656"/>
                <a:gd name="T19" fmla="*/ 247 h 658"/>
                <a:gd name="T20" fmla="*/ 38 w 656"/>
                <a:gd name="T21" fmla="*/ 173 h 658"/>
                <a:gd name="T22" fmla="*/ 95 w 656"/>
                <a:gd name="T23" fmla="*/ 97 h 658"/>
                <a:gd name="T24" fmla="*/ 171 w 656"/>
                <a:gd name="T25" fmla="*/ 40 h 658"/>
                <a:gd name="T26" fmla="*/ 245 w 656"/>
                <a:gd name="T27" fmla="*/ 11 h 658"/>
                <a:gd name="T28" fmla="*/ 294 w 656"/>
                <a:gd name="T29" fmla="*/ 3 h 658"/>
                <a:gd name="T30" fmla="*/ 327 w 656"/>
                <a:gd name="T31" fmla="*/ 0 h 658"/>
                <a:gd name="T32" fmla="*/ 378 w 656"/>
                <a:gd name="T33" fmla="*/ 4 h 658"/>
                <a:gd name="T34" fmla="*/ 425 w 656"/>
                <a:gd name="T35" fmla="*/ 15 h 658"/>
                <a:gd name="T36" fmla="*/ 511 w 656"/>
                <a:gd name="T37" fmla="*/ 57 h 658"/>
                <a:gd name="T38" fmla="*/ 581 w 656"/>
                <a:gd name="T39" fmla="*/ 121 h 658"/>
                <a:gd name="T40" fmla="*/ 631 w 656"/>
                <a:gd name="T41" fmla="*/ 202 h 658"/>
                <a:gd name="T42" fmla="*/ 649 w 656"/>
                <a:gd name="T43" fmla="*/ 263 h 658"/>
                <a:gd name="T44" fmla="*/ 656 w 656"/>
                <a:gd name="T45" fmla="*/ 313 h 658"/>
                <a:gd name="T46" fmla="*/ 656 w 656"/>
                <a:gd name="T47" fmla="*/ 347 h 658"/>
                <a:gd name="T48" fmla="*/ 649 w 656"/>
                <a:gd name="T49" fmla="*/ 395 h 658"/>
                <a:gd name="T50" fmla="*/ 631 w 656"/>
                <a:gd name="T51" fmla="*/ 457 h 658"/>
                <a:gd name="T52" fmla="*/ 581 w 656"/>
                <a:gd name="T53" fmla="*/ 539 h 658"/>
                <a:gd name="T54" fmla="*/ 511 w 656"/>
                <a:gd name="T55" fmla="*/ 602 h 658"/>
                <a:gd name="T56" fmla="*/ 425 w 656"/>
                <a:gd name="T57" fmla="*/ 643 h 658"/>
                <a:gd name="T58" fmla="*/ 378 w 656"/>
                <a:gd name="T59" fmla="*/ 654 h 658"/>
                <a:gd name="T60" fmla="*/ 327 w 656"/>
                <a:gd name="T61" fmla="*/ 658 h 658"/>
                <a:gd name="T62" fmla="*/ 327 w 656"/>
                <a:gd name="T63" fmla="*/ 38 h 658"/>
                <a:gd name="T64" fmla="*/ 241 w 656"/>
                <a:gd name="T65" fmla="*/ 51 h 658"/>
                <a:gd name="T66" fmla="*/ 165 w 656"/>
                <a:gd name="T67" fmla="*/ 87 h 658"/>
                <a:gd name="T68" fmla="*/ 103 w 656"/>
                <a:gd name="T69" fmla="*/ 144 h 658"/>
                <a:gd name="T70" fmla="*/ 60 w 656"/>
                <a:gd name="T71" fmla="*/ 216 h 658"/>
                <a:gd name="T72" fmla="*/ 38 w 656"/>
                <a:gd name="T73" fmla="*/ 300 h 658"/>
                <a:gd name="T74" fmla="*/ 38 w 656"/>
                <a:gd name="T75" fmla="*/ 359 h 658"/>
                <a:gd name="T76" fmla="*/ 60 w 656"/>
                <a:gd name="T77" fmla="*/ 442 h 658"/>
                <a:gd name="T78" fmla="*/ 103 w 656"/>
                <a:gd name="T79" fmla="*/ 514 h 658"/>
                <a:gd name="T80" fmla="*/ 165 w 656"/>
                <a:gd name="T81" fmla="*/ 571 h 658"/>
                <a:gd name="T82" fmla="*/ 241 w 656"/>
                <a:gd name="T83" fmla="*/ 607 h 658"/>
                <a:gd name="T84" fmla="*/ 327 w 656"/>
                <a:gd name="T85" fmla="*/ 621 h 658"/>
                <a:gd name="T86" fmla="*/ 386 w 656"/>
                <a:gd name="T87" fmla="*/ 614 h 658"/>
                <a:gd name="T88" fmla="*/ 467 w 656"/>
                <a:gd name="T89" fmla="*/ 586 h 658"/>
                <a:gd name="T90" fmla="*/ 533 w 656"/>
                <a:gd name="T91" fmla="*/ 535 h 658"/>
                <a:gd name="T92" fmla="*/ 584 w 656"/>
                <a:gd name="T93" fmla="*/ 467 h 658"/>
                <a:gd name="T94" fmla="*/ 613 w 656"/>
                <a:gd name="T95" fmla="*/ 388 h 658"/>
                <a:gd name="T96" fmla="*/ 619 w 656"/>
                <a:gd name="T97" fmla="*/ 329 h 658"/>
                <a:gd name="T98" fmla="*/ 605 w 656"/>
                <a:gd name="T99" fmla="*/ 243 h 658"/>
                <a:gd name="T100" fmla="*/ 569 w 656"/>
                <a:gd name="T101" fmla="*/ 167 h 658"/>
                <a:gd name="T102" fmla="*/ 512 w 656"/>
                <a:gd name="T103" fmla="*/ 105 h 658"/>
                <a:gd name="T104" fmla="*/ 441 w 656"/>
                <a:gd name="T105" fmla="*/ 61 h 658"/>
                <a:gd name="T106" fmla="*/ 357 w 656"/>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6" h="658">
                  <a:moveTo>
                    <a:pt x="327" y="658"/>
                  </a:moveTo>
                  <a:lnTo>
                    <a:pt x="327" y="658"/>
                  </a:lnTo>
                  <a:lnTo>
                    <a:pt x="311" y="658"/>
                  </a:lnTo>
                  <a:lnTo>
                    <a:pt x="294" y="657"/>
                  </a:lnTo>
                  <a:lnTo>
                    <a:pt x="277" y="654"/>
                  </a:lnTo>
                  <a:lnTo>
                    <a:pt x="261" y="651"/>
                  </a:lnTo>
                  <a:lnTo>
                    <a:pt x="245" y="647"/>
                  </a:lnTo>
                  <a:lnTo>
                    <a:pt x="230" y="643"/>
                  </a:lnTo>
                  <a:lnTo>
                    <a:pt x="200" y="633"/>
                  </a:lnTo>
                  <a:lnTo>
                    <a:pt x="171" y="618"/>
                  </a:lnTo>
                  <a:lnTo>
                    <a:pt x="145" y="602"/>
                  </a:lnTo>
                  <a:lnTo>
                    <a:pt x="119" y="583"/>
                  </a:lnTo>
                  <a:lnTo>
                    <a:pt x="95" y="561"/>
                  </a:lnTo>
                  <a:lnTo>
                    <a:pt x="73" y="539"/>
                  </a:lnTo>
                  <a:lnTo>
                    <a:pt x="55" y="513"/>
                  </a:lnTo>
                  <a:lnTo>
                    <a:pt x="38" y="486"/>
                  </a:lnTo>
                  <a:lnTo>
                    <a:pt x="25" y="457"/>
                  </a:lnTo>
                  <a:lnTo>
                    <a:pt x="14" y="427"/>
                  </a:lnTo>
                  <a:lnTo>
                    <a:pt x="9" y="411"/>
                  </a:lnTo>
                  <a:lnTo>
                    <a:pt x="5" y="395"/>
                  </a:lnTo>
                  <a:lnTo>
                    <a:pt x="2" y="379"/>
                  </a:lnTo>
                  <a:lnTo>
                    <a:pt x="1" y="363"/>
                  </a:lnTo>
                  <a:lnTo>
                    <a:pt x="0" y="347"/>
                  </a:lnTo>
                  <a:lnTo>
                    <a:pt x="0" y="329"/>
                  </a:lnTo>
                  <a:lnTo>
                    <a:pt x="0" y="329"/>
                  </a:lnTo>
                  <a:lnTo>
                    <a:pt x="0" y="313"/>
                  </a:lnTo>
                  <a:lnTo>
                    <a:pt x="1" y="296"/>
                  </a:lnTo>
                  <a:lnTo>
                    <a:pt x="2" y="279"/>
                  </a:lnTo>
                  <a:lnTo>
                    <a:pt x="5" y="263"/>
                  </a:lnTo>
                  <a:lnTo>
                    <a:pt x="9" y="247"/>
                  </a:lnTo>
                  <a:lnTo>
                    <a:pt x="14" y="231"/>
                  </a:lnTo>
                  <a:lnTo>
                    <a:pt x="25" y="202"/>
                  </a:lnTo>
                  <a:lnTo>
                    <a:pt x="38" y="173"/>
                  </a:lnTo>
                  <a:lnTo>
                    <a:pt x="55" y="145"/>
                  </a:lnTo>
                  <a:lnTo>
                    <a:pt x="73" y="121"/>
                  </a:lnTo>
                  <a:lnTo>
                    <a:pt x="95" y="97"/>
                  </a:lnTo>
                  <a:lnTo>
                    <a:pt x="119" y="75"/>
                  </a:lnTo>
                  <a:lnTo>
                    <a:pt x="145" y="57"/>
                  </a:lnTo>
                  <a:lnTo>
                    <a:pt x="171" y="40"/>
                  </a:lnTo>
                  <a:lnTo>
                    <a:pt x="200" y="27"/>
                  </a:lnTo>
                  <a:lnTo>
                    <a:pt x="230" y="15"/>
                  </a:lnTo>
                  <a:lnTo>
                    <a:pt x="245" y="11"/>
                  </a:lnTo>
                  <a:lnTo>
                    <a:pt x="261" y="7"/>
                  </a:lnTo>
                  <a:lnTo>
                    <a:pt x="277" y="4"/>
                  </a:lnTo>
                  <a:lnTo>
                    <a:pt x="294" y="3"/>
                  </a:lnTo>
                  <a:lnTo>
                    <a:pt x="311" y="1"/>
                  </a:lnTo>
                  <a:lnTo>
                    <a:pt x="327" y="0"/>
                  </a:lnTo>
                  <a:lnTo>
                    <a:pt x="327" y="0"/>
                  </a:lnTo>
                  <a:lnTo>
                    <a:pt x="345" y="1"/>
                  </a:lnTo>
                  <a:lnTo>
                    <a:pt x="361" y="3"/>
                  </a:lnTo>
                  <a:lnTo>
                    <a:pt x="378" y="4"/>
                  </a:lnTo>
                  <a:lnTo>
                    <a:pt x="394" y="7"/>
                  </a:lnTo>
                  <a:lnTo>
                    <a:pt x="409" y="11"/>
                  </a:lnTo>
                  <a:lnTo>
                    <a:pt x="425" y="15"/>
                  </a:lnTo>
                  <a:lnTo>
                    <a:pt x="455" y="27"/>
                  </a:lnTo>
                  <a:lnTo>
                    <a:pt x="484" y="40"/>
                  </a:lnTo>
                  <a:lnTo>
                    <a:pt x="511" y="57"/>
                  </a:lnTo>
                  <a:lnTo>
                    <a:pt x="537" y="75"/>
                  </a:lnTo>
                  <a:lnTo>
                    <a:pt x="559" y="97"/>
                  </a:lnTo>
                  <a:lnTo>
                    <a:pt x="581" y="121"/>
                  </a:lnTo>
                  <a:lnTo>
                    <a:pt x="600" y="145"/>
                  </a:lnTo>
                  <a:lnTo>
                    <a:pt x="616" y="173"/>
                  </a:lnTo>
                  <a:lnTo>
                    <a:pt x="631" y="202"/>
                  </a:lnTo>
                  <a:lnTo>
                    <a:pt x="641" y="231"/>
                  </a:lnTo>
                  <a:lnTo>
                    <a:pt x="645" y="247"/>
                  </a:lnTo>
                  <a:lnTo>
                    <a:pt x="649" y="263"/>
                  </a:lnTo>
                  <a:lnTo>
                    <a:pt x="652" y="279"/>
                  </a:lnTo>
                  <a:lnTo>
                    <a:pt x="655" y="296"/>
                  </a:lnTo>
                  <a:lnTo>
                    <a:pt x="656" y="313"/>
                  </a:lnTo>
                  <a:lnTo>
                    <a:pt x="656" y="329"/>
                  </a:lnTo>
                  <a:lnTo>
                    <a:pt x="656" y="329"/>
                  </a:lnTo>
                  <a:lnTo>
                    <a:pt x="656" y="347"/>
                  </a:lnTo>
                  <a:lnTo>
                    <a:pt x="655" y="363"/>
                  </a:lnTo>
                  <a:lnTo>
                    <a:pt x="652" y="379"/>
                  </a:lnTo>
                  <a:lnTo>
                    <a:pt x="649" y="395"/>
                  </a:lnTo>
                  <a:lnTo>
                    <a:pt x="645" y="411"/>
                  </a:lnTo>
                  <a:lnTo>
                    <a:pt x="641" y="427"/>
                  </a:lnTo>
                  <a:lnTo>
                    <a:pt x="631" y="457"/>
                  </a:lnTo>
                  <a:lnTo>
                    <a:pt x="616" y="486"/>
                  </a:lnTo>
                  <a:lnTo>
                    <a:pt x="600" y="513"/>
                  </a:lnTo>
                  <a:lnTo>
                    <a:pt x="581" y="539"/>
                  </a:lnTo>
                  <a:lnTo>
                    <a:pt x="559" y="561"/>
                  </a:lnTo>
                  <a:lnTo>
                    <a:pt x="537" y="583"/>
                  </a:lnTo>
                  <a:lnTo>
                    <a:pt x="511" y="602"/>
                  </a:lnTo>
                  <a:lnTo>
                    <a:pt x="484" y="618"/>
                  </a:lnTo>
                  <a:lnTo>
                    <a:pt x="455" y="633"/>
                  </a:lnTo>
                  <a:lnTo>
                    <a:pt x="425" y="643"/>
                  </a:lnTo>
                  <a:lnTo>
                    <a:pt x="409" y="647"/>
                  </a:lnTo>
                  <a:lnTo>
                    <a:pt x="394" y="651"/>
                  </a:lnTo>
                  <a:lnTo>
                    <a:pt x="378" y="654"/>
                  </a:lnTo>
                  <a:lnTo>
                    <a:pt x="361" y="657"/>
                  </a:lnTo>
                  <a:lnTo>
                    <a:pt x="345" y="658"/>
                  </a:lnTo>
                  <a:lnTo>
                    <a:pt x="327" y="658"/>
                  </a:lnTo>
                  <a:lnTo>
                    <a:pt x="327" y="658"/>
                  </a:lnTo>
                  <a:close/>
                  <a:moveTo>
                    <a:pt x="327" y="38"/>
                  </a:moveTo>
                  <a:lnTo>
                    <a:pt x="327" y="38"/>
                  </a:lnTo>
                  <a:lnTo>
                    <a:pt x="298" y="39"/>
                  </a:lnTo>
                  <a:lnTo>
                    <a:pt x="269" y="44"/>
                  </a:lnTo>
                  <a:lnTo>
                    <a:pt x="241" y="51"/>
                  </a:lnTo>
                  <a:lnTo>
                    <a:pt x="214" y="61"/>
                  </a:lnTo>
                  <a:lnTo>
                    <a:pt x="189" y="74"/>
                  </a:lnTo>
                  <a:lnTo>
                    <a:pt x="165" y="87"/>
                  </a:lnTo>
                  <a:lnTo>
                    <a:pt x="142" y="105"/>
                  </a:lnTo>
                  <a:lnTo>
                    <a:pt x="122" y="124"/>
                  </a:lnTo>
                  <a:lnTo>
                    <a:pt x="103" y="144"/>
                  </a:lnTo>
                  <a:lnTo>
                    <a:pt x="87" y="167"/>
                  </a:lnTo>
                  <a:lnTo>
                    <a:pt x="72" y="191"/>
                  </a:lnTo>
                  <a:lnTo>
                    <a:pt x="60" y="216"/>
                  </a:lnTo>
                  <a:lnTo>
                    <a:pt x="49" y="243"/>
                  </a:lnTo>
                  <a:lnTo>
                    <a:pt x="43" y="270"/>
                  </a:lnTo>
                  <a:lnTo>
                    <a:pt x="38" y="300"/>
                  </a:lnTo>
                  <a:lnTo>
                    <a:pt x="37" y="329"/>
                  </a:lnTo>
                  <a:lnTo>
                    <a:pt x="37" y="329"/>
                  </a:lnTo>
                  <a:lnTo>
                    <a:pt x="38" y="359"/>
                  </a:lnTo>
                  <a:lnTo>
                    <a:pt x="43" y="388"/>
                  </a:lnTo>
                  <a:lnTo>
                    <a:pt x="49" y="415"/>
                  </a:lnTo>
                  <a:lnTo>
                    <a:pt x="60" y="442"/>
                  </a:lnTo>
                  <a:lnTo>
                    <a:pt x="72" y="467"/>
                  </a:lnTo>
                  <a:lnTo>
                    <a:pt x="87" y="492"/>
                  </a:lnTo>
                  <a:lnTo>
                    <a:pt x="103" y="514"/>
                  </a:lnTo>
                  <a:lnTo>
                    <a:pt x="122" y="535"/>
                  </a:lnTo>
                  <a:lnTo>
                    <a:pt x="142" y="553"/>
                  </a:lnTo>
                  <a:lnTo>
                    <a:pt x="165" y="571"/>
                  </a:lnTo>
                  <a:lnTo>
                    <a:pt x="189" y="586"/>
                  </a:lnTo>
                  <a:lnTo>
                    <a:pt x="214" y="598"/>
                  </a:lnTo>
                  <a:lnTo>
                    <a:pt x="241" y="607"/>
                  </a:lnTo>
                  <a:lnTo>
                    <a:pt x="269" y="614"/>
                  </a:lnTo>
                  <a:lnTo>
                    <a:pt x="298" y="619"/>
                  </a:lnTo>
                  <a:lnTo>
                    <a:pt x="327" y="621"/>
                  </a:lnTo>
                  <a:lnTo>
                    <a:pt x="327" y="621"/>
                  </a:lnTo>
                  <a:lnTo>
                    <a:pt x="357" y="619"/>
                  </a:lnTo>
                  <a:lnTo>
                    <a:pt x="386" y="614"/>
                  </a:lnTo>
                  <a:lnTo>
                    <a:pt x="414" y="607"/>
                  </a:lnTo>
                  <a:lnTo>
                    <a:pt x="441" y="598"/>
                  </a:lnTo>
                  <a:lnTo>
                    <a:pt x="467" y="586"/>
                  </a:lnTo>
                  <a:lnTo>
                    <a:pt x="490" y="571"/>
                  </a:lnTo>
                  <a:lnTo>
                    <a:pt x="512" y="553"/>
                  </a:lnTo>
                  <a:lnTo>
                    <a:pt x="533" y="535"/>
                  </a:lnTo>
                  <a:lnTo>
                    <a:pt x="551" y="514"/>
                  </a:lnTo>
                  <a:lnTo>
                    <a:pt x="569" y="492"/>
                  </a:lnTo>
                  <a:lnTo>
                    <a:pt x="584" y="467"/>
                  </a:lnTo>
                  <a:lnTo>
                    <a:pt x="596" y="442"/>
                  </a:lnTo>
                  <a:lnTo>
                    <a:pt x="605" y="415"/>
                  </a:lnTo>
                  <a:lnTo>
                    <a:pt x="613" y="388"/>
                  </a:lnTo>
                  <a:lnTo>
                    <a:pt x="617" y="359"/>
                  </a:lnTo>
                  <a:lnTo>
                    <a:pt x="619" y="329"/>
                  </a:lnTo>
                  <a:lnTo>
                    <a:pt x="619" y="329"/>
                  </a:lnTo>
                  <a:lnTo>
                    <a:pt x="617" y="300"/>
                  </a:lnTo>
                  <a:lnTo>
                    <a:pt x="613" y="270"/>
                  </a:lnTo>
                  <a:lnTo>
                    <a:pt x="605" y="243"/>
                  </a:lnTo>
                  <a:lnTo>
                    <a:pt x="596" y="216"/>
                  </a:lnTo>
                  <a:lnTo>
                    <a:pt x="584" y="191"/>
                  </a:lnTo>
                  <a:lnTo>
                    <a:pt x="569" y="167"/>
                  </a:lnTo>
                  <a:lnTo>
                    <a:pt x="551" y="144"/>
                  </a:lnTo>
                  <a:lnTo>
                    <a:pt x="533" y="124"/>
                  </a:lnTo>
                  <a:lnTo>
                    <a:pt x="512" y="105"/>
                  </a:lnTo>
                  <a:lnTo>
                    <a:pt x="490" y="87"/>
                  </a:lnTo>
                  <a:lnTo>
                    <a:pt x="467" y="74"/>
                  </a:lnTo>
                  <a:lnTo>
                    <a:pt x="441" y="61"/>
                  </a:lnTo>
                  <a:lnTo>
                    <a:pt x="414" y="51"/>
                  </a:lnTo>
                  <a:lnTo>
                    <a:pt x="386" y="44"/>
                  </a:lnTo>
                  <a:lnTo>
                    <a:pt x="357" y="39"/>
                  </a:lnTo>
                  <a:lnTo>
                    <a:pt x="327" y="38"/>
                  </a:lnTo>
                  <a:lnTo>
                    <a:pt x="327" y="38"/>
                  </a:lnTo>
                  <a:close/>
                </a:path>
              </a:pathLst>
            </a:custGeom>
            <a:solidFill>
              <a:srgbClr val="8D8D8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pic>
          <p:nvPicPr>
            <p:cNvPr id="253" name="Picture 252" descr="rss.eps">
              <a:extLst>
                <a:ext uri="{FF2B5EF4-FFF2-40B4-BE49-F238E27FC236}">
                  <a16:creationId xmlns:a16="http://schemas.microsoft.com/office/drawing/2014/main" id="{8B646A04-48FE-44DB-8ED0-FE0BE1448395}"/>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349234" y="5848774"/>
              <a:ext cx="191303" cy="191303"/>
            </a:xfrm>
            <a:prstGeom prst="rect">
              <a:avLst/>
            </a:prstGeom>
          </p:spPr>
        </p:pic>
      </p:grpSp>
      <p:sp>
        <p:nvSpPr>
          <p:cNvPr id="254" name="TextBox 253">
            <a:extLst>
              <a:ext uri="{FF2B5EF4-FFF2-40B4-BE49-F238E27FC236}">
                <a16:creationId xmlns:a16="http://schemas.microsoft.com/office/drawing/2014/main" id="{4F6F9BDA-4B15-4564-A1D6-3EFB98A40EE1}"/>
              </a:ext>
            </a:extLst>
          </p:cNvPr>
          <p:cNvSpPr txBox="1"/>
          <p:nvPr/>
        </p:nvSpPr>
        <p:spPr>
          <a:xfrm>
            <a:off x="8789650" y="3902608"/>
            <a:ext cx="962413" cy="422435"/>
          </a:xfrm>
          <a:prstGeom prst="rect">
            <a:avLst/>
          </a:prstGeom>
          <a:ln>
            <a:noFill/>
          </a:ln>
        </p:spPr>
        <p:txBody>
          <a:bodyPr vert="horz" wrap="square" lIns="45720" tIns="31173" rIns="45720" bIns="31173" rtlCol="0" anchor="ct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Recurring Subscriptions</a:t>
            </a:r>
            <a:endParaRPr kumimoji="0" lang="en-US" sz="105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grpSp>
        <p:nvGrpSpPr>
          <p:cNvPr id="255" name="Group 254">
            <a:extLst>
              <a:ext uri="{FF2B5EF4-FFF2-40B4-BE49-F238E27FC236}">
                <a16:creationId xmlns:a16="http://schemas.microsoft.com/office/drawing/2014/main" id="{076B6A5D-0B66-4BA3-B29A-340B8FBDE2D8}"/>
              </a:ext>
            </a:extLst>
          </p:cNvPr>
          <p:cNvGrpSpPr>
            <a:grpSpLocks noChangeAspect="1"/>
          </p:cNvGrpSpPr>
          <p:nvPr/>
        </p:nvGrpSpPr>
        <p:grpSpPr>
          <a:xfrm>
            <a:off x="8419224" y="4075843"/>
            <a:ext cx="319067" cy="320040"/>
            <a:chOff x="5837238" y="5020310"/>
            <a:chExt cx="520700" cy="522288"/>
          </a:xfrm>
        </p:grpSpPr>
        <p:sp>
          <p:nvSpPr>
            <p:cNvPr id="256" name="Freeform 43">
              <a:extLst>
                <a:ext uri="{FF2B5EF4-FFF2-40B4-BE49-F238E27FC236}">
                  <a16:creationId xmlns:a16="http://schemas.microsoft.com/office/drawing/2014/main" id="{A8F1C56D-3635-41F2-ADD9-D1FE834FCC98}"/>
                </a:ext>
              </a:extLst>
            </p:cNvPr>
            <p:cNvSpPr>
              <a:spLocks noEditPoints="1"/>
            </p:cNvSpPr>
            <p:nvPr/>
          </p:nvSpPr>
          <p:spPr bwMode="auto">
            <a:xfrm>
              <a:off x="5837238" y="5020310"/>
              <a:ext cx="520700" cy="522288"/>
            </a:xfrm>
            <a:custGeom>
              <a:avLst/>
              <a:gdLst>
                <a:gd name="T0" fmla="*/ 312 w 658"/>
                <a:gd name="T1" fmla="*/ 657 h 657"/>
                <a:gd name="T2" fmla="*/ 262 w 658"/>
                <a:gd name="T3" fmla="*/ 650 h 657"/>
                <a:gd name="T4" fmla="*/ 201 w 658"/>
                <a:gd name="T5" fmla="*/ 632 h 657"/>
                <a:gd name="T6" fmla="*/ 120 w 658"/>
                <a:gd name="T7" fmla="*/ 582 h 657"/>
                <a:gd name="T8" fmla="*/ 57 w 658"/>
                <a:gd name="T9" fmla="*/ 512 h 657"/>
                <a:gd name="T10" fmla="*/ 15 w 658"/>
                <a:gd name="T11" fmla="*/ 426 h 657"/>
                <a:gd name="T12" fmla="*/ 4 w 658"/>
                <a:gd name="T13" fmla="*/ 379 h 657"/>
                <a:gd name="T14" fmla="*/ 0 w 658"/>
                <a:gd name="T15" fmla="*/ 328 h 657"/>
                <a:gd name="T16" fmla="*/ 2 w 658"/>
                <a:gd name="T17" fmla="*/ 294 h 657"/>
                <a:gd name="T18" fmla="*/ 10 w 658"/>
                <a:gd name="T19" fmla="*/ 246 h 657"/>
                <a:gd name="T20" fmla="*/ 39 w 658"/>
                <a:gd name="T21" fmla="*/ 172 h 657"/>
                <a:gd name="T22" fmla="*/ 96 w 658"/>
                <a:gd name="T23" fmla="*/ 95 h 657"/>
                <a:gd name="T24" fmla="*/ 172 w 658"/>
                <a:gd name="T25" fmla="*/ 39 h 657"/>
                <a:gd name="T26" fmla="*/ 246 w 658"/>
                <a:gd name="T27" fmla="*/ 9 h 657"/>
                <a:gd name="T28" fmla="*/ 295 w 658"/>
                <a:gd name="T29" fmla="*/ 1 h 657"/>
                <a:gd name="T30" fmla="*/ 328 w 658"/>
                <a:gd name="T31" fmla="*/ 0 h 657"/>
                <a:gd name="T32" fmla="*/ 379 w 658"/>
                <a:gd name="T33" fmla="*/ 3 h 657"/>
                <a:gd name="T34" fmla="*/ 426 w 658"/>
                <a:gd name="T35" fmla="*/ 15 h 657"/>
                <a:gd name="T36" fmla="*/ 512 w 658"/>
                <a:gd name="T37" fmla="*/ 56 h 657"/>
                <a:gd name="T38" fmla="*/ 582 w 658"/>
                <a:gd name="T39" fmla="*/ 120 h 657"/>
                <a:gd name="T40" fmla="*/ 632 w 658"/>
                <a:gd name="T41" fmla="*/ 200 h 657"/>
                <a:gd name="T42" fmla="*/ 651 w 658"/>
                <a:gd name="T43" fmla="*/ 262 h 657"/>
                <a:gd name="T44" fmla="*/ 658 w 658"/>
                <a:gd name="T45" fmla="*/ 312 h 657"/>
                <a:gd name="T46" fmla="*/ 658 w 658"/>
                <a:gd name="T47" fmla="*/ 345 h 657"/>
                <a:gd name="T48" fmla="*/ 651 w 658"/>
                <a:gd name="T49" fmla="*/ 395 h 657"/>
                <a:gd name="T50" fmla="*/ 632 w 658"/>
                <a:gd name="T51" fmla="*/ 457 h 657"/>
                <a:gd name="T52" fmla="*/ 582 w 658"/>
                <a:gd name="T53" fmla="*/ 538 h 657"/>
                <a:gd name="T54" fmla="*/ 512 w 658"/>
                <a:gd name="T55" fmla="*/ 601 h 657"/>
                <a:gd name="T56" fmla="*/ 426 w 658"/>
                <a:gd name="T57" fmla="*/ 642 h 657"/>
                <a:gd name="T58" fmla="*/ 379 w 658"/>
                <a:gd name="T59" fmla="*/ 653 h 657"/>
                <a:gd name="T60" fmla="*/ 328 w 658"/>
                <a:gd name="T61" fmla="*/ 657 h 657"/>
                <a:gd name="T62" fmla="*/ 328 w 658"/>
                <a:gd name="T63" fmla="*/ 38 h 657"/>
                <a:gd name="T64" fmla="*/ 242 w 658"/>
                <a:gd name="T65" fmla="*/ 50 h 657"/>
                <a:gd name="T66" fmla="*/ 166 w 658"/>
                <a:gd name="T67" fmla="*/ 87 h 657"/>
                <a:gd name="T68" fmla="*/ 104 w 658"/>
                <a:gd name="T69" fmla="*/ 144 h 657"/>
                <a:gd name="T70" fmla="*/ 61 w 658"/>
                <a:gd name="T71" fmla="*/ 215 h 657"/>
                <a:gd name="T72" fmla="*/ 39 w 658"/>
                <a:gd name="T73" fmla="*/ 298 h 657"/>
                <a:gd name="T74" fmla="*/ 39 w 658"/>
                <a:gd name="T75" fmla="*/ 359 h 657"/>
                <a:gd name="T76" fmla="*/ 61 w 658"/>
                <a:gd name="T77" fmla="*/ 442 h 657"/>
                <a:gd name="T78" fmla="*/ 104 w 658"/>
                <a:gd name="T79" fmla="*/ 513 h 657"/>
                <a:gd name="T80" fmla="*/ 166 w 658"/>
                <a:gd name="T81" fmla="*/ 570 h 657"/>
                <a:gd name="T82" fmla="*/ 242 w 658"/>
                <a:gd name="T83" fmla="*/ 606 h 657"/>
                <a:gd name="T84" fmla="*/ 328 w 658"/>
                <a:gd name="T85" fmla="*/ 620 h 657"/>
                <a:gd name="T86" fmla="*/ 387 w 658"/>
                <a:gd name="T87" fmla="*/ 614 h 657"/>
                <a:gd name="T88" fmla="*/ 468 w 658"/>
                <a:gd name="T89" fmla="*/ 585 h 657"/>
                <a:gd name="T90" fmla="*/ 535 w 658"/>
                <a:gd name="T91" fmla="*/ 535 h 657"/>
                <a:gd name="T92" fmla="*/ 585 w 658"/>
                <a:gd name="T93" fmla="*/ 468 h 657"/>
                <a:gd name="T94" fmla="*/ 615 w 658"/>
                <a:gd name="T95" fmla="*/ 387 h 657"/>
                <a:gd name="T96" fmla="*/ 620 w 658"/>
                <a:gd name="T97" fmla="*/ 328 h 657"/>
                <a:gd name="T98" fmla="*/ 607 w 658"/>
                <a:gd name="T99" fmla="*/ 242 h 657"/>
                <a:gd name="T100" fmla="*/ 570 w 658"/>
                <a:gd name="T101" fmla="*/ 165 h 657"/>
                <a:gd name="T102" fmla="*/ 514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8" y="657"/>
                  </a:moveTo>
                  <a:lnTo>
                    <a:pt x="328" y="657"/>
                  </a:lnTo>
                  <a:lnTo>
                    <a:pt x="312" y="657"/>
                  </a:lnTo>
                  <a:lnTo>
                    <a:pt x="295" y="656"/>
                  </a:lnTo>
                  <a:lnTo>
                    <a:pt x="279" y="653"/>
                  </a:lnTo>
                  <a:lnTo>
                    <a:pt x="262" y="650"/>
                  </a:lnTo>
                  <a:lnTo>
                    <a:pt x="246" y="646"/>
                  </a:lnTo>
                  <a:lnTo>
                    <a:pt x="232" y="642"/>
                  </a:lnTo>
                  <a:lnTo>
                    <a:pt x="201" y="632"/>
                  </a:lnTo>
                  <a:lnTo>
                    <a:pt x="172" y="618"/>
                  </a:lnTo>
                  <a:lnTo>
                    <a:pt x="146" y="601"/>
                  </a:lnTo>
                  <a:lnTo>
                    <a:pt x="120" y="582"/>
                  </a:lnTo>
                  <a:lnTo>
                    <a:pt x="96" y="560"/>
                  </a:lnTo>
                  <a:lnTo>
                    <a:pt x="76" y="538"/>
                  </a:lnTo>
                  <a:lnTo>
                    <a:pt x="57" y="512"/>
                  </a:lnTo>
                  <a:lnTo>
                    <a:pt x="39" y="485"/>
                  </a:lnTo>
                  <a:lnTo>
                    <a:pt x="26" y="457"/>
                  </a:lnTo>
                  <a:lnTo>
                    <a:pt x="15" y="426"/>
                  </a:lnTo>
                  <a:lnTo>
                    <a:pt x="10" y="411"/>
                  </a:lnTo>
                  <a:lnTo>
                    <a:pt x="7" y="395"/>
                  </a:lnTo>
                  <a:lnTo>
                    <a:pt x="4" y="379"/>
                  </a:lnTo>
                  <a:lnTo>
                    <a:pt x="2" y="362"/>
                  </a:lnTo>
                  <a:lnTo>
                    <a:pt x="0" y="345"/>
                  </a:lnTo>
                  <a:lnTo>
                    <a:pt x="0" y="328"/>
                  </a:lnTo>
                  <a:lnTo>
                    <a:pt x="0" y="328"/>
                  </a:lnTo>
                  <a:lnTo>
                    <a:pt x="0" y="312"/>
                  </a:lnTo>
                  <a:lnTo>
                    <a:pt x="2" y="294"/>
                  </a:lnTo>
                  <a:lnTo>
                    <a:pt x="4" y="278"/>
                  </a:lnTo>
                  <a:lnTo>
                    <a:pt x="7" y="262"/>
                  </a:lnTo>
                  <a:lnTo>
                    <a:pt x="10" y="246"/>
                  </a:lnTo>
                  <a:lnTo>
                    <a:pt x="15" y="231"/>
                  </a:lnTo>
                  <a:lnTo>
                    <a:pt x="26" y="200"/>
                  </a:lnTo>
                  <a:lnTo>
                    <a:pt x="39" y="172"/>
                  </a:lnTo>
                  <a:lnTo>
                    <a:pt x="57" y="145"/>
                  </a:lnTo>
                  <a:lnTo>
                    <a:pt x="76" y="120"/>
                  </a:lnTo>
                  <a:lnTo>
                    <a:pt x="96" y="95"/>
                  </a:lnTo>
                  <a:lnTo>
                    <a:pt x="120" y="75"/>
                  </a:lnTo>
                  <a:lnTo>
                    <a:pt x="146" y="56"/>
                  </a:lnTo>
                  <a:lnTo>
                    <a:pt x="172" y="39"/>
                  </a:lnTo>
                  <a:lnTo>
                    <a:pt x="201" y="25"/>
                  </a:lnTo>
                  <a:lnTo>
                    <a:pt x="232" y="15"/>
                  </a:lnTo>
                  <a:lnTo>
                    <a:pt x="246" y="9"/>
                  </a:lnTo>
                  <a:lnTo>
                    <a:pt x="262" y="7"/>
                  </a:lnTo>
                  <a:lnTo>
                    <a:pt x="279" y="3"/>
                  </a:lnTo>
                  <a:lnTo>
                    <a:pt x="295" y="1"/>
                  </a:lnTo>
                  <a:lnTo>
                    <a:pt x="312" y="0"/>
                  </a:lnTo>
                  <a:lnTo>
                    <a:pt x="328" y="0"/>
                  </a:lnTo>
                  <a:lnTo>
                    <a:pt x="328" y="0"/>
                  </a:lnTo>
                  <a:lnTo>
                    <a:pt x="346" y="0"/>
                  </a:lnTo>
                  <a:lnTo>
                    <a:pt x="362" y="1"/>
                  </a:lnTo>
                  <a:lnTo>
                    <a:pt x="379" y="3"/>
                  </a:lnTo>
                  <a:lnTo>
                    <a:pt x="396" y="7"/>
                  </a:lnTo>
                  <a:lnTo>
                    <a:pt x="412" y="9"/>
                  </a:lnTo>
                  <a:lnTo>
                    <a:pt x="426" y="15"/>
                  </a:lnTo>
                  <a:lnTo>
                    <a:pt x="457" y="25"/>
                  </a:lnTo>
                  <a:lnTo>
                    <a:pt x="486" y="39"/>
                  </a:lnTo>
                  <a:lnTo>
                    <a:pt x="512" y="56"/>
                  </a:lnTo>
                  <a:lnTo>
                    <a:pt x="538" y="75"/>
                  </a:lnTo>
                  <a:lnTo>
                    <a:pt x="561" y="95"/>
                  </a:lnTo>
                  <a:lnTo>
                    <a:pt x="582" y="120"/>
                  </a:lnTo>
                  <a:lnTo>
                    <a:pt x="601" y="145"/>
                  </a:lnTo>
                  <a:lnTo>
                    <a:pt x="619" y="172"/>
                  </a:lnTo>
                  <a:lnTo>
                    <a:pt x="632" y="200"/>
                  </a:lnTo>
                  <a:lnTo>
                    <a:pt x="643" y="231"/>
                  </a:lnTo>
                  <a:lnTo>
                    <a:pt x="648" y="246"/>
                  </a:lnTo>
                  <a:lnTo>
                    <a:pt x="651" y="262"/>
                  </a:lnTo>
                  <a:lnTo>
                    <a:pt x="654" y="278"/>
                  </a:lnTo>
                  <a:lnTo>
                    <a:pt x="656" y="294"/>
                  </a:lnTo>
                  <a:lnTo>
                    <a:pt x="658" y="312"/>
                  </a:lnTo>
                  <a:lnTo>
                    <a:pt x="658" y="328"/>
                  </a:lnTo>
                  <a:lnTo>
                    <a:pt x="658" y="328"/>
                  </a:lnTo>
                  <a:lnTo>
                    <a:pt x="658" y="345"/>
                  </a:lnTo>
                  <a:lnTo>
                    <a:pt x="656" y="362"/>
                  </a:lnTo>
                  <a:lnTo>
                    <a:pt x="654" y="379"/>
                  </a:lnTo>
                  <a:lnTo>
                    <a:pt x="651" y="395"/>
                  </a:lnTo>
                  <a:lnTo>
                    <a:pt x="648" y="411"/>
                  </a:lnTo>
                  <a:lnTo>
                    <a:pt x="643" y="426"/>
                  </a:lnTo>
                  <a:lnTo>
                    <a:pt x="632" y="457"/>
                  </a:lnTo>
                  <a:lnTo>
                    <a:pt x="619" y="485"/>
                  </a:lnTo>
                  <a:lnTo>
                    <a:pt x="601" y="512"/>
                  </a:lnTo>
                  <a:lnTo>
                    <a:pt x="582" y="538"/>
                  </a:lnTo>
                  <a:lnTo>
                    <a:pt x="561" y="560"/>
                  </a:lnTo>
                  <a:lnTo>
                    <a:pt x="538" y="582"/>
                  </a:lnTo>
                  <a:lnTo>
                    <a:pt x="512" y="601"/>
                  </a:lnTo>
                  <a:lnTo>
                    <a:pt x="486" y="618"/>
                  </a:lnTo>
                  <a:lnTo>
                    <a:pt x="457" y="632"/>
                  </a:lnTo>
                  <a:lnTo>
                    <a:pt x="426" y="642"/>
                  </a:lnTo>
                  <a:lnTo>
                    <a:pt x="412" y="646"/>
                  </a:lnTo>
                  <a:lnTo>
                    <a:pt x="396" y="650"/>
                  </a:lnTo>
                  <a:lnTo>
                    <a:pt x="379" y="653"/>
                  </a:lnTo>
                  <a:lnTo>
                    <a:pt x="362" y="656"/>
                  </a:lnTo>
                  <a:lnTo>
                    <a:pt x="346" y="657"/>
                  </a:lnTo>
                  <a:lnTo>
                    <a:pt x="328" y="657"/>
                  </a:lnTo>
                  <a:lnTo>
                    <a:pt x="328" y="657"/>
                  </a:lnTo>
                  <a:close/>
                  <a:moveTo>
                    <a:pt x="328" y="38"/>
                  </a:moveTo>
                  <a:lnTo>
                    <a:pt x="328" y="38"/>
                  </a:lnTo>
                  <a:lnTo>
                    <a:pt x="299" y="39"/>
                  </a:lnTo>
                  <a:lnTo>
                    <a:pt x="271" y="43"/>
                  </a:lnTo>
                  <a:lnTo>
                    <a:pt x="242" y="50"/>
                  </a:lnTo>
                  <a:lnTo>
                    <a:pt x="215" y="60"/>
                  </a:lnTo>
                  <a:lnTo>
                    <a:pt x="190" y="73"/>
                  </a:lnTo>
                  <a:lnTo>
                    <a:pt x="166" y="87"/>
                  </a:lnTo>
                  <a:lnTo>
                    <a:pt x="144" y="103"/>
                  </a:lnTo>
                  <a:lnTo>
                    <a:pt x="123" y="122"/>
                  </a:lnTo>
                  <a:lnTo>
                    <a:pt x="104" y="144"/>
                  </a:lnTo>
                  <a:lnTo>
                    <a:pt x="88" y="165"/>
                  </a:lnTo>
                  <a:lnTo>
                    <a:pt x="73" y="189"/>
                  </a:lnTo>
                  <a:lnTo>
                    <a:pt x="61" y="215"/>
                  </a:lnTo>
                  <a:lnTo>
                    <a:pt x="50" y="242"/>
                  </a:lnTo>
                  <a:lnTo>
                    <a:pt x="43" y="270"/>
                  </a:lnTo>
                  <a:lnTo>
                    <a:pt x="39" y="298"/>
                  </a:lnTo>
                  <a:lnTo>
                    <a:pt x="38" y="328"/>
                  </a:lnTo>
                  <a:lnTo>
                    <a:pt x="38" y="328"/>
                  </a:lnTo>
                  <a:lnTo>
                    <a:pt x="39" y="359"/>
                  </a:lnTo>
                  <a:lnTo>
                    <a:pt x="43" y="387"/>
                  </a:lnTo>
                  <a:lnTo>
                    <a:pt x="50" y="415"/>
                  </a:lnTo>
                  <a:lnTo>
                    <a:pt x="61" y="442"/>
                  </a:lnTo>
                  <a:lnTo>
                    <a:pt x="73" y="468"/>
                  </a:lnTo>
                  <a:lnTo>
                    <a:pt x="88" y="492"/>
                  </a:lnTo>
                  <a:lnTo>
                    <a:pt x="104" y="513"/>
                  </a:lnTo>
                  <a:lnTo>
                    <a:pt x="123" y="535"/>
                  </a:lnTo>
                  <a:lnTo>
                    <a:pt x="144" y="554"/>
                  </a:lnTo>
                  <a:lnTo>
                    <a:pt x="166" y="570"/>
                  </a:lnTo>
                  <a:lnTo>
                    <a:pt x="190" y="585"/>
                  </a:lnTo>
                  <a:lnTo>
                    <a:pt x="215" y="597"/>
                  </a:lnTo>
                  <a:lnTo>
                    <a:pt x="242" y="606"/>
                  </a:lnTo>
                  <a:lnTo>
                    <a:pt x="271" y="614"/>
                  </a:lnTo>
                  <a:lnTo>
                    <a:pt x="299" y="618"/>
                  </a:lnTo>
                  <a:lnTo>
                    <a:pt x="328" y="620"/>
                  </a:lnTo>
                  <a:lnTo>
                    <a:pt x="328" y="620"/>
                  </a:lnTo>
                  <a:lnTo>
                    <a:pt x="359" y="618"/>
                  </a:lnTo>
                  <a:lnTo>
                    <a:pt x="387" y="614"/>
                  </a:lnTo>
                  <a:lnTo>
                    <a:pt x="416" y="606"/>
                  </a:lnTo>
                  <a:lnTo>
                    <a:pt x="443" y="597"/>
                  </a:lnTo>
                  <a:lnTo>
                    <a:pt x="468" y="585"/>
                  </a:lnTo>
                  <a:lnTo>
                    <a:pt x="492" y="570"/>
                  </a:lnTo>
                  <a:lnTo>
                    <a:pt x="514" y="554"/>
                  </a:lnTo>
                  <a:lnTo>
                    <a:pt x="535" y="535"/>
                  </a:lnTo>
                  <a:lnTo>
                    <a:pt x="554" y="513"/>
                  </a:lnTo>
                  <a:lnTo>
                    <a:pt x="570" y="492"/>
                  </a:lnTo>
                  <a:lnTo>
                    <a:pt x="585" y="468"/>
                  </a:lnTo>
                  <a:lnTo>
                    <a:pt x="597" y="442"/>
                  </a:lnTo>
                  <a:lnTo>
                    <a:pt x="607" y="415"/>
                  </a:lnTo>
                  <a:lnTo>
                    <a:pt x="615" y="387"/>
                  </a:lnTo>
                  <a:lnTo>
                    <a:pt x="619" y="359"/>
                  </a:lnTo>
                  <a:lnTo>
                    <a:pt x="620" y="328"/>
                  </a:lnTo>
                  <a:lnTo>
                    <a:pt x="620" y="328"/>
                  </a:lnTo>
                  <a:lnTo>
                    <a:pt x="619" y="298"/>
                  </a:lnTo>
                  <a:lnTo>
                    <a:pt x="615" y="270"/>
                  </a:lnTo>
                  <a:lnTo>
                    <a:pt x="607" y="242"/>
                  </a:lnTo>
                  <a:lnTo>
                    <a:pt x="597" y="215"/>
                  </a:lnTo>
                  <a:lnTo>
                    <a:pt x="585" y="189"/>
                  </a:lnTo>
                  <a:lnTo>
                    <a:pt x="570" y="165"/>
                  </a:lnTo>
                  <a:lnTo>
                    <a:pt x="554" y="144"/>
                  </a:lnTo>
                  <a:lnTo>
                    <a:pt x="535" y="122"/>
                  </a:lnTo>
                  <a:lnTo>
                    <a:pt x="514" y="103"/>
                  </a:lnTo>
                  <a:lnTo>
                    <a:pt x="492" y="87"/>
                  </a:lnTo>
                  <a:lnTo>
                    <a:pt x="468" y="73"/>
                  </a:lnTo>
                  <a:lnTo>
                    <a:pt x="443" y="60"/>
                  </a:lnTo>
                  <a:lnTo>
                    <a:pt x="416" y="50"/>
                  </a:lnTo>
                  <a:lnTo>
                    <a:pt x="387" y="43"/>
                  </a:lnTo>
                  <a:lnTo>
                    <a:pt x="359" y="39"/>
                  </a:lnTo>
                  <a:lnTo>
                    <a:pt x="328" y="38"/>
                  </a:lnTo>
                  <a:lnTo>
                    <a:pt x="328" y="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57" name="Freeform 180">
              <a:extLst>
                <a:ext uri="{FF2B5EF4-FFF2-40B4-BE49-F238E27FC236}">
                  <a16:creationId xmlns:a16="http://schemas.microsoft.com/office/drawing/2014/main" id="{733D16E2-2A93-4CFF-AA45-4568B4B388A6}"/>
                </a:ext>
              </a:extLst>
            </p:cNvPr>
            <p:cNvSpPr>
              <a:spLocks/>
            </p:cNvSpPr>
            <p:nvPr/>
          </p:nvSpPr>
          <p:spPr bwMode="auto">
            <a:xfrm>
              <a:off x="6022976" y="5137785"/>
              <a:ext cx="17463" cy="58738"/>
            </a:xfrm>
            <a:custGeom>
              <a:avLst/>
              <a:gdLst>
                <a:gd name="T0" fmla="*/ 5 w 21"/>
                <a:gd name="T1" fmla="*/ 72 h 72"/>
                <a:gd name="T2" fmla="*/ 16 w 21"/>
                <a:gd name="T3" fmla="*/ 72 h 72"/>
                <a:gd name="T4" fmla="*/ 16 w 21"/>
                <a:gd name="T5" fmla="*/ 72 h 72"/>
                <a:gd name="T6" fmla="*/ 17 w 21"/>
                <a:gd name="T7" fmla="*/ 72 h 72"/>
                <a:gd name="T8" fmla="*/ 18 w 21"/>
                <a:gd name="T9" fmla="*/ 71 h 72"/>
                <a:gd name="T10" fmla="*/ 20 w 21"/>
                <a:gd name="T11" fmla="*/ 70 h 72"/>
                <a:gd name="T12" fmla="*/ 21 w 21"/>
                <a:gd name="T13" fmla="*/ 67 h 72"/>
                <a:gd name="T14" fmla="*/ 21 w 21"/>
                <a:gd name="T15" fmla="*/ 5 h 72"/>
                <a:gd name="T16" fmla="*/ 21 w 21"/>
                <a:gd name="T17" fmla="*/ 5 h 72"/>
                <a:gd name="T18" fmla="*/ 20 w 21"/>
                <a:gd name="T19" fmla="*/ 4 h 72"/>
                <a:gd name="T20" fmla="*/ 18 w 21"/>
                <a:gd name="T21" fmla="*/ 2 h 72"/>
                <a:gd name="T22" fmla="*/ 17 w 21"/>
                <a:gd name="T23" fmla="*/ 1 h 72"/>
                <a:gd name="T24" fmla="*/ 16 w 21"/>
                <a:gd name="T25" fmla="*/ 0 h 72"/>
                <a:gd name="T26" fmla="*/ 5 w 21"/>
                <a:gd name="T27" fmla="*/ 0 h 72"/>
                <a:gd name="T28" fmla="*/ 5 w 21"/>
                <a:gd name="T29" fmla="*/ 0 h 72"/>
                <a:gd name="T30" fmla="*/ 4 w 21"/>
                <a:gd name="T31" fmla="*/ 1 h 72"/>
                <a:gd name="T32" fmla="*/ 1 w 21"/>
                <a:gd name="T33" fmla="*/ 2 h 72"/>
                <a:gd name="T34" fmla="*/ 0 w 21"/>
                <a:gd name="T35" fmla="*/ 4 h 72"/>
                <a:gd name="T36" fmla="*/ 0 w 21"/>
                <a:gd name="T37" fmla="*/ 5 h 72"/>
                <a:gd name="T38" fmla="*/ 0 w 21"/>
                <a:gd name="T39" fmla="*/ 67 h 72"/>
                <a:gd name="T40" fmla="*/ 0 w 21"/>
                <a:gd name="T41" fmla="*/ 67 h 72"/>
                <a:gd name="T42" fmla="*/ 0 w 21"/>
                <a:gd name="T43" fmla="*/ 70 h 72"/>
                <a:gd name="T44" fmla="*/ 1 w 21"/>
                <a:gd name="T45" fmla="*/ 71 h 72"/>
                <a:gd name="T46" fmla="*/ 4 w 21"/>
                <a:gd name="T47" fmla="*/ 72 h 72"/>
                <a:gd name="T48" fmla="*/ 5 w 21"/>
                <a:gd name="T49" fmla="*/ 72 h 72"/>
                <a:gd name="T50" fmla="*/ 5 w 21"/>
                <a:gd name="T5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 h="72">
                  <a:moveTo>
                    <a:pt x="5" y="72"/>
                  </a:moveTo>
                  <a:lnTo>
                    <a:pt x="16" y="72"/>
                  </a:lnTo>
                  <a:lnTo>
                    <a:pt x="16" y="72"/>
                  </a:lnTo>
                  <a:lnTo>
                    <a:pt x="17" y="72"/>
                  </a:lnTo>
                  <a:lnTo>
                    <a:pt x="18" y="71"/>
                  </a:lnTo>
                  <a:lnTo>
                    <a:pt x="20" y="70"/>
                  </a:lnTo>
                  <a:lnTo>
                    <a:pt x="21" y="67"/>
                  </a:lnTo>
                  <a:lnTo>
                    <a:pt x="21" y="5"/>
                  </a:lnTo>
                  <a:lnTo>
                    <a:pt x="21" y="5"/>
                  </a:lnTo>
                  <a:lnTo>
                    <a:pt x="20" y="4"/>
                  </a:lnTo>
                  <a:lnTo>
                    <a:pt x="18" y="2"/>
                  </a:lnTo>
                  <a:lnTo>
                    <a:pt x="17" y="1"/>
                  </a:lnTo>
                  <a:lnTo>
                    <a:pt x="16" y="0"/>
                  </a:lnTo>
                  <a:lnTo>
                    <a:pt x="5" y="0"/>
                  </a:lnTo>
                  <a:lnTo>
                    <a:pt x="5" y="0"/>
                  </a:lnTo>
                  <a:lnTo>
                    <a:pt x="4" y="1"/>
                  </a:lnTo>
                  <a:lnTo>
                    <a:pt x="1" y="2"/>
                  </a:lnTo>
                  <a:lnTo>
                    <a:pt x="0" y="4"/>
                  </a:lnTo>
                  <a:lnTo>
                    <a:pt x="0" y="5"/>
                  </a:lnTo>
                  <a:lnTo>
                    <a:pt x="0" y="67"/>
                  </a:lnTo>
                  <a:lnTo>
                    <a:pt x="0" y="67"/>
                  </a:lnTo>
                  <a:lnTo>
                    <a:pt x="0" y="70"/>
                  </a:lnTo>
                  <a:lnTo>
                    <a:pt x="1" y="71"/>
                  </a:lnTo>
                  <a:lnTo>
                    <a:pt x="4" y="72"/>
                  </a:lnTo>
                  <a:lnTo>
                    <a:pt x="5" y="72"/>
                  </a:lnTo>
                  <a:lnTo>
                    <a:pt x="5" y="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58" name="Freeform 181">
              <a:extLst>
                <a:ext uri="{FF2B5EF4-FFF2-40B4-BE49-F238E27FC236}">
                  <a16:creationId xmlns:a16="http://schemas.microsoft.com/office/drawing/2014/main" id="{3F751E75-AFD8-43A7-A33A-EE0C172B2090}"/>
                </a:ext>
              </a:extLst>
            </p:cNvPr>
            <p:cNvSpPr>
              <a:spLocks/>
            </p:cNvSpPr>
            <p:nvPr/>
          </p:nvSpPr>
          <p:spPr bwMode="auto">
            <a:xfrm>
              <a:off x="6154738" y="5137785"/>
              <a:ext cx="17463" cy="58738"/>
            </a:xfrm>
            <a:custGeom>
              <a:avLst/>
              <a:gdLst>
                <a:gd name="T0" fmla="*/ 5 w 21"/>
                <a:gd name="T1" fmla="*/ 72 h 72"/>
                <a:gd name="T2" fmla="*/ 16 w 21"/>
                <a:gd name="T3" fmla="*/ 72 h 72"/>
                <a:gd name="T4" fmla="*/ 16 w 21"/>
                <a:gd name="T5" fmla="*/ 72 h 72"/>
                <a:gd name="T6" fmla="*/ 17 w 21"/>
                <a:gd name="T7" fmla="*/ 72 h 72"/>
                <a:gd name="T8" fmla="*/ 20 w 21"/>
                <a:gd name="T9" fmla="*/ 71 h 72"/>
                <a:gd name="T10" fmla="*/ 20 w 21"/>
                <a:gd name="T11" fmla="*/ 70 h 72"/>
                <a:gd name="T12" fmla="*/ 21 w 21"/>
                <a:gd name="T13" fmla="*/ 67 h 72"/>
                <a:gd name="T14" fmla="*/ 21 w 21"/>
                <a:gd name="T15" fmla="*/ 5 h 72"/>
                <a:gd name="T16" fmla="*/ 21 w 21"/>
                <a:gd name="T17" fmla="*/ 5 h 72"/>
                <a:gd name="T18" fmla="*/ 20 w 21"/>
                <a:gd name="T19" fmla="*/ 4 h 72"/>
                <a:gd name="T20" fmla="*/ 20 w 21"/>
                <a:gd name="T21" fmla="*/ 2 h 72"/>
                <a:gd name="T22" fmla="*/ 17 w 21"/>
                <a:gd name="T23" fmla="*/ 1 h 72"/>
                <a:gd name="T24" fmla="*/ 16 w 21"/>
                <a:gd name="T25" fmla="*/ 0 h 72"/>
                <a:gd name="T26" fmla="*/ 5 w 21"/>
                <a:gd name="T27" fmla="*/ 0 h 72"/>
                <a:gd name="T28" fmla="*/ 5 w 21"/>
                <a:gd name="T29" fmla="*/ 0 h 72"/>
                <a:gd name="T30" fmla="*/ 4 w 21"/>
                <a:gd name="T31" fmla="*/ 1 h 72"/>
                <a:gd name="T32" fmla="*/ 3 w 21"/>
                <a:gd name="T33" fmla="*/ 2 h 72"/>
                <a:gd name="T34" fmla="*/ 1 w 21"/>
                <a:gd name="T35" fmla="*/ 4 h 72"/>
                <a:gd name="T36" fmla="*/ 0 w 21"/>
                <a:gd name="T37" fmla="*/ 5 h 72"/>
                <a:gd name="T38" fmla="*/ 0 w 21"/>
                <a:gd name="T39" fmla="*/ 67 h 72"/>
                <a:gd name="T40" fmla="*/ 0 w 21"/>
                <a:gd name="T41" fmla="*/ 67 h 72"/>
                <a:gd name="T42" fmla="*/ 1 w 21"/>
                <a:gd name="T43" fmla="*/ 70 h 72"/>
                <a:gd name="T44" fmla="*/ 3 w 21"/>
                <a:gd name="T45" fmla="*/ 71 h 72"/>
                <a:gd name="T46" fmla="*/ 4 w 21"/>
                <a:gd name="T47" fmla="*/ 72 h 72"/>
                <a:gd name="T48" fmla="*/ 5 w 21"/>
                <a:gd name="T49" fmla="*/ 72 h 72"/>
                <a:gd name="T50" fmla="*/ 5 w 21"/>
                <a:gd name="T5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 h="72">
                  <a:moveTo>
                    <a:pt x="5" y="72"/>
                  </a:moveTo>
                  <a:lnTo>
                    <a:pt x="16" y="72"/>
                  </a:lnTo>
                  <a:lnTo>
                    <a:pt x="16" y="72"/>
                  </a:lnTo>
                  <a:lnTo>
                    <a:pt x="17" y="72"/>
                  </a:lnTo>
                  <a:lnTo>
                    <a:pt x="20" y="71"/>
                  </a:lnTo>
                  <a:lnTo>
                    <a:pt x="20" y="70"/>
                  </a:lnTo>
                  <a:lnTo>
                    <a:pt x="21" y="67"/>
                  </a:lnTo>
                  <a:lnTo>
                    <a:pt x="21" y="5"/>
                  </a:lnTo>
                  <a:lnTo>
                    <a:pt x="21" y="5"/>
                  </a:lnTo>
                  <a:lnTo>
                    <a:pt x="20" y="4"/>
                  </a:lnTo>
                  <a:lnTo>
                    <a:pt x="20" y="2"/>
                  </a:lnTo>
                  <a:lnTo>
                    <a:pt x="17" y="1"/>
                  </a:lnTo>
                  <a:lnTo>
                    <a:pt x="16" y="0"/>
                  </a:lnTo>
                  <a:lnTo>
                    <a:pt x="5" y="0"/>
                  </a:lnTo>
                  <a:lnTo>
                    <a:pt x="5" y="0"/>
                  </a:lnTo>
                  <a:lnTo>
                    <a:pt x="4" y="1"/>
                  </a:lnTo>
                  <a:lnTo>
                    <a:pt x="3" y="2"/>
                  </a:lnTo>
                  <a:lnTo>
                    <a:pt x="1" y="4"/>
                  </a:lnTo>
                  <a:lnTo>
                    <a:pt x="0" y="5"/>
                  </a:lnTo>
                  <a:lnTo>
                    <a:pt x="0" y="67"/>
                  </a:lnTo>
                  <a:lnTo>
                    <a:pt x="0" y="67"/>
                  </a:lnTo>
                  <a:lnTo>
                    <a:pt x="1" y="70"/>
                  </a:lnTo>
                  <a:lnTo>
                    <a:pt x="3" y="71"/>
                  </a:lnTo>
                  <a:lnTo>
                    <a:pt x="4" y="72"/>
                  </a:lnTo>
                  <a:lnTo>
                    <a:pt x="5" y="72"/>
                  </a:lnTo>
                  <a:lnTo>
                    <a:pt x="5" y="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59" name="Freeform 182">
              <a:extLst>
                <a:ext uri="{FF2B5EF4-FFF2-40B4-BE49-F238E27FC236}">
                  <a16:creationId xmlns:a16="http://schemas.microsoft.com/office/drawing/2014/main" id="{DAB765F4-D9DB-4B3A-90B9-57746728F782}"/>
                </a:ext>
              </a:extLst>
            </p:cNvPr>
            <p:cNvSpPr>
              <a:spLocks noEditPoints="1"/>
            </p:cNvSpPr>
            <p:nvPr/>
          </p:nvSpPr>
          <p:spPr bwMode="auto">
            <a:xfrm>
              <a:off x="5970588" y="5164773"/>
              <a:ext cx="254000" cy="228600"/>
            </a:xfrm>
            <a:custGeom>
              <a:avLst/>
              <a:gdLst>
                <a:gd name="T0" fmla="*/ 265 w 322"/>
                <a:gd name="T1" fmla="*/ 0 h 289"/>
                <a:gd name="T2" fmla="*/ 265 w 322"/>
                <a:gd name="T3" fmla="*/ 46 h 289"/>
                <a:gd name="T4" fmla="*/ 262 w 322"/>
                <a:gd name="T5" fmla="*/ 50 h 289"/>
                <a:gd name="T6" fmla="*/ 260 w 322"/>
                <a:gd name="T7" fmla="*/ 51 h 289"/>
                <a:gd name="T8" fmla="*/ 229 w 322"/>
                <a:gd name="T9" fmla="*/ 51 h 289"/>
                <a:gd name="T10" fmla="*/ 225 w 322"/>
                <a:gd name="T11" fmla="*/ 50 h 289"/>
                <a:gd name="T12" fmla="*/ 224 w 322"/>
                <a:gd name="T13" fmla="*/ 46 h 289"/>
                <a:gd name="T14" fmla="*/ 99 w 322"/>
                <a:gd name="T15" fmla="*/ 0 h 289"/>
                <a:gd name="T16" fmla="*/ 99 w 322"/>
                <a:gd name="T17" fmla="*/ 46 h 289"/>
                <a:gd name="T18" fmla="*/ 97 w 322"/>
                <a:gd name="T19" fmla="*/ 50 h 289"/>
                <a:gd name="T20" fmla="*/ 93 w 322"/>
                <a:gd name="T21" fmla="*/ 51 h 289"/>
                <a:gd name="T22" fmla="*/ 62 w 322"/>
                <a:gd name="T23" fmla="*/ 51 h 289"/>
                <a:gd name="T24" fmla="*/ 60 w 322"/>
                <a:gd name="T25" fmla="*/ 50 h 289"/>
                <a:gd name="T26" fmla="*/ 57 w 322"/>
                <a:gd name="T27" fmla="*/ 46 h 289"/>
                <a:gd name="T28" fmla="*/ 11 w 322"/>
                <a:gd name="T29" fmla="*/ 0 h 289"/>
                <a:gd name="T30" fmla="*/ 7 w 322"/>
                <a:gd name="T31" fmla="*/ 0 h 289"/>
                <a:gd name="T32" fmla="*/ 2 w 322"/>
                <a:gd name="T33" fmla="*/ 5 h 289"/>
                <a:gd name="T34" fmla="*/ 0 w 322"/>
                <a:gd name="T35" fmla="*/ 278 h 289"/>
                <a:gd name="T36" fmla="*/ 2 w 322"/>
                <a:gd name="T37" fmla="*/ 282 h 289"/>
                <a:gd name="T38" fmla="*/ 7 w 322"/>
                <a:gd name="T39" fmla="*/ 289 h 289"/>
                <a:gd name="T40" fmla="*/ 311 w 322"/>
                <a:gd name="T41" fmla="*/ 289 h 289"/>
                <a:gd name="T42" fmla="*/ 315 w 322"/>
                <a:gd name="T43" fmla="*/ 289 h 289"/>
                <a:gd name="T44" fmla="*/ 320 w 322"/>
                <a:gd name="T45" fmla="*/ 282 h 289"/>
                <a:gd name="T46" fmla="*/ 322 w 322"/>
                <a:gd name="T47" fmla="*/ 9 h 289"/>
                <a:gd name="T48" fmla="*/ 320 w 322"/>
                <a:gd name="T49" fmla="*/ 5 h 289"/>
                <a:gd name="T50" fmla="*/ 315 w 322"/>
                <a:gd name="T51" fmla="*/ 0 h 289"/>
                <a:gd name="T52" fmla="*/ 311 w 322"/>
                <a:gd name="T53" fmla="*/ 0 h 289"/>
                <a:gd name="T54" fmla="*/ 300 w 322"/>
                <a:gd name="T55" fmla="*/ 264 h 289"/>
                <a:gd name="T56" fmla="*/ 299 w 322"/>
                <a:gd name="T57" fmla="*/ 266 h 289"/>
                <a:gd name="T58" fmla="*/ 295 w 322"/>
                <a:gd name="T59" fmla="*/ 268 h 289"/>
                <a:gd name="T60" fmla="*/ 27 w 322"/>
                <a:gd name="T61" fmla="*/ 268 h 289"/>
                <a:gd name="T62" fmla="*/ 23 w 322"/>
                <a:gd name="T63" fmla="*/ 266 h 289"/>
                <a:gd name="T64" fmla="*/ 22 w 322"/>
                <a:gd name="T65" fmla="*/ 264 h 289"/>
                <a:gd name="T66" fmla="*/ 22 w 322"/>
                <a:gd name="T67" fmla="*/ 87 h 289"/>
                <a:gd name="T68" fmla="*/ 23 w 322"/>
                <a:gd name="T69" fmla="*/ 83 h 289"/>
                <a:gd name="T70" fmla="*/ 27 w 322"/>
                <a:gd name="T71" fmla="*/ 82 h 289"/>
                <a:gd name="T72" fmla="*/ 295 w 322"/>
                <a:gd name="T73" fmla="*/ 82 h 289"/>
                <a:gd name="T74" fmla="*/ 299 w 322"/>
                <a:gd name="T75" fmla="*/ 83 h 289"/>
                <a:gd name="T76" fmla="*/ 300 w 322"/>
                <a:gd name="T77" fmla="*/ 87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2" h="289">
                  <a:moveTo>
                    <a:pt x="311" y="0"/>
                  </a:moveTo>
                  <a:lnTo>
                    <a:pt x="265" y="0"/>
                  </a:lnTo>
                  <a:lnTo>
                    <a:pt x="265" y="46"/>
                  </a:lnTo>
                  <a:lnTo>
                    <a:pt x="265" y="46"/>
                  </a:lnTo>
                  <a:lnTo>
                    <a:pt x="264" y="48"/>
                  </a:lnTo>
                  <a:lnTo>
                    <a:pt x="262" y="50"/>
                  </a:lnTo>
                  <a:lnTo>
                    <a:pt x="261" y="51"/>
                  </a:lnTo>
                  <a:lnTo>
                    <a:pt x="260" y="51"/>
                  </a:lnTo>
                  <a:lnTo>
                    <a:pt x="229" y="51"/>
                  </a:lnTo>
                  <a:lnTo>
                    <a:pt x="229" y="51"/>
                  </a:lnTo>
                  <a:lnTo>
                    <a:pt x="226" y="51"/>
                  </a:lnTo>
                  <a:lnTo>
                    <a:pt x="225" y="50"/>
                  </a:lnTo>
                  <a:lnTo>
                    <a:pt x="224" y="48"/>
                  </a:lnTo>
                  <a:lnTo>
                    <a:pt x="224" y="46"/>
                  </a:lnTo>
                  <a:lnTo>
                    <a:pt x="224" y="0"/>
                  </a:lnTo>
                  <a:lnTo>
                    <a:pt x="99" y="0"/>
                  </a:lnTo>
                  <a:lnTo>
                    <a:pt x="99" y="46"/>
                  </a:lnTo>
                  <a:lnTo>
                    <a:pt x="99" y="46"/>
                  </a:lnTo>
                  <a:lnTo>
                    <a:pt x="99" y="48"/>
                  </a:lnTo>
                  <a:lnTo>
                    <a:pt x="97" y="50"/>
                  </a:lnTo>
                  <a:lnTo>
                    <a:pt x="96" y="51"/>
                  </a:lnTo>
                  <a:lnTo>
                    <a:pt x="93" y="51"/>
                  </a:lnTo>
                  <a:lnTo>
                    <a:pt x="62" y="51"/>
                  </a:lnTo>
                  <a:lnTo>
                    <a:pt x="62" y="51"/>
                  </a:lnTo>
                  <a:lnTo>
                    <a:pt x="61" y="51"/>
                  </a:lnTo>
                  <a:lnTo>
                    <a:pt x="60" y="50"/>
                  </a:lnTo>
                  <a:lnTo>
                    <a:pt x="58" y="48"/>
                  </a:lnTo>
                  <a:lnTo>
                    <a:pt x="57" y="46"/>
                  </a:lnTo>
                  <a:lnTo>
                    <a:pt x="57" y="0"/>
                  </a:lnTo>
                  <a:lnTo>
                    <a:pt x="11" y="0"/>
                  </a:lnTo>
                  <a:lnTo>
                    <a:pt x="11" y="0"/>
                  </a:lnTo>
                  <a:lnTo>
                    <a:pt x="7" y="0"/>
                  </a:lnTo>
                  <a:lnTo>
                    <a:pt x="3" y="3"/>
                  </a:lnTo>
                  <a:lnTo>
                    <a:pt x="2" y="5"/>
                  </a:lnTo>
                  <a:lnTo>
                    <a:pt x="0" y="9"/>
                  </a:lnTo>
                  <a:lnTo>
                    <a:pt x="0" y="278"/>
                  </a:lnTo>
                  <a:lnTo>
                    <a:pt x="0" y="278"/>
                  </a:lnTo>
                  <a:lnTo>
                    <a:pt x="2" y="282"/>
                  </a:lnTo>
                  <a:lnTo>
                    <a:pt x="3" y="286"/>
                  </a:lnTo>
                  <a:lnTo>
                    <a:pt x="7" y="289"/>
                  </a:lnTo>
                  <a:lnTo>
                    <a:pt x="11" y="289"/>
                  </a:lnTo>
                  <a:lnTo>
                    <a:pt x="311" y="289"/>
                  </a:lnTo>
                  <a:lnTo>
                    <a:pt x="311" y="289"/>
                  </a:lnTo>
                  <a:lnTo>
                    <a:pt x="315" y="289"/>
                  </a:lnTo>
                  <a:lnTo>
                    <a:pt x="319" y="286"/>
                  </a:lnTo>
                  <a:lnTo>
                    <a:pt x="320" y="282"/>
                  </a:lnTo>
                  <a:lnTo>
                    <a:pt x="322" y="278"/>
                  </a:lnTo>
                  <a:lnTo>
                    <a:pt x="322" y="9"/>
                  </a:lnTo>
                  <a:lnTo>
                    <a:pt x="322" y="9"/>
                  </a:lnTo>
                  <a:lnTo>
                    <a:pt x="320" y="5"/>
                  </a:lnTo>
                  <a:lnTo>
                    <a:pt x="319" y="3"/>
                  </a:lnTo>
                  <a:lnTo>
                    <a:pt x="315" y="0"/>
                  </a:lnTo>
                  <a:lnTo>
                    <a:pt x="311" y="0"/>
                  </a:lnTo>
                  <a:lnTo>
                    <a:pt x="311" y="0"/>
                  </a:lnTo>
                  <a:close/>
                  <a:moveTo>
                    <a:pt x="300" y="264"/>
                  </a:moveTo>
                  <a:lnTo>
                    <a:pt x="300" y="264"/>
                  </a:lnTo>
                  <a:lnTo>
                    <a:pt x="300" y="265"/>
                  </a:lnTo>
                  <a:lnTo>
                    <a:pt x="299" y="266"/>
                  </a:lnTo>
                  <a:lnTo>
                    <a:pt x="297" y="268"/>
                  </a:lnTo>
                  <a:lnTo>
                    <a:pt x="295" y="268"/>
                  </a:lnTo>
                  <a:lnTo>
                    <a:pt x="27" y="268"/>
                  </a:lnTo>
                  <a:lnTo>
                    <a:pt x="27" y="268"/>
                  </a:lnTo>
                  <a:lnTo>
                    <a:pt x="25" y="268"/>
                  </a:lnTo>
                  <a:lnTo>
                    <a:pt x="23" y="266"/>
                  </a:lnTo>
                  <a:lnTo>
                    <a:pt x="22" y="265"/>
                  </a:lnTo>
                  <a:lnTo>
                    <a:pt x="22" y="264"/>
                  </a:lnTo>
                  <a:lnTo>
                    <a:pt x="22" y="87"/>
                  </a:lnTo>
                  <a:lnTo>
                    <a:pt x="22" y="87"/>
                  </a:lnTo>
                  <a:lnTo>
                    <a:pt x="22" y="85"/>
                  </a:lnTo>
                  <a:lnTo>
                    <a:pt x="23" y="83"/>
                  </a:lnTo>
                  <a:lnTo>
                    <a:pt x="25" y="82"/>
                  </a:lnTo>
                  <a:lnTo>
                    <a:pt x="27" y="82"/>
                  </a:lnTo>
                  <a:lnTo>
                    <a:pt x="295" y="82"/>
                  </a:lnTo>
                  <a:lnTo>
                    <a:pt x="295" y="82"/>
                  </a:lnTo>
                  <a:lnTo>
                    <a:pt x="297" y="82"/>
                  </a:lnTo>
                  <a:lnTo>
                    <a:pt x="299" y="83"/>
                  </a:lnTo>
                  <a:lnTo>
                    <a:pt x="300" y="85"/>
                  </a:lnTo>
                  <a:lnTo>
                    <a:pt x="300" y="87"/>
                  </a:lnTo>
                  <a:lnTo>
                    <a:pt x="300" y="26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60" name="Freeform 183">
              <a:extLst>
                <a:ext uri="{FF2B5EF4-FFF2-40B4-BE49-F238E27FC236}">
                  <a16:creationId xmlns:a16="http://schemas.microsoft.com/office/drawing/2014/main" id="{AFFBC617-0032-4AF0-941F-C793C0CBBAD0}"/>
                </a:ext>
              </a:extLst>
            </p:cNvPr>
            <p:cNvSpPr>
              <a:spLocks/>
            </p:cNvSpPr>
            <p:nvPr/>
          </p:nvSpPr>
          <p:spPr bwMode="auto">
            <a:xfrm>
              <a:off x="6010276" y="5313998"/>
              <a:ext cx="44450" cy="36513"/>
            </a:xfrm>
            <a:custGeom>
              <a:avLst/>
              <a:gdLst>
                <a:gd name="T0" fmla="*/ 53 w 57"/>
                <a:gd name="T1" fmla="*/ 0 h 47"/>
                <a:gd name="T2" fmla="*/ 6 w 57"/>
                <a:gd name="T3" fmla="*/ 0 h 47"/>
                <a:gd name="T4" fmla="*/ 6 w 57"/>
                <a:gd name="T5" fmla="*/ 0 h 47"/>
                <a:gd name="T6" fmla="*/ 2 w 57"/>
                <a:gd name="T7" fmla="*/ 2 h 47"/>
                <a:gd name="T8" fmla="*/ 0 w 57"/>
                <a:gd name="T9" fmla="*/ 4 h 47"/>
                <a:gd name="T10" fmla="*/ 0 w 57"/>
                <a:gd name="T11" fmla="*/ 42 h 47"/>
                <a:gd name="T12" fmla="*/ 0 w 57"/>
                <a:gd name="T13" fmla="*/ 42 h 47"/>
                <a:gd name="T14" fmla="*/ 2 w 57"/>
                <a:gd name="T15" fmla="*/ 46 h 47"/>
                <a:gd name="T16" fmla="*/ 6 w 57"/>
                <a:gd name="T17" fmla="*/ 47 h 47"/>
                <a:gd name="T18" fmla="*/ 53 w 57"/>
                <a:gd name="T19" fmla="*/ 47 h 47"/>
                <a:gd name="T20" fmla="*/ 53 w 57"/>
                <a:gd name="T21" fmla="*/ 47 h 47"/>
                <a:gd name="T22" fmla="*/ 56 w 57"/>
                <a:gd name="T23" fmla="*/ 46 h 47"/>
                <a:gd name="T24" fmla="*/ 57 w 57"/>
                <a:gd name="T25" fmla="*/ 42 h 47"/>
                <a:gd name="T26" fmla="*/ 57 w 57"/>
                <a:gd name="T27" fmla="*/ 4 h 47"/>
                <a:gd name="T28" fmla="*/ 57 w 57"/>
                <a:gd name="T29" fmla="*/ 4 h 47"/>
                <a:gd name="T30" fmla="*/ 56 w 57"/>
                <a:gd name="T31" fmla="*/ 2 h 47"/>
                <a:gd name="T32" fmla="*/ 53 w 57"/>
                <a:gd name="T33" fmla="*/ 0 h 47"/>
                <a:gd name="T34" fmla="*/ 53 w 57"/>
                <a:gd name="T3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47">
                  <a:moveTo>
                    <a:pt x="53" y="0"/>
                  </a:moveTo>
                  <a:lnTo>
                    <a:pt x="6" y="0"/>
                  </a:lnTo>
                  <a:lnTo>
                    <a:pt x="6" y="0"/>
                  </a:lnTo>
                  <a:lnTo>
                    <a:pt x="2" y="2"/>
                  </a:lnTo>
                  <a:lnTo>
                    <a:pt x="0" y="4"/>
                  </a:lnTo>
                  <a:lnTo>
                    <a:pt x="0" y="42"/>
                  </a:lnTo>
                  <a:lnTo>
                    <a:pt x="0" y="42"/>
                  </a:lnTo>
                  <a:lnTo>
                    <a:pt x="2" y="46"/>
                  </a:lnTo>
                  <a:lnTo>
                    <a:pt x="6" y="47"/>
                  </a:lnTo>
                  <a:lnTo>
                    <a:pt x="53" y="47"/>
                  </a:lnTo>
                  <a:lnTo>
                    <a:pt x="53" y="47"/>
                  </a:lnTo>
                  <a:lnTo>
                    <a:pt x="56" y="46"/>
                  </a:lnTo>
                  <a:lnTo>
                    <a:pt x="57" y="42"/>
                  </a:lnTo>
                  <a:lnTo>
                    <a:pt x="57" y="4"/>
                  </a:lnTo>
                  <a:lnTo>
                    <a:pt x="57" y="4"/>
                  </a:lnTo>
                  <a:lnTo>
                    <a:pt x="56" y="2"/>
                  </a:lnTo>
                  <a:lnTo>
                    <a:pt x="53" y="0"/>
                  </a:lnTo>
                  <a:lnTo>
                    <a:pt x="5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61" name="Freeform 184">
              <a:extLst>
                <a:ext uri="{FF2B5EF4-FFF2-40B4-BE49-F238E27FC236}">
                  <a16:creationId xmlns:a16="http://schemas.microsoft.com/office/drawing/2014/main" id="{97788DDC-5BBC-4696-A181-98CF90BEC6BA}"/>
                </a:ext>
              </a:extLst>
            </p:cNvPr>
            <p:cNvSpPr>
              <a:spLocks/>
            </p:cNvSpPr>
            <p:nvPr/>
          </p:nvSpPr>
          <p:spPr bwMode="auto">
            <a:xfrm>
              <a:off x="6010276" y="5255260"/>
              <a:ext cx="44450" cy="38100"/>
            </a:xfrm>
            <a:custGeom>
              <a:avLst/>
              <a:gdLst>
                <a:gd name="T0" fmla="*/ 53 w 57"/>
                <a:gd name="T1" fmla="*/ 0 h 47"/>
                <a:gd name="T2" fmla="*/ 6 w 57"/>
                <a:gd name="T3" fmla="*/ 0 h 47"/>
                <a:gd name="T4" fmla="*/ 6 w 57"/>
                <a:gd name="T5" fmla="*/ 0 h 47"/>
                <a:gd name="T6" fmla="*/ 2 w 57"/>
                <a:gd name="T7" fmla="*/ 1 h 47"/>
                <a:gd name="T8" fmla="*/ 0 w 57"/>
                <a:gd name="T9" fmla="*/ 4 h 47"/>
                <a:gd name="T10" fmla="*/ 0 w 57"/>
                <a:gd name="T11" fmla="*/ 41 h 47"/>
                <a:gd name="T12" fmla="*/ 0 w 57"/>
                <a:gd name="T13" fmla="*/ 41 h 47"/>
                <a:gd name="T14" fmla="*/ 2 w 57"/>
                <a:gd name="T15" fmla="*/ 45 h 47"/>
                <a:gd name="T16" fmla="*/ 6 w 57"/>
                <a:gd name="T17" fmla="*/ 47 h 47"/>
                <a:gd name="T18" fmla="*/ 53 w 57"/>
                <a:gd name="T19" fmla="*/ 47 h 47"/>
                <a:gd name="T20" fmla="*/ 53 w 57"/>
                <a:gd name="T21" fmla="*/ 47 h 47"/>
                <a:gd name="T22" fmla="*/ 56 w 57"/>
                <a:gd name="T23" fmla="*/ 45 h 47"/>
                <a:gd name="T24" fmla="*/ 57 w 57"/>
                <a:gd name="T25" fmla="*/ 41 h 47"/>
                <a:gd name="T26" fmla="*/ 57 w 57"/>
                <a:gd name="T27" fmla="*/ 4 h 47"/>
                <a:gd name="T28" fmla="*/ 57 w 57"/>
                <a:gd name="T29" fmla="*/ 4 h 47"/>
                <a:gd name="T30" fmla="*/ 56 w 57"/>
                <a:gd name="T31" fmla="*/ 1 h 47"/>
                <a:gd name="T32" fmla="*/ 53 w 57"/>
                <a:gd name="T33" fmla="*/ 0 h 47"/>
                <a:gd name="T34" fmla="*/ 53 w 57"/>
                <a:gd name="T3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47">
                  <a:moveTo>
                    <a:pt x="53" y="0"/>
                  </a:moveTo>
                  <a:lnTo>
                    <a:pt x="6" y="0"/>
                  </a:lnTo>
                  <a:lnTo>
                    <a:pt x="6" y="0"/>
                  </a:lnTo>
                  <a:lnTo>
                    <a:pt x="2" y="1"/>
                  </a:lnTo>
                  <a:lnTo>
                    <a:pt x="0" y="4"/>
                  </a:lnTo>
                  <a:lnTo>
                    <a:pt x="0" y="41"/>
                  </a:lnTo>
                  <a:lnTo>
                    <a:pt x="0" y="41"/>
                  </a:lnTo>
                  <a:lnTo>
                    <a:pt x="2" y="45"/>
                  </a:lnTo>
                  <a:lnTo>
                    <a:pt x="6" y="47"/>
                  </a:lnTo>
                  <a:lnTo>
                    <a:pt x="53" y="47"/>
                  </a:lnTo>
                  <a:lnTo>
                    <a:pt x="53" y="47"/>
                  </a:lnTo>
                  <a:lnTo>
                    <a:pt x="56" y="45"/>
                  </a:lnTo>
                  <a:lnTo>
                    <a:pt x="57" y="41"/>
                  </a:lnTo>
                  <a:lnTo>
                    <a:pt x="57" y="4"/>
                  </a:lnTo>
                  <a:lnTo>
                    <a:pt x="57" y="4"/>
                  </a:lnTo>
                  <a:lnTo>
                    <a:pt x="56" y="1"/>
                  </a:lnTo>
                  <a:lnTo>
                    <a:pt x="53" y="0"/>
                  </a:lnTo>
                  <a:lnTo>
                    <a:pt x="5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62" name="Freeform 185">
              <a:extLst>
                <a:ext uri="{FF2B5EF4-FFF2-40B4-BE49-F238E27FC236}">
                  <a16:creationId xmlns:a16="http://schemas.microsoft.com/office/drawing/2014/main" id="{B8F8AC67-CF29-4139-B20C-DBDA1FD2BB76}"/>
                </a:ext>
              </a:extLst>
            </p:cNvPr>
            <p:cNvSpPr>
              <a:spLocks/>
            </p:cNvSpPr>
            <p:nvPr/>
          </p:nvSpPr>
          <p:spPr bwMode="auto">
            <a:xfrm>
              <a:off x="6076951" y="5313998"/>
              <a:ext cx="44450" cy="36513"/>
            </a:xfrm>
            <a:custGeom>
              <a:avLst/>
              <a:gdLst>
                <a:gd name="T0" fmla="*/ 51 w 56"/>
                <a:gd name="T1" fmla="*/ 0 h 47"/>
                <a:gd name="T2" fmla="*/ 5 w 56"/>
                <a:gd name="T3" fmla="*/ 0 h 47"/>
                <a:gd name="T4" fmla="*/ 5 w 56"/>
                <a:gd name="T5" fmla="*/ 0 h 47"/>
                <a:gd name="T6" fmla="*/ 1 w 56"/>
                <a:gd name="T7" fmla="*/ 2 h 47"/>
                <a:gd name="T8" fmla="*/ 0 w 56"/>
                <a:gd name="T9" fmla="*/ 4 h 47"/>
                <a:gd name="T10" fmla="*/ 0 w 56"/>
                <a:gd name="T11" fmla="*/ 42 h 47"/>
                <a:gd name="T12" fmla="*/ 0 w 56"/>
                <a:gd name="T13" fmla="*/ 42 h 47"/>
                <a:gd name="T14" fmla="*/ 1 w 56"/>
                <a:gd name="T15" fmla="*/ 46 h 47"/>
                <a:gd name="T16" fmla="*/ 5 w 56"/>
                <a:gd name="T17" fmla="*/ 47 h 47"/>
                <a:gd name="T18" fmla="*/ 51 w 56"/>
                <a:gd name="T19" fmla="*/ 47 h 47"/>
                <a:gd name="T20" fmla="*/ 51 w 56"/>
                <a:gd name="T21" fmla="*/ 47 h 47"/>
                <a:gd name="T22" fmla="*/ 55 w 56"/>
                <a:gd name="T23" fmla="*/ 46 h 47"/>
                <a:gd name="T24" fmla="*/ 56 w 56"/>
                <a:gd name="T25" fmla="*/ 42 h 47"/>
                <a:gd name="T26" fmla="*/ 56 w 56"/>
                <a:gd name="T27" fmla="*/ 4 h 47"/>
                <a:gd name="T28" fmla="*/ 56 w 56"/>
                <a:gd name="T29" fmla="*/ 4 h 47"/>
                <a:gd name="T30" fmla="*/ 55 w 56"/>
                <a:gd name="T31" fmla="*/ 2 h 47"/>
                <a:gd name="T32" fmla="*/ 51 w 56"/>
                <a:gd name="T33" fmla="*/ 0 h 47"/>
                <a:gd name="T34" fmla="*/ 51 w 56"/>
                <a:gd name="T3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 h="47">
                  <a:moveTo>
                    <a:pt x="51" y="0"/>
                  </a:moveTo>
                  <a:lnTo>
                    <a:pt x="5" y="0"/>
                  </a:lnTo>
                  <a:lnTo>
                    <a:pt x="5" y="0"/>
                  </a:lnTo>
                  <a:lnTo>
                    <a:pt x="1" y="2"/>
                  </a:lnTo>
                  <a:lnTo>
                    <a:pt x="0" y="4"/>
                  </a:lnTo>
                  <a:lnTo>
                    <a:pt x="0" y="42"/>
                  </a:lnTo>
                  <a:lnTo>
                    <a:pt x="0" y="42"/>
                  </a:lnTo>
                  <a:lnTo>
                    <a:pt x="1" y="46"/>
                  </a:lnTo>
                  <a:lnTo>
                    <a:pt x="5" y="47"/>
                  </a:lnTo>
                  <a:lnTo>
                    <a:pt x="51" y="47"/>
                  </a:lnTo>
                  <a:lnTo>
                    <a:pt x="51" y="47"/>
                  </a:lnTo>
                  <a:lnTo>
                    <a:pt x="55" y="46"/>
                  </a:lnTo>
                  <a:lnTo>
                    <a:pt x="56" y="42"/>
                  </a:lnTo>
                  <a:lnTo>
                    <a:pt x="56" y="4"/>
                  </a:lnTo>
                  <a:lnTo>
                    <a:pt x="56" y="4"/>
                  </a:lnTo>
                  <a:lnTo>
                    <a:pt x="55" y="2"/>
                  </a:lnTo>
                  <a:lnTo>
                    <a:pt x="5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63" name="Freeform 186">
              <a:extLst>
                <a:ext uri="{FF2B5EF4-FFF2-40B4-BE49-F238E27FC236}">
                  <a16:creationId xmlns:a16="http://schemas.microsoft.com/office/drawing/2014/main" id="{E8954905-7780-43E2-A5DA-582C8A71F577}"/>
                </a:ext>
              </a:extLst>
            </p:cNvPr>
            <p:cNvSpPr>
              <a:spLocks/>
            </p:cNvSpPr>
            <p:nvPr/>
          </p:nvSpPr>
          <p:spPr bwMode="auto">
            <a:xfrm>
              <a:off x="6076951" y="5255260"/>
              <a:ext cx="44450" cy="38100"/>
            </a:xfrm>
            <a:custGeom>
              <a:avLst/>
              <a:gdLst>
                <a:gd name="T0" fmla="*/ 51 w 56"/>
                <a:gd name="T1" fmla="*/ 0 h 47"/>
                <a:gd name="T2" fmla="*/ 5 w 56"/>
                <a:gd name="T3" fmla="*/ 0 h 47"/>
                <a:gd name="T4" fmla="*/ 5 w 56"/>
                <a:gd name="T5" fmla="*/ 0 h 47"/>
                <a:gd name="T6" fmla="*/ 1 w 56"/>
                <a:gd name="T7" fmla="*/ 1 h 47"/>
                <a:gd name="T8" fmla="*/ 0 w 56"/>
                <a:gd name="T9" fmla="*/ 4 h 47"/>
                <a:gd name="T10" fmla="*/ 0 w 56"/>
                <a:gd name="T11" fmla="*/ 41 h 47"/>
                <a:gd name="T12" fmla="*/ 0 w 56"/>
                <a:gd name="T13" fmla="*/ 41 h 47"/>
                <a:gd name="T14" fmla="*/ 1 w 56"/>
                <a:gd name="T15" fmla="*/ 45 h 47"/>
                <a:gd name="T16" fmla="*/ 5 w 56"/>
                <a:gd name="T17" fmla="*/ 47 h 47"/>
                <a:gd name="T18" fmla="*/ 51 w 56"/>
                <a:gd name="T19" fmla="*/ 47 h 47"/>
                <a:gd name="T20" fmla="*/ 51 w 56"/>
                <a:gd name="T21" fmla="*/ 47 h 47"/>
                <a:gd name="T22" fmla="*/ 55 w 56"/>
                <a:gd name="T23" fmla="*/ 45 h 47"/>
                <a:gd name="T24" fmla="*/ 56 w 56"/>
                <a:gd name="T25" fmla="*/ 41 h 47"/>
                <a:gd name="T26" fmla="*/ 56 w 56"/>
                <a:gd name="T27" fmla="*/ 4 h 47"/>
                <a:gd name="T28" fmla="*/ 56 w 56"/>
                <a:gd name="T29" fmla="*/ 4 h 47"/>
                <a:gd name="T30" fmla="*/ 55 w 56"/>
                <a:gd name="T31" fmla="*/ 1 h 47"/>
                <a:gd name="T32" fmla="*/ 51 w 56"/>
                <a:gd name="T33" fmla="*/ 0 h 47"/>
                <a:gd name="T34" fmla="*/ 51 w 56"/>
                <a:gd name="T3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 h="47">
                  <a:moveTo>
                    <a:pt x="51" y="0"/>
                  </a:moveTo>
                  <a:lnTo>
                    <a:pt x="5" y="0"/>
                  </a:lnTo>
                  <a:lnTo>
                    <a:pt x="5" y="0"/>
                  </a:lnTo>
                  <a:lnTo>
                    <a:pt x="1" y="1"/>
                  </a:lnTo>
                  <a:lnTo>
                    <a:pt x="0" y="4"/>
                  </a:lnTo>
                  <a:lnTo>
                    <a:pt x="0" y="41"/>
                  </a:lnTo>
                  <a:lnTo>
                    <a:pt x="0" y="41"/>
                  </a:lnTo>
                  <a:lnTo>
                    <a:pt x="1" y="45"/>
                  </a:lnTo>
                  <a:lnTo>
                    <a:pt x="5" y="47"/>
                  </a:lnTo>
                  <a:lnTo>
                    <a:pt x="51" y="47"/>
                  </a:lnTo>
                  <a:lnTo>
                    <a:pt x="51" y="47"/>
                  </a:lnTo>
                  <a:lnTo>
                    <a:pt x="55" y="45"/>
                  </a:lnTo>
                  <a:lnTo>
                    <a:pt x="56" y="41"/>
                  </a:lnTo>
                  <a:lnTo>
                    <a:pt x="56" y="4"/>
                  </a:lnTo>
                  <a:lnTo>
                    <a:pt x="56" y="4"/>
                  </a:lnTo>
                  <a:lnTo>
                    <a:pt x="55" y="1"/>
                  </a:lnTo>
                  <a:lnTo>
                    <a:pt x="5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64" name="Freeform 187">
              <a:extLst>
                <a:ext uri="{FF2B5EF4-FFF2-40B4-BE49-F238E27FC236}">
                  <a16:creationId xmlns:a16="http://schemas.microsoft.com/office/drawing/2014/main" id="{6535CF52-0157-49AB-B2FE-21D60F3F2460}"/>
                </a:ext>
              </a:extLst>
            </p:cNvPr>
            <p:cNvSpPr>
              <a:spLocks/>
            </p:cNvSpPr>
            <p:nvPr/>
          </p:nvSpPr>
          <p:spPr bwMode="auto">
            <a:xfrm>
              <a:off x="6143626" y="5255260"/>
              <a:ext cx="42863" cy="38100"/>
            </a:xfrm>
            <a:custGeom>
              <a:avLst/>
              <a:gdLst>
                <a:gd name="T0" fmla="*/ 51 w 55"/>
                <a:gd name="T1" fmla="*/ 0 h 47"/>
                <a:gd name="T2" fmla="*/ 4 w 55"/>
                <a:gd name="T3" fmla="*/ 0 h 47"/>
                <a:gd name="T4" fmla="*/ 4 w 55"/>
                <a:gd name="T5" fmla="*/ 0 h 47"/>
                <a:gd name="T6" fmla="*/ 1 w 55"/>
                <a:gd name="T7" fmla="*/ 1 h 47"/>
                <a:gd name="T8" fmla="*/ 0 w 55"/>
                <a:gd name="T9" fmla="*/ 4 h 47"/>
                <a:gd name="T10" fmla="*/ 0 w 55"/>
                <a:gd name="T11" fmla="*/ 41 h 47"/>
                <a:gd name="T12" fmla="*/ 0 w 55"/>
                <a:gd name="T13" fmla="*/ 41 h 47"/>
                <a:gd name="T14" fmla="*/ 1 w 55"/>
                <a:gd name="T15" fmla="*/ 45 h 47"/>
                <a:gd name="T16" fmla="*/ 4 w 55"/>
                <a:gd name="T17" fmla="*/ 47 h 47"/>
                <a:gd name="T18" fmla="*/ 51 w 55"/>
                <a:gd name="T19" fmla="*/ 47 h 47"/>
                <a:gd name="T20" fmla="*/ 51 w 55"/>
                <a:gd name="T21" fmla="*/ 47 h 47"/>
                <a:gd name="T22" fmla="*/ 54 w 55"/>
                <a:gd name="T23" fmla="*/ 45 h 47"/>
                <a:gd name="T24" fmla="*/ 55 w 55"/>
                <a:gd name="T25" fmla="*/ 41 h 47"/>
                <a:gd name="T26" fmla="*/ 55 w 55"/>
                <a:gd name="T27" fmla="*/ 4 h 47"/>
                <a:gd name="T28" fmla="*/ 55 w 55"/>
                <a:gd name="T29" fmla="*/ 4 h 47"/>
                <a:gd name="T30" fmla="*/ 54 w 55"/>
                <a:gd name="T31" fmla="*/ 1 h 47"/>
                <a:gd name="T32" fmla="*/ 51 w 55"/>
                <a:gd name="T33" fmla="*/ 0 h 47"/>
                <a:gd name="T34" fmla="*/ 51 w 55"/>
                <a:gd name="T3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47">
                  <a:moveTo>
                    <a:pt x="51" y="0"/>
                  </a:moveTo>
                  <a:lnTo>
                    <a:pt x="4" y="0"/>
                  </a:lnTo>
                  <a:lnTo>
                    <a:pt x="4" y="0"/>
                  </a:lnTo>
                  <a:lnTo>
                    <a:pt x="1" y="1"/>
                  </a:lnTo>
                  <a:lnTo>
                    <a:pt x="0" y="4"/>
                  </a:lnTo>
                  <a:lnTo>
                    <a:pt x="0" y="41"/>
                  </a:lnTo>
                  <a:lnTo>
                    <a:pt x="0" y="41"/>
                  </a:lnTo>
                  <a:lnTo>
                    <a:pt x="1" y="45"/>
                  </a:lnTo>
                  <a:lnTo>
                    <a:pt x="4" y="47"/>
                  </a:lnTo>
                  <a:lnTo>
                    <a:pt x="51" y="47"/>
                  </a:lnTo>
                  <a:lnTo>
                    <a:pt x="51" y="47"/>
                  </a:lnTo>
                  <a:lnTo>
                    <a:pt x="54" y="45"/>
                  </a:lnTo>
                  <a:lnTo>
                    <a:pt x="55" y="41"/>
                  </a:lnTo>
                  <a:lnTo>
                    <a:pt x="55" y="4"/>
                  </a:lnTo>
                  <a:lnTo>
                    <a:pt x="55" y="4"/>
                  </a:lnTo>
                  <a:lnTo>
                    <a:pt x="54" y="1"/>
                  </a:lnTo>
                  <a:lnTo>
                    <a:pt x="5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265" name="TextBox 264">
            <a:extLst>
              <a:ext uri="{FF2B5EF4-FFF2-40B4-BE49-F238E27FC236}">
                <a16:creationId xmlns:a16="http://schemas.microsoft.com/office/drawing/2014/main" id="{3BF95001-7D69-4897-A787-B5F4D0B04781}"/>
              </a:ext>
            </a:extLst>
          </p:cNvPr>
          <p:cNvSpPr txBox="1"/>
          <p:nvPr/>
        </p:nvSpPr>
        <p:spPr>
          <a:xfrm>
            <a:off x="5061734" y="4094570"/>
            <a:ext cx="934744" cy="430907"/>
          </a:xfrm>
          <a:prstGeom prst="rect">
            <a:avLst/>
          </a:prstGeom>
          <a:ln>
            <a:noFill/>
          </a:ln>
        </p:spPr>
        <p:txBody>
          <a:bodyPr vert="horz" wrap="square" lIns="45720" tIns="31173" rIns="45720" bIns="31173" rtlCol="0" anchor="ctr">
            <a:norm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Dynamic fit tools</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266" name="Freeform 14">
            <a:extLst>
              <a:ext uri="{FF2B5EF4-FFF2-40B4-BE49-F238E27FC236}">
                <a16:creationId xmlns:a16="http://schemas.microsoft.com/office/drawing/2014/main" id="{77A85972-3054-4C0E-AE6D-C90910BCB1DC}"/>
              </a:ext>
            </a:extLst>
          </p:cNvPr>
          <p:cNvSpPr>
            <a:spLocks noEditPoints="1"/>
          </p:cNvSpPr>
          <p:nvPr/>
        </p:nvSpPr>
        <p:spPr bwMode="auto">
          <a:xfrm>
            <a:off x="4935845" y="3801628"/>
            <a:ext cx="321016" cy="320040"/>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4 w 658"/>
              <a:gd name="T11" fmla="*/ 426 h 657"/>
              <a:gd name="T12" fmla="*/ 4 w 658"/>
              <a:gd name="T13" fmla="*/ 379 h 657"/>
              <a:gd name="T14" fmla="*/ 0 w 658"/>
              <a:gd name="T15" fmla="*/ 328 h 657"/>
              <a:gd name="T16" fmla="*/ 2 w 658"/>
              <a:gd name="T17" fmla="*/ 294 h 657"/>
              <a:gd name="T18" fmla="*/ 10 w 658"/>
              <a:gd name="T19" fmla="*/ 246 h 657"/>
              <a:gd name="T20" fmla="*/ 40 w 658"/>
              <a:gd name="T21" fmla="*/ 172 h 657"/>
              <a:gd name="T22" fmla="*/ 96 w 658"/>
              <a:gd name="T23" fmla="*/ 95 h 657"/>
              <a:gd name="T24" fmla="*/ 171 w 658"/>
              <a:gd name="T25" fmla="*/ 39 h 657"/>
              <a:gd name="T26" fmla="*/ 247 w 658"/>
              <a:gd name="T27" fmla="*/ 9 h 657"/>
              <a:gd name="T28" fmla="*/ 295 w 658"/>
              <a:gd name="T29" fmla="*/ 1 h 657"/>
              <a:gd name="T30" fmla="*/ 329 w 658"/>
              <a:gd name="T31" fmla="*/ 0 h 657"/>
              <a:gd name="T32" fmla="*/ 378 w 658"/>
              <a:gd name="T33" fmla="*/ 2 h 657"/>
              <a:gd name="T34" fmla="*/ 427 w 658"/>
              <a:gd name="T35" fmla="*/ 15 h 657"/>
              <a:gd name="T36" fmla="*/ 513 w 658"/>
              <a:gd name="T37" fmla="*/ 55 h 657"/>
              <a:gd name="T38" fmla="*/ 583 w 658"/>
              <a:gd name="T39" fmla="*/ 119 h 657"/>
              <a:gd name="T40" fmla="*/ 632 w 658"/>
              <a:gd name="T41" fmla="*/ 200 h 657"/>
              <a:gd name="T42" fmla="*/ 651 w 658"/>
              <a:gd name="T43" fmla="*/ 262 h 657"/>
              <a:gd name="T44" fmla="*/ 656 w 658"/>
              <a:gd name="T45" fmla="*/ 311 h 657"/>
              <a:gd name="T46" fmla="*/ 656 w 658"/>
              <a:gd name="T47" fmla="*/ 345 h 657"/>
              <a:gd name="T48" fmla="*/ 651 w 658"/>
              <a:gd name="T49" fmla="*/ 395 h 657"/>
              <a:gd name="T50" fmla="*/ 632 w 658"/>
              <a:gd name="T51" fmla="*/ 457 h 657"/>
              <a:gd name="T52" fmla="*/ 583 w 658"/>
              <a:gd name="T53" fmla="*/ 537 h 657"/>
              <a:gd name="T54" fmla="*/ 513 w 658"/>
              <a:gd name="T55" fmla="*/ 600 h 657"/>
              <a:gd name="T56" fmla="*/ 427 w 658"/>
              <a:gd name="T57" fmla="*/ 642 h 657"/>
              <a:gd name="T58" fmla="*/ 378 w 658"/>
              <a:gd name="T59" fmla="*/ 653 h 657"/>
              <a:gd name="T60" fmla="*/ 329 w 658"/>
              <a:gd name="T61" fmla="*/ 657 h 657"/>
              <a:gd name="T62" fmla="*/ 329 w 658"/>
              <a:gd name="T63" fmla="*/ 37 h 657"/>
              <a:gd name="T64" fmla="*/ 243 w 658"/>
              <a:gd name="T65" fmla="*/ 50 h 657"/>
              <a:gd name="T66" fmla="*/ 166 w 658"/>
              <a:gd name="T67" fmla="*/ 87 h 657"/>
              <a:gd name="T68" fmla="*/ 104 w 658"/>
              <a:gd name="T69" fmla="*/ 144 h 657"/>
              <a:gd name="T70" fmla="*/ 60 w 658"/>
              <a:gd name="T71" fmla="*/ 215 h 657"/>
              <a:gd name="T72" fmla="*/ 38 w 658"/>
              <a:gd name="T73" fmla="*/ 298 h 657"/>
              <a:gd name="T74" fmla="*/ 38 w 658"/>
              <a:gd name="T75" fmla="*/ 358 h 657"/>
              <a:gd name="T76" fmla="*/ 60 w 658"/>
              <a:gd name="T77" fmla="*/ 442 h 657"/>
              <a:gd name="T78" fmla="*/ 104 w 658"/>
              <a:gd name="T79" fmla="*/ 513 h 657"/>
              <a:gd name="T80" fmla="*/ 166 w 658"/>
              <a:gd name="T81" fmla="*/ 569 h 657"/>
              <a:gd name="T82" fmla="*/ 243 w 658"/>
              <a:gd name="T83" fmla="*/ 606 h 657"/>
              <a:gd name="T84" fmla="*/ 329 w 658"/>
              <a:gd name="T85" fmla="*/ 619 h 657"/>
              <a:gd name="T86" fmla="*/ 388 w 658"/>
              <a:gd name="T87" fmla="*/ 614 h 657"/>
              <a:gd name="T88" fmla="*/ 467 w 658"/>
              <a:gd name="T89" fmla="*/ 584 h 657"/>
              <a:gd name="T90" fmla="*/ 534 w 658"/>
              <a:gd name="T91" fmla="*/ 534 h 657"/>
              <a:gd name="T92" fmla="*/ 585 w 658"/>
              <a:gd name="T93" fmla="*/ 467 h 657"/>
              <a:gd name="T94" fmla="*/ 613 w 658"/>
              <a:gd name="T95" fmla="*/ 387 h 657"/>
              <a:gd name="T96" fmla="*/ 620 w 658"/>
              <a:gd name="T97" fmla="*/ 328 h 657"/>
              <a:gd name="T98" fmla="*/ 607 w 658"/>
              <a:gd name="T99" fmla="*/ 242 h 657"/>
              <a:gd name="T100" fmla="*/ 570 w 658"/>
              <a:gd name="T101" fmla="*/ 165 h 657"/>
              <a:gd name="T102" fmla="*/ 514 w 658"/>
              <a:gd name="T103" fmla="*/ 103 h 657"/>
              <a:gd name="T104" fmla="*/ 441 w 658"/>
              <a:gd name="T105" fmla="*/ 60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5"/>
                </a:lnTo>
                <a:lnTo>
                  <a:pt x="279" y="653"/>
                </a:lnTo>
                <a:lnTo>
                  <a:pt x="263" y="650"/>
                </a:lnTo>
                <a:lnTo>
                  <a:pt x="247" y="646"/>
                </a:lnTo>
                <a:lnTo>
                  <a:pt x="231" y="642"/>
                </a:lnTo>
                <a:lnTo>
                  <a:pt x="201" y="631"/>
                </a:lnTo>
                <a:lnTo>
                  <a:pt x="171" y="618"/>
                </a:lnTo>
                <a:lnTo>
                  <a:pt x="145" y="600"/>
                </a:lnTo>
                <a:lnTo>
                  <a:pt x="119" y="582"/>
                </a:lnTo>
                <a:lnTo>
                  <a:pt x="96" y="560"/>
                </a:lnTo>
                <a:lnTo>
                  <a:pt x="75" y="537"/>
                </a:lnTo>
                <a:lnTo>
                  <a:pt x="56" y="512"/>
                </a:lnTo>
                <a:lnTo>
                  <a:pt x="40" y="485"/>
                </a:lnTo>
                <a:lnTo>
                  <a:pt x="26" y="457"/>
                </a:lnTo>
                <a:lnTo>
                  <a:pt x="14" y="426"/>
                </a:lnTo>
                <a:lnTo>
                  <a:pt x="10" y="410"/>
                </a:lnTo>
                <a:lnTo>
                  <a:pt x="6" y="395"/>
                </a:lnTo>
                <a:lnTo>
                  <a:pt x="4" y="379"/>
                </a:lnTo>
                <a:lnTo>
                  <a:pt x="2" y="361"/>
                </a:lnTo>
                <a:lnTo>
                  <a:pt x="1" y="345"/>
                </a:lnTo>
                <a:lnTo>
                  <a:pt x="0" y="328"/>
                </a:lnTo>
                <a:lnTo>
                  <a:pt x="0" y="328"/>
                </a:lnTo>
                <a:lnTo>
                  <a:pt x="1" y="311"/>
                </a:lnTo>
                <a:lnTo>
                  <a:pt x="2" y="294"/>
                </a:lnTo>
                <a:lnTo>
                  <a:pt x="4" y="278"/>
                </a:lnTo>
                <a:lnTo>
                  <a:pt x="6" y="262"/>
                </a:lnTo>
                <a:lnTo>
                  <a:pt x="10" y="246"/>
                </a:lnTo>
                <a:lnTo>
                  <a:pt x="14" y="231"/>
                </a:lnTo>
                <a:lnTo>
                  <a:pt x="26" y="200"/>
                </a:lnTo>
                <a:lnTo>
                  <a:pt x="40" y="172"/>
                </a:lnTo>
                <a:lnTo>
                  <a:pt x="56" y="145"/>
                </a:lnTo>
                <a:lnTo>
                  <a:pt x="75" y="119"/>
                </a:lnTo>
                <a:lnTo>
                  <a:pt x="96" y="95"/>
                </a:lnTo>
                <a:lnTo>
                  <a:pt x="119" y="75"/>
                </a:lnTo>
                <a:lnTo>
                  <a:pt x="145" y="55"/>
                </a:lnTo>
                <a:lnTo>
                  <a:pt x="171" y="39"/>
                </a:lnTo>
                <a:lnTo>
                  <a:pt x="201" y="25"/>
                </a:lnTo>
                <a:lnTo>
                  <a:pt x="231" y="15"/>
                </a:lnTo>
                <a:lnTo>
                  <a:pt x="247" y="9"/>
                </a:lnTo>
                <a:lnTo>
                  <a:pt x="263" y="7"/>
                </a:lnTo>
                <a:lnTo>
                  <a:pt x="279" y="2"/>
                </a:lnTo>
                <a:lnTo>
                  <a:pt x="295" y="1"/>
                </a:lnTo>
                <a:lnTo>
                  <a:pt x="311" y="0"/>
                </a:lnTo>
                <a:lnTo>
                  <a:pt x="329" y="0"/>
                </a:lnTo>
                <a:lnTo>
                  <a:pt x="329" y="0"/>
                </a:lnTo>
                <a:lnTo>
                  <a:pt x="346" y="0"/>
                </a:lnTo>
                <a:lnTo>
                  <a:pt x="362" y="1"/>
                </a:lnTo>
                <a:lnTo>
                  <a:pt x="378" y="2"/>
                </a:lnTo>
                <a:lnTo>
                  <a:pt x="394" y="7"/>
                </a:lnTo>
                <a:lnTo>
                  <a:pt x="411" y="9"/>
                </a:lnTo>
                <a:lnTo>
                  <a:pt x="427" y="15"/>
                </a:lnTo>
                <a:lnTo>
                  <a:pt x="456" y="25"/>
                </a:lnTo>
                <a:lnTo>
                  <a:pt x="486" y="39"/>
                </a:lnTo>
                <a:lnTo>
                  <a:pt x="513" y="55"/>
                </a:lnTo>
                <a:lnTo>
                  <a:pt x="538" y="75"/>
                </a:lnTo>
                <a:lnTo>
                  <a:pt x="561" y="95"/>
                </a:lnTo>
                <a:lnTo>
                  <a:pt x="583" y="119"/>
                </a:lnTo>
                <a:lnTo>
                  <a:pt x="601" y="145"/>
                </a:lnTo>
                <a:lnTo>
                  <a:pt x="617" y="172"/>
                </a:lnTo>
                <a:lnTo>
                  <a:pt x="632" y="200"/>
                </a:lnTo>
                <a:lnTo>
                  <a:pt x="643" y="231"/>
                </a:lnTo>
                <a:lnTo>
                  <a:pt x="647" y="246"/>
                </a:lnTo>
                <a:lnTo>
                  <a:pt x="651" y="262"/>
                </a:lnTo>
                <a:lnTo>
                  <a:pt x="654" y="278"/>
                </a:lnTo>
                <a:lnTo>
                  <a:pt x="656" y="294"/>
                </a:lnTo>
                <a:lnTo>
                  <a:pt x="656" y="311"/>
                </a:lnTo>
                <a:lnTo>
                  <a:pt x="658" y="328"/>
                </a:lnTo>
                <a:lnTo>
                  <a:pt x="658" y="328"/>
                </a:lnTo>
                <a:lnTo>
                  <a:pt x="656" y="345"/>
                </a:lnTo>
                <a:lnTo>
                  <a:pt x="656" y="361"/>
                </a:lnTo>
                <a:lnTo>
                  <a:pt x="654" y="379"/>
                </a:lnTo>
                <a:lnTo>
                  <a:pt x="651" y="395"/>
                </a:lnTo>
                <a:lnTo>
                  <a:pt x="647" y="410"/>
                </a:lnTo>
                <a:lnTo>
                  <a:pt x="643" y="426"/>
                </a:lnTo>
                <a:lnTo>
                  <a:pt x="632" y="457"/>
                </a:lnTo>
                <a:lnTo>
                  <a:pt x="617" y="485"/>
                </a:lnTo>
                <a:lnTo>
                  <a:pt x="601" y="512"/>
                </a:lnTo>
                <a:lnTo>
                  <a:pt x="583" y="537"/>
                </a:lnTo>
                <a:lnTo>
                  <a:pt x="561" y="560"/>
                </a:lnTo>
                <a:lnTo>
                  <a:pt x="538" y="582"/>
                </a:lnTo>
                <a:lnTo>
                  <a:pt x="513" y="600"/>
                </a:lnTo>
                <a:lnTo>
                  <a:pt x="486" y="618"/>
                </a:lnTo>
                <a:lnTo>
                  <a:pt x="456" y="631"/>
                </a:lnTo>
                <a:lnTo>
                  <a:pt x="427" y="642"/>
                </a:lnTo>
                <a:lnTo>
                  <a:pt x="411" y="646"/>
                </a:lnTo>
                <a:lnTo>
                  <a:pt x="394" y="650"/>
                </a:lnTo>
                <a:lnTo>
                  <a:pt x="378" y="653"/>
                </a:lnTo>
                <a:lnTo>
                  <a:pt x="362" y="655"/>
                </a:lnTo>
                <a:lnTo>
                  <a:pt x="346" y="657"/>
                </a:lnTo>
                <a:lnTo>
                  <a:pt x="329" y="657"/>
                </a:lnTo>
                <a:lnTo>
                  <a:pt x="329" y="657"/>
                </a:lnTo>
                <a:close/>
                <a:moveTo>
                  <a:pt x="329" y="37"/>
                </a:moveTo>
                <a:lnTo>
                  <a:pt x="329" y="37"/>
                </a:lnTo>
                <a:lnTo>
                  <a:pt x="299" y="39"/>
                </a:lnTo>
                <a:lnTo>
                  <a:pt x="270" y="43"/>
                </a:lnTo>
                <a:lnTo>
                  <a:pt x="243" y="50"/>
                </a:lnTo>
                <a:lnTo>
                  <a:pt x="216" y="60"/>
                </a:lnTo>
                <a:lnTo>
                  <a:pt x="190" y="72"/>
                </a:lnTo>
                <a:lnTo>
                  <a:pt x="166" y="87"/>
                </a:lnTo>
                <a:lnTo>
                  <a:pt x="143" y="103"/>
                </a:lnTo>
                <a:lnTo>
                  <a:pt x="123" y="122"/>
                </a:lnTo>
                <a:lnTo>
                  <a:pt x="104" y="144"/>
                </a:lnTo>
                <a:lnTo>
                  <a:pt x="87" y="165"/>
                </a:lnTo>
                <a:lnTo>
                  <a:pt x="72" y="189"/>
                </a:lnTo>
                <a:lnTo>
                  <a:pt x="60" y="215"/>
                </a:lnTo>
                <a:lnTo>
                  <a:pt x="51" y="242"/>
                </a:lnTo>
                <a:lnTo>
                  <a:pt x="44" y="270"/>
                </a:lnTo>
                <a:lnTo>
                  <a:pt x="38" y="298"/>
                </a:lnTo>
                <a:lnTo>
                  <a:pt x="37" y="328"/>
                </a:lnTo>
                <a:lnTo>
                  <a:pt x="37" y="328"/>
                </a:lnTo>
                <a:lnTo>
                  <a:pt x="38" y="358"/>
                </a:lnTo>
                <a:lnTo>
                  <a:pt x="44" y="387"/>
                </a:lnTo>
                <a:lnTo>
                  <a:pt x="51" y="415"/>
                </a:lnTo>
                <a:lnTo>
                  <a:pt x="60" y="442"/>
                </a:lnTo>
                <a:lnTo>
                  <a:pt x="72" y="467"/>
                </a:lnTo>
                <a:lnTo>
                  <a:pt x="87" y="491"/>
                </a:lnTo>
                <a:lnTo>
                  <a:pt x="104" y="513"/>
                </a:lnTo>
                <a:lnTo>
                  <a:pt x="123" y="534"/>
                </a:lnTo>
                <a:lnTo>
                  <a:pt x="143" y="553"/>
                </a:lnTo>
                <a:lnTo>
                  <a:pt x="166" y="569"/>
                </a:lnTo>
                <a:lnTo>
                  <a:pt x="190" y="584"/>
                </a:lnTo>
                <a:lnTo>
                  <a:pt x="216" y="596"/>
                </a:lnTo>
                <a:lnTo>
                  <a:pt x="243" y="606"/>
                </a:lnTo>
                <a:lnTo>
                  <a:pt x="270" y="614"/>
                </a:lnTo>
                <a:lnTo>
                  <a:pt x="299" y="618"/>
                </a:lnTo>
                <a:lnTo>
                  <a:pt x="329" y="619"/>
                </a:lnTo>
                <a:lnTo>
                  <a:pt x="329" y="619"/>
                </a:lnTo>
                <a:lnTo>
                  <a:pt x="358" y="618"/>
                </a:lnTo>
                <a:lnTo>
                  <a:pt x="388" y="614"/>
                </a:lnTo>
                <a:lnTo>
                  <a:pt x="415" y="606"/>
                </a:lnTo>
                <a:lnTo>
                  <a:pt x="441" y="596"/>
                </a:lnTo>
                <a:lnTo>
                  <a:pt x="467" y="584"/>
                </a:lnTo>
                <a:lnTo>
                  <a:pt x="491" y="569"/>
                </a:lnTo>
                <a:lnTo>
                  <a:pt x="514" y="553"/>
                </a:lnTo>
                <a:lnTo>
                  <a:pt x="534" y="534"/>
                </a:lnTo>
                <a:lnTo>
                  <a:pt x="553" y="513"/>
                </a:lnTo>
                <a:lnTo>
                  <a:pt x="570" y="491"/>
                </a:lnTo>
                <a:lnTo>
                  <a:pt x="585" y="467"/>
                </a:lnTo>
                <a:lnTo>
                  <a:pt x="597" y="442"/>
                </a:lnTo>
                <a:lnTo>
                  <a:pt x="607" y="415"/>
                </a:lnTo>
                <a:lnTo>
                  <a:pt x="613" y="387"/>
                </a:lnTo>
                <a:lnTo>
                  <a:pt x="619" y="358"/>
                </a:lnTo>
                <a:lnTo>
                  <a:pt x="620" y="328"/>
                </a:lnTo>
                <a:lnTo>
                  <a:pt x="620" y="328"/>
                </a:lnTo>
                <a:lnTo>
                  <a:pt x="619" y="298"/>
                </a:lnTo>
                <a:lnTo>
                  <a:pt x="613" y="270"/>
                </a:lnTo>
                <a:lnTo>
                  <a:pt x="607" y="242"/>
                </a:lnTo>
                <a:lnTo>
                  <a:pt x="597" y="215"/>
                </a:lnTo>
                <a:lnTo>
                  <a:pt x="585" y="189"/>
                </a:lnTo>
                <a:lnTo>
                  <a:pt x="570" y="165"/>
                </a:lnTo>
                <a:lnTo>
                  <a:pt x="553" y="144"/>
                </a:lnTo>
                <a:lnTo>
                  <a:pt x="534" y="122"/>
                </a:lnTo>
                <a:lnTo>
                  <a:pt x="514" y="103"/>
                </a:lnTo>
                <a:lnTo>
                  <a:pt x="491" y="87"/>
                </a:lnTo>
                <a:lnTo>
                  <a:pt x="467" y="72"/>
                </a:lnTo>
                <a:lnTo>
                  <a:pt x="441" y="60"/>
                </a:lnTo>
                <a:lnTo>
                  <a:pt x="415" y="50"/>
                </a:lnTo>
                <a:lnTo>
                  <a:pt x="388" y="43"/>
                </a:lnTo>
                <a:lnTo>
                  <a:pt x="358" y="39"/>
                </a:lnTo>
                <a:lnTo>
                  <a:pt x="329" y="37"/>
                </a:lnTo>
                <a:lnTo>
                  <a:pt x="329" y="3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267" name="Group 266">
            <a:extLst>
              <a:ext uri="{FF2B5EF4-FFF2-40B4-BE49-F238E27FC236}">
                <a16:creationId xmlns:a16="http://schemas.microsoft.com/office/drawing/2014/main" id="{59A517C0-4EE6-4A26-A300-5C6251AF36E7}"/>
              </a:ext>
            </a:extLst>
          </p:cNvPr>
          <p:cNvGrpSpPr/>
          <p:nvPr/>
        </p:nvGrpSpPr>
        <p:grpSpPr>
          <a:xfrm>
            <a:off x="4995971" y="3860885"/>
            <a:ext cx="185687" cy="201525"/>
            <a:chOff x="5562600" y="4875213"/>
            <a:chExt cx="790575" cy="790575"/>
          </a:xfrm>
        </p:grpSpPr>
        <p:sp>
          <p:nvSpPr>
            <p:cNvPr id="268" name="Freeform 55">
              <a:extLst>
                <a:ext uri="{FF2B5EF4-FFF2-40B4-BE49-F238E27FC236}">
                  <a16:creationId xmlns:a16="http://schemas.microsoft.com/office/drawing/2014/main" id="{543723E5-5A35-426C-8E84-1F418D42A092}"/>
                </a:ext>
              </a:extLst>
            </p:cNvPr>
            <p:cNvSpPr>
              <a:spLocks noEditPoints="1"/>
            </p:cNvSpPr>
            <p:nvPr/>
          </p:nvSpPr>
          <p:spPr bwMode="auto">
            <a:xfrm>
              <a:off x="5800725" y="5116513"/>
              <a:ext cx="311150" cy="311150"/>
            </a:xfrm>
            <a:custGeom>
              <a:avLst/>
              <a:gdLst>
                <a:gd name="T0" fmla="*/ 47 w 93"/>
                <a:gd name="T1" fmla="*/ 0 h 93"/>
                <a:gd name="T2" fmla="*/ 0 w 93"/>
                <a:gd name="T3" fmla="*/ 46 h 93"/>
                <a:gd name="T4" fmla="*/ 47 w 93"/>
                <a:gd name="T5" fmla="*/ 93 h 93"/>
                <a:gd name="T6" fmla="*/ 93 w 93"/>
                <a:gd name="T7" fmla="*/ 46 h 93"/>
                <a:gd name="T8" fmla="*/ 47 w 93"/>
                <a:gd name="T9" fmla="*/ 0 h 93"/>
                <a:gd name="T10" fmla="*/ 47 w 93"/>
                <a:gd name="T11" fmla="*/ 84 h 93"/>
                <a:gd name="T12" fmla="*/ 10 w 93"/>
                <a:gd name="T13" fmla="*/ 46 h 93"/>
                <a:gd name="T14" fmla="*/ 47 w 93"/>
                <a:gd name="T15" fmla="*/ 9 h 93"/>
                <a:gd name="T16" fmla="*/ 84 w 93"/>
                <a:gd name="T17" fmla="*/ 46 h 93"/>
                <a:gd name="T18" fmla="*/ 47 w 93"/>
                <a:gd name="T19" fmla="*/ 8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3">
                  <a:moveTo>
                    <a:pt x="47" y="0"/>
                  </a:moveTo>
                  <a:cubicBezTo>
                    <a:pt x="21" y="0"/>
                    <a:pt x="0" y="21"/>
                    <a:pt x="0" y="46"/>
                  </a:cubicBezTo>
                  <a:cubicBezTo>
                    <a:pt x="0" y="72"/>
                    <a:pt x="21" y="93"/>
                    <a:pt x="47" y="93"/>
                  </a:cubicBezTo>
                  <a:cubicBezTo>
                    <a:pt x="72" y="93"/>
                    <a:pt x="93" y="72"/>
                    <a:pt x="93" y="46"/>
                  </a:cubicBezTo>
                  <a:cubicBezTo>
                    <a:pt x="93" y="21"/>
                    <a:pt x="72" y="0"/>
                    <a:pt x="47" y="0"/>
                  </a:cubicBezTo>
                  <a:close/>
                  <a:moveTo>
                    <a:pt x="47" y="84"/>
                  </a:moveTo>
                  <a:cubicBezTo>
                    <a:pt x="26" y="84"/>
                    <a:pt x="10" y="67"/>
                    <a:pt x="10" y="46"/>
                  </a:cubicBezTo>
                  <a:cubicBezTo>
                    <a:pt x="10" y="26"/>
                    <a:pt x="26" y="9"/>
                    <a:pt x="47" y="9"/>
                  </a:cubicBezTo>
                  <a:cubicBezTo>
                    <a:pt x="67" y="9"/>
                    <a:pt x="84" y="26"/>
                    <a:pt x="84" y="46"/>
                  </a:cubicBezTo>
                  <a:cubicBezTo>
                    <a:pt x="84" y="67"/>
                    <a:pt x="67" y="84"/>
                    <a:pt x="47" y="84"/>
                  </a:cubicBezTo>
                  <a:close/>
                </a:path>
              </a:pathLst>
            </a:custGeom>
            <a:solidFill>
              <a:srgbClr val="231F20"/>
            </a:solid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69" name="Freeform 56">
              <a:extLst>
                <a:ext uri="{FF2B5EF4-FFF2-40B4-BE49-F238E27FC236}">
                  <a16:creationId xmlns:a16="http://schemas.microsoft.com/office/drawing/2014/main" id="{F2129F6B-CC19-4C35-A818-36E7C5BB58BD}"/>
                </a:ext>
              </a:extLst>
            </p:cNvPr>
            <p:cNvSpPr>
              <a:spLocks noEditPoints="1"/>
            </p:cNvSpPr>
            <p:nvPr/>
          </p:nvSpPr>
          <p:spPr bwMode="auto">
            <a:xfrm>
              <a:off x="5562600" y="4875213"/>
              <a:ext cx="790575" cy="790575"/>
            </a:xfrm>
            <a:custGeom>
              <a:avLst/>
              <a:gdLst>
                <a:gd name="T0" fmla="*/ 230 w 236"/>
                <a:gd name="T1" fmla="*/ 98 h 236"/>
                <a:gd name="T2" fmla="*/ 195 w 236"/>
                <a:gd name="T3" fmla="*/ 75 h 236"/>
                <a:gd name="T4" fmla="*/ 212 w 236"/>
                <a:gd name="T5" fmla="*/ 47 h 236"/>
                <a:gd name="T6" fmla="*/ 183 w 236"/>
                <a:gd name="T7" fmla="*/ 24 h 236"/>
                <a:gd name="T8" fmla="*/ 142 w 236"/>
                <a:gd name="T9" fmla="*/ 33 h 236"/>
                <a:gd name="T10" fmla="*/ 134 w 236"/>
                <a:gd name="T11" fmla="*/ 2 h 236"/>
                <a:gd name="T12" fmla="*/ 97 w 236"/>
                <a:gd name="T13" fmla="*/ 6 h 236"/>
                <a:gd name="T14" fmla="*/ 74 w 236"/>
                <a:gd name="T15" fmla="*/ 41 h 236"/>
                <a:gd name="T16" fmla="*/ 47 w 236"/>
                <a:gd name="T17" fmla="*/ 24 h 236"/>
                <a:gd name="T18" fmla="*/ 33 w 236"/>
                <a:gd name="T19" fmla="*/ 36 h 236"/>
                <a:gd name="T20" fmla="*/ 24 w 236"/>
                <a:gd name="T21" fmla="*/ 53 h 236"/>
                <a:gd name="T22" fmla="*/ 32 w 236"/>
                <a:gd name="T23" fmla="*/ 94 h 236"/>
                <a:gd name="T24" fmla="*/ 1 w 236"/>
                <a:gd name="T25" fmla="*/ 102 h 236"/>
                <a:gd name="T26" fmla="*/ 0 w 236"/>
                <a:gd name="T27" fmla="*/ 120 h 236"/>
                <a:gd name="T28" fmla="*/ 5 w 236"/>
                <a:gd name="T29" fmla="*/ 139 h 236"/>
                <a:gd name="T30" fmla="*/ 40 w 236"/>
                <a:gd name="T31" fmla="*/ 162 h 236"/>
                <a:gd name="T32" fmla="*/ 24 w 236"/>
                <a:gd name="T33" fmla="*/ 190 h 236"/>
                <a:gd name="T34" fmla="*/ 35 w 236"/>
                <a:gd name="T35" fmla="*/ 203 h 236"/>
                <a:gd name="T36" fmla="*/ 52 w 236"/>
                <a:gd name="T37" fmla="*/ 213 h 236"/>
                <a:gd name="T38" fmla="*/ 94 w 236"/>
                <a:gd name="T39" fmla="*/ 204 h 236"/>
                <a:gd name="T40" fmla="*/ 101 w 236"/>
                <a:gd name="T41" fmla="*/ 235 h 236"/>
                <a:gd name="T42" fmla="*/ 134 w 236"/>
                <a:gd name="T43" fmla="*/ 235 h 236"/>
                <a:gd name="T44" fmla="*/ 142 w 236"/>
                <a:gd name="T45" fmla="*/ 204 h 236"/>
                <a:gd name="T46" fmla="*/ 183 w 236"/>
                <a:gd name="T47" fmla="*/ 213 h 236"/>
                <a:gd name="T48" fmla="*/ 212 w 236"/>
                <a:gd name="T49" fmla="*/ 190 h 236"/>
                <a:gd name="T50" fmla="*/ 195 w 236"/>
                <a:gd name="T51" fmla="*/ 162 h 236"/>
                <a:gd name="T52" fmla="*/ 230 w 236"/>
                <a:gd name="T53" fmla="*/ 139 h 236"/>
                <a:gd name="T54" fmla="*/ 236 w 236"/>
                <a:gd name="T55" fmla="*/ 118 h 236"/>
                <a:gd name="T56" fmla="*/ 225 w 236"/>
                <a:gd name="T57" fmla="*/ 130 h 236"/>
                <a:gd name="T58" fmla="*/ 194 w 236"/>
                <a:gd name="T59" fmla="*/ 137 h 236"/>
                <a:gd name="T60" fmla="*/ 185 w 236"/>
                <a:gd name="T61" fmla="*/ 165 h 236"/>
                <a:gd name="T62" fmla="*/ 186 w 236"/>
                <a:gd name="T63" fmla="*/ 203 h 236"/>
                <a:gd name="T64" fmla="*/ 159 w 236"/>
                <a:gd name="T65" fmla="*/ 186 h 236"/>
                <a:gd name="T66" fmla="*/ 133 w 236"/>
                <a:gd name="T67" fmla="*/ 199 h 236"/>
                <a:gd name="T68" fmla="*/ 106 w 236"/>
                <a:gd name="T69" fmla="*/ 226 h 236"/>
                <a:gd name="T70" fmla="*/ 99 w 236"/>
                <a:gd name="T71" fmla="*/ 195 h 236"/>
                <a:gd name="T72" fmla="*/ 71 w 236"/>
                <a:gd name="T73" fmla="*/ 186 h 236"/>
                <a:gd name="T74" fmla="*/ 42 w 236"/>
                <a:gd name="T75" fmla="*/ 196 h 236"/>
                <a:gd name="T76" fmla="*/ 34 w 236"/>
                <a:gd name="T77" fmla="*/ 187 h 236"/>
                <a:gd name="T78" fmla="*/ 50 w 236"/>
                <a:gd name="T79" fmla="*/ 160 h 236"/>
                <a:gd name="T80" fmla="*/ 37 w 236"/>
                <a:gd name="T81" fmla="*/ 133 h 236"/>
                <a:gd name="T82" fmla="*/ 9 w 236"/>
                <a:gd name="T83" fmla="*/ 120 h 236"/>
                <a:gd name="T84" fmla="*/ 10 w 236"/>
                <a:gd name="T85" fmla="*/ 107 h 236"/>
                <a:gd name="T86" fmla="*/ 41 w 236"/>
                <a:gd name="T87" fmla="*/ 100 h 236"/>
                <a:gd name="T88" fmla="*/ 50 w 236"/>
                <a:gd name="T89" fmla="*/ 72 h 236"/>
                <a:gd name="T90" fmla="*/ 40 w 236"/>
                <a:gd name="T91" fmla="*/ 43 h 236"/>
                <a:gd name="T92" fmla="*/ 50 w 236"/>
                <a:gd name="T93" fmla="*/ 34 h 236"/>
                <a:gd name="T94" fmla="*/ 77 w 236"/>
                <a:gd name="T95" fmla="*/ 51 h 236"/>
                <a:gd name="T96" fmla="*/ 103 w 236"/>
                <a:gd name="T97" fmla="*/ 38 h 236"/>
                <a:gd name="T98" fmla="*/ 129 w 236"/>
                <a:gd name="T99" fmla="*/ 11 h 236"/>
                <a:gd name="T100" fmla="*/ 136 w 236"/>
                <a:gd name="T101" fmla="*/ 42 h 236"/>
                <a:gd name="T102" fmla="*/ 164 w 236"/>
                <a:gd name="T103" fmla="*/ 51 h 236"/>
                <a:gd name="T104" fmla="*/ 202 w 236"/>
                <a:gd name="T105" fmla="*/ 50 h 236"/>
                <a:gd name="T106" fmla="*/ 185 w 236"/>
                <a:gd name="T107" fmla="*/ 77 h 236"/>
                <a:gd name="T108" fmla="*/ 198 w 236"/>
                <a:gd name="T109" fmla="*/ 104 h 236"/>
                <a:gd name="T110" fmla="*/ 226 w 236"/>
                <a:gd name="T111" fmla="*/ 11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6" h="236">
                  <a:moveTo>
                    <a:pt x="234" y="102"/>
                  </a:moveTo>
                  <a:cubicBezTo>
                    <a:pt x="234" y="100"/>
                    <a:pt x="232" y="98"/>
                    <a:pt x="230" y="98"/>
                  </a:cubicBezTo>
                  <a:cubicBezTo>
                    <a:pt x="203" y="94"/>
                    <a:pt x="203" y="94"/>
                    <a:pt x="203" y="94"/>
                  </a:cubicBezTo>
                  <a:cubicBezTo>
                    <a:pt x="201" y="88"/>
                    <a:pt x="198" y="81"/>
                    <a:pt x="195" y="75"/>
                  </a:cubicBezTo>
                  <a:cubicBezTo>
                    <a:pt x="212" y="53"/>
                    <a:pt x="212" y="53"/>
                    <a:pt x="212" y="53"/>
                  </a:cubicBezTo>
                  <a:cubicBezTo>
                    <a:pt x="213" y="52"/>
                    <a:pt x="213" y="49"/>
                    <a:pt x="212" y="47"/>
                  </a:cubicBezTo>
                  <a:cubicBezTo>
                    <a:pt x="205" y="39"/>
                    <a:pt x="197" y="31"/>
                    <a:pt x="189" y="24"/>
                  </a:cubicBezTo>
                  <a:cubicBezTo>
                    <a:pt x="187" y="23"/>
                    <a:pt x="185" y="23"/>
                    <a:pt x="183" y="24"/>
                  </a:cubicBezTo>
                  <a:cubicBezTo>
                    <a:pt x="161" y="41"/>
                    <a:pt x="161" y="41"/>
                    <a:pt x="161" y="41"/>
                  </a:cubicBezTo>
                  <a:cubicBezTo>
                    <a:pt x="155" y="38"/>
                    <a:pt x="148" y="35"/>
                    <a:pt x="142" y="33"/>
                  </a:cubicBezTo>
                  <a:cubicBezTo>
                    <a:pt x="138" y="6"/>
                    <a:pt x="138" y="6"/>
                    <a:pt x="138" y="6"/>
                  </a:cubicBezTo>
                  <a:cubicBezTo>
                    <a:pt x="138" y="4"/>
                    <a:pt x="136" y="2"/>
                    <a:pt x="134" y="2"/>
                  </a:cubicBezTo>
                  <a:cubicBezTo>
                    <a:pt x="123" y="0"/>
                    <a:pt x="112" y="0"/>
                    <a:pt x="101" y="2"/>
                  </a:cubicBezTo>
                  <a:cubicBezTo>
                    <a:pt x="99" y="2"/>
                    <a:pt x="98" y="4"/>
                    <a:pt x="97" y="6"/>
                  </a:cubicBezTo>
                  <a:cubicBezTo>
                    <a:pt x="94" y="33"/>
                    <a:pt x="94" y="33"/>
                    <a:pt x="94" y="33"/>
                  </a:cubicBezTo>
                  <a:cubicBezTo>
                    <a:pt x="87" y="35"/>
                    <a:pt x="80" y="38"/>
                    <a:pt x="74" y="41"/>
                  </a:cubicBezTo>
                  <a:cubicBezTo>
                    <a:pt x="52" y="24"/>
                    <a:pt x="52" y="24"/>
                    <a:pt x="52" y="24"/>
                  </a:cubicBezTo>
                  <a:cubicBezTo>
                    <a:pt x="51" y="23"/>
                    <a:pt x="48" y="23"/>
                    <a:pt x="47" y="24"/>
                  </a:cubicBezTo>
                  <a:cubicBezTo>
                    <a:pt x="43" y="27"/>
                    <a:pt x="39" y="31"/>
                    <a:pt x="35" y="34"/>
                  </a:cubicBezTo>
                  <a:cubicBezTo>
                    <a:pt x="33" y="36"/>
                    <a:pt x="33" y="36"/>
                    <a:pt x="33" y="36"/>
                  </a:cubicBezTo>
                  <a:cubicBezTo>
                    <a:pt x="30" y="40"/>
                    <a:pt x="27" y="43"/>
                    <a:pt x="24" y="47"/>
                  </a:cubicBezTo>
                  <a:cubicBezTo>
                    <a:pt x="22" y="49"/>
                    <a:pt x="22" y="51"/>
                    <a:pt x="24" y="53"/>
                  </a:cubicBezTo>
                  <a:cubicBezTo>
                    <a:pt x="40" y="75"/>
                    <a:pt x="40" y="75"/>
                    <a:pt x="40" y="75"/>
                  </a:cubicBezTo>
                  <a:cubicBezTo>
                    <a:pt x="37" y="81"/>
                    <a:pt x="34" y="88"/>
                    <a:pt x="32" y="94"/>
                  </a:cubicBezTo>
                  <a:cubicBezTo>
                    <a:pt x="5" y="98"/>
                    <a:pt x="5" y="98"/>
                    <a:pt x="5" y="98"/>
                  </a:cubicBezTo>
                  <a:cubicBezTo>
                    <a:pt x="3" y="98"/>
                    <a:pt x="1" y="100"/>
                    <a:pt x="1" y="102"/>
                  </a:cubicBezTo>
                  <a:cubicBezTo>
                    <a:pt x="0" y="107"/>
                    <a:pt x="0" y="112"/>
                    <a:pt x="0" y="117"/>
                  </a:cubicBezTo>
                  <a:cubicBezTo>
                    <a:pt x="0" y="120"/>
                    <a:pt x="0" y="120"/>
                    <a:pt x="0" y="120"/>
                  </a:cubicBezTo>
                  <a:cubicBezTo>
                    <a:pt x="0" y="125"/>
                    <a:pt x="0" y="130"/>
                    <a:pt x="1" y="135"/>
                  </a:cubicBezTo>
                  <a:cubicBezTo>
                    <a:pt x="1" y="137"/>
                    <a:pt x="3" y="139"/>
                    <a:pt x="5" y="139"/>
                  </a:cubicBezTo>
                  <a:cubicBezTo>
                    <a:pt x="32" y="142"/>
                    <a:pt x="32" y="142"/>
                    <a:pt x="32" y="142"/>
                  </a:cubicBezTo>
                  <a:cubicBezTo>
                    <a:pt x="34" y="149"/>
                    <a:pt x="37" y="156"/>
                    <a:pt x="40" y="162"/>
                  </a:cubicBezTo>
                  <a:cubicBezTo>
                    <a:pt x="24" y="184"/>
                    <a:pt x="24" y="184"/>
                    <a:pt x="24" y="184"/>
                  </a:cubicBezTo>
                  <a:cubicBezTo>
                    <a:pt x="22" y="185"/>
                    <a:pt x="22" y="188"/>
                    <a:pt x="24" y="190"/>
                  </a:cubicBezTo>
                  <a:cubicBezTo>
                    <a:pt x="27" y="194"/>
                    <a:pt x="30" y="197"/>
                    <a:pt x="33" y="201"/>
                  </a:cubicBezTo>
                  <a:cubicBezTo>
                    <a:pt x="35" y="203"/>
                    <a:pt x="35" y="203"/>
                    <a:pt x="35" y="203"/>
                  </a:cubicBezTo>
                  <a:cubicBezTo>
                    <a:pt x="39" y="206"/>
                    <a:pt x="43" y="210"/>
                    <a:pt x="47" y="213"/>
                  </a:cubicBezTo>
                  <a:cubicBezTo>
                    <a:pt x="48" y="214"/>
                    <a:pt x="51" y="214"/>
                    <a:pt x="52" y="213"/>
                  </a:cubicBezTo>
                  <a:cubicBezTo>
                    <a:pt x="74" y="196"/>
                    <a:pt x="74" y="196"/>
                    <a:pt x="74" y="196"/>
                  </a:cubicBezTo>
                  <a:cubicBezTo>
                    <a:pt x="80" y="199"/>
                    <a:pt x="87" y="202"/>
                    <a:pt x="94" y="204"/>
                  </a:cubicBezTo>
                  <a:cubicBezTo>
                    <a:pt x="97" y="231"/>
                    <a:pt x="97" y="231"/>
                    <a:pt x="97" y="231"/>
                  </a:cubicBezTo>
                  <a:cubicBezTo>
                    <a:pt x="98" y="233"/>
                    <a:pt x="99" y="235"/>
                    <a:pt x="101" y="235"/>
                  </a:cubicBezTo>
                  <a:cubicBezTo>
                    <a:pt x="107" y="236"/>
                    <a:pt x="112" y="236"/>
                    <a:pt x="118" y="236"/>
                  </a:cubicBezTo>
                  <a:cubicBezTo>
                    <a:pt x="123" y="236"/>
                    <a:pt x="128" y="236"/>
                    <a:pt x="134" y="235"/>
                  </a:cubicBezTo>
                  <a:cubicBezTo>
                    <a:pt x="136" y="235"/>
                    <a:pt x="138" y="233"/>
                    <a:pt x="138" y="231"/>
                  </a:cubicBezTo>
                  <a:cubicBezTo>
                    <a:pt x="142" y="204"/>
                    <a:pt x="142" y="204"/>
                    <a:pt x="142" y="204"/>
                  </a:cubicBezTo>
                  <a:cubicBezTo>
                    <a:pt x="148" y="202"/>
                    <a:pt x="155" y="199"/>
                    <a:pt x="161" y="196"/>
                  </a:cubicBezTo>
                  <a:cubicBezTo>
                    <a:pt x="183" y="213"/>
                    <a:pt x="183" y="213"/>
                    <a:pt x="183" y="213"/>
                  </a:cubicBezTo>
                  <a:cubicBezTo>
                    <a:pt x="185" y="214"/>
                    <a:pt x="187" y="214"/>
                    <a:pt x="189" y="213"/>
                  </a:cubicBezTo>
                  <a:cubicBezTo>
                    <a:pt x="197" y="206"/>
                    <a:pt x="205" y="198"/>
                    <a:pt x="212" y="190"/>
                  </a:cubicBezTo>
                  <a:cubicBezTo>
                    <a:pt x="213" y="188"/>
                    <a:pt x="213" y="185"/>
                    <a:pt x="212" y="184"/>
                  </a:cubicBezTo>
                  <a:cubicBezTo>
                    <a:pt x="195" y="162"/>
                    <a:pt x="195" y="162"/>
                    <a:pt x="195" y="162"/>
                  </a:cubicBezTo>
                  <a:cubicBezTo>
                    <a:pt x="198" y="156"/>
                    <a:pt x="201" y="149"/>
                    <a:pt x="203" y="142"/>
                  </a:cubicBezTo>
                  <a:cubicBezTo>
                    <a:pt x="230" y="139"/>
                    <a:pt x="230" y="139"/>
                    <a:pt x="230" y="139"/>
                  </a:cubicBezTo>
                  <a:cubicBezTo>
                    <a:pt x="232" y="139"/>
                    <a:pt x="234" y="137"/>
                    <a:pt x="234" y="135"/>
                  </a:cubicBezTo>
                  <a:cubicBezTo>
                    <a:pt x="235" y="129"/>
                    <a:pt x="236" y="124"/>
                    <a:pt x="236" y="118"/>
                  </a:cubicBezTo>
                  <a:cubicBezTo>
                    <a:pt x="236" y="113"/>
                    <a:pt x="235" y="108"/>
                    <a:pt x="234" y="102"/>
                  </a:cubicBezTo>
                  <a:close/>
                  <a:moveTo>
                    <a:pt x="225" y="130"/>
                  </a:moveTo>
                  <a:cubicBezTo>
                    <a:pt x="198" y="133"/>
                    <a:pt x="198" y="133"/>
                    <a:pt x="198" y="133"/>
                  </a:cubicBezTo>
                  <a:cubicBezTo>
                    <a:pt x="196" y="134"/>
                    <a:pt x="195" y="135"/>
                    <a:pt x="194" y="137"/>
                  </a:cubicBezTo>
                  <a:cubicBezTo>
                    <a:pt x="192" y="145"/>
                    <a:pt x="189" y="153"/>
                    <a:pt x="185" y="160"/>
                  </a:cubicBezTo>
                  <a:cubicBezTo>
                    <a:pt x="184" y="161"/>
                    <a:pt x="184" y="163"/>
                    <a:pt x="185" y="165"/>
                  </a:cubicBezTo>
                  <a:cubicBezTo>
                    <a:pt x="202" y="187"/>
                    <a:pt x="202" y="187"/>
                    <a:pt x="202" y="187"/>
                  </a:cubicBezTo>
                  <a:cubicBezTo>
                    <a:pt x="197" y="192"/>
                    <a:pt x="192" y="198"/>
                    <a:pt x="186" y="203"/>
                  </a:cubicBezTo>
                  <a:cubicBezTo>
                    <a:pt x="164" y="186"/>
                    <a:pt x="164" y="186"/>
                    <a:pt x="164" y="186"/>
                  </a:cubicBezTo>
                  <a:cubicBezTo>
                    <a:pt x="163" y="185"/>
                    <a:pt x="161" y="185"/>
                    <a:pt x="159" y="186"/>
                  </a:cubicBezTo>
                  <a:cubicBezTo>
                    <a:pt x="152" y="190"/>
                    <a:pt x="144" y="193"/>
                    <a:pt x="136" y="195"/>
                  </a:cubicBezTo>
                  <a:cubicBezTo>
                    <a:pt x="134" y="196"/>
                    <a:pt x="133" y="197"/>
                    <a:pt x="133" y="199"/>
                  </a:cubicBezTo>
                  <a:cubicBezTo>
                    <a:pt x="129" y="226"/>
                    <a:pt x="129" y="226"/>
                    <a:pt x="129" y="226"/>
                  </a:cubicBezTo>
                  <a:cubicBezTo>
                    <a:pt x="121" y="227"/>
                    <a:pt x="114" y="227"/>
                    <a:pt x="106" y="226"/>
                  </a:cubicBezTo>
                  <a:cubicBezTo>
                    <a:pt x="103" y="199"/>
                    <a:pt x="103" y="199"/>
                    <a:pt x="103" y="199"/>
                  </a:cubicBezTo>
                  <a:cubicBezTo>
                    <a:pt x="103" y="197"/>
                    <a:pt x="101" y="196"/>
                    <a:pt x="99" y="195"/>
                  </a:cubicBezTo>
                  <a:cubicBezTo>
                    <a:pt x="91" y="193"/>
                    <a:pt x="84" y="190"/>
                    <a:pt x="77" y="186"/>
                  </a:cubicBezTo>
                  <a:cubicBezTo>
                    <a:pt x="75" y="185"/>
                    <a:pt x="73" y="185"/>
                    <a:pt x="71" y="186"/>
                  </a:cubicBezTo>
                  <a:cubicBezTo>
                    <a:pt x="50" y="203"/>
                    <a:pt x="50" y="203"/>
                    <a:pt x="50" y="203"/>
                  </a:cubicBezTo>
                  <a:cubicBezTo>
                    <a:pt x="47" y="201"/>
                    <a:pt x="44" y="198"/>
                    <a:pt x="42" y="196"/>
                  </a:cubicBezTo>
                  <a:cubicBezTo>
                    <a:pt x="40" y="194"/>
                    <a:pt x="40" y="194"/>
                    <a:pt x="40" y="194"/>
                  </a:cubicBezTo>
                  <a:cubicBezTo>
                    <a:pt x="38" y="192"/>
                    <a:pt x="36" y="189"/>
                    <a:pt x="34" y="187"/>
                  </a:cubicBezTo>
                  <a:cubicBezTo>
                    <a:pt x="50" y="165"/>
                    <a:pt x="50" y="165"/>
                    <a:pt x="50" y="165"/>
                  </a:cubicBezTo>
                  <a:cubicBezTo>
                    <a:pt x="51" y="164"/>
                    <a:pt x="51" y="161"/>
                    <a:pt x="50" y="160"/>
                  </a:cubicBezTo>
                  <a:cubicBezTo>
                    <a:pt x="46" y="153"/>
                    <a:pt x="43" y="145"/>
                    <a:pt x="41" y="137"/>
                  </a:cubicBezTo>
                  <a:cubicBezTo>
                    <a:pt x="41" y="135"/>
                    <a:pt x="39" y="134"/>
                    <a:pt x="37" y="133"/>
                  </a:cubicBezTo>
                  <a:cubicBezTo>
                    <a:pt x="10" y="130"/>
                    <a:pt x="10" y="130"/>
                    <a:pt x="10" y="130"/>
                  </a:cubicBezTo>
                  <a:cubicBezTo>
                    <a:pt x="10" y="127"/>
                    <a:pt x="9" y="123"/>
                    <a:pt x="9" y="120"/>
                  </a:cubicBezTo>
                  <a:cubicBezTo>
                    <a:pt x="9" y="117"/>
                    <a:pt x="9" y="117"/>
                    <a:pt x="9" y="117"/>
                  </a:cubicBezTo>
                  <a:cubicBezTo>
                    <a:pt x="9" y="114"/>
                    <a:pt x="10" y="110"/>
                    <a:pt x="10" y="107"/>
                  </a:cubicBezTo>
                  <a:cubicBezTo>
                    <a:pt x="37" y="104"/>
                    <a:pt x="37" y="104"/>
                    <a:pt x="37" y="104"/>
                  </a:cubicBezTo>
                  <a:cubicBezTo>
                    <a:pt x="39" y="103"/>
                    <a:pt x="41" y="102"/>
                    <a:pt x="41" y="100"/>
                  </a:cubicBezTo>
                  <a:cubicBezTo>
                    <a:pt x="43" y="92"/>
                    <a:pt x="46" y="84"/>
                    <a:pt x="50" y="77"/>
                  </a:cubicBezTo>
                  <a:cubicBezTo>
                    <a:pt x="51" y="76"/>
                    <a:pt x="51" y="73"/>
                    <a:pt x="50" y="72"/>
                  </a:cubicBezTo>
                  <a:cubicBezTo>
                    <a:pt x="34" y="50"/>
                    <a:pt x="34" y="50"/>
                    <a:pt x="34" y="50"/>
                  </a:cubicBezTo>
                  <a:cubicBezTo>
                    <a:pt x="36" y="48"/>
                    <a:pt x="38" y="45"/>
                    <a:pt x="40" y="43"/>
                  </a:cubicBezTo>
                  <a:cubicBezTo>
                    <a:pt x="42" y="41"/>
                    <a:pt x="42" y="41"/>
                    <a:pt x="42" y="41"/>
                  </a:cubicBezTo>
                  <a:cubicBezTo>
                    <a:pt x="44" y="39"/>
                    <a:pt x="47" y="36"/>
                    <a:pt x="50" y="34"/>
                  </a:cubicBezTo>
                  <a:cubicBezTo>
                    <a:pt x="71" y="51"/>
                    <a:pt x="71" y="51"/>
                    <a:pt x="71" y="51"/>
                  </a:cubicBezTo>
                  <a:cubicBezTo>
                    <a:pt x="73" y="52"/>
                    <a:pt x="75" y="52"/>
                    <a:pt x="77" y="51"/>
                  </a:cubicBezTo>
                  <a:cubicBezTo>
                    <a:pt x="84" y="47"/>
                    <a:pt x="91" y="44"/>
                    <a:pt x="99" y="42"/>
                  </a:cubicBezTo>
                  <a:cubicBezTo>
                    <a:pt x="101" y="41"/>
                    <a:pt x="103" y="40"/>
                    <a:pt x="103" y="38"/>
                  </a:cubicBezTo>
                  <a:cubicBezTo>
                    <a:pt x="106" y="11"/>
                    <a:pt x="106" y="11"/>
                    <a:pt x="106" y="11"/>
                  </a:cubicBezTo>
                  <a:cubicBezTo>
                    <a:pt x="114" y="10"/>
                    <a:pt x="121" y="10"/>
                    <a:pt x="129" y="11"/>
                  </a:cubicBezTo>
                  <a:cubicBezTo>
                    <a:pt x="133" y="38"/>
                    <a:pt x="133" y="38"/>
                    <a:pt x="133" y="38"/>
                  </a:cubicBezTo>
                  <a:cubicBezTo>
                    <a:pt x="133" y="40"/>
                    <a:pt x="134" y="41"/>
                    <a:pt x="136" y="42"/>
                  </a:cubicBezTo>
                  <a:cubicBezTo>
                    <a:pt x="144" y="44"/>
                    <a:pt x="152" y="47"/>
                    <a:pt x="159" y="51"/>
                  </a:cubicBezTo>
                  <a:cubicBezTo>
                    <a:pt x="161" y="52"/>
                    <a:pt x="163" y="52"/>
                    <a:pt x="164" y="51"/>
                  </a:cubicBezTo>
                  <a:cubicBezTo>
                    <a:pt x="186" y="34"/>
                    <a:pt x="186" y="34"/>
                    <a:pt x="186" y="34"/>
                  </a:cubicBezTo>
                  <a:cubicBezTo>
                    <a:pt x="192" y="39"/>
                    <a:pt x="197" y="44"/>
                    <a:pt x="202" y="50"/>
                  </a:cubicBezTo>
                  <a:cubicBezTo>
                    <a:pt x="185" y="72"/>
                    <a:pt x="185" y="72"/>
                    <a:pt x="185" y="72"/>
                  </a:cubicBezTo>
                  <a:cubicBezTo>
                    <a:pt x="184" y="73"/>
                    <a:pt x="184" y="76"/>
                    <a:pt x="185" y="77"/>
                  </a:cubicBezTo>
                  <a:cubicBezTo>
                    <a:pt x="189" y="84"/>
                    <a:pt x="192" y="92"/>
                    <a:pt x="194" y="100"/>
                  </a:cubicBezTo>
                  <a:cubicBezTo>
                    <a:pt x="195" y="102"/>
                    <a:pt x="196" y="103"/>
                    <a:pt x="198" y="104"/>
                  </a:cubicBezTo>
                  <a:cubicBezTo>
                    <a:pt x="225" y="107"/>
                    <a:pt x="225" y="107"/>
                    <a:pt x="225" y="107"/>
                  </a:cubicBezTo>
                  <a:cubicBezTo>
                    <a:pt x="226" y="111"/>
                    <a:pt x="226" y="115"/>
                    <a:pt x="226" y="118"/>
                  </a:cubicBezTo>
                  <a:cubicBezTo>
                    <a:pt x="226" y="122"/>
                    <a:pt x="226" y="126"/>
                    <a:pt x="225" y="130"/>
                  </a:cubicBezTo>
                  <a:close/>
                </a:path>
              </a:pathLst>
            </a:custGeom>
            <a:solidFill>
              <a:srgbClr val="231F20"/>
            </a:solid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270" name="TextBox 269">
            <a:extLst>
              <a:ext uri="{FF2B5EF4-FFF2-40B4-BE49-F238E27FC236}">
                <a16:creationId xmlns:a16="http://schemas.microsoft.com/office/drawing/2014/main" id="{87FDCE91-76D6-4234-92D4-727E1A3DFB67}"/>
              </a:ext>
            </a:extLst>
          </p:cNvPr>
          <p:cNvSpPr txBox="1"/>
          <p:nvPr/>
        </p:nvSpPr>
        <p:spPr>
          <a:xfrm>
            <a:off x="409889" y="1556670"/>
            <a:ext cx="962412" cy="562229"/>
          </a:xfrm>
          <a:prstGeom prst="rect">
            <a:avLst/>
          </a:prstGeom>
          <a:ln>
            <a:noFill/>
          </a:ln>
        </p:spPr>
        <p:txBody>
          <a:bodyPr vert="horz" wrap="square" lIns="45720" tIns="31173" rIns="45720" bIns="31173" rtlCol="0" anchor="ctr">
            <a:norm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Influencers</a:t>
            </a:r>
            <a:endParaRPr kumimoji="0" lang="en-US" sz="105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grpSp>
        <p:nvGrpSpPr>
          <p:cNvPr id="271" name="Group 270">
            <a:extLst>
              <a:ext uri="{FF2B5EF4-FFF2-40B4-BE49-F238E27FC236}">
                <a16:creationId xmlns:a16="http://schemas.microsoft.com/office/drawing/2014/main" id="{C591AED2-ABFA-4C1F-81CF-048CAAEED44D}"/>
              </a:ext>
            </a:extLst>
          </p:cNvPr>
          <p:cNvGrpSpPr>
            <a:grpSpLocks noChangeAspect="1"/>
          </p:cNvGrpSpPr>
          <p:nvPr/>
        </p:nvGrpSpPr>
        <p:grpSpPr>
          <a:xfrm>
            <a:off x="1434055" y="1693120"/>
            <a:ext cx="320040" cy="320040"/>
            <a:chOff x="555626" y="4175125"/>
            <a:chExt cx="522288" cy="522288"/>
          </a:xfrm>
        </p:grpSpPr>
        <p:sp>
          <p:nvSpPr>
            <p:cNvPr id="272" name="Freeform 36">
              <a:extLst>
                <a:ext uri="{FF2B5EF4-FFF2-40B4-BE49-F238E27FC236}">
                  <a16:creationId xmlns:a16="http://schemas.microsoft.com/office/drawing/2014/main" id="{7663C3B4-1C0D-432F-8C60-A0CB9FBCA9DB}"/>
                </a:ext>
              </a:extLst>
            </p:cNvPr>
            <p:cNvSpPr>
              <a:spLocks noEditPoints="1"/>
            </p:cNvSpPr>
            <p:nvPr/>
          </p:nvSpPr>
          <p:spPr bwMode="auto">
            <a:xfrm>
              <a:off x="555626" y="4175125"/>
              <a:ext cx="522288" cy="522288"/>
            </a:xfrm>
            <a:custGeom>
              <a:avLst/>
              <a:gdLst>
                <a:gd name="T0" fmla="*/ 312 w 659"/>
                <a:gd name="T1" fmla="*/ 657 h 657"/>
                <a:gd name="T2" fmla="*/ 264 w 659"/>
                <a:gd name="T3" fmla="*/ 650 h 657"/>
                <a:gd name="T4" fmla="*/ 202 w 659"/>
                <a:gd name="T5" fmla="*/ 632 h 657"/>
                <a:gd name="T6" fmla="*/ 120 w 659"/>
                <a:gd name="T7" fmla="*/ 582 h 657"/>
                <a:gd name="T8" fmla="*/ 57 w 659"/>
                <a:gd name="T9" fmla="*/ 512 h 657"/>
                <a:gd name="T10" fmla="*/ 15 w 659"/>
                <a:gd name="T11" fmla="*/ 426 h 657"/>
                <a:gd name="T12" fmla="*/ 4 w 659"/>
                <a:gd name="T13" fmla="*/ 379 h 657"/>
                <a:gd name="T14" fmla="*/ 0 w 659"/>
                <a:gd name="T15" fmla="*/ 329 h 657"/>
                <a:gd name="T16" fmla="*/ 2 w 659"/>
                <a:gd name="T17" fmla="*/ 296 h 657"/>
                <a:gd name="T18" fmla="*/ 11 w 659"/>
                <a:gd name="T19" fmla="*/ 246 h 657"/>
                <a:gd name="T20" fmla="*/ 41 w 659"/>
                <a:gd name="T21" fmla="*/ 172 h 657"/>
                <a:gd name="T22" fmla="*/ 97 w 659"/>
                <a:gd name="T23" fmla="*/ 97 h 657"/>
                <a:gd name="T24" fmla="*/ 172 w 659"/>
                <a:gd name="T25" fmla="*/ 39 h 657"/>
                <a:gd name="T26" fmla="*/ 247 w 659"/>
                <a:gd name="T27" fmla="*/ 10 h 657"/>
                <a:gd name="T28" fmla="*/ 296 w 659"/>
                <a:gd name="T29" fmla="*/ 2 h 657"/>
                <a:gd name="T30" fmla="*/ 329 w 659"/>
                <a:gd name="T31" fmla="*/ 0 h 657"/>
                <a:gd name="T32" fmla="*/ 379 w 659"/>
                <a:gd name="T33" fmla="*/ 4 h 657"/>
                <a:gd name="T34" fmla="*/ 427 w 659"/>
                <a:gd name="T35" fmla="*/ 15 h 657"/>
                <a:gd name="T36" fmla="*/ 513 w 659"/>
                <a:gd name="T37" fmla="*/ 57 h 657"/>
                <a:gd name="T38" fmla="*/ 583 w 659"/>
                <a:gd name="T39" fmla="*/ 120 h 657"/>
                <a:gd name="T40" fmla="*/ 632 w 659"/>
                <a:gd name="T41" fmla="*/ 200 h 657"/>
                <a:gd name="T42" fmla="*/ 652 w 659"/>
                <a:gd name="T43" fmla="*/ 262 h 657"/>
                <a:gd name="T44" fmla="*/ 657 w 659"/>
                <a:gd name="T45" fmla="*/ 312 h 657"/>
                <a:gd name="T46" fmla="*/ 657 w 659"/>
                <a:gd name="T47" fmla="*/ 346 h 657"/>
                <a:gd name="T48" fmla="*/ 652 w 659"/>
                <a:gd name="T49" fmla="*/ 395 h 657"/>
                <a:gd name="T50" fmla="*/ 632 w 659"/>
                <a:gd name="T51" fmla="*/ 457 h 657"/>
                <a:gd name="T52" fmla="*/ 583 w 659"/>
                <a:gd name="T53" fmla="*/ 538 h 657"/>
                <a:gd name="T54" fmla="*/ 513 w 659"/>
                <a:gd name="T55" fmla="*/ 601 h 657"/>
                <a:gd name="T56" fmla="*/ 427 w 659"/>
                <a:gd name="T57" fmla="*/ 642 h 657"/>
                <a:gd name="T58" fmla="*/ 379 w 659"/>
                <a:gd name="T59" fmla="*/ 653 h 657"/>
                <a:gd name="T60" fmla="*/ 329 w 659"/>
                <a:gd name="T61" fmla="*/ 657 h 657"/>
                <a:gd name="T62" fmla="*/ 329 w 659"/>
                <a:gd name="T63" fmla="*/ 38 h 657"/>
                <a:gd name="T64" fmla="*/ 242 w 659"/>
                <a:gd name="T65" fmla="*/ 51 h 657"/>
                <a:gd name="T66" fmla="*/ 167 w 659"/>
                <a:gd name="T67" fmla="*/ 88 h 657"/>
                <a:gd name="T68" fmla="*/ 105 w 659"/>
                <a:gd name="T69" fmla="*/ 144 h 657"/>
                <a:gd name="T70" fmla="*/ 61 w 659"/>
                <a:gd name="T71" fmla="*/ 215 h 657"/>
                <a:gd name="T72" fmla="*/ 39 w 659"/>
                <a:gd name="T73" fmla="*/ 298 h 657"/>
                <a:gd name="T74" fmla="*/ 39 w 659"/>
                <a:gd name="T75" fmla="*/ 359 h 657"/>
                <a:gd name="T76" fmla="*/ 61 w 659"/>
                <a:gd name="T77" fmla="*/ 442 h 657"/>
                <a:gd name="T78" fmla="*/ 105 w 659"/>
                <a:gd name="T79" fmla="*/ 513 h 657"/>
                <a:gd name="T80" fmla="*/ 167 w 659"/>
                <a:gd name="T81" fmla="*/ 570 h 657"/>
                <a:gd name="T82" fmla="*/ 242 w 659"/>
                <a:gd name="T83" fmla="*/ 607 h 657"/>
                <a:gd name="T84" fmla="*/ 329 w 659"/>
                <a:gd name="T85" fmla="*/ 620 h 657"/>
                <a:gd name="T86" fmla="*/ 389 w 659"/>
                <a:gd name="T87" fmla="*/ 614 h 657"/>
                <a:gd name="T88" fmla="*/ 468 w 659"/>
                <a:gd name="T89" fmla="*/ 585 h 657"/>
                <a:gd name="T90" fmla="*/ 535 w 659"/>
                <a:gd name="T91" fmla="*/ 535 h 657"/>
                <a:gd name="T92" fmla="*/ 585 w 659"/>
                <a:gd name="T93" fmla="*/ 468 h 657"/>
                <a:gd name="T94" fmla="*/ 614 w 659"/>
                <a:gd name="T95" fmla="*/ 387 h 657"/>
                <a:gd name="T96" fmla="*/ 621 w 659"/>
                <a:gd name="T97" fmla="*/ 329 h 657"/>
                <a:gd name="T98" fmla="*/ 607 w 659"/>
                <a:gd name="T99" fmla="*/ 242 h 657"/>
                <a:gd name="T100" fmla="*/ 571 w 659"/>
                <a:gd name="T101" fmla="*/ 166 h 657"/>
                <a:gd name="T102" fmla="*/ 515 w 659"/>
                <a:gd name="T103" fmla="*/ 104 h 657"/>
                <a:gd name="T104" fmla="*/ 442 w 659"/>
                <a:gd name="T105" fmla="*/ 61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29" y="657"/>
                  </a:moveTo>
                  <a:lnTo>
                    <a:pt x="329" y="657"/>
                  </a:lnTo>
                  <a:lnTo>
                    <a:pt x="312" y="657"/>
                  </a:lnTo>
                  <a:lnTo>
                    <a:pt x="296" y="656"/>
                  </a:lnTo>
                  <a:lnTo>
                    <a:pt x="280" y="653"/>
                  </a:lnTo>
                  <a:lnTo>
                    <a:pt x="264" y="650"/>
                  </a:lnTo>
                  <a:lnTo>
                    <a:pt x="247" y="648"/>
                  </a:lnTo>
                  <a:lnTo>
                    <a:pt x="231" y="642"/>
                  </a:lnTo>
                  <a:lnTo>
                    <a:pt x="202" y="632"/>
                  </a:lnTo>
                  <a:lnTo>
                    <a:pt x="172" y="618"/>
                  </a:lnTo>
                  <a:lnTo>
                    <a:pt x="145" y="601"/>
                  </a:lnTo>
                  <a:lnTo>
                    <a:pt x="120" y="582"/>
                  </a:lnTo>
                  <a:lnTo>
                    <a:pt x="97" y="562"/>
                  </a:lnTo>
                  <a:lnTo>
                    <a:pt x="76" y="538"/>
                  </a:lnTo>
                  <a:lnTo>
                    <a:pt x="57" y="512"/>
                  </a:lnTo>
                  <a:lnTo>
                    <a:pt x="41" y="485"/>
                  </a:lnTo>
                  <a:lnTo>
                    <a:pt x="26" y="457"/>
                  </a:lnTo>
                  <a:lnTo>
                    <a:pt x="15" y="426"/>
                  </a:lnTo>
                  <a:lnTo>
                    <a:pt x="11" y="411"/>
                  </a:lnTo>
                  <a:lnTo>
                    <a:pt x="7" y="395"/>
                  </a:lnTo>
                  <a:lnTo>
                    <a:pt x="4" y="379"/>
                  </a:lnTo>
                  <a:lnTo>
                    <a:pt x="2" y="362"/>
                  </a:lnTo>
                  <a:lnTo>
                    <a:pt x="0" y="346"/>
                  </a:lnTo>
                  <a:lnTo>
                    <a:pt x="0" y="329"/>
                  </a:lnTo>
                  <a:lnTo>
                    <a:pt x="0" y="329"/>
                  </a:lnTo>
                  <a:lnTo>
                    <a:pt x="0" y="312"/>
                  </a:lnTo>
                  <a:lnTo>
                    <a:pt x="2" y="296"/>
                  </a:lnTo>
                  <a:lnTo>
                    <a:pt x="4" y="278"/>
                  </a:lnTo>
                  <a:lnTo>
                    <a:pt x="7" y="262"/>
                  </a:lnTo>
                  <a:lnTo>
                    <a:pt x="11" y="246"/>
                  </a:lnTo>
                  <a:lnTo>
                    <a:pt x="15" y="231"/>
                  </a:lnTo>
                  <a:lnTo>
                    <a:pt x="26" y="200"/>
                  </a:lnTo>
                  <a:lnTo>
                    <a:pt x="41" y="172"/>
                  </a:lnTo>
                  <a:lnTo>
                    <a:pt x="57" y="145"/>
                  </a:lnTo>
                  <a:lnTo>
                    <a:pt x="76" y="120"/>
                  </a:lnTo>
                  <a:lnTo>
                    <a:pt x="97" y="97"/>
                  </a:lnTo>
                  <a:lnTo>
                    <a:pt x="120" y="76"/>
                  </a:lnTo>
                  <a:lnTo>
                    <a:pt x="145" y="57"/>
                  </a:lnTo>
                  <a:lnTo>
                    <a:pt x="172" y="39"/>
                  </a:lnTo>
                  <a:lnTo>
                    <a:pt x="202" y="26"/>
                  </a:lnTo>
                  <a:lnTo>
                    <a:pt x="231" y="15"/>
                  </a:lnTo>
                  <a:lnTo>
                    <a:pt x="247" y="10"/>
                  </a:lnTo>
                  <a:lnTo>
                    <a:pt x="264" y="7"/>
                  </a:lnTo>
                  <a:lnTo>
                    <a:pt x="280" y="4"/>
                  </a:lnTo>
                  <a:lnTo>
                    <a:pt x="296" y="2"/>
                  </a:lnTo>
                  <a:lnTo>
                    <a:pt x="312" y="0"/>
                  </a:lnTo>
                  <a:lnTo>
                    <a:pt x="329" y="0"/>
                  </a:lnTo>
                  <a:lnTo>
                    <a:pt x="329" y="0"/>
                  </a:lnTo>
                  <a:lnTo>
                    <a:pt x="346" y="0"/>
                  </a:lnTo>
                  <a:lnTo>
                    <a:pt x="363" y="2"/>
                  </a:lnTo>
                  <a:lnTo>
                    <a:pt x="379" y="4"/>
                  </a:lnTo>
                  <a:lnTo>
                    <a:pt x="395" y="7"/>
                  </a:lnTo>
                  <a:lnTo>
                    <a:pt x="411" y="10"/>
                  </a:lnTo>
                  <a:lnTo>
                    <a:pt x="427" y="15"/>
                  </a:lnTo>
                  <a:lnTo>
                    <a:pt x="457" y="26"/>
                  </a:lnTo>
                  <a:lnTo>
                    <a:pt x="485" y="39"/>
                  </a:lnTo>
                  <a:lnTo>
                    <a:pt x="513" y="57"/>
                  </a:lnTo>
                  <a:lnTo>
                    <a:pt x="538" y="76"/>
                  </a:lnTo>
                  <a:lnTo>
                    <a:pt x="562" y="97"/>
                  </a:lnTo>
                  <a:lnTo>
                    <a:pt x="583" y="120"/>
                  </a:lnTo>
                  <a:lnTo>
                    <a:pt x="602" y="145"/>
                  </a:lnTo>
                  <a:lnTo>
                    <a:pt x="618" y="172"/>
                  </a:lnTo>
                  <a:lnTo>
                    <a:pt x="632" y="200"/>
                  </a:lnTo>
                  <a:lnTo>
                    <a:pt x="644" y="231"/>
                  </a:lnTo>
                  <a:lnTo>
                    <a:pt x="648" y="246"/>
                  </a:lnTo>
                  <a:lnTo>
                    <a:pt x="652" y="262"/>
                  </a:lnTo>
                  <a:lnTo>
                    <a:pt x="654" y="278"/>
                  </a:lnTo>
                  <a:lnTo>
                    <a:pt x="656" y="296"/>
                  </a:lnTo>
                  <a:lnTo>
                    <a:pt x="657" y="312"/>
                  </a:lnTo>
                  <a:lnTo>
                    <a:pt x="659" y="329"/>
                  </a:lnTo>
                  <a:lnTo>
                    <a:pt x="659" y="329"/>
                  </a:lnTo>
                  <a:lnTo>
                    <a:pt x="657" y="346"/>
                  </a:lnTo>
                  <a:lnTo>
                    <a:pt x="656" y="362"/>
                  </a:lnTo>
                  <a:lnTo>
                    <a:pt x="654" y="379"/>
                  </a:lnTo>
                  <a:lnTo>
                    <a:pt x="652" y="395"/>
                  </a:lnTo>
                  <a:lnTo>
                    <a:pt x="648" y="411"/>
                  </a:lnTo>
                  <a:lnTo>
                    <a:pt x="644" y="426"/>
                  </a:lnTo>
                  <a:lnTo>
                    <a:pt x="632" y="457"/>
                  </a:lnTo>
                  <a:lnTo>
                    <a:pt x="618" y="485"/>
                  </a:lnTo>
                  <a:lnTo>
                    <a:pt x="602" y="512"/>
                  </a:lnTo>
                  <a:lnTo>
                    <a:pt x="583" y="538"/>
                  </a:lnTo>
                  <a:lnTo>
                    <a:pt x="562" y="562"/>
                  </a:lnTo>
                  <a:lnTo>
                    <a:pt x="538" y="582"/>
                  </a:lnTo>
                  <a:lnTo>
                    <a:pt x="513" y="601"/>
                  </a:lnTo>
                  <a:lnTo>
                    <a:pt x="485" y="618"/>
                  </a:lnTo>
                  <a:lnTo>
                    <a:pt x="457" y="632"/>
                  </a:lnTo>
                  <a:lnTo>
                    <a:pt x="427" y="642"/>
                  </a:lnTo>
                  <a:lnTo>
                    <a:pt x="411" y="648"/>
                  </a:lnTo>
                  <a:lnTo>
                    <a:pt x="395" y="650"/>
                  </a:lnTo>
                  <a:lnTo>
                    <a:pt x="379" y="653"/>
                  </a:lnTo>
                  <a:lnTo>
                    <a:pt x="363" y="656"/>
                  </a:lnTo>
                  <a:lnTo>
                    <a:pt x="346" y="657"/>
                  </a:lnTo>
                  <a:lnTo>
                    <a:pt x="329" y="657"/>
                  </a:lnTo>
                  <a:lnTo>
                    <a:pt x="329" y="657"/>
                  </a:lnTo>
                  <a:close/>
                  <a:moveTo>
                    <a:pt x="329" y="38"/>
                  </a:moveTo>
                  <a:lnTo>
                    <a:pt x="329" y="38"/>
                  </a:lnTo>
                  <a:lnTo>
                    <a:pt x="300" y="39"/>
                  </a:lnTo>
                  <a:lnTo>
                    <a:pt x="270" y="43"/>
                  </a:lnTo>
                  <a:lnTo>
                    <a:pt x="242" y="51"/>
                  </a:lnTo>
                  <a:lnTo>
                    <a:pt x="217" y="61"/>
                  </a:lnTo>
                  <a:lnTo>
                    <a:pt x="191" y="73"/>
                  </a:lnTo>
                  <a:lnTo>
                    <a:pt x="167" y="88"/>
                  </a:lnTo>
                  <a:lnTo>
                    <a:pt x="144" y="104"/>
                  </a:lnTo>
                  <a:lnTo>
                    <a:pt x="124" y="123"/>
                  </a:lnTo>
                  <a:lnTo>
                    <a:pt x="105" y="144"/>
                  </a:lnTo>
                  <a:lnTo>
                    <a:pt x="88" y="166"/>
                  </a:lnTo>
                  <a:lnTo>
                    <a:pt x="73" y="190"/>
                  </a:lnTo>
                  <a:lnTo>
                    <a:pt x="61" y="215"/>
                  </a:lnTo>
                  <a:lnTo>
                    <a:pt x="51" y="242"/>
                  </a:lnTo>
                  <a:lnTo>
                    <a:pt x="45" y="270"/>
                  </a:lnTo>
                  <a:lnTo>
                    <a:pt x="39" y="298"/>
                  </a:lnTo>
                  <a:lnTo>
                    <a:pt x="38" y="329"/>
                  </a:lnTo>
                  <a:lnTo>
                    <a:pt x="38" y="329"/>
                  </a:lnTo>
                  <a:lnTo>
                    <a:pt x="39" y="359"/>
                  </a:lnTo>
                  <a:lnTo>
                    <a:pt x="45" y="387"/>
                  </a:lnTo>
                  <a:lnTo>
                    <a:pt x="51" y="415"/>
                  </a:lnTo>
                  <a:lnTo>
                    <a:pt x="61" y="442"/>
                  </a:lnTo>
                  <a:lnTo>
                    <a:pt x="73" y="468"/>
                  </a:lnTo>
                  <a:lnTo>
                    <a:pt x="88" y="492"/>
                  </a:lnTo>
                  <a:lnTo>
                    <a:pt x="105" y="513"/>
                  </a:lnTo>
                  <a:lnTo>
                    <a:pt x="124" y="535"/>
                  </a:lnTo>
                  <a:lnTo>
                    <a:pt x="144" y="554"/>
                  </a:lnTo>
                  <a:lnTo>
                    <a:pt x="167" y="570"/>
                  </a:lnTo>
                  <a:lnTo>
                    <a:pt x="191" y="585"/>
                  </a:lnTo>
                  <a:lnTo>
                    <a:pt x="217" y="597"/>
                  </a:lnTo>
                  <a:lnTo>
                    <a:pt x="242" y="607"/>
                  </a:lnTo>
                  <a:lnTo>
                    <a:pt x="270" y="614"/>
                  </a:lnTo>
                  <a:lnTo>
                    <a:pt x="300" y="618"/>
                  </a:lnTo>
                  <a:lnTo>
                    <a:pt x="329" y="620"/>
                  </a:lnTo>
                  <a:lnTo>
                    <a:pt x="329" y="620"/>
                  </a:lnTo>
                  <a:lnTo>
                    <a:pt x="359" y="618"/>
                  </a:lnTo>
                  <a:lnTo>
                    <a:pt x="389" y="614"/>
                  </a:lnTo>
                  <a:lnTo>
                    <a:pt x="415" y="607"/>
                  </a:lnTo>
                  <a:lnTo>
                    <a:pt x="442" y="597"/>
                  </a:lnTo>
                  <a:lnTo>
                    <a:pt x="468" y="585"/>
                  </a:lnTo>
                  <a:lnTo>
                    <a:pt x="492" y="570"/>
                  </a:lnTo>
                  <a:lnTo>
                    <a:pt x="515" y="554"/>
                  </a:lnTo>
                  <a:lnTo>
                    <a:pt x="535" y="535"/>
                  </a:lnTo>
                  <a:lnTo>
                    <a:pt x="554" y="513"/>
                  </a:lnTo>
                  <a:lnTo>
                    <a:pt x="571" y="492"/>
                  </a:lnTo>
                  <a:lnTo>
                    <a:pt x="585" y="468"/>
                  </a:lnTo>
                  <a:lnTo>
                    <a:pt x="598" y="442"/>
                  </a:lnTo>
                  <a:lnTo>
                    <a:pt x="607" y="415"/>
                  </a:lnTo>
                  <a:lnTo>
                    <a:pt x="614" y="387"/>
                  </a:lnTo>
                  <a:lnTo>
                    <a:pt x="620" y="359"/>
                  </a:lnTo>
                  <a:lnTo>
                    <a:pt x="621" y="329"/>
                  </a:lnTo>
                  <a:lnTo>
                    <a:pt x="621" y="329"/>
                  </a:lnTo>
                  <a:lnTo>
                    <a:pt x="620" y="298"/>
                  </a:lnTo>
                  <a:lnTo>
                    <a:pt x="614" y="270"/>
                  </a:lnTo>
                  <a:lnTo>
                    <a:pt x="607" y="242"/>
                  </a:lnTo>
                  <a:lnTo>
                    <a:pt x="598" y="215"/>
                  </a:lnTo>
                  <a:lnTo>
                    <a:pt x="585" y="190"/>
                  </a:lnTo>
                  <a:lnTo>
                    <a:pt x="571" y="166"/>
                  </a:lnTo>
                  <a:lnTo>
                    <a:pt x="554" y="144"/>
                  </a:lnTo>
                  <a:lnTo>
                    <a:pt x="535" y="123"/>
                  </a:lnTo>
                  <a:lnTo>
                    <a:pt x="515" y="104"/>
                  </a:lnTo>
                  <a:lnTo>
                    <a:pt x="492" y="88"/>
                  </a:lnTo>
                  <a:lnTo>
                    <a:pt x="468" y="73"/>
                  </a:lnTo>
                  <a:lnTo>
                    <a:pt x="442" y="61"/>
                  </a:lnTo>
                  <a:lnTo>
                    <a:pt x="415" y="51"/>
                  </a:lnTo>
                  <a:lnTo>
                    <a:pt x="389" y="43"/>
                  </a:lnTo>
                  <a:lnTo>
                    <a:pt x="359" y="39"/>
                  </a:lnTo>
                  <a:lnTo>
                    <a:pt x="329" y="38"/>
                  </a:lnTo>
                  <a:lnTo>
                    <a:pt x="329" y="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73" name="Freeform 337">
              <a:extLst>
                <a:ext uri="{FF2B5EF4-FFF2-40B4-BE49-F238E27FC236}">
                  <a16:creationId xmlns:a16="http://schemas.microsoft.com/office/drawing/2014/main" id="{26D499C4-4546-42D1-96A2-C319B3083179}"/>
                </a:ext>
              </a:extLst>
            </p:cNvPr>
            <p:cNvSpPr>
              <a:spLocks/>
            </p:cNvSpPr>
            <p:nvPr/>
          </p:nvSpPr>
          <p:spPr bwMode="auto">
            <a:xfrm>
              <a:off x="773113" y="4533900"/>
              <a:ext cx="85725" cy="7938"/>
            </a:xfrm>
            <a:custGeom>
              <a:avLst/>
              <a:gdLst>
                <a:gd name="T0" fmla="*/ 102 w 107"/>
                <a:gd name="T1" fmla="*/ 0 h 9"/>
                <a:gd name="T2" fmla="*/ 5 w 107"/>
                <a:gd name="T3" fmla="*/ 0 h 9"/>
                <a:gd name="T4" fmla="*/ 5 w 107"/>
                <a:gd name="T5" fmla="*/ 0 h 9"/>
                <a:gd name="T6" fmla="*/ 1 w 107"/>
                <a:gd name="T7" fmla="*/ 1 h 9"/>
                <a:gd name="T8" fmla="*/ 0 w 107"/>
                <a:gd name="T9" fmla="*/ 4 h 9"/>
                <a:gd name="T10" fmla="*/ 0 w 107"/>
                <a:gd name="T11" fmla="*/ 4 h 9"/>
                <a:gd name="T12" fmla="*/ 1 w 107"/>
                <a:gd name="T13" fmla="*/ 8 h 9"/>
                <a:gd name="T14" fmla="*/ 5 w 107"/>
                <a:gd name="T15" fmla="*/ 9 h 9"/>
                <a:gd name="T16" fmla="*/ 102 w 107"/>
                <a:gd name="T17" fmla="*/ 9 h 9"/>
                <a:gd name="T18" fmla="*/ 102 w 107"/>
                <a:gd name="T19" fmla="*/ 9 h 9"/>
                <a:gd name="T20" fmla="*/ 106 w 107"/>
                <a:gd name="T21" fmla="*/ 8 h 9"/>
                <a:gd name="T22" fmla="*/ 107 w 107"/>
                <a:gd name="T23" fmla="*/ 4 h 9"/>
                <a:gd name="T24" fmla="*/ 107 w 107"/>
                <a:gd name="T25" fmla="*/ 4 h 9"/>
                <a:gd name="T26" fmla="*/ 106 w 107"/>
                <a:gd name="T27" fmla="*/ 1 h 9"/>
                <a:gd name="T28" fmla="*/ 102 w 107"/>
                <a:gd name="T29" fmla="*/ 0 h 9"/>
                <a:gd name="T30" fmla="*/ 102 w 107"/>
                <a:gd name="T3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7" h="9">
                  <a:moveTo>
                    <a:pt x="102" y="0"/>
                  </a:moveTo>
                  <a:lnTo>
                    <a:pt x="5" y="0"/>
                  </a:lnTo>
                  <a:lnTo>
                    <a:pt x="5" y="0"/>
                  </a:lnTo>
                  <a:lnTo>
                    <a:pt x="1" y="1"/>
                  </a:lnTo>
                  <a:lnTo>
                    <a:pt x="0" y="4"/>
                  </a:lnTo>
                  <a:lnTo>
                    <a:pt x="0" y="4"/>
                  </a:lnTo>
                  <a:lnTo>
                    <a:pt x="1" y="8"/>
                  </a:lnTo>
                  <a:lnTo>
                    <a:pt x="5" y="9"/>
                  </a:lnTo>
                  <a:lnTo>
                    <a:pt x="102" y="9"/>
                  </a:lnTo>
                  <a:lnTo>
                    <a:pt x="102" y="9"/>
                  </a:lnTo>
                  <a:lnTo>
                    <a:pt x="106" y="8"/>
                  </a:lnTo>
                  <a:lnTo>
                    <a:pt x="107" y="4"/>
                  </a:lnTo>
                  <a:lnTo>
                    <a:pt x="107" y="4"/>
                  </a:lnTo>
                  <a:lnTo>
                    <a:pt x="106" y="1"/>
                  </a:lnTo>
                  <a:lnTo>
                    <a:pt x="102" y="0"/>
                  </a:lnTo>
                  <a:lnTo>
                    <a:pt x="10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74" name="Freeform 338">
              <a:extLst>
                <a:ext uri="{FF2B5EF4-FFF2-40B4-BE49-F238E27FC236}">
                  <a16:creationId xmlns:a16="http://schemas.microsoft.com/office/drawing/2014/main" id="{0DBC3B1E-58F9-48C2-9B58-071CDF22C584}"/>
                </a:ext>
              </a:extLst>
            </p:cNvPr>
            <p:cNvSpPr>
              <a:spLocks/>
            </p:cNvSpPr>
            <p:nvPr/>
          </p:nvSpPr>
          <p:spPr bwMode="auto">
            <a:xfrm>
              <a:off x="796926" y="4554538"/>
              <a:ext cx="38100" cy="6350"/>
            </a:xfrm>
            <a:custGeom>
              <a:avLst/>
              <a:gdLst>
                <a:gd name="T0" fmla="*/ 43 w 49"/>
                <a:gd name="T1" fmla="*/ 0 h 10"/>
                <a:gd name="T2" fmla="*/ 4 w 49"/>
                <a:gd name="T3" fmla="*/ 0 h 10"/>
                <a:gd name="T4" fmla="*/ 4 w 49"/>
                <a:gd name="T5" fmla="*/ 0 h 10"/>
                <a:gd name="T6" fmla="*/ 2 w 49"/>
                <a:gd name="T7" fmla="*/ 1 h 10"/>
                <a:gd name="T8" fmla="*/ 0 w 49"/>
                <a:gd name="T9" fmla="*/ 6 h 10"/>
                <a:gd name="T10" fmla="*/ 0 w 49"/>
                <a:gd name="T11" fmla="*/ 6 h 10"/>
                <a:gd name="T12" fmla="*/ 2 w 49"/>
                <a:gd name="T13" fmla="*/ 8 h 10"/>
                <a:gd name="T14" fmla="*/ 4 w 49"/>
                <a:gd name="T15" fmla="*/ 10 h 10"/>
                <a:gd name="T16" fmla="*/ 43 w 49"/>
                <a:gd name="T17" fmla="*/ 10 h 10"/>
                <a:gd name="T18" fmla="*/ 43 w 49"/>
                <a:gd name="T19" fmla="*/ 10 h 10"/>
                <a:gd name="T20" fmla="*/ 47 w 49"/>
                <a:gd name="T21" fmla="*/ 8 h 10"/>
                <a:gd name="T22" fmla="*/ 49 w 49"/>
                <a:gd name="T23" fmla="*/ 6 h 10"/>
                <a:gd name="T24" fmla="*/ 49 w 49"/>
                <a:gd name="T25" fmla="*/ 6 h 10"/>
                <a:gd name="T26" fmla="*/ 47 w 49"/>
                <a:gd name="T27" fmla="*/ 1 h 10"/>
                <a:gd name="T28" fmla="*/ 43 w 49"/>
                <a:gd name="T29" fmla="*/ 0 h 10"/>
                <a:gd name="T30" fmla="*/ 43 w 49"/>
                <a:gd name="T3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9" h="10">
                  <a:moveTo>
                    <a:pt x="43" y="0"/>
                  </a:moveTo>
                  <a:lnTo>
                    <a:pt x="4" y="0"/>
                  </a:lnTo>
                  <a:lnTo>
                    <a:pt x="4" y="0"/>
                  </a:lnTo>
                  <a:lnTo>
                    <a:pt x="2" y="1"/>
                  </a:lnTo>
                  <a:lnTo>
                    <a:pt x="0" y="6"/>
                  </a:lnTo>
                  <a:lnTo>
                    <a:pt x="0" y="6"/>
                  </a:lnTo>
                  <a:lnTo>
                    <a:pt x="2" y="8"/>
                  </a:lnTo>
                  <a:lnTo>
                    <a:pt x="4" y="10"/>
                  </a:lnTo>
                  <a:lnTo>
                    <a:pt x="43" y="10"/>
                  </a:lnTo>
                  <a:lnTo>
                    <a:pt x="43" y="10"/>
                  </a:lnTo>
                  <a:lnTo>
                    <a:pt x="47" y="8"/>
                  </a:lnTo>
                  <a:lnTo>
                    <a:pt x="49" y="6"/>
                  </a:lnTo>
                  <a:lnTo>
                    <a:pt x="49" y="6"/>
                  </a:lnTo>
                  <a:lnTo>
                    <a:pt x="47" y="1"/>
                  </a:lnTo>
                  <a:lnTo>
                    <a:pt x="43" y="0"/>
                  </a:lnTo>
                  <a:lnTo>
                    <a:pt x="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75" name="Freeform 339">
              <a:extLst>
                <a:ext uri="{FF2B5EF4-FFF2-40B4-BE49-F238E27FC236}">
                  <a16:creationId xmlns:a16="http://schemas.microsoft.com/office/drawing/2014/main" id="{7492A364-75EE-4CF5-83B2-AE1C9F5CF1C5}"/>
                </a:ext>
              </a:extLst>
            </p:cNvPr>
            <p:cNvSpPr>
              <a:spLocks/>
            </p:cNvSpPr>
            <p:nvPr/>
          </p:nvSpPr>
          <p:spPr bwMode="auto">
            <a:xfrm>
              <a:off x="838201" y="4419600"/>
              <a:ext cx="19050" cy="19050"/>
            </a:xfrm>
            <a:custGeom>
              <a:avLst/>
              <a:gdLst>
                <a:gd name="T0" fmla="*/ 22 w 22"/>
                <a:gd name="T1" fmla="*/ 12 h 24"/>
                <a:gd name="T2" fmla="*/ 22 w 22"/>
                <a:gd name="T3" fmla="*/ 12 h 24"/>
                <a:gd name="T4" fmla="*/ 21 w 22"/>
                <a:gd name="T5" fmla="*/ 8 h 24"/>
                <a:gd name="T6" fmla="*/ 20 w 22"/>
                <a:gd name="T7" fmla="*/ 5 h 24"/>
                <a:gd name="T8" fmla="*/ 16 w 22"/>
                <a:gd name="T9" fmla="*/ 1 h 24"/>
                <a:gd name="T10" fmla="*/ 13 w 22"/>
                <a:gd name="T11" fmla="*/ 1 h 24"/>
                <a:gd name="T12" fmla="*/ 10 w 22"/>
                <a:gd name="T13" fmla="*/ 0 h 24"/>
                <a:gd name="T14" fmla="*/ 10 w 22"/>
                <a:gd name="T15" fmla="*/ 0 h 24"/>
                <a:gd name="T16" fmla="*/ 5 w 22"/>
                <a:gd name="T17" fmla="*/ 1 h 24"/>
                <a:gd name="T18" fmla="*/ 2 w 22"/>
                <a:gd name="T19" fmla="*/ 3 h 24"/>
                <a:gd name="T20" fmla="*/ 2 w 22"/>
                <a:gd name="T21" fmla="*/ 3 h 24"/>
                <a:gd name="T22" fmla="*/ 1 w 22"/>
                <a:gd name="T23" fmla="*/ 5 h 24"/>
                <a:gd name="T24" fmla="*/ 0 w 22"/>
                <a:gd name="T25" fmla="*/ 8 h 24"/>
                <a:gd name="T26" fmla="*/ 0 w 22"/>
                <a:gd name="T27" fmla="*/ 12 h 24"/>
                <a:gd name="T28" fmla="*/ 0 w 22"/>
                <a:gd name="T29" fmla="*/ 24 h 24"/>
                <a:gd name="T30" fmla="*/ 10 w 22"/>
                <a:gd name="T31" fmla="*/ 24 h 24"/>
                <a:gd name="T32" fmla="*/ 10 w 22"/>
                <a:gd name="T33" fmla="*/ 24 h 24"/>
                <a:gd name="T34" fmla="*/ 14 w 22"/>
                <a:gd name="T35" fmla="*/ 23 h 24"/>
                <a:gd name="T36" fmla="*/ 17 w 22"/>
                <a:gd name="T37" fmla="*/ 23 h 24"/>
                <a:gd name="T38" fmla="*/ 20 w 22"/>
                <a:gd name="T39" fmla="*/ 19 h 24"/>
                <a:gd name="T40" fmla="*/ 21 w 22"/>
                <a:gd name="T41" fmla="*/ 15 h 24"/>
                <a:gd name="T42" fmla="*/ 22 w 22"/>
                <a:gd name="T43" fmla="*/ 12 h 24"/>
                <a:gd name="T44" fmla="*/ 22 w 22"/>
                <a:gd name="T45"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24">
                  <a:moveTo>
                    <a:pt x="22" y="12"/>
                  </a:moveTo>
                  <a:lnTo>
                    <a:pt x="22" y="12"/>
                  </a:lnTo>
                  <a:lnTo>
                    <a:pt x="21" y="8"/>
                  </a:lnTo>
                  <a:lnTo>
                    <a:pt x="20" y="5"/>
                  </a:lnTo>
                  <a:lnTo>
                    <a:pt x="16" y="1"/>
                  </a:lnTo>
                  <a:lnTo>
                    <a:pt x="13" y="1"/>
                  </a:lnTo>
                  <a:lnTo>
                    <a:pt x="10" y="0"/>
                  </a:lnTo>
                  <a:lnTo>
                    <a:pt x="10" y="0"/>
                  </a:lnTo>
                  <a:lnTo>
                    <a:pt x="5" y="1"/>
                  </a:lnTo>
                  <a:lnTo>
                    <a:pt x="2" y="3"/>
                  </a:lnTo>
                  <a:lnTo>
                    <a:pt x="2" y="3"/>
                  </a:lnTo>
                  <a:lnTo>
                    <a:pt x="1" y="5"/>
                  </a:lnTo>
                  <a:lnTo>
                    <a:pt x="0" y="8"/>
                  </a:lnTo>
                  <a:lnTo>
                    <a:pt x="0" y="12"/>
                  </a:lnTo>
                  <a:lnTo>
                    <a:pt x="0" y="24"/>
                  </a:lnTo>
                  <a:lnTo>
                    <a:pt x="10" y="24"/>
                  </a:lnTo>
                  <a:lnTo>
                    <a:pt x="10" y="24"/>
                  </a:lnTo>
                  <a:lnTo>
                    <a:pt x="14" y="23"/>
                  </a:lnTo>
                  <a:lnTo>
                    <a:pt x="17" y="23"/>
                  </a:lnTo>
                  <a:lnTo>
                    <a:pt x="20" y="19"/>
                  </a:lnTo>
                  <a:lnTo>
                    <a:pt x="21" y="15"/>
                  </a:lnTo>
                  <a:lnTo>
                    <a:pt x="22" y="12"/>
                  </a:lnTo>
                  <a:lnTo>
                    <a:pt x="22"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76" name="Freeform 340">
              <a:extLst>
                <a:ext uri="{FF2B5EF4-FFF2-40B4-BE49-F238E27FC236}">
                  <a16:creationId xmlns:a16="http://schemas.microsoft.com/office/drawing/2014/main" id="{43686F74-B7ED-40A7-9D64-75000367F921}"/>
                </a:ext>
              </a:extLst>
            </p:cNvPr>
            <p:cNvSpPr>
              <a:spLocks/>
            </p:cNvSpPr>
            <p:nvPr/>
          </p:nvSpPr>
          <p:spPr bwMode="auto">
            <a:xfrm>
              <a:off x="806451" y="4451350"/>
              <a:ext cx="19050" cy="66675"/>
            </a:xfrm>
            <a:custGeom>
              <a:avLst/>
              <a:gdLst>
                <a:gd name="T0" fmla="*/ 12 w 25"/>
                <a:gd name="T1" fmla="*/ 0 h 83"/>
                <a:gd name="T2" fmla="*/ 0 w 25"/>
                <a:gd name="T3" fmla="*/ 0 h 83"/>
                <a:gd name="T4" fmla="*/ 0 w 25"/>
                <a:gd name="T5" fmla="*/ 83 h 83"/>
                <a:gd name="T6" fmla="*/ 25 w 25"/>
                <a:gd name="T7" fmla="*/ 83 h 83"/>
                <a:gd name="T8" fmla="*/ 25 w 25"/>
                <a:gd name="T9" fmla="*/ 0 h 83"/>
                <a:gd name="T10" fmla="*/ 12 w 25"/>
                <a:gd name="T11" fmla="*/ 0 h 83"/>
              </a:gdLst>
              <a:ahLst/>
              <a:cxnLst>
                <a:cxn ang="0">
                  <a:pos x="T0" y="T1"/>
                </a:cxn>
                <a:cxn ang="0">
                  <a:pos x="T2" y="T3"/>
                </a:cxn>
                <a:cxn ang="0">
                  <a:pos x="T4" y="T5"/>
                </a:cxn>
                <a:cxn ang="0">
                  <a:pos x="T6" y="T7"/>
                </a:cxn>
                <a:cxn ang="0">
                  <a:pos x="T8" y="T9"/>
                </a:cxn>
                <a:cxn ang="0">
                  <a:pos x="T10" y="T11"/>
                </a:cxn>
              </a:cxnLst>
              <a:rect l="0" t="0" r="r" b="b"/>
              <a:pathLst>
                <a:path w="25" h="83">
                  <a:moveTo>
                    <a:pt x="12" y="0"/>
                  </a:moveTo>
                  <a:lnTo>
                    <a:pt x="0" y="0"/>
                  </a:lnTo>
                  <a:lnTo>
                    <a:pt x="0" y="83"/>
                  </a:lnTo>
                  <a:lnTo>
                    <a:pt x="25" y="83"/>
                  </a:lnTo>
                  <a:lnTo>
                    <a:pt x="25" y="0"/>
                  </a:lnTo>
                  <a:lnTo>
                    <a:pt x="1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77" name="Freeform 341">
              <a:extLst>
                <a:ext uri="{FF2B5EF4-FFF2-40B4-BE49-F238E27FC236}">
                  <a16:creationId xmlns:a16="http://schemas.microsoft.com/office/drawing/2014/main" id="{DE5284F0-2E7A-4282-A318-B30A0E8ECF99}"/>
                </a:ext>
              </a:extLst>
            </p:cNvPr>
            <p:cNvSpPr>
              <a:spLocks/>
            </p:cNvSpPr>
            <p:nvPr/>
          </p:nvSpPr>
          <p:spPr bwMode="auto">
            <a:xfrm>
              <a:off x="776288" y="4419600"/>
              <a:ext cx="17463" cy="19050"/>
            </a:xfrm>
            <a:custGeom>
              <a:avLst/>
              <a:gdLst>
                <a:gd name="T0" fmla="*/ 12 w 23"/>
                <a:gd name="T1" fmla="*/ 0 h 24"/>
                <a:gd name="T2" fmla="*/ 12 w 23"/>
                <a:gd name="T3" fmla="*/ 0 h 24"/>
                <a:gd name="T4" fmla="*/ 8 w 23"/>
                <a:gd name="T5" fmla="*/ 1 h 24"/>
                <a:gd name="T6" fmla="*/ 6 w 23"/>
                <a:gd name="T7" fmla="*/ 1 h 24"/>
                <a:gd name="T8" fmla="*/ 2 w 23"/>
                <a:gd name="T9" fmla="*/ 5 h 24"/>
                <a:gd name="T10" fmla="*/ 0 w 23"/>
                <a:gd name="T11" fmla="*/ 9 h 24"/>
                <a:gd name="T12" fmla="*/ 0 w 23"/>
                <a:gd name="T13" fmla="*/ 12 h 24"/>
                <a:gd name="T14" fmla="*/ 0 w 23"/>
                <a:gd name="T15" fmla="*/ 12 h 24"/>
                <a:gd name="T16" fmla="*/ 0 w 23"/>
                <a:gd name="T17" fmla="*/ 15 h 24"/>
                <a:gd name="T18" fmla="*/ 3 w 23"/>
                <a:gd name="T19" fmla="*/ 19 h 24"/>
                <a:gd name="T20" fmla="*/ 6 w 23"/>
                <a:gd name="T21" fmla="*/ 23 h 24"/>
                <a:gd name="T22" fmla="*/ 8 w 23"/>
                <a:gd name="T23" fmla="*/ 24 h 24"/>
                <a:gd name="T24" fmla="*/ 12 w 23"/>
                <a:gd name="T25" fmla="*/ 24 h 24"/>
                <a:gd name="T26" fmla="*/ 23 w 23"/>
                <a:gd name="T27" fmla="*/ 24 h 24"/>
                <a:gd name="T28" fmla="*/ 23 w 23"/>
                <a:gd name="T29" fmla="*/ 12 h 24"/>
                <a:gd name="T30" fmla="*/ 23 w 23"/>
                <a:gd name="T31" fmla="*/ 12 h 24"/>
                <a:gd name="T32" fmla="*/ 23 w 23"/>
                <a:gd name="T33" fmla="*/ 8 h 24"/>
                <a:gd name="T34" fmla="*/ 22 w 23"/>
                <a:gd name="T35" fmla="*/ 5 h 24"/>
                <a:gd name="T36" fmla="*/ 21 w 23"/>
                <a:gd name="T37" fmla="*/ 3 h 24"/>
                <a:gd name="T38" fmla="*/ 21 w 23"/>
                <a:gd name="T39" fmla="*/ 3 h 24"/>
                <a:gd name="T40" fmla="*/ 17 w 23"/>
                <a:gd name="T41" fmla="*/ 1 h 24"/>
                <a:gd name="T42" fmla="*/ 12 w 23"/>
                <a:gd name="T43" fmla="*/ 0 h 24"/>
                <a:gd name="T44" fmla="*/ 12 w 23"/>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4">
                  <a:moveTo>
                    <a:pt x="12" y="0"/>
                  </a:moveTo>
                  <a:lnTo>
                    <a:pt x="12" y="0"/>
                  </a:lnTo>
                  <a:lnTo>
                    <a:pt x="8" y="1"/>
                  </a:lnTo>
                  <a:lnTo>
                    <a:pt x="6" y="1"/>
                  </a:lnTo>
                  <a:lnTo>
                    <a:pt x="2" y="5"/>
                  </a:lnTo>
                  <a:lnTo>
                    <a:pt x="0" y="9"/>
                  </a:lnTo>
                  <a:lnTo>
                    <a:pt x="0" y="12"/>
                  </a:lnTo>
                  <a:lnTo>
                    <a:pt x="0" y="12"/>
                  </a:lnTo>
                  <a:lnTo>
                    <a:pt x="0" y="15"/>
                  </a:lnTo>
                  <a:lnTo>
                    <a:pt x="3" y="19"/>
                  </a:lnTo>
                  <a:lnTo>
                    <a:pt x="6" y="23"/>
                  </a:lnTo>
                  <a:lnTo>
                    <a:pt x="8" y="24"/>
                  </a:lnTo>
                  <a:lnTo>
                    <a:pt x="12" y="24"/>
                  </a:lnTo>
                  <a:lnTo>
                    <a:pt x="23" y="24"/>
                  </a:lnTo>
                  <a:lnTo>
                    <a:pt x="23" y="12"/>
                  </a:lnTo>
                  <a:lnTo>
                    <a:pt x="23" y="12"/>
                  </a:lnTo>
                  <a:lnTo>
                    <a:pt x="23" y="8"/>
                  </a:lnTo>
                  <a:lnTo>
                    <a:pt x="22" y="5"/>
                  </a:lnTo>
                  <a:lnTo>
                    <a:pt x="21" y="3"/>
                  </a:lnTo>
                  <a:lnTo>
                    <a:pt x="21" y="3"/>
                  </a:lnTo>
                  <a:lnTo>
                    <a:pt x="17" y="1"/>
                  </a:lnTo>
                  <a:lnTo>
                    <a:pt x="12" y="0"/>
                  </a:lnTo>
                  <a:lnTo>
                    <a:pt x="1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78" name="Freeform 342">
              <a:extLst>
                <a:ext uri="{FF2B5EF4-FFF2-40B4-BE49-F238E27FC236}">
                  <a16:creationId xmlns:a16="http://schemas.microsoft.com/office/drawing/2014/main" id="{DFF1B8A6-6A99-44F6-83EB-8EC67C411611}"/>
                </a:ext>
              </a:extLst>
            </p:cNvPr>
            <p:cNvSpPr>
              <a:spLocks/>
            </p:cNvSpPr>
            <p:nvPr/>
          </p:nvSpPr>
          <p:spPr bwMode="auto">
            <a:xfrm>
              <a:off x="727076" y="4316413"/>
              <a:ext cx="177800" cy="201613"/>
            </a:xfrm>
            <a:custGeom>
              <a:avLst/>
              <a:gdLst>
                <a:gd name="T0" fmla="*/ 112 w 224"/>
                <a:gd name="T1" fmla="*/ 0 h 252"/>
                <a:gd name="T2" fmla="*/ 90 w 224"/>
                <a:gd name="T3" fmla="*/ 1 h 252"/>
                <a:gd name="T4" fmla="*/ 68 w 224"/>
                <a:gd name="T5" fmla="*/ 8 h 252"/>
                <a:gd name="T6" fmla="*/ 49 w 224"/>
                <a:gd name="T7" fmla="*/ 19 h 252"/>
                <a:gd name="T8" fmla="*/ 33 w 224"/>
                <a:gd name="T9" fmla="*/ 32 h 252"/>
                <a:gd name="T10" fmla="*/ 20 w 224"/>
                <a:gd name="T11" fmla="*/ 48 h 252"/>
                <a:gd name="T12" fmla="*/ 9 w 224"/>
                <a:gd name="T13" fmla="*/ 68 h 252"/>
                <a:gd name="T14" fmla="*/ 2 w 224"/>
                <a:gd name="T15" fmla="*/ 89 h 252"/>
                <a:gd name="T16" fmla="*/ 0 w 224"/>
                <a:gd name="T17" fmla="*/ 111 h 252"/>
                <a:gd name="T18" fmla="*/ 1 w 224"/>
                <a:gd name="T19" fmla="*/ 126 h 252"/>
                <a:gd name="T20" fmla="*/ 9 w 224"/>
                <a:gd name="T21" fmla="*/ 156 h 252"/>
                <a:gd name="T22" fmla="*/ 24 w 224"/>
                <a:gd name="T23" fmla="*/ 181 h 252"/>
                <a:gd name="T24" fmla="*/ 45 w 224"/>
                <a:gd name="T25" fmla="*/ 201 h 252"/>
                <a:gd name="T26" fmla="*/ 59 w 224"/>
                <a:gd name="T27" fmla="*/ 248 h 252"/>
                <a:gd name="T28" fmla="*/ 60 w 224"/>
                <a:gd name="T29" fmla="*/ 251 h 252"/>
                <a:gd name="T30" fmla="*/ 84 w 224"/>
                <a:gd name="T31" fmla="*/ 252 h 252"/>
                <a:gd name="T32" fmla="*/ 73 w 224"/>
                <a:gd name="T33" fmla="*/ 169 h 252"/>
                <a:gd name="T34" fmla="*/ 65 w 224"/>
                <a:gd name="T35" fmla="*/ 168 h 252"/>
                <a:gd name="T36" fmla="*/ 56 w 224"/>
                <a:gd name="T37" fmla="*/ 162 h 252"/>
                <a:gd name="T38" fmla="*/ 49 w 224"/>
                <a:gd name="T39" fmla="*/ 154 h 252"/>
                <a:gd name="T40" fmla="*/ 45 w 224"/>
                <a:gd name="T41" fmla="*/ 141 h 252"/>
                <a:gd name="T42" fmla="*/ 47 w 224"/>
                <a:gd name="T43" fmla="*/ 132 h 252"/>
                <a:gd name="T44" fmla="*/ 52 w 224"/>
                <a:gd name="T45" fmla="*/ 122 h 252"/>
                <a:gd name="T46" fmla="*/ 60 w 224"/>
                <a:gd name="T47" fmla="*/ 115 h 252"/>
                <a:gd name="T48" fmla="*/ 73 w 224"/>
                <a:gd name="T49" fmla="*/ 113 h 252"/>
                <a:gd name="T50" fmla="*/ 80 w 224"/>
                <a:gd name="T51" fmla="*/ 114 h 252"/>
                <a:gd name="T52" fmla="*/ 90 w 224"/>
                <a:gd name="T53" fmla="*/ 118 h 252"/>
                <a:gd name="T54" fmla="*/ 92 w 224"/>
                <a:gd name="T55" fmla="*/ 121 h 252"/>
                <a:gd name="T56" fmla="*/ 99 w 224"/>
                <a:gd name="T57" fmla="*/ 133 h 252"/>
                <a:gd name="T58" fmla="*/ 100 w 224"/>
                <a:gd name="T59" fmla="*/ 153 h 252"/>
                <a:gd name="T60" fmla="*/ 125 w 224"/>
                <a:gd name="T61" fmla="*/ 153 h 252"/>
                <a:gd name="T62" fmla="*/ 125 w 224"/>
                <a:gd name="T63" fmla="*/ 141 h 252"/>
                <a:gd name="T64" fmla="*/ 127 w 224"/>
                <a:gd name="T65" fmla="*/ 128 h 252"/>
                <a:gd name="T66" fmla="*/ 131 w 224"/>
                <a:gd name="T67" fmla="*/ 121 h 252"/>
                <a:gd name="T68" fmla="*/ 139 w 224"/>
                <a:gd name="T69" fmla="*/ 115 h 252"/>
                <a:gd name="T70" fmla="*/ 151 w 224"/>
                <a:gd name="T71" fmla="*/ 113 h 252"/>
                <a:gd name="T72" fmla="*/ 158 w 224"/>
                <a:gd name="T73" fmla="*/ 114 h 252"/>
                <a:gd name="T74" fmla="*/ 169 w 224"/>
                <a:gd name="T75" fmla="*/ 119 h 252"/>
                <a:gd name="T76" fmla="*/ 176 w 224"/>
                <a:gd name="T77" fmla="*/ 128 h 252"/>
                <a:gd name="T78" fmla="*/ 180 w 224"/>
                <a:gd name="T79" fmla="*/ 141 h 252"/>
                <a:gd name="T80" fmla="*/ 177 w 224"/>
                <a:gd name="T81" fmla="*/ 150 h 252"/>
                <a:gd name="T82" fmla="*/ 173 w 224"/>
                <a:gd name="T83" fmla="*/ 158 h 252"/>
                <a:gd name="T84" fmla="*/ 165 w 224"/>
                <a:gd name="T85" fmla="*/ 167 h 252"/>
                <a:gd name="T86" fmla="*/ 151 w 224"/>
                <a:gd name="T87" fmla="*/ 169 h 252"/>
                <a:gd name="T88" fmla="*/ 141 w 224"/>
                <a:gd name="T89" fmla="*/ 252 h 252"/>
                <a:gd name="T90" fmla="*/ 161 w 224"/>
                <a:gd name="T91" fmla="*/ 252 h 252"/>
                <a:gd name="T92" fmla="*/ 166 w 224"/>
                <a:gd name="T93" fmla="*/ 248 h 252"/>
                <a:gd name="T94" fmla="*/ 166 w 224"/>
                <a:gd name="T95" fmla="*/ 209 h 252"/>
                <a:gd name="T96" fmla="*/ 190 w 224"/>
                <a:gd name="T97" fmla="*/ 192 h 252"/>
                <a:gd name="T98" fmla="*/ 209 w 224"/>
                <a:gd name="T99" fmla="*/ 169 h 252"/>
                <a:gd name="T100" fmla="*/ 220 w 224"/>
                <a:gd name="T101" fmla="*/ 141 h 252"/>
                <a:gd name="T102" fmla="*/ 224 w 224"/>
                <a:gd name="T103" fmla="*/ 111 h 252"/>
                <a:gd name="T104" fmla="*/ 224 w 224"/>
                <a:gd name="T105" fmla="*/ 101 h 252"/>
                <a:gd name="T106" fmla="*/ 220 w 224"/>
                <a:gd name="T107" fmla="*/ 78 h 252"/>
                <a:gd name="T108" fmla="*/ 210 w 224"/>
                <a:gd name="T109" fmla="*/ 58 h 252"/>
                <a:gd name="T110" fmla="*/ 198 w 224"/>
                <a:gd name="T111" fmla="*/ 40 h 252"/>
                <a:gd name="T112" fmla="*/ 184 w 224"/>
                <a:gd name="T113" fmla="*/ 25 h 252"/>
                <a:gd name="T114" fmla="*/ 166 w 224"/>
                <a:gd name="T115" fmla="*/ 13 h 252"/>
                <a:gd name="T116" fmla="*/ 146 w 224"/>
                <a:gd name="T117" fmla="*/ 4 h 252"/>
                <a:gd name="T118" fmla="*/ 123 w 224"/>
                <a:gd name="T119" fmla="*/ 0 h 252"/>
                <a:gd name="T120" fmla="*/ 112 w 224"/>
                <a:gd name="T12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4" h="252">
                  <a:moveTo>
                    <a:pt x="112" y="0"/>
                  </a:moveTo>
                  <a:lnTo>
                    <a:pt x="112" y="0"/>
                  </a:lnTo>
                  <a:lnTo>
                    <a:pt x="100" y="0"/>
                  </a:lnTo>
                  <a:lnTo>
                    <a:pt x="90" y="1"/>
                  </a:lnTo>
                  <a:lnTo>
                    <a:pt x="79" y="4"/>
                  </a:lnTo>
                  <a:lnTo>
                    <a:pt x="68" y="8"/>
                  </a:lnTo>
                  <a:lnTo>
                    <a:pt x="59" y="13"/>
                  </a:lnTo>
                  <a:lnTo>
                    <a:pt x="49" y="19"/>
                  </a:lnTo>
                  <a:lnTo>
                    <a:pt x="41" y="25"/>
                  </a:lnTo>
                  <a:lnTo>
                    <a:pt x="33" y="32"/>
                  </a:lnTo>
                  <a:lnTo>
                    <a:pt x="26" y="40"/>
                  </a:lnTo>
                  <a:lnTo>
                    <a:pt x="20" y="48"/>
                  </a:lnTo>
                  <a:lnTo>
                    <a:pt x="14" y="58"/>
                  </a:lnTo>
                  <a:lnTo>
                    <a:pt x="9" y="68"/>
                  </a:lnTo>
                  <a:lnTo>
                    <a:pt x="5" y="78"/>
                  </a:lnTo>
                  <a:lnTo>
                    <a:pt x="2" y="89"/>
                  </a:lnTo>
                  <a:lnTo>
                    <a:pt x="1" y="101"/>
                  </a:lnTo>
                  <a:lnTo>
                    <a:pt x="0" y="111"/>
                  </a:lnTo>
                  <a:lnTo>
                    <a:pt x="0" y="111"/>
                  </a:lnTo>
                  <a:lnTo>
                    <a:pt x="1" y="126"/>
                  </a:lnTo>
                  <a:lnTo>
                    <a:pt x="4" y="141"/>
                  </a:lnTo>
                  <a:lnTo>
                    <a:pt x="9" y="156"/>
                  </a:lnTo>
                  <a:lnTo>
                    <a:pt x="16" y="169"/>
                  </a:lnTo>
                  <a:lnTo>
                    <a:pt x="24" y="181"/>
                  </a:lnTo>
                  <a:lnTo>
                    <a:pt x="35" y="192"/>
                  </a:lnTo>
                  <a:lnTo>
                    <a:pt x="45" y="201"/>
                  </a:lnTo>
                  <a:lnTo>
                    <a:pt x="59" y="209"/>
                  </a:lnTo>
                  <a:lnTo>
                    <a:pt x="59" y="248"/>
                  </a:lnTo>
                  <a:lnTo>
                    <a:pt x="59" y="248"/>
                  </a:lnTo>
                  <a:lnTo>
                    <a:pt x="60" y="251"/>
                  </a:lnTo>
                  <a:lnTo>
                    <a:pt x="64" y="252"/>
                  </a:lnTo>
                  <a:lnTo>
                    <a:pt x="84" y="252"/>
                  </a:lnTo>
                  <a:lnTo>
                    <a:pt x="84" y="169"/>
                  </a:lnTo>
                  <a:lnTo>
                    <a:pt x="73" y="169"/>
                  </a:lnTo>
                  <a:lnTo>
                    <a:pt x="73" y="169"/>
                  </a:lnTo>
                  <a:lnTo>
                    <a:pt x="65" y="168"/>
                  </a:lnTo>
                  <a:lnTo>
                    <a:pt x="60" y="167"/>
                  </a:lnTo>
                  <a:lnTo>
                    <a:pt x="56" y="162"/>
                  </a:lnTo>
                  <a:lnTo>
                    <a:pt x="52" y="158"/>
                  </a:lnTo>
                  <a:lnTo>
                    <a:pt x="49" y="154"/>
                  </a:lnTo>
                  <a:lnTo>
                    <a:pt x="47" y="150"/>
                  </a:lnTo>
                  <a:lnTo>
                    <a:pt x="45" y="141"/>
                  </a:lnTo>
                  <a:lnTo>
                    <a:pt x="45" y="141"/>
                  </a:lnTo>
                  <a:lnTo>
                    <a:pt x="47" y="132"/>
                  </a:lnTo>
                  <a:lnTo>
                    <a:pt x="49" y="128"/>
                  </a:lnTo>
                  <a:lnTo>
                    <a:pt x="52" y="122"/>
                  </a:lnTo>
                  <a:lnTo>
                    <a:pt x="56" y="119"/>
                  </a:lnTo>
                  <a:lnTo>
                    <a:pt x="60" y="115"/>
                  </a:lnTo>
                  <a:lnTo>
                    <a:pt x="67" y="114"/>
                  </a:lnTo>
                  <a:lnTo>
                    <a:pt x="73" y="113"/>
                  </a:lnTo>
                  <a:lnTo>
                    <a:pt x="73" y="113"/>
                  </a:lnTo>
                  <a:lnTo>
                    <a:pt x="80" y="114"/>
                  </a:lnTo>
                  <a:lnTo>
                    <a:pt x="86" y="115"/>
                  </a:lnTo>
                  <a:lnTo>
                    <a:pt x="90" y="118"/>
                  </a:lnTo>
                  <a:lnTo>
                    <a:pt x="92" y="121"/>
                  </a:lnTo>
                  <a:lnTo>
                    <a:pt x="92" y="121"/>
                  </a:lnTo>
                  <a:lnTo>
                    <a:pt x="98" y="128"/>
                  </a:lnTo>
                  <a:lnTo>
                    <a:pt x="99" y="133"/>
                  </a:lnTo>
                  <a:lnTo>
                    <a:pt x="100" y="141"/>
                  </a:lnTo>
                  <a:lnTo>
                    <a:pt x="100" y="153"/>
                  </a:lnTo>
                  <a:lnTo>
                    <a:pt x="112" y="153"/>
                  </a:lnTo>
                  <a:lnTo>
                    <a:pt x="125" y="153"/>
                  </a:lnTo>
                  <a:lnTo>
                    <a:pt x="125" y="141"/>
                  </a:lnTo>
                  <a:lnTo>
                    <a:pt x="125" y="141"/>
                  </a:lnTo>
                  <a:lnTo>
                    <a:pt x="125" y="133"/>
                  </a:lnTo>
                  <a:lnTo>
                    <a:pt x="127" y="128"/>
                  </a:lnTo>
                  <a:lnTo>
                    <a:pt x="131" y="121"/>
                  </a:lnTo>
                  <a:lnTo>
                    <a:pt x="131" y="121"/>
                  </a:lnTo>
                  <a:lnTo>
                    <a:pt x="135" y="118"/>
                  </a:lnTo>
                  <a:lnTo>
                    <a:pt x="139" y="115"/>
                  </a:lnTo>
                  <a:lnTo>
                    <a:pt x="145" y="114"/>
                  </a:lnTo>
                  <a:lnTo>
                    <a:pt x="151" y="113"/>
                  </a:lnTo>
                  <a:lnTo>
                    <a:pt x="151" y="113"/>
                  </a:lnTo>
                  <a:lnTo>
                    <a:pt x="158" y="114"/>
                  </a:lnTo>
                  <a:lnTo>
                    <a:pt x="165" y="115"/>
                  </a:lnTo>
                  <a:lnTo>
                    <a:pt x="169" y="119"/>
                  </a:lnTo>
                  <a:lnTo>
                    <a:pt x="173" y="122"/>
                  </a:lnTo>
                  <a:lnTo>
                    <a:pt x="176" y="128"/>
                  </a:lnTo>
                  <a:lnTo>
                    <a:pt x="177" y="132"/>
                  </a:lnTo>
                  <a:lnTo>
                    <a:pt x="180" y="141"/>
                  </a:lnTo>
                  <a:lnTo>
                    <a:pt x="180" y="141"/>
                  </a:lnTo>
                  <a:lnTo>
                    <a:pt x="177" y="150"/>
                  </a:lnTo>
                  <a:lnTo>
                    <a:pt x="176" y="154"/>
                  </a:lnTo>
                  <a:lnTo>
                    <a:pt x="173" y="158"/>
                  </a:lnTo>
                  <a:lnTo>
                    <a:pt x="169" y="162"/>
                  </a:lnTo>
                  <a:lnTo>
                    <a:pt x="165" y="167"/>
                  </a:lnTo>
                  <a:lnTo>
                    <a:pt x="158" y="168"/>
                  </a:lnTo>
                  <a:lnTo>
                    <a:pt x="151" y="169"/>
                  </a:lnTo>
                  <a:lnTo>
                    <a:pt x="141" y="169"/>
                  </a:lnTo>
                  <a:lnTo>
                    <a:pt x="141" y="252"/>
                  </a:lnTo>
                  <a:lnTo>
                    <a:pt x="161" y="252"/>
                  </a:lnTo>
                  <a:lnTo>
                    <a:pt x="161" y="252"/>
                  </a:lnTo>
                  <a:lnTo>
                    <a:pt x="165" y="251"/>
                  </a:lnTo>
                  <a:lnTo>
                    <a:pt x="166" y="248"/>
                  </a:lnTo>
                  <a:lnTo>
                    <a:pt x="166" y="209"/>
                  </a:lnTo>
                  <a:lnTo>
                    <a:pt x="166" y="209"/>
                  </a:lnTo>
                  <a:lnTo>
                    <a:pt x="178" y="201"/>
                  </a:lnTo>
                  <a:lnTo>
                    <a:pt x="190" y="192"/>
                  </a:lnTo>
                  <a:lnTo>
                    <a:pt x="200" y="181"/>
                  </a:lnTo>
                  <a:lnTo>
                    <a:pt x="209" y="169"/>
                  </a:lnTo>
                  <a:lnTo>
                    <a:pt x="216" y="156"/>
                  </a:lnTo>
                  <a:lnTo>
                    <a:pt x="220" y="141"/>
                  </a:lnTo>
                  <a:lnTo>
                    <a:pt x="224" y="126"/>
                  </a:lnTo>
                  <a:lnTo>
                    <a:pt x="224" y="111"/>
                  </a:lnTo>
                  <a:lnTo>
                    <a:pt x="224" y="111"/>
                  </a:lnTo>
                  <a:lnTo>
                    <a:pt x="224" y="101"/>
                  </a:lnTo>
                  <a:lnTo>
                    <a:pt x="223" y="89"/>
                  </a:lnTo>
                  <a:lnTo>
                    <a:pt x="220" y="78"/>
                  </a:lnTo>
                  <a:lnTo>
                    <a:pt x="216" y="68"/>
                  </a:lnTo>
                  <a:lnTo>
                    <a:pt x="210" y="58"/>
                  </a:lnTo>
                  <a:lnTo>
                    <a:pt x="205" y="48"/>
                  </a:lnTo>
                  <a:lnTo>
                    <a:pt x="198" y="40"/>
                  </a:lnTo>
                  <a:lnTo>
                    <a:pt x="192" y="32"/>
                  </a:lnTo>
                  <a:lnTo>
                    <a:pt x="184" y="25"/>
                  </a:lnTo>
                  <a:lnTo>
                    <a:pt x="176" y="19"/>
                  </a:lnTo>
                  <a:lnTo>
                    <a:pt x="166" y="13"/>
                  </a:lnTo>
                  <a:lnTo>
                    <a:pt x="155" y="8"/>
                  </a:lnTo>
                  <a:lnTo>
                    <a:pt x="146" y="4"/>
                  </a:lnTo>
                  <a:lnTo>
                    <a:pt x="135" y="1"/>
                  </a:lnTo>
                  <a:lnTo>
                    <a:pt x="123" y="0"/>
                  </a:lnTo>
                  <a:lnTo>
                    <a:pt x="112" y="0"/>
                  </a:lnTo>
                  <a:lnTo>
                    <a:pt x="11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79" name="Freeform 343">
              <a:extLst>
                <a:ext uri="{FF2B5EF4-FFF2-40B4-BE49-F238E27FC236}">
                  <a16:creationId xmlns:a16="http://schemas.microsoft.com/office/drawing/2014/main" id="{43FC3698-9AF1-4DFB-8094-EC27F9069C81}"/>
                </a:ext>
              </a:extLst>
            </p:cNvPr>
            <p:cNvSpPr>
              <a:spLocks/>
            </p:cNvSpPr>
            <p:nvPr/>
          </p:nvSpPr>
          <p:spPr bwMode="auto">
            <a:xfrm>
              <a:off x="825501" y="4518025"/>
              <a:ext cx="12700" cy="0"/>
            </a:xfrm>
            <a:custGeom>
              <a:avLst/>
              <a:gdLst>
                <a:gd name="T0" fmla="*/ 0 w 16"/>
                <a:gd name="T1" fmla="*/ 0 w 16"/>
                <a:gd name="T2" fmla="*/ 16 w 16"/>
                <a:gd name="T3" fmla="*/ 16 w 16"/>
                <a:gd name="T4" fmla="*/ 12 w 16"/>
                <a:gd name="T5" fmla="*/ 0 w 16"/>
              </a:gdLst>
              <a:ahLst/>
              <a:cxnLst>
                <a:cxn ang="0">
                  <a:pos x="T0" y="0"/>
                </a:cxn>
                <a:cxn ang="0">
                  <a:pos x="T1" y="0"/>
                </a:cxn>
                <a:cxn ang="0">
                  <a:pos x="T2" y="0"/>
                </a:cxn>
                <a:cxn ang="0">
                  <a:pos x="T3" y="0"/>
                </a:cxn>
                <a:cxn ang="0">
                  <a:pos x="T4" y="0"/>
                </a:cxn>
                <a:cxn ang="0">
                  <a:pos x="T5" y="0"/>
                </a:cxn>
              </a:cxnLst>
              <a:rect l="0" t="0" r="r" b="b"/>
              <a:pathLst>
                <a:path w="16">
                  <a:moveTo>
                    <a:pt x="0" y="0"/>
                  </a:moveTo>
                  <a:lnTo>
                    <a:pt x="0" y="0"/>
                  </a:lnTo>
                  <a:lnTo>
                    <a:pt x="16" y="0"/>
                  </a:lnTo>
                  <a:lnTo>
                    <a:pt x="16" y="0"/>
                  </a:lnTo>
                  <a:lnTo>
                    <a:pt x="12"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80" name="Freeform 344">
              <a:extLst>
                <a:ext uri="{FF2B5EF4-FFF2-40B4-BE49-F238E27FC236}">
                  <a16:creationId xmlns:a16="http://schemas.microsoft.com/office/drawing/2014/main" id="{7F84AA0A-7C12-43BD-862C-7DC77AB7A9AE}"/>
                </a:ext>
              </a:extLst>
            </p:cNvPr>
            <p:cNvSpPr>
              <a:spLocks/>
            </p:cNvSpPr>
            <p:nvPr/>
          </p:nvSpPr>
          <p:spPr bwMode="auto">
            <a:xfrm>
              <a:off x="793751" y="4518025"/>
              <a:ext cx="12700" cy="0"/>
            </a:xfrm>
            <a:custGeom>
              <a:avLst/>
              <a:gdLst>
                <a:gd name="T0" fmla="*/ 0 w 16"/>
                <a:gd name="T1" fmla="*/ 0 w 16"/>
                <a:gd name="T2" fmla="*/ 16 w 16"/>
                <a:gd name="T3" fmla="*/ 16 w 16"/>
                <a:gd name="T4" fmla="*/ 4 w 16"/>
                <a:gd name="T5" fmla="*/ 0 w 16"/>
              </a:gdLst>
              <a:ahLst/>
              <a:cxnLst>
                <a:cxn ang="0">
                  <a:pos x="T0" y="0"/>
                </a:cxn>
                <a:cxn ang="0">
                  <a:pos x="T1" y="0"/>
                </a:cxn>
                <a:cxn ang="0">
                  <a:pos x="T2" y="0"/>
                </a:cxn>
                <a:cxn ang="0">
                  <a:pos x="T3" y="0"/>
                </a:cxn>
                <a:cxn ang="0">
                  <a:pos x="T4" y="0"/>
                </a:cxn>
                <a:cxn ang="0">
                  <a:pos x="T5" y="0"/>
                </a:cxn>
              </a:cxnLst>
              <a:rect l="0" t="0" r="r" b="b"/>
              <a:pathLst>
                <a:path w="16">
                  <a:moveTo>
                    <a:pt x="0" y="0"/>
                  </a:moveTo>
                  <a:lnTo>
                    <a:pt x="0" y="0"/>
                  </a:lnTo>
                  <a:lnTo>
                    <a:pt x="16" y="0"/>
                  </a:lnTo>
                  <a:lnTo>
                    <a:pt x="16" y="0"/>
                  </a:lnTo>
                  <a:lnTo>
                    <a:pt x="4"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281" name="TextBox 280">
            <a:extLst>
              <a:ext uri="{FF2B5EF4-FFF2-40B4-BE49-F238E27FC236}">
                <a16:creationId xmlns:a16="http://schemas.microsoft.com/office/drawing/2014/main" id="{57C1F22E-F10A-45CC-BEAD-4DF95857B229}"/>
              </a:ext>
            </a:extLst>
          </p:cNvPr>
          <p:cNvSpPr txBox="1"/>
          <p:nvPr/>
        </p:nvSpPr>
        <p:spPr>
          <a:xfrm>
            <a:off x="2278071" y="4110276"/>
            <a:ext cx="1087809" cy="489512"/>
          </a:xfrm>
          <a:prstGeom prst="rect">
            <a:avLst/>
          </a:prstGeom>
          <a:ln>
            <a:noFill/>
          </a:ln>
        </p:spPr>
        <p:txBody>
          <a:bodyPr vert="horz" wrap="square" lIns="45720" tIns="31173" rIns="45720" bIns="31173" rtlCol="0" anchor="ctr">
            <a:norm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Online associate / stylist</a:t>
            </a:r>
            <a:endParaRPr kumimoji="0" lang="en-US" sz="105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grpSp>
        <p:nvGrpSpPr>
          <p:cNvPr id="282" name="Group 281">
            <a:extLst>
              <a:ext uri="{FF2B5EF4-FFF2-40B4-BE49-F238E27FC236}">
                <a16:creationId xmlns:a16="http://schemas.microsoft.com/office/drawing/2014/main" id="{003E0B2E-3A12-48F1-B996-0655FD2AF7D3}"/>
              </a:ext>
            </a:extLst>
          </p:cNvPr>
          <p:cNvGrpSpPr>
            <a:grpSpLocks noChangeAspect="1"/>
          </p:cNvGrpSpPr>
          <p:nvPr/>
        </p:nvGrpSpPr>
        <p:grpSpPr>
          <a:xfrm>
            <a:off x="3345348" y="4293374"/>
            <a:ext cx="320040" cy="320040"/>
            <a:chOff x="8480426" y="4178300"/>
            <a:chExt cx="522288" cy="522288"/>
          </a:xfrm>
        </p:grpSpPr>
        <p:sp>
          <p:nvSpPr>
            <p:cNvPr id="283" name="Freeform 71">
              <a:extLst>
                <a:ext uri="{FF2B5EF4-FFF2-40B4-BE49-F238E27FC236}">
                  <a16:creationId xmlns:a16="http://schemas.microsoft.com/office/drawing/2014/main" id="{233E7755-4566-401D-BA08-DC20063AB7FB}"/>
                </a:ext>
              </a:extLst>
            </p:cNvPr>
            <p:cNvSpPr>
              <a:spLocks noEditPoints="1"/>
            </p:cNvSpPr>
            <p:nvPr/>
          </p:nvSpPr>
          <p:spPr bwMode="auto">
            <a:xfrm>
              <a:off x="8480426" y="4178300"/>
              <a:ext cx="522288" cy="522288"/>
            </a:xfrm>
            <a:custGeom>
              <a:avLst/>
              <a:gdLst>
                <a:gd name="T0" fmla="*/ 313 w 658"/>
                <a:gd name="T1" fmla="*/ 658 h 658"/>
                <a:gd name="T2" fmla="*/ 263 w 658"/>
                <a:gd name="T3" fmla="*/ 651 h 658"/>
                <a:gd name="T4" fmla="*/ 201 w 658"/>
                <a:gd name="T5" fmla="*/ 632 h 658"/>
                <a:gd name="T6" fmla="*/ 121 w 658"/>
                <a:gd name="T7" fmla="*/ 582 h 658"/>
                <a:gd name="T8" fmla="*/ 56 w 658"/>
                <a:gd name="T9" fmla="*/ 513 h 658"/>
                <a:gd name="T10" fmla="*/ 15 w 658"/>
                <a:gd name="T11" fmla="*/ 427 h 658"/>
                <a:gd name="T12" fmla="*/ 4 w 658"/>
                <a:gd name="T13" fmla="*/ 378 h 658"/>
                <a:gd name="T14" fmla="*/ 0 w 658"/>
                <a:gd name="T15" fmla="*/ 329 h 658"/>
                <a:gd name="T16" fmla="*/ 3 w 658"/>
                <a:gd name="T17" fmla="*/ 295 h 658"/>
                <a:gd name="T18" fmla="*/ 11 w 658"/>
                <a:gd name="T19" fmla="*/ 247 h 658"/>
                <a:gd name="T20" fmla="*/ 40 w 658"/>
                <a:gd name="T21" fmla="*/ 173 h 658"/>
                <a:gd name="T22" fmla="*/ 97 w 658"/>
                <a:gd name="T23" fmla="*/ 96 h 658"/>
                <a:gd name="T24" fmla="*/ 173 w 658"/>
                <a:gd name="T25" fmla="*/ 40 h 658"/>
                <a:gd name="T26" fmla="*/ 247 w 658"/>
                <a:gd name="T27" fmla="*/ 10 h 658"/>
                <a:gd name="T28" fmla="*/ 295 w 658"/>
                <a:gd name="T29" fmla="*/ 2 h 658"/>
                <a:gd name="T30" fmla="*/ 329 w 658"/>
                <a:gd name="T31" fmla="*/ 0 h 658"/>
                <a:gd name="T32" fmla="*/ 379 w 658"/>
                <a:gd name="T33" fmla="*/ 4 h 658"/>
                <a:gd name="T34" fmla="*/ 427 w 658"/>
                <a:gd name="T35" fmla="*/ 14 h 658"/>
                <a:gd name="T36" fmla="*/ 513 w 658"/>
                <a:gd name="T37" fmla="*/ 56 h 658"/>
                <a:gd name="T38" fmla="*/ 583 w 658"/>
                <a:gd name="T39" fmla="*/ 120 h 658"/>
                <a:gd name="T40" fmla="*/ 632 w 658"/>
                <a:gd name="T41" fmla="*/ 201 h 658"/>
                <a:gd name="T42" fmla="*/ 651 w 658"/>
                <a:gd name="T43" fmla="*/ 263 h 658"/>
                <a:gd name="T44" fmla="*/ 658 w 658"/>
                <a:gd name="T45" fmla="*/ 313 h 658"/>
                <a:gd name="T46" fmla="*/ 658 w 658"/>
                <a:gd name="T47" fmla="*/ 346 h 658"/>
                <a:gd name="T48" fmla="*/ 651 w 658"/>
                <a:gd name="T49" fmla="*/ 394 h 658"/>
                <a:gd name="T50" fmla="*/ 632 w 658"/>
                <a:gd name="T51" fmla="*/ 456 h 658"/>
                <a:gd name="T52" fmla="*/ 583 w 658"/>
                <a:gd name="T53" fmla="*/ 538 h 658"/>
                <a:gd name="T54" fmla="*/ 513 w 658"/>
                <a:gd name="T55" fmla="*/ 601 h 658"/>
                <a:gd name="T56" fmla="*/ 427 w 658"/>
                <a:gd name="T57" fmla="*/ 643 h 658"/>
                <a:gd name="T58" fmla="*/ 379 w 658"/>
                <a:gd name="T59" fmla="*/ 654 h 658"/>
                <a:gd name="T60" fmla="*/ 329 w 658"/>
                <a:gd name="T61" fmla="*/ 658 h 658"/>
                <a:gd name="T62" fmla="*/ 329 w 658"/>
                <a:gd name="T63" fmla="*/ 37 h 658"/>
                <a:gd name="T64" fmla="*/ 243 w 658"/>
                <a:gd name="T65" fmla="*/ 51 h 658"/>
                <a:gd name="T66" fmla="*/ 166 w 658"/>
                <a:gd name="T67" fmla="*/ 87 h 658"/>
                <a:gd name="T68" fmla="*/ 105 w 658"/>
                <a:gd name="T69" fmla="*/ 143 h 658"/>
                <a:gd name="T70" fmla="*/ 62 w 658"/>
                <a:gd name="T71" fmla="*/ 216 h 658"/>
                <a:gd name="T72" fmla="*/ 40 w 658"/>
                <a:gd name="T73" fmla="*/ 299 h 658"/>
                <a:gd name="T74" fmla="*/ 40 w 658"/>
                <a:gd name="T75" fmla="*/ 358 h 658"/>
                <a:gd name="T76" fmla="*/ 62 w 658"/>
                <a:gd name="T77" fmla="*/ 441 h 658"/>
                <a:gd name="T78" fmla="*/ 105 w 658"/>
                <a:gd name="T79" fmla="*/ 514 h 658"/>
                <a:gd name="T80" fmla="*/ 166 w 658"/>
                <a:gd name="T81" fmla="*/ 570 h 658"/>
                <a:gd name="T82" fmla="*/ 243 w 658"/>
                <a:gd name="T83" fmla="*/ 607 h 658"/>
                <a:gd name="T84" fmla="*/ 329 w 658"/>
                <a:gd name="T85" fmla="*/ 620 h 658"/>
                <a:gd name="T86" fmla="*/ 388 w 658"/>
                <a:gd name="T87" fmla="*/ 615 h 658"/>
                <a:gd name="T88" fmla="*/ 467 w 658"/>
                <a:gd name="T89" fmla="*/ 585 h 658"/>
                <a:gd name="T90" fmla="*/ 534 w 658"/>
                <a:gd name="T91" fmla="*/ 534 h 658"/>
                <a:gd name="T92" fmla="*/ 585 w 658"/>
                <a:gd name="T93" fmla="*/ 467 h 658"/>
                <a:gd name="T94" fmla="*/ 615 w 658"/>
                <a:gd name="T95" fmla="*/ 388 h 658"/>
                <a:gd name="T96" fmla="*/ 620 w 658"/>
                <a:gd name="T97" fmla="*/ 329 h 658"/>
                <a:gd name="T98" fmla="*/ 607 w 658"/>
                <a:gd name="T99" fmla="*/ 243 h 658"/>
                <a:gd name="T100" fmla="*/ 571 w 658"/>
                <a:gd name="T101" fmla="*/ 166 h 658"/>
                <a:gd name="T102" fmla="*/ 514 w 658"/>
                <a:gd name="T103" fmla="*/ 104 h 658"/>
                <a:gd name="T104" fmla="*/ 443 w 658"/>
                <a:gd name="T105" fmla="*/ 60 h 658"/>
                <a:gd name="T106" fmla="*/ 358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8"/>
                  </a:lnTo>
                  <a:lnTo>
                    <a:pt x="295" y="656"/>
                  </a:lnTo>
                  <a:lnTo>
                    <a:pt x="279" y="654"/>
                  </a:lnTo>
                  <a:lnTo>
                    <a:pt x="263" y="651"/>
                  </a:lnTo>
                  <a:lnTo>
                    <a:pt x="247" y="647"/>
                  </a:lnTo>
                  <a:lnTo>
                    <a:pt x="232" y="643"/>
                  </a:lnTo>
                  <a:lnTo>
                    <a:pt x="201" y="632"/>
                  </a:lnTo>
                  <a:lnTo>
                    <a:pt x="173" y="617"/>
                  </a:lnTo>
                  <a:lnTo>
                    <a:pt x="145" y="601"/>
                  </a:lnTo>
                  <a:lnTo>
                    <a:pt x="121" y="582"/>
                  </a:lnTo>
                  <a:lnTo>
                    <a:pt x="97" y="561"/>
                  </a:lnTo>
                  <a:lnTo>
                    <a:pt x="75" y="538"/>
                  </a:lnTo>
                  <a:lnTo>
                    <a:pt x="56" y="513"/>
                  </a:lnTo>
                  <a:lnTo>
                    <a:pt x="40" y="486"/>
                  </a:lnTo>
                  <a:lnTo>
                    <a:pt x="27" y="456"/>
                  </a:lnTo>
                  <a:lnTo>
                    <a:pt x="15" y="427"/>
                  </a:lnTo>
                  <a:lnTo>
                    <a:pt x="11" y="411"/>
                  </a:lnTo>
                  <a:lnTo>
                    <a:pt x="7" y="394"/>
                  </a:lnTo>
                  <a:lnTo>
                    <a:pt x="4" y="378"/>
                  </a:lnTo>
                  <a:lnTo>
                    <a:pt x="3" y="362"/>
                  </a:lnTo>
                  <a:lnTo>
                    <a:pt x="1" y="346"/>
                  </a:lnTo>
                  <a:lnTo>
                    <a:pt x="0" y="329"/>
                  </a:lnTo>
                  <a:lnTo>
                    <a:pt x="0" y="329"/>
                  </a:lnTo>
                  <a:lnTo>
                    <a:pt x="1" y="313"/>
                  </a:lnTo>
                  <a:lnTo>
                    <a:pt x="3" y="295"/>
                  </a:lnTo>
                  <a:lnTo>
                    <a:pt x="4" y="279"/>
                  </a:lnTo>
                  <a:lnTo>
                    <a:pt x="7" y="263"/>
                  </a:lnTo>
                  <a:lnTo>
                    <a:pt x="11" y="247"/>
                  </a:lnTo>
                  <a:lnTo>
                    <a:pt x="15" y="231"/>
                  </a:lnTo>
                  <a:lnTo>
                    <a:pt x="27" y="201"/>
                  </a:lnTo>
                  <a:lnTo>
                    <a:pt x="40" y="173"/>
                  </a:lnTo>
                  <a:lnTo>
                    <a:pt x="56" y="145"/>
                  </a:lnTo>
                  <a:lnTo>
                    <a:pt x="75" y="120"/>
                  </a:lnTo>
                  <a:lnTo>
                    <a:pt x="97" y="96"/>
                  </a:lnTo>
                  <a:lnTo>
                    <a:pt x="121" y="75"/>
                  </a:lnTo>
                  <a:lnTo>
                    <a:pt x="145" y="56"/>
                  </a:lnTo>
                  <a:lnTo>
                    <a:pt x="173" y="40"/>
                  </a:lnTo>
                  <a:lnTo>
                    <a:pt x="201" y="26"/>
                  </a:lnTo>
                  <a:lnTo>
                    <a:pt x="232" y="14"/>
                  </a:lnTo>
                  <a:lnTo>
                    <a:pt x="247" y="10"/>
                  </a:lnTo>
                  <a:lnTo>
                    <a:pt x="263" y="6"/>
                  </a:lnTo>
                  <a:lnTo>
                    <a:pt x="279" y="4"/>
                  </a:lnTo>
                  <a:lnTo>
                    <a:pt x="295" y="2"/>
                  </a:lnTo>
                  <a:lnTo>
                    <a:pt x="313" y="1"/>
                  </a:lnTo>
                  <a:lnTo>
                    <a:pt x="329" y="0"/>
                  </a:lnTo>
                  <a:lnTo>
                    <a:pt x="329" y="0"/>
                  </a:lnTo>
                  <a:lnTo>
                    <a:pt x="346" y="1"/>
                  </a:lnTo>
                  <a:lnTo>
                    <a:pt x="362" y="2"/>
                  </a:lnTo>
                  <a:lnTo>
                    <a:pt x="379" y="4"/>
                  </a:lnTo>
                  <a:lnTo>
                    <a:pt x="395" y="6"/>
                  </a:lnTo>
                  <a:lnTo>
                    <a:pt x="411" y="10"/>
                  </a:lnTo>
                  <a:lnTo>
                    <a:pt x="427" y="14"/>
                  </a:lnTo>
                  <a:lnTo>
                    <a:pt x="456" y="26"/>
                  </a:lnTo>
                  <a:lnTo>
                    <a:pt x="486" y="40"/>
                  </a:lnTo>
                  <a:lnTo>
                    <a:pt x="513" y="56"/>
                  </a:lnTo>
                  <a:lnTo>
                    <a:pt x="538" y="75"/>
                  </a:lnTo>
                  <a:lnTo>
                    <a:pt x="561" y="96"/>
                  </a:lnTo>
                  <a:lnTo>
                    <a:pt x="583" y="120"/>
                  </a:lnTo>
                  <a:lnTo>
                    <a:pt x="601" y="145"/>
                  </a:lnTo>
                  <a:lnTo>
                    <a:pt x="618" y="173"/>
                  </a:lnTo>
                  <a:lnTo>
                    <a:pt x="632" y="201"/>
                  </a:lnTo>
                  <a:lnTo>
                    <a:pt x="643" y="231"/>
                  </a:lnTo>
                  <a:lnTo>
                    <a:pt x="647" y="247"/>
                  </a:lnTo>
                  <a:lnTo>
                    <a:pt x="651" y="263"/>
                  </a:lnTo>
                  <a:lnTo>
                    <a:pt x="654" y="279"/>
                  </a:lnTo>
                  <a:lnTo>
                    <a:pt x="657" y="295"/>
                  </a:lnTo>
                  <a:lnTo>
                    <a:pt x="658" y="313"/>
                  </a:lnTo>
                  <a:lnTo>
                    <a:pt x="658" y="329"/>
                  </a:lnTo>
                  <a:lnTo>
                    <a:pt x="658" y="329"/>
                  </a:lnTo>
                  <a:lnTo>
                    <a:pt x="658" y="346"/>
                  </a:lnTo>
                  <a:lnTo>
                    <a:pt x="657" y="362"/>
                  </a:lnTo>
                  <a:lnTo>
                    <a:pt x="654" y="378"/>
                  </a:lnTo>
                  <a:lnTo>
                    <a:pt x="651" y="394"/>
                  </a:lnTo>
                  <a:lnTo>
                    <a:pt x="647" y="411"/>
                  </a:lnTo>
                  <a:lnTo>
                    <a:pt x="643" y="427"/>
                  </a:lnTo>
                  <a:lnTo>
                    <a:pt x="632" y="456"/>
                  </a:lnTo>
                  <a:lnTo>
                    <a:pt x="618" y="486"/>
                  </a:lnTo>
                  <a:lnTo>
                    <a:pt x="601" y="513"/>
                  </a:lnTo>
                  <a:lnTo>
                    <a:pt x="583" y="538"/>
                  </a:lnTo>
                  <a:lnTo>
                    <a:pt x="561" y="561"/>
                  </a:lnTo>
                  <a:lnTo>
                    <a:pt x="538" y="582"/>
                  </a:lnTo>
                  <a:lnTo>
                    <a:pt x="513" y="601"/>
                  </a:lnTo>
                  <a:lnTo>
                    <a:pt x="486" y="617"/>
                  </a:lnTo>
                  <a:lnTo>
                    <a:pt x="456" y="632"/>
                  </a:lnTo>
                  <a:lnTo>
                    <a:pt x="427" y="643"/>
                  </a:lnTo>
                  <a:lnTo>
                    <a:pt x="411" y="647"/>
                  </a:lnTo>
                  <a:lnTo>
                    <a:pt x="395" y="651"/>
                  </a:lnTo>
                  <a:lnTo>
                    <a:pt x="379" y="654"/>
                  </a:lnTo>
                  <a:lnTo>
                    <a:pt x="362" y="656"/>
                  </a:lnTo>
                  <a:lnTo>
                    <a:pt x="346" y="658"/>
                  </a:lnTo>
                  <a:lnTo>
                    <a:pt x="329" y="658"/>
                  </a:lnTo>
                  <a:lnTo>
                    <a:pt x="329" y="658"/>
                  </a:lnTo>
                  <a:close/>
                  <a:moveTo>
                    <a:pt x="329" y="37"/>
                  </a:moveTo>
                  <a:lnTo>
                    <a:pt x="329" y="37"/>
                  </a:lnTo>
                  <a:lnTo>
                    <a:pt x="299" y="40"/>
                  </a:lnTo>
                  <a:lnTo>
                    <a:pt x="271" y="44"/>
                  </a:lnTo>
                  <a:lnTo>
                    <a:pt x="243" y="51"/>
                  </a:lnTo>
                  <a:lnTo>
                    <a:pt x="216" y="60"/>
                  </a:lnTo>
                  <a:lnTo>
                    <a:pt x="191" y="73"/>
                  </a:lnTo>
                  <a:lnTo>
                    <a:pt x="166" y="87"/>
                  </a:lnTo>
                  <a:lnTo>
                    <a:pt x="144" y="104"/>
                  </a:lnTo>
                  <a:lnTo>
                    <a:pt x="123" y="123"/>
                  </a:lnTo>
                  <a:lnTo>
                    <a:pt x="105" y="143"/>
                  </a:lnTo>
                  <a:lnTo>
                    <a:pt x="89" y="166"/>
                  </a:lnTo>
                  <a:lnTo>
                    <a:pt x="74" y="190"/>
                  </a:lnTo>
                  <a:lnTo>
                    <a:pt x="62" y="216"/>
                  </a:lnTo>
                  <a:lnTo>
                    <a:pt x="51" y="243"/>
                  </a:lnTo>
                  <a:lnTo>
                    <a:pt x="44" y="271"/>
                  </a:lnTo>
                  <a:lnTo>
                    <a:pt x="40" y="299"/>
                  </a:lnTo>
                  <a:lnTo>
                    <a:pt x="38" y="329"/>
                  </a:lnTo>
                  <a:lnTo>
                    <a:pt x="38" y="329"/>
                  </a:lnTo>
                  <a:lnTo>
                    <a:pt x="40" y="358"/>
                  </a:lnTo>
                  <a:lnTo>
                    <a:pt x="44" y="388"/>
                  </a:lnTo>
                  <a:lnTo>
                    <a:pt x="51" y="416"/>
                  </a:lnTo>
                  <a:lnTo>
                    <a:pt x="62" y="441"/>
                  </a:lnTo>
                  <a:lnTo>
                    <a:pt x="74" y="467"/>
                  </a:lnTo>
                  <a:lnTo>
                    <a:pt x="89" y="491"/>
                  </a:lnTo>
                  <a:lnTo>
                    <a:pt x="105" y="514"/>
                  </a:lnTo>
                  <a:lnTo>
                    <a:pt x="123" y="534"/>
                  </a:lnTo>
                  <a:lnTo>
                    <a:pt x="144" y="553"/>
                  </a:lnTo>
                  <a:lnTo>
                    <a:pt x="166" y="570"/>
                  </a:lnTo>
                  <a:lnTo>
                    <a:pt x="191" y="585"/>
                  </a:lnTo>
                  <a:lnTo>
                    <a:pt x="216" y="597"/>
                  </a:lnTo>
                  <a:lnTo>
                    <a:pt x="243" y="607"/>
                  </a:lnTo>
                  <a:lnTo>
                    <a:pt x="271" y="615"/>
                  </a:lnTo>
                  <a:lnTo>
                    <a:pt x="299" y="619"/>
                  </a:lnTo>
                  <a:lnTo>
                    <a:pt x="329" y="620"/>
                  </a:lnTo>
                  <a:lnTo>
                    <a:pt x="329" y="620"/>
                  </a:lnTo>
                  <a:lnTo>
                    <a:pt x="358" y="619"/>
                  </a:lnTo>
                  <a:lnTo>
                    <a:pt x="388" y="615"/>
                  </a:lnTo>
                  <a:lnTo>
                    <a:pt x="416" y="607"/>
                  </a:lnTo>
                  <a:lnTo>
                    <a:pt x="443" y="597"/>
                  </a:lnTo>
                  <a:lnTo>
                    <a:pt x="467" y="585"/>
                  </a:lnTo>
                  <a:lnTo>
                    <a:pt x="491" y="570"/>
                  </a:lnTo>
                  <a:lnTo>
                    <a:pt x="514" y="553"/>
                  </a:lnTo>
                  <a:lnTo>
                    <a:pt x="534" y="534"/>
                  </a:lnTo>
                  <a:lnTo>
                    <a:pt x="553" y="514"/>
                  </a:lnTo>
                  <a:lnTo>
                    <a:pt x="571" y="491"/>
                  </a:lnTo>
                  <a:lnTo>
                    <a:pt x="585" y="467"/>
                  </a:lnTo>
                  <a:lnTo>
                    <a:pt x="597" y="441"/>
                  </a:lnTo>
                  <a:lnTo>
                    <a:pt x="607" y="416"/>
                  </a:lnTo>
                  <a:lnTo>
                    <a:pt x="615" y="388"/>
                  </a:lnTo>
                  <a:lnTo>
                    <a:pt x="619" y="358"/>
                  </a:lnTo>
                  <a:lnTo>
                    <a:pt x="620" y="329"/>
                  </a:lnTo>
                  <a:lnTo>
                    <a:pt x="620" y="329"/>
                  </a:lnTo>
                  <a:lnTo>
                    <a:pt x="619" y="299"/>
                  </a:lnTo>
                  <a:lnTo>
                    <a:pt x="615" y="271"/>
                  </a:lnTo>
                  <a:lnTo>
                    <a:pt x="607" y="243"/>
                  </a:lnTo>
                  <a:lnTo>
                    <a:pt x="597" y="216"/>
                  </a:lnTo>
                  <a:lnTo>
                    <a:pt x="585" y="190"/>
                  </a:lnTo>
                  <a:lnTo>
                    <a:pt x="571" y="166"/>
                  </a:lnTo>
                  <a:lnTo>
                    <a:pt x="553" y="143"/>
                  </a:lnTo>
                  <a:lnTo>
                    <a:pt x="534" y="123"/>
                  </a:lnTo>
                  <a:lnTo>
                    <a:pt x="514" y="104"/>
                  </a:lnTo>
                  <a:lnTo>
                    <a:pt x="491" y="87"/>
                  </a:lnTo>
                  <a:lnTo>
                    <a:pt x="467" y="73"/>
                  </a:lnTo>
                  <a:lnTo>
                    <a:pt x="443" y="60"/>
                  </a:lnTo>
                  <a:lnTo>
                    <a:pt x="416" y="51"/>
                  </a:lnTo>
                  <a:lnTo>
                    <a:pt x="388" y="44"/>
                  </a:lnTo>
                  <a:lnTo>
                    <a:pt x="358" y="40"/>
                  </a:lnTo>
                  <a:lnTo>
                    <a:pt x="329" y="37"/>
                  </a:lnTo>
                  <a:lnTo>
                    <a:pt x="329" y="3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84" name="Freeform 217">
              <a:extLst>
                <a:ext uri="{FF2B5EF4-FFF2-40B4-BE49-F238E27FC236}">
                  <a16:creationId xmlns:a16="http://schemas.microsoft.com/office/drawing/2014/main" id="{F82DF831-9F39-4516-BC6A-45D2627343F9}"/>
                </a:ext>
              </a:extLst>
            </p:cNvPr>
            <p:cNvSpPr>
              <a:spLocks noEditPoints="1"/>
            </p:cNvSpPr>
            <p:nvPr/>
          </p:nvSpPr>
          <p:spPr bwMode="auto">
            <a:xfrm>
              <a:off x="8621713" y="4306888"/>
              <a:ext cx="241300" cy="241300"/>
            </a:xfrm>
            <a:custGeom>
              <a:avLst/>
              <a:gdLst>
                <a:gd name="T0" fmla="*/ 257 w 304"/>
                <a:gd name="T1" fmla="*/ 102 h 304"/>
                <a:gd name="T2" fmla="*/ 257 w 304"/>
                <a:gd name="T3" fmla="*/ 10 h 304"/>
                <a:gd name="T4" fmla="*/ 254 w 304"/>
                <a:gd name="T5" fmla="*/ 3 h 304"/>
                <a:gd name="T6" fmla="*/ 247 w 304"/>
                <a:gd name="T7" fmla="*/ 0 h 304"/>
                <a:gd name="T8" fmla="*/ 57 w 304"/>
                <a:gd name="T9" fmla="*/ 0 h 304"/>
                <a:gd name="T10" fmla="*/ 51 w 304"/>
                <a:gd name="T11" fmla="*/ 3 h 304"/>
                <a:gd name="T12" fmla="*/ 49 w 304"/>
                <a:gd name="T13" fmla="*/ 10 h 304"/>
                <a:gd name="T14" fmla="*/ 2 w 304"/>
                <a:gd name="T15" fmla="*/ 195 h 304"/>
                <a:gd name="T16" fmla="*/ 0 w 304"/>
                <a:gd name="T17" fmla="*/ 198 h 304"/>
                <a:gd name="T18" fmla="*/ 0 w 304"/>
                <a:gd name="T19" fmla="*/ 294 h 304"/>
                <a:gd name="T20" fmla="*/ 2 w 304"/>
                <a:gd name="T21" fmla="*/ 298 h 304"/>
                <a:gd name="T22" fmla="*/ 6 w 304"/>
                <a:gd name="T23" fmla="*/ 302 h 304"/>
                <a:gd name="T24" fmla="*/ 294 w 304"/>
                <a:gd name="T25" fmla="*/ 304 h 304"/>
                <a:gd name="T26" fmla="*/ 298 w 304"/>
                <a:gd name="T27" fmla="*/ 302 h 304"/>
                <a:gd name="T28" fmla="*/ 304 w 304"/>
                <a:gd name="T29" fmla="*/ 298 h 304"/>
                <a:gd name="T30" fmla="*/ 304 w 304"/>
                <a:gd name="T31" fmla="*/ 199 h 304"/>
                <a:gd name="T32" fmla="*/ 304 w 304"/>
                <a:gd name="T33" fmla="*/ 198 h 304"/>
                <a:gd name="T34" fmla="*/ 302 w 304"/>
                <a:gd name="T35" fmla="*/ 195 h 304"/>
                <a:gd name="T36" fmla="*/ 49 w 304"/>
                <a:gd name="T37" fmla="*/ 191 h 304"/>
                <a:gd name="T38" fmla="*/ 49 w 304"/>
                <a:gd name="T39" fmla="*/ 142 h 304"/>
                <a:gd name="T40" fmla="*/ 66 w 304"/>
                <a:gd name="T41" fmla="*/ 191 h 304"/>
                <a:gd name="T42" fmla="*/ 238 w 304"/>
                <a:gd name="T43" fmla="*/ 19 h 304"/>
                <a:gd name="T44" fmla="*/ 200 w 304"/>
                <a:gd name="T45" fmla="*/ 191 h 304"/>
                <a:gd name="T46" fmla="*/ 196 w 304"/>
                <a:gd name="T47" fmla="*/ 191 h 304"/>
                <a:gd name="T48" fmla="*/ 191 w 304"/>
                <a:gd name="T49" fmla="*/ 196 h 304"/>
                <a:gd name="T50" fmla="*/ 191 w 304"/>
                <a:gd name="T51" fmla="*/ 228 h 304"/>
                <a:gd name="T52" fmla="*/ 114 w 304"/>
                <a:gd name="T53" fmla="*/ 199 h 304"/>
                <a:gd name="T54" fmla="*/ 113 w 304"/>
                <a:gd name="T55" fmla="*/ 196 h 304"/>
                <a:gd name="T56" fmla="*/ 109 w 304"/>
                <a:gd name="T57" fmla="*/ 191 h 304"/>
                <a:gd name="T58" fmla="*/ 105 w 304"/>
                <a:gd name="T59" fmla="*/ 191 h 304"/>
                <a:gd name="T60" fmla="*/ 257 w 304"/>
                <a:gd name="T61" fmla="*/ 142 h 304"/>
                <a:gd name="T62" fmla="*/ 257 w 304"/>
                <a:gd name="T63" fmla="*/ 191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4" h="304">
                  <a:moveTo>
                    <a:pt x="302" y="195"/>
                  </a:moveTo>
                  <a:lnTo>
                    <a:pt x="257" y="102"/>
                  </a:lnTo>
                  <a:lnTo>
                    <a:pt x="257" y="10"/>
                  </a:lnTo>
                  <a:lnTo>
                    <a:pt x="257" y="10"/>
                  </a:lnTo>
                  <a:lnTo>
                    <a:pt x="255" y="5"/>
                  </a:lnTo>
                  <a:lnTo>
                    <a:pt x="254" y="3"/>
                  </a:lnTo>
                  <a:lnTo>
                    <a:pt x="251" y="1"/>
                  </a:lnTo>
                  <a:lnTo>
                    <a:pt x="247" y="0"/>
                  </a:lnTo>
                  <a:lnTo>
                    <a:pt x="57" y="0"/>
                  </a:lnTo>
                  <a:lnTo>
                    <a:pt x="57" y="0"/>
                  </a:lnTo>
                  <a:lnTo>
                    <a:pt x="54" y="1"/>
                  </a:lnTo>
                  <a:lnTo>
                    <a:pt x="51" y="3"/>
                  </a:lnTo>
                  <a:lnTo>
                    <a:pt x="49" y="5"/>
                  </a:lnTo>
                  <a:lnTo>
                    <a:pt x="49" y="10"/>
                  </a:lnTo>
                  <a:lnTo>
                    <a:pt x="49" y="102"/>
                  </a:lnTo>
                  <a:lnTo>
                    <a:pt x="2" y="195"/>
                  </a:lnTo>
                  <a:lnTo>
                    <a:pt x="2" y="195"/>
                  </a:lnTo>
                  <a:lnTo>
                    <a:pt x="0" y="198"/>
                  </a:lnTo>
                  <a:lnTo>
                    <a:pt x="0" y="199"/>
                  </a:lnTo>
                  <a:lnTo>
                    <a:pt x="0" y="294"/>
                  </a:lnTo>
                  <a:lnTo>
                    <a:pt x="0" y="294"/>
                  </a:lnTo>
                  <a:lnTo>
                    <a:pt x="2" y="298"/>
                  </a:lnTo>
                  <a:lnTo>
                    <a:pt x="3" y="301"/>
                  </a:lnTo>
                  <a:lnTo>
                    <a:pt x="6" y="302"/>
                  </a:lnTo>
                  <a:lnTo>
                    <a:pt x="10" y="304"/>
                  </a:lnTo>
                  <a:lnTo>
                    <a:pt x="294" y="304"/>
                  </a:lnTo>
                  <a:lnTo>
                    <a:pt x="294" y="304"/>
                  </a:lnTo>
                  <a:lnTo>
                    <a:pt x="298" y="302"/>
                  </a:lnTo>
                  <a:lnTo>
                    <a:pt x="301" y="301"/>
                  </a:lnTo>
                  <a:lnTo>
                    <a:pt x="304" y="298"/>
                  </a:lnTo>
                  <a:lnTo>
                    <a:pt x="304" y="294"/>
                  </a:lnTo>
                  <a:lnTo>
                    <a:pt x="304" y="199"/>
                  </a:lnTo>
                  <a:lnTo>
                    <a:pt x="304" y="199"/>
                  </a:lnTo>
                  <a:lnTo>
                    <a:pt x="304" y="198"/>
                  </a:lnTo>
                  <a:lnTo>
                    <a:pt x="302" y="195"/>
                  </a:lnTo>
                  <a:lnTo>
                    <a:pt x="302" y="195"/>
                  </a:lnTo>
                  <a:close/>
                  <a:moveTo>
                    <a:pt x="49" y="142"/>
                  </a:moveTo>
                  <a:lnTo>
                    <a:pt x="49" y="191"/>
                  </a:lnTo>
                  <a:lnTo>
                    <a:pt x="24" y="191"/>
                  </a:lnTo>
                  <a:lnTo>
                    <a:pt x="49" y="142"/>
                  </a:lnTo>
                  <a:close/>
                  <a:moveTo>
                    <a:pt x="105" y="191"/>
                  </a:moveTo>
                  <a:lnTo>
                    <a:pt x="66" y="191"/>
                  </a:lnTo>
                  <a:lnTo>
                    <a:pt x="66" y="19"/>
                  </a:lnTo>
                  <a:lnTo>
                    <a:pt x="238" y="19"/>
                  </a:lnTo>
                  <a:lnTo>
                    <a:pt x="238" y="191"/>
                  </a:lnTo>
                  <a:lnTo>
                    <a:pt x="200" y="191"/>
                  </a:lnTo>
                  <a:lnTo>
                    <a:pt x="200" y="191"/>
                  </a:lnTo>
                  <a:lnTo>
                    <a:pt x="196" y="191"/>
                  </a:lnTo>
                  <a:lnTo>
                    <a:pt x="194" y="194"/>
                  </a:lnTo>
                  <a:lnTo>
                    <a:pt x="191" y="196"/>
                  </a:lnTo>
                  <a:lnTo>
                    <a:pt x="191" y="199"/>
                  </a:lnTo>
                  <a:lnTo>
                    <a:pt x="191" y="228"/>
                  </a:lnTo>
                  <a:lnTo>
                    <a:pt x="114" y="228"/>
                  </a:lnTo>
                  <a:lnTo>
                    <a:pt x="114" y="199"/>
                  </a:lnTo>
                  <a:lnTo>
                    <a:pt x="114" y="199"/>
                  </a:lnTo>
                  <a:lnTo>
                    <a:pt x="113" y="196"/>
                  </a:lnTo>
                  <a:lnTo>
                    <a:pt x="112" y="194"/>
                  </a:lnTo>
                  <a:lnTo>
                    <a:pt x="109" y="191"/>
                  </a:lnTo>
                  <a:lnTo>
                    <a:pt x="105" y="191"/>
                  </a:lnTo>
                  <a:lnTo>
                    <a:pt x="105" y="191"/>
                  </a:lnTo>
                  <a:close/>
                  <a:moveTo>
                    <a:pt x="257" y="191"/>
                  </a:moveTo>
                  <a:lnTo>
                    <a:pt x="257" y="142"/>
                  </a:lnTo>
                  <a:lnTo>
                    <a:pt x="281" y="191"/>
                  </a:lnTo>
                  <a:lnTo>
                    <a:pt x="257" y="19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85" name="Freeform 218">
              <a:extLst>
                <a:ext uri="{FF2B5EF4-FFF2-40B4-BE49-F238E27FC236}">
                  <a16:creationId xmlns:a16="http://schemas.microsoft.com/office/drawing/2014/main" id="{F5B29532-A2C5-46B2-82CF-84DECB6281E5}"/>
                </a:ext>
              </a:extLst>
            </p:cNvPr>
            <p:cNvSpPr>
              <a:spLocks/>
            </p:cNvSpPr>
            <p:nvPr/>
          </p:nvSpPr>
          <p:spPr bwMode="auto">
            <a:xfrm>
              <a:off x="8697913" y="4346575"/>
              <a:ext cx="88900" cy="12700"/>
            </a:xfrm>
            <a:custGeom>
              <a:avLst/>
              <a:gdLst>
                <a:gd name="T0" fmla="*/ 8 w 111"/>
                <a:gd name="T1" fmla="*/ 16 h 16"/>
                <a:gd name="T2" fmla="*/ 103 w 111"/>
                <a:gd name="T3" fmla="*/ 16 h 16"/>
                <a:gd name="T4" fmla="*/ 103 w 111"/>
                <a:gd name="T5" fmla="*/ 16 h 16"/>
                <a:gd name="T6" fmla="*/ 106 w 111"/>
                <a:gd name="T7" fmla="*/ 15 h 16"/>
                <a:gd name="T8" fmla="*/ 109 w 111"/>
                <a:gd name="T9" fmla="*/ 13 h 16"/>
                <a:gd name="T10" fmla="*/ 110 w 111"/>
                <a:gd name="T11" fmla="*/ 11 h 16"/>
                <a:gd name="T12" fmla="*/ 111 w 111"/>
                <a:gd name="T13" fmla="*/ 8 h 16"/>
                <a:gd name="T14" fmla="*/ 111 w 111"/>
                <a:gd name="T15" fmla="*/ 8 h 16"/>
                <a:gd name="T16" fmla="*/ 110 w 111"/>
                <a:gd name="T17" fmla="*/ 4 h 16"/>
                <a:gd name="T18" fmla="*/ 109 w 111"/>
                <a:gd name="T19" fmla="*/ 2 h 16"/>
                <a:gd name="T20" fmla="*/ 106 w 111"/>
                <a:gd name="T21" fmla="*/ 0 h 16"/>
                <a:gd name="T22" fmla="*/ 103 w 111"/>
                <a:gd name="T23" fmla="*/ 0 h 16"/>
                <a:gd name="T24" fmla="*/ 8 w 111"/>
                <a:gd name="T25" fmla="*/ 0 h 16"/>
                <a:gd name="T26" fmla="*/ 8 w 111"/>
                <a:gd name="T27" fmla="*/ 0 h 16"/>
                <a:gd name="T28" fmla="*/ 5 w 111"/>
                <a:gd name="T29" fmla="*/ 0 h 16"/>
                <a:gd name="T30" fmla="*/ 3 w 111"/>
                <a:gd name="T31" fmla="*/ 2 h 16"/>
                <a:gd name="T32" fmla="*/ 0 w 111"/>
                <a:gd name="T33" fmla="*/ 4 h 16"/>
                <a:gd name="T34" fmla="*/ 0 w 111"/>
                <a:gd name="T35" fmla="*/ 8 h 16"/>
                <a:gd name="T36" fmla="*/ 0 w 111"/>
                <a:gd name="T37" fmla="*/ 8 h 16"/>
                <a:gd name="T38" fmla="*/ 0 w 111"/>
                <a:gd name="T39" fmla="*/ 11 h 16"/>
                <a:gd name="T40" fmla="*/ 3 w 111"/>
                <a:gd name="T41" fmla="*/ 13 h 16"/>
                <a:gd name="T42" fmla="*/ 5 w 111"/>
                <a:gd name="T43" fmla="*/ 15 h 16"/>
                <a:gd name="T44" fmla="*/ 8 w 111"/>
                <a:gd name="T45" fmla="*/ 16 h 16"/>
                <a:gd name="T46" fmla="*/ 8 w 111"/>
                <a:gd name="T4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1" h="16">
                  <a:moveTo>
                    <a:pt x="8" y="16"/>
                  </a:moveTo>
                  <a:lnTo>
                    <a:pt x="103" y="16"/>
                  </a:lnTo>
                  <a:lnTo>
                    <a:pt x="103" y="16"/>
                  </a:lnTo>
                  <a:lnTo>
                    <a:pt x="106" y="15"/>
                  </a:lnTo>
                  <a:lnTo>
                    <a:pt x="109" y="13"/>
                  </a:lnTo>
                  <a:lnTo>
                    <a:pt x="110" y="11"/>
                  </a:lnTo>
                  <a:lnTo>
                    <a:pt x="111" y="8"/>
                  </a:lnTo>
                  <a:lnTo>
                    <a:pt x="111" y="8"/>
                  </a:lnTo>
                  <a:lnTo>
                    <a:pt x="110" y="4"/>
                  </a:lnTo>
                  <a:lnTo>
                    <a:pt x="109" y="2"/>
                  </a:lnTo>
                  <a:lnTo>
                    <a:pt x="106" y="0"/>
                  </a:lnTo>
                  <a:lnTo>
                    <a:pt x="103" y="0"/>
                  </a:lnTo>
                  <a:lnTo>
                    <a:pt x="8" y="0"/>
                  </a:lnTo>
                  <a:lnTo>
                    <a:pt x="8" y="0"/>
                  </a:lnTo>
                  <a:lnTo>
                    <a:pt x="5" y="0"/>
                  </a:lnTo>
                  <a:lnTo>
                    <a:pt x="3" y="2"/>
                  </a:lnTo>
                  <a:lnTo>
                    <a:pt x="0" y="4"/>
                  </a:lnTo>
                  <a:lnTo>
                    <a:pt x="0" y="8"/>
                  </a:lnTo>
                  <a:lnTo>
                    <a:pt x="0" y="8"/>
                  </a:lnTo>
                  <a:lnTo>
                    <a:pt x="0" y="11"/>
                  </a:lnTo>
                  <a:lnTo>
                    <a:pt x="3" y="13"/>
                  </a:lnTo>
                  <a:lnTo>
                    <a:pt x="5" y="15"/>
                  </a:lnTo>
                  <a:lnTo>
                    <a:pt x="8" y="16"/>
                  </a:lnTo>
                  <a:lnTo>
                    <a:pt x="8"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86" name="Freeform 219">
              <a:extLst>
                <a:ext uri="{FF2B5EF4-FFF2-40B4-BE49-F238E27FC236}">
                  <a16:creationId xmlns:a16="http://schemas.microsoft.com/office/drawing/2014/main" id="{EED4ABD2-AC4A-4112-AA3A-6E784734019D}"/>
                </a:ext>
              </a:extLst>
            </p:cNvPr>
            <p:cNvSpPr>
              <a:spLocks/>
            </p:cNvSpPr>
            <p:nvPr/>
          </p:nvSpPr>
          <p:spPr bwMode="auto">
            <a:xfrm>
              <a:off x="8697913" y="4383088"/>
              <a:ext cx="88900" cy="12700"/>
            </a:xfrm>
            <a:custGeom>
              <a:avLst/>
              <a:gdLst>
                <a:gd name="T0" fmla="*/ 8 w 111"/>
                <a:gd name="T1" fmla="*/ 16 h 16"/>
                <a:gd name="T2" fmla="*/ 103 w 111"/>
                <a:gd name="T3" fmla="*/ 16 h 16"/>
                <a:gd name="T4" fmla="*/ 103 w 111"/>
                <a:gd name="T5" fmla="*/ 16 h 16"/>
                <a:gd name="T6" fmla="*/ 106 w 111"/>
                <a:gd name="T7" fmla="*/ 15 h 16"/>
                <a:gd name="T8" fmla="*/ 109 w 111"/>
                <a:gd name="T9" fmla="*/ 13 h 16"/>
                <a:gd name="T10" fmla="*/ 110 w 111"/>
                <a:gd name="T11" fmla="*/ 11 h 16"/>
                <a:gd name="T12" fmla="*/ 111 w 111"/>
                <a:gd name="T13" fmla="*/ 8 h 16"/>
                <a:gd name="T14" fmla="*/ 111 w 111"/>
                <a:gd name="T15" fmla="*/ 8 h 16"/>
                <a:gd name="T16" fmla="*/ 110 w 111"/>
                <a:gd name="T17" fmla="*/ 4 h 16"/>
                <a:gd name="T18" fmla="*/ 109 w 111"/>
                <a:gd name="T19" fmla="*/ 1 h 16"/>
                <a:gd name="T20" fmla="*/ 106 w 111"/>
                <a:gd name="T21" fmla="*/ 0 h 16"/>
                <a:gd name="T22" fmla="*/ 103 w 111"/>
                <a:gd name="T23" fmla="*/ 0 h 16"/>
                <a:gd name="T24" fmla="*/ 8 w 111"/>
                <a:gd name="T25" fmla="*/ 0 h 16"/>
                <a:gd name="T26" fmla="*/ 8 w 111"/>
                <a:gd name="T27" fmla="*/ 0 h 16"/>
                <a:gd name="T28" fmla="*/ 5 w 111"/>
                <a:gd name="T29" fmla="*/ 0 h 16"/>
                <a:gd name="T30" fmla="*/ 3 w 111"/>
                <a:gd name="T31" fmla="*/ 1 h 16"/>
                <a:gd name="T32" fmla="*/ 0 w 111"/>
                <a:gd name="T33" fmla="*/ 4 h 16"/>
                <a:gd name="T34" fmla="*/ 0 w 111"/>
                <a:gd name="T35" fmla="*/ 8 h 16"/>
                <a:gd name="T36" fmla="*/ 0 w 111"/>
                <a:gd name="T37" fmla="*/ 8 h 16"/>
                <a:gd name="T38" fmla="*/ 0 w 111"/>
                <a:gd name="T39" fmla="*/ 11 h 16"/>
                <a:gd name="T40" fmla="*/ 3 w 111"/>
                <a:gd name="T41" fmla="*/ 13 h 16"/>
                <a:gd name="T42" fmla="*/ 5 w 111"/>
                <a:gd name="T43" fmla="*/ 15 h 16"/>
                <a:gd name="T44" fmla="*/ 8 w 111"/>
                <a:gd name="T45" fmla="*/ 16 h 16"/>
                <a:gd name="T46" fmla="*/ 8 w 111"/>
                <a:gd name="T4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1" h="16">
                  <a:moveTo>
                    <a:pt x="8" y="16"/>
                  </a:moveTo>
                  <a:lnTo>
                    <a:pt x="103" y="16"/>
                  </a:lnTo>
                  <a:lnTo>
                    <a:pt x="103" y="16"/>
                  </a:lnTo>
                  <a:lnTo>
                    <a:pt x="106" y="15"/>
                  </a:lnTo>
                  <a:lnTo>
                    <a:pt x="109" y="13"/>
                  </a:lnTo>
                  <a:lnTo>
                    <a:pt x="110" y="11"/>
                  </a:lnTo>
                  <a:lnTo>
                    <a:pt x="111" y="8"/>
                  </a:lnTo>
                  <a:lnTo>
                    <a:pt x="111" y="8"/>
                  </a:lnTo>
                  <a:lnTo>
                    <a:pt x="110" y="4"/>
                  </a:lnTo>
                  <a:lnTo>
                    <a:pt x="109" y="1"/>
                  </a:lnTo>
                  <a:lnTo>
                    <a:pt x="106" y="0"/>
                  </a:lnTo>
                  <a:lnTo>
                    <a:pt x="103" y="0"/>
                  </a:lnTo>
                  <a:lnTo>
                    <a:pt x="8" y="0"/>
                  </a:lnTo>
                  <a:lnTo>
                    <a:pt x="8" y="0"/>
                  </a:lnTo>
                  <a:lnTo>
                    <a:pt x="5" y="0"/>
                  </a:lnTo>
                  <a:lnTo>
                    <a:pt x="3" y="1"/>
                  </a:lnTo>
                  <a:lnTo>
                    <a:pt x="0" y="4"/>
                  </a:lnTo>
                  <a:lnTo>
                    <a:pt x="0" y="8"/>
                  </a:lnTo>
                  <a:lnTo>
                    <a:pt x="0" y="8"/>
                  </a:lnTo>
                  <a:lnTo>
                    <a:pt x="0" y="11"/>
                  </a:lnTo>
                  <a:lnTo>
                    <a:pt x="3" y="13"/>
                  </a:lnTo>
                  <a:lnTo>
                    <a:pt x="5" y="15"/>
                  </a:lnTo>
                  <a:lnTo>
                    <a:pt x="8" y="16"/>
                  </a:lnTo>
                  <a:lnTo>
                    <a:pt x="8"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87" name="Freeform 220">
              <a:extLst>
                <a:ext uri="{FF2B5EF4-FFF2-40B4-BE49-F238E27FC236}">
                  <a16:creationId xmlns:a16="http://schemas.microsoft.com/office/drawing/2014/main" id="{4C461A11-A502-4C71-9CA9-316A66607035}"/>
                </a:ext>
              </a:extLst>
            </p:cNvPr>
            <p:cNvSpPr>
              <a:spLocks/>
            </p:cNvSpPr>
            <p:nvPr/>
          </p:nvSpPr>
          <p:spPr bwMode="auto">
            <a:xfrm>
              <a:off x="8697913" y="4421188"/>
              <a:ext cx="50800" cy="12700"/>
            </a:xfrm>
            <a:custGeom>
              <a:avLst/>
              <a:gdLst>
                <a:gd name="T0" fmla="*/ 63 w 63"/>
                <a:gd name="T1" fmla="*/ 8 h 16"/>
                <a:gd name="T2" fmla="*/ 63 w 63"/>
                <a:gd name="T3" fmla="*/ 8 h 16"/>
                <a:gd name="T4" fmla="*/ 63 w 63"/>
                <a:gd name="T5" fmla="*/ 5 h 16"/>
                <a:gd name="T6" fmla="*/ 60 w 63"/>
                <a:gd name="T7" fmla="*/ 2 h 16"/>
                <a:gd name="T8" fmla="*/ 59 w 63"/>
                <a:gd name="T9" fmla="*/ 1 h 16"/>
                <a:gd name="T10" fmla="*/ 55 w 63"/>
                <a:gd name="T11" fmla="*/ 0 h 16"/>
                <a:gd name="T12" fmla="*/ 8 w 63"/>
                <a:gd name="T13" fmla="*/ 0 h 16"/>
                <a:gd name="T14" fmla="*/ 8 w 63"/>
                <a:gd name="T15" fmla="*/ 0 h 16"/>
                <a:gd name="T16" fmla="*/ 5 w 63"/>
                <a:gd name="T17" fmla="*/ 1 h 16"/>
                <a:gd name="T18" fmla="*/ 3 w 63"/>
                <a:gd name="T19" fmla="*/ 2 h 16"/>
                <a:gd name="T20" fmla="*/ 0 w 63"/>
                <a:gd name="T21" fmla="*/ 5 h 16"/>
                <a:gd name="T22" fmla="*/ 0 w 63"/>
                <a:gd name="T23" fmla="*/ 8 h 16"/>
                <a:gd name="T24" fmla="*/ 0 w 63"/>
                <a:gd name="T25" fmla="*/ 8 h 16"/>
                <a:gd name="T26" fmla="*/ 0 w 63"/>
                <a:gd name="T27" fmla="*/ 11 h 16"/>
                <a:gd name="T28" fmla="*/ 3 w 63"/>
                <a:gd name="T29" fmla="*/ 13 h 16"/>
                <a:gd name="T30" fmla="*/ 5 w 63"/>
                <a:gd name="T31" fmla="*/ 16 h 16"/>
                <a:gd name="T32" fmla="*/ 8 w 63"/>
                <a:gd name="T33" fmla="*/ 16 h 16"/>
                <a:gd name="T34" fmla="*/ 55 w 63"/>
                <a:gd name="T35" fmla="*/ 16 h 16"/>
                <a:gd name="T36" fmla="*/ 55 w 63"/>
                <a:gd name="T37" fmla="*/ 16 h 16"/>
                <a:gd name="T38" fmla="*/ 59 w 63"/>
                <a:gd name="T39" fmla="*/ 16 h 16"/>
                <a:gd name="T40" fmla="*/ 60 w 63"/>
                <a:gd name="T41" fmla="*/ 13 h 16"/>
                <a:gd name="T42" fmla="*/ 63 w 63"/>
                <a:gd name="T43" fmla="*/ 11 h 16"/>
                <a:gd name="T44" fmla="*/ 63 w 63"/>
                <a:gd name="T45" fmla="*/ 8 h 16"/>
                <a:gd name="T46" fmla="*/ 63 w 63"/>
                <a:gd name="T4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3" h="16">
                  <a:moveTo>
                    <a:pt x="63" y="8"/>
                  </a:moveTo>
                  <a:lnTo>
                    <a:pt x="63" y="8"/>
                  </a:lnTo>
                  <a:lnTo>
                    <a:pt x="63" y="5"/>
                  </a:lnTo>
                  <a:lnTo>
                    <a:pt x="60" y="2"/>
                  </a:lnTo>
                  <a:lnTo>
                    <a:pt x="59" y="1"/>
                  </a:lnTo>
                  <a:lnTo>
                    <a:pt x="55" y="0"/>
                  </a:lnTo>
                  <a:lnTo>
                    <a:pt x="8" y="0"/>
                  </a:lnTo>
                  <a:lnTo>
                    <a:pt x="8" y="0"/>
                  </a:lnTo>
                  <a:lnTo>
                    <a:pt x="5" y="1"/>
                  </a:lnTo>
                  <a:lnTo>
                    <a:pt x="3" y="2"/>
                  </a:lnTo>
                  <a:lnTo>
                    <a:pt x="0" y="5"/>
                  </a:lnTo>
                  <a:lnTo>
                    <a:pt x="0" y="8"/>
                  </a:lnTo>
                  <a:lnTo>
                    <a:pt x="0" y="8"/>
                  </a:lnTo>
                  <a:lnTo>
                    <a:pt x="0" y="11"/>
                  </a:lnTo>
                  <a:lnTo>
                    <a:pt x="3" y="13"/>
                  </a:lnTo>
                  <a:lnTo>
                    <a:pt x="5" y="16"/>
                  </a:lnTo>
                  <a:lnTo>
                    <a:pt x="8" y="16"/>
                  </a:lnTo>
                  <a:lnTo>
                    <a:pt x="55" y="16"/>
                  </a:lnTo>
                  <a:lnTo>
                    <a:pt x="55" y="16"/>
                  </a:lnTo>
                  <a:lnTo>
                    <a:pt x="59" y="16"/>
                  </a:lnTo>
                  <a:lnTo>
                    <a:pt x="60" y="13"/>
                  </a:lnTo>
                  <a:lnTo>
                    <a:pt x="63" y="11"/>
                  </a:lnTo>
                  <a:lnTo>
                    <a:pt x="63" y="8"/>
                  </a:lnTo>
                  <a:lnTo>
                    <a:pt x="63"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288" name="TextBox 287">
            <a:extLst>
              <a:ext uri="{FF2B5EF4-FFF2-40B4-BE49-F238E27FC236}">
                <a16:creationId xmlns:a16="http://schemas.microsoft.com/office/drawing/2014/main" id="{C5A983DA-7F48-4F08-AB1C-EF1E7F301D5B}"/>
              </a:ext>
            </a:extLst>
          </p:cNvPr>
          <p:cNvSpPr txBox="1"/>
          <p:nvPr/>
        </p:nvSpPr>
        <p:spPr>
          <a:xfrm>
            <a:off x="4025316" y="1628488"/>
            <a:ext cx="1631590" cy="430907"/>
          </a:xfrm>
          <a:prstGeom prst="rect">
            <a:avLst/>
          </a:prstGeom>
          <a:ln>
            <a:noFill/>
          </a:ln>
        </p:spPr>
        <p:txBody>
          <a:bodyPr vert="horz" wrap="square" lIns="45720" tIns="31173" rIns="45720" bIns="31173" rtlCol="0" anchor="ctr">
            <a:norm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Targeted messages (e.g., pushed via beacons)</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289" name="Freeform 77">
            <a:extLst>
              <a:ext uri="{FF2B5EF4-FFF2-40B4-BE49-F238E27FC236}">
                <a16:creationId xmlns:a16="http://schemas.microsoft.com/office/drawing/2014/main" id="{ABCEF273-6506-4351-8032-E7835C82AFD2}"/>
              </a:ext>
            </a:extLst>
          </p:cNvPr>
          <p:cNvSpPr>
            <a:spLocks noEditPoints="1"/>
          </p:cNvSpPr>
          <p:nvPr/>
        </p:nvSpPr>
        <p:spPr bwMode="auto">
          <a:xfrm>
            <a:off x="5339212" y="2034089"/>
            <a:ext cx="320040" cy="320040"/>
          </a:xfrm>
          <a:custGeom>
            <a:avLst/>
            <a:gdLst>
              <a:gd name="T0" fmla="*/ 311 w 657"/>
              <a:gd name="T1" fmla="*/ 657 h 657"/>
              <a:gd name="T2" fmla="*/ 262 w 657"/>
              <a:gd name="T3" fmla="*/ 650 h 657"/>
              <a:gd name="T4" fmla="*/ 200 w 657"/>
              <a:gd name="T5" fmla="*/ 632 h 657"/>
              <a:gd name="T6" fmla="*/ 119 w 657"/>
              <a:gd name="T7" fmla="*/ 582 h 657"/>
              <a:gd name="T8" fmla="*/ 56 w 657"/>
              <a:gd name="T9" fmla="*/ 512 h 657"/>
              <a:gd name="T10" fmla="*/ 14 w 657"/>
              <a:gd name="T11" fmla="*/ 426 h 657"/>
              <a:gd name="T12" fmla="*/ 4 w 657"/>
              <a:gd name="T13" fmla="*/ 379 h 657"/>
              <a:gd name="T14" fmla="*/ 0 w 657"/>
              <a:gd name="T15" fmla="*/ 329 h 657"/>
              <a:gd name="T16" fmla="*/ 1 w 657"/>
              <a:gd name="T17" fmla="*/ 296 h 657"/>
              <a:gd name="T18" fmla="*/ 9 w 657"/>
              <a:gd name="T19" fmla="*/ 246 h 657"/>
              <a:gd name="T20" fmla="*/ 39 w 657"/>
              <a:gd name="T21" fmla="*/ 172 h 657"/>
              <a:gd name="T22" fmla="*/ 95 w 657"/>
              <a:gd name="T23" fmla="*/ 97 h 657"/>
              <a:gd name="T24" fmla="*/ 172 w 657"/>
              <a:gd name="T25" fmla="*/ 39 h 657"/>
              <a:gd name="T26" fmla="*/ 245 w 657"/>
              <a:gd name="T27" fmla="*/ 11 h 657"/>
              <a:gd name="T28" fmla="*/ 294 w 657"/>
              <a:gd name="T29" fmla="*/ 2 h 657"/>
              <a:gd name="T30" fmla="*/ 327 w 657"/>
              <a:gd name="T31" fmla="*/ 0 h 657"/>
              <a:gd name="T32" fmla="*/ 378 w 657"/>
              <a:gd name="T33" fmla="*/ 4 h 657"/>
              <a:gd name="T34" fmla="*/ 425 w 657"/>
              <a:gd name="T35" fmla="*/ 15 h 657"/>
              <a:gd name="T36" fmla="*/ 511 w 657"/>
              <a:gd name="T37" fmla="*/ 57 h 657"/>
              <a:gd name="T38" fmla="*/ 581 w 657"/>
              <a:gd name="T39" fmla="*/ 120 h 657"/>
              <a:gd name="T40" fmla="*/ 631 w 657"/>
              <a:gd name="T41" fmla="*/ 200 h 657"/>
              <a:gd name="T42" fmla="*/ 650 w 657"/>
              <a:gd name="T43" fmla="*/ 262 h 657"/>
              <a:gd name="T44" fmla="*/ 657 w 657"/>
              <a:gd name="T45" fmla="*/ 312 h 657"/>
              <a:gd name="T46" fmla="*/ 657 w 657"/>
              <a:gd name="T47" fmla="*/ 346 h 657"/>
              <a:gd name="T48" fmla="*/ 650 w 657"/>
              <a:gd name="T49" fmla="*/ 395 h 657"/>
              <a:gd name="T50" fmla="*/ 631 w 657"/>
              <a:gd name="T51" fmla="*/ 457 h 657"/>
              <a:gd name="T52" fmla="*/ 581 w 657"/>
              <a:gd name="T53" fmla="*/ 538 h 657"/>
              <a:gd name="T54" fmla="*/ 511 w 657"/>
              <a:gd name="T55" fmla="*/ 601 h 657"/>
              <a:gd name="T56" fmla="*/ 425 w 657"/>
              <a:gd name="T57" fmla="*/ 642 h 657"/>
              <a:gd name="T58" fmla="*/ 378 w 657"/>
              <a:gd name="T59" fmla="*/ 654 h 657"/>
              <a:gd name="T60" fmla="*/ 327 w 657"/>
              <a:gd name="T61" fmla="*/ 657 h 657"/>
              <a:gd name="T62" fmla="*/ 327 w 657"/>
              <a:gd name="T63" fmla="*/ 38 h 657"/>
              <a:gd name="T64" fmla="*/ 241 w 657"/>
              <a:gd name="T65" fmla="*/ 51 h 657"/>
              <a:gd name="T66" fmla="*/ 165 w 657"/>
              <a:gd name="T67" fmla="*/ 88 h 657"/>
              <a:gd name="T68" fmla="*/ 103 w 657"/>
              <a:gd name="T69" fmla="*/ 144 h 657"/>
              <a:gd name="T70" fmla="*/ 60 w 657"/>
              <a:gd name="T71" fmla="*/ 215 h 657"/>
              <a:gd name="T72" fmla="*/ 39 w 657"/>
              <a:gd name="T73" fmla="*/ 299 h 657"/>
              <a:gd name="T74" fmla="*/ 39 w 657"/>
              <a:gd name="T75" fmla="*/ 359 h 657"/>
              <a:gd name="T76" fmla="*/ 60 w 657"/>
              <a:gd name="T77" fmla="*/ 442 h 657"/>
              <a:gd name="T78" fmla="*/ 103 w 657"/>
              <a:gd name="T79" fmla="*/ 513 h 657"/>
              <a:gd name="T80" fmla="*/ 165 w 657"/>
              <a:gd name="T81" fmla="*/ 570 h 657"/>
              <a:gd name="T82" fmla="*/ 241 w 657"/>
              <a:gd name="T83" fmla="*/ 607 h 657"/>
              <a:gd name="T84" fmla="*/ 327 w 657"/>
              <a:gd name="T85" fmla="*/ 620 h 657"/>
              <a:gd name="T86" fmla="*/ 387 w 657"/>
              <a:gd name="T87" fmla="*/ 614 h 657"/>
              <a:gd name="T88" fmla="*/ 467 w 657"/>
              <a:gd name="T89" fmla="*/ 585 h 657"/>
              <a:gd name="T90" fmla="*/ 534 w 657"/>
              <a:gd name="T91" fmla="*/ 535 h 657"/>
              <a:gd name="T92" fmla="*/ 584 w 657"/>
              <a:gd name="T93" fmla="*/ 468 h 657"/>
              <a:gd name="T94" fmla="*/ 614 w 657"/>
              <a:gd name="T95" fmla="*/ 387 h 657"/>
              <a:gd name="T96" fmla="*/ 619 w 657"/>
              <a:gd name="T97" fmla="*/ 329 h 657"/>
              <a:gd name="T98" fmla="*/ 605 w 657"/>
              <a:gd name="T99" fmla="*/ 242 h 657"/>
              <a:gd name="T100" fmla="*/ 569 w 657"/>
              <a:gd name="T101" fmla="*/ 166 h 657"/>
              <a:gd name="T102" fmla="*/ 513 w 657"/>
              <a:gd name="T103" fmla="*/ 104 h 657"/>
              <a:gd name="T104" fmla="*/ 442 w 657"/>
              <a:gd name="T105" fmla="*/ 61 h 657"/>
              <a:gd name="T106" fmla="*/ 358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7" y="657"/>
                </a:moveTo>
                <a:lnTo>
                  <a:pt x="327" y="657"/>
                </a:lnTo>
                <a:lnTo>
                  <a:pt x="311" y="657"/>
                </a:lnTo>
                <a:lnTo>
                  <a:pt x="294" y="656"/>
                </a:lnTo>
                <a:lnTo>
                  <a:pt x="278" y="654"/>
                </a:lnTo>
                <a:lnTo>
                  <a:pt x="262" y="650"/>
                </a:lnTo>
                <a:lnTo>
                  <a:pt x="245" y="648"/>
                </a:lnTo>
                <a:lnTo>
                  <a:pt x="231" y="642"/>
                </a:lnTo>
                <a:lnTo>
                  <a:pt x="200" y="632"/>
                </a:lnTo>
                <a:lnTo>
                  <a:pt x="172" y="618"/>
                </a:lnTo>
                <a:lnTo>
                  <a:pt x="145" y="601"/>
                </a:lnTo>
                <a:lnTo>
                  <a:pt x="119" y="582"/>
                </a:lnTo>
                <a:lnTo>
                  <a:pt x="95" y="562"/>
                </a:lnTo>
                <a:lnTo>
                  <a:pt x="75" y="538"/>
                </a:lnTo>
                <a:lnTo>
                  <a:pt x="56" y="512"/>
                </a:lnTo>
                <a:lnTo>
                  <a:pt x="39" y="485"/>
                </a:lnTo>
                <a:lnTo>
                  <a:pt x="25" y="457"/>
                </a:lnTo>
                <a:lnTo>
                  <a:pt x="14" y="426"/>
                </a:lnTo>
                <a:lnTo>
                  <a:pt x="9" y="411"/>
                </a:lnTo>
                <a:lnTo>
                  <a:pt x="6" y="395"/>
                </a:lnTo>
                <a:lnTo>
                  <a:pt x="4" y="379"/>
                </a:lnTo>
                <a:lnTo>
                  <a:pt x="1" y="363"/>
                </a:lnTo>
                <a:lnTo>
                  <a:pt x="0" y="346"/>
                </a:lnTo>
                <a:lnTo>
                  <a:pt x="0" y="329"/>
                </a:lnTo>
                <a:lnTo>
                  <a:pt x="0" y="329"/>
                </a:lnTo>
                <a:lnTo>
                  <a:pt x="0" y="312"/>
                </a:lnTo>
                <a:lnTo>
                  <a:pt x="1" y="296"/>
                </a:lnTo>
                <a:lnTo>
                  <a:pt x="4" y="278"/>
                </a:lnTo>
                <a:lnTo>
                  <a:pt x="6" y="262"/>
                </a:lnTo>
                <a:lnTo>
                  <a:pt x="9" y="246"/>
                </a:lnTo>
                <a:lnTo>
                  <a:pt x="14" y="231"/>
                </a:lnTo>
                <a:lnTo>
                  <a:pt x="25" y="200"/>
                </a:lnTo>
                <a:lnTo>
                  <a:pt x="39" y="172"/>
                </a:lnTo>
                <a:lnTo>
                  <a:pt x="56" y="145"/>
                </a:lnTo>
                <a:lnTo>
                  <a:pt x="75" y="120"/>
                </a:lnTo>
                <a:lnTo>
                  <a:pt x="95" y="97"/>
                </a:lnTo>
                <a:lnTo>
                  <a:pt x="119" y="76"/>
                </a:lnTo>
                <a:lnTo>
                  <a:pt x="145" y="57"/>
                </a:lnTo>
                <a:lnTo>
                  <a:pt x="172" y="39"/>
                </a:lnTo>
                <a:lnTo>
                  <a:pt x="200" y="26"/>
                </a:lnTo>
                <a:lnTo>
                  <a:pt x="231" y="15"/>
                </a:lnTo>
                <a:lnTo>
                  <a:pt x="245" y="11"/>
                </a:lnTo>
                <a:lnTo>
                  <a:pt x="262" y="7"/>
                </a:lnTo>
                <a:lnTo>
                  <a:pt x="278" y="4"/>
                </a:lnTo>
                <a:lnTo>
                  <a:pt x="294" y="2"/>
                </a:lnTo>
                <a:lnTo>
                  <a:pt x="311" y="0"/>
                </a:lnTo>
                <a:lnTo>
                  <a:pt x="327" y="0"/>
                </a:lnTo>
                <a:lnTo>
                  <a:pt x="327" y="0"/>
                </a:lnTo>
                <a:lnTo>
                  <a:pt x="345" y="0"/>
                </a:lnTo>
                <a:lnTo>
                  <a:pt x="361" y="2"/>
                </a:lnTo>
                <a:lnTo>
                  <a:pt x="378" y="4"/>
                </a:lnTo>
                <a:lnTo>
                  <a:pt x="395" y="7"/>
                </a:lnTo>
                <a:lnTo>
                  <a:pt x="411" y="11"/>
                </a:lnTo>
                <a:lnTo>
                  <a:pt x="425" y="15"/>
                </a:lnTo>
                <a:lnTo>
                  <a:pt x="456" y="26"/>
                </a:lnTo>
                <a:lnTo>
                  <a:pt x="485" y="39"/>
                </a:lnTo>
                <a:lnTo>
                  <a:pt x="511" y="57"/>
                </a:lnTo>
                <a:lnTo>
                  <a:pt x="537" y="76"/>
                </a:lnTo>
                <a:lnTo>
                  <a:pt x="560" y="97"/>
                </a:lnTo>
                <a:lnTo>
                  <a:pt x="581" y="120"/>
                </a:lnTo>
                <a:lnTo>
                  <a:pt x="600" y="145"/>
                </a:lnTo>
                <a:lnTo>
                  <a:pt x="618" y="172"/>
                </a:lnTo>
                <a:lnTo>
                  <a:pt x="631" y="200"/>
                </a:lnTo>
                <a:lnTo>
                  <a:pt x="642" y="231"/>
                </a:lnTo>
                <a:lnTo>
                  <a:pt x="647" y="246"/>
                </a:lnTo>
                <a:lnTo>
                  <a:pt x="650" y="262"/>
                </a:lnTo>
                <a:lnTo>
                  <a:pt x="652" y="278"/>
                </a:lnTo>
                <a:lnTo>
                  <a:pt x="655" y="296"/>
                </a:lnTo>
                <a:lnTo>
                  <a:pt x="657" y="312"/>
                </a:lnTo>
                <a:lnTo>
                  <a:pt x="657" y="329"/>
                </a:lnTo>
                <a:lnTo>
                  <a:pt x="657" y="329"/>
                </a:lnTo>
                <a:lnTo>
                  <a:pt x="657" y="346"/>
                </a:lnTo>
                <a:lnTo>
                  <a:pt x="655" y="363"/>
                </a:lnTo>
                <a:lnTo>
                  <a:pt x="652" y="379"/>
                </a:lnTo>
                <a:lnTo>
                  <a:pt x="650" y="395"/>
                </a:lnTo>
                <a:lnTo>
                  <a:pt x="647" y="411"/>
                </a:lnTo>
                <a:lnTo>
                  <a:pt x="642" y="426"/>
                </a:lnTo>
                <a:lnTo>
                  <a:pt x="631" y="457"/>
                </a:lnTo>
                <a:lnTo>
                  <a:pt x="618" y="485"/>
                </a:lnTo>
                <a:lnTo>
                  <a:pt x="600" y="512"/>
                </a:lnTo>
                <a:lnTo>
                  <a:pt x="581" y="538"/>
                </a:lnTo>
                <a:lnTo>
                  <a:pt x="560" y="562"/>
                </a:lnTo>
                <a:lnTo>
                  <a:pt x="537" y="582"/>
                </a:lnTo>
                <a:lnTo>
                  <a:pt x="511" y="601"/>
                </a:lnTo>
                <a:lnTo>
                  <a:pt x="485" y="618"/>
                </a:lnTo>
                <a:lnTo>
                  <a:pt x="456" y="632"/>
                </a:lnTo>
                <a:lnTo>
                  <a:pt x="425" y="642"/>
                </a:lnTo>
                <a:lnTo>
                  <a:pt x="411" y="648"/>
                </a:lnTo>
                <a:lnTo>
                  <a:pt x="395" y="650"/>
                </a:lnTo>
                <a:lnTo>
                  <a:pt x="378" y="654"/>
                </a:lnTo>
                <a:lnTo>
                  <a:pt x="361" y="656"/>
                </a:lnTo>
                <a:lnTo>
                  <a:pt x="345" y="657"/>
                </a:lnTo>
                <a:lnTo>
                  <a:pt x="327" y="657"/>
                </a:lnTo>
                <a:lnTo>
                  <a:pt x="327" y="657"/>
                </a:lnTo>
                <a:close/>
                <a:moveTo>
                  <a:pt x="327" y="38"/>
                </a:moveTo>
                <a:lnTo>
                  <a:pt x="327" y="38"/>
                </a:lnTo>
                <a:lnTo>
                  <a:pt x="298" y="39"/>
                </a:lnTo>
                <a:lnTo>
                  <a:pt x="270" y="43"/>
                </a:lnTo>
                <a:lnTo>
                  <a:pt x="241" y="51"/>
                </a:lnTo>
                <a:lnTo>
                  <a:pt x="215" y="61"/>
                </a:lnTo>
                <a:lnTo>
                  <a:pt x="189" y="73"/>
                </a:lnTo>
                <a:lnTo>
                  <a:pt x="165" y="88"/>
                </a:lnTo>
                <a:lnTo>
                  <a:pt x="143" y="104"/>
                </a:lnTo>
                <a:lnTo>
                  <a:pt x="122" y="123"/>
                </a:lnTo>
                <a:lnTo>
                  <a:pt x="103" y="144"/>
                </a:lnTo>
                <a:lnTo>
                  <a:pt x="87" y="166"/>
                </a:lnTo>
                <a:lnTo>
                  <a:pt x="72" y="190"/>
                </a:lnTo>
                <a:lnTo>
                  <a:pt x="60" y="215"/>
                </a:lnTo>
                <a:lnTo>
                  <a:pt x="49" y="242"/>
                </a:lnTo>
                <a:lnTo>
                  <a:pt x="43" y="270"/>
                </a:lnTo>
                <a:lnTo>
                  <a:pt x="39" y="299"/>
                </a:lnTo>
                <a:lnTo>
                  <a:pt x="37" y="329"/>
                </a:lnTo>
                <a:lnTo>
                  <a:pt x="37" y="329"/>
                </a:lnTo>
                <a:lnTo>
                  <a:pt x="39" y="359"/>
                </a:lnTo>
                <a:lnTo>
                  <a:pt x="43" y="387"/>
                </a:lnTo>
                <a:lnTo>
                  <a:pt x="49" y="415"/>
                </a:lnTo>
                <a:lnTo>
                  <a:pt x="60" y="442"/>
                </a:lnTo>
                <a:lnTo>
                  <a:pt x="72" y="468"/>
                </a:lnTo>
                <a:lnTo>
                  <a:pt x="87" y="492"/>
                </a:lnTo>
                <a:lnTo>
                  <a:pt x="103" y="513"/>
                </a:lnTo>
                <a:lnTo>
                  <a:pt x="122" y="535"/>
                </a:lnTo>
                <a:lnTo>
                  <a:pt x="143" y="554"/>
                </a:lnTo>
                <a:lnTo>
                  <a:pt x="165" y="570"/>
                </a:lnTo>
                <a:lnTo>
                  <a:pt x="189" y="585"/>
                </a:lnTo>
                <a:lnTo>
                  <a:pt x="215" y="597"/>
                </a:lnTo>
                <a:lnTo>
                  <a:pt x="241" y="607"/>
                </a:lnTo>
                <a:lnTo>
                  <a:pt x="270" y="614"/>
                </a:lnTo>
                <a:lnTo>
                  <a:pt x="298" y="618"/>
                </a:lnTo>
                <a:lnTo>
                  <a:pt x="327" y="620"/>
                </a:lnTo>
                <a:lnTo>
                  <a:pt x="327" y="620"/>
                </a:lnTo>
                <a:lnTo>
                  <a:pt x="358" y="618"/>
                </a:lnTo>
                <a:lnTo>
                  <a:pt x="387" y="614"/>
                </a:lnTo>
                <a:lnTo>
                  <a:pt x="415" y="607"/>
                </a:lnTo>
                <a:lnTo>
                  <a:pt x="442" y="597"/>
                </a:lnTo>
                <a:lnTo>
                  <a:pt x="467" y="585"/>
                </a:lnTo>
                <a:lnTo>
                  <a:pt x="491" y="570"/>
                </a:lnTo>
                <a:lnTo>
                  <a:pt x="513" y="554"/>
                </a:lnTo>
                <a:lnTo>
                  <a:pt x="534" y="535"/>
                </a:lnTo>
                <a:lnTo>
                  <a:pt x="553" y="513"/>
                </a:lnTo>
                <a:lnTo>
                  <a:pt x="569" y="492"/>
                </a:lnTo>
                <a:lnTo>
                  <a:pt x="584" y="468"/>
                </a:lnTo>
                <a:lnTo>
                  <a:pt x="596" y="442"/>
                </a:lnTo>
                <a:lnTo>
                  <a:pt x="605" y="415"/>
                </a:lnTo>
                <a:lnTo>
                  <a:pt x="614" y="387"/>
                </a:lnTo>
                <a:lnTo>
                  <a:pt x="618" y="359"/>
                </a:lnTo>
                <a:lnTo>
                  <a:pt x="619" y="329"/>
                </a:lnTo>
                <a:lnTo>
                  <a:pt x="619" y="329"/>
                </a:lnTo>
                <a:lnTo>
                  <a:pt x="618" y="299"/>
                </a:lnTo>
                <a:lnTo>
                  <a:pt x="614" y="270"/>
                </a:lnTo>
                <a:lnTo>
                  <a:pt x="605" y="242"/>
                </a:lnTo>
                <a:lnTo>
                  <a:pt x="596" y="215"/>
                </a:lnTo>
                <a:lnTo>
                  <a:pt x="584" y="190"/>
                </a:lnTo>
                <a:lnTo>
                  <a:pt x="569" y="166"/>
                </a:lnTo>
                <a:lnTo>
                  <a:pt x="553" y="144"/>
                </a:lnTo>
                <a:lnTo>
                  <a:pt x="534" y="123"/>
                </a:lnTo>
                <a:lnTo>
                  <a:pt x="513" y="104"/>
                </a:lnTo>
                <a:lnTo>
                  <a:pt x="491" y="88"/>
                </a:lnTo>
                <a:lnTo>
                  <a:pt x="467" y="73"/>
                </a:lnTo>
                <a:lnTo>
                  <a:pt x="442" y="61"/>
                </a:lnTo>
                <a:lnTo>
                  <a:pt x="415" y="51"/>
                </a:lnTo>
                <a:lnTo>
                  <a:pt x="387" y="43"/>
                </a:lnTo>
                <a:lnTo>
                  <a:pt x="358" y="39"/>
                </a:lnTo>
                <a:lnTo>
                  <a:pt x="327" y="38"/>
                </a:lnTo>
                <a:lnTo>
                  <a:pt x="327" y="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90" name="TextBox 289">
            <a:extLst>
              <a:ext uri="{FF2B5EF4-FFF2-40B4-BE49-F238E27FC236}">
                <a16:creationId xmlns:a16="http://schemas.microsoft.com/office/drawing/2014/main" id="{9440807D-41D8-4F8D-82A3-04DAE10B4C5D}"/>
              </a:ext>
            </a:extLst>
          </p:cNvPr>
          <p:cNvSpPr txBox="1"/>
          <p:nvPr/>
        </p:nvSpPr>
        <p:spPr>
          <a:xfrm>
            <a:off x="9084821" y="4365606"/>
            <a:ext cx="962412" cy="517018"/>
          </a:xfrm>
          <a:prstGeom prst="rect">
            <a:avLst/>
          </a:prstGeom>
          <a:ln>
            <a:noFill/>
          </a:ln>
        </p:spPr>
        <p:txBody>
          <a:bodyPr vert="horz" wrap="square" lIns="45720" tIns="31173" rIns="45720" bIns="31173" rtlCol="0" anchor="ct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Online add-on purchases</a:t>
            </a:r>
            <a:endParaRPr kumimoji="0" lang="en-US" sz="105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grpSp>
        <p:nvGrpSpPr>
          <p:cNvPr id="291" name="Group 290">
            <a:extLst>
              <a:ext uri="{FF2B5EF4-FFF2-40B4-BE49-F238E27FC236}">
                <a16:creationId xmlns:a16="http://schemas.microsoft.com/office/drawing/2014/main" id="{CC4E45A1-06B4-40AF-A1E0-ACF001927B34}"/>
              </a:ext>
            </a:extLst>
          </p:cNvPr>
          <p:cNvGrpSpPr>
            <a:grpSpLocks noChangeAspect="1"/>
          </p:cNvGrpSpPr>
          <p:nvPr/>
        </p:nvGrpSpPr>
        <p:grpSpPr>
          <a:xfrm>
            <a:off x="8766005" y="4448512"/>
            <a:ext cx="320040" cy="320040"/>
            <a:chOff x="6711951" y="5853113"/>
            <a:chExt cx="522288" cy="522288"/>
          </a:xfrm>
        </p:grpSpPr>
        <p:sp>
          <p:nvSpPr>
            <p:cNvPr id="292" name="Freeform 90">
              <a:extLst>
                <a:ext uri="{FF2B5EF4-FFF2-40B4-BE49-F238E27FC236}">
                  <a16:creationId xmlns:a16="http://schemas.microsoft.com/office/drawing/2014/main" id="{77D634A2-1D33-4621-BCAF-8292BA5EC625}"/>
                </a:ext>
              </a:extLst>
            </p:cNvPr>
            <p:cNvSpPr>
              <a:spLocks noEditPoints="1"/>
            </p:cNvSpPr>
            <p:nvPr/>
          </p:nvSpPr>
          <p:spPr bwMode="auto">
            <a:xfrm>
              <a:off x="6711951" y="5853113"/>
              <a:ext cx="522288" cy="522288"/>
            </a:xfrm>
            <a:custGeom>
              <a:avLst/>
              <a:gdLst>
                <a:gd name="T0" fmla="*/ 313 w 658"/>
                <a:gd name="T1" fmla="*/ 657 h 657"/>
                <a:gd name="T2" fmla="*/ 263 w 658"/>
                <a:gd name="T3" fmla="*/ 651 h 657"/>
                <a:gd name="T4" fmla="*/ 202 w 658"/>
                <a:gd name="T5" fmla="*/ 632 h 657"/>
                <a:gd name="T6" fmla="*/ 121 w 658"/>
                <a:gd name="T7" fmla="*/ 582 h 657"/>
                <a:gd name="T8" fmla="*/ 56 w 658"/>
                <a:gd name="T9" fmla="*/ 512 h 657"/>
                <a:gd name="T10" fmla="*/ 15 w 658"/>
                <a:gd name="T11" fmla="*/ 426 h 657"/>
                <a:gd name="T12" fmla="*/ 4 w 658"/>
                <a:gd name="T13" fmla="*/ 379 h 657"/>
                <a:gd name="T14" fmla="*/ 0 w 658"/>
                <a:gd name="T15" fmla="*/ 330 h 657"/>
                <a:gd name="T16" fmla="*/ 3 w 658"/>
                <a:gd name="T17" fmla="*/ 296 h 657"/>
                <a:gd name="T18" fmla="*/ 11 w 658"/>
                <a:gd name="T19" fmla="*/ 246 h 657"/>
                <a:gd name="T20" fmla="*/ 40 w 658"/>
                <a:gd name="T21" fmla="*/ 172 h 657"/>
                <a:gd name="T22" fmla="*/ 97 w 658"/>
                <a:gd name="T23" fmla="*/ 97 h 657"/>
                <a:gd name="T24" fmla="*/ 173 w 658"/>
                <a:gd name="T25" fmla="*/ 39 h 657"/>
                <a:gd name="T26" fmla="*/ 247 w 658"/>
                <a:gd name="T27" fmla="*/ 11 h 657"/>
                <a:gd name="T28" fmla="*/ 296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3 w 658"/>
                <a:gd name="T41" fmla="*/ 201 h 657"/>
                <a:gd name="T42" fmla="*/ 651 w 658"/>
                <a:gd name="T43" fmla="*/ 262 h 657"/>
                <a:gd name="T44" fmla="*/ 658 w 658"/>
                <a:gd name="T45" fmla="*/ 312 h 657"/>
                <a:gd name="T46" fmla="*/ 658 w 658"/>
                <a:gd name="T47" fmla="*/ 346 h 657"/>
                <a:gd name="T48" fmla="*/ 651 w 658"/>
                <a:gd name="T49" fmla="*/ 395 h 657"/>
                <a:gd name="T50" fmla="*/ 633 w 658"/>
                <a:gd name="T51" fmla="*/ 457 h 657"/>
                <a:gd name="T52" fmla="*/ 583 w 658"/>
                <a:gd name="T53" fmla="*/ 538 h 657"/>
                <a:gd name="T54" fmla="*/ 513 w 658"/>
                <a:gd name="T55" fmla="*/ 601 h 657"/>
                <a:gd name="T56" fmla="*/ 427 w 658"/>
                <a:gd name="T57" fmla="*/ 643 h 657"/>
                <a:gd name="T58" fmla="*/ 379 w 658"/>
                <a:gd name="T59" fmla="*/ 655 h 657"/>
                <a:gd name="T60" fmla="*/ 329 w 658"/>
                <a:gd name="T61" fmla="*/ 657 h 657"/>
                <a:gd name="T62" fmla="*/ 329 w 658"/>
                <a:gd name="T63" fmla="*/ 38 h 657"/>
                <a:gd name="T64" fmla="*/ 243 w 658"/>
                <a:gd name="T65" fmla="*/ 52 h 657"/>
                <a:gd name="T66" fmla="*/ 167 w 658"/>
                <a:gd name="T67" fmla="*/ 88 h 657"/>
                <a:gd name="T68" fmla="*/ 105 w 658"/>
                <a:gd name="T69" fmla="*/ 144 h 657"/>
                <a:gd name="T70" fmla="*/ 62 w 658"/>
                <a:gd name="T71" fmla="*/ 215 h 657"/>
                <a:gd name="T72" fmla="*/ 40 w 658"/>
                <a:gd name="T73" fmla="*/ 299 h 657"/>
                <a:gd name="T74" fmla="*/ 40 w 658"/>
                <a:gd name="T75" fmla="*/ 359 h 657"/>
                <a:gd name="T76" fmla="*/ 62 w 658"/>
                <a:gd name="T77" fmla="*/ 442 h 657"/>
                <a:gd name="T78" fmla="*/ 105 w 658"/>
                <a:gd name="T79" fmla="*/ 514 h 657"/>
                <a:gd name="T80" fmla="*/ 167 w 658"/>
                <a:gd name="T81" fmla="*/ 570 h 657"/>
                <a:gd name="T82" fmla="*/ 243 w 658"/>
                <a:gd name="T83" fmla="*/ 608 h 657"/>
                <a:gd name="T84" fmla="*/ 329 w 658"/>
                <a:gd name="T85" fmla="*/ 620 h 657"/>
                <a:gd name="T86" fmla="*/ 388 w 658"/>
                <a:gd name="T87" fmla="*/ 614 h 657"/>
                <a:gd name="T88" fmla="*/ 467 w 658"/>
                <a:gd name="T89" fmla="*/ 585 h 657"/>
                <a:gd name="T90" fmla="*/ 535 w 658"/>
                <a:gd name="T91" fmla="*/ 535 h 657"/>
                <a:gd name="T92" fmla="*/ 586 w 658"/>
                <a:gd name="T93" fmla="*/ 468 h 657"/>
                <a:gd name="T94" fmla="*/ 615 w 658"/>
                <a:gd name="T95" fmla="*/ 387 h 657"/>
                <a:gd name="T96" fmla="*/ 621 w 658"/>
                <a:gd name="T97" fmla="*/ 330 h 657"/>
                <a:gd name="T98" fmla="*/ 607 w 658"/>
                <a:gd name="T99" fmla="*/ 242 h 657"/>
                <a:gd name="T100" fmla="*/ 571 w 658"/>
                <a:gd name="T101" fmla="*/ 166 h 657"/>
                <a:gd name="T102" fmla="*/ 514 w 658"/>
                <a:gd name="T103" fmla="*/ 104 h 657"/>
                <a:gd name="T104" fmla="*/ 443 w 658"/>
                <a:gd name="T105" fmla="*/ 61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6"/>
                  </a:lnTo>
                  <a:lnTo>
                    <a:pt x="279" y="655"/>
                  </a:lnTo>
                  <a:lnTo>
                    <a:pt x="263" y="651"/>
                  </a:lnTo>
                  <a:lnTo>
                    <a:pt x="247" y="648"/>
                  </a:lnTo>
                  <a:lnTo>
                    <a:pt x="232" y="643"/>
                  </a:lnTo>
                  <a:lnTo>
                    <a:pt x="202" y="632"/>
                  </a:lnTo>
                  <a:lnTo>
                    <a:pt x="173" y="618"/>
                  </a:lnTo>
                  <a:lnTo>
                    <a:pt x="145" y="601"/>
                  </a:lnTo>
                  <a:lnTo>
                    <a:pt x="121" y="582"/>
                  </a:lnTo>
                  <a:lnTo>
                    <a:pt x="97" y="562"/>
                  </a:lnTo>
                  <a:lnTo>
                    <a:pt x="75" y="538"/>
                  </a:lnTo>
                  <a:lnTo>
                    <a:pt x="56" y="512"/>
                  </a:lnTo>
                  <a:lnTo>
                    <a:pt x="40" y="485"/>
                  </a:lnTo>
                  <a:lnTo>
                    <a:pt x="27" y="457"/>
                  </a:lnTo>
                  <a:lnTo>
                    <a:pt x="15" y="426"/>
                  </a:lnTo>
                  <a:lnTo>
                    <a:pt x="11" y="411"/>
                  </a:lnTo>
                  <a:lnTo>
                    <a:pt x="7" y="395"/>
                  </a:lnTo>
                  <a:lnTo>
                    <a:pt x="4" y="379"/>
                  </a:lnTo>
                  <a:lnTo>
                    <a:pt x="3" y="363"/>
                  </a:lnTo>
                  <a:lnTo>
                    <a:pt x="1" y="346"/>
                  </a:lnTo>
                  <a:lnTo>
                    <a:pt x="0" y="330"/>
                  </a:lnTo>
                  <a:lnTo>
                    <a:pt x="0" y="330"/>
                  </a:lnTo>
                  <a:lnTo>
                    <a:pt x="1" y="312"/>
                  </a:lnTo>
                  <a:lnTo>
                    <a:pt x="3" y="296"/>
                  </a:lnTo>
                  <a:lnTo>
                    <a:pt x="4" y="279"/>
                  </a:lnTo>
                  <a:lnTo>
                    <a:pt x="7" y="262"/>
                  </a:lnTo>
                  <a:lnTo>
                    <a:pt x="11" y="246"/>
                  </a:lnTo>
                  <a:lnTo>
                    <a:pt x="15" y="231"/>
                  </a:lnTo>
                  <a:lnTo>
                    <a:pt x="27" y="201"/>
                  </a:lnTo>
                  <a:lnTo>
                    <a:pt x="40" y="172"/>
                  </a:lnTo>
                  <a:lnTo>
                    <a:pt x="56" y="146"/>
                  </a:lnTo>
                  <a:lnTo>
                    <a:pt x="75" y="120"/>
                  </a:lnTo>
                  <a:lnTo>
                    <a:pt x="97" y="97"/>
                  </a:lnTo>
                  <a:lnTo>
                    <a:pt x="121" y="76"/>
                  </a:lnTo>
                  <a:lnTo>
                    <a:pt x="145" y="57"/>
                  </a:lnTo>
                  <a:lnTo>
                    <a:pt x="173" y="39"/>
                  </a:lnTo>
                  <a:lnTo>
                    <a:pt x="202" y="26"/>
                  </a:lnTo>
                  <a:lnTo>
                    <a:pt x="232" y="15"/>
                  </a:lnTo>
                  <a:lnTo>
                    <a:pt x="247" y="11"/>
                  </a:lnTo>
                  <a:lnTo>
                    <a:pt x="263" y="7"/>
                  </a:lnTo>
                  <a:lnTo>
                    <a:pt x="279" y="4"/>
                  </a:lnTo>
                  <a:lnTo>
                    <a:pt x="296" y="2"/>
                  </a:lnTo>
                  <a:lnTo>
                    <a:pt x="313" y="0"/>
                  </a:lnTo>
                  <a:lnTo>
                    <a:pt x="329" y="0"/>
                  </a:lnTo>
                  <a:lnTo>
                    <a:pt x="329" y="0"/>
                  </a:lnTo>
                  <a:lnTo>
                    <a:pt x="347" y="0"/>
                  </a:lnTo>
                  <a:lnTo>
                    <a:pt x="363" y="2"/>
                  </a:lnTo>
                  <a:lnTo>
                    <a:pt x="379" y="4"/>
                  </a:lnTo>
                  <a:lnTo>
                    <a:pt x="396" y="7"/>
                  </a:lnTo>
                  <a:lnTo>
                    <a:pt x="411" y="11"/>
                  </a:lnTo>
                  <a:lnTo>
                    <a:pt x="427" y="15"/>
                  </a:lnTo>
                  <a:lnTo>
                    <a:pt x="457" y="26"/>
                  </a:lnTo>
                  <a:lnTo>
                    <a:pt x="486" y="39"/>
                  </a:lnTo>
                  <a:lnTo>
                    <a:pt x="513" y="57"/>
                  </a:lnTo>
                  <a:lnTo>
                    <a:pt x="539" y="76"/>
                  </a:lnTo>
                  <a:lnTo>
                    <a:pt x="561" y="97"/>
                  </a:lnTo>
                  <a:lnTo>
                    <a:pt x="583" y="120"/>
                  </a:lnTo>
                  <a:lnTo>
                    <a:pt x="602" y="146"/>
                  </a:lnTo>
                  <a:lnTo>
                    <a:pt x="618" y="172"/>
                  </a:lnTo>
                  <a:lnTo>
                    <a:pt x="633" y="201"/>
                  </a:lnTo>
                  <a:lnTo>
                    <a:pt x="643" y="231"/>
                  </a:lnTo>
                  <a:lnTo>
                    <a:pt x="647" y="246"/>
                  </a:lnTo>
                  <a:lnTo>
                    <a:pt x="651" y="262"/>
                  </a:lnTo>
                  <a:lnTo>
                    <a:pt x="654" y="279"/>
                  </a:lnTo>
                  <a:lnTo>
                    <a:pt x="657" y="296"/>
                  </a:lnTo>
                  <a:lnTo>
                    <a:pt x="658" y="312"/>
                  </a:lnTo>
                  <a:lnTo>
                    <a:pt x="658" y="330"/>
                  </a:lnTo>
                  <a:lnTo>
                    <a:pt x="658" y="330"/>
                  </a:lnTo>
                  <a:lnTo>
                    <a:pt x="658" y="346"/>
                  </a:lnTo>
                  <a:lnTo>
                    <a:pt x="657" y="363"/>
                  </a:lnTo>
                  <a:lnTo>
                    <a:pt x="654" y="379"/>
                  </a:lnTo>
                  <a:lnTo>
                    <a:pt x="651" y="395"/>
                  </a:lnTo>
                  <a:lnTo>
                    <a:pt x="647" y="411"/>
                  </a:lnTo>
                  <a:lnTo>
                    <a:pt x="643" y="426"/>
                  </a:lnTo>
                  <a:lnTo>
                    <a:pt x="633" y="457"/>
                  </a:lnTo>
                  <a:lnTo>
                    <a:pt x="618" y="485"/>
                  </a:lnTo>
                  <a:lnTo>
                    <a:pt x="602" y="512"/>
                  </a:lnTo>
                  <a:lnTo>
                    <a:pt x="583" y="538"/>
                  </a:lnTo>
                  <a:lnTo>
                    <a:pt x="561" y="562"/>
                  </a:lnTo>
                  <a:lnTo>
                    <a:pt x="539" y="582"/>
                  </a:lnTo>
                  <a:lnTo>
                    <a:pt x="513" y="601"/>
                  </a:lnTo>
                  <a:lnTo>
                    <a:pt x="486" y="618"/>
                  </a:lnTo>
                  <a:lnTo>
                    <a:pt x="457" y="632"/>
                  </a:lnTo>
                  <a:lnTo>
                    <a:pt x="427" y="643"/>
                  </a:lnTo>
                  <a:lnTo>
                    <a:pt x="411" y="648"/>
                  </a:lnTo>
                  <a:lnTo>
                    <a:pt x="396" y="651"/>
                  </a:lnTo>
                  <a:lnTo>
                    <a:pt x="379" y="655"/>
                  </a:lnTo>
                  <a:lnTo>
                    <a:pt x="363" y="656"/>
                  </a:lnTo>
                  <a:lnTo>
                    <a:pt x="347" y="657"/>
                  </a:lnTo>
                  <a:lnTo>
                    <a:pt x="329" y="657"/>
                  </a:lnTo>
                  <a:lnTo>
                    <a:pt x="329" y="657"/>
                  </a:lnTo>
                  <a:close/>
                  <a:moveTo>
                    <a:pt x="329" y="38"/>
                  </a:moveTo>
                  <a:lnTo>
                    <a:pt x="329" y="38"/>
                  </a:lnTo>
                  <a:lnTo>
                    <a:pt x="300" y="39"/>
                  </a:lnTo>
                  <a:lnTo>
                    <a:pt x="271" y="43"/>
                  </a:lnTo>
                  <a:lnTo>
                    <a:pt x="243" y="52"/>
                  </a:lnTo>
                  <a:lnTo>
                    <a:pt x="216" y="61"/>
                  </a:lnTo>
                  <a:lnTo>
                    <a:pt x="191" y="73"/>
                  </a:lnTo>
                  <a:lnTo>
                    <a:pt x="167" y="88"/>
                  </a:lnTo>
                  <a:lnTo>
                    <a:pt x="144" y="104"/>
                  </a:lnTo>
                  <a:lnTo>
                    <a:pt x="124" y="123"/>
                  </a:lnTo>
                  <a:lnTo>
                    <a:pt x="105" y="144"/>
                  </a:lnTo>
                  <a:lnTo>
                    <a:pt x="89" y="166"/>
                  </a:lnTo>
                  <a:lnTo>
                    <a:pt x="74" y="190"/>
                  </a:lnTo>
                  <a:lnTo>
                    <a:pt x="62" y="215"/>
                  </a:lnTo>
                  <a:lnTo>
                    <a:pt x="51" y="242"/>
                  </a:lnTo>
                  <a:lnTo>
                    <a:pt x="44" y="270"/>
                  </a:lnTo>
                  <a:lnTo>
                    <a:pt x="40" y="299"/>
                  </a:lnTo>
                  <a:lnTo>
                    <a:pt x="38" y="330"/>
                  </a:lnTo>
                  <a:lnTo>
                    <a:pt x="38" y="330"/>
                  </a:lnTo>
                  <a:lnTo>
                    <a:pt x="40" y="359"/>
                  </a:lnTo>
                  <a:lnTo>
                    <a:pt x="44" y="387"/>
                  </a:lnTo>
                  <a:lnTo>
                    <a:pt x="51" y="416"/>
                  </a:lnTo>
                  <a:lnTo>
                    <a:pt x="62" y="442"/>
                  </a:lnTo>
                  <a:lnTo>
                    <a:pt x="74" y="468"/>
                  </a:lnTo>
                  <a:lnTo>
                    <a:pt x="89" y="492"/>
                  </a:lnTo>
                  <a:lnTo>
                    <a:pt x="105" y="514"/>
                  </a:lnTo>
                  <a:lnTo>
                    <a:pt x="124" y="535"/>
                  </a:lnTo>
                  <a:lnTo>
                    <a:pt x="144" y="554"/>
                  </a:lnTo>
                  <a:lnTo>
                    <a:pt x="167" y="570"/>
                  </a:lnTo>
                  <a:lnTo>
                    <a:pt x="191" y="585"/>
                  </a:lnTo>
                  <a:lnTo>
                    <a:pt x="216" y="597"/>
                  </a:lnTo>
                  <a:lnTo>
                    <a:pt x="243" y="608"/>
                  </a:lnTo>
                  <a:lnTo>
                    <a:pt x="271" y="614"/>
                  </a:lnTo>
                  <a:lnTo>
                    <a:pt x="300" y="618"/>
                  </a:lnTo>
                  <a:lnTo>
                    <a:pt x="329" y="620"/>
                  </a:lnTo>
                  <a:lnTo>
                    <a:pt x="329" y="620"/>
                  </a:lnTo>
                  <a:lnTo>
                    <a:pt x="359" y="618"/>
                  </a:lnTo>
                  <a:lnTo>
                    <a:pt x="388" y="614"/>
                  </a:lnTo>
                  <a:lnTo>
                    <a:pt x="416" y="608"/>
                  </a:lnTo>
                  <a:lnTo>
                    <a:pt x="443" y="597"/>
                  </a:lnTo>
                  <a:lnTo>
                    <a:pt x="467" y="585"/>
                  </a:lnTo>
                  <a:lnTo>
                    <a:pt x="492" y="570"/>
                  </a:lnTo>
                  <a:lnTo>
                    <a:pt x="514" y="554"/>
                  </a:lnTo>
                  <a:lnTo>
                    <a:pt x="535" y="535"/>
                  </a:lnTo>
                  <a:lnTo>
                    <a:pt x="553" y="514"/>
                  </a:lnTo>
                  <a:lnTo>
                    <a:pt x="571" y="492"/>
                  </a:lnTo>
                  <a:lnTo>
                    <a:pt x="586" y="468"/>
                  </a:lnTo>
                  <a:lnTo>
                    <a:pt x="598" y="442"/>
                  </a:lnTo>
                  <a:lnTo>
                    <a:pt x="607" y="416"/>
                  </a:lnTo>
                  <a:lnTo>
                    <a:pt x="615" y="387"/>
                  </a:lnTo>
                  <a:lnTo>
                    <a:pt x="619" y="359"/>
                  </a:lnTo>
                  <a:lnTo>
                    <a:pt x="621" y="330"/>
                  </a:lnTo>
                  <a:lnTo>
                    <a:pt x="621" y="330"/>
                  </a:lnTo>
                  <a:lnTo>
                    <a:pt x="619" y="299"/>
                  </a:lnTo>
                  <a:lnTo>
                    <a:pt x="615" y="270"/>
                  </a:lnTo>
                  <a:lnTo>
                    <a:pt x="607" y="242"/>
                  </a:lnTo>
                  <a:lnTo>
                    <a:pt x="598" y="215"/>
                  </a:lnTo>
                  <a:lnTo>
                    <a:pt x="586" y="190"/>
                  </a:lnTo>
                  <a:lnTo>
                    <a:pt x="571" y="166"/>
                  </a:lnTo>
                  <a:lnTo>
                    <a:pt x="553" y="144"/>
                  </a:lnTo>
                  <a:lnTo>
                    <a:pt x="535" y="123"/>
                  </a:lnTo>
                  <a:lnTo>
                    <a:pt x="514" y="104"/>
                  </a:lnTo>
                  <a:lnTo>
                    <a:pt x="492" y="88"/>
                  </a:lnTo>
                  <a:lnTo>
                    <a:pt x="467" y="73"/>
                  </a:lnTo>
                  <a:lnTo>
                    <a:pt x="443" y="61"/>
                  </a:lnTo>
                  <a:lnTo>
                    <a:pt x="416" y="52"/>
                  </a:lnTo>
                  <a:lnTo>
                    <a:pt x="388" y="43"/>
                  </a:lnTo>
                  <a:lnTo>
                    <a:pt x="359" y="39"/>
                  </a:lnTo>
                  <a:lnTo>
                    <a:pt x="329" y="38"/>
                  </a:lnTo>
                  <a:lnTo>
                    <a:pt x="329" y="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93" name="Freeform 332">
              <a:extLst>
                <a:ext uri="{FF2B5EF4-FFF2-40B4-BE49-F238E27FC236}">
                  <a16:creationId xmlns:a16="http://schemas.microsoft.com/office/drawing/2014/main" id="{D57DA3B2-BF17-47B0-A266-3651630019E5}"/>
                </a:ext>
              </a:extLst>
            </p:cNvPr>
            <p:cNvSpPr>
              <a:spLocks/>
            </p:cNvSpPr>
            <p:nvPr/>
          </p:nvSpPr>
          <p:spPr bwMode="auto">
            <a:xfrm>
              <a:off x="7035801" y="6089650"/>
              <a:ext cx="28575" cy="28575"/>
            </a:xfrm>
            <a:custGeom>
              <a:avLst/>
              <a:gdLst>
                <a:gd name="T0" fmla="*/ 29 w 36"/>
                <a:gd name="T1" fmla="*/ 24 h 36"/>
                <a:gd name="T2" fmla="*/ 12 w 36"/>
                <a:gd name="T3" fmla="*/ 24 h 36"/>
                <a:gd name="T4" fmla="*/ 12 w 36"/>
                <a:gd name="T5" fmla="*/ 5 h 36"/>
                <a:gd name="T6" fmla="*/ 12 w 36"/>
                <a:gd name="T7" fmla="*/ 5 h 36"/>
                <a:gd name="T8" fmla="*/ 10 w 36"/>
                <a:gd name="T9" fmla="*/ 2 h 36"/>
                <a:gd name="T10" fmla="*/ 9 w 36"/>
                <a:gd name="T11" fmla="*/ 1 h 36"/>
                <a:gd name="T12" fmla="*/ 8 w 36"/>
                <a:gd name="T13" fmla="*/ 0 h 36"/>
                <a:gd name="T14" fmla="*/ 5 w 36"/>
                <a:gd name="T15" fmla="*/ 0 h 36"/>
                <a:gd name="T16" fmla="*/ 5 w 36"/>
                <a:gd name="T17" fmla="*/ 0 h 36"/>
                <a:gd name="T18" fmla="*/ 2 w 36"/>
                <a:gd name="T19" fmla="*/ 0 h 36"/>
                <a:gd name="T20" fmla="*/ 1 w 36"/>
                <a:gd name="T21" fmla="*/ 1 h 36"/>
                <a:gd name="T22" fmla="*/ 0 w 36"/>
                <a:gd name="T23" fmla="*/ 2 h 36"/>
                <a:gd name="T24" fmla="*/ 0 w 36"/>
                <a:gd name="T25" fmla="*/ 5 h 36"/>
                <a:gd name="T26" fmla="*/ 0 w 36"/>
                <a:gd name="T27" fmla="*/ 31 h 36"/>
                <a:gd name="T28" fmla="*/ 0 w 36"/>
                <a:gd name="T29" fmla="*/ 31 h 36"/>
                <a:gd name="T30" fmla="*/ 0 w 36"/>
                <a:gd name="T31" fmla="*/ 32 h 36"/>
                <a:gd name="T32" fmla="*/ 1 w 36"/>
                <a:gd name="T33" fmla="*/ 35 h 36"/>
                <a:gd name="T34" fmla="*/ 2 w 36"/>
                <a:gd name="T35" fmla="*/ 36 h 36"/>
                <a:gd name="T36" fmla="*/ 5 w 36"/>
                <a:gd name="T37" fmla="*/ 36 h 36"/>
                <a:gd name="T38" fmla="*/ 29 w 36"/>
                <a:gd name="T39" fmla="*/ 36 h 36"/>
                <a:gd name="T40" fmla="*/ 29 w 36"/>
                <a:gd name="T41" fmla="*/ 36 h 36"/>
                <a:gd name="T42" fmla="*/ 32 w 36"/>
                <a:gd name="T43" fmla="*/ 36 h 36"/>
                <a:gd name="T44" fmla="*/ 35 w 36"/>
                <a:gd name="T45" fmla="*/ 35 h 36"/>
                <a:gd name="T46" fmla="*/ 36 w 36"/>
                <a:gd name="T47" fmla="*/ 32 h 36"/>
                <a:gd name="T48" fmla="*/ 36 w 36"/>
                <a:gd name="T49" fmla="*/ 31 h 36"/>
                <a:gd name="T50" fmla="*/ 36 w 36"/>
                <a:gd name="T51" fmla="*/ 31 h 36"/>
                <a:gd name="T52" fmla="*/ 36 w 36"/>
                <a:gd name="T53" fmla="*/ 28 h 36"/>
                <a:gd name="T54" fmla="*/ 35 w 36"/>
                <a:gd name="T55" fmla="*/ 25 h 36"/>
                <a:gd name="T56" fmla="*/ 32 w 36"/>
                <a:gd name="T57" fmla="*/ 24 h 36"/>
                <a:gd name="T58" fmla="*/ 29 w 36"/>
                <a:gd name="T59" fmla="*/ 24 h 36"/>
                <a:gd name="T60" fmla="*/ 29 w 36"/>
                <a:gd name="T61"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6" h="36">
                  <a:moveTo>
                    <a:pt x="29" y="24"/>
                  </a:moveTo>
                  <a:lnTo>
                    <a:pt x="12" y="24"/>
                  </a:lnTo>
                  <a:lnTo>
                    <a:pt x="12" y="5"/>
                  </a:lnTo>
                  <a:lnTo>
                    <a:pt x="12" y="5"/>
                  </a:lnTo>
                  <a:lnTo>
                    <a:pt x="10" y="2"/>
                  </a:lnTo>
                  <a:lnTo>
                    <a:pt x="9" y="1"/>
                  </a:lnTo>
                  <a:lnTo>
                    <a:pt x="8" y="0"/>
                  </a:lnTo>
                  <a:lnTo>
                    <a:pt x="5" y="0"/>
                  </a:lnTo>
                  <a:lnTo>
                    <a:pt x="5" y="0"/>
                  </a:lnTo>
                  <a:lnTo>
                    <a:pt x="2" y="0"/>
                  </a:lnTo>
                  <a:lnTo>
                    <a:pt x="1" y="1"/>
                  </a:lnTo>
                  <a:lnTo>
                    <a:pt x="0" y="2"/>
                  </a:lnTo>
                  <a:lnTo>
                    <a:pt x="0" y="5"/>
                  </a:lnTo>
                  <a:lnTo>
                    <a:pt x="0" y="31"/>
                  </a:lnTo>
                  <a:lnTo>
                    <a:pt x="0" y="31"/>
                  </a:lnTo>
                  <a:lnTo>
                    <a:pt x="0" y="32"/>
                  </a:lnTo>
                  <a:lnTo>
                    <a:pt x="1" y="35"/>
                  </a:lnTo>
                  <a:lnTo>
                    <a:pt x="2" y="36"/>
                  </a:lnTo>
                  <a:lnTo>
                    <a:pt x="5" y="36"/>
                  </a:lnTo>
                  <a:lnTo>
                    <a:pt x="29" y="36"/>
                  </a:lnTo>
                  <a:lnTo>
                    <a:pt x="29" y="36"/>
                  </a:lnTo>
                  <a:lnTo>
                    <a:pt x="32" y="36"/>
                  </a:lnTo>
                  <a:lnTo>
                    <a:pt x="35" y="35"/>
                  </a:lnTo>
                  <a:lnTo>
                    <a:pt x="36" y="32"/>
                  </a:lnTo>
                  <a:lnTo>
                    <a:pt x="36" y="31"/>
                  </a:lnTo>
                  <a:lnTo>
                    <a:pt x="36" y="31"/>
                  </a:lnTo>
                  <a:lnTo>
                    <a:pt x="36" y="28"/>
                  </a:lnTo>
                  <a:lnTo>
                    <a:pt x="35" y="25"/>
                  </a:lnTo>
                  <a:lnTo>
                    <a:pt x="32" y="24"/>
                  </a:lnTo>
                  <a:lnTo>
                    <a:pt x="29" y="24"/>
                  </a:lnTo>
                  <a:lnTo>
                    <a:pt x="29"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94" name="Group 293">
            <a:extLst>
              <a:ext uri="{FF2B5EF4-FFF2-40B4-BE49-F238E27FC236}">
                <a16:creationId xmlns:a16="http://schemas.microsoft.com/office/drawing/2014/main" id="{A7A142F6-64C0-483B-9D54-AF9A082ED391}"/>
              </a:ext>
            </a:extLst>
          </p:cNvPr>
          <p:cNvGrpSpPr/>
          <p:nvPr/>
        </p:nvGrpSpPr>
        <p:grpSpPr>
          <a:xfrm>
            <a:off x="5415592" y="2101798"/>
            <a:ext cx="198309" cy="186215"/>
            <a:chOff x="3530600" y="4405313"/>
            <a:chExt cx="688975" cy="731837"/>
          </a:xfrm>
        </p:grpSpPr>
        <p:sp>
          <p:nvSpPr>
            <p:cNvPr id="295" name="Freeform 124">
              <a:extLst>
                <a:ext uri="{FF2B5EF4-FFF2-40B4-BE49-F238E27FC236}">
                  <a16:creationId xmlns:a16="http://schemas.microsoft.com/office/drawing/2014/main" id="{1025F8B8-C489-468D-BABB-7D4E557C2E79}"/>
                </a:ext>
              </a:extLst>
            </p:cNvPr>
            <p:cNvSpPr>
              <a:spLocks noEditPoints="1"/>
            </p:cNvSpPr>
            <p:nvPr/>
          </p:nvSpPr>
          <p:spPr bwMode="auto">
            <a:xfrm>
              <a:off x="3530600" y="4405313"/>
              <a:ext cx="427038" cy="731837"/>
            </a:xfrm>
            <a:custGeom>
              <a:avLst/>
              <a:gdLst>
                <a:gd name="T0" fmla="*/ 116 w 142"/>
                <a:gd name="T1" fmla="*/ 0 h 243"/>
                <a:gd name="T2" fmla="*/ 25 w 142"/>
                <a:gd name="T3" fmla="*/ 0 h 243"/>
                <a:gd name="T4" fmla="*/ 0 w 142"/>
                <a:gd name="T5" fmla="*/ 25 h 243"/>
                <a:gd name="T6" fmla="*/ 0 w 142"/>
                <a:gd name="T7" fmla="*/ 33 h 243"/>
                <a:gd name="T8" fmla="*/ 0 w 142"/>
                <a:gd name="T9" fmla="*/ 197 h 243"/>
                <a:gd name="T10" fmla="*/ 0 w 142"/>
                <a:gd name="T11" fmla="*/ 218 h 243"/>
                <a:gd name="T12" fmla="*/ 25 w 142"/>
                <a:gd name="T13" fmla="*/ 243 h 243"/>
                <a:gd name="T14" fmla="*/ 116 w 142"/>
                <a:gd name="T15" fmla="*/ 243 h 243"/>
                <a:gd name="T16" fmla="*/ 142 w 142"/>
                <a:gd name="T17" fmla="*/ 218 h 243"/>
                <a:gd name="T18" fmla="*/ 142 w 142"/>
                <a:gd name="T19" fmla="*/ 197 h 243"/>
                <a:gd name="T20" fmla="*/ 142 w 142"/>
                <a:gd name="T21" fmla="*/ 33 h 243"/>
                <a:gd name="T22" fmla="*/ 142 w 142"/>
                <a:gd name="T23" fmla="*/ 25 h 243"/>
                <a:gd name="T24" fmla="*/ 116 w 142"/>
                <a:gd name="T25" fmla="*/ 0 h 243"/>
                <a:gd name="T26" fmla="*/ 132 w 142"/>
                <a:gd name="T27" fmla="*/ 218 h 243"/>
                <a:gd name="T28" fmla="*/ 116 w 142"/>
                <a:gd name="T29" fmla="*/ 234 h 243"/>
                <a:gd name="T30" fmla="*/ 25 w 142"/>
                <a:gd name="T31" fmla="*/ 234 h 243"/>
                <a:gd name="T32" fmla="*/ 10 w 142"/>
                <a:gd name="T33" fmla="*/ 218 h 243"/>
                <a:gd name="T34" fmla="*/ 10 w 142"/>
                <a:gd name="T35" fmla="*/ 197 h 243"/>
                <a:gd name="T36" fmla="*/ 132 w 142"/>
                <a:gd name="T37" fmla="*/ 197 h 243"/>
                <a:gd name="T38" fmla="*/ 132 w 142"/>
                <a:gd name="T39" fmla="*/ 218 h 243"/>
                <a:gd name="T40" fmla="*/ 132 w 142"/>
                <a:gd name="T41" fmla="*/ 187 h 243"/>
                <a:gd name="T42" fmla="*/ 10 w 142"/>
                <a:gd name="T43" fmla="*/ 187 h 243"/>
                <a:gd name="T44" fmla="*/ 10 w 142"/>
                <a:gd name="T45" fmla="*/ 43 h 243"/>
                <a:gd name="T46" fmla="*/ 132 w 142"/>
                <a:gd name="T47" fmla="*/ 43 h 243"/>
                <a:gd name="T48" fmla="*/ 132 w 142"/>
                <a:gd name="T49" fmla="*/ 187 h 243"/>
                <a:gd name="T50" fmla="*/ 132 w 142"/>
                <a:gd name="T51" fmla="*/ 33 h 243"/>
                <a:gd name="T52" fmla="*/ 10 w 142"/>
                <a:gd name="T53" fmla="*/ 33 h 243"/>
                <a:gd name="T54" fmla="*/ 10 w 142"/>
                <a:gd name="T55" fmla="*/ 25 h 243"/>
                <a:gd name="T56" fmla="*/ 25 w 142"/>
                <a:gd name="T57" fmla="*/ 10 h 243"/>
                <a:gd name="T58" fmla="*/ 116 w 142"/>
                <a:gd name="T59" fmla="*/ 10 h 243"/>
                <a:gd name="T60" fmla="*/ 132 w 142"/>
                <a:gd name="T61" fmla="*/ 25 h 243"/>
                <a:gd name="T62" fmla="*/ 132 w 142"/>
                <a:gd name="T63" fmla="*/ 3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 h="243">
                  <a:moveTo>
                    <a:pt x="116" y="0"/>
                  </a:moveTo>
                  <a:cubicBezTo>
                    <a:pt x="25" y="0"/>
                    <a:pt x="25" y="0"/>
                    <a:pt x="25" y="0"/>
                  </a:cubicBezTo>
                  <a:cubicBezTo>
                    <a:pt x="11" y="0"/>
                    <a:pt x="0" y="11"/>
                    <a:pt x="0" y="25"/>
                  </a:cubicBezTo>
                  <a:cubicBezTo>
                    <a:pt x="0" y="33"/>
                    <a:pt x="0" y="33"/>
                    <a:pt x="0" y="33"/>
                  </a:cubicBezTo>
                  <a:cubicBezTo>
                    <a:pt x="0" y="197"/>
                    <a:pt x="0" y="197"/>
                    <a:pt x="0" y="197"/>
                  </a:cubicBezTo>
                  <a:cubicBezTo>
                    <a:pt x="0" y="218"/>
                    <a:pt x="0" y="218"/>
                    <a:pt x="0" y="218"/>
                  </a:cubicBezTo>
                  <a:cubicBezTo>
                    <a:pt x="0" y="232"/>
                    <a:pt x="11" y="243"/>
                    <a:pt x="25" y="243"/>
                  </a:cubicBezTo>
                  <a:cubicBezTo>
                    <a:pt x="116" y="243"/>
                    <a:pt x="116" y="243"/>
                    <a:pt x="116" y="243"/>
                  </a:cubicBezTo>
                  <a:cubicBezTo>
                    <a:pt x="130" y="243"/>
                    <a:pt x="142" y="232"/>
                    <a:pt x="142" y="218"/>
                  </a:cubicBezTo>
                  <a:cubicBezTo>
                    <a:pt x="142" y="197"/>
                    <a:pt x="142" y="197"/>
                    <a:pt x="142" y="197"/>
                  </a:cubicBezTo>
                  <a:cubicBezTo>
                    <a:pt x="142" y="33"/>
                    <a:pt x="142" y="33"/>
                    <a:pt x="142" y="33"/>
                  </a:cubicBezTo>
                  <a:cubicBezTo>
                    <a:pt x="142" y="25"/>
                    <a:pt x="142" y="25"/>
                    <a:pt x="142" y="25"/>
                  </a:cubicBezTo>
                  <a:cubicBezTo>
                    <a:pt x="142" y="11"/>
                    <a:pt x="130" y="0"/>
                    <a:pt x="116" y="0"/>
                  </a:cubicBezTo>
                  <a:close/>
                  <a:moveTo>
                    <a:pt x="132" y="218"/>
                  </a:moveTo>
                  <a:cubicBezTo>
                    <a:pt x="132" y="226"/>
                    <a:pt x="125" y="234"/>
                    <a:pt x="116" y="234"/>
                  </a:cubicBezTo>
                  <a:cubicBezTo>
                    <a:pt x="25" y="234"/>
                    <a:pt x="25" y="234"/>
                    <a:pt x="25" y="234"/>
                  </a:cubicBezTo>
                  <a:cubicBezTo>
                    <a:pt x="17" y="234"/>
                    <a:pt x="10" y="226"/>
                    <a:pt x="10" y="218"/>
                  </a:cubicBezTo>
                  <a:cubicBezTo>
                    <a:pt x="10" y="197"/>
                    <a:pt x="10" y="197"/>
                    <a:pt x="10" y="197"/>
                  </a:cubicBezTo>
                  <a:cubicBezTo>
                    <a:pt x="132" y="197"/>
                    <a:pt x="132" y="197"/>
                    <a:pt x="132" y="197"/>
                  </a:cubicBezTo>
                  <a:lnTo>
                    <a:pt x="132" y="218"/>
                  </a:lnTo>
                  <a:close/>
                  <a:moveTo>
                    <a:pt x="132" y="187"/>
                  </a:moveTo>
                  <a:cubicBezTo>
                    <a:pt x="10" y="187"/>
                    <a:pt x="10" y="187"/>
                    <a:pt x="10" y="187"/>
                  </a:cubicBezTo>
                  <a:cubicBezTo>
                    <a:pt x="10" y="43"/>
                    <a:pt x="10" y="43"/>
                    <a:pt x="10" y="43"/>
                  </a:cubicBezTo>
                  <a:cubicBezTo>
                    <a:pt x="132" y="43"/>
                    <a:pt x="132" y="43"/>
                    <a:pt x="132" y="43"/>
                  </a:cubicBezTo>
                  <a:lnTo>
                    <a:pt x="132" y="187"/>
                  </a:lnTo>
                  <a:close/>
                  <a:moveTo>
                    <a:pt x="132" y="33"/>
                  </a:moveTo>
                  <a:cubicBezTo>
                    <a:pt x="10" y="33"/>
                    <a:pt x="10" y="33"/>
                    <a:pt x="10" y="33"/>
                  </a:cubicBezTo>
                  <a:cubicBezTo>
                    <a:pt x="10" y="25"/>
                    <a:pt x="10" y="25"/>
                    <a:pt x="10" y="25"/>
                  </a:cubicBezTo>
                  <a:cubicBezTo>
                    <a:pt x="10" y="17"/>
                    <a:pt x="17" y="10"/>
                    <a:pt x="25" y="10"/>
                  </a:cubicBezTo>
                  <a:cubicBezTo>
                    <a:pt x="116" y="10"/>
                    <a:pt x="116" y="10"/>
                    <a:pt x="116" y="10"/>
                  </a:cubicBezTo>
                  <a:cubicBezTo>
                    <a:pt x="125" y="10"/>
                    <a:pt x="132" y="17"/>
                    <a:pt x="132" y="25"/>
                  </a:cubicBezTo>
                  <a:lnTo>
                    <a:pt x="132" y="33"/>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96" name="Freeform 125">
              <a:extLst>
                <a:ext uri="{FF2B5EF4-FFF2-40B4-BE49-F238E27FC236}">
                  <a16:creationId xmlns:a16="http://schemas.microsoft.com/office/drawing/2014/main" id="{176093BC-175D-403F-A0F3-ADE4AF6716BD}"/>
                </a:ext>
              </a:extLst>
            </p:cNvPr>
            <p:cNvSpPr>
              <a:spLocks noEditPoints="1"/>
            </p:cNvSpPr>
            <p:nvPr/>
          </p:nvSpPr>
          <p:spPr bwMode="auto">
            <a:xfrm>
              <a:off x="3705225" y="5013325"/>
              <a:ext cx="74613" cy="76200"/>
            </a:xfrm>
            <a:custGeom>
              <a:avLst/>
              <a:gdLst>
                <a:gd name="T0" fmla="*/ 13 w 25"/>
                <a:gd name="T1" fmla="*/ 25 h 25"/>
                <a:gd name="T2" fmla="*/ 25 w 25"/>
                <a:gd name="T3" fmla="*/ 12 h 25"/>
                <a:gd name="T4" fmla="*/ 13 w 25"/>
                <a:gd name="T5" fmla="*/ 0 h 25"/>
                <a:gd name="T6" fmla="*/ 0 w 25"/>
                <a:gd name="T7" fmla="*/ 12 h 25"/>
                <a:gd name="T8" fmla="*/ 13 w 25"/>
                <a:gd name="T9" fmla="*/ 25 h 25"/>
                <a:gd name="T10" fmla="*/ 13 w 25"/>
                <a:gd name="T11" fmla="*/ 10 h 25"/>
                <a:gd name="T12" fmla="*/ 15 w 25"/>
                <a:gd name="T13" fmla="*/ 12 h 25"/>
                <a:gd name="T14" fmla="*/ 13 w 25"/>
                <a:gd name="T15" fmla="*/ 15 h 25"/>
                <a:gd name="T16" fmla="*/ 10 w 25"/>
                <a:gd name="T17" fmla="*/ 12 h 25"/>
                <a:gd name="T18" fmla="*/ 13 w 25"/>
                <a:gd name="T19"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5">
                  <a:moveTo>
                    <a:pt x="13" y="25"/>
                  </a:moveTo>
                  <a:cubicBezTo>
                    <a:pt x="19" y="25"/>
                    <a:pt x="25" y="19"/>
                    <a:pt x="25" y="12"/>
                  </a:cubicBezTo>
                  <a:cubicBezTo>
                    <a:pt x="25" y="6"/>
                    <a:pt x="19" y="0"/>
                    <a:pt x="13" y="0"/>
                  </a:cubicBezTo>
                  <a:cubicBezTo>
                    <a:pt x="6" y="0"/>
                    <a:pt x="0" y="6"/>
                    <a:pt x="0" y="12"/>
                  </a:cubicBezTo>
                  <a:cubicBezTo>
                    <a:pt x="0" y="19"/>
                    <a:pt x="6" y="25"/>
                    <a:pt x="13" y="25"/>
                  </a:cubicBezTo>
                  <a:close/>
                  <a:moveTo>
                    <a:pt x="13" y="10"/>
                  </a:moveTo>
                  <a:cubicBezTo>
                    <a:pt x="14" y="10"/>
                    <a:pt x="15" y="11"/>
                    <a:pt x="15" y="12"/>
                  </a:cubicBezTo>
                  <a:cubicBezTo>
                    <a:pt x="15" y="14"/>
                    <a:pt x="14" y="15"/>
                    <a:pt x="13" y="15"/>
                  </a:cubicBezTo>
                  <a:cubicBezTo>
                    <a:pt x="11" y="15"/>
                    <a:pt x="10" y="14"/>
                    <a:pt x="10" y="12"/>
                  </a:cubicBezTo>
                  <a:cubicBezTo>
                    <a:pt x="10" y="11"/>
                    <a:pt x="11" y="10"/>
                    <a:pt x="13" y="1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97" name="Freeform 126">
              <a:extLst>
                <a:ext uri="{FF2B5EF4-FFF2-40B4-BE49-F238E27FC236}">
                  <a16:creationId xmlns:a16="http://schemas.microsoft.com/office/drawing/2014/main" id="{6240B658-8758-4325-95CD-8747F2B3423B}"/>
                </a:ext>
              </a:extLst>
            </p:cNvPr>
            <p:cNvSpPr>
              <a:spLocks/>
            </p:cNvSpPr>
            <p:nvPr/>
          </p:nvSpPr>
          <p:spPr bwMode="auto">
            <a:xfrm>
              <a:off x="4035425" y="4625975"/>
              <a:ext cx="84138" cy="276225"/>
            </a:xfrm>
            <a:custGeom>
              <a:avLst/>
              <a:gdLst>
                <a:gd name="T0" fmla="*/ 9 w 28"/>
                <a:gd name="T1" fmla="*/ 1 h 92"/>
                <a:gd name="T2" fmla="*/ 2 w 28"/>
                <a:gd name="T3" fmla="*/ 2 h 92"/>
                <a:gd name="T4" fmla="*/ 2 w 28"/>
                <a:gd name="T5" fmla="*/ 9 h 92"/>
                <a:gd name="T6" fmla="*/ 18 w 28"/>
                <a:gd name="T7" fmla="*/ 46 h 92"/>
                <a:gd name="T8" fmla="*/ 2 w 28"/>
                <a:gd name="T9" fmla="*/ 84 h 92"/>
                <a:gd name="T10" fmla="*/ 2 w 28"/>
                <a:gd name="T11" fmla="*/ 91 h 92"/>
                <a:gd name="T12" fmla="*/ 5 w 28"/>
                <a:gd name="T13" fmla="*/ 92 h 92"/>
                <a:gd name="T14" fmla="*/ 9 w 28"/>
                <a:gd name="T15" fmla="*/ 91 h 92"/>
                <a:gd name="T16" fmla="*/ 28 w 28"/>
                <a:gd name="T17" fmla="*/ 46 h 92"/>
                <a:gd name="T18" fmla="*/ 9 w 28"/>
                <a:gd name="T19" fmla="*/ 1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92">
                  <a:moveTo>
                    <a:pt x="9" y="1"/>
                  </a:moveTo>
                  <a:cubicBezTo>
                    <a:pt x="7" y="0"/>
                    <a:pt x="4" y="0"/>
                    <a:pt x="2" y="2"/>
                  </a:cubicBezTo>
                  <a:cubicBezTo>
                    <a:pt x="0" y="4"/>
                    <a:pt x="0" y="7"/>
                    <a:pt x="2" y="9"/>
                  </a:cubicBezTo>
                  <a:cubicBezTo>
                    <a:pt x="13" y="18"/>
                    <a:pt x="18" y="32"/>
                    <a:pt x="18" y="46"/>
                  </a:cubicBezTo>
                  <a:cubicBezTo>
                    <a:pt x="18" y="61"/>
                    <a:pt x="13" y="74"/>
                    <a:pt x="2" y="84"/>
                  </a:cubicBezTo>
                  <a:cubicBezTo>
                    <a:pt x="0" y="86"/>
                    <a:pt x="0" y="89"/>
                    <a:pt x="2" y="91"/>
                  </a:cubicBezTo>
                  <a:cubicBezTo>
                    <a:pt x="3" y="92"/>
                    <a:pt x="4" y="92"/>
                    <a:pt x="5" y="92"/>
                  </a:cubicBezTo>
                  <a:cubicBezTo>
                    <a:pt x="7" y="92"/>
                    <a:pt x="8" y="92"/>
                    <a:pt x="9" y="91"/>
                  </a:cubicBezTo>
                  <a:cubicBezTo>
                    <a:pt x="21" y="79"/>
                    <a:pt x="28" y="63"/>
                    <a:pt x="28" y="46"/>
                  </a:cubicBezTo>
                  <a:cubicBezTo>
                    <a:pt x="28" y="29"/>
                    <a:pt x="21" y="13"/>
                    <a:pt x="9" y="1"/>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98" name="Freeform 127">
              <a:extLst>
                <a:ext uri="{FF2B5EF4-FFF2-40B4-BE49-F238E27FC236}">
                  <a16:creationId xmlns:a16="http://schemas.microsoft.com/office/drawing/2014/main" id="{BE9ABC58-DCF9-4593-916F-EC3081280E5A}"/>
                </a:ext>
              </a:extLst>
            </p:cNvPr>
            <p:cNvSpPr>
              <a:spLocks/>
            </p:cNvSpPr>
            <p:nvPr/>
          </p:nvSpPr>
          <p:spPr bwMode="auto">
            <a:xfrm>
              <a:off x="4111625" y="4565650"/>
              <a:ext cx="107950" cy="396875"/>
            </a:xfrm>
            <a:custGeom>
              <a:avLst/>
              <a:gdLst>
                <a:gd name="T0" fmla="*/ 9 w 36"/>
                <a:gd name="T1" fmla="*/ 1 h 132"/>
                <a:gd name="T2" fmla="*/ 2 w 36"/>
                <a:gd name="T3" fmla="*/ 2 h 132"/>
                <a:gd name="T4" fmla="*/ 2 w 36"/>
                <a:gd name="T5" fmla="*/ 9 h 132"/>
                <a:gd name="T6" fmla="*/ 27 w 36"/>
                <a:gd name="T7" fmla="*/ 66 h 132"/>
                <a:gd name="T8" fmla="*/ 2 w 36"/>
                <a:gd name="T9" fmla="*/ 124 h 132"/>
                <a:gd name="T10" fmla="*/ 2 w 36"/>
                <a:gd name="T11" fmla="*/ 131 h 132"/>
                <a:gd name="T12" fmla="*/ 5 w 36"/>
                <a:gd name="T13" fmla="*/ 132 h 132"/>
                <a:gd name="T14" fmla="*/ 9 w 36"/>
                <a:gd name="T15" fmla="*/ 131 h 132"/>
                <a:gd name="T16" fmla="*/ 36 w 36"/>
                <a:gd name="T17" fmla="*/ 66 h 132"/>
                <a:gd name="T18" fmla="*/ 9 w 36"/>
                <a:gd name="T19"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132">
                  <a:moveTo>
                    <a:pt x="9" y="1"/>
                  </a:moveTo>
                  <a:cubicBezTo>
                    <a:pt x="7" y="0"/>
                    <a:pt x="4" y="0"/>
                    <a:pt x="2" y="2"/>
                  </a:cubicBezTo>
                  <a:cubicBezTo>
                    <a:pt x="0" y="4"/>
                    <a:pt x="0" y="7"/>
                    <a:pt x="2" y="9"/>
                  </a:cubicBezTo>
                  <a:cubicBezTo>
                    <a:pt x="18" y="24"/>
                    <a:pt x="27" y="44"/>
                    <a:pt x="27" y="66"/>
                  </a:cubicBezTo>
                  <a:cubicBezTo>
                    <a:pt x="27" y="88"/>
                    <a:pt x="18" y="109"/>
                    <a:pt x="2" y="124"/>
                  </a:cubicBezTo>
                  <a:cubicBezTo>
                    <a:pt x="0" y="126"/>
                    <a:pt x="0" y="129"/>
                    <a:pt x="2" y="131"/>
                  </a:cubicBezTo>
                  <a:cubicBezTo>
                    <a:pt x="3" y="132"/>
                    <a:pt x="4" y="132"/>
                    <a:pt x="5" y="132"/>
                  </a:cubicBezTo>
                  <a:cubicBezTo>
                    <a:pt x="6" y="132"/>
                    <a:pt x="8" y="132"/>
                    <a:pt x="9" y="131"/>
                  </a:cubicBezTo>
                  <a:cubicBezTo>
                    <a:pt x="27" y="114"/>
                    <a:pt x="36" y="91"/>
                    <a:pt x="36" y="66"/>
                  </a:cubicBezTo>
                  <a:cubicBezTo>
                    <a:pt x="36" y="42"/>
                    <a:pt x="27" y="19"/>
                    <a:pt x="9" y="1"/>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99" name="Group 298">
            <a:extLst>
              <a:ext uri="{FF2B5EF4-FFF2-40B4-BE49-F238E27FC236}">
                <a16:creationId xmlns:a16="http://schemas.microsoft.com/office/drawing/2014/main" id="{4C633E45-A482-4964-95EE-F47A6554E743}"/>
              </a:ext>
            </a:extLst>
          </p:cNvPr>
          <p:cNvGrpSpPr/>
          <p:nvPr/>
        </p:nvGrpSpPr>
        <p:grpSpPr>
          <a:xfrm>
            <a:off x="8817605" y="4503136"/>
            <a:ext cx="192616" cy="223795"/>
            <a:chOff x="10863263" y="3603625"/>
            <a:chExt cx="490537" cy="482601"/>
          </a:xfrm>
        </p:grpSpPr>
        <p:sp>
          <p:nvSpPr>
            <p:cNvPr id="300" name="Freeform 456">
              <a:extLst>
                <a:ext uri="{FF2B5EF4-FFF2-40B4-BE49-F238E27FC236}">
                  <a16:creationId xmlns:a16="http://schemas.microsoft.com/office/drawing/2014/main" id="{0B2D447E-2552-4FD8-880E-96DDDD6573D1}"/>
                </a:ext>
              </a:extLst>
            </p:cNvPr>
            <p:cNvSpPr>
              <a:spLocks/>
            </p:cNvSpPr>
            <p:nvPr/>
          </p:nvSpPr>
          <p:spPr bwMode="auto">
            <a:xfrm>
              <a:off x="10863263" y="3660775"/>
              <a:ext cx="490537" cy="319088"/>
            </a:xfrm>
            <a:custGeom>
              <a:avLst/>
              <a:gdLst>
                <a:gd name="T0" fmla="*/ 237 w 241"/>
                <a:gd name="T1" fmla="*/ 13 h 157"/>
                <a:gd name="T2" fmla="*/ 231 w 241"/>
                <a:gd name="T3" fmla="*/ 16 h 157"/>
                <a:gd name="T4" fmla="*/ 228 w 241"/>
                <a:gd name="T5" fmla="*/ 28 h 157"/>
                <a:gd name="T6" fmla="*/ 160 w 241"/>
                <a:gd name="T7" fmla="*/ 28 h 157"/>
                <a:gd name="T8" fmla="*/ 155 w 241"/>
                <a:gd name="T9" fmla="*/ 33 h 157"/>
                <a:gd name="T10" fmla="*/ 160 w 241"/>
                <a:gd name="T11" fmla="*/ 38 h 157"/>
                <a:gd name="T12" fmla="*/ 225 w 241"/>
                <a:gd name="T13" fmla="*/ 38 h 157"/>
                <a:gd name="T14" fmla="*/ 207 w 241"/>
                <a:gd name="T15" fmla="*/ 102 h 157"/>
                <a:gd name="T16" fmla="*/ 204 w 241"/>
                <a:gd name="T17" fmla="*/ 105 h 157"/>
                <a:gd name="T18" fmla="*/ 203 w 241"/>
                <a:gd name="T19" fmla="*/ 105 h 157"/>
                <a:gd name="T20" fmla="*/ 64 w 241"/>
                <a:gd name="T21" fmla="*/ 120 h 157"/>
                <a:gd name="T22" fmla="*/ 45 w 241"/>
                <a:gd name="T23" fmla="*/ 38 h 157"/>
                <a:gd name="T24" fmla="*/ 108 w 241"/>
                <a:gd name="T25" fmla="*/ 38 h 157"/>
                <a:gd name="T26" fmla="*/ 113 w 241"/>
                <a:gd name="T27" fmla="*/ 33 h 157"/>
                <a:gd name="T28" fmla="*/ 108 w 241"/>
                <a:gd name="T29" fmla="*/ 28 h 157"/>
                <a:gd name="T30" fmla="*/ 45 w 241"/>
                <a:gd name="T31" fmla="*/ 28 h 157"/>
                <a:gd name="T32" fmla="*/ 49 w 241"/>
                <a:gd name="T33" fmla="*/ 13 h 157"/>
                <a:gd name="T34" fmla="*/ 49 w 241"/>
                <a:gd name="T35" fmla="*/ 11 h 157"/>
                <a:gd name="T36" fmla="*/ 35 w 241"/>
                <a:gd name="T37" fmla="*/ 0 h 157"/>
                <a:gd name="T38" fmla="*/ 5 w 241"/>
                <a:gd name="T39" fmla="*/ 0 h 157"/>
                <a:gd name="T40" fmla="*/ 0 w 241"/>
                <a:gd name="T41" fmla="*/ 5 h 157"/>
                <a:gd name="T42" fmla="*/ 5 w 241"/>
                <a:gd name="T43" fmla="*/ 10 h 157"/>
                <a:gd name="T44" fmla="*/ 35 w 241"/>
                <a:gd name="T45" fmla="*/ 10 h 157"/>
                <a:gd name="T46" fmla="*/ 39 w 241"/>
                <a:gd name="T47" fmla="*/ 12 h 157"/>
                <a:gd name="T48" fmla="*/ 34 w 241"/>
                <a:gd name="T49" fmla="*/ 31 h 157"/>
                <a:gd name="T50" fmla="*/ 34 w 241"/>
                <a:gd name="T51" fmla="*/ 33 h 157"/>
                <a:gd name="T52" fmla="*/ 34 w 241"/>
                <a:gd name="T53" fmla="*/ 33 h 157"/>
                <a:gd name="T54" fmla="*/ 34 w 241"/>
                <a:gd name="T55" fmla="*/ 34 h 157"/>
                <a:gd name="T56" fmla="*/ 34 w 241"/>
                <a:gd name="T57" fmla="*/ 35 h 157"/>
                <a:gd name="T58" fmla="*/ 34 w 241"/>
                <a:gd name="T59" fmla="*/ 35 h 157"/>
                <a:gd name="T60" fmla="*/ 55 w 241"/>
                <a:gd name="T61" fmla="*/ 125 h 157"/>
                <a:gd name="T62" fmla="*/ 50 w 241"/>
                <a:gd name="T63" fmla="*/ 142 h 157"/>
                <a:gd name="T64" fmla="*/ 49 w 241"/>
                <a:gd name="T65" fmla="*/ 143 h 157"/>
                <a:gd name="T66" fmla="*/ 52 w 241"/>
                <a:gd name="T67" fmla="*/ 153 h 157"/>
                <a:gd name="T68" fmla="*/ 61 w 241"/>
                <a:gd name="T69" fmla="*/ 157 h 157"/>
                <a:gd name="T70" fmla="*/ 206 w 241"/>
                <a:gd name="T71" fmla="*/ 157 h 157"/>
                <a:gd name="T72" fmla="*/ 211 w 241"/>
                <a:gd name="T73" fmla="*/ 152 h 157"/>
                <a:gd name="T74" fmla="*/ 206 w 241"/>
                <a:gd name="T75" fmla="*/ 148 h 157"/>
                <a:gd name="T76" fmla="*/ 61 w 241"/>
                <a:gd name="T77" fmla="*/ 148 h 157"/>
                <a:gd name="T78" fmla="*/ 59 w 241"/>
                <a:gd name="T79" fmla="*/ 147 h 157"/>
                <a:gd name="T80" fmla="*/ 59 w 241"/>
                <a:gd name="T81" fmla="*/ 145 h 157"/>
                <a:gd name="T82" fmla="*/ 64 w 241"/>
                <a:gd name="T83" fmla="*/ 130 h 157"/>
                <a:gd name="T84" fmla="*/ 204 w 241"/>
                <a:gd name="T85" fmla="*/ 115 h 157"/>
                <a:gd name="T86" fmla="*/ 217 w 241"/>
                <a:gd name="T87" fmla="*/ 105 h 157"/>
                <a:gd name="T88" fmla="*/ 240 w 241"/>
                <a:gd name="T89" fmla="*/ 19 h 157"/>
                <a:gd name="T90" fmla="*/ 237 w 241"/>
                <a:gd name="T91" fmla="*/ 13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1" h="157">
                  <a:moveTo>
                    <a:pt x="237" y="13"/>
                  </a:moveTo>
                  <a:cubicBezTo>
                    <a:pt x="234" y="12"/>
                    <a:pt x="232" y="14"/>
                    <a:pt x="231" y="16"/>
                  </a:cubicBezTo>
                  <a:cubicBezTo>
                    <a:pt x="228" y="28"/>
                    <a:pt x="228" y="28"/>
                    <a:pt x="228" y="28"/>
                  </a:cubicBezTo>
                  <a:cubicBezTo>
                    <a:pt x="160" y="28"/>
                    <a:pt x="160" y="28"/>
                    <a:pt x="160" y="28"/>
                  </a:cubicBezTo>
                  <a:cubicBezTo>
                    <a:pt x="157" y="28"/>
                    <a:pt x="155" y="30"/>
                    <a:pt x="155" y="33"/>
                  </a:cubicBezTo>
                  <a:cubicBezTo>
                    <a:pt x="155" y="36"/>
                    <a:pt x="157" y="38"/>
                    <a:pt x="160" y="38"/>
                  </a:cubicBezTo>
                  <a:cubicBezTo>
                    <a:pt x="225" y="38"/>
                    <a:pt x="225" y="38"/>
                    <a:pt x="225" y="38"/>
                  </a:cubicBezTo>
                  <a:cubicBezTo>
                    <a:pt x="207" y="102"/>
                    <a:pt x="207" y="102"/>
                    <a:pt x="207" y="102"/>
                  </a:cubicBezTo>
                  <a:cubicBezTo>
                    <a:pt x="207" y="104"/>
                    <a:pt x="206" y="105"/>
                    <a:pt x="204" y="105"/>
                  </a:cubicBezTo>
                  <a:cubicBezTo>
                    <a:pt x="204" y="105"/>
                    <a:pt x="203" y="105"/>
                    <a:pt x="203" y="105"/>
                  </a:cubicBezTo>
                  <a:cubicBezTo>
                    <a:pt x="64" y="120"/>
                    <a:pt x="64" y="120"/>
                    <a:pt x="64" y="120"/>
                  </a:cubicBezTo>
                  <a:cubicBezTo>
                    <a:pt x="45" y="38"/>
                    <a:pt x="45" y="38"/>
                    <a:pt x="45" y="38"/>
                  </a:cubicBezTo>
                  <a:cubicBezTo>
                    <a:pt x="108" y="38"/>
                    <a:pt x="108" y="38"/>
                    <a:pt x="108" y="38"/>
                  </a:cubicBezTo>
                  <a:cubicBezTo>
                    <a:pt x="111" y="38"/>
                    <a:pt x="113" y="36"/>
                    <a:pt x="113" y="33"/>
                  </a:cubicBezTo>
                  <a:cubicBezTo>
                    <a:pt x="113" y="30"/>
                    <a:pt x="111" y="28"/>
                    <a:pt x="108" y="28"/>
                  </a:cubicBezTo>
                  <a:cubicBezTo>
                    <a:pt x="45" y="28"/>
                    <a:pt x="45" y="28"/>
                    <a:pt x="45" y="28"/>
                  </a:cubicBezTo>
                  <a:cubicBezTo>
                    <a:pt x="49" y="13"/>
                    <a:pt x="49" y="13"/>
                    <a:pt x="49" y="13"/>
                  </a:cubicBezTo>
                  <a:cubicBezTo>
                    <a:pt x="49" y="13"/>
                    <a:pt x="49" y="12"/>
                    <a:pt x="49" y="11"/>
                  </a:cubicBezTo>
                  <a:cubicBezTo>
                    <a:pt x="47" y="5"/>
                    <a:pt x="42" y="0"/>
                    <a:pt x="35" y="0"/>
                  </a:cubicBezTo>
                  <a:cubicBezTo>
                    <a:pt x="5" y="0"/>
                    <a:pt x="5" y="0"/>
                    <a:pt x="5" y="0"/>
                  </a:cubicBezTo>
                  <a:cubicBezTo>
                    <a:pt x="3" y="0"/>
                    <a:pt x="0" y="3"/>
                    <a:pt x="0" y="5"/>
                  </a:cubicBezTo>
                  <a:cubicBezTo>
                    <a:pt x="0" y="8"/>
                    <a:pt x="3" y="10"/>
                    <a:pt x="5" y="10"/>
                  </a:cubicBezTo>
                  <a:cubicBezTo>
                    <a:pt x="35" y="10"/>
                    <a:pt x="35" y="10"/>
                    <a:pt x="35" y="10"/>
                  </a:cubicBezTo>
                  <a:cubicBezTo>
                    <a:pt x="37" y="10"/>
                    <a:pt x="38" y="11"/>
                    <a:pt x="39" y="12"/>
                  </a:cubicBezTo>
                  <a:cubicBezTo>
                    <a:pt x="34" y="31"/>
                    <a:pt x="34" y="31"/>
                    <a:pt x="34" y="31"/>
                  </a:cubicBezTo>
                  <a:cubicBezTo>
                    <a:pt x="34" y="31"/>
                    <a:pt x="34" y="32"/>
                    <a:pt x="34" y="33"/>
                  </a:cubicBezTo>
                  <a:cubicBezTo>
                    <a:pt x="34" y="33"/>
                    <a:pt x="34" y="33"/>
                    <a:pt x="34" y="33"/>
                  </a:cubicBezTo>
                  <a:cubicBezTo>
                    <a:pt x="34" y="33"/>
                    <a:pt x="34" y="34"/>
                    <a:pt x="34" y="34"/>
                  </a:cubicBezTo>
                  <a:cubicBezTo>
                    <a:pt x="34" y="34"/>
                    <a:pt x="34" y="34"/>
                    <a:pt x="34" y="35"/>
                  </a:cubicBezTo>
                  <a:cubicBezTo>
                    <a:pt x="34" y="35"/>
                    <a:pt x="34" y="35"/>
                    <a:pt x="34" y="35"/>
                  </a:cubicBezTo>
                  <a:cubicBezTo>
                    <a:pt x="55" y="125"/>
                    <a:pt x="55" y="125"/>
                    <a:pt x="55" y="125"/>
                  </a:cubicBezTo>
                  <a:cubicBezTo>
                    <a:pt x="50" y="142"/>
                    <a:pt x="50" y="142"/>
                    <a:pt x="50" y="142"/>
                  </a:cubicBezTo>
                  <a:cubicBezTo>
                    <a:pt x="49" y="143"/>
                    <a:pt x="49" y="143"/>
                    <a:pt x="49" y="143"/>
                  </a:cubicBezTo>
                  <a:cubicBezTo>
                    <a:pt x="49" y="146"/>
                    <a:pt x="50" y="150"/>
                    <a:pt x="52" y="153"/>
                  </a:cubicBezTo>
                  <a:cubicBezTo>
                    <a:pt x="54" y="156"/>
                    <a:pt x="58" y="157"/>
                    <a:pt x="61" y="157"/>
                  </a:cubicBezTo>
                  <a:cubicBezTo>
                    <a:pt x="206" y="157"/>
                    <a:pt x="206" y="157"/>
                    <a:pt x="206" y="157"/>
                  </a:cubicBezTo>
                  <a:cubicBezTo>
                    <a:pt x="209" y="157"/>
                    <a:pt x="211" y="155"/>
                    <a:pt x="211" y="152"/>
                  </a:cubicBezTo>
                  <a:cubicBezTo>
                    <a:pt x="211" y="150"/>
                    <a:pt x="209" y="148"/>
                    <a:pt x="206" y="148"/>
                  </a:cubicBezTo>
                  <a:cubicBezTo>
                    <a:pt x="61" y="148"/>
                    <a:pt x="61" y="148"/>
                    <a:pt x="61" y="148"/>
                  </a:cubicBezTo>
                  <a:cubicBezTo>
                    <a:pt x="61" y="148"/>
                    <a:pt x="60" y="147"/>
                    <a:pt x="59" y="147"/>
                  </a:cubicBezTo>
                  <a:cubicBezTo>
                    <a:pt x="59" y="146"/>
                    <a:pt x="59" y="146"/>
                    <a:pt x="59" y="145"/>
                  </a:cubicBezTo>
                  <a:cubicBezTo>
                    <a:pt x="64" y="130"/>
                    <a:pt x="64" y="130"/>
                    <a:pt x="64" y="130"/>
                  </a:cubicBezTo>
                  <a:cubicBezTo>
                    <a:pt x="204" y="115"/>
                    <a:pt x="204" y="115"/>
                    <a:pt x="204" y="115"/>
                  </a:cubicBezTo>
                  <a:cubicBezTo>
                    <a:pt x="210" y="115"/>
                    <a:pt x="215" y="110"/>
                    <a:pt x="217" y="105"/>
                  </a:cubicBezTo>
                  <a:cubicBezTo>
                    <a:pt x="240" y="19"/>
                    <a:pt x="240" y="19"/>
                    <a:pt x="240" y="19"/>
                  </a:cubicBezTo>
                  <a:cubicBezTo>
                    <a:pt x="241" y="16"/>
                    <a:pt x="239" y="13"/>
                    <a:pt x="237" y="13"/>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01" name="Freeform 457">
              <a:extLst>
                <a:ext uri="{FF2B5EF4-FFF2-40B4-BE49-F238E27FC236}">
                  <a16:creationId xmlns:a16="http://schemas.microsoft.com/office/drawing/2014/main" id="{E6E5560B-42CD-43A7-8563-71DCFFBDEB6B}"/>
                </a:ext>
              </a:extLst>
            </p:cNvPr>
            <p:cNvSpPr>
              <a:spLocks noEditPoints="1"/>
            </p:cNvSpPr>
            <p:nvPr/>
          </p:nvSpPr>
          <p:spPr bwMode="auto">
            <a:xfrm>
              <a:off x="10964863" y="4005263"/>
              <a:ext cx="79375" cy="80963"/>
            </a:xfrm>
            <a:custGeom>
              <a:avLst/>
              <a:gdLst>
                <a:gd name="T0" fmla="*/ 19 w 39"/>
                <a:gd name="T1" fmla="*/ 0 h 40"/>
                <a:gd name="T2" fmla="*/ 0 w 39"/>
                <a:gd name="T3" fmla="*/ 20 h 40"/>
                <a:gd name="T4" fmla="*/ 19 w 39"/>
                <a:gd name="T5" fmla="*/ 40 h 40"/>
                <a:gd name="T6" fmla="*/ 39 w 39"/>
                <a:gd name="T7" fmla="*/ 20 h 40"/>
                <a:gd name="T8" fmla="*/ 19 w 39"/>
                <a:gd name="T9" fmla="*/ 0 h 40"/>
                <a:gd name="T10" fmla="*/ 19 w 39"/>
                <a:gd name="T11" fmla="*/ 30 h 40"/>
                <a:gd name="T12" fmla="*/ 10 w 39"/>
                <a:gd name="T13" fmla="*/ 20 h 40"/>
                <a:gd name="T14" fmla="*/ 19 w 39"/>
                <a:gd name="T15" fmla="*/ 10 h 40"/>
                <a:gd name="T16" fmla="*/ 29 w 39"/>
                <a:gd name="T17" fmla="*/ 20 h 40"/>
                <a:gd name="T18" fmla="*/ 19 w 39"/>
                <a:gd name="T19" fmla="*/ 3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40">
                  <a:moveTo>
                    <a:pt x="19" y="0"/>
                  </a:moveTo>
                  <a:cubicBezTo>
                    <a:pt x="9" y="0"/>
                    <a:pt x="0" y="9"/>
                    <a:pt x="0" y="20"/>
                  </a:cubicBezTo>
                  <a:cubicBezTo>
                    <a:pt x="0" y="31"/>
                    <a:pt x="9" y="40"/>
                    <a:pt x="19" y="40"/>
                  </a:cubicBezTo>
                  <a:cubicBezTo>
                    <a:pt x="30" y="40"/>
                    <a:pt x="39" y="31"/>
                    <a:pt x="39" y="20"/>
                  </a:cubicBezTo>
                  <a:cubicBezTo>
                    <a:pt x="39" y="9"/>
                    <a:pt x="30" y="0"/>
                    <a:pt x="19" y="0"/>
                  </a:cubicBezTo>
                  <a:close/>
                  <a:moveTo>
                    <a:pt x="19" y="30"/>
                  </a:moveTo>
                  <a:cubicBezTo>
                    <a:pt x="14" y="30"/>
                    <a:pt x="10" y="26"/>
                    <a:pt x="10" y="20"/>
                  </a:cubicBezTo>
                  <a:cubicBezTo>
                    <a:pt x="10" y="15"/>
                    <a:pt x="14" y="10"/>
                    <a:pt x="19" y="10"/>
                  </a:cubicBezTo>
                  <a:cubicBezTo>
                    <a:pt x="25" y="10"/>
                    <a:pt x="29" y="15"/>
                    <a:pt x="29" y="20"/>
                  </a:cubicBezTo>
                  <a:cubicBezTo>
                    <a:pt x="29" y="26"/>
                    <a:pt x="25" y="30"/>
                    <a:pt x="19" y="3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02" name="Freeform 458">
              <a:extLst>
                <a:ext uri="{FF2B5EF4-FFF2-40B4-BE49-F238E27FC236}">
                  <a16:creationId xmlns:a16="http://schemas.microsoft.com/office/drawing/2014/main" id="{3BD1CB96-FB0B-4C18-A7DC-FDBB53B4C22D}"/>
                </a:ext>
              </a:extLst>
            </p:cNvPr>
            <p:cNvSpPr>
              <a:spLocks noEditPoints="1"/>
            </p:cNvSpPr>
            <p:nvPr/>
          </p:nvSpPr>
          <p:spPr bwMode="auto">
            <a:xfrm>
              <a:off x="11201400" y="4005263"/>
              <a:ext cx="79375" cy="80963"/>
            </a:xfrm>
            <a:custGeom>
              <a:avLst/>
              <a:gdLst>
                <a:gd name="T0" fmla="*/ 20 w 39"/>
                <a:gd name="T1" fmla="*/ 0 h 40"/>
                <a:gd name="T2" fmla="*/ 0 w 39"/>
                <a:gd name="T3" fmla="*/ 20 h 40"/>
                <a:gd name="T4" fmla="*/ 20 w 39"/>
                <a:gd name="T5" fmla="*/ 40 h 40"/>
                <a:gd name="T6" fmla="*/ 39 w 39"/>
                <a:gd name="T7" fmla="*/ 20 h 40"/>
                <a:gd name="T8" fmla="*/ 20 w 39"/>
                <a:gd name="T9" fmla="*/ 0 h 40"/>
                <a:gd name="T10" fmla="*/ 20 w 39"/>
                <a:gd name="T11" fmla="*/ 30 h 40"/>
                <a:gd name="T12" fmla="*/ 10 w 39"/>
                <a:gd name="T13" fmla="*/ 20 h 40"/>
                <a:gd name="T14" fmla="*/ 20 w 39"/>
                <a:gd name="T15" fmla="*/ 10 h 40"/>
                <a:gd name="T16" fmla="*/ 29 w 39"/>
                <a:gd name="T17" fmla="*/ 20 h 40"/>
                <a:gd name="T18" fmla="*/ 20 w 39"/>
                <a:gd name="T19" fmla="*/ 3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40">
                  <a:moveTo>
                    <a:pt x="20" y="0"/>
                  </a:moveTo>
                  <a:cubicBezTo>
                    <a:pt x="9" y="0"/>
                    <a:pt x="0" y="9"/>
                    <a:pt x="0" y="20"/>
                  </a:cubicBezTo>
                  <a:cubicBezTo>
                    <a:pt x="0" y="31"/>
                    <a:pt x="9" y="40"/>
                    <a:pt x="20" y="40"/>
                  </a:cubicBezTo>
                  <a:cubicBezTo>
                    <a:pt x="30" y="40"/>
                    <a:pt x="39" y="31"/>
                    <a:pt x="39" y="20"/>
                  </a:cubicBezTo>
                  <a:cubicBezTo>
                    <a:pt x="39" y="9"/>
                    <a:pt x="30" y="0"/>
                    <a:pt x="20" y="0"/>
                  </a:cubicBezTo>
                  <a:close/>
                  <a:moveTo>
                    <a:pt x="20" y="30"/>
                  </a:moveTo>
                  <a:cubicBezTo>
                    <a:pt x="14" y="30"/>
                    <a:pt x="10" y="26"/>
                    <a:pt x="10" y="20"/>
                  </a:cubicBezTo>
                  <a:cubicBezTo>
                    <a:pt x="10" y="15"/>
                    <a:pt x="14" y="10"/>
                    <a:pt x="20" y="10"/>
                  </a:cubicBezTo>
                  <a:cubicBezTo>
                    <a:pt x="25" y="10"/>
                    <a:pt x="29" y="15"/>
                    <a:pt x="29" y="20"/>
                  </a:cubicBezTo>
                  <a:cubicBezTo>
                    <a:pt x="29" y="26"/>
                    <a:pt x="25" y="30"/>
                    <a:pt x="20" y="3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03" name="Freeform 459">
              <a:extLst>
                <a:ext uri="{FF2B5EF4-FFF2-40B4-BE49-F238E27FC236}">
                  <a16:creationId xmlns:a16="http://schemas.microsoft.com/office/drawing/2014/main" id="{BB0A4785-7D75-47CF-9032-093B048916FA}"/>
                </a:ext>
              </a:extLst>
            </p:cNvPr>
            <p:cNvSpPr>
              <a:spLocks/>
            </p:cNvSpPr>
            <p:nvPr/>
          </p:nvSpPr>
          <p:spPr bwMode="auto">
            <a:xfrm>
              <a:off x="11061700" y="3603625"/>
              <a:ext cx="147637" cy="250825"/>
            </a:xfrm>
            <a:custGeom>
              <a:avLst/>
              <a:gdLst>
                <a:gd name="T0" fmla="*/ 9 w 72"/>
                <a:gd name="T1" fmla="*/ 84 h 123"/>
                <a:gd name="T2" fmla="*/ 2 w 72"/>
                <a:gd name="T3" fmla="*/ 84 h 123"/>
                <a:gd name="T4" fmla="*/ 2 w 72"/>
                <a:gd name="T5" fmla="*/ 91 h 123"/>
                <a:gd name="T6" fmla="*/ 33 w 72"/>
                <a:gd name="T7" fmla="*/ 121 h 123"/>
                <a:gd name="T8" fmla="*/ 34 w 72"/>
                <a:gd name="T9" fmla="*/ 122 h 123"/>
                <a:gd name="T10" fmla="*/ 36 w 72"/>
                <a:gd name="T11" fmla="*/ 123 h 123"/>
                <a:gd name="T12" fmla="*/ 38 w 72"/>
                <a:gd name="T13" fmla="*/ 122 h 123"/>
                <a:gd name="T14" fmla="*/ 39 w 72"/>
                <a:gd name="T15" fmla="*/ 121 h 123"/>
                <a:gd name="T16" fmla="*/ 70 w 72"/>
                <a:gd name="T17" fmla="*/ 91 h 123"/>
                <a:gd name="T18" fmla="*/ 70 w 72"/>
                <a:gd name="T19" fmla="*/ 84 h 123"/>
                <a:gd name="T20" fmla="*/ 63 w 72"/>
                <a:gd name="T21" fmla="*/ 84 h 123"/>
                <a:gd name="T22" fmla="*/ 41 w 72"/>
                <a:gd name="T23" fmla="*/ 106 h 123"/>
                <a:gd name="T24" fmla="*/ 41 w 72"/>
                <a:gd name="T25" fmla="*/ 5 h 123"/>
                <a:gd name="T26" fmla="*/ 36 w 72"/>
                <a:gd name="T27" fmla="*/ 0 h 123"/>
                <a:gd name="T28" fmla="*/ 31 w 72"/>
                <a:gd name="T29" fmla="*/ 5 h 123"/>
                <a:gd name="T30" fmla="*/ 31 w 72"/>
                <a:gd name="T31" fmla="*/ 106 h 123"/>
                <a:gd name="T32" fmla="*/ 9 w 72"/>
                <a:gd name="T33" fmla="*/ 8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23">
                  <a:moveTo>
                    <a:pt x="9" y="84"/>
                  </a:moveTo>
                  <a:cubicBezTo>
                    <a:pt x="7" y="82"/>
                    <a:pt x="4" y="82"/>
                    <a:pt x="2" y="84"/>
                  </a:cubicBezTo>
                  <a:cubicBezTo>
                    <a:pt x="0" y="86"/>
                    <a:pt x="0" y="89"/>
                    <a:pt x="2" y="91"/>
                  </a:cubicBezTo>
                  <a:cubicBezTo>
                    <a:pt x="33" y="121"/>
                    <a:pt x="33" y="121"/>
                    <a:pt x="33" y="121"/>
                  </a:cubicBezTo>
                  <a:cubicBezTo>
                    <a:pt x="33" y="122"/>
                    <a:pt x="34" y="122"/>
                    <a:pt x="34" y="122"/>
                  </a:cubicBezTo>
                  <a:cubicBezTo>
                    <a:pt x="35" y="123"/>
                    <a:pt x="35" y="123"/>
                    <a:pt x="36" y="123"/>
                  </a:cubicBezTo>
                  <a:cubicBezTo>
                    <a:pt x="37" y="123"/>
                    <a:pt x="37" y="123"/>
                    <a:pt x="38" y="122"/>
                  </a:cubicBezTo>
                  <a:cubicBezTo>
                    <a:pt x="38" y="122"/>
                    <a:pt x="39" y="122"/>
                    <a:pt x="39" y="121"/>
                  </a:cubicBezTo>
                  <a:cubicBezTo>
                    <a:pt x="70" y="91"/>
                    <a:pt x="70" y="91"/>
                    <a:pt x="70" y="91"/>
                  </a:cubicBezTo>
                  <a:cubicBezTo>
                    <a:pt x="72" y="89"/>
                    <a:pt x="72" y="86"/>
                    <a:pt x="70" y="84"/>
                  </a:cubicBezTo>
                  <a:cubicBezTo>
                    <a:pt x="68" y="82"/>
                    <a:pt x="65" y="82"/>
                    <a:pt x="63" y="84"/>
                  </a:cubicBezTo>
                  <a:cubicBezTo>
                    <a:pt x="41" y="106"/>
                    <a:pt x="41" y="106"/>
                    <a:pt x="41" y="106"/>
                  </a:cubicBezTo>
                  <a:cubicBezTo>
                    <a:pt x="41" y="5"/>
                    <a:pt x="41" y="5"/>
                    <a:pt x="41" y="5"/>
                  </a:cubicBezTo>
                  <a:cubicBezTo>
                    <a:pt x="41" y="3"/>
                    <a:pt x="39" y="0"/>
                    <a:pt x="36" y="0"/>
                  </a:cubicBezTo>
                  <a:cubicBezTo>
                    <a:pt x="33" y="0"/>
                    <a:pt x="31" y="3"/>
                    <a:pt x="31" y="5"/>
                  </a:cubicBezTo>
                  <a:cubicBezTo>
                    <a:pt x="31" y="106"/>
                    <a:pt x="31" y="106"/>
                    <a:pt x="31" y="106"/>
                  </a:cubicBezTo>
                  <a:lnTo>
                    <a:pt x="9" y="84"/>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304" name="TextBox 303">
            <a:extLst>
              <a:ext uri="{FF2B5EF4-FFF2-40B4-BE49-F238E27FC236}">
                <a16:creationId xmlns:a16="http://schemas.microsoft.com/office/drawing/2014/main" id="{DD4E52B1-F36D-4561-9396-9C3DF90F972C}"/>
              </a:ext>
            </a:extLst>
          </p:cNvPr>
          <p:cNvSpPr txBox="1"/>
          <p:nvPr/>
        </p:nvSpPr>
        <p:spPr>
          <a:xfrm>
            <a:off x="3988383" y="3791005"/>
            <a:ext cx="934744" cy="430907"/>
          </a:xfrm>
          <a:prstGeom prst="rect">
            <a:avLst/>
          </a:prstGeom>
          <a:ln>
            <a:noFill/>
          </a:ln>
        </p:spPr>
        <p:txBody>
          <a:bodyPr vert="horz" wrap="square" lIns="45720" tIns="31173" rIns="45720" bIns="31173" rtlCol="0" anchor="ctr">
            <a:norm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Online customization</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sp>
        <p:nvSpPr>
          <p:cNvPr id="305" name="Freeform 14">
            <a:extLst>
              <a:ext uri="{FF2B5EF4-FFF2-40B4-BE49-F238E27FC236}">
                <a16:creationId xmlns:a16="http://schemas.microsoft.com/office/drawing/2014/main" id="{EFADC247-6F8C-48AA-9963-3A3B08AFE2BC}"/>
              </a:ext>
            </a:extLst>
          </p:cNvPr>
          <p:cNvSpPr>
            <a:spLocks noEditPoints="1"/>
          </p:cNvSpPr>
          <p:nvPr/>
        </p:nvSpPr>
        <p:spPr bwMode="auto">
          <a:xfrm>
            <a:off x="5379448" y="3837973"/>
            <a:ext cx="321016" cy="320040"/>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4 w 658"/>
              <a:gd name="T11" fmla="*/ 426 h 657"/>
              <a:gd name="T12" fmla="*/ 4 w 658"/>
              <a:gd name="T13" fmla="*/ 379 h 657"/>
              <a:gd name="T14" fmla="*/ 0 w 658"/>
              <a:gd name="T15" fmla="*/ 328 h 657"/>
              <a:gd name="T16" fmla="*/ 2 w 658"/>
              <a:gd name="T17" fmla="*/ 294 h 657"/>
              <a:gd name="T18" fmla="*/ 10 w 658"/>
              <a:gd name="T19" fmla="*/ 246 h 657"/>
              <a:gd name="T20" fmla="*/ 40 w 658"/>
              <a:gd name="T21" fmla="*/ 172 h 657"/>
              <a:gd name="T22" fmla="*/ 96 w 658"/>
              <a:gd name="T23" fmla="*/ 95 h 657"/>
              <a:gd name="T24" fmla="*/ 171 w 658"/>
              <a:gd name="T25" fmla="*/ 39 h 657"/>
              <a:gd name="T26" fmla="*/ 247 w 658"/>
              <a:gd name="T27" fmla="*/ 9 h 657"/>
              <a:gd name="T28" fmla="*/ 295 w 658"/>
              <a:gd name="T29" fmla="*/ 1 h 657"/>
              <a:gd name="T30" fmla="*/ 329 w 658"/>
              <a:gd name="T31" fmla="*/ 0 h 657"/>
              <a:gd name="T32" fmla="*/ 378 w 658"/>
              <a:gd name="T33" fmla="*/ 2 h 657"/>
              <a:gd name="T34" fmla="*/ 427 w 658"/>
              <a:gd name="T35" fmla="*/ 15 h 657"/>
              <a:gd name="T36" fmla="*/ 513 w 658"/>
              <a:gd name="T37" fmla="*/ 55 h 657"/>
              <a:gd name="T38" fmla="*/ 583 w 658"/>
              <a:gd name="T39" fmla="*/ 119 h 657"/>
              <a:gd name="T40" fmla="*/ 632 w 658"/>
              <a:gd name="T41" fmla="*/ 200 h 657"/>
              <a:gd name="T42" fmla="*/ 651 w 658"/>
              <a:gd name="T43" fmla="*/ 262 h 657"/>
              <a:gd name="T44" fmla="*/ 656 w 658"/>
              <a:gd name="T45" fmla="*/ 311 h 657"/>
              <a:gd name="T46" fmla="*/ 656 w 658"/>
              <a:gd name="T47" fmla="*/ 345 h 657"/>
              <a:gd name="T48" fmla="*/ 651 w 658"/>
              <a:gd name="T49" fmla="*/ 395 h 657"/>
              <a:gd name="T50" fmla="*/ 632 w 658"/>
              <a:gd name="T51" fmla="*/ 457 h 657"/>
              <a:gd name="T52" fmla="*/ 583 w 658"/>
              <a:gd name="T53" fmla="*/ 537 h 657"/>
              <a:gd name="T54" fmla="*/ 513 w 658"/>
              <a:gd name="T55" fmla="*/ 600 h 657"/>
              <a:gd name="T56" fmla="*/ 427 w 658"/>
              <a:gd name="T57" fmla="*/ 642 h 657"/>
              <a:gd name="T58" fmla="*/ 378 w 658"/>
              <a:gd name="T59" fmla="*/ 653 h 657"/>
              <a:gd name="T60" fmla="*/ 329 w 658"/>
              <a:gd name="T61" fmla="*/ 657 h 657"/>
              <a:gd name="T62" fmla="*/ 329 w 658"/>
              <a:gd name="T63" fmla="*/ 37 h 657"/>
              <a:gd name="T64" fmla="*/ 243 w 658"/>
              <a:gd name="T65" fmla="*/ 50 h 657"/>
              <a:gd name="T66" fmla="*/ 166 w 658"/>
              <a:gd name="T67" fmla="*/ 87 h 657"/>
              <a:gd name="T68" fmla="*/ 104 w 658"/>
              <a:gd name="T69" fmla="*/ 144 h 657"/>
              <a:gd name="T70" fmla="*/ 60 w 658"/>
              <a:gd name="T71" fmla="*/ 215 h 657"/>
              <a:gd name="T72" fmla="*/ 38 w 658"/>
              <a:gd name="T73" fmla="*/ 298 h 657"/>
              <a:gd name="T74" fmla="*/ 38 w 658"/>
              <a:gd name="T75" fmla="*/ 358 h 657"/>
              <a:gd name="T76" fmla="*/ 60 w 658"/>
              <a:gd name="T77" fmla="*/ 442 h 657"/>
              <a:gd name="T78" fmla="*/ 104 w 658"/>
              <a:gd name="T79" fmla="*/ 513 h 657"/>
              <a:gd name="T80" fmla="*/ 166 w 658"/>
              <a:gd name="T81" fmla="*/ 569 h 657"/>
              <a:gd name="T82" fmla="*/ 243 w 658"/>
              <a:gd name="T83" fmla="*/ 606 h 657"/>
              <a:gd name="T84" fmla="*/ 329 w 658"/>
              <a:gd name="T85" fmla="*/ 619 h 657"/>
              <a:gd name="T86" fmla="*/ 388 w 658"/>
              <a:gd name="T87" fmla="*/ 614 h 657"/>
              <a:gd name="T88" fmla="*/ 467 w 658"/>
              <a:gd name="T89" fmla="*/ 584 h 657"/>
              <a:gd name="T90" fmla="*/ 534 w 658"/>
              <a:gd name="T91" fmla="*/ 534 h 657"/>
              <a:gd name="T92" fmla="*/ 585 w 658"/>
              <a:gd name="T93" fmla="*/ 467 h 657"/>
              <a:gd name="T94" fmla="*/ 613 w 658"/>
              <a:gd name="T95" fmla="*/ 387 h 657"/>
              <a:gd name="T96" fmla="*/ 620 w 658"/>
              <a:gd name="T97" fmla="*/ 328 h 657"/>
              <a:gd name="T98" fmla="*/ 607 w 658"/>
              <a:gd name="T99" fmla="*/ 242 h 657"/>
              <a:gd name="T100" fmla="*/ 570 w 658"/>
              <a:gd name="T101" fmla="*/ 165 h 657"/>
              <a:gd name="T102" fmla="*/ 514 w 658"/>
              <a:gd name="T103" fmla="*/ 103 h 657"/>
              <a:gd name="T104" fmla="*/ 441 w 658"/>
              <a:gd name="T105" fmla="*/ 60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5"/>
                </a:lnTo>
                <a:lnTo>
                  <a:pt x="279" y="653"/>
                </a:lnTo>
                <a:lnTo>
                  <a:pt x="263" y="650"/>
                </a:lnTo>
                <a:lnTo>
                  <a:pt x="247" y="646"/>
                </a:lnTo>
                <a:lnTo>
                  <a:pt x="231" y="642"/>
                </a:lnTo>
                <a:lnTo>
                  <a:pt x="201" y="631"/>
                </a:lnTo>
                <a:lnTo>
                  <a:pt x="171" y="618"/>
                </a:lnTo>
                <a:lnTo>
                  <a:pt x="145" y="600"/>
                </a:lnTo>
                <a:lnTo>
                  <a:pt x="119" y="582"/>
                </a:lnTo>
                <a:lnTo>
                  <a:pt x="96" y="560"/>
                </a:lnTo>
                <a:lnTo>
                  <a:pt x="75" y="537"/>
                </a:lnTo>
                <a:lnTo>
                  <a:pt x="56" y="512"/>
                </a:lnTo>
                <a:lnTo>
                  <a:pt x="40" y="485"/>
                </a:lnTo>
                <a:lnTo>
                  <a:pt x="26" y="457"/>
                </a:lnTo>
                <a:lnTo>
                  <a:pt x="14" y="426"/>
                </a:lnTo>
                <a:lnTo>
                  <a:pt x="10" y="410"/>
                </a:lnTo>
                <a:lnTo>
                  <a:pt x="6" y="395"/>
                </a:lnTo>
                <a:lnTo>
                  <a:pt x="4" y="379"/>
                </a:lnTo>
                <a:lnTo>
                  <a:pt x="2" y="361"/>
                </a:lnTo>
                <a:lnTo>
                  <a:pt x="1" y="345"/>
                </a:lnTo>
                <a:lnTo>
                  <a:pt x="0" y="328"/>
                </a:lnTo>
                <a:lnTo>
                  <a:pt x="0" y="328"/>
                </a:lnTo>
                <a:lnTo>
                  <a:pt x="1" y="311"/>
                </a:lnTo>
                <a:lnTo>
                  <a:pt x="2" y="294"/>
                </a:lnTo>
                <a:lnTo>
                  <a:pt x="4" y="278"/>
                </a:lnTo>
                <a:lnTo>
                  <a:pt x="6" y="262"/>
                </a:lnTo>
                <a:lnTo>
                  <a:pt x="10" y="246"/>
                </a:lnTo>
                <a:lnTo>
                  <a:pt x="14" y="231"/>
                </a:lnTo>
                <a:lnTo>
                  <a:pt x="26" y="200"/>
                </a:lnTo>
                <a:lnTo>
                  <a:pt x="40" y="172"/>
                </a:lnTo>
                <a:lnTo>
                  <a:pt x="56" y="145"/>
                </a:lnTo>
                <a:lnTo>
                  <a:pt x="75" y="119"/>
                </a:lnTo>
                <a:lnTo>
                  <a:pt x="96" y="95"/>
                </a:lnTo>
                <a:lnTo>
                  <a:pt x="119" y="75"/>
                </a:lnTo>
                <a:lnTo>
                  <a:pt x="145" y="55"/>
                </a:lnTo>
                <a:lnTo>
                  <a:pt x="171" y="39"/>
                </a:lnTo>
                <a:lnTo>
                  <a:pt x="201" y="25"/>
                </a:lnTo>
                <a:lnTo>
                  <a:pt x="231" y="15"/>
                </a:lnTo>
                <a:lnTo>
                  <a:pt x="247" y="9"/>
                </a:lnTo>
                <a:lnTo>
                  <a:pt x="263" y="7"/>
                </a:lnTo>
                <a:lnTo>
                  <a:pt x="279" y="2"/>
                </a:lnTo>
                <a:lnTo>
                  <a:pt x="295" y="1"/>
                </a:lnTo>
                <a:lnTo>
                  <a:pt x="311" y="0"/>
                </a:lnTo>
                <a:lnTo>
                  <a:pt x="329" y="0"/>
                </a:lnTo>
                <a:lnTo>
                  <a:pt x="329" y="0"/>
                </a:lnTo>
                <a:lnTo>
                  <a:pt x="346" y="0"/>
                </a:lnTo>
                <a:lnTo>
                  <a:pt x="362" y="1"/>
                </a:lnTo>
                <a:lnTo>
                  <a:pt x="378" y="2"/>
                </a:lnTo>
                <a:lnTo>
                  <a:pt x="394" y="7"/>
                </a:lnTo>
                <a:lnTo>
                  <a:pt x="411" y="9"/>
                </a:lnTo>
                <a:lnTo>
                  <a:pt x="427" y="15"/>
                </a:lnTo>
                <a:lnTo>
                  <a:pt x="456" y="25"/>
                </a:lnTo>
                <a:lnTo>
                  <a:pt x="486" y="39"/>
                </a:lnTo>
                <a:lnTo>
                  <a:pt x="513" y="55"/>
                </a:lnTo>
                <a:lnTo>
                  <a:pt x="538" y="75"/>
                </a:lnTo>
                <a:lnTo>
                  <a:pt x="561" y="95"/>
                </a:lnTo>
                <a:lnTo>
                  <a:pt x="583" y="119"/>
                </a:lnTo>
                <a:lnTo>
                  <a:pt x="601" y="145"/>
                </a:lnTo>
                <a:lnTo>
                  <a:pt x="617" y="172"/>
                </a:lnTo>
                <a:lnTo>
                  <a:pt x="632" y="200"/>
                </a:lnTo>
                <a:lnTo>
                  <a:pt x="643" y="231"/>
                </a:lnTo>
                <a:lnTo>
                  <a:pt x="647" y="246"/>
                </a:lnTo>
                <a:lnTo>
                  <a:pt x="651" y="262"/>
                </a:lnTo>
                <a:lnTo>
                  <a:pt x="654" y="278"/>
                </a:lnTo>
                <a:lnTo>
                  <a:pt x="656" y="294"/>
                </a:lnTo>
                <a:lnTo>
                  <a:pt x="656" y="311"/>
                </a:lnTo>
                <a:lnTo>
                  <a:pt x="658" y="328"/>
                </a:lnTo>
                <a:lnTo>
                  <a:pt x="658" y="328"/>
                </a:lnTo>
                <a:lnTo>
                  <a:pt x="656" y="345"/>
                </a:lnTo>
                <a:lnTo>
                  <a:pt x="656" y="361"/>
                </a:lnTo>
                <a:lnTo>
                  <a:pt x="654" y="379"/>
                </a:lnTo>
                <a:lnTo>
                  <a:pt x="651" y="395"/>
                </a:lnTo>
                <a:lnTo>
                  <a:pt x="647" y="410"/>
                </a:lnTo>
                <a:lnTo>
                  <a:pt x="643" y="426"/>
                </a:lnTo>
                <a:lnTo>
                  <a:pt x="632" y="457"/>
                </a:lnTo>
                <a:lnTo>
                  <a:pt x="617" y="485"/>
                </a:lnTo>
                <a:lnTo>
                  <a:pt x="601" y="512"/>
                </a:lnTo>
                <a:lnTo>
                  <a:pt x="583" y="537"/>
                </a:lnTo>
                <a:lnTo>
                  <a:pt x="561" y="560"/>
                </a:lnTo>
                <a:lnTo>
                  <a:pt x="538" y="582"/>
                </a:lnTo>
                <a:lnTo>
                  <a:pt x="513" y="600"/>
                </a:lnTo>
                <a:lnTo>
                  <a:pt x="486" y="618"/>
                </a:lnTo>
                <a:lnTo>
                  <a:pt x="456" y="631"/>
                </a:lnTo>
                <a:lnTo>
                  <a:pt x="427" y="642"/>
                </a:lnTo>
                <a:lnTo>
                  <a:pt x="411" y="646"/>
                </a:lnTo>
                <a:lnTo>
                  <a:pt x="394" y="650"/>
                </a:lnTo>
                <a:lnTo>
                  <a:pt x="378" y="653"/>
                </a:lnTo>
                <a:lnTo>
                  <a:pt x="362" y="655"/>
                </a:lnTo>
                <a:lnTo>
                  <a:pt x="346" y="657"/>
                </a:lnTo>
                <a:lnTo>
                  <a:pt x="329" y="657"/>
                </a:lnTo>
                <a:lnTo>
                  <a:pt x="329" y="657"/>
                </a:lnTo>
                <a:close/>
                <a:moveTo>
                  <a:pt x="329" y="37"/>
                </a:moveTo>
                <a:lnTo>
                  <a:pt x="329" y="37"/>
                </a:lnTo>
                <a:lnTo>
                  <a:pt x="299" y="39"/>
                </a:lnTo>
                <a:lnTo>
                  <a:pt x="270" y="43"/>
                </a:lnTo>
                <a:lnTo>
                  <a:pt x="243" y="50"/>
                </a:lnTo>
                <a:lnTo>
                  <a:pt x="216" y="60"/>
                </a:lnTo>
                <a:lnTo>
                  <a:pt x="190" y="72"/>
                </a:lnTo>
                <a:lnTo>
                  <a:pt x="166" y="87"/>
                </a:lnTo>
                <a:lnTo>
                  <a:pt x="143" y="103"/>
                </a:lnTo>
                <a:lnTo>
                  <a:pt x="123" y="122"/>
                </a:lnTo>
                <a:lnTo>
                  <a:pt x="104" y="144"/>
                </a:lnTo>
                <a:lnTo>
                  <a:pt x="87" y="165"/>
                </a:lnTo>
                <a:lnTo>
                  <a:pt x="72" y="189"/>
                </a:lnTo>
                <a:lnTo>
                  <a:pt x="60" y="215"/>
                </a:lnTo>
                <a:lnTo>
                  <a:pt x="51" y="242"/>
                </a:lnTo>
                <a:lnTo>
                  <a:pt x="44" y="270"/>
                </a:lnTo>
                <a:lnTo>
                  <a:pt x="38" y="298"/>
                </a:lnTo>
                <a:lnTo>
                  <a:pt x="37" y="328"/>
                </a:lnTo>
                <a:lnTo>
                  <a:pt x="37" y="328"/>
                </a:lnTo>
                <a:lnTo>
                  <a:pt x="38" y="358"/>
                </a:lnTo>
                <a:lnTo>
                  <a:pt x="44" y="387"/>
                </a:lnTo>
                <a:lnTo>
                  <a:pt x="51" y="415"/>
                </a:lnTo>
                <a:lnTo>
                  <a:pt x="60" y="442"/>
                </a:lnTo>
                <a:lnTo>
                  <a:pt x="72" y="467"/>
                </a:lnTo>
                <a:lnTo>
                  <a:pt x="87" y="491"/>
                </a:lnTo>
                <a:lnTo>
                  <a:pt x="104" y="513"/>
                </a:lnTo>
                <a:lnTo>
                  <a:pt x="123" y="534"/>
                </a:lnTo>
                <a:lnTo>
                  <a:pt x="143" y="553"/>
                </a:lnTo>
                <a:lnTo>
                  <a:pt x="166" y="569"/>
                </a:lnTo>
                <a:lnTo>
                  <a:pt x="190" y="584"/>
                </a:lnTo>
                <a:lnTo>
                  <a:pt x="216" y="596"/>
                </a:lnTo>
                <a:lnTo>
                  <a:pt x="243" y="606"/>
                </a:lnTo>
                <a:lnTo>
                  <a:pt x="270" y="614"/>
                </a:lnTo>
                <a:lnTo>
                  <a:pt x="299" y="618"/>
                </a:lnTo>
                <a:lnTo>
                  <a:pt x="329" y="619"/>
                </a:lnTo>
                <a:lnTo>
                  <a:pt x="329" y="619"/>
                </a:lnTo>
                <a:lnTo>
                  <a:pt x="358" y="618"/>
                </a:lnTo>
                <a:lnTo>
                  <a:pt x="388" y="614"/>
                </a:lnTo>
                <a:lnTo>
                  <a:pt x="415" y="606"/>
                </a:lnTo>
                <a:lnTo>
                  <a:pt x="441" y="596"/>
                </a:lnTo>
                <a:lnTo>
                  <a:pt x="467" y="584"/>
                </a:lnTo>
                <a:lnTo>
                  <a:pt x="491" y="569"/>
                </a:lnTo>
                <a:lnTo>
                  <a:pt x="514" y="553"/>
                </a:lnTo>
                <a:lnTo>
                  <a:pt x="534" y="534"/>
                </a:lnTo>
                <a:lnTo>
                  <a:pt x="553" y="513"/>
                </a:lnTo>
                <a:lnTo>
                  <a:pt x="570" y="491"/>
                </a:lnTo>
                <a:lnTo>
                  <a:pt x="585" y="467"/>
                </a:lnTo>
                <a:lnTo>
                  <a:pt x="597" y="442"/>
                </a:lnTo>
                <a:lnTo>
                  <a:pt x="607" y="415"/>
                </a:lnTo>
                <a:lnTo>
                  <a:pt x="613" y="387"/>
                </a:lnTo>
                <a:lnTo>
                  <a:pt x="619" y="358"/>
                </a:lnTo>
                <a:lnTo>
                  <a:pt x="620" y="328"/>
                </a:lnTo>
                <a:lnTo>
                  <a:pt x="620" y="328"/>
                </a:lnTo>
                <a:lnTo>
                  <a:pt x="619" y="298"/>
                </a:lnTo>
                <a:lnTo>
                  <a:pt x="613" y="270"/>
                </a:lnTo>
                <a:lnTo>
                  <a:pt x="607" y="242"/>
                </a:lnTo>
                <a:lnTo>
                  <a:pt x="597" y="215"/>
                </a:lnTo>
                <a:lnTo>
                  <a:pt x="585" y="189"/>
                </a:lnTo>
                <a:lnTo>
                  <a:pt x="570" y="165"/>
                </a:lnTo>
                <a:lnTo>
                  <a:pt x="553" y="144"/>
                </a:lnTo>
                <a:lnTo>
                  <a:pt x="534" y="122"/>
                </a:lnTo>
                <a:lnTo>
                  <a:pt x="514" y="103"/>
                </a:lnTo>
                <a:lnTo>
                  <a:pt x="491" y="87"/>
                </a:lnTo>
                <a:lnTo>
                  <a:pt x="467" y="72"/>
                </a:lnTo>
                <a:lnTo>
                  <a:pt x="441" y="60"/>
                </a:lnTo>
                <a:lnTo>
                  <a:pt x="415" y="50"/>
                </a:lnTo>
                <a:lnTo>
                  <a:pt x="388" y="43"/>
                </a:lnTo>
                <a:lnTo>
                  <a:pt x="358" y="39"/>
                </a:lnTo>
                <a:lnTo>
                  <a:pt x="329" y="37"/>
                </a:lnTo>
                <a:lnTo>
                  <a:pt x="329" y="3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06" name="Freeform 218">
            <a:extLst>
              <a:ext uri="{FF2B5EF4-FFF2-40B4-BE49-F238E27FC236}">
                <a16:creationId xmlns:a16="http://schemas.microsoft.com/office/drawing/2014/main" id="{85128319-44CA-49ED-845E-3E28166198F2}"/>
              </a:ext>
            </a:extLst>
          </p:cNvPr>
          <p:cNvSpPr>
            <a:spLocks noEditPoints="1"/>
          </p:cNvSpPr>
          <p:nvPr/>
        </p:nvSpPr>
        <p:spPr bwMode="auto">
          <a:xfrm>
            <a:off x="5443996" y="3914273"/>
            <a:ext cx="180221" cy="189187"/>
          </a:xfrm>
          <a:custGeom>
            <a:avLst/>
            <a:gdLst>
              <a:gd name="T0" fmla="*/ 212 w 250"/>
              <a:gd name="T1" fmla="*/ 20 h 223"/>
              <a:gd name="T2" fmla="*/ 162 w 250"/>
              <a:gd name="T3" fmla="*/ 1 h 223"/>
              <a:gd name="T4" fmla="*/ 143 w 250"/>
              <a:gd name="T5" fmla="*/ 2 h 223"/>
              <a:gd name="T6" fmla="*/ 91 w 250"/>
              <a:gd name="T7" fmla="*/ 1 h 223"/>
              <a:gd name="T8" fmla="*/ 42 w 250"/>
              <a:gd name="T9" fmla="*/ 17 h 223"/>
              <a:gd name="T10" fmla="*/ 17 w 250"/>
              <a:gd name="T11" fmla="*/ 82 h 223"/>
              <a:gd name="T12" fmla="*/ 24 w 250"/>
              <a:gd name="T13" fmla="*/ 90 h 223"/>
              <a:gd name="T14" fmla="*/ 44 w 250"/>
              <a:gd name="T15" fmla="*/ 99 h 223"/>
              <a:gd name="T16" fmla="*/ 49 w 250"/>
              <a:gd name="T17" fmla="*/ 223 h 223"/>
              <a:gd name="T18" fmla="*/ 206 w 250"/>
              <a:gd name="T19" fmla="*/ 222 h 223"/>
              <a:gd name="T20" fmla="*/ 207 w 250"/>
              <a:gd name="T21" fmla="*/ 100 h 223"/>
              <a:gd name="T22" fmla="*/ 226 w 250"/>
              <a:gd name="T23" fmla="*/ 92 h 223"/>
              <a:gd name="T24" fmla="*/ 247 w 250"/>
              <a:gd name="T25" fmla="*/ 59 h 223"/>
              <a:gd name="T26" fmla="*/ 153 w 250"/>
              <a:gd name="T27" fmla="*/ 11 h 223"/>
              <a:gd name="T28" fmla="*/ 125 w 250"/>
              <a:gd name="T29" fmla="*/ 34 h 223"/>
              <a:gd name="T30" fmla="*/ 144 w 250"/>
              <a:gd name="T31" fmla="*/ 12 h 223"/>
              <a:gd name="T32" fmla="*/ 32 w 250"/>
              <a:gd name="T33" fmla="*/ 84 h 223"/>
              <a:gd name="T34" fmla="*/ 24 w 250"/>
              <a:gd name="T35" fmla="*/ 75 h 223"/>
              <a:gd name="T36" fmla="*/ 50 w 250"/>
              <a:gd name="T37" fmla="*/ 24 h 223"/>
              <a:gd name="T38" fmla="*/ 39 w 250"/>
              <a:gd name="T39" fmla="*/ 90 h 223"/>
              <a:gd name="T40" fmla="*/ 54 w 250"/>
              <a:gd name="T41" fmla="*/ 95 h 223"/>
              <a:gd name="T42" fmla="*/ 75 w 250"/>
              <a:gd name="T43" fmla="*/ 14 h 223"/>
              <a:gd name="T44" fmla="*/ 88 w 250"/>
              <a:gd name="T45" fmla="*/ 11 h 223"/>
              <a:gd name="T46" fmla="*/ 125 w 250"/>
              <a:gd name="T47" fmla="*/ 44 h 223"/>
              <a:gd name="T48" fmla="*/ 171 w 250"/>
              <a:gd name="T49" fmla="*/ 13 h 223"/>
              <a:gd name="T50" fmla="*/ 193 w 250"/>
              <a:gd name="T51" fmla="*/ 19 h 223"/>
              <a:gd name="T52" fmla="*/ 197 w 250"/>
              <a:gd name="T53" fmla="*/ 213 h 223"/>
              <a:gd name="T54" fmla="*/ 222 w 250"/>
              <a:gd name="T55" fmla="*/ 82 h 223"/>
              <a:gd name="T56" fmla="*/ 213 w 250"/>
              <a:gd name="T57" fmla="*/ 91 h 223"/>
              <a:gd name="T58" fmla="*/ 206 w 250"/>
              <a:gd name="T59" fmla="*/ 89 h 223"/>
              <a:gd name="T60" fmla="*/ 204 w 250"/>
              <a:gd name="T61" fmla="*/ 26 h 223"/>
              <a:gd name="T62" fmla="*/ 222 w 250"/>
              <a:gd name="T63" fmla="*/ 8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0" h="223">
                <a:moveTo>
                  <a:pt x="247" y="59"/>
                </a:moveTo>
                <a:cubicBezTo>
                  <a:pt x="212" y="20"/>
                  <a:pt x="212" y="20"/>
                  <a:pt x="212" y="20"/>
                </a:cubicBezTo>
                <a:cubicBezTo>
                  <a:pt x="203" y="10"/>
                  <a:pt x="192" y="8"/>
                  <a:pt x="182" y="5"/>
                </a:cubicBezTo>
                <a:cubicBezTo>
                  <a:pt x="171" y="3"/>
                  <a:pt x="169" y="2"/>
                  <a:pt x="162" y="1"/>
                </a:cubicBezTo>
                <a:cubicBezTo>
                  <a:pt x="161" y="1"/>
                  <a:pt x="160" y="1"/>
                  <a:pt x="159" y="1"/>
                </a:cubicBezTo>
                <a:cubicBezTo>
                  <a:pt x="153" y="1"/>
                  <a:pt x="148" y="1"/>
                  <a:pt x="143" y="2"/>
                </a:cubicBezTo>
                <a:cubicBezTo>
                  <a:pt x="113" y="6"/>
                  <a:pt x="111" y="0"/>
                  <a:pt x="94" y="1"/>
                </a:cubicBezTo>
                <a:cubicBezTo>
                  <a:pt x="92" y="0"/>
                  <a:pt x="92" y="0"/>
                  <a:pt x="91" y="1"/>
                </a:cubicBezTo>
                <a:cubicBezTo>
                  <a:pt x="84" y="2"/>
                  <a:pt x="85" y="2"/>
                  <a:pt x="73" y="4"/>
                </a:cubicBezTo>
                <a:cubicBezTo>
                  <a:pt x="62" y="7"/>
                  <a:pt x="50" y="9"/>
                  <a:pt x="42" y="17"/>
                </a:cubicBezTo>
                <a:cubicBezTo>
                  <a:pt x="6" y="58"/>
                  <a:pt x="6" y="58"/>
                  <a:pt x="6" y="58"/>
                </a:cubicBezTo>
                <a:cubicBezTo>
                  <a:pt x="0" y="65"/>
                  <a:pt x="10" y="75"/>
                  <a:pt x="17" y="82"/>
                </a:cubicBezTo>
                <a:cubicBezTo>
                  <a:pt x="18" y="83"/>
                  <a:pt x="19" y="84"/>
                  <a:pt x="20" y="85"/>
                </a:cubicBezTo>
                <a:cubicBezTo>
                  <a:pt x="21" y="87"/>
                  <a:pt x="23" y="88"/>
                  <a:pt x="24" y="90"/>
                </a:cubicBezTo>
                <a:cubicBezTo>
                  <a:pt x="29" y="96"/>
                  <a:pt x="32" y="100"/>
                  <a:pt x="39" y="100"/>
                </a:cubicBezTo>
                <a:cubicBezTo>
                  <a:pt x="41" y="100"/>
                  <a:pt x="42" y="100"/>
                  <a:pt x="44" y="99"/>
                </a:cubicBezTo>
                <a:cubicBezTo>
                  <a:pt x="44" y="218"/>
                  <a:pt x="44" y="218"/>
                  <a:pt x="44" y="218"/>
                </a:cubicBezTo>
                <a:cubicBezTo>
                  <a:pt x="44" y="221"/>
                  <a:pt x="47" y="223"/>
                  <a:pt x="49" y="223"/>
                </a:cubicBezTo>
                <a:cubicBezTo>
                  <a:pt x="202" y="223"/>
                  <a:pt x="202" y="223"/>
                  <a:pt x="202" y="223"/>
                </a:cubicBezTo>
                <a:cubicBezTo>
                  <a:pt x="204" y="223"/>
                  <a:pt x="205" y="222"/>
                  <a:pt x="206" y="222"/>
                </a:cubicBezTo>
                <a:cubicBezTo>
                  <a:pt x="207" y="221"/>
                  <a:pt x="207" y="219"/>
                  <a:pt x="207" y="218"/>
                </a:cubicBezTo>
                <a:cubicBezTo>
                  <a:pt x="207" y="100"/>
                  <a:pt x="207" y="100"/>
                  <a:pt x="207" y="100"/>
                </a:cubicBezTo>
                <a:cubicBezTo>
                  <a:pt x="210" y="100"/>
                  <a:pt x="211" y="101"/>
                  <a:pt x="213" y="101"/>
                </a:cubicBezTo>
                <a:cubicBezTo>
                  <a:pt x="219" y="101"/>
                  <a:pt x="222" y="97"/>
                  <a:pt x="226" y="92"/>
                </a:cubicBezTo>
                <a:cubicBezTo>
                  <a:pt x="227" y="91"/>
                  <a:pt x="228" y="90"/>
                  <a:pt x="229" y="88"/>
                </a:cubicBezTo>
                <a:cubicBezTo>
                  <a:pt x="248" y="66"/>
                  <a:pt x="250" y="63"/>
                  <a:pt x="247" y="59"/>
                </a:cubicBezTo>
                <a:close/>
                <a:moveTo>
                  <a:pt x="144" y="12"/>
                </a:moveTo>
                <a:cubicBezTo>
                  <a:pt x="148" y="12"/>
                  <a:pt x="151" y="11"/>
                  <a:pt x="153" y="11"/>
                </a:cubicBezTo>
                <a:cubicBezTo>
                  <a:pt x="148" y="27"/>
                  <a:pt x="136" y="34"/>
                  <a:pt x="125" y="34"/>
                </a:cubicBezTo>
                <a:cubicBezTo>
                  <a:pt x="125" y="34"/>
                  <a:pt x="125" y="34"/>
                  <a:pt x="125" y="34"/>
                </a:cubicBezTo>
                <a:cubicBezTo>
                  <a:pt x="115" y="34"/>
                  <a:pt x="103" y="27"/>
                  <a:pt x="99" y="11"/>
                </a:cubicBezTo>
                <a:cubicBezTo>
                  <a:pt x="113" y="12"/>
                  <a:pt x="117" y="15"/>
                  <a:pt x="144" y="12"/>
                </a:cubicBezTo>
                <a:close/>
                <a:moveTo>
                  <a:pt x="39" y="90"/>
                </a:moveTo>
                <a:cubicBezTo>
                  <a:pt x="37" y="90"/>
                  <a:pt x="36" y="90"/>
                  <a:pt x="32" y="84"/>
                </a:cubicBezTo>
                <a:cubicBezTo>
                  <a:pt x="31" y="82"/>
                  <a:pt x="29" y="80"/>
                  <a:pt x="27" y="78"/>
                </a:cubicBezTo>
                <a:cubicBezTo>
                  <a:pt x="27" y="77"/>
                  <a:pt x="25" y="76"/>
                  <a:pt x="24" y="75"/>
                </a:cubicBezTo>
                <a:cubicBezTo>
                  <a:pt x="22" y="73"/>
                  <a:pt x="16" y="67"/>
                  <a:pt x="15" y="64"/>
                </a:cubicBezTo>
                <a:cubicBezTo>
                  <a:pt x="50" y="24"/>
                  <a:pt x="50" y="24"/>
                  <a:pt x="50" y="24"/>
                </a:cubicBezTo>
                <a:cubicBezTo>
                  <a:pt x="60" y="59"/>
                  <a:pt x="49" y="83"/>
                  <a:pt x="46" y="89"/>
                </a:cubicBezTo>
                <a:cubicBezTo>
                  <a:pt x="43" y="90"/>
                  <a:pt x="41" y="90"/>
                  <a:pt x="39" y="90"/>
                </a:cubicBezTo>
                <a:close/>
                <a:moveTo>
                  <a:pt x="54" y="213"/>
                </a:moveTo>
                <a:cubicBezTo>
                  <a:pt x="54" y="95"/>
                  <a:pt x="54" y="95"/>
                  <a:pt x="54" y="95"/>
                </a:cubicBezTo>
                <a:cubicBezTo>
                  <a:pt x="58" y="88"/>
                  <a:pt x="72" y="60"/>
                  <a:pt x="59" y="18"/>
                </a:cubicBezTo>
                <a:cubicBezTo>
                  <a:pt x="64" y="16"/>
                  <a:pt x="70" y="15"/>
                  <a:pt x="75" y="14"/>
                </a:cubicBezTo>
                <a:cubicBezTo>
                  <a:pt x="79" y="13"/>
                  <a:pt x="82" y="13"/>
                  <a:pt x="86" y="12"/>
                </a:cubicBezTo>
                <a:cubicBezTo>
                  <a:pt x="87" y="12"/>
                  <a:pt x="87" y="12"/>
                  <a:pt x="88" y="11"/>
                </a:cubicBezTo>
                <a:cubicBezTo>
                  <a:pt x="94" y="33"/>
                  <a:pt x="110" y="44"/>
                  <a:pt x="125" y="44"/>
                </a:cubicBezTo>
                <a:cubicBezTo>
                  <a:pt x="125" y="44"/>
                  <a:pt x="125" y="44"/>
                  <a:pt x="125" y="44"/>
                </a:cubicBezTo>
                <a:cubicBezTo>
                  <a:pt x="141" y="44"/>
                  <a:pt x="158" y="34"/>
                  <a:pt x="164" y="11"/>
                </a:cubicBezTo>
                <a:cubicBezTo>
                  <a:pt x="166" y="12"/>
                  <a:pt x="168" y="12"/>
                  <a:pt x="171" y="13"/>
                </a:cubicBezTo>
                <a:cubicBezTo>
                  <a:pt x="174" y="14"/>
                  <a:pt x="177" y="14"/>
                  <a:pt x="179" y="15"/>
                </a:cubicBezTo>
                <a:cubicBezTo>
                  <a:pt x="184" y="16"/>
                  <a:pt x="189" y="17"/>
                  <a:pt x="193" y="19"/>
                </a:cubicBezTo>
                <a:cubicBezTo>
                  <a:pt x="180" y="60"/>
                  <a:pt x="194" y="88"/>
                  <a:pt x="197" y="94"/>
                </a:cubicBezTo>
                <a:cubicBezTo>
                  <a:pt x="197" y="213"/>
                  <a:pt x="197" y="213"/>
                  <a:pt x="197" y="213"/>
                </a:cubicBezTo>
                <a:lnTo>
                  <a:pt x="54" y="213"/>
                </a:lnTo>
                <a:close/>
                <a:moveTo>
                  <a:pt x="222" y="82"/>
                </a:moveTo>
                <a:cubicBezTo>
                  <a:pt x="220" y="84"/>
                  <a:pt x="219" y="85"/>
                  <a:pt x="219" y="85"/>
                </a:cubicBezTo>
                <a:cubicBezTo>
                  <a:pt x="215" y="90"/>
                  <a:pt x="214" y="91"/>
                  <a:pt x="213" y="91"/>
                </a:cubicBezTo>
                <a:cubicBezTo>
                  <a:pt x="212" y="91"/>
                  <a:pt x="210" y="90"/>
                  <a:pt x="208" y="90"/>
                </a:cubicBezTo>
                <a:cubicBezTo>
                  <a:pt x="207" y="89"/>
                  <a:pt x="207" y="89"/>
                  <a:pt x="206" y="89"/>
                </a:cubicBezTo>
                <a:cubicBezTo>
                  <a:pt x="202" y="83"/>
                  <a:pt x="192" y="59"/>
                  <a:pt x="202" y="24"/>
                </a:cubicBezTo>
                <a:cubicBezTo>
                  <a:pt x="203" y="25"/>
                  <a:pt x="203" y="25"/>
                  <a:pt x="204" y="26"/>
                </a:cubicBezTo>
                <a:cubicBezTo>
                  <a:pt x="237" y="63"/>
                  <a:pt x="237" y="63"/>
                  <a:pt x="237" y="63"/>
                </a:cubicBezTo>
                <a:cubicBezTo>
                  <a:pt x="234" y="68"/>
                  <a:pt x="225" y="78"/>
                  <a:pt x="222" y="8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07" name="TextBox 306">
            <a:extLst>
              <a:ext uri="{FF2B5EF4-FFF2-40B4-BE49-F238E27FC236}">
                <a16:creationId xmlns:a16="http://schemas.microsoft.com/office/drawing/2014/main" id="{2ED78029-5D7D-4E0A-ADEC-FCB8AE8EB2DD}"/>
              </a:ext>
            </a:extLst>
          </p:cNvPr>
          <p:cNvSpPr txBox="1"/>
          <p:nvPr/>
        </p:nvSpPr>
        <p:spPr>
          <a:xfrm>
            <a:off x="982344" y="4526460"/>
            <a:ext cx="966411" cy="337606"/>
          </a:xfrm>
          <a:prstGeom prst="rect">
            <a:avLst/>
          </a:prstGeom>
          <a:ln>
            <a:noFill/>
          </a:ln>
        </p:spPr>
        <p:txBody>
          <a:bodyPr vert="horz" wrap="square" lIns="45720" tIns="31173" rIns="45720" bIns="31173" rtlCol="0" anchor="ctr">
            <a:normAutofit lnSpcReduction="10000"/>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F3F3F"/>
                </a:solidFill>
                <a:effectLst/>
                <a:uLnTx/>
                <a:uFillTx/>
                <a:latin typeface="Open Sans" charset="0"/>
                <a:ea typeface="Open Sans" charset="0"/>
                <a:cs typeface="Open Sans" charset="0"/>
              </a:rPr>
              <a:t>AR/VR Experience</a:t>
            </a:r>
            <a:endParaRPr kumimoji="0" lang="en-US" sz="800" b="0" i="0" u="none" strike="noStrike" kern="0" cap="none" spc="0" normalizeH="0" baseline="0" noProof="0" dirty="0">
              <a:ln>
                <a:noFill/>
              </a:ln>
              <a:solidFill>
                <a:srgbClr val="3F3F3F"/>
              </a:solidFill>
              <a:effectLst/>
              <a:uLnTx/>
              <a:uFillTx/>
              <a:latin typeface="Open Sans" charset="0"/>
              <a:ea typeface="Open Sans" charset="0"/>
              <a:cs typeface="Open Sans" charset="0"/>
            </a:endParaRPr>
          </a:p>
        </p:txBody>
      </p:sp>
      <p:grpSp>
        <p:nvGrpSpPr>
          <p:cNvPr id="308" name="Group 307">
            <a:extLst>
              <a:ext uri="{FF2B5EF4-FFF2-40B4-BE49-F238E27FC236}">
                <a16:creationId xmlns:a16="http://schemas.microsoft.com/office/drawing/2014/main" id="{E9F16C51-38B5-4EEF-900C-18C93DB5FE36}"/>
              </a:ext>
            </a:extLst>
          </p:cNvPr>
          <p:cNvGrpSpPr/>
          <p:nvPr/>
        </p:nvGrpSpPr>
        <p:grpSpPr>
          <a:xfrm>
            <a:off x="2051777" y="4502645"/>
            <a:ext cx="320040" cy="320040"/>
            <a:chOff x="2051777" y="4502645"/>
            <a:chExt cx="320040" cy="320040"/>
          </a:xfrm>
        </p:grpSpPr>
        <p:sp>
          <p:nvSpPr>
            <p:cNvPr id="309" name="Freeform 71">
              <a:extLst>
                <a:ext uri="{FF2B5EF4-FFF2-40B4-BE49-F238E27FC236}">
                  <a16:creationId xmlns:a16="http://schemas.microsoft.com/office/drawing/2014/main" id="{B7ABF408-23A6-4074-9587-39E796D3B91C}"/>
                </a:ext>
              </a:extLst>
            </p:cNvPr>
            <p:cNvSpPr>
              <a:spLocks noEditPoints="1"/>
            </p:cNvSpPr>
            <p:nvPr/>
          </p:nvSpPr>
          <p:spPr bwMode="auto">
            <a:xfrm>
              <a:off x="2051777" y="4502645"/>
              <a:ext cx="320040" cy="320040"/>
            </a:xfrm>
            <a:custGeom>
              <a:avLst/>
              <a:gdLst>
                <a:gd name="T0" fmla="*/ 313 w 658"/>
                <a:gd name="T1" fmla="*/ 658 h 658"/>
                <a:gd name="T2" fmla="*/ 263 w 658"/>
                <a:gd name="T3" fmla="*/ 651 h 658"/>
                <a:gd name="T4" fmla="*/ 201 w 658"/>
                <a:gd name="T5" fmla="*/ 632 h 658"/>
                <a:gd name="T6" fmla="*/ 121 w 658"/>
                <a:gd name="T7" fmla="*/ 582 h 658"/>
                <a:gd name="T8" fmla="*/ 56 w 658"/>
                <a:gd name="T9" fmla="*/ 513 h 658"/>
                <a:gd name="T10" fmla="*/ 15 w 658"/>
                <a:gd name="T11" fmla="*/ 427 h 658"/>
                <a:gd name="T12" fmla="*/ 4 w 658"/>
                <a:gd name="T13" fmla="*/ 378 h 658"/>
                <a:gd name="T14" fmla="*/ 0 w 658"/>
                <a:gd name="T15" fmla="*/ 329 h 658"/>
                <a:gd name="T16" fmla="*/ 3 w 658"/>
                <a:gd name="T17" fmla="*/ 295 h 658"/>
                <a:gd name="T18" fmla="*/ 11 w 658"/>
                <a:gd name="T19" fmla="*/ 247 h 658"/>
                <a:gd name="T20" fmla="*/ 40 w 658"/>
                <a:gd name="T21" fmla="*/ 173 h 658"/>
                <a:gd name="T22" fmla="*/ 97 w 658"/>
                <a:gd name="T23" fmla="*/ 96 h 658"/>
                <a:gd name="T24" fmla="*/ 173 w 658"/>
                <a:gd name="T25" fmla="*/ 40 h 658"/>
                <a:gd name="T26" fmla="*/ 247 w 658"/>
                <a:gd name="T27" fmla="*/ 10 h 658"/>
                <a:gd name="T28" fmla="*/ 295 w 658"/>
                <a:gd name="T29" fmla="*/ 2 h 658"/>
                <a:gd name="T30" fmla="*/ 329 w 658"/>
                <a:gd name="T31" fmla="*/ 0 h 658"/>
                <a:gd name="T32" fmla="*/ 379 w 658"/>
                <a:gd name="T33" fmla="*/ 4 h 658"/>
                <a:gd name="T34" fmla="*/ 427 w 658"/>
                <a:gd name="T35" fmla="*/ 14 h 658"/>
                <a:gd name="T36" fmla="*/ 513 w 658"/>
                <a:gd name="T37" fmla="*/ 56 h 658"/>
                <a:gd name="T38" fmla="*/ 583 w 658"/>
                <a:gd name="T39" fmla="*/ 120 h 658"/>
                <a:gd name="T40" fmla="*/ 632 w 658"/>
                <a:gd name="T41" fmla="*/ 201 h 658"/>
                <a:gd name="T42" fmla="*/ 651 w 658"/>
                <a:gd name="T43" fmla="*/ 263 h 658"/>
                <a:gd name="T44" fmla="*/ 658 w 658"/>
                <a:gd name="T45" fmla="*/ 313 h 658"/>
                <a:gd name="T46" fmla="*/ 658 w 658"/>
                <a:gd name="T47" fmla="*/ 346 h 658"/>
                <a:gd name="T48" fmla="*/ 651 w 658"/>
                <a:gd name="T49" fmla="*/ 394 h 658"/>
                <a:gd name="T50" fmla="*/ 632 w 658"/>
                <a:gd name="T51" fmla="*/ 456 h 658"/>
                <a:gd name="T52" fmla="*/ 583 w 658"/>
                <a:gd name="T53" fmla="*/ 538 h 658"/>
                <a:gd name="T54" fmla="*/ 513 w 658"/>
                <a:gd name="T55" fmla="*/ 601 h 658"/>
                <a:gd name="T56" fmla="*/ 427 w 658"/>
                <a:gd name="T57" fmla="*/ 643 h 658"/>
                <a:gd name="T58" fmla="*/ 379 w 658"/>
                <a:gd name="T59" fmla="*/ 654 h 658"/>
                <a:gd name="T60" fmla="*/ 329 w 658"/>
                <a:gd name="T61" fmla="*/ 658 h 658"/>
                <a:gd name="T62" fmla="*/ 329 w 658"/>
                <a:gd name="T63" fmla="*/ 37 h 658"/>
                <a:gd name="T64" fmla="*/ 243 w 658"/>
                <a:gd name="T65" fmla="*/ 51 h 658"/>
                <a:gd name="T66" fmla="*/ 166 w 658"/>
                <a:gd name="T67" fmla="*/ 87 h 658"/>
                <a:gd name="T68" fmla="*/ 105 w 658"/>
                <a:gd name="T69" fmla="*/ 143 h 658"/>
                <a:gd name="T70" fmla="*/ 62 w 658"/>
                <a:gd name="T71" fmla="*/ 216 h 658"/>
                <a:gd name="T72" fmla="*/ 40 w 658"/>
                <a:gd name="T73" fmla="*/ 299 h 658"/>
                <a:gd name="T74" fmla="*/ 40 w 658"/>
                <a:gd name="T75" fmla="*/ 358 h 658"/>
                <a:gd name="T76" fmla="*/ 62 w 658"/>
                <a:gd name="T77" fmla="*/ 441 h 658"/>
                <a:gd name="T78" fmla="*/ 105 w 658"/>
                <a:gd name="T79" fmla="*/ 514 h 658"/>
                <a:gd name="T80" fmla="*/ 166 w 658"/>
                <a:gd name="T81" fmla="*/ 570 h 658"/>
                <a:gd name="T82" fmla="*/ 243 w 658"/>
                <a:gd name="T83" fmla="*/ 607 h 658"/>
                <a:gd name="T84" fmla="*/ 329 w 658"/>
                <a:gd name="T85" fmla="*/ 620 h 658"/>
                <a:gd name="T86" fmla="*/ 388 w 658"/>
                <a:gd name="T87" fmla="*/ 615 h 658"/>
                <a:gd name="T88" fmla="*/ 467 w 658"/>
                <a:gd name="T89" fmla="*/ 585 h 658"/>
                <a:gd name="T90" fmla="*/ 534 w 658"/>
                <a:gd name="T91" fmla="*/ 534 h 658"/>
                <a:gd name="T92" fmla="*/ 585 w 658"/>
                <a:gd name="T93" fmla="*/ 467 h 658"/>
                <a:gd name="T94" fmla="*/ 615 w 658"/>
                <a:gd name="T95" fmla="*/ 388 h 658"/>
                <a:gd name="T96" fmla="*/ 620 w 658"/>
                <a:gd name="T97" fmla="*/ 329 h 658"/>
                <a:gd name="T98" fmla="*/ 607 w 658"/>
                <a:gd name="T99" fmla="*/ 243 h 658"/>
                <a:gd name="T100" fmla="*/ 571 w 658"/>
                <a:gd name="T101" fmla="*/ 166 h 658"/>
                <a:gd name="T102" fmla="*/ 514 w 658"/>
                <a:gd name="T103" fmla="*/ 104 h 658"/>
                <a:gd name="T104" fmla="*/ 443 w 658"/>
                <a:gd name="T105" fmla="*/ 60 h 658"/>
                <a:gd name="T106" fmla="*/ 358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8"/>
                  </a:lnTo>
                  <a:lnTo>
                    <a:pt x="295" y="656"/>
                  </a:lnTo>
                  <a:lnTo>
                    <a:pt x="279" y="654"/>
                  </a:lnTo>
                  <a:lnTo>
                    <a:pt x="263" y="651"/>
                  </a:lnTo>
                  <a:lnTo>
                    <a:pt x="247" y="647"/>
                  </a:lnTo>
                  <a:lnTo>
                    <a:pt x="232" y="643"/>
                  </a:lnTo>
                  <a:lnTo>
                    <a:pt x="201" y="632"/>
                  </a:lnTo>
                  <a:lnTo>
                    <a:pt x="173" y="617"/>
                  </a:lnTo>
                  <a:lnTo>
                    <a:pt x="145" y="601"/>
                  </a:lnTo>
                  <a:lnTo>
                    <a:pt x="121" y="582"/>
                  </a:lnTo>
                  <a:lnTo>
                    <a:pt x="97" y="561"/>
                  </a:lnTo>
                  <a:lnTo>
                    <a:pt x="75" y="538"/>
                  </a:lnTo>
                  <a:lnTo>
                    <a:pt x="56" y="513"/>
                  </a:lnTo>
                  <a:lnTo>
                    <a:pt x="40" y="486"/>
                  </a:lnTo>
                  <a:lnTo>
                    <a:pt x="27" y="456"/>
                  </a:lnTo>
                  <a:lnTo>
                    <a:pt x="15" y="427"/>
                  </a:lnTo>
                  <a:lnTo>
                    <a:pt x="11" y="411"/>
                  </a:lnTo>
                  <a:lnTo>
                    <a:pt x="7" y="394"/>
                  </a:lnTo>
                  <a:lnTo>
                    <a:pt x="4" y="378"/>
                  </a:lnTo>
                  <a:lnTo>
                    <a:pt x="3" y="362"/>
                  </a:lnTo>
                  <a:lnTo>
                    <a:pt x="1" y="346"/>
                  </a:lnTo>
                  <a:lnTo>
                    <a:pt x="0" y="329"/>
                  </a:lnTo>
                  <a:lnTo>
                    <a:pt x="0" y="329"/>
                  </a:lnTo>
                  <a:lnTo>
                    <a:pt x="1" y="313"/>
                  </a:lnTo>
                  <a:lnTo>
                    <a:pt x="3" y="295"/>
                  </a:lnTo>
                  <a:lnTo>
                    <a:pt x="4" y="279"/>
                  </a:lnTo>
                  <a:lnTo>
                    <a:pt x="7" y="263"/>
                  </a:lnTo>
                  <a:lnTo>
                    <a:pt x="11" y="247"/>
                  </a:lnTo>
                  <a:lnTo>
                    <a:pt x="15" y="231"/>
                  </a:lnTo>
                  <a:lnTo>
                    <a:pt x="27" y="201"/>
                  </a:lnTo>
                  <a:lnTo>
                    <a:pt x="40" y="173"/>
                  </a:lnTo>
                  <a:lnTo>
                    <a:pt x="56" y="145"/>
                  </a:lnTo>
                  <a:lnTo>
                    <a:pt x="75" y="120"/>
                  </a:lnTo>
                  <a:lnTo>
                    <a:pt x="97" y="96"/>
                  </a:lnTo>
                  <a:lnTo>
                    <a:pt x="121" y="75"/>
                  </a:lnTo>
                  <a:lnTo>
                    <a:pt x="145" y="56"/>
                  </a:lnTo>
                  <a:lnTo>
                    <a:pt x="173" y="40"/>
                  </a:lnTo>
                  <a:lnTo>
                    <a:pt x="201" y="26"/>
                  </a:lnTo>
                  <a:lnTo>
                    <a:pt x="232" y="14"/>
                  </a:lnTo>
                  <a:lnTo>
                    <a:pt x="247" y="10"/>
                  </a:lnTo>
                  <a:lnTo>
                    <a:pt x="263" y="6"/>
                  </a:lnTo>
                  <a:lnTo>
                    <a:pt x="279" y="4"/>
                  </a:lnTo>
                  <a:lnTo>
                    <a:pt x="295" y="2"/>
                  </a:lnTo>
                  <a:lnTo>
                    <a:pt x="313" y="1"/>
                  </a:lnTo>
                  <a:lnTo>
                    <a:pt x="329" y="0"/>
                  </a:lnTo>
                  <a:lnTo>
                    <a:pt x="329" y="0"/>
                  </a:lnTo>
                  <a:lnTo>
                    <a:pt x="346" y="1"/>
                  </a:lnTo>
                  <a:lnTo>
                    <a:pt x="362" y="2"/>
                  </a:lnTo>
                  <a:lnTo>
                    <a:pt x="379" y="4"/>
                  </a:lnTo>
                  <a:lnTo>
                    <a:pt x="395" y="6"/>
                  </a:lnTo>
                  <a:lnTo>
                    <a:pt x="411" y="10"/>
                  </a:lnTo>
                  <a:lnTo>
                    <a:pt x="427" y="14"/>
                  </a:lnTo>
                  <a:lnTo>
                    <a:pt x="456" y="26"/>
                  </a:lnTo>
                  <a:lnTo>
                    <a:pt x="486" y="40"/>
                  </a:lnTo>
                  <a:lnTo>
                    <a:pt x="513" y="56"/>
                  </a:lnTo>
                  <a:lnTo>
                    <a:pt x="538" y="75"/>
                  </a:lnTo>
                  <a:lnTo>
                    <a:pt x="561" y="96"/>
                  </a:lnTo>
                  <a:lnTo>
                    <a:pt x="583" y="120"/>
                  </a:lnTo>
                  <a:lnTo>
                    <a:pt x="601" y="145"/>
                  </a:lnTo>
                  <a:lnTo>
                    <a:pt x="618" y="173"/>
                  </a:lnTo>
                  <a:lnTo>
                    <a:pt x="632" y="201"/>
                  </a:lnTo>
                  <a:lnTo>
                    <a:pt x="643" y="231"/>
                  </a:lnTo>
                  <a:lnTo>
                    <a:pt x="647" y="247"/>
                  </a:lnTo>
                  <a:lnTo>
                    <a:pt x="651" y="263"/>
                  </a:lnTo>
                  <a:lnTo>
                    <a:pt x="654" y="279"/>
                  </a:lnTo>
                  <a:lnTo>
                    <a:pt x="657" y="295"/>
                  </a:lnTo>
                  <a:lnTo>
                    <a:pt x="658" y="313"/>
                  </a:lnTo>
                  <a:lnTo>
                    <a:pt x="658" y="329"/>
                  </a:lnTo>
                  <a:lnTo>
                    <a:pt x="658" y="329"/>
                  </a:lnTo>
                  <a:lnTo>
                    <a:pt x="658" y="346"/>
                  </a:lnTo>
                  <a:lnTo>
                    <a:pt x="657" y="362"/>
                  </a:lnTo>
                  <a:lnTo>
                    <a:pt x="654" y="378"/>
                  </a:lnTo>
                  <a:lnTo>
                    <a:pt x="651" y="394"/>
                  </a:lnTo>
                  <a:lnTo>
                    <a:pt x="647" y="411"/>
                  </a:lnTo>
                  <a:lnTo>
                    <a:pt x="643" y="427"/>
                  </a:lnTo>
                  <a:lnTo>
                    <a:pt x="632" y="456"/>
                  </a:lnTo>
                  <a:lnTo>
                    <a:pt x="618" y="486"/>
                  </a:lnTo>
                  <a:lnTo>
                    <a:pt x="601" y="513"/>
                  </a:lnTo>
                  <a:lnTo>
                    <a:pt x="583" y="538"/>
                  </a:lnTo>
                  <a:lnTo>
                    <a:pt x="561" y="561"/>
                  </a:lnTo>
                  <a:lnTo>
                    <a:pt x="538" y="582"/>
                  </a:lnTo>
                  <a:lnTo>
                    <a:pt x="513" y="601"/>
                  </a:lnTo>
                  <a:lnTo>
                    <a:pt x="486" y="617"/>
                  </a:lnTo>
                  <a:lnTo>
                    <a:pt x="456" y="632"/>
                  </a:lnTo>
                  <a:lnTo>
                    <a:pt x="427" y="643"/>
                  </a:lnTo>
                  <a:lnTo>
                    <a:pt x="411" y="647"/>
                  </a:lnTo>
                  <a:lnTo>
                    <a:pt x="395" y="651"/>
                  </a:lnTo>
                  <a:lnTo>
                    <a:pt x="379" y="654"/>
                  </a:lnTo>
                  <a:lnTo>
                    <a:pt x="362" y="656"/>
                  </a:lnTo>
                  <a:lnTo>
                    <a:pt x="346" y="658"/>
                  </a:lnTo>
                  <a:lnTo>
                    <a:pt x="329" y="658"/>
                  </a:lnTo>
                  <a:lnTo>
                    <a:pt x="329" y="658"/>
                  </a:lnTo>
                  <a:close/>
                  <a:moveTo>
                    <a:pt x="329" y="37"/>
                  </a:moveTo>
                  <a:lnTo>
                    <a:pt x="329" y="37"/>
                  </a:lnTo>
                  <a:lnTo>
                    <a:pt x="299" y="40"/>
                  </a:lnTo>
                  <a:lnTo>
                    <a:pt x="271" y="44"/>
                  </a:lnTo>
                  <a:lnTo>
                    <a:pt x="243" y="51"/>
                  </a:lnTo>
                  <a:lnTo>
                    <a:pt x="216" y="60"/>
                  </a:lnTo>
                  <a:lnTo>
                    <a:pt x="191" y="73"/>
                  </a:lnTo>
                  <a:lnTo>
                    <a:pt x="166" y="87"/>
                  </a:lnTo>
                  <a:lnTo>
                    <a:pt x="144" y="104"/>
                  </a:lnTo>
                  <a:lnTo>
                    <a:pt x="123" y="123"/>
                  </a:lnTo>
                  <a:lnTo>
                    <a:pt x="105" y="143"/>
                  </a:lnTo>
                  <a:lnTo>
                    <a:pt x="89" y="166"/>
                  </a:lnTo>
                  <a:lnTo>
                    <a:pt x="74" y="190"/>
                  </a:lnTo>
                  <a:lnTo>
                    <a:pt x="62" y="216"/>
                  </a:lnTo>
                  <a:lnTo>
                    <a:pt x="51" y="243"/>
                  </a:lnTo>
                  <a:lnTo>
                    <a:pt x="44" y="271"/>
                  </a:lnTo>
                  <a:lnTo>
                    <a:pt x="40" y="299"/>
                  </a:lnTo>
                  <a:lnTo>
                    <a:pt x="38" y="329"/>
                  </a:lnTo>
                  <a:lnTo>
                    <a:pt x="38" y="329"/>
                  </a:lnTo>
                  <a:lnTo>
                    <a:pt x="40" y="358"/>
                  </a:lnTo>
                  <a:lnTo>
                    <a:pt x="44" y="388"/>
                  </a:lnTo>
                  <a:lnTo>
                    <a:pt x="51" y="416"/>
                  </a:lnTo>
                  <a:lnTo>
                    <a:pt x="62" y="441"/>
                  </a:lnTo>
                  <a:lnTo>
                    <a:pt x="74" y="467"/>
                  </a:lnTo>
                  <a:lnTo>
                    <a:pt x="89" y="491"/>
                  </a:lnTo>
                  <a:lnTo>
                    <a:pt x="105" y="514"/>
                  </a:lnTo>
                  <a:lnTo>
                    <a:pt x="123" y="534"/>
                  </a:lnTo>
                  <a:lnTo>
                    <a:pt x="144" y="553"/>
                  </a:lnTo>
                  <a:lnTo>
                    <a:pt x="166" y="570"/>
                  </a:lnTo>
                  <a:lnTo>
                    <a:pt x="191" y="585"/>
                  </a:lnTo>
                  <a:lnTo>
                    <a:pt x="216" y="597"/>
                  </a:lnTo>
                  <a:lnTo>
                    <a:pt x="243" y="607"/>
                  </a:lnTo>
                  <a:lnTo>
                    <a:pt x="271" y="615"/>
                  </a:lnTo>
                  <a:lnTo>
                    <a:pt x="299" y="619"/>
                  </a:lnTo>
                  <a:lnTo>
                    <a:pt x="329" y="620"/>
                  </a:lnTo>
                  <a:lnTo>
                    <a:pt x="329" y="620"/>
                  </a:lnTo>
                  <a:lnTo>
                    <a:pt x="358" y="619"/>
                  </a:lnTo>
                  <a:lnTo>
                    <a:pt x="388" y="615"/>
                  </a:lnTo>
                  <a:lnTo>
                    <a:pt x="416" y="607"/>
                  </a:lnTo>
                  <a:lnTo>
                    <a:pt x="443" y="597"/>
                  </a:lnTo>
                  <a:lnTo>
                    <a:pt x="467" y="585"/>
                  </a:lnTo>
                  <a:lnTo>
                    <a:pt x="491" y="570"/>
                  </a:lnTo>
                  <a:lnTo>
                    <a:pt x="514" y="553"/>
                  </a:lnTo>
                  <a:lnTo>
                    <a:pt x="534" y="534"/>
                  </a:lnTo>
                  <a:lnTo>
                    <a:pt x="553" y="514"/>
                  </a:lnTo>
                  <a:lnTo>
                    <a:pt x="571" y="491"/>
                  </a:lnTo>
                  <a:lnTo>
                    <a:pt x="585" y="467"/>
                  </a:lnTo>
                  <a:lnTo>
                    <a:pt x="597" y="441"/>
                  </a:lnTo>
                  <a:lnTo>
                    <a:pt x="607" y="416"/>
                  </a:lnTo>
                  <a:lnTo>
                    <a:pt x="615" y="388"/>
                  </a:lnTo>
                  <a:lnTo>
                    <a:pt x="619" y="358"/>
                  </a:lnTo>
                  <a:lnTo>
                    <a:pt x="620" y="329"/>
                  </a:lnTo>
                  <a:lnTo>
                    <a:pt x="620" y="329"/>
                  </a:lnTo>
                  <a:lnTo>
                    <a:pt x="619" y="299"/>
                  </a:lnTo>
                  <a:lnTo>
                    <a:pt x="615" y="271"/>
                  </a:lnTo>
                  <a:lnTo>
                    <a:pt x="607" y="243"/>
                  </a:lnTo>
                  <a:lnTo>
                    <a:pt x="597" y="216"/>
                  </a:lnTo>
                  <a:lnTo>
                    <a:pt x="585" y="190"/>
                  </a:lnTo>
                  <a:lnTo>
                    <a:pt x="571" y="166"/>
                  </a:lnTo>
                  <a:lnTo>
                    <a:pt x="553" y="143"/>
                  </a:lnTo>
                  <a:lnTo>
                    <a:pt x="534" y="123"/>
                  </a:lnTo>
                  <a:lnTo>
                    <a:pt x="514" y="104"/>
                  </a:lnTo>
                  <a:lnTo>
                    <a:pt x="491" y="87"/>
                  </a:lnTo>
                  <a:lnTo>
                    <a:pt x="467" y="73"/>
                  </a:lnTo>
                  <a:lnTo>
                    <a:pt x="443" y="60"/>
                  </a:lnTo>
                  <a:lnTo>
                    <a:pt x="416" y="51"/>
                  </a:lnTo>
                  <a:lnTo>
                    <a:pt x="388" y="44"/>
                  </a:lnTo>
                  <a:lnTo>
                    <a:pt x="358" y="40"/>
                  </a:lnTo>
                  <a:lnTo>
                    <a:pt x="329" y="37"/>
                  </a:lnTo>
                  <a:lnTo>
                    <a:pt x="329" y="3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pic>
          <p:nvPicPr>
            <p:cNvPr id="310" name="Picture 309">
              <a:extLst>
                <a:ext uri="{FF2B5EF4-FFF2-40B4-BE49-F238E27FC236}">
                  <a16:creationId xmlns:a16="http://schemas.microsoft.com/office/drawing/2014/main" id="{D3461E42-54ED-427F-A716-5AF998265187}"/>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139766" y="4567652"/>
              <a:ext cx="194570" cy="172120"/>
            </a:xfrm>
            <a:prstGeom prst="rect">
              <a:avLst/>
            </a:prstGeom>
          </p:spPr>
        </p:pic>
      </p:grpSp>
    </p:spTree>
    <p:extLst>
      <p:ext uri="{BB962C8B-B14F-4D97-AF65-F5344CB8AC3E}">
        <p14:creationId xmlns:p14="http://schemas.microsoft.com/office/powerpoint/2010/main" val="28360719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FEF450-C040-4C8D-8820-088F457B5105}"/>
              </a:ext>
            </a:extLst>
          </p:cNvPr>
          <p:cNvSpPr>
            <a:spLocks noGrp="1"/>
          </p:cNvSpPr>
          <p:nvPr>
            <p:ph type="body" sz="quarter" idx="10"/>
          </p:nvPr>
        </p:nvSpPr>
        <p:spPr>
          <a:xfrm>
            <a:off x="952499" y="1206500"/>
            <a:ext cx="7333661" cy="2257425"/>
          </a:xfrm>
        </p:spPr>
        <p:txBody>
          <a:bodyPr/>
          <a:lstStyle/>
          <a:p>
            <a:r>
              <a:rPr lang="en-US" dirty="0">
                <a:solidFill>
                  <a:srgbClr val="000000"/>
                </a:solidFill>
              </a:rPr>
              <a:t>Agenda &amp;</a:t>
            </a:r>
            <a:br>
              <a:rPr lang="en-US" dirty="0">
                <a:solidFill>
                  <a:srgbClr val="000000"/>
                </a:solidFill>
              </a:rPr>
            </a:br>
            <a:r>
              <a:rPr lang="en-US" dirty="0">
                <a:solidFill>
                  <a:srgbClr val="000000"/>
                </a:solidFill>
              </a:rPr>
              <a:t>Table of </a:t>
            </a:r>
            <a:br>
              <a:rPr lang="en-US" dirty="0">
                <a:solidFill>
                  <a:srgbClr val="000000"/>
                </a:solidFill>
              </a:rPr>
            </a:br>
            <a:r>
              <a:rPr lang="en-US" dirty="0">
                <a:solidFill>
                  <a:srgbClr val="000000"/>
                </a:solidFill>
              </a:rPr>
              <a:t>Contents</a:t>
            </a:r>
            <a:endParaRPr lang="en-US" sz="1200" spc="300" dirty="0">
              <a:solidFill>
                <a:srgbClr val="000000"/>
              </a:solidFill>
              <a:latin typeface="Open Sans"/>
            </a:endParaRPr>
          </a:p>
          <a:p>
            <a:endParaRPr lang="en-US" dirty="0"/>
          </a:p>
        </p:txBody>
      </p:sp>
      <p:grpSp>
        <p:nvGrpSpPr>
          <p:cNvPr id="7" name="Group 6">
            <a:extLst>
              <a:ext uri="{FF2B5EF4-FFF2-40B4-BE49-F238E27FC236}">
                <a16:creationId xmlns:a16="http://schemas.microsoft.com/office/drawing/2014/main" id="{9C21FA49-9EEB-40CD-AC81-807F65171A8E}"/>
              </a:ext>
            </a:extLst>
          </p:cNvPr>
          <p:cNvGrpSpPr/>
          <p:nvPr/>
        </p:nvGrpSpPr>
        <p:grpSpPr>
          <a:xfrm>
            <a:off x="2277508" y="6274107"/>
            <a:ext cx="7636984" cy="583893"/>
            <a:chOff x="2277508" y="6274107"/>
            <a:chExt cx="7636984" cy="583893"/>
          </a:xfrm>
        </p:grpSpPr>
        <p:sp>
          <p:nvSpPr>
            <p:cNvPr id="5" name="Text Placeholder 1">
              <a:extLst>
                <a:ext uri="{FF2B5EF4-FFF2-40B4-BE49-F238E27FC236}">
                  <a16:creationId xmlns:a16="http://schemas.microsoft.com/office/drawing/2014/main" id="{8460578E-8DA2-4A68-8DD1-D73C7E4ED151}"/>
                </a:ext>
              </a:extLst>
            </p:cNvPr>
            <p:cNvSpPr txBox="1">
              <a:spLocks/>
            </p:cNvSpPr>
            <p:nvPr/>
          </p:nvSpPr>
          <p:spPr>
            <a:xfrm>
              <a:off x="2277508" y="6274107"/>
              <a:ext cx="7636984" cy="583893"/>
            </a:xfrm>
            <a:prstGeom prst="rect">
              <a:avLst/>
            </a:prstGeom>
          </p:spPr>
          <p:txBody>
            <a:bodyPr vert="horz"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800" dirty="0">
                  <a:solidFill>
                    <a:srgbClr val="000000"/>
                  </a:solidFill>
                  <a:latin typeface="+mn-lt"/>
                </a:rPr>
                <a:t>Click Here to Return to the Table of Contents</a:t>
              </a:r>
              <a:endParaRPr lang="en-US" sz="2800" dirty="0">
                <a:latin typeface="+mn-lt"/>
              </a:endParaRPr>
            </a:p>
          </p:txBody>
        </p:sp>
        <p:sp>
          <p:nvSpPr>
            <p:cNvPr id="6" name="Rectangle 5">
              <a:hlinkClick r:id="rId2" action="ppaction://hlinksldjump"/>
              <a:extLst>
                <a:ext uri="{FF2B5EF4-FFF2-40B4-BE49-F238E27FC236}">
                  <a16:creationId xmlns:a16="http://schemas.microsoft.com/office/drawing/2014/main" id="{5C91D19B-515F-413D-AE76-3BFE263BF680}"/>
                </a:ext>
              </a:extLst>
            </p:cNvPr>
            <p:cNvSpPr/>
            <p:nvPr/>
          </p:nvSpPr>
          <p:spPr>
            <a:xfrm>
              <a:off x="2401677" y="6274107"/>
              <a:ext cx="7425369" cy="4792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spTree>
    <p:extLst>
      <p:ext uri="{BB962C8B-B14F-4D97-AF65-F5344CB8AC3E}">
        <p14:creationId xmlns:p14="http://schemas.microsoft.com/office/powerpoint/2010/main" val="113664889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42B20BA-C120-46E8-A4E2-540AF8FD19D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40" name="think-cell Slide" r:id="rId6" imgW="415" imgH="416" progId="TCLayout.ActiveDocument.1">
                  <p:embed/>
                </p:oleObj>
              </mc:Choice>
              <mc:Fallback>
                <p:oleObj name="think-cell Slide" r:id="rId6" imgW="415" imgH="416" progId="TCLayout.ActiveDocument.1">
                  <p:embed/>
                  <p:pic>
                    <p:nvPicPr>
                      <p:cNvPr id="5" name="Object 4" hidden="1">
                        <a:extLst>
                          <a:ext uri="{FF2B5EF4-FFF2-40B4-BE49-F238E27FC236}">
                            <a16:creationId xmlns:a16="http://schemas.microsoft.com/office/drawing/2014/main" id="{942B20BA-C120-46E8-A4E2-540AF8FD19D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0DDFEFC-6954-4F12-8C06-29705631271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5D0EFEA0-8026-4A01-BF9B-AD59D8A7348C}"/>
              </a:ext>
            </a:extLst>
          </p:cNvPr>
          <p:cNvSpPr>
            <a:spLocks noGrp="1"/>
          </p:cNvSpPr>
          <p:nvPr>
            <p:ph type="title"/>
          </p:nvPr>
        </p:nvSpPr>
        <p:spPr/>
        <p:txBody>
          <a:bodyPr/>
          <a:lstStyle/>
          <a:p>
            <a:r>
              <a:rPr lang="en-US" dirty="0"/>
              <a:t>Long-Term Customer Journey</a:t>
            </a:r>
          </a:p>
        </p:txBody>
      </p:sp>
      <p:sp>
        <p:nvSpPr>
          <p:cNvPr id="153" name="Text Placeholder 152">
            <a:extLst>
              <a:ext uri="{FF2B5EF4-FFF2-40B4-BE49-F238E27FC236}">
                <a16:creationId xmlns:a16="http://schemas.microsoft.com/office/drawing/2014/main" id="{399934E1-7CAA-419C-ABA4-1BADABC91D13}"/>
              </a:ext>
            </a:extLst>
          </p:cNvPr>
          <p:cNvSpPr>
            <a:spLocks noGrp="1"/>
          </p:cNvSpPr>
          <p:nvPr>
            <p:ph type="body" sz="quarter" idx="15"/>
          </p:nvPr>
        </p:nvSpPr>
        <p:spPr/>
        <p:txBody>
          <a:bodyPr/>
          <a:lstStyle/>
          <a:p>
            <a:r>
              <a:rPr lang="en-US" dirty="0"/>
              <a:t>Process &amp; customer journey</a:t>
            </a:r>
          </a:p>
        </p:txBody>
      </p:sp>
      <p:sp>
        <p:nvSpPr>
          <p:cNvPr id="7" name="Rectangle 6">
            <a:extLst>
              <a:ext uri="{FF2B5EF4-FFF2-40B4-BE49-F238E27FC236}">
                <a16:creationId xmlns:a16="http://schemas.microsoft.com/office/drawing/2014/main" id="{461D2D94-ECDA-422A-B060-7E84875B0D5A}"/>
              </a:ext>
            </a:extLst>
          </p:cNvPr>
          <p:cNvSpPr/>
          <p:nvPr/>
        </p:nvSpPr>
        <p:spPr>
          <a:xfrm>
            <a:off x="2726332" y="1314704"/>
            <a:ext cx="9061872" cy="5117063"/>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sp>
        <p:nvSpPr>
          <p:cNvPr id="8" name="Rectangle 7">
            <a:extLst>
              <a:ext uri="{FF2B5EF4-FFF2-40B4-BE49-F238E27FC236}">
                <a16:creationId xmlns:a16="http://schemas.microsoft.com/office/drawing/2014/main" id="{DFDDA9CE-A888-47DC-8099-7C1CC36ED915}"/>
              </a:ext>
            </a:extLst>
          </p:cNvPr>
          <p:cNvSpPr/>
          <p:nvPr/>
        </p:nvSpPr>
        <p:spPr>
          <a:xfrm>
            <a:off x="655929" y="1314704"/>
            <a:ext cx="2010676" cy="5117063"/>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cxnSp>
        <p:nvCxnSpPr>
          <p:cNvPr id="14" name="Straight Connector 13">
            <a:extLst>
              <a:ext uri="{FF2B5EF4-FFF2-40B4-BE49-F238E27FC236}">
                <a16:creationId xmlns:a16="http://schemas.microsoft.com/office/drawing/2014/main" id="{4141A9CE-5FB9-4B70-9842-A418F56373AF}"/>
              </a:ext>
            </a:extLst>
          </p:cNvPr>
          <p:cNvCxnSpPr/>
          <p:nvPr/>
        </p:nvCxnSpPr>
        <p:spPr>
          <a:xfrm flipV="1">
            <a:off x="4329455" y="1878346"/>
            <a:ext cx="0" cy="4292108"/>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4A6149A-0F2B-48F0-A5C7-C4D13B9D20FF}"/>
              </a:ext>
            </a:extLst>
          </p:cNvPr>
          <p:cNvCxnSpPr/>
          <p:nvPr/>
        </p:nvCxnSpPr>
        <p:spPr>
          <a:xfrm flipV="1">
            <a:off x="7367873" y="1880234"/>
            <a:ext cx="0" cy="4290221"/>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B2650A9-B44C-4A70-9288-9A2238C01579}"/>
              </a:ext>
            </a:extLst>
          </p:cNvPr>
          <p:cNvCxnSpPr/>
          <p:nvPr/>
        </p:nvCxnSpPr>
        <p:spPr>
          <a:xfrm flipV="1">
            <a:off x="10432702" y="1878346"/>
            <a:ext cx="0" cy="4281446"/>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36F2D65F-FDA6-49BD-B7A0-60C7A3FD7026}"/>
              </a:ext>
            </a:extLst>
          </p:cNvPr>
          <p:cNvCxnSpPr/>
          <p:nvPr/>
        </p:nvCxnSpPr>
        <p:spPr>
          <a:xfrm flipH="1">
            <a:off x="4320358" y="6159792"/>
            <a:ext cx="3059776" cy="0"/>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B472EF4-9790-4140-8DEF-DDD2F59DBBB4}"/>
              </a:ext>
            </a:extLst>
          </p:cNvPr>
          <p:cNvCxnSpPr/>
          <p:nvPr/>
        </p:nvCxnSpPr>
        <p:spPr>
          <a:xfrm flipH="1">
            <a:off x="7375791" y="1887068"/>
            <a:ext cx="3059776" cy="0"/>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0D025FA6-43B5-4CCE-B93D-78219BB4917F}"/>
              </a:ext>
            </a:extLst>
          </p:cNvPr>
          <p:cNvSpPr txBox="1">
            <a:spLocks/>
          </p:cNvSpPr>
          <p:nvPr/>
        </p:nvSpPr>
        <p:spPr>
          <a:xfrm>
            <a:off x="3525942" y="1325365"/>
            <a:ext cx="1661065" cy="213274"/>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85000"/>
              </a:lnSpc>
              <a:spcBef>
                <a:spcPts val="400"/>
              </a:spcBef>
              <a:spcAft>
                <a:spcPts val="0"/>
              </a:spcAft>
              <a:buClr>
                <a:srgbClr val="4472C4"/>
              </a:buClr>
              <a:buSzPct val="75000"/>
              <a:buFont typeface="Arial" panose="020B0604020202020204" pitchFamily="34" charset="0"/>
              <a:buNone/>
              <a:tabLst/>
              <a:defRPr/>
            </a:pPr>
            <a:r>
              <a:rPr kumimoji="0" lang="en-US" sz="1100" b="1" i="0" u="none" strike="noStrike" kern="1200" cap="none" spc="-30" normalizeH="0" baseline="0" noProof="0" dirty="0">
                <a:ln>
                  <a:noFill/>
                </a:ln>
                <a:solidFill>
                  <a:srgbClr val="44546A"/>
                </a:solidFill>
                <a:effectLst/>
                <a:uLnTx/>
                <a:uFillTx/>
                <a:latin typeface="+mn-lt"/>
                <a:ea typeface="Chronicle Display Black" charset="0"/>
                <a:cs typeface="Chronicle Display Black" charset="0"/>
              </a:rPr>
              <a:t>Short-Term</a:t>
            </a:r>
          </a:p>
        </p:txBody>
      </p:sp>
      <p:sp>
        <p:nvSpPr>
          <p:cNvPr id="20" name="Text Placeholder 2">
            <a:extLst>
              <a:ext uri="{FF2B5EF4-FFF2-40B4-BE49-F238E27FC236}">
                <a16:creationId xmlns:a16="http://schemas.microsoft.com/office/drawing/2014/main" id="{90D3B8E9-889E-40E1-BBD2-CAAAD6D789EF}"/>
              </a:ext>
            </a:extLst>
          </p:cNvPr>
          <p:cNvSpPr txBox="1">
            <a:spLocks/>
          </p:cNvSpPr>
          <p:nvPr/>
        </p:nvSpPr>
        <p:spPr>
          <a:xfrm>
            <a:off x="6538835" y="1314703"/>
            <a:ext cx="1661065" cy="213274"/>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85000"/>
              </a:lnSpc>
              <a:spcBef>
                <a:spcPts val="400"/>
              </a:spcBef>
              <a:spcAft>
                <a:spcPts val="0"/>
              </a:spcAft>
              <a:buClr>
                <a:srgbClr val="4472C4"/>
              </a:buClr>
              <a:buSzPct val="75000"/>
              <a:buFont typeface="Arial" panose="020B0604020202020204" pitchFamily="34" charset="0"/>
              <a:buNone/>
              <a:tabLst/>
              <a:defRPr/>
            </a:pPr>
            <a:r>
              <a:rPr kumimoji="0" lang="en-US" sz="1100" b="1" i="0" u="none" strike="noStrike" kern="1200" cap="none" spc="-30" normalizeH="0" baseline="0" noProof="0" dirty="0">
                <a:ln>
                  <a:noFill/>
                </a:ln>
                <a:solidFill>
                  <a:srgbClr val="44546A"/>
                </a:solidFill>
                <a:effectLst/>
                <a:uLnTx/>
                <a:uFillTx/>
                <a:latin typeface="+mn-lt"/>
                <a:ea typeface="Chronicle Display Black" charset="0"/>
                <a:cs typeface="Chronicle Display Black" charset="0"/>
              </a:rPr>
              <a:t>Medium-Term</a:t>
            </a:r>
          </a:p>
        </p:txBody>
      </p:sp>
      <p:sp>
        <p:nvSpPr>
          <p:cNvPr id="21" name="Text Placeholder 2">
            <a:extLst>
              <a:ext uri="{FF2B5EF4-FFF2-40B4-BE49-F238E27FC236}">
                <a16:creationId xmlns:a16="http://schemas.microsoft.com/office/drawing/2014/main" id="{67D9A789-9402-46AE-909E-348D61AB29DF}"/>
              </a:ext>
            </a:extLst>
          </p:cNvPr>
          <p:cNvSpPr txBox="1">
            <a:spLocks/>
          </p:cNvSpPr>
          <p:nvPr/>
        </p:nvSpPr>
        <p:spPr>
          <a:xfrm>
            <a:off x="9598611" y="1314703"/>
            <a:ext cx="1661065" cy="213274"/>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85000"/>
              </a:lnSpc>
              <a:spcBef>
                <a:spcPts val="400"/>
              </a:spcBef>
              <a:spcAft>
                <a:spcPts val="0"/>
              </a:spcAft>
              <a:buClr>
                <a:srgbClr val="4472C4"/>
              </a:buClr>
              <a:buSzPct val="75000"/>
              <a:buFont typeface="Arial" panose="020B0604020202020204" pitchFamily="34" charset="0"/>
              <a:buNone/>
              <a:tabLst/>
              <a:defRPr/>
            </a:pPr>
            <a:r>
              <a:rPr kumimoji="0" lang="en-US" sz="1100" b="1" i="0" u="none" strike="noStrike" kern="1200" cap="none" spc="-30" normalizeH="0" baseline="0" noProof="0" dirty="0">
                <a:ln>
                  <a:noFill/>
                </a:ln>
                <a:solidFill>
                  <a:srgbClr val="44546A"/>
                </a:solidFill>
                <a:effectLst/>
                <a:uLnTx/>
                <a:uFillTx/>
                <a:latin typeface="+mn-lt"/>
                <a:ea typeface="Chronicle Display Black" charset="0"/>
                <a:cs typeface="Chronicle Display Black" charset="0"/>
              </a:rPr>
              <a:t>Long-Term</a:t>
            </a:r>
          </a:p>
        </p:txBody>
      </p:sp>
      <p:cxnSp>
        <p:nvCxnSpPr>
          <p:cNvPr id="22" name="Straight Connector 21">
            <a:extLst>
              <a:ext uri="{FF2B5EF4-FFF2-40B4-BE49-F238E27FC236}">
                <a16:creationId xmlns:a16="http://schemas.microsoft.com/office/drawing/2014/main" id="{FB0EF54D-6EDE-4141-8882-60456E90FE49}"/>
              </a:ext>
            </a:extLst>
          </p:cNvPr>
          <p:cNvCxnSpPr/>
          <p:nvPr/>
        </p:nvCxnSpPr>
        <p:spPr>
          <a:xfrm flipV="1">
            <a:off x="4327064" y="2029497"/>
            <a:ext cx="400475" cy="2661"/>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23" name="Oval 22">
            <a:extLst>
              <a:ext uri="{FF2B5EF4-FFF2-40B4-BE49-F238E27FC236}">
                <a16:creationId xmlns:a16="http://schemas.microsoft.com/office/drawing/2014/main" id="{2DD56AB5-CFBD-441B-95C6-8380E697BD1A}"/>
              </a:ext>
            </a:extLst>
          </p:cNvPr>
          <p:cNvSpPr/>
          <p:nvPr/>
        </p:nvSpPr>
        <p:spPr>
          <a:xfrm>
            <a:off x="4281049" y="1985553"/>
            <a:ext cx="92029" cy="87889"/>
          </a:xfrm>
          <a:prstGeom prst="ellipse">
            <a:avLst/>
          </a:prstGeom>
          <a:solidFill>
            <a:schemeClr val="bg1"/>
          </a:solidFill>
          <a:ln w="2857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sp>
        <p:nvSpPr>
          <p:cNvPr id="24" name="Text Placeholder 2">
            <a:extLst>
              <a:ext uri="{FF2B5EF4-FFF2-40B4-BE49-F238E27FC236}">
                <a16:creationId xmlns:a16="http://schemas.microsoft.com/office/drawing/2014/main" id="{627C4E60-1957-41C5-8AC4-2FA3CF2F5472}"/>
              </a:ext>
            </a:extLst>
          </p:cNvPr>
          <p:cNvSpPr txBox="1">
            <a:spLocks/>
          </p:cNvSpPr>
          <p:nvPr/>
        </p:nvSpPr>
        <p:spPr>
          <a:xfrm>
            <a:off x="4908073" y="1708361"/>
            <a:ext cx="1629172" cy="699206"/>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400"/>
              </a:spcBef>
              <a:spcAft>
                <a:spcPts val="0"/>
              </a:spcAft>
              <a:buClr>
                <a:srgbClr val="4472C4"/>
              </a:buClr>
              <a:buSzPct val="75000"/>
              <a:buFont typeface="Arial" panose="020B0604020202020204" pitchFamily="34" charset="0"/>
              <a:buNone/>
              <a:tabLst/>
              <a:defRPr/>
            </a:pPr>
            <a:r>
              <a:rPr kumimoji="0" lang="en-US" sz="1000" b="1" i="0" u="none" strike="noStrike" kern="1200" cap="none" spc="-30" normalizeH="0" baseline="0" noProof="0" dirty="0">
                <a:ln>
                  <a:noFill/>
                </a:ln>
                <a:solidFill>
                  <a:srgbClr val="FF0000"/>
                </a:solidFill>
                <a:effectLst/>
                <a:uLnTx/>
                <a:uFillTx/>
                <a:latin typeface="+mn-lt"/>
                <a:ea typeface="Chronicle Display Black" charset="0"/>
                <a:cs typeface="Chronicle Display Black" charset="0"/>
              </a:rPr>
              <a:t>Educate Them</a:t>
            </a:r>
          </a:p>
          <a:p>
            <a:pPr marL="0" marR="0" lvl="0" indent="0" algn="l" defTabSz="914400" rtl="0" eaLnBrk="1" fontAlgn="auto" latinLnBrk="0" hangingPunct="1">
              <a:lnSpc>
                <a:spcPct val="100000"/>
              </a:lnSpc>
              <a:spcBef>
                <a:spcPts val="300"/>
              </a:spcBef>
              <a:spcAft>
                <a:spcPts val="0"/>
              </a:spcAft>
              <a:buClr>
                <a:srgbClr val="4472C4"/>
              </a:buClr>
              <a:buSzPct val="75000"/>
              <a:buFont typeface="Arial" panose="020B0604020202020204" pitchFamily="34" charset="0"/>
              <a:buNone/>
              <a:tabLst/>
              <a:defRPr/>
            </a:pPr>
            <a:r>
              <a:rPr kumimoji="0" lang="en-US" sz="700" b="0" i="0" u="none" strike="noStrike" kern="1200" cap="none" spc="-30" normalizeH="0" baseline="0" noProof="0" dirty="0">
                <a:ln>
                  <a:noFill/>
                </a:ln>
                <a:solidFill>
                  <a:srgbClr val="44546A"/>
                </a:solidFill>
                <a:effectLst/>
                <a:uLnTx/>
                <a:uFillTx/>
                <a:latin typeface="+mn-lt"/>
                <a:ea typeface="Open Sans" charset="0"/>
                <a:cs typeface="Calibri Light" panose="020F0302020204030204" pitchFamily="34" charset="0"/>
              </a:rPr>
              <a:t>User moves to new city after college, rents apartment with two friends and sees Client brochure in welcome packet from building management</a:t>
            </a:r>
          </a:p>
        </p:txBody>
      </p:sp>
      <p:sp>
        <p:nvSpPr>
          <p:cNvPr id="25" name="Text Placeholder 2">
            <a:extLst>
              <a:ext uri="{FF2B5EF4-FFF2-40B4-BE49-F238E27FC236}">
                <a16:creationId xmlns:a16="http://schemas.microsoft.com/office/drawing/2014/main" id="{04AC6961-C2B4-4F34-81A6-AB3123F9CC40}"/>
              </a:ext>
            </a:extLst>
          </p:cNvPr>
          <p:cNvSpPr txBox="1">
            <a:spLocks/>
          </p:cNvSpPr>
          <p:nvPr/>
        </p:nvSpPr>
        <p:spPr>
          <a:xfrm>
            <a:off x="2779765" y="2408760"/>
            <a:ext cx="1034258" cy="699206"/>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85000"/>
              </a:lnSpc>
              <a:spcBef>
                <a:spcPts val="400"/>
              </a:spcBef>
              <a:spcAft>
                <a:spcPts val="0"/>
              </a:spcAft>
              <a:buClr>
                <a:srgbClr val="4472C4"/>
              </a:buClr>
              <a:buSzPct val="75000"/>
              <a:buFont typeface="Arial" panose="020B0604020202020204" pitchFamily="34" charset="0"/>
              <a:buNone/>
              <a:tabLst/>
              <a:defRPr/>
            </a:pPr>
            <a:r>
              <a:rPr kumimoji="0" lang="en-US" sz="1000" b="1" i="0" u="none" strike="noStrike" kern="1200" cap="none" spc="-30" normalizeH="0" baseline="0" noProof="0" dirty="0">
                <a:ln>
                  <a:noFill/>
                </a:ln>
                <a:solidFill>
                  <a:srgbClr val="44546A"/>
                </a:solidFill>
                <a:effectLst/>
                <a:uLnTx/>
                <a:uFillTx/>
                <a:latin typeface="+mn-lt"/>
                <a:ea typeface="Chronicle Display Black" charset="0"/>
                <a:cs typeface="Chronicle Display Black" charset="0"/>
              </a:rPr>
              <a:t>Make it Easy</a:t>
            </a:r>
          </a:p>
          <a:p>
            <a:pPr marL="0" marR="0" lvl="0" indent="0" algn="r" defTabSz="914400" rtl="0" eaLnBrk="1" fontAlgn="auto" latinLnBrk="0" hangingPunct="1">
              <a:lnSpc>
                <a:spcPct val="100000"/>
              </a:lnSpc>
              <a:spcBef>
                <a:spcPts val="300"/>
              </a:spcBef>
              <a:spcAft>
                <a:spcPts val="0"/>
              </a:spcAft>
              <a:buClr>
                <a:srgbClr val="4472C4"/>
              </a:buClr>
              <a:buSzPct val="75000"/>
              <a:buFont typeface="Arial" panose="020B0604020202020204" pitchFamily="34" charset="0"/>
              <a:buNone/>
              <a:tabLst/>
              <a:defRPr/>
            </a:pPr>
            <a:r>
              <a:rPr kumimoji="0" lang="en-US" sz="700" b="0" i="0" u="none" strike="noStrike" kern="1200" cap="none" spc="-30" normalizeH="0" baseline="0" noProof="0" dirty="0">
                <a:ln>
                  <a:noFill/>
                </a:ln>
                <a:solidFill>
                  <a:srgbClr val="44546A"/>
                </a:solidFill>
                <a:effectLst/>
                <a:uLnTx/>
                <a:uFillTx/>
                <a:latin typeface="+mn-lt"/>
                <a:ea typeface="Open Sans" charset="0"/>
                <a:cs typeface="Calibri Light" panose="020F0302020204030204" pitchFamily="34" charset="0"/>
              </a:rPr>
              <a:t>In less than 5 minutes, user creates account online and activates service the day before move in (selects automated bill pay)</a:t>
            </a:r>
          </a:p>
        </p:txBody>
      </p:sp>
      <p:cxnSp>
        <p:nvCxnSpPr>
          <p:cNvPr id="26" name="Straight Connector 25">
            <a:extLst>
              <a:ext uri="{FF2B5EF4-FFF2-40B4-BE49-F238E27FC236}">
                <a16:creationId xmlns:a16="http://schemas.microsoft.com/office/drawing/2014/main" id="{1EFF6B60-2D85-4A16-834E-117EE13379DA}"/>
              </a:ext>
            </a:extLst>
          </p:cNvPr>
          <p:cNvCxnSpPr/>
          <p:nvPr/>
        </p:nvCxnSpPr>
        <p:spPr>
          <a:xfrm flipV="1">
            <a:off x="4328567" y="3661669"/>
            <a:ext cx="400475" cy="2661"/>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id="{8D767A2C-6CF7-4F8B-A160-4E756B3D29E5}"/>
              </a:ext>
            </a:extLst>
          </p:cNvPr>
          <p:cNvSpPr/>
          <p:nvPr/>
        </p:nvSpPr>
        <p:spPr>
          <a:xfrm>
            <a:off x="4282553" y="3617725"/>
            <a:ext cx="92029" cy="87889"/>
          </a:xfrm>
          <a:prstGeom prst="ellipse">
            <a:avLst/>
          </a:prstGeom>
          <a:solidFill>
            <a:schemeClr val="bg1"/>
          </a:solidFill>
          <a:ln w="2857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sp>
        <p:nvSpPr>
          <p:cNvPr id="29" name="Text Placeholder 2">
            <a:extLst>
              <a:ext uri="{FF2B5EF4-FFF2-40B4-BE49-F238E27FC236}">
                <a16:creationId xmlns:a16="http://schemas.microsoft.com/office/drawing/2014/main" id="{A8C1CB08-E6E7-4505-A27B-97150A2F59E6}"/>
              </a:ext>
            </a:extLst>
          </p:cNvPr>
          <p:cNvSpPr txBox="1">
            <a:spLocks/>
          </p:cNvSpPr>
          <p:nvPr/>
        </p:nvSpPr>
        <p:spPr>
          <a:xfrm>
            <a:off x="4908074" y="3340533"/>
            <a:ext cx="1901585" cy="699206"/>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400"/>
              </a:spcBef>
              <a:spcAft>
                <a:spcPts val="0"/>
              </a:spcAft>
              <a:buClr>
                <a:srgbClr val="4472C4"/>
              </a:buClr>
              <a:buSzPct val="75000"/>
              <a:buFont typeface="Arial" panose="020B0604020202020204" pitchFamily="34" charset="0"/>
              <a:buNone/>
              <a:tabLst/>
              <a:defRPr/>
            </a:pPr>
            <a:r>
              <a:rPr kumimoji="0" lang="en-US" sz="1000" b="1" i="0" u="none" strike="noStrike" kern="1200" cap="none" spc="-30" normalizeH="0" baseline="0" noProof="0" dirty="0">
                <a:ln>
                  <a:noFill/>
                </a:ln>
                <a:solidFill>
                  <a:srgbClr val="FF0000"/>
                </a:solidFill>
                <a:effectLst/>
                <a:uLnTx/>
                <a:uFillTx/>
                <a:latin typeface="+mn-lt"/>
                <a:ea typeface="Chronicle Display Black" charset="0"/>
                <a:cs typeface="Chronicle Display Black" charset="0"/>
              </a:rPr>
              <a:t>Communicate Value and Educate</a:t>
            </a:r>
          </a:p>
          <a:p>
            <a:pPr marL="0" marR="0" lvl="0" indent="0" algn="l" defTabSz="914400" rtl="0" eaLnBrk="1" fontAlgn="auto" latinLnBrk="0" hangingPunct="1">
              <a:lnSpc>
                <a:spcPct val="100000"/>
              </a:lnSpc>
              <a:spcBef>
                <a:spcPts val="300"/>
              </a:spcBef>
              <a:spcAft>
                <a:spcPts val="0"/>
              </a:spcAft>
              <a:buClr>
                <a:srgbClr val="4472C4"/>
              </a:buClr>
              <a:buSzPct val="75000"/>
              <a:buFont typeface="Arial" panose="020B0604020202020204" pitchFamily="34" charset="0"/>
              <a:buNone/>
              <a:tabLst/>
              <a:defRPr/>
            </a:pPr>
            <a:r>
              <a:rPr kumimoji="0" lang="en-US" sz="700" b="0" i="0" u="none" strike="noStrike" kern="1200" cap="none" spc="-30" normalizeH="0" baseline="0" noProof="0" dirty="0">
                <a:ln>
                  <a:noFill/>
                </a:ln>
                <a:solidFill>
                  <a:srgbClr val="44546A"/>
                </a:solidFill>
                <a:effectLst/>
                <a:uLnTx/>
                <a:uFillTx/>
                <a:latin typeface="+mn-lt"/>
                <a:ea typeface="Open Sans" charset="0"/>
                <a:cs typeface="Calibri Light" panose="020F0302020204030204" pitchFamily="34" charset="0"/>
              </a:rPr>
              <a:t>User receives two educational welcome emails on account page information, Energy Saving tips, and encouragement to download Client’s mobile app for additional energy education</a:t>
            </a:r>
          </a:p>
        </p:txBody>
      </p:sp>
      <p:cxnSp>
        <p:nvCxnSpPr>
          <p:cNvPr id="30" name="Straight Connector 29">
            <a:extLst>
              <a:ext uri="{FF2B5EF4-FFF2-40B4-BE49-F238E27FC236}">
                <a16:creationId xmlns:a16="http://schemas.microsoft.com/office/drawing/2014/main" id="{38D59324-24EA-4322-BA0A-D913A1FF308A}"/>
              </a:ext>
            </a:extLst>
          </p:cNvPr>
          <p:cNvCxnSpPr/>
          <p:nvPr/>
        </p:nvCxnSpPr>
        <p:spPr>
          <a:xfrm flipV="1">
            <a:off x="7368215" y="2293533"/>
            <a:ext cx="400475" cy="2661"/>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1" name="Oval 30">
            <a:extLst>
              <a:ext uri="{FF2B5EF4-FFF2-40B4-BE49-F238E27FC236}">
                <a16:creationId xmlns:a16="http://schemas.microsoft.com/office/drawing/2014/main" id="{EEE585E0-970F-4AFF-A303-9FB6417AEB0E}"/>
              </a:ext>
            </a:extLst>
          </p:cNvPr>
          <p:cNvSpPr/>
          <p:nvPr/>
        </p:nvSpPr>
        <p:spPr>
          <a:xfrm>
            <a:off x="7322200" y="2249588"/>
            <a:ext cx="92029" cy="87889"/>
          </a:xfrm>
          <a:prstGeom prst="ellipse">
            <a:avLst/>
          </a:prstGeom>
          <a:solidFill>
            <a:schemeClr val="bg1"/>
          </a:solidFill>
          <a:ln w="2857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sp>
        <p:nvSpPr>
          <p:cNvPr id="32" name="Text Placeholder 2">
            <a:extLst>
              <a:ext uri="{FF2B5EF4-FFF2-40B4-BE49-F238E27FC236}">
                <a16:creationId xmlns:a16="http://schemas.microsoft.com/office/drawing/2014/main" id="{1C34F08B-50FD-4833-8EBC-E43DB5079124}"/>
              </a:ext>
            </a:extLst>
          </p:cNvPr>
          <p:cNvSpPr txBox="1">
            <a:spLocks/>
          </p:cNvSpPr>
          <p:nvPr/>
        </p:nvSpPr>
        <p:spPr>
          <a:xfrm>
            <a:off x="7921231" y="1972397"/>
            <a:ext cx="1997886" cy="699206"/>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457200" rtl="0" eaLnBrk="1" fontAlgn="auto" latinLnBrk="0" hangingPunct="1">
              <a:lnSpc>
                <a:spcPct val="85000"/>
              </a:lnSpc>
              <a:spcBef>
                <a:spcPts val="40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rgbClr val="FF0000"/>
                </a:solidFill>
                <a:effectLst/>
                <a:uLnTx/>
                <a:uFillTx/>
                <a:latin typeface="+mn-lt"/>
                <a:ea typeface="Chronicle Display Black" charset="0"/>
                <a:cs typeface="Chronicle Display Black" charset="0"/>
              </a:rPr>
              <a:t>Solve an Issue</a:t>
            </a:r>
          </a:p>
          <a:p>
            <a:pPr marL="0" marR="0" lvl="0" indent="0" algn="l" defTabSz="4572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en-US" sz="700" b="0" i="0" u="none" strike="noStrike" kern="1200" cap="none" spc="0" normalizeH="0" baseline="0" noProof="0" dirty="0">
                <a:ln>
                  <a:noFill/>
                </a:ln>
                <a:solidFill>
                  <a:srgbClr val="44546A"/>
                </a:solidFill>
                <a:effectLst/>
                <a:uLnTx/>
                <a:uFillTx/>
                <a:latin typeface="+mn-lt"/>
                <a:ea typeface="Open Sans" charset="0"/>
                <a:cs typeface="Calibri Light" panose="020F0302020204030204" pitchFamily="34" charset="0"/>
              </a:rPr>
              <a:t>User receives email in early summer, with 60 easy energy saving tips and reminder to enroll in Averaged Monthly Payment to make bills predictable</a:t>
            </a:r>
          </a:p>
        </p:txBody>
      </p:sp>
      <p:cxnSp>
        <p:nvCxnSpPr>
          <p:cNvPr id="33" name="Straight Connector 32">
            <a:extLst>
              <a:ext uri="{FF2B5EF4-FFF2-40B4-BE49-F238E27FC236}">
                <a16:creationId xmlns:a16="http://schemas.microsoft.com/office/drawing/2014/main" id="{B0F216C9-8004-48C1-A760-6C6303882F67}"/>
              </a:ext>
            </a:extLst>
          </p:cNvPr>
          <p:cNvCxnSpPr/>
          <p:nvPr/>
        </p:nvCxnSpPr>
        <p:spPr>
          <a:xfrm flipV="1">
            <a:off x="7406252" y="4129618"/>
            <a:ext cx="400475" cy="2661"/>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4" name="Oval 33">
            <a:extLst>
              <a:ext uri="{FF2B5EF4-FFF2-40B4-BE49-F238E27FC236}">
                <a16:creationId xmlns:a16="http://schemas.microsoft.com/office/drawing/2014/main" id="{FA8B9A5D-3246-4B55-B5C3-1BFD0E9D2F20}"/>
              </a:ext>
            </a:extLst>
          </p:cNvPr>
          <p:cNvSpPr/>
          <p:nvPr/>
        </p:nvSpPr>
        <p:spPr>
          <a:xfrm>
            <a:off x="7336107" y="4097830"/>
            <a:ext cx="92029" cy="87889"/>
          </a:xfrm>
          <a:prstGeom prst="ellipse">
            <a:avLst/>
          </a:prstGeom>
          <a:solidFill>
            <a:schemeClr val="bg1"/>
          </a:solidFill>
          <a:ln w="2857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sp>
        <p:nvSpPr>
          <p:cNvPr id="35" name="Text Placeholder 2">
            <a:extLst>
              <a:ext uri="{FF2B5EF4-FFF2-40B4-BE49-F238E27FC236}">
                <a16:creationId xmlns:a16="http://schemas.microsoft.com/office/drawing/2014/main" id="{A583564A-C04A-4D6F-9E38-89FAAF0F6A82}"/>
              </a:ext>
            </a:extLst>
          </p:cNvPr>
          <p:cNvSpPr txBox="1">
            <a:spLocks/>
          </p:cNvSpPr>
          <p:nvPr/>
        </p:nvSpPr>
        <p:spPr>
          <a:xfrm>
            <a:off x="7921232" y="3808482"/>
            <a:ext cx="1511443" cy="699206"/>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400"/>
              </a:spcBef>
              <a:spcAft>
                <a:spcPts val="0"/>
              </a:spcAft>
              <a:buClr>
                <a:srgbClr val="4472C4"/>
              </a:buClr>
              <a:buSzPct val="75000"/>
              <a:buFont typeface="Arial" panose="020B0604020202020204" pitchFamily="34" charset="0"/>
              <a:buNone/>
              <a:tabLst/>
              <a:defRPr/>
            </a:pPr>
            <a:r>
              <a:rPr kumimoji="0" lang="en-US" sz="1000" b="1" i="0" u="none" strike="noStrike" kern="1200" cap="none" spc="-30" normalizeH="0" baseline="0" noProof="0" dirty="0">
                <a:ln>
                  <a:noFill/>
                </a:ln>
                <a:solidFill>
                  <a:srgbClr val="44546A"/>
                </a:solidFill>
                <a:effectLst/>
                <a:uLnTx/>
                <a:uFillTx/>
                <a:latin typeface="+mn-lt"/>
                <a:ea typeface="Chronicle Display Black" charset="0"/>
                <a:cs typeface="Chronicle Display Black" charset="0"/>
              </a:rPr>
              <a:t>Make it Easy</a:t>
            </a:r>
          </a:p>
          <a:p>
            <a:pPr marL="0" marR="0" lvl="0" indent="0" algn="l" defTabSz="914400" rtl="0" eaLnBrk="1" fontAlgn="auto" latinLnBrk="0" hangingPunct="1">
              <a:lnSpc>
                <a:spcPct val="100000"/>
              </a:lnSpc>
              <a:spcBef>
                <a:spcPts val="300"/>
              </a:spcBef>
              <a:spcAft>
                <a:spcPts val="0"/>
              </a:spcAft>
              <a:buClr>
                <a:srgbClr val="4472C4"/>
              </a:buClr>
              <a:buSzPct val="75000"/>
              <a:buFont typeface="Arial" panose="020B0604020202020204" pitchFamily="34" charset="0"/>
              <a:buNone/>
              <a:tabLst/>
              <a:defRPr/>
            </a:pPr>
            <a:r>
              <a:rPr kumimoji="0" lang="en-US" sz="700" b="0" i="0" u="none" strike="noStrike" kern="1200" cap="none" spc="-30" normalizeH="0" baseline="0" noProof="0" dirty="0">
                <a:ln>
                  <a:noFill/>
                </a:ln>
                <a:solidFill>
                  <a:srgbClr val="44546A"/>
                </a:solidFill>
                <a:effectLst/>
                <a:uLnTx/>
                <a:uFillTx/>
                <a:latin typeface="+mn-lt"/>
                <a:ea typeface="Open Sans" charset="0"/>
                <a:cs typeface="Calibri Light" panose="020F0302020204030204" pitchFamily="34" charset="0"/>
              </a:rPr>
              <a:t>Renter buys new home; transfers / activates service to new address in 10  minutes using ‘Start, Stop, Transfer’ tool available online</a:t>
            </a:r>
          </a:p>
        </p:txBody>
      </p:sp>
      <p:sp>
        <p:nvSpPr>
          <p:cNvPr id="36" name="Text Placeholder 2">
            <a:extLst>
              <a:ext uri="{FF2B5EF4-FFF2-40B4-BE49-F238E27FC236}">
                <a16:creationId xmlns:a16="http://schemas.microsoft.com/office/drawing/2014/main" id="{8D0B31AC-AE9D-41FB-8E9D-C6C2C4FD3EE5}"/>
              </a:ext>
            </a:extLst>
          </p:cNvPr>
          <p:cNvSpPr txBox="1">
            <a:spLocks/>
          </p:cNvSpPr>
          <p:nvPr/>
        </p:nvSpPr>
        <p:spPr>
          <a:xfrm>
            <a:off x="4916527" y="4822487"/>
            <a:ext cx="1949098" cy="577599"/>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85000"/>
              </a:lnSpc>
              <a:spcBef>
                <a:spcPts val="400"/>
              </a:spcBef>
              <a:spcAft>
                <a:spcPts val="0"/>
              </a:spcAft>
              <a:buClr>
                <a:srgbClr val="4472C4"/>
              </a:buClr>
              <a:buSzPct val="75000"/>
              <a:buFont typeface="Arial" panose="020B0604020202020204" pitchFamily="34" charset="0"/>
              <a:buNone/>
              <a:tabLst/>
              <a:defRPr/>
            </a:pPr>
            <a:r>
              <a:rPr kumimoji="0" lang="en-US" sz="1000" b="1" i="0" u="none" strike="noStrike" kern="1200" cap="none" spc="-30" normalizeH="0" baseline="0" noProof="0" dirty="0">
                <a:ln>
                  <a:noFill/>
                </a:ln>
                <a:solidFill>
                  <a:srgbClr val="FF0000"/>
                </a:solidFill>
                <a:effectLst/>
                <a:uLnTx/>
                <a:uFillTx/>
                <a:latin typeface="+mn-lt"/>
                <a:ea typeface="Chronicle Display Black" charset="0"/>
                <a:cs typeface="Chronicle Display Black" charset="0"/>
              </a:rPr>
              <a:t>Deliver on Promise</a:t>
            </a:r>
          </a:p>
          <a:p>
            <a:pPr marL="0" marR="0" lvl="0" indent="0" algn="r" defTabSz="914400" rtl="0" eaLnBrk="1" fontAlgn="auto" latinLnBrk="0" hangingPunct="1">
              <a:lnSpc>
                <a:spcPct val="100000"/>
              </a:lnSpc>
              <a:spcBef>
                <a:spcPts val="300"/>
              </a:spcBef>
              <a:spcAft>
                <a:spcPts val="0"/>
              </a:spcAft>
              <a:buClr>
                <a:srgbClr val="4472C4"/>
              </a:buClr>
              <a:buSzPct val="75000"/>
              <a:buFont typeface="Arial" panose="020B0604020202020204" pitchFamily="34" charset="0"/>
              <a:buNone/>
              <a:tabLst/>
              <a:defRPr/>
            </a:pPr>
            <a:r>
              <a:rPr kumimoji="0" lang="en-US" sz="700" b="0" i="0" u="none" strike="noStrike" kern="1200" cap="none" spc="-30" normalizeH="0" baseline="0" noProof="0" dirty="0">
                <a:ln>
                  <a:noFill/>
                </a:ln>
                <a:solidFill>
                  <a:srgbClr val="44546A"/>
                </a:solidFill>
                <a:effectLst/>
                <a:uLnTx/>
                <a:uFillTx/>
                <a:latin typeface="+mn-lt"/>
                <a:ea typeface="Open Sans" charset="0"/>
                <a:cs typeface="Calibri Light" panose="020F0302020204030204" pitchFamily="34" charset="0"/>
              </a:rPr>
              <a:t>Experiences first outage during summer thunderstorm, receives Client alert on mobile phone with time estimate to fix</a:t>
            </a:r>
          </a:p>
        </p:txBody>
      </p:sp>
      <p:cxnSp>
        <p:nvCxnSpPr>
          <p:cNvPr id="37" name="Straight Connector 36">
            <a:extLst>
              <a:ext uri="{FF2B5EF4-FFF2-40B4-BE49-F238E27FC236}">
                <a16:creationId xmlns:a16="http://schemas.microsoft.com/office/drawing/2014/main" id="{F7529F92-9806-4155-BFAC-2AC585789465}"/>
              </a:ext>
            </a:extLst>
          </p:cNvPr>
          <p:cNvCxnSpPr/>
          <p:nvPr/>
        </p:nvCxnSpPr>
        <p:spPr>
          <a:xfrm flipV="1">
            <a:off x="10429091" y="2360220"/>
            <a:ext cx="400475" cy="2661"/>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F2EC923E-2CEE-4F4A-A315-EC184A0E9216}"/>
              </a:ext>
            </a:extLst>
          </p:cNvPr>
          <p:cNvSpPr/>
          <p:nvPr/>
        </p:nvSpPr>
        <p:spPr>
          <a:xfrm>
            <a:off x="10383076" y="2316276"/>
            <a:ext cx="92029" cy="87889"/>
          </a:xfrm>
          <a:prstGeom prst="ellipse">
            <a:avLst/>
          </a:prstGeom>
          <a:solidFill>
            <a:schemeClr val="bg1"/>
          </a:solidFill>
          <a:ln w="2857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sp>
        <p:nvSpPr>
          <p:cNvPr id="39" name="Text Placeholder 2">
            <a:extLst>
              <a:ext uri="{FF2B5EF4-FFF2-40B4-BE49-F238E27FC236}">
                <a16:creationId xmlns:a16="http://schemas.microsoft.com/office/drawing/2014/main" id="{3D267C16-D62C-49EA-9D0E-C6DF633E25A6}"/>
              </a:ext>
            </a:extLst>
          </p:cNvPr>
          <p:cNvSpPr txBox="1">
            <a:spLocks/>
          </p:cNvSpPr>
          <p:nvPr/>
        </p:nvSpPr>
        <p:spPr>
          <a:xfrm>
            <a:off x="10978599" y="1995500"/>
            <a:ext cx="696635" cy="699206"/>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400"/>
              </a:spcBef>
              <a:spcAft>
                <a:spcPts val="0"/>
              </a:spcAft>
              <a:buClr>
                <a:srgbClr val="4472C4"/>
              </a:buClr>
              <a:buSzPct val="75000"/>
              <a:buFont typeface="Arial" panose="020B0604020202020204" pitchFamily="34" charset="0"/>
              <a:buNone/>
              <a:tabLst/>
              <a:defRPr/>
            </a:pPr>
            <a:r>
              <a:rPr kumimoji="0" lang="en-US" sz="1000" b="1" i="0" u="none" strike="noStrike" kern="1200" cap="none" spc="-30" normalizeH="0" baseline="0" noProof="0" dirty="0">
                <a:ln>
                  <a:noFill/>
                </a:ln>
                <a:solidFill>
                  <a:srgbClr val="FF0000"/>
                </a:solidFill>
                <a:effectLst/>
                <a:uLnTx/>
                <a:uFillTx/>
                <a:latin typeface="+mn-lt"/>
                <a:ea typeface="Chronicle Display Black" charset="0"/>
                <a:cs typeface="Chronicle Display Black" charset="0"/>
              </a:rPr>
              <a:t>Expand Value</a:t>
            </a:r>
          </a:p>
          <a:p>
            <a:pPr marL="0" marR="0" lvl="0" indent="0" algn="l" defTabSz="914400" rtl="0" eaLnBrk="1" fontAlgn="auto" latinLnBrk="0" hangingPunct="1">
              <a:lnSpc>
                <a:spcPct val="100000"/>
              </a:lnSpc>
              <a:spcBef>
                <a:spcPts val="300"/>
              </a:spcBef>
              <a:spcAft>
                <a:spcPts val="0"/>
              </a:spcAft>
              <a:buClr>
                <a:srgbClr val="4472C4"/>
              </a:buClr>
              <a:buSzPct val="75000"/>
              <a:buFont typeface="Arial" panose="020B0604020202020204" pitchFamily="34" charset="0"/>
              <a:buNone/>
              <a:tabLst/>
              <a:defRPr/>
            </a:pPr>
            <a:r>
              <a:rPr kumimoji="0" lang="en-US" sz="700" b="0" i="0" u="none" strike="noStrike" kern="1200" cap="none" spc="-30" normalizeH="0" baseline="0" noProof="0" dirty="0">
                <a:ln>
                  <a:noFill/>
                </a:ln>
                <a:solidFill>
                  <a:srgbClr val="44546A"/>
                </a:solidFill>
                <a:effectLst/>
                <a:uLnTx/>
                <a:uFillTx/>
                <a:latin typeface="+mn-lt"/>
                <a:ea typeface="Open Sans" charset="0"/>
                <a:cs typeface="Calibri Light" panose="020F0302020204030204" pitchFamily="34" charset="0"/>
              </a:rPr>
              <a:t>Receives account page reminder about new energy saving promotion, replacing refrigerator with rebate option</a:t>
            </a:r>
          </a:p>
        </p:txBody>
      </p:sp>
      <p:cxnSp>
        <p:nvCxnSpPr>
          <p:cNvPr id="40" name="Straight Connector 39">
            <a:extLst>
              <a:ext uri="{FF2B5EF4-FFF2-40B4-BE49-F238E27FC236}">
                <a16:creationId xmlns:a16="http://schemas.microsoft.com/office/drawing/2014/main" id="{2E6A744D-9054-46BF-B282-2AFCA6597E92}"/>
              </a:ext>
            </a:extLst>
          </p:cNvPr>
          <p:cNvCxnSpPr/>
          <p:nvPr/>
        </p:nvCxnSpPr>
        <p:spPr>
          <a:xfrm flipV="1">
            <a:off x="10430594" y="4628948"/>
            <a:ext cx="400475" cy="2661"/>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41" name="Oval 40">
            <a:extLst>
              <a:ext uri="{FF2B5EF4-FFF2-40B4-BE49-F238E27FC236}">
                <a16:creationId xmlns:a16="http://schemas.microsoft.com/office/drawing/2014/main" id="{16526C86-4BE3-4C87-A0B8-0CCDB2A2D0A2}"/>
              </a:ext>
            </a:extLst>
          </p:cNvPr>
          <p:cNvSpPr/>
          <p:nvPr/>
        </p:nvSpPr>
        <p:spPr>
          <a:xfrm>
            <a:off x="10383501" y="4596020"/>
            <a:ext cx="92029" cy="87889"/>
          </a:xfrm>
          <a:prstGeom prst="ellipse">
            <a:avLst/>
          </a:prstGeom>
          <a:solidFill>
            <a:schemeClr val="bg1"/>
          </a:solidFill>
          <a:ln w="2857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sp>
        <p:nvSpPr>
          <p:cNvPr id="42" name="Text Placeholder 2">
            <a:extLst>
              <a:ext uri="{FF2B5EF4-FFF2-40B4-BE49-F238E27FC236}">
                <a16:creationId xmlns:a16="http://schemas.microsoft.com/office/drawing/2014/main" id="{1F5A041F-5DEE-47B4-8538-0C97F7DE5F92}"/>
              </a:ext>
            </a:extLst>
          </p:cNvPr>
          <p:cNvSpPr txBox="1">
            <a:spLocks/>
          </p:cNvSpPr>
          <p:nvPr/>
        </p:nvSpPr>
        <p:spPr>
          <a:xfrm>
            <a:off x="10946288" y="4307812"/>
            <a:ext cx="884096" cy="699206"/>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400"/>
              </a:spcBef>
              <a:spcAft>
                <a:spcPts val="0"/>
              </a:spcAft>
              <a:buClr>
                <a:srgbClr val="4472C4"/>
              </a:buClr>
              <a:buSzPct val="75000"/>
              <a:buFont typeface="Arial" panose="020B0604020202020204" pitchFamily="34" charset="0"/>
              <a:buNone/>
              <a:tabLst/>
              <a:defRPr/>
            </a:pPr>
            <a:r>
              <a:rPr kumimoji="0" lang="en-US" sz="1000" b="1" i="0" u="none" strike="noStrike" kern="1200" cap="none" spc="-30" normalizeH="0" baseline="0" noProof="0" dirty="0">
                <a:ln>
                  <a:noFill/>
                </a:ln>
                <a:solidFill>
                  <a:srgbClr val="FF0000"/>
                </a:solidFill>
                <a:effectLst/>
                <a:uLnTx/>
                <a:uFillTx/>
                <a:latin typeface="+mn-lt"/>
                <a:ea typeface="Chronicle Display Black" charset="0"/>
                <a:cs typeface="Chronicle Display Black" charset="0"/>
              </a:rPr>
              <a:t>Expand Value</a:t>
            </a:r>
          </a:p>
          <a:p>
            <a:pPr marL="0" marR="0" lvl="0" indent="0" algn="l" defTabSz="914400" rtl="0" eaLnBrk="1" fontAlgn="auto" latinLnBrk="0" hangingPunct="1">
              <a:lnSpc>
                <a:spcPct val="100000"/>
              </a:lnSpc>
              <a:spcBef>
                <a:spcPts val="300"/>
              </a:spcBef>
              <a:spcAft>
                <a:spcPts val="0"/>
              </a:spcAft>
              <a:buClr>
                <a:srgbClr val="4472C4"/>
              </a:buClr>
              <a:buSzPct val="75000"/>
              <a:buFont typeface="Arial" panose="020B0604020202020204" pitchFamily="34" charset="0"/>
              <a:buNone/>
              <a:tabLst/>
              <a:defRPr/>
            </a:pPr>
            <a:r>
              <a:rPr kumimoji="0" lang="en-US" sz="700" b="0" i="0" u="none" strike="noStrike" kern="1200" cap="none" spc="-30" normalizeH="0" baseline="0" noProof="0" dirty="0">
                <a:ln>
                  <a:noFill/>
                </a:ln>
                <a:solidFill>
                  <a:srgbClr val="44546A"/>
                </a:solidFill>
                <a:effectLst/>
                <a:uLnTx/>
                <a:uFillTx/>
                <a:latin typeface="+mn-lt"/>
                <a:ea typeface="Open Sans" charset="0"/>
                <a:cs typeface="Calibri Light" panose="020F0302020204030204" pitchFamily="34" charset="0"/>
              </a:rPr>
              <a:t>Client Energy Store advertisement in payment confirmation email, directs user to find kitchen sink aerator for $0 after rebate</a:t>
            </a:r>
          </a:p>
        </p:txBody>
      </p:sp>
      <p:cxnSp>
        <p:nvCxnSpPr>
          <p:cNvPr id="43" name="Straight Connector 42">
            <a:extLst>
              <a:ext uri="{FF2B5EF4-FFF2-40B4-BE49-F238E27FC236}">
                <a16:creationId xmlns:a16="http://schemas.microsoft.com/office/drawing/2014/main" id="{DC0AFE15-BD37-4935-89DE-59FEB7578502}"/>
              </a:ext>
            </a:extLst>
          </p:cNvPr>
          <p:cNvCxnSpPr/>
          <p:nvPr/>
        </p:nvCxnSpPr>
        <p:spPr>
          <a:xfrm>
            <a:off x="10208543" y="5754351"/>
            <a:ext cx="215347" cy="1"/>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44" name="Oval 43">
            <a:extLst>
              <a:ext uri="{FF2B5EF4-FFF2-40B4-BE49-F238E27FC236}">
                <a16:creationId xmlns:a16="http://schemas.microsoft.com/office/drawing/2014/main" id="{FE0181C5-7553-4E8C-A634-470DF8696012}"/>
              </a:ext>
            </a:extLst>
          </p:cNvPr>
          <p:cNvSpPr>
            <a:spLocks noChangeAspect="1"/>
          </p:cNvSpPr>
          <p:nvPr/>
        </p:nvSpPr>
        <p:spPr>
          <a:xfrm>
            <a:off x="9982894" y="5590990"/>
            <a:ext cx="337603" cy="322417"/>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ea typeface="+mn-ea"/>
              <a:cs typeface="+mn-cs"/>
            </a:endParaRPr>
          </a:p>
        </p:txBody>
      </p:sp>
      <p:sp>
        <p:nvSpPr>
          <p:cNvPr id="45" name="Oval 44">
            <a:extLst>
              <a:ext uri="{FF2B5EF4-FFF2-40B4-BE49-F238E27FC236}">
                <a16:creationId xmlns:a16="http://schemas.microsoft.com/office/drawing/2014/main" id="{D9243FF0-5C21-4BD4-9013-85621C37A24F}"/>
              </a:ext>
            </a:extLst>
          </p:cNvPr>
          <p:cNvSpPr/>
          <p:nvPr/>
        </p:nvSpPr>
        <p:spPr>
          <a:xfrm>
            <a:off x="10388533" y="5710407"/>
            <a:ext cx="92029" cy="87889"/>
          </a:xfrm>
          <a:prstGeom prst="ellipse">
            <a:avLst/>
          </a:prstGeom>
          <a:solidFill>
            <a:schemeClr val="bg1"/>
          </a:solidFill>
          <a:ln w="2857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sp>
        <p:nvSpPr>
          <p:cNvPr id="46" name="Text Placeholder 2">
            <a:extLst>
              <a:ext uri="{FF2B5EF4-FFF2-40B4-BE49-F238E27FC236}">
                <a16:creationId xmlns:a16="http://schemas.microsoft.com/office/drawing/2014/main" id="{C3F9C1B1-C444-4ADB-B858-99B99F5F7BF5}"/>
              </a:ext>
            </a:extLst>
          </p:cNvPr>
          <p:cNvSpPr txBox="1">
            <a:spLocks/>
          </p:cNvSpPr>
          <p:nvPr/>
        </p:nvSpPr>
        <p:spPr>
          <a:xfrm>
            <a:off x="8030718" y="5448691"/>
            <a:ext cx="1886837" cy="699206"/>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85000"/>
              </a:lnSpc>
              <a:spcBef>
                <a:spcPts val="400"/>
              </a:spcBef>
              <a:spcAft>
                <a:spcPts val="0"/>
              </a:spcAft>
              <a:buClr>
                <a:srgbClr val="4472C4"/>
              </a:buClr>
              <a:buSzPct val="75000"/>
              <a:buFont typeface="Arial" panose="020B0604020202020204" pitchFamily="34" charset="0"/>
              <a:buNone/>
              <a:tabLst/>
              <a:defRPr/>
            </a:pPr>
            <a:r>
              <a:rPr kumimoji="0" lang="en-US" sz="1000" b="1" i="0" u="none" strike="noStrike" kern="1200" cap="none" spc="-30" normalizeH="0" baseline="0" noProof="0" dirty="0">
                <a:ln>
                  <a:noFill/>
                </a:ln>
                <a:solidFill>
                  <a:srgbClr val="44546A"/>
                </a:solidFill>
                <a:effectLst/>
                <a:uLnTx/>
                <a:uFillTx/>
                <a:latin typeface="+mn-lt"/>
                <a:ea typeface="Chronicle Display Black" charset="0"/>
                <a:cs typeface="Chronicle Display Black" charset="0"/>
              </a:rPr>
              <a:t>Inspire and Engage</a:t>
            </a:r>
          </a:p>
          <a:p>
            <a:pPr marL="0" marR="0" lvl="0" indent="0" algn="r" defTabSz="914400" rtl="0" eaLnBrk="1" fontAlgn="auto" latinLnBrk="0" hangingPunct="1">
              <a:lnSpc>
                <a:spcPct val="100000"/>
              </a:lnSpc>
              <a:spcBef>
                <a:spcPts val="300"/>
              </a:spcBef>
              <a:spcAft>
                <a:spcPts val="0"/>
              </a:spcAft>
              <a:buClr>
                <a:srgbClr val="4472C4"/>
              </a:buClr>
              <a:buSzPct val="75000"/>
              <a:buFont typeface="Arial" panose="020B0604020202020204" pitchFamily="34" charset="0"/>
              <a:buNone/>
              <a:tabLst/>
              <a:defRPr/>
            </a:pPr>
            <a:r>
              <a:rPr kumimoji="0" lang="en-US" sz="700" b="0" i="0" u="none" strike="noStrike" kern="1200" cap="none" spc="-30" normalizeH="0" baseline="0" noProof="0" dirty="0">
                <a:ln>
                  <a:noFill/>
                </a:ln>
                <a:solidFill>
                  <a:srgbClr val="44546A"/>
                </a:solidFill>
                <a:effectLst/>
                <a:uLnTx/>
                <a:uFillTx/>
                <a:latin typeface="+mn-lt"/>
                <a:ea typeface="Open Sans" charset="0"/>
                <a:cs typeface="Calibri Light" panose="020F0302020204030204" pitchFamily="34" charset="0"/>
              </a:rPr>
              <a:t>Sees local news report about Client’s live Bird Cam; checks in on Bald Eagle nest weekly throughout the fall, appreciates commitment to supporting local bird habitat </a:t>
            </a:r>
          </a:p>
        </p:txBody>
      </p:sp>
      <p:cxnSp>
        <p:nvCxnSpPr>
          <p:cNvPr id="47" name="Straight Connector 46">
            <a:extLst>
              <a:ext uri="{FF2B5EF4-FFF2-40B4-BE49-F238E27FC236}">
                <a16:creationId xmlns:a16="http://schemas.microsoft.com/office/drawing/2014/main" id="{4641F194-0388-4617-87F9-13CBA7A8D727}"/>
              </a:ext>
            </a:extLst>
          </p:cNvPr>
          <p:cNvCxnSpPr/>
          <p:nvPr/>
        </p:nvCxnSpPr>
        <p:spPr>
          <a:xfrm flipV="1">
            <a:off x="4734581" y="6029653"/>
            <a:ext cx="0" cy="88721"/>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0236A6F2-2E72-400E-8D16-89C0537C43D2}"/>
              </a:ext>
            </a:extLst>
          </p:cNvPr>
          <p:cNvSpPr>
            <a:spLocks noChangeAspect="1"/>
          </p:cNvSpPr>
          <p:nvPr/>
        </p:nvSpPr>
        <p:spPr>
          <a:xfrm>
            <a:off x="4567349" y="5727597"/>
            <a:ext cx="337603" cy="322417"/>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sp>
        <p:nvSpPr>
          <p:cNvPr id="49" name="Oval 48">
            <a:extLst>
              <a:ext uri="{FF2B5EF4-FFF2-40B4-BE49-F238E27FC236}">
                <a16:creationId xmlns:a16="http://schemas.microsoft.com/office/drawing/2014/main" id="{1686183F-3A44-4458-886B-CE1233E3E8D8}"/>
              </a:ext>
            </a:extLst>
          </p:cNvPr>
          <p:cNvSpPr/>
          <p:nvPr/>
        </p:nvSpPr>
        <p:spPr>
          <a:xfrm>
            <a:off x="4686942" y="6097560"/>
            <a:ext cx="92029" cy="87889"/>
          </a:xfrm>
          <a:prstGeom prst="ellipse">
            <a:avLst/>
          </a:prstGeom>
          <a:solidFill>
            <a:schemeClr val="bg1"/>
          </a:solidFill>
          <a:ln w="2857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sp>
        <p:nvSpPr>
          <p:cNvPr id="50" name="Text Placeholder 2">
            <a:extLst>
              <a:ext uri="{FF2B5EF4-FFF2-40B4-BE49-F238E27FC236}">
                <a16:creationId xmlns:a16="http://schemas.microsoft.com/office/drawing/2014/main" id="{242B2A8F-4184-44E2-A891-3480DCA6D66D}"/>
              </a:ext>
            </a:extLst>
          </p:cNvPr>
          <p:cNvSpPr txBox="1">
            <a:spLocks/>
          </p:cNvSpPr>
          <p:nvPr/>
        </p:nvSpPr>
        <p:spPr>
          <a:xfrm>
            <a:off x="4970291" y="5633070"/>
            <a:ext cx="2176527" cy="699206"/>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400"/>
              </a:spcBef>
              <a:spcAft>
                <a:spcPts val="0"/>
              </a:spcAft>
              <a:buClr>
                <a:srgbClr val="4472C4"/>
              </a:buClr>
              <a:buSzPct val="75000"/>
              <a:buFont typeface="Arial" panose="020B0604020202020204" pitchFamily="34" charset="0"/>
              <a:buNone/>
              <a:tabLst/>
              <a:defRPr/>
            </a:pPr>
            <a:r>
              <a:rPr kumimoji="0" lang="en-US" sz="1000" b="1" i="0" u="none" strike="noStrike" kern="1200" cap="none" spc="-30" normalizeH="0" baseline="0" noProof="0" dirty="0">
                <a:ln>
                  <a:noFill/>
                </a:ln>
                <a:solidFill>
                  <a:srgbClr val="FF0000"/>
                </a:solidFill>
                <a:effectLst/>
                <a:uLnTx/>
                <a:uFillTx/>
                <a:latin typeface="+mn-lt"/>
                <a:ea typeface="Chronicle Display Black" charset="0"/>
                <a:cs typeface="Chronicle Display Black" charset="0"/>
              </a:rPr>
              <a:t>Pay Bill</a:t>
            </a:r>
          </a:p>
          <a:p>
            <a:pPr marL="0" marR="0" lvl="0" indent="0" algn="l" defTabSz="914400" rtl="0" eaLnBrk="1" fontAlgn="auto" latinLnBrk="0" hangingPunct="1">
              <a:lnSpc>
                <a:spcPct val="100000"/>
              </a:lnSpc>
              <a:spcBef>
                <a:spcPts val="300"/>
              </a:spcBef>
              <a:spcAft>
                <a:spcPts val="0"/>
              </a:spcAft>
              <a:buClr>
                <a:srgbClr val="4472C4"/>
              </a:buClr>
              <a:buSzPct val="75000"/>
              <a:buFont typeface="Arial" panose="020B0604020202020204" pitchFamily="34" charset="0"/>
              <a:buNone/>
              <a:tabLst/>
              <a:defRPr/>
            </a:pPr>
            <a:r>
              <a:rPr kumimoji="0" lang="en-US" sz="700" b="0" i="0" u="none" strike="noStrike" kern="1200" cap="none" spc="-30" normalizeH="0" baseline="0" noProof="0" dirty="0">
                <a:ln>
                  <a:noFill/>
                </a:ln>
                <a:solidFill>
                  <a:srgbClr val="44546A"/>
                </a:solidFill>
                <a:effectLst/>
                <a:uLnTx/>
                <a:uFillTx/>
                <a:latin typeface="+mn-lt"/>
                <a:ea typeface="Open Sans" charset="0"/>
                <a:cs typeface="Calibri Light" panose="020F0302020204030204" pitchFamily="34" charset="0"/>
              </a:rPr>
              <a:t>Receives mobile app notification following monthly posting of first bill and payment confirmation</a:t>
            </a:r>
          </a:p>
        </p:txBody>
      </p:sp>
      <p:grpSp>
        <p:nvGrpSpPr>
          <p:cNvPr id="155" name="Group 154">
            <a:extLst>
              <a:ext uri="{FF2B5EF4-FFF2-40B4-BE49-F238E27FC236}">
                <a16:creationId xmlns:a16="http://schemas.microsoft.com/office/drawing/2014/main" id="{9DE6AB7E-854E-4BB4-9329-3D80C6C52CBD}"/>
              </a:ext>
            </a:extLst>
          </p:cNvPr>
          <p:cNvGrpSpPr/>
          <p:nvPr/>
        </p:nvGrpSpPr>
        <p:grpSpPr>
          <a:xfrm>
            <a:off x="4446175" y="3498308"/>
            <a:ext cx="337603" cy="322417"/>
            <a:chOff x="4446175" y="3498308"/>
            <a:chExt cx="337603" cy="322417"/>
          </a:xfrm>
        </p:grpSpPr>
        <p:sp>
          <p:nvSpPr>
            <p:cNvPr id="27" name="Oval 26">
              <a:extLst>
                <a:ext uri="{FF2B5EF4-FFF2-40B4-BE49-F238E27FC236}">
                  <a16:creationId xmlns:a16="http://schemas.microsoft.com/office/drawing/2014/main" id="{F82F5CA7-F955-4C2B-8FA5-D2B533A3D62A}"/>
                </a:ext>
              </a:extLst>
            </p:cNvPr>
            <p:cNvSpPr>
              <a:spLocks noChangeAspect="1"/>
            </p:cNvSpPr>
            <p:nvPr/>
          </p:nvSpPr>
          <p:spPr>
            <a:xfrm>
              <a:off x="4446175" y="3498308"/>
              <a:ext cx="337603" cy="322417"/>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sp>
          <p:nvSpPr>
            <p:cNvPr id="52" name="Freeform 194">
              <a:extLst>
                <a:ext uri="{FF2B5EF4-FFF2-40B4-BE49-F238E27FC236}">
                  <a16:creationId xmlns:a16="http://schemas.microsoft.com/office/drawing/2014/main" id="{8A174B07-B92D-45C2-9D97-8F5348C0E3C9}"/>
                </a:ext>
              </a:extLst>
            </p:cNvPr>
            <p:cNvSpPr>
              <a:spLocks noEditPoints="1"/>
            </p:cNvSpPr>
            <p:nvPr/>
          </p:nvSpPr>
          <p:spPr bwMode="auto">
            <a:xfrm>
              <a:off x="4507491" y="3569809"/>
              <a:ext cx="185899" cy="174175"/>
            </a:xfrm>
            <a:custGeom>
              <a:avLst/>
              <a:gdLst>
                <a:gd name="T0" fmla="*/ 178 w 178"/>
                <a:gd name="T1" fmla="*/ 66 h 175"/>
                <a:gd name="T2" fmla="*/ 117 w 178"/>
                <a:gd name="T3" fmla="*/ 0 h 175"/>
                <a:gd name="T4" fmla="*/ 61 w 178"/>
                <a:gd name="T5" fmla="*/ 0 h 175"/>
                <a:gd name="T6" fmla="*/ 0 w 178"/>
                <a:gd name="T7" fmla="*/ 66 h 175"/>
                <a:gd name="T8" fmla="*/ 46 w 178"/>
                <a:gd name="T9" fmla="*/ 130 h 175"/>
                <a:gd name="T10" fmla="*/ 46 w 178"/>
                <a:gd name="T11" fmla="*/ 170 h 175"/>
                <a:gd name="T12" fmla="*/ 49 w 178"/>
                <a:gd name="T13" fmla="*/ 174 h 175"/>
                <a:gd name="T14" fmla="*/ 51 w 178"/>
                <a:gd name="T15" fmla="*/ 175 h 175"/>
                <a:gd name="T16" fmla="*/ 54 w 178"/>
                <a:gd name="T17" fmla="*/ 174 h 175"/>
                <a:gd name="T18" fmla="*/ 101 w 178"/>
                <a:gd name="T19" fmla="*/ 132 h 175"/>
                <a:gd name="T20" fmla="*/ 117 w 178"/>
                <a:gd name="T21" fmla="*/ 132 h 175"/>
                <a:gd name="T22" fmla="*/ 178 w 178"/>
                <a:gd name="T23" fmla="*/ 66 h 175"/>
                <a:gd name="T24" fmla="*/ 99 w 178"/>
                <a:gd name="T25" fmla="*/ 123 h 175"/>
                <a:gd name="T26" fmla="*/ 96 w 178"/>
                <a:gd name="T27" fmla="*/ 124 h 175"/>
                <a:gd name="T28" fmla="*/ 55 w 178"/>
                <a:gd name="T29" fmla="*/ 159 h 175"/>
                <a:gd name="T30" fmla="*/ 55 w 178"/>
                <a:gd name="T31" fmla="*/ 126 h 175"/>
                <a:gd name="T32" fmla="*/ 52 w 178"/>
                <a:gd name="T33" fmla="*/ 122 h 175"/>
                <a:gd name="T34" fmla="*/ 9 w 178"/>
                <a:gd name="T35" fmla="*/ 66 h 175"/>
                <a:gd name="T36" fmla="*/ 61 w 178"/>
                <a:gd name="T37" fmla="*/ 10 h 175"/>
                <a:gd name="T38" fmla="*/ 117 w 178"/>
                <a:gd name="T39" fmla="*/ 10 h 175"/>
                <a:gd name="T40" fmla="*/ 168 w 178"/>
                <a:gd name="T41" fmla="*/ 66 h 175"/>
                <a:gd name="T42" fmla="*/ 117 w 178"/>
                <a:gd name="T43" fmla="*/ 123 h 175"/>
                <a:gd name="T44" fmla="*/ 99 w 178"/>
                <a:gd name="T45" fmla="*/ 12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8" h="175">
                  <a:moveTo>
                    <a:pt x="178" y="66"/>
                  </a:moveTo>
                  <a:cubicBezTo>
                    <a:pt x="178" y="30"/>
                    <a:pt x="150" y="0"/>
                    <a:pt x="117" y="0"/>
                  </a:cubicBezTo>
                  <a:cubicBezTo>
                    <a:pt x="61" y="0"/>
                    <a:pt x="61" y="0"/>
                    <a:pt x="61" y="0"/>
                  </a:cubicBezTo>
                  <a:cubicBezTo>
                    <a:pt x="27" y="0"/>
                    <a:pt x="0" y="30"/>
                    <a:pt x="0" y="66"/>
                  </a:cubicBezTo>
                  <a:cubicBezTo>
                    <a:pt x="0" y="97"/>
                    <a:pt x="19" y="123"/>
                    <a:pt x="46" y="130"/>
                  </a:cubicBezTo>
                  <a:cubicBezTo>
                    <a:pt x="46" y="170"/>
                    <a:pt x="46" y="170"/>
                    <a:pt x="46" y="170"/>
                  </a:cubicBezTo>
                  <a:cubicBezTo>
                    <a:pt x="46" y="172"/>
                    <a:pt x="47" y="174"/>
                    <a:pt x="49" y="174"/>
                  </a:cubicBezTo>
                  <a:cubicBezTo>
                    <a:pt x="49" y="175"/>
                    <a:pt x="50" y="175"/>
                    <a:pt x="51" y="175"/>
                  </a:cubicBezTo>
                  <a:cubicBezTo>
                    <a:pt x="52" y="175"/>
                    <a:pt x="53" y="174"/>
                    <a:pt x="54" y="174"/>
                  </a:cubicBezTo>
                  <a:cubicBezTo>
                    <a:pt x="101" y="132"/>
                    <a:pt x="101" y="132"/>
                    <a:pt x="101" y="132"/>
                  </a:cubicBezTo>
                  <a:cubicBezTo>
                    <a:pt x="117" y="132"/>
                    <a:pt x="117" y="132"/>
                    <a:pt x="117" y="132"/>
                  </a:cubicBezTo>
                  <a:cubicBezTo>
                    <a:pt x="150" y="132"/>
                    <a:pt x="178" y="103"/>
                    <a:pt x="178" y="66"/>
                  </a:cubicBezTo>
                  <a:close/>
                  <a:moveTo>
                    <a:pt x="99" y="123"/>
                  </a:moveTo>
                  <a:cubicBezTo>
                    <a:pt x="98" y="123"/>
                    <a:pt x="97" y="123"/>
                    <a:pt x="96" y="124"/>
                  </a:cubicBezTo>
                  <a:cubicBezTo>
                    <a:pt x="55" y="159"/>
                    <a:pt x="55" y="159"/>
                    <a:pt x="55" y="159"/>
                  </a:cubicBezTo>
                  <a:cubicBezTo>
                    <a:pt x="55" y="126"/>
                    <a:pt x="55" y="126"/>
                    <a:pt x="55" y="126"/>
                  </a:cubicBezTo>
                  <a:cubicBezTo>
                    <a:pt x="55" y="124"/>
                    <a:pt x="54" y="122"/>
                    <a:pt x="52" y="122"/>
                  </a:cubicBezTo>
                  <a:cubicBezTo>
                    <a:pt x="27" y="117"/>
                    <a:pt x="9" y="94"/>
                    <a:pt x="9" y="66"/>
                  </a:cubicBezTo>
                  <a:cubicBezTo>
                    <a:pt x="9" y="35"/>
                    <a:pt x="32" y="10"/>
                    <a:pt x="61" y="10"/>
                  </a:cubicBezTo>
                  <a:cubicBezTo>
                    <a:pt x="117" y="10"/>
                    <a:pt x="117" y="10"/>
                    <a:pt x="117" y="10"/>
                  </a:cubicBezTo>
                  <a:cubicBezTo>
                    <a:pt x="145" y="10"/>
                    <a:pt x="168" y="35"/>
                    <a:pt x="168" y="66"/>
                  </a:cubicBezTo>
                  <a:cubicBezTo>
                    <a:pt x="168" y="97"/>
                    <a:pt x="145" y="123"/>
                    <a:pt x="117" y="123"/>
                  </a:cubicBezTo>
                  <a:lnTo>
                    <a:pt x="99" y="123"/>
                  </a:lnTo>
                  <a:close/>
                </a:path>
              </a:pathLst>
            </a:custGeom>
            <a:solidFill>
              <a:srgbClr val="00B050"/>
            </a:solid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53" name="Freeform 195">
              <a:extLst>
                <a:ext uri="{FF2B5EF4-FFF2-40B4-BE49-F238E27FC236}">
                  <a16:creationId xmlns:a16="http://schemas.microsoft.com/office/drawing/2014/main" id="{C919EC52-5F73-4A82-B95E-D18F1719DCFA}"/>
                </a:ext>
              </a:extLst>
            </p:cNvPr>
            <p:cNvSpPr>
              <a:spLocks/>
            </p:cNvSpPr>
            <p:nvPr/>
          </p:nvSpPr>
          <p:spPr bwMode="auto">
            <a:xfrm>
              <a:off x="4626494" y="3640420"/>
              <a:ext cx="127454" cy="122393"/>
            </a:xfrm>
            <a:custGeom>
              <a:avLst/>
              <a:gdLst>
                <a:gd name="T0" fmla="*/ 77 w 122"/>
                <a:gd name="T1" fmla="*/ 0 h 123"/>
                <a:gd name="T2" fmla="*/ 73 w 122"/>
                <a:gd name="T3" fmla="*/ 5 h 123"/>
                <a:gd name="T4" fmla="*/ 77 w 122"/>
                <a:gd name="T5" fmla="*/ 9 h 123"/>
                <a:gd name="T6" fmla="*/ 112 w 122"/>
                <a:gd name="T7" fmla="*/ 48 h 123"/>
                <a:gd name="T8" fmla="*/ 79 w 122"/>
                <a:gd name="T9" fmla="*/ 86 h 123"/>
                <a:gd name="T10" fmla="*/ 74 w 122"/>
                <a:gd name="T11" fmla="*/ 91 h 123"/>
                <a:gd name="T12" fmla="*/ 74 w 122"/>
                <a:gd name="T13" fmla="*/ 107 h 123"/>
                <a:gd name="T14" fmla="*/ 56 w 122"/>
                <a:gd name="T15" fmla="*/ 88 h 123"/>
                <a:gd name="T16" fmla="*/ 53 w 122"/>
                <a:gd name="T17" fmla="*/ 87 h 123"/>
                <a:gd name="T18" fmla="*/ 37 w 122"/>
                <a:gd name="T19" fmla="*/ 87 h 123"/>
                <a:gd name="T20" fmla="*/ 10 w 122"/>
                <a:gd name="T21" fmla="*/ 71 h 123"/>
                <a:gd name="T22" fmla="*/ 3 w 122"/>
                <a:gd name="T23" fmla="*/ 70 h 123"/>
                <a:gd name="T24" fmla="*/ 2 w 122"/>
                <a:gd name="T25" fmla="*/ 76 h 123"/>
                <a:gd name="T26" fmla="*/ 37 w 122"/>
                <a:gd name="T27" fmla="*/ 96 h 123"/>
                <a:gd name="T28" fmla="*/ 51 w 122"/>
                <a:gd name="T29" fmla="*/ 96 h 123"/>
                <a:gd name="T30" fmla="*/ 75 w 122"/>
                <a:gd name="T31" fmla="*/ 122 h 123"/>
                <a:gd name="T32" fmla="*/ 79 w 122"/>
                <a:gd name="T33" fmla="*/ 123 h 123"/>
                <a:gd name="T34" fmla="*/ 80 w 122"/>
                <a:gd name="T35" fmla="*/ 123 h 123"/>
                <a:gd name="T36" fmla="*/ 83 w 122"/>
                <a:gd name="T37" fmla="*/ 118 h 123"/>
                <a:gd name="T38" fmla="*/ 83 w 122"/>
                <a:gd name="T39" fmla="*/ 96 h 123"/>
                <a:gd name="T40" fmla="*/ 122 w 122"/>
                <a:gd name="T41" fmla="*/ 48 h 123"/>
                <a:gd name="T42" fmla="*/ 77 w 122"/>
                <a:gd name="T4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2" h="123">
                  <a:moveTo>
                    <a:pt x="77" y="0"/>
                  </a:moveTo>
                  <a:cubicBezTo>
                    <a:pt x="75" y="0"/>
                    <a:pt x="73" y="2"/>
                    <a:pt x="73" y="5"/>
                  </a:cubicBezTo>
                  <a:cubicBezTo>
                    <a:pt x="73" y="7"/>
                    <a:pt x="75" y="9"/>
                    <a:pt x="77" y="9"/>
                  </a:cubicBezTo>
                  <a:cubicBezTo>
                    <a:pt x="97" y="9"/>
                    <a:pt x="112" y="27"/>
                    <a:pt x="112" y="48"/>
                  </a:cubicBezTo>
                  <a:cubicBezTo>
                    <a:pt x="112" y="69"/>
                    <a:pt x="97" y="86"/>
                    <a:pt x="79" y="86"/>
                  </a:cubicBezTo>
                  <a:cubicBezTo>
                    <a:pt x="76" y="87"/>
                    <a:pt x="74" y="89"/>
                    <a:pt x="74" y="91"/>
                  </a:cubicBezTo>
                  <a:cubicBezTo>
                    <a:pt x="74" y="107"/>
                    <a:pt x="74" y="107"/>
                    <a:pt x="74" y="107"/>
                  </a:cubicBezTo>
                  <a:cubicBezTo>
                    <a:pt x="56" y="88"/>
                    <a:pt x="56" y="88"/>
                    <a:pt x="56" y="88"/>
                  </a:cubicBezTo>
                  <a:cubicBezTo>
                    <a:pt x="55" y="87"/>
                    <a:pt x="54" y="87"/>
                    <a:pt x="53" y="87"/>
                  </a:cubicBezTo>
                  <a:cubicBezTo>
                    <a:pt x="37" y="87"/>
                    <a:pt x="37" y="87"/>
                    <a:pt x="37" y="87"/>
                  </a:cubicBezTo>
                  <a:cubicBezTo>
                    <a:pt x="26" y="87"/>
                    <a:pt x="16" y="81"/>
                    <a:pt x="10" y="71"/>
                  </a:cubicBezTo>
                  <a:cubicBezTo>
                    <a:pt x="8" y="69"/>
                    <a:pt x="5" y="68"/>
                    <a:pt x="3" y="70"/>
                  </a:cubicBezTo>
                  <a:cubicBezTo>
                    <a:pt x="1" y="71"/>
                    <a:pt x="0" y="74"/>
                    <a:pt x="2" y="76"/>
                  </a:cubicBezTo>
                  <a:cubicBezTo>
                    <a:pt x="10" y="89"/>
                    <a:pt x="23" y="96"/>
                    <a:pt x="37" y="96"/>
                  </a:cubicBezTo>
                  <a:cubicBezTo>
                    <a:pt x="51" y="96"/>
                    <a:pt x="51" y="96"/>
                    <a:pt x="51" y="96"/>
                  </a:cubicBezTo>
                  <a:cubicBezTo>
                    <a:pt x="75" y="122"/>
                    <a:pt x="75" y="122"/>
                    <a:pt x="75" y="122"/>
                  </a:cubicBezTo>
                  <a:cubicBezTo>
                    <a:pt x="76" y="123"/>
                    <a:pt x="77" y="123"/>
                    <a:pt x="79" y="123"/>
                  </a:cubicBezTo>
                  <a:cubicBezTo>
                    <a:pt x="79" y="123"/>
                    <a:pt x="80" y="123"/>
                    <a:pt x="80" y="123"/>
                  </a:cubicBezTo>
                  <a:cubicBezTo>
                    <a:pt x="82" y="122"/>
                    <a:pt x="83" y="120"/>
                    <a:pt x="83" y="118"/>
                  </a:cubicBezTo>
                  <a:cubicBezTo>
                    <a:pt x="83" y="96"/>
                    <a:pt x="83" y="96"/>
                    <a:pt x="83" y="96"/>
                  </a:cubicBezTo>
                  <a:cubicBezTo>
                    <a:pt x="105" y="92"/>
                    <a:pt x="122" y="72"/>
                    <a:pt x="122" y="48"/>
                  </a:cubicBezTo>
                  <a:cubicBezTo>
                    <a:pt x="122" y="22"/>
                    <a:pt x="102" y="0"/>
                    <a:pt x="77" y="0"/>
                  </a:cubicBezTo>
                  <a:close/>
                </a:path>
              </a:pathLst>
            </a:custGeom>
            <a:solidFill>
              <a:srgbClr val="00B050"/>
            </a:solid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54" name="Freeform 196">
              <a:extLst>
                <a:ext uri="{FF2B5EF4-FFF2-40B4-BE49-F238E27FC236}">
                  <a16:creationId xmlns:a16="http://schemas.microsoft.com/office/drawing/2014/main" id="{DC1F6C35-CDE5-4A65-8561-86720C543D1C}"/>
                </a:ext>
              </a:extLst>
            </p:cNvPr>
            <p:cNvSpPr>
              <a:spLocks/>
            </p:cNvSpPr>
            <p:nvPr/>
          </p:nvSpPr>
          <p:spPr bwMode="auto">
            <a:xfrm>
              <a:off x="4550445" y="3616210"/>
              <a:ext cx="99287" cy="10088"/>
            </a:xfrm>
            <a:custGeom>
              <a:avLst/>
              <a:gdLst>
                <a:gd name="T0" fmla="*/ 95 w 95"/>
                <a:gd name="T1" fmla="*/ 5 h 10"/>
                <a:gd name="T2" fmla="*/ 90 w 95"/>
                <a:gd name="T3" fmla="*/ 0 h 10"/>
                <a:gd name="T4" fmla="*/ 5 w 95"/>
                <a:gd name="T5" fmla="*/ 0 h 10"/>
                <a:gd name="T6" fmla="*/ 0 w 95"/>
                <a:gd name="T7" fmla="*/ 5 h 10"/>
                <a:gd name="T8" fmla="*/ 5 w 95"/>
                <a:gd name="T9" fmla="*/ 10 h 10"/>
                <a:gd name="T10" fmla="*/ 90 w 95"/>
                <a:gd name="T11" fmla="*/ 10 h 10"/>
                <a:gd name="T12" fmla="*/ 95 w 95"/>
                <a:gd name="T13" fmla="*/ 5 h 10"/>
              </a:gdLst>
              <a:ahLst/>
              <a:cxnLst>
                <a:cxn ang="0">
                  <a:pos x="T0" y="T1"/>
                </a:cxn>
                <a:cxn ang="0">
                  <a:pos x="T2" y="T3"/>
                </a:cxn>
                <a:cxn ang="0">
                  <a:pos x="T4" y="T5"/>
                </a:cxn>
                <a:cxn ang="0">
                  <a:pos x="T6" y="T7"/>
                </a:cxn>
                <a:cxn ang="0">
                  <a:pos x="T8" y="T9"/>
                </a:cxn>
                <a:cxn ang="0">
                  <a:pos x="T10" y="T11"/>
                </a:cxn>
                <a:cxn ang="0">
                  <a:pos x="T12" y="T13"/>
                </a:cxn>
              </a:cxnLst>
              <a:rect l="0" t="0" r="r" b="b"/>
              <a:pathLst>
                <a:path w="95" h="10">
                  <a:moveTo>
                    <a:pt x="95" y="5"/>
                  </a:moveTo>
                  <a:cubicBezTo>
                    <a:pt x="95" y="2"/>
                    <a:pt x="93" y="0"/>
                    <a:pt x="90" y="0"/>
                  </a:cubicBezTo>
                  <a:cubicBezTo>
                    <a:pt x="5" y="0"/>
                    <a:pt x="5" y="0"/>
                    <a:pt x="5" y="0"/>
                  </a:cubicBezTo>
                  <a:cubicBezTo>
                    <a:pt x="2" y="0"/>
                    <a:pt x="0" y="2"/>
                    <a:pt x="0" y="5"/>
                  </a:cubicBezTo>
                  <a:cubicBezTo>
                    <a:pt x="0" y="8"/>
                    <a:pt x="2" y="10"/>
                    <a:pt x="5" y="10"/>
                  </a:cubicBezTo>
                  <a:cubicBezTo>
                    <a:pt x="90" y="10"/>
                    <a:pt x="90" y="10"/>
                    <a:pt x="90" y="10"/>
                  </a:cubicBezTo>
                  <a:cubicBezTo>
                    <a:pt x="93" y="10"/>
                    <a:pt x="95" y="8"/>
                    <a:pt x="95" y="5"/>
                  </a:cubicBezTo>
                  <a:close/>
                </a:path>
              </a:pathLst>
            </a:custGeom>
            <a:solidFill>
              <a:srgbClr val="00B050"/>
            </a:solid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55" name="Freeform 197">
              <a:extLst>
                <a:ext uri="{FF2B5EF4-FFF2-40B4-BE49-F238E27FC236}">
                  <a16:creationId xmlns:a16="http://schemas.microsoft.com/office/drawing/2014/main" id="{0A071BBA-9414-43E8-BE21-0E4E7EFE6FBA}"/>
                </a:ext>
              </a:extLst>
            </p:cNvPr>
            <p:cNvSpPr>
              <a:spLocks/>
            </p:cNvSpPr>
            <p:nvPr/>
          </p:nvSpPr>
          <p:spPr bwMode="auto">
            <a:xfrm>
              <a:off x="4550445" y="3646473"/>
              <a:ext cx="54221" cy="10088"/>
            </a:xfrm>
            <a:custGeom>
              <a:avLst/>
              <a:gdLst>
                <a:gd name="T0" fmla="*/ 47 w 52"/>
                <a:gd name="T1" fmla="*/ 0 h 10"/>
                <a:gd name="T2" fmla="*/ 5 w 52"/>
                <a:gd name="T3" fmla="*/ 0 h 10"/>
                <a:gd name="T4" fmla="*/ 0 w 52"/>
                <a:gd name="T5" fmla="*/ 5 h 10"/>
                <a:gd name="T6" fmla="*/ 5 w 52"/>
                <a:gd name="T7" fmla="*/ 10 h 10"/>
                <a:gd name="T8" fmla="*/ 47 w 52"/>
                <a:gd name="T9" fmla="*/ 10 h 10"/>
                <a:gd name="T10" fmla="*/ 52 w 52"/>
                <a:gd name="T11" fmla="*/ 5 h 10"/>
                <a:gd name="T12" fmla="*/ 47 w 5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52" h="10">
                  <a:moveTo>
                    <a:pt x="47" y="0"/>
                  </a:moveTo>
                  <a:cubicBezTo>
                    <a:pt x="5" y="0"/>
                    <a:pt x="5" y="0"/>
                    <a:pt x="5" y="0"/>
                  </a:cubicBezTo>
                  <a:cubicBezTo>
                    <a:pt x="2" y="0"/>
                    <a:pt x="0" y="2"/>
                    <a:pt x="0" y="5"/>
                  </a:cubicBezTo>
                  <a:cubicBezTo>
                    <a:pt x="0" y="8"/>
                    <a:pt x="2" y="10"/>
                    <a:pt x="5" y="10"/>
                  </a:cubicBezTo>
                  <a:cubicBezTo>
                    <a:pt x="47" y="10"/>
                    <a:pt x="47" y="10"/>
                    <a:pt x="47" y="10"/>
                  </a:cubicBezTo>
                  <a:cubicBezTo>
                    <a:pt x="49" y="10"/>
                    <a:pt x="52" y="8"/>
                    <a:pt x="52" y="5"/>
                  </a:cubicBezTo>
                  <a:cubicBezTo>
                    <a:pt x="52" y="2"/>
                    <a:pt x="49" y="0"/>
                    <a:pt x="47" y="0"/>
                  </a:cubicBezTo>
                  <a:close/>
                </a:path>
              </a:pathLst>
            </a:custGeom>
            <a:solidFill>
              <a:srgbClr val="00B050"/>
            </a:solid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grpSp>
      <p:sp>
        <p:nvSpPr>
          <p:cNvPr id="56" name="Freeform 391">
            <a:extLst>
              <a:ext uri="{FF2B5EF4-FFF2-40B4-BE49-F238E27FC236}">
                <a16:creationId xmlns:a16="http://schemas.microsoft.com/office/drawing/2014/main" id="{05819160-A274-44E5-98CA-20DEED746C33}"/>
              </a:ext>
            </a:extLst>
          </p:cNvPr>
          <p:cNvSpPr>
            <a:spLocks noChangeAspect="1" noEditPoints="1"/>
          </p:cNvSpPr>
          <p:nvPr/>
        </p:nvSpPr>
        <p:spPr bwMode="auto">
          <a:xfrm>
            <a:off x="10055038" y="5621820"/>
            <a:ext cx="199352" cy="224595"/>
          </a:xfrm>
          <a:custGeom>
            <a:avLst/>
            <a:gdLst>
              <a:gd name="T0" fmla="*/ 115 w 198"/>
              <a:gd name="T1" fmla="*/ 70 h 233"/>
              <a:gd name="T2" fmla="*/ 157 w 198"/>
              <a:gd name="T3" fmla="*/ 31 h 233"/>
              <a:gd name="T4" fmla="*/ 133 w 198"/>
              <a:gd name="T5" fmla="*/ 9 h 233"/>
              <a:gd name="T6" fmla="*/ 59 w 198"/>
              <a:gd name="T7" fmla="*/ 0 h 233"/>
              <a:gd name="T8" fmla="*/ 32 w 198"/>
              <a:gd name="T9" fmla="*/ 29 h 233"/>
              <a:gd name="T10" fmla="*/ 5 w 198"/>
              <a:gd name="T11" fmla="*/ 70 h 233"/>
              <a:gd name="T12" fmla="*/ 0 w 198"/>
              <a:gd name="T13" fmla="*/ 120 h 233"/>
              <a:gd name="T14" fmla="*/ 11 w 198"/>
              <a:gd name="T15" fmla="*/ 125 h 233"/>
              <a:gd name="T16" fmla="*/ 15 w 198"/>
              <a:gd name="T17" fmla="*/ 233 h 233"/>
              <a:gd name="T18" fmla="*/ 115 w 198"/>
              <a:gd name="T19" fmla="*/ 233 h 233"/>
              <a:gd name="T20" fmla="*/ 188 w 198"/>
              <a:gd name="T21" fmla="*/ 229 h 233"/>
              <a:gd name="T22" fmla="*/ 194 w 198"/>
              <a:gd name="T23" fmla="*/ 125 h 233"/>
              <a:gd name="T24" fmla="*/ 198 w 198"/>
              <a:gd name="T25" fmla="*/ 74 h 233"/>
              <a:gd name="T26" fmla="*/ 189 w 198"/>
              <a:gd name="T27" fmla="*/ 112 h 233"/>
              <a:gd name="T28" fmla="*/ 120 w 198"/>
              <a:gd name="T29" fmla="*/ 111 h 233"/>
              <a:gd name="T30" fmla="*/ 189 w 198"/>
              <a:gd name="T31" fmla="*/ 79 h 233"/>
              <a:gd name="T32" fmla="*/ 133 w 198"/>
              <a:gd name="T33" fmla="*/ 18 h 233"/>
              <a:gd name="T34" fmla="*/ 148 w 198"/>
              <a:gd name="T35" fmla="*/ 30 h 233"/>
              <a:gd name="T36" fmla="*/ 133 w 198"/>
              <a:gd name="T37" fmla="*/ 18 h 233"/>
              <a:gd name="T38" fmla="*/ 48 w 198"/>
              <a:gd name="T39" fmla="*/ 13 h 233"/>
              <a:gd name="T40" fmla="*/ 90 w 198"/>
              <a:gd name="T41" fmla="*/ 64 h 233"/>
              <a:gd name="T42" fmla="*/ 79 w 198"/>
              <a:gd name="T43" fmla="*/ 79 h 233"/>
              <a:gd name="T44" fmla="*/ 10 w 198"/>
              <a:gd name="T45" fmla="*/ 111 h 233"/>
              <a:gd name="T46" fmla="*/ 9 w 198"/>
              <a:gd name="T47" fmla="*/ 79 h 233"/>
              <a:gd name="T48" fmla="*/ 20 w 198"/>
              <a:gd name="T49" fmla="*/ 121 h 233"/>
              <a:gd name="T50" fmla="*/ 79 w 198"/>
              <a:gd name="T51" fmla="*/ 224 h 233"/>
              <a:gd name="T52" fmla="*/ 20 w 198"/>
              <a:gd name="T53" fmla="*/ 121 h 233"/>
              <a:gd name="T54" fmla="*/ 89 w 198"/>
              <a:gd name="T55" fmla="*/ 79 h 233"/>
              <a:gd name="T56" fmla="*/ 110 w 198"/>
              <a:gd name="T57" fmla="*/ 224 h 233"/>
              <a:gd name="T58" fmla="*/ 120 w 198"/>
              <a:gd name="T59" fmla="*/ 224 h 233"/>
              <a:gd name="T60" fmla="*/ 178 w 198"/>
              <a:gd name="T61" fmla="*/ 121 h 233"/>
              <a:gd name="T62" fmla="*/ 120 w 198"/>
              <a:gd name="T63" fmla="*/ 22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8" h="233">
                <a:moveTo>
                  <a:pt x="194" y="70"/>
                </a:moveTo>
                <a:cubicBezTo>
                  <a:pt x="115" y="70"/>
                  <a:pt x="115" y="70"/>
                  <a:pt x="115" y="70"/>
                </a:cubicBezTo>
                <a:cubicBezTo>
                  <a:pt x="112" y="70"/>
                  <a:pt x="112" y="70"/>
                  <a:pt x="112" y="70"/>
                </a:cubicBezTo>
                <a:cubicBezTo>
                  <a:pt x="126" y="63"/>
                  <a:pt x="155" y="48"/>
                  <a:pt x="157" y="31"/>
                </a:cubicBezTo>
                <a:cubicBezTo>
                  <a:pt x="157" y="27"/>
                  <a:pt x="156" y="20"/>
                  <a:pt x="148" y="14"/>
                </a:cubicBezTo>
                <a:cubicBezTo>
                  <a:pt x="143" y="11"/>
                  <a:pt x="138" y="9"/>
                  <a:pt x="133" y="9"/>
                </a:cubicBezTo>
                <a:cubicBezTo>
                  <a:pt x="111" y="9"/>
                  <a:pt x="102" y="46"/>
                  <a:pt x="99" y="61"/>
                </a:cubicBezTo>
                <a:cubicBezTo>
                  <a:pt x="95" y="42"/>
                  <a:pt x="82" y="0"/>
                  <a:pt x="59" y="0"/>
                </a:cubicBezTo>
                <a:cubicBezTo>
                  <a:pt x="53" y="0"/>
                  <a:pt x="48" y="2"/>
                  <a:pt x="43" y="6"/>
                </a:cubicBezTo>
                <a:cubicBezTo>
                  <a:pt x="34" y="13"/>
                  <a:pt x="30" y="20"/>
                  <a:pt x="32" y="29"/>
                </a:cubicBezTo>
                <a:cubicBezTo>
                  <a:pt x="35" y="46"/>
                  <a:pt x="61" y="61"/>
                  <a:pt x="79" y="70"/>
                </a:cubicBezTo>
                <a:cubicBezTo>
                  <a:pt x="5" y="70"/>
                  <a:pt x="5" y="70"/>
                  <a:pt x="5" y="70"/>
                </a:cubicBezTo>
                <a:cubicBezTo>
                  <a:pt x="2" y="70"/>
                  <a:pt x="0" y="72"/>
                  <a:pt x="0" y="74"/>
                </a:cubicBezTo>
                <a:cubicBezTo>
                  <a:pt x="0" y="120"/>
                  <a:pt x="0" y="120"/>
                  <a:pt x="0" y="120"/>
                </a:cubicBezTo>
                <a:cubicBezTo>
                  <a:pt x="0" y="123"/>
                  <a:pt x="2" y="125"/>
                  <a:pt x="5" y="125"/>
                </a:cubicBezTo>
                <a:cubicBezTo>
                  <a:pt x="11" y="125"/>
                  <a:pt x="11" y="125"/>
                  <a:pt x="11" y="125"/>
                </a:cubicBezTo>
                <a:cubicBezTo>
                  <a:pt x="11" y="229"/>
                  <a:pt x="11" y="229"/>
                  <a:pt x="11" y="229"/>
                </a:cubicBezTo>
                <a:cubicBezTo>
                  <a:pt x="11" y="231"/>
                  <a:pt x="13" y="233"/>
                  <a:pt x="15" y="233"/>
                </a:cubicBezTo>
                <a:cubicBezTo>
                  <a:pt x="84" y="233"/>
                  <a:pt x="84" y="233"/>
                  <a:pt x="84" y="233"/>
                </a:cubicBezTo>
                <a:cubicBezTo>
                  <a:pt x="115" y="233"/>
                  <a:pt x="115" y="233"/>
                  <a:pt x="115" y="233"/>
                </a:cubicBezTo>
                <a:cubicBezTo>
                  <a:pt x="183" y="233"/>
                  <a:pt x="183" y="233"/>
                  <a:pt x="183" y="233"/>
                </a:cubicBezTo>
                <a:cubicBezTo>
                  <a:pt x="186" y="233"/>
                  <a:pt x="188" y="231"/>
                  <a:pt x="188" y="229"/>
                </a:cubicBezTo>
                <a:cubicBezTo>
                  <a:pt x="188" y="125"/>
                  <a:pt x="188" y="125"/>
                  <a:pt x="188" y="125"/>
                </a:cubicBezTo>
                <a:cubicBezTo>
                  <a:pt x="194" y="125"/>
                  <a:pt x="194" y="125"/>
                  <a:pt x="194" y="125"/>
                </a:cubicBezTo>
                <a:cubicBezTo>
                  <a:pt x="196" y="125"/>
                  <a:pt x="198" y="123"/>
                  <a:pt x="198" y="120"/>
                </a:cubicBezTo>
                <a:cubicBezTo>
                  <a:pt x="198" y="74"/>
                  <a:pt x="198" y="74"/>
                  <a:pt x="198" y="74"/>
                </a:cubicBezTo>
                <a:cubicBezTo>
                  <a:pt x="198" y="72"/>
                  <a:pt x="196" y="70"/>
                  <a:pt x="194" y="70"/>
                </a:cubicBezTo>
                <a:close/>
                <a:moveTo>
                  <a:pt x="189" y="112"/>
                </a:moveTo>
                <a:cubicBezTo>
                  <a:pt x="188" y="111"/>
                  <a:pt x="188" y="111"/>
                  <a:pt x="187" y="111"/>
                </a:cubicBezTo>
                <a:cubicBezTo>
                  <a:pt x="120" y="111"/>
                  <a:pt x="120" y="111"/>
                  <a:pt x="120" y="111"/>
                </a:cubicBezTo>
                <a:cubicBezTo>
                  <a:pt x="120" y="79"/>
                  <a:pt x="120" y="79"/>
                  <a:pt x="120" y="79"/>
                </a:cubicBezTo>
                <a:cubicBezTo>
                  <a:pt x="189" y="79"/>
                  <a:pt x="189" y="79"/>
                  <a:pt x="189" y="79"/>
                </a:cubicBezTo>
                <a:lnTo>
                  <a:pt x="189" y="112"/>
                </a:lnTo>
                <a:close/>
                <a:moveTo>
                  <a:pt x="133" y="18"/>
                </a:moveTo>
                <a:cubicBezTo>
                  <a:pt x="136" y="18"/>
                  <a:pt x="139" y="19"/>
                  <a:pt x="142" y="22"/>
                </a:cubicBezTo>
                <a:cubicBezTo>
                  <a:pt x="148" y="26"/>
                  <a:pt x="148" y="29"/>
                  <a:pt x="148" y="30"/>
                </a:cubicBezTo>
                <a:cubicBezTo>
                  <a:pt x="146" y="40"/>
                  <a:pt x="126" y="53"/>
                  <a:pt x="109" y="61"/>
                </a:cubicBezTo>
                <a:cubicBezTo>
                  <a:pt x="112" y="44"/>
                  <a:pt x="120" y="18"/>
                  <a:pt x="133" y="18"/>
                </a:cubicBezTo>
                <a:close/>
                <a:moveTo>
                  <a:pt x="41" y="27"/>
                </a:moveTo>
                <a:cubicBezTo>
                  <a:pt x="40" y="22"/>
                  <a:pt x="43" y="18"/>
                  <a:pt x="48" y="13"/>
                </a:cubicBezTo>
                <a:cubicBezTo>
                  <a:pt x="52" y="11"/>
                  <a:pt x="56" y="9"/>
                  <a:pt x="59" y="9"/>
                </a:cubicBezTo>
                <a:cubicBezTo>
                  <a:pt x="73" y="9"/>
                  <a:pt x="85" y="40"/>
                  <a:pt x="90" y="64"/>
                </a:cubicBezTo>
                <a:cubicBezTo>
                  <a:pt x="70" y="56"/>
                  <a:pt x="43" y="40"/>
                  <a:pt x="41" y="27"/>
                </a:cubicBezTo>
                <a:close/>
                <a:moveTo>
                  <a:pt x="79" y="79"/>
                </a:moveTo>
                <a:cubicBezTo>
                  <a:pt x="79" y="111"/>
                  <a:pt x="79" y="111"/>
                  <a:pt x="79" y="111"/>
                </a:cubicBezTo>
                <a:cubicBezTo>
                  <a:pt x="10" y="111"/>
                  <a:pt x="10" y="111"/>
                  <a:pt x="10" y="111"/>
                </a:cubicBezTo>
                <a:cubicBezTo>
                  <a:pt x="10" y="111"/>
                  <a:pt x="10" y="111"/>
                  <a:pt x="9" y="111"/>
                </a:cubicBezTo>
                <a:cubicBezTo>
                  <a:pt x="9" y="79"/>
                  <a:pt x="9" y="79"/>
                  <a:pt x="9" y="79"/>
                </a:cubicBezTo>
                <a:lnTo>
                  <a:pt x="79" y="79"/>
                </a:lnTo>
                <a:close/>
                <a:moveTo>
                  <a:pt x="20" y="121"/>
                </a:moveTo>
                <a:cubicBezTo>
                  <a:pt x="79" y="121"/>
                  <a:pt x="79" y="121"/>
                  <a:pt x="79" y="121"/>
                </a:cubicBezTo>
                <a:cubicBezTo>
                  <a:pt x="79" y="224"/>
                  <a:pt x="79" y="224"/>
                  <a:pt x="79" y="224"/>
                </a:cubicBezTo>
                <a:cubicBezTo>
                  <a:pt x="20" y="224"/>
                  <a:pt x="20" y="224"/>
                  <a:pt x="20" y="224"/>
                </a:cubicBezTo>
                <a:lnTo>
                  <a:pt x="20" y="121"/>
                </a:lnTo>
                <a:close/>
                <a:moveTo>
                  <a:pt x="89" y="224"/>
                </a:moveTo>
                <a:cubicBezTo>
                  <a:pt x="89" y="79"/>
                  <a:pt x="89" y="79"/>
                  <a:pt x="89" y="79"/>
                </a:cubicBezTo>
                <a:cubicBezTo>
                  <a:pt x="110" y="79"/>
                  <a:pt x="110" y="79"/>
                  <a:pt x="110" y="79"/>
                </a:cubicBezTo>
                <a:cubicBezTo>
                  <a:pt x="110" y="224"/>
                  <a:pt x="110" y="224"/>
                  <a:pt x="110" y="224"/>
                </a:cubicBezTo>
                <a:lnTo>
                  <a:pt x="89" y="224"/>
                </a:lnTo>
                <a:close/>
                <a:moveTo>
                  <a:pt x="120" y="224"/>
                </a:moveTo>
                <a:cubicBezTo>
                  <a:pt x="120" y="121"/>
                  <a:pt x="120" y="121"/>
                  <a:pt x="120" y="121"/>
                </a:cubicBezTo>
                <a:cubicBezTo>
                  <a:pt x="178" y="121"/>
                  <a:pt x="178" y="121"/>
                  <a:pt x="178" y="121"/>
                </a:cubicBezTo>
                <a:cubicBezTo>
                  <a:pt x="178" y="224"/>
                  <a:pt x="178" y="224"/>
                  <a:pt x="178" y="224"/>
                </a:cubicBezTo>
                <a:lnTo>
                  <a:pt x="120" y="224"/>
                </a:lnTo>
                <a:close/>
              </a:path>
            </a:pathLst>
          </a:custGeom>
          <a:solidFill>
            <a:srgbClr val="FF0000"/>
          </a:solidFill>
          <a:ln>
            <a:solidFill>
              <a:schemeClr val="accent4"/>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72" name="Rectangle 71">
            <a:extLst>
              <a:ext uri="{FF2B5EF4-FFF2-40B4-BE49-F238E27FC236}">
                <a16:creationId xmlns:a16="http://schemas.microsoft.com/office/drawing/2014/main" id="{853B65D3-D432-4272-AA50-710F4D548A9B}"/>
              </a:ext>
            </a:extLst>
          </p:cNvPr>
          <p:cNvSpPr/>
          <p:nvPr/>
        </p:nvSpPr>
        <p:spPr>
          <a:xfrm>
            <a:off x="666597" y="1439759"/>
            <a:ext cx="1553396"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ea typeface="+mn-ea"/>
                <a:cs typeface="+mn-cs"/>
              </a:rPr>
              <a:t>Summary</a:t>
            </a:r>
          </a:p>
        </p:txBody>
      </p:sp>
      <p:cxnSp>
        <p:nvCxnSpPr>
          <p:cNvPr id="73" name="Straight Connector 72">
            <a:extLst>
              <a:ext uri="{FF2B5EF4-FFF2-40B4-BE49-F238E27FC236}">
                <a16:creationId xmlns:a16="http://schemas.microsoft.com/office/drawing/2014/main" id="{CA104F6D-3229-48BC-95CF-57818D4083EA}"/>
              </a:ext>
            </a:extLst>
          </p:cNvPr>
          <p:cNvCxnSpPr>
            <a:cxnSpLocks/>
          </p:cNvCxnSpPr>
          <p:nvPr/>
        </p:nvCxnSpPr>
        <p:spPr>
          <a:xfrm>
            <a:off x="769941" y="1460455"/>
            <a:ext cx="1437097"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B5A2B04E-8C91-48DA-9007-7065048CA809}"/>
              </a:ext>
            </a:extLst>
          </p:cNvPr>
          <p:cNvSpPr txBox="1"/>
          <p:nvPr/>
        </p:nvSpPr>
        <p:spPr>
          <a:xfrm>
            <a:off x="795285" y="1848721"/>
            <a:ext cx="1775264" cy="4494157"/>
          </a:xfrm>
          <a:prstGeom prst="rect">
            <a:avLst/>
          </a:prstGeom>
          <a:noFill/>
          <a:ln>
            <a:noFill/>
          </a:ln>
        </p:spPr>
        <p:txBody>
          <a:bodyPr wrap="square" lIns="0" tIns="0" rIns="0" bIns="0" rtlCol="0">
            <a:noAutofit/>
          </a:bodyPr>
          <a:lstStyle/>
          <a:p>
            <a:pPr marL="173038" marR="0" lvl="0" indent="-17303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44546A"/>
                </a:solidFill>
                <a:effectLst/>
                <a:uLnTx/>
                <a:uFillTx/>
                <a:ea typeface="+mn-ea"/>
                <a:cs typeface="+mn-cs"/>
              </a:rPr>
              <a:t>Public gas and electric utility company, across 8 states, committed to be carbon free by 2050</a:t>
            </a:r>
          </a:p>
          <a:p>
            <a:pPr marL="173038" marR="0" lvl="0" indent="-17303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44546A"/>
                </a:solidFill>
                <a:effectLst/>
                <a:uLnTx/>
                <a:uFillTx/>
                <a:ea typeface="+mn-ea"/>
                <a:cs typeface="+mn-cs"/>
              </a:rPr>
              <a:t>Top 10 U.S. Utility, ranked in top 4 in-region for customer satisfaction</a:t>
            </a:r>
          </a:p>
          <a:p>
            <a:pPr marL="173038" marR="0" lvl="0" indent="-17303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44546A"/>
                </a:solidFill>
                <a:effectLst/>
                <a:uLnTx/>
                <a:uFillTx/>
                <a:ea typeface="+mn-ea"/>
                <a:cs typeface="+mn-cs"/>
              </a:rPr>
              <a:t>5M+ customers</a:t>
            </a:r>
          </a:p>
          <a:p>
            <a:pPr marL="173038" marR="0" lvl="0" indent="-17303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44546A"/>
                </a:solidFill>
                <a:effectLst/>
                <a:uLnTx/>
                <a:uFillTx/>
                <a:ea typeface="+mn-ea"/>
                <a:cs typeface="+mn-cs"/>
              </a:rPr>
              <a:t>Strategy for relevance: keep bills low, enhance customer experience </a:t>
            </a:r>
          </a:p>
          <a:p>
            <a:pPr marL="284163" marR="0" lvl="0" indent="-111125" algn="l" defTabSz="914400" rtl="0" eaLnBrk="1" fontAlgn="auto" latinLnBrk="0" hangingPunct="1">
              <a:lnSpc>
                <a:spcPct val="100000"/>
              </a:lnSpc>
              <a:spcBef>
                <a:spcPts val="0"/>
              </a:spcBef>
              <a:spcAft>
                <a:spcPts val="600"/>
              </a:spcAft>
              <a:buClrTx/>
              <a:buSzTx/>
              <a:buFont typeface="Calibri" panose="020F0502020204030204" pitchFamily="34" charset="0"/>
              <a:buChar char="-"/>
              <a:tabLst/>
              <a:defRPr/>
            </a:pPr>
            <a:r>
              <a:rPr kumimoji="0" lang="en-US" sz="1000" b="0" i="0" u="none" strike="noStrike" kern="1200" cap="none" spc="0" normalizeH="0" baseline="0" noProof="0" dirty="0">
                <a:ln>
                  <a:noFill/>
                </a:ln>
                <a:solidFill>
                  <a:srgbClr val="44546A"/>
                </a:solidFill>
                <a:effectLst/>
                <a:uLnTx/>
                <a:uFillTx/>
                <a:ea typeface="+mn-ea"/>
                <a:cs typeface="+mn-cs"/>
              </a:rPr>
              <a:t>Reduce negative customer touch points by driving grid reliability</a:t>
            </a:r>
          </a:p>
          <a:p>
            <a:pPr marL="284163" marR="0" lvl="0" indent="-111125" algn="l" defTabSz="914400" rtl="0" eaLnBrk="1" fontAlgn="auto" latinLnBrk="0" hangingPunct="1">
              <a:lnSpc>
                <a:spcPct val="100000"/>
              </a:lnSpc>
              <a:spcBef>
                <a:spcPts val="0"/>
              </a:spcBef>
              <a:spcAft>
                <a:spcPts val="600"/>
              </a:spcAft>
              <a:buClrTx/>
              <a:buSzTx/>
              <a:buFont typeface="Calibri" panose="020F0502020204030204" pitchFamily="34" charset="0"/>
              <a:buChar char="-"/>
              <a:tabLst/>
              <a:defRPr/>
            </a:pPr>
            <a:r>
              <a:rPr kumimoji="0" lang="en-US" sz="1000" b="0" i="0" u="none" strike="noStrike" kern="1200" cap="none" spc="0" normalizeH="0" baseline="0" noProof="0" dirty="0">
                <a:ln>
                  <a:noFill/>
                </a:ln>
                <a:solidFill>
                  <a:srgbClr val="44546A"/>
                </a:solidFill>
                <a:effectLst/>
                <a:uLnTx/>
                <a:uFillTx/>
                <a:ea typeface="+mn-ea"/>
                <a:cs typeface="+mn-cs"/>
              </a:rPr>
              <a:t>Ease predictable touch points through digital channels (e.g., moving)</a:t>
            </a:r>
          </a:p>
          <a:p>
            <a:pPr marL="284163" marR="0" lvl="0" indent="-111125" algn="l" defTabSz="914400" rtl="0" eaLnBrk="1" fontAlgn="auto" latinLnBrk="0" hangingPunct="1">
              <a:lnSpc>
                <a:spcPct val="100000"/>
              </a:lnSpc>
              <a:spcBef>
                <a:spcPts val="0"/>
              </a:spcBef>
              <a:spcAft>
                <a:spcPts val="600"/>
              </a:spcAft>
              <a:buClrTx/>
              <a:buSzTx/>
              <a:buFont typeface="Calibri" panose="020F0502020204030204" pitchFamily="34" charset="0"/>
              <a:buChar char="-"/>
              <a:tabLst/>
              <a:defRPr/>
            </a:pPr>
            <a:r>
              <a:rPr kumimoji="0" lang="en-US" sz="1000" b="0" i="0" u="none" strike="noStrike" kern="1200" cap="none" spc="0" normalizeH="0" baseline="0" noProof="0" dirty="0">
                <a:ln>
                  <a:noFill/>
                </a:ln>
                <a:solidFill>
                  <a:srgbClr val="44546A"/>
                </a:solidFill>
                <a:effectLst/>
                <a:uLnTx/>
                <a:uFillTx/>
                <a:ea typeface="+mn-ea"/>
                <a:cs typeface="+mn-cs"/>
              </a:rPr>
              <a:t>Transparently and rapidly report and resolve outages</a:t>
            </a:r>
          </a:p>
          <a:p>
            <a:pPr marL="284163" marR="0" lvl="0" indent="-111125" algn="l" defTabSz="914400" rtl="0" eaLnBrk="1" fontAlgn="auto" latinLnBrk="0" hangingPunct="1">
              <a:lnSpc>
                <a:spcPct val="100000"/>
              </a:lnSpc>
              <a:spcBef>
                <a:spcPts val="0"/>
              </a:spcBef>
              <a:spcAft>
                <a:spcPts val="600"/>
              </a:spcAft>
              <a:buClrTx/>
              <a:buSzTx/>
              <a:buFont typeface="Calibri" panose="020F0502020204030204" pitchFamily="34" charset="0"/>
              <a:buChar char="-"/>
              <a:tabLst/>
              <a:defRPr/>
            </a:pPr>
            <a:r>
              <a:rPr kumimoji="0" lang="en-US" sz="1000" b="0" i="0" u="none" strike="noStrike" kern="1200" cap="none" spc="0" normalizeH="0" baseline="0" noProof="0" dirty="0">
                <a:ln>
                  <a:noFill/>
                </a:ln>
                <a:solidFill>
                  <a:srgbClr val="44546A"/>
                </a:solidFill>
                <a:effectLst/>
                <a:uLnTx/>
                <a:uFillTx/>
                <a:ea typeface="+mn-ea"/>
                <a:cs typeface="+mn-cs"/>
              </a:rPr>
              <a:t>Communicate reminders of additional value (e.g., rebates)</a:t>
            </a:r>
          </a:p>
          <a:p>
            <a:pPr marL="284163" marR="0" lvl="0" indent="-111125" algn="l" defTabSz="914400" rtl="0" eaLnBrk="1" fontAlgn="auto" latinLnBrk="0" hangingPunct="1">
              <a:lnSpc>
                <a:spcPct val="100000"/>
              </a:lnSpc>
              <a:spcBef>
                <a:spcPts val="0"/>
              </a:spcBef>
              <a:spcAft>
                <a:spcPts val="600"/>
              </a:spcAft>
              <a:buClrTx/>
              <a:buSzTx/>
              <a:buFont typeface="Calibri" panose="020F0502020204030204" pitchFamily="34" charset="0"/>
              <a:buChar char="-"/>
              <a:tabLst/>
              <a:defRPr/>
            </a:pPr>
            <a:endParaRPr kumimoji="0" lang="en-US" sz="1000" b="0" i="0" u="none" strike="noStrike" kern="1200" cap="none" spc="0" normalizeH="0" baseline="0" noProof="0" dirty="0">
              <a:ln>
                <a:noFill/>
              </a:ln>
              <a:solidFill>
                <a:srgbClr val="44546A"/>
              </a:solidFill>
              <a:effectLst/>
              <a:uLnTx/>
              <a:uFillTx/>
              <a:ea typeface="+mn-ea"/>
              <a:cs typeface="+mn-cs"/>
            </a:endParaRPr>
          </a:p>
        </p:txBody>
      </p:sp>
      <p:grpSp>
        <p:nvGrpSpPr>
          <p:cNvPr id="75" name="Group 74">
            <a:extLst>
              <a:ext uri="{FF2B5EF4-FFF2-40B4-BE49-F238E27FC236}">
                <a16:creationId xmlns:a16="http://schemas.microsoft.com/office/drawing/2014/main" id="{A9C24490-4AFB-4E5E-9C93-AD9FE8927BE4}"/>
              </a:ext>
            </a:extLst>
          </p:cNvPr>
          <p:cNvGrpSpPr>
            <a:grpSpLocks noChangeAspect="1"/>
          </p:cNvGrpSpPr>
          <p:nvPr/>
        </p:nvGrpSpPr>
        <p:grpSpPr>
          <a:xfrm>
            <a:off x="4640018" y="5795280"/>
            <a:ext cx="214024" cy="166688"/>
            <a:chOff x="10825163" y="5303838"/>
            <a:chExt cx="509587" cy="396875"/>
          </a:xfrm>
          <a:solidFill>
            <a:schemeClr val="tx1"/>
          </a:solidFill>
        </p:grpSpPr>
        <p:sp>
          <p:nvSpPr>
            <p:cNvPr id="76" name="Freeform 472">
              <a:extLst>
                <a:ext uri="{FF2B5EF4-FFF2-40B4-BE49-F238E27FC236}">
                  <a16:creationId xmlns:a16="http://schemas.microsoft.com/office/drawing/2014/main" id="{77CA6D52-8DE8-4942-8C00-989CBD153A91}"/>
                </a:ext>
              </a:extLst>
            </p:cNvPr>
            <p:cNvSpPr>
              <a:spLocks noEditPoints="1"/>
            </p:cNvSpPr>
            <p:nvPr/>
          </p:nvSpPr>
          <p:spPr bwMode="auto">
            <a:xfrm>
              <a:off x="11022013" y="5426075"/>
              <a:ext cx="120650" cy="160337"/>
            </a:xfrm>
            <a:custGeom>
              <a:avLst/>
              <a:gdLst>
                <a:gd name="T0" fmla="*/ 28 w 51"/>
                <a:gd name="T1" fmla="*/ 28 h 68"/>
                <a:gd name="T2" fmla="*/ 23 w 51"/>
                <a:gd name="T3" fmla="*/ 12 h 68"/>
                <a:gd name="T4" fmla="*/ 32 w 51"/>
                <a:gd name="T5" fmla="*/ 13 h 68"/>
                <a:gd name="T6" fmla="*/ 35 w 51"/>
                <a:gd name="T7" fmla="*/ 13 h 68"/>
                <a:gd name="T8" fmla="*/ 37 w 51"/>
                <a:gd name="T9" fmla="*/ 11 h 68"/>
                <a:gd name="T10" fmla="*/ 38 w 51"/>
                <a:gd name="T11" fmla="*/ 8 h 68"/>
                <a:gd name="T12" fmla="*/ 34 w 51"/>
                <a:gd name="T13" fmla="*/ 5 h 68"/>
                <a:gd name="T14" fmla="*/ 21 w 51"/>
                <a:gd name="T15" fmla="*/ 4 h 68"/>
                <a:gd name="T16" fmla="*/ 20 w 51"/>
                <a:gd name="T17" fmla="*/ 3 h 68"/>
                <a:gd name="T18" fmla="*/ 16 w 51"/>
                <a:gd name="T19" fmla="*/ 0 h 68"/>
                <a:gd name="T20" fmla="*/ 13 w 51"/>
                <a:gd name="T21" fmla="*/ 2 h 68"/>
                <a:gd name="T22" fmla="*/ 13 w 51"/>
                <a:gd name="T23" fmla="*/ 5 h 68"/>
                <a:gd name="T24" fmla="*/ 14 w 51"/>
                <a:gd name="T25" fmla="*/ 6 h 68"/>
                <a:gd name="T26" fmla="*/ 2 w 51"/>
                <a:gd name="T27" fmla="*/ 26 h 68"/>
                <a:gd name="T28" fmla="*/ 23 w 51"/>
                <a:gd name="T29" fmla="*/ 37 h 68"/>
                <a:gd name="T30" fmla="*/ 28 w 51"/>
                <a:gd name="T31" fmla="*/ 53 h 68"/>
                <a:gd name="T32" fmla="*/ 15 w 51"/>
                <a:gd name="T33" fmla="*/ 51 h 68"/>
                <a:gd name="T34" fmla="*/ 12 w 51"/>
                <a:gd name="T35" fmla="*/ 51 h 68"/>
                <a:gd name="T36" fmla="*/ 9 w 51"/>
                <a:gd name="T37" fmla="*/ 56 h 68"/>
                <a:gd name="T38" fmla="*/ 12 w 51"/>
                <a:gd name="T39" fmla="*/ 59 h 68"/>
                <a:gd name="T40" fmla="*/ 30 w 51"/>
                <a:gd name="T41" fmla="*/ 61 h 68"/>
                <a:gd name="T42" fmla="*/ 31 w 51"/>
                <a:gd name="T43" fmla="*/ 66 h 68"/>
                <a:gd name="T44" fmla="*/ 35 w 51"/>
                <a:gd name="T45" fmla="*/ 68 h 68"/>
                <a:gd name="T46" fmla="*/ 36 w 51"/>
                <a:gd name="T47" fmla="*/ 68 h 68"/>
                <a:gd name="T48" fmla="*/ 38 w 51"/>
                <a:gd name="T49" fmla="*/ 63 h 68"/>
                <a:gd name="T50" fmla="*/ 37 w 51"/>
                <a:gd name="T51" fmla="*/ 59 h 68"/>
                <a:gd name="T52" fmla="*/ 49 w 51"/>
                <a:gd name="T53" fmla="*/ 39 h 68"/>
                <a:gd name="T54" fmla="*/ 28 w 51"/>
                <a:gd name="T55" fmla="*/ 28 h 68"/>
                <a:gd name="T56" fmla="*/ 20 w 51"/>
                <a:gd name="T57" fmla="*/ 28 h 68"/>
                <a:gd name="T58" fmla="*/ 10 w 51"/>
                <a:gd name="T59" fmla="*/ 23 h 68"/>
                <a:gd name="T60" fmla="*/ 16 w 51"/>
                <a:gd name="T61" fmla="*/ 13 h 68"/>
                <a:gd name="T62" fmla="*/ 20 w 51"/>
                <a:gd name="T63" fmla="*/ 28 h 68"/>
                <a:gd name="T64" fmla="*/ 35 w 51"/>
                <a:gd name="T65" fmla="*/ 52 h 68"/>
                <a:gd name="T66" fmla="*/ 30 w 51"/>
                <a:gd name="T67" fmla="*/ 36 h 68"/>
                <a:gd name="T68" fmla="*/ 30 w 51"/>
                <a:gd name="T69" fmla="*/ 36 h 68"/>
                <a:gd name="T70" fmla="*/ 41 w 51"/>
                <a:gd name="T71" fmla="*/ 42 h 68"/>
                <a:gd name="T72" fmla="*/ 35 w 51"/>
                <a:gd name="T73" fmla="*/ 5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 h="68">
                  <a:moveTo>
                    <a:pt x="28" y="28"/>
                  </a:moveTo>
                  <a:cubicBezTo>
                    <a:pt x="23" y="12"/>
                    <a:pt x="23" y="12"/>
                    <a:pt x="23" y="12"/>
                  </a:cubicBezTo>
                  <a:cubicBezTo>
                    <a:pt x="26" y="12"/>
                    <a:pt x="29" y="12"/>
                    <a:pt x="32" y="13"/>
                  </a:cubicBezTo>
                  <a:cubicBezTo>
                    <a:pt x="33" y="14"/>
                    <a:pt x="34" y="13"/>
                    <a:pt x="35" y="13"/>
                  </a:cubicBezTo>
                  <a:cubicBezTo>
                    <a:pt x="36" y="13"/>
                    <a:pt x="37" y="12"/>
                    <a:pt x="37" y="11"/>
                  </a:cubicBezTo>
                  <a:cubicBezTo>
                    <a:pt x="38" y="10"/>
                    <a:pt x="38" y="9"/>
                    <a:pt x="38" y="8"/>
                  </a:cubicBezTo>
                  <a:cubicBezTo>
                    <a:pt x="37" y="6"/>
                    <a:pt x="36" y="6"/>
                    <a:pt x="34" y="5"/>
                  </a:cubicBezTo>
                  <a:cubicBezTo>
                    <a:pt x="30" y="4"/>
                    <a:pt x="25" y="3"/>
                    <a:pt x="21" y="4"/>
                  </a:cubicBezTo>
                  <a:cubicBezTo>
                    <a:pt x="20" y="3"/>
                    <a:pt x="20" y="3"/>
                    <a:pt x="20" y="3"/>
                  </a:cubicBezTo>
                  <a:cubicBezTo>
                    <a:pt x="20" y="1"/>
                    <a:pt x="18" y="0"/>
                    <a:pt x="16" y="0"/>
                  </a:cubicBezTo>
                  <a:cubicBezTo>
                    <a:pt x="15" y="0"/>
                    <a:pt x="14" y="1"/>
                    <a:pt x="13" y="2"/>
                  </a:cubicBezTo>
                  <a:cubicBezTo>
                    <a:pt x="13" y="3"/>
                    <a:pt x="13" y="4"/>
                    <a:pt x="13" y="5"/>
                  </a:cubicBezTo>
                  <a:cubicBezTo>
                    <a:pt x="14" y="6"/>
                    <a:pt x="14" y="6"/>
                    <a:pt x="14" y="6"/>
                  </a:cubicBezTo>
                  <a:cubicBezTo>
                    <a:pt x="4" y="10"/>
                    <a:pt x="0" y="18"/>
                    <a:pt x="2" y="26"/>
                  </a:cubicBezTo>
                  <a:cubicBezTo>
                    <a:pt x="4" y="34"/>
                    <a:pt x="11" y="37"/>
                    <a:pt x="23" y="37"/>
                  </a:cubicBezTo>
                  <a:cubicBezTo>
                    <a:pt x="28" y="53"/>
                    <a:pt x="28" y="53"/>
                    <a:pt x="28" y="53"/>
                  </a:cubicBezTo>
                  <a:cubicBezTo>
                    <a:pt x="23" y="54"/>
                    <a:pt x="19" y="53"/>
                    <a:pt x="15" y="51"/>
                  </a:cubicBezTo>
                  <a:cubicBezTo>
                    <a:pt x="14" y="51"/>
                    <a:pt x="13" y="51"/>
                    <a:pt x="12" y="51"/>
                  </a:cubicBezTo>
                  <a:cubicBezTo>
                    <a:pt x="10" y="52"/>
                    <a:pt x="8" y="54"/>
                    <a:pt x="9" y="56"/>
                  </a:cubicBezTo>
                  <a:cubicBezTo>
                    <a:pt x="9" y="57"/>
                    <a:pt x="10" y="58"/>
                    <a:pt x="12" y="59"/>
                  </a:cubicBezTo>
                  <a:cubicBezTo>
                    <a:pt x="18" y="61"/>
                    <a:pt x="24" y="62"/>
                    <a:pt x="30" y="61"/>
                  </a:cubicBezTo>
                  <a:cubicBezTo>
                    <a:pt x="31" y="66"/>
                    <a:pt x="31" y="66"/>
                    <a:pt x="31" y="66"/>
                  </a:cubicBezTo>
                  <a:cubicBezTo>
                    <a:pt x="32" y="67"/>
                    <a:pt x="33" y="68"/>
                    <a:pt x="35" y="68"/>
                  </a:cubicBezTo>
                  <a:cubicBezTo>
                    <a:pt x="35" y="68"/>
                    <a:pt x="35" y="68"/>
                    <a:pt x="36" y="68"/>
                  </a:cubicBezTo>
                  <a:cubicBezTo>
                    <a:pt x="38" y="67"/>
                    <a:pt x="39" y="65"/>
                    <a:pt x="38" y="63"/>
                  </a:cubicBezTo>
                  <a:cubicBezTo>
                    <a:pt x="37" y="59"/>
                    <a:pt x="37" y="59"/>
                    <a:pt x="37" y="59"/>
                  </a:cubicBezTo>
                  <a:cubicBezTo>
                    <a:pt x="46" y="55"/>
                    <a:pt x="51" y="47"/>
                    <a:pt x="49" y="39"/>
                  </a:cubicBezTo>
                  <a:cubicBezTo>
                    <a:pt x="46" y="31"/>
                    <a:pt x="40" y="28"/>
                    <a:pt x="28" y="28"/>
                  </a:cubicBezTo>
                  <a:close/>
                  <a:moveTo>
                    <a:pt x="20" y="28"/>
                  </a:moveTo>
                  <a:cubicBezTo>
                    <a:pt x="13" y="28"/>
                    <a:pt x="11" y="26"/>
                    <a:pt x="10" y="23"/>
                  </a:cubicBezTo>
                  <a:cubicBezTo>
                    <a:pt x="9" y="19"/>
                    <a:pt x="11" y="15"/>
                    <a:pt x="16" y="13"/>
                  </a:cubicBezTo>
                  <a:lnTo>
                    <a:pt x="20" y="28"/>
                  </a:lnTo>
                  <a:close/>
                  <a:moveTo>
                    <a:pt x="35" y="52"/>
                  </a:moveTo>
                  <a:cubicBezTo>
                    <a:pt x="30" y="36"/>
                    <a:pt x="30" y="36"/>
                    <a:pt x="30" y="36"/>
                  </a:cubicBezTo>
                  <a:cubicBezTo>
                    <a:pt x="30" y="36"/>
                    <a:pt x="30" y="36"/>
                    <a:pt x="30" y="36"/>
                  </a:cubicBezTo>
                  <a:cubicBezTo>
                    <a:pt x="38" y="36"/>
                    <a:pt x="40" y="38"/>
                    <a:pt x="41" y="42"/>
                  </a:cubicBezTo>
                  <a:cubicBezTo>
                    <a:pt x="42" y="46"/>
                    <a:pt x="40" y="50"/>
                    <a:pt x="35" y="5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77" name="Freeform 473">
              <a:extLst>
                <a:ext uri="{FF2B5EF4-FFF2-40B4-BE49-F238E27FC236}">
                  <a16:creationId xmlns:a16="http://schemas.microsoft.com/office/drawing/2014/main" id="{3297D894-967A-4882-8223-40AD01A7F209}"/>
                </a:ext>
              </a:extLst>
            </p:cNvPr>
            <p:cNvSpPr>
              <a:spLocks noEditPoints="1"/>
            </p:cNvSpPr>
            <p:nvPr/>
          </p:nvSpPr>
          <p:spPr bwMode="auto">
            <a:xfrm>
              <a:off x="10825163" y="5303838"/>
              <a:ext cx="509587" cy="396875"/>
            </a:xfrm>
            <a:custGeom>
              <a:avLst/>
              <a:gdLst>
                <a:gd name="T0" fmla="*/ 214 w 215"/>
                <a:gd name="T1" fmla="*/ 113 h 167"/>
                <a:gd name="T2" fmla="*/ 215 w 215"/>
                <a:gd name="T3" fmla="*/ 109 h 167"/>
                <a:gd name="T4" fmla="*/ 184 w 215"/>
                <a:gd name="T5" fmla="*/ 4 h 167"/>
                <a:gd name="T6" fmla="*/ 181 w 215"/>
                <a:gd name="T7" fmla="*/ 1 h 167"/>
                <a:gd name="T8" fmla="*/ 178 w 215"/>
                <a:gd name="T9" fmla="*/ 1 h 167"/>
                <a:gd name="T10" fmla="*/ 4 w 215"/>
                <a:gd name="T11" fmla="*/ 52 h 167"/>
                <a:gd name="T12" fmla="*/ 1 w 215"/>
                <a:gd name="T13" fmla="*/ 55 h 167"/>
                <a:gd name="T14" fmla="*/ 1 w 215"/>
                <a:gd name="T15" fmla="*/ 58 h 167"/>
                <a:gd name="T16" fmla="*/ 23 w 215"/>
                <a:gd name="T17" fmla="*/ 135 h 167"/>
                <a:gd name="T18" fmla="*/ 23 w 215"/>
                <a:gd name="T19" fmla="*/ 135 h 167"/>
                <a:gd name="T20" fmla="*/ 23 w 215"/>
                <a:gd name="T21" fmla="*/ 135 h 167"/>
                <a:gd name="T22" fmla="*/ 32 w 215"/>
                <a:gd name="T23" fmla="*/ 163 h 167"/>
                <a:gd name="T24" fmla="*/ 36 w 215"/>
                <a:gd name="T25" fmla="*/ 167 h 167"/>
                <a:gd name="T26" fmla="*/ 38 w 215"/>
                <a:gd name="T27" fmla="*/ 166 h 167"/>
                <a:gd name="T28" fmla="*/ 212 w 215"/>
                <a:gd name="T29" fmla="*/ 115 h 167"/>
                <a:gd name="T30" fmla="*/ 214 w 215"/>
                <a:gd name="T31" fmla="*/ 113 h 167"/>
                <a:gd name="T32" fmla="*/ 175 w 215"/>
                <a:gd name="T33" fmla="*/ 116 h 167"/>
                <a:gd name="T34" fmla="*/ 67 w 215"/>
                <a:gd name="T35" fmla="*/ 147 h 167"/>
                <a:gd name="T36" fmla="*/ 31 w 215"/>
                <a:gd name="T37" fmla="*/ 128 h 167"/>
                <a:gd name="T38" fmla="*/ 20 w 215"/>
                <a:gd name="T39" fmla="*/ 88 h 167"/>
                <a:gd name="T40" fmla="*/ 35 w 215"/>
                <a:gd name="T41" fmla="*/ 73 h 167"/>
                <a:gd name="T42" fmla="*/ 39 w 215"/>
                <a:gd name="T43" fmla="*/ 52 h 167"/>
                <a:gd name="T44" fmla="*/ 149 w 215"/>
                <a:gd name="T45" fmla="*/ 20 h 167"/>
                <a:gd name="T46" fmla="*/ 163 w 215"/>
                <a:gd name="T47" fmla="*/ 36 h 167"/>
                <a:gd name="T48" fmla="*/ 178 w 215"/>
                <a:gd name="T49" fmla="*/ 40 h 167"/>
                <a:gd name="T50" fmla="*/ 184 w 215"/>
                <a:gd name="T51" fmla="*/ 39 h 167"/>
                <a:gd name="T52" fmla="*/ 196 w 215"/>
                <a:gd name="T53" fmla="*/ 78 h 167"/>
                <a:gd name="T54" fmla="*/ 175 w 215"/>
                <a:gd name="T55" fmla="*/ 116 h 167"/>
                <a:gd name="T56" fmla="*/ 181 w 215"/>
                <a:gd name="T57" fmla="*/ 29 h 167"/>
                <a:gd name="T58" fmla="*/ 168 w 215"/>
                <a:gd name="T59" fmla="*/ 27 h 167"/>
                <a:gd name="T60" fmla="*/ 158 w 215"/>
                <a:gd name="T61" fmla="*/ 17 h 167"/>
                <a:gd name="T62" fmla="*/ 176 w 215"/>
                <a:gd name="T63" fmla="*/ 11 h 167"/>
                <a:gd name="T64" fmla="*/ 181 w 215"/>
                <a:gd name="T65" fmla="*/ 29 h 167"/>
                <a:gd name="T66" fmla="*/ 30 w 215"/>
                <a:gd name="T67" fmla="*/ 55 h 167"/>
                <a:gd name="T68" fmla="*/ 27 w 215"/>
                <a:gd name="T69" fmla="*/ 69 h 167"/>
                <a:gd name="T70" fmla="*/ 17 w 215"/>
                <a:gd name="T71" fmla="*/ 79 h 167"/>
                <a:gd name="T72" fmla="*/ 11 w 215"/>
                <a:gd name="T73" fmla="*/ 60 h 167"/>
                <a:gd name="T74" fmla="*/ 30 w 215"/>
                <a:gd name="T75" fmla="*/ 55 h 167"/>
                <a:gd name="T76" fmla="*/ 34 w 215"/>
                <a:gd name="T77" fmla="*/ 137 h 167"/>
                <a:gd name="T78" fmla="*/ 58 w 215"/>
                <a:gd name="T79" fmla="*/ 150 h 167"/>
                <a:gd name="T80" fmla="*/ 40 w 215"/>
                <a:gd name="T81" fmla="*/ 156 h 167"/>
                <a:gd name="T82" fmla="*/ 34 w 215"/>
                <a:gd name="T83" fmla="*/ 137 h 167"/>
                <a:gd name="T84" fmla="*/ 184 w 215"/>
                <a:gd name="T85" fmla="*/ 113 h 167"/>
                <a:gd name="T86" fmla="*/ 198 w 215"/>
                <a:gd name="T87" fmla="*/ 87 h 167"/>
                <a:gd name="T88" fmla="*/ 204 w 215"/>
                <a:gd name="T89" fmla="*/ 107 h 167"/>
                <a:gd name="T90" fmla="*/ 184 w 215"/>
                <a:gd name="T91" fmla="*/ 113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5" h="167">
                  <a:moveTo>
                    <a:pt x="214" y="113"/>
                  </a:moveTo>
                  <a:cubicBezTo>
                    <a:pt x="215" y="111"/>
                    <a:pt x="215" y="110"/>
                    <a:pt x="215" y="109"/>
                  </a:cubicBezTo>
                  <a:cubicBezTo>
                    <a:pt x="184" y="4"/>
                    <a:pt x="184" y="4"/>
                    <a:pt x="184" y="4"/>
                  </a:cubicBezTo>
                  <a:cubicBezTo>
                    <a:pt x="183" y="3"/>
                    <a:pt x="183" y="2"/>
                    <a:pt x="181" y="1"/>
                  </a:cubicBezTo>
                  <a:cubicBezTo>
                    <a:pt x="180" y="1"/>
                    <a:pt x="179" y="0"/>
                    <a:pt x="178" y="1"/>
                  </a:cubicBezTo>
                  <a:cubicBezTo>
                    <a:pt x="4" y="52"/>
                    <a:pt x="4" y="52"/>
                    <a:pt x="4" y="52"/>
                  </a:cubicBezTo>
                  <a:cubicBezTo>
                    <a:pt x="3" y="53"/>
                    <a:pt x="2" y="53"/>
                    <a:pt x="1" y="55"/>
                  </a:cubicBezTo>
                  <a:cubicBezTo>
                    <a:pt x="0" y="56"/>
                    <a:pt x="0" y="57"/>
                    <a:pt x="1" y="58"/>
                  </a:cubicBezTo>
                  <a:cubicBezTo>
                    <a:pt x="23" y="135"/>
                    <a:pt x="23" y="135"/>
                    <a:pt x="23" y="135"/>
                  </a:cubicBezTo>
                  <a:cubicBezTo>
                    <a:pt x="23" y="135"/>
                    <a:pt x="23" y="135"/>
                    <a:pt x="23" y="135"/>
                  </a:cubicBezTo>
                  <a:cubicBezTo>
                    <a:pt x="23" y="135"/>
                    <a:pt x="23" y="135"/>
                    <a:pt x="23" y="135"/>
                  </a:cubicBezTo>
                  <a:cubicBezTo>
                    <a:pt x="32" y="163"/>
                    <a:pt x="32" y="163"/>
                    <a:pt x="32" y="163"/>
                  </a:cubicBezTo>
                  <a:cubicBezTo>
                    <a:pt x="32" y="165"/>
                    <a:pt x="34" y="167"/>
                    <a:pt x="36" y="167"/>
                  </a:cubicBezTo>
                  <a:cubicBezTo>
                    <a:pt x="37" y="167"/>
                    <a:pt x="37" y="166"/>
                    <a:pt x="38" y="166"/>
                  </a:cubicBezTo>
                  <a:cubicBezTo>
                    <a:pt x="212" y="115"/>
                    <a:pt x="212" y="115"/>
                    <a:pt x="212" y="115"/>
                  </a:cubicBezTo>
                  <a:cubicBezTo>
                    <a:pt x="213" y="115"/>
                    <a:pt x="214" y="114"/>
                    <a:pt x="214" y="113"/>
                  </a:cubicBezTo>
                  <a:close/>
                  <a:moveTo>
                    <a:pt x="175" y="116"/>
                  </a:moveTo>
                  <a:cubicBezTo>
                    <a:pt x="67" y="147"/>
                    <a:pt x="67" y="147"/>
                    <a:pt x="67" y="147"/>
                  </a:cubicBezTo>
                  <a:cubicBezTo>
                    <a:pt x="61" y="134"/>
                    <a:pt x="46" y="126"/>
                    <a:pt x="31" y="128"/>
                  </a:cubicBezTo>
                  <a:cubicBezTo>
                    <a:pt x="20" y="88"/>
                    <a:pt x="20" y="88"/>
                    <a:pt x="20" y="88"/>
                  </a:cubicBezTo>
                  <a:cubicBezTo>
                    <a:pt x="26" y="85"/>
                    <a:pt x="32" y="80"/>
                    <a:pt x="35" y="73"/>
                  </a:cubicBezTo>
                  <a:cubicBezTo>
                    <a:pt x="39" y="67"/>
                    <a:pt x="40" y="59"/>
                    <a:pt x="39" y="52"/>
                  </a:cubicBezTo>
                  <a:cubicBezTo>
                    <a:pt x="149" y="20"/>
                    <a:pt x="149" y="20"/>
                    <a:pt x="149" y="20"/>
                  </a:cubicBezTo>
                  <a:cubicBezTo>
                    <a:pt x="152" y="26"/>
                    <a:pt x="157" y="32"/>
                    <a:pt x="163" y="36"/>
                  </a:cubicBezTo>
                  <a:cubicBezTo>
                    <a:pt x="168" y="38"/>
                    <a:pt x="173" y="40"/>
                    <a:pt x="178" y="40"/>
                  </a:cubicBezTo>
                  <a:cubicBezTo>
                    <a:pt x="180" y="40"/>
                    <a:pt x="182" y="39"/>
                    <a:pt x="184" y="39"/>
                  </a:cubicBezTo>
                  <a:cubicBezTo>
                    <a:pt x="196" y="78"/>
                    <a:pt x="196" y="78"/>
                    <a:pt x="196" y="78"/>
                  </a:cubicBezTo>
                  <a:cubicBezTo>
                    <a:pt x="181" y="84"/>
                    <a:pt x="172" y="100"/>
                    <a:pt x="175" y="116"/>
                  </a:cubicBezTo>
                  <a:close/>
                  <a:moveTo>
                    <a:pt x="181" y="29"/>
                  </a:moveTo>
                  <a:cubicBezTo>
                    <a:pt x="177" y="30"/>
                    <a:pt x="172" y="30"/>
                    <a:pt x="168" y="27"/>
                  </a:cubicBezTo>
                  <a:cubicBezTo>
                    <a:pt x="163" y="25"/>
                    <a:pt x="160" y="21"/>
                    <a:pt x="158" y="17"/>
                  </a:cubicBezTo>
                  <a:cubicBezTo>
                    <a:pt x="176" y="11"/>
                    <a:pt x="176" y="11"/>
                    <a:pt x="176" y="11"/>
                  </a:cubicBezTo>
                  <a:lnTo>
                    <a:pt x="181" y="29"/>
                  </a:lnTo>
                  <a:close/>
                  <a:moveTo>
                    <a:pt x="30" y="55"/>
                  </a:moveTo>
                  <a:cubicBezTo>
                    <a:pt x="30" y="59"/>
                    <a:pt x="29" y="64"/>
                    <a:pt x="27" y="69"/>
                  </a:cubicBezTo>
                  <a:cubicBezTo>
                    <a:pt x="25" y="73"/>
                    <a:pt x="21" y="76"/>
                    <a:pt x="17" y="79"/>
                  </a:cubicBezTo>
                  <a:cubicBezTo>
                    <a:pt x="11" y="60"/>
                    <a:pt x="11" y="60"/>
                    <a:pt x="11" y="60"/>
                  </a:cubicBezTo>
                  <a:lnTo>
                    <a:pt x="30" y="55"/>
                  </a:lnTo>
                  <a:close/>
                  <a:moveTo>
                    <a:pt x="34" y="137"/>
                  </a:moveTo>
                  <a:cubicBezTo>
                    <a:pt x="44" y="136"/>
                    <a:pt x="54" y="141"/>
                    <a:pt x="58" y="150"/>
                  </a:cubicBezTo>
                  <a:cubicBezTo>
                    <a:pt x="40" y="156"/>
                    <a:pt x="40" y="156"/>
                    <a:pt x="40" y="156"/>
                  </a:cubicBezTo>
                  <a:lnTo>
                    <a:pt x="34" y="137"/>
                  </a:lnTo>
                  <a:close/>
                  <a:moveTo>
                    <a:pt x="184" y="113"/>
                  </a:moveTo>
                  <a:cubicBezTo>
                    <a:pt x="183" y="102"/>
                    <a:pt x="189" y="91"/>
                    <a:pt x="198" y="87"/>
                  </a:cubicBezTo>
                  <a:cubicBezTo>
                    <a:pt x="204" y="107"/>
                    <a:pt x="204" y="107"/>
                    <a:pt x="204" y="107"/>
                  </a:cubicBezTo>
                  <a:lnTo>
                    <a:pt x="184" y="1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grpSp>
      <p:grpSp>
        <p:nvGrpSpPr>
          <p:cNvPr id="161" name="Group 160">
            <a:extLst>
              <a:ext uri="{FF2B5EF4-FFF2-40B4-BE49-F238E27FC236}">
                <a16:creationId xmlns:a16="http://schemas.microsoft.com/office/drawing/2014/main" id="{FEF66A79-0675-4BE3-9B67-88CEBA56B1CD}"/>
              </a:ext>
            </a:extLst>
          </p:cNvPr>
          <p:cNvGrpSpPr/>
          <p:nvPr/>
        </p:nvGrpSpPr>
        <p:grpSpPr>
          <a:xfrm>
            <a:off x="4112269" y="6500091"/>
            <a:ext cx="7695090" cy="302207"/>
            <a:chOff x="4092832" y="109347"/>
            <a:chExt cx="7695090" cy="302207"/>
          </a:xfrm>
        </p:grpSpPr>
        <p:grpSp>
          <p:nvGrpSpPr>
            <p:cNvPr id="156" name="Group 155">
              <a:extLst>
                <a:ext uri="{FF2B5EF4-FFF2-40B4-BE49-F238E27FC236}">
                  <a16:creationId xmlns:a16="http://schemas.microsoft.com/office/drawing/2014/main" id="{310E0F14-5A5F-402C-8191-A77B72896612}"/>
                </a:ext>
              </a:extLst>
            </p:cNvPr>
            <p:cNvGrpSpPr/>
            <p:nvPr/>
          </p:nvGrpSpPr>
          <p:grpSpPr>
            <a:xfrm>
              <a:off x="7128302" y="137368"/>
              <a:ext cx="1466254" cy="246165"/>
              <a:chOff x="6927379" y="137368"/>
              <a:chExt cx="1466254" cy="246165"/>
            </a:xfrm>
          </p:grpSpPr>
          <p:grpSp>
            <p:nvGrpSpPr>
              <p:cNvPr id="58" name="Group 57">
                <a:extLst>
                  <a:ext uri="{FF2B5EF4-FFF2-40B4-BE49-F238E27FC236}">
                    <a16:creationId xmlns:a16="http://schemas.microsoft.com/office/drawing/2014/main" id="{FC4A5FA3-0B57-4710-B7E1-3D4A8B766F8A}"/>
                  </a:ext>
                </a:extLst>
              </p:cNvPr>
              <p:cNvGrpSpPr>
                <a:grpSpLocks noChangeAspect="1"/>
              </p:cNvGrpSpPr>
              <p:nvPr/>
            </p:nvGrpSpPr>
            <p:grpSpPr>
              <a:xfrm>
                <a:off x="6927379" y="137368"/>
                <a:ext cx="246825" cy="246165"/>
                <a:chOff x="9518650" y="1939925"/>
                <a:chExt cx="593725" cy="592138"/>
              </a:xfrm>
              <a:solidFill>
                <a:schemeClr val="accent2"/>
              </a:solidFill>
            </p:grpSpPr>
            <p:sp>
              <p:nvSpPr>
                <p:cNvPr id="59" name="Freeform 421">
                  <a:extLst>
                    <a:ext uri="{FF2B5EF4-FFF2-40B4-BE49-F238E27FC236}">
                      <a16:creationId xmlns:a16="http://schemas.microsoft.com/office/drawing/2014/main" id="{1E635DD8-0A7F-46EE-A7E7-5A8C23E27213}"/>
                    </a:ext>
                  </a:extLst>
                </p:cNvPr>
                <p:cNvSpPr>
                  <a:spLocks noEditPoints="1"/>
                </p:cNvSpPr>
                <p:nvPr/>
              </p:nvSpPr>
              <p:spPr bwMode="auto">
                <a:xfrm>
                  <a:off x="9518650" y="1939925"/>
                  <a:ext cx="593725" cy="592138"/>
                </a:xfrm>
                <a:custGeom>
                  <a:avLst/>
                  <a:gdLst>
                    <a:gd name="T0" fmla="*/ 120 w 240"/>
                    <a:gd name="T1" fmla="*/ 0 h 240"/>
                    <a:gd name="T2" fmla="*/ 0 w 240"/>
                    <a:gd name="T3" fmla="*/ 120 h 240"/>
                    <a:gd name="T4" fmla="*/ 120 w 240"/>
                    <a:gd name="T5" fmla="*/ 240 h 240"/>
                    <a:gd name="T6" fmla="*/ 240 w 240"/>
                    <a:gd name="T7" fmla="*/ 120 h 240"/>
                    <a:gd name="T8" fmla="*/ 120 w 240"/>
                    <a:gd name="T9" fmla="*/ 0 h 240"/>
                    <a:gd name="T10" fmla="*/ 120 w 240"/>
                    <a:gd name="T11" fmla="*/ 230 h 240"/>
                    <a:gd name="T12" fmla="*/ 10 w 240"/>
                    <a:gd name="T13" fmla="*/ 120 h 240"/>
                    <a:gd name="T14" fmla="*/ 120 w 240"/>
                    <a:gd name="T15" fmla="*/ 10 h 240"/>
                    <a:gd name="T16" fmla="*/ 230 w 240"/>
                    <a:gd name="T17" fmla="*/ 120 h 240"/>
                    <a:gd name="T18" fmla="*/ 120 w 240"/>
                    <a:gd name="T19" fmla="*/ 23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240">
                      <a:moveTo>
                        <a:pt x="120" y="0"/>
                      </a:moveTo>
                      <a:cubicBezTo>
                        <a:pt x="54" y="0"/>
                        <a:pt x="0" y="54"/>
                        <a:pt x="0" y="120"/>
                      </a:cubicBezTo>
                      <a:cubicBezTo>
                        <a:pt x="0" y="186"/>
                        <a:pt x="54" y="240"/>
                        <a:pt x="120" y="240"/>
                      </a:cubicBezTo>
                      <a:cubicBezTo>
                        <a:pt x="186" y="240"/>
                        <a:pt x="240" y="186"/>
                        <a:pt x="240" y="120"/>
                      </a:cubicBezTo>
                      <a:cubicBezTo>
                        <a:pt x="240" y="54"/>
                        <a:pt x="186" y="0"/>
                        <a:pt x="120" y="0"/>
                      </a:cubicBezTo>
                      <a:close/>
                      <a:moveTo>
                        <a:pt x="120" y="230"/>
                      </a:moveTo>
                      <a:cubicBezTo>
                        <a:pt x="59" y="230"/>
                        <a:pt x="10" y="180"/>
                        <a:pt x="10" y="120"/>
                      </a:cubicBezTo>
                      <a:cubicBezTo>
                        <a:pt x="10" y="59"/>
                        <a:pt x="59" y="10"/>
                        <a:pt x="120" y="10"/>
                      </a:cubicBezTo>
                      <a:cubicBezTo>
                        <a:pt x="181" y="10"/>
                        <a:pt x="230" y="59"/>
                        <a:pt x="230" y="120"/>
                      </a:cubicBezTo>
                      <a:cubicBezTo>
                        <a:pt x="230" y="180"/>
                        <a:pt x="181" y="230"/>
                        <a:pt x="120" y="230"/>
                      </a:cubicBezTo>
                      <a:close/>
                    </a:path>
                  </a:pathLst>
                </a:custGeom>
                <a:grpFill/>
                <a:ln>
                  <a:solidFill>
                    <a:schemeClr val="accent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60" name="Freeform 422">
                  <a:extLst>
                    <a:ext uri="{FF2B5EF4-FFF2-40B4-BE49-F238E27FC236}">
                      <a16:creationId xmlns:a16="http://schemas.microsoft.com/office/drawing/2014/main" id="{7FEF6CFF-87BC-42E4-A31A-ECF4DDF5B8E0}"/>
                    </a:ext>
                  </a:extLst>
                </p:cNvPr>
                <p:cNvSpPr>
                  <a:spLocks noEditPoints="1"/>
                </p:cNvSpPr>
                <p:nvPr/>
              </p:nvSpPr>
              <p:spPr bwMode="auto">
                <a:xfrm>
                  <a:off x="9647238" y="2100263"/>
                  <a:ext cx="139700" cy="125413"/>
                </a:xfrm>
                <a:custGeom>
                  <a:avLst/>
                  <a:gdLst>
                    <a:gd name="T0" fmla="*/ 28 w 56"/>
                    <a:gd name="T1" fmla="*/ 51 h 51"/>
                    <a:gd name="T2" fmla="*/ 46 w 56"/>
                    <a:gd name="T3" fmla="*/ 44 h 51"/>
                    <a:gd name="T4" fmla="*/ 46 w 56"/>
                    <a:gd name="T5" fmla="*/ 8 h 51"/>
                    <a:gd name="T6" fmla="*/ 28 w 56"/>
                    <a:gd name="T7" fmla="*/ 0 h 51"/>
                    <a:gd name="T8" fmla="*/ 10 w 56"/>
                    <a:gd name="T9" fmla="*/ 8 h 51"/>
                    <a:gd name="T10" fmla="*/ 10 w 56"/>
                    <a:gd name="T11" fmla="*/ 44 h 51"/>
                    <a:gd name="T12" fmla="*/ 28 w 56"/>
                    <a:gd name="T13" fmla="*/ 51 h 51"/>
                    <a:gd name="T14" fmla="*/ 17 w 56"/>
                    <a:gd name="T15" fmla="*/ 14 h 51"/>
                    <a:gd name="T16" fmla="*/ 28 w 56"/>
                    <a:gd name="T17" fmla="*/ 10 h 51"/>
                    <a:gd name="T18" fmla="*/ 40 w 56"/>
                    <a:gd name="T19" fmla="*/ 14 h 51"/>
                    <a:gd name="T20" fmla="*/ 40 w 56"/>
                    <a:gd name="T21" fmla="*/ 37 h 51"/>
                    <a:gd name="T22" fmla="*/ 17 w 56"/>
                    <a:gd name="T23" fmla="*/ 37 h 51"/>
                    <a:gd name="T24" fmla="*/ 17 w 56"/>
                    <a:gd name="T25" fmla="*/ 1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1">
                      <a:moveTo>
                        <a:pt x="28" y="51"/>
                      </a:moveTo>
                      <a:cubicBezTo>
                        <a:pt x="35" y="51"/>
                        <a:pt x="42" y="48"/>
                        <a:pt x="46" y="44"/>
                      </a:cubicBezTo>
                      <a:cubicBezTo>
                        <a:pt x="56" y="34"/>
                        <a:pt x="56" y="17"/>
                        <a:pt x="46" y="8"/>
                      </a:cubicBezTo>
                      <a:cubicBezTo>
                        <a:pt x="42" y="3"/>
                        <a:pt x="35" y="0"/>
                        <a:pt x="28" y="0"/>
                      </a:cubicBezTo>
                      <a:cubicBezTo>
                        <a:pt x="22" y="0"/>
                        <a:pt x="15" y="3"/>
                        <a:pt x="10" y="8"/>
                      </a:cubicBezTo>
                      <a:cubicBezTo>
                        <a:pt x="0" y="17"/>
                        <a:pt x="0" y="34"/>
                        <a:pt x="10" y="44"/>
                      </a:cubicBezTo>
                      <a:cubicBezTo>
                        <a:pt x="15" y="48"/>
                        <a:pt x="22" y="51"/>
                        <a:pt x="28" y="51"/>
                      </a:cubicBezTo>
                      <a:close/>
                      <a:moveTo>
                        <a:pt x="17" y="14"/>
                      </a:moveTo>
                      <a:cubicBezTo>
                        <a:pt x="20" y="11"/>
                        <a:pt x="24" y="10"/>
                        <a:pt x="28" y="10"/>
                      </a:cubicBezTo>
                      <a:cubicBezTo>
                        <a:pt x="33" y="10"/>
                        <a:pt x="37" y="11"/>
                        <a:pt x="40" y="14"/>
                      </a:cubicBezTo>
                      <a:cubicBezTo>
                        <a:pt x="46" y="21"/>
                        <a:pt x="46" y="31"/>
                        <a:pt x="40" y="37"/>
                      </a:cubicBezTo>
                      <a:cubicBezTo>
                        <a:pt x="34" y="43"/>
                        <a:pt x="23" y="43"/>
                        <a:pt x="17" y="37"/>
                      </a:cubicBezTo>
                      <a:cubicBezTo>
                        <a:pt x="11" y="31"/>
                        <a:pt x="11" y="21"/>
                        <a:pt x="17" y="14"/>
                      </a:cubicBezTo>
                      <a:close/>
                    </a:path>
                  </a:pathLst>
                </a:custGeom>
                <a:grpFill/>
                <a:ln>
                  <a:solidFill>
                    <a:schemeClr val="accent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61" name="Freeform 423">
                  <a:extLst>
                    <a:ext uri="{FF2B5EF4-FFF2-40B4-BE49-F238E27FC236}">
                      <a16:creationId xmlns:a16="http://schemas.microsoft.com/office/drawing/2014/main" id="{A88C80C7-0A55-4628-BE92-087A172E50CA}"/>
                    </a:ext>
                  </a:extLst>
                </p:cNvPr>
                <p:cNvSpPr>
                  <a:spLocks noEditPoints="1"/>
                </p:cNvSpPr>
                <p:nvPr/>
              </p:nvSpPr>
              <p:spPr bwMode="auto">
                <a:xfrm>
                  <a:off x="9845675" y="2100263"/>
                  <a:ext cx="138113" cy="125413"/>
                </a:xfrm>
                <a:custGeom>
                  <a:avLst/>
                  <a:gdLst>
                    <a:gd name="T0" fmla="*/ 28 w 56"/>
                    <a:gd name="T1" fmla="*/ 0 h 51"/>
                    <a:gd name="T2" fmla="*/ 10 w 56"/>
                    <a:gd name="T3" fmla="*/ 8 h 51"/>
                    <a:gd name="T4" fmla="*/ 10 w 56"/>
                    <a:gd name="T5" fmla="*/ 44 h 51"/>
                    <a:gd name="T6" fmla="*/ 28 w 56"/>
                    <a:gd name="T7" fmla="*/ 51 h 51"/>
                    <a:gd name="T8" fmla="*/ 46 w 56"/>
                    <a:gd name="T9" fmla="*/ 44 h 51"/>
                    <a:gd name="T10" fmla="*/ 46 w 56"/>
                    <a:gd name="T11" fmla="*/ 8 h 51"/>
                    <a:gd name="T12" fmla="*/ 28 w 56"/>
                    <a:gd name="T13" fmla="*/ 0 h 51"/>
                    <a:gd name="T14" fmla="*/ 39 w 56"/>
                    <a:gd name="T15" fmla="*/ 37 h 51"/>
                    <a:gd name="T16" fmla="*/ 16 w 56"/>
                    <a:gd name="T17" fmla="*/ 37 h 51"/>
                    <a:gd name="T18" fmla="*/ 16 w 56"/>
                    <a:gd name="T19" fmla="*/ 14 h 51"/>
                    <a:gd name="T20" fmla="*/ 28 w 56"/>
                    <a:gd name="T21" fmla="*/ 10 h 51"/>
                    <a:gd name="T22" fmla="*/ 39 w 56"/>
                    <a:gd name="T23" fmla="*/ 14 h 51"/>
                    <a:gd name="T24" fmla="*/ 39 w 56"/>
                    <a:gd name="T25" fmla="*/ 3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1">
                      <a:moveTo>
                        <a:pt x="28" y="0"/>
                      </a:moveTo>
                      <a:cubicBezTo>
                        <a:pt x="21" y="0"/>
                        <a:pt x="14" y="3"/>
                        <a:pt x="10" y="8"/>
                      </a:cubicBezTo>
                      <a:cubicBezTo>
                        <a:pt x="0" y="17"/>
                        <a:pt x="0" y="34"/>
                        <a:pt x="10" y="44"/>
                      </a:cubicBezTo>
                      <a:cubicBezTo>
                        <a:pt x="14" y="48"/>
                        <a:pt x="21" y="51"/>
                        <a:pt x="28" y="51"/>
                      </a:cubicBezTo>
                      <a:cubicBezTo>
                        <a:pt x="34" y="51"/>
                        <a:pt x="41" y="48"/>
                        <a:pt x="46" y="44"/>
                      </a:cubicBezTo>
                      <a:cubicBezTo>
                        <a:pt x="56" y="34"/>
                        <a:pt x="56" y="17"/>
                        <a:pt x="46" y="8"/>
                      </a:cubicBezTo>
                      <a:cubicBezTo>
                        <a:pt x="41" y="3"/>
                        <a:pt x="34" y="0"/>
                        <a:pt x="28" y="0"/>
                      </a:cubicBezTo>
                      <a:close/>
                      <a:moveTo>
                        <a:pt x="39" y="37"/>
                      </a:moveTo>
                      <a:cubicBezTo>
                        <a:pt x="33" y="43"/>
                        <a:pt x="22" y="43"/>
                        <a:pt x="16" y="37"/>
                      </a:cubicBezTo>
                      <a:cubicBezTo>
                        <a:pt x="10" y="31"/>
                        <a:pt x="10" y="21"/>
                        <a:pt x="16" y="14"/>
                      </a:cubicBezTo>
                      <a:cubicBezTo>
                        <a:pt x="19" y="11"/>
                        <a:pt x="23" y="10"/>
                        <a:pt x="28" y="10"/>
                      </a:cubicBezTo>
                      <a:cubicBezTo>
                        <a:pt x="32" y="10"/>
                        <a:pt x="36" y="11"/>
                        <a:pt x="39" y="14"/>
                      </a:cubicBezTo>
                      <a:cubicBezTo>
                        <a:pt x="45" y="21"/>
                        <a:pt x="45" y="31"/>
                        <a:pt x="39" y="37"/>
                      </a:cubicBezTo>
                      <a:close/>
                    </a:path>
                  </a:pathLst>
                </a:custGeom>
                <a:grpFill/>
                <a:ln>
                  <a:solidFill>
                    <a:schemeClr val="accent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62" name="Freeform 424">
                  <a:extLst>
                    <a:ext uri="{FF2B5EF4-FFF2-40B4-BE49-F238E27FC236}">
                      <a16:creationId xmlns:a16="http://schemas.microsoft.com/office/drawing/2014/main" id="{C86BB704-4C40-4153-BB46-1746219943BA}"/>
                    </a:ext>
                  </a:extLst>
                </p:cNvPr>
                <p:cNvSpPr>
                  <a:spLocks noEditPoints="1"/>
                </p:cNvSpPr>
                <p:nvPr/>
              </p:nvSpPr>
              <p:spPr bwMode="auto">
                <a:xfrm>
                  <a:off x="9667875" y="2309813"/>
                  <a:ext cx="296863" cy="111125"/>
                </a:xfrm>
                <a:custGeom>
                  <a:avLst/>
                  <a:gdLst>
                    <a:gd name="T0" fmla="*/ 115 w 120"/>
                    <a:gd name="T1" fmla="*/ 0 h 45"/>
                    <a:gd name="T2" fmla="*/ 5 w 120"/>
                    <a:gd name="T3" fmla="*/ 0 h 45"/>
                    <a:gd name="T4" fmla="*/ 1 w 120"/>
                    <a:gd name="T5" fmla="*/ 3 h 45"/>
                    <a:gd name="T6" fmla="*/ 1 w 120"/>
                    <a:gd name="T7" fmla="*/ 7 h 45"/>
                    <a:gd name="T8" fmla="*/ 60 w 120"/>
                    <a:gd name="T9" fmla="*/ 45 h 45"/>
                    <a:gd name="T10" fmla="*/ 119 w 120"/>
                    <a:gd name="T11" fmla="*/ 7 h 45"/>
                    <a:gd name="T12" fmla="*/ 119 w 120"/>
                    <a:gd name="T13" fmla="*/ 3 h 45"/>
                    <a:gd name="T14" fmla="*/ 115 w 120"/>
                    <a:gd name="T15" fmla="*/ 0 h 45"/>
                    <a:gd name="T16" fmla="*/ 60 w 120"/>
                    <a:gd name="T17" fmla="*/ 35 h 45"/>
                    <a:gd name="T18" fmla="*/ 14 w 120"/>
                    <a:gd name="T19" fmla="*/ 10 h 45"/>
                    <a:gd name="T20" fmla="*/ 107 w 120"/>
                    <a:gd name="T21" fmla="*/ 10 h 45"/>
                    <a:gd name="T22" fmla="*/ 60 w 120"/>
                    <a:gd name="T23" fmla="*/ 3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45">
                      <a:moveTo>
                        <a:pt x="115" y="0"/>
                      </a:moveTo>
                      <a:cubicBezTo>
                        <a:pt x="5" y="0"/>
                        <a:pt x="5" y="0"/>
                        <a:pt x="5" y="0"/>
                      </a:cubicBezTo>
                      <a:cubicBezTo>
                        <a:pt x="4" y="0"/>
                        <a:pt x="2" y="1"/>
                        <a:pt x="1" y="3"/>
                      </a:cubicBezTo>
                      <a:cubicBezTo>
                        <a:pt x="0" y="4"/>
                        <a:pt x="0" y="6"/>
                        <a:pt x="1" y="7"/>
                      </a:cubicBezTo>
                      <a:cubicBezTo>
                        <a:pt x="11" y="30"/>
                        <a:pt x="35" y="45"/>
                        <a:pt x="60" y="45"/>
                      </a:cubicBezTo>
                      <a:cubicBezTo>
                        <a:pt x="85" y="45"/>
                        <a:pt x="109" y="30"/>
                        <a:pt x="119" y="7"/>
                      </a:cubicBezTo>
                      <a:cubicBezTo>
                        <a:pt x="120" y="6"/>
                        <a:pt x="120" y="4"/>
                        <a:pt x="119" y="3"/>
                      </a:cubicBezTo>
                      <a:cubicBezTo>
                        <a:pt x="118" y="1"/>
                        <a:pt x="116" y="0"/>
                        <a:pt x="115" y="0"/>
                      </a:cubicBezTo>
                      <a:close/>
                      <a:moveTo>
                        <a:pt x="60" y="35"/>
                      </a:moveTo>
                      <a:cubicBezTo>
                        <a:pt x="41" y="35"/>
                        <a:pt x="24" y="26"/>
                        <a:pt x="14" y="10"/>
                      </a:cubicBezTo>
                      <a:cubicBezTo>
                        <a:pt x="107" y="10"/>
                        <a:pt x="107" y="10"/>
                        <a:pt x="107" y="10"/>
                      </a:cubicBezTo>
                      <a:cubicBezTo>
                        <a:pt x="96" y="26"/>
                        <a:pt x="79" y="35"/>
                        <a:pt x="60" y="35"/>
                      </a:cubicBezTo>
                      <a:close/>
                    </a:path>
                  </a:pathLst>
                </a:custGeom>
                <a:grpFill/>
                <a:ln>
                  <a:solidFill>
                    <a:schemeClr val="accent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grpSp>
          <p:sp>
            <p:nvSpPr>
              <p:cNvPr id="69" name="Text Placeholder 2">
                <a:extLst>
                  <a:ext uri="{FF2B5EF4-FFF2-40B4-BE49-F238E27FC236}">
                    <a16:creationId xmlns:a16="http://schemas.microsoft.com/office/drawing/2014/main" id="{AB81C859-3AA4-4A83-94F2-7AF3594A65F2}"/>
                  </a:ext>
                </a:extLst>
              </p:cNvPr>
              <p:cNvSpPr txBox="1">
                <a:spLocks/>
              </p:cNvSpPr>
              <p:nvPr/>
            </p:nvSpPr>
            <p:spPr>
              <a:xfrm>
                <a:off x="7240570" y="157778"/>
                <a:ext cx="1153063" cy="205345"/>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400"/>
                  </a:spcBef>
                  <a:spcAft>
                    <a:spcPts val="0"/>
                  </a:spcAft>
                  <a:buClr>
                    <a:srgbClr val="4472C4"/>
                  </a:buClr>
                  <a:buSzPct val="75000"/>
                  <a:buFont typeface="Arial" panose="020B0604020202020204" pitchFamily="34" charset="0"/>
                  <a:buNone/>
                  <a:tabLst/>
                  <a:defRPr/>
                </a:pPr>
                <a:r>
                  <a:rPr kumimoji="0" lang="en-US" sz="1000" b="1" i="0" u="none" strike="noStrike" kern="1200" cap="none" spc="-30" normalizeH="0" baseline="0" noProof="0" dirty="0">
                    <a:ln>
                      <a:noFill/>
                    </a:ln>
                    <a:solidFill>
                      <a:schemeClr val="accent6"/>
                    </a:solidFill>
                    <a:effectLst/>
                    <a:uLnTx/>
                    <a:uFillTx/>
                    <a:latin typeface="+mn-lt"/>
                    <a:ea typeface="Open Sans" charset="0"/>
                    <a:cs typeface="Calibri Light" panose="020F0302020204030204" pitchFamily="34" charset="0"/>
                  </a:rPr>
                  <a:t>Deliver Core Value</a:t>
                </a:r>
                <a:endParaRPr kumimoji="0" lang="en-US" sz="700" b="0" i="0" u="none" strike="noStrike" kern="1200" cap="none" spc="-30" normalizeH="0" baseline="0" noProof="0" dirty="0">
                  <a:ln>
                    <a:noFill/>
                  </a:ln>
                  <a:solidFill>
                    <a:schemeClr val="accent6"/>
                  </a:solidFill>
                  <a:effectLst/>
                  <a:uLnTx/>
                  <a:uFillTx/>
                  <a:latin typeface="+mn-lt"/>
                  <a:ea typeface="Open Sans" charset="0"/>
                  <a:cs typeface="Calibri Light" panose="020F0302020204030204" pitchFamily="34" charset="0"/>
                </a:endParaRPr>
              </a:p>
            </p:txBody>
          </p:sp>
        </p:grpSp>
        <p:grpSp>
          <p:nvGrpSpPr>
            <p:cNvPr id="157" name="Group 156">
              <a:extLst>
                <a:ext uri="{FF2B5EF4-FFF2-40B4-BE49-F238E27FC236}">
                  <a16:creationId xmlns:a16="http://schemas.microsoft.com/office/drawing/2014/main" id="{A32AFFEB-474E-4BA9-8147-71B81F6739D7}"/>
                </a:ext>
              </a:extLst>
            </p:cNvPr>
            <p:cNvGrpSpPr/>
            <p:nvPr/>
          </p:nvGrpSpPr>
          <p:grpSpPr>
            <a:xfrm>
              <a:off x="8684101" y="130601"/>
              <a:ext cx="1537063" cy="259699"/>
              <a:chOff x="8517040" y="130601"/>
              <a:chExt cx="1537063" cy="259699"/>
            </a:xfrm>
          </p:grpSpPr>
          <p:grpSp>
            <p:nvGrpSpPr>
              <p:cNvPr id="63" name="Group 62">
                <a:extLst>
                  <a:ext uri="{FF2B5EF4-FFF2-40B4-BE49-F238E27FC236}">
                    <a16:creationId xmlns:a16="http://schemas.microsoft.com/office/drawing/2014/main" id="{A0994B52-11D6-45C0-84DB-7293FB1E55D0}"/>
                  </a:ext>
                </a:extLst>
              </p:cNvPr>
              <p:cNvGrpSpPr>
                <a:grpSpLocks noChangeAspect="1"/>
              </p:cNvGrpSpPr>
              <p:nvPr/>
            </p:nvGrpSpPr>
            <p:grpSpPr>
              <a:xfrm>
                <a:off x="8517040" y="130601"/>
                <a:ext cx="316706" cy="259699"/>
                <a:chOff x="5916613" y="3068638"/>
                <a:chExt cx="555625" cy="455612"/>
              </a:xfrm>
              <a:solidFill>
                <a:schemeClr val="accent3"/>
              </a:solidFill>
            </p:grpSpPr>
            <p:sp>
              <p:nvSpPr>
                <p:cNvPr id="64" name="Freeform 194">
                  <a:extLst>
                    <a:ext uri="{FF2B5EF4-FFF2-40B4-BE49-F238E27FC236}">
                      <a16:creationId xmlns:a16="http://schemas.microsoft.com/office/drawing/2014/main" id="{6E77CCFF-E4EE-4C9C-9D28-55D5D778B5A0}"/>
                    </a:ext>
                  </a:extLst>
                </p:cNvPr>
                <p:cNvSpPr>
                  <a:spLocks noEditPoints="1"/>
                </p:cNvSpPr>
                <p:nvPr/>
              </p:nvSpPr>
              <p:spPr bwMode="auto">
                <a:xfrm>
                  <a:off x="5916613" y="3068638"/>
                  <a:ext cx="419100" cy="411163"/>
                </a:xfrm>
                <a:custGeom>
                  <a:avLst/>
                  <a:gdLst>
                    <a:gd name="T0" fmla="*/ 178 w 178"/>
                    <a:gd name="T1" fmla="*/ 66 h 175"/>
                    <a:gd name="T2" fmla="*/ 117 w 178"/>
                    <a:gd name="T3" fmla="*/ 0 h 175"/>
                    <a:gd name="T4" fmla="*/ 61 w 178"/>
                    <a:gd name="T5" fmla="*/ 0 h 175"/>
                    <a:gd name="T6" fmla="*/ 0 w 178"/>
                    <a:gd name="T7" fmla="*/ 66 h 175"/>
                    <a:gd name="T8" fmla="*/ 46 w 178"/>
                    <a:gd name="T9" fmla="*/ 130 h 175"/>
                    <a:gd name="T10" fmla="*/ 46 w 178"/>
                    <a:gd name="T11" fmla="*/ 170 h 175"/>
                    <a:gd name="T12" fmla="*/ 49 w 178"/>
                    <a:gd name="T13" fmla="*/ 174 h 175"/>
                    <a:gd name="T14" fmla="*/ 51 w 178"/>
                    <a:gd name="T15" fmla="*/ 175 h 175"/>
                    <a:gd name="T16" fmla="*/ 54 w 178"/>
                    <a:gd name="T17" fmla="*/ 174 h 175"/>
                    <a:gd name="T18" fmla="*/ 101 w 178"/>
                    <a:gd name="T19" fmla="*/ 132 h 175"/>
                    <a:gd name="T20" fmla="*/ 117 w 178"/>
                    <a:gd name="T21" fmla="*/ 132 h 175"/>
                    <a:gd name="T22" fmla="*/ 178 w 178"/>
                    <a:gd name="T23" fmla="*/ 66 h 175"/>
                    <a:gd name="T24" fmla="*/ 99 w 178"/>
                    <a:gd name="T25" fmla="*/ 123 h 175"/>
                    <a:gd name="T26" fmla="*/ 96 w 178"/>
                    <a:gd name="T27" fmla="*/ 124 h 175"/>
                    <a:gd name="T28" fmla="*/ 55 w 178"/>
                    <a:gd name="T29" fmla="*/ 159 h 175"/>
                    <a:gd name="T30" fmla="*/ 55 w 178"/>
                    <a:gd name="T31" fmla="*/ 126 h 175"/>
                    <a:gd name="T32" fmla="*/ 52 w 178"/>
                    <a:gd name="T33" fmla="*/ 122 h 175"/>
                    <a:gd name="T34" fmla="*/ 9 w 178"/>
                    <a:gd name="T35" fmla="*/ 66 h 175"/>
                    <a:gd name="T36" fmla="*/ 61 w 178"/>
                    <a:gd name="T37" fmla="*/ 10 h 175"/>
                    <a:gd name="T38" fmla="*/ 117 w 178"/>
                    <a:gd name="T39" fmla="*/ 10 h 175"/>
                    <a:gd name="T40" fmla="*/ 168 w 178"/>
                    <a:gd name="T41" fmla="*/ 66 h 175"/>
                    <a:gd name="T42" fmla="*/ 117 w 178"/>
                    <a:gd name="T43" fmla="*/ 123 h 175"/>
                    <a:gd name="T44" fmla="*/ 99 w 178"/>
                    <a:gd name="T45" fmla="*/ 12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8" h="175">
                      <a:moveTo>
                        <a:pt x="178" y="66"/>
                      </a:moveTo>
                      <a:cubicBezTo>
                        <a:pt x="178" y="30"/>
                        <a:pt x="150" y="0"/>
                        <a:pt x="117" y="0"/>
                      </a:cubicBezTo>
                      <a:cubicBezTo>
                        <a:pt x="61" y="0"/>
                        <a:pt x="61" y="0"/>
                        <a:pt x="61" y="0"/>
                      </a:cubicBezTo>
                      <a:cubicBezTo>
                        <a:pt x="27" y="0"/>
                        <a:pt x="0" y="30"/>
                        <a:pt x="0" y="66"/>
                      </a:cubicBezTo>
                      <a:cubicBezTo>
                        <a:pt x="0" y="97"/>
                        <a:pt x="19" y="123"/>
                        <a:pt x="46" y="130"/>
                      </a:cubicBezTo>
                      <a:cubicBezTo>
                        <a:pt x="46" y="170"/>
                        <a:pt x="46" y="170"/>
                        <a:pt x="46" y="170"/>
                      </a:cubicBezTo>
                      <a:cubicBezTo>
                        <a:pt x="46" y="172"/>
                        <a:pt x="47" y="174"/>
                        <a:pt x="49" y="174"/>
                      </a:cubicBezTo>
                      <a:cubicBezTo>
                        <a:pt x="49" y="175"/>
                        <a:pt x="50" y="175"/>
                        <a:pt x="51" y="175"/>
                      </a:cubicBezTo>
                      <a:cubicBezTo>
                        <a:pt x="52" y="175"/>
                        <a:pt x="53" y="174"/>
                        <a:pt x="54" y="174"/>
                      </a:cubicBezTo>
                      <a:cubicBezTo>
                        <a:pt x="101" y="132"/>
                        <a:pt x="101" y="132"/>
                        <a:pt x="101" y="132"/>
                      </a:cubicBezTo>
                      <a:cubicBezTo>
                        <a:pt x="117" y="132"/>
                        <a:pt x="117" y="132"/>
                        <a:pt x="117" y="132"/>
                      </a:cubicBezTo>
                      <a:cubicBezTo>
                        <a:pt x="150" y="132"/>
                        <a:pt x="178" y="103"/>
                        <a:pt x="178" y="66"/>
                      </a:cubicBezTo>
                      <a:close/>
                      <a:moveTo>
                        <a:pt x="99" y="123"/>
                      </a:moveTo>
                      <a:cubicBezTo>
                        <a:pt x="98" y="123"/>
                        <a:pt x="97" y="123"/>
                        <a:pt x="96" y="124"/>
                      </a:cubicBezTo>
                      <a:cubicBezTo>
                        <a:pt x="55" y="159"/>
                        <a:pt x="55" y="159"/>
                        <a:pt x="55" y="159"/>
                      </a:cubicBezTo>
                      <a:cubicBezTo>
                        <a:pt x="55" y="126"/>
                        <a:pt x="55" y="126"/>
                        <a:pt x="55" y="126"/>
                      </a:cubicBezTo>
                      <a:cubicBezTo>
                        <a:pt x="55" y="124"/>
                        <a:pt x="54" y="122"/>
                        <a:pt x="52" y="122"/>
                      </a:cubicBezTo>
                      <a:cubicBezTo>
                        <a:pt x="27" y="117"/>
                        <a:pt x="9" y="94"/>
                        <a:pt x="9" y="66"/>
                      </a:cubicBezTo>
                      <a:cubicBezTo>
                        <a:pt x="9" y="35"/>
                        <a:pt x="32" y="10"/>
                        <a:pt x="61" y="10"/>
                      </a:cubicBezTo>
                      <a:cubicBezTo>
                        <a:pt x="117" y="10"/>
                        <a:pt x="117" y="10"/>
                        <a:pt x="117" y="10"/>
                      </a:cubicBezTo>
                      <a:cubicBezTo>
                        <a:pt x="145" y="10"/>
                        <a:pt x="168" y="35"/>
                        <a:pt x="168" y="66"/>
                      </a:cubicBezTo>
                      <a:cubicBezTo>
                        <a:pt x="168" y="97"/>
                        <a:pt x="145" y="123"/>
                        <a:pt x="117" y="123"/>
                      </a:cubicBezTo>
                      <a:lnTo>
                        <a:pt x="99" y="123"/>
                      </a:ln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65" name="Freeform 195">
                  <a:extLst>
                    <a:ext uri="{FF2B5EF4-FFF2-40B4-BE49-F238E27FC236}">
                      <a16:creationId xmlns:a16="http://schemas.microsoft.com/office/drawing/2014/main" id="{A33A1D1F-80B0-473F-BCB3-20D418A35339}"/>
                    </a:ext>
                  </a:extLst>
                </p:cNvPr>
                <p:cNvSpPr>
                  <a:spLocks/>
                </p:cNvSpPr>
                <p:nvPr/>
              </p:nvSpPr>
              <p:spPr bwMode="auto">
                <a:xfrm>
                  <a:off x="6184900" y="3235325"/>
                  <a:ext cx="287338" cy="288925"/>
                </a:xfrm>
                <a:custGeom>
                  <a:avLst/>
                  <a:gdLst>
                    <a:gd name="T0" fmla="*/ 77 w 122"/>
                    <a:gd name="T1" fmla="*/ 0 h 123"/>
                    <a:gd name="T2" fmla="*/ 73 w 122"/>
                    <a:gd name="T3" fmla="*/ 5 h 123"/>
                    <a:gd name="T4" fmla="*/ 77 w 122"/>
                    <a:gd name="T5" fmla="*/ 9 h 123"/>
                    <a:gd name="T6" fmla="*/ 112 w 122"/>
                    <a:gd name="T7" fmla="*/ 48 h 123"/>
                    <a:gd name="T8" fmla="*/ 79 w 122"/>
                    <a:gd name="T9" fmla="*/ 86 h 123"/>
                    <a:gd name="T10" fmla="*/ 74 w 122"/>
                    <a:gd name="T11" fmla="*/ 91 h 123"/>
                    <a:gd name="T12" fmla="*/ 74 w 122"/>
                    <a:gd name="T13" fmla="*/ 107 h 123"/>
                    <a:gd name="T14" fmla="*/ 56 w 122"/>
                    <a:gd name="T15" fmla="*/ 88 h 123"/>
                    <a:gd name="T16" fmla="*/ 53 w 122"/>
                    <a:gd name="T17" fmla="*/ 87 h 123"/>
                    <a:gd name="T18" fmla="*/ 37 w 122"/>
                    <a:gd name="T19" fmla="*/ 87 h 123"/>
                    <a:gd name="T20" fmla="*/ 10 w 122"/>
                    <a:gd name="T21" fmla="*/ 71 h 123"/>
                    <a:gd name="T22" fmla="*/ 3 w 122"/>
                    <a:gd name="T23" fmla="*/ 70 h 123"/>
                    <a:gd name="T24" fmla="*/ 2 w 122"/>
                    <a:gd name="T25" fmla="*/ 76 h 123"/>
                    <a:gd name="T26" fmla="*/ 37 w 122"/>
                    <a:gd name="T27" fmla="*/ 96 h 123"/>
                    <a:gd name="T28" fmla="*/ 51 w 122"/>
                    <a:gd name="T29" fmla="*/ 96 h 123"/>
                    <a:gd name="T30" fmla="*/ 75 w 122"/>
                    <a:gd name="T31" fmla="*/ 122 h 123"/>
                    <a:gd name="T32" fmla="*/ 79 w 122"/>
                    <a:gd name="T33" fmla="*/ 123 h 123"/>
                    <a:gd name="T34" fmla="*/ 80 w 122"/>
                    <a:gd name="T35" fmla="*/ 123 h 123"/>
                    <a:gd name="T36" fmla="*/ 83 w 122"/>
                    <a:gd name="T37" fmla="*/ 118 h 123"/>
                    <a:gd name="T38" fmla="*/ 83 w 122"/>
                    <a:gd name="T39" fmla="*/ 96 h 123"/>
                    <a:gd name="T40" fmla="*/ 122 w 122"/>
                    <a:gd name="T41" fmla="*/ 48 h 123"/>
                    <a:gd name="T42" fmla="*/ 77 w 122"/>
                    <a:gd name="T4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2" h="123">
                      <a:moveTo>
                        <a:pt x="77" y="0"/>
                      </a:moveTo>
                      <a:cubicBezTo>
                        <a:pt x="75" y="0"/>
                        <a:pt x="73" y="2"/>
                        <a:pt x="73" y="5"/>
                      </a:cubicBezTo>
                      <a:cubicBezTo>
                        <a:pt x="73" y="7"/>
                        <a:pt x="75" y="9"/>
                        <a:pt x="77" y="9"/>
                      </a:cubicBezTo>
                      <a:cubicBezTo>
                        <a:pt x="97" y="9"/>
                        <a:pt x="112" y="27"/>
                        <a:pt x="112" y="48"/>
                      </a:cubicBezTo>
                      <a:cubicBezTo>
                        <a:pt x="112" y="69"/>
                        <a:pt x="97" y="86"/>
                        <a:pt x="79" y="86"/>
                      </a:cubicBezTo>
                      <a:cubicBezTo>
                        <a:pt x="76" y="87"/>
                        <a:pt x="74" y="89"/>
                        <a:pt x="74" y="91"/>
                      </a:cubicBezTo>
                      <a:cubicBezTo>
                        <a:pt x="74" y="107"/>
                        <a:pt x="74" y="107"/>
                        <a:pt x="74" y="107"/>
                      </a:cubicBezTo>
                      <a:cubicBezTo>
                        <a:pt x="56" y="88"/>
                        <a:pt x="56" y="88"/>
                        <a:pt x="56" y="88"/>
                      </a:cubicBezTo>
                      <a:cubicBezTo>
                        <a:pt x="55" y="87"/>
                        <a:pt x="54" y="87"/>
                        <a:pt x="53" y="87"/>
                      </a:cubicBezTo>
                      <a:cubicBezTo>
                        <a:pt x="37" y="87"/>
                        <a:pt x="37" y="87"/>
                        <a:pt x="37" y="87"/>
                      </a:cubicBezTo>
                      <a:cubicBezTo>
                        <a:pt x="26" y="87"/>
                        <a:pt x="16" y="81"/>
                        <a:pt x="10" y="71"/>
                      </a:cubicBezTo>
                      <a:cubicBezTo>
                        <a:pt x="8" y="69"/>
                        <a:pt x="5" y="68"/>
                        <a:pt x="3" y="70"/>
                      </a:cubicBezTo>
                      <a:cubicBezTo>
                        <a:pt x="1" y="71"/>
                        <a:pt x="0" y="74"/>
                        <a:pt x="2" y="76"/>
                      </a:cubicBezTo>
                      <a:cubicBezTo>
                        <a:pt x="10" y="89"/>
                        <a:pt x="23" y="96"/>
                        <a:pt x="37" y="96"/>
                      </a:cubicBezTo>
                      <a:cubicBezTo>
                        <a:pt x="51" y="96"/>
                        <a:pt x="51" y="96"/>
                        <a:pt x="51" y="96"/>
                      </a:cubicBezTo>
                      <a:cubicBezTo>
                        <a:pt x="75" y="122"/>
                        <a:pt x="75" y="122"/>
                        <a:pt x="75" y="122"/>
                      </a:cubicBezTo>
                      <a:cubicBezTo>
                        <a:pt x="76" y="123"/>
                        <a:pt x="77" y="123"/>
                        <a:pt x="79" y="123"/>
                      </a:cubicBezTo>
                      <a:cubicBezTo>
                        <a:pt x="79" y="123"/>
                        <a:pt x="80" y="123"/>
                        <a:pt x="80" y="123"/>
                      </a:cubicBezTo>
                      <a:cubicBezTo>
                        <a:pt x="82" y="122"/>
                        <a:pt x="83" y="120"/>
                        <a:pt x="83" y="118"/>
                      </a:cubicBezTo>
                      <a:cubicBezTo>
                        <a:pt x="83" y="96"/>
                        <a:pt x="83" y="96"/>
                        <a:pt x="83" y="96"/>
                      </a:cubicBezTo>
                      <a:cubicBezTo>
                        <a:pt x="105" y="92"/>
                        <a:pt x="122" y="72"/>
                        <a:pt x="122" y="48"/>
                      </a:cubicBezTo>
                      <a:cubicBezTo>
                        <a:pt x="122" y="22"/>
                        <a:pt x="102" y="0"/>
                        <a:pt x="77" y="0"/>
                      </a:cubicBez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66" name="Freeform 196">
                  <a:extLst>
                    <a:ext uri="{FF2B5EF4-FFF2-40B4-BE49-F238E27FC236}">
                      <a16:creationId xmlns:a16="http://schemas.microsoft.com/office/drawing/2014/main" id="{B4FB07D5-69C1-4175-92A2-9433A4746659}"/>
                    </a:ext>
                  </a:extLst>
                </p:cNvPr>
                <p:cNvSpPr>
                  <a:spLocks/>
                </p:cNvSpPr>
                <p:nvPr/>
              </p:nvSpPr>
              <p:spPr bwMode="auto">
                <a:xfrm>
                  <a:off x="6013450" y="3178175"/>
                  <a:ext cx="223838" cy="23813"/>
                </a:xfrm>
                <a:custGeom>
                  <a:avLst/>
                  <a:gdLst>
                    <a:gd name="T0" fmla="*/ 95 w 95"/>
                    <a:gd name="T1" fmla="*/ 5 h 10"/>
                    <a:gd name="T2" fmla="*/ 90 w 95"/>
                    <a:gd name="T3" fmla="*/ 0 h 10"/>
                    <a:gd name="T4" fmla="*/ 5 w 95"/>
                    <a:gd name="T5" fmla="*/ 0 h 10"/>
                    <a:gd name="T6" fmla="*/ 0 w 95"/>
                    <a:gd name="T7" fmla="*/ 5 h 10"/>
                    <a:gd name="T8" fmla="*/ 5 w 95"/>
                    <a:gd name="T9" fmla="*/ 10 h 10"/>
                    <a:gd name="T10" fmla="*/ 90 w 95"/>
                    <a:gd name="T11" fmla="*/ 10 h 10"/>
                    <a:gd name="T12" fmla="*/ 95 w 95"/>
                    <a:gd name="T13" fmla="*/ 5 h 10"/>
                  </a:gdLst>
                  <a:ahLst/>
                  <a:cxnLst>
                    <a:cxn ang="0">
                      <a:pos x="T0" y="T1"/>
                    </a:cxn>
                    <a:cxn ang="0">
                      <a:pos x="T2" y="T3"/>
                    </a:cxn>
                    <a:cxn ang="0">
                      <a:pos x="T4" y="T5"/>
                    </a:cxn>
                    <a:cxn ang="0">
                      <a:pos x="T6" y="T7"/>
                    </a:cxn>
                    <a:cxn ang="0">
                      <a:pos x="T8" y="T9"/>
                    </a:cxn>
                    <a:cxn ang="0">
                      <a:pos x="T10" y="T11"/>
                    </a:cxn>
                    <a:cxn ang="0">
                      <a:pos x="T12" y="T13"/>
                    </a:cxn>
                  </a:cxnLst>
                  <a:rect l="0" t="0" r="r" b="b"/>
                  <a:pathLst>
                    <a:path w="95" h="10">
                      <a:moveTo>
                        <a:pt x="95" y="5"/>
                      </a:moveTo>
                      <a:cubicBezTo>
                        <a:pt x="95" y="2"/>
                        <a:pt x="93" y="0"/>
                        <a:pt x="90" y="0"/>
                      </a:cubicBezTo>
                      <a:cubicBezTo>
                        <a:pt x="5" y="0"/>
                        <a:pt x="5" y="0"/>
                        <a:pt x="5" y="0"/>
                      </a:cubicBezTo>
                      <a:cubicBezTo>
                        <a:pt x="2" y="0"/>
                        <a:pt x="0" y="2"/>
                        <a:pt x="0" y="5"/>
                      </a:cubicBezTo>
                      <a:cubicBezTo>
                        <a:pt x="0" y="8"/>
                        <a:pt x="2" y="10"/>
                        <a:pt x="5" y="10"/>
                      </a:cubicBezTo>
                      <a:cubicBezTo>
                        <a:pt x="90" y="10"/>
                        <a:pt x="90" y="10"/>
                        <a:pt x="90" y="10"/>
                      </a:cubicBezTo>
                      <a:cubicBezTo>
                        <a:pt x="93" y="10"/>
                        <a:pt x="95" y="8"/>
                        <a:pt x="95" y="5"/>
                      </a:cubicBez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67" name="Freeform 197">
                  <a:extLst>
                    <a:ext uri="{FF2B5EF4-FFF2-40B4-BE49-F238E27FC236}">
                      <a16:creationId xmlns:a16="http://schemas.microsoft.com/office/drawing/2014/main" id="{A748C2BF-09D6-4597-9444-A1DFCE66BAA3}"/>
                    </a:ext>
                  </a:extLst>
                </p:cNvPr>
                <p:cNvSpPr>
                  <a:spLocks/>
                </p:cNvSpPr>
                <p:nvPr/>
              </p:nvSpPr>
              <p:spPr bwMode="auto">
                <a:xfrm>
                  <a:off x="6013450" y="3249613"/>
                  <a:ext cx="122238" cy="23813"/>
                </a:xfrm>
                <a:custGeom>
                  <a:avLst/>
                  <a:gdLst>
                    <a:gd name="T0" fmla="*/ 47 w 52"/>
                    <a:gd name="T1" fmla="*/ 0 h 10"/>
                    <a:gd name="T2" fmla="*/ 5 w 52"/>
                    <a:gd name="T3" fmla="*/ 0 h 10"/>
                    <a:gd name="T4" fmla="*/ 0 w 52"/>
                    <a:gd name="T5" fmla="*/ 5 h 10"/>
                    <a:gd name="T6" fmla="*/ 5 w 52"/>
                    <a:gd name="T7" fmla="*/ 10 h 10"/>
                    <a:gd name="T8" fmla="*/ 47 w 52"/>
                    <a:gd name="T9" fmla="*/ 10 h 10"/>
                    <a:gd name="T10" fmla="*/ 52 w 52"/>
                    <a:gd name="T11" fmla="*/ 5 h 10"/>
                    <a:gd name="T12" fmla="*/ 47 w 5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52" h="10">
                      <a:moveTo>
                        <a:pt x="47" y="0"/>
                      </a:moveTo>
                      <a:cubicBezTo>
                        <a:pt x="5" y="0"/>
                        <a:pt x="5" y="0"/>
                        <a:pt x="5" y="0"/>
                      </a:cubicBezTo>
                      <a:cubicBezTo>
                        <a:pt x="2" y="0"/>
                        <a:pt x="0" y="2"/>
                        <a:pt x="0" y="5"/>
                      </a:cubicBezTo>
                      <a:cubicBezTo>
                        <a:pt x="0" y="8"/>
                        <a:pt x="2" y="10"/>
                        <a:pt x="5" y="10"/>
                      </a:cubicBezTo>
                      <a:cubicBezTo>
                        <a:pt x="47" y="10"/>
                        <a:pt x="47" y="10"/>
                        <a:pt x="47" y="10"/>
                      </a:cubicBezTo>
                      <a:cubicBezTo>
                        <a:pt x="49" y="10"/>
                        <a:pt x="52" y="8"/>
                        <a:pt x="52" y="5"/>
                      </a:cubicBezTo>
                      <a:cubicBezTo>
                        <a:pt x="52" y="2"/>
                        <a:pt x="49" y="0"/>
                        <a:pt x="47" y="0"/>
                      </a:cubicBez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grpSp>
          <p:sp>
            <p:nvSpPr>
              <p:cNvPr id="70" name="Text Placeholder 2">
                <a:extLst>
                  <a:ext uri="{FF2B5EF4-FFF2-40B4-BE49-F238E27FC236}">
                    <a16:creationId xmlns:a16="http://schemas.microsoft.com/office/drawing/2014/main" id="{3AA13A47-2189-4EA7-83A3-035070AE1EC6}"/>
                  </a:ext>
                </a:extLst>
              </p:cNvPr>
              <p:cNvSpPr txBox="1">
                <a:spLocks/>
              </p:cNvSpPr>
              <p:nvPr/>
            </p:nvSpPr>
            <p:spPr>
              <a:xfrm>
                <a:off x="8901040" y="157778"/>
                <a:ext cx="1153063" cy="205345"/>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400"/>
                  </a:spcBef>
                  <a:spcAft>
                    <a:spcPts val="0"/>
                  </a:spcAft>
                  <a:buClr>
                    <a:srgbClr val="4472C4"/>
                  </a:buClr>
                  <a:buSzPct val="75000"/>
                  <a:buFont typeface="Arial" panose="020B0604020202020204" pitchFamily="34" charset="0"/>
                  <a:buNone/>
                  <a:tabLst/>
                  <a:defRPr/>
                </a:pPr>
                <a:r>
                  <a:rPr kumimoji="0" lang="en-US" sz="1000" b="1" i="0" u="none" strike="noStrike" kern="1200" cap="none" spc="-30" normalizeH="0" baseline="0" noProof="0" dirty="0">
                    <a:ln>
                      <a:noFill/>
                    </a:ln>
                    <a:solidFill>
                      <a:schemeClr val="accent6"/>
                    </a:solidFill>
                    <a:effectLst/>
                    <a:uLnTx/>
                    <a:uFillTx/>
                    <a:latin typeface="+mn-lt"/>
                    <a:ea typeface="Open Sans" charset="0"/>
                    <a:cs typeface="Calibri Light" panose="020F0302020204030204" pitchFamily="34" charset="0"/>
                  </a:rPr>
                  <a:t>Remind / Engage</a:t>
                </a:r>
                <a:endParaRPr kumimoji="0" lang="en-US" sz="700" b="0" i="0" u="none" strike="noStrike" kern="1200" cap="none" spc="-30" normalizeH="0" baseline="0" noProof="0" dirty="0">
                  <a:ln>
                    <a:noFill/>
                  </a:ln>
                  <a:solidFill>
                    <a:schemeClr val="accent6"/>
                  </a:solidFill>
                  <a:effectLst/>
                  <a:uLnTx/>
                  <a:uFillTx/>
                  <a:latin typeface="+mn-lt"/>
                  <a:ea typeface="Open Sans" charset="0"/>
                  <a:cs typeface="Calibri Light" panose="020F0302020204030204" pitchFamily="34" charset="0"/>
                </a:endParaRPr>
              </a:p>
            </p:txBody>
          </p:sp>
        </p:grpSp>
        <p:grpSp>
          <p:nvGrpSpPr>
            <p:cNvPr id="158" name="Group 157">
              <a:extLst>
                <a:ext uri="{FF2B5EF4-FFF2-40B4-BE49-F238E27FC236}">
                  <a16:creationId xmlns:a16="http://schemas.microsoft.com/office/drawing/2014/main" id="{B74456EF-EFF5-4EE7-AD8F-4F7E65E2F18F}"/>
                </a:ext>
              </a:extLst>
            </p:cNvPr>
            <p:cNvGrpSpPr/>
            <p:nvPr/>
          </p:nvGrpSpPr>
          <p:grpSpPr>
            <a:xfrm>
              <a:off x="10310709" y="109347"/>
              <a:ext cx="1477213" cy="302207"/>
              <a:chOff x="10310709" y="109347"/>
              <a:chExt cx="1477213" cy="302207"/>
            </a:xfrm>
          </p:grpSpPr>
          <p:sp>
            <p:nvSpPr>
              <p:cNvPr id="68" name="Freeform 391">
                <a:extLst>
                  <a:ext uri="{FF2B5EF4-FFF2-40B4-BE49-F238E27FC236}">
                    <a16:creationId xmlns:a16="http://schemas.microsoft.com/office/drawing/2014/main" id="{78FCA8D5-966A-47FE-BE44-A8DF9D131CA3}"/>
                  </a:ext>
                </a:extLst>
              </p:cNvPr>
              <p:cNvSpPr>
                <a:spLocks noChangeAspect="1" noEditPoints="1"/>
              </p:cNvSpPr>
              <p:nvPr/>
            </p:nvSpPr>
            <p:spPr bwMode="auto">
              <a:xfrm>
                <a:off x="10310709" y="109347"/>
                <a:ext cx="256174" cy="302207"/>
              </a:xfrm>
              <a:custGeom>
                <a:avLst/>
                <a:gdLst>
                  <a:gd name="T0" fmla="*/ 115 w 198"/>
                  <a:gd name="T1" fmla="*/ 70 h 233"/>
                  <a:gd name="T2" fmla="*/ 157 w 198"/>
                  <a:gd name="T3" fmla="*/ 31 h 233"/>
                  <a:gd name="T4" fmla="*/ 133 w 198"/>
                  <a:gd name="T5" fmla="*/ 9 h 233"/>
                  <a:gd name="T6" fmla="*/ 59 w 198"/>
                  <a:gd name="T7" fmla="*/ 0 h 233"/>
                  <a:gd name="T8" fmla="*/ 32 w 198"/>
                  <a:gd name="T9" fmla="*/ 29 h 233"/>
                  <a:gd name="T10" fmla="*/ 5 w 198"/>
                  <a:gd name="T11" fmla="*/ 70 h 233"/>
                  <a:gd name="T12" fmla="*/ 0 w 198"/>
                  <a:gd name="T13" fmla="*/ 120 h 233"/>
                  <a:gd name="T14" fmla="*/ 11 w 198"/>
                  <a:gd name="T15" fmla="*/ 125 h 233"/>
                  <a:gd name="T16" fmla="*/ 15 w 198"/>
                  <a:gd name="T17" fmla="*/ 233 h 233"/>
                  <a:gd name="T18" fmla="*/ 115 w 198"/>
                  <a:gd name="T19" fmla="*/ 233 h 233"/>
                  <a:gd name="T20" fmla="*/ 188 w 198"/>
                  <a:gd name="T21" fmla="*/ 229 h 233"/>
                  <a:gd name="T22" fmla="*/ 194 w 198"/>
                  <a:gd name="T23" fmla="*/ 125 h 233"/>
                  <a:gd name="T24" fmla="*/ 198 w 198"/>
                  <a:gd name="T25" fmla="*/ 74 h 233"/>
                  <a:gd name="T26" fmla="*/ 189 w 198"/>
                  <a:gd name="T27" fmla="*/ 112 h 233"/>
                  <a:gd name="T28" fmla="*/ 120 w 198"/>
                  <a:gd name="T29" fmla="*/ 111 h 233"/>
                  <a:gd name="T30" fmla="*/ 189 w 198"/>
                  <a:gd name="T31" fmla="*/ 79 h 233"/>
                  <a:gd name="T32" fmla="*/ 133 w 198"/>
                  <a:gd name="T33" fmla="*/ 18 h 233"/>
                  <a:gd name="T34" fmla="*/ 148 w 198"/>
                  <a:gd name="T35" fmla="*/ 30 h 233"/>
                  <a:gd name="T36" fmla="*/ 133 w 198"/>
                  <a:gd name="T37" fmla="*/ 18 h 233"/>
                  <a:gd name="T38" fmla="*/ 48 w 198"/>
                  <a:gd name="T39" fmla="*/ 13 h 233"/>
                  <a:gd name="T40" fmla="*/ 90 w 198"/>
                  <a:gd name="T41" fmla="*/ 64 h 233"/>
                  <a:gd name="T42" fmla="*/ 79 w 198"/>
                  <a:gd name="T43" fmla="*/ 79 h 233"/>
                  <a:gd name="T44" fmla="*/ 10 w 198"/>
                  <a:gd name="T45" fmla="*/ 111 h 233"/>
                  <a:gd name="T46" fmla="*/ 9 w 198"/>
                  <a:gd name="T47" fmla="*/ 79 h 233"/>
                  <a:gd name="T48" fmla="*/ 20 w 198"/>
                  <a:gd name="T49" fmla="*/ 121 h 233"/>
                  <a:gd name="T50" fmla="*/ 79 w 198"/>
                  <a:gd name="T51" fmla="*/ 224 h 233"/>
                  <a:gd name="T52" fmla="*/ 20 w 198"/>
                  <a:gd name="T53" fmla="*/ 121 h 233"/>
                  <a:gd name="T54" fmla="*/ 89 w 198"/>
                  <a:gd name="T55" fmla="*/ 79 h 233"/>
                  <a:gd name="T56" fmla="*/ 110 w 198"/>
                  <a:gd name="T57" fmla="*/ 224 h 233"/>
                  <a:gd name="T58" fmla="*/ 120 w 198"/>
                  <a:gd name="T59" fmla="*/ 224 h 233"/>
                  <a:gd name="T60" fmla="*/ 178 w 198"/>
                  <a:gd name="T61" fmla="*/ 121 h 233"/>
                  <a:gd name="T62" fmla="*/ 120 w 198"/>
                  <a:gd name="T63" fmla="*/ 22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8" h="233">
                    <a:moveTo>
                      <a:pt x="194" y="70"/>
                    </a:moveTo>
                    <a:cubicBezTo>
                      <a:pt x="115" y="70"/>
                      <a:pt x="115" y="70"/>
                      <a:pt x="115" y="70"/>
                    </a:cubicBezTo>
                    <a:cubicBezTo>
                      <a:pt x="112" y="70"/>
                      <a:pt x="112" y="70"/>
                      <a:pt x="112" y="70"/>
                    </a:cubicBezTo>
                    <a:cubicBezTo>
                      <a:pt x="126" y="63"/>
                      <a:pt x="155" y="48"/>
                      <a:pt x="157" y="31"/>
                    </a:cubicBezTo>
                    <a:cubicBezTo>
                      <a:pt x="157" y="27"/>
                      <a:pt x="156" y="20"/>
                      <a:pt x="148" y="14"/>
                    </a:cubicBezTo>
                    <a:cubicBezTo>
                      <a:pt x="143" y="11"/>
                      <a:pt x="138" y="9"/>
                      <a:pt x="133" y="9"/>
                    </a:cubicBezTo>
                    <a:cubicBezTo>
                      <a:pt x="111" y="9"/>
                      <a:pt x="102" y="46"/>
                      <a:pt x="99" y="61"/>
                    </a:cubicBezTo>
                    <a:cubicBezTo>
                      <a:pt x="95" y="42"/>
                      <a:pt x="82" y="0"/>
                      <a:pt x="59" y="0"/>
                    </a:cubicBezTo>
                    <a:cubicBezTo>
                      <a:pt x="53" y="0"/>
                      <a:pt x="48" y="2"/>
                      <a:pt x="43" y="6"/>
                    </a:cubicBezTo>
                    <a:cubicBezTo>
                      <a:pt x="34" y="13"/>
                      <a:pt x="30" y="20"/>
                      <a:pt x="32" y="29"/>
                    </a:cubicBezTo>
                    <a:cubicBezTo>
                      <a:pt x="35" y="46"/>
                      <a:pt x="61" y="61"/>
                      <a:pt x="79" y="70"/>
                    </a:cubicBezTo>
                    <a:cubicBezTo>
                      <a:pt x="5" y="70"/>
                      <a:pt x="5" y="70"/>
                      <a:pt x="5" y="70"/>
                    </a:cubicBezTo>
                    <a:cubicBezTo>
                      <a:pt x="2" y="70"/>
                      <a:pt x="0" y="72"/>
                      <a:pt x="0" y="74"/>
                    </a:cubicBezTo>
                    <a:cubicBezTo>
                      <a:pt x="0" y="120"/>
                      <a:pt x="0" y="120"/>
                      <a:pt x="0" y="120"/>
                    </a:cubicBezTo>
                    <a:cubicBezTo>
                      <a:pt x="0" y="123"/>
                      <a:pt x="2" y="125"/>
                      <a:pt x="5" y="125"/>
                    </a:cubicBezTo>
                    <a:cubicBezTo>
                      <a:pt x="11" y="125"/>
                      <a:pt x="11" y="125"/>
                      <a:pt x="11" y="125"/>
                    </a:cubicBezTo>
                    <a:cubicBezTo>
                      <a:pt x="11" y="229"/>
                      <a:pt x="11" y="229"/>
                      <a:pt x="11" y="229"/>
                    </a:cubicBezTo>
                    <a:cubicBezTo>
                      <a:pt x="11" y="231"/>
                      <a:pt x="13" y="233"/>
                      <a:pt x="15" y="233"/>
                    </a:cubicBezTo>
                    <a:cubicBezTo>
                      <a:pt x="84" y="233"/>
                      <a:pt x="84" y="233"/>
                      <a:pt x="84" y="233"/>
                    </a:cubicBezTo>
                    <a:cubicBezTo>
                      <a:pt x="115" y="233"/>
                      <a:pt x="115" y="233"/>
                      <a:pt x="115" y="233"/>
                    </a:cubicBezTo>
                    <a:cubicBezTo>
                      <a:pt x="183" y="233"/>
                      <a:pt x="183" y="233"/>
                      <a:pt x="183" y="233"/>
                    </a:cubicBezTo>
                    <a:cubicBezTo>
                      <a:pt x="186" y="233"/>
                      <a:pt x="188" y="231"/>
                      <a:pt x="188" y="229"/>
                    </a:cubicBezTo>
                    <a:cubicBezTo>
                      <a:pt x="188" y="125"/>
                      <a:pt x="188" y="125"/>
                      <a:pt x="188" y="125"/>
                    </a:cubicBezTo>
                    <a:cubicBezTo>
                      <a:pt x="194" y="125"/>
                      <a:pt x="194" y="125"/>
                      <a:pt x="194" y="125"/>
                    </a:cubicBezTo>
                    <a:cubicBezTo>
                      <a:pt x="196" y="125"/>
                      <a:pt x="198" y="123"/>
                      <a:pt x="198" y="120"/>
                    </a:cubicBezTo>
                    <a:cubicBezTo>
                      <a:pt x="198" y="74"/>
                      <a:pt x="198" y="74"/>
                      <a:pt x="198" y="74"/>
                    </a:cubicBezTo>
                    <a:cubicBezTo>
                      <a:pt x="198" y="72"/>
                      <a:pt x="196" y="70"/>
                      <a:pt x="194" y="70"/>
                    </a:cubicBezTo>
                    <a:close/>
                    <a:moveTo>
                      <a:pt x="189" y="112"/>
                    </a:moveTo>
                    <a:cubicBezTo>
                      <a:pt x="188" y="111"/>
                      <a:pt x="188" y="111"/>
                      <a:pt x="187" y="111"/>
                    </a:cubicBezTo>
                    <a:cubicBezTo>
                      <a:pt x="120" y="111"/>
                      <a:pt x="120" y="111"/>
                      <a:pt x="120" y="111"/>
                    </a:cubicBezTo>
                    <a:cubicBezTo>
                      <a:pt x="120" y="79"/>
                      <a:pt x="120" y="79"/>
                      <a:pt x="120" y="79"/>
                    </a:cubicBezTo>
                    <a:cubicBezTo>
                      <a:pt x="189" y="79"/>
                      <a:pt x="189" y="79"/>
                      <a:pt x="189" y="79"/>
                    </a:cubicBezTo>
                    <a:lnTo>
                      <a:pt x="189" y="112"/>
                    </a:lnTo>
                    <a:close/>
                    <a:moveTo>
                      <a:pt x="133" y="18"/>
                    </a:moveTo>
                    <a:cubicBezTo>
                      <a:pt x="136" y="18"/>
                      <a:pt x="139" y="19"/>
                      <a:pt x="142" y="22"/>
                    </a:cubicBezTo>
                    <a:cubicBezTo>
                      <a:pt x="148" y="26"/>
                      <a:pt x="148" y="29"/>
                      <a:pt x="148" y="30"/>
                    </a:cubicBezTo>
                    <a:cubicBezTo>
                      <a:pt x="146" y="40"/>
                      <a:pt x="126" y="53"/>
                      <a:pt x="109" y="61"/>
                    </a:cubicBezTo>
                    <a:cubicBezTo>
                      <a:pt x="112" y="44"/>
                      <a:pt x="120" y="18"/>
                      <a:pt x="133" y="18"/>
                    </a:cubicBezTo>
                    <a:close/>
                    <a:moveTo>
                      <a:pt x="41" y="27"/>
                    </a:moveTo>
                    <a:cubicBezTo>
                      <a:pt x="40" y="22"/>
                      <a:pt x="43" y="18"/>
                      <a:pt x="48" y="13"/>
                    </a:cubicBezTo>
                    <a:cubicBezTo>
                      <a:pt x="52" y="11"/>
                      <a:pt x="56" y="9"/>
                      <a:pt x="59" y="9"/>
                    </a:cubicBezTo>
                    <a:cubicBezTo>
                      <a:pt x="73" y="9"/>
                      <a:pt x="85" y="40"/>
                      <a:pt x="90" y="64"/>
                    </a:cubicBezTo>
                    <a:cubicBezTo>
                      <a:pt x="70" y="56"/>
                      <a:pt x="43" y="40"/>
                      <a:pt x="41" y="27"/>
                    </a:cubicBezTo>
                    <a:close/>
                    <a:moveTo>
                      <a:pt x="79" y="79"/>
                    </a:moveTo>
                    <a:cubicBezTo>
                      <a:pt x="79" y="111"/>
                      <a:pt x="79" y="111"/>
                      <a:pt x="79" y="111"/>
                    </a:cubicBezTo>
                    <a:cubicBezTo>
                      <a:pt x="10" y="111"/>
                      <a:pt x="10" y="111"/>
                      <a:pt x="10" y="111"/>
                    </a:cubicBezTo>
                    <a:cubicBezTo>
                      <a:pt x="10" y="111"/>
                      <a:pt x="10" y="111"/>
                      <a:pt x="9" y="111"/>
                    </a:cubicBezTo>
                    <a:cubicBezTo>
                      <a:pt x="9" y="79"/>
                      <a:pt x="9" y="79"/>
                      <a:pt x="9" y="79"/>
                    </a:cubicBezTo>
                    <a:lnTo>
                      <a:pt x="79" y="79"/>
                    </a:lnTo>
                    <a:close/>
                    <a:moveTo>
                      <a:pt x="20" y="121"/>
                    </a:moveTo>
                    <a:cubicBezTo>
                      <a:pt x="79" y="121"/>
                      <a:pt x="79" y="121"/>
                      <a:pt x="79" y="121"/>
                    </a:cubicBezTo>
                    <a:cubicBezTo>
                      <a:pt x="79" y="224"/>
                      <a:pt x="79" y="224"/>
                      <a:pt x="79" y="224"/>
                    </a:cubicBezTo>
                    <a:cubicBezTo>
                      <a:pt x="20" y="224"/>
                      <a:pt x="20" y="224"/>
                      <a:pt x="20" y="224"/>
                    </a:cubicBezTo>
                    <a:lnTo>
                      <a:pt x="20" y="121"/>
                    </a:lnTo>
                    <a:close/>
                    <a:moveTo>
                      <a:pt x="89" y="224"/>
                    </a:moveTo>
                    <a:cubicBezTo>
                      <a:pt x="89" y="79"/>
                      <a:pt x="89" y="79"/>
                      <a:pt x="89" y="79"/>
                    </a:cubicBezTo>
                    <a:cubicBezTo>
                      <a:pt x="110" y="79"/>
                      <a:pt x="110" y="79"/>
                      <a:pt x="110" y="79"/>
                    </a:cubicBezTo>
                    <a:cubicBezTo>
                      <a:pt x="110" y="224"/>
                      <a:pt x="110" y="224"/>
                      <a:pt x="110" y="224"/>
                    </a:cubicBezTo>
                    <a:lnTo>
                      <a:pt x="89" y="224"/>
                    </a:lnTo>
                    <a:close/>
                    <a:moveTo>
                      <a:pt x="120" y="224"/>
                    </a:moveTo>
                    <a:cubicBezTo>
                      <a:pt x="120" y="121"/>
                      <a:pt x="120" y="121"/>
                      <a:pt x="120" y="121"/>
                    </a:cubicBezTo>
                    <a:cubicBezTo>
                      <a:pt x="178" y="121"/>
                      <a:pt x="178" y="121"/>
                      <a:pt x="178" y="121"/>
                    </a:cubicBezTo>
                    <a:cubicBezTo>
                      <a:pt x="178" y="224"/>
                      <a:pt x="178" y="224"/>
                      <a:pt x="178" y="224"/>
                    </a:cubicBezTo>
                    <a:lnTo>
                      <a:pt x="120" y="224"/>
                    </a:lnTo>
                    <a:close/>
                  </a:path>
                </a:pathLst>
              </a:custGeom>
              <a:solidFill>
                <a:schemeClr val="accent4"/>
              </a:solidFill>
              <a:ln>
                <a:solidFill>
                  <a:schemeClr val="accent4"/>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71" name="Text Placeholder 2">
                <a:extLst>
                  <a:ext uri="{FF2B5EF4-FFF2-40B4-BE49-F238E27FC236}">
                    <a16:creationId xmlns:a16="http://schemas.microsoft.com/office/drawing/2014/main" id="{8A419A09-7A79-4B2F-A63A-CEBB3568FEEC}"/>
                  </a:ext>
                </a:extLst>
              </p:cNvPr>
              <p:cNvSpPr txBox="1">
                <a:spLocks/>
              </p:cNvSpPr>
              <p:nvPr/>
            </p:nvSpPr>
            <p:spPr>
              <a:xfrm>
                <a:off x="10634859" y="157778"/>
                <a:ext cx="1153063" cy="205345"/>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400"/>
                  </a:spcBef>
                  <a:spcAft>
                    <a:spcPts val="0"/>
                  </a:spcAft>
                  <a:buClr>
                    <a:srgbClr val="4472C4"/>
                  </a:buClr>
                  <a:buSzPct val="75000"/>
                  <a:buFont typeface="Arial" panose="020B0604020202020204" pitchFamily="34" charset="0"/>
                  <a:buNone/>
                  <a:tabLst/>
                  <a:defRPr/>
                </a:pPr>
                <a:r>
                  <a:rPr kumimoji="0" lang="en-US" sz="1000" b="1" i="0" u="none" strike="noStrike" kern="1200" cap="none" spc="-30" normalizeH="0" baseline="0" noProof="0" dirty="0">
                    <a:ln>
                      <a:noFill/>
                    </a:ln>
                    <a:solidFill>
                      <a:schemeClr val="accent6"/>
                    </a:solidFill>
                    <a:effectLst/>
                    <a:uLnTx/>
                    <a:uFillTx/>
                    <a:latin typeface="+mn-lt"/>
                    <a:ea typeface="Open Sans" charset="0"/>
                    <a:cs typeface="Calibri Light" panose="020F0302020204030204" pitchFamily="34" charset="0"/>
                  </a:rPr>
                  <a:t>Surprise &amp; Delight</a:t>
                </a:r>
                <a:endParaRPr kumimoji="0" lang="en-US" sz="700" b="0" i="0" u="none" strike="noStrike" kern="1200" cap="none" spc="-30" normalizeH="0" baseline="0" noProof="0" dirty="0">
                  <a:ln>
                    <a:noFill/>
                  </a:ln>
                  <a:solidFill>
                    <a:schemeClr val="accent6"/>
                  </a:solidFill>
                  <a:effectLst/>
                  <a:uLnTx/>
                  <a:uFillTx/>
                  <a:latin typeface="+mn-lt"/>
                  <a:ea typeface="Open Sans" charset="0"/>
                  <a:cs typeface="Calibri Light" panose="020F0302020204030204" pitchFamily="34" charset="0"/>
                </a:endParaRPr>
              </a:p>
            </p:txBody>
          </p:sp>
        </p:grpSp>
        <p:grpSp>
          <p:nvGrpSpPr>
            <p:cNvPr id="160" name="Group 159">
              <a:extLst>
                <a:ext uri="{FF2B5EF4-FFF2-40B4-BE49-F238E27FC236}">
                  <a16:creationId xmlns:a16="http://schemas.microsoft.com/office/drawing/2014/main" id="{259D7CA9-C23F-4253-AE3C-1E5288C81EAD}"/>
                </a:ext>
              </a:extLst>
            </p:cNvPr>
            <p:cNvGrpSpPr/>
            <p:nvPr/>
          </p:nvGrpSpPr>
          <p:grpSpPr>
            <a:xfrm>
              <a:off x="4092832" y="152935"/>
              <a:ext cx="1703608" cy="215028"/>
              <a:chOff x="4092832" y="152935"/>
              <a:chExt cx="1703608" cy="215028"/>
            </a:xfrm>
          </p:grpSpPr>
          <p:sp>
            <p:nvSpPr>
              <p:cNvPr id="57" name="Text Placeholder 2">
                <a:extLst>
                  <a:ext uri="{FF2B5EF4-FFF2-40B4-BE49-F238E27FC236}">
                    <a16:creationId xmlns:a16="http://schemas.microsoft.com/office/drawing/2014/main" id="{498740BD-F7C7-4E78-8EC2-51AD2C01E4EA}"/>
                  </a:ext>
                </a:extLst>
              </p:cNvPr>
              <p:cNvSpPr txBox="1">
                <a:spLocks/>
              </p:cNvSpPr>
              <p:nvPr/>
            </p:nvSpPr>
            <p:spPr>
              <a:xfrm>
                <a:off x="4473547" y="157777"/>
                <a:ext cx="1322893" cy="205345"/>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400"/>
                  </a:spcBef>
                  <a:spcAft>
                    <a:spcPts val="0"/>
                  </a:spcAft>
                  <a:buClr>
                    <a:srgbClr val="4472C4"/>
                  </a:buClr>
                  <a:buSzPct val="75000"/>
                  <a:buFont typeface="Arial" panose="020B0604020202020204" pitchFamily="34" charset="0"/>
                  <a:buNone/>
                  <a:tabLst/>
                  <a:defRPr/>
                </a:pPr>
                <a:r>
                  <a:rPr kumimoji="0" lang="en-US" sz="1000" b="1" i="0" u="none" strike="noStrike" kern="1200" cap="none" spc="-30" normalizeH="0" baseline="0" noProof="0" dirty="0">
                    <a:ln>
                      <a:noFill/>
                    </a:ln>
                    <a:solidFill>
                      <a:schemeClr val="accent6"/>
                    </a:solidFill>
                    <a:effectLst/>
                    <a:uLnTx/>
                    <a:uFillTx/>
                    <a:latin typeface="+mn-lt"/>
                    <a:ea typeface="Chronicle Display Black" charset="0"/>
                    <a:cs typeface="Chronicle Display Black" charset="0"/>
                  </a:rPr>
                  <a:t>Transactional</a:t>
                </a:r>
                <a:endParaRPr kumimoji="0" lang="en-US" sz="700" b="0" i="0" u="none" strike="noStrike" kern="1200" cap="none" spc="-30" normalizeH="0" baseline="0" noProof="0" dirty="0">
                  <a:ln>
                    <a:noFill/>
                  </a:ln>
                  <a:solidFill>
                    <a:schemeClr val="accent6"/>
                  </a:solidFill>
                  <a:effectLst/>
                  <a:uLnTx/>
                  <a:uFillTx/>
                  <a:latin typeface="+mn-lt"/>
                  <a:cs typeface="Calibri Light" panose="020F0302020204030204" pitchFamily="34" charset="0"/>
                </a:endParaRPr>
              </a:p>
            </p:txBody>
          </p:sp>
          <p:grpSp>
            <p:nvGrpSpPr>
              <p:cNvPr id="78" name="Group 77">
                <a:extLst>
                  <a:ext uri="{FF2B5EF4-FFF2-40B4-BE49-F238E27FC236}">
                    <a16:creationId xmlns:a16="http://schemas.microsoft.com/office/drawing/2014/main" id="{DEE852A5-2048-4939-9A5D-7B7141318F77}"/>
                  </a:ext>
                </a:extLst>
              </p:cNvPr>
              <p:cNvGrpSpPr>
                <a:grpSpLocks noChangeAspect="1"/>
              </p:cNvGrpSpPr>
              <p:nvPr/>
            </p:nvGrpSpPr>
            <p:grpSpPr>
              <a:xfrm>
                <a:off x="4092832" y="152935"/>
                <a:ext cx="276092" cy="215028"/>
                <a:chOff x="10825163" y="5303838"/>
                <a:chExt cx="509587" cy="396875"/>
              </a:xfrm>
              <a:solidFill>
                <a:schemeClr val="tx1"/>
              </a:solidFill>
            </p:grpSpPr>
            <p:sp>
              <p:nvSpPr>
                <p:cNvPr id="79" name="Freeform 472">
                  <a:extLst>
                    <a:ext uri="{FF2B5EF4-FFF2-40B4-BE49-F238E27FC236}">
                      <a16:creationId xmlns:a16="http://schemas.microsoft.com/office/drawing/2014/main" id="{E126E92B-BFF2-4F8C-A534-5916826622A6}"/>
                    </a:ext>
                  </a:extLst>
                </p:cNvPr>
                <p:cNvSpPr>
                  <a:spLocks noEditPoints="1"/>
                </p:cNvSpPr>
                <p:nvPr/>
              </p:nvSpPr>
              <p:spPr bwMode="auto">
                <a:xfrm>
                  <a:off x="11022013" y="5426075"/>
                  <a:ext cx="120650" cy="160337"/>
                </a:xfrm>
                <a:custGeom>
                  <a:avLst/>
                  <a:gdLst>
                    <a:gd name="T0" fmla="*/ 28 w 51"/>
                    <a:gd name="T1" fmla="*/ 28 h 68"/>
                    <a:gd name="T2" fmla="*/ 23 w 51"/>
                    <a:gd name="T3" fmla="*/ 12 h 68"/>
                    <a:gd name="T4" fmla="*/ 32 w 51"/>
                    <a:gd name="T5" fmla="*/ 13 h 68"/>
                    <a:gd name="T6" fmla="*/ 35 w 51"/>
                    <a:gd name="T7" fmla="*/ 13 h 68"/>
                    <a:gd name="T8" fmla="*/ 37 w 51"/>
                    <a:gd name="T9" fmla="*/ 11 h 68"/>
                    <a:gd name="T10" fmla="*/ 38 w 51"/>
                    <a:gd name="T11" fmla="*/ 8 h 68"/>
                    <a:gd name="T12" fmla="*/ 34 w 51"/>
                    <a:gd name="T13" fmla="*/ 5 h 68"/>
                    <a:gd name="T14" fmla="*/ 21 w 51"/>
                    <a:gd name="T15" fmla="*/ 4 h 68"/>
                    <a:gd name="T16" fmla="*/ 20 w 51"/>
                    <a:gd name="T17" fmla="*/ 3 h 68"/>
                    <a:gd name="T18" fmla="*/ 16 w 51"/>
                    <a:gd name="T19" fmla="*/ 0 h 68"/>
                    <a:gd name="T20" fmla="*/ 13 w 51"/>
                    <a:gd name="T21" fmla="*/ 2 h 68"/>
                    <a:gd name="T22" fmla="*/ 13 w 51"/>
                    <a:gd name="T23" fmla="*/ 5 h 68"/>
                    <a:gd name="T24" fmla="*/ 14 w 51"/>
                    <a:gd name="T25" fmla="*/ 6 h 68"/>
                    <a:gd name="T26" fmla="*/ 2 w 51"/>
                    <a:gd name="T27" fmla="*/ 26 h 68"/>
                    <a:gd name="T28" fmla="*/ 23 w 51"/>
                    <a:gd name="T29" fmla="*/ 37 h 68"/>
                    <a:gd name="T30" fmla="*/ 28 w 51"/>
                    <a:gd name="T31" fmla="*/ 53 h 68"/>
                    <a:gd name="T32" fmla="*/ 15 w 51"/>
                    <a:gd name="T33" fmla="*/ 51 h 68"/>
                    <a:gd name="T34" fmla="*/ 12 w 51"/>
                    <a:gd name="T35" fmla="*/ 51 h 68"/>
                    <a:gd name="T36" fmla="*/ 9 w 51"/>
                    <a:gd name="T37" fmla="*/ 56 h 68"/>
                    <a:gd name="T38" fmla="*/ 12 w 51"/>
                    <a:gd name="T39" fmla="*/ 59 h 68"/>
                    <a:gd name="T40" fmla="*/ 30 w 51"/>
                    <a:gd name="T41" fmla="*/ 61 h 68"/>
                    <a:gd name="T42" fmla="*/ 31 w 51"/>
                    <a:gd name="T43" fmla="*/ 66 h 68"/>
                    <a:gd name="T44" fmla="*/ 35 w 51"/>
                    <a:gd name="T45" fmla="*/ 68 h 68"/>
                    <a:gd name="T46" fmla="*/ 36 w 51"/>
                    <a:gd name="T47" fmla="*/ 68 h 68"/>
                    <a:gd name="T48" fmla="*/ 38 w 51"/>
                    <a:gd name="T49" fmla="*/ 63 h 68"/>
                    <a:gd name="T50" fmla="*/ 37 w 51"/>
                    <a:gd name="T51" fmla="*/ 59 h 68"/>
                    <a:gd name="T52" fmla="*/ 49 w 51"/>
                    <a:gd name="T53" fmla="*/ 39 h 68"/>
                    <a:gd name="T54" fmla="*/ 28 w 51"/>
                    <a:gd name="T55" fmla="*/ 28 h 68"/>
                    <a:gd name="T56" fmla="*/ 20 w 51"/>
                    <a:gd name="T57" fmla="*/ 28 h 68"/>
                    <a:gd name="T58" fmla="*/ 10 w 51"/>
                    <a:gd name="T59" fmla="*/ 23 h 68"/>
                    <a:gd name="T60" fmla="*/ 16 w 51"/>
                    <a:gd name="T61" fmla="*/ 13 h 68"/>
                    <a:gd name="T62" fmla="*/ 20 w 51"/>
                    <a:gd name="T63" fmla="*/ 28 h 68"/>
                    <a:gd name="T64" fmla="*/ 35 w 51"/>
                    <a:gd name="T65" fmla="*/ 52 h 68"/>
                    <a:gd name="T66" fmla="*/ 30 w 51"/>
                    <a:gd name="T67" fmla="*/ 36 h 68"/>
                    <a:gd name="T68" fmla="*/ 30 w 51"/>
                    <a:gd name="T69" fmla="*/ 36 h 68"/>
                    <a:gd name="T70" fmla="*/ 41 w 51"/>
                    <a:gd name="T71" fmla="*/ 42 h 68"/>
                    <a:gd name="T72" fmla="*/ 35 w 51"/>
                    <a:gd name="T73" fmla="*/ 5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 h="68">
                      <a:moveTo>
                        <a:pt x="28" y="28"/>
                      </a:moveTo>
                      <a:cubicBezTo>
                        <a:pt x="23" y="12"/>
                        <a:pt x="23" y="12"/>
                        <a:pt x="23" y="12"/>
                      </a:cubicBezTo>
                      <a:cubicBezTo>
                        <a:pt x="26" y="12"/>
                        <a:pt x="29" y="12"/>
                        <a:pt x="32" y="13"/>
                      </a:cubicBezTo>
                      <a:cubicBezTo>
                        <a:pt x="33" y="14"/>
                        <a:pt x="34" y="13"/>
                        <a:pt x="35" y="13"/>
                      </a:cubicBezTo>
                      <a:cubicBezTo>
                        <a:pt x="36" y="13"/>
                        <a:pt x="37" y="12"/>
                        <a:pt x="37" y="11"/>
                      </a:cubicBezTo>
                      <a:cubicBezTo>
                        <a:pt x="38" y="10"/>
                        <a:pt x="38" y="9"/>
                        <a:pt x="38" y="8"/>
                      </a:cubicBezTo>
                      <a:cubicBezTo>
                        <a:pt x="37" y="6"/>
                        <a:pt x="36" y="6"/>
                        <a:pt x="34" y="5"/>
                      </a:cubicBezTo>
                      <a:cubicBezTo>
                        <a:pt x="30" y="4"/>
                        <a:pt x="25" y="3"/>
                        <a:pt x="21" y="4"/>
                      </a:cubicBezTo>
                      <a:cubicBezTo>
                        <a:pt x="20" y="3"/>
                        <a:pt x="20" y="3"/>
                        <a:pt x="20" y="3"/>
                      </a:cubicBezTo>
                      <a:cubicBezTo>
                        <a:pt x="20" y="1"/>
                        <a:pt x="18" y="0"/>
                        <a:pt x="16" y="0"/>
                      </a:cubicBezTo>
                      <a:cubicBezTo>
                        <a:pt x="15" y="0"/>
                        <a:pt x="14" y="1"/>
                        <a:pt x="13" y="2"/>
                      </a:cubicBezTo>
                      <a:cubicBezTo>
                        <a:pt x="13" y="3"/>
                        <a:pt x="13" y="4"/>
                        <a:pt x="13" y="5"/>
                      </a:cubicBezTo>
                      <a:cubicBezTo>
                        <a:pt x="14" y="6"/>
                        <a:pt x="14" y="6"/>
                        <a:pt x="14" y="6"/>
                      </a:cubicBezTo>
                      <a:cubicBezTo>
                        <a:pt x="4" y="10"/>
                        <a:pt x="0" y="18"/>
                        <a:pt x="2" y="26"/>
                      </a:cubicBezTo>
                      <a:cubicBezTo>
                        <a:pt x="4" y="34"/>
                        <a:pt x="11" y="37"/>
                        <a:pt x="23" y="37"/>
                      </a:cubicBezTo>
                      <a:cubicBezTo>
                        <a:pt x="28" y="53"/>
                        <a:pt x="28" y="53"/>
                        <a:pt x="28" y="53"/>
                      </a:cubicBezTo>
                      <a:cubicBezTo>
                        <a:pt x="23" y="54"/>
                        <a:pt x="19" y="53"/>
                        <a:pt x="15" y="51"/>
                      </a:cubicBezTo>
                      <a:cubicBezTo>
                        <a:pt x="14" y="51"/>
                        <a:pt x="13" y="51"/>
                        <a:pt x="12" y="51"/>
                      </a:cubicBezTo>
                      <a:cubicBezTo>
                        <a:pt x="10" y="52"/>
                        <a:pt x="8" y="54"/>
                        <a:pt x="9" y="56"/>
                      </a:cubicBezTo>
                      <a:cubicBezTo>
                        <a:pt x="9" y="57"/>
                        <a:pt x="10" y="58"/>
                        <a:pt x="12" y="59"/>
                      </a:cubicBezTo>
                      <a:cubicBezTo>
                        <a:pt x="18" y="61"/>
                        <a:pt x="24" y="62"/>
                        <a:pt x="30" y="61"/>
                      </a:cubicBezTo>
                      <a:cubicBezTo>
                        <a:pt x="31" y="66"/>
                        <a:pt x="31" y="66"/>
                        <a:pt x="31" y="66"/>
                      </a:cubicBezTo>
                      <a:cubicBezTo>
                        <a:pt x="32" y="67"/>
                        <a:pt x="33" y="68"/>
                        <a:pt x="35" y="68"/>
                      </a:cubicBezTo>
                      <a:cubicBezTo>
                        <a:pt x="35" y="68"/>
                        <a:pt x="35" y="68"/>
                        <a:pt x="36" y="68"/>
                      </a:cubicBezTo>
                      <a:cubicBezTo>
                        <a:pt x="38" y="67"/>
                        <a:pt x="39" y="65"/>
                        <a:pt x="38" y="63"/>
                      </a:cubicBezTo>
                      <a:cubicBezTo>
                        <a:pt x="37" y="59"/>
                        <a:pt x="37" y="59"/>
                        <a:pt x="37" y="59"/>
                      </a:cubicBezTo>
                      <a:cubicBezTo>
                        <a:pt x="46" y="55"/>
                        <a:pt x="51" y="47"/>
                        <a:pt x="49" y="39"/>
                      </a:cubicBezTo>
                      <a:cubicBezTo>
                        <a:pt x="46" y="31"/>
                        <a:pt x="40" y="28"/>
                        <a:pt x="28" y="28"/>
                      </a:cubicBezTo>
                      <a:close/>
                      <a:moveTo>
                        <a:pt x="20" y="28"/>
                      </a:moveTo>
                      <a:cubicBezTo>
                        <a:pt x="13" y="28"/>
                        <a:pt x="11" y="26"/>
                        <a:pt x="10" y="23"/>
                      </a:cubicBezTo>
                      <a:cubicBezTo>
                        <a:pt x="9" y="19"/>
                        <a:pt x="11" y="15"/>
                        <a:pt x="16" y="13"/>
                      </a:cubicBezTo>
                      <a:lnTo>
                        <a:pt x="20" y="28"/>
                      </a:lnTo>
                      <a:close/>
                      <a:moveTo>
                        <a:pt x="35" y="52"/>
                      </a:moveTo>
                      <a:cubicBezTo>
                        <a:pt x="30" y="36"/>
                        <a:pt x="30" y="36"/>
                        <a:pt x="30" y="36"/>
                      </a:cubicBezTo>
                      <a:cubicBezTo>
                        <a:pt x="30" y="36"/>
                        <a:pt x="30" y="36"/>
                        <a:pt x="30" y="36"/>
                      </a:cubicBezTo>
                      <a:cubicBezTo>
                        <a:pt x="38" y="36"/>
                        <a:pt x="40" y="38"/>
                        <a:pt x="41" y="42"/>
                      </a:cubicBezTo>
                      <a:cubicBezTo>
                        <a:pt x="42" y="46"/>
                        <a:pt x="40" y="50"/>
                        <a:pt x="35" y="5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80" name="Freeform 473">
                  <a:extLst>
                    <a:ext uri="{FF2B5EF4-FFF2-40B4-BE49-F238E27FC236}">
                      <a16:creationId xmlns:a16="http://schemas.microsoft.com/office/drawing/2014/main" id="{16BF1F5C-C0A7-4D43-80D0-A3C904DA5C5B}"/>
                    </a:ext>
                  </a:extLst>
                </p:cNvPr>
                <p:cNvSpPr>
                  <a:spLocks noEditPoints="1"/>
                </p:cNvSpPr>
                <p:nvPr/>
              </p:nvSpPr>
              <p:spPr bwMode="auto">
                <a:xfrm>
                  <a:off x="10825163" y="5303838"/>
                  <a:ext cx="509587" cy="396875"/>
                </a:xfrm>
                <a:custGeom>
                  <a:avLst/>
                  <a:gdLst>
                    <a:gd name="T0" fmla="*/ 214 w 215"/>
                    <a:gd name="T1" fmla="*/ 113 h 167"/>
                    <a:gd name="T2" fmla="*/ 215 w 215"/>
                    <a:gd name="T3" fmla="*/ 109 h 167"/>
                    <a:gd name="T4" fmla="*/ 184 w 215"/>
                    <a:gd name="T5" fmla="*/ 4 h 167"/>
                    <a:gd name="T6" fmla="*/ 181 w 215"/>
                    <a:gd name="T7" fmla="*/ 1 h 167"/>
                    <a:gd name="T8" fmla="*/ 178 w 215"/>
                    <a:gd name="T9" fmla="*/ 1 h 167"/>
                    <a:gd name="T10" fmla="*/ 4 w 215"/>
                    <a:gd name="T11" fmla="*/ 52 h 167"/>
                    <a:gd name="T12" fmla="*/ 1 w 215"/>
                    <a:gd name="T13" fmla="*/ 55 h 167"/>
                    <a:gd name="T14" fmla="*/ 1 w 215"/>
                    <a:gd name="T15" fmla="*/ 58 h 167"/>
                    <a:gd name="T16" fmla="*/ 23 w 215"/>
                    <a:gd name="T17" fmla="*/ 135 h 167"/>
                    <a:gd name="T18" fmla="*/ 23 w 215"/>
                    <a:gd name="T19" fmla="*/ 135 h 167"/>
                    <a:gd name="T20" fmla="*/ 23 w 215"/>
                    <a:gd name="T21" fmla="*/ 135 h 167"/>
                    <a:gd name="T22" fmla="*/ 32 w 215"/>
                    <a:gd name="T23" fmla="*/ 163 h 167"/>
                    <a:gd name="T24" fmla="*/ 36 w 215"/>
                    <a:gd name="T25" fmla="*/ 167 h 167"/>
                    <a:gd name="T26" fmla="*/ 38 w 215"/>
                    <a:gd name="T27" fmla="*/ 166 h 167"/>
                    <a:gd name="T28" fmla="*/ 212 w 215"/>
                    <a:gd name="T29" fmla="*/ 115 h 167"/>
                    <a:gd name="T30" fmla="*/ 214 w 215"/>
                    <a:gd name="T31" fmla="*/ 113 h 167"/>
                    <a:gd name="T32" fmla="*/ 175 w 215"/>
                    <a:gd name="T33" fmla="*/ 116 h 167"/>
                    <a:gd name="T34" fmla="*/ 67 w 215"/>
                    <a:gd name="T35" fmla="*/ 147 h 167"/>
                    <a:gd name="T36" fmla="*/ 31 w 215"/>
                    <a:gd name="T37" fmla="*/ 128 h 167"/>
                    <a:gd name="T38" fmla="*/ 20 w 215"/>
                    <a:gd name="T39" fmla="*/ 88 h 167"/>
                    <a:gd name="T40" fmla="*/ 35 w 215"/>
                    <a:gd name="T41" fmla="*/ 73 h 167"/>
                    <a:gd name="T42" fmla="*/ 39 w 215"/>
                    <a:gd name="T43" fmla="*/ 52 h 167"/>
                    <a:gd name="T44" fmla="*/ 149 w 215"/>
                    <a:gd name="T45" fmla="*/ 20 h 167"/>
                    <a:gd name="T46" fmla="*/ 163 w 215"/>
                    <a:gd name="T47" fmla="*/ 36 h 167"/>
                    <a:gd name="T48" fmla="*/ 178 w 215"/>
                    <a:gd name="T49" fmla="*/ 40 h 167"/>
                    <a:gd name="T50" fmla="*/ 184 w 215"/>
                    <a:gd name="T51" fmla="*/ 39 h 167"/>
                    <a:gd name="T52" fmla="*/ 196 w 215"/>
                    <a:gd name="T53" fmla="*/ 78 h 167"/>
                    <a:gd name="T54" fmla="*/ 175 w 215"/>
                    <a:gd name="T55" fmla="*/ 116 h 167"/>
                    <a:gd name="T56" fmla="*/ 181 w 215"/>
                    <a:gd name="T57" fmla="*/ 29 h 167"/>
                    <a:gd name="T58" fmla="*/ 168 w 215"/>
                    <a:gd name="T59" fmla="*/ 27 h 167"/>
                    <a:gd name="T60" fmla="*/ 158 w 215"/>
                    <a:gd name="T61" fmla="*/ 17 h 167"/>
                    <a:gd name="T62" fmla="*/ 176 w 215"/>
                    <a:gd name="T63" fmla="*/ 11 h 167"/>
                    <a:gd name="T64" fmla="*/ 181 w 215"/>
                    <a:gd name="T65" fmla="*/ 29 h 167"/>
                    <a:gd name="T66" fmla="*/ 30 w 215"/>
                    <a:gd name="T67" fmla="*/ 55 h 167"/>
                    <a:gd name="T68" fmla="*/ 27 w 215"/>
                    <a:gd name="T69" fmla="*/ 69 h 167"/>
                    <a:gd name="T70" fmla="*/ 17 w 215"/>
                    <a:gd name="T71" fmla="*/ 79 h 167"/>
                    <a:gd name="T72" fmla="*/ 11 w 215"/>
                    <a:gd name="T73" fmla="*/ 60 h 167"/>
                    <a:gd name="T74" fmla="*/ 30 w 215"/>
                    <a:gd name="T75" fmla="*/ 55 h 167"/>
                    <a:gd name="T76" fmla="*/ 34 w 215"/>
                    <a:gd name="T77" fmla="*/ 137 h 167"/>
                    <a:gd name="T78" fmla="*/ 58 w 215"/>
                    <a:gd name="T79" fmla="*/ 150 h 167"/>
                    <a:gd name="T80" fmla="*/ 40 w 215"/>
                    <a:gd name="T81" fmla="*/ 156 h 167"/>
                    <a:gd name="T82" fmla="*/ 34 w 215"/>
                    <a:gd name="T83" fmla="*/ 137 h 167"/>
                    <a:gd name="T84" fmla="*/ 184 w 215"/>
                    <a:gd name="T85" fmla="*/ 113 h 167"/>
                    <a:gd name="T86" fmla="*/ 198 w 215"/>
                    <a:gd name="T87" fmla="*/ 87 h 167"/>
                    <a:gd name="T88" fmla="*/ 204 w 215"/>
                    <a:gd name="T89" fmla="*/ 107 h 167"/>
                    <a:gd name="T90" fmla="*/ 184 w 215"/>
                    <a:gd name="T91" fmla="*/ 113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5" h="167">
                      <a:moveTo>
                        <a:pt x="214" y="113"/>
                      </a:moveTo>
                      <a:cubicBezTo>
                        <a:pt x="215" y="111"/>
                        <a:pt x="215" y="110"/>
                        <a:pt x="215" y="109"/>
                      </a:cubicBezTo>
                      <a:cubicBezTo>
                        <a:pt x="184" y="4"/>
                        <a:pt x="184" y="4"/>
                        <a:pt x="184" y="4"/>
                      </a:cubicBezTo>
                      <a:cubicBezTo>
                        <a:pt x="183" y="3"/>
                        <a:pt x="183" y="2"/>
                        <a:pt x="181" y="1"/>
                      </a:cubicBezTo>
                      <a:cubicBezTo>
                        <a:pt x="180" y="1"/>
                        <a:pt x="179" y="0"/>
                        <a:pt x="178" y="1"/>
                      </a:cubicBezTo>
                      <a:cubicBezTo>
                        <a:pt x="4" y="52"/>
                        <a:pt x="4" y="52"/>
                        <a:pt x="4" y="52"/>
                      </a:cubicBezTo>
                      <a:cubicBezTo>
                        <a:pt x="3" y="53"/>
                        <a:pt x="2" y="53"/>
                        <a:pt x="1" y="55"/>
                      </a:cubicBezTo>
                      <a:cubicBezTo>
                        <a:pt x="0" y="56"/>
                        <a:pt x="0" y="57"/>
                        <a:pt x="1" y="58"/>
                      </a:cubicBezTo>
                      <a:cubicBezTo>
                        <a:pt x="23" y="135"/>
                        <a:pt x="23" y="135"/>
                        <a:pt x="23" y="135"/>
                      </a:cubicBezTo>
                      <a:cubicBezTo>
                        <a:pt x="23" y="135"/>
                        <a:pt x="23" y="135"/>
                        <a:pt x="23" y="135"/>
                      </a:cubicBezTo>
                      <a:cubicBezTo>
                        <a:pt x="23" y="135"/>
                        <a:pt x="23" y="135"/>
                        <a:pt x="23" y="135"/>
                      </a:cubicBezTo>
                      <a:cubicBezTo>
                        <a:pt x="32" y="163"/>
                        <a:pt x="32" y="163"/>
                        <a:pt x="32" y="163"/>
                      </a:cubicBezTo>
                      <a:cubicBezTo>
                        <a:pt x="32" y="165"/>
                        <a:pt x="34" y="167"/>
                        <a:pt x="36" y="167"/>
                      </a:cubicBezTo>
                      <a:cubicBezTo>
                        <a:pt x="37" y="167"/>
                        <a:pt x="37" y="166"/>
                        <a:pt x="38" y="166"/>
                      </a:cubicBezTo>
                      <a:cubicBezTo>
                        <a:pt x="212" y="115"/>
                        <a:pt x="212" y="115"/>
                        <a:pt x="212" y="115"/>
                      </a:cubicBezTo>
                      <a:cubicBezTo>
                        <a:pt x="213" y="115"/>
                        <a:pt x="214" y="114"/>
                        <a:pt x="214" y="113"/>
                      </a:cubicBezTo>
                      <a:close/>
                      <a:moveTo>
                        <a:pt x="175" y="116"/>
                      </a:moveTo>
                      <a:cubicBezTo>
                        <a:pt x="67" y="147"/>
                        <a:pt x="67" y="147"/>
                        <a:pt x="67" y="147"/>
                      </a:cubicBezTo>
                      <a:cubicBezTo>
                        <a:pt x="61" y="134"/>
                        <a:pt x="46" y="126"/>
                        <a:pt x="31" y="128"/>
                      </a:cubicBezTo>
                      <a:cubicBezTo>
                        <a:pt x="20" y="88"/>
                        <a:pt x="20" y="88"/>
                        <a:pt x="20" y="88"/>
                      </a:cubicBezTo>
                      <a:cubicBezTo>
                        <a:pt x="26" y="85"/>
                        <a:pt x="32" y="80"/>
                        <a:pt x="35" y="73"/>
                      </a:cubicBezTo>
                      <a:cubicBezTo>
                        <a:pt x="39" y="67"/>
                        <a:pt x="40" y="59"/>
                        <a:pt x="39" y="52"/>
                      </a:cubicBezTo>
                      <a:cubicBezTo>
                        <a:pt x="149" y="20"/>
                        <a:pt x="149" y="20"/>
                        <a:pt x="149" y="20"/>
                      </a:cubicBezTo>
                      <a:cubicBezTo>
                        <a:pt x="152" y="26"/>
                        <a:pt x="157" y="32"/>
                        <a:pt x="163" y="36"/>
                      </a:cubicBezTo>
                      <a:cubicBezTo>
                        <a:pt x="168" y="38"/>
                        <a:pt x="173" y="40"/>
                        <a:pt x="178" y="40"/>
                      </a:cubicBezTo>
                      <a:cubicBezTo>
                        <a:pt x="180" y="40"/>
                        <a:pt x="182" y="39"/>
                        <a:pt x="184" y="39"/>
                      </a:cubicBezTo>
                      <a:cubicBezTo>
                        <a:pt x="196" y="78"/>
                        <a:pt x="196" y="78"/>
                        <a:pt x="196" y="78"/>
                      </a:cubicBezTo>
                      <a:cubicBezTo>
                        <a:pt x="181" y="84"/>
                        <a:pt x="172" y="100"/>
                        <a:pt x="175" y="116"/>
                      </a:cubicBezTo>
                      <a:close/>
                      <a:moveTo>
                        <a:pt x="181" y="29"/>
                      </a:moveTo>
                      <a:cubicBezTo>
                        <a:pt x="177" y="30"/>
                        <a:pt x="172" y="30"/>
                        <a:pt x="168" y="27"/>
                      </a:cubicBezTo>
                      <a:cubicBezTo>
                        <a:pt x="163" y="25"/>
                        <a:pt x="160" y="21"/>
                        <a:pt x="158" y="17"/>
                      </a:cubicBezTo>
                      <a:cubicBezTo>
                        <a:pt x="176" y="11"/>
                        <a:pt x="176" y="11"/>
                        <a:pt x="176" y="11"/>
                      </a:cubicBezTo>
                      <a:lnTo>
                        <a:pt x="181" y="29"/>
                      </a:lnTo>
                      <a:close/>
                      <a:moveTo>
                        <a:pt x="30" y="55"/>
                      </a:moveTo>
                      <a:cubicBezTo>
                        <a:pt x="30" y="59"/>
                        <a:pt x="29" y="64"/>
                        <a:pt x="27" y="69"/>
                      </a:cubicBezTo>
                      <a:cubicBezTo>
                        <a:pt x="25" y="73"/>
                        <a:pt x="21" y="76"/>
                        <a:pt x="17" y="79"/>
                      </a:cubicBezTo>
                      <a:cubicBezTo>
                        <a:pt x="11" y="60"/>
                        <a:pt x="11" y="60"/>
                        <a:pt x="11" y="60"/>
                      </a:cubicBezTo>
                      <a:lnTo>
                        <a:pt x="30" y="55"/>
                      </a:lnTo>
                      <a:close/>
                      <a:moveTo>
                        <a:pt x="34" y="137"/>
                      </a:moveTo>
                      <a:cubicBezTo>
                        <a:pt x="44" y="136"/>
                        <a:pt x="54" y="141"/>
                        <a:pt x="58" y="150"/>
                      </a:cubicBezTo>
                      <a:cubicBezTo>
                        <a:pt x="40" y="156"/>
                        <a:pt x="40" y="156"/>
                        <a:pt x="40" y="156"/>
                      </a:cubicBezTo>
                      <a:lnTo>
                        <a:pt x="34" y="137"/>
                      </a:lnTo>
                      <a:close/>
                      <a:moveTo>
                        <a:pt x="184" y="113"/>
                      </a:moveTo>
                      <a:cubicBezTo>
                        <a:pt x="183" y="102"/>
                        <a:pt x="189" y="91"/>
                        <a:pt x="198" y="87"/>
                      </a:cubicBezTo>
                      <a:cubicBezTo>
                        <a:pt x="204" y="107"/>
                        <a:pt x="204" y="107"/>
                        <a:pt x="204" y="107"/>
                      </a:cubicBezTo>
                      <a:lnTo>
                        <a:pt x="184" y="1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grpSp>
        </p:grpSp>
        <p:grpSp>
          <p:nvGrpSpPr>
            <p:cNvPr id="159" name="Group 158">
              <a:extLst>
                <a:ext uri="{FF2B5EF4-FFF2-40B4-BE49-F238E27FC236}">
                  <a16:creationId xmlns:a16="http://schemas.microsoft.com/office/drawing/2014/main" id="{05414736-CF6D-49DB-8473-D21C7E07174A}"/>
                </a:ext>
              </a:extLst>
            </p:cNvPr>
            <p:cNvGrpSpPr/>
            <p:nvPr/>
          </p:nvGrpSpPr>
          <p:grpSpPr>
            <a:xfrm>
              <a:off x="5885985" y="123585"/>
              <a:ext cx="1152772" cy="273728"/>
              <a:chOff x="5627601" y="123585"/>
              <a:chExt cx="1152772" cy="273728"/>
            </a:xfrm>
          </p:grpSpPr>
          <p:grpSp>
            <p:nvGrpSpPr>
              <p:cNvPr id="9" name="Group 8">
                <a:extLst>
                  <a:ext uri="{FF2B5EF4-FFF2-40B4-BE49-F238E27FC236}">
                    <a16:creationId xmlns:a16="http://schemas.microsoft.com/office/drawing/2014/main" id="{91B987E1-8D45-4FC1-B889-06D1DE37E3E1}"/>
                  </a:ext>
                </a:extLst>
              </p:cNvPr>
              <p:cNvGrpSpPr>
                <a:grpSpLocks noChangeAspect="1"/>
              </p:cNvGrpSpPr>
              <p:nvPr/>
            </p:nvGrpSpPr>
            <p:grpSpPr>
              <a:xfrm>
                <a:off x="5627601" y="123585"/>
                <a:ext cx="278230" cy="273728"/>
                <a:chOff x="10863263" y="3603625"/>
                <a:chExt cx="490537" cy="482601"/>
              </a:xfrm>
              <a:solidFill>
                <a:schemeClr val="accent1"/>
              </a:solidFill>
            </p:grpSpPr>
            <p:sp>
              <p:nvSpPr>
                <p:cNvPr id="10" name="Freeform 456">
                  <a:extLst>
                    <a:ext uri="{FF2B5EF4-FFF2-40B4-BE49-F238E27FC236}">
                      <a16:creationId xmlns:a16="http://schemas.microsoft.com/office/drawing/2014/main" id="{6FDDC654-2EC0-44B0-BA5F-40CE5927DA80}"/>
                    </a:ext>
                  </a:extLst>
                </p:cNvPr>
                <p:cNvSpPr>
                  <a:spLocks/>
                </p:cNvSpPr>
                <p:nvPr/>
              </p:nvSpPr>
              <p:spPr bwMode="auto">
                <a:xfrm>
                  <a:off x="10863263" y="3660775"/>
                  <a:ext cx="490537" cy="319088"/>
                </a:xfrm>
                <a:custGeom>
                  <a:avLst/>
                  <a:gdLst>
                    <a:gd name="T0" fmla="*/ 237 w 241"/>
                    <a:gd name="T1" fmla="*/ 13 h 157"/>
                    <a:gd name="T2" fmla="*/ 231 w 241"/>
                    <a:gd name="T3" fmla="*/ 16 h 157"/>
                    <a:gd name="T4" fmla="*/ 228 w 241"/>
                    <a:gd name="T5" fmla="*/ 28 h 157"/>
                    <a:gd name="T6" fmla="*/ 160 w 241"/>
                    <a:gd name="T7" fmla="*/ 28 h 157"/>
                    <a:gd name="T8" fmla="*/ 155 w 241"/>
                    <a:gd name="T9" fmla="*/ 33 h 157"/>
                    <a:gd name="T10" fmla="*/ 160 w 241"/>
                    <a:gd name="T11" fmla="*/ 38 h 157"/>
                    <a:gd name="T12" fmla="*/ 225 w 241"/>
                    <a:gd name="T13" fmla="*/ 38 h 157"/>
                    <a:gd name="T14" fmla="*/ 207 w 241"/>
                    <a:gd name="T15" fmla="*/ 102 h 157"/>
                    <a:gd name="T16" fmla="*/ 204 w 241"/>
                    <a:gd name="T17" fmla="*/ 105 h 157"/>
                    <a:gd name="T18" fmla="*/ 203 w 241"/>
                    <a:gd name="T19" fmla="*/ 105 h 157"/>
                    <a:gd name="T20" fmla="*/ 64 w 241"/>
                    <a:gd name="T21" fmla="*/ 120 h 157"/>
                    <a:gd name="T22" fmla="*/ 45 w 241"/>
                    <a:gd name="T23" fmla="*/ 38 h 157"/>
                    <a:gd name="T24" fmla="*/ 108 w 241"/>
                    <a:gd name="T25" fmla="*/ 38 h 157"/>
                    <a:gd name="T26" fmla="*/ 113 w 241"/>
                    <a:gd name="T27" fmla="*/ 33 h 157"/>
                    <a:gd name="T28" fmla="*/ 108 w 241"/>
                    <a:gd name="T29" fmla="*/ 28 h 157"/>
                    <a:gd name="T30" fmla="*/ 45 w 241"/>
                    <a:gd name="T31" fmla="*/ 28 h 157"/>
                    <a:gd name="T32" fmla="*/ 49 w 241"/>
                    <a:gd name="T33" fmla="*/ 13 h 157"/>
                    <a:gd name="T34" fmla="*/ 49 w 241"/>
                    <a:gd name="T35" fmla="*/ 11 h 157"/>
                    <a:gd name="T36" fmla="*/ 35 w 241"/>
                    <a:gd name="T37" fmla="*/ 0 h 157"/>
                    <a:gd name="T38" fmla="*/ 5 w 241"/>
                    <a:gd name="T39" fmla="*/ 0 h 157"/>
                    <a:gd name="T40" fmla="*/ 0 w 241"/>
                    <a:gd name="T41" fmla="*/ 5 h 157"/>
                    <a:gd name="T42" fmla="*/ 5 w 241"/>
                    <a:gd name="T43" fmla="*/ 10 h 157"/>
                    <a:gd name="T44" fmla="*/ 35 w 241"/>
                    <a:gd name="T45" fmla="*/ 10 h 157"/>
                    <a:gd name="T46" fmla="*/ 39 w 241"/>
                    <a:gd name="T47" fmla="*/ 12 h 157"/>
                    <a:gd name="T48" fmla="*/ 34 w 241"/>
                    <a:gd name="T49" fmla="*/ 31 h 157"/>
                    <a:gd name="T50" fmla="*/ 34 w 241"/>
                    <a:gd name="T51" fmla="*/ 33 h 157"/>
                    <a:gd name="T52" fmla="*/ 34 w 241"/>
                    <a:gd name="T53" fmla="*/ 33 h 157"/>
                    <a:gd name="T54" fmla="*/ 34 w 241"/>
                    <a:gd name="T55" fmla="*/ 34 h 157"/>
                    <a:gd name="T56" fmla="*/ 34 w 241"/>
                    <a:gd name="T57" fmla="*/ 35 h 157"/>
                    <a:gd name="T58" fmla="*/ 34 w 241"/>
                    <a:gd name="T59" fmla="*/ 35 h 157"/>
                    <a:gd name="T60" fmla="*/ 55 w 241"/>
                    <a:gd name="T61" fmla="*/ 125 h 157"/>
                    <a:gd name="T62" fmla="*/ 50 w 241"/>
                    <a:gd name="T63" fmla="*/ 142 h 157"/>
                    <a:gd name="T64" fmla="*/ 49 w 241"/>
                    <a:gd name="T65" fmla="*/ 143 h 157"/>
                    <a:gd name="T66" fmla="*/ 52 w 241"/>
                    <a:gd name="T67" fmla="*/ 153 h 157"/>
                    <a:gd name="T68" fmla="*/ 61 w 241"/>
                    <a:gd name="T69" fmla="*/ 157 h 157"/>
                    <a:gd name="T70" fmla="*/ 206 w 241"/>
                    <a:gd name="T71" fmla="*/ 157 h 157"/>
                    <a:gd name="T72" fmla="*/ 211 w 241"/>
                    <a:gd name="T73" fmla="*/ 152 h 157"/>
                    <a:gd name="T74" fmla="*/ 206 w 241"/>
                    <a:gd name="T75" fmla="*/ 148 h 157"/>
                    <a:gd name="T76" fmla="*/ 61 w 241"/>
                    <a:gd name="T77" fmla="*/ 148 h 157"/>
                    <a:gd name="T78" fmla="*/ 59 w 241"/>
                    <a:gd name="T79" fmla="*/ 147 h 157"/>
                    <a:gd name="T80" fmla="*/ 59 w 241"/>
                    <a:gd name="T81" fmla="*/ 145 h 157"/>
                    <a:gd name="T82" fmla="*/ 64 w 241"/>
                    <a:gd name="T83" fmla="*/ 130 h 157"/>
                    <a:gd name="T84" fmla="*/ 204 w 241"/>
                    <a:gd name="T85" fmla="*/ 115 h 157"/>
                    <a:gd name="T86" fmla="*/ 217 w 241"/>
                    <a:gd name="T87" fmla="*/ 105 h 157"/>
                    <a:gd name="T88" fmla="*/ 240 w 241"/>
                    <a:gd name="T89" fmla="*/ 19 h 157"/>
                    <a:gd name="T90" fmla="*/ 237 w 241"/>
                    <a:gd name="T91" fmla="*/ 13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1" h="157">
                      <a:moveTo>
                        <a:pt x="237" y="13"/>
                      </a:moveTo>
                      <a:cubicBezTo>
                        <a:pt x="234" y="12"/>
                        <a:pt x="232" y="14"/>
                        <a:pt x="231" y="16"/>
                      </a:cubicBezTo>
                      <a:cubicBezTo>
                        <a:pt x="228" y="28"/>
                        <a:pt x="228" y="28"/>
                        <a:pt x="228" y="28"/>
                      </a:cubicBezTo>
                      <a:cubicBezTo>
                        <a:pt x="160" y="28"/>
                        <a:pt x="160" y="28"/>
                        <a:pt x="160" y="28"/>
                      </a:cubicBezTo>
                      <a:cubicBezTo>
                        <a:pt x="157" y="28"/>
                        <a:pt x="155" y="30"/>
                        <a:pt x="155" y="33"/>
                      </a:cubicBezTo>
                      <a:cubicBezTo>
                        <a:pt x="155" y="36"/>
                        <a:pt x="157" y="38"/>
                        <a:pt x="160" y="38"/>
                      </a:cubicBezTo>
                      <a:cubicBezTo>
                        <a:pt x="225" y="38"/>
                        <a:pt x="225" y="38"/>
                        <a:pt x="225" y="38"/>
                      </a:cubicBezTo>
                      <a:cubicBezTo>
                        <a:pt x="207" y="102"/>
                        <a:pt x="207" y="102"/>
                        <a:pt x="207" y="102"/>
                      </a:cubicBezTo>
                      <a:cubicBezTo>
                        <a:pt x="207" y="104"/>
                        <a:pt x="206" y="105"/>
                        <a:pt x="204" y="105"/>
                      </a:cubicBezTo>
                      <a:cubicBezTo>
                        <a:pt x="204" y="105"/>
                        <a:pt x="203" y="105"/>
                        <a:pt x="203" y="105"/>
                      </a:cubicBezTo>
                      <a:cubicBezTo>
                        <a:pt x="64" y="120"/>
                        <a:pt x="64" y="120"/>
                        <a:pt x="64" y="120"/>
                      </a:cubicBezTo>
                      <a:cubicBezTo>
                        <a:pt x="45" y="38"/>
                        <a:pt x="45" y="38"/>
                        <a:pt x="45" y="38"/>
                      </a:cubicBezTo>
                      <a:cubicBezTo>
                        <a:pt x="108" y="38"/>
                        <a:pt x="108" y="38"/>
                        <a:pt x="108" y="38"/>
                      </a:cubicBezTo>
                      <a:cubicBezTo>
                        <a:pt x="111" y="38"/>
                        <a:pt x="113" y="36"/>
                        <a:pt x="113" y="33"/>
                      </a:cubicBezTo>
                      <a:cubicBezTo>
                        <a:pt x="113" y="30"/>
                        <a:pt x="111" y="28"/>
                        <a:pt x="108" y="28"/>
                      </a:cubicBezTo>
                      <a:cubicBezTo>
                        <a:pt x="45" y="28"/>
                        <a:pt x="45" y="28"/>
                        <a:pt x="45" y="28"/>
                      </a:cubicBezTo>
                      <a:cubicBezTo>
                        <a:pt x="49" y="13"/>
                        <a:pt x="49" y="13"/>
                        <a:pt x="49" y="13"/>
                      </a:cubicBezTo>
                      <a:cubicBezTo>
                        <a:pt x="49" y="13"/>
                        <a:pt x="49" y="12"/>
                        <a:pt x="49" y="11"/>
                      </a:cubicBezTo>
                      <a:cubicBezTo>
                        <a:pt x="47" y="5"/>
                        <a:pt x="42" y="0"/>
                        <a:pt x="35" y="0"/>
                      </a:cubicBezTo>
                      <a:cubicBezTo>
                        <a:pt x="5" y="0"/>
                        <a:pt x="5" y="0"/>
                        <a:pt x="5" y="0"/>
                      </a:cubicBezTo>
                      <a:cubicBezTo>
                        <a:pt x="3" y="0"/>
                        <a:pt x="0" y="3"/>
                        <a:pt x="0" y="5"/>
                      </a:cubicBezTo>
                      <a:cubicBezTo>
                        <a:pt x="0" y="8"/>
                        <a:pt x="3" y="10"/>
                        <a:pt x="5" y="10"/>
                      </a:cubicBezTo>
                      <a:cubicBezTo>
                        <a:pt x="35" y="10"/>
                        <a:pt x="35" y="10"/>
                        <a:pt x="35" y="10"/>
                      </a:cubicBezTo>
                      <a:cubicBezTo>
                        <a:pt x="37" y="10"/>
                        <a:pt x="38" y="11"/>
                        <a:pt x="39" y="12"/>
                      </a:cubicBezTo>
                      <a:cubicBezTo>
                        <a:pt x="34" y="31"/>
                        <a:pt x="34" y="31"/>
                        <a:pt x="34" y="31"/>
                      </a:cubicBezTo>
                      <a:cubicBezTo>
                        <a:pt x="34" y="31"/>
                        <a:pt x="34" y="32"/>
                        <a:pt x="34" y="33"/>
                      </a:cubicBezTo>
                      <a:cubicBezTo>
                        <a:pt x="34" y="33"/>
                        <a:pt x="34" y="33"/>
                        <a:pt x="34" y="33"/>
                      </a:cubicBezTo>
                      <a:cubicBezTo>
                        <a:pt x="34" y="33"/>
                        <a:pt x="34" y="34"/>
                        <a:pt x="34" y="34"/>
                      </a:cubicBezTo>
                      <a:cubicBezTo>
                        <a:pt x="34" y="34"/>
                        <a:pt x="34" y="34"/>
                        <a:pt x="34" y="35"/>
                      </a:cubicBezTo>
                      <a:cubicBezTo>
                        <a:pt x="34" y="35"/>
                        <a:pt x="34" y="35"/>
                        <a:pt x="34" y="35"/>
                      </a:cubicBezTo>
                      <a:cubicBezTo>
                        <a:pt x="55" y="125"/>
                        <a:pt x="55" y="125"/>
                        <a:pt x="55" y="125"/>
                      </a:cubicBezTo>
                      <a:cubicBezTo>
                        <a:pt x="50" y="142"/>
                        <a:pt x="50" y="142"/>
                        <a:pt x="50" y="142"/>
                      </a:cubicBezTo>
                      <a:cubicBezTo>
                        <a:pt x="49" y="143"/>
                        <a:pt x="49" y="143"/>
                        <a:pt x="49" y="143"/>
                      </a:cubicBezTo>
                      <a:cubicBezTo>
                        <a:pt x="49" y="146"/>
                        <a:pt x="50" y="150"/>
                        <a:pt x="52" y="153"/>
                      </a:cubicBezTo>
                      <a:cubicBezTo>
                        <a:pt x="54" y="156"/>
                        <a:pt x="58" y="157"/>
                        <a:pt x="61" y="157"/>
                      </a:cubicBezTo>
                      <a:cubicBezTo>
                        <a:pt x="206" y="157"/>
                        <a:pt x="206" y="157"/>
                        <a:pt x="206" y="157"/>
                      </a:cubicBezTo>
                      <a:cubicBezTo>
                        <a:pt x="209" y="157"/>
                        <a:pt x="211" y="155"/>
                        <a:pt x="211" y="152"/>
                      </a:cubicBezTo>
                      <a:cubicBezTo>
                        <a:pt x="211" y="150"/>
                        <a:pt x="209" y="148"/>
                        <a:pt x="206" y="148"/>
                      </a:cubicBezTo>
                      <a:cubicBezTo>
                        <a:pt x="61" y="148"/>
                        <a:pt x="61" y="148"/>
                        <a:pt x="61" y="148"/>
                      </a:cubicBezTo>
                      <a:cubicBezTo>
                        <a:pt x="61" y="148"/>
                        <a:pt x="60" y="147"/>
                        <a:pt x="59" y="147"/>
                      </a:cubicBezTo>
                      <a:cubicBezTo>
                        <a:pt x="59" y="146"/>
                        <a:pt x="59" y="146"/>
                        <a:pt x="59" y="145"/>
                      </a:cubicBezTo>
                      <a:cubicBezTo>
                        <a:pt x="64" y="130"/>
                        <a:pt x="64" y="130"/>
                        <a:pt x="64" y="130"/>
                      </a:cubicBezTo>
                      <a:cubicBezTo>
                        <a:pt x="204" y="115"/>
                        <a:pt x="204" y="115"/>
                        <a:pt x="204" y="115"/>
                      </a:cubicBezTo>
                      <a:cubicBezTo>
                        <a:pt x="210" y="115"/>
                        <a:pt x="215" y="110"/>
                        <a:pt x="217" y="105"/>
                      </a:cubicBezTo>
                      <a:cubicBezTo>
                        <a:pt x="240" y="19"/>
                        <a:pt x="240" y="19"/>
                        <a:pt x="240" y="19"/>
                      </a:cubicBezTo>
                      <a:cubicBezTo>
                        <a:pt x="241" y="16"/>
                        <a:pt x="239" y="13"/>
                        <a:pt x="237" y="13"/>
                      </a:cubicBezTo>
                      <a:close/>
                    </a:path>
                  </a:pathLst>
                </a:custGeom>
                <a:grp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11" name="Freeform 457">
                  <a:extLst>
                    <a:ext uri="{FF2B5EF4-FFF2-40B4-BE49-F238E27FC236}">
                      <a16:creationId xmlns:a16="http://schemas.microsoft.com/office/drawing/2014/main" id="{836AAFB7-2093-46C9-9AF5-205C9BF55FCA}"/>
                    </a:ext>
                  </a:extLst>
                </p:cNvPr>
                <p:cNvSpPr>
                  <a:spLocks noEditPoints="1"/>
                </p:cNvSpPr>
                <p:nvPr/>
              </p:nvSpPr>
              <p:spPr bwMode="auto">
                <a:xfrm>
                  <a:off x="10964863" y="4005263"/>
                  <a:ext cx="79375" cy="80963"/>
                </a:xfrm>
                <a:custGeom>
                  <a:avLst/>
                  <a:gdLst>
                    <a:gd name="T0" fmla="*/ 19 w 39"/>
                    <a:gd name="T1" fmla="*/ 0 h 40"/>
                    <a:gd name="T2" fmla="*/ 0 w 39"/>
                    <a:gd name="T3" fmla="*/ 20 h 40"/>
                    <a:gd name="T4" fmla="*/ 19 w 39"/>
                    <a:gd name="T5" fmla="*/ 40 h 40"/>
                    <a:gd name="T6" fmla="*/ 39 w 39"/>
                    <a:gd name="T7" fmla="*/ 20 h 40"/>
                    <a:gd name="T8" fmla="*/ 19 w 39"/>
                    <a:gd name="T9" fmla="*/ 0 h 40"/>
                    <a:gd name="T10" fmla="*/ 19 w 39"/>
                    <a:gd name="T11" fmla="*/ 30 h 40"/>
                    <a:gd name="T12" fmla="*/ 10 w 39"/>
                    <a:gd name="T13" fmla="*/ 20 h 40"/>
                    <a:gd name="T14" fmla="*/ 19 w 39"/>
                    <a:gd name="T15" fmla="*/ 10 h 40"/>
                    <a:gd name="T16" fmla="*/ 29 w 39"/>
                    <a:gd name="T17" fmla="*/ 20 h 40"/>
                    <a:gd name="T18" fmla="*/ 19 w 39"/>
                    <a:gd name="T19" fmla="*/ 3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40">
                      <a:moveTo>
                        <a:pt x="19" y="0"/>
                      </a:moveTo>
                      <a:cubicBezTo>
                        <a:pt x="9" y="0"/>
                        <a:pt x="0" y="9"/>
                        <a:pt x="0" y="20"/>
                      </a:cubicBezTo>
                      <a:cubicBezTo>
                        <a:pt x="0" y="31"/>
                        <a:pt x="9" y="40"/>
                        <a:pt x="19" y="40"/>
                      </a:cubicBezTo>
                      <a:cubicBezTo>
                        <a:pt x="30" y="40"/>
                        <a:pt x="39" y="31"/>
                        <a:pt x="39" y="20"/>
                      </a:cubicBezTo>
                      <a:cubicBezTo>
                        <a:pt x="39" y="9"/>
                        <a:pt x="30" y="0"/>
                        <a:pt x="19" y="0"/>
                      </a:cubicBezTo>
                      <a:close/>
                      <a:moveTo>
                        <a:pt x="19" y="30"/>
                      </a:moveTo>
                      <a:cubicBezTo>
                        <a:pt x="14" y="30"/>
                        <a:pt x="10" y="26"/>
                        <a:pt x="10" y="20"/>
                      </a:cubicBezTo>
                      <a:cubicBezTo>
                        <a:pt x="10" y="15"/>
                        <a:pt x="14" y="10"/>
                        <a:pt x="19" y="10"/>
                      </a:cubicBezTo>
                      <a:cubicBezTo>
                        <a:pt x="25" y="10"/>
                        <a:pt x="29" y="15"/>
                        <a:pt x="29" y="20"/>
                      </a:cubicBezTo>
                      <a:cubicBezTo>
                        <a:pt x="29" y="26"/>
                        <a:pt x="25" y="30"/>
                        <a:pt x="19" y="30"/>
                      </a:cubicBezTo>
                      <a:close/>
                    </a:path>
                  </a:pathLst>
                </a:custGeom>
                <a:grp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12" name="Freeform 458">
                  <a:extLst>
                    <a:ext uri="{FF2B5EF4-FFF2-40B4-BE49-F238E27FC236}">
                      <a16:creationId xmlns:a16="http://schemas.microsoft.com/office/drawing/2014/main" id="{90D2A036-F991-4246-BC7F-4959379E54C7}"/>
                    </a:ext>
                  </a:extLst>
                </p:cNvPr>
                <p:cNvSpPr>
                  <a:spLocks noEditPoints="1"/>
                </p:cNvSpPr>
                <p:nvPr/>
              </p:nvSpPr>
              <p:spPr bwMode="auto">
                <a:xfrm>
                  <a:off x="11201400" y="4005263"/>
                  <a:ext cx="79375" cy="80963"/>
                </a:xfrm>
                <a:custGeom>
                  <a:avLst/>
                  <a:gdLst>
                    <a:gd name="T0" fmla="*/ 20 w 39"/>
                    <a:gd name="T1" fmla="*/ 0 h 40"/>
                    <a:gd name="T2" fmla="*/ 0 w 39"/>
                    <a:gd name="T3" fmla="*/ 20 h 40"/>
                    <a:gd name="T4" fmla="*/ 20 w 39"/>
                    <a:gd name="T5" fmla="*/ 40 h 40"/>
                    <a:gd name="T6" fmla="*/ 39 w 39"/>
                    <a:gd name="T7" fmla="*/ 20 h 40"/>
                    <a:gd name="T8" fmla="*/ 20 w 39"/>
                    <a:gd name="T9" fmla="*/ 0 h 40"/>
                    <a:gd name="T10" fmla="*/ 20 w 39"/>
                    <a:gd name="T11" fmla="*/ 30 h 40"/>
                    <a:gd name="T12" fmla="*/ 10 w 39"/>
                    <a:gd name="T13" fmla="*/ 20 h 40"/>
                    <a:gd name="T14" fmla="*/ 20 w 39"/>
                    <a:gd name="T15" fmla="*/ 10 h 40"/>
                    <a:gd name="T16" fmla="*/ 29 w 39"/>
                    <a:gd name="T17" fmla="*/ 20 h 40"/>
                    <a:gd name="T18" fmla="*/ 20 w 39"/>
                    <a:gd name="T19" fmla="*/ 3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40">
                      <a:moveTo>
                        <a:pt x="20" y="0"/>
                      </a:moveTo>
                      <a:cubicBezTo>
                        <a:pt x="9" y="0"/>
                        <a:pt x="0" y="9"/>
                        <a:pt x="0" y="20"/>
                      </a:cubicBezTo>
                      <a:cubicBezTo>
                        <a:pt x="0" y="31"/>
                        <a:pt x="9" y="40"/>
                        <a:pt x="20" y="40"/>
                      </a:cubicBezTo>
                      <a:cubicBezTo>
                        <a:pt x="30" y="40"/>
                        <a:pt x="39" y="31"/>
                        <a:pt x="39" y="20"/>
                      </a:cubicBezTo>
                      <a:cubicBezTo>
                        <a:pt x="39" y="9"/>
                        <a:pt x="30" y="0"/>
                        <a:pt x="20" y="0"/>
                      </a:cubicBezTo>
                      <a:close/>
                      <a:moveTo>
                        <a:pt x="20" y="30"/>
                      </a:moveTo>
                      <a:cubicBezTo>
                        <a:pt x="14" y="30"/>
                        <a:pt x="10" y="26"/>
                        <a:pt x="10" y="20"/>
                      </a:cubicBezTo>
                      <a:cubicBezTo>
                        <a:pt x="10" y="15"/>
                        <a:pt x="14" y="10"/>
                        <a:pt x="20" y="10"/>
                      </a:cubicBezTo>
                      <a:cubicBezTo>
                        <a:pt x="25" y="10"/>
                        <a:pt x="29" y="15"/>
                        <a:pt x="29" y="20"/>
                      </a:cubicBezTo>
                      <a:cubicBezTo>
                        <a:pt x="29" y="26"/>
                        <a:pt x="25" y="30"/>
                        <a:pt x="20" y="30"/>
                      </a:cubicBezTo>
                      <a:close/>
                    </a:path>
                  </a:pathLst>
                </a:custGeom>
                <a:grp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13" name="Freeform 459">
                  <a:extLst>
                    <a:ext uri="{FF2B5EF4-FFF2-40B4-BE49-F238E27FC236}">
                      <a16:creationId xmlns:a16="http://schemas.microsoft.com/office/drawing/2014/main" id="{92D4F0CE-4D77-47D7-9A5B-B9AEA26DC875}"/>
                    </a:ext>
                  </a:extLst>
                </p:cNvPr>
                <p:cNvSpPr>
                  <a:spLocks/>
                </p:cNvSpPr>
                <p:nvPr/>
              </p:nvSpPr>
              <p:spPr bwMode="auto">
                <a:xfrm>
                  <a:off x="11061700" y="3603625"/>
                  <a:ext cx="147637" cy="250825"/>
                </a:xfrm>
                <a:custGeom>
                  <a:avLst/>
                  <a:gdLst>
                    <a:gd name="T0" fmla="*/ 9 w 72"/>
                    <a:gd name="T1" fmla="*/ 84 h 123"/>
                    <a:gd name="T2" fmla="*/ 2 w 72"/>
                    <a:gd name="T3" fmla="*/ 84 h 123"/>
                    <a:gd name="T4" fmla="*/ 2 w 72"/>
                    <a:gd name="T5" fmla="*/ 91 h 123"/>
                    <a:gd name="T6" fmla="*/ 33 w 72"/>
                    <a:gd name="T7" fmla="*/ 121 h 123"/>
                    <a:gd name="T8" fmla="*/ 34 w 72"/>
                    <a:gd name="T9" fmla="*/ 122 h 123"/>
                    <a:gd name="T10" fmla="*/ 36 w 72"/>
                    <a:gd name="T11" fmla="*/ 123 h 123"/>
                    <a:gd name="T12" fmla="*/ 38 w 72"/>
                    <a:gd name="T13" fmla="*/ 122 h 123"/>
                    <a:gd name="T14" fmla="*/ 39 w 72"/>
                    <a:gd name="T15" fmla="*/ 121 h 123"/>
                    <a:gd name="T16" fmla="*/ 70 w 72"/>
                    <a:gd name="T17" fmla="*/ 91 h 123"/>
                    <a:gd name="T18" fmla="*/ 70 w 72"/>
                    <a:gd name="T19" fmla="*/ 84 h 123"/>
                    <a:gd name="T20" fmla="*/ 63 w 72"/>
                    <a:gd name="T21" fmla="*/ 84 h 123"/>
                    <a:gd name="T22" fmla="*/ 41 w 72"/>
                    <a:gd name="T23" fmla="*/ 106 h 123"/>
                    <a:gd name="T24" fmla="*/ 41 w 72"/>
                    <a:gd name="T25" fmla="*/ 5 h 123"/>
                    <a:gd name="T26" fmla="*/ 36 w 72"/>
                    <a:gd name="T27" fmla="*/ 0 h 123"/>
                    <a:gd name="T28" fmla="*/ 31 w 72"/>
                    <a:gd name="T29" fmla="*/ 5 h 123"/>
                    <a:gd name="T30" fmla="*/ 31 w 72"/>
                    <a:gd name="T31" fmla="*/ 106 h 123"/>
                    <a:gd name="T32" fmla="*/ 9 w 72"/>
                    <a:gd name="T33" fmla="*/ 8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23">
                      <a:moveTo>
                        <a:pt x="9" y="84"/>
                      </a:moveTo>
                      <a:cubicBezTo>
                        <a:pt x="7" y="82"/>
                        <a:pt x="4" y="82"/>
                        <a:pt x="2" y="84"/>
                      </a:cubicBezTo>
                      <a:cubicBezTo>
                        <a:pt x="0" y="86"/>
                        <a:pt x="0" y="89"/>
                        <a:pt x="2" y="91"/>
                      </a:cubicBezTo>
                      <a:cubicBezTo>
                        <a:pt x="33" y="121"/>
                        <a:pt x="33" y="121"/>
                        <a:pt x="33" y="121"/>
                      </a:cubicBezTo>
                      <a:cubicBezTo>
                        <a:pt x="33" y="122"/>
                        <a:pt x="34" y="122"/>
                        <a:pt x="34" y="122"/>
                      </a:cubicBezTo>
                      <a:cubicBezTo>
                        <a:pt x="35" y="123"/>
                        <a:pt x="35" y="123"/>
                        <a:pt x="36" y="123"/>
                      </a:cubicBezTo>
                      <a:cubicBezTo>
                        <a:pt x="37" y="123"/>
                        <a:pt x="37" y="123"/>
                        <a:pt x="38" y="122"/>
                      </a:cubicBezTo>
                      <a:cubicBezTo>
                        <a:pt x="38" y="122"/>
                        <a:pt x="39" y="122"/>
                        <a:pt x="39" y="121"/>
                      </a:cubicBezTo>
                      <a:cubicBezTo>
                        <a:pt x="70" y="91"/>
                        <a:pt x="70" y="91"/>
                        <a:pt x="70" y="91"/>
                      </a:cubicBezTo>
                      <a:cubicBezTo>
                        <a:pt x="72" y="89"/>
                        <a:pt x="72" y="86"/>
                        <a:pt x="70" y="84"/>
                      </a:cubicBezTo>
                      <a:cubicBezTo>
                        <a:pt x="68" y="82"/>
                        <a:pt x="65" y="82"/>
                        <a:pt x="63" y="84"/>
                      </a:cubicBezTo>
                      <a:cubicBezTo>
                        <a:pt x="41" y="106"/>
                        <a:pt x="41" y="106"/>
                        <a:pt x="41" y="106"/>
                      </a:cubicBezTo>
                      <a:cubicBezTo>
                        <a:pt x="41" y="5"/>
                        <a:pt x="41" y="5"/>
                        <a:pt x="41" y="5"/>
                      </a:cubicBezTo>
                      <a:cubicBezTo>
                        <a:pt x="41" y="3"/>
                        <a:pt x="39" y="0"/>
                        <a:pt x="36" y="0"/>
                      </a:cubicBezTo>
                      <a:cubicBezTo>
                        <a:pt x="33" y="0"/>
                        <a:pt x="31" y="3"/>
                        <a:pt x="31" y="5"/>
                      </a:cubicBezTo>
                      <a:cubicBezTo>
                        <a:pt x="31" y="106"/>
                        <a:pt x="31" y="106"/>
                        <a:pt x="31" y="106"/>
                      </a:cubicBezTo>
                      <a:lnTo>
                        <a:pt x="9" y="84"/>
                      </a:lnTo>
                      <a:close/>
                    </a:path>
                  </a:pathLst>
                </a:custGeom>
                <a:grp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grpSp>
          <p:sp>
            <p:nvSpPr>
              <p:cNvPr id="81" name="Text Placeholder 2">
                <a:extLst>
                  <a:ext uri="{FF2B5EF4-FFF2-40B4-BE49-F238E27FC236}">
                    <a16:creationId xmlns:a16="http://schemas.microsoft.com/office/drawing/2014/main" id="{51E967E7-A65F-4A38-A0EC-08888A7F1E28}"/>
                  </a:ext>
                </a:extLst>
              </p:cNvPr>
              <p:cNvSpPr txBox="1">
                <a:spLocks/>
              </p:cNvSpPr>
              <p:nvPr/>
            </p:nvSpPr>
            <p:spPr>
              <a:xfrm>
                <a:off x="5958960" y="157777"/>
                <a:ext cx="821413" cy="205345"/>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400"/>
                  </a:spcBef>
                  <a:spcAft>
                    <a:spcPts val="0"/>
                  </a:spcAft>
                  <a:buClr>
                    <a:srgbClr val="4472C4"/>
                  </a:buClr>
                  <a:buSzPct val="75000"/>
                  <a:buFont typeface="Arial" panose="020B0604020202020204" pitchFamily="34" charset="0"/>
                  <a:buNone/>
                  <a:tabLst/>
                  <a:defRPr/>
                </a:pPr>
                <a:r>
                  <a:rPr kumimoji="0" lang="en-US" sz="1000" b="1" i="0" u="none" strike="noStrike" kern="1200" cap="none" spc="-30" normalizeH="0" baseline="0" noProof="0" dirty="0">
                    <a:ln>
                      <a:noFill/>
                    </a:ln>
                    <a:solidFill>
                      <a:schemeClr val="accent6"/>
                    </a:solidFill>
                    <a:effectLst/>
                    <a:uLnTx/>
                    <a:uFillTx/>
                    <a:latin typeface="+mn-lt"/>
                    <a:ea typeface="Chronicle Display Black" charset="0"/>
                    <a:cs typeface="Chronicle Display Black" charset="0"/>
                  </a:rPr>
                  <a:t>Expand Use</a:t>
                </a:r>
                <a:endParaRPr kumimoji="0" lang="en-US" sz="700" b="0" i="0" u="none" strike="noStrike" kern="1200" cap="none" spc="-30" normalizeH="0" baseline="0" noProof="0" dirty="0">
                  <a:ln>
                    <a:noFill/>
                  </a:ln>
                  <a:solidFill>
                    <a:schemeClr val="accent6"/>
                  </a:solidFill>
                  <a:effectLst/>
                  <a:uLnTx/>
                  <a:uFillTx/>
                  <a:latin typeface="+mn-lt"/>
                  <a:cs typeface="Calibri Light" panose="020F0302020204030204" pitchFamily="34" charset="0"/>
                </a:endParaRPr>
              </a:p>
            </p:txBody>
          </p:sp>
        </p:grpSp>
      </p:grpSp>
      <p:sp>
        <p:nvSpPr>
          <p:cNvPr id="82" name="Oval 81">
            <a:extLst>
              <a:ext uri="{FF2B5EF4-FFF2-40B4-BE49-F238E27FC236}">
                <a16:creationId xmlns:a16="http://schemas.microsoft.com/office/drawing/2014/main" id="{E827A338-5144-4E2A-85AF-F7F18BF8134B}"/>
              </a:ext>
            </a:extLst>
          </p:cNvPr>
          <p:cNvSpPr>
            <a:spLocks noChangeAspect="1"/>
          </p:cNvSpPr>
          <p:nvPr/>
        </p:nvSpPr>
        <p:spPr>
          <a:xfrm>
            <a:off x="4482495" y="1868288"/>
            <a:ext cx="337603" cy="322417"/>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grpSp>
        <p:nvGrpSpPr>
          <p:cNvPr id="83" name="Group 82">
            <a:extLst>
              <a:ext uri="{FF2B5EF4-FFF2-40B4-BE49-F238E27FC236}">
                <a16:creationId xmlns:a16="http://schemas.microsoft.com/office/drawing/2014/main" id="{E51B87C5-C217-4893-BBED-5B1FA3AA8E3B}"/>
              </a:ext>
            </a:extLst>
          </p:cNvPr>
          <p:cNvGrpSpPr>
            <a:grpSpLocks noChangeAspect="1"/>
          </p:cNvGrpSpPr>
          <p:nvPr/>
        </p:nvGrpSpPr>
        <p:grpSpPr>
          <a:xfrm>
            <a:off x="4543811" y="1939789"/>
            <a:ext cx="246457" cy="193004"/>
            <a:chOff x="5916613" y="3068638"/>
            <a:chExt cx="555625" cy="455612"/>
          </a:xfrm>
          <a:solidFill>
            <a:srgbClr val="00B050"/>
          </a:solidFill>
        </p:grpSpPr>
        <p:sp>
          <p:nvSpPr>
            <p:cNvPr id="84" name="Freeform 194">
              <a:extLst>
                <a:ext uri="{FF2B5EF4-FFF2-40B4-BE49-F238E27FC236}">
                  <a16:creationId xmlns:a16="http://schemas.microsoft.com/office/drawing/2014/main" id="{0F78A175-D14D-4F53-9D32-B8C8B21578E2}"/>
                </a:ext>
              </a:extLst>
            </p:cNvPr>
            <p:cNvSpPr>
              <a:spLocks noEditPoints="1"/>
            </p:cNvSpPr>
            <p:nvPr/>
          </p:nvSpPr>
          <p:spPr bwMode="auto">
            <a:xfrm>
              <a:off x="5916613" y="3068638"/>
              <a:ext cx="419100" cy="411163"/>
            </a:xfrm>
            <a:custGeom>
              <a:avLst/>
              <a:gdLst>
                <a:gd name="T0" fmla="*/ 178 w 178"/>
                <a:gd name="T1" fmla="*/ 66 h 175"/>
                <a:gd name="T2" fmla="*/ 117 w 178"/>
                <a:gd name="T3" fmla="*/ 0 h 175"/>
                <a:gd name="T4" fmla="*/ 61 w 178"/>
                <a:gd name="T5" fmla="*/ 0 h 175"/>
                <a:gd name="T6" fmla="*/ 0 w 178"/>
                <a:gd name="T7" fmla="*/ 66 h 175"/>
                <a:gd name="T8" fmla="*/ 46 w 178"/>
                <a:gd name="T9" fmla="*/ 130 h 175"/>
                <a:gd name="T10" fmla="*/ 46 w 178"/>
                <a:gd name="T11" fmla="*/ 170 h 175"/>
                <a:gd name="T12" fmla="*/ 49 w 178"/>
                <a:gd name="T13" fmla="*/ 174 h 175"/>
                <a:gd name="T14" fmla="*/ 51 w 178"/>
                <a:gd name="T15" fmla="*/ 175 h 175"/>
                <a:gd name="T16" fmla="*/ 54 w 178"/>
                <a:gd name="T17" fmla="*/ 174 h 175"/>
                <a:gd name="T18" fmla="*/ 101 w 178"/>
                <a:gd name="T19" fmla="*/ 132 h 175"/>
                <a:gd name="T20" fmla="*/ 117 w 178"/>
                <a:gd name="T21" fmla="*/ 132 h 175"/>
                <a:gd name="T22" fmla="*/ 178 w 178"/>
                <a:gd name="T23" fmla="*/ 66 h 175"/>
                <a:gd name="T24" fmla="*/ 99 w 178"/>
                <a:gd name="T25" fmla="*/ 123 h 175"/>
                <a:gd name="T26" fmla="*/ 96 w 178"/>
                <a:gd name="T27" fmla="*/ 124 h 175"/>
                <a:gd name="T28" fmla="*/ 55 w 178"/>
                <a:gd name="T29" fmla="*/ 159 h 175"/>
                <a:gd name="T30" fmla="*/ 55 w 178"/>
                <a:gd name="T31" fmla="*/ 126 h 175"/>
                <a:gd name="T32" fmla="*/ 52 w 178"/>
                <a:gd name="T33" fmla="*/ 122 h 175"/>
                <a:gd name="T34" fmla="*/ 9 w 178"/>
                <a:gd name="T35" fmla="*/ 66 h 175"/>
                <a:gd name="T36" fmla="*/ 61 w 178"/>
                <a:gd name="T37" fmla="*/ 10 h 175"/>
                <a:gd name="T38" fmla="*/ 117 w 178"/>
                <a:gd name="T39" fmla="*/ 10 h 175"/>
                <a:gd name="T40" fmla="*/ 168 w 178"/>
                <a:gd name="T41" fmla="*/ 66 h 175"/>
                <a:gd name="T42" fmla="*/ 117 w 178"/>
                <a:gd name="T43" fmla="*/ 123 h 175"/>
                <a:gd name="T44" fmla="*/ 99 w 178"/>
                <a:gd name="T45" fmla="*/ 12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8" h="175">
                  <a:moveTo>
                    <a:pt x="178" y="66"/>
                  </a:moveTo>
                  <a:cubicBezTo>
                    <a:pt x="178" y="30"/>
                    <a:pt x="150" y="0"/>
                    <a:pt x="117" y="0"/>
                  </a:cubicBezTo>
                  <a:cubicBezTo>
                    <a:pt x="61" y="0"/>
                    <a:pt x="61" y="0"/>
                    <a:pt x="61" y="0"/>
                  </a:cubicBezTo>
                  <a:cubicBezTo>
                    <a:pt x="27" y="0"/>
                    <a:pt x="0" y="30"/>
                    <a:pt x="0" y="66"/>
                  </a:cubicBezTo>
                  <a:cubicBezTo>
                    <a:pt x="0" y="97"/>
                    <a:pt x="19" y="123"/>
                    <a:pt x="46" y="130"/>
                  </a:cubicBezTo>
                  <a:cubicBezTo>
                    <a:pt x="46" y="170"/>
                    <a:pt x="46" y="170"/>
                    <a:pt x="46" y="170"/>
                  </a:cubicBezTo>
                  <a:cubicBezTo>
                    <a:pt x="46" y="172"/>
                    <a:pt x="47" y="174"/>
                    <a:pt x="49" y="174"/>
                  </a:cubicBezTo>
                  <a:cubicBezTo>
                    <a:pt x="49" y="175"/>
                    <a:pt x="50" y="175"/>
                    <a:pt x="51" y="175"/>
                  </a:cubicBezTo>
                  <a:cubicBezTo>
                    <a:pt x="52" y="175"/>
                    <a:pt x="53" y="174"/>
                    <a:pt x="54" y="174"/>
                  </a:cubicBezTo>
                  <a:cubicBezTo>
                    <a:pt x="101" y="132"/>
                    <a:pt x="101" y="132"/>
                    <a:pt x="101" y="132"/>
                  </a:cubicBezTo>
                  <a:cubicBezTo>
                    <a:pt x="117" y="132"/>
                    <a:pt x="117" y="132"/>
                    <a:pt x="117" y="132"/>
                  </a:cubicBezTo>
                  <a:cubicBezTo>
                    <a:pt x="150" y="132"/>
                    <a:pt x="178" y="103"/>
                    <a:pt x="178" y="66"/>
                  </a:cubicBezTo>
                  <a:close/>
                  <a:moveTo>
                    <a:pt x="99" y="123"/>
                  </a:moveTo>
                  <a:cubicBezTo>
                    <a:pt x="98" y="123"/>
                    <a:pt x="97" y="123"/>
                    <a:pt x="96" y="124"/>
                  </a:cubicBezTo>
                  <a:cubicBezTo>
                    <a:pt x="55" y="159"/>
                    <a:pt x="55" y="159"/>
                    <a:pt x="55" y="159"/>
                  </a:cubicBezTo>
                  <a:cubicBezTo>
                    <a:pt x="55" y="126"/>
                    <a:pt x="55" y="126"/>
                    <a:pt x="55" y="126"/>
                  </a:cubicBezTo>
                  <a:cubicBezTo>
                    <a:pt x="55" y="124"/>
                    <a:pt x="54" y="122"/>
                    <a:pt x="52" y="122"/>
                  </a:cubicBezTo>
                  <a:cubicBezTo>
                    <a:pt x="27" y="117"/>
                    <a:pt x="9" y="94"/>
                    <a:pt x="9" y="66"/>
                  </a:cubicBezTo>
                  <a:cubicBezTo>
                    <a:pt x="9" y="35"/>
                    <a:pt x="32" y="10"/>
                    <a:pt x="61" y="10"/>
                  </a:cubicBezTo>
                  <a:cubicBezTo>
                    <a:pt x="117" y="10"/>
                    <a:pt x="117" y="10"/>
                    <a:pt x="117" y="10"/>
                  </a:cubicBezTo>
                  <a:cubicBezTo>
                    <a:pt x="145" y="10"/>
                    <a:pt x="168" y="35"/>
                    <a:pt x="168" y="66"/>
                  </a:cubicBezTo>
                  <a:cubicBezTo>
                    <a:pt x="168" y="97"/>
                    <a:pt x="145" y="123"/>
                    <a:pt x="117" y="123"/>
                  </a:cubicBezTo>
                  <a:lnTo>
                    <a:pt x="99" y="123"/>
                  </a:ln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85" name="Freeform 195">
              <a:extLst>
                <a:ext uri="{FF2B5EF4-FFF2-40B4-BE49-F238E27FC236}">
                  <a16:creationId xmlns:a16="http://schemas.microsoft.com/office/drawing/2014/main" id="{D3E264E3-2AEB-4C3B-9D0E-B79325799742}"/>
                </a:ext>
              </a:extLst>
            </p:cNvPr>
            <p:cNvSpPr>
              <a:spLocks/>
            </p:cNvSpPr>
            <p:nvPr/>
          </p:nvSpPr>
          <p:spPr bwMode="auto">
            <a:xfrm>
              <a:off x="6184900" y="3235325"/>
              <a:ext cx="287338" cy="288925"/>
            </a:xfrm>
            <a:custGeom>
              <a:avLst/>
              <a:gdLst>
                <a:gd name="T0" fmla="*/ 77 w 122"/>
                <a:gd name="T1" fmla="*/ 0 h 123"/>
                <a:gd name="T2" fmla="*/ 73 w 122"/>
                <a:gd name="T3" fmla="*/ 5 h 123"/>
                <a:gd name="T4" fmla="*/ 77 w 122"/>
                <a:gd name="T5" fmla="*/ 9 h 123"/>
                <a:gd name="T6" fmla="*/ 112 w 122"/>
                <a:gd name="T7" fmla="*/ 48 h 123"/>
                <a:gd name="T8" fmla="*/ 79 w 122"/>
                <a:gd name="T9" fmla="*/ 86 h 123"/>
                <a:gd name="T10" fmla="*/ 74 w 122"/>
                <a:gd name="T11" fmla="*/ 91 h 123"/>
                <a:gd name="T12" fmla="*/ 74 w 122"/>
                <a:gd name="T13" fmla="*/ 107 h 123"/>
                <a:gd name="T14" fmla="*/ 56 w 122"/>
                <a:gd name="T15" fmla="*/ 88 h 123"/>
                <a:gd name="T16" fmla="*/ 53 w 122"/>
                <a:gd name="T17" fmla="*/ 87 h 123"/>
                <a:gd name="T18" fmla="*/ 37 w 122"/>
                <a:gd name="T19" fmla="*/ 87 h 123"/>
                <a:gd name="T20" fmla="*/ 10 w 122"/>
                <a:gd name="T21" fmla="*/ 71 h 123"/>
                <a:gd name="T22" fmla="*/ 3 w 122"/>
                <a:gd name="T23" fmla="*/ 70 h 123"/>
                <a:gd name="T24" fmla="*/ 2 w 122"/>
                <a:gd name="T25" fmla="*/ 76 h 123"/>
                <a:gd name="T26" fmla="*/ 37 w 122"/>
                <a:gd name="T27" fmla="*/ 96 h 123"/>
                <a:gd name="T28" fmla="*/ 51 w 122"/>
                <a:gd name="T29" fmla="*/ 96 h 123"/>
                <a:gd name="T30" fmla="*/ 75 w 122"/>
                <a:gd name="T31" fmla="*/ 122 h 123"/>
                <a:gd name="T32" fmla="*/ 79 w 122"/>
                <a:gd name="T33" fmla="*/ 123 h 123"/>
                <a:gd name="T34" fmla="*/ 80 w 122"/>
                <a:gd name="T35" fmla="*/ 123 h 123"/>
                <a:gd name="T36" fmla="*/ 83 w 122"/>
                <a:gd name="T37" fmla="*/ 118 h 123"/>
                <a:gd name="T38" fmla="*/ 83 w 122"/>
                <a:gd name="T39" fmla="*/ 96 h 123"/>
                <a:gd name="T40" fmla="*/ 122 w 122"/>
                <a:gd name="T41" fmla="*/ 48 h 123"/>
                <a:gd name="T42" fmla="*/ 77 w 122"/>
                <a:gd name="T4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2" h="123">
                  <a:moveTo>
                    <a:pt x="77" y="0"/>
                  </a:moveTo>
                  <a:cubicBezTo>
                    <a:pt x="75" y="0"/>
                    <a:pt x="73" y="2"/>
                    <a:pt x="73" y="5"/>
                  </a:cubicBezTo>
                  <a:cubicBezTo>
                    <a:pt x="73" y="7"/>
                    <a:pt x="75" y="9"/>
                    <a:pt x="77" y="9"/>
                  </a:cubicBezTo>
                  <a:cubicBezTo>
                    <a:pt x="97" y="9"/>
                    <a:pt x="112" y="27"/>
                    <a:pt x="112" y="48"/>
                  </a:cubicBezTo>
                  <a:cubicBezTo>
                    <a:pt x="112" y="69"/>
                    <a:pt x="97" y="86"/>
                    <a:pt x="79" y="86"/>
                  </a:cubicBezTo>
                  <a:cubicBezTo>
                    <a:pt x="76" y="87"/>
                    <a:pt x="74" y="89"/>
                    <a:pt x="74" y="91"/>
                  </a:cubicBezTo>
                  <a:cubicBezTo>
                    <a:pt x="74" y="107"/>
                    <a:pt x="74" y="107"/>
                    <a:pt x="74" y="107"/>
                  </a:cubicBezTo>
                  <a:cubicBezTo>
                    <a:pt x="56" y="88"/>
                    <a:pt x="56" y="88"/>
                    <a:pt x="56" y="88"/>
                  </a:cubicBezTo>
                  <a:cubicBezTo>
                    <a:pt x="55" y="87"/>
                    <a:pt x="54" y="87"/>
                    <a:pt x="53" y="87"/>
                  </a:cubicBezTo>
                  <a:cubicBezTo>
                    <a:pt x="37" y="87"/>
                    <a:pt x="37" y="87"/>
                    <a:pt x="37" y="87"/>
                  </a:cubicBezTo>
                  <a:cubicBezTo>
                    <a:pt x="26" y="87"/>
                    <a:pt x="16" y="81"/>
                    <a:pt x="10" y="71"/>
                  </a:cubicBezTo>
                  <a:cubicBezTo>
                    <a:pt x="8" y="69"/>
                    <a:pt x="5" y="68"/>
                    <a:pt x="3" y="70"/>
                  </a:cubicBezTo>
                  <a:cubicBezTo>
                    <a:pt x="1" y="71"/>
                    <a:pt x="0" y="74"/>
                    <a:pt x="2" y="76"/>
                  </a:cubicBezTo>
                  <a:cubicBezTo>
                    <a:pt x="10" y="89"/>
                    <a:pt x="23" y="96"/>
                    <a:pt x="37" y="96"/>
                  </a:cubicBezTo>
                  <a:cubicBezTo>
                    <a:pt x="51" y="96"/>
                    <a:pt x="51" y="96"/>
                    <a:pt x="51" y="96"/>
                  </a:cubicBezTo>
                  <a:cubicBezTo>
                    <a:pt x="75" y="122"/>
                    <a:pt x="75" y="122"/>
                    <a:pt x="75" y="122"/>
                  </a:cubicBezTo>
                  <a:cubicBezTo>
                    <a:pt x="76" y="123"/>
                    <a:pt x="77" y="123"/>
                    <a:pt x="79" y="123"/>
                  </a:cubicBezTo>
                  <a:cubicBezTo>
                    <a:pt x="79" y="123"/>
                    <a:pt x="80" y="123"/>
                    <a:pt x="80" y="123"/>
                  </a:cubicBezTo>
                  <a:cubicBezTo>
                    <a:pt x="82" y="122"/>
                    <a:pt x="83" y="120"/>
                    <a:pt x="83" y="118"/>
                  </a:cubicBezTo>
                  <a:cubicBezTo>
                    <a:pt x="83" y="96"/>
                    <a:pt x="83" y="96"/>
                    <a:pt x="83" y="96"/>
                  </a:cubicBezTo>
                  <a:cubicBezTo>
                    <a:pt x="105" y="92"/>
                    <a:pt x="122" y="72"/>
                    <a:pt x="122" y="48"/>
                  </a:cubicBezTo>
                  <a:cubicBezTo>
                    <a:pt x="122" y="22"/>
                    <a:pt x="102" y="0"/>
                    <a:pt x="77" y="0"/>
                  </a:cubicBez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86" name="Freeform 196">
              <a:extLst>
                <a:ext uri="{FF2B5EF4-FFF2-40B4-BE49-F238E27FC236}">
                  <a16:creationId xmlns:a16="http://schemas.microsoft.com/office/drawing/2014/main" id="{4398679F-A0FF-46AB-A689-57D0F3171A1A}"/>
                </a:ext>
              </a:extLst>
            </p:cNvPr>
            <p:cNvSpPr>
              <a:spLocks/>
            </p:cNvSpPr>
            <p:nvPr/>
          </p:nvSpPr>
          <p:spPr bwMode="auto">
            <a:xfrm>
              <a:off x="6013450" y="3178175"/>
              <a:ext cx="223838" cy="23813"/>
            </a:xfrm>
            <a:custGeom>
              <a:avLst/>
              <a:gdLst>
                <a:gd name="T0" fmla="*/ 95 w 95"/>
                <a:gd name="T1" fmla="*/ 5 h 10"/>
                <a:gd name="T2" fmla="*/ 90 w 95"/>
                <a:gd name="T3" fmla="*/ 0 h 10"/>
                <a:gd name="T4" fmla="*/ 5 w 95"/>
                <a:gd name="T5" fmla="*/ 0 h 10"/>
                <a:gd name="T6" fmla="*/ 0 w 95"/>
                <a:gd name="T7" fmla="*/ 5 h 10"/>
                <a:gd name="T8" fmla="*/ 5 w 95"/>
                <a:gd name="T9" fmla="*/ 10 h 10"/>
                <a:gd name="T10" fmla="*/ 90 w 95"/>
                <a:gd name="T11" fmla="*/ 10 h 10"/>
                <a:gd name="T12" fmla="*/ 95 w 95"/>
                <a:gd name="T13" fmla="*/ 5 h 10"/>
              </a:gdLst>
              <a:ahLst/>
              <a:cxnLst>
                <a:cxn ang="0">
                  <a:pos x="T0" y="T1"/>
                </a:cxn>
                <a:cxn ang="0">
                  <a:pos x="T2" y="T3"/>
                </a:cxn>
                <a:cxn ang="0">
                  <a:pos x="T4" y="T5"/>
                </a:cxn>
                <a:cxn ang="0">
                  <a:pos x="T6" y="T7"/>
                </a:cxn>
                <a:cxn ang="0">
                  <a:pos x="T8" y="T9"/>
                </a:cxn>
                <a:cxn ang="0">
                  <a:pos x="T10" y="T11"/>
                </a:cxn>
                <a:cxn ang="0">
                  <a:pos x="T12" y="T13"/>
                </a:cxn>
              </a:cxnLst>
              <a:rect l="0" t="0" r="r" b="b"/>
              <a:pathLst>
                <a:path w="95" h="10">
                  <a:moveTo>
                    <a:pt x="95" y="5"/>
                  </a:moveTo>
                  <a:cubicBezTo>
                    <a:pt x="95" y="2"/>
                    <a:pt x="93" y="0"/>
                    <a:pt x="90" y="0"/>
                  </a:cubicBezTo>
                  <a:cubicBezTo>
                    <a:pt x="5" y="0"/>
                    <a:pt x="5" y="0"/>
                    <a:pt x="5" y="0"/>
                  </a:cubicBezTo>
                  <a:cubicBezTo>
                    <a:pt x="2" y="0"/>
                    <a:pt x="0" y="2"/>
                    <a:pt x="0" y="5"/>
                  </a:cubicBezTo>
                  <a:cubicBezTo>
                    <a:pt x="0" y="8"/>
                    <a:pt x="2" y="10"/>
                    <a:pt x="5" y="10"/>
                  </a:cubicBezTo>
                  <a:cubicBezTo>
                    <a:pt x="90" y="10"/>
                    <a:pt x="90" y="10"/>
                    <a:pt x="90" y="10"/>
                  </a:cubicBezTo>
                  <a:cubicBezTo>
                    <a:pt x="93" y="10"/>
                    <a:pt x="95" y="8"/>
                    <a:pt x="95" y="5"/>
                  </a:cubicBez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87" name="Freeform 197">
              <a:extLst>
                <a:ext uri="{FF2B5EF4-FFF2-40B4-BE49-F238E27FC236}">
                  <a16:creationId xmlns:a16="http://schemas.microsoft.com/office/drawing/2014/main" id="{B8F866A0-9AAC-4EF7-935A-FB6FC4E523E9}"/>
                </a:ext>
              </a:extLst>
            </p:cNvPr>
            <p:cNvSpPr>
              <a:spLocks/>
            </p:cNvSpPr>
            <p:nvPr/>
          </p:nvSpPr>
          <p:spPr bwMode="auto">
            <a:xfrm>
              <a:off x="6013450" y="3249613"/>
              <a:ext cx="122238" cy="23813"/>
            </a:xfrm>
            <a:custGeom>
              <a:avLst/>
              <a:gdLst>
                <a:gd name="T0" fmla="*/ 47 w 52"/>
                <a:gd name="T1" fmla="*/ 0 h 10"/>
                <a:gd name="T2" fmla="*/ 5 w 52"/>
                <a:gd name="T3" fmla="*/ 0 h 10"/>
                <a:gd name="T4" fmla="*/ 0 w 52"/>
                <a:gd name="T5" fmla="*/ 5 h 10"/>
                <a:gd name="T6" fmla="*/ 5 w 52"/>
                <a:gd name="T7" fmla="*/ 10 h 10"/>
                <a:gd name="T8" fmla="*/ 47 w 52"/>
                <a:gd name="T9" fmla="*/ 10 h 10"/>
                <a:gd name="T10" fmla="*/ 52 w 52"/>
                <a:gd name="T11" fmla="*/ 5 h 10"/>
                <a:gd name="T12" fmla="*/ 47 w 5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52" h="10">
                  <a:moveTo>
                    <a:pt x="47" y="0"/>
                  </a:moveTo>
                  <a:cubicBezTo>
                    <a:pt x="5" y="0"/>
                    <a:pt x="5" y="0"/>
                    <a:pt x="5" y="0"/>
                  </a:cubicBezTo>
                  <a:cubicBezTo>
                    <a:pt x="2" y="0"/>
                    <a:pt x="0" y="2"/>
                    <a:pt x="0" y="5"/>
                  </a:cubicBezTo>
                  <a:cubicBezTo>
                    <a:pt x="0" y="8"/>
                    <a:pt x="2" y="10"/>
                    <a:pt x="5" y="10"/>
                  </a:cubicBezTo>
                  <a:cubicBezTo>
                    <a:pt x="47" y="10"/>
                    <a:pt x="47" y="10"/>
                    <a:pt x="47" y="10"/>
                  </a:cubicBezTo>
                  <a:cubicBezTo>
                    <a:pt x="49" y="10"/>
                    <a:pt x="52" y="8"/>
                    <a:pt x="52" y="5"/>
                  </a:cubicBezTo>
                  <a:cubicBezTo>
                    <a:pt x="52" y="2"/>
                    <a:pt x="49" y="0"/>
                    <a:pt x="47" y="0"/>
                  </a:cubicBez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grpSp>
      <p:cxnSp>
        <p:nvCxnSpPr>
          <p:cNvPr id="89" name="Straight Connector 88">
            <a:extLst>
              <a:ext uri="{FF2B5EF4-FFF2-40B4-BE49-F238E27FC236}">
                <a16:creationId xmlns:a16="http://schemas.microsoft.com/office/drawing/2014/main" id="{7623DDF6-DA06-4F8F-AA1B-8AA47FAF0C2E}"/>
              </a:ext>
            </a:extLst>
          </p:cNvPr>
          <p:cNvCxnSpPr/>
          <p:nvPr/>
        </p:nvCxnSpPr>
        <p:spPr>
          <a:xfrm>
            <a:off x="7142211" y="5113438"/>
            <a:ext cx="215347" cy="1"/>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90" name="Oval 89">
            <a:extLst>
              <a:ext uri="{FF2B5EF4-FFF2-40B4-BE49-F238E27FC236}">
                <a16:creationId xmlns:a16="http://schemas.microsoft.com/office/drawing/2014/main" id="{DE0940B9-A39D-4CC5-BC0E-EC25695877D6}"/>
              </a:ext>
            </a:extLst>
          </p:cNvPr>
          <p:cNvSpPr>
            <a:spLocks noChangeAspect="1"/>
          </p:cNvSpPr>
          <p:nvPr/>
        </p:nvSpPr>
        <p:spPr>
          <a:xfrm>
            <a:off x="6916562" y="4950077"/>
            <a:ext cx="337603" cy="322417"/>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sp>
        <p:nvSpPr>
          <p:cNvPr id="91" name="Oval 90">
            <a:extLst>
              <a:ext uri="{FF2B5EF4-FFF2-40B4-BE49-F238E27FC236}">
                <a16:creationId xmlns:a16="http://schemas.microsoft.com/office/drawing/2014/main" id="{30968920-84EB-42D4-B698-A72F5AA1B443}"/>
              </a:ext>
            </a:extLst>
          </p:cNvPr>
          <p:cNvSpPr/>
          <p:nvPr/>
        </p:nvSpPr>
        <p:spPr>
          <a:xfrm>
            <a:off x="7322200" y="5069493"/>
            <a:ext cx="92029" cy="87889"/>
          </a:xfrm>
          <a:prstGeom prst="ellipse">
            <a:avLst/>
          </a:prstGeom>
          <a:solidFill>
            <a:schemeClr val="bg1"/>
          </a:solidFill>
          <a:ln w="2857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grpSp>
        <p:nvGrpSpPr>
          <p:cNvPr id="92" name="Group 91">
            <a:extLst>
              <a:ext uri="{FF2B5EF4-FFF2-40B4-BE49-F238E27FC236}">
                <a16:creationId xmlns:a16="http://schemas.microsoft.com/office/drawing/2014/main" id="{9E589C0B-B287-4FC9-AB76-DDBCC487237F}"/>
              </a:ext>
            </a:extLst>
          </p:cNvPr>
          <p:cNvGrpSpPr>
            <a:grpSpLocks noChangeAspect="1"/>
          </p:cNvGrpSpPr>
          <p:nvPr/>
        </p:nvGrpSpPr>
        <p:grpSpPr>
          <a:xfrm>
            <a:off x="6995962" y="5026843"/>
            <a:ext cx="192076" cy="182946"/>
            <a:chOff x="9518650" y="1939925"/>
            <a:chExt cx="593725" cy="592138"/>
          </a:xfrm>
          <a:solidFill>
            <a:schemeClr val="accent2"/>
          </a:solidFill>
        </p:grpSpPr>
        <p:sp>
          <p:nvSpPr>
            <p:cNvPr id="93" name="Freeform 421">
              <a:extLst>
                <a:ext uri="{FF2B5EF4-FFF2-40B4-BE49-F238E27FC236}">
                  <a16:creationId xmlns:a16="http://schemas.microsoft.com/office/drawing/2014/main" id="{6FCB05D9-F15D-4C5C-BC42-CAD29C772415}"/>
                </a:ext>
              </a:extLst>
            </p:cNvPr>
            <p:cNvSpPr>
              <a:spLocks noEditPoints="1"/>
            </p:cNvSpPr>
            <p:nvPr/>
          </p:nvSpPr>
          <p:spPr bwMode="auto">
            <a:xfrm>
              <a:off x="9518650" y="1939925"/>
              <a:ext cx="593725" cy="592138"/>
            </a:xfrm>
            <a:custGeom>
              <a:avLst/>
              <a:gdLst>
                <a:gd name="T0" fmla="*/ 120 w 240"/>
                <a:gd name="T1" fmla="*/ 0 h 240"/>
                <a:gd name="T2" fmla="*/ 0 w 240"/>
                <a:gd name="T3" fmla="*/ 120 h 240"/>
                <a:gd name="T4" fmla="*/ 120 w 240"/>
                <a:gd name="T5" fmla="*/ 240 h 240"/>
                <a:gd name="T6" fmla="*/ 240 w 240"/>
                <a:gd name="T7" fmla="*/ 120 h 240"/>
                <a:gd name="T8" fmla="*/ 120 w 240"/>
                <a:gd name="T9" fmla="*/ 0 h 240"/>
                <a:gd name="T10" fmla="*/ 120 w 240"/>
                <a:gd name="T11" fmla="*/ 230 h 240"/>
                <a:gd name="T12" fmla="*/ 10 w 240"/>
                <a:gd name="T13" fmla="*/ 120 h 240"/>
                <a:gd name="T14" fmla="*/ 120 w 240"/>
                <a:gd name="T15" fmla="*/ 10 h 240"/>
                <a:gd name="T16" fmla="*/ 230 w 240"/>
                <a:gd name="T17" fmla="*/ 120 h 240"/>
                <a:gd name="T18" fmla="*/ 120 w 240"/>
                <a:gd name="T19" fmla="*/ 23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240">
                  <a:moveTo>
                    <a:pt x="120" y="0"/>
                  </a:moveTo>
                  <a:cubicBezTo>
                    <a:pt x="54" y="0"/>
                    <a:pt x="0" y="54"/>
                    <a:pt x="0" y="120"/>
                  </a:cubicBezTo>
                  <a:cubicBezTo>
                    <a:pt x="0" y="186"/>
                    <a:pt x="54" y="240"/>
                    <a:pt x="120" y="240"/>
                  </a:cubicBezTo>
                  <a:cubicBezTo>
                    <a:pt x="186" y="240"/>
                    <a:pt x="240" y="186"/>
                    <a:pt x="240" y="120"/>
                  </a:cubicBezTo>
                  <a:cubicBezTo>
                    <a:pt x="240" y="54"/>
                    <a:pt x="186" y="0"/>
                    <a:pt x="120" y="0"/>
                  </a:cubicBezTo>
                  <a:close/>
                  <a:moveTo>
                    <a:pt x="120" y="230"/>
                  </a:moveTo>
                  <a:cubicBezTo>
                    <a:pt x="59" y="230"/>
                    <a:pt x="10" y="180"/>
                    <a:pt x="10" y="120"/>
                  </a:cubicBezTo>
                  <a:cubicBezTo>
                    <a:pt x="10" y="59"/>
                    <a:pt x="59" y="10"/>
                    <a:pt x="120" y="10"/>
                  </a:cubicBezTo>
                  <a:cubicBezTo>
                    <a:pt x="181" y="10"/>
                    <a:pt x="230" y="59"/>
                    <a:pt x="230" y="120"/>
                  </a:cubicBezTo>
                  <a:cubicBezTo>
                    <a:pt x="230" y="180"/>
                    <a:pt x="181" y="230"/>
                    <a:pt x="120" y="2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94" name="Freeform 422">
              <a:extLst>
                <a:ext uri="{FF2B5EF4-FFF2-40B4-BE49-F238E27FC236}">
                  <a16:creationId xmlns:a16="http://schemas.microsoft.com/office/drawing/2014/main" id="{1974D48E-1603-4897-A2D2-66CE6EAE8E36}"/>
                </a:ext>
              </a:extLst>
            </p:cNvPr>
            <p:cNvSpPr>
              <a:spLocks noEditPoints="1"/>
            </p:cNvSpPr>
            <p:nvPr/>
          </p:nvSpPr>
          <p:spPr bwMode="auto">
            <a:xfrm>
              <a:off x="9647238" y="2100263"/>
              <a:ext cx="139700" cy="125413"/>
            </a:xfrm>
            <a:custGeom>
              <a:avLst/>
              <a:gdLst>
                <a:gd name="T0" fmla="*/ 28 w 56"/>
                <a:gd name="T1" fmla="*/ 51 h 51"/>
                <a:gd name="T2" fmla="*/ 46 w 56"/>
                <a:gd name="T3" fmla="*/ 44 h 51"/>
                <a:gd name="T4" fmla="*/ 46 w 56"/>
                <a:gd name="T5" fmla="*/ 8 h 51"/>
                <a:gd name="T6" fmla="*/ 28 w 56"/>
                <a:gd name="T7" fmla="*/ 0 h 51"/>
                <a:gd name="T8" fmla="*/ 10 w 56"/>
                <a:gd name="T9" fmla="*/ 8 h 51"/>
                <a:gd name="T10" fmla="*/ 10 w 56"/>
                <a:gd name="T11" fmla="*/ 44 h 51"/>
                <a:gd name="T12" fmla="*/ 28 w 56"/>
                <a:gd name="T13" fmla="*/ 51 h 51"/>
                <a:gd name="T14" fmla="*/ 17 w 56"/>
                <a:gd name="T15" fmla="*/ 14 h 51"/>
                <a:gd name="T16" fmla="*/ 28 w 56"/>
                <a:gd name="T17" fmla="*/ 10 h 51"/>
                <a:gd name="T18" fmla="*/ 40 w 56"/>
                <a:gd name="T19" fmla="*/ 14 h 51"/>
                <a:gd name="T20" fmla="*/ 40 w 56"/>
                <a:gd name="T21" fmla="*/ 37 h 51"/>
                <a:gd name="T22" fmla="*/ 17 w 56"/>
                <a:gd name="T23" fmla="*/ 37 h 51"/>
                <a:gd name="T24" fmla="*/ 17 w 56"/>
                <a:gd name="T25" fmla="*/ 1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1">
                  <a:moveTo>
                    <a:pt x="28" y="51"/>
                  </a:moveTo>
                  <a:cubicBezTo>
                    <a:pt x="35" y="51"/>
                    <a:pt x="42" y="48"/>
                    <a:pt x="46" y="44"/>
                  </a:cubicBezTo>
                  <a:cubicBezTo>
                    <a:pt x="56" y="34"/>
                    <a:pt x="56" y="17"/>
                    <a:pt x="46" y="8"/>
                  </a:cubicBezTo>
                  <a:cubicBezTo>
                    <a:pt x="42" y="3"/>
                    <a:pt x="35" y="0"/>
                    <a:pt x="28" y="0"/>
                  </a:cubicBezTo>
                  <a:cubicBezTo>
                    <a:pt x="22" y="0"/>
                    <a:pt x="15" y="3"/>
                    <a:pt x="10" y="8"/>
                  </a:cubicBezTo>
                  <a:cubicBezTo>
                    <a:pt x="0" y="17"/>
                    <a:pt x="0" y="34"/>
                    <a:pt x="10" y="44"/>
                  </a:cubicBezTo>
                  <a:cubicBezTo>
                    <a:pt x="15" y="48"/>
                    <a:pt x="22" y="51"/>
                    <a:pt x="28" y="51"/>
                  </a:cubicBezTo>
                  <a:close/>
                  <a:moveTo>
                    <a:pt x="17" y="14"/>
                  </a:moveTo>
                  <a:cubicBezTo>
                    <a:pt x="20" y="11"/>
                    <a:pt x="24" y="10"/>
                    <a:pt x="28" y="10"/>
                  </a:cubicBezTo>
                  <a:cubicBezTo>
                    <a:pt x="33" y="10"/>
                    <a:pt x="37" y="11"/>
                    <a:pt x="40" y="14"/>
                  </a:cubicBezTo>
                  <a:cubicBezTo>
                    <a:pt x="46" y="21"/>
                    <a:pt x="46" y="31"/>
                    <a:pt x="40" y="37"/>
                  </a:cubicBezTo>
                  <a:cubicBezTo>
                    <a:pt x="34" y="43"/>
                    <a:pt x="23" y="43"/>
                    <a:pt x="17" y="37"/>
                  </a:cubicBezTo>
                  <a:cubicBezTo>
                    <a:pt x="11" y="31"/>
                    <a:pt x="11" y="21"/>
                    <a:pt x="17" y="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95" name="Freeform 423">
              <a:extLst>
                <a:ext uri="{FF2B5EF4-FFF2-40B4-BE49-F238E27FC236}">
                  <a16:creationId xmlns:a16="http://schemas.microsoft.com/office/drawing/2014/main" id="{AFF820E9-8D49-4BFB-A664-B038239550BA}"/>
                </a:ext>
              </a:extLst>
            </p:cNvPr>
            <p:cNvSpPr>
              <a:spLocks noEditPoints="1"/>
            </p:cNvSpPr>
            <p:nvPr/>
          </p:nvSpPr>
          <p:spPr bwMode="auto">
            <a:xfrm>
              <a:off x="9845675" y="2100263"/>
              <a:ext cx="138113" cy="125413"/>
            </a:xfrm>
            <a:custGeom>
              <a:avLst/>
              <a:gdLst>
                <a:gd name="T0" fmla="*/ 28 w 56"/>
                <a:gd name="T1" fmla="*/ 0 h 51"/>
                <a:gd name="T2" fmla="*/ 10 w 56"/>
                <a:gd name="T3" fmla="*/ 8 h 51"/>
                <a:gd name="T4" fmla="*/ 10 w 56"/>
                <a:gd name="T5" fmla="*/ 44 h 51"/>
                <a:gd name="T6" fmla="*/ 28 w 56"/>
                <a:gd name="T7" fmla="*/ 51 h 51"/>
                <a:gd name="T8" fmla="*/ 46 w 56"/>
                <a:gd name="T9" fmla="*/ 44 h 51"/>
                <a:gd name="T10" fmla="*/ 46 w 56"/>
                <a:gd name="T11" fmla="*/ 8 h 51"/>
                <a:gd name="T12" fmla="*/ 28 w 56"/>
                <a:gd name="T13" fmla="*/ 0 h 51"/>
                <a:gd name="T14" fmla="*/ 39 w 56"/>
                <a:gd name="T15" fmla="*/ 37 h 51"/>
                <a:gd name="T16" fmla="*/ 16 w 56"/>
                <a:gd name="T17" fmla="*/ 37 h 51"/>
                <a:gd name="T18" fmla="*/ 16 w 56"/>
                <a:gd name="T19" fmla="*/ 14 h 51"/>
                <a:gd name="T20" fmla="*/ 28 w 56"/>
                <a:gd name="T21" fmla="*/ 10 h 51"/>
                <a:gd name="T22" fmla="*/ 39 w 56"/>
                <a:gd name="T23" fmla="*/ 14 h 51"/>
                <a:gd name="T24" fmla="*/ 39 w 56"/>
                <a:gd name="T25" fmla="*/ 3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1">
                  <a:moveTo>
                    <a:pt x="28" y="0"/>
                  </a:moveTo>
                  <a:cubicBezTo>
                    <a:pt x="21" y="0"/>
                    <a:pt x="14" y="3"/>
                    <a:pt x="10" y="8"/>
                  </a:cubicBezTo>
                  <a:cubicBezTo>
                    <a:pt x="0" y="17"/>
                    <a:pt x="0" y="34"/>
                    <a:pt x="10" y="44"/>
                  </a:cubicBezTo>
                  <a:cubicBezTo>
                    <a:pt x="14" y="48"/>
                    <a:pt x="21" y="51"/>
                    <a:pt x="28" y="51"/>
                  </a:cubicBezTo>
                  <a:cubicBezTo>
                    <a:pt x="34" y="51"/>
                    <a:pt x="41" y="48"/>
                    <a:pt x="46" y="44"/>
                  </a:cubicBezTo>
                  <a:cubicBezTo>
                    <a:pt x="56" y="34"/>
                    <a:pt x="56" y="17"/>
                    <a:pt x="46" y="8"/>
                  </a:cubicBezTo>
                  <a:cubicBezTo>
                    <a:pt x="41" y="3"/>
                    <a:pt x="34" y="0"/>
                    <a:pt x="28" y="0"/>
                  </a:cubicBezTo>
                  <a:close/>
                  <a:moveTo>
                    <a:pt x="39" y="37"/>
                  </a:moveTo>
                  <a:cubicBezTo>
                    <a:pt x="33" y="43"/>
                    <a:pt x="22" y="43"/>
                    <a:pt x="16" y="37"/>
                  </a:cubicBezTo>
                  <a:cubicBezTo>
                    <a:pt x="10" y="31"/>
                    <a:pt x="10" y="21"/>
                    <a:pt x="16" y="14"/>
                  </a:cubicBezTo>
                  <a:cubicBezTo>
                    <a:pt x="19" y="11"/>
                    <a:pt x="23" y="10"/>
                    <a:pt x="28" y="10"/>
                  </a:cubicBezTo>
                  <a:cubicBezTo>
                    <a:pt x="32" y="10"/>
                    <a:pt x="36" y="11"/>
                    <a:pt x="39" y="14"/>
                  </a:cubicBezTo>
                  <a:cubicBezTo>
                    <a:pt x="45" y="21"/>
                    <a:pt x="45" y="31"/>
                    <a:pt x="39" y="3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96" name="Freeform 424">
              <a:extLst>
                <a:ext uri="{FF2B5EF4-FFF2-40B4-BE49-F238E27FC236}">
                  <a16:creationId xmlns:a16="http://schemas.microsoft.com/office/drawing/2014/main" id="{2F82C3BB-6F34-44B3-801B-59F7AAE507D1}"/>
                </a:ext>
              </a:extLst>
            </p:cNvPr>
            <p:cNvSpPr>
              <a:spLocks noEditPoints="1"/>
            </p:cNvSpPr>
            <p:nvPr/>
          </p:nvSpPr>
          <p:spPr bwMode="auto">
            <a:xfrm>
              <a:off x="9667875" y="2309813"/>
              <a:ext cx="296863" cy="111125"/>
            </a:xfrm>
            <a:custGeom>
              <a:avLst/>
              <a:gdLst>
                <a:gd name="T0" fmla="*/ 115 w 120"/>
                <a:gd name="T1" fmla="*/ 0 h 45"/>
                <a:gd name="T2" fmla="*/ 5 w 120"/>
                <a:gd name="T3" fmla="*/ 0 h 45"/>
                <a:gd name="T4" fmla="*/ 1 w 120"/>
                <a:gd name="T5" fmla="*/ 3 h 45"/>
                <a:gd name="T6" fmla="*/ 1 w 120"/>
                <a:gd name="T7" fmla="*/ 7 h 45"/>
                <a:gd name="T8" fmla="*/ 60 w 120"/>
                <a:gd name="T9" fmla="*/ 45 h 45"/>
                <a:gd name="T10" fmla="*/ 119 w 120"/>
                <a:gd name="T11" fmla="*/ 7 h 45"/>
                <a:gd name="T12" fmla="*/ 119 w 120"/>
                <a:gd name="T13" fmla="*/ 3 h 45"/>
                <a:gd name="T14" fmla="*/ 115 w 120"/>
                <a:gd name="T15" fmla="*/ 0 h 45"/>
                <a:gd name="T16" fmla="*/ 60 w 120"/>
                <a:gd name="T17" fmla="*/ 35 h 45"/>
                <a:gd name="T18" fmla="*/ 14 w 120"/>
                <a:gd name="T19" fmla="*/ 10 h 45"/>
                <a:gd name="T20" fmla="*/ 107 w 120"/>
                <a:gd name="T21" fmla="*/ 10 h 45"/>
                <a:gd name="T22" fmla="*/ 60 w 120"/>
                <a:gd name="T23" fmla="*/ 3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45">
                  <a:moveTo>
                    <a:pt x="115" y="0"/>
                  </a:moveTo>
                  <a:cubicBezTo>
                    <a:pt x="5" y="0"/>
                    <a:pt x="5" y="0"/>
                    <a:pt x="5" y="0"/>
                  </a:cubicBezTo>
                  <a:cubicBezTo>
                    <a:pt x="4" y="0"/>
                    <a:pt x="2" y="1"/>
                    <a:pt x="1" y="3"/>
                  </a:cubicBezTo>
                  <a:cubicBezTo>
                    <a:pt x="0" y="4"/>
                    <a:pt x="0" y="6"/>
                    <a:pt x="1" y="7"/>
                  </a:cubicBezTo>
                  <a:cubicBezTo>
                    <a:pt x="11" y="30"/>
                    <a:pt x="35" y="45"/>
                    <a:pt x="60" y="45"/>
                  </a:cubicBezTo>
                  <a:cubicBezTo>
                    <a:pt x="85" y="45"/>
                    <a:pt x="109" y="30"/>
                    <a:pt x="119" y="7"/>
                  </a:cubicBezTo>
                  <a:cubicBezTo>
                    <a:pt x="120" y="6"/>
                    <a:pt x="120" y="4"/>
                    <a:pt x="119" y="3"/>
                  </a:cubicBezTo>
                  <a:cubicBezTo>
                    <a:pt x="118" y="1"/>
                    <a:pt x="116" y="0"/>
                    <a:pt x="115" y="0"/>
                  </a:cubicBezTo>
                  <a:close/>
                  <a:moveTo>
                    <a:pt x="60" y="35"/>
                  </a:moveTo>
                  <a:cubicBezTo>
                    <a:pt x="41" y="35"/>
                    <a:pt x="24" y="26"/>
                    <a:pt x="14" y="10"/>
                  </a:cubicBezTo>
                  <a:cubicBezTo>
                    <a:pt x="107" y="10"/>
                    <a:pt x="107" y="10"/>
                    <a:pt x="107" y="10"/>
                  </a:cubicBezTo>
                  <a:cubicBezTo>
                    <a:pt x="96" y="26"/>
                    <a:pt x="79" y="35"/>
                    <a:pt x="60" y="3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grpSp>
      <p:cxnSp>
        <p:nvCxnSpPr>
          <p:cNvPr id="97" name="Straight Connector 96">
            <a:extLst>
              <a:ext uri="{FF2B5EF4-FFF2-40B4-BE49-F238E27FC236}">
                <a16:creationId xmlns:a16="http://schemas.microsoft.com/office/drawing/2014/main" id="{768E435A-617C-49ED-83DD-4AB152683116}"/>
              </a:ext>
            </a:extLst>
          </p:cNvPr>
          <p:cNvCxnSpPr/>
          <p:nvPr/>
        </p:nvCxnSpPr>
        <p:spPr>
          <a:xfrm>
            <a:off x="4100156" y="2712857"/>
            <a:ext cx="215347" cy="1"/>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98" name="Oval 97">
            <a:extLst>
              <a:ext uri="{FF2B5EF4-FFF2-40B4-BE49-F238E27FC236}">
                <a16:creationId xmlns:a16="http://schemas.microsoft.com/office/drawing/2014/main" id="{685D2F0D-8CC6-4B60-8275-42F6455D3398}"/>
              </a:ext>
            </a:extLst>
          </p:cNvPr>
          <p:cNvSpPr/>
          <p:nvPr/>
        </p:nvSpPr>
        <p:spPr>
          <a:xfrm>
            <a:off x="4280145" y="2668912"/>
            <a:ext cx="92029" cy="87889"/>
          </a:xfrm>
          <a:prstGeom prst="ellipse">
            <a:avLst/>
          </a:prstGeom>
          <a:solidFill>
            <a:schemeClr val="bg1"/>
          </a:solidFill>
          <a:ln w="2857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grpSp>
        <p:nvGrpSpPr>
          <p:cNvPr id="99" name="Group 98">
            <a:extLst>
              <a:ext uri="{FF2B5EF4-FFF2-40B4-BE49-F238E27FC236}">
                <a16:creationId xmlns:a16="http://schemas.microsoft.com/office/drawing/2014/main" id="{4226E40F-3D8D-45F5-85A6-BA860E3053F8}"/>
              </a:ext>
            </a:extLst>
          </p:cNvPr>
          <p:cNvGrpSpPr/>
          <p:nvPr/>
        </p:nvGrpSpPr>
        <p:grpSpPr>
          <a:xfrm>
            <a:off x="10557936" y="4443172"/>
            <a:ext cx="337603" cy="322417"/>
            <a:chOff x="-671105" y="3796162"/>
            <a:chExt cx="337603" cy="322417"/>
          </a:xfrm>
        </p:grpSpPr>
        <p:sp>
          <p:nvSpPr>
            <p:cNvPr id="100" name="Oval 99">
              <a:extLst>
                <a:ext uri="{FF2B5EF4-FFF2-40B4-BE49-F238E27FC236}">
                  <a16:creationId xmlns:a16="http://schemas.microsoft.com/office/drawing/2014/main" id="{002A27CB-5D6A-4B8A-8C9D-C423D62BA2D1}"/>
                </a:ext>
              </a:extLst>
            </p:cNvPr>
            <p:cNvSpPr>
              <a:spLocks noChangeAspect="1"/>
            </p:cNvSpPr>
            <p:nvPr/>
          </p:nvSpPr>
          <p:spPr>
            <a:xfrm>
              <a:off x="-671105" y="3796162"/>
              <a:ext cx="337603" cy="322417"/>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grpSp>
          <p:nvGrpSpPr>
            <p:cNvPr id="101" name="Group 100">
              <a:extLst>
                <a:ext uri="{FF2B5EF4-FFF2-40B4-BE49-F238E27FC236}">
                  <a16:creationId xmlns:a16="http://schemas.microsoft.com/office/drawing/2014/main" id="{BC4FB342-9294-48C9-A6BE-02D743EC2EB3}"/>
                </a:ext>
              </a:extLst>
            </p:cNvPr>
            <p:cNvGrpSpPr>
              <a:grpSpLocks noChangeAspect="1"/>
            </p:cNvGrpSpPr>
            <p:nvPr/>
          </p:nvGrpSpPr>
          <p:grpSpPr>
            <a:xfrm>
              <a:off x="-609659" y="3850843"/>
              <a:ext cx="216515" cy="203430"/>
              <a:chOff x="10863263" y="3603625"/>
              <a:chExt cx="490537" cy="482601"/>
            </a:xfrm>
            <a:solidFill>
              <a:srgbClr val="7030A0"/>
            </a:solidFill>
          </p:grpSpPr>
          <p:sp>
            <p:nvSpPr>
              <p:cNvPr id="102" name="Freeform 456">
                <a:extLst>
                  <a:ext uri="{FF2B5EF4-FFF2-40B4-BE49-F238E27FC236}">
                    <a16:creationId xmlns:a16="http://schemas.microsoft.com/office/drawing/2014/main" id="{318BED4D-09BC-4764-89F4-4CBC6FC4A5AE}"/>
                  </a:ext>
                </a:extLst>
              </p:cNvPr>
              <p:cNvSpPr>
                <a:spLocks/>
              </p:cNvSpPr>
              <p:nvPr/>
            </p:nvSpPr>
            <p:spPr bwMode="auto">
              <a:xfrm>
                <a:off x="10863263" y="3660775"/>
                <a:ext cx="490537" cy="319088"/>
              </a:xfrm>
              <a:custGeom>
                <a:avLst/>
                <a:gdLst>
                  <a:gd name="T0" fmla="*/ 237 w 241"/>
                  <a:gd name="T1" fmla="*/ 13 h 157"/>
                  <a:gd name="T2" fmla="*/ 231 w 241"/>
                  <a:gd name="T3" fmla="*/ 16 h 157"/>
                  <a:gd name="T4" fmla="*/ 228 w 241"/>
                  <a:gd name="T5" fmla="*/ 28 h 157"/>
                  <a:gd name="T6" fmla="*/ 160 w 241"/>
                  <a:gd name="T7" fmla="*/ 28 h 157"/>
                  <a:gd name="T8" fmla="*/ 155 w 241"/>
                  <a:gd name="T9" fmla="*/ 33 h 157"/>
                  <a:gd name="T10" fmla="*/ 160 w 241"/>
                  <a:gd name="T11" fmla="*/ 38 h 157"/>
                  <a:gd name="T12" fmla="*/ 225 w 241"/>
                  <a:gd name="T13" fmla="*/ 38 h 157"/>
                  <a:gd name="T14" fmla="*/ 207 w 241"/>
                  <a:gd name="T15" fmla="*/ 102 h 157"/>
                  <a:gd name="T16" fmla="*/ 204 w 241"/>
                  <a:gd name="T17" fmla="*/ 105 h 157"/>
                  <a:gd name="T18" fmla="*/ 203 w 241"/>
                  <a:gd name="T19" fmla="*/ 105 h 157"/>
                  <a:gd name="T20" fmla="*/ 64 w 241"/>
                  <a:gd name="T21" fmla="*/ 120 h 157"/>
                  <a:gd name="T22" fmla="*/ 45 w 241"/>
                  <a:gd name="T23" fmla="*/ 38 h 157"/>
                  <a:gd name="T24" fmla="*/ 108 w 241"/>
                  <a:gd name="T25" fmla="*/ 38 h 157"/>
                  <a:gd name="T26" fmla="*/ 113 w 241"/>
                  <a:gd name="T27" fmla="*/ 33 h 157"/>
                  <a:gd name="T28" fmla="*/ 108 w 241"/>
                  <a:gd name="T29" fmla="*/ 28 h 157"/>
                  <a:gd name="T30" fmla="*/ 45 w 241"/>
                  <a:gd name="T31" fmla="*/ 28 h 157"/>
                  <a:gd name="T32" fmla="*/ 49 w 241"/>
                  <a:gd name="T33" fmla="*/ 13 h 157"/>
                  <a:gd name="T34" fmla="*/ 49 w 241"/>
                  <a:gd name="T35" fmla="*/ 11 h 157"/>
                  <a:gd name="T36" fmla="*/ 35 w 241"/>
                  <a:gd name="T37" fmla="*/ 0 h 157"/>
                  <a:gd name="T38" fmla="*/ 5 w 241"/>
                  <a:gd name="T39" fmla="*/ 0 h 157"/>
                  <a:gd name="T40" fmla="*/ 0 w 241"/>
                  <a:gd name="T41" fmla="*/ 5 h 157"/>
                  <a:gd name="T42" fmla="*/ 5 w 241"/>
                  <a:gd name="T43" fmla="*/ 10 h 157"/>
                  <a:gd name="T44" fmla="*/ 35 w 241"/>
                  <a:gd name="T45" fmla="*/ 10 h 157"/>
                  <a:gd name="T46" fmla="*/ 39 w 241"/>
                  <a:gd name="T47" fmla="*/ 12 h 157"/>
                  <a:gd name="T48" fmla="*/ 34 w 241"/>
                  <a:gd name="T49" fmla="*/ 31 h 157"/>
                  <a:gd name="T50" fmla="*/ 34 w 241"/>
                  <a:gd name="T51" fmla="*/ 33 h 157"/>
                  <a:gd name="T52" fmla="*/ 34 w 241"/>
                  <a:gd name="T53" fmla="*/ 33 h 157"/>
                  <a:gd name="T54" fmla="*/ 34 w 241"/>
                  <a:gd name="T55" fmla="*/ 34 h 157"/>
                  <a:gd name="T56" fmla="*/ 34 w 241"/>
                  <a:gd name="T57" fmla="*/ 35 h 157"/>
                  <a:gd name="T58" fmla="*/ 34 w 241"/>
                  <a:gd name="T59" fmla="*/ 35 h 157"/>
                  <a:gd name="T60" fmla="*/ 55 w 241"/>
                  <a:gd name="T61" fmla="*/ 125 h 157"/>
                  <a:gd name="T62" fmla="*/ 50 w 241"/>
                  <a:gd name="T63" fmla="*/ 142 h 157"/>
                  <a:gd name="T64" fmla="*/ 49 w 241"/>
                  <a:gd name="T65" fmla="*/ 143 h 157"/>
                  <a:gd name="T66" fmla="*/ 52 w 241"/>
                  <a:gd name="T67" fmla="*/ 153 h 157"/>
                  <a:gd name="T68" fmla="*/ 61 w 241"/>
                  <a:gd name="T69" fmla="*/ 157 h 157"/>
                  <a:gd name="T70" fmla="*/ 206 w 241"/>
                  <a:gd name="T71" fmla="*/ 157 h 157"/>
                  <a:gd name="T72" fmla="*/ 211 w 241"/>
                  <a:gd name="T73" fmla="*/ 152 h 157"/>
                  <a:gd name="T74" fmla="*/ 206 w 241"/>
                  <a:gd name="T75" fmla="*/ 148 h 157"/>
                  <a:gd name="T76" fmla="*/ 61 w 241"/>
                  <a:gd name="T77" fmla="*/ 148 h 157"/>
                  <a:gd name="T78" fmla="*/ 59 w 241"/>
                  <a:gd name="T79" fmla="*/ 147 h 157"/>
                  <a:gd name="T80" fmla="*/ 59 w 241"/>
                  <a:gd name="T81" fmla="*/ 145 h 157"/>
                  <a:gd name="T82" fmla="*/ 64 w 241"/>
                  <a:gd name="T83" fmla="*/ 130 h 157"/>
                  <a:gd name="T84" fmla="*/ 204 w 241"/>
                  <a:gd name="T85" fmla="*/ 115 h 157"/>
                  <a:gd name="T86" fmla="*/ 217 w 241"/>
                  <a:gd name="T87" fmla="*/ 105 h 157"/>
                  <a:gd name="T88" fmla="*/ 240 w 241"/>
                  <a:gd name="T89" fmla="*/ 19 h 157"/>
                  <a:gd name="T90" fmla="*/ 237 w 241"/>
                  <a:gd name="T91" fmla="*/ 13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1" h="157">
                    <a:moveTo>
                      <a:pt x="237" y="13"/>
                    </a:moveTo>
                    <a:cubicBezTo>
                      <a:pt x="234" y="12"/>
                      <a:pt x="232" y="14"/>
                      <a:pt x="231" y="16"/>
                    </a:cubicBezTo>
                    <a:cubicBezTo>
                      <a:pt x="228" y="28"/>
                      <a:pt x="228" y="28"/>
                      <a:pt x="228" y="28"/>
                    </a:cubicBezTo>
                    <a:cubicBezTo>
                      <a:pt x="160" y="28"/>
                      <a:pt x="160" y="28"/>
                      <a:pt x="160" y="28"/>
                    </a:cubicBezTo>
                    <a:cubicBezTo>
                      <a:pt x="157" y="28"/>
                      <a:pt x="155" y="30"/>
                      <a:pt x="155" y="33"/>
                    </a:cubicBezTo>
                    <a:cubicBezTo>
                      <a:pt x="155" y="36"/>
                      <a:pt x="157" y="38"/>
                      <a:pt x="160" y="38"/>
                    </a:cubicBezTo>
                    <a:cubicBezTo>
                      <a:pt x="225" y="38"/>
                      <a:pt x="225" y="38"/>
                      <a:pt x="225" y="38"/>
                    </a:cubicBezTo>
                    <a:cubicBezTo>
                      <a:pt x="207" y="102"/>
                      <a:pt x="207" y="102"/>
                      <a:pt x="207" y="102"/>
                    </a:cubicBezTo>
                    <a:cubicBezTo>
                      <a:pt x="207" y="104"/>
                      <a:pt x="206" y="105"/>
                      <a:pt x="204" y="105"/>
                    </a:cubicBezTo>
                    <a:cubicBezTo>
                      <a:pt x="204" y="105"/>
                      <a:pt x="203" y="105"/>
                      <a:pt x="203" y="105"/>
                    </a:cubicBezTo>
                    <a:cubicBezTo>
                      <a:pt x="64" y="120"/>
                      <a:pt x="64" y="120"/>
                      <a:pt x="64" y="120"/>
                    </a:cubicBezTo>
                    <a:cubicBezTo>
                      <a:pt x="45" y="38"/>
                      <a:pt x="45" y="38"/>
                      <a:pt x="45" y="38"/>
                    </a:cubicBezTo>
                    <a:cubicBezTo>
                      <a:pt x="108" y="38"/>
                      <a:pt x="108" y="38"/>
                      <a:pt x="108" y="38"/>
                    </a:cubicBezTo>
                    <a:cubicBezTo>
                      <a:pt x="111" y="38"/>
                      <a:pt x="113" y="36"/>
                      <a:pt x="113" y="33"/>
                    </a:cubicBezTo>
                    <a:cubicBezTo>
                      <a:pt x="113" y="30"/>
                      <a:pt x="111" y="28"/>
                      <a:pt x="108" y="28"/>
                    </a:cubicBezTo>
                    <a:cubicBezTo>
                      <a:pt x="45" y="28"/>
                      <a:pt x="45" y="28"/>
                      <a:pt x="45" y="28"/>
                    </a:cubicBezTo>
                    <a:cubicBezTo>
                      <a:pt x="49" y="13"/>
                      <a:pt x="49" y="13"/>
                      <a:pt x="49" y="13"/>
                    </a:cubicBezTo>
                    <a:cubicBezTo>
                      <a:pt x="49" y="13"/>
                      <a:pt x="49" y="12"/>
                      <a:pt x="49" y="11"/>
                    </a:cubicBezTo>
                    <a:cubicBezTo>
                      <a:pt x="47" y="5"/>
                      <a:pt x="42" y="0"/>
                      <a:pt x="35" y="0"/>
                    </a:cubicBezTo>
                    <a:cubicBezTo>
                      <a:pt x="5" y="0"/>
                      <a:pt x="5" y="0"/>
                      <a:pt x="5" y="0"/>
                    </a:cubicBezTo>
                    <a:cubicBezTo>
                      <a:pt x="3" y="0"/>
                      <a:pt x="0" y="3"/>
                      <a:pt x="0" y="5"/>
                    </a:cubicBezTo>
                    <a:cubicBezTo>
                      <a:pt x="0" y="8"/>
                      <a:pt x="3" y="10"/>
                      <a:pt x="5" y="10"/>
                    </a:cubicBezTo>
                    <a:cubicBezTo>
                      <a:pt x="35" y="10"/>
                      <a:pt x="35" y="10"/>
                      <a:pt x="35" y="10"/>
                    </a:cubicBezTo>
                    <a:cubicBezTo>
                      <a:pt x="37" y="10"/>
                      <a:pt x="38" y="11"/>
                      <a:pt x="39" y="12"/>
                    </a:cubicBezTo>
                    <a:cubicBezTo>
                      <a:pt x="34" y="31"/>
                      <a:pt x="34" y="31"/>
                      <a:pt x="34" y="31"/>
                    </a:cubicBezTo>
                    <a:cubicBezTo>
                      <a:pt x="34" y="31"/>
                      <a:pt x="34" y="32"/>
                      <a:pt x="34" y="33"/>
                    </a:cubicBezTo>
                    <a:cubicBezTo>
                      <a:pt x="34" y="33"/>
                      <a:pt x="34" y="33"/>
                      <a:pt x="34" y="33"/>
                    </a:cubicBezTo>
                    <a:cubicBezTo>
                      <a:pt x="34" y="33"/>
                      <a:pt x="34" y="34"/>
                      <a:pt x="34" y="34"/>
                    </a:cubicBezTo>
                    <a:cubicBezTo>
                      <a:pt x="34" y="34"/>
                      <a:pt x="34" y="34"/>
                      <a:pt x="34" y="35"/>
                    </a:cubicBezTo>
                    <a:cubicBezTo>
                      <a:pt x="34" y="35"/>
                      <a:pt x="34" y="35"/>
                      <a:pt x="34" y="35"/>
                    </a:cubicBezTo>
                    <a:cubicBezTo>
                      <a:pt x="55" y="125"/>
                      <a:pt x="55" y="125"/>
                      <a:pt x="55" y="125"/>
                    </a:cubicBezTo>
                    <a:cubicBezTo>
                      <a:pt x="50" y="142"/>
                      <a:pt x="50" y="142"/>
                      <a:pt x="50" y="142"/>
                    </a:cubicBezTo>
                    <a:cubicBezTo>
                      <a:pt x="49" y="143"/>
                      <a:pt x="49" y="143"/>
                      <a:pt x="49" y="143"/>
                    </a:cubicBezTo>
                    <a:cubicBezTo>
                      <a:pt x="49" y="146"/>
                      <a:pt x="50" y="150"/>
                      <a:pt x="52" y="153"/>
                    </a:cubicBezTo>
                    <a:cubicBezTo>
                      <a:pt x="54" y="156"/>
                      <a:pt x="58" y="157"/>
                      <a:pt x="61" y="157"/>
                    </a:cubicBezTo>
                    <a:cubicBezTo>
                      <a:pt x="206" y="157"/>
                      <a:pt x="206" y="157"/>
                      <a:pt x="206" y="157"/>
                    </a:cubicBezTo>
                    <a:cubicBezTo>
                      <a:pt x="209" y="157"/>
                      <a:pt x="211" y="155"/>
                      <a:pt x="211" y="152"/>
                    </a:cubicBezTo>
                    <a:cubicBezTo>
                      <a:pt x="211" y="150"/>
                      <a:pt x="209" y="148"/>
                      <a:pt x="206" y="148"/>
                    </a:cubicBezTo>
                    <a:cubicBezTo>
                      <a:pt x="61" y="148"/>
                      <a:pt x="61" y="148"/>
                      <a:pt x="61" y="148"/>
                    </a:cubicBezTo>
                    <a:cubicBezTo>
                      <a:pt x="61" y="148"/>
                      <a:pt x="60" y="147"/>
                      <a:pt x="59" y="147"/>
                    </a:cubicBezTo>
                    <a:cubicBezTo>
                      <a:pt x="59" y="146"/>
                      <a:pt x="59" y="146"/>
                      <a:pt x="59" y="145"/>
                    </a:cubicBezTo>
                    <a:cubicBezTo>
                      <a:pt x="64" y="130"/>
                      <a:pt x="64" y="130"/>
                      <a:pt x="64" y="130"/>
                    </a:cubicBezTo>
                    <a:cubicBezTo>
                      <a:pt x="204" y="115"/>
                      <a:pt x="204" y="115"/>
                      <a:pt x="204" y="115"/>
                    </a:cubicBezTo>
                    <a:cubicBezTo>
                      <a:pt x="210" y="115"/>
                      <a:pt x="215" y="110"/>
                      <a:pt x="217" y="105"/>
                    </a:cubicBezTo>
                    <a:cubicBezTo>
                      <a:pt x="240" y="19"/>
                      <a:pt x="240" y="19"/>
                      <a:pt x="240" y="19"/>
                    </a:cubicBezTo>
                    <a:cubicBezTo>
                      <a:pt x="241" y="16"/>
                      <a:pt x="239" y="13"/>
                      <a:pt x="237" y="13"/>
                    </a:cubicBezTo>
                    <a:close/>
                  </a:path>
                </a:pathLst>
              </a:custGeom>
              <a:grp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103" name="Freeform 457">
                <a:extLst>
                  <a:ext uri="{FF2B5EF4-FFF2-40B4-BE49-F238E27FC236}">
                    <a16:creationId xmlns:a16="http://schemas.microsoft.com/office/drawing/2014/main" id="{8627A334-442A-4200-89B0-8B171CC447F0}"/>
                  </a:ext>
                </a:extLst>
              </p:cNvPr>
              <p:cNvSpPr>
                <a:spLocks noEditPoints="1"/>
              </p:cNvSpPr>
              <p:nvPr/>
            </p:nvSpPr>
            <p:spPr bwMode="auto">
              <a:xfrm>
                <a:off x="10964863" y="4005263"/>
                <a:ext cx="79375" cy="80963"/>
              </a:xfrm>
              <a:custGeom>
                <a:avLst/>
                <a:gdLst>
                  <a:gd name="T0" fmla="*/ 19 w 39"/>
                  <a:gd name="T1" fmla="*/ 0 h 40"/>
                  <a:gd name="T2" fmla="*/ 0 w 39"/>
                  <a:gd name="T3" fmla="*/ 20 h 40"/>
                  <a:gd name="T4" fmla="*/ 19 w 39"/>
                  <a:gd name="T5" fmla="*/ 40 h 40"/>
                  <a:gd name="T6" fmla="*/ 39 w 39"/>
                  <a:gd name="T7" fmla="*/ 20 h 40"/>
                  <a:gd name="T8" fmla="*/ 19 w 39"/>
                  <a:gd name="T9" fmla="*/ 0 h 40"/>
                  <a:gd name="T10" fmla="*/ 19 w 39"/>
                  <a:gd name="T11" fmla="*/ 30 h 40"/>
                  <a:gd name="T12" fmla="*/ 10 w 39"/>
                  <a:gd name="T13" fmla="*/ 20 h 40"/>
                  <a:gd name="T14" fmla="*/ 19 w 39"/>
                  <a:gd name="T15" fmla="*/ 10 h 40"/>
                  <a:gd name="T16" fmla="*/ 29 w 39"/>
                  <a:gd name="T17" fmla="*/ 20 h 40"/>
                  <a:gd name="T18" fmla="*/ 19 w 39"/>
                  <a:gd name="T19" fmla="*/ 3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40">
                    <a:moveTo>
                      <a:pt x="19" y="0"/>
                    </a:moveTo>
                    <a:cubicBezTo>
                      <a:pt x="9" y="0"/>
                      <a:pt x="0" y="9"/>
                      <a:pt x="0" y="20"/>
                    </a:cubicBezTo>
                    <a:cubicBezTo>
                      <a:pt x="0" y="31"/>
                      <a:pt x="9" y="40"/>
                      <a:pt x="19" y="40"/>
                    </a:cubicBezTo>
                    <a:cubicBezTo>
                      <a:pt x="30" y="40"/>
                      <a:pt x="39" y="31"/>
                      <a:pt x="39" y="20"/>
                    </a:cubicBezTo>
                    <a:cubicBezTo>
                      <a:pt x="39" y="9"/>
                      <a:pt x="30" y="0"/>
                      <a:pt x="19" y="0"/>
                    </a:cubicBezTo>
                    <a:close/>
                    <a:moveTo>
                      <a:pt x="19" y="30"/>
                    </a:moveTo>
                    <a:cubicBezTo>
                      <a:pt x="14" y="30"/>
                      <a:pt x="10" y="26"/>
                      <a:pt x="10" y="20"/>
                    </a:cubicBezTo>
                    <a:cubicBezTo>
                      <a:pt x="10" y="15"/>
                      <a:pt x="14" y="10"/>
                      <a:pt x="19" y="10"/>
                    </a:cubicBezTo>
                    <a:cubicBezTo>
                      <a:pt x="25" y="10"/>
                      <a:pt x="29" y="15"/>
                      <a:pt x="29" y="20"/>
                    </a:cubicBezTo>
                    <a:cubicBezTo>
                      <a:pt x="29" y="26"/>
                      <a:pt x="25" y="30"/>
                      <a:pt x="19" y="30"/>
                    </a:cubicBezTo>
                    <a:close/>
                  </a:path>
                </a:pathLst>
              </a:custGeom>
              <a:grp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104" name="Freeform 458">
                <a:extLst>
                  <a:ext uri="{FF2B5EF4-FFF2-40B4-BE49-F238E27FC236}">
                    <a16:creationId xmlns:a16="http://schemas.microsoft.com/office/drawing/2014/main" id="{A1BBE19C-6707-4F7B-B0CF-C2E6101B2979}"/>
                  </a:ext>
                </a:extLst>
              </p:cNvPr>
              <p:cNvSpPr>
                <a:spLocks noEditPoints="1"/>
              </p:cNvSpPr>
              <p:nvPr/>
            </p:nvSpPr>
            <p:spPr bwMode="auto">
              <a:xfrm>
                <a:off x="11201400" y="4005263"/>
                <a:ext cx="79375" cy="80963"/>
              </a:xfrm>
              <a:custGeom>
                <a:avLst/>
                <a:gdLst>
                  <a:gd name="T0" fmla="*/ 20 w 39"/>
                  <a:gd name="T1" fmla="*/ 0 h 40"/>
                  <a:gd name="T2" fmla="*/ 0 w 39"/>
                  <a:gd name="T3" fmla="*/ 20 h 40"/>
                  <a:gd name="T4" fmla="*/ 20 w 39"/>
                  <a:gd name="T5" fmla="*/ 40 h 40"/>
                  <a:gd name="T6" fmla="*/ 39 w 39"/>
                  <a:gd name="T7" fmla="*/ 20 h 40"/>
                  <a:gd name="T8" fmla="*/ 20 w 39"/>
                  <a:gd name="T9" fmla="*/ 0 h 40"/>
                  <a:gd name="T10" fmla="*/ 20 w 39"/>
                  <a:gd name="T11" fmla="*/ 30 h 40"/>
                  <a:gd name="T12" fmla="*/ 10 w 39"/>
                  <a:gd name="T13" fmla="*/ 20 h 40"/>
                  <a:gd name="T14" fmla="*/ 20 w 39"/>
                  <a:gd name="T15" fmla="*/ 10 h 40"/>
                  <a:gd name="T16" fmla="*/ 29 w 39"/>
                  <a:gd name="T17" fmla="*/ 20 h 40"/>
                  <a:gd name="T18" fmla="*/ 20 w 39"/>
                  <a:gd name="T19" fmla="*/ 3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40">
                    <a:moveTo>
                      <a:pt x="20" y="0"/>
                    </a:moveTo>
                    <a:cubicBezTo>
                      <a:pt x="9" y="0"/>
                      <a:pt x="0" y="9"/>
                      <a:pt x="0" y="20"/>
                    </a:cubicBezTo>
                    <a:cubicBezTo>
                      <a:pt x="0" y="31"/>
                      <a:pt x="9" y="40"/>
                      <a:pt x="20" y="40"/>
                    </a:cubicBezTo>
                    <a:cubicBezTo>
                      <a:pt x="30" y="40"/>
                      <a:pt x="39" y="31"/>
                      <a:pt x="39" y="20"/>
                    </a:cubicBezTo>
                    <a:cubicBezTo>
                      <a:pt x="39" y="9"/>
                      <a:pt x="30" y="0"/>
                      <a:pt x="20" y="0"/>
                    </a:cubicBezTo>
                    <a:close/>
                    <a:moveTo>
                      <a:pt x="20" y="30"/>
                    </a:moveTo>
                    <a:cubicBezTo>
                      <a:pt x="14" y="30"/>
                      <a:pt x="10" y="26"/>
                      <a:pt x="10" y="20"/>
                    </a:cubicBezTo>
                    <a:cubicBezTo>
                      <a:pt x="10" y="15"/>
                      <a:pt x="14" y="10"/>
                      <a:pt x="20" y="10"/>
                    </a:cubicBezTo>
                    <a:cubicBezTo>
                      <a:pt x="25" y="10"/>
                      <a:pt x="29" y="15"/>
                      <a:pt x="29" y="20"/>
                    </a:cubicBezTo>
                    <a:cubicBezTo>
                      <a:pt x="29" y="26"/>
                      <a:pt x="25" y="30"/>
                      <a:pt x="20" y="30"/>
                    </a:cubicBezTo>
                    <a:close/>
                  </a:path>
                </a:pathLst>
              </a:custGeom>
              <a:grp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105" name="Freeform 459">
                <a:extLst>
                  <a:ext uri="{FF2B5EF4-FFF2-40B4-BE49-F238E27FC236}">
                    <a16:creationId xmlns:a16="http://schemas.microsoft.com/office/drawing/2014/main" id="{5B10E027-5549-4785-B0FD-6985D9B7222F}"/>
                  </a:ext>
                </a:extLst>
              </p:cNvPr>
              <p:cNvSpPr>
                <a:spLocks/>
              </p:cNvSpPr>
              <p:nvPr/>
            </p:nvSpPr>
            <p:spPr bwMode="auto">
              <a:xfrm>
                <a:off x="11061700" y="3603625"/>
                <a:ext cx="147637" cy="250825"/>
              </a:xfrm>
              <a:custGeom>
                <a:avLst/>
                <a:gdLst>
                  <a:gd name="T0" fmla="*/ 9 w 72"/>
                  <a:gd name="T1" fmla="*/ 84 h 123"/>
                  <a:gd name="T2" fmla="*/ 2 w 72"/>
                  <a:gd name="T3" fmla="*/ 84 h 123"/>
                  <a:gd name="T4" fmla="*/ 2 w 72"/>
                  <a:gd name="T5" fmla="*/ 91 h 123"/>
                  <a:gd name="T6" fmla="*/ 33 w 72"/>
                  <a:gd name="T7" fmla="*/ 121 h 123"/>
                  <a:gd name="T8" fmla="*/ 34 w 72"/>
                  <a:gd name="T9" fmla="*/ 122 h 123"/>
                  <a:gd name="T10" fmla="*/ 36 w 72"/>
                  <a:gd name="T11" fmla="*/ 123 h 123"/>
                  <a:gd name="T12" fmla="*/ 38 w 72"/>
                  <a:gd name="T13" fmla="*/ 122 h 123"/>
                  <a:gd name="T14" fmla="*/ 39 w 72"/>
                  <a:gd name="T15" fmla="*/ 121 h 123"/>
                  <a:gd name="T16" fmla="*/ 70 w 72"/>
                  <a:gd name="T17" fmla="*/ 91 h 123"/>
                  <a:gd name="T18" fmla="*/ 70 w 72"/>
                  <a:gd name="T19" fmla="*/ 84 h 123"/>
                  <a:gd name="T20" fmla="*/ 63 w 72"/>
                  <a:gd name="T21" fmla="*/ 84 h 123"/>
                  <a:gd name="T22" fmla="*/ 41 w 72"/>
                  <a:gd name="T23" fmla="*/ 106 h 123"/>
                  <a:gd name="T24" fmla="*/ 41 w 72"/>
                  <a:gd name="T25" fmla="*/ 5 h 123"/>
                  <a:gd name="T26" fmla="*/ 36 w 72"/>
                  <a:gd name="T27" fmla="*/ 0 h 123"/>
                  <a:gd name="T28" fmla="*/ 31 w 72"/>
                  <a:gd name="T29" fmla="*/ 5 h 123"/>
                  <a:gd name="T30" fmla="*/ 31 w 72"/>
                  <a:gd name="T31" fmla="*/ 106 h 123"/>
                  <a:gd name="T32" fmla="*/ 9 w 72"/>
                  <a:gd name="T33" fmla="*/ 8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23">
                    <a:moveTo>
                      <a:pt x="9" y="84"/>
                    </a:moveTo>
                    <a:cubicBezTo>
                      <a:pt x="7" y="82"/>
                      <a:pt x="4" y="82"/>
                      <a:pt x="2" y="84"/>
                    </a:cubicBezTo>
                    <a:cubicBezTo>
                      <a:pt x="0" y="86"/>
                      <a:pt x="0" y="89"/>
                      <a:pt x="2" y="91"/>
                    </a:cubicBezTo>
                    <a:cubicBezTo>
                      <a:pt x="33" y="121"/>
                      <a:pt x="33" y="121"/>
                      <a:pt x="33" y="121"/>
                    </a:cubicBezTo>
                    <a:cubicBezTo>
                      <a:pt x="33" y="122"/>
                      <a:pt x="34" y="122"/>
                      <a:pt x="34" y="122"/>
                    </a:cubicBezTo>
                    <a:cubicBezTo>
                      <a:pt x="35" y="123"/>
                      <a:pt x="35" y="123"/>
                      <a:pt x="36" y="123"/>
                    </a:cubicBezTo>
                    <a:cubicBezTo>
                      <a:pt x="37" y="123"/>
                      <a:pt x="37" y="123"/>
                      <a:pt x="38" y="122"/>
                    </a:cubicBezTo>
                    <a:cubicBezTo>
                      <a:pt x="38" y="122"/>
                      <a:pt x="39" y="122"/>
                      <a:pt x="39" y="121"/>
                    </a:cubicBezTo>
                    <a:cubicBezTo>
                      <a:pt x="70" y="91"/>
                      <a:pt x="70" y="91"/>
                      <a:pt x="70" y="91"/>
                    </a:cubicBezTo>
                    <a:cubicBezTo>
                      <a:pt x="72" y="89"/>
                      <a:pt x="72" y="86"/>
                      <a:pt x="70" y="84"/>
                    </a:cubicBezTo>
                    <a:cubicBezTo>
                      <a:pt x="68" y="82"/>
                      <a:pt x="65" y="82"/>
                      <a:pt x="63" y="84"/>
                    </a:cubicBezTo>
                    <a:cubicBezTo>
                      <a:pt x="41" y="106"/>
                      <a:pt x="41" y="106"/>
                      <a:pt x="41" y="106"/>
                    </a:cubicBezTo>
                    <a:cubicBezTo>
                      <a:pt x="41" y="5"/>
                      <a:pt x="41" y="5"/>
                      <a:pt x="41" y="5"/>
                    </a:cubicBezTo>
                    <a:cubicBezTo>
                      <a:pt x="41" y="3"/>
                      <a:pt x="39" y="0"/>
                      <a:pt x="36" y="0"/>
                    </a:cubicBezTo>
                    <a:cubicBezTo>
                      <a:pt x="33" y="0"/>
                      <a:pt x="31" y="3"/>
                      <a:pt x="31" y="5"/>
                    </a:cubicBezTo>
                    <a:cubicBezTo>
                      <a:pt x="31" y="106"/>
                      <a:pt x="31" y="106"/>
                      <a:pt x="31" y="106"/>
                    </a:cubicBezTo>
                    <a:lnTo>
                      <a:pt x="9" y="84"/>
                    </a:lnTo>
                    <a:close/>
                  </a:path>
                </a:pathLst>
              </a:custGeom>
              <a:grp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grpSp>
      </p:grpSp>
      <p:cxnSp>
        <p:nvCxnSpPr>
          <p:cNvPr id="106" name="Straight Connector 105">
            <a:extLst>
              <a:ext uri="{FF2B5EF4-FFF2-40B4-BE49-F238E27FC236}">
                <a16:creationId xmlns:a16="http://schemas.microsoft.com/office/drawing/2014/main" id="{4F06294A-B2F9-47AE-9D95-10E8FEEFE21B}"/>
              </a:ext>
            </a:extLst>
          </p:cNvPr>
          <p:cNvCxnSpPr/>
          <p:nvPr/>
        </p:nvCxnSpPr>
        <p:spPr>
          <a:xfrm flipV="1">
            <a:off x="7393389" y="3247208"/>
            <a:ext cx="400475" cy="2661"/>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07" name="Oval 106">
            <a:extLst>
              <a:ext uri="{FF2B5EF4-FFF2-40B4-BE49-F238E27FC236}">
                <a16:creationId xmlns:a16="http://schemas.microsoft.com/office/drawing/2014/main" id="{2ACC62C8-51CF-4C67-A3D2-417A2E478BA0}"/>
              </a:ext>
            </a:extLst>
          </p:cNvPr>
          <p:cNvSpPr/>
          <p:nvPr/>
        </p:nvSpPr>
        <p:spPr>
          <a:xfrm>
            <a:off x="7323244" y="3215420"/>
            <a:ext cx="92029" cy="87889"/>
          </a:xfrm>
          <a:prstGeom prst="ellipse">
            <a:avLst/>
          </a:prstGeom>
          <a:solidFill>
            <a:schemeClr val="bg1"/>
          </a:solidFill>
          <a:ln w="2857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sp>
        <p:nvSpPr>
          <p:cNvPr id="108" name="Text Placeholder 2">
            <a:extLst>
              <a:ext uri="{FF2B5EF4-FFF2-40B4-BE49-F238E27FC236}">
                <a16:creationId xmlns:a16="http://schemas.microsoft.com/office/drawing/2014/main" id="{55DF224D-F0E2-4819-A77F-2DC226B8796E}"/>
              </a:ext>
            </a:extLst>
          </p:cNvPr>
          <p:cNvSpPr txBox="1">
            <a:spLocks/>
          </p:cNvSpPr>
          <p:nvPr/>
        </p:nvSpPr>
        <p:spPr>
          <a:xfrm>
            <a:off x="7921231" y="2926072"/>
            <a:ext cx="2043122" cy="699206"/>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400"/>
              </a:spcBef>
              <a:spcAft>
                <a:spcPts val="0"/>
              </a:spcAft>
              <a:buClr>
                <a:srgbClr val="4472C4"/>
              </a:buClr>
              <a:buSzPct val="75000"/>
              <a:buFont typeface="Arial" panose="020B0604020202020204" pitchFamily="34" charset="0"/>
              <a:buNone/>
              <a:tabLst/>
              <a:defRPr/>
            </a:pPr>
            <a:r>
              <a:rPr kumimoji="0" lang="en-US" sz="1000" b="1" i="0" u="none" strike="noStrike" kern="1200" cap="none" spc="-30" normalizeH="0" baseline="0" noProof="0" dirty="0">
                <a:ln>
                  <a:noFill/>
                </a:ln>
                <a:solidFill>
                  <a:srgbClr val="44546A"/>
                </a:solidFill>
                <a:effectLst/>
                <a:uLnTx/>
                <a:uFillTx/>
                <a:latin typeface="+mn-lt"/>
                <a:ea typeface="Chronicle Display Black" charset="0"/>
                <a:cs typeface="Chronicle Display Black" charset="0"/>
              </a:rPr>
              <a:t>Empower Them</a:t>
            </a:r>
          </a:p>
          <a:p>
            <a:pPr marL="0" marR="0" lvl="0" indent="0" algn="l" defTabSz="914400" rtl="0" eaLnBrk="1" fontAlgn="auto" latinLnBrk="0" hangingPunct="1">
              <a:lnSpc>
                <a:spcPct val="100000"/>
              </a:lnSpc>
              <a:spcBef>
                <a:spcPts val="300"/>
              </a:spcBef>
              <a:spcAft>
                <a:spcPts val="0"/>
              </a:spcAft>
              <a:buClr>
                <a:srgbClr val="4472C4"/>
              </a:buClr>
              <a:buSzPct val="75000"/>
              <a:buFont typeface="Arial" panose="020B0604020202020204" pitchFamily="34" charset="0"/>
              <a:buNone/>
              <a:tabLst/>
              <a:defRPr/>
            </a:pPr>
            <a:r>
              <a:rPr kumimoji="0" lang="en-US" sz="700" b="0" i="0" u="none" strike="noStrike" kern="1200" cap="none" spc="-30" normalizeH="0" baseline="0" noProof="0" dirty="0">
                <a:ln>
                  <a:noFill/>
                </a:ln>
                <a:solidFill>
                  <a:srgbClr val="44546A"/>
                </a:solidFill>
                <a:effectLst/>
                <a:uLnTx/>
                <a:uFillTx/>
                <a:latin typeface="+mn-lt"/>
                <a:ea typeface="Open Sans" charset="0"/>
                <a:cs typeface="Calibri Light" panose="020F0302020204030204" pitchFamily="34" charset="0"/>
              </a:rPr>
              <a:t>Power goes out one evening, but a quick glance at the new Outage Map confirms the issue is not widespread; turns out it’s just a blown fuse</a:t>
            </a:r>
          </a:p>
        </p:txBody>
      </p:sp>
      <p:grpSp>
        <p:nvGrpSpPr>
          <p:cNvPr id="109" name="Group 108">
            <a:extLst>
              <a:ext uri="{FF2B5EF4-FFF2-40B4-BE49-F238E27FC236}">
                <a16:creationId xmlns:a16="http://schemas.microsoft.com/office/drawing/2014/main" id="{780CBDA6-9E2C-4519-A9B6-43381C82654E}"/>
              </a:ext>
            </a:extLst>
          </p:cNvPr>
          <p:cNvGrpSpPr/>
          <p:nvPr/>
        </p:nvGrpSpPr>
        <p:grpSpPr>
          <a:xfrm>
            <a:off x="7510771" y="3075467"/>
            <a:ext cx="337603" cy="322417"/>
            <a:chOff x="-1160497" y="2408712"/>
            <a:chExt cx="337603" cy="322417"/>
          </a:xfrm>
        </p:grpSpPr>
        <p:sp>
          <p:nvSpPr>
            <p:cNvPr id="110" name="Oval 109">
              <a:extLst>
                <a:ext uri="{FF2B5EF4-FFF2-40B4-BE49-F238E27FC236}">
                  <a16:creationId xmlns:a16="http://schemas.microsoft.com/office/drawing/2014/main" id="{6E1E4108-2B77-412B-B037-83F083CDF060}"/>
                </a:ext>
              </a:extLst>
            </p:cNvPr>
            <p:cNvSpPr>
              <a:spLocks noChangeAspect="1"/>
            </p:cNvSpPr>
            <p:nvPr/>
          </p:nvSpPr>
          <p:spPr>
            <a:xfrm>
              <a:off x="-1160497" y="2408712"/>
              <a:ext cx="337603" cy="322417"/>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grpSp>
          <p:nvGrpSpPr>
            <p:cNvPr id="111" name="Group 110">
              <a:extLst>
                <a:ext uri="{FF2B5EF4-FFF2-40B4-BE49-F238E27FC236}">
                  <a16:creationId xmlns:a16="http://schemas.microsoft.com/office/drawing/2014/main" id="{E961ABBF-73D6-4B47-B8AF-AEB589DAA0A4}"/>
                </a:ext>
              </a:extLst>
            </p:cNvPr>
            <p:cNvGrpSpPr>
              <a:grpSpLocks noChangeAspect="1"/>
            </p:cNvGrpSpPr>
            <p:nvPr/>
          </p:nvGrpSpPr>
          <p:grpSpPr>
            <a:xfrm>
              <a:off x="-1081097" y="2485478"/>
              <a:ext cx="192076" cy="182946"/>
              <a:chOff x="9518650" y="1939925"/>
              <a:chExt cx="593725" cy="592138"/>
            </a:xfrm>
            <a:solidFill>
              <a:schemeClr val="accent2"/>
            </a:solidFill>
          </p:grpSpPr>
          <p:sp>
            <p:nvSpPr>
              <p:cNvPr id="112" name="Freeform 421">
                <a:extLst>
                  <a:ext uri="{FF2B5EF4-FFF2-40B4-BE49-F238E27FC236}">
                    <a16:creationId xmlns:a16="http://schemas.microsoft.com/office/drawing/2014/main" id="{C3E52AE8-7995-41EF-9D0E-3867997265EC}"/>
                  </a:ext>
                </a:extLst>
              </p:cNvPr>
              <p:cNvSpPr>
                <a:spLocks noEditPoints="1"/>
              </p:cNvSpPr>
              <p:nvPr/>
            </p:nvSpPr>
            <p:spPr bwMode="auto">
              <a:xfrm>
                <a:off x="9518650" y="1939925"/>
                <a:ext cx="593725" cy="592138"/>
              </a:xfrm>
              <a:custGeom>
                <a:avLst/>
                <a:gdLst>
                  <a:gd name="T0" fmla="*/ 120 w 240"/>
                  <a:gd name="T1" fmla="*/ 0 h 240"/>
                  <a:gd name="T2" fmla="*/ 0 w 240"/>
                  <a:gd name="T3" fmla="*/ 120 h 240"/>
                  <a:gd name="T4" fmla="*/ 120 w 240"/>
                  <a:gd name="T5" fmla="*/ 240 h 240"/>
                  <a:gd name="T6" fmla="*/ 240 w 240"/>
                  <a:gd name="T7" fmla="*/ 120 h 240"/>
                  <a:gd name="T8" fmla="*/ 120 w 240"/>
                  <a:gd name="T9" fmla="*/ 0 h 240"/>
                  <a:gd name="T10" fmla="*/ 120 w 240"/>
                  <a:gd name="T11" fmla="*/ 230 h 240"/>
                  <a:gd name="T12" fmla="*/ 10 w 240"/>
                  <a:gd name="T13" fmla="*/ 120 h 240"/>
                  <a:gd name="T14" fmla="*/ 120 w 240"/>
                  <a:gd name="T15" fmla="*/ 10 h 240"/>
                  <a:gd name="T16" fmla="*/ 230 w 240"/>
                  <a:gd name="T17" fmla="*/ 120 h 240"/>
                  <a:gd name="T18" fmla="*/ 120 w 240"/>
                  <a:gd name="T19" fmla="*/ 23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240">
                    <a:moveTo>
                      <a:pt x="120" y="0"/>
                    </a:moveTo>
                    <a:cubicBezTo>
                      <a:pt x="54" y="0"/>
                      <a:pt x="0" y="54"/>
                      <a:pt x="0" y="120"/>
                    </a:cubicBezTo>
                    <a:cubicBezTo>
                      <a:pt x="0" y="186"/>
                      <a:pt x="54" y="240"/>
                      <a:pt x="120" y="240"/>
                    </a:cubicBezTo>
                    <a:cubicBezTo>
                      <a:pt x="186" y="240"/>
                      <a:pt x="240" y="186"/>
                      <a:pt x="240" y="120"/>
                    </a:cubicBezTo>
                    <a:cubicBezTo>
                      <a:pt x="240" y="54"/>
                      <a:pt x="186" y="0"/>
                      <a:pt x="120" y="0"/>
                    </a:cubicBezTo>
                    <a:close/>
                    <a:moveTo>
                      <a:pt x="120" y="230"/>
                    </a:moveTo>
                    <a:cubicBezTo>
                      <a:pt x="59" y="230"/>
                      <a:pt x="10" y="180"/>
                      <a:pt x="10" y="120"/>
                    </a:cubicBezTo>
                    <a:cubicBezTo>
                      <a:pt x="10" y="59"/>
                      <a:pt x="59" y="10"/>
                      <a:pt x="120" y="10"/>
                    </a:cubicBezTo>
                    <a:cubicBezTo>
                      <a:pt x="181" y="10"/>
                      <a:pt x="230" y="59"/>
                      <a:pt x="230" y="120"/>
                    </a:cubicBezTo>
                    <a:cubicBezTo>
                      <a:pt x="230" y="180"/>
                      <a:pt x="181" y="230"/>
                      <a:pt x="120" y="2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113" name="Freeform 422">
                <a:extLst>
                  <a:ext uri="{FF2B5EF4-FFF2-40B4-BE49-F238E27FC236}">
                    <a16:creationId xmlns:a16="http://schemas.microsoft.com/office/drawing/2014/main" id="{34AF1623-E8EB-4ED6-9F8F-3F212B78C1AC}"/>
                  </a:ext>
                </a:extLst>
              </p:cNvPr>
              <p:cNvSpPr>
                <a:spLocks noEditPoints="1"/>
              </p:cNvSpPr>
              <p:nvPr/>
            </p:nvSpPr>
            <p:spPr bwMode="auto">
              <a:xfrm>
                <a:off x="9647238" y="2100263"/>
                <a:ext cx="139700" cy="125413"/>
              </a:xfrm>
              <a:custGeom>
                <a:avLst/>
                <a:gdLst>
                  <a:gd name="T0" fmla="*/ 28 w 56"/>
                  <a:gd name="T1" fmla="*/ 51 h 51"/>
                  <a:gd name="T2" fmla="*/ 46 w 56"/>
                  <a:gd name="T3" fmla="*/ 44 h 51"/>
                  <a:gd name="T4" fmla="*/ 46 w 56"/>
                  <a:gd name="T5" fmla="*/ 8 h 51"/>
                  <a:gd name="T6" fmla="*/ 28 w 56"/>
                  <a:gd name="T7" fmla="*/ 0 h 51"/>
                  <a:gd name="T8" fmla="*/ 10 w 56"/>
                  <a:gd name="T9" fmla="*/ 8 h 51"/>
                  <a:gd name="T10" fmla="*/ 10 w 56"/>
                  <a:gd name="T11" fmla="*/ 44 h 51"/>
                  <a:gd name="T12" fmla="*/ 28 w 56"/>
                  <a:gd name="T13" fmla="*/ 51 h 51"/>
                  <a:gd name="T14" fmla="*/ 17 w 56"/>
                  <a:gd name="T15" fmla="*/ 14 h 51"/>
                  <a:gd name="T16" fmla="*/ 28 w 56"/>
                  <a:gd name="T17" fmla="*/ 10 h 51"/>
                  <a:gd name="T18" fmla="*/ 40 w 56"/>
                  <a:gd name="T19" fmla="*/ 14 h 51"/>
                  <a:gd name="T20" fmla="*/ 40 w 56"/>
                  <a:gd name="T21" fmla="*/ 37 h 51"/>
                  <a:gd name="T22" fmla="*/ 17 w 56"/>
                  <a:gd name="T23" fmla="*/ 37 h 51"/>
                  <a:gd name="T24" fmla="*/ 17 w 56"/>
                  <a:gd name="T25" fmla="*/ 1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1">
                    <a:moveTo>
                      <a:pt x="28" y="51"/>
                    </a:moveTo>
                    <a:cubicBezTo>
                      <a:pt x="35" y="51"/>
                      <a:pt x="42" y="48"/>
                      <a:pt x="46" y="44"/>
                    </a:cubicBezTo>
                    <a:cubicBezTo>
                      <a:pt x="56" y="34"/>
                      <a:pt x="56" y="17"/>
                      <a:pt x="46" y="8"/>
                    </a:cubicBezTo>
                    <a:cubicBezTo>
                      <a:pt x="42" y="3"/>
                      <a:pt x="35" y="0"/>
                      <a:pt x="28" y="0"/>
                    </a:cubicBezTo>
                    <a:cubicBezTo>
                      <a:pt x="22" y="0"/>
                      <a:pt x="15" y="3"/>
                      <a:pt x="10" y="8"/>
                    </a:cubicBezTo>
                    <a:cubicBezTo>
                      <a:pt x="0" y="17"/>
                      <a:pt x="0" y="34"/>
                      <a:pt x="10" y="44"/>
                    </a:cubicBezTo>
                    <a:cubicBezTo>
                      <a:pt x="15" y="48"/>
                      <a:pt x="22" y="51"/>
                      <a:pt x="28" y="51"/>
                    </a:cubicBezTo>
                    <a:close/>
                    <a:moveTo>
                      <a:pt x="17" y="14"/>
                    </a:moveTo>
                    <a:cubicBezTo>
                      <a:pt x="20" y="11"/>
                      <a:pt x="24" y="10"/>
                      <a:pt x="28" y="10"/>
                    </a:cubicBezTo>
                    <a:cubicBezTo>
                      <a:pt x="33" y="10"/>
                      <a:pt x="37" y="11"/>
                      <a:pt x="40" y="14"/>
                    </a:cubicBezTo>
                    <a:cubicBezTo>
                      <a:pt x="46" y="21"/>
                      <a:pt x="46" y="31"/>
                      <a:pt x="40" y="37"/>
                    </a:cubicBezTo>
                    <a:cubicBezTo>
                      <a:pt x="34" y="43"/>
                      <a:pt x="23" y="43"/>
                      <a:pt x="17" y="37"/>
                    </a:cubicBezTo>
                    <a:cubicBezTo>
                      <a:pt x="11" y="31"/>
                      <a:pt x="11" y="21"/>
                      <a:pt x="17" y="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114" name="Freeform 423">
                <a:extLst>
                  <a:ext uri="{FF2B5EF4-FFF2-40B4-BE49-F238E27FC236}">
                    <a16:creationId xmlns:a16="http://schemas.microsoft.com/office/drawing/2014/main" id="{159E199F-769C-42C2-B270-7AB7350A8452}"/>
                  </a:ext>
                </a:extLst>
              </p:cNvPr>
              <p:cNvSpPr>
                <a:spLocks noEditPoints="1"/>
              </p:cNvSpPr>
              <p:nvPr/>
            </p:nvSpPr>
            <p:spPr bwMode="auto">
              <a:xfrm>
                <a:off x="9845675" y="2100263"/>
                <a:ext cx="138113" cy="125413"/>
              </a:xfrm>
              <a:custGeom>
                <a:avLst/>
                <a:gdLst>
                  <a:gd name="T0" fmla="*/ 28 w 56"/>
                  <a:gd name="T1" fmla="*/ 0 h 51"/>
                  <a:gd name="T2" fmla="*/ 10 w 56"/>
                  <a:gd name="T3" fmla="*/ 8 h 51"/>
                  <a:gd name="T4" fmla="*/ 10 w 56"/>
                  <a:gd name="T5" fmla="*/ 44 h 51"/>
                  <a:gd name="T6" fmla="*/ 28 w 56"/>
                  <a:gd name="T7" fmla="*/ 51 h 51"/>
                  <a:gd name="T8" fmla="*/ 46 w 56"/>
                  <a:gd name="T9" fmla="*/ 44 h 51"/>
                  <a:gd name="T10" fmla="*/ 46 w 56"/>
                  <a:gd name="T11" fmla="*/ 8 h 51"/>
                  <a:gd name="T12" fmla="*/ 28 w 56"/>
                  <a:gd name="T13" fmla="*/ 0 h 51"/>
                  <a:gd name="T14" fmla="*/ 39 w 56"/>
                  <a:gd name="T15" fmla="*/ 37 h 51"/>
                  <a:gd name="T16" fmla="*/ 16 w 56"/>
                  <a:gd name="T17" fmla="*/ 37 h 51"/>
                  <a:gd name="T18" fmla="*/ 16 w 56"/>
                  <a:gd name="T19" fmla="*/ 14 h 51"/>
                  <a:gd name="T20" fmla="*/ 28 w 56"/>
                  <a:gd name="T21" fmla="*/ 10 h 51"/>
                  <a:gd name="T22" fmla="*/ 39 w 56"/>
                  <a:gd name="T23" fmla="*/ 14 h 51"/>
                  <a:gd name="T24" fmla="*/ 39 w 56"/>
                  <a:gd name="T25" fmla="*/ 3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1">
                    <a:moveTo>
                      <a:pt x="28" y="0"/>
                    </a:moveTo>
                    <a:cubicBezTo>
                      <a:pt x="21" y="0"/>
                      <a:pt x="14" y="3"/>
                      <a:pt x="10" y="8"/>
                    </a:cubicBezTo>
                    <a:cubicBezTo>
                      <a:pt x="0" y="17"/>
                      <a:pt x="0" y="34"/>
                      <a:pt x="10" y="44"/>
                    </a:cubicBezTo>
                    <a:cubicBezTo>
                      <a:pt x="14" y="48"/>
                      <a:pt x="21" y="51"/>
                      <a:pt x="28" y="51"/>
                    </a:cubicBezTo>
                    <a:cubicBezTo>
                      <a:pt x="34" y="51"/>
                      <a:pt x="41" y="48"/>
                      <a:pt x="46" y="44"/>
                    </a:cubicBezTo>
                    <a:cubicBezTo>
                      <a:pt x="56" y="34"/>
                      <a:pt x="56" y="17"/>
                      <a:pt x="46" y="8"/>
                    </a:cubicBezTo>
                    <a:cubicBezTo>
                      <a:pt x="41" y="3"/>
                      <a:pt x="34" y="0"/>
                      <a:pt x="28" y="0"/>
                    </a:cubicBezTo>
                    <a:close/>
                    <a:moveTo>
                      <a:pt x="39" y="37"/>
                    </a:moveTo>
                    <a:cubicBezTo>
                      <a:pt x="33" y="43"/>
                      <a:pt x="22" y="43"/>
                      <a:pt x="16" y="37"/>
                    </a:cubicBezTo>
                    <a:cubicBezTo>
                      <a:pt x="10" y="31"/>
                      <a:pt x="10" y="21"/>
                      <a:pt x="16" y="14"/>
                    </a:cubicBezTo>
                    <a:cubicBezTo>
                      <a:pt x="19" y="11"/>
                      <a:pt x="23" y="10"/>
                      <a:pt x="28" y="10"/>
                    </a:cubicBezTo>
                    <a:cubicBezTo>
                      <a:pt x="32" y="10"/>
                      <a:pt x="36" y="11"/>
                      <a:pt x="39" y="14"/>
                    </a:cubicBezTo>
                    <a:cubicBezTo>
                      <a:pt x="45" y="21"/>
                      <a:pt x="45" y="31"/>
                      <a:pt x="39" y="3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115" name="Freeform 424">
                <a:extLst>
                  <a:ext uri="{FF2B5EF4-FFF2-40B4-BE49-F238E27FC236}">
                    <a16:creationId xmlns:a16="http://schemas.microsoft.com/office/drawing/2014/main" id="{462288DB-3336-42BD-9D43-0498B183416F}"/>
                  </a:ext>
                </a:extLst>
              </p:cNvPr>
              <p:cNvSpPr>
                <a:spLocks noEditPoints="1"/>
              </p:cNvSpPr>
              <p:nvPr/>
            </p:nvSpPr>
            <p:spPr bwMode="auto">
              <a:xfrm>
                <a:off x="9667875" y="2309813"/>
                <a:ext cx="296863" cy="111125"/>
              </a:xfrm>
              <a:custGeom>
                <a:avLst/>
                <a:gdLst>
                  <a:gd name="T0" fmla="*/ 115 w 120"/>
                  <a:gd name="T1" fmla="*/ 0 h 45"/>
                  <a:gd name="T2" fmla="*/ 5 w 120"/>
                  <a:gd name="T3" fmla="*/ 0 h 45"/>
                  <a:gd name="T4" fmla="*/ 1 w 120"/>
                  <a:gd name="T5" fmla="*/ 3 h 45"/>
                  <a:gd name="T6" fmla="*/ 1 w 120"/>
                  <a:gd name="T7" fmla="*/ 7 h 45"/>
                  <a:gd name="T8" fmla="*/ 60 w 120"/>
                  <a:gd name="T9" fmla="*/ 45 h 45"/>
                  <a:gd name="T10" fmla="*/ 119 w 120"/>
                  <a:gd name="T11" fmla="*/ 7 h 45"/>
                  <a:gd name="T12" fmla="*/ 119 w 120"/>
                  <a:gd name="T13" fmla="*/ 3 h 45"/>
                  <a:gd name="T14" fmla="*/ 115 w 120"/>
                  <a:gd name="T15" fmla="*/ 0 h 45"/>
                  <a:gd name="T16" fmla="*/ 60 w 120"/>
                  <a:gd name="T17" fmla="*/ 35 h 45"/>
                  <a:gd name="T18" fmla="*/ 14 w 120"/>
                  <a:gd name="T19" fmla="*/ 10 h 45"/>
                  <a:gd name="T20" fmla="*/ 107 w 120"/>
                  <a:gd name="T21" fmla="*/ 10 h 45"/>
                  <a:gd name="T22" fmla="*/ 60 w 120"/>
                  <a:gd name="T23" fmla="*/ 3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45">
                    <a:moveTo>
                      <a:pt x="115" y="0"/>
                    </a:moveTo>
                    <a:cubicBezTo>
                      <a:pt x="5" y="0"/>
                      <a:pt x="5" y="0"/>
                      <a:pt x="5" y="0"/>
                    </a:cubicBezTo>
                    <a:cubicBezTo>
                      <a:pt x="4" y="0"/>
                      <a:pt x="2" y="1"/>
                      <a:pt x="1" y="3"/>
                    </a:cubicBezTo>
                    <a:cubicBezTo>
                      <a:pt x="0" y="4"/>
                      <a:pt x="0" y="6"/>
                      <a:pt x="1" y="7"/>
                    </a:cubicBezTo>
                    <a:cubicBezTo>
                      <a:pt x="11" y="30"/>
                      <a:pt x="35" y="45"/>
                      <a:pt x="60" y="45"/>
                    </a:cubicBezTo>
                    <a:cubicBezTo>
                      <a:pt x="85" y="45"/>
                      <a:pt x="109" y="30"/>
                      <a:pt x="119" y="7"/>
                    </a:cubicBezTo>
                    <a:cubicBezTo>
                      <a:pt x="120" y="6"/>
                      <a:pt x="120" y="4"/>
                      <a:pt x="119" y="3"/>
                    </a:cubicBezTo>
                    <a:cubicBezTo>
                      <a:pt x="118" y="1"/>
                      <a:pt x="116" y="0"/>
                      <a:pt x="115" y="0"/>
                    </a:cubicBezTo>
                    <a:close/>
                    <a:moveTo>
                      <a:pt x="60" y="35"/>
                    </a:moveTo>
                    <a:cubicBezTo>
                      <a:pt x="41" y="35"/>
                      <a:pt x="24" y="26"/>
                      <a:pt x="14" y="10"/>
                    </a:cubicBezTo>
                    <a:cubicBezTo>
                      <a:pt x="107" y="10"/>
                      <a:pt x="107" y="10"/>
                      <a:pt x="107" y="10"/>
                    </a:cubicBezTo>
                    <a:cubicBezTo>
                      <a:pt x="96" y="26"/>
                      <a:pt x="79" y="35"/>
                      <a:pt x="60" y="3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grpSp>
      </p:grpSp>
      <p:grpSp>
        <p:nvGrpSpPr>
          <p:cNvPr id="116" name="Group 115">
            <a:extLst>
              <a:ext uri="{FF2B5EF4-FFF2-40B4-BE49-F238E27FC236}">
                <a16:creationId xmlns:a16="http://schemas.microsoft.com/office/drawing/2014/main" id="{0B7A100D-DB9A-4A5E-82B3-0C25480DFED3}"/>
              </a:ext>
            </a:extLst>
          </p:cNvPr>
          <p:cNvGrpSpPr/>
          <p:nvPr/>
        </p:nvGrpSpPr>
        <p:grpSpPr>
          <a:xfrm>
            <a:off x="3845791" y="2533498"/>
            <a:ext cx="337603" cy="322417"/>
            <a:chOff x="3492716" y="3620948"/>
            <a:chExt cx="337603" cy="322417"/>
          </a:xfrm>
        </p:grpSpPr>
        <p:sp>
          <p:nvSpPr>
            <p:cNvPr id="117" name="Oval 116">
              <a:extLst>
                <a:ext uri="{FF2B5EF4-FFF2-40B4-BE49-F238E27FC236}">
                  <a16:creationId xmlns:a16="http://schemas.microsoft.com/office/drawing/2014/main" id="{5FC17EC5-63DC-49CB-822C-CA035FC86C4B}"/>
                </a:ext>
              </a:extLst>
            </p:cNvPr>
            <p:cNvSpPr>
              <a:spLocks noChangeAspect="1"/>
            </p:cNvSpPr>
            <p:nvPr/>
          </p:nvSpPr>
          <p:spPr>
            <a:xfrm>
              <a:off x="3492716" y="3620948"/>
              <a:ext cx="337603" cy="322417"/>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grpSp>
          <p:nvGrpSpPr>
            <p:cNvPr id="118" name="Group 117">
              <a:extLst>
                <a:ext uri="{FF2B5EF4-FFF2-40B4-BE49-F238E27FC236}">
                  <a16:creationId xmlns:a16="http://schemas.microsoft.com/office/drawing/2014/main" id="{0CDF57AF-F041-4284-B06E-D51188AC4DC1}"/>
                </a:ext>
              </a:extLst>
            </p:cNvPr>
            <p:cNvGrpSpPr>
              <a:grpSpLocks noChangeAspect="1"/>
            </p:cNvGrpSpPr>
            <p:nvPr/>
          </p:nvGrpSpPr>
          <p:grpSpPr>
            <a:xfrm>
              <a:off x="3565805" y="3698812"/>
              <a:ext cx="214024" cy="166688"/>
              <a:chOff x="10825163" y="5303838"/>
              <a:chExt cx="509587" cy="396875"/>
            </a:xfrm>
            <a:solidFill>
              <a:schemeClr val="tx1"/>
            </a:solidFill>
          </p:grpSpPr>
          <p:sp>
            <p:nvSpPr>
              <p:cNvPr id="119" name="Freeform 472">
                <a:extLst>
                  <a:ext uri="{FF2B5EF4-FFF2-40B4-BE49-F238E27FC236}">
                    <a16:creationId xmlns:a16="http://schemas.microsoft.com/office/drawing/2014/main" id="{292EE89B-211B-4883-96D9-9CBEDF651296}"/>
                  </a:ext>
                </a:extLst>
              </p:cNvPr>
              <p:cNvSpPr>
                <a:spLocks noEditPoints="1"/>
              </p:cNvSpPr>
              <p:nvPr/>
            </p:nvSpPr>
            <p:spPr bwMode="auto">
              <a:xfrm>
                <a:off x="11022013" y="5426075"/>
                <a:ext cx="120650" cy="160337"/>
              </a:xfrm>
              <a:custGeom>
                <a:avLst/>
                <a:gdLst>
                  <a:gd name="T0" fmla="*/ 28 w 51"/>
                  <a:gd name="T1" fmla="*/ 28 h 68"/>
                  <a:gd name="T2" fmla="*/ 23 w 51"/>
                  <a:gd name="T3" fmla="*/ 12 h 68"/>
                  <a:gd name="T4" fmla="*/ 32 w 51"/>
                  <a:gd name="T5" fmla="*/ 13 h 68"/>
                  <a:gd name="T6" fmla="*/ 35 w 51"/>
                  <a:gd name="T7" fmla="*/ 13 h 68"/>
                  <a:gd name="T8" fmla="*/ 37 w 51"/>
                  <a:gd name="T9" fmla="*/ 11 h 68"/>
                  <a:gd name="T10" fmla="*/ 38 w 51"/>
                  <a:gd name="T11" fmla="*/ 8 h 68"/>
                  <a:gd name="T12" fmla="*/ 34 w 51"/>
                  <a:gd name="T13" fmla="*/ 5 h 68"/>
                  <a:gd name="T14" fmla="*/ 21 w 51"/>
                  <a:gd name="T15" fmla="*/ 4 h 68"/>
                  <a:gd name="T16" fmla="*/ 20 w 51"/>
                  <a:gd name="T17" fmla="*/ 3 h 68"/>
                  <a:gd name="T18" fmla="*/ 16 w 51"/>
                  <a:gd name="T19" fmla="*/ 0 h 68"/>
                  <a:gd name="T20" fmla="*/ 13 w 51"/>
                  <a:gd name="T21" fmla="*/ 2 h 68"/>
                  <a:gd name="T22" fmla="*/ 13 w 51"/>
                  <a:gd name="T23" fmla="*/ 5 h 68"/>
                  <a:gd name="T24" fmla="*/ 14 w 51"/>
                  <a:gd name="T25" fmla="*/ 6 h 68"/>
                  <a:gd name="T26" fmla="*/ 2 w 51"/>
                  <a:gd name="T27" fmla="*/ 26 h 68"/>
                  <a:gd name="T28" fmla="*/ 23 w 51"/>
                  <a:gd name="T29" fmla="*/ 37 h 68"/>
                  <a:gd name="T30" fmla="*/ 28 w 51"/>
                  <a:gd name="T31" fmla="*/ 53 h 68"/>
                  <a:gd name="T32" fmla="*/ 15 w 51"/>
                  <a:gd name="T33" fmla="*/ 51 h 68"/>
                  <a:gd name="T34" fmla="*/ 12 w 51"/>
                  <a:gd name="T35" fmla="*/ 51 h 68"/>
                  <a:gd name="T36" fmla="*/ 9 w 51"/>
                  <a:gd name="T37" fmla="*/ 56 h 68"/>
                  <a:gd name="T38" fmla="*/ 12 w 51"/>
                  <a:gd name="T39" fmla="*/ 59 h 68"/>
                  <a:gd name="T40" fmla="*/ 30 w 51"/>
                  <a:gd name="T41" fmla="*/ 61 h 68"/>
                  <a:gd name="T42" fmla="*/ 31 w 51"/>
                  <a:gd name="T43" fmla="*/ 66 h 68"/>
                  <a:gd name="T44" fmla="*/ 35 w 51"/>
                  <a:gd name="T45" fmla="*/ 68 h 68"/>
                  <a:gd name="T46" fmla="*/ 36 w 51"/>
                  <a:gd name="T47" fmla="*/ 68 h 68"/>
                  <a:gd name="T48" fmla="*/ 38 w 51"/>
                  <a:gd name="T49" fmla="*/ 63 h 68"/>
                  <a:gd name="T50" fmla="*/ 37 w 51"/>
                  <a:gd name="T51" fmla="*/ 59 h 68"/>
                  <a:gd name="T52" fmla="*/ 49 w 51"/>
                  <a:gd name="T53" fmla="*/ 39 h 68"/>
                  <a:gd name="T54" fmla="*/ 28 w 51"/>
                  <a:gd name="T55" fmla="*/ 28 h 68"/>
                  <a:gd name="T56" fmla="*/ 20 w 51"/>
                  <a:gd name="T57" fmla="*/ 28 h 68"/>
                  <a:gd name="T58" fmla="*/ 10 w 51"/>
                  <a:gd name="T59" fmla="*/ 23 h 68"/>
                  <a:gd name="T60" fmla="*/ 16 w 51"/>
                  <a:gd name="T61" fmla="*/ 13 h 68"/>
                  <a:gd name="T62" fmla="*/ 20 w 51"/>
                  <a:gd name="T63" fmla="*/ 28 h 68"/>
                  <a:gd name="T64" fmla="*/ 35 w 51"/>
                  <a:gd name="T65" fmla="*/ 52 h 68"/>
                  <a:gd name="T66" fmla="*/ 30 w 51"/>
                  <a:gd name="T67" fmla="*/ 36 h 68"/>
                  <a:gd name="T68" fmla="*/ 30 w 51"/>
                  <a:gd name="T69" fmla="*/ 36 h 68"/>
                  <a:gd name="T70" fmla="*/ 41 w 51"/>
                  <a:gd name="T71" fmla="*/ 42 h 68"/>
                  <a:gd name="T72" fmla="*/ 35 w 51"/>
                  <a:gd name="T73" fmla="*/ 5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 h="68">
                    <a:moveTo>
                      <a:pt x="28" y="28"/>
                    </a:moveTo>
                    <a:cubicBezTo>
                      <a:pt x="23" y="12"/>
                      <a:pt x="23" y="12"/>
                      <a:pt x="23" y="12"/>
                    </a:cubicBezTo>
                    <a:cubicBezTo>
                      <a:pt x="26" y="12"/>
                      <a:pt x="29" y="12"/>
                      <a:pt x="32" y="13"/>
                    </a:cubicBezTo>
                    <a:cubicBezTo>
                      <a:pt x="33" y="14"/>
                      <a:pt x="34" y="13"/>
                      <a:pt x="35" y="13"/>
                    </a:cubicBezTo>
                    <a:cubicBezTo>
                      <a:pt x="36" y="13"/>
                      <a:pt x="37" y="12"/>
                      <a:pt x="37" y="11"/>
                    </a:cubicBezTo>
                    <a:cubicBezTo>
                      <a:pt x="38" y="10"/>
                      <a:pt x="38" y="9"/>
                      <a:pt x="38" y="8"/>
                    </a:cubicBezTo>
                    <a:cubicBezTo>
                      <a:pt x="37" y="6"/>
                      <a:pt x="36" y="6"/>
                      <a:pt x="34" y="5"/>
                    </a:cubicBezTo>
                    <a:cubicBezTo>
                      <a:pt x="30" y="4"/>
                      <a:pt x="25" y="3"/>
                      <a:pt x="21" y="4"/>
                    </a:cubicBezTo>
                    <a:cubicBezTo>
                      <a:pt x="20" y="3"/>
                      <a:pt x="20" y="3"/>
                      <a:pt x="20" y="3"/>
                    </a:cubicBezTo>
                    <a:cubicBezTo>
                      <a:pt x="20" y="1"/>
                      <a:pt x="18" y="0"/>
                      <a:pt x="16" y="0"/>
                    </a:cubicBezTo>
                    <a:cubicBezTo>
                      <a:pt x="15" y="0"/>
                      <a:pt x="14" y="1"/>
                      <a:pt x="13" y="2"/>
                    </a:cubicBezTo>
                    <a:cubicBezTo>
                      <a:pt x="13" y="3"/>
                      <a:pt x="13" y="4"/>
                      <a:pt x="13" y="5"/>
                    </a:cubicBezTo>
                    <a:cubicBezTo>
                      <a:pt x="14" y="6"/>
                      <a:pt x="14" y="6"/>
                      <a:pt x="14" y="6"/>
                    </a:cubicBezTo>
                    <a:cubicBezTo>
                      <a:pt x="4" y="10"/>
                      <a:pt x="0" y="18"/>
                      <a:pt x="2" y="26"/>
                    </a:cubicBezTo>
                    <a:cubicBezTo>
                      <a:pt x="4" y="34"/>
                      <a:pt x="11" y="37"/>
                      <a:pt x="23" y="37"/>
                    </a:cubicBezTo>
                    <a:cubicBezTo>
                      <a:pt x="28" y="53"/>
                      <a:pt x="28" y="53"/>
                      <a:pt x="28" y="53"/>
                    </a:cubicBezTo>
                    <a:cubicBezTo>
                      <a:pt x="23" y="54"/>
                      <a:pt x="19" y="53"/>
                      <a:pt x="15" y="51"/>
                    </a:cubicBezTo>
                    <a:cubicBezTo>
                      <a:pt x="14" y="51"/>
                      <a:pt x="13" y="51"/>
                      <a:pt x="12" y="51"/>
                    </a:cubicBezTo>
                    <a:cubicBezTo>
                      <a:pt x="10" y="52"/>
                      <a:pt x="8" y="54"/>
                      <a:pt x="9" y="56"/>
                    </a:cubicBezTo>
                    <a:cubicBezTo>
                      <a:pt x="9" y="57"/>
                      <a:pt x="10" y="58"/>
                      <a:pt x="12" y="59"/>
                    </a:cubicBezTo>
                    <a:cubicBezTo>
                      <a:pt x="18" y="61"/>
                      <a:pt x="24" y="62"/>
                      <a:pt x="30" y="61"/>
                    </a:cubicBezTo>
                    <a:cubicBezTo>
                      <a:pt x="31" y="66"/>
                      <a:pt x="31" y="66"/>
                      <a:pt x="31" y="66"/>
                    </a:cubicBezTo>
                    <a:cubicBezTo>
                      <a:pt x="32" y="67"/>
                      <a:pt x="33" y="68"/>
                      <a:pt x="35" y="68"/>
                    </a:cubicBezTo>
                    <a:cubicBezTo>
                      <a:pt x="35" y="68"/>
                      <a:pt x="35" y="68"/>
                      <a:pt x="36" y="68"/>
                    </a:cubicBezTo>
                    <a:cubicBezTo>
                      <a:pt x="38" y="67"/>
                      <a:pt x="39" y="65"/>
                      <a:pt x="38" y="63"/>
                    </a:cubicBezTo>
                    <a:cubicBezTo>
                      <a:pt x="37" y="59"/>
                      <a:pt x="37" y="59"/>
                      <a:pt x="37" y="59"/>
                    </a:cubicBezTo>
                    <a:cubicBezTo>
                      <a:pt x="46" y="55"/>
                      <a:pt x="51" y="47"/>
                      <a:pt x="49" y="39"/>
                    </a:cubicBezTo>
                    <a:cubicBezTo>
                      <a:pt x="46" y="31"/>
                      <a:pt x="40" y="28"/>
                      <a:pt x="28" y="28"/>
                    </a:cubicBezTo>
                    <a:close/>
                    <a:moveTo>
                      <a:pt x="20" y="28"/>
                    </a:moveTo>
                    <a:cubicBezTo>
                      <a:pt x="13" y="28"/>
                      <a:pt x="11" y="26"/>
                      <a:pt x="10" y="23"/>
                    </a:cubicBezTo>
                    <a:cubicBezTo>
                      <a:pt x="9" y="19"/>
                      <a:pt x="11" y="15"/>
                      <a:pt x="16" y="13"/>
                    </a:cubicBezTo>
                    <a:lnTo>
                      <a:pt x="20" y="28"/>
                    </a:lnTo>
                    <a:close/>
                    <a:moveTo>
                      <a:pt x="35" y="52"/>
                    </a:moveTo>
                    <a:cubicBezTo>
                      <a:pt x="30" y="36"/>
                      <a:pt x="30" y="36"/>
                      <a:pt x="30" y="36"/>
                    </a:cubicBezTo>
                    <a:cubicBezTo>
                      <a:pt x="30" y="36"/>
                      <a:pt x="30" y="36"/>
                      <a:pt x="30" y="36"/>
                    </a:cubicBezTo>
                    <a:cubicBezTo>
                      <a:pt x="38" y="36"/>
                      <a:pt x="40" y="38"/>
                      <a:pt x="41" y="42"/>
                    </a:cubicBezTo>
                    <a:cubicBezTo>
                      <a:pt x="42" y="46"/>
                      <a:pt x="40" y="50"/>
                      <a:pt x="35" y="5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120" name="Freeform 473">
                <a:extLst>
                  <a:ext uri="{FF2B5EF4-FFF2-40B4-BE49-F238E27FC236}">
                    <a16:creationId xmlns:a16="http://schemas.microsoft.com/office/drawing/2014/main" id="{7270911B-3325-424F-ADAF-FCD6711B8EF6}"/>
                  </a:ext>
                </a:extLst>
              </p:cNvPr>
              <p:cNvSpPr>
                <a:spLocks noEditPoints="1"/>
              </p:cNvSpPr>
              <p:nvPr/>
            </p:nvSpPr>
            <p:spPr bwMode="auto">
              <a:xfrm>
                <a:off x="10825163" y="5303838"/>
                <a:ext cx="509587" cy="396875"/>
              </a:xfrm>
              <a:custGeom>
                <a:avLst/>
                <a:gdLst>
                  <a:gd name="T0" fmla="*/ 214 w 215"/>
                  <a:gd name="T1" fmla="*/ 113 h 167"/>
                  <a:gd name="T2" fmla="*/ 215 w 215"/>
                  <a:gd name="T3" fmla="*/ 109 h 167"/>
                  <a:gd name="T4" fmla="*/ 184 w 215"/>
                  <a:gd name="T5" fmla="*/ 4 h 167"/>
                  <a:gd name="T6" fmla="*/ 181 w 215"/>
                  <a:gd name="T7" fmla="*/ 1 h 167"/>
                  <a:gd name="T8" fmla="*/ 178 w 215"/>
                  <a:gd name="T9" fmla="*/ 1 h 167"/>
                  <a:gd name="T10" fmla="*/ 4 w 215"/>
                  <a:gd name="T11" fmla="*/ 52 h 167"/>
                  <a:gd name="T12" fmla="*/ 1 w 215"/>
                  <a:gd name="T13" fmla="*/ 55 h 167"/>
                  <a:gd name="T14" fmla="*/ 1 w 215"/>
                  <a:gd name="T15" fmla="*/ 58 h 167"/>
                  <a:gd name="T16" fmla="*/ 23 w 215"/>
                  <a:gd name="T17" fmla="*/ 135 h 167"/>
                  <a:gd name="T18" fmla="*/ 23 w 215"/>
                  <a:gd name="T19" fmla="*/ 135 h 167"/>
                  <a:gd name="T20" fmla="*/ 23 w 215"/>
                  <a:gd name="T21" fmla="*/ 135 h 167"/>
                  <a:gd name="T22" fmla="*/ 32 w 215"/>
                  <a:gd name="T23" fmla="*/ 163 h 167"/>
                  <a:gd name="T24" fmla="*/ 36 w 215"/>
                  <a:gd name="T25" fmla="*/ 167 h 167"/>
                  <a:gd name="T26" fmla="*/ 38 w 215"/>
                  <a:gd name="T27" fmla="*/ 166 h 167"/>
                  <a:gd name="T28" fmla="*/ 212 w 215"/>
                  <a:gd name="T29" fmla="*/ 115 h 167"/>
                  <a:gd name="T30" fmla="*/ 214 w 215"/>
                  <a:gd name="T31" fmla="*/ 113 h 167"/>
                  <a:gd name="T32" fmla="*/ 175 w 215"/>
                  <a:gd name="T33" fmla="*/ 116 h 167"/>
                  <a:gd name="T34" fmla="*/ 67 w 215"/>
                  <a:gd name="T35" fmla="*/ 147 h 167"/>
                  <a:gd name="T36" fmla="*/ 31 w 215"/>
                  <a:gd name="T37" fmla="*/ 128 h 167"/>
                  <a:gd name="T38" fmla="*/ 20 w 215"/>
                  <a:gd name="T39" fmla="*/ 88 h 167"/>
                  <a:gd name="T40" fmla="*/ 35 w 215"/>
                  <a:gd name="T41" fmla="*/ 73 h 167"/>
                  <a:gd name="T42" fmla="*/ 39 w 215"/>
                  <a:gd name="T43" fmla="*/ 52 h 167"/>
                  <a:gd name="T44" fmla="*/ 149 w 215"/>
                  <a:gd name="T45" fmla="*/ 20 h 167"/>
                  <a:gd name="T46" fmla="*/ 163 w 215"/>
                  <a:gd name="T47" fmla="*/ 36 h 167"/>
                  <a:gd name="T48" fmla="*/ 178 w 215"/>
                  <a:gd name="T49" fmla="*/ 40 h 167"/>
                  <a:gd name="T50" fmla="*/ 184 w 215"/>
                  <a:gd name="T51" fmla="*/ 39 h 167"/>
                  <a:gd name="T52" fmla="*/ 196 w 215"/>
                  <a:gd name="T53" fmla="*/ 78 h 167"/>
                  <a:gd name="T54" fmla="*/ 175 w 215"/>
                  <a:gd name="T55" fmla="*/ 116 h 167"/>
                  <a:gd name="T56" fmla="*/ 181 w 215"/>
                  <a:gd name="T57" fmla="*/ 29 h 167"/>
                  <a:gd name="T58" fmla="*/ 168 w 215"/>
                  <a:gd name="T59" fmla="*/ 27 h 167"/>
                  <a:gd name="T60" fmla="*/ 158 w 215"/>
                  <a:gd name="T61" fmla="*/ 17 h 167"/>
                  <a:gd name="T62" fmla="*/ 176 w 215"/>
                  <a:gd name="T63" fmla="*/ 11 h 167"/>
                  <a:gd name="T64" fmla="*/ 181 w 215"/>
                  <a:gd name="T65" fmla="*/ 29 h 167"/>
                  <a:gd name="T66" fmla="*/ 30 w 215"/>
                  <a:gd name="T67" fmla="*/ 55 h 167"/>
                  <a:gd name="T68" fmla="*/ 27 w 215"/>
                  <a:gd name="T69" fmla="*/ 69 h 167"/>
                  <a:gd name="T70" fmla="*/ 17 w 215"/>
                  <a:gd name="T71" fmla="*/ 79 h 167"/>
                  <a:gd name="T72" fmla="*/ 11 w 215"/>
                  <a:gd name="T73" fmla="*/ 60 h 167"/>
                  <a:gd name="T74" fmla="*/ 30 w 215"/>
                  <a:gd name="T75" fmla="*/ 55 h 167"/>
                  <a:gd name="T76" fmla="*/ 34 w 215"/>
                  <a:gd name="T77" fmla="*/ 137 h 167"/>
                  <a:gd name="T78" fmla="*/ 58 w 215"/>
                  <a:gd name="T79" fmla="*/ 150 h 167"/>
                  <a:gd name="T80" fmla="*/ 40 w 215"/>
                  <a:gd name="T81" fmla="*/ 156 h 167"/>
                  <a:gd name="T82" fmla="*/ 34 w 215"/>
                  <a:gd name="T83" fmla="*/ 137 h 167"/>
                  <a:gd name="T84" fmla="*/ 184 w 215"/>
                  <a:gd name="T85" fmla="*/ 113 h 167"/>
                  <a:gd name="T86" fmla="*/ 198 w 215"/>
                  <a:gd name="T87" fmla="*/ 87 h 167"/>
                  <a:gd name="T88" fmla="*/ 204 w 215"/>
                  <a:gd name="T89" fmla="*/ 107 h 167"/>
                  <a:gd name="T90" fmla="*/ 184 w 215"/>
                  <a:gd name="T91" fmla="*/ 113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5" h="167">
                    <a:moveTo>
                      <a:pt x="214" y="113"/>
                    </a:moveTo>
                    <a:cubicBezTo>
                      <a:pt x="215" y="111"/>
                      <a:pt x="215" y="110"/>
                      <a:pt x="215" y="109"/>
                    </a:cubicBezTo>
                    <a:cubicBezTo>
                      <a:pt x="184" y="4"/>
                      <a:pt x="184" y="4"/>
                      <a:pt x="184" y="4"/>
                    </a:cubicBezTo>
                    <a:cubicBezTo>
                      <a:pt x="183" y="3"/>
                      <a:pt x="183" y="2"/>
                      <a:pt x="181" y="1"/>
                    </a:cubicBezTo>
                    <a:cubicBezTo>
                      <a:pt x="180" y="1"/>
                      <a:pt x="179" y="0"/>
                      <a:pt x="178" y="1"/>
                    </a:cubicBezTo>
                    <a:cubicBezTo>
                      <a:pt x="4" y="52"/>
                      <a:pt x="4" y="52"/>
                      <a:pt x="4" y="52"/>
                    </a:cubicBezTo>
                    <a:cubicBezTo>
                      <a:pt x="3" y="53"/>
                      <a:pt x="2" y="53"/>
                      <a:pt x="1" y="55"/>
                    </a:cubicBezTo>
                    <a:cubicBezTo>
                      <a:pt x="0" y="56"/>
                      <a:pt x="0" y="57"/>
                      <a:pt x="1" y="58"/>
                    </a:cubicBezTo>
                    <a:cubicBezTo>
                      <a:pt x="23" y="135"/>
                      <a:pt x="23" y="135"/>
                      <a:pt x="23" y="135"/>
                    </a:cubicBezTo>
                    <a:cubicBezTo>
                      <a:pt x="23" y="135"/>
                      <a:pt x="23" y="135"/>
                      <a:pt x="23" y="135"/>
                    </a:cubicBezTo>
                    <a:cubicBezTo>
                      <a:pt x="23" y="135"/>
                      <a:pt x="23" y="135"/>
                      <a:pt x="23" y="135"/>
                    </a:cubicBezTo>
                    <a:cubicBezTo>
                      <a:pt x="32" y="163"/>
                      <a:pt x="32" y="163"/>
                      <a:pt x="32" y="163"/>
                    </a:cubicBezTo>
                    <a:cubicBezTo>
                      <a:pt x="32" y="165"/>
                      <a:pt x="34" y="167"/>
                      <a:pt x="36" y="167"/>
                    </a:cubicBezTo>
                    <a:cubicBezTo>
                      <a:pt x="37" y="167"/>
                      <a:pt x="37" y="166"/>
                      <a:pt x="38" y="166"/>
                    </a:cubicBezTo>
                    <a:cubicBezTo>
                      <a:pt x="212" y="115"/>
                      <a:pt x="212" y="115"/>
                      <a:pt x="212" y="115"/>
                    </a:cubicBezTo>
                    <a:cubicBezTo>
                      <a:pt x="213" y="115"/>
                      <a:pt x="214" y="114"/>
                      <a:pt x="214" y="113"/>
                    </a:cubicBezTo>
                    <a:close/>
                    <a:moveTo>
                      <a:pt x="175" y="116"/>
                    </a:moveTo>
                    <a:cubicBezTo>
                      <a:pt x="67" y="147"/>
                      <a:pt x="67" y="147"/>
                      <a:pt x="67" y="147"/>
                    </a:cubicBezTo>
                    <a:cubicBezTo>
                      <a:pt x="61" y="134"/>
                      <a:pt x="46" y="126"/>
                      <a:pt x="31" y="128"/>
                    </a:cubicBezTo>
                    <a:cubicBezTo>
                      <a:pt x="20" y="88"/>
                      <a:pt x="20" y="88"/>
                      <a:pt x="20" y="88"/>
                    </a:cubicBezTo>
                    <a:cubicBezTo>
                      <a:pt x="26" y="85"/>
                      <a:pt x="32" y="80"/>
                      <a:pt x="35" y="73"/>
                    </a:cubicBezTo>
                    <a:cubicBezTo>
                      <a:pt x="39" y="67"/>
                      <a:pt x="40" y="59"/>
                      <a:pt x="39" y="52"/>
                    </a:cubicBezTo>
                    <a:cubicBezTo>
                      <a:pt x="149" y="20"/>
                      <a:pt x="149" y="20"/>
                      <a:pt x="149" y="20"/>
                    </a:cubicBezTo>
                    <a:cubicBezTo>
                      <a:pt x="152" y="26"/>
                      <a:pt x="157" y="32"/>
                      <a:pt x="163" y="36"/>
                    </a:cubicBezTo>
                    <a:cubicBezTo>
                      <a:pt x="168" y="38"/>
                      <a:pt x="173" y="40"/>
                      <a:pt x="178" y="40"/>
                    </a:cubicBezTo>
                    <a:cubicBezTo>
                      <a:pt x="180" y="40"/>
                      <a:pt x="182" y="39"/>
                      <a:pt x="184" y="39"/>
                    </a:cubicBezTo>
                    <a:cubicBezTo>
                      <a:pt x="196" y="78"/>
                      <a:pt x="196" y="78"/>
                      <a:pt x="196" y="78"/>
                    </a:cubicBezTo>
                    <a:cubicBezTo>
                      <a:pt x="181" y="84"/>
                      <a:pt x="172" y="100"/>
                      <a:pt x="175" y="116"/>
                    </a:cubicBezTo>
                    <a:close/>
                    <a:moveTo>
                      <a:pt x="181" y="29"/>
                    </a:moveTo>
                    <a:cubicBezTo>
                      <a:pt x="177" y="30"/>
                      <a:pt x="172" y="30"/>
                      <a:pt x="168" y="27"/>
                    </a:cubicBezTo>
                    <a:cubicBezTo>
                      <a:pt x="163" y="25"/>
                      <a:pt x="160" y="21"/>
                      <a:pt x="158" y="17"/>
                    </a:cubicBezTo>
                    <a:cubicBezTo>
                      <a:pt x="176" y="11"/>
                      <a:pt x="176" y="11"/>
                      <a:pt x="176" y="11"/>
                    </a:cubicBezTo>
                    <a:lnTo>
                      <a:pt x="181" y="29"/>
                    </a:lnTo>
                    <a:close/>
                    <a:moveTo>
                      <a:pt x="30" y="55"/>
                    </a:moveTo>
                    <a:cubicBezTo>
                      <a:pt x="30" y="59"/>
                      <a:pt x="29" y="64"/>
                      <a:pt x="27" y="69"/>
                    </a:cubicBezTo>
                    <a:cubicBezTo>
                      <a:pt x="25" y="73"/>
                      <a:pt x="21" y="76"/>
                      <a:pt x="17" y="79"/>
                    </a:cubicBezTo>
                    <a:cubicBezTo>
                      <a:pt x="11" y="60"/>
                      <a:pt x="11" y="60"/>
                      <a:pt x="11" y="60"/>
                    </a:cubicBezTo>
                    <a:lnTo>
                      <a:pt x="30" y="55"/>
                    </a:lnTo>
                    <a:close/>
                    <a:moveTo>
                      <a:pt x="34" y="137"/>
                    </a:moveTo>
                    <a:cubicBezTo>
                      <a:pt x="44" y="136"/>
                      <a:pt x="54" y="141"/>
                      <a:pt x="58" y="150"/>
                    </a:cubicBezTo>
                    <a:cubicBezTo>
                      <a:pt x="40" y="156"/>
                      <a:pt x="40" y="156"/>
                      <a:pt x="40" y="156"/>
                    </a:cubicBezTo>
                    <a:lnTo>
                      <a:pt x="34" y="137"/>
                    </a:lnTo>
                    <a:close/>
                    <a:moveTo>
                      <a:pt x="184" y="113"/>
                    </a:moveTo>
                    <a:cubicBezTo>
                      <a:pt x="183" y="102"/>
                      <a:pt x="189" y="91"/>
                      <a:pt x="198" y="87"/>
                    </a:cubicBezTo>
                    <a:cubicBezTo>
                      <a:pt x="204" y="107"/>
                      <a:pt x="204" y="107"/>
                      <a:pt x="204" y="107"/>
                    </a:cubicBezTo>
                    <a:lnTo>
                      <a:pt x="184" y="1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grpSp>
      </p:grpSp>
      <p:grpSp>
        <p:nvGrpSpPr>
          <p:cNvPr id="121" name="Group 120">
            <a:extLst>
              <a:ext uri="{FF2B5EF4-FFF2-40B4-BE49-F238E27FC236}">
                <a16:creationId xmlns:a16="http://schemas.microsoft.com/office/drawing/2014/main" id="{6000441A-CA24-48DC-9587-7AD536A758E8}"/>
              </a:ext>
            </a:extLst>
          </p:cNvPr>
          <p:cNvGrpSpPr/>
          <p:nvPr/>
        </p:nvGrpSpPr>
        <p:grpSpPr>
          <a:xfrm>
            <a:off x="7545299" y="3968409"/>
            <a:ext cx="337603" cy="322417"/>
            <a:chOff x="3492716" y="3620948"/>
            <a:chExt cx="337603" cy="322417"/>
          </a:xfrm>
        </p:grpSpPr>
        <p:sp>
          <p:nvSpPr>
            <p:cNvPr id="122" name="Oval 121">
              <a:extLst>
                <a:ext uri="{FF2B5EF4-FFF2-40B4-BE49-F238E27FC236}">
                  <a16:creationId xmlns:a16="http://schemas.microsoft.com/office/drawing/2014/main" id="{1CE4E5B2-B425-4C53-B845-0D0F9F228FE5}"/>
                </a:ext>
              </a:extLst>
            </p:cNvPr>
            <p:cNvSpPr>
              <a:spLocks noChangeAspect="1"/>
            </p:cNvSpPr>
            <p:nvPr/>
          </p:nvSpPr>
          <p:spPr>
            <a:xfrm>
              <a:off x="3492716" y="3620948"/>
              <a:ext cx="337603" cy="322417"/>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grpSp>
          <p:nvGrpSpPr>
            <p:cNvPr id="123" name="Group 122">
              <a:extLst>
                <a:ext uri="{FF2B5EF4-FFF2-40B4-BE49-F238E27FC236}">
                  <a16:creationId xmlns:a16="http://schemas.microsoft.com/office/drawing/2014/main" id="{CAC91934-5588-4B70-BAE1-9BBCE58E1785}"/>
                </a:ext>
              </a:extLst>
            </p:cNvPr>
            <p:cNvGrpSpPr>
              <a:grpSpLocks noChangeAspect="1"/>
            </p:cNvGrpSpPr>
            <p:nvPr/>
          </p:nvGrpSpPr>
          <p:grpSpPr>
            <a:xfrm>
              <a:off x="3565805" y="3698812"/>
              <a:ext cx="214024" cy="166688"/>
              <a:chOff x="10825163" y="5303838"/>
              <a:chExt cx="509587" cy="396875"/>
            </a:xfrm>
            <a:solidFill>
              <a:schemeClr val="tx1"/>
            </a:solidFill>
          </p:grpSpPr>
          <p:sp>
            <p:nvSpPr>
              <p:cNvPr id="124" name="Freeform 472">
                <a:extLst>
                  <a:ext uri="{FF2B5EF4-FFF2-40B4-BE49-F238E27FC236}">
                    <a16:creationId xmlns:a16="http://schemas.microsoft.com/office/drawing/2014/main" id="{B6E653A5-328F-40A6-AB8E-057CD3FB5F95}"/>
                  </a:ext>
                </a:extLst>
              </p:cNvPr>
              <p:cNvSpPr>
                <a:spLocks noEditPoints="1"/>
              </p:cNvSpPr>
              <p:nvPr/>
            </p:nvSpPr>
            <p:spPr bwMode="auto">
              <a:xfrm>
                <a:off x="11022013" y="5426075"/>
                <a:ext cx="120650" cy="160337"/>
              </a:xfrm>
              <a:custGeom>
                <a:avLst/>
                <a:gdLst>
                  <a:gd name="T0" fmla="*/ 28 w 51"/>
                  <a:gd name="T1" fmla="*/ 28 h 68"/>
                  <a:gd name="T2" fmla="*/ 23 w 51"/>
                  <a:gd name="T3" fmla="*/ 12 h 68"/>
                  <a:gd name="T4" fmla="*/ 32 w 51"/>
                  <a:gd name="T5" fmla="*/ 13 h 68"/>
                  <a:gd name="T6" fmla="*/ 35 w 51"/>
                  <a:gd name="T7" fmla="*/ 13 h 68"/>
                  <a:gd name="T8" fmla="*/ 37 w 51"/>
                  <a:gd name="T9" fmla="*/ 11 h 68"/>
                  <a:gd name="T10" fmla="*/ 38 w 51"/>
                  <a:gd name="T11" fmla="*/ 8 h 68"/>
                  <a:gd name="T12" fmla="*/ 34 w 51"/>
                  <a:gd name="T13" fmla="*/ 5 h 68"/>
                  <a:gd name="T14" fmla="*/ 21 w 51"/>
                  <a:gd name="T15" fmla="*/ 4 h 68"/>
                  <a:gd name="T16" fmla="*/ 20 w 51"/>
                  <a:gd name="T17" fmla="*/ 3 h 68"/>
                  <a:gd name="T18" fmla="*/ 16 w 51"/>
                  <a:gd name="T19" fmla="*/ 0 h 68"/>
                  <a:gd name="T20" fmla="*/ 13 w 51"/>
                  <a:gd name="T21" fmla="*/ 2 h 68"/>
                  <a:gd name="T22" fmla="*/ 13 w 51"/>
                  <a:gd name="T23" fmla="*/ 5 h 68"/>
                  <a:gd name="T24" fmla="*/ 14 w 51"/>
                  <a:gd name="T25" fmla="*/ 6 h 68"/>
                  <a:gd name="T26" fmla="*/ 2 w 51"/>
                  <a:gd name="T27" fmla="*/ 26 h 68"/>
                  <a:gd name="T28" fmla="*/ 23 w 51"/>
                  <a:gd name="T29" fmla="*/ 37 h 68"/>
                  <a:gd name="T30" fmla="*/ 28 w 51"/>
                  <a:gd name="T31" fmla="*/ 53 h 68"/>
                  <a:gd name="T32" fmla="*/ 15 w 51"/>
                  <a:gd name="T33" fmla="*/ 51 h 68"/>
                  <a:gd name="T34" fmla="*/ 12 w 51"/>
                  <a:gd name="T35" fmla="*/ 51 h 68"/>
                  <a:gd name="T36" fmla="*/ 9 w 51"/>
                  <a:gd name="T37" fmla="*/ 56 h 68"/>
                  <a:gd name="T38" fmla="*/ 12 w 51"/>
                  <a:gd name="T39" fmla="*/ 59 h 68"/>
                  <a:gd name="T40" fmla="*/ 30 w 51"/>
                  <a:gd name="T41" fmla="*/ 61 h 68"/>
                  <a:gd name="T42" fmla="*/ 31 w 51"/>
                  <a:gd name="T43" fmla="*/ 66 h 68"/>
                  <a:gd name="T44" fmla="*/ 35 w 51"/>
                  <a:gd name="T45" fmla="*/ 68 h 68"/>
                  <a:gd name="T46" fmla="*/ 36 w 51"/>
                  <a:gd name="T47" fmla="*/ 68 h 68"/>
                  <a:gd name="T48" fmla="*/ 38 w 51"/>
                  <a:gd name="T49" fmla="*/ 63 h 68"/>
                  <a:gd name="T50" fmla="*/ 37 w 51"/>
                  <a:gd name="T51" fmla="*/ 59 h 68"/>
                  <a:gd name="T52" fmla="*/ 49 w 51"/>
                  <a:gd name="T53" fmla="*/ 39 h 68"/>
                  <a:gd name="T54" fmla="*/ 28 w 51"/>
                  <a:gd name="T55" fmla="*/ 28 h 68"/>
                  <a:gd name="T56" fmla="*/ 20 w 51"/>
                  <a:gd name="T57" fmla="*/ 28 h 68"/>
                  <a:gd name="T58" fmla="*/ 10 w 51"/>
                  <a:gd name="T59" fmla="*/ 23 h 68"/>
                  <a:gd name="T60" fmla="*/ 16 w 51"/>
                  <a:gd name="T61" fmla="*/ 13 h 68"/>
                  <a:gd name="T62" fmla="*/ 20 w 51"/>
                  <a:gd name="T63" fmla="*/ 28 h 68"/>
                  <a:gd name="T64" fmla="*/ 35 w 51"/>
                  <a:gd name="T65" fmla="*/ 52 h 68"/>
                  <a:gd name="T66" fmla="*/ 30 w 51"/>
                  <a:gd name="T67" fmla="*/ 36 h 68"/>
                  <a:gd name="T68" fmla="*/ 30 w 51"/>
                  <a:gd name="T69" fmla="*/ 36 h 68"/>
                  <a:gd name="T70" fmla="*/ 41 w 51"/>
                  <a:gd name="T71" fmla="*/ 42 h 68"/>
                  <a:gd name="T72" fmla="*/ 35 w 51"/>
                  <a:gd name="T73" fmla="*/ 5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 h="68">
                    <a:moveTo>
                      <a:pt x="28" y="28"/>
                    </a:moveTo>
                    <a:cubicBezTo>
                      <a:pt x="23" y="12"/>
                      <a:pt x="23" y="12"/>
                      <a:pt x="23" y="12"/>
                    </a:cubicBezTo>
                    <a:cubicBezTo>
                      <a:pt x="26" y="12"/>
                      <a:pt x="29" y="12"/>
                      <a:pt x="32" y="13"/>
                    </a:cubicBezTo>
                    <a:cubicBezTo>
                      <a:pt x="33" y="14"/>
                      <a:pt x="34" y="13"/>
                      <a:pt x="35" y="13"/>
                    </a:cubicBezTo>
                    <a:cubicBezTo>
                      <a:pt x="36" y="13"/>
                      <a:pt x="37" y="12"/>
                      <a:pt x="37" y="11"/>
                    </a:cubicBezTo>
                    <a:cubicBezTo>
                      <a:pt x="38" y="10"/>
                      <a:pt x="38" y="9"/>
                      <a:pt x="38" y="8"/>
                    </a:cubicBezTo>
                    <a:cubicBezTo>
                      <a:pt x="37" y="6"/>
                      <a:pt x="36" y="6"/>
                      <a:pt x="34" y="5"/>
                    </a:cubicBezTo>
                    <a:cubicBezTo>
                      <a:pt x="30" y="4"/>
                      <a:pt x="25" y="3"/>
                      <a:pt x="21" y="4"/>
                    </a:cubicBezTo>
                    <a:cubicBezTo>
                      <a:pt x="20" y="3"/>
                      <a:pt x="20" y="3"/>
                      <a:pt x="20" y="3"/>
                    </a:cubicBezTo>
                    <a:cubicBezTo>
                      <a:pt x="20" y="1"/>
                      <a:pt x="18" y="0"/>
                      <a:pt x="16" y="0"/>
                    </a:cubicBezTo>
                    <a:cubicBezTo>
                      <a:pt x="15" y="0"/>
                      <a:pt x="14" y="1"/>
                      <a:pt x="13" y="2"/>
                    </a:cubicBezTo>
                    <a:cubicBezTo>
                      <a:pt x="13" y="3"/>
                      <a:pt x="13" y="4"/>
                      <a:pt x="13" y="5"/>
                    </a:cubicBezTo>
                    <a:cubicBezTo>
                      <a:pt x="14" y="6"/>
                      <a:pt x="14" y="6"/>
                      <a:pt x="14" y="6"/>
                    </a:cubicBezTo>
                    <a:cubicBezTo>
                      <a:pt x="4" y="10"/>
                      <a:pt x="0" y="18"/>
                      <a:pt x="2" y="26"/>
                    </a:cubicBezTo>
                    <a:cubicBezTo>
                      <a:pt x="4" y="34"/>
                      <a:pt x="11" y="37"/>
                      <a:pt x="23" y="37"/>
                    </a:cubicBezTo>
                    <a:cubicBezTo>
                      <a:pt x="28" y="53"/>
                      <a:pt x="28" y="53"/>
                      <a:pt x="28" y="53"/>
                    </a:cubicBezTo>
                    <a:cubicBezTo>
                      <a:pt x="23" y="54"/>
                      <a:pt x="19" y="53"/>
                      <a:pt x="15" y="51"/>
                    </a:cubicBezTo>
                    <a:cubicBezTo>
                      <a:pt x="14" y="51"/>
                      <a:pt x="13" y="51"/>
                      <a:pt x="12" y="51"/>
                    </a:cubicBezTo>
                    <a:cubicBezTo>
                      <a:pt x="10" y="52"/>
                      <a:pt x="8" y="54"/>
                      <a:pt x="9" y="56"/>
                    </a:cubicBezTo>
                    <a:cubicBezTo>
                      <a:pt x="9" y="57"/>
                      <a:pt x="10" y="58"/>
                      <a:pt x="12" y="59"/>
                    </a:cubicBezTo>
                    <a:cubicBezTo>
                      <a:pt x="18" y="61"/>
                      <a:pt x="24" y="62"/>
                      <a:pt x="30" y="61"/>
                    </a:cubicBezTo>
                    <a:cubicBezTo>
                      <a:pt x="31" y="66"/>
                      <a:pt x="31" y="66"/>
                      <a:pt x="31" y="66"/>
                    </a:cubicBezTo>
                    <a:cubicBezTo>
                      <a:pt x="32" y="67"/>
                      <a:pt x="33" y="68"/>
                      <a:pt x="35" y="68"/>
                    </a:cubicBezTo>
                    <a:cubicBezTo>
                      <a:pt x="35" y="68"/>
                      <a:pt x="35" y="68"/>
                      <a:pt x="36" y="68"/>
                    </a:cubicBezTo>
                    <a:cubicBezTo>
                      <a:pt x="38" y="67"/>
                      <a:pt x="39" y="65"/>
                      <a:pt x="38" y="63"/>
                    </a:cubicBezTo>
                    <a:cubicBezTo>
                      <a:pt x="37" y="59"/>
                      <a:pt x="37" y="59"/>
                      <a:pt x="37" y="59"/>
                    </a:cubicBezTo>
                    <a:cubicBezTo>
                      <a:pt x="46" y="55"/>
                      <a:pt x="51" y="47"/>
                      <a:pt x="49" y="39"/>
                    </a:cubicBezTo>
                    <a:cubicBezTo>
                      <a:pt x="46" y="31"/>
                      <a:pt x="40" y="28"/>
                      <a:pt x="28" y="28"/>
                    </a:cubicBezTo>
                    <a:close/>
                    <a:moveTo>
                      <a:pt x="20" y="28"/>
                    </a:moveTo>
                    <a:cubicBezTo>
                      <a:pt x="13" y="28"/>
                      <a:pt x="11" y="26"/>
                      <a:pt x="10" y="23"/>
                    </a:cubicBezTo>
                    <a:cubicBezTo>
                      <a:pt x="9" y="19"/>
                      <a:pt x="11" y="15"/>
                      <a:pt x="16" y="13"/>
                    </a:cubicBezTo>
                    <a:lnTo>
                      <a:pt x="20" y="28"/>
                    </a:lnTo>
                    <a:close/>
                    <a:moveTo>
                      <a:pt x="35" y="52"/>
                    </a:moveTo>
                    <a:cubicBezTo>
                      <a:pt x="30" y="36"/>
                      <a:pt x="30" y="36"/>
                      <a:pt x="30" y="36"/>
                    </a:cubicBezTo>
                    <a:cubicBezTo>
                      <a:pt x="30" y="36"/>
                      <a:pt x="30" y="36"/>
                      <a:pt x="30" y="36"/>
                    </a:cubicBezTo>
                    <a:cubicBezTo>
                      <a:pt x="38" y="36"/>
                      <a:pt x="40" y="38"/>
                      <a:pt x="41" y="42"/>
                    </a:cubicBezTo>
                    <a:cubicBezTo>
                      <a:pt x="42" y="46"/>
                      <a:pt x="40" y="50"/>
                      <a:pt x="35" y="5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125" name="Freeform 473">
                <a:extLst>
                  <a:ext uri="{FF2B5EF4-FFF2-40B4-BE49-F238E27FC236}">
                    <a16:creationId xmlns:a16="http://schemas.microsoft.com/office/drawing/2014/main" id="{E7A202FB-1667-4192-AD38-E765652AF134}"/>
                  </a:ext>
                </a:extLst>
              </p:cNvPr>
              <p:cNvSpPr>
                <a:spLocks noEditPoints="1"/>
              </p:cNvSpPr>
              <p:nvPr/>
            </p:nvSpPr>
            <p:spPr bwMode="auto">
              <a:xfrm>
                <a:off x="10825163" y="5303838"/>
                <a:ext cx="509587" cy="396875"/>
              </a:xfrm>
              <a:custGeom>
                <a:avLst/>
                <a:gdLst>
                  <a:gd name="T0" fmla="*/ 214 w 215"/>
                  <a:gd name="T1" fmla="*/ 113 h 167"/>
                  <a:gd name="T2" fmla="*/ 215 w 215"/>
                  <a:gd name="T3" fmla="*/ 109 h 167"/>
                  <a:gd name="T4" fmla="*/ 184 w 215"/>
                  <a:gd name="T5" fmla="*/ 4 h 167"/>
                  <a:gd name="T6" fmla="*/ 181 w 215"/>
                  <a:gd name="T7" fmla="*/ 1 h 167"/>
                  <a:gd name="T8" fmla="*/ 178 w 215"/>
                  <a:gd name="T9" fmla="*/ 1 h 167"/>
                  <a:gd name="T10" fmla="*/ 4 w 215"/>
                  <a:gd name="T11" fmla="*/ 52 h 167"/>
                  <a:gd name="T12" fmla="*/ 1 w 215"/>
                  <a:gd name="T13" fmla="*/ 55 h 167"/>
                  <a:gd name="T14" fmla="*/ 1 w 215"/>
                  <a:gd name="T15" fmla="*/ 58 h 167"/>
                  <a:gd name="T16" fmla="*/ 23 w 215"/>
                  <a:gd name="T17" fmla="*/ 135 h 167"/>
                  <a:gd name="T18" fmla="*/ 23 w 215"/>
                  <a:gd name="T19" fmla="*/ 135 h 167"/>
                  <a:gd name="T20" fmla="*/ 23 w 215"/>
                  <a:gd name="T21" fmla="*/ 135 h 167"/>
                  <a:gd name="T22" fmla="*/ 32 w 215"/>
                  <a:gd name="T23" fmla="*/ 163 h 167"/>
                  <a:gd name="T24" fmla="*/ 36 w 215"/>
                  <a:gd name="T25" fmla="*/ 167 h 167"/>
                  <a:gd name="T26" fmla="*/ 38 w 215"/>
                  <a:gd name="T27" fmla="*/ 166 h 167"/>
                  <a:gd name="T28" fmla="*/ 212 w 215"/>
                  <a:gd name="T29" fmla="*/ 115 h 167"/>
                  <a:gd name="T30" fmla="*/ 214 w 215"/>
                  <a:gd name="T31" fmla="*/ 113 h 167"/>
                  <a:gd name="T32" fmla="*/ 175 w 215"/>
                  <a:gd name="T33" fmla="*/ 116 h 167"/>
                  <a:gd name="T34" fmla="*/ 67 w 215"/>
                  <a:gd name="T35" fmla="*/ 147 h 167"/>
                  <a:gd name="T36" fmla="*/ 31 w 215"/>
                  <a:gd name="T37" fmla="*/ 128 h 167"/>
                  <a:gd name="T38" fmla="*/ 20 w 215"/>
                  <a:gd name="T39" fmla="*/ 88 h 167"/>
                  <a:gd name="T40" fmla="*/ 35 w 215"/>
                  <a:gd name="T41" fmla="*/ 73 h 167"/>
                  <a:gd name="T42" fmla="*/ 39 w 215"/>
                  <a:gd name="T43" fmla="*/ 52 h 167"/>
                  <a:gd name="T44" fmla="*/ 149 w 215"/>
                  <a:gd name="T45" fmla="*/ 20 h 167"/>
                  <a:gd name="T46" fmla="*/ 163 w 215"/>
                  <a:gd name="T47" fmla="*/ 36 h 167"/>
                  <a:gd name="T48" fmla="*/ 178 w 215"/>
                  <a:gd name="T49" fmla="*/ 40 h 167"/>
                  <a:gd name="T50" fmla="*/ 184 w 215"/>
                  <a:gd name="T51" fmla="*/ 39 h 167"/>
                  <a:gd name="T52" fmla="*/ 196 w 215"/>
                  <a:gd name="T53" fmla="*/ 78 h 167"/>
                  <a:gd name="T54" fmla="*/ 175 w 215"/>
                  <a:gd name="T55" fmla="*/ 116 h 167"/>
                  <a:gd name="T56" fmla="*/ 181 w 215"/>
                  <a:gd name="T57" fmla="*/ 29 h 167"/>
                  <a:gd name="T58" fmla="*/ 168 w 215"/>
                  <a:gd name="T59" fmla="*/ 27 h 167"/>
                  <a:gd name="T60" fmla="*/ 158 w 215"/>
                  <a:gd name="T61" fmla="*/ 17 h 167"/>
                  <a:gd name="T62" fmla="*/ 176 w 215"/>
                  <a:gd name="T63" fmla="*/ 11 h 167"/>
                  <a:gd name="T64" fmla="*/ 181 w 215"/>
                  <a:gd name="T65" fmla="*/ 29 h 167"/>
                  <a:gd name="T66" fmla="*/ 30 w 215"/>
                  <a:gd name="T67" fmla="*/ 55 h 167"/>
                  <a:gd name="T68" fmla="*/ 27 w 215"/>
                  <a:gd name="T69" fmla="*/ 69 h 167"/>
                  <a:gd name="T70" fmla="*/ 17 w 215"/>
                  <a:gd name="T71" fmla="*/ 79 h 167"/>
                  <a:gd name="T72" fmla="*/ 11 w 215"/>
                  <a:gd name="T73" fmla="*/ 60 h 167"/>
                  <a:gd name="T74" fmla="*/ 30 w 215"/>
                  <a:gd name="T75" fmla="*/ 55 h 167"/>
                  <a:gd name="T76" fmla="*/ 34 w 215"/>
                  <a:gd name="T77" fmla="*/ 137 h 167"/>
                  <a:gd name="T78" fmla="*/ 58 w 215"/>
                  <a:gd name="T79" fmla="*/ 150 h 167"/>
                  <a:gd name="T80" fmla="*/ 40 w 215"/>
                  <a:gd name="T81" fmla="*/ 156 h 167"/>
                  <a:gd name="T82" fmla="*/ 34 w 215"/>
                  <a:gd name="T83" fmla="*/ 137 h 167"/>
                  <a:gd name="T84" fmla="*/ 184 w 215"/>
                  <a:gd name="T85" fmla="*/ 113 h 167"/>
                  <a:gd name="T86" fmla="*/ 198 w 215"/>
                  <a:gd name="T87" fmla="*/ 87 h 167"/>
                  <a:gd name="T88" fmla="*/ 204 w 215"/>
                  <a:gd name="T89" fmla="*/ 107 h 167"/>
                  <a:gd name="T90" fmla="*/ 184 w 215"/>
                  <a:gd name="T91" fmla="*/ 113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5" h="167">
                    <a:moveTo>
                      <a:pt x="214" y="113"/>
                    </a:moveTo>
                    <a:cubicBezTo>
                      <a:pt x="215" y="111"/>
                      <a:pt x="215" y="110"/>
                      <a:pt x="215" y="109"/>
                    </a:cubicBezTo>
                    <a:cubicBezTo>
                      <a:pt x="184" y="4"/>
                      <a:pt x="184" y="4"/>
                      <a:pt x="184" y="4"/>
                    </a:cubicBezTo>
                    <a:cubicBezTo>
                      <a:pt x="183" y="3"/>
                      <a:pt x="183" y="2"/>
                      <a:pt x="181" y="1"/>
                    </a:cubicBezTo>
                    <a:cubicBezTo>
                      <a:pt x="180" y="1"/>
                      <a:pt x="179" y="0"/>
                      <a:pt x="178" y="1"/>
                    </a:cubicBezTo>
                    <a:cubicBezTo>
                      <a:pt x="4" y="52"/>
                      <a:pt x="4" y="52"/>
                      <a:pt x="4" y="52"/>
                    </a:cubicBezTo>
                    <a:cubicBezTo>
                      <a:pt x="3" y="53"/>
                      <a:pt x="2" y="53"/>
                      <a:pt x="1" y="55"/>
                    </a:cubicBezTo>
                    <a:cubicBezTo>
                      <a:pt x="0" y="56"/>
                      <a:pt x="0" y="57"/>
                      <a:pt x="1" y="58"/>
                    </a:cubicBezTo>
                    <a:cubicBezTo>
                      <a:pt x="23" y="135"/>
                      <a:pt x="23" y="135"/>
                      <a:pt x="23" y="135"/>
                    </a:cubicBezTo>
                    <a:cubicBezTo>
                      <a:pt x="23" y="135"/>
                      <a:pt x="23" y="135"/>
                      <a:pt x="23" y="135"/>
                    </a:cubicBezTo>
                    <a:cubicBezTo>
                      <a:pt x="23" y="135"/>
                      <a:pt x="23" y="135"/>
                      <a:pt x="23" y="135"/>
                    </a:cubicBezTo>
                    <a:cubicBezTo>
                      <a:pt x="32" y="163"/>
                      <a:pt x="32" y="163"/>
                      <a:pt x="32" y="163"/>
                    </a:cubicBezTo>
                    <a:cubicBezTo>
                      <a:pt x="32" y="165"/>
                      <a:pt x="34" y="167"/>
                      <a:pt x="36" y="167"/>
                    </a:cubicBezTo>
                    <a:cubicBezTo>
                      <a:pt x="37" y="167"/>
                      <a:pt x="37" y="166"/>
                      <a:pt x="38" y="166"/>
                    </a:cubicBezTo>
                    <a:cubicBezTo>
                      <a:pt x="212" y="115"/>
                      <a:pt x="212" y="115"/>
                      <a:pt x="212" y="115"/>
                    </a:cubicBezTo>
                    <a:cubicBezTo>
                      <a:pt x="213" y="115"/>
                      <a:pt x="214" y="114"/>
                      <a:pt x="214" y="113"/>
                    </a:cubicBezTo>
                    <a:close/>
                    <a:moveTo>
                      <a:pt x="175" y="116"/>
                    </a:moveTo>
                    <a:cubicBezTo>
                      <a:pt x="67" y="147"/>
                      <a:pt x="67" y="147"/>
                      <a:pt x="67" y="147"/>
                    </a:cubicBezTo>
                    <a:cubicBezTo>
                      <a:pt x="61" y="134"/>
                      <a:pt x="46" y="126"/>
                      <a:pt x="31" y="128"/>
                    </a:cubicBezTo>
                    <a:cubicBezTo>
                      <a:pt x="20" y="88"/>
                      <a:pt x="20" y="88"/>
                      <a:pt x="20" y="88"/>
                    </a:cubicBezTo>
                    <a:cubicBezTo>
                      <a:pt x="26" y="85"/>
                      <a:pt x="32" y="80"/>
                      <a:pt x="35" y="73"/>
                    </a:cubicBezTo>
                    <a:cubicBezTo>
                      <a:pt x="39" y="67"/>
                      <a:pt x="40" y="59"/>
                      <a:pt x="39" y="52"/>
                    </a:cubicBezTo>
                    <a:cubicBezTo>
                      <a:pt x="149" y="20"/>
                      <a:pt x="149" y="20"/>
                      <a:pt x="149" y="20"/>
                    </a:cubicBezTo>
                    <a:cubicBezTo>
                      <a:pt x="152" y="26"/>
                      <a:pt x="157" y="32"/>
                      <a:pt x="163" y="36"/>
                    </a:cubicBezTo>
                    <a:cubicBezTo>
                      <a:pt x="168" y="38"/>
                      <a:pt x="173" y="40"/>
                      <a:pt x="178" y="40"/>
                    </a:cubicBezTo>
                    <a:cubicBezTo>
                      <a:pt x="180" y="40"/>
                      <a:pt x="182" y="39"/>
                      <a:pt x="184" y="39"/>
                    </a:cubicBezTo>
                    <a:cubicBezTo>
                      <a:pt x="196" y="78"/>
                      <a:pt x="196" y="78"/>
                      <a:pt x="196" y="78"/>
                    </a:cubicBezTo>
                    <a:cubicBezTo>
                      <a:pt x="181" y="84"/>
                      <a:pt x="172" y="100"/>
                      <a:pt x="175" y="116"/>
                    </a:cubicBezTo>
                    <a:close/>
                    <a:moveTo>
                      <a:pt x="181" y="29"/>
                    </a:moveTo>
                    <a:cubicBezTo>
                      <a:pt x="177" y="30"/>
                      <a:pt x="172" y="30"/>
                      <a:pt x="168" y="27"/>
                    </a:cubicBezTo>
                    <a:cubicBezTo>
                      <a:pt x="163" y="25"/>
                      <a:pt x="160" y="21"/>
                      <a:pt x="158" y="17"/>
                    </a:cubicBezTo>
                    <a:cubicBezTo>
                      <a:pt x="176" y="11"/>
                      <a:pt x="176" y="11"/>
                      <a:pt x="176" y="11"/>
                    </a:cubicBezTo>
                    <a:lnTo>
                      <a:pt x="181" y="29"/>
                    </a:lnTo>
                    <a:close/>
                    <a:moveTo>
                      <a:pt x="30" y="55"/>
                    </a:moveTo>
                    <a:cubicBezTo>
                      <a:pt x="30" y="59"/>
                      <a:pt x="29" y="64"/>
                      <a:pt x="27" y="69"/>
                    </a:cubicBezTo>
                    <a:cubicBezTo>
                      <a:pt x="25" y="73"/>
                      <a:pt x="21" y="76"/>
                      <a:pt x="17" y="79"/>
                    </a:cubicBezTo>
                    <a:cubicBezTo>
                      <a:pt x="11" y="60"/>
                      <a:pt x="11" y="60"/>
                      <a:pt x="11" y="60"/>
                    </a:cubicBezTo>
                    <a:lnTo>
                      <a:pt x="30" y="55"/>
                    </a:lnTo>
                    <a:close/>
                    <a:moveTo>
                      <a:pt x="34" y="137"/>
                    </a:moveTo>
                    <a:cubicBezTo>
                      <a:pt x="44" y="136"/>
                      <a:pt x="54" y="141"/>
                      <a:pt x="58" y="150"/>
                    </a:cubicBezTo>
                    <a:cubicBezTo>
                      <a:pt x="40" y="156"/>
                      <a:pt x="40" y="156"/>
                      <a:pt x="40" y="156"/>
                    </a:cubicBezTo>
                    <a:lnTo>
                      <a:pt x="34" y="137"/>
                    </a:lnTo>
                    <a:close/>
                    <a:moveTo>
                      <a:pt x="184" y="113"/>
                    </a:moveTo>
                    <a:cubicBezTo>
                      <a:pt x="183" y="102"/>
                      <a:pt x="189" y="91"/>
                      <a:pt x="198" y="87"/>
                    </a:cubicBezTo>
                    <a:cubicBezTo>
                      <a:pt x="204" y="107"/>
                      <a:pt x="204" y="107"/>
                      <a:pt x="204" y="107"/>
                    </a:cubicBezTo>
                    <a:lnTo>
                      <a:pt x="184" y="1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grpSp>
      </p:grpSp>
      <p:grpSp>
        <p:nvGrpSpPr>
          <p:cNvPr id="126" name="Group 125">
            <a:extLst>
              <a:ext uri="{FF2B5EF4-FFF2-40B4-BE49-F238E27FC236}">
                <a16:creationId xmlns:a16="http://schemas.microsoft.com/office/drawing/2014/main" id="{79F4B05E-E991-4765-B506-02871B226182}"/>
              </a:ext>
            </a:extLst>
          </p:cNvPr>
          <p:cNvGrpSpPr/>
          <p:nvPr/>
        </p:nvGrpSpPr>
        <p:grpSpPr>
          <a:xfrm>
            <a:off x="7501816" y="2116583"/>
            <a:ext cx="337603" cy="322417"/>
            <a:chOff x="-671105" y="3796162"/>
            <a:chExt cx="337603" cy="322417"/>
          </a:xfrm>
        </p:grpSpPr>
        <p:sp>
          <p:nvSpPr>
            <p:cNvPr id="127" name="Oval 126">
              <a:extLst>
                <a:ext uri="{FF2B5EF4-FFF2-40B4-BE49-F238E27FC236}">
                  <a16:creationId xmlns:a16="http://schemas.microsoft.com/office/drawing/2014/main" id="{5F03F028-378C-44CD-8839-A36463DCADDA}"/>
                </a:ext>
              </a:extLst>
            </p:cNvPr>
            <p:cNvSpPr>
              <a:spLocks noChangeAspect="1"/>
            </p:cNvSpPr>
            <p:nvPr/>
          </p:nvSpPr>
          <p:spPr>
            <a:xfrm>
              <a:off x="-671105" y="3796162"/>
              <a:ext cx="337603" cy="322417"/>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grpSp>
          <p:nvGrpSpPr>
            <p:cNvPr id="128" name="Group 127">
              <a:extLst>
                <a:ext uri="{FF2B5EF4-FFF2-40B4-BE49-F238E27FC236}">
                  <a16:creationId xmlns:a16="http://schemas.microsoft.com/office/drawing/2014/main" id="{156308B7-83CC-401B-B726-EF47E566A105}"/>
                </a:ext>
              </a:extLst>
            </p:cNvPr>
            <p:cNvGrpSpPr>
              <a:grpSpLocks noChangeAspect="1"/>
            </p:cNvGrpSpPr>
            <p:nvPr/>
          </p:nvGrpSpPr>
          <p:grpSpPr>
            <a:xfrm>
              <a:off x="-609659" y="3850843"/>
              <a:ext cx="216515" cy="203430"/>
              <a:chOff x="10863263" y="3603625"/>
              <a:chExt cx="490537" cy="482601"/>
            </a:xfrm>
            <a:solidFill>
              <a:srgbClr val="7030A0"/>
            </a:solidFill>
          </p:grpSpPr>
          <p:sp>
            <p:nvSpPr>
              <p:cNvPr id="129" name="Freeform 456">
                <a:extLst>
                  <a:ext uri="{FF2B5EF4-FFF2-40B4-BE49-F238E27FC236}">
                    <a16:creationId xmlns:a16="http://schemas.microsoft.com/office/drawing/2014/main" id="{61CD2573-BD07-4050-8E9D-4C2687E8E80E}"/>
                  </a:ext>
                </a:extLst>
              </p:cNvPr>
              <p:cNvSpPr>
                <a:spLocks/>
              </p:cNvSpPr>
              <p:nvPr/>
            </p:nvSpPr>
            <p:spPr bwMode="auto">
              <a:xfrm>
                <a:off x="10863263" y="3660775"/>
                <a:ext cx="490537" cy="319088"/>
              </a:xfrm>
              <a:custGeom>
                <a:avLst/>
                <a:gdLst>
                  <a:gd name="T0" fmla="*/ 237 w 241"/>
                  <a:gd name="T1" fmla="*/ 13 h 157"/>
                  <a:gd name="T2" fmla="*/ 231 w 241"/>
                  <a:gd name="T3" fmla="*/ 16 h 157"/>
                  <a:gd name="T4" fmla="*/ 228 w 241"/>
                  <a:gd name="T5" fmla="*/ 28 h 157"/>
                  <a:gd name="T6" fmla="*/ 160 w 241"/>
                  <a:gd name="T7" fmla="*/ 28 h 157"/>
                  <a:gd name="T8" fmla="*/ 155 w 241"/>
                  <a:gd name="T9" fmla="*/ 33 h 157"/>
                  <a:gd name="T10" fmla="*/ 160 w 241"/>
                  <a:gd name="T11" fmla="*/ 38 h 157"/>
                  <a:gd name="T12" fmla="*/ 225 w 241"/>
                  <a:gd name="T13" fmla="*/ 38 h 157"/>
                  <a:gd name="T14" fmla="*/ 207 w 241"/>
                  <a:gd name="T15" fmla="*/ 102 h 157"/>
                  <a:gd name="T16" fmla="*/ 204 w 241"/>
                  <a:gd name="T17" fmla="*/ 105 h 157"/>
                  <a:gd name="T18" fmla="*/ 203 w 241"/>
                  <a:gd name="T19" fmla="*/ 105 h 157"/>
                  <a:gd name="T20" fmla="*/ 64 w 241"/>
                  <a:gd name="T21" fmla="*/ 120 h 157"/>
                  <a:gd name="T22" fmla="*/ 45 w 241"/>
                  <a:gd name="T23" fmla="*/ 38 h 157"/>
                  <a:gd name="T24" fmla="*/ 108 w 241"/>
                  <a:gd name="T25" fmla="*/ 38 h 157"/>
                  <a:gd name="T26" fmla="*/ 113 w 241"/>
                  <a:gd name="T27" fmla="*/ 33 h 157"/>
                  <a:gd name="T28" fmla="*/ 108 w 241"/>
                  <a:gd name="T29" fmla="*/ 28 h 157"/>
                  <a:gd name="T30" fmla="*/ 45 w 241"/>
                  <a:gd name="T31" fmla="*/ 28 h 157"/>
                  <a:gd name="T32" fmla="*/ 49 w 241"/>
                  <a:gd name="T33" fmla="*/ 13 h 157"/>
                  <a:gd name="T34" fmla="*/ 49 w 241"/>
                  <a:gd name="T35" fmla="*/ 11 h 157"/>
                  <a:gd name="T36" fmla="*/ 35 w 241"/>
                  <a:gd name="T37" fmla="*/ 0 h 157"/>
                  <a:gd name="T38" fmla="*/ 5 w 241"/>
                  <a:gd name="T39" fmla="*/ 0 h 157"/>
                  <a:gd name="T40" fmla="*/ 0 w 241"/>
                  <a:gd name="T41" fmla="*/ 5 h 157"/>
                  <a:gd name="T42" fmla="*/ 5 w 241"/>
                  <a:gd name="T43" fmla="*/ 10 h 157"/>
                  <a:gd name="T44" fmla="*/ 35 w 241"/>
                  <a:gd name="T45" fmla="*/ 10 h 157"/>
                  <a:gd name="T46" fmla="*/ 39 w 241"/>
                  <a:gd name="T47" fmla="*/ 12 h 157"/>
                  <a:gd name="T48" fmla="*/ 34 w 241"/>
                  <a:gd name="T49" fmla="*/ 31 h 157"/>
                  <a:gd name="T50" fmla="*/ 34 w 241"/>
                  <a:gd name="T51" fmla="*/ 33 h 157"/>
                  <a:gd name="T52" fmla="*/ 34 w 241"/>
                  <a:gd name="T53" fmla="*/ 33 h 157"/>
                  <a:gd name="T54" fmla="*/ 34 w 241"/>
                  <a:gd name="T55" fmla="*/ 34 h 157"/>
                  <a:gd name="T56" fmla="*/ 34 w 241"/>
                  <a:gd name="T57" fmla="*/ 35 h 157"/>
                  <a:gd name="T58" fmla="*/ 34 w 241"/>
                  <a:gd name="T59" fmla="*/ 35 h 157"/>
                  <a:gd name="T60" fmla="*/ 55 w 241"/>
                  <a:gd name="T61" fmla="*/ 125 h 157"/>
                  <a:gd name="T62" fmla="*/ 50 w 241"/>
                  <a:gd name="T63" fmla="*/ 142 h 157"/>
                  <a:gd name="T64" fmla="*/ 49 w 241"/>
                  <a:gd name="T65" fmla="*/ 143 h 157"/>
                  <a:gd name="T66" fmla="*/ 52 w 241"/>
                  <a:gd name="T67" fmla="*/ 153 h 157"/>
                  <a:gd name="T68" fmla="*/ 61 w 241"/>
                  <a:gd name="T69" fmla="*/ 157 h 157"/>
                  <a:gd name="T70" fmla="*/ 206 w 241"/>
                  <a:gd name="T71" fmla="*/ 157 h 157"/>
                  <a:gd name="T72" fmla="*/ 211 w 241"/>
                  <a:gd name="T73" fmla="*/ 152 h 157"/>
                  <a:gd name="T74" fmla="*/ 206 w 241"/>
                  <a:gd name="T75" fmla="*/ 148 h 157"/>
                  <a:gd name="T76" fmla="*/ 61 w 241"/>
                  <a:gd name="T77" fmla="*/ 148 h 157"/>
                  <a:gd name="T78" fmla="*/ 59 w 241"/>
                  <a:gd name="T79" fmla="*/ 147 h 157"/>
                  <a:gd name="T80" fmla="*/ 59 w 241"/>
                  <a:gd name="T81" fmla="*/ 145 h 157"/>
                  <a:gd name="T82" fmla="*/ 64 w 241"/>
                  <a:gd name="T83" fmla="*/ 130 h 157"/>
                  <a:gd name="T84" fmla="*/ 204 w 241"/>
                  <a:gd name="T85" fmla="*/ 115 h 157"/>
                  <a:gd name="T86" fmla="*/ 217 w 241"/>
                  <a:gd name="T87" fmla="*/ 105 h 157"/>
                  <a:gd name="T88" fmla="*/ 240 w 241"/>
                  <a:gd name="T89" fmla="*/ 19 h 157"/>
                  <a:gd name="T90" fmla="*/ 237 w 241"/>
                  <a:gd name="T91" fmla="*/ 13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1" h="157">
                    <a:moveTo>
                      <a:pt x="237" y="13"/>
                    </a:moveTo>
                    <a:cubicBezTo>
                      <a:pt x="234" y="12"/>
                      <a:pt x="232" y="14"/>
                      <a:pt x="231" y="16"/>
                    </a:cubicBezTo>
                    <a:cubicBezTo>
                      <a:pt x="228" y="28"/>
                      <a:pt x="228" y="28"/>
                      <a:pt x="228" y="28"/>
                    </a:cubicBezTo>
                    <a:cubicBezTo>
                      <a:pt x="160" y="28"/>
                      <a:pt x="160" y="28"/>
                      <a:pt x="160" y="28"/>
                    </a:cubicBezTo>
                    <a:cubicBezTo>
                      <a:pt x="157" y="28"/>
                      <a:pt x="155" y="30"/>
                      <a:pt x="155" y="33"/>
                    </a:cubicBezTo>
                    <a:cubicBezTo>
                      <a:pt x="155" y="36"/>
                      <a:pt x="157" y="38"/>
                      <a:pt x="160" y="38"/>
                    </a:cubicBezTo>
                    <a:cubicBezTo>
                      <a:pt x="225" y="38"/>
                      <a:pt x="225" y="38"/>
                      <a:pt x="225" y="38"/>
                    </a:cubicBezTo>
                    <a:cubicBezTo>
                      <a:pt x="207" y="102"/>
                      <a:pt x="207" y="102"/>
                      <a:pt x="207" y="102"/>
                    </a:cubicBezTo>
                    <a:cubicBezTo>
                      <a:pt x="207" y="104"/>
                      <a:pt x="206" y="105"/>
                      <a:pt x="204" y="105"/>
                    </a:cubicBezTo>
                    <a:cubicBezTo>
                      <a:pt x="204" y="105"/>
                      <a:pt x="203" y="105"/>
                      <a:pt x="203" y="105"/>
                    </a:cubicBezTo>
                    <a:cubicBezTo>
                      <a:pt x="64" y="120"/>
                      <a:pt x="64" y="120"/>
                      <a:pt x="64" y="120"/>
                    </a:cubicBezTo>
                    <a:cubicBezTo>
                      <a:pt x="45" y="38"/>
                      <a:pt x="45" y="38"/>
                      <a:pt x="45" y="38"/>
                    </a:cubicBezTo>
                    <a:cubicBezTo>
                      <a:pt x="108" y="38"/>
                      <a:pt x="108" y="38"/>
                      <a:pt x="108" y="38"/>
                    </a:cubicBezTo>
                    <a:cubicBezTo>
                      <a:pt x="111" y="38"/>
                      <a:pt x="113" y="36"/>
                      <a:pt x="113" y="33"/>
                    </a:cubicBezTo>
                    <a:cubicBezTo>
                      <a:pt x="113" y="30"/>
                      <a:pt x="111" y="28"/>
                      <a:pt x="108" y="28"/>
                    </a:cubicBezTo>
                    <a:cubicBezTo>
                      <a:pt x="45" y="28"/>
                      <a:pt x="45" y="28"/>
                      <a:pt x="45" y="28"/>
                    </a:cubicBezTo>
                    <a:cubicBezTo>
                      <a:pt x="49" y="13"/>
                      <a:pt x="49" y="13"/>
                      <a:pt x="49" y="13"/>
                    </a:cubicBezTo>
                    <a:cubicBezTo>
                      <a:pt x="49" y="13"/>
                      <a:pt x="49" y="12"/>
                      <a:pt x="49" y="11"/>
                    </a:cubicBezTo>
                    <a:cubicBezTo>
                      <a:pt x="47" y="5"/>
                      <a:pt x="42" y="0"/>
                      <a:pt x="35" y="0"/>
                    </a:cubicBezTo>
                    <a:cubicBezTo>
                      <a:pt x="5" y="0"/>
                      <a:pt x="5" y="0"/>
                      <a:pt x="5" y="0"/>
                    </a:cubicBezTo>
                    <a:cubicBezTo>
                      <a:pt x="3" y="0"/>
                      <a:pt x="0" y="3"/>
                      <a:pt x="0" y="5"/>
                    </a:cubicBezTo>
                    <a:cubicBezTo>
                      <a:pt x="0" y="8"/>
                      <a:pt x="3" y="10"/>
                      <a:pt x="5" y="10"/>
                    </a:cubicBezTo>
                    <a:cubicBezTo>
                      <a:pt x="35" y="10"/>
                      <a:pt x="35" y="10"/>
                      <a:pt x="35" y="10"/>
                    </a:cubicBezTo>
                    <a:cubicBezTo>
                      <a:pt x="37" y="10"/>
                      <a:pt x="38" y="11"/>
                      <a:pt x="39" y="12"/>
                    </a:cubicBezTo>
                    <a:cubicBezTo>
                      <a:pt x="34" y="31"/>
                      <a:pt x="34" y="31"/>
                      <a:pt x="34" y="31"/>
                    </a:cubicBezTo>
                    <a:cubicBezTo>
                      <a:pt x="34" y="31"/>
                      <a:pt x="34" y="32"/>
                      <a:pt x="34" y="33"/>
                    </a:cubicBezTo>
                    <a:cubicBezTo>
                      <a:pt x="34" y="33"/>
                      <a:pt x="34" y="33"/>
                      <a:pt x="34" y="33"/>
                    </a:cubicBezTo>
                    <a:cubicBezTo>
                      <a:pt x="34" y="33"/>
                      <a:pt x="34" y="34"/>
                      <a:pt x="34" y="34"/>
                    </a:cubicBezTo>
                    <a:cubicBezTo>
                      <a:pt x="34" y="34"/>
                      <a:pt x="34" y="34"/>
                      <a:pt x="34" y="35"/>
                    </a:cubicBezTo>
                    <a:cubicBezTo>
                      <a:pt x="34" y="35"/>
                      <a:pt x="34" y="35"/>
                      <a:pt x="34" y="35"/>
                    </a:cubicBezTo>
                    <a:cubicBezTo>
                      <a:pt x="55" y="125"/>
                      <a:pt x="55" y="125"/>
                      <a:pt x="55" y="125"/>
                    </a:cubicBezTo>
                    <a:cubicBezTo>
                      <a:pt x="50" y="142"/>
                      <a:pt x="50" y="142"/>
                      <a:pt x="50" y="142"/>
                    </a:cubicBezTo>
                    <a:cubicBezTo>
                      <a:pt x="49" y="143"/>
                      <a:pt x="49" y="143"/>
                      <a:pt x="49" y="143"/>
                    </a:cubicBezTo>
                    <a:cubicBezTo>
                      <a:pt x="49" y="146"/>
                      <a:pt x="50" y="150"/>
                      <a:pt x="52" y="153"/>
                    </a:cubicBezTo>
                    <a:cubicBezTo>
                      <a:pt x="54" y="156"/>
                      <a:pt x="58" y="157"/>
                      <a:pt x="61" y="157"/>
                    </a:cubicBezTo>
                    <a:cubicBezTo>
                      <a:pt x="206" y="157"/>
                      <a:pt x="206" y="157"/>
                      <a:pt x="206" y="157"/>
                    </a:cubicBezTo>
                    <a:cubicBezTo>
                      <a:pt x="209" y="157"/>
                      <a:pt x="211" y="155"/>
                      <a:pt x="211" y="152"/>
                    </a:cubicBezTo>
                    <a:cubicBezTo>
                      <a:pt x="211" y="150"/>
                      <a:pt x="209" y="148"/>
                      <a:pt x="206" y="148"/>
                    </a:cubicBezTo>
                    <a:cubicBezTo>
                      <a:pt x="61" y="148"/>
                      <a:pt x="61" y="148"/>
                      <a:pt x="61" y="148"/>
                    </a:cubicBezTo>
                    <a:cubicBezTo>
                      <a:pt x="61" y="148"/>
                      <a:pt x="60" y="147"/>
                      <a:pt x="59" y="147"/>
                    </a:cubicBezTo>
                    <a:cubicBezTo>
                      <a:pt x="59" y="146"/>
                      <a:pt x="59" y="146"/>
                      <a:pt x="59" y="145"/>
                    </a:cubicBezTo>
                    <a:cubicBezTo>
                      <a:pt x="64" y="130"/>
                      <a:pt x="64" y="130"/>
                      <a:pt x="64" y="130"/>
                    </a:cubicBezTo>
                    <a:cubicBezTo>
                      <a:pt x="204" y="115"/>
                      <a:pt x="204" y="115"/>
                      <a:pt x="204" y="115"/>
                    </a:cubicBezTo>
                    <a:cubicBezTo>
                      <a:pt x="210" y="115"/>
                      <a:pt x="215" y="110"/>
                      <a:pt x="217" y="105"/>
                    </a:cubicBezTo>
                    <a:cubicBezTo>
                      <a:pt x="240" y="19"/>
                      <a:pt x="240" y="19"/>
                      <a:pt x="240" y="19"/>
                    </a:cubicBezTo>
                    <a:cubicBezTo>
                      <a:pt x="241" y="16"/>
                      <a:pt x="239" y="13"/>
                      <a:pt x="237" y="13"/>
                    </a:cubicBezTo>
                    <a:close/>
                  </a:path>
                </a:pathLst>
              </a:custGeom>
              <a:grp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130" name="Freeform 457">
                <a:extLst>
                  <a:ext uri="{FF2B5EF4-FFF2-40B4-BE49-F238E27FC236}">
                    <a16:creationId xmlns:a16="http://schemas.microsoft.com/office/drawing/2014/main" id="{F6F21F14-0644-44F9-AFDB-C5899E02297F}"/>
                  </a:ext>
                </a:extLst>
              </p:cNvPr>
              <p:cNvSpPr>
                <a:spLocks noEditPoints="1"/>
              </p:cNvSpPr>
              <p:nvPr/>
            </p:nvSpPr>
            <p:spPr bwMode="auto">
              <a:xfrm>
                <a:off x="10964863" y="4005263"/>
                <a:ext cx="79375" cy="80963"/>
              </a:xfrm>
              <a:custGeom>
                <a:avLst/>
                <a:gdLst>
                  <a:gd name="T0" fmla="*/ 19 w 39"/>
                  <a:gd name="T1" fmla="*/ 0 h 40"/>
                  <a:gd name="T2" fmla="*/ 0 w 39"/>
                  <a:gd name="T3" fmla="*/ 20 h 40"/>
                  <a:gd name="T4" fmla="*/ 19 w 39"/>
                  <a:gd name="T5" fmla="*/ 40 h 40"/>
                  <a:gd name="T6" fmla="*/ 39 w 39"/>
                  <a:gd name="T7" fmla="*/ 20 h 40"/>
                  <a:gd name="T8" fmla="*/ 19 w 39"/>
                  <a:gd name="T9" fmla="*/ 0 h 40"/>
                  <a:gd name="T10" fmla="*/ 19 w 39"/>
                  <a:gd name="T11" fmla="*/ 30 h 40"/>
                  <a:gd name="T12" fmla="*/ 10 w 39"/>
                  <a:gd name="T13" fmla="*/ 20 h 40"/>
                  <a:gd name="T14" fmla="*/ 19 w 39"/>
                  <a:gd name="T15" fmla="*/ 10 h 40"/>
                  <a:gd name="T16" fmla="*/ 29 w 39"/>
                  <a:gd name="T17" fmla="*/ 20 h 40"/>
                  <a:gd name="T18" fmla="*/ 19 w 39"/>
                  <a:gd name="T19" fmla="*/ 3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40">
                    <a:moveTo>
                      <a:pt x="19" y="0"/>
                    </a:moveTo>
                    <a:cubicBezTo>
                      <a:pt x="9" y="0"/>
                      <a:pt x="0" y="9"/>
                      <a:pt x="0" y="20"/>
                    </a:cubicBezTo>
                    <a:cubicBezTo>
                      <a:pt x="0" y="31"/>
                      <a:pt x="9" y="40"/>
                      <a:pt x="19" y="40"/>
                    </a:cubicBezTo>
                    <a:cubicBezTo>
                      <a:pt x="30" y="40"/>
                      <a:pt x="39" y="31"/>
                      <a:pt x="39" y="20"/>
                    </a:cubicBezTo>
                    <a:cubicBezTo>
                      <a:pt x="39" y="9"/>
                      <a:pt x="30" y="0"/>
                      <a:pt x="19" y="0"/>
                    </a:cubicBezTo>
                    <a:close/>
                    <a:moveTo>
                      <a:pt x="19" y="30"/>
                    </a:moveTo>
                    <a:cubicBezTo>
                      <a:pt x="14" y="30"/>
                      <a:pt x="10" y="26"/>
                      <a:pt x="10" y="20"/>
                    </a:cubicBezTo>
                    <a:cubicBezTo>
                      <a:pt x="10" y="15"/>
                      <a:pt x="14" y="10"/>
                      <a:pt x="19" y="10"/>
                    </a:cubicBezTo>
                    <a:cubicBezTo>
                      <a:pt x="25" y="10"/>
                      <a:pt x="29" y="15"/>
                      <a:pt x="29" y="20"/>
                    </a:cubicBezTo>
                    <a:cubicBezTo>
                      <a:pt x="29" y="26"/>
                      <a:pt x="25" y="30"/>
                      <a:pt x="19" y="30"/>
                    </a:cubicBezTo>
                    <a:close/>
                  </a:path>
                </a:pathLst>
              </a:custGeom>
              <a:grp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131" name="Freeform 458">
                <a:extLst>
                  <a:ext uri="{FF2B5EF4-FFF2-40B4-BE49-F238E27FC236}">
                    <a16:creationId xmlns:a16="http://schemas.microsoft.com/office/drawing/2014/main" id="{F72EB26F-0095-4062-BD0B-15B2C12E0373}"/>
                  </a:ext>
                </a:extLst>
              </p:cNvPr>
              <p:cNvSpPr>
                <a:spLocks noEditPoints="1"/>
              </p:cNvSpPr>
              <p:nvPr/>
            </p:nvSpPr>
            <p:spPr bwMode="auto">
              <a:xfrm>
                <a:off x="11201400" y="4005263"/>
                <a:ext cx="79375" cy="80963"/>
              </a:xfrm>
              <a:custGeom>
                <a:avLst/>
                <a:gdLst>
                  <a:gd name="T0" fmla="*/ 20 w 39"/>
                  <a:gd name="T1" fmla="*/ 0 h 40"/>
                  <a:gd name="T2" fmla="*/ 0 w 39"/>
                  <a:gd name="T3" fmla="*/ 20 h 40"/>
                  <a:gd name="T4" fmla="*/ 20 w 39"/>
                  <a:gd name="T5" fmla="*/ 40 h 40"/>
                  <a:gd name="T6" fmla="*/ 39 w 39"/>
                  <a:gd name="T7" fmla="*/ 20 h 40"/>
                  <a:gd name="T8" fmla="*/ 20 w 39"/>
                  <a:gd name="T9" fmla="*/ 0 h 40"/>
                  <a:gd name="T10" fmla="*/ 20 w 39"/>
                  <a:gd name="T11" fmla="*/ 30 h 40"/>
                  <a:gd name="T12" fmla="*/ 10 w 39"/>
                  <a:gd name="T13" fmla="*/ 20 h 40"/>
                  <a:gd name="T14" fmla="*/ 20 w 39"/>
                  <a:gd name="T15" fmla="*/ 10 h 40"/>
                  <a:gd name="T16" fmla="*/ 29 w 39"/>
                  <a:gd name="T17" fmla="*/ 20 h 40"/>
                  <a:gd name="T18" fmla="*/ 20 w 39"/>
                  <a:gd name="T19" fmla="*/ 3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40">
                    <a:moveTo>
                      <a:pt x="20" y="0"/>
                    </a:moveTo>
                    <a:cubicBezTo>
                      <a:pt x="9" y="0"/>
                      <a:pt x="0" y="9"/>
                      <a:pt x="0" y="20"/>
                    </a:cubicBezTo>
                    <a:cubicBezTo>
                      <a:pt x="0" y="31"/>
                      <a:pt x="9" y="40"/>
                      <a:pt x="20" y="40"/>
                    </a:cubicBezTo>
                    <a:cubicBezTo>
                      <a:pt x="30" y="40"/>
                      <a:pt x="39" y="31"/>
                      <a:pt x="39" y="20"/>
                    </a:cubicBezTo>
                    <a:cubicBezTo>
                      <a:pt x="39" y="9"/>
                      <a:pt x="30" y="0"/>
                      <a:pt x="20" y="0"/>
                    </a:cubicBezTo>
                    <a:close/>
                    <a:moveTo>
                      <a:pt x="20" y="30"/>
                    </a:moveTo>
                    <a:cubicBezTo>
                      <a:pt x="14" y="30"/>
                      <a:pt x="10" y="26"/>
                      <a:pt x="10" y="20"/>
                    </a:cubicBezTo>
                    <a:cubicBezTo>
                      <a:pt x="10" y="15"/>
                      <a:pt x="14" y="10"/>
                      <a:pt x="20" y="10"/>
                    </a:cubicBezTo>
                    <a:cubicBezTo>
                      <a:pt x="25" y="10"/>
                      <a:pt x="29" y="15"/>
                      <a:pt x="29" y="20"/>
                    </a:cubicBezTo>
                    <a:cubicBezTo>
                      <a:pt x="29" y="26"/>
                      <a:pt x="25" y="30"/>
                      <a:pt x="20" y="30"/>
                    </a:cubicBezTo>
                    <a:close/>
                  </a:path>
                </a:pathLst>
              </a:custGeom>
              <a:grp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132" name="Freeform 459">
                <a:extLst>
                  <a:ext uri="{FF2B5EF4-FFF2-40B4-BE49-F238E27FC236}">
                    <a16:creationId xmlns:a16="http://schemas.microsoft.com/office/drawing/2014/main" id="{4BD77E44-CF9A-40F9-BE8D-B1A32888FC38}"/>
                  </a:ext>
                </a:extLst>
              </p:cNvPr>
              <p:cNvSpPr>
                <a:spLocks/>
              </p:cNvSpPr>
              <p:nvPr/>
            </p:nvSpPr>
            <p:spPr bwMode="auto">
              <a:xfrm>
                <a:off x="11061700" y="3603625"/>
                <a:ext cx="147637" cy="250825"/>
              </a:xfrm>
              <a:custGeom>
                <a:avLst/>
                <a:gdLst>
                  <a:gd name="T0" fmla="*/ 9 w 72"/>
                  <a:gd name="T1" fmla="*/ 84 h 123"/>
                  <a:gd name="T2" fmla="*/ 2 w 72"/>
                  <a:gd name="T3" fmla="*/ 84 h 123"/>
                  <a:gd name="T4" fmla="*/ 2 w 72"/>
                  <a:gd name="T5" fmla="*/ 91 h 123"/>
                  <a:gd name="T6" fmla="*/ 33 w 72"/>
                  <a:gd name="T7" fmla="*/ 121 h 123"/>
                  <a:gd name="T8" fmla="*/ 34 w 72"/>
                  <a:gd name="T9" fmla="*/ 122 h 123"/>
                  <a:gd name="T10" fmla="*/ 36 w 72"/>
                  <a:gd name="T11" fmla="*/ 123 h 123"/>
                  <a:gd name="T12" fmla="*/ 38 w 72"/>
                  <a:gd name="T13" fmla="*/ 122 h 123"/>
                  <a:gd name="T14" fmla="*/ 39 w 72"/>
                  <a:gd name="T15" fmla="*/ 121 h 123"/>
                  <a:gd name="T16" fmla="*/ 70 w 72"/>
                  <a:gd name="T17" fmla="*/ 91 h 123"/>
                  <a:gd name="T18" fmla="*/ 70 w 72"/>
                  <a:gd name="T19" fmla="*/ 84 h 123"/>
                  <a:gd name="T20" fmla="*/ 63 w 72"/>
                  <a:gd name="T21" fmla="*/ 84 h 123"/>
                  <a:gd name="T22" fmla="*/ 41 w 72"/>
                  <a:gd name="T23" fmla="*/ 106 h 123"/>
                  <a:gd name="T24" fmla="*/ 41 w 72"/>
                  <a:gd name="T25" fmla="*/ 5 h 123"/>
                  <a:gd name="T26" fmla="*/ 36 w 72"/>
                  <a:gd name="T27" fmla="*/ 0 h 123"/>
                  <a:gd name="T28" fmla="*/ 31 w 72"/>
                  <a:gd name="T29" fmla="*/ 5 h 123"/>
                  <a:gd name="T30" fmla="*/ 31 w 72"/>
                  <a:gd name="T31" fmla="*/ 106 h 123"/>
                  <a:gd name="T32" fmla="*/ 9 w 72"/>
                  <a:gd name="T33" fmla="*/ 8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123">
                    <a:moveTo>
                      <a:pt x="9" y="84"/>
                    </a:moveTo>
                    <a:cubicBezTo>
                      <a:pt x="7" y="82"/>
                      <a:pt x="4" y="82"/>
                      <a:pt x="2" y="84"/>
                    </a:cubicBezTo>
                    <a:cubicBezTo>
                      <a:pt x="0" y="86"/>
                      <a:pt x="0" y="89"/>
                      <a:pt x="2" y="91"/>
                    </a:cubicBezTo>
                    <a:cubicBezTo>
                      <a:pt x="33" y="121"/>
                      <a:pt x="33" y="121"/>
                      <a:pt x="33" y="121"/>
                    </a:cubicBezTo>
                    <a:cubicBezTo>
                      <a:pt x="33" y="122"/>
                      <a:pt x="34" y="122"/>
                      <a:pt x="34" y="122"/>
                    </a:cubicBezTo>
                    <a:cubicBezTo>
                      <a:pt x="35" y="123"/>
                      <a:pt x="35" y="123"/>
                      <a:pt x="36" y="123"/>
                    </a:cubicBezTo>
                    <a:cubicBezTo>
                      <a:pt x="37" y="123"/>
                      <a:pt x="37" y="123"/>
                      <a:pt x="38" y="122"/>
                    </a:cubicBezTo>
                    <a:cubicBezTo>
                      <a:pt x="38" y="122"/>
                      <a:pt x="39" y="122"/>
                      <a:pt x="39" y="121"/>
                    </a:cubicBezTo>
                    <a:cubicBezTo>
                      <a:pt x="70" y="91"/>
                      <a:pt x="70" y="91"/>
                      <a:pt x="70" y="91"/>
                    </a:cubicBezTo>
                    <a:cubicBezTo>
                      <a:pt x="72" y="89"/>
                      <a:pt x="72" y="86"/>
                      <a:pt x="70" y="84"/>
                    </a:cubicBezTo>
                    <a:cubicBezTo>
                      <a:pt x="68" y="82"/>
                      <a:pt x="65" y="82"/>
                      <a:pt x="63" y="84"/>
                    </a:cubicBezTo>
                    <a:cubicBezTo>
                      <a:pt x="41" y="106"/>
                      <a:pt x="41" y="106"/>
                      <a:pt x="41" y="106"/>
                    </a:cubicBezTo>
                    <a:cubicBezTo>
                      <a:pt x="41" y="5"/>
                      <a:pt x="41" y="5"/>
                      <a:pt x="41" y="5"/>
                    </a:cubicBezTo>
                    <a:cubicBezTo>
                      <a:pt x="41" y="3"/>
                      <a:pt x="39" y="0"/>
                      <a:pt x="36" y="0"/>
                    </a:cubicBezTo>
                    <a:cubicBezTo>
                      <a:pt x="33" y="0"/>
                      <a:pt x="31" y="3"/>
                      <a:pt x="31" y="5"/>
                    </a:cubicBezTo>
                    <a:cubicBezTo>
                      <a:pt x="31" y="106"/>
                      <a:pt x="31" y="106"/>
                      <a:pt x="31" y="106"/>
                    </a:cubicBezTo>
                    <a:lnTo>
                      <a:pt x="9" y="84"/>
                    </a:lnTo>
                    <a:close/>
                  </a:path>
                </a:pathLst>
              </a:custGeom>
              <a:grp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grpSp>
      </p:grpSp>
      <p:grpSp>
        <p:nvGrpSpPr>
          <p:cNvPr id="133" name="Group 132">
            <a:extLst>
              <a:ext uri="{FF2B5EF4-FFF2-40B4-BE49-F238E27FC236}">
                <a16:creationId xmlns:a16="http://schemas.microsoft.com/office/drawing/2014/main" id="{61C18136-8D65-41A3-8010-D1CE45C6EA72}"/>
              </a:ext>
            </a:extLst>
          </p:cNvPr>
          <p:cNvGrpSpPr/>
          <p:nvPr/>
        </p:nvGrpSpPr>
        <p:grpSpPr>
          <a:xfrm>
            <a:off x="10569357" y="2171264"/>
            <a:ext cx="337603" cy="322417"/>
            <a:chOff x="11659994" y="532811"/>
            <a:chExt cx="337603" cy="322417"/>
          </a:xfrm>
        </p:grpSpPr>
        <p:sp>
          <p:nvSpPr>
            <p:cNvPr id="134" name="Oval 133">
              <a:extLst>
                <a:ext uri="{FF2B5EF4-FFF2-40B4-BE49-F238E27FC236}">
                  <a16:creationId xmlns:a16="http://schemas.microsoft.com/office/drawing/2014/main" id="{86A24EFF-B762-4B90-8C3B-66F9A42E2E9E}"/>
                </a:ext>
              </a:extLst>
            </p:cNvPr>
            <p:cNvSpPr>
              <a:spLocks noChangeAspect="1"/>
            </p:cNvSpPr>
            <p:nvPr/>
          </p:nvSpPr>
          <p:spPr>
            <a:xfrm>
              <a:off x="11659994" y="532811"/>
              <a:ext cx="337603" cy="322417"/>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grpSp>
          <p:nvGrpSpPr>
            <p:cNvPr id="135" name="Group 134">
              <a:extLst>
                <a:ext uri="{FF2B5EF4-FFF2-40B4-BE49-F238E27FC236}">
                  <a16:creationId xmlns:a16="http://schemas.microsoft.com/office/drawing/2014/main" id="{D5C628CF-63F5-4097-AE42-0FEB646B53E4}"/>
                </a:ext>
              </a:extLst>
            </p:cNvPr>
            <p:cNvGrpSpPr>
              <a:grpSpLocks noChangeAspect="1"/>
            </p:cNvGrpSpPr>
            <p:nvPr/>
          </p:nvGrpSpPr>
          <p:grpSpPr>
            <a:xfrm>
              <a:off x="11721310" y="604313"/>
              <a:ext cx="246457" cy="193004"/>
              <a:chOff x="5916613" y="3068638"/>
              <a:chExt cx="555625" cy="455612"/>
            </a:xfrm>
            <a:solidFill>
              <a:srgbClr val="00B050"/>
            </a:solidFill>
          </p:grpSpPr>
          <p:sp>
            <p:nvSpPr>
              <p:cNvPr id="136" name="Freeform 194">
                <a:extLst>
                  <a:ext uri="{FF2B5EF4-FFF2-40B4-BE49-F238E27FC236}">
                    <a16:creationId xmlns:a16="http://schemas.microsoft.com/office/drawing/2014/main" id="{121B0EF9-B00F-4C5F-BE77-417169F4673D}"/>
                  </a:ext>
                </a:extLst>
              </p:cNvPr>
              <p:cNvSpPr>
                <a:spLocks noEditPoints="1"/>
              </p:cNvSpPr>
              <p:nvPr/>
            </p:nvSpPr>
            <p:spPr bwMode="auto">
              <a:xfrm>
                <a:off x="5916613" y="3068638"/>
                <a:ext cx="419100" cy="411163"/>
              </a:xfrm>
              <a:custGeom>
                <a:avLst/>
                <a:gdLst>
                  <a:gd name="T0" fmla="*/ 178 w 178"/>
                  <a:gd name="T1" fmla="*/ 66 h 175"/>
                  <a:gd name="T2" fmla="*/ 117 w 178"/>
                  <a:gd name="T3" fmla="*/ 0 h 175"/>
                  <a:gd name="T4" fmla="*/ 61 w 178"/>
                  <a:gd name="T5" fmla="*/ 0 h 175"/>
                  <a:gd name="T6" fmla="*/ 0 w 178"/>
                  <a:gd name="T7" fmla="*/ 66 h 175"/>
                  <a:gd name="T8" fmla="*/ 46 w 178"/>
                  <a:gd name="T9" fmla="*/ 130 h 175"/>
                  <a:gd name="T10" fmla="*/ 46 w 178"/>
                  <a:gd name="T11" fmla="*/ 170 h 175"/>
                  <a:gd name="T12" fmla="*/ 49 w 178"/>
                  <a:gd name="T13" fmla="*/ 174 h 175"/>
                  <a:gd name="T14" fmla="*/ 51 w 178"/>
                  <a:gd name="T15" fmla="*/ 175 h 175"/>
                  <a:gd name="T16" fmla="*/ 54 w 178"/>
                  <a:gd name="T17" fmla="*/ 174 h 175"/>
                  <a:gd name="T18" fmla="*/ 101 w 178"/>
                  <a:gd name="T19" fmla="*/ 132 h 175"/>
                  <a:gd name="T20" fmla="*/ 117 w 178"/>
                  <a:gd name="T21" fmla="*/ 132 h 175"/>
                  <a:gd name="T22" fmla="*/ 178 w 178"/>
                  <a:gd name="T23" fmla="*/ 66 h 175"/>
                  <a:gd name="T24" fmla="*/ 99 w 178"/>
                  <a:gd name="T25" fmla="*/ 123 h 175"/>
                  <a:gd name="T26" fmla="*/ 96 w 178"/>
                  <a:gd name="T27" fmla="*/ 124 h 175"/>
                  <a:gd name="T28" fmla="*/ 55 w 178"/>
                  <a:gd name="T29" fmla="*/ 159 h 175"/>
                  <a:gd name="T30" fmla="*/ 55 w 178"/>
                  <a:gd name="T31" fmla="*/ 126 h 175"/>
                  <a:gd name="T32" fmla="*/ 52 w 178"/>
                  <a:gd name="T33" fmla="*/ 122 h 175"/>
                  <a:gd name="T34" fmla="*/ 9 w 178"/>
                  <a:gd name="T35" fmla="*/ 66 h 175"/>
                  <a:gd name="T36" fmla="*/ 61 w 178"/>
                  <a:gd name="T37" fmla="*/ 10 h 175"/>
                  <a:gd name="T38" fmla="*/ 117 w 178"/>
                  <a:gd name="T39" fmla="*/ 10 h 175"/>
                  <a:gd name="T40" fmla="*/ 168 w 178"/>
                  <a:gd name="T41" fmla="*/ 66 h 175"/>
                  <a:gd name="T42" fmla="*/ 117 w 178"/>
                  <a:gd name="T43" fmla="*/ 123 h 175"/>
                  <a:gd name="T44" fmla="*/ 99 w 178"/>
                  <a:gd name="T45" fmla="*/ 12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8" h="175">
                    <a:moveTo>
                      <a:pt x="178" y="66"/>
                    </a:moveTo>
                    <a:cubicBezTo>
                      <a:pt x="178" y="30"/>
                      <a:pt x="150" y="0"/>
                      <a:pt x="117" y="0"/>
                    </a:cubicBezTo>
                    <a:cubicBezTo>
                      <a:pt x="61" y="0"/>
                      <a:pt x="61" y="0"/>
                      <a:pt x="61" y="0"/>
                    </a:cubicBezTo>
                    <a:cubicBezTo>
                      <a:pt x="27" y="0"/>
                      <a:pt x="0" y="30"/>
                      <a:pt x="0" y="66"/>
                    </a:cubicBezTo>
                    <a:cubicBezTo>
                      <a:pt x="0" y="97"/>
                      <a:pt x="19" y="123"/>
                      <a:pt x="46" y="130"/>
                    </a:cubicBezTo>
                    <a:cubicBezTo>
                      <a:pt x="46" y="170"/>
                      <a:pt x="46" y="170"/>
                      <a:pt x="46" y="170"/>
                    </a:cubicBezTo>
                    <a:cubicBezTo>
                      <a:pt x="46" y="172"/>
                      <a:pt x="47" y="174"/>
                      <a:pt x="49" y="174"/>
                    </a:cubicBezTo>
                    <a:cubicBezTo>
                      <a:pt x="49" y="175"/>
                      <a:pt x="50" y="175"/>
                      <a:pt x="51" y="175"/>
                    </a:cubicBezTo>
                    <a:cubicBezTo>
                      <a:pt x="52" y="175"/>
                      <a:pt x="53" y="174"/>
                      <a:pt x="54" y="174"/>
                    </a:cubicBezTo>
                    <a:cubicBezTo>
                      <a:pt x="101" y="132"/>
                      <a:pt x="101" y="132"/>
                      <a:pt x="101" y="132"/>
                    </a:cubicBezTo>
                    <a:cubicBezTo>
                      <a:pt x="117" y="132"/>
                      <a:pt x="117" y="132"/>
                      <a:pt x="117" y="132"/>
                    </a:cubicBezTo>
                    <a:cubicBezTo>
                      <a:pt x="150" y="132"/>
                      <a:pt x="178" y="103"/>
                      <a:pt x="178" y="66"/>
                    </a:cubicBezTo>
                    <a:close/>
                    <a:moveTo>
                      <a:pt x="99" y="123"/>
                    </a:moveTo>
                    <a:cubicBezTo>
                      <a:pt x="98" y="123"/>
                      <a:pt x="97" y="123"/>
                      <a:pt x="96" y="124"/>
                    </a:cubicBezTo>
                    <a:cubicBezTo>
                      <a:pt x="55" y="159"/>
                      <a:pt x="55" y="159"/>
                      <a:pt x="55" y="159"/>
                    </a:cubicBezTo>
                    <a:cubicBezTo>
                      <a:pt x="55" y="126"/>
                      <a:pt x="55" y="126"/>
                      <a:pt x="55" y="126"/>
                    </a:cubicBezTo>
                    <a:cubicBezTo>
                      <a:pt x="55" y="124"/>
                      <a:pt x="54" y="122"/>
                      <a:pt x="52" y="122"/>
                    </a:cubicBezTo>
                    <a:cubicBezTo>
                      <a:pt x="27" y="117"/>
                      <a:pt x="9" y="94"/>
                      <a:pt x="9" y="66"/>
                    </a:cubicBezTo>
                    <a:cubicBezTo>
                      <a:pt x="9" y="35"/>
                      <a:pt x="32" y="10"/>
                      <a:pt x="61" y="10"/>
                    </a:cubicBezTo>
                    <a:cubicBezTo>
                      <a:pt x="117" y="10"/>
                      <a:pt x="117" y="10"/>
                      <a:pt x="117" y="10"/>
                    </a:cubicBezTo>
                    <a:cubicBezTo>
                      <a:pt x="145" y="10"/>
                      <a:pt x="168" y="35"/>
                      <a:pt x="168" y="66"/>
                    </a:cubicBezTo>
                    <a:cubicBezTo>
                      <a:pt x="168" y="97"/>
                      <a:pt x="145" y="123"/>
                      <a:pt x="117" y="123"/>
                    </a:cubicBezTo>
                    <a:lnTo>
                      <a:pt x="99" y="123"/>
                    </a:ln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137" name="Freeform 195">
                <a:extLst>
                  <a:ext uri="{FF2B5EF4-FFF2-40B4-BE49-F238E27FC236}">
                    <a16:creationId xmlns:a16="http://schemas.microsoft.com/office/drawing/2014/main" id="{417DC6A2-EF88-4119-AF85-39ADC0A72CFB}"/>
                  </a:ext>
                </a:extLst>
              </p:cNvPr>
              <p:cNvSpPr>
                <a:spLocks/>
              </p:cNvSpPr>
              <p:nvPr/>
            </p:nvSpPr>
            <p:spPr bwMode="auto">
              <a:xfrm>
                <a:off x="6184900" y="3235325"/>
                <a:ext cx="287338" cy="288925"/>
              </a:xfrm>
              <a:custGeom>
                <a:avLst/>
                <a:gdLst>
                  <a:gd name="T0" fmla="*/ 77 w 122"/>
                  <a:gd name="T1" fmla="*/ 0 h 123"/>
                  <a:gd name="T2" fmla="*/ 73 w 122"/>
                  <a:gd name="T3" fmla="*/ 5 h 123"/>
                  <a:gd name="T4" fmla="*/ 77 w 122"/>
                  <a:gd name="T5" fmla="*/ 9 h 123"/>
                  <a:gd name="T6" fmla="*/ 112 w 122"/>
                  <a:gd name="T7" fmla="*/ 48 h 123"/>
                  <a:gd name="T8" fmla="*/ 79 w 122"/>
                  <a:gd name="T9" fmla="*/ 86 h 123"/>
                  <a:gd name="T10" fmla="*/ 74 w 122"/>
                  <a:gd name="T11" fmla="*/ 91 h 123"/>
                  <a:gd name="T12" fmla="*/ 74 w 122"/>
                  <a:gd name="T13" fmla="*/ 107 h 123"/>
                  <a:gd name="T14" fmla="*/ 56 w 122"/>
                  <a:gd name="T15" fmla="*/ 88 h 123"/>
                  <a:gd name="T16" fmla="*/ 53 w 122"/>
                  <a:gd name="T17" fmla="*/ 87 h 123"/>
                  <a:gd name="T18" fmla="*/ 37 w 122"/>
                  <a:gd name="T19" fmla="*/ 87 h 123"/>
                  <a:gd name="T20" fmla="*/ 10 w 122"/>
                  <a:gd name="T21" fmla="*/ 71 h 123"/>
                  <a:gd name="T22" fmla="*/ 3 w 122"/>
                  <a:gd name="T23" fmla="*/ 70 h 123"/>
                  <a:gd name="T24" fmla="*/ 2 w 122"/>
                  <a:gd name="T25" fmla="*/ 76 h 123"/>
                  <a:gd name="T26" fmla="*/ 37 w 122"/>
                  <a:gd name="T27" fmla="*/ 96 h 123"/>
                  <a:gd name="T28" fmla="*/ 51 w 122"/>
                  <a:gd name="T29" fmla="*/ 96 h 123"/>
                  <a:gd name="T30" fmla="*/ 75 w 122"/>
                  <a:gd name="T31" fmla="*/ 122 h 123"/>
                  <a:gd name="T32" fmla="*/ 79 w 122"/>
                  <a:gd name="T33" fmla="*/ 123 h 123"/>
                  <a:gd name="T34" fmla="*/ 80 w 122"/>
                  <a:gd name="T35" fmla="*/ 123 h 123"/>
                  <a:gd name="T36" fmla="*/ 83 w 122"/>
                  <a:gd name="T37" fmla="*/ 118 h 123"/>
                  <a:gd name="T38" fmla="*/ 83 w 122"/>
                  <a:gd name="T39" fmla="*/ 96 h 123"/>
                  <a:gd name="T40" fmla="*/ 122 w 122"/>
                  <a:gd name="T41" fmla="*/ 48 h 123"/>
                  <a:gd name="T42" fmla="*/ 77 w 122"/>
                  <a:gd name="T4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2" h="123">
                    <a:moveTo>
                      <a:pt x="77" y="0"/>
                    </a:moveTo>
                    <a:cubicBezTo>
                      <a:pt x="75" y="0"/>
                      <a:pt x="73" y="2"/>
                      <a:pt x="73" y="5"/>
                    </a:cubicBezTo>
                    <a:cubicBezTo>
                      <a:pt x="73" y="7"/>
                      <a:pt x="75" y="9"/>
                      <a:pt x="77" y="9"/>
                    </a:cubicBezTo>
                    <a:cubicBezTo>
                      <a:pt x="97" y="9"/>
                      <a:pt x="112" y="27"/>
                      <a:pt x="112" y="48"/>
                    </a:cubicBezTo>
                    <a:cubicBezTo>
                      <a:pt x="112" y="69"/>
                      <a:pt x="97" y="86"/>
                      <a:pt x="79" y="86"/>
                    </a:cubicBezTo>
                    <a:cubicBezTo>
                      <a:pt x="76" y="87"/>
                      <a:pt x="74" y="89"/>
                      <a:pt x="74" y="91"/>
                    </a:cubicBezTo>
                    <a:cubicBezTo>
                      <a:pt x="74" y="107"/>
                      <a:pt x="74" y="107"/>
                      <a:pt x="74" y="107"/>
                    </a:cubicBezTo>
                    <a:cubicBezTo>
                      <a:pt x="56" y="88"/>
                      <a:pt x="56" y="88"/>
                      <a:pt x="56" y="88"/>
                    </a:cubicBezTo>
                    <a:cubicBezTo>
                      <a:pt x="55" y="87"/>
                      <a:pt x="54" y="87"/>
                      <a:pt x="53" y="87"/>
                    </a:cubicBezTo>
                    <a:cubicBezTo>
                      <a:pt x="37" y="87"/>
                      <a:pt x="37" y="87"/>
                      <a:pt x="37" y="87"/>
                    </a:cubicBezTo>
                    <a:cubicBezTo>
                      <a:pt x="26" y="87"/>
                      <a:pt x="16" y="81"/>
                      <a:pt x="10" y="71"/>
                    </a:cubicBezTo>
                    <a:cubicBezTo>
                      <a:pt x="8" y="69"/>
                      <a:pt x="5" y="68"/>
                      <a:pt x="3" y="70"/>
                    </a:cubicBezTo>
                    <a:cubicBezTo>
                      <a:pt x="1" y="71"/>
                      <a:pt x="0" y="74"/>
                      <a:pt x="2" y="76"/>
                    </a:cubicBezTo>
                    <a:cubicBezTo>
                      <a:pt x="10" y="89"/>
                      <a:pt x="23" y="96"/>
                      <a:pt x="37" y="96"/>
                    </a:cubicBezTo>
                    <a:cubicBezTo>
                      <a:pt x="51" y="96"/>
                      <a:pt x="51" y="96"/>
                      <a:pt x="51" y="96"/>
                    </a:cubicBezTo>
                    <a:cubicBezTo>
                      <a:pt x="75" y="122"/>
                      <a:pt x="75" y="122"/>
                      <a:pt x="75" y="122"/>
                    </a:cubicBezTo>
                    <a:cubicBezTo>
                      <a:pt x="76" y="123"/>
                      <a:pt x="77" y="123"/>
                      <a:pt x="79" y="123"/>
                    </a:cubicBezTo>
                    <a:cubicBezTo>
                      <a:pt x="79" y="123"/>
                      <a:pt x="80" y="123"/>
                      <a:pt x="80" y="123"/>
                    </a:cubicBezTo>
                    <a:cubicBezTo>
                      <a:pt x="82" y="122"/>
                      <a:pt x="83" y="120"/>
                      <a:pt x="83" y="118"/>
                    </a:cubicBezTo>
                    <a:cubicBezTo>
                      <a:pt x="83" y="96"/>
                      <a:pt x="83" y="96"/>
                      <a:pt x="83" y="96"/>
                    </a:cubicBezTo>
                    <a:cubicBezTo>
                      <a:pt x="105" y="92"/>
                      <a:pt x="122" y="72"/>
                      <a:pt x="122" y="48"/>
                    </a:cubicBezTo>
                    <a:cubicBezTo>
                      <a:pt x="122" y="22"/>
                      <a:pt x="102" y="0"/>
                      <a:pt x="77" y="0"/>
                    </a:cubicBez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138" name="Freeform 196">
                <a:extLst>
                  <a:ext uri="{FF2B5EF4-FFF2-40B4-BE49-F238E27FC236}">
                    <a16:creationId xmlns:a16="http://schemas.microsoft.com/office/drawing/2014/main" id="{D946F85D-FE9F-44DF-AD7A-7096E85DA2B9}"/>
                  </a:ext>
                </a:extLst>
              </p:cNvPr>
              <p:cNvSpPr>
                <a:spLocks/>
              </p:cNvSpPr>
              <p:nvPr/>
            </p:nvSpPr>
            <p:spPr bwMode="auto">
              <a:xfrm>
                <a:off x="6013450" y="3178175"/>
                <a:ext cx="223838" cy="23813"/>
              </a:xfrm>
              <a:custGeom>
                <a:avLst/>
                <a:gdLst>
                  <a:gd name="T0" fmla="*/ 95 w 95"/>
                  <a:gd name="T1" fmla="*/ 5 h 10"/>
                  <a:gd name="T2" fmla="*/ 90 w 95"/>
                  <a:gd name="T3" fmla="*/ 0 h 10"/>
                  <a:gd name="T4" fmla="*/ 5 w 95"/>
                  <a:gd name="T5" fmla="*/ 0 h 10"/>
                  <a:gd name="T6" fmla="*/ 0 w 95"/>
                  <a:gd name="T7" fmla="*/ 5 h 10"/>
                  <a:gd name="T8" fmla="*/ 5 w 95"/>
                  <a:gd name="T9" fmla="*/ 10 h 10"/>
                  <a:gd name="T10" fmla="*/ 90 w 95"/>
                  <a:gd name="T11" fmla="*/ 10 h 10"/>
                  <a:gd name="T12" fmla="*/ 95 w 95"/>
                  <a:gd name="T13" fmla="*/ 5 h 10"/>
                </a:gdLst>
                <a:ahLst/>
                <a:cxnLst>
                  <a:cxn ang="0">
                    <a:pos x="T0" y="T1"/>
                  </a:cxn>
                  <a:cxn ang="0">
                    <a:pos x="T2" y="T3"/>
                  </a:cxn>
                  <a:cxn ang="0">
                    <a:pos x="T4" y="T5"/>
                  </a:cxn>
                  <a:cxn ang="0">
                    <a:pos x="T6" y="T7"/>
                  </a:cxn>
                  <a:cxn ang="0">
                    <a:pos x="T8" y="T9"/>
                  </a:cxn>
                  <a:cxn ang="0">
                    <a:pos x="T10" y="T11"/>
                  </a:cxn>
                  <a:cxn ang="0">
                    <a:pos x="T12" y="T13"/>
                  </a:cxn>
                </a:cxnLst>
                <a:rect l="0" t="0" r="r" b="b"/>
                <a:pathLst>
                  <a:path w="95" h="10">
                    <a:moveTo>
                      <a:pt x="95" y="5"/>
                    </a:moveTo>
                    <a:cubicBezTo>
                      <a:pt x="95" y="2"/>
                      <a:pt x="93" y="0"/>
                      <a:pt x="90" y="0"/>
                    </a:cubicBezTo>
                    <a:cubicBezTo>
                      <a:pt x="5" y="0"/>
                      <a:pt x="5" y="0"/>
                      <a:pt x="5" y="0"/>
                    </a:cubicBezTo>
                    <a:cubicBezTo>
                      <a:pt x="2" y="0"/>
                      <a:pt x="0" y="2"/>
                      <a:pt x="0" y="5"/>
                    </a:cubicBezTo>
                    <a:cubicBezTo>
                      <a:pt x="0" y="8"/>
                      <a:pt x="2" y="10"/>
                      <a:pt x="5" y="10"/>
                    </a:cubicBezTo>
                    <a:cubicBezTo>
                      <a:pt x="90" y="10"/>
                      <a:pt x="90" y="10"/>
                      <a:pt x="90" y="10"/>
                    </a:cubicBezTo>
                    <a:cubicBezTo>
                      <a:pt x="93" y="10"/>
                      <a:pt x="95" y="8"/>
                      <a:pt x="95" y="5"/>
                    </a:cubicBez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139" name="Freeform 197">
                <a:extLst>
                  <a:ext uri="{FF2B5EF4-FFF2-40B4-BE49-F238E27FC236}">
                    <a16:creationId xmlns:a16="http://schemas.microsoft.com/office/drawing/2014/main" id="{50F46795-8E28-4030-9E83-CDE9AAFF100D}"/>
                  </a:ext>
                </a:extLst>
              </p:cNvPr>
              <p:cNvSpPr>
                <a:spLocks/>
              </p:cNvSpPr>
              <p:nvPr/>
            </p:nvSpPr>
            <p:spPr bwMode="auto">
              <a:xfrm>
                <a:off x="6013450" y="3249613"/>
                <a:ext cx="122238" cy="23813"/>
              </a:xfrm>
              <a:custGeom>
                <a:avLst/>
                <a:gdLst>
                  <a:gd name="T0" fmla="*/ 47 w 52"/>
                  <a:gd name="T1" fmla="*/ 0 h 10"/>
                  <a:gd name="T2" fmla="*/ 5 w 52"/>
                  <a:gd name="T3" fmla="*/ 0 h 10"/>
                  <a:gd name="T4" fmla="*/ 0 w 52"/>
                  <a:gd name="T5" fmla="*/ 5 h 10"/>
                  <a:gd name="T6" fmla="*/ 5 w 52"/>
                  <a:gd name="T7" fmla="*/ 10 h 10"/>
                  <a:gd name="T8" fmla="*/ 47 w 52"/>
                  <a:gd name="T9" fmla="*/ 10 h 10"/>
                  <a:gd name="T10" fmla="*/ 52 w 52"/>
                  <a:gd name="T11" fmla="*/ 5 h 10"/>
                  <a:gd name="T12" fmla="*/ 47 w 5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52" h="10">
                    <a:moveTo>
                      <a:pt x="47" y="0"/>
                    </a:moveTo>
                    <a:cubicBezTo>
                      <a:pt x="5" y="0"/>
                      <a:pt x="5" y="0"/>
                      <a:pt x="5" y="0"/>
                    </a:cubicBezTo>
                    <a:cubicBezTo>
                      <a:pt x="2" y="0"/>
                      <a:pt x="0" y="2"/>
                      <a:pt x="0" y="5"/>
                    </a:cubicBezTo>
                    <a:cubicBezTo>
                      <a:pt x="0" y="8"/>
                      <a:pt x="2" y="10"/>
                      <a:pt x="5" y="10"/>
                    </a:cubicBezTo>
                    <a:cubicBezTo>
                      <a:pt x="47" y="10"/>
                      <a:pt x="47" y="10"/>
                      <a:pt x="47" y="10"/>
                    </a:cubicBezTo>
                    <a:cubicBezTo>
                      <a:pt x="49" y="10"/>
                      <a:pt x="52" y="8"/>
                      <a:pt x="52" y="5"/>
                    </a:cubicBezTo>
                    <a:cubicBezTo>
                      <a:pt x="52" y="2"/>
                      <a:pt x="49" y="0"/>
                      <a:pt x="47" y="0"/>
                    </a:cubicBez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grpSp>
      </p:grpSp>
      <p:sp>
        <p:nvSpPr>
          <p:cNvPr id="140" name="Text Placeholder 2">
            <a:extLst>
              <a:ext uri="{FF2B5EF4-FFF2-40B4-BE49-F238E27FC236}">
                <a16:creationId xmlns:a16="http://schemas.microsoft.com/office/drawing/2014/main" id="{31AE3DD1-E184-468C-8CB3-A23314057988}"/>
              </a:ext>
            </a:extLst>
          </p:cNvPr>
          <p:cNvSpPr txBox="1">
            <a:spLocks/>
          </p:cNvSpPr>
          <p:nvPr/>
        </p:nvSpPr>
        <p:spPr>
          <a:xfrm>
            <a:off x="2752425" y="4549680"/>
            <a:ext cx="1084966" cy="1123327"/>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400"/>
              </a:spcBef>
              <a:spcAft>
                <a:spcPts val="0"/>
              </a:spcAft>
              <a:buClr>
                <a:srgbClr val="4472C4"/>
              </a:buClr>
              <a:buSzPct val="75000"/>
              <a:buFont typeface="Arial" panose="020B0604020202020204" pitchFamily="34" charset="0"/>
              <a:buNone/>
              <a:tabLst/>
              <a:defRPr/>
            </a:pPr>
            <a:r>
              <a:rPr kumimoji="0" lang="en-US" sz="1000" b="1" i="0" u="none" strike="noStrike" kern="1200" cap="none" spc="-30" normalizeH="0" baseline="0" noProof="0" dirty="0">
                <a:ln>
                  <a:noFill/>
                </a:ln>
                <a:solidFill>
                  <a:srgbClr val="FF0000"/>
                </a:solidFill>
                <a:effectLst/>
                <a:uLnTx/>
                <a:uFillTx/>
                <a:latin typeface="+mn-lt"/>
                <a:ea typeface="Chronicle Display Black" charset="0"/>
                <a:cs typeface="Chronicle Display Black" charset="0"/>
              </a:rPr>
              <a:t>Encourage Feedback</a:t>
            </a:r>
          </a:p>
          <a:p>
            <a:pPr marL="0" marR="0" lvl="0" indent="0" algn="l" defTabSz="914400" rtl="0" eaLnBrk="1" fontAlgn="auto" latinLnBrk="0" hangingPunct="1">
              <a:lnSpc>
                <a:spcPct val="100000"/>
              </a:lnSpc>
              <a:spcBef>
                <a:spcPts val="300"/>
              </a:spcBef>
              <a:spcAft>
                <a:spcPts val="0"/>
              </a:spcAft>
              <a:buClr>
                <a:srgbClr val="4472C4"/>
              </a:buClr>
              <a:buSzPct val="75000"/>
              <a:buFont typeface="Arial" panose="020B0604020202020204" pitchFamily="34" charset="0"/>
              <a:buNone/>
              <a:tabLst/>
              <a:defRPr/>
            </a:pPr>
            <a:r>
              <a:rPr kumimoji="0" lang="en-US" sz="700" b="0" i="0" u="none" strike="noStrike" kern="1200" cap="none" spc="-30" normalizeH="0" baseline="0" noProof="0" dirty="0">
                <a:ln>
                  <a:noFill/>
                </a:ln>
                <a:solidFill>
                  <a:srgbClr val="44546A"/>
                </a:solidFill>
                <a:effectLst/>
                <a:uLnTx/>
                <a:uFillTx/>
                <a:latin typeface="+mn-lt"/>
                <a:ea typeface="Open Sans" charset="0"/>
                <a:cs typeface="Calibri Light" panose="020F0302020204030204" pitchFamily="34" charset="0"/>
              </a:rPr>
              <a:t>User receives follow-up email 4 days after registration asking for feedback on process, entered to win $50 gift card </a:t>
            </a:r>
          </a:p>
        </p:txBody>
      </p:sp>
      <p:cxnSp>
        <p:nvCxnSpPr>
          <p:cNvPr id="141" name="Straight Connector 140">
            <a:extLst>
              <a:ext uri="{FF2B5EF4-FFF2-40B4-BE49-F238E27FC236}">
                <a16:creationId xmlns:a16="http://schemas.microsoft.com/office/drawing/2014/main" id="{A1F54E3D-6042-47A9-8394-4E1B03019198}"/>
              </a:ext>
            </a:extLst>
          </p:cNvPr>
          <p:cNvCxnSpPr/>
          <p:nvPr/>
        </p:nvCxnSpPr>
        <p:spPr>
          <a:xfrm>
            <a:off x="4092832" y="4895941"/>
            <a:ext cx="215347" cy="1"/>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42" name="Oval 141">
            <a:extLst>
              <a:ext uri="{FF2B5EF4-FFF2-40B4-BE49-F238E27FC236}">
                <a16:creationId xmlns:a16="http://schemas.microsoft.com/office/drawing/2014/main" id="{B24666A9-5128-483B-A21C-F9E86CBFBADB}"/>
              </a:ext>
            </a:extLst>
          </p:cNvPr>
          <p:cNvSpPr/>
          <p:nvPr/>
        </p:nvSpPr>
        <p:spPr>
          <a:xfrm>
            <a:off x="4272821" y="4851996"/>
            <a:ext cx="92029" cy="87889"/>
          </a:xfrm>
          <a:prstGeom prst="ellipse">
            <a:avLst/>
          </a:prstGeom>
          <a:solidFill>
            <a:schemeClr val="bg1"/>
          </a:solidFill>
          <a:ln w="2857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grpSp>
        <p:nvGrpSpPr>
          <p:cNvPr id="143" name="Group 142">
            <a:extLst>
              <a:ext uri="{FF2B5EF4-FFF2-40B4-BE49-F238E27FC236}">
                <a16:creationId xmlns:a16="http://schemas.microsoft.com/office/drawing/2014/main" id="{B0BB11BF-1AB0-40A8-B07B-AE712ACB9B25}"/>
              </a:ext>
            </a:extLst>
          </p:cNvPr>
          <p:cNvGrpSpPr/>
          <p:nvPr/>
        </p:nvGrpSpPr>
        <p:grpSpPr>
          <a:xfrm>
            <a:off x="3827011" y="4730937"/>
            <a:ext cx="337603" cy="322417"/>
            <a:chOff x="3452435" y="5508077"/>
            <a:chExt cx="337603" cy="322417"/>
          </a:xfrm>
        </p:grpSpPr>
        <p:sp>
          <p:nvSpPr>
            <p:cNvPr id="144" name="Oval 143">
              <a:extLst>
                <a:ext uri="{FF2B5EF4-FFF2-40B4-BE49-F238E27FC236}">
                  <a16:creationId xmlns:a16="http://schemas.microsoft.com/office/drawing/2014/main" id="{8E575C65-56B6-41A3-A944-EEA9D93B1A70}"/>
                </a:ext>
              </a:extLst>
            </p:cNvPr>
            <p:cNvSpPr>
              <a:spLocks noChangeAspect="1"/>
            </p:cNvSpPr>
            <p:nvPr/>
          </p:nvSpPr>
          <p:spPr>
            <a:xfrm>
              <a:off x="3452435" y="5508077"/>
              <a:ext cx="337603" cy="322417"/>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grpSp>
          <p:nvGrpSpPr>
            <p:cNvPr id="145" name="Group 144">
              <a:extLst>
                <a:ext uri="{FF2B5EF4-FFF2-40B4-BE49-F238E27FC236}">
                  <a16:creationId xmlns:a16="http://schemas.microsoft.com/office/drawing/2014/main" id="{8F03D1D0-1BC4-4A10-9D6F-343E8792D98F}"/>
                </a:ext>
              </a:extLst>
            </p:cNvPr>
            <p:cNvGrpSpPr>
              <a:grpSpLocks noChangeAspect="1"/>
            </p:cNvGrpSpPr>
            <p:nvPr/>
          </p:nvGrpSpPr>
          <p:grpSpPr>
            <a:xfrm>
              <a:off x="3513751" y="5579579"/>
              <a:ext cx="246457" cy="193004"/>
              <a:chOff x="5916613" y="3068638"/>
              <a:chExt cx="555625" cy="455612"/>
            </a:xfrm>
            <a:solidFill>
              <a:srgbClr val="00B050"/>
            </a:solidFill>
          </p:grpSpPr>
          <p:sp>
            <p:nvSpPr>
              <p:cNvPr id="146" name="Freeform 194">
                <a:extLst>
                  <a:ext uri="{FF2B5EF4-FFF2-40B4-BE49-F238E27FC236}">
                    <a16:creationId xmlns:a16="http://schemas.microsoft.com/office/drawing/2014/main" id="{4D3F065A-FD16-451F-BAA4-54C77DE09319}"/>
                  </a:ext>
                </a:extLst>
              </p:cNvPr>
              <p:cNvSpPr>
                <a:spLocks noEditPoints="1"/>
              </p:cNvSpPr>
              <p:nvPr/>
            </p:nvSpPr>
            <p:spPr bwMode="auto">
              <a:xfrm>
                <a:off x="5916613" y="3068638"/>
                <a:ext cx="419100" cy="411163"/>
              </a:xfrm>
              <a:custGeom>
                <a:avLst/>
                <a:gdLst>
                  <a:gd name="T0" fmla="*/ 178 w 178"/>
                  <a:gd name="T1" fmla="*/ 66 h 175"/>
                  <a:gd name="T2" fmla="*/ 117 w 178"/>
                  <a:gd name="T3" fmla="*/ 0 h 175"/>
                  <a:gd name="T4" fmla="*/ 61 w 178"/>
                  <a:gd name="T5" fmla="*/ 0 h 175"/>
                  <a:gd name="T6" fmla="*/ 0 w 178"/>
                  <a:gd name="T7" fmla="*/ 66 h 175"/>
                  <a:gd name="T8" fmla="*/ 46 w 178"/>
                  <a:gd name="T9" fmla="*/ 130 h 175"/>
                  <a:gd name="T10" fmla="*/ 46 w 178"/>
                  <a:gd name="T11" fmla="*/ 170 h 175"/>
                  <a:gd name="T12" fmla="*/ 49 w 178"/>
                  <a:gd name="T13" fmla="*/ 174 h 175"/>
                  <a:gd name="T14" fmla="*/ 51 w 178"/>
                  <a:gd name="T15" fmla="*/ 175 h 175"/>
                  <a:gd name="T16" fmla="*/ 54 w 178"/>
                  <a:gd name="T17" fmla="*/ 174 h 175"/>
                  <a:gd name="T18" fmla="*/ 101 w 178"/>
                  <a:gd name="T19" fmla="*/ 132 h 175"/>
                  <a:gd name="T20" fmla="*/ 117 w 178"/>
                  <a:gd name="T21" fmla="*/ 132 h 175"/>
                  <a:gd name="T22" fmla="*/ 178 w 178"/>
                  <a:gd name="T23" fmla="*/ 66 h 175"/>
                  <a:gd name="T24" fmla="*/ 99 w 178"/>
                  <a:gd name="T25" fmla="*/ 123 h 175"/>
                  <a:gd name="T26" fmla="*/ 96 w 178"/>
                  <a:gd name="T27" fmla="*/ 124 h 175"/>
                  <a:gd name="T28" fmla="*/ 55 w 178"/>
                  <a:gd name="T29" fmla="*/ 159 h 175"/>
                  <a:gd name="T30" fmla="*/ 55 w 178"/>
                  <a:gd name="T31" fmla="*/ 126 h 175"/>
                  <a:gd name="T32" fmla="*/ 52 w 178"/>
                  <a:gd name="T33" fmla="*/ 122 h 175"/>
                  <a:gd name="T34" fmla="*/ 9 w 178"/>
                  <a:gd name="T35" fmla="*/ 66 h 175"/>
                  <a:gd name="T36" fmla="*/ 61 w 178"/>
                  <a:gd name="T37" fmla="*/ 10 h 175"/>
                  <a:gd name="T38" fmla="*/ 117 w 178"/>
                  <a:gd name="T39" fmla="*/ 10 h 175"/>
                  <a:gd name="T40" fmla="*/ 168 w 178"/>
                  <a:gd name="T41" fmla="*/ 66 h 175"/>
                  <a:gd name="T42" fmla="*/ 117 w 178"/>
                  <a:gd name="T43" fmla="*/ 123 h 175"/>
                  <a:gd name="T44" fmla="*/ 99 w 178"/>
                  <a:gd name="T45" fmla="*/ 12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8" h="175">
                    <a:moveTo>
                      <a:pt x="178" y="66"/>
                    </a:moveTo>
                    <a:cubicBezTo>
                      <a:pt x="178" y="30"/>
                      <a:pt x="150" y="0"/>
                      <a:pt x="117" y="0"/>
                    </a:cubicBezTo>
                    <a:cubicBezTo>
                      <a:pt x="61" y="0"/>
                      <a:pt x="61" y="0"/>
                      <a:pt x="61" y="0"/>
                    </a:cubicBezTo>
                    <a:cubicBezTo>
                      <a:pt x="27" y="0"/>
                      <a:pt x="0" y="30"/>
                      <a:pt x="0" y="66"/>
                    </a:cubicBezTo>
                    <a:cubicBezTo>
                      <a:pt x="0" y="97"/>
                      <a:pt x="19" y="123"/>
                      <a:pt x="46" y="130"/>
                    </a:cubicBezTo>
                    <a:cubicBezTo>
                      <a:pt x="46" y="170"/>
                      <a:pt x="46" y="170"/>
                      <a:pt x="46" y="170"/>
                    </a:cubicBezTo>
                    <a:cubicBezTo>
                      <a:pt x="46" y="172"/>
                      <a:pt x="47" y="174"/>
                      <a:pt x="49" y="174"/>
                    </a:cubicBezTo>
                    <a:cubicBezTo>
                      <a:pt x="49" y="175"/>
                      <a:pt x="50" y="175"/>
                      <a:pt x="51" y="175"/>
                    </a:cubicBezTo>
                    <a:cubicBezTo>
                      <a:pt x="52" y="175"/>
                      <a:pt x="53" y="174"/>
                      <a:pt x="54" y="174"/>
                    </a:cubicBezTo>
                    <a:cubicBezTo>
                      <a:pt x="101" y="132"/>
                      <a:pt x="101" y="132"/>
                      <a:pt x="101" y="132"/>
                    </a:cubicBezTo>
                    <a:cubicBezTo>
                      <a:pt x="117" y="132"/>
                      <a:pt x="117" y="132"/>
                      <a:pt x="117" y="132"/>
                    </a:cubicBezTo>
                    <a:cubicBezTo>
                      <a:pt x="150" y="132"/>
                      <a:pt x="178" y="103"/>
                      <a:pt x="178" y="66"/>
                    </a:cubicBezTo>
                    <a:close/>
                    <a:moveTo>
                      <a:pt x="99" y="123"/>
                    </a:moveTo>
                    <a:cubicBezTo>
                      <a:pt x="98" y="123"/>
                      <a:pt x="97" y="123"/>
                      <a:pt x="96" y="124"/>
                    </a:cubicBezTo>
                    <a:cubicBezTo>
                      <a:pt x="55" y="159"/>
                      <a:pt x="55" y="159"/>
                      <a:pt x="55" y="159"/>
                    </a:cubicBezTo>
                    <a:cubicBezTo>
                      <a:pt x="55" y="126"/>
                      <a:pt x="55" y="126"/>
                      <a:pt x="55" y="126"/>
                    </a:cubicBezTo>
                    <a:cubicBezTo>
                      <a:pt x="55" y="124"/>
                      <a:pt x="54" y="122"/>
                      <a:pt x="52" y="122"/>
                    </a:cubicBezTo>
                    <a:cubicBezTo>
                      <a:pt x="27" y="117"/>
                      <a:pt x="9" y="94"/>
                      <a:pt x="9" y="66"/>
                    </a:cubicBezTo>
                    <a:cubicBezTo>
                      <a:pt x="9" y="35"/>
                      <a:pt x="32" y="10"/>
                      <a:pt x="61" y="10"/>
                    </a:cubicBezTo>
                    <a:cubicBezTo>
                      <a:pt x="117" y="10"/>
                      <a:pt x="117" y="10"/>
                      <a:pt x="117" y="10"/>
                    </a:cubicBezTo>
                    <a:cubicBezTo>
                      <a:pt x="145" y="10"/>
                      <a:pt x="168" y="35"/>
                      <a:pt x="168" y="66"/>
                    </a:cubicBezTo>
                    <a:cubicBezTo>
                      <a:pt x="168" y="97"/>
                      <a:pt x="145" y="123"/>
                      <a:pt x="117" y="123"/>
                    </a:cubicBezTo>
                    <a:lnTo>
                      <a:pt x="99" y="123"/>
                    </a:ln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147" name="Freeform 195">
                <a:extLst>
                  <a:ext uri="{FF2B5EF4-FFF2-40B4-BE49-F238E27FC236}">
                    <a16:creationId xmlns:a16="http://schemas.microsoft.com/office/drawing/2014/main" id="{B2FAD91E-D497-4E89-B2F4-75F9117A4D4D}"/>
                  </a:ext>
                </a:extLst>
              </p:cNvPr>
              <p:cNvSpPr>
                <a:spLocks/>
              </p:cNvSpPr>
              <p:nvPr/>
            </p:nvSpPr>
            <p:spPr bwMode="auto">
              <a:xfrm>
                <a:off x="6184900" y="3235325"/>
                <a:ext cx="287338" cy="288925"/>
              </a:xfrm>
              <a:custGeom>
                <a:avLst/>
                <a:gdLst>
                  <a:gd name="T0" fmla="*/ 77 w 122"/>
                  <a:gd name="T1" fmla="*/ 0 h 123"/>
                  <a:gd name="T2" fmla="*/ 73 w 122"/>
                  <a:gd name="T3" fmla="*/ 5 h 123"/>
                  <a:gd name="T4" fmla="*/ 77 w 122"/>
                  <a:gd name="T5" fmla="*/ 9 h 123"/>
                  <a:gd name="T6" fmla="*/ 112 w 122"/>
                  <a:gd name="T7" fmla="*/ 48 h 123"/>
                  <a:gd name="T8" fmla="*/ 79 w 122"/>
                  <a:gd name="T9" fmla="*/ 86 h 123"/>
                  <a:gd name="T10" fmla="*/ 74 w 122"/>
                  <a:gd name="T11" fmla="*/ 91 h 123"/>
                  <a:gd name="T12" fmla="*/ 74 w 122"/>
                  <a:gd name="T13" fmla="*/ 107 h 123"/>
                  <a:gd name="T14" fmla="*/ 56 w 122"/>
                  <a:gd name="T15" fmla="*/ 88 h 123"/>
                  <a:gd name="T16" fmla="*/ 53 w 122"/>
                  <a:gd name="T17" fmla="*/ 87 h 123"/>
                  <a:gd name="T18" fmla="*/ 37 w 122"/>
                  <a:gd name="T19" fmla="*/ 87 h 123"/>
                  <a:gd name="T20" fmla="*/ 10 w 122"/>
                  <a:gd name="T21" fmla="*/ 71 h 123"/>
                  <a:gd name="T22" fmla="*/ 3 w 122"/>
                  <a:gd name="T23" fmla="*/ 70 h 123"/>
                  <a:gd name="T24" fmla="*/ 2 w 122"/>
                  <a:gd name="T25" fmla="*/ 76 h 123"/>
                  <a:gd name="T26" fmla="*/ 37 w 122"/>
                  <a:gd name="T27" fmla="*/ 96 h 123"/>
                  <a:gd name="T28" fmla="*/ 51 w 122"/>
                  <a:gd name="T29" fmla="*/ 96 h 123"/>
                  <a:gd name="T30" fmla="*/ 75 w 122"/>
                  <a:gd name="T31" fmla="*/ 122 h 123"/>
                  <a:gd name="T32" fmla="*/ 79 w 122"/>
                  <a:gd name="T33" fmla="*/ 123 h 123"/>
                  <a:gd name="T34" fmla="*/ 80 w 122"/>
                  <a:gd name="T35" fmla="*/ 123 h 123"/>
                  <a:gd name="T36" fmla="*/ 83 w 122"/>
                  <a:gd name="T37" fmla="*/ 118 h 123"/>
                  <a:gd name="T38" fmla="*/ 83 w 122"/>
                  <a:gd name="T39" fmla="*/ 96 h 123"/>
                  <a:gd name="T40" fmla="*/ 122 w 122"/>
                  <a:gd name="T41" fmla="*/ 48 h 123"/>
                  <a:gd name="T42" fmla="*/ 77 w 122"/>
                  <a:gd name="T4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2" h="123">
                    <a:moveTo>
                      <a:pt x="77" y="0"/>
                    </a:moveTo>
                    <a:cubicBezTo>
                      <a:pt x="75" y="0"/>
                      <a:pt x="73" y="2"/>
                      <a:pt x="73" y="5"/>
                    </a:cubicBezTo>
                    <a:cubicBezTo>
                      <a:pt x="73" y="7"/>
                      <a:pt x="75" y="9"/>
                      <a:pt x="77" y="9"/>
                    </a:cubicBezTo>
                    <a:cubicBezTo>
                      <a:pt x="97" y="9"/>
                      <a:pt x="112" y="27"/>
                      <a:pt x="112" y="48"/>
                    </a:cubicBezTo>
                    <a:cubicBezTo>
                      <a:pt x="112" y="69"/>
                      <a:pt x="97" y="86"/>
                      <a:pt x="79" y="86"/>
                    </a:cubicBezTo>
                    <a:cubicBezTo>
                      <a:pt x="76" y="87"/>
                      <a:pt x="74" y="89"/>
                      <a:pt x="74" y="91"/>
                    </a:cubicBezTo>
                    <a:cubicBezTo>
                      <a:pt x="74" y="107"/>
                      <a:pt x="74" y="107"/>
                      <a:pt x="74" y="107"/>
                    </a:cubicBezTo>
                    <a:cubicBezTo>
                      <a:pt x="56" y="88"/>
                      <a:pt x="56" y="88"/>
                      <a:pt x="56" y="88"/>
                    </a:cubicBezTo>
                    <a:cubicBezTo>
                      <a:pt x="55" y="87"/>
                      <a:pt x="54" y="87"/>
                      <a:pt x="53" y="87"/>
                    </a:cubicBezTo>
                    <a:cubicBezTo>
                      <a:pt x="37" y="87"/>
                      <a:pt x="37" y="87"/>
                      <a:pt x="37" y="87"/>
                    </a:cubicBezTo>
                    <a:cubicBezTo>
                      <a:pt x="26" y="87"/>
                      <a:pt x="16" y="81"/>
                      <a:pt x="10" y="71"/>
                    </a:cubicBezTo>
                    <a:cubicBezTo>
                      <a:pt x="8" y="69"/>
                      <a:pt x="5" y="68"/>
                      <a:pt x="3" y="70"/>
                    </a:cubicBezTo>
                    <a:cubicBezTo>
                      <a:pt x="1" y="71"/>
                      <a:pt x="0" y="74"/>
                      <a:pt x="2" y="76"/>
                    </a:cubicBezTo>
                    <a:cubicBezTo>
                      <a:pt x="10" y="89"/>
                      <a:pt x="23" y="96"/>
                      <a:pt x="37" y="96"/>
                    </a:cubicBezTo>
                    <a:cubicBezTo>
                      <a:pt x="51" y="96"/>
                      <a:pt x="51" y="96"/>
                      <a:pt x="51" y="96"/>
                    </a:cubicBezTo>
                    <a:cubicBezTo>
                      <a:pt x="75" y="122"/>
                      <a:pt x="75" y="122"/>
                      <a:pt x="75" y="122"/>
                    </a:cubicBezTo>
                    <a:cubicBezTo>
                      <a:pt x="76" y="123"/>
                      <a:pt x="77" y="123"/>
                      <a:pt x="79" y="123"/>
                    </a:cubicBezTo>
                    <a:cubicBezTo>
                      <a:pt x="79" y="123"/>
                      <a:pt x="80" y="123"/>
                      <a:pt x="80" y="123"/>
                    </a:cubicBezTo>
                    <a:cubicBezTo>
                      <a:pt x="82" y="122"/>
                      <a:pt x="83" y="120"/>
                      <a:pt x="83" y="118"/>
                    </a:cubicBezTo>
                    <a:cubicBezTo>
                      <a:pt x="83" y="96"/>
                      <a:pt x="83" y="96"/>
                      <a:pt x="83" y="96"/>
                    </a:cubicBezTo>
                    <a:cubicBezTo>
                      <a:pt x="105" y="92"/>
                      <a:pt x="122" y="72"/>
                      <a:pt x="122" y="48"/>
                    </a:cubicBezTo>
                    <a:cubicBezTo>
                      <a:pt x="122" y="22"/>
                      <a:pt x="102" y="0"/>
                      <a:pt x="77" y="0"/>
                    </a:cubicBez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148" name="Freeform 196">
                <a:extLst>
                  <a:ext uri="{FF2B5EF4-FFF2-40B4-BE49-F238E27FC236}">
                    <a16:creationId xmlns:a16="http://schemas.microsoft.com/office/drawing/2014/main" id="{C5AEDE3F-D9C5-484B-AFA5-0562F6A63B5D}"/>
                  </a:ext>
                </a:extLst>
              </p:cNvPr>
              <p:cNvSpPr>
                <a:spLocks/>
              </p:cNvSpPr>
              <p:nvPr/>
            </p:nvSpPr>
            <p:spPr bwMode="auto">
              <a:xfrm>
                <a:off x="6013450" y="3178175"/>
                <a:ext cx="223838" cy="23813"/>
              </a:xfrm>
              <a:custGeom>
                <a:avLst/>
                <a:gdLst>
                  <a:gd name="T0" fmla="*/ 95 w 95"/>
                  <a:gd name="T1" fmla="*/ 5 h 10"/>
                  <a:gd name="T2" fmla="*/ 90 w 95"/>
                  <a:gd name="T3" fmla="*/ 0 h 10"/>
                  <a:gd name="T4" fmla="*/ 5 w 95"/>
                  <a:gd name="T5" fmla="*/ 0 h 10"/>
                  <a:gd name="T6" fmla="*/ 0 w 95"/>
                  <a:gd name="T7" fmla="*/ 5 h 10"/>
                  <a:gd name="T8" fmla="*/ 5 w 95"/>
                  <a:gd name="T9" fmla="*/ 10 h 10"/>
                  <a:gd name="T10" fmla="*/ 90 w 95"/>
                  <a:gd name="T11" fmla="*/ 10 h 10"/>
                  <a:gd name="T12" fmla="*/ 95 w 95"/>
                  <a:gd name="T13" fmla="*/ 5 h 10"/>
                </a:gdLst>
                <a:ahLst/>
                <a:cxnLst>
                  <a:cxn ang="0">
                    <a:pos x="T0" y="T1"/>
                  </a:cxn>
                  <a:cxn ang="0">
                    <a:pos x="T2" y="T3"/>
                  </a:cxn>
                  <a:cxn ang="0">
                    <a:pos x="T4" y="T5"/>
                  </a:cxn>
                  <a:cxn ang="0">
                    <a:pos x="T6" y="T7"/>
                  </a:cxn>
                  <a:cxn ang="0">
                    <a:pos x="T8" y="T9"/>
                  </a:cxn>
                  <a:cxn ang="0">
                    <a:pos x="T10" y="T11"/>
                  </a:cxn>
                  <a:cxn ang="0">
                    <a:pos x="T12" y="T13"/>
                  </a:cxn>
                </a:cxnLst>
                <a:rect l="0" t="0" r="r" b="b"/>
                <a:pathLst>
                  <a:path w="95" h="10">
                    <a:moveTo>
                      <a:pt x="95" y="5"/>
                    </a:moveTo>
                    <a:cubicBezTo>
                      <a:pt x="95" y="2"/>
                      <a:pt x="93" y="0"/>
                      <a:pt x="90" y="0"/>
                    </a:cubicBezTo>
                    <a:cubicBezTo>
                      <a:pt x="5" y="0"/>
                      <a:pt x="5" y="0"/>
                      <a:pt x="5" y="0"/>
                    </a:cubicBezTo>
                    <a:cubicBezTo>
                      <a:pt x="2" y="0"/>
                      <a:pt x="0" y="2"/>
                      <a:pt x="0" y="5"/>
                    </a:cubicBezTo>
                    <a:cubicBezTo>
                      <a:pt x="0" y="8"/>
                      <a:pt x="2" y="10"/>
                      <a:pt x="5" y="10"/>
                    </a:cubicBezTo>
                    <a:cubicBezTo>
                      <a:pt x="90" y="10"/>
                      <a:pt x="90" y="10"/>
                      <a:pt x="90" y="10"/>
                    </a:cubicBezTo>
                    <a:cubicBezTo>
                      <a:pt x="93" y="10"/>
                      <a:pt x="95" y="8"/>
                      <a:pt x="95" y="5"/>
                    </a:cubicBez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149" name="Freeform 197">
                <a:extLst>
                  <a:ext uri="{FF2B5EF4-FFF2-40B4-BE49-F238E27FC236}">
                    <a16:creationId xmlns:a16="http://schemas.microsoft.com/office/drawing/2014/main" id="{64EC56E8-5BF3-4088-BAC0-EC95A9053078}"/>
                  </a:ext>
                </a:extLst>
              </p:cNvPr>
              <p:cNvSpPr>
                <a:spLocks/>
              </p:cNvSpPr>
              <p:nvPr/>
            </p:nvSpPr>
            <p:spPr bwMode="auto">
              <a:xfrm>
                <a:off x="6013450" y="3249613"/>
                <a:ext cx="122238" cy="23813"/>
              </a:xfrm>
              <a:custGeom>
                <a:avLst/>
                <a:gdLst>
                  <a:gd name="T0" fmla="*/ 47 w 52"/>
                  <a:gd name="T1" fmla="*/ 0 h 10"/>
                  <a:gd name="T2" fmla="*/ 5 w 52"/>
                  <a:gd name="T3" fmla="*/ 0 h 10"/>
                  <a:gd name="T4" fmla="*/ 0 w 52"/>
                  <a:gd name="T5" fmla="*/ 5 h 10"/>
                  <a:gd name="T6" fmla="*/ 5 w 52"/>
                  <a:gd name="T7" fmla="*/ 10 h 10"/>
                  <a:gd name="T8" fmla="*/ 47 w 52"/>
                  <a:gd name="T9" fmla="*/ 10 h 10"/>
                  <a:gd name="T10" fmla="*/ 52 w 52"/>
                  <a:gd name="T11" fmla="*/ 5 h 10"/>
                  <a:gd name="T12" fmla="*/ 47 w 5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52" h="10">
                    <a:moveTo>
                      <a:pt x="47" y="0"/>
                    </a:moveTo>
                    <a:cubicBezTo>
                      <a:pt x="5" y="0"/>
                      <a:pt x="5" y="0"/>
                      <a:pt x="5" y="0"/>
                    </a:cubicBezTo>
                    <a:cubicBezTo>
                      <a:pt x="2" y="0"/>
                      <a:pt x="0" y="2"/>
                      <a:pt x="0" y="5"/>
                    </a:cubicBezTo>
                    <a:cubicBezTo>
                      <a:pt x="0" y="8"/>
                      <a:pt x="2" y="10"/>
                      <a:pt x="5" y="10"/>
                    </a:cubicBezTo>
                    <a:cubicBezTo>
                      <a:pt x="47" y="10"/>
                      <a:pt x="47" y="10"/>
                      <a:pt x="47" y="10"/>
                    </a:cubicBezTo>
                    <a:cubicBezTo>
                      <a:pt x="49" y="10"/>
                      <a:pt x="52" y="8"/>
                      <a:pt x="52" y="5"/>
                    </a:cubicBezTo>
                    <a:cubicBezTo>
                      <a:pt x="52" y="2"/>
                      <a:pt x="49" y="0"/>
                      <a:pt x="47" y="0"/>
                    </a:cubicBezTo>
                    <a:close/>
                  </a:path>
                </a:pathLst>
              </a:custGeom>
              <a:grpFill/>
              <a:ln>
                <a:solidFill>
                  <a:schemeClr val="accent3"/>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ea typeface="+mn-ea"/>
                  <a:cs typeface="+mn-cs"/>
                </a:endParaRPr>
              </a:p>
            </p:txBody>
          </p:sp>
        </p:grpSp>
      </p:grpSp>
      <p:sp>
        <p:nvSpPr>
          <p:cNvPr id="150" name="TextBox 149">
            <a:extLst>
              <a:ext uri="{FF2B5EF4-FFF2-40B4-BE49-F238E27FC236}">
                <a16:creationId xmlns:a16="http://schemas.microsoft.com/office/drawing/2014/main" id="{49CBB5B8-D7C2-425C-8AE9-CC0935D5B84F}"/>
              </a:ext>
            </a:extLst>
          </p:cNvPr>
          <p:cNvSpPr txBox="1"/>
          <p:nvPr/>
        </p:nvSpPr>
        <p:spPr>
          <a:xfrm>
            <a:off x="2759920" y="6269099"/>
            <a:ext cx="1953640" cy="127648"/>
          </a:xfrm>
          <a:prstGeom prst="rect">
            <a:avLst/>
          </a:prstGeom>
          <a:no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0000"/>
                </a:solidFill>
                <a:effectLst/>
                <a:uLnTx/>
                <a:uFillTx/>
                <a:ea typeface="+mn-ea"/>
                <a:cs typeface="+mn-cs"/>
              </a:rPr>
              <a:t>Red font</a:t>
            </a:r>
            <a:r>
              <a:rPr kumimoji="0" lang="en-US" sz="700" b="1" i="0" u="none" strike="noStrike" kern="1200" cap="none" spc="0" normalizeH="0" baseline="0" noProof="0" dirty="0">
                <a:ln>
                  <a:noFill/>
                </a:ln>
                <a:solidFill>
                  <a:srgbClr val="44546A"/>
                </a:solidFill>
                <a:effectLst/>
                <a:uLnTx/>
                <a:uFillTx/>
                <a:ea typeface="+mn-ea"/>
                <a:cs typeface="+mn-cs"/>
              </a:rPr>
              <a:t> = </a:t>
            </a:r>
            <a:r>
              <a:rPr kumimoji="0" lang="en-US" sz="700" b="0" i="0" u="none" strike="noStrike" kern="1200" cap="none" spc="0" normalizeH="0" baseline="0" noProof="0" dirty="0">
                <a:ln>
                  <a:noFill/>
                </a:ln>
                <a:solidFill>
                  <a:srgbClr val="44546A"/>
                </a:solidFill>
                <a:effectLst/>
                <a:uLnTx/>
                <a:uFillTx/>
                <a:ea typeface="+mn-ea"/>
                <a:cs typeface="+mn-cs"/>
              </a:rPr>
              <a:t>Company Proactive Outreach</a:t>
            </a:r>
          </a:p>
        </p:txBody>
      </p:sp>
    </p:spTree>
    <p:extLst>
      <p:ext uri="{BB962C8B-B14F-4D97-AF65-F5344CB8AC3E}">
        <p14:creationId xmlns:p14="http://schemas.microsoft.com/office/powerpoint/2010/main" val="67065486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80135BF-1867-4957-817F-3305D2B2B1D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64" name="think-cell Slide" r:id="rId6" imgW="415" imgH="416" progId="TCLayout.ActiveDocument.1">
                  <p:embed/>
                </p:oleObj>
              </mc:Choice>
              <mc:Fallback>
                <p:oleObj name="think-cell Slide" r:id="rId6" imgW="415" imgH="416" progId="TCLayout.ActiveDocument.1">
                  <p:embed/>
                  <p:pic>
                    <p:nvPicPr>
                      <p:cNvPr id="6" name="Object 5" hidden="1">
                        <a:extLst>
                          <a:ext uri="{FF2B5EF4-FFF2-40B4-BE49-F238E27FC236}">
                            <a16:creationId xmlns:a16="http://schemas.microsoft.com/office/drawing/2014/main" id="{380135BF-1867-4957-817F-3305D2B2B1D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DFA7A0A-59E7-4572-B017-ECB42DE17A6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7D6A113A-4DFD-4A7B-8F48-8DA21A286787}"/>
              </a:ext>
            </a:extLst>
          </p:cNvPr>
          <p:cNvSpPr>
            <a:spLocks noGrp="1"/>
          </p:cNvSpPr>
          <p:nvPr>
            <p:ph type="title"/>
          </p:nvPr>
        </p:nvSpPr>
        <p:spPr/>
        <p:txBody>
          <a:bodyPr/>
          <a:lstStyle/>
          <a:p>
            <a:r>
              <a:rPr lang="en-US" dirty="0"/>
              <a:t>It’s critical to move beyond just ‘doing’ digital</a:t>
            </a:r>
          </a:p>
        </p:txBody>
      </p:sp>
      <p:sp>
        <p:nvSpPr>
          <p:cNvPr id="3" name="Text Placeholder 2">
            <a:extLst>
              <a:ext uri="{FF2B5EF4-FFF2-40B4-BE49-F238E27FC236}">
                <a16:creationId xmlns:a16="http://schemas.microsoft.com/office/drawing/2014/main" id="{48680D24-F6DA-4464-B069-245076A1B857}"/>
              </a:ext>
            </a:extLst>
          </p:cNvPr>
          <p:cNvSpPr>
            <a:spLocks noGrp="1"/>
          </p:cNvSpPr>
          <p:nvPr>
            <p:ph type="body" sz="quarter" idx="14"/>
          </p:nvPr>
        </p:nvSpPr>
        <p:spPr/>
        <p:txBody>
          <a:bodyPr/>
          <a:lstStyle/>
          <a:p>
            <a:r>
              <a:rPr lang="en-US" dirty="0"/>
              <a:t>Subtitle</a:t>
            </a:r>
          </a:p>
        </p:txBody>
      </p:sp>
      <p:sp>
        <p:nvSpPr>
          <p:cNvPr id="4" name="Text Placeholder 3">
            <a:extLst>
              <a:ext uri="{FF2B5EF4-FFF2-40B4-BE49-F238E27FC236}">
                <a16:creationId xmlns:a16="http://schemas.microsoft.com/office/drawing/2014/main" id="{66AD7CE2-15B6-4355-84FE-417E04DFAE19}"/>
              </a:ext>
            </a:extLst>
          </p:cNvPr>
          <p:cNvSpPr>
            <a:spLocks noGrp="1"/>
          </p:cNvSpPr>
          <p:nvPr>
            <p:ph type="body" sz="quarter" idx="15"/>
          </p:nvPr>
        </p:nvSpPr>
        <p:spPr/>
        <p:txBody>
          <a:bodyPr/>
          <a:lstStyle/>
          <a:p>
            <a:r>
              <a:rPr lang="en-US" dirty="0"/>
              <a:t>Process &amp; customer journey</a:t>
            </a:r>
          </a:p>
        </p:txBody>
      </p:sp>
      <p:sp>
        <p:nvSpPr>
          <p:cNvPr id="78" name="Title 18">
            <a:extLst>
              <a:ext uri="{FF2B5EF4-FFF2-40B4-BE49-F238E27FC236}">
                <a16:creationId xmlns:a16="http://schemas.microsoft.com/office/drawing/2014/main" id="{B561752C-8266-4C0F-B2A1-FC8D180FF4A5}"/>
              </a:ext>
            </a:extLst>
          </p:cNvPr>
          <p:cNvSpPr txBox="1">
            <a:spLocks/>
          </p:cNvSpPr>
          <p:nvPr/>
        </p:nvSpPr>
        <p:spPr>
          <a:xfrm>
            <a:off x="2368164" y="2110621"/>
            <a:ext cx="1341261" cy="615667"/>
          </a:xfrm>
          <a:prstGeom prst="homePlate">
            <a:avLst>
              <a:gd name="adj" fmla="val 33359"/>
            </a:avLst>
          </a:prstGeom>
          <a:solidFill>
            <a:schemeClr val="bg1">
              <a:lumMod val="95000"/>
            </a:schemeClr>
          </a:solidFill>
          <a:ln w="28575">
            <a:noFill/>
          </a:ln>
        </p:spPr>
        <p:txBody>
          <a:bodyPr vert="horz" lIns="121920" tIns="121920" rIns="121920" bIns="121920" rtlCol="0" anchor="ctr"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pPr marL="0" marR="0" lvl="0" indent="0" algn="l" defTabSz="544222" rtl="0" eaLnBrk="1" fontAlgn="base" latinLnBrk="0" hangingPunct="1">
              <a:lnSpc>
                <a:spcPct val="100000"/>
              </a:lnSpc>
              <a:spcBef>
                <a:spcPct val="0"/>
              </a:spcBef>
              <a:spcAft>
                <a:spcPts val="600"/>
              </a:spcAft>
              <a:buClrTx/>
              <a:buSzTx/>
              <a:buFontTx/>
              <a:buNone/>
              <a:tabLst/>
              <a:defRPr/>
            </a:pPr>
            <a:endParaRPr kumimoji="0" lang="en-US" sz="1400" b="0" i="0" u="none" strike="noStrike" kern="1200" cap="none" spc="-11" normalizeH="0" baseline="0" noProof="0" dirty="0">
              <a:ln>
                <a:noFill/>
              </a:ln>
              <a:solidFill>
                <a:srgbClr val="000000"/>
              </a:solidFill>
              <a:effectLst/>
              <a:uLnTx/>
              <a:uFillTx/>
              <a:latin typeface="Chronicle Display Black"/>
              <a:ea typeface="+mj-ea"/>
              <a:cs typeface="Arial"/>
            </a:endParaRPr>
          </a:p>
        </p:txBody>
      </p:sp>
      <p:sp>
        <p:nvSpPr>
          <p:cNvPr id="79" name="object 11"/>
          <p:cNvSpPr/>
          <p:nvPr/>
        </p:nvSpPr>
        <p:spPr>
          <a:xfrm>
            <a:off x="1418169" y="1333753"/>
            <a:ext cx="9728791" cy="3444504"/>
          </a:xfrm>
          <a:custGeom>
            <a:avLst/>
            <a:gdLst/>
            <a:ahLst/>
            <a:cxnLst/>
            <a:rect l="l" t="t" r="r" b="b"/>
            <a:pathLst>
              <a:path w="4234180" h="1596389">
                <a:moveTo>
                  <a:pt x="570268" y="1550670"/>
                </a:moveTo>
                <a:lnTo>
                  <a:pt x="381863" y="1559052"/>
                </a:lnTo>
                <a:lnTo>
                  <a:pt x="382193" y="1559052"/>
                </a:lnTo>
                <a:lnTo>
                  <a:pt x="191884" y="1563497"/>
                </a:lnTo>
                <a:lnTo>
                  <a:pt x="0" y="1563878"/>
                </a:lnTo>
                <a:lnTo>
                  <a:pt x="88" y="1595882"/>
                </a:lnTo>
                <a:lnTo>
                  <a:pt x="192468" y="1595501"/>
                </a:lnTo>
                <a:lnTo>
                  <a:pt x="383108" y="1590929"/>
                </a:lnTo>
                <a:lnTo>
                  <a:pt x="571842" y="1582674"/>
                </a:lnTo>
                <a:lnTo>
                  <a:pt x="758291" y="1570609"/>
                </a:lnTo>
                <a:lnTo>
                  <a:pt x="942416" y="1554861"/>
                </a:lnTo>
                <a:lnTo>
                  <a:pt x="980346" y="1550797"/>
                </a:lnTo>
                <a:lnTo>
                  <a:pt x="569937" y="1550797"/>
                </a:lnTo>
                <a:lnTo>
                  <a:pt x="570268" y="1550670"/>
                </a:lnTo>
                <a:close/>
              </a:path>
              <a:path w="4234180" h="1596389">
                <a:moveTo>
                  <a:pt x="1644472" y="1424813"/>
                </a:moveTo>
                <a:lnTo>
                  <a:pt x="1472514" y="1454531"/>
                </a:lnTo>
                <a:lnTo>
                  <a:pt x="1472895" y="1454531"/>
                </a:lnTo>
                <a:lnTo>
                  <a:pt x="1297762" y="1480820"/>
                </a:lnTo>
                <a:lnTo>
                  <a:pt x="1298016" y="1480820"/>
                </a:lnTo>
                <a:lnTo>
                  <a:pt x="1119835" y="1503680"/>
                </a:lnTo>
                <a:lnTo>
                  <a:pt x="1120216" y="1503680"/>
                </a:lnTo>
                <a:lnTo>
                  <a:pt x="939114" y="1522984"/>
                </a:lnTo>
                <a:lnTo>
                  <a:pt x="939495" y="1522984"/>
                </a:lnTo>
                <a:lnTo>
                  <a:pt x="755726" y="1538605"/>
                </a:lnTo>
                <a:lnTo>
                  <a:pt x="756056" y="1538605"/>
                </a:lnTo>
                <a:lnTo>
                  <a:pt x="569937" y="1550797"/>
                </a:lnTo>
                <a:lnTo>
                  <a:pt x="980346" y="1550797"/>
                </a:lnTo>
                <a:lnTo>
                  <a:pt x="1123772" y="1535430"/>
                </a:lnTo>
                <a:lnTo>
                  <a:pt x="1302334" y="1512570"/>
                </a:lnTo>
                <a:lnTo>
                  <a:pt x="1477848" y="1486154"/>
                </a:lnTo>
                <a:lnTo>
                  <a:pt x="1650060" y="1456309"/>
                </a:lnTo>
                <a:lnTo>
                  <a:pt x="1809909" y="1424940"/>
                </a:lnTo>
                <a:lnTo>
                  <a:pt x="1644091" y="1424940"/>
                </a:lnTo>
                <a:lnTo>
                  <a:pt x="1644472" y="1424813"/>
                </a:lnTo>
                <a:close/>
              </a:path>
              <a:path w="4234180" h="1596389">
                <a:moveTo>
                  <a:pt x="1812620" y="1391793"/>
                </a:moveTo>
                <a:lnTo>
                  <a:pt x="1644091" y="1424940"/>
                </a:lnTo>
                <a:lnTo>
                  <a:pt x="1809909" y="1424940"/>
                </a:lnTo>
                <a:lnTo>
                  <a:pt x="1818970" y="1423162"/>
                </a:lnTo>
                <a:lnTo>
                  <a:pt x="1960979" y="1391920"/>
                </a:lnTo>
                <a:lnTo>
                  <a:pt x="1812239" y="1391920"/>
                </a:lnTo>
                <a:lnTo>
                  <a:pt x="1812620" y="1391793"/>
                </a:lnTo>
                <a:close/>
              </a:path>
              <a:path w="4234180" h="1596389">
                <a:moveTo>
                  <a:pt x="1977085" y="1355598"/>
                </a:moveTo>
                <a:lnTo>
                  <a:pt x="1812239" y="1391920"/>
                </a:lnTo>
                <a:lnTo>
                  <a:pt x="1960979" y="1391920"/>
                </a:lnTo>
                <a:lnTo>
                  <a:pt x="1984070" y="1386840"/>
                </a:lnTo>
                <a:lnTo>
                  <a:pt x="2111231" y="1355725"/>
                </a:lnTo>
                <a:lnTo>
                  <a:pt x="1976704" y="1355725"/>
                </a:lnTo>
                <a:lnTo>
                  <a:pt x="1977085" y="1355598"/>
                </a:lnTo>
                <a:close/>
              </a:path>
              <a:path w="4234180" h="1596389">
                <a:moveTo>
                  <a:pt x="2137613" y="1316228"/>
                </a:moveTo>
                <a:lnTo>
                  <a:pt x="1976704" y="1355725"/>
                </a:lnTo>
                <a:lnTo>
                  <a:pt x="2111231" y="1355725"/>
                </a:lnTo>
                <a:lnTo>
                  <a:pt x="2145487" y="1347343"/>
                </a:lnTo>
                <a:lnTo>
                  <a:pt x="2259663" y="1316355"/>
                </a:lnTo>
                <a:lnTo>
                  <a:pt x="2137232" y="1316355"/>
                </a:lnTo>
                <a:lnTo>
                  <a:pt x="2137613" y="1316228"/>
                </a:lnTo>
                <a:close/>
              </a:path>
              <a:path w="4234180" h="1596389">
                <a:moveTo>
                  <a:pt x="2689124" y="1180211"/>
                </a:moveTo>
                <a:lnTo>
                  <a:pt x="2594051" y="1180211"/>
                </a:lnTo>
                <a:lnTo>
                  <a:pt x="2445969" y="1228725"/>
                </a:lnTo>
                <a:lnTo>
                  <a:pt x="2293823" y="1273937"/>
                </a:lnTo>
                <a:lnTo>
                  <a:pt x="2294204" y="1273937"/>
                </a:lnTo>
                <a:lnTo>
                  <a:pt x="2137232" y="1316355"/>
                </a:lnTo>
                <a:lnTo>
                  <a:pt x="2259663" y="1316355"/>
                </a:lnTo>
                <a:lnTo>
                  <a:pt x="2302713" y="1304671"/>
                </a:lnTo>
                <a:lnTo>
                  <a:pt x="2455748" y="1259205"/>
                </a:lnTo>
                <a:lnTo>
                  <a:pt x="2604211" y="1210564"/>
                </a:lnTo>
                <a:lnTo>
                  <a:pt x="2689124" y="1180211"/>
                </a:lnTo>
                <a:close/>
              </a:path>
              <a:path w="4234180" h="1596389">
                <a:moveTo>
                  <a:pt x="2446350" y="1228598"/>
                </a:moveTo>
                <a:lnTo>
                  <a:pt x="2445922" y="1228725"/>
                </a:lnTo>
                <a:lnTo>
                  <a:pt x="2446350" y="1228598"/>
                </a:lnTo>
                <a:close/>
              </a:path>
              <a:path w="4234180" h="1596389">
                <a:moveTo>
                  <a:pt x="2825072" y="1129157"/>
                </a:moveTo>
                <a:lnTo>
                  <a:pt x="2737053" y="1129157"/>
                </a:lnTo>
                <a:lnTo>
                  <a:pt x="2593744" y="1180311"/>
                </a:lnTo>
                <a:lnTo>
                  <a:pt x="2594051" y="1180211"/>
                </a:lnTo>
                <a:lnTo>
                  <a:pt x="2689124" y="1180211"/>
                </a:lnTo>
                <a:lnTo>
                  <a:pt x="2748102" y="1159129"/>
                </a:lnTo>
                <a:lnTo>
                  <a:pt x="2825072" y="1129157"/>
                </a:lnTo>
                <a:close/>
              </a:path>
              <a:path w="4234180" h="1596389">
                <a:moveTo>
                  <a:pt x="2956957" y="1075309"/>
                </a:moveTo>
                <a:lnTo>
                  <a:pt x="2875102" y="1075309"/>
                </a:lnTo>
                <a:lnTo>
                  <a:pt x="2736672" y="1129284"/>
                </a:lnTo>
                <a:lnTo>
                  <a:pt x="2737053" y="1129157"/>
                </a:lnTo>
                <a:lnTo>
                  <a:pt x="2825072" y="1129157"/>
                </a:lnTo>
                <a:lnTo>
                  <a:pt x="2887040" y="1105027"/>
                </a:lnTo>
                <a:lnTo>
                  <a:pt x="2956957" y="1075309"/>
                </a:lnTo>
                <a:close/>
              </a:path>
              <a:path w="4234180" h="1596389">
                <a:moveTo>
                  <a:pt x="3084263" y="1018794"/>
                </a:moveTo>
                <a:lnTo>
                  <a:pt x="3008198" y="1018794"/>
                </a:lnTo>
                <a:lnTo>
                  <a:pt x="2874721" y="1075436"/>
                </a:lnTo>
                <a:lnTo>
                  <a:pt x="2875102" y="1075309"/>
                </a:lnTo>
                <a:lnTo>
                  <a:pt x="2956957" y="1075309"/>
                </a:lnTo>
                <a:lnTo>
                  <a:pt x="3020898" y="1048131"/>
                </a:lnTo>
                <a:lnTo>
                  <a:pt x="3084263" y="1018794"/>
                </a:lnTo>
                <a:close/>
              </a:path>
              <a:path w="4234180" h="1596389">
                <a:moveTo>
                  <a:pt x="3206811" y="959612"/>
                </a:moveTo>
                <a:lnTo>
                  <a:pt x="3135833" y="959612"/>
                </a:lnTo>
                <a:lnTo>
                  <a:pt x="3135325" y="959866"/>
                </a:lnTo>
                <a:lnTo>
                  <a:pt x="3007690" y="1018921"/>
                </a:lnTo>
                <a:lnTo>
                  <a:pt x="3008198" y="1018794"/>
                </a:lnTo>
                <a:lnTo>
                  <a:pt x="3084263" y="1018794"/>
                </a:lnTo>
                <a:lnTo>
                  <a:pt x="3149549" y="988568"/>
                </a:lnTo>
                <a:lnTo>
                  <a:pt x="3206811" y="959612"/>
                </a:lnTo>
                <a:close/>
              </a:path>
              <a:path w="4234180" h="1596389">
                <a:moveTo>
                  <a:pt x="3135776" y="959638"/>
                </a:moveTo>
                <a:lnTo>
                  <a:pt x="3135284" y="959866"/>
                </a:lnTo>
                <a:lnTo>
                  <a:pt x="3135776" y="959638"/>
                </a:lnTo>
                <a:close/>
              </a:path>
              <a:path w="4234180" h="1596389">
                <a:moveTo>
                  <a:pt x="3324125" y="898017"/>
                </a:moveTo>
                <a:lnTo>
                  <a:pt x="3257880" y="898017"/>
                </a:lnTo>
                <a:lnTo>
                  <a:pt x="3135776" y="959638"/>
                </a:lnTo>
                <a:lnTo>
                  <a:pt x="3206811" y="959612"/>
                </a:lnTo>
                <a:lnTo>
                  <a:pt x="3272612" y="926338"/>
                </a:lnTo>
                <a:lnTo>
                  <a:pt x="3324125" y="898017"/>
                </a:lnTo>
                <a:close/>
              </a:path>
              <a:path w="4234180" h="1596389">
                <a:moveTo>
                  <a:pt x="3437415" y="833882"/>
                </a:moveTo>
                <a:lnTo>
                  <a:pt x="3374339" y="833882"/>
                </a:lnTo>
                <a:lnTo>
                  <a:pt x="3257372" y="898271"/>
                </a:lnTo>
                <a:lnTo>
                  <a:pt x="3257880" y="898017"/>
                </a:lnTo>
                <a:lnTo>
                  <a:pt x="3324125" y="898017"/>
                </a:lnTo>
                <a:lnTo>
                  <a:pt x="3389960" y="861822"/>
                </a:lnTo>
                <a:lnTo>
                  <a:pt x="3437415" y="833882"/>
                </a:lnTo>
                <a:close/>
              </a:path>
              <a:path w="4234180" h="1596389">
                <a:moveTo>
                  <a:pt x="3491129" y="801116"/>
                </a:moveTo>
                <a:lnTo>
                  <a:pt x="3430092" y="801116"/>
                </a:lnTo>
                <a:lnTo>
                  <a:pt x="3373831" y="834136"/>
                </a:lnTo>
                <a:lnTo>
                  <a:pt x="3374339" y="833882"/>
                </a:lnTo>
                <a:lnTo>
                  <a:pt x="3437415" y="833882"/>
                </a:lnTo>
                <a:lnTo>
                  <a:pt x="3446475" y="828548"/>
                </a:lnTo>
                <a:lnTo>
                  <a:pt x="3491129" y="801116"/>
                </a:lnTo>
                <a:close/>
              </a:path>
              <a:path w="4234180" h="1596389">
                <a:moveTo>
                  <a:pt x="3484575" y="767588"/>
                </a:moveTo>
                <a:lnTo>
                  <a:pt x="3429838" y="801243"/>
                </a:lnTo>
                <a:lnTo>
                  <a:pt x="3430092" y="801116"/>
                </a:lnTo>
                <a:lnTo>
                  <a:pt x="3491129" y="801116"/>
                </a:lnTo>
                <a:lnTo>
                  <a:pt x="3501466" y="794766"/>
                </a:lnTo>
                <a:lnTo>
                  <a:pt x="3543447" y="767842"/>
                </a:lnTo>
                <a:lnTo>
                  <a:pt x="3484321" y="767842"/>
                </a:lnTo>
                <a:lnTo>
                  <a:pt x="3484575" y="767588"/>
                </a:lnTo>
                <a:close/>
              </a:path>
              <a:path w="4234180" h="1596389">
                <a:moveTo>
                  <a:pt x="3594643" y="733679"/>
                </a:moveTo>
                <a:lnTo>
                  <a:pt x="3537407" y="733679"/>
                </a:lnTo>
                <a:lnTo>
                  <a:pt x="3484321" y="767842"/>
                </a:lnTo>
                <a:lnTo>
                  <a:pt x="3543447" y="767842"/>
                </a:lnTo>
                <a:lnTo>
                  <a:pt x="3554933" y="760476"/>
                </a:lnTo>
                <a:lnTo>
                  <a:pt x="3594643" y="733679"/>
                </a:lnTo>
                <a:close/>
              </a:path>
              <a:path w="4234180" h="1596389">
                <a:moveTo>
                  <a:pt x="3644235" y="699008"/>
                </a:moveTo>
                <a:lnTo>
                  <a:pt x="3588715" y="699008"/>
                </a:lnTo>
                <a:lnTo>
                  <a:pt x="3537153" y="733806"/>
                </a:lnTo>
                <a:lnTo>
                  <a:pt x="3537407" y="733679"/>
                </a:lnTo>
                <a:lnTo>
                  <a:pt x="3594643" y="733679"/>
                </a:lnTo>
                <a:lnTo>
                  <a:pt x="3606876" y="725424"/>
                </a:lnTo>
                <a:lnTo>
                  <a:pt x="3644235" y="699008"/>
                </a:lnTo>
                <a:close/>
              </a:path>
              <a:path w="4234180" h="1596389">
                <a:moveTo>
                  <a:pt x="3692246" y="663829"/>
                </a:moveTo>
                <a:lnTo>
                  <a:pt x="3638626" y="663829"/>
                </a:lnTo>
                <a:lnTo>
                  <a:pt x="3588461" y="699135"/>
                </a:lnTo>
                <a:lnTo>
                  <a:pt x="3588715" y="699008"/>
                </a:lnTo>
                <a:lnTo>
                  <a:pt x="3644235" y="699008"/>
                </a:lnTo>
                <a:lnTo>
                  <a:pt x="3657168" y="689864"/>
                </a:lnTo>
                <a:lnTo>
                  <a:pt x="3692246" y="663829"/>
                </a:lnTo>
                <a:close/>
              </a:path>
              <a:path w="4234180" h="1596389">
                <a:moveTo>
                  <a:pt x="3738819" y="628142"/>
                </a:moveTo>
                <a:lnTo>
                  <a:pt x="3686632" y="628142"/>
                </a:lnTo>
                <a:lnTo>
                  <a:pt x="3638245" y="664083"/>
                </a:lnTo>
                <a:lnTo>
                  <a:pt x="3638626" y="663829"/>
                </a:lnTo>
                <a:lnTo>
                  <a:pt x="3692246" y="663829"/>
                </a:lnTo>
                <a:lnTo>
                  <a:pt x="3705936" y="653669"/>
                </a:lnTo>
                <a:lnTo>
                  <a:pt x="3738819" y="628142"/>
                </a:lnTo>
                <a:close/>
              </a:path>
              <a:path w="4234180" h="1596389">
                <a:moveTo>
                  <a:pt x="3868729" y="518033"/>
                </a:moveTo>
                <a:lnTo>
                  <a:pt x="3821252" y="518033"/>
                </a:lnTo>
                <a:lnTo>
                  <a:pt x="3777818" y="555498"/>
                </a:lnTo>
                <a:lnTo>
                  <a:pt x="3732987" y="592201"/>
                </a:lnTo>
                <a:lnTo>
                  <a:pt x="3686378" y="628269"/>
                </a:lnTo>
                <a:lnTo>
                  <a:pt x="3686632" y="628142"/>
                </a:lnTo>
                <a:lnTo>
                  <a:pt x="3738819" y="628142"/>
                </a:lnTo>
                <a:lnTo>
                  <a:pt x="3753053" y="617093"/>
                </a:lnTo>
                <a:lnTo>
                  <a:pt x="3798519" y="579882"/>
                </a:lnTo>
                <a:lnTo>
                  <a:pt x="3842334" y="542036"/>
                </a:lnTo>
                <a:lnTo>
                  <a:pt x="3868729" y="518033"/>
                </a:lnTo>
                <a:close/>
              </a:path>
              <a:path w="4234180" h="1596389">
                <a:moveTo>
                  <a:pt x="3733241" y="591947"/>
                </a:moveTo>
                <a:lnTo>
                  <a:pt x="3732913" y="592201"/>
                </a:lnTo>
                <a:lnTo>
                  <a:pt x="3733241" y="591947"/>
                </a:lnTo>
                <a:close/>
              </a:path>
              <a:path w="4234180" h="1596389">
                <a:moveTo>
                  <a:pt x="3778072" y="555244"/>
                </a:moveTo>
                <a:lnTo>
                  <a:pt x="3777762" y="555498"/>
                </a:lnTo>
                <a:lnTo>
                  <a:pt x="3778072" y="555244"/>
                </a:lnTo>
                <a:close/>
              </a:path>
              <a:path w="4234180" h="1596389">
                <a:moveTo>
                  <a:pt x="3908710" y="480314"/>
                </a:moveTo>
                <a:lnTo>
                  <a:pt x="3862654" y="480314"/>
                </a:lnTo>
                <a:lnTo>
                  <a:pt x="3820871" y="518287"/>
                </a:lnTo>
                <a:lnTo>
                  <a:pt x="3821252" y="518033"/>
                </a:lnTo>
                <a:lnTo>
                  <a:pt x="3868729" y="518033"/>
                </a:lnTo>
                <a:lnTo>
                  <a:pt x="3884371" y="503809"/>
                </a:lnTo>
                <a:lnTo>
                  <a:pt x="3908710" y="480314"/>
                </a:lnTo>
                <a:close/>
              </a:path>
              <a:path w="4234180" h="1596389">
                <a:moveTo>
                  <a:pt x="3902278" y="442087"/>
                </a:moveTo>
                <a:lnTo>
                  <a:pt x="3862273" y="480568"/>
                </a:lnTo>
                <a:lnTo>
                  <a:pt x="3862654" y="480314"/>
                </a:lnTo>
                <a:lnTo>
                  <a:pt x="3908710" y="480314"/>
                </a:lnTo>
                <a:lnTo>
                  <a:pt x="3924630" y="464947"/>
                </a:lnTo>
                <a:lnTo>
                  <a:pt x="3946672" y="442468"/>
                </a:lnTo>
                <a:lnTo>
                  <a:pt x="3902024" y="442468"/>
                </a:lnTo>
                <a:lnTo>
                  <a:pt x="3902278" y="442087"/>
                </a:lnTo>
                <a:close/>
              </a:path>
              <a:path w="4234180" h="1596389">
                <a:moveTo>
                  <a:pt x="3983703" y="403479"/>
                </a:moveTo>
                <a:lnTo>
                  <a:pt x="3940124" y="403479"/>
                </a:lnTo>
                <a:lnTo>
                  <a:pt x="3902024" y="442468"/>
                </a:lnTo>
                <a:lnTo>
                  <a:pt x="3946672" y="442468"/>
                </a:lnTo>
                <a:lnTo>
                  <a:pt x="3963111" y="425704"/>
                </a:lnTo>
                <a:lnTo>
                  <a:pt x="3983703" y="403479"/>
                </a:lnTo>
                <a:close/>
              </a:path>
              <a:path w="4234180" h="1596389">
                <a:moveTo>
                  <a:pt x="4018611" y="364363"/>
                </a:moveTo>
                <a:lnTo>
                  <a:pt x="3976319" y="364363"/>
                </a:lnTo>
                <a:lnTo>
                  <a:pt x="3939870" y="403733"/>
                </a:lnTo>
                <a:lnTo>
                  <a:pt x="3940124" y="403479"/>
                </a:lnTo>
                <a:lnTo>
                  <a:pt x="3983703" y="403479"/>
                </a:lnTo>
                <a:lnTo>
                  <a:pt x="3999941" y="385953"/>
                </a:lnTo>
                <a:lnTo>
                  <a:pt x="4018611" y="364363"/>
                </a:lnTo>
                <a:close/>
              </a:path>
              <a:path w="4234180" h="1596389">
                <a:moveTo>
                  <a:pt x="4051762" y="324866"/>
                </a:moveTo>
                <a:lnTo>
                  <a:pt x="4010609" y="324866"/>
                </a:lnTo>
                <a:lnTo>
                  <a:pt x="3975938" y="364744"/>
                </a:lnTo>
                <a:lnTo>
                  <a:pt x="3976319" y="364363"/>
                </a:lnTo>
                <a:lnTo>
                  <a:pt x="4018611" y="364363"/>
                </a:lnTo>
                <a:lnTo>
                  <a:pt x="4034866" y="345567"/>
                </a:lnTo>
                <a:lnTo>
                  <a:pt x="4051762" y="324866"/>
                </a:lnTo>
                <a:close/>
              </a:path>
              <a:path w="4234180" h="1596389">
                <a:moveTo>
                  <a:pt x="4083171" y="284861"/>
                </a:moveTo>
                <a:lnTo>
                  <a:pt x="4043121" y="284861"/>
                </a:lnTo>
                <a:lnTo>
                  <a:pt x="4010228" y="325247"/>
                </a:lnTo>
                <a:lnTo>
                  <a:pt x="4010609" y="324866"/>
                </a:lnTo>
                <a:lnTo>
                  <a:pt x="4051762" y="324866"/>
                </a:lnTo>
                <a:lnTo>
                  <a:pt x="4068140" y="304800"/>
                </a:lnTo>
                <a:lnTo>
                  <a:pt x="4083171" y="284861"/>
                </a:lnTo>
                <a:close/>
              </a:path>
              <a:path w="4234180" h="1596389">
                <a:moveTo>
                  <a:pt x="4112688" y="244475"/>
                </a:moveTo>
                <a:lnTo>
                  <a:pt x="4073601" y="244475"/>
                </a:lnTo>
                <a:lnTo>
                  <a:pt x="4042740" y="285242"/>
                </a:lnTo>
                <a:lnTo>
                  <a:pt x="4043121" y="284861"/>
                </a:lnTo>
                <a:lnTo>
                  <a:pt x="4083171" y="284861"/>
                </a:lnTo>
                <a:lnTo>
                  <a:pt x="4099255" y="263525"/>
                </a:lnTo>
                <a:lnTo>
                  <a:pt x="4112688" y="244475"/>
                </a:lnTo>
                <a:close/>
              </a:path>
              <a:path w="4234180" h="1596389">
                <a:moveTo>
                  <a:pt x="4140499" y="203581"/>
                </a:moveTo>
                <a:lnTo>
                  <a:pt x="4102303" y="203581"/>
                </a:lnTo>
                <a:lnTo>
                  <a:pt x="4073220" y="244856"/>
                </a:lnTo>
                <a:lnTo>
                  <a:pt x="4073601" y="244475"/>
                </a:lnTo>
                <a:lnTo>
                  <a:pt x="4112688" y="244475"/>
                </a:lnTo>
                <a:lnTo>
                  <a:pt x="4128719" y="221742"/>
                </a:lnTo>
                <a:lnTo>
                  <a:pt x="4140499" y="203581"/>
                </a:lnTo>
                <a:close/>
              </a:path>
              <a:path w="4234180" h="1596389">
                <a:moveTo>
                  <a:pt x="4190138" y="120650"/>
                </a:moveTo>
                <a:lnTo>
                  <a:pt x="4153992" y="120650"/>
                </a:lnTo>
                <a:lnTo>
                  <a:pt x="4128846" y="162814"/>
                </a:lnTo>
                <a:lnTo>
                  <a:pt x="4102219" y="203700"/>
                </a:lnTo>
                <a:lnTo>
                  <a:pt x="4140499" y="203581"/>
                </a:lnTo>
                <a:lnTo>
                  <a:pt x="4156151" y="179451"/>
                </a:lnTo>
                <a:lnTo>
                  <a:pt x="4181678" y="136779"/>
                </a:lnTo>
                <a:lnTo>
                  <a:pt x="4190138" y="120650"/>
                </a:lnTo>
                <a:close/>
              </a:path>
              <a:path w="4234180" h="1596389">
                <a:moveTo>
                  <a:pt x="4129100" y="162306"/>
                </a:moveTo>
                <a:lnTo>
                  <a:pt x="4128770" y="162814"/>
                </a:lnTo>
                <a:lnTo>
                  <a:pt x="4129100" y="162306"/>
                </a:lnTo>
                <a:close/>
              </a:path>
              <a:path w="4234180" h="1596389">
                <a:moveTo>
                  <a:pt x="4175314" y="79813"/>
                </a:moveTo>
                <a:lnTo>
                  <a:pt x="4153484" y="121412"/>
                </a:lnTo>
                <a:lnTo>
                  <a:pt x="4153992" y="120650"/>
                </a:lnTo>
                <a:lnTo>
                  <a:pt x="4190138" y="120650"/>
                </a:lnTo>
                <a:lnTo>
                  <a:pt x="4204408" y="93446"/>
                </a:lnTo>
                <a:lnTo>
                  <a:pt x="4175314" y="79813"/>
                </a:lnTo>
                <a:close/>
              </a:path>
              <a:path w="4234180" h="1596389">
                <a:moveTo>
                  <a:pt x="4232901" y="65024"/>
                </a:moveTo>
                <a:lnTo>
                  <a:pt x="4183075" y="65024"/>
                </a:lnTo>
                <a:lnTo>
                  <a:pt x="4211523" y="79883"/>
                </a:lnTo>
                <a:lnTo>
                  <a:pt x="4204408" y="93446"/>
                </a:lnTo>
                <a:lnTo>
                  <a:pt x="4234002" y="107315"/>
                </a:lnTo>
                <a:lnTo>
                  <a:pt x="4232901" y="65024"/>
                </a:lnTo>
                <a:close/>
              </a:path>
              <a:path w="4234180" h="1596389">
                <a:moveTo>
                  <a:pt x="4183075" y="65024"/>
                </a:moveTo>
                <a:lnTo>
                  <a:pt x="4175314" y="79813"/>
                </a:lnTo>
                <a:lnTo>
                  <a:pt x="4204408" y="93446"/>
                </a:lnTo>
                <a:lnTo>
                  <a:pt x="4211523" y="79883"/>
                </a:lnTo>
                <a:lnTo>
                  <a:pt x="4183075" y="65024"/>
                </a:lnTo>
                <a:close/>
              </a:path>
              <a:path w="4234180" h="1596389">
                <a:moveTo>
                  <a:pt x="4231208" y="0"/>
                </a:moveTo>
                <a:lnTo>
                  <a:pt x="4147007" y="66548"/>
                </a:lnTo>
                <a:lnTo>
                  <a:pt x="4175314" y="79813"/>
                </a:lnTo>
                <a:lnTo>
                  <a:pt x="4183075" y="65024"/>
                </a:lnTo>
                <a:lnTo>
                  <a:pt x="4232901" y="65024"/>
                </a:lnTo>
                <a:lnTo>
                  <a:pt x="4231208" y="0"/>
                </a:lnTo>
                <a:close/>
              </a:path>
            </a:pathLst>
          </a:custGeom>
          <a:gradFill>
            <a:gsLst>
              <a:gs pos="59000">
                <a:schemeClr val="accent1"/>
              </a:gs>
              <a:gs pos="100000">
                <a:schemeClr val="accent2"/>
              </a:gs>
            </a:gsLst>
            <a:lin ang="5400000" scaled="1"/>
          </a:gradFill>
        </p:spPr>
        <p:txBody>
          <a:bodyPr wrap="square" lIns="0" tIns="0" rIns="0" bIns="0" rtlCol="0"/>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sz="2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80" name="object 22"/>
          <p:cNvSpPr txBox="1"/>
          <p:nvPr/>
        </p:nvSpPr>
        <p:spPr>
          <a:xfrm>
            <a:off x="4528222" y="2095076"/>
            <a:ext cx="3758309" cy="816634"/>
          </a:xfrm>
          <a:prstGeom prst="rect">
            <a:avLst/>
          </a:prstGeom>
        </p:spPr>
        <p:txBody>
          <a:bodyPr vert="horz" wrap="square" lIns="121920" tIns="0" rIns="0" bIns="0" rtlCol="0">
            <a:spAutoFit/>
          </a:bodyPr>
          <a:lstStyle/>
          <a:p>
            <a:pPr marL="12700" marR="5080" lvl="0" indent="0" algn="l" defTabSz="544222" rtl="0" eaLnBrk="1" fontAlgn="base" latinLnBrk="0" hangingPunct="1">
              <a:lnSpc>
                <a:spcPct val="120000"/>
              </a:lnSpc>
              <a:spcBef>
                <a:spcPts val="1333"/>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Many organizations swirl in an endless loop of ‘doing’ digital things – </a:t>
            </a:r>
            <a:r>
              <a:rPr kumimoji="0" lang="en-US" sz="1200" b="1"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an illusion of being digital </a:t>
            </a:r>
            <a:r>
              <a:rPr kumimoji="0" lang="en-US" sz="11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 rather than making changes to their digital mindset and their business, operating, and customer models</a:t>
            </a:r>
            <a:endParaRPr kumimoji="0" lang="en-US" sz="1100" b="0" i="0" u="none" strike="noStrike" kern="1200" cap="none" spc="0" normalizeH="0" baseline="0" noProof="0" dirty="0">
              <a:ln>
                <a:noFill/>
              </a:ln>
              <a:solidFill>
                <a:srgbClr val="000000"/>
              </a:solidFill>
              <a:effectLst/>
              <a:uLnTx/>
              <a:uFillTx/>
              <a:latin typeface="Open Sans"/>
              <a:ea typeface="+mn-ea"/>
              <a:cs typeface="Arial"/>
            </a:endParaRPr>
          </a:p>
        </p:txBody>
      </p:sp>
      <p:sp>
        <p:nvSpPr>
          <p:cNvPr id="81" name="TextBox 80"/>
          <p:cNvSpPr txBox="1"/>
          <p:nvPr/>
        </p:nvSpPr>
        <p:spPr>
          <a:xfrm>
            <a:off x="896525" y="5062152"/>
            <a:ext cx="2226053" cy="1180964"/>
          </a:xfrm>
          <a:prstGeom prst="rect">
            <a:avLst/>
          </a:prstGeom>
        </p:spPr>
        <p:txBody>
          <a:bodyPr vert="horz" wrap="square" lIns="0" tIns="121920" rIns="0" bIns="0" rtlCol="0">
            <a:spAutoFit/>
          </a:bodyPr>
          <a:lstStyle>
            <a:defPPr>
              <a:defRPr lang="en-US"/>
            </a:defPPr>
            <a:lvl1pPr marL="9525" marR="3810">
              <a:lnSpc>
                <a:spcPct val="120000"/>
              </a:lnSpc>
              <a:spcBef>
                <a:spcPts val="1000"/>
              </a:spcBef>
              <a:defRPr sz="875">
                <a:latin typeface="+mn-lt"/>
                <a:ea typeface="Open Sans" panose="020B0606030504020204" pitchFamily="34" charset="0"/>
                <a:cs typeface="Open Sans" panose="020B0606030504020204" pitchFamily="34" charset="0"/>
              </a:defRPr>
            </a:lvl1pPr>
          </a:lstStyle>
          <a:p>
            <a:pPr marL="0" marR="0" lvl="0" indent="0" algn="l" defTabSz="544222"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11" normalizeH="0" baseline="0" noProof="0" dirty="0">
                <a:ln>
                  <a:noFill/>
                </a:ln>
                <a:solidFill>
                  <a:srgbClr val="000000"/>
                </a:solidFill>
                <a:effectLst/>
                <a:uLnTx/>
                <a:uFillTx/>
                <a:latin typeface="Chronicle Display Black"/>
                <a:ea typeface="ヒラギノ角ゴ Pro W3" charset="0"/>
                <a:cs typeface="Arial"/>
              </a:rPr>
              <a:t>Exploring</a:t>
            </a:r>
          </a:p>
          <a:p>
            <a:pPr marL="0" marR="0" lvl="0" indent="0" algn="l" defTabSz="544222" rtl="0" eaLnBrk="1" fontAlgn="base" latinLnBrk="0" hangingPunct="1">
              <a:lnSpc>
                <a:spcPct val="11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rPr>
              <a:t>Leverage traditional technologies to automate existing capabilities. Dabbling with digital</a:t>
            </a:r>
            <a:r>
              <a:rPr kumimoji="0" lang="en-US" sz="1100" b="1" i="0" u="none" strike="noStrike" kern="1200" cap="none" spc="0" normalizeH="0" baseline="0" noProof="0" dirty="0">
                <a:ln>
                  <a:noFill/>
                </a:ln>
                <a:solidFill>
                  <a:srgbClr val="000000"/>
                </a:solidFill>
                <a:effectLst/>
                <a:uLnTx/>
                <a:uFillTx/>
                <a:latin typeface="Open Sans"/>
              </a:rPr>
              <a:t>. </a:t>
            </a:r>
            <a:r>
              <a:rPr kumimoji="0" lang="en-US" sz="1100" b="1" i="1" u="none" strike="noStrike" kern="1200" cap="none" spc="0" normalizeH="0" baseline="0" noProof="0" dirty="0">
                <a:ln>
                  <a:noFill/>
                </a:ln>
                <a:solidFill>
                  <a:srgbClr val="000000"/>
                </a:solidFill>
                <a:effectLst/>
                <a:uLnTx/>
                <a:uFillTx/>
                <a:latin typeface="Open Sans"/>
              </a:rPr>
              <a:t>No real change</a:t>
            </a:r>
            <a:r>
              <a:rPr kumimoji="0" lang="en-US" sz="1100" b="1" i="0" u="none" strike="noStrike" kern="1200" cap="none" spc="0" normalizeH="0" baseline="0" noProof="0" dirty="0">
                <a:ln>
                  <a:noFill/>
                </a:ln>
                <a:solidFill>
                  <a:srgbClr val="000000"/>
                </a:solidFill>
                <a:effectLst/>
                <a:uLnTx/>
                <a:uFillTx/>
                <a:latin typeface="Open Sans"/>
              </a:rPr>
              <a:t> to the organization</a:t>
            </a:r>
          </a:p>
        </p:txBody>
      </p:sp>
      <p:sp>
        <p:nvSpPr>
          <p:cNvPr id="82" name="TextBox 81"/>
          <p:cNvSpPr txBox="1"/>
          <p:nvPr/>
        </p:nvSpPr>
        <p:spPr>
          <a:xfrm>
            <a:off x="3897697" y="4846588"/>
            <a:ext cx="2347459" cy="1180964"/>
          </a:xfrm>
          <a:prstGeom prst="rect">
            <a:avLst/>
          </a:prstGeom>
        </p:spPr>
        <p:txBody>
          <a:bodyPr vert="horz" wrap="square" lIns="0" tIns="121920" rIns="0" bIns="0" rtlCol="0">
            <a:spAutoFit/>
          </a:bodyPr>
          <a:lstStyle>
            <a:defPPr>
              <a:defRPr lang="en-US"/>
            </a:defPPr>
            <a:lvl1pPr marL="9525" marR="3810">
              <a:lnSpc>
                <a:spcPct val="120000"/>
              </a:lnSpc>
              <a:spcBef>
                <a:spcPts val="1000"/>
              </a:spcBef>
              <a:defRPr sz="875">
                <a:latin typeface="+mn-lt"/>
                <a:ea typeface="Open Sans" panose="020B0606030504020204" pitchFamily="34" charset="0"/>
                <a:cs typeface="Open Sans" panose="020B0606030504020204" pitchFamily="34" charset="0"/>
              </a:defRPr>
            </a:lvl1pPr>
          </a:lstStyle>
          <a:p>
            <a:pPr marL="0" marR="0" lvl="0" indent="0" algn="l" defTabSz="544222"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11" normalizeH="0" baseline="0" noProof="0" dirty="0">
                <a:ln>
                  <a:noFill/>
                </a:ln>
                <a:solidFill>
                  <a:srgbClr val="000000"/>
                </a:solidFill>
                <a:effectLst/>
                <a:uLnTx/>
                <a:uFillTx/>
                <a:latin typeface="Chronicle Display Black"/>
                <a:cs typeface="Arial"/>
              </a:rPr>
              <a:t>Doing</a:t>
            </a:r>
          </a:p>
          <a:p>
            <a:pPr marL="12700" marR="0" lvl="0" indent="0" algn="l" defTabSz="544222" rtl="0" eaLnBrk="1" fontAlgn="base" latinLnBrk="0" hangingPunct="1">
              <a:lnSpc>
                <a:spcPct val="11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rPr>
              <a:t>Leverage digital technologies to extend capabilities, but </a:t>
            </a:r>
            <a:r>
              <a:rPr kumimoji="0" lang="en-US" sz="1100" b="1" i="0" u="none" strike="noStrike" kern="1200" cap="none" spc="0" normalizeH="0" baseline="0" noProof="0" dirty="0">
                <a:ln>
                  <a:noFill/>
                </a:ln>
                <a:solidFill>
                  <a:srgbClr val="000000"/>
                </a:solidFill>
                <a:effectLst/>
                <a:uLnTx/>
                <a:uFillTx/>
                <a:latin typeface="Open Sans"/>
              </a:rPr>
              <a:t>still </a:t>
            </a:r>
            <a:r>
              <a:rPr kumimoji="0" lang="en-US" sz="1100" b="1" i="1" u="none" strike="noStrike" kern="1200" cap="none" spc="0" normalizeH="0" baseline="0" noProof="0" dirty="0">
                <a:ln>
                  <a:noFill/>
                </a:ln>
                <a:solidFill>
                  <a:srgbClr val="000000"/>
                </a:solidFill>
                <a:effectLst/>
                <a:uLnTx/>
                <a:uFillTx/>
                <a:latin typeface="Open Sans"/>
              </a:rPr>
              <a:t>largely the same </a:t>
            </a:r>
            <a:r>
              <a:rPr kumimoji="0" lang="en-US" sz="1100" b="1" i="0" u="none" strike="noStrike" kern="1200" cap="none" spc="0" normalizeH="0" baseline="0" noProof="0" dirty="0">
                <a:ln>
                  <a:noFill/>
                </a:ln>
                <a:solidFill>
                  <a:srgbClr val="000000"/>
                </a:solidFill>
                <a:effectLst/>
                <a:uLnTx/>
                <a:uFillTx/>
                <a:latin typeface="Open Sans"/>
              </a:rPr>
              <a:t>business, operating, and customer models</a:t>
            </a:r>
          </a:p>
        </p:txBody>
      </p:sp>
      <p:sp>
        <p:nvSpPr>
          <p:cNvPr id="83" name="TextBox 82"/>
          <p:cNvSpPr txBox="1"/>
          <p:nvPr/>
        </p:nvSpPr>
        <p:spPr>
          <a:xfrm>
            <a:off x="9370380" y="3210296"/>
            <a:ext cx="2312913" cy="1367169"/>
          </a:xfrm>
          <a:prstGeom prst="rect">
            <a:avLst/>
          </a:prstGeom>
        </p:spPr>
        <p:txBody>
          <a:bodyPr vert="horz" wrap="square" lIns="0" tIns="121920" rIns="0" bIns="0" rtlCol="0">
            <a:spAutoFit/>
          </a:bodyPr>
          <a:lstStyle>
            <a:defPPr>
              <a:defRPr lang="en-US"/>
            </a:defPPr>
            <a:lvl1pPr marL="9525" marR="3810">
              <a:lnSpc>
                <a:spcPct val="120000"/>
              </a:lnSpc>
              <a:spcBef>
                <a:spcPts val="1000"/>
              </a:spcBef>
              <a:defRPr sz="875">
                <a:latin typeface="+mn-lt"/>
                <a:ea typeface="Open Sans" panose="020B0606030504020204" pitchFamily="34" charset="0"/>
                <a:cs typeface="Open Sans" panose="020B0606030504020204" pitchFamily="34" charset="0"/>
              </a:defRPr>
            </a:lvl1pPr>
          </a:lstStyle>
          <a:p>
            <a:pPr marL="0" marR="0" lvl="0" indent="0" algn="l" defTabSz="544222"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11" normalizeH="0" baseline="0" noProof="0" dirty="0">
                <a:ln>
                  <a:noFill/>
                </a:ln>
                <a:solidFill>
                  <a:srgbClr val="000000"/>
                </a:solidFill>
                <a:effectLst/>
                <a:uLnTx/>
                <a:uFillTx/>
                <a:latin typeface="Chronicle Display Black"/>
                <a:cs typeface="Arial"/>
              </a:rPr>
              <a:t>Being</a:t>
            </a:r>
          </a:p>
          <a:p>
            <a:pPr marL="12700" marR="0" lvl="0" indent="0" algn="l" defTabSz="544222" rtl="0" eaLnBrk="1" fontAlgn="base" latinLnBrk="0" hangingPunct="1">
              <a:lnSpc>
                <a:spcPct val="11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rPr>
              <a:t>Business, operating, and customer models are optimized for digital and </a:t>
            </a:r>
            <a:r>
              <a:rPr kumimoji="0" lang="en-US" sz="1100" b="1" i="1" u="none" strike="noStrike" kern="1200" cap="none" spc="0" normalizeH="0" baseline="0" noProof="0" dirty="0">
                <a:ln>
                  <a:noFill/>
                </a:ln>
                <a:solidFill>
                  <a:srgbClr val="000000"/>
                </a:solidFill>
                <a:effectLst/>
                <a:uLnTx/>
                <a:uFillTx/>
                <a:latin typeface="Open Sans"/>
              </a:rPr>
              <a:t>profoundly different </a:t>
            </a:r>
            <a:r>
              <a:rPr kumimoji="0" lang="en-US" sz="1100" b="1" i="0" u="none" strike="noStrike" kern="1200" cap="none" spc="0" normalizeH="0" baseline="0" noProof="0" dirty="0">
                <a:ln>
                  <a:noFill/>
                </a:ln>
                <a:solidFill>
                  <a:srgbClr val="000000"/>
                </a:solidFill>
                <a:effectLst/>
                <a:uLnTx/>
                <a:uFillTx/>
                <a:latin typeface="Open Sans"/>
              </a:rPr>
              <a:t>from prior business, operating, and customer models</a:t>
            </a:r>
          </a:p>
        </p:txBody>
      </p:sp>
      <p:sp>
        <p:nvSpPr>
          <p:cNvPr id="84" name="Oval 83"/>
          <p:cNvSpPr/>
          <p:nvPr/>
        </p:nvSpPr>
        <p:spPr>
          <a:xfrm>
            <a:off x="4071941" y="2281772"/>
            <a:ext cx="198455" cy="198453"/>
          </a:xfrm>
          <a:prstGeom prst="ellipse">
            <a:avLst/>
          </a:prstGeom>
          <a:solidFill>
            <a:schemeClr val="tx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44222" rtl="0" eaLnBrk="1" fontAlgn="base" latinLnBrk="0" hangingPunct="1">
              <a:lnSpc>
                <a:spcPct val="100000"/>
              </a:lnSpc>
              <a:spcBef>
                <a:spcPct val="0"/>
              </a:spcBef>
              <a:spcAft>
                <a:spcPct val="0"/>
              </a:spcAft>
              <a:buClrTx/>
              <a:buSzTx/>
              <a:buFontTx/>
              <a:buNone/>
              <a:tabLst/>
              <a:defRPr/>
            </a:pPr>
            <a:endParaRPr kumimoji="0" lang="en-CA" sz="22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85" name="Title 18"/>
          <p:cNvSpPr txBox="1">
            <a:spLocks/>
          </p:cNvSpPr>
          <p:nvPr/>
        </p:nvSpPr>
        <p:spPr>
          <a:xfrm>
            <a:off x="2377434" y="2101584"/>
            <a:ext cx="1341261" cy="615667"/>
          </a:xfrm>
          <a:prstGeom prst="homePlate">
            <a:avLst>
              <a:gd name="adj" fmla="val 33359"/>
            </a:avLst>
          </a:prstGeom>
          <a:ln w="28575">
            <a:solidFill>
              <a:schemeClr val="tx1"/>
            </a:solidFill>
          </a:ln>
        </p:spPr>
        <p:txBody>
          <a:bodyPr vert="horz" lIns="121920" tIns="121920" rIns="121920" bIns="121920" rtlCol="0" anchor="ctr"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pPr marL="0" marR="0" lvl="0" indent="0" algn="l" defTabSz="544222"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11" normalizeH="0" baseline="0" noProof="0" dirty="0">
                <a:ln>
                  <a:noFill/>
                </a:ln>
                <a:solidFill>
                  <a:srgbClr val="000000"/>
                </a:solidFill>
                <a:effectLst/>
                <a:uLnTx/>
                <a:uFillTx/>
                <a:latin typeface="Chronicle Display Black"/>
                <a:ea typeface="+mj-ea"/>
                <a:cs typeface="Arial"/>
              </a:rPr>
              <a:t>Don’t get stuck here</a:t>
            </a:r>
          </a:p>
        </p:txBody>
      </p:sp>
      <p:grpSp>
        <p:nvGrpSpPr>
          <p:cNvPr id="86" name="Group 85">
            <a:extLst>
              <a:ext uri="{FF2B5EF4-FFF2-40B4-BE49-F238E27FC236}">
                <a16:creationId xmlns:a16="http://schemas.microsoft.com/office/drawing/2014/main" id="{57BAC6B5-CB86-9843-A79F-4584871F9E33}"/>
              </a:ext>
            </a:extLst>
          </p:cNvPr>
          <p:cNvGrpSpPr>
            <a:grpSpLocks noChangeAspect="1"/>
          </p:cNvGrpSpPr>
          <p:nvPr/>
        </p:nvGrpSpPr>
        <p:grpSpPr>
          <a:xfrm>
            <a:off x="3928240" y="2126285"/>
            <a:ext cx="500473" cy="515337"/>
            <a:chOff x="2991820" y="1152966"/>
            <a:chExt cx="189365" cy="301752"/>
          </a:xfrm>
        </p:grpSpPr>
        <p:sp>
          <p:nvSpPr>
            <p:cNvPr id="87" name="Arc 86"/>
            <p:cNvSpPr/>
            <p:nvPr/>
          </p:nvSpPr>
          <p:spPr bwMode="gray">
            <a:xfrm>
              <a:off x="2995480" y="1152966"/>
              <a:ext cx="185705" cy="263176"/>
            </a:xfrm>
            <a:prstGeom prst="arc">
              <a:avLst>
                <a:gd name="adj1" fmla="val 11400237"/>
                <a:gd name="adj2" fmla="val 21235583"/>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8" name="Arc 87"/>
            <p:cNvSpPr/>
            <p:nvPr/>
          </p:nvSpPr>
          <p:spPr bwMode="gray">
            <a:xfrm rot="10800000">
              <a:off x="2991820" y="1200258"/>
              <a:ext cx="182563" cy="254460"/>
            </a:xfrm>
            <a:prstGeom prst="arc">
              <a:avLst>
                <a:gd name="adj1" fmla="val 11400237"/>
                <a:gd name="adj2" fmla="val 21235583"/>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89" name="Group 88">
            <a:extLst>
              <a:ext uri="{FF2B5EF4-FFF2-40B4-BE49-F238E27FC236}">
                <a16:creationId xmlns:a16="http://schemas.microsoft.com/office/drawing/2014/main" id="{7E6BF04D-E98A-BC48-8CF6-1610834592C6}"/>
              </a:ext>
            </a:extLst>
          </p:cNvPr>
          <p:cNvGrpSpPr/>
          <p:nvPr/>
        </p:nvGrpSpPr>
        <p:grpSpPr>
          <a:xfrm>
            <a:off x="3824019" y="4184485"/>
            <a:ext cx="694267" cy="696384"/>
            <a:chOff x="3348271" y="3022028"/>
            <a:chExt cx="520700" cy="522288"/>
          </a:xfrm>
        </p:grpSpPr>
        <p:sp>
          <p:nvSpPr>
            <p:cNvPr id="90" name="Oval 89">
              <a:extLst>
                <a:ext uri="{FF2B5EF4-FFF2-40B4-BE49-F238E27FC236}">
                  <a16:creationId xmlns:a16="http://schemas.microsoft.com/office/drawing/2014/main" id="{3B0F645B-5F4E-D94D-8884-7145DA232AFA}"/>
                </a:ext>
              </a:extLst>
            </p:cNvPr>
            <p:cNvSpPr/>
            <p:nvPr/>
          </p:nvSpPr>
          <p:spPr>
            <a:xfrm>
              <a:off x="3368206" y="3098029"/>
              <a:ext cx="475440" cy="41588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91" name="Group 90">
              <a:extLst>
                <a:ext uri="{FF2B5EF4-FFF2-40B4-BE49-F238E27FC236}">
                  <a16:creationId xmlns:a16="http://schemas.microsoft.com/office/drawing/2014/main" id="{A3CB7F42-716F-E549-8D09-5D6B263037C3}"/>
                </a:ext>
              </a:extLst>
            </p:cNvPr>
            <p:cNvGrpSpPr>
              <a:grpSpLocks noChangeAspect="1"/>
            </p:cNvGrpSpPr>
            <p:nvPr/>
          </p:nvGrpSpPr>
          <p:grpSpPr>
            <a:xfrm>
              <a:off x="3348271" y="3022028"/>
              <a:ext cx="520700" cy="522288"/>
              <a:chOff x="6724651" y="823913"/>
              <a:chExt cx="520700" cy="522288"/>
            </a:xfrm>
          </p:grpSpPr>
          <p:sp>
            <p:nvSpPr>
              <p:cNvPr id="92" name="Freeform 5">
                <a:extLst>
                  <a:ext uri="{FF2B5EF4-FFF2-40B4-BE49-F238E27FC236}">
                    <a16:creationId xmlns:a16="http://schemas.microsoft.com/office/drawing/2014/main" id="{A2AC43B2-3C6D-3044-8583-A8D86485634A}"/>
                  </a:ext>
                </a:extLst>
              </p:cNvPr>
              <p:cNvSpPr>
                <a:spLocks noEditPoints="1"/>
              </p:cNvSpPr>
              <p:nvPr/>
            </p:nvSpPr>
            <p:spPr bwMode="auto">
              <a:xfrm>
                <a:off x="6724651" y="823913"/>
                <a:ext cx="520700" cy="522288"/>
              </a:xfrm>
              <a:custGeom>
                <a:avLst/>
                <a:gdLst>
                  <a:gd name="T0" fmla="*/ 312 w 657"/>
                  <a:gd name="T1" fmla="*/ 656 h 658"/>
                  <a:gd name="T2" fmla="*/ 262 w 657"/>
                  <a:gd name="T3" fmla="*/ 651 h 658"/>
                  <a:gd name="T4" fmla="*/ 200 w 657"/>
                  <a:gd name="T5" fmla="*/ 631 h 658"/>
                  <a:gd name="T6" fmla="*/ 120 w 657"/>
                  <a:gd name="T7" fmla="*/ 582 h 658"/>
                  <a:gd name="T8" fmla="*/ 57 w 657"/>
                  <a:gd name="T9" fmla="*/ 513 h 658"/>
                  <a:gd name="T10" fmla="*/ 15 w 657"/>
                  <a:gd name="T11" fmla="*/ 427 h 658"/>
                  <a:gd name="T12" fmla="*/ 4 w 657"/>
                  <a:gd name="T13" fmla="*/ 378 h 658"/>
                  <a:gd name="T14" fmla="*/ 0 w 657"/>
                  <a:gd name="T15" fmla="*/ 329 h 658"/>
                  <a:gd name="T16" fmla="*/ 2 w 657"/>
                  <a:gd name="T17" fmla="*/ 295 h 658"/>
                  <a:gd name="T18" fmla="*/ 10 w 657"/>
                  <a:gd name="T19" fmla="*/ 247 h 658"/>
                  <a:gd name="T20" fmla="*/ 39 w 657"/>
                  <a:gd name="T21" fmla="*/ 172 h 658"/>
                  <a:gd name="T22" fmla="*/ 97 w 657"/>
                  <a:gd name="T23" fmla="*/ 96 h 658"/>
                  <a:gd name="T24" fmla="*/ 172 w 657"/>
                  <a:gd name="T25" fmla="*/ 40 h 658"/>
                  <a:gd name="T26" fmla="*/ 246 w 657"/>
                  <a:gd name="T27" fmla="*/ 10 h 658"/>
                  <a:gd name="T28" fmla="*/ 296 w 657"/>
                  <a:gd name="T29" fmla="*/ 1 h 658"/>
                  <a:gd name="T30" fmla="*/ 328 w 657"/>
                  <a:gd name="T31" fmla="*/ 0 h 658"/>
                  <a:gd name="T32" fmla="*/ 379 w 657"/>
                  <a:gd name="T33" fmla="*/ 4 h 658"/>
                  <a:gd name="T34" fmla="*/ 426 w 657"/>
                  <a:gd name="T35" fmla="*/ 14 h 658"/>
                  <a:gd name="T36" fmla="*/ 512 w 657"/>
                  <a:gd name="T37" fmla="*/ 56 h 658"/>
                  <a:gd name="T38" fmla="*/ 582 w 657"/>
                  <a:gd name="T39" fmla="*/ 119 h 658"/>
                  <a:gd name="T40" fmla="*/ 631 w 657"/>
                  <a:gd name="T41" fmla="*/ 201 h 658"/>
                  <a:gd name="T42" fmla="*/ 650 w 657"/>
                  <a:gd name="T43" fmla="*/ 263 h 658"/>
                  <a:gd name="T44" fmla="*/ 657 w 657"/>
                  <a:gd name="T45" fmla="*/ 311 h 658"/>
                  <a:gd name="T46" fmla="*/ 657 w 657"/>
                  <a:gd name="T47" fmla="*/ 346 h 658"/>
                  <a:gd name="T48" fmla="*/ 650 w 657"/>
                  <a:gd name="T49" fmla="*/ 394 h 658"/>
                  <a:gd name="T50" fmla="*/ 631 w 657"/>
                  <a:gd name="T51" fmla="*/ 456 h 658"/>
                  <a:gd name="T52" fmla="*/ 582 w 657"/>
                  <a:gd name="T53" fmla="*/ 538 h 658"/>
                  <a:gd name="T54" fmla="*/ 512 w 657"/>
                  <a:gd name="T55" fmla="*/ 601 h 658"/>
                  <a:gd name="T56" fmla="*/ 426 w 657"/>
                  <a:gd name="T57" fmla="*/ 643 h 658"/>
                  <a:gd name="T58" fmla="*/ 379 w 657"/>
                  <a:gd name="T59" fmla="*/ 654 h 658"/>
                  <a:gd name="T60" fmla="*/ 328 w 657"/>
                  <a:gd name="T61" fmla="*/ 658 h 658"/>
                  <a:gd name="T62" fmla="*/ 328 w 657"/>
                  <a:gd name="T63" fmla="*/ 37 h 658"/>
                  <a:gd name="T64" fmla="*/ 242 w 657"/>
                  <a:gd name="T65" fmla="*/ 51 h 658"/>
                  <a:gd name="T66" fmla="*/ 166 w 657"/>
                  <a:gd name="T67" fmla="*/ 87 h 658"/>
                  <a:gd name="T68" fmla="*/ 104 w 657"/>
                  <a:gd name="T69" fmla="*/ 143 h 658"/>
                  <a:gd name="T70" fmla="*/ 61 w 657"/>
                  <a:gd name="T71" fmla="*/ 216 h 658"/>
                  <a:gd name="T72" fmla="*/ 39 w 657"/>
                  <a:gd name="T73" fmla="*/ 299 h 658"/>
                  <a:gd name="T74" fmla="*/ 39 w 657"/>
                  <a:gd name="T75" fmla="*/ 358 h 658"/>
                  <a:gd name="T76" fmla="*/ 61 w 657"/>
                  <a:gd name="T77" fmla="*/ 441 h 658"/>
                  <a:gd name="T78" fmla="*/ 104 w 657"/>
                  <a:gd name="T79" fmla="*/ 514 h 658"/>
                  <a:gd name="T80" fmla="*/ 166 w 657"/>
                  <a:gd name="T81" fmla="*/ 570 h 658"/>
                  <a:gd name="T82" fmla="*/ 242 w 657"/>
                  <a:gd name="T83" fmla="*/ 607 h 658"/>
                  <a:gd name="T84" fmla="*/ 328 w 657"/>
                  <a:gd name="T85" fmla="*/ 620 h 658"/>
                  <a:gd name="T86" fmla="*/ 387 w 657"/>
                  <a:gd name="T87" fmla="*/ 613 h 658"/>
                  <a:gd name="T88" fmla="*/ 468 w 657"/>
                  <a:gd name="T89" fmla="*/ 585 h 658"/>
                  <a:gd name="T90" fmla="*/ 535 w 657"/>
                  <a:gd name="T91" fmla="*/ 534 h 658"/>
                  <a:gd name="T92" fmla="*/ 584 w 657"/>
                  <a:gd name="T93" fmla="*/ 467 h 658"/>
                  <a:gd name="T94" fmla="*/ 614 w 657"/>
                  <a:gd name="T95" fmla="*/ 388 h 658"/>
                  <a:gd name="T96" fmla="*/ 619 w 657"/>
                  <a:gd name="T97" fmla="*/ 329 h 658"/>
                  <a:gd name="T98" fmla="*/ 606 w 657"/>
                  <a:gd name="T99" fmla="*/ 243 h 658"/>
                  <a:gd name="T100" fmla="*/ 570 w 657"/>
                  <a:gd name="T101" fmla="*/ 166 h 658"/>
                  <a:gd name="T102" fmla="*/ 513 w 657"/>
                  <a:gd name="T103" fmla="*/ 104 h 658"/>
                  <a:gd name="T104" fmla="*/ 442 w 657"/>
                  <a:gd name="T105" fmla="*/ 60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8" y="658"/>
                    </a:moveTo>
                    <a:lnTo>
                      <a:pt x="328" y="658"/>
                    </a:lnTo>
                    <a:lnTo>
                      <a:pt x="312" y="656"/>
                    </a:lnTo>
                    <a:lnTo>
                      <a:pt x="296" y="655"/>
                    </a:lnTo>
                    <a:lnTo>
                      <a:pt x="278" y="654"/>
                    </a:lnTo>
                    <a:lnTo>
                      <a:pt x="262" y="651"/>
                    </a:lnTo>
                    <a:lnTo>
                      <a:pt x="246" y="647"/>
                    </a:lnTo>
                    <a:lnTo>
                      <a:pt x="231" y="643"/>
                    </a:lnTo>
                    <a:lnTo>
                      <a:pt x="200" y="631"/>
                    </a:lnTo>
                    <a:lnTo>
                      <a:pt x="172" y="617"/>
                    </a:lnTo>
                    <a:lnTo>
                      <a:pt x="145" y="601"/>
                    </a:lnTo>
                    <a:lnTo>
                      <a:pt x="120" y="582"/>
                    </a:lnTo>
                    <a:lnTo>
                      <a:pt x="97" y="561"/>
                    </a:lnTo>
                    <a:lnTo>
                      <a:pt x="76" y="538"/>
                    </a:lnTo>
                    <a:lnTo>
                      <a:pt x="57" y="513"/>
                    </a:lnTo>
                    <a:lnTo>
                      <a:pt x="39" y="486"/>
                    </a:lnTo>
                    <a:lnTo>
                      <a:pt x="26" y="456"/>
                    </a:lnTo>
                    <a:lnTo>
                      <a:pt x="15" y="427"/>
                    </a:lnTo>
                    <a:lnTo>
                      <a:pt x="10" y="411"/>
                    </a:lnTo>
                    <a:lnTo>
                      <a:pt x="7" y="394"/>
                    </a:lnTo>
                    <a:lnTo>
                      <a:pt x="4" y="378"/>
                    </a:lnTo>
                    <a:lnTo>
                      <a:pt x="2" y="362"/>
                    </a:lnTo>
                    <a:lnTo>
                      <a:pt x="0" y="346"/>
                    </a:lnTo>
                    <a:lnTo>
                      <a:pt x="0" y="329"/>
                    </a:lnTo>
                    <a:lnTo>
                      <a:pt x="0" y="329"/>
                    </a:lnTo>
                    <a:lnTo>
                      <a:pt x="0" y="311"/>
                    </a:lnTo>
                    <a:lnTo>
                      <a:pt x="2" y="295"/>
                    </a:lnTo>
                    <a:lnTo>
                      <a:pt x="4" y="279"/>
                    </a:lnTo>
                    <a:lnTo>
                      <a:pt x="7" y="263"/>
                    </a:lnTo>
                    <a:lnTo>
                      <a:pt x="10" y="247"/>
                    </a:lnTo>
                    <a:lnTo>
                      <a:pt x="15" y="231"/>
                    </a:lnTo>
                    <a:lnTo>
                      <a:pt x="26" y="201"/>
                    </a:lnTo>
                    <a:lnTo>
                      <a:pt x="39" y="172"/>
                    </a:lnTo>
                    <a:lnTo>
                      <a:pt x="57" y="145"/>
                    </a:lnTo>
                    <a:lnTo>
                      <a:pt x="76" y="119"/>
                    </a:lnTo>
                    <a:lnTo>
                      <a:pt x="97" y="96"/>
                    </a:lnTo>
                    <a:lnTo>
                      <a:pt x="120" y="75"/>
                    </a:lnTo>
                    <a:lnTo>
                      <a:pt x="145" y="56"/>
                    </a:lnTo>
                    <a:lnTo>
                      <a:pt x="172" y="40"/>
                    </a:lnTo>
                    <a:lnTo>
                      <a:pt x="200" y="25"/>
                    </a:lnTo>
                    <a:lnTo>
                      <a:pt x="231" y="14"/>
                    </a:lnTo>
                    <a:lnTo>
                      <a:pt x="246" y="10"/>
                    </a:lnTo>
                    <a:lnTo>
                      <a:pt x="262" y="6"/>
                    </a:lnTo>
                    <a:lnTo>
                      <a:pt x="278" y="4"/>
                    </a:lnTo>
                    <a:lnTo>
                      <a:pt x="296" y="1"/>
                    </a:lnTo>
                    <a:lnTo>
                      <a:pt x="312" y="1"/>
                    </a:lnTo>
                    <a:lnTo>
                      <a:pt x="328" y="0"/>
                    </a:lnTo>
                    <a:lnTo>
                      <a:pt x="328" y="0"/>
                    </a:lnTo>
                    <a:lnTo>
                      <a:pt x="345" y="1"/>
                    </a:lnTo>
                    <a:lnTo>
                      <a:pt x="362" y="1"/>
                    </a:lnTo>
                    <a:lnTo>
                      <a:pt x="379" y="4"/>
                    </a:lnTo>
                    <a:lnTo>
                      <a:pt x="395" y="6"/>
                    </a:lnTo>
                    <a:lnTo>
                      <a:pt x="411" y="10"/>
                    </a:lnTo>
                    <a:lnTo>
                      <a:pt x="426" y="14"/>
                    </a:lnTo>
                    <a:lnTo>
                      <a:pt x="457" y="25"/>
                    </a:lnTo>
                    <a:lnTo>
                      <a:pt x="485" y="40"/>
                    </a:lnTo>
                    <a:lnTo>
                      <a:pt x="512" y="56"/>
                    </a:lnTo>
                    <a:lnTo>
                      <a:pt x="537" y="75"/>
                    </a:lnTo>
                    <a:lnTo>
                      <a:pt x="560" y="96"/>
                    </a:lnTo>
                    <a:lnTo>
                      <a:pt x="582" y="119"/>
                    </a:lnTo>
                    <a:lnTo>
                      <a:pt x="601" y="145"/>
                    </a:lnTo>
                    <a:lnTo>
                      <a:pt x="618" y="172"/>
                    </a:lnTo>
                    <a:lnTo>
                      <a:pt x="631" y="201"/>
                    </a:lnTo>
                    <a:lnTo>
                      <a:pt x="642" y="231"/>
                    </a:lnTo>
                    <a:lnTo>
                      <a:pt x="648" y="247"/>
                    </a:lnTo>
                    <a:lnTo>
                      <a:pt x="650" y="263"/>
                    </a:lnTo>
                    <a:lnTo>
                      <a:pt x="653" y="279"/>
                    </a:lnTo>
                    <a:lnTo>
                      <a:pt x="656" y="295"/>
                    </a:lnTo>
                    <a:lnTo>
                      <a:pt x="657" y="311"/>
                    </a:lnTo>
                    <a:lnTo>
                      <a:pt x="657" y="329"/>
                    </a:lnTo>
                    <a:lnTo>
                      <a:pt x="657" y="329"/>
                    </a:lnTo>
                    <a:lnTo>
                      <a:pt x="657" y="346"/>
                    </a:lnTo>
                    <a:lnTo>
                      <a:pt x="656" y="362"/>
                    </a:lnTo>
                    <a:lnTo>
                      <a:pt x="653" y="378"/>
                    </a:lnTo>
                    <a:lnTo>
                      <a:pt x="650" y="394"/>
                    </a:lnTo>
                    <a:lnTo>
                      <a:pt x="648" y="411"/>
                    </a:lnTo>
                    <a:lnTo>
                      <a:pt x="642" y="427"/>
                    </a:lnTo>
                    <a:lnTo>
                      <a:pt x="631" y="456"/>
                    </a:lnTo>
                    <a:lnTo>
                      <a:pt x="618" y="486"/>
                    </a:lnTo>
                    <a:lnTo>
                      <a:pt x="601" y="513"/>
                    </a:lnTo>
                    <a:lnTo>
                      <a:pt x="582" y="538"/>
                    </a:lnTo>
                    <a:lnTo>
                      <a:pt x="560" y="561"/>
                    </a:lnTo>
                    <a:lnTo>
                      <a:pt x="537" y="582"/>
                    </a:lnTo>
                    <a:lnTo>
                      <a:pt x="512" y="601"/>
                    </a:lnTo>
                    <a:lnTo>
                      <a:pt x="485" y="617"/>
                    </a:lnTo>
                    <a:lnTo>
                      <a:pt x="457" y="631"/>
                    </a:lnTo>
                    <a:lnTo>
                      <a:pt x="426" y="643"/>
                    </a:lnTo>
                    <a:lnTo>
                      <a:pt x="411" y="647"/>
                    </a:lnTo>
                    <a:lnTo>
                      <a:pt x="395" y="651"/>
                    </a:lnTo>
                    <a:lnTo>
                      <a:pt x="379" y="654"/>
                    </a:lnTo>
                    <a:lnTo>
                      <a:pt x="362" y="655"/>
                    </a:lnTo>
                    <a:lnTo>
                      <a:pt x="345" y="656"/>
                    </a:lnTo>
                    <a:lnTo>
                      <a:pt x="328" y="658"/>
                    </a:lnTo>
                    <a:lnTo>
                      <a:pt x="328" y="658"/>
                    </a:lnTo>
                    <a:close/>
                    <a:moveTo>
                      <a:pt x="328" y="37"/>
                    </a:moveTo>
                    <a:lnTo>
                      <a:pt x="328" y="37"/>
                    </a:lnTo>
                    <a:lnTo>
                      <a:pt x="298" y="39"/>
                    </a:lnTo>
                    <a:lnTo>
                      <a:pt x="270" y="44"/>
                    </a:lnTo>
                    <a:lnTo>
                      <a:pt x="242" y="51"/>
                    </a:lnTo>
                    <a:lnTo>
                      <a:pt x="215" y="60"/>
                    </a:lnTo>
                    <a:lnTo>
                      <a:pt x="190" y="72"/>
                    </a:lnTo>
                    <a:lnTo>
                      <a:pt x="166" y="87"/>
                    </a:lnTo>
                    <a:lnTo>
                      <a:pt x="144" y="104"/>
                    </a:lnTo>
                    <a:lnTo>
                      <a:pt x="123" y="123"/>
                    </a:lnTo>
                    <a:lnTo>
                      <a:pt x="104" y="143"/>
                    </a:lnTo>
                    <a:lnTo>
                      <a:pt x="88" y="166"/>
                    </a:lnTo>
                    <a:lnTo>
                      <a:pt x="73" y="190"/>
                    </a:lnTo>
                    <a:lnTo>
                      <a:pt x="61" y="216"/>
                    </a:lnTo>
                    <a:lnTo>
                      <a:pt x="50" y="243"/>
                    </a:lnTo>
                    <a:lnTo>
                      <a:pt x="43" y="270"/>
                    </a:lnTo>
                    <a:lnTo>
                      <a:pt x="39" y="299"/>
                    </a:lnTo>
                    <a:lnTo>
                      <a:pt x="38" y="329"/>
                    </a:lnTo>
                    <a:lnTo>
                      <a:pt x="38" y="329"/>
                    </a:lnTo>
                    <a:lnTo>
                      <a:pt x="39" y="358"/>
                    </a:lnTo>
                    <a:lnTo>
                      <a:pt x="43" y="388"/>
                    </a:lnTo>
                    <a:lnTo>
                      <a:pt x="50" y="415"/>
                    </a:lnTo>
                    <a:lnTo>
                      <a:pt x="61" y="441"/>
                    </a:lnTo>
                    <a:lnTo>
                      <a:pt x="73" y="467"/>
                    </a:lnTo>
                    <a:lnTo>
                      <a:pt x="88" y="491"/>
                    </a:lnTo>
                    <a:lnTo>
                      <a:pt x="104" y="514"/>
                    </a:lnTo>
                    <a:lnTo>
                      <a:pt x="123" y="534"/>
                    </a:lnTo>
                    <a:lnTo>
                      <a:pt x="144" y="553"/>
                    </a:lnTo>
                    <a:lnTo>
                      <a:pt x="166" y="570"/>
                    </a:lnTo>
                    <a:lnTo>
                      <a:pt x="190" y="585"/>
                    </a:lnTo>
                    <a:lnTo>
                      <a:pt x="215" y="597"/>
                    </a:lnTo>
                    <a:lnTo>
                      <a:pt x="242" y="607"/>
                    </a:lnTo>
                    <a:lnTo>
                      <a:pt x="270" y="613"/>
                    </a:lnTo>
                    <a:lnTo>
                      <a:pt x="298" y="619"/>
                    </a:lnTo>
                    <a:lnTo>
                      <a:pt x="328" y="620"/>
                    </a:lnTo>
                    <a:lnTo>
                      <a:pt x="328" y="620"/>
                    </a:lnTo>
                    <a:lnTo>
                      <a:pt x="359" y="619"/>
                    </a:lnTo>
                    <a:lnTo>
                      <a:pt x="387" y="613"/>
                    </a:lnTo>
                    <a:lnTo>
                      <a:pt x="415" y="607"/>
                    </a:lnTo>
                    <a:lnTo>
                      <a:pt x="442" y="597"/>
                    </a:lnTo>
                    <a:lnTo>
                      <a:pt x="468" y="585"/>
                    </a:lnTo>
                    <a:lnTo>
                      <a:pt x="492" y="570"/>
                    </a:lnTo>
                    <a:lnTo>
                      <a:pt x="513" y="553"/>
                    </a:lnTo>
                    <a:lnTo>
                      <a:pt x="535" y="534"/>
                    </a:lnTo>
                    <a:lnTo>
                      <a:pt x="554" y="514"/>
                    </a:lnTo>
                    <a:lnTo>
                      <a:pt x="570" y="491"/>
                    </a:lnTo>
                    <a:lnTo>
                      <a:pt x="584" y="467"/>
                    </a:lnTo>
                    <a:lnTo>
                      <a:pt x="597" y="441"/>
                    </a:lnTo>
                    <a:lnTo>
                      <a:pt x="606" y="415"/>
                    </a:lnTo>
                    <a:lnTo>
                      <a:pt x="614" y="388"/>
                    </a:lnTo>
                    <a:lnTo>
                      <a:pt x="618" y="358"/>
                    </a:lnTo>
                    <a:lnTo>
                      <a:pt x="619" y="329"/>
                    </a:lnTo>
                    <a:lnTo>
                      <a:pt x="619" y="329"/>
                    </a:lnTo>
                    <a:lnTo>
                      <a:pt x="618" y="299"/>
                    </a:lnTo>
                    <a:lnTo>
                      <a:pt x="614" y="270"/>
                    </a:lnTo>
                    <a:lnTo>
                      <a:pt x="606" y="243"/>
                    </a:lnTo>
                    <a:lnTo>
                      <a:pt x="597" y="216"/>
                    </a:lnTo>
                    <a:lnTo>
                      <a:pt x="584" y="190"/>
                    </a:lnTo>
                    <a:lnTo>
                      <a:pt x="570" y="166"/>
                    </a:lnTo>
                    <a:lnTo>
                      <a:pt x="554" y="143"/>
                    </a:lnTo>
                    <a:lnTo>
                      <a:pt x="535" y="123"/>
                    </a:lnTo>
                    <a:lnTo>
                      <a:pt x="513" y="104"/>
                    </a:lnTo>
                    <a:lnTo>
                      <a:pt x="492" y="87"/>
                    </a:lnTo>
                    <a:lnTo>
                      <a:pt x="468" y="72"/>
                    </a:lnTo>
                    <a:lnTo>
                      <a:pt x="442" y="60"/>
                    </a:lnTo>
                    <a:lnTo>
                      <a:pt x="415" y="51"/>
                    </a:lnTo>
                    <a:lnTo>
                      <a:pt x="387" y="44"/>
                    </a:lnTo>
                    <a:lnTo>
                      <a:pt x="359" y="39"/>
                    </a:lnTo>
                    <a:lnTo>
                      <a:pt x="328" y="37"/>
                    </a:lnTo>
                    <a:lnTo>
                      <a:pt x="328"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3" name="Freeform 109">
                <a:extLst>
                  <a:ext uri="{FF2B5EF4-FFF2-40B4-BE49-F238E27FC236}">
                    <a16:creationId xmlns:a16="http://schemas.microsoft.com/office/drawing/2014/main" id="{9B4D7ED3-8391-AC40-833E-43E8B6067593}"/>
                  </a:ext>
                </a:extLst>
              </p:cNvPr>
              <p:cNvSpPr>
                <a:spLocks/>
              </p:cNvSpPr>
              <p:nvPr/>
            </p:nvSpPr>
            <p:spPr bwMode="auto">
              <a:xfrm>
                <a:off x="6954838" y="950913"/>
                <a:ext cx="15875" cy="31750"/>
              </a:xfrm>
              <a:custGeom>
                <a:avLst/>
                <a:gdLst>
                  <a:gd name="T0" fmla="*/ 9 w 19"/>
                  <a:gd name="T1" fmla="*/ 39 h 39"/>
                  <a:gd name="T2" fmla="*/ 9 w 19"/>
                  <a:gd name="T3" fmla="*/ 39 h 39"/>
                  <a:gd name="T4" fmla="*/ 12 w 19"/>
                  <a:gd name="T5" fmla="*/ 39 h 39"/>
                  <a:gd name="T6" fmla="*/ 16 w 19"/>
                  <a:gd name="T7" fmla="*/ 37 h 39"/>
                  <a:gd name="T8" fmla="*/ 17 w 19"/>
                  <a:gd name="T9" fmla="*/ 34 h 39"/>
                  <a:gd name="T10" fmla="*/ 19 w 19"/>
                  <a:gd name="T11" fmla="*/ 30 h 39"/>
                  <a:gd name="T12" fmla="*/ 19 w 19"/>
                  <a:gd name="T13" fmla="*/ 9 h 39"/>
                  <a:gd name="T14" fmla="*/ 19 w 19"/>
                  <a:gd name="T15" fmla="*/ 9 h 39"/>
                  <a:gd name="T16" fmla="*/ 17 w 19"/>
                  <a:gd name="T17" fmla="*/ 6 h 39"/>
                  <a:gd name="T18" fmla="*/ 16 w 19"/>
                  <a:gd name="T19" fmla="*/ 3 h 39"/>
                  <a:gd name="T20" fmla="*/ 12 w 19"/>
                  <a:gd name="T21" fmla="*/ 0 h 39"/>
                  <a:gd name="T22" fmla="*/ 9 w 19"/>
                  <a:gd name="T23" fmla="*/ 0 h 39"/>
                  <a:gd name="T24" fmla="*/ 9 w 19"/>
                  <a:gd name="T25" fmla="*/ 0 h 39"/>
                  <a:gd name="T26" fmla="*/ 5 w 19"/>
                  <a:gd name="T27" fmla="*/ 0 h 39"/>
                  <a:gd name="T28" fmla="*/ 2 w 19"/>
                  <a:gd name="T29" fmla="*/ 3 h 39"/>
                  <a:gd name="T30" fmla="*/ 0 w 19"/>
                  <a:gd name="T31" fmla="*/ 6 h 39"/>
                  <a:gd name="T32" fmla="*/ 0 w 19"/>
                  <a:gd name="T33" fmla="*/ 9 h 39"/>
                  <a:gd name="T34" fmla="*/ 0 w 19"/>
                  <a:gd name="T35" fmla="*/ 30 h 39"/>
                  <a:gd name="T36" fmla="*/ 0 w 19"/>
                  <a:gd name="T37" fmla="*/ 30 h 39"/>
                  <a:gd name="T38" fmla="*/ 0 w 19"/>
                  <a:gd name="T39" fmla="*/ 34 h 39"/>
                  <a:gd name="T40" fmla="*/ 2 w 19"/>
                  <a:gd name="T41" fmla="*/ 37 h 39"/>
                  <a:gd name="T42" fmla="*/ 5 w 19"/>
                  <a:gd name="T43" fmla="*/ 39 h 39"/>
                  <a:gd name="T44" fmla="*/ 9 w 19"/>
                  <a:gd name="T45" fmla="*/ 39 h 39"/>
                  <a:gd name="T46" fmla="*/ 9 w 19"/>
                  <a:gd name="T4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 h="39">
                    <a:moveTo>
                      <a:pt x="9" y="39"/>
                    </a:moveTo>
                    <a:lnTo>
                      <a:pt x="9" y="39"/>
                    </a:lnTo>
                    <a:lnTo>
                      <a:pt x="12" y="39"/>
                    </a:lnTo>
                    <a:lnTo>
                      <a:pt x="16" y="37"/>
                    </a:lnTo>
                    <a:lnTo>
                      <a:pt x="17" y="34"/>
                    </a:lnTo>
                    <a:lnTo>
                      <a:pt x="19" y="30"/>
                    </a:lnTo>
                    <a:lnTo>
                      <a:pt x="19" y="9"/>
                    </a:lnTo>
                    <a:lnTo>
                      <a:pt x="19" y="9"/>
                    </a:lnTo>
                    <a:lnTo>
                      <a:pt x="17" y="6"/>
                    </a:lnTo>
                    <a:lnTo>
                      <a:pt x="16" y="3"/>
                    </a:lnTo>
                    <a:lnTo>
                      <a:pt x="12" y="0"/>
                    </a:lnTo>
                    <a:lnTo>
                      <a:pt x="9" y="0"/>
                    </a:lnTo>
                    <a:lnTo>
                      <a:pt x="9" y="0"/>
                    </a:lnTo>
                    <a:lnTo>
                      <a:pt x="5" y="0"/>
                    </a:lnTo>
                    <a:lnTo>
                      <a:pt x="2" y="3"/>
                    </a:lnTo>
                    <a:lnTo>
                      <a:pt x="0" y="6"/>
                    </a:lnTo>
                    <a:lnTo>
                      <a:pt x="0" y="9"/>
                    </a:lnTo>
                    <a:lnTo>
                      <a:pt x="0" y="30"/>
                    </a:lnTo>
                    <a:lnTo>
                      <a:pt x="0" y="30"/>
                    </a:lnTo>
                    <a:lnTo>
                      <a:pt x="0" y="34"/>
                    </a:lnTo>
                    <a:lnTo>
                      <a:pt x="2" y="37"/>
                    </a:lnTo>
                    <a:lnTo>
                      <a:pt x="5" y="39"/>
                    </a:lnTo>
                    <a:lnTo>
                      <a:pt x="9" y="39"/>
                    </a:lnTo>
                    <a:lnTo>
                      <a:pt x="9" y="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4" name="Freeform 110">
                <a:extLst>
                  <a:ext uri="{FF2B5EF4-FFF2-40B4-BE49-F238E27FC236}">
                    <a16:creationId xmlns:a16="http://schemas.microsoft.com/office/drawing/2014/main" id="{723E6F99-3F35-0642-9AC6-66A81AA41B66}"/>
                  </a:ext>
                </a:extLst>
              </p:cNvPr>
              <p:cNvSpPr>
                <a:spLocks/>
              </p:cNvSpPr>
              <p:nvPr/>
            </p:nvSpPr>
            <p:spPr bwMode="auto">
              <a:xfrm>
                <a:off x="6985001" y="968375"/>
                <a:ext cx="26988" cy="26988"/>
              </a:xfrm>
              <a:custGeom>
                <a:avLst/>
                <a:gdLst>
                  <a:gd name="T0" fmla="*/ 10 w 34"/>
                  <a:gd name="T1" fmla="*/ 33 h 33"/>
                  <a:gd name="T2" fmla="*/ 10 w 34"/>
                  <a:gd name="T3" fmla="*/ 33 h 33"/>
                  <a:gd name="T4" fmla="*/ 12 w 34"/>
                  <a:gd name="T5" fmla="*/ 32 h 33"/>
                  <a:gd name="T6" fmla="*/ 16 w 34"/>
                  <a:gd name="T7" fmla="*/ 31 h 33"/>
                  <a:gd name="T8" fmla="*/ 31 w 34"/>
                  <a:gd name="T9" fmla="*/ 16 h 33"/>
                  <a:gd name="T10" fmla="*/ 31 w 34"/>
                  <a:gd name="T11" fmla="*/ 16 h 33"/>
                  <a:gd name="T12" fmla="*/ 33 w 34"/>
                  <a:gd name="T13" fmla="*/ 12 h 33"/>
                  <a:gd name="T14" fmla="*/ 34 w 34"/>
                  <a:gd name="T15" fmla="*/ 9 h 33"/>
                  <a:gd name="T16" fmla="*/ 33 w 34"/>
                  <a:gd name="T17" fmla="*/ 5 h 33"/>
                  <a:gd name="T18" fmla="*/ 31 w 34"/>
                  <a:gd name="T19" fmla="*/ 3 h 33"/>
                  <a:gd name="T20" fmla="*/ 31 w 34"/>
                  <a:gd name="T21" fmla="*/ 3 h 33"/>
                  <a:gd name="T22" fmla="*/ 29 w 34"/>
                  <a:gd name="T23" fmla="*/ 0 h 33"/>
                  <a:gd name="T24" fmla="*/ 25 w 34"/>
                  <a:gd name="T25" fmla="*/ 0 h 33"/>
                  <a:gd name="T26" fmla="*/ 21 w 34"/>
                  <a:gd name="T27" fmla="*/ 0 h 33"/>
                  <a:gd name="T28" fmla="*/ 18 w 34"/>
                  <a:gd name="T29" fmla="*/ 3 h 33"/>
                  <a:gd name="T30" fmla="*/ 3 w 34"/>
                  <a:gd name="T31" fmla="*/ 17 h 33"/>
                  <a:gd name="T32" fmla="*/ 3 w 34"/>
                  <a:gd name="T33" fmla="*/ 17 h 33"/>
                  <a:gd name="T34" fmla="*/ 0 w 34"/>
                  <a:gd name="T35" fmla="*/ 20 h 33"/>
                  <a:gd name="T36" fmla="*/ 0 w 34"/>
                  <a:gd name="T37" fmla="*/ 24 h 33"/>
                  <a:gd name="T38" fmla="*/ 0 w 34"/>
                  <a:gd name="T39" fmla="*/ 27 h 33"/>
                  <a:gd name="T40" fmla="*/ 3 w 34"/>
                  <a:gd name="T41" fmla="*/ 31 h 33"/>
                  <a:gd name="T42" fmla="*/ 3 w 34"/>
                  <a:gd name="T43" fmla="*/ 31 h 33"/>
                  <a:gd name="T44" fmla="*/ 6 w 34"/>
                  <a:gd name="T45" fmla="*/ 32 h 33"/>
                  <a:gd name="T46" fmla="*/ 10 w 34"/>
                  <a:gd name="T47" fmla="*/ 33 h 33"/>
                  <a:gd name="T48" fmla="*/ 10 w 34"/>
                  <a:gd name="T49"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 h="33">
                    <a:moveTo>
                      <a:pt x="10" y="33"/>
                    </a:moveTo>
                    <a:lnTo>
                      <a:pt x="10" y="33"/>
                    </a:lnTo>
                    <a:lnTo>
                      <a:pt x="12" y="32"/>
                    </a:lnTo>
                    <a:lnTo>
                      <a:pt x="16" y="31"/>
                    </a:lnTo>
                    <a:lnTo>
                      <a:pt x="31" y="16"/>
                    </a:lnTo>
                    <a:lnTo>
                      <a:pt x="31" y="16"/>
                    </a:lnTo>
                    <a:lnTo>
                      <a:pt x="33" y="12"/>
                    </a:lnTo>
                    <a:lnTo>
                      <a:pt x="34" y="9"/>
                    </a:lnTo>
                    <a:lnTo>
                      <a:pt x="33" y="5"/>
                    </a:lnTo>
                    <a:lnTo>
                      <a:pt x="31" y="3"/>
                    </a:lnTo>
                    <a:lnTo>
                      <a:pt x="31" y="3"/>
                    </a:lnTo>
                    <a:lnTo>
                      <a:pt x="29" y="0"/>
                    </a:lnTo>
                    <a:lnTo>
                      <a:pt x="25" y="0"/>
                    </a:lnTo>
                    <a:lnTo>
                      <a:pt x="21" y="0"/>
                    </a:lnTo>
                    <a:lnTo>
                      <a:pt x="18" y="3"/>
                    </a:lnTo>
                    <a:lnTo>
                      <a:pt x="3" y="17"/>
                    </a:lnTo>
                    <a:lnTo>
                      <a:pt x="3" y="17"/>
                    </a:lnTo>
                    <a:lnTo>
                      <a:pt x="0" y="20"/>
                    </a:lnTo>
                    <a:lnTo>
                      <a:pt x="0" y="24"/>
                    </a:lnTo>
                    <a:lnTo>
                      <a:pt x="0" y="27"/>
                    </a:lnTo>
                    <a:lnTo>
                      <a:pt x="3" y="31"/>
                    </a:lnTo>
                    <a:lnTo>
                      <a:pt x="3" y="31"/>
                    </a:lnTo>
                    <a:lnTo>
                      <a:pt x="6" y="32"/>
                    </a:lnTo>
                    <a:lnTo>
                      <a:pt x="10" y="33"/>
                    </a:lnTo>
                    <a:lnTo>
                      <a:pt x="10" y="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5" name="Freeform 111">
                <a:extLst>
                  <a:ext uri="{FF2B5EF4-FFF2-40B4-BE49-F238E27FC236}">
                    <a16:creationId xmlns:a16="http://schemas.microsoft.com/office/drawing/2014/main" id="{FD601217-C39B-6B4E-921D-3CA032152D6B}"/>
                  </a:ext>
                </a:extLst>
              </p:cNvPr>
              <p:cNvSpPr>
                <a:spLocks/>
              </p:cNvSpPr>
              <p:nvPr/>
            </p:nvSpPr>
            <p:spPr bwMode="auto">
              <a:xfrm>
                <a:off x="6997701" y="1009650"/>
                <a:ext cx="31750" cy="15875"/>
              </a:xfrm>
              <a:custGeom>
                <a:avLst/>
                <a:gdLst>
                  <a:gd name="T0" fmla="*/ 0 w 40"/>
                  <a:gd name="T1" fmla="*/ 10 h 19"/>
                  <a:gd name="T2" fmla="*/ 0 w 40"/>
                  <a:gd name="T3" fmla="*/ 10 h 19"/>
                  <a:gd name="T4" fmla="*/ 1 w 40"/>
                  <a:gd name="T5" fmla="*/ 12 h 19"/>
                  <a:gd name="T6" fmla="*/ 3 w 40"/>
                  <a:gd name="T7" fmla="*/ 16 h 19"/>
                  <a:gd name="T8" fmla="*/ 7 w 40"/>
                  <a:gd name="T9" fmla="*/ 18 h 19"/>
                  <a:gd name="T10" fmla="*/ 10 w 40"/>
                  <a:gd name="T11" fmla="*/ 19 h 19"/>
                  <a:gd name="T12" fmla="*/ 31 w 40"/>
                  <a:gd name="T13" fmla="*/ 19 h 19"/>
                  <a:gd name="T14" fmla="*/ 31 w 40"/>
                  <a:gd name="T15" fmla="*/ 19 h 19"/>
                  <a:gd name="T16" fmla="*/ 35 w 40"/>
                  <a:gd name="T17" fmla="*/ 18 h 19"/>
                  <a:gd name="T18" fmla="*/ 38 w 40"/>
                  <a:gd name="T19" fmla="*/ 16 h 19"/>
                  <a:gd name="T20" fmla="*/ 39 w 40"/>
                  <a:gd name="T21" fmla="*/ 12 h 19"/>
                  <a:gd name="T22" fmla="*/ 40 w 40"/>
                  <a:gd name="T23" fmla="*/ 10 h 19"/>
                  <a:gd name="T24" fmla="*/ 40 w 40"/>
                  <a:gd name="T25" fmla="*/ 10 h 19"/>
                  <a:gd name="T26" fmla="*/ 39 w 40"/>
                  <a:gd name="T27" fmla="*/ 6 h 19"/>
                  <a:gd name="T28" fmla="*/ 38 w 40"/>
                  <a:gd name="T29" fmla="*/ 3 h 19"/>
                  <a:gd name="T30" fmla="*/ 35 w 40"/>
                  <a:gd name="T31" fmla="*/ 0 h 19"/>
                  <a:gd name="T32" fmla="*/ 31 w 40"/>
                  <a:gd name="T33" fmla="*/ 0 h 19"/>
                  <a:gd name="T34" fmla="*/ 10 w 40"/>
                  <a:gd name="T35" fmla="*/ 0 h 19"/>
                  <a:gd name="T36" fmla="*/ 10 w 40"/>
                  <a:gd name="T37" fmla="*/ 0 h 19"/>
                  <a:gd name="T38" fmla="*/ 7 w 40"/>
                  <a:gd name="T39" fmla="*/ 0 h 19"/>
                  <a:gd name="T40" fmla="*/ 3 w 40"/>
                  <a:gd name="T41" fmla="*/ 3 h 19"/>
                  <a:gd name="T42" fmla="*/ 1 w 40"/>
                  <a:gd name="T43" fmla="*/ 6 h 19"/>
                  <a:gd name="T44" fmla="*/ 0 w 40"/>
                  <a:gd name="T45" fmla="*/ 10 h 19"/>
                  <a:gd name="T46" fmla="*/ 0 w 40"/>
                  <a:gd name="T47"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19">
                    <a:moveTo>
                      <a:pt x="0" y="10"/>
                    </a:moveTo>
                    <a:lnTo>
                      <a:pt x="0" y="10"/>
                    </a:lnTo>
                    <a:lnTo>
                      <a:pt x="1" y="12"/>
                    </a:lnTo>
                    <a:lnTo>
                      <a:pt x="3" y="16"/>
                    </a:lnTo>
                    <a:lnTo>
                      <a:pt x="7" y="18"/>
                    </a:lnTo>
                    <a:lnTo>
                      <a:pt x="10" y="19"/>
                    </a:lnTo>
                    <a:lnTo>
                      <a:pt x="31" y="19"/>
                    </a:lnTo>
                    <a:lnTo>
                      <a:pt x="31" y="19"/>
                    </a:lnTo>
                    <a:lnTo>
                      <a:pt x="35" y="18"/>
                    </a:lnTo>
                    <a:lnTo>
                      <a:pt x="38" y="16"/>
                    </a:lnTo>
                    <a:lnTo>
                      <a:pt x="39" y="12"/>
                    </a:lnTo>
                    <a:lnTo>
                      <a:pt x="40" y="10"/>
                    </a:lnTo>
                    <a:lnTo>
                      <a:pt x="40" y="10"/>
                    </a:lnTo>
                    <a:lnTo>
                      <a:pt x="39" y="6"/>
                    </a:lnTo>
                    <a:lnTo>
                      <a:pt x="38" y="3"/>
                    </a:lnTo>
                    <a:lnTo>
                      <a:pt x="35" y="0"/>
                    </a:lnTo>
                    <a:lnTo>
                      <a:pt x="31" y="0"/>
                    </a:lnTo>
                    <a:lnTo>
                      <a:pt x="10" y="0"/>
                    </a:lnTo>
                    <a:lnTo>
                      <a:pt x="10" y="0"/>
                    </a:lnTo>
                    <a:lnTo>
                      <a:pt x="7" y="0"/>
                    </a:lnTo>
                    <a:lnTo>
                      <a:pt x="3" y="3"/>
                    </a:lnTo>
                    <a:lnTo>
                      <a:pt x="1" y="6"/>
                    </a:lnTo>
                    <a:lnTo>
                      <a:pt x="0" y="10"/>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6" name="Freeform 112">
                <a:extLst>
                  <a:ext uri="{FF2B5EF4-FFF2-40B4-BE49-F238E27FC236}">
                    <a16:creationId xmlns:a16="http://schemas.microsoft.com/office/drawing/2014/main" id="{4CFB0E32-0972-2041-A967-B21842C6CDAF}"/>
                  </a:ext>
                </a:extLst>
              </p:cNvPr>
              <p:cNvSpPr>
                <a:spLocks/>
              </p:cNvSpPr>
              <p:nvPr/>
            </p:nvSpPr>
            <p:spPr bwMode="auto">
              <a:xfrm>
                <a:off x="6913563" y="968375"/>
                <a:ext cx="26988" cy="26988"/>
              </a:xfrm>
              <a:custGeom>
                <a:avLst/>
                <a:gdLst>
                  <a:gd name="T0" fmla="*/ 18 w 34"/>
                  <a:gd name="T1" fmla="*/ 31 h 33"/>
                  <a:gd name="T2" fmla="*/ 18 w 34"/>
                  <a:gd name="T3" fmla="*/ 31 h 33"/>
                  <a:gd name="T4" fmla="*/ 21 w 34"/>
                  <a:gd name="T5" fmla="*/ 32 h 33"/>
                  <a:gd name="T6" fmla="*/ 25 w 34"/>
                  <a:gd name="T7" fmla="*/ 33 h 33"/>
                  <a:gd name="T8" fmla="*/ 25 w 34"/>
                  <a:gd name="T9" fmla="*/ 33 h 33"/>
                  <a:gd name="T10" fmla="*/ 29 w 34"/>
                  <a:gd name="T11" fmla="*/ 32 h 33"/>
                  <a:gd name="T12" fmla="*/ 31 w 34"/>
                  <a:gd name="T13" fmla="*/ 31 h 33"/>
                  <a:gd name="T14" fmla="*/ 31 w 34"/>
                  <a:gd name="T15" fmla="*/ 31 h 33"/>
                  <a:gd name="T16" fmla="*/ 33 w 34"/>
                  <a:gd name="T17" fmla="*/ 27 h 33"/>
                  <a:gd name="T18" fmla="*/ 34 w 34"/>
                  <a:gd name="T19" fmla="*/ 24 h 33"/>
                  <a:gd name="T20" fmla="*/ 33 w 34"/>
                  <a:gd name="T21" fmla="*/ 20 h 33"/>
                  <a:gd name="T22" fmla="*/ 31 w 34"/>
                  <a:gd name="T23" fmla="*/ 17 h 33"/>
                  <a:gd name="T24" fmla="*/ 17 w 34"/>
                  <a:gd name="T25" fmla="*/ 3 h 33"/>
                  <a:gd name="T26" fmla="*/ 17 w 34"/>
                  <a:gd name="T27" fmla="*/ 3 h 33"/>
                  <a:gd name="T28" fmla="*/ 13 w 34"/>
                  <a:gd name="T29" fmla="*/ 0 h 33"/>
                  <a:gd name="T30" fmla="*/ 10 w 34"/>
                  <a:gd name="T31" fmla="*/ 0 h 33"/>
                  <a:gd name="T32" fmla="*/ 6 w 34"/>
                  <a:gd name="T33" fmla="*/ 0 h 33"/>
                  <a:gd name="T34" fmla="*/ 3 w 34"/>
                  <a:gd name="T35" fmla="*/ 3 h 33"/>
                  <a:gd name="T36" fmla="*/ 3 w 34"/>
                  <a:gd name="T37" fmla="*/ 3 h 33"/>
                  <a:gd name="T38" fmla="*/ 0 w 34"/>
                  <a:gd name="T39" fmla="*/ 5 h 33"/>
                  <a:gd name="T40" fmla="*/ 0 w 34"/>
                  <a:gd name="T41" fmla="*/ 9 h 33"/>
                  <a:gd name="T42" fmla="*/ 0 w 34"/>
                  <a:gd name="T43" fmla="*/ 12 h 33"/>
                  <a:gd name="T44" fmla="*/ 3 w 34"/>
                  <a:gd name="T45" fmla="*/ 16 h 33"/>
                  <a:gd name="T46" fmla="*/ 18 w 34"/>
                  <a:gd name="T47"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 h="33">
                    <a:moveTo>
                      <a:pt x="18" y="31"/>
                    </a:moveTo>
                    <a:lnTo>
                      <a:pt x="18" y="31"/>
                    </a:lnTo>
                    <a:lnTo>
                      <a:pt x="21" y="32"/>
                    </a:lnTo>
                    <a:lnTo>
                      <a:pt x="25" y="33"/>
                    </a:lnTo>
                    <a:lnTo>
                      <a:pt x="25" y="33"/>
                    </a:lnTo>
                    <a:lnTo>
                      <a:pt x="29" y="32"/>
                    </a:lnTo>
                    <a:lnTo>
                      <a:pt x="31" y="31"/>
                    </a:lnTo>
                    <a:lnTo>
                      <a:pt x="31" y="31"/>
                    </a:lnTo>
                    <a:lnTo>
                      <a:pt x="33" y="27"/>
                    </a:lnTo>
                    <a:lnTo>
                      <a:pt x="34" y="24"/>
                    </a:lnTo>
                    <a:lnTo>
                      <a:pt x="33" y="20"/>
                    </a:lnTo>
                    <a:lnTo>
                      <a:pt x="31" y="17"/>
                    </a:lnTo>
                    <a:lnTo>
                      <a:pt x="17" y="3"/>
                    </a:lnTo>
                    <a:lnTo>
                      <a:pt x="17" y="3"/>
                    </a:lnTo>
                    <a:lnTo>
                      <a:pt x="13" y="0"/>
                    </a:lnTo>
                    <a:lnTo>
                      <a:pt x="10" y="0"/>
                    </a:lnTo>
                    <a:lnTo>
                      <a:pt x="6" y="0"/>
                    </a:lnTo>
                    <a:lnTo>
                      <a:pt x="3" y="3"/>
                    </a:lnTo>
                    <a:lnTo>
                      <a:pt x="3" y="3"/>
                    </a:lnTo>
                    <a:lnTo>
                      <a:pt x="0" y="5"/>
                    </a:lnTo>
                    <a:lnTo>
                      <a:pt x="0" y="9"/>
                    </a:lnTo>
                    <a:lnTo>
                      <a:pt x="0" y="12"/>
                    </a:lnTo>
                    <a:lnTo>
                      <a:pt x="3" y="16"/>
                    </a:lnTo>
                    <a:lnTo>
                      <a:pt x="18"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7" name="Freeform 113">
                <a:extLst>
                  <a:ext uri="{FF2B5EF4-FFF2-40B4-BE49-F238E27FC236}">
                    <a16:creationId xmlns:a16="http://schemas.microsoft.com/office/drawing/2014/main" id="{194FD4D6-5627-AC4D-9AC0-1997D13893E6}"/>
                  </a:ext>
                </a:extLst>
              </p:cNvPr>
              <p:cNvSpPr>
                <a:spLocks/>
              </p:cNvSpPr>
              <p:nvPr/>
            </p:nvSpPr>
            <p:spPr bwMode="auto">
              <a:xfrm>
                <a:off x="6896101" y="1009650"/>
                <a:ext cx="31750" cy="15875"/>
              </a:xfrm>
              <a:custGeom>
                <a:avLst/>
                <a:gdLst>
                  <a:gd name="T0" fmla="*/ 39 w 39"/>
                  <a:gd name="T1" fmla="*/ 10 h 19"/>
                  <a:gd name="T2" fmla="*/ 39 w 39"/>
                  <a:gd name="T3" fmla="*/ 10 h 19"/>
                  <a:gd name="T4" fmla="*/ 39 w 39"/>
                  <a:gd name="T5" fmla="*/ 6 h 19"/>
                  <a:gd name="T6" fmla="*/ 36 w 39"/>
                  <a:gd name="T7" fmla="*/ 3 h 19"/>
                  <a:gd name="T8" fmla="*/ 34 w 39"/>
                  <a:gd name="T9" fmla="*/ 0 h 19"/>
                  <a:gd name="T10" fmla="*/ 29 w 39"/>
                  <a:gd name="T11" fmla="*/ 0 h 19"/>
                  <a:gd name="T12" fmla="*/ 8 w 39"/>
                  <a:gd name="T13" fmla="*/ 0 h 19"/>
                  <a:gd name="T14" fmla="*/ 8 w 39"/>
                  <a:gd name="T15" fmla="*/ 0 h 19"/>
                  <a:gd name="T16" fmla="*/ 5 w 39"/>
                  <a:gd name="T17" fmla="*/ 0 h 19"/>
                  <a:gd name="T18" fmla="*/ 3 w 39"/>
                  <a:gd name="T19" fmla="*/ 3 h 19"/>
                  <a:gd name="T20" fmla="*/ 0 w 39"/>
                  <a:gd name="T21" fmla="*/ 6 h 19"/>
                  <a:gd name="T22" fmla="*/ 0 w 39"/>
                  <a:gd name="T23" fmla="*/ 10 h 19"/>
                  <a:gd name="T24" fmla="*/ 0 w 39"/>
                  <a:gd name="T25" fmla="*/ 10 h 19"/>
                  <a:gd name="T26" fmla="*/ 0 w 39"/>
                  <a:gd name="T27" fmla="*/ 12 h 19"/>
                  <a:gd name="T28" fmla="*/ 3 w 39"/>
                  <a:gd name="T29" fmla="*/ 16 h 19"/>
                  <a:gd name="T30" fmla="*/ 5 w 39"/>
                  <a:gd name="T31" fmla="*/ 18 h 19"/>
                  <a:gd name="T32" fmla="*/ 8 w 39"/>
                  <a:gd name="T33" fmla="*/ 19 h 19"/>
                  <a:gd name="T34" fmla="*/ 29 w 39"/>
                  <a:gd name="T35" fmla="*/ 19 h 19"/>
                  <a:gd name="T36" fmla="*/ 29 w 39"/>
                  <a:gd name="T37" fmla="*/ 19 h 19"/>
                  <a:gd name="T38" fmla="*/ 34 w 39"/>
                  <a:gd name="T39" fmla="*/ 18 h 19"/>
                  <a:gd name="T40" fmla="*/ 36 w 39"/>
                  <a:gd name="T41" fmla="*/ 16 h 19"/>
                  <a:gd name="T42" fmla="*/ 39 w 39"/>
                  <a:gd name="T43" fmla="*/ 12 h 19"/>
                  <a:gd name="T44" fmla="*/ 39 w 39"/>
                  <a:gd name="T45" fmla="*/ 10 h 19"/>
                  <a:gd name="T46" fmla="*/ 39 w 39"/>
                  <a:gd name="T47"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19">
                    <a:moveTo>
                      <a:pt x="39" y="10"/>
                    </a:moveTo>
                    <a:lnTo>
                      <a:pt x="39" y="10"/>
                    </a:lnTo>
                    <a:lnTo>
                      <a:pt x="39" y="6"/>
                    </a:lnTo>
                    <a:lnTo>
                      <a:pt x="36" y="3"/>
                    </a:lnTo>
                    <a:lnTo>
                      <a:pt x="34" y="0"/>
                    </a:lnTo>
                    <a:lnTo>
                      <a:pt x="29" y="0"/>
                    </a:lnTo>
                    <a:lnTo>
                      <a:pt x="8" y="0"/>
                    </a:lnTo>
                    <a:lnTo>
                      <a:pt x="8" y="0"/>
                    </a:lnTo>
                    <a:lnTo>
                      <a:pt x="5" y="0"/>
                    </a:lnTo>
                    <a:lnTo>
                      <a:pt x="3" y="3"/>
                    </a:lnTo>
                    <a:lnTo>
                      <a:pt x="0" y="6"/>
                    </a:lnTo>
                    <a:lnTo>
                      <a:pt x="0" y="10"/>
                    </a:lnTo>
                    <a:lnTo>
                      <a:pt x="0" y="10"/>
                    </a:lnTo>
                    <a:lnTo>
                      <a:pt x="0" y="12"/>
                    </a:lnTo>
                    <a:lnTo>
                      <a:pt x="3" y="16"/>
                    </a:lnTo>
                    <a:lnTo>
                      <a:pt x="5" y="18"/>
                    </a:lnTo>
                    <a:lnTo>
                      <a:pt x="8" y="19"/>
                    </a:lnTo>
                    <a:lnTo>
                      <a:pt x="29" y="19"/>
                    </a:lnTo>
                    <a:lnTo>
                      <a:pt x="29" y="19"/>
                    </a:lnTo>
                    <a:lnTo>
                      <a:pt x="34" y="18"/>
                    </a:lnTo>
                    <a:lnTo>
                      <a:pt x="36" y="16"/>
                    </a:lnTo>
                    <a:lnTo>
                      <a:pt x="39" y="12"/>
                    </a:lnTo>
                    <a:lnTo>
                      <a:pt x="39" y="10"/>
                    </a:lnTo>
                    <a:lnTo>
                      <a:pt x="39"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8" name="Freeform 114">
                <a:extLst>
                  <a:ext uri="{FF2B5EF4-FFF2-40B4-BE49-F238E27FC236}">
                    <a16:creationId xmlns:a16="http://schemas.microsoft.com/office/drawing/2014/main" id="{9160E5CC-2E6C-254F-99C0-AEE2B7585D6E}"/>
                  </a:ext>
                </a:extLst>
              </p:cNvPr>
              <p:cNvSpPr>
                <a:spLocks/>
              </p:cNvSpPr>
              <p:nvPr/>
            </p:nvSpPr>
            <p:spPr bwMode="auto">
              <a:xfrm>
                <a:off x="6916738" y="1000125"/>
                <a:ext cx="146050" cy="203200"/>
              </a:xfrm>
              <a:custGeom>
                <a:avLst/>
                <a:gdLst>
                  <a:gd name="T0" fmla="*/ 167 w 184"/>
                  <a:gd name="T1" fmla="*/ 106 h 255"/>
                  <a:gd name="T2" fmla="*/ 156 w 184"/>
                  <a:gd name="T3" fmla="*/ 110 h 255"/>
                  <a:gd name="T4" fmla="*/ 150 w 184"/>
                  <a:gd name="T5" fmla="*/ 117 h 255"/>
                  <a:gd name="T6" fmla="*/ 149 w 184"/>
                  <a:gd name="T7" fmla="*/ 117 h 255"/>
                  <a:gd name="T8" fmla="*/ 149 w 184"/>
                  <a:gd name="T9" fmla="*/ 117 h 255"/>
                  <a:gd name="T10" fmla="*/ 142 w 184"/>
                  <a:gd name="T11" fmla="*/ 106 h 255"/>
                  <a:gd name="T12" fmla="*/ 132 w 184"/>
                  <a:gd name="T13" fmla="*/ 101 h 255"/>
                  <a:gd name="T14" fmla="*/ 125 w 184"/>
                  <a:gd name="T15" fmla="*/ 102 h 255"/>
                  <a:gd name="T16" fmla="*/ 116 w 184"/>
                  <a:gd name="T17" fmla="*/ 109 h 255"/>
                  <a:gd name="T18" fmla="*/ 113 w 184"/>
                  <a:gd name="T19" fmla="*/ 114 h 255"/>
                  <a:gd name="T20" fmla="*/ 112 w 184"/>
                  <a:gd name="T21" fmla="*/ 113 h 255"/>
                  <a:gd name="T22" fmla="*/ 110 w 184"/>
                  <a:gd name="T23" fmla="*/ 108 h 255"/>
                  <a:gd name="T24" fmla="*/ 101 w 184"/>
                  <a:gd name="T25" fmla="*/ 97 h 255"/>
                  <a:gd name="T26" fmla="*/ 94 w 184"/>
                  <a:gd name="T27" fmla="*/ 96 h 255"/>
                  <a:gd name="T28" fmla="*/ 87 w 184"/>
                  <a:gd name="T29" fmla="*/ 97 h 255"/>
                  <a:gd name="T30" fmla="*/ 79 w 184"/>
                  <a:gd name="T31" fmla="*/ 102 h 255"/>
                  <a:gd name="T32" fmla="*/ 77 w 184"/>
                  <a:gd name="T33" fmla="*/ 106 h 255"/>
                  <a:gd name="T34" fmla="*/ 75 w 184"/>
                  <a:gd name="T35" fmla="*/ 106 h 255"/>
                  <a:gd name="T36" fmla="*/ 75 w 184"/>
                  <a:gd name="T37" fmla="*/ 20 h 255"/>
                  <a:gd name="T38" fmla="*/ 74 w 184"/>
                  <a:gd name="T39" fmla="*/ 12 h 255"/>
                  <a:gd name="T40" fmla="*/ 65 w 184"/>
                  <a:gd name="T41" fmla="*/ 2 h 255"/>
                  <a:gd name="T42" fmla="*/ 58 w 184"/>
                  <a:gd name="T43" fmla="*/ 0 h 255"/>
                  <a:gd name="T44" fmla="*/ 50 w 184"/>
                  <a:gd name="T45" fmla="*/ 2 h 255"/>
                  <a:gd name="T46" fmla="*/ 39 w 184"/>
                  <a:gd name="T47" fmla="*/ 11 h 255"/>
                  <a:gd name="T48" fmla="*/ 38 w 184"/>
                  <a:gd name="T49" fmla="*/ 19 h 255"/>
                  <a:gd name="T50" fmla="*/ 38 w 184"/>
                  <a:gd name="T51" fmla="*/ 149 h 255"/>
                  <a:gd name="T52" fmla="*/ 36 w 184"/>
                  <a:gd name="T53" fmla="*/ 152 h 255"/>
                  <a:gd name="T54" fmla="*/ 32 w 184"/>
                  <a:gd name="T55" fmla="*/ 155 h 255"/>
                  <a:gd name="T56" fmla="*/ 30 w 184"/>
                  <a:gd name="T57" fmla="*/ 153 h 255"/>
                  <a:gd name="T58" fmla="*/ 27 w 184"/>
                  <a:gd name="T59" fmla="*/ 151 h 255"/>
                  <a:gd name="T60" fmla="*/ 27 w 184"/>
                  <a:gd name="T61" fmla="*/ 128 h 255"/>
                  <a:gd name="T62" fmla="*/ 16 w 184"/>
                  <a:gd name="T63" fmla="*/ 128 h 255"/>
                  <a:gd name="T64" fmla="*/ 5 w 184"/>
                  <a:gd name="T65" fmla="*/ 132 h 255"/>
                  <a:gd name="T66" fmla="*/ 0 w 184"/>
                  <a:gd name="T67" fmla="*/ 144 h 255"/>
                  <a:gd name="T68" fmla="*/ 0 w 184"/>
                  <a:gd name="T69" fmla="*/ 180 h 255"/>
                  <a:gd name="T70" fmla="*/ 7 w 184"/>
                  <a:gd name="T71" fmla="*/ 200 h 255"/>
                  <a:gd name="T72" fmla="*/ 19 w 184"/>
                  <a:gd name="T73" fmla="*/ 219 h 255"/>
                  <a:gd name="T74" fmla="*/ 36 w 184"/>
                  <a:gd name="T75" fmla="*/ 247 h 255"/>
                  <a:gd name="T76" fmla="*/ 165 w 184"/>
                  <a:gd name="T77" fmla="*/ 255 h 255"/>
                  <a:gd name="T78" fmla="*/ 184 w 184"/>
                  <a:gd name="T79" fmla="*/ 125 h 255"/>
                  <a:gd name="T80" fmla="*/ 183 w 184"/>
                  <a:gd name="T81" fmla="*/ 118 h 255"/>
                  <a:gd name="T82" fmla="*/ 175 w 184"/>
                  <a:gd name="T83" fmla="*/ 108 h 255"/>
                  <a:gd name="T84" fmla="*/ 167 w 184"/>
                  <a:gd name="T85" fmla="*/ 106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4" h="255">
                    <a:moveTo>
                      <a:pt x="167" y="106"/>
                    </a:moveTo>
                    <a:lnTo>
                      <a:pt x="167" y="106"/>
                    </a:lnTo>
                    <a:lnTo>
                      <a:pt x="161" y="108"/>
                    </a:lnTo>
                    <a:lnTo>
                      <a:pt x="156" y="110"/>
                    </a:lnTo>
                    <a:lnTo>
                      <a:pt x="153" y="113"/>
                    </a:lnTo>
                    <a:lnTo>
                      <a:pt x="150" y="117"/>
                    </a:lnTo>
                    <a:lnTo>
                      <a:pt x="150" y="117"/>
                    </a:lnTo>
                    <a:lnTo>
                      <a:pt x="149" y="117"/>
                    </a:lnTo>
                    <a:lnTo>
                      <a:pt x="149" y="117"/>
                    </a:lnTo>
                    <a:lnTo>
                      <a:pt x="149" y="117"/>
                    </a:lnTo>
                    <a:lnTo>
                      <a:pt x="146" y="110"/>
                    </a:lnTo>
                    <a:lnTo>
                      <a:pt x="142" y="106"/>
                    </a:lnTo>
                    <a:lnTo>
                      <a:pt x="138" y="102"/>
                    </a:lnTo>
                    <a:lnTo>
                      <a:pt x="132" y="101"/>
                    </a:lnTo>
                    <a:lnTo>
                      <a:pt x="132" y="101"/>
                    </a:lnTo>
                    <a:lnTo>
                      <a:pt x="125" y="102"/>
                    </a:lnTo>
                    <a:lnTo>
                      <a:pt x="120" y="105"/>
                    </a:lnTo>
                    <a:lnTo>
                      <a:pt x="116" y="109"/>
                    </a:lnTo>
                    <a:lnTo>
                      <a:pt x="113" y="114"/>
                    </a:lnTo>
                    <a:lnTo>
                      <a:pt x="113" y="114"/>
                    </a:lnTo>
                    <a:lnTo>
                      <a:pt x="112" y="114"/>
                    </a:lnTo>
                    <a:lnTo>
                      <a:pt x="112" y="113"/>
                    </a:lnTo>
                    <a:lnTo>
                      <a:pt x="112" y="113"/>
                    </a:lnTo>
                    <a:lnTo>
                      <a:pt x="110" y="108"/>
                    </a:lnTo>
                    <a:lnTo>
                      <a:pt x="106" y="102"/>
                    </a:lnTo>
                    <a:lnTo>
                      <a:pt x="101" y="97"/>
                    </a:lnTo>
                    <a:lnTo>
                      <a:pt x="98" y="96"/>
                    </a:lnTo>
                    <a:lnTo>
                      <a:pt x="94" y="96"/>
                    </a:lnTo>
                    <a:lnTo>
                      <a:pt x="94" y="96"/>
                    </a:lnTo>
                    <a:lnTo>
                      <a:pt x="87" y="97"/>
                    </a:lnTo>
                    <a:lnTo>
                      <a:pt x="82" y="100"/>
                    </a:lnTo>
                    <a:lnTo>
                      <a:pt x="79" y="102"/>
                    </a:lnTo>
                    <a:lnTo>
                      <a:pt x="77" y="106"/>
                    </a:lnTo>
                    <a:lnTo>
                      <a:pt x="77" y="106"/>
                    </a:lnTo>
                    <a:lnTo>
                      <a:pt x="75" y="108"/>
                    </a:lnTo>
                    <a:lnTo>
                      <a:pt x="75" y="106"/>
                    </a:lnTo>
                    <a:lnTo>
                      <a:pt x="75" y="106"/>
                    </a:lnTo>
                    <a:lnTo>
                      <a:pt x="75" y="20"/>
                    </a:lnTo>
                    <a:lnTo>
                      <a:pt x="75" y="20"/>
                    </a:lnTo>
                    <a:lnTo>
                      <a:pt x="74" y="12"/>
                    </a:lnTo>
                    <a:lnTo>
                      <a:pt x="70" y="7"/>
                    </a:lnTo>
                    <a:lnTo>
                      <a:pt x="65" y="2"/>
                    </a:lnTo>
                    <a:lnTo>
                      <a:pt x="58" y="0"/>
                    </a:lnTo>
                    <a:lnTo>
                      <a:pt x="58" y="0"/>
                    </a:lnTo>
                    <a:lnTo>
                      <a:pt x="54" y="0"/>
                    </a:lnTo>
                    <a:lnTo>
                      <a:pt x="50" y="2"/>
                    </a:lnTo>
                    <a:lnTo>
                      <a:pt x="43" y="6"/>
                    </a:lnTo>
                    <a:lnTo>
                      <a:pt x="39" y="11"/>
                    </a:lnTo>
                    <a:lnTo>
                      <a:pt x="38" y="15"/>
                    </a:lnTo>
                    <a:lnTo>
                      <a:pt x="38" y="19"/>
                    </a:lnTo>
                    <a:lnTo>
                      <a:pt x="38" y="149"/>
                    </a:lnTo>
                    <a:lnTo>
                      <a:pt x="38" y="149"/>
                    </a:lnTo>
                    <a:lnTo>
                      <a:pt x="38" y="151"/>
                    </a:lnTo>
                    <a:lnTo>
                      <a:pt x="36" y="152"/>
                    </a:lnTo>
                    <a:lnTo>
                      <a:pt x="35" y="153"/>
                    </a:lnTo>
                    <a:lnTo>
                      <a:pt x="32" y="155"/>
                    </a:lnTo>
                    <a:lnTo>
                      <a:pt x="32" y="155"/>
                    </a:lnTo>
                    <a:lnTo>
                      <a:pt x="30" y="153"/>
                    </a:lnTo>
                    <a:lnTo>
                      <a:pt x="28" y="152"/>
                    </a:lnTo>
                    <a:lnTo>
                      <a:pt x="27" y="151"/>
                    </a:lnTo>
                    <a:lnTo>
                      <a:pt x="27" y="149"/>
                    </a:lnTo>
                    <a:lnTo>
                      <a:pt x="27" y="128"/>
                    </a:lnTo>
                    <a:lnTo>
                      <a:pt x="16" y="128"/>
                    </a:lnTo>
                    <a:lnTo>
                      <a:pt x="16" y="128"/>
                    </a:lnTo>
                    <a:lnTo>
                      <a:pt x="11" y="129"/>
                    </a:lnTo>
                    <a:lnTo>
                      <a:pt x="5" y="132"/>
                    </a:lnTo>
                    <a:lnTo>
                      <a:pt x="1" y="137"/>
                    </a:lnTo>
                    <a:lnTo>
                      <a:pt x="0" y="144"/>
                    </a:lnTo>
                    <a:lnTo>
                      <a:pt x="0" y="180"/>
                    </a:lnTo>
                    <a:lnTo>
                      <a:pt x="0" y="180"/>
                    </a:lnTo>
                    <a:lnTo>
                      <a:pt x="3" y="190"/>
                    </a:lnTo>
                    <a:lnTo>
                      <a:pt x="7" y="200"/>
                    </a:lnTo>
                    <a:lnTo>
                      <a:pt x="12" y="210"/>
                    </a:lnTo>
                    <a:lnTo>
                      <a:pt x="19" y="219"/>
                    </a:lnTo>
                    <a:lnTo>
                      <a:pt x="32" y="238"/>
                    </a:lnTo>
                    <a:lnTo>
                      <a:pt x="36" y="247"/>
                    </a:lnTo>
                    <a:lnTo>
                      <a:pt x="38" y="255"/>
                    </a:lnTo>
                    <a:lnTo>
                      <a:pt x="165" y="255"/>
                    </a:lnTo>
                    <a:lnTo>
                      <a:pt x="184" y="125"/>
                    </a:lnTo>
                    <a:lnTo>
                      <a:pt x="184" y="125"/>
                    </a:lnTo>
                    <a:lnTo>
                      <a:pt x="184" y="121"/>
                    </a:lnTo>
                    <a:lnTo>
                      <a:pt x="183" y="118"/>
                    </a:lnTo>
                    <a:lnTo>
                      <a:pt x="180" y="112"/>
                    </a:lnTo>
                    <a:lnTo>
                      <a:pt x="175" y="108"/>
                    </a:lnTo>
                    <a:lnTo>
                      <a:pt x="171" y="106"/>
                    </a:lnTo>
                    <a:lnTo>
                      <a:pt x="167" y="106"/>
                    </a:lnTo>
                    <a:lnTo>
                      <a:pt x="167" y="10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99" name="Group 98">
            <a:extLst>
              <a:ext uri="{FF2B5EF4-FFF2-40B4-BE49-F238E27FC236}">
                <a16:creationId xmlns:a16="http://schemas.microsoft.com/office/drawing/2014/main" id="{2B4CE667-BA4D-C843-98B3-18C2818167E7}"/>
              </a:ext>
            </a:extLst>
          </p:cNvPr>
          <p:cNvGrpSpPr/>
          <p:nvPr/>
        </p:nvGrpSpPr>
        <p:grpSpPr>
          <a:xfrm>
            <a:off x="881836" y="4385176"/>
            <a:ext cx="696384" cy="696384"/>
            <a:chOff x="661377" y="3024157"/>
            <a:chExt cx="522288" cy="522288"/>
          </a:xfrm>
        </p:grpSpPr>
        <p:sp>
          <p:nvSpPr>
            <p:cNvPr id="100" name="Oval 99">
              <a:extLst>
                <a:ext uri="{FF2B5EF4-FFF2-40B4-BE49-F238E27FC236}">
                  <a16:creationId xmlns:a16="http://schemas.microsoft.com/office/drawing/2014/main" id="{18052CDE-6221-584A-B65D-586D988E8943}"/>
                </a:ext>
              </a:extLst>
            </p:cNvPr>
            <p:cNvSpPr/>
            <p:nvPr/>
          </p:nvSpPr>
          <p:spPr>
            <a:xfrm>
              <a:off x="695120" y="3070216"/>
              <a:ext cx="475440" cy="41588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101" name="Group 100">
              <a:extLst>
                <a:ext uri="{FF2B5EF4-FFF2-40B4-BE49-F238E27FC236}">
                  <a16:creationId xmlns:a16="http://schemas.microsoft.com/office/drawing/2014/main" id="{D28B8781-D881-B849-8B96-6088D02B0482}"/>
                </a:ext>
              </a:extLst>
            </p:cNvPr>
            <p:cNvGrpSpPr>
              <a:grpSpLocks noChangeAspect="1"/>
            </p:cNvGrpSpPr>
            <p:nvPr/>
          </p:nvGrpSpPr>
          <p:grpSpPr>
            <a:xfrm>
              <a:off x="661377" y="3024157"/>
              <a:ext cx="522288" cy="522288"/>
              <a:chOff x="560388" y="1663700"/>
              <a:chExt cx="522288" cy="522288"/>
            </a:xfrm>
          </p:grpSpPr>
          <p:sp>
            <p:nvSpPr>
              <p:cNvPr id="102" name="Freeform 7">
                <a:extLst>
                  <a:ext uri="{FF2B5EF4-FFF2-40B4-BE49-F238E27FC236}">
                    <a16:creationId xmlns:a16="http://schemas.microsoft.com/office/drawing/2014/main" id="{4489C095-3DD2-1241-885D-FCAD4DECD8B0}"/>
                  </a:ext>
                </a:extLst>
              </p:cNvPr>
              <p:cNvSpPr>
                <a:spLocks noEditPoints="1"/>
              </p:cNvSpPr>
              <p:nvPr/>
            </p:nvSpPr>
            <p:spPr bwMode="auto">
              <a:xfrm>
                <a:off x="560388" y="1663700"/>
                <a:ext cx="522288" cy="522288"/>
              </a:xfrm>
              <a:custGeom>
                <a:avLst/>
                <a:gdLst>
                  <a:gd name="T0" fmla="*/ 313 w 658"/>
                  <a:gd name="T1" fmla="*/ 656 h 656"/>
                  <a:gd name="T2" fmla="*/ 263 w 658"/>
                  <a:gd name="T3" fmla="*/ 649 h 656"/>
                  <a:gd name="T4" fmla="*/ 201 w 658"/>
                  <a:gd name="T5" fmla="*/ 631 h 656"/>
                  <a:gd name="T6" fmla="*/ 121 w 658"/>
                  <a:gd name="T7" fmla="*/ 581 h 656"/>
                  <a:gd name="T8" fmla="*/ 56 w 658"/>
                  <a:gd name="T9" fmla="*/ 511 h 656"/>
                  <a:gd name="T10" fmla="*/ 15 w 658"/>
                  <a:gd name="T11" fmla="*/ 425 h 656"/>
                  <a:gd name="T12" fmla="*/ 4 w 658"/>
                  <a:gd name="T13" fmla="*/ 378 h 656"/>
                  <a:gd name="T14" fmla="*/ 0 w 658"/>
                  <a:gd name="T15" fmla="*/ 327 h 656"/>
                  <a:gd name="T16" fmla="*/ 3 w 658"/>
                  <a:gd name="T17" fmla="*/ 294 h 656"/>
                  <a:gd name="T18" fmla="*/ 11 w 658"/>
                  <a:gd name="T19" fmla="*/ 245 h 656"/>
                  <a:gd name="T20" fmla="*/ 40 w 658"/>
                  <a:gd name="T21" fmla="*/ 171 h 656"/>
                  <a:gd name="T22" fmla="*/ 97 w 658"/>
                  <a:gd name="T23" fmla="*/ 95 h 656"/>
                  <a:gd name="T24" fmla="*/ 173 w 658"/>
                  <a:gd name="T25" fmla="*/ 39 h 656"/>
                  <a:gd name="T26" fmla="*/ 247 w 658"/>
                  <a:gd name="T27" fmla="*/ 9 h 656"/>
                  <a:gd name="T28" fmla="*/ 295 w 658"/>
                  <a:gd name="T29" fmla="*/ 1 h 656"/>
                  <a:gd name="T30" fmla="*/ 329 w 658"/>
                  <a:gd name="T31" fmla="*/ 0 h 656"/>
                  <a:gd name="T32" fmla="*/ 379 w 658"/>
                  <a:gd name="T33" fmla="*/ 4 h 656"/>
                  <a:gd name="T34" fmla="*/ 427 w 658"/>
                  <a:gd name="T35" fmla="*/ 14 h 656"/>
                  <a:gd name="T36" fmla="*/ 513 w 658"/>
                  <a:gd name="T37" fmla="*/ 56 h 656"/>
                  <a:gd name="T38" fmla="*/ 583 w 658"/>
                  <a:gd name="T39" fmla="*/ 119 h 656"/>
                  <a:gd name="T40" fmla="*/ 632 w 658"/>
                  <a:gd name="T41" fmla="*/ 200 h 656"/>
                  <a:gd name="T42" fmla="*/ 651 w 658"/>
                  <a:gd name="T43" fmla="*/ 261 h 656"/>
                  <a:gd name="T44" fmla="*/ 658 w 658"/>
                  <a:gd name="T45" fmla="*/ 311 h 656"/>
                  <a:gd name="T46" fmla="*/ 658 w 658"/>
                  <a:gd name="T47" fmla="*/ 345 h 656"/>
                  <a:gd name="T48" fmla="*/ 651 w 658"/>
                  <a:gd name="T49" fmla="*/ 394 h 656"/>
                  <a:gd name="T50" fmla="*/ 632 w 658"/>
                  <a:gd name="T51" fmla="*/ 456 h 656"/>
                  <a:gd name="T52" fmla="*/ 583 w 658"/>
                  <a:gd name="T53" fmla="*/ 537 h 656"/>
                  <a:gd name="T54" fmla="*/ 513 w 658"/>
                  <a:gd name="T55" fmla="*/ 600 h 656"/>
                  <a:gd name="T56" fmla="*/ 427 w 658"/>
                  <a:gd name="T57" fmla="*/ 641 h 656"/>
                  <a:gd name="T58" fmla="*/ 379 w 658"/>
                  <a:gd name="T59" fmla="*/ 652 h 656"/>
                  <a:gd name="T60" fmla="*/ 329 w 658"/>
                  <a:gd name="T61" fmla="*/ 656 h 656"/>
                  <a:gd name="T62" fmla="*/ 329 w 658"/>
                  <a:gd name="T63" fmla="*/ 37 h 656"/>
                  <a:gd name="T64" fmla="*/ 243 w 658"/>
                  <a:gd name="T65" fmla="*/ 49 h 656"/>
                  <a:gd name="T66" fmla="*/ 167 w 658"/>
                  <a:gd name="T67" fmla="*/ 87 h 656"/>
                  <a:gd name="T68" fmla="*/ 105 w 658"/>
                  <a:gd name="T69" fmla="*/ 143 h 656"/>
                  <a:gd name="T70" fmla="*/ 62 w 658"/>
                  <a:gd name="T71" fmla="*/ 214 h 656"/>
                  <a:gd name="T72" fmla="*/ 40 w 658"/>
                  <a:gd name="T73" fmla="*/ 298 h 656"/>
                  <a:gd name="T74" fmla="*/ 40 w 658"/>
                  <a:gd name="T75" fmla="*/ 358 h 656"/>
                  <a:gd name="T76" fmla="*/ 62 w 658"/>
                  <a:gd name="T77" fmla="*/ 441 h 656"/>
                  <a:gd name="T78" fmla="*/ 105 w 658"/>
                  <a:gd name="T79" fmla="*/ 512 h 656"/>
                  <a:gd name="T80" fmla="*/ 167 w 658"/>
                  <a:gd name="T81" fmla="*/ 569 h 656"/>
                  <a:gd name="T82" fmla="*/ 243 w 658"/>
                  <a:gd name="T83" fmla="*/ 605 h 656"/>
                  <a:gd name="T84" fmla="*/ 329 w 658"/>
                  <a:gd name="T85" fmla="*/ 618 h 656"/>
                  <a:gd name="T86" fmla="*/ 388 w 658"/>
                  <a:gd name="T87" fmla="*/ 613 h 656"/>
                  <a:gd name="T88" fmla="*/ 467 w 658"/>
                  <a:gd name="T89" fmla="*/ 584 h 656"/>
                  <a:gd name="T90" fmla="*/ 534 w 658"/>
                  <a:gd name="T91" fmla="*/ 534 h 656"/>
                  <a:gd name="T92" fmla="*/ 585 w 658"/>
                  <a:gd name="T93" fmla="*/ 467 h 656"/>
                  <a:gd name="T94" fmla="*/ 615 w 658"/>
                  <a:gd name="T95" fmla="*/ 386 h 656"/>
                  <a:gd name="T96" fmla="*/ 620 w 658"/>
                  <a:gd name="T97" fmla="*/ 327 h 656"/>
                  <a:gd name="T98" fmla="*/ 607 w 658"/>
                  <a:gd name="T99" fmla="*/ 241 h 656"/>
                  <a:gd name="T100" fmla="*/ 571 w 658"/>
                  <a:gd name="T101" fmla="*/ 165 h 656"/>
                  <a:gd name="T102" fmla="*/ 514 w 658"/>
                  <a:gd name="T103" fmla="*/ 103 h 656"/>
                  <a:gd name="T104" fmla="*/ 443 w 658"/>
                  <a:gd name="T105" fmla="*/ 60 h 656"/>
                  <a:gd name="T106" fmla="*/ 359 w 658"/>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6">
                    <a:moveTo>
                      <a:pt x="329" y="656"/>
                    </a:moveTo>
                    <a:lnTo>
                      <a:pt x="329" y="656"/>
                    </a:lnTo>
                    <a:lnTo>
                      <a:pt x="313" y="656"/>
                    </a:lnTo>
                    <a:lnTo>
                      <a:pt x="295" y="655"/>
                    </a:lnTo>
                    <a:lnTo>
                      <a:pt x="279" y="652"/>
                    </a:lnTo>
                    <a:lnTo>
                      <a:pt x="263" y="649"/>
                    </a:lnTo>
                    <a:lnTo>
                      <a:pt x="247" y="647"/>
                    </a:lnTo>
                    <a:lnTo>
                      <a:pt x="232" y="641"/>
                    </a:lnTo>
                    <a:lnTo>
                      <a:pt x="201" y="631"/>
                    </a:lnTo>
                    <a:lnTo>
                      <a:pt x="173" y="617"/>
                    </a:lnTo>
                    <a:lnTo>
                      <a:pt x="145" y="600"/>
                    </a:lnTo>
                    <a:lnTo>
                      <a:pt x="121" y="581"/>
                    </a:lnTo>
                    <a:lnTo>
                      <a:pt x="97" y="559"/>
                    </a:lnTo>
                    <a:lnTo>
                      <a:pt x="75" y="537"/>
                    </a:lnTo>
                    <a:lnTo>
                      <a:pt x="56" y="511"/>
                    </a:lnTo>
                    <a:lnTo>
                      <a:pt x="40" y="484"/>
                    </a:lnTo>
                    <a:lnTo>
                      <a:pt x="27" y="456"/>
                    </a:lnTo>
                    <a:lnTo>
                      <a:pt x="15" y="425"/>
                    </a:lnTo>
                    <a:lnTo>
                      <a:pt x="11" y="410"/>
                    </a:lnTo>
                    <a:lnTo>
                      <a:pt x="7" y="394"/>
                    </a:lnTo>
                    <a:lnTo>
                      <a:pt x="4" y="378"/>
                    </a:lnTo>
                    <a:lnTo>
                      <a:pt x="3" y="361"/>
                    </a:lnTo>
                    <a:lnTo>
                      <a:pt x="1" y="345"/>
                    </a:lnTo>
                    <a:lnTo>
                      <a:pt x="0" y="327"/>
                    </a:lnTo>
                    <a:lnTo>
                      <a:pt x="0" y="327"/>
                    </a:lnTo>
                    <a:lnTo>
                      <a:pt x="1" y="311"/>
                    </a:lnTo>
                    <a:lnTo>
                      <a:pt x="3" y="294"/>
                    </a:lnTo>
                    <a:lnTo>
                      <a:pt x="4" y="277"/>
                    </a:lnTo>
                    <a:lnTo>
                      <a:pt x="7" y="261"/>
                    </a:lnTo>
                    <a:lnTo>
                      <a:pt x="11" y="245"/>
                    </a:lnTo>
                    <a:lnTo>
                      <a:pt x="15" y="231"/>
                    </a:lnTo>
                    <a:lnTo>
                      <a:pt x="27" y="200"/>
                    </a:lnTo>
                    <a:lnTo>
                      <a:pt x="40" y="171"/>
                    </a:lnTo>
                    <a:lnTo>
                      <a:pt x="56" y="145"/>
                    </a:lnTo>
                    <a:lnTo>
                      <a:pt x="75" y="119"/>
                    </a:lnTo>
                    <a:lnTo>
                      <a:pt x="97" y="95"/>
                    </a:lnTo>
                    <a:lnTo>
                      <a:pt x="121" y="75"/>
                    </a:lnTo>
                    <a:lnTo>
                      <a:pt x="145" y="56"/>
                    </a:lnTo>
                    <a:lnTo>
                      <a:pt x="173" y="39"/>
                    </a:lnTo>
                    <a:lnTo>
                      <a:pt x="201" y="25"/>
                    </a:lnTo>
                    <a:lnTo>
                      <a:pt x="232" y="14"/>
                    </a:lnTo>
                    <a:lnTo>
                      <a:pt x="247" y="9"/>
                    </a:lnTo>
                    <a:lnTo>
                      <a:pt x="263" y="6"/>
                    </a:lnTo>
                    <a:lnTo>
                      <a:pt x="279" y="4"/>
                    </a:lnTo>
                    <a:lnTo>
                      <a:pt x="295" y="1"/>
                    </a:lnTo>
                    <a:lnTo>
                      <a:pt x="313" y="0"/>
                    </a:lnTo>
                    <a:lnTo>
                      <a:pt x="329" y="0"/>
                    </a:lnTo>
                    <a:lnTo>
                      <a:pt x="329" y="0"/>
                    </a:lnTo>
                    <a:lnTo>
                      <a:pt x="346" y="0"/>
                    </a:lnTo>
                    <a:lnTo>
                      <a:pt x="363" y="1"/>
                    </a:lnTo>
                    <a:lnTo>
                      <a:pt x="379" y="4"/>
                    </a:lnTo>
                    <a:lnTo>
                      <a:pt x="395" y="6"/>
                    </a:lnTo>
                    <a:lnTo>
                      <a:pt x="411" y="9"/>
                    </a:lnTo>
                    <a:lnTo>
                      <a:pt x="427" y="14"/>
                    </a:lnTo>
                    <a:lnTo>
                      <a:pt x="457" y="25"/>
                    </a:lnTo>
                    <a:lnTo>
                      <a:pt x="486" y="39"/>
                    </a:lnTo>
                    <a:lnTo>
                      <a:pt x="513" y="56"/>
                    </a:lnTo>
                    <a:lnTo>
                      <a:pt x="538" y="75"/>
                    </a:lnTo>
                    <a:lnTo>
                      <a:pt x="561" y="95"/>
                    </a:lnTo>
                    <a:lnTo>
                      <a:pt x="583" y="119"/>
                    </a:lnTo>
                    <a:lnTo>
                      <a:pt x="602" y="145"/>
                    </a:lnTo>
                    <a:lnTo>
                      <a:pt x="618" y="171"/>
                    </a:lnTo>
                    <a:lnTo>
                      <a:pt x="632" y="200"/>
                    </a:lnTo>
                    <a:lnTo>
                      <a:pt x="643" y="231"/>
                    </a:lnTo>
                    <a:lnTo>
                      <a:pt x="647" y="245"/>
                    </a:lnTo>
                    <a:lnTo>
                      <a:pt x="651" y="261"/>
                    </a:lnTo>
                    <a:lnTo>
                      <a:pt x="654" y="277"/>
                    </a:lnTo>
                    <a:lnTo>
                      <a:pt x="657" y="294"/>
                    </a:lnTo>
                    <a:lnTo>
                      <a:pt x="658" y="311"/>
                    </a:lnTo>
                    <a:lnTo>
                      <a:pt x="658" y="327"/>
                    </a:lnTo>
                    <a:lnTo>
                      <a:pt x="658" y="327"/>
                    </a:lnTo>
                    <a:lnTo>
                      <a:pt x="658" y="345"/>
                    </a:lnTo>
                    <a:lnTo>
                      <a:pt x="657" y="361"/>
                    </a:lnTo>
                    <a:lnTo>
                      <a:pt x="654" y="378"/>
                    </a:lnTo>
                    <a:lnTo>
                      <a:pt x="651" y="394"/>
                    </a:lnTo>
                    <a:lnTo>
                      <a:pt x="647" y="410"/>
                    </a:lnTo>
                    <a:lnTo>
                      <a:pt x="643" y="425"/>
                    </a:lnTo>
                    <a:lnTo>
                      <a:pt x="632" y="456"/>
                    </a:lnTo>
                    <a:lnTo>
                      <a:pt x="618" y="484"/>
                    </a:lnTo>
                    <a:lnTo>
                      <a:pt x="602" y="511"/>
                    </a:lnTo>
                    <a:lnTo>
                      <a:pt x="583" y="537"/>
                    </a:lnTo>
                    <a:lnTo>
                      <a:pt x="561" y="559"/>
                    </a:lnTo>
                    <a:lnTo>
                      <a:pt x="538" y="581"/>
                    </a:lnTo>
                    <a:lnTo>
                      <a:pt x="513" y="600"/>
                    </a:lnTo>
                    <a:lnTo>
                      <a:pt x="486" y="617"/>
                    </a:lnTo>
                    <a:lnTo>
                      <a:pt x="457" y="631"/>
                    </a:lnTo>
                    <a:lnTo>
                      <a:pt x="427" y="641"/>
                    </a:lnTo>
                    <a:lnTo>
                      <a:pt x="411" y="647"/>
                    </a:lnTo>
                    <a:lnTo>
                      <a:pt x="395" y="649"/>
                    </a:lnTo>
                    <a:lnTo>
                      <a:pt x="379" y="652"/>
                    </a:lnTo>
                    <a:lnTo>
                      <a:pt x="363" y="655"/>
                    </a:lnTo>
                    <a:lnTo>
                      <a:pt x="346" y="656"/>
                    </a:lnTo>
                    <a:lnTo>
                      <a:pt x="329" y="656"/>
                    </a:lnTo>
                    <a:lnTo>
                      <a:pt x="329" y="656"/>
                    </a:lnTo>
                    <a:close/>
                    <a:moveTo>
                      <a:pt x="329" y="37"/>
                    </a:moveTo>
                    <a:lnTo>
                      <a:pt x="329" y="37"/>
                    </a:lnTo>
                    <a:lnTo>
                      <a:pt x="299" y="39"/>
                    </a:lnTo>
                    <a:lnTo>
                      <a:pt x="271" y="43"/>
                    </a:lnTo>
                    <a:lnTo>
                      <a:pt x="243" y="49"/>
                    </a:lnTo>
                    <a:lnTo>
                      <a:pt x="216" y="60"/>
                    </a:lnTo>
                    <a:lnTo>
                      <a:pt x="191" y="72"/>
                    </a:lnTo>
                    <a:lnTo>
                      <a:pt x="167" y="87"/>
                    </a:lnTo>
                    <a:lnTo>
                      <a:pt x="144" y="103"/>
                    </a:lnTo>
                    <a:lnTo>
                      <a:pt x="124" y="122"/>
                    </a:lnTo>
                    <a:lnTo>
                      <a:pt x="105" y="143"/>
                    </a:lnTo>
                    <a:lnTo>
                      <a:pt x="89" y="165"/>
                    </a:lnTo>
                    <a:lnTo>
                      <a:pt x="74" y="189"/>
                    </a:lnTo>
                    <a:lnTo>
                      <a:pt x="62" y="214"/>
                    </a:lnTo>
                    <a:lnTo>
                      <a:pt x="51" y="241"/>
                    </a:lnTo>
                    <a:lnTo>
                      <a:pt x="44" y="269"/>
                    </a:lnTo>
                    <a:lnTo>
                      <a:pt x="40" y="298"/>
                    </a:lnTo>
                    <a:lnTo>
                      <a:pt x="38" y="327"/>
                    </a:lnTo>
                    <a:lnTo>
                      <a:pt x="38" y="327"/>
                    </a:lnTo>
                    <a:lnTo>
                      <a:pt x="40" y="358"/>
                    </a:lnTo>
                    <a:lnTo>
                      <a:pt x="44" y="386"/>
                    </a:lnTo>
                    <a:lnTo>
                      <a:pt x="51" y="414"/>
                    </a:lnTo>
                    <a:lnTo>
                      <a:pt x="62" y="441"/>
                    </a:lnTo>
                    <a:lnTo>
                      <a:pt x="74" y="467"/>
                    </a:lnTo>
                    <a:lnTo>
                      <a:pt x="89" y="491"/>
                    </a:lnTo>
                    <a:lnTo>
                      <a:pt x="105" y="512"/>
                    </a:lnTo>
                    <a:lnTo>
                      <a:pt x="124" y="534"/>
                    </a:lnTo>
                    <a:lnTo>
                      <a:pt x="144" y="553"/>
                    </a:lnTo>
                    <a:lnTo>
                      <a:pt x="167" y="569"/>
                    </a:lnTo>
                    <a:lnTo>
                      <a:pt x="191" y="584"/>
                    </a:lnTo>
                    <a:lnTo>
                      <a:pt x="216" y="596"/>
                    </a:lnTo>
                    <a:lnTo>
                      <a:pt x="243" y="605"/>
                    </a:lnTo>
                    <a:lnTo>
                      <a:pt x="271" y="613"/>
                    </a:lnTo>
                    <a:lnTo>
                      <a:pt x="299" y="617"/>
                    </a:lnTo>
                    <a:lnTo>
                      <a:pt x="329" y="618"/>
                    </a:lnTo>
                    <a:lnTo>
                      <a:pt x="329" y="618"/>
                    </a:lnTo>
                    <a:lnTo>
                      <a:pt x="359" y="617"/>
                    </a:lnTo>
                    <a:lnTo>
                      <a:pt x="388" y="613"/>
                    </a:lnTo>
                    <a:lnTo>
                      <a:pt x="416" y="605"/>
                    </a:lnTo>
                    <a:lnTo>
                      <a:pt x="443" y="596"/>
                    </a:lnTo>
                    <a:lnTo>
                      <a:pt x="467" y="584"/>
                    </a:lnTo>
                    <a:lnTo>
                      <a:pt x="491" y="569"/>
                    </a:lnTo>
                    <a:lnTo>
                      <a:pt x="514" y="553"/>
                    </a:lnTo>
                    <a:lnTo>
                      <a:pt x="534" y="534"/>
                    </a:lnTo>
                    <a:lnTo>
                      <a:pt x="553" y="512"/>
                    </a:lnTo>
                    <a:lnTo>
                      <a:pt x="571" y="491"/>
                    </a:lnTo>
                    <a:lnTo>
                      <a:pt x="585" y="467"/>
                    </a:lnTo>
                    <a:lnTo>
                      <a:pt x="597" y="441"/>
                    </a:lnTo>
                    <a:lnTo>
                      <a:pt x="607" y="414"/>
                    </a:lnTo>
                    <a:lnTo>
                      <a:pt x="615" y="386"/>
                    </a:lnTo>
                    <a:lnTo>
                      <a:pt x="619" y="358"/>
                    </a:lnTo>
                    <a:lnTo>
                      <a:pt x="620" y="327"/>
                    </a:lnTo>
                    <a:lnTo>
                      <a:pt x="620" y="327"/>
                    </a:lnTo>
                    <a:lnTo>
                      <a:pt x="619" y="298"/>
                    </a:lnTo>
                    <a:lnTo>
                      <a:pt x="615" y="269"/>
                    </a:lnTo>
                    <a:lnTo>
                      <a:pt x="607" y="241"/>
                    </a:lnTo>
                    <a:lnTo>
                      <a:pt x="597" y="214"/>
                    </a:lnTo>
                    <a:lnTo>
                      <a:pt x="585" y="189"/>
                    </a:lnTo>
                    <a:lnTo>
                      <a:pt x="571" y="165"/>
                    </a:lnTo>
                    <a:lnTo>
                      <a:pt x="553" y="143"/>
                    </a:lnTo>
                    <a:lnTo>
                      <a:pt x="534" y="122"/>
                    </a:lnTo>
                    <a:lnTo>
                      <a:pt x="514" y="103"/>
                    </a:lnTo>
                    <a:lnTo>
                      <a:pt x="491" y="87"/>
                    </a:lnTo>
                    <a:lnTo>
                      <a:pt x="467" y="72"/>
                    </a:lnTo>
                    <a:lnTo>
                      <a:pt x="443" y="60"/>
                    </a:lnTo>
                    <a:lnTo>
                      <a:pt x="416" y="49"/>
                    </a:lnTo>
                    <a:lnTo>
                      <a:pt x="388" y="43"/>
                    </a:lnTo>
                    <a:lnTo>
                      <a:pt x="359"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3" name="Freeform 79">
                <a:extLst>
                  <a:ext uri="{FF2B5EF4-FFF2-40B4-BE49-F238E27FC236}">
                    <a16:creationId xmlns:a16="http://schemas.microsoft.com/office/drawing/2014/main" id="{712833EF-F235-C645-81C2-A14640E54415}"/>
                  </a:ext>
                </a:extLst>
              </p:cNvPr>
              <p:cNvSpPr>
                <a:spLocks noEditPoints="1"/>
              </p:cNvSpPr>
              <p:nvPr/>
            </p:nvSpPr>
            <p:spPr bwMode="auto">
              <a:xfrm>
                <a:off x="727076" y="1827213"/>
                <a:ext cx="195263" cy="195263"/>
              </a:xfrm>
              <a:custGeom>
                <a:avLst/>
                <a:gdLst>
                  <a:gd name="T0" fmla="*/ 6 w 246"/>
                  <a:gd name="T1" fmla="*/ 246 h 246"/>
                  <a:gd name="T2" fmla="*/ 184 w 246"/>
                  <a:gd name="T3" fmla="*/ 187 h 246"/>
                  <a:gd name="T4" fmla="*/ 186 w 246"/>
                  <a:gd name="T5" fmla="*/ 185 h 246"/>
                  <a:gd name="T6" fmla="*/ 246 w 246"/>
                  <a:gd name="T7" fmla="*/ 8 h 246"/>
                  <a:gd name="T8" fmla="*/ 246 w 246"/>
                  <a:gd name="T9" fmla="*/ 4 h 246"/>
                  <a:gd name="T10" fmla="*/ 245 w 246"/>
                  <a:gd name="T11" fmla="*/ 1 h 246"/>
                  <a:gd name="T12" fmla="*/ 239 w 246"/>
                  <a:gd name="T13" fmla="*/ 0 h 246"/>
                  <a:gd name="T14" fmla="*/ 64 w 246"/>
                  <a:gd name="T15" fmla="*/ 59 h 246"/>
                  <a:gd name="T16" fmla="*/ 60 w 246"/>
                  <a:gd name="T17" fmla="*/ 62 h 246"/>
                  <a:gd name="T18" fmla="*/ 0 w 246"/>
                  <a:gd name="T19" fmla="*/ 238 h 246"/>
                  <a:gd name="T20" fmla="*/ 2 w 246"/>
                  <a:gd name="T21" fmla="*/ 244 h 246"/>
                  <a:gd name="T22" fmla="*/ 5 w 246"/>
                  <a:gd name="T23" fmla="*/ 246 h 246"/>
                  <a:gd name="T24" fmla="*/ 6 w 246"/>
                  <a:gd name="T25" fmla="*/ 246 h 246"/>
                  <a:gd name="T26" fmla="*/ 124 w 246"/>
                  <a:gd name="T27" fmla="*/ 94 h 246"/>
                  <a:gd name="T28" fmla="*/ 135 w 246"/>
                  <a:gd name="T29" fmla="*/ 95 h 246"/>
                  <a:gd name="T30" fmla="*/ 144 w 246"/>
                  <a:gd name="T31" fmla="*/ 102 h 246"/>
                  <a:gd name="T32" fmla="*/ 151 w 246"/>
                  <a:gd name="T33" fmla="*/ 111 h 246"/>
                  <a:gd name="T34" fmla="*/ 154 w 246"/>
                  <a:gd name="T35" fmla="*/ 122 h 246"/>
                  <a:gd name="T36" fmla="*/ 152 w 246"/>
                  <a:gd name="T37" fmla="*/ 129 h 246"/>
                  <a:gd name="T38" fmla="*/ 148 w 246"/>
                  <a:gd name="T39" fmla="*/ 140 h 246"/>
                  <a:gd name="T40" fmla="*/ 140 w 246"/>
                  <a:gd name="T41" fmla="*/ 148 h 246"/>
                  <a:gd name="T42" fmla="*/ 129 w 246"/>
                  <a:gd name="T43" fmla="*/ 152 h 246"/>
                  <a:gd name="T44" fmla="*/ 124 w 246"/>
                  <a:gd name="T45" fmla="*/ 152 h 246"/>
                  <a:gd name="T46" fmla="*/ 112 w 246"/>
                  <a:gd name="T47" fmla="*/ 150 h 246"/>
                  <a:gd name="T48" fmla="*/ 103 w 246"/>
                  <a:gd name="T49" fmla="*/ 144 h 246"/>
                  <a:gd name="T50" fmla="*/ 97 w 246"/>
                  <a:gd name="T51" fmla="*/ 134 h 246"/>
                  <a:gd name="T52" fmla="*/ 94 w 246"/>
                  <a:gd name="T53" fmla="*/ 122 h 246"/>
                  <a:gd name="T54" fmla="*/ 94 w 246"/>
                  <a:gd name="T55" fmla="*/ 117 h 246"/>
                  <a:gd name="T56" fmla="*/ 100 w 246"/>
                  <a:gd name="T57" fmla="*/ 106 h 246"/>
                  <a:gd name="T58" fmla="*/ 107 w 246"/>
                  <a:gd name="T59" fmla="*/ 98 h 246"/>
                  <a:gd name="T60" fmla="*/ 117 w 246"/>
                  <a:gd name="T61" fmla="*/ 94 h 246"/>
                  <a:gd name="T62" fmla="*/ 124 w 246"/>
                  <a:gd name="T63" fmla="*/ 9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6" h="246">
                    <a:moveTo>
                      <a:pt x="6" y="246"/>
                    </a:moveTo>
                    <a:lnTo>
                      <a:pt x="6" y="246"/>
                    </a:lnTo>
                    <a:lnTo>
                      <a:pt x="9" y="246"/>
                    </a:lnTo>
                    <a:lnTo>
                      <a:pt x="184" y="187"/>
                    </a:lnTo>
                    <a:lnTo>
                      <a:pt x="184" y="187"/>
                    </a:lnTo>
                    <a:lnTo>
                      <a:pt x="186" y="185"/>
                    </a:lnTo>
                    <a:lnTo>
                      <a:pt x="188" y="184"/>
                    </a:lnTo>
                    <a:lnTo>
                      <a:pt x="246" y="8"/>
                    </a:lnTo>
                    <a:lnTo>
                      <a:pt x="246" y="8"/>
                    </a:lnTo>
                    <a:lnTo>
                      <a:pt x="246" y="4"/>
                    </a:lnTo>
                    <a:lnTo>
                      <a:pt x="245" y="1"/>
                    </a:lnTo>
                    <a:lnTo>
                      <a:pt x="245" y="1"/>
                    </a:lnTo>
                    <a:lnTo>
                      <a:pt x="242" y="0"/>
                    </a:lnTo>
                    <a:lnTo>
                      <a:pt x="239" y="0"/>
                    </a:lnTo>
                    <a:lnTo>
                      <a:pt x="64" y="59"/>
                    </a:lnTo>
                    <a:lnTo>
                      <a:pt x="64" y="59"/>
                    </a:lnTo>
                    <a:lnTo>
                      <a:pt x="61" y="60"/>
                    </a:lnTo>
                    <a:lnTo>
                      <a:pt x="60" y="62"/>
                    </a:lnTo>
                    <a:lnTo>
                      <a:pt x="0" y="238"/>
                    </a:lnTo>
                    <a:lnTo>
                      <a:pt x="0" y="238"/>
                    </a:lnTo>
                    <a:lnTo>
                      <a:pt x="0" y="242"/>
                    </a:lnTo>
                    <a:lnTo>
                      <a:pt x="2" y="244"/>
                    </a:lnTo>
                    <a:lnTo>
                      <a:pt x="2" y="244"/>
                    </a:lnTo>
                    <a:lnTo>
                      <a:pt x="5" y="246"/>
                    </a:lnTo>
                    <a:lnTo>
                      <a:pt x="6" y="246"/>
                    </a:lnTo>
                    <a:lnTo>
                      <a:pt x="6" y="246"/>
                    </a:lnTo>
                    <a:close/>
                    <a:moveTo>
                      <a:pt x="124" y="94"/>
                    </a:moveTo>
                    <a:lnTo>
                      <a:pt x="124" y="94"/>
                    </a:lnTo>
                    <a:lnTo>
                      <a:pt x="129" y="94"/>
                    </a:lnTo>
                    <a:lnTo>
                      <a:pt x="135" y="95"/>
                    </a:lnTo>
                    <a:lnTo>
                      <a:pt x="140" y="98"/>
                    </a:lnTo>
                    <a:lnTo>
                      <a:pt x="144" y="102"/>
                    </a:lnTo>
                    <a:lnTo>
                      <a:pt x="148" y="106"/>
                    </a:lnTo>
                    <a:lnTo>
                      <a:pt x="151" y="111"/>
                    </a:lnTo>
                    <a:lnTo>
                      <a:pt x="152" y="117"/>
                    </a:lnTo>
                    <a:lnTo>
                      <a:pt x="154" y="122"/>
                    </a:lnTo>
                    <a:lnTo>
                      <a:pt x="154" y="122"/>
                    </a:lnTo>
                    <a:lnTo>
                      <a:pt x="152" y="129"/>
                    </a:lnTo>
                    <a:lnTo>
                      <a:pt x="151" y="134"/>
                    </a:lnTo>
                    <a:lnTo>
                      <a:pt x="148" y="140"/>
                    </a:lnTo>
                    <a:lnTo>
                      <a:pt x="144" y="144"/>
                    </a:lnTo>
                    <a:lnTo>
                      <a:pt x="140" y="148"/>
                    </a:lnTo>
                    <a:lnTo>
                      <a:pt x="135" y="150"/>
                    </a:lnTo>
                    <a:lnTo>
                      <a:pt x="129" y="152"/>
                    </a:lnTo>
                    <a:lnTo>
                      <a:pt x="124" y="152"/>
                    </a:lnTo>
                    <a:lnTo>
                      <a:pt x="124" y="152"/>
                    </a:lnTo>
                    <a:lnTo>
                      <a:pt x="117" y="152"/>
                    </a:lnTo>
                    <a:lnTo>
                      <a:pt x="112" y="150"/>
                    </a:lnTo>
                    <a:lnTo>
                      <a:pt x="107" y="148"/>
                    </a:lnTo>
                    <a:lnTo>
                      <a:pt x="103" y="144"/>
                    </a:lnTo>
                    <a:lnTo>
                      <a:pt x="100" y="140"/>
                    </a:lnTo>
                    <a:lnTo>
                      <a:pt x="97" y="134"/>
                    </a:lnTo>
                    <a:lnTo>
                      <a:pt x="94" y="129"/>
                    </a:lnTo>
                    <a:lnTo>
                      <a:pt x="94" y="122"/>
                    </a:lnTo>
                    <a:lnTo>
                      <a:pt x="94" y="122"/>
                    </a:lnTo>
                    <a:lnTo>
                      <a:pt x="94" y="117"/>
                    </a:lnTo>
                    <a:lnTo>
                      <a:pt x="97" y="111"/>
                    </a:lnTo>
                    <a:lnTo>
                      <a:pt x="100" y="106"/>
                    </a:lnTo>
                    <a:lnTo>
                      <a:pt x="103" y="102"/>
                    </a:lnTo>
                    <a:lnTo>
                      <a:pt x="107" y="98"/>
                    </a:lnTo>
                    <a:lnTo>
                      <a:pt x="112" y="95"/>
                    </a:lnTo>
                    <a:lnTo>
                      <a:pt x="117" y="94"/>
                    </a:lnTo>
                    <a:lnTo>
                      <a:pt x="124" y="94"/>
                    </a:lnTo>
                    <a:lnTo>
                      <a:pt x="124" y="9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4" name="Freeform 80">
                <a:extLst>
                  <a:ext uri="{FF2B5EF4-FFF2-40B4-BE49-F238E27FC236}">
                    <a16:creationId xmlns:a16="http://schemas.microsoft.com/office/drawing/2014/main" id="{CE32FCFD-7E08-EE44-8645-EE0F4C2463BC}"/>
                  </a:ext>
                </a:extLst>
              </p:cNvPr>
              <p:cNvSpPr>
                <a:spLocks/>
              </p:cNvSpPr>
              <p:nvPr/>
            </p:nvSpPr>
            <p:spPr bwMode="auto">
              <a:xfrm>
                <a:off x="817563" y="1763713"/>
                <a:ext cx="14288" cy="47625"/>
              </a:xfrm>
              <a:custGeom>
                <a:avLst/>
                <a:gdLst>
                  <a:gd name="T0" fmla="*/ 9 w 17"/>
                  <a:gd name="T1" fmla="*/ 0 h 59"/>
                  <a:gd name="T2" fmla="*/ 9 w 17"/>
                  <a:gd name="T3" fmla="*/ 0 h 59"/>
                  <a:gd name="T4" fmla="*/ 5 w 17"/>
                  <a:gd name="T5" fmla="*/ 0 h 59"/>
                  <a:gd name="T6" fmla="*/ 2 w 17"/>
                  <a:gd name="T7" fmla="*/ 2 h 59"/>
                  <a:gd name="T8" fmla="*/ 0 w 17"/>
                  <a:gd name="T9" fmla="*/ 5 h 59"/>
                  <a:gd name="T10" fmla="*/ 0 w 17"/>
                  <a:gd name="T11" fmla="*/ 9 h 59"/>
                  <a:gd name="T12" fmla="*/ 0 w 17"/>
                  <a:gd name="T13" fmla="*/ 49 h 59"/>
                  <a:gd name="T14" fmla="*/ 0 w 17"/>
                  <a:gd name="T15" fmla="*/ 49 h 59"/>
                  <a:gd name="T16" fmla="*/ 0 w 17"/>
                  <a:gd name="T17" fmla="*/ 53 h 59"/>
                  <a:gd name="T18" fmla="*/ 2 w 17"/>
                  <a:gd name="T19" fmla="*/ 56 h 59"/>
                  <a:gd name="T20" fmla="*/ 5 w 17"/>
                  <a:gd name="T21" fmla="*/ 58 h 59"/>
                  <a:gd name="T22" fmla="*/ 9 w 17"/>
                  <a:gd name="T23" fmla="*/ 59 h 59"/>
                  <a:gd name="T24" fmla="*/ 9 w 17"/>
                  <a:gd name="T25" fmla="*/ 59 h 59"/>
                  <a:gd name="T26" fmla="*/ 12 w 17"/>
                  <a:gd name="T27" fmla="*/ 58 h 59"/>
                  <a:gd name="T28" fmla="*/ 14 w 17"/>
                  <a:gd name="T29" fmla="*/ 56 h 59"/>
                  <a:gd name="T30" fmla="*/ 17 w 17"/>
                  <a:gd name="T31" fmla="*/ 53 h 59"/>
                  <a:gd name="T32" fmla="*/ 17 w 17"/>
                  <a:gd name="T33" fmla="*/ 49 h 59"/>
                  <a:gd name="T34" fmla="*/ 17 w 17"/>
                  <a:gd name="T35" fmla="*/ 9 h 59"/>
                  <a:gd name="T36" fmla="*/ 17 w 17"/>
                  <a:gd name="T37" fmla="*/ 9 h 59"/>
                  <a:gd name="T38" fmla="*/ 17 w 17"/>
                  <a:gd name="T39" fmla="*/ 5 h 59"/>
                  <a:gd name="T40" fmla="*/ 14 w 17"/>
                  <a:gd name="T41" fmla="*/ 2 h 59"/>
                  <a:gd name="T42" fmla="*/ 12 w 17"/>
                  <a:gd name="T43" fmla="*/ 0 h 59"/>
                  <a:gd name="T44" fmla="*/ 9 w 17"/>
                  <a:gd name="T45" fmla="*/ 0 h 59"/>
                  <a:gd name="T46" fmla="*/ 9 w 17"/>
                  <a:gd name="T4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59">
                    <a:moveTo>
                      <a:pt x="9" y="0"/>
                    </a:moveTo>
                    <a:lnTo>
                      <a:pt x="9" y="0"/>
                    </a:lnTo>
                    <a:lnTo>
                      <a:pt x="5" y="0"/>
                    </a:lnTo>
                    <a:lnTo>
                      <a:pt x="2" y="2"/>
                    </a:lnTo>
                    <a:lnTo>
                      <a:pt x="0" y="5"/>
                    </a:lnTo>
                    <a:lnTo>
                      <a:pt x="0" y="9"/>
                    </a:lnTo>
                    <a:lnTo>
                      <a:pt x="0" y="49"/>
                    </a:lnTo>
                    <a:lnTo>
                      <a:pt x="0" y="49"/>
                    </a:lnTo>
                    <a:lnTo>
                      <a:pt x="0" y="53"/>
                    </a:lnTo>
                    <a:lnTo>
                      <a:pt x="2" y="56"/>
                    </a:lnTo>
                    <a:lnTo>
                      <a:pt x="5" y="58"/>
                    </a:lnTo>
                    <a:lnTo>
                      <a:pt x="9" y="59"/>
                    </a:lnTo>
                    <a:lnTo>
                      <a:pt x="9" y="59"/>
                    </a:lnTo>
                    <a:lnTo>
                      <a:pt x="12" y="58"/>
                    </a:lnTo>
                    <a:lnTo>
                      <a:pt x="14" y="56"/>
                    </a:lnTo>
                    <a:lnTo>
                      <a:pt x="17" y="53"/>
                    </a:lnTo>
                    <a:lnTo>
                      <a:pt x="17" y="49"/>
                    </a:lnTo>
                    <a:lnTo>
                      <a:pt x="17" y="9"/>
                    </a:lnTo>
                    <a:lnTo>
                      <a:pt x="17" y="9"/>
                    </a:lnTo>
                    <a:lnTo>
                      <a:pt x="17" y="5"/>
                    </a:lnTo>
                    <a:lnTo>
                      <a:pt x="14" y="2"/>
                    </a:lnTo>
                    <a:lnTo>
                      <a:pt x="12" y="0"/>
                    </a:lnTo>
                    <a:lnTo>
                      <a:pt x="9" y="0"/>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5" name="Freeform 81">
                <a:extLst>
                  <a:ext uri="{FF2B5EF4-FFF2-40B4-BE49-F238E27FC236}">
                    <a16:creationId xmlns:a16="http://schemas.microsoft.com/office/drawing/2014/main" id="{CC7AF19A-A1F9-344F-B1B6-220233A9367F}"/>
                  </a:ext>
                </a:extLst>
              </p:cNvPr>
              <p:cNvSpPr>
                <a:spLocks/>
              </p:cNvSpPr>
              <p:nvPr/>
            </p:nvSpPr>
            <p:spPr bwMode="auto">
              <a:xfrm>
                <a:off x="938213" y="1917700"/>
                <a:ext cx="46038" cy="14288"/>
              </a:xfrm>
              <a:custGeom>
                <a:avLst/>
                <a:gdLst>
                  <a:gd name="T0" fmla="*/ 51 w 59"/>
                  <a:gd name="T1" fmla="*/ 0 h 18"/>
                  <a:gd name="T2" fmla="*/ 10 w 59"/>
                  <a:gd name="T3" fmla="*/ 0 h 18"/>
                  <a:gd name="T4" fmla="*/ 10 w 59"/>
                  <a:gd name="T5" fmla="*/ 0 h 18"/>
                  <a:gd name="T6" fmla="*/ 7 w 59"/>
                  <a:gd name="T7" fmla="*/ 0 h 18"/>
                  <a:gd name="T8" fmla="*/ 3 w 59"/>
                  <a:gd name="T9" fmla="*/ 3 h 18"/>
                  <a:gd name="T10" fmla="*/ 2 w 59"/>
                  <a:gd name="T11" fmla="*/ 5 h 18"/>
                  <a:gd name="T12" fmla="*/ 0 w 59"/>
                  <a:gd name="T13" fmla="*/ 8 h 18"/>
                  <a:gd name="T14" fmla="*/ 0 w 59"/>
                  <a:gd name="T15" fmla="*/ 8 h 18"/>
                  <a:gd name="T16" fmla="*/ 2 w 59"/>
                  <a:gd name="T17" fmla="*/ 12 h 18"/>
                  <a:gd name="T18" fmla="*/ 3 w 59"/>
                  <a:gd name="T19" fmla="*/ 15 h 18"/>
                  <a:gd name="T20" fmla="*/ 7 w 59"/>
                  <a:gd name="T21" fmla="*/ 18 h 18"/>
                  <a:gd name="T22" fmla="*/ 10 w 59"/>
                  <a:gd name="T23" fmla="*/ 18 h 18"/>
                  <a:gd name="T24" fmla="*/ 51 w 59"/>
                  <a:gd name="T25" fmla="*/ 18 h 18"/>
                  <a:gd name="T26" fmla="*/ 51 w 59"/>
                  <a:gd name="T27" fmla="*/ 18 h 18"/>
                  <a:gd name="T28" fmla="*/ 54 w 59"/>
                  <a:gd name="T29" fmla="*/ 18 h 18"/>
                  <a:gd name="T30" fmla="*/ 57 w 59"/>
                  <a:gd name="T31" fmla="*/ 15 h 18"/>
                  <a:gd name="T32" fmla="*/ 59 w 59"/>
                  <a:gd name="T33" fmla="*/ 12 h 18"/>
                  <a:gd name="T34" fmla="*/ 59 w 59"/>
                  <a:gd name="T35" fmla="*/ 8 h 18"/>
                  <a:gd name="T36" fmla="*/ 59 w 59"/>
                  <a:gd name="T37" fmla="*/ 8 h 18"/>
                  <a:gd name="T38" fmla="*/ 59 w 59"/>
                  <a:gd name="T39" fmla="*/ 5 h 18"/>
                  <a:gd name="T40" fmla="*/ 57 w 59"/>
                  <a:gd name="T41" fmla="*/ 3 h 18"/>
                  <a:gd name="T42" fmla="*/ 54 w 59"/>
                  <a:gd name="T43" fmla="*/ 0 h 18"/>
                  <a:gd name="T44" fmla="*/ 51 w 59"/>
                  <a:gd name="T45" fmla="*/ 0 h 18"/>
                  <a:gd name="T46" fmla="*/ 51 w 59"/>
                  <a:gd name="T4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9" h="18">
                    <a:moveTo>
                      <a:pt x="51" y="0"/>
                    </a:moveTo>
                    <a:lnTo>
                      <a:pt x="10" y="0"/>
                    </a:lnTo>
                    <a:lnTo>
                      <a:pt x="10" y="0"/>
                    </a:lnTo>
                    <a:lnTo>
                      <a:pt x="7" y="0"/>
                    </a:lnTo>
                    <a:lnTo>
                      <a:pt x="3" y="3"/>
                    </a:lnTo>
                    <a:lnTo>
                      <a:pt x="2" y="5"/>
                    </a:lnTo>
                    <a:lnTo>
                      <a:pt x="0" y="8"/>
                    </a:lnTo>
                    <a:lnTo>
                      <a:pt x="0" y="8"/>
                    </a:lnTo>
                    <a:lnTo>
                      <a:pt x="2" y="12"/>
                    </a:lnTo>
                    <a:lnTo>
                      <a:pt x="3" y="15"/>
                    </a:lnTo>
                    <a:lnTo>
                      <a:pt x="7" y="18"/>
                    </a:lnTo>
                    <a:lnTo>
                      <a:pt x="10" y="18"/>
                    </a:lnTo>
                    <a:lnTo>
                      <a:pt x="51" y="18"/>
                    </a:lnTo>
                    <a:lnTo>
                      <a:pt x="51" y="18"/>
                    </a:lnTo>
                    <a:lnTo>
                      <a:pt x="54" y="18"/>
                    </a:lnTo>
                    <a:lnTo>
                      <a:pt x="57" y="15"/>
                    </a:lnTo>
                    <a:lnTo>
                      <a:pt x="59" y="12"/>
                    </a:lnTo>
                    <a:lnTo>
                      <a:pt x="59" y="8"/>
                    </a:lnTo>
                    <a:lnTo>
                      <a:pt x="59" y="8"/>
                    </a:lnTo>
                    <a:lnTo>
                      <a:pt x="59" y="5"/>
                    </a:lnTo>
                    <a:lnTo>
                      <a:pt x="57" y="3"/>
                    </a:lnTo>
                    <a:lnTo>
                      <a:pt x="54" y="0"/>
                    </a:lnTo>
                    <a:lnTo>
                      <a:pt x="5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6" name="Freeform 82">
                <a:extLst>
                  <a:ext uri="{FF2B5EF4-FFF2-40B4-BE49-F238E27FC236}">
                    <a16:creationId xmlns:a16="http://schemas.microsoft.com/office/drawing/2014/main" id="{0EE4EF34-9DFD-E34E-A5DB-2D63555DDFFA}"/>
                  </a:ext>
                </a:extLst>
              </p:cNvPr>
              <p:cNvSpPr>
                <a:spLocks/>
              </p:cNvSpPr>
              <p:nvPr/>
            </p:nvSpPr>
            <p:spPr bwMode="auto">
              <a:xfrm>
                <a:off x="817563" y="2038350"/>
                <a:ext cx="14288" cy="46038"/>
              </a:xfrm>
              <a:custGeom>
                <a:avLst/>
                <a:gdLst>
                  <a:gd name="T0" fmla="*/ 9 w 17"/>
                  <a:gd name="T1" fmla="*/ 0 h 59"/>
                  <a:gd name="T2" fmla="*/ 9 w 17"/>
                  <a:gd name="T3" fmla="*/ 0 h 59"/>
                  <a:gd name="T4" fmla="*/ 5 w 17"/>
                  <a:gd name="T5" fmla="*/ 1 h 59"/>
                  <a:gd name="T6" fmla="*/ 2 w 17"/>
                  <a:gd name="T7" fmla="*/ 3 h 59"/>
                  <a:gd name="T8" fmla="*/ 0 w 17"/>
                  <a:gd name="T9" fmla="*/ 5 h 59"/>
                  <a:gd name="T10" fmla="*/ 0 w 17"/>
                  <a:gd name="T11" fmla="*/ 9 h 59"/>
                  <a:gd name="T12" fmla="*/ 0 w 17"/>
                  <a:gd name="T13" fmla="*/ 49 h 59"/>
                  <a:gd name="T14" fmla="*/ 0 w 17"/>
                  <a:gd name="T15" fmla="*/ 49 h 59"/>
                  <a:gd name="T16" fmla="*/ 0 w 17"/>
                  <a:gd name="T17" fmla="*/ 54 h 59"/>
                  <a:gd name="T18" fmla="*/ 2 w 17"/>
                  <a:gd name="T19" fmla="*/ 56 h 59"/>
                  <a:gd name="T20" fmla="*/ 5 w 17"/>
                  <a:gd name="T21" fmla="*/ 59 h 59"/>
                  <a:gd name="T22" fmla="*/ 9 w 17"/>
                  <a:gd name="T23" fmla="*/ 59 h 59"/>
                  <a:gd name="T24" fmla="*/ 9 w 17"/>
                  <a:gd name="T25" fmla="*/ 59 h 59"/>
                  <a:gd name="T26" fmla="*/ 12 w 17"/>
                  <a:gd name="T27" fmla="*/ 59 h 59"/>
                  <a:gd name="T28" fmla="*/ 14 w 17"/>
                  <a:gd name="T29" fmla="*/ 56 h 59"/>
                  <a:gd name="T30" fmla="*/ 17 w 17"/>
                  <a:gd name="T31" fmla="*/ 54 h 59"/>
                  <a:gd name="T32" fmla="*/ 17 w 17"/>
                  <a:gd name="T33" fmla="*/ 49 h 59"/>
                  <a:gd name="T34" fmla="*/ 17 w 17"/>
                  <a:gd name="T35" fmla="*/ 9 h 59"/>
                  <a:gd name="T36" fmla="*/ 17 w 17"/>
                  <a:gd name="T37" fmla="*/ 9 h 59"/>
                  <a:gd name="T38" fmla="*/ 17 w 17"/>
                  <a:gd name="T39" fmla="*/ 5 h 59"/>
                  <a:gd name="T40" fmla="*/ 14 w 17"/>
                  <a:gd name="T41" fmla="*/ 3 h 59"/>
                  <a:gd name="T42" fmla="*/ 12 w 17"/>
                  <a:gd name="T43" fmla="*/ 1 h 59"/>
                  <a:gd name="T44" fmla="*/ 9 w 17"/>
                  <a:gd name="T45" fmla="*/ 0 h 59"/>
                  <a:gd name="T46" fmla="*/ 9 w 17"/>
                  <a:gd name="T4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59">
                    <a:moveTo>
                      <a:pt x="9" y="0"/>
                    </a:moveTo>
                    <a:lnTo>
                      <a:pt x="9" y="0"/>
                    </a:lnTo>
                    <a:lnTo>
                      <a:pt x="5" y="1"/>
                    </a:lnTo>
                    <a:lnTo>
                      <a:pt x="2" y="3"/>
                    </a:lnTo>
                    <a:lnTo>
                      <a:pt x="0" y="5"/>
                    </a:lnTo>
                    <a:lnTo>
                      <a:pt x="0" y="9"/>
                    </a:lnTo>
                    <a:lnTo>
                      <a:pt x="0" y="49"/>
                    </a:lnTo>
                    <a:lnTo>
                      <a:pt x="0" y="49"/>
                    </a:lnTo>
                    <a:lnTo>
                      <a:pt x="0" y="54"/>
                    </a:lnTo>
                    <a:lnTo>
                      <a:pt x="2" y="56"/>
                    </a:lnTo>
                    <a:lnTo>
                      <a:pt x="5" y="59"/>
                    </a:lnTo>
                    <a:lnTo>
                      <a:pt x="9" y="59"/>
                    </a:lnTo>
                    <a:lnTo>
                      <a:pt x="9" y="59"/>
                    </a:lnTo>
                    <a:lnTo>
                      <a:pt x="12" y="59"/>
                    </a:lnTo>
                    <a:lnTo>
                      <a:pt x="14" y="56"/>
                    </a:lnTo>
                    <a:lnTo>
                      <a:pt x="17" y="54"/>
                    </a:lnTo>
                    <a:lnTo>
                      <a:pt x="17" y="49"/>
                    </a:lnTo>
                    <a:lnTo>
                      <a:pt x="17" y="9"/>
                    </a:lnTo>
                    <a:lnTo>
                      <a:pt x="17" y="9"/>
                    </a:lnTo>
                    <a:lnTo>
                      <a:pt x="17" y="5"/>
                    </a:lnTo>
                    <a:lnTo>
                      <a:pt x="14" y="3"/>
                    </a:lnTo>
                    <a:lnTo>
                      <a:pt x="12" y="1"/>
                    </a:lnTo>
                    <a:lnTo>
                      <a:pt x="9" y="0"/>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7" name="Freeform 83">
                <a:extLst>
                  <a:ext uri="{FF2B5EF4-FFF2-40B4-BE49-F238E27FC236}">
                    <a16:creationId xmlns:a16="http://schemas.microsoft.com/office/drawing/2014/main" id="{5DBA1D6C-F661-EE47-9F08-3B67095EE34D}"/>
                  </a:ext>
                </a:extLst>
              </p:cNvPr>
              <p:cNvSpPr>
                <a:spLocks/>
              </p:cNvSpPr>
              <p:nvPr/>
            </p:nvSpPr>
            <p:spPr bwMode="auto">
              <a:xfrm>
                <a:off x="663576" y="1917700"/>
                <a:ext cx="47625" cy="14288"/>
              </a:xfrm>
              <a:custGeom>
                <a:avLst/>
                <a:gdLst>
                  <a:gd name="T0" fmla="*/ 50 w 59"/>
                  <a:gd name="T1" fmla="*/ 0 h 18"/>
                  <a:gd name="T2" fmla="*/ 10 w 59"/>
                  <a:gd name="T3" fmla="*/ 0 h 18"/>
                  <a:gd name="T4" fmla="*/ 10 w 59"/>
                  <a:gd name="T5" fmla="*/ 0 h 18"/>
                  <a:gd name="T6" fmla="*/ 6 w 59"/>
                  <a:gd name="T7" fmla="*/ 0 h 18"/>
                  <a:gd name="T8" fmla="*/ 3 w 59"/>
                  <a:gd name="T9" fmla="*/ 3 h 18"/>
                  <a:gd name="T10" fmla="*/ 2 w 59"/>
                  <a:gd name="T11" fmla="*/ 5 h 18"/>
                  <a:gd name="T12" fmla="*/ 0 w 59"/>
                  <a:gd name="T13" fmla="*/ 8 h 18"/>
                  <a:gd name="T14" fmla="*/ 0 w 59"/>
                  <a:gd name="T15" fmla="*/ 8 h 18"/>
                  <a:gd name="T16" fmla="*/ 2 w 59"/>
                  <a:gd name="T17" fmla="*/ 12 h 18"/>
                  <a:gd name="T18" fmla="*/ 3 w 59"/>
                  <a:gd name="T19" fmla="*/ 15 h 18"/>
                  <a:gd name="T20" fmla="*/ 6 w 59"/>
                  <a:gd name="T21" fmla="*/ 18 h 18"/>
                  <a:gd name="T22" fmla="*/ 10 w 59"/>
                  <a:gd name="T23" fmla="*/ 18 h 18"/>
                  <a:gd name="T24" fmla="*/ 50 w 59"/>
                  <a:gd name="T25" fmla="*/ 18 h 18"/>
                  <a:gd name="T26" fmla="*/ 50 w 59"/>
                  <a:gd name="T27" fmla="*/ 18 h 18"/>
                  <a:gd name="T28" fmla="*/ 54 w 59"/>
                  <a:gd name="T29" fmla="*/ 18 h 18"/>
                  <a:gd name="T30" fmla="*/ 57 w 59"/>
                  <a:gd name="T31" fmla="*/ 15 h 18"/>
                  <a:gd name="T32" fmla="*/ 58 w 59"/>
                  <a:gd name="T33" fmla="*/ 12 h 18"/>
                  <a:gd name="T34" fmla="*/ 59 w 59"/>
                  <a:gd name="T35" fmla="*/ 8 h 18"/>
                  <a:gd name="T36" fmla="*/ 59 w 59"/>
                  <a:gd name="T37" fmla="*/ 8 h 18"/>
                  <a:gd name="T38" fmla="*/ 58 w 59"/>
                  <a:gd name="T39" fmla="*/ 5 h 18"/>
                  <a:gd name="T40" fmla="*/ 57 w 59"/>
                  <a:gd name="T41" fmla="*/ 3 h 18"/>
                  <a:gd name="T42" fmla="*/ 54 w 59"/>
                  <a:gd name="T43" fmla="*/ 0 h 18"/>
                  <a:gd name="T44" fmla="*/ 50 w 59"/>
                  <a:gd name="T45" fmla="*/ 0 h 18"/>
                  <a:gd name="T46" fmla="*/ 50 w 59"/>
                  <a:gd name="T4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9" h="18">
                    <a:moveTo>
                      <a:pt x="50" y="0"/>
                    </a:moveTo>
                    <a:lnTo>
                      <a:pt x="10" y="0"/>
                    </a:lnTo>
                    <a:lnTo>
                      <a:pt x="10" y="0"/>
                    </a:lnTo>
                    <a:lnTo>
                      <a:pt x="6" y="0"/>
                    </a:lnTo>
                    <a:lnTo>
                      <a:pt x="3" y="3"/>
                    </a:lnTo>
                    <a:lnTo>
                      <a:pt x="2" y="5"/>
                    </a:lnTo>
                    <a:lnTo>
                      <a:pt x="0" y="8"/>
                    </a:lnTo>
                    <a:lnTo>
                      <a:pt x="0" y="8"/>
                    </a:lnTo>
                    <a:lnTo>
                      <a:pt x="2" y="12"/>
                    </a:lnTo>
                    <a:lnTo>
                      <a:pt x="3" y="15"/>
                    </a:lnTo>
                    <a:lnTo>
                      <a:pt x="6" y="18"/>
                    </a:lnTo>
                    <a:lnTo>
                      <a:pt x="10" y="18"/>
                    </a:lnTo>
                    <a:lnTo>
                      <a:pt x="50" y="18"/>
                    </a:lnTo>
                    <a:lnTo>
                      <a:pt x="50" y="18"/>
                    </a:lnTo>
                    <a:lnTo>
                      <a:pt x="54" y="18"/>
                    </a:lnTo>
                    <a:lnTo>
                      <a:pt x="57" y="15"/>
                    </a:lnTo>
                    <a:lnTo>
                      <a:pt x="58" y="12"/>
                    </a:lnTo>
                    <a:lnTo>
                      <a:pt x="59" y="8"/>
                    </a:lnTo>
                    <a:lnTo>
                      <a:pt x="59" y="8"/>
                    </a:lnTo>
                    <a:lnTo>
                      <a:pt x="58" y="5"/>
                    </a:lnTo>
                    <a:lnTo>
                      <a:pt x="57" y="3"/>
                    </a:lnTo>
                    <a:lnTo>
                      <a:pt x="54" y="0"/>
                    </a:lnTo>
                    <a:lnTo>
                      <a:pt x="50" y="0"/>
                    </a:lnTo>
                    <a:lnTo>
                      <a:pt x="5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grpSp>
      </p:grpSp>
      <p:cxnSp>
        <p:nvCxnSpPr>
          <p:cNvPr id="108" name="Straight Connector 107">
            <a:extLst>
              <a:ext uri="{FF2B5EF4-FFF2-40B4-BE49-F238E27FC236}">
                <a16:creationId xmlns:a16="http://schemas.microsoft.com/office/drawing/2014/main" id="{DAE43012-50F5-F140-9292-5091E21F271A}"/>
              </a:ext>
            </a:extLst>
          </p:cNvPr>
          <p:cNvCxnSpPr>
            <a:cxnSpLocks/>
          </p:cNvCxnSpPr>
          <p:nvPr/>
        </p:nvCxnSpPr>
        <p:spPr>
          <a:xfrm>
            <a:off x="4171165" y="2409774"/>
            <a:ext cx="0" cy="166149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09" name="TextBox 108"/>
          <p:cNvSpPr txBox="1"/>
          <p:nvPr/>
        </p:nvSpPr>
        <p:spPr>
          <a:xfrm>
            <a:off x="6814489" y="4259938"/>
            <a:ext cx="2268024" cy="1367169"/>
          </a:xfrm>
          <a:prstGeom prst="rect">
            <a:avLst/>
          </a:prstGeom>
        </p:spPr>
        <p:txBody>
          <a:bodyPr vert="horz" wrap="square" lIns="0" tIns="121920" rIns="0" bIns="0" rtlCol="0">
            <a:spAutoFit/>
          </a:bodyPr>
          <a:lstStyle>
            <a:defPPr>
              <a:defRPr lang="en-US"/>
            </a:defPPr>
            <a:lvl1pPr marL="9525" marR="3810">
              <a:lnSpc>
                <a:spcPct val="120000"/>
              </a:lnSpc>
              <a:spcBef>
                <a:spcPts val="1000"/>
              </a:spcBef>
              <a:defRPr sz="875">
                <a:latin typeface="+mn-lt"/>
                <a:ea typeface="Open Sans" panose="020B0606030504020204" pitchFamily="34" charset="0"/>
                <a:cs typeface="Open Sans" panose="020B0606030504020204" pitchFamily="34" charset="0"/>
              </a:defRPr>
            </a:lvl1pPr>
          </a:lstStyle>
          <a:p>
            <a:pPr marL="0" marR="0" lvl="0" indent="0" algn="l" defTabSz="544222"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11" normalizeH="0" baseline="0" noProof="0" dirty="0">
                <a:ln>
                  <a:noFill/>
                </a:ln>
                <a:solidFill>
                  <a:srgbClr val="000000"/>
                </a:solidFill>
                <a:effectLst/>
                <a:uLnTx/>
                <a:uFillTx/>
                <a:latin typeface="Chronicle Display Black"/>
                <a:cs typeface="Arial"/>
              </a:rPr>
              <a:t>Becoming</a:t>
            </a:r>
          </a:p>
          <a:p>
            <a:pPr marL="0" marR="0" lvl="0" indent="0" algn="l" defTabSz="544222" rtl="0" eaLnBrk="1" fontAlgn="base" latinLnBrk="0" hangingPunct="1">
              <a:lnSpc>
                <a:spcPct val="11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a:rPr>
              <a:t>Leverage digital technologies—becoming more synchronized and less siloed—with </a:t>
            </a:r>
            <a:r>
              <a:rPr kumimoji="0" lang="en-US" sz="1100" b="1" i="1" u="none" strike="noStrike" kern="1200" cap="none" spc="0" normalizeH="0" baseline="0" noProof="0" dirty="0">
                <a:ln>
                  <a:noFill/>
                </a:ln>
                <a:solidFill>
                  <a:srgbClr val="000000"/>
                </a:solidFill>
                <a:effectLst/>
                <a:uLnTx/>
                <a:uFillTx/>
                <a:latin typeface="Open Sans"/>
              </a:rPr>
              <a:t>more advanced changes</a:t>
            </a:r>
            <a:r>
              <a:rPr kumimoji="0" lang="en-US" sz="1100" b="1" i="0" u="none" strike="noStrike" kern="1200" cap="none" spc="0" normalizeH="0" baseline="0" noProof="0" dirty="0">
                <a:ln>
                  <a:noFill/>
                </a:ln>
                <a:solidFill>
                  <a:srgbClr val="000000"/>
                </a:solidFill>
                <a:effectLst/>
                <a:uLnTx/>
                <a:uFillTx/>
                <a:latin typeface="Open Sans"/>
              </a:rPr>
              <a:t> to current business, operating, and customer models</a:t>
            </a:r>
          </a:p>
        </p:txBody>
      </p:sp>
      <p:grpSp>
        <p:nvGrpSpPr>
          <p:cNvPr id="110" name="Group 109">
            <a:extLst>
              <a:ext uri="{FF2B5EF4-FFF2-40B4-BE49-F238E27FC236}">
                <a16:creationId xmlns:a16="http://schemas.microsoft.com/office/drawing/2014/main" id="{76967776-0DFD-3341-A535-39652BC3885F}"/>
              </a:ext>
            </a:extLst>
          </p:cNvPr>
          <p:cNvGrpSpPr/>
          <p:nvPr/>
        </p:nvGrpSpPr>
        <p:grpSpPr>
          <a:xfrm>
            <a:off x="6814485" y="3562135"/>
            <a:ext cx="694267" cy="696384"/>
            <a:chOff x="5110864" y="2608847"/>
            <a:chExt cx="520700" cy="522288"/>
          </a:xfrm>
        </p:grpSpPr>
        <p:sp>
          <p:nvSpPr>
            <p:cNvPr id="111" name="Oval 110">
              <a:extLst>
                <a:ext uri="{FF2B5EF4-FFF2-40B4-BE49-F238E27FC236}">
                  <a16:creationId xmlns:a16="http://schemas.microsoft.com/office/drawing/2014/main" id="{2723E7C7-C2E7-6A46-A4DA-17FC1A015D42}"/>
                </a:ext>
              </a:extLst>
            </p:cNvPr>
            <p:cNvSpPr/>
            <p:nvPr/>
          </p:nvSpPr>
          <p:spPr>
            <a:xfrm>
              <a:off x="5141761" y="2676165"/>
              <a:ext cx="475440" cy="41588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112" name="Group 111">
              <a:extLst>
                <a:ext uri="{FF2B5EF4-FFF2-40B4-BE49-F238E27FC236}">
                  <a16:creationId xmlns:a16="http://schemas.microsoft.com/office/drawing/2014/main" id="{A71A78BD-2862-AC42-9631-36B4C3BEB68D}"/>
                </a:ext>
              </a:extLst>
            </p:cNvPr>
            <p:cNvGrpSpPr>
              <a:grpSpLocks noChangeAspect="1"/>
            </p:cNvGrpSpPr>
            <p:nvPr/>
          </p:nvGrpSpPr>
          <p:grpSpPr>
            <a:xfrm>
              <a:off x="5110864" y="2608847"/>
              <a:ext cx="520700" cy="522288"/>
              <a:chOff x="11117263" y="3351213"/>
              <a:chExt cx="520700" cy="522288"/>
            </a:xfrm>
          </p:grpSpPr>
          <p:sp>
            <p:nvSpPr>
              <p:cNvPr id="113" name="Freeform 40">
                <a:extLst>
                  <a:ext uri="{FF2B5EF4-FFF2-40B4-BE49-F238E27FC236}">
                    <a16:creationId xmlns:a16="http://schemas.microsoft.com/office/drawing/2014/main" id="{5694BFFB-B85F-5946-A4EA-35BCE3C44F95}"/>
                  </a:ext>
                </a:extLst>
              </p:cNvPr>
              <p:cNvSpPr>
                <a:spLocks noEditPoints="1"/>
              </p:cNvSpPr>
              <p:nvPr/>
            </p:nvSpPr>
            <p:spPr bwMode="auto">
              <a:xfrm>
                <a:off x="11117263" y="3351213"/>
                <a:ext cx="520700" cy="522288"/>
              </a:xfrm>
              <a:custGeom>
                <a:avLst/>
                <a:gdLst>
                  <a:gd name="T0" fmla="*/ 312 w 657"/>
                  <a:gd name="T1" fmla="*/ 657 h 657"/>
                  <a:gd name="T2" fmla="*/ 262 w 657"/>
                  <a:gd name="T3" fmla="*/ 650 h 657"/>
                  <a:gd name="T4" fmla="*/ 202 w 657"/>
                  <a:gd name="T5" fmla="*/ 631 h 657"/>
                  <a:gd name="T6" fmla="*/ 120 w 657"/>
                  <a:gd name="T7" fmla="*/ 581 h 657"/>
                  <a:gd name="T8" fmla="*/ 57 w 657"/>
                  <a:gd name="T9" fmla="*/ 511 h 657"/>
                  <a:gd name="T10" fmla="*/ 15 w 657"/>
                  <a:gd name="T11" fmla="*/ 426 h 657"/>
                  <a:gd name="T12" fmla="*/ 4 w 657"/>
                  <a:gd name="T13" fmla="*/ 379 h 657"/>
                  <a:gd name="T14" fmla="*/ 0 w 657"/>
                  <a:gd name="T15" fmla="*/ 329 h 657"/>
                  <a:gd name="T16" fmla="*/ 2 w 657"/>
                  <a:gd name="T17" fmla="*/ 295 h 657"/>
                  <a:gd name="T18" fmla="*/ 11 w 657"/>
                  <a:gd name="T19" fmla="*/ 246 h 657"/>
                  <a:gd name="T20" fmla="*/ 41 w 657"/>
                  <a:gd name="T21" fmla="*/ 172 h 657"/>
                  <a:gd name="T22" fmla="*/ 97 w 657"/>
                  <a:gd name="T23" fmla="*/ 97 h 657"/>
                  <a:gd name="T24" fmla="*/ 172 w 657"/>
                  <a:gd name="T25" fmla="*/ 39 h 657"/>
                  <a:gd name="T26" fmla="*/ 247 w 657"/>
                  <a:gd name="T27" fmla="*/ 9 h 657"/>
                  <a:gd name="T28" fmla="*/ 296 w 657"/>
                  <a:gd name="T29" fmla="*/ 1 h 657"/>
                  <a:gd name="T30" fmla="*/ 329 w 657"/>
                  <a:gd name="T31" fmla="*/ 0 h 657"/>
                  <a:gd name="T32" fmla="*/ 379 w 657"/>
                  <a:gd name="T33" fmla="*/ 4 h 657"/>
                  <a:gd name="T34" fmla="*/ 426 w 657"/>
                  <a:gd name="T35" fmla="*/ 15 h 657"/>
                  <a:gd name="T36" fmla="*/ 512 w 657"/>
                  <a:gd name="T37" fmla="*/ 56 h 657"/>
                  <a:gd name="T38" fmla="*/ 583 w 657"/>
                  <a:gd name="T39" fmla="*/ 119 h 657"/>
                  <a:gd name="T40" fmla="*/ 631 w 657"/>
                  <a:gd name="T41" fmla="*/ 200 h 657"/>
                  <a:gd name="T42" fmla="*/ 650 w 657"/>
                  <a:gd name="T43" fmla="*/ 262 h 657"/>
                  <a:gd name="T44" fmla="*/ 657 w 657"/>
                  <a:gd name="T45" fmla="*/ 311 h 657"/>
                  <a:gd name="T46" fmla="*/ 657 w 657"/>
                  <a:gd name="T47" fmla="*/ 345 h 657"/>
                  <a:gd name="T48" fmla="*/ 650 w 657"/>
                  <a:gd name="T49" fmla="*/ 395 h 657"/>
                  <a:gd name="T50" fmla="*/ 631 w 657"/>
                  <a:gd name="T51" fmla="*/ 456 h 657"/>
                  <a:gd name="T52" fmla="*/ 583 w 657"/>
                  <a:gd name="T53" fmla="*/ 537 h 657"/>
                  <a:gd name="T54" fmla="*/ 512 w 657"/>
                  <a:gd name="T55" fmla="*/ 600 h 657"/>
                  <a:gd name="T56" fmla="*/ 426 w 657"/>
                  <a:gd name="T57" fmla="*/ 642 h 657"/>
                  <a:gd name="T58" fmla="*/ 379 w 657"/>
                  <a:gd name="T59" fmla="*/ 653 h 657"/>
                  <a:gd name="T60" fmla="*/ 329 w 657"/>
                  <a:gd name="T61" fmla="*/ 657 h 657"/>
                  <a:gd name="T62" fmla="*/ 329 w 657"/>
                  <a:gd name="T63" fmla="*/ 37 h 657"/>
                  <a:gd name="T64" fmla="*/ 242 w 657"/>
                  <a:gd name="T65" fmla="*/ 51 h 657"/>
                  <a:gd name="T66" fmla="*/ 167 w 657"/>
                  <a:gd name="T67" fmla="*/ 87 h 657"/>
                  <a:gd name="T68" fmla="*/ 105 w 657"/>
                  <a:gd name="T69" fmla="*/ 144 h 657"/>
                  <a:gd name="T70" fmla="*/ 61 w 657"/>
                  <a:gd name="T71" fmla="*/ 215 h 657"/>
                  <a:gd name="T72" fmla="*/ 39 w 657"/>
                  <a:gd name="T73" fmla="*/ 298 h 657"/>
                  <a:gd name="T74" fmla="*/ 39 w 657"/>
                  <a:gd name="T75" fmla="*/ 358 h 657"/>
                  <a:gd name="T76" fmla="*/ 61 w 657"/>
                  <a:gd name="T77" fmla="*/ 442 h 657"/>
                  <a:gd name="T78" fmla="*/ 105 w 657"/>
                  <a:gd name="T79" fmla="*/ 513 h 657"/>
                  <a:gd name="T80" fmla="*/ 167 w 657"/>
                  <a:gd name="T81" fmla="*/ 569 h 657"/>
                  <a:gd name="T82" fmla="*/ 242 w 657"/>
                  <a:gd name="T83" fmla="*/ 607 h 657"/>
                  <a:gd name="T84" fmla="*/ 329 w 657"/>
                  <a:gd name="T85" fmla="*/ 619 h 657"/>
                  <a:gd name="T86" fmla="*/ 387 w 657"/>
                  <a:gd name="T87" fmla="*/ 614 h 657"/>
                  <a:gd name="T88" fmla="*/ 468 w 657"/>
                  <a:gd name="T89" fmla="*/ 584 h 657"/>
                  <a:gd name="T90" fmla="*/ 535 w 657"/>
                  <a:gd name="T91" fmla="*/ 534 h 657"/>
                  <a:gd name="T92" fmla="*/ 584 w 657"/>
                  <a:gd name="T93" fmla="*/ 467 h 657"/>
                  <a:gd name="T94" fmla="*/ 614 w 657"/>
                  <a:gd name="T95" fmla="*/ 387 h 657"/>
                  <a:gd name="T96" fmla="*/ 619 w 657"/>
                  <a:gd name="T97" fmla="*/ 329 h 657"/>
                  <a:gd name="T98" fmla="*/ 607 w 657"/>
                  <a:gd name="T99" fmla="*/ 242 h 657"/>
                  <a:gd name="T100" fmla="*/ 570 w 657"/>
                  <a:gd name="T101" fmla="*/ 165 h 657"/>
                  <a:gd name="T102" fmla="*/ 515 w 657"/>
                  <a:gd name="T103" fmla="*/ 103 h 657"/>
                  <a:gd name="T104" fmla="*/ 442 w 657"/>
                  <a:gd name="T105" fmla="*/ 60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5"/>
                    </a:lnTo>
                    <a:lnTo>
                      <a:pt x="278" y="653"/>
                    </a:lnTo>
                    <a:lnTo>
                      <a:pt x="262" y="650"/>
                    </a:lnTo>
                    <a:lnTo>
                      <a:pt x="247" y="647"/>
                    </a:lnTo>
                    <a:lnTo>
                      <a:pt x="231" y="642"/>
                    </a:lnTo>
                    <a:lnTo>
                      <a:pt x="202" y="631"/>
                    </a:lnTo>
                    <a:lnTo>
                      <a:pt x="172" y="618"/>
                    </a:lnTo>
                    <a:lnTo>
                      <a:pt x="145" y="600"/>
                    </a:lnTo>
                    <a:lnTo>
                      <a:pt x="120" y="581"/>
                    </a:lnTo>
                    <a:lnTo>
                      <a:pt x="97" y="561"/>
                    </a:lnTo>
                    <a:lnTo>
                      <a:pt x="76" y="537"/>
                    </a:lnTo>
                    <a:lnTo>
                      <a:pt x="57" y="511"/>
                    </a:lnTo>
                    <a:lnTo>
                      <a:pt x="41" y="485"/>
                    </a:lnTo>
                    <a:lnTo>
                      <a:pt x="26" y="456"/>
                    </a:lnTo>
                    <a:lnTo>
                      <a:pt x="15" y="426"/>
                    </a:lnTo>
                    <a:lnTo>
                      <a:pt x="11" y="411"/>
                    </a:lnTo>
                    <a:lnTo>
                      <a:pt x="7" y="395"/>
                    </a:lnTo>
                    <a:lnTo>
                      <a:pt x="4" y="379"/>
                    </a:lnTo>
                    <a:lnTo>
                      <a:pt x="2" y="361"/>
                    </a:lnTo>
                    <a:lnTo>
                      <a:pt x="0" y="345"/>
                    </a:lnTo>
                    <a:lnTo>
                      <a:pt x="0" y="329"/>
                    </a:lnTo>
                    <a:lnTo>
                      <a:pt x="0" y="329"/>
                    </a:lnTo>
                    <a:lnTo>
                      <a:pt x="0" y="311"/>
                    </a:lnTo>
                    <a:lnTo>
                      <a:pt x="2" y="295"/>
                    </a:lnTo>
                    <a:lnTo>
                      <a:pt x="4" y="278"/>
                    </a:lnTo>
                    <a:lnTo>
                      <a:pt x="7" y="262"/>
                    </a:lnTo>
                    <a:lnTo>
                      <a:pt x="11" y="246"/>
                    </a:lnTo>
                    <a:lnTo>
                      <a:pt x="15" y="231"/>
                    </a:lnTo>
                    <a:lnTo>
                      <a:pt x="26" y="200"/>
                    </a:lnTo>
                    <a:lnTo>
                      <a:pt x="41" y="172"/>
                    </a:lnTo>
                    <a:lnTo>
                      <a:pt x="57" y="145"/>
                    </a:lnTo>
                    <a:lnTo>
                      <a:pt x="76" y="119"/>
                    </a:lnTo>
                    <a:lnTo>
                      <a:pt x="97" y="97"/>
                    </a:lnTo>
                    <a:lnTo>
                      <a:pt x="120" y="75"/>
                    </a:lnTo>
                    <a:lnTo>
                      <a:pt x="145" y="56"/>
                    </a:lnTo>
                    <a:lnTo>
                      <a:pt x="172" y="39"/>
                    </a:lnTo>
                    <a:lnTo>
                      <a:pt x="202" y="25"/>
                    </a:lnTo>
                    <a:lnTo>
                      <a:pt x="231" y="15"/>
                    </a:lnTo>
                    <a:lnTo>
                      <a:pt x="247" y="9"/>
                    </a:lnTo>
                    <a:lnTo>
                      <a:pt x="262" y="7"/>
                    </a:lnTo>
                    <a:lnTo>
                      <a:pt x="278" y="4"/>
                    </a:lnTo>
                    <a:lnTo>
                      <a:pt x="296" y="1"/>
                    </a:lnTo>
                    <a:lnTo>
                      <a:pt x="312" y="0"/>
                    </a:lnTo>
                    <a:lnTo>
                      <a:pt x="329" y="0"/>
                    </a:lnTo>
                    <a:lnTo>
                      <a:pt x="329" y="0"/>
                    </a:lnTo>
                    <a:lnTo>
                      <a:pt x="345" y="0"/>
                    </a:lnTo>
                    <a:lnTo>
                      <a:pt x="363" y="1"/>
                    </a:lnTo>
                    <a:lnTo>
                      <a:pt x="379" y="4"/>
                    </a:lnTo>
                    <a:lnTo>
                      <a:pt x="395" y="7"/>
                    </a:lnTo>
                    <a:lnTo>
                      <a:pt x="411" y="9"/>
                    </a:lnTo>
                    <a:lnTo>
                      <a:pt x="426" y="15"/>
                    </a:lnTo>
                    <a:lnTo>
                      <a:pt x="457" y="25"/>
                    </a:lnTo>
                    <a:lnTo>
                      <a:pt x="485" y="39"/>
                    </a:lnTo>
                    <a:lnTo>
                      <a:pt x="512" y="56"/>
                    </a:lnTo>
                    <a:lnTo>
                      <a:pt x="538" y="75"/>
                    </a:lnTo>
                    <a:lnTo>
                      <a:pt x="562" y="97"/>
                    </a:lnTo>
                    <a:lnTo>
                      <a:pt x="583" y="119"/>
                    </a:lnTo>
                    <a:lnTo>
                      <a:pt x="602" y="145"/>
                    </a:lnTo>
                    <a:lnTo>
                      <a:pt x="618" y="172"/>
                    </a:lnTo>
                    <a:lnTo>
                      <a:pt x="631" y="200"/>
                    </a:lnTo>
                    <a:lnTo>
                      <a:pt x="642" y="231"/>
                    </a:lnTo>
                    <a:lnTo>
                      <a:pt x="648" y="246"/>
                    </a:lnTo>
                    <a:lnTo>
                      <a:pt x="650" y="262"/>
                    </a:lnTo>
                    <a:lnTo>
                      <a:pt x="654" y="278"/>
                    </a:lnTo>
                    <a:lnTo>
                      <a:pt x="656" y="295"/>
                    </a:lnTo>
                    <a:lnTo>
                      <a:pt x="657" y="311"/>
                    </a:lnTo>
                    <a:lnTo>
                      <a:pt x="657" y="329"/>
                    </a:lnTo>
                    <a:lnTo>
                      <a:pt x="657" y="329"/>
                    </a:lnTo>
                    <a:lnTo>
                      <a:pt x="657" y="345"/>
                    </a:lnTo>
                    <a:lnTo>
                      <a:pt x="656" y="361"/>
                    </a:lnTo>
                    <a:lnTo>
                      <a:pt x="654" y="379"/>
                    </a:lnTo>
                    <a:lnTo>
                      <a:pt x="650" y="395"/>
                    </a:lnTo>
                    <a:lnTo>
                      <a:pt x="648" y="411"/>
                    </a:lnTo>
                    <a:lnTo>
                      <a:pt x="642" y="426"/>
                    </a:lnTo>
                    <a:lnTo>
                      <a:pt x="631" y="456"/>
                    </a:lnTo>
                    <a:lnTo>
                      <a:pt x="618" y="485"/>
                    </a:lnTo>
                    <a:lnTo>
                      <a:pt x="602" y="511"/>
                    </a:lnTo>
                    <a:lnTo>
                      <a:pt x="583" y="537"/>
                    </a:lnTo>
                    <a:lnTo>
                      <a:pt x="562" y="561"/>
                    </a:lnTo>
                    <a:lnTo>
                      <a:pt x="538" y="581"/>
                    </a:lnTo>
                    <a:lnTo>
                      <a:pt x="512" y="600"/>
                    </a:lnTo>
                    <a:lnTo>
                      <a:pt x="485" y="618"/>
                    </a:lnTo>
                    <a:lnTo>
                      <a:pt x="457" y="631"/>
                    </a:lnTo>
                    <a:lnTo>
                      <a:pt x="426" y="642"/>
                    </a:lnTo>
                    <a:lnTo>
                      <a:pt x="411" y="647"/>
                    </a:lnTo>
                    <a:lnTo>
                      <a:pt x="395" y="650"/>
                    </a:lnTo>
                    <a:lnTo>
                      <a:pt x="379" y="653"/>
                    </a:lnTo>
                    <a:lnTo>
                      <a:pt x="363" y="655"/>
                    </a:lnTo>
                    <a:lnTo>
                      <a:pt x="345" y="657"/>
                    </a:lnTo>
                    <a:lnTo>
                      <a:pt x="329" y="657"/>
                    </a:lnTo>
                    <a:lnTo>
                      <a:pt x="329" y="657"/>
                    </a:lnTo>
                    <a:close/>
                    <a:moveTo>
                      <a:pt x="329" y="37"/>
                    </a:moveTo>
                    <a:lnTo>
                      <a:pt x="329" y="37"/>
                    </a:lnTo>
                    <a:lnTo>
                      <a:pt x="300" y="39"/>
                    </a:lnTo>
                    <a:lnTo>
                      <a:pt x="270" y="43"/>
                    </a:lnTo>
                    <a:lnTo>
                      <a:pt x="242" y="51"/>
                    </a:lnTo>
                    <a:lnTo>
                      <a:pt x="215" y="60"/>
                    </a:lnTo>
                    <a:lnTo>
                      <a:pt x="190" y="72"/>
                    </a:lnTo>
                    <a:lnTo>
                      <a:pt x="167" y="87"/>
                    </a:lnTo>
                    <a:lnTo>
                      <a:pt x="144" y="103"/>
                    </a:lnTo>
                    <a:lnTo>
                      <a:pt x="124" y="122"/>
                    </a:lnTo>
                    <a:lnTo>
                      <a:pt x="105" y="144"/>
                    </a:lnTo>
                    <a:lnTo>
                      <a:pt x="88" y="165"/>
                    </a:lnTo>
                    <a:lnTo>
                      <a:pt x="73" y="189"/>
                    </a:lnTo>
                    <a:lnTo>
                      <a:pt x="61" y="215"/>
                    </a:lnTo>
                    <a:lnTo>
                      <a:pt x="51" y="242"/>
                    </a:lnTo>
                    <a:lnTo>
                      <a:pt x="43" y="270"/>
                    </a:lnTo>
                    <a:lnTo>
                      <a:pt x="39" y="298"/>
                    </a:lnTo>
                    <a:lnTo>
                      <a:pt x="38" y="329"/>
                    </a:lnTo>
                    <a:lnTo>
                      <a:pt x="38" y="329"/>
                    </a:lnTo>
                    <a:lnTo>
                      <a:pt x="39" y="358"/>
                    </a:lnTo>
                    <a:lnTo>
                      <a:pt x="43" y="387"/>
                    </a:lnTo>
                    <a:lnTo>
                      <a:pt x="51" y="415"/>
                    </a:lnTo>
                    <a:lnTo>
                      <a:pt x="61" y="442"/>
                    </a:lnTo>
                    <a:lnTo>
                      <a:pt x="73" y="467"/>
                    </a:lnTo>
                    <a:lnTo>
                      <a:pt x="88" y="491"/>
                    </a:lnTo>
                    <a:lnTo>
                      <a:pt x="105" y="513"/>
                    </a:lnTo>
                    <a:lnTo>
                      <a:pt x="124" y="534"/>
                    </a:lnTo>
                    <a:lnTo>
                      <a:pt x="144" y="553"/>
                    </a:lnTo>
                    <a:lnTo>
                      <a:pt x="167" y="569"/>
                    </a:lnTo>
                    <a:lnTo>
                      <a:pt x="190" y="584"/>
                    </a:lnTo>
                    <a:lnTo>
                      <a:pt x="215" y="596"/>
                    </a:lnTo>
                    <a:lnTo>
                      <a:pt x="242" y="607"/>
                    </a:lnTo>
                    <a:lnTo>
                      <a:pt x="270" y="614"/>
                    </a:lnTo>
                    <a:lnTo>
                      <a:pt x="300" y="618"/>
                    </a:lnTo>
                    <a:lnTo>
                      <a:pt x="329" y="619"/>
                    </a:lnTo>
                    <a:lnTo>
                      <a:pt x="329" y="619"/>
                    </a:lnTo>
                    <a:lnTo>
                      <a:pt x="359" y="618"/>
                    </a:lnTo>
                    <a:lnTo>
                      <a:pt x="387" y="614"/>
                    </a:lnTo>
                    <a:lnTo>
                      <a:pt x="415" y="607"/>
                    </a:lnTo>
                    <a:lnTo>
                      <a:pt x="442" y="596"/>
                    </a:lnTo>
                    <a:lnTo>
                      <a:pt x="468" y="584"/>
                    </a:lnTo>
                    <a:lnTo>
                      <a:pt x="492" y="569"/>
                    </a:lnTo>
                    <a:lnTo>
                      <a:pt x="515" y="553"/>
                    </a:lnTo>
                    <a:lnTo>
                      <a:pt x="535" y="534"/>
                    </a:lnTo>
                    <a:lnTo>
                      <a:pt x="554" y="513"/>
                    </a:lnTo>
                    <a:lnTo>
                      <a:pt x="570" y="491"/>
                    </a:lnTo>
                    <a:lnTo>
                      <a:pt x="584" y="467"/>
                    </a:lnTo>
                    <a:lnTo>
                      <a:pt x="597" y="442"/>
                    </a:lnTo>
                    <a:lnTo>
                      <a:pt x="607" y="415"/>
                    </a:lnTo>
                    <a:lnTo>
                      <a:pt x="614" y="387"/>
                    </a:lnTo>
                    <a:lnTo>
                      <a:pt x="618" y="358"/>
                    </a:lnTo>
                    <a:lnTo>
                      <a:pt x="619" y="329"/>
                    </a:lnTo>
                    <a:lnTo>
                      <a:pt x="619" y="329"/>
                    </a:lnTo>
                    <a:lnTo>
                      <a:pt x="618" y="298"/>
                    </a:lnTo>
                    <a:lnTo>
                      <a:pt x="614" y="270"/>
                    </a:lnTo>
                    <a:lnTo>
                      <a:pt x="607" y="242"/>
                    </a:lnTo>
                    <a:lnTo>
                      <a:pt x="597" y="215"/>
                    </a:lnTo>
                    <a:lnTo>
                      <a:pt x="584" y="189"/>
                    </a:lnTo>
                    <a:lnTo>
                      <a:pt x="570" y="165"/>
                    </a:lnTo>
                    <a:lnTo>
                      <a:pt x="554" y="144"/>
                    </a:lnTo>
                    <a:lnTo>
                      <a:pt x="535" y="122"/>
                    </a:lnTo>
                    <a:lnTo>
                      <a:pt x="515" y="103"/>
                    </a:lnTo>
                    <a:lnTo>
                      <a:pt x="492" y="87"/>
                    </a:lnTo>
                    <a:lnTo>
                      <a:pt x="468" y="72"/>
                    </a:lnTo>
                    <a:lnTo>
                      <a:pt x="442" y="60"/>
                    </a:lnTo>
                    <a:lnTo>
                      <a:pt x="415" y="51"/>
                    </a:lnTo>
                    <a:lnTo>
                      <a:pt x="387" y="43"/>
                    </a:lnTo>
                    <a:lnTo>
                      <a:pt x="359"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4" name="Freeform 200">
                <a:extLst>
                  <a:ext uri="{FF2B5EF4-FFF2-40B4-BE49-F238E27FC236}">
                    <a16:creationId xmlns:a16="http://schemas.microsoft.com/office/drawing/2014/main" id="{3FF259EE-6472-A641-A38A-7133ADA5E107}"/>
                  </a:ext>
                </a:extLst>
              </p:cNvPr>
              <p:cNvSpPr>
                <a:spLocks/>
              </p:cNvSpPr>
              <p:nvPr/>
            </p:nvSpPr>
            <p:spPr bwMode="auto">
              <a:xfrm>
                <a:off x="11385551" y="3524250"/>
                <a:ext cx="25400" cy="12700"/>
              </a:xfrm>
              <a:custGeom>
                <a:avLst/>
                <a:gdLst>
                  <a:gd name="T0" fmla="*/ 8 w 32"/>
                  <a:gd name="T1" fmla="*/ 16 h 16"/>
                  <a:gd name="T2" fmla="*/ 24 w 32"/>
                  <a:gd name="T3" fmla="*/ 16 h 16"/>
                  <a:gd name="T4" fmla="*/ 24 w 32"/>
                  <a:gd name="T5" fmla="*/ 16 h 16"/>
                  <a:gd name="T6" fmla="*/ 28 w 32"/>
                  <a:gd name="T7" fmla="*/ 15 h 16"/>
                  <a:gd name="T8" fmla="*/ 31 w 32"/>
                  <a:gd name="T9" fmla="*/ 13 h 16"/>
                  <a:gd name="T10" fmla="*/ 32 w 32"/>
                  <a:gd name="T11" fmla="*/ 11 h 16"/>
                  <a:gd name="T12" fmla="*/ 32 w 32"/>
                  <a:gd name="T13" fmla="*/ 8 h 16"/>
                  <a:gd name="T14" fmla="*/ 32 w 32"/>
                  <a:gd name="T15" fmla="*/ 8 h 16"/>
                  <a:gd name="T16" fmla="*/ 32 w 32"/>
                  <a:gd name="T17" fmla="*/ 4 h 16"/>
                  <a:gd name="T18" fmla="*/ 31 w 32"/>
                  <a:gd name="T19" fmla="*/ 1 h 16"/>
                  <a:gd name="T20" fmla="*/ 28 w 32"/>
                  <a:gd name="T21" fmla="*/ 0 h 16"/>
                  <a:gd name="T22" fmla="*/ 24 w 32"/>
                  <a:gd name="T23" fmla="*/ 0 h 16"/>
                  <a:gd name="T24" fmla="*/ 8 w 32"/>
                  <a:gd name="T25" fmla="*/ 0 h 16"/>
                  <a:gd name="T26" fmla="*/ 8 w 32"/>
                  <a:gd name="T27" fmla="*/ 0 h 16"/>
                  <a:gd name="T28" fmla="*/ 5 w 32"/>
                  <a:gd name="T29" fmla="*/ 0 h 16"/>
                  <a:gd name="T30" fmla="*/ 2 w 32"/>
                  <a:gd name="T31" fmla="*/ 1 h 16"/>
                  <a:gd name="T32" fmla="*/ 0 w 32"/>
                  <a:gd name="T33" fmla="*/ 4 h 16"/>
                  <a:gd name="T34" fmla="*/ 0 w 32"/>
                  <a:gd name="T35" fmla="*/ 8 h 16"/>
                  <a:gd name="T36" fmla="*/ 0 w 32"/>
                  <a:gd name="T37" fmla="*/ 8 h 16"/>
                  <a:gd name="T38" fmla="*/ 0 w 32"/>
                  <a:gd name="T39" fmla="*/ 11 h 16"/>
                  <a:gd name="T40" fmla="*/ 2 w 32"/>
                  <a:gd name="T41" fmla="*/ 13 h 16"/>
                  <a:gd name="T42" fmla="*/ 5 w 32"/>
                  <a:gd name="T43" fmla="*/ 15 h 16"/>
                  <a:gd name="T44" fmla="*/ 8 w 32"/>
                  <a:gd name="T45" fmla="*/ 16 h 16"/>
                  <a:gd name="T46" fmla="*/ 8 w 32"/>
                  <a:gd name="T4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16">
                    <a:moveTo>
                      <a:pt x="8" y="16"/>
                    </a:moveTo>
                    <a:lnTo>
                      <a:pt x="24" y="16"/>
                    </a:lnTo>
                    <a:lnTo>
                      <a:pt x="24" y="16"/>
                    </a:lnTo>
                    <a:lnTo>
                      <a:pt x="28" y="15"/>
                    </a:lnTo>
                    <a:lnTo>
                      <a:pt x="31" y="13"/>
                    </a:lnTo>
                    <a:lnTo>
                      <a:pt x="32" y="11"/>
                    </a:lnTo>
                    <a:lnTo>
                      <a:pt x="32" y="8"/>
                    </a:lnTo>
                    <a:lnTo>
                      <a:pt x="32" y="8"/>
                    </a:lnTo>
                    <a:lnTo>
                      <a:pt x="32" y="4"/>
                    </a:lnTo>
                    <a:lnTo>
                      <a:pt x="31" y="1"/>
                    </a:lnTo>
                    <a:lnTo>
                      <a:pt x="28" y="0"/>
                    </a:lnTo>
                    <a:lnTo>
                      <a:pt x="24" y="0"/>
                    </a:lnTo>
                    <a:lnTo>
                      <a:pt x="8" y="0"/>
                    </a:lnTo>
                    <a:lnTo>
                      <a:pt x="8" y="0"/>
                    </a:lnTo>
                    <a:lnTo>
                      <a:pt x="5" y="0"/>
                    </a:lnTo>
                    <a:lnTo>
                      <a:pt x="2" y="1"/>
                    </a:lnTo>
                    <a:lnTo>
                      <a:pt x="0" y="4"/>
                    </a:lnTo>
                    <a:lnTo>
                      <a:pt x="0" y="8"/>
                    </a:lnTo>
                    <a:lnTo>
                      <a:pt x="0" y="8"/>
                    </a:lnTo>
                    <a:lnTo>
                      <a:pt x="0" y="11"/>
                    </a:lnTo>
                    <a:lnTo>
                      <a:pt x="2" y="13"/>
                    </a:lnTo>
                    <a:lnTo>
                      <a:pt x="5" y="15"/>
                    </a:lnTo>
                    <a:lnTo>
                      <a:pt x="8" y="16"/>
                    </a:lnTo>
                    <a:lnTo>
                      <a:pt x="8"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5" name="Freeform 201">
                <a:extLst>
                  <a:ext uri="{FF2B5EF4-FFF2-40B4-BE49-F238E27FC236}">
                    <a16:creationId xmlns:a16="http://schemas.microsoft.com/office/drawing/2014/main" id="{6B56F597-7AAD-644B-9F51-99F76DAAAE25}"/>
                  </a:ext>
                </a:extLst>
              </p:cNvPr>
              <p:cNvSpPr>
                <a:spLocks/>
              </p:cNvSpPr>
              <p:nvPr/>
            </p:nvSpPr>
            <p:spPr bwMode="auto">
              <a:xfrm>
                <a:off x="11342688" y="3524250"/>
                <a:ext cx="25400" cy="12700"/>
              </a:xfrm>
              <a:custGeom>
                <a:avLst/>
                <a:gdLst>
                  <a:gd name="T0" fmla="*/ 24 w 32"/>
                  <a:gd name="T1" fmla="*/ 0 h 16"/>
                  <a:gd name="T2" fmla="*/ 8 w 32"/>
                  <a:gd name="T3" fmla="*/ 0 h 16"/>
                  <a:gd name="T4" fmla="*/ 8 w 32"/>
                  <a:gd name="T5" fmla="*/ 0 h 16"/>
                  <a:gd name="T6" fmla="*/ 4 w 32"/>
                  <a:gd name="T7" fmla="*/ 0 h 16"/>
                  <a:gd name="T8" fmla="*/ 3 w 32"/>
                  <a:gd name="T9" fmla="*/ 1 h 16"/>
                  <a:gd name="T10" fmla="*/ 0 w 32"/>
                  <a:gd name="T11" fmla="*/ 4 h 16"/>
                  <a:gd name="T12" fmla="*/ 0 w 32"/>
                  <a:gd name="T13" fmla="*/ 8 h 16"/>
                  <a:gd name="T14" fmla="*/ 0 w 32"/>
                  <a:gd name="T15" fmla="*/ 8 h 16"/>
                  <a:gd name="T16" fmla="*/ 0 w 32"/>
                  <a:gd name="T17" fmla="*/ 11 h 16"/>
                  <a:gd name="T18" fmla="*/ 3 w 32"/>
                  <a:gd name="T19" fmla="*/ 13 h 16"/>
                  <a:gd name="T20" fmla="*/ 4 w 32"/>
                  <a:gd name="T21" fmla="*/ 15 h 16"/>
                  <a:gd name="T22" fmla="*/ 8 w 32"/>
                  <a:gd name="T23" fmla="*/ 16 h 16"/>
                  <a:gd name="T24" fmla="*/ 24 w 32"/>
                  <a:gd name="T25" fmla="*/ 16 h 16"/>
                  <a:gd name="T26" fmla="*/ 24 w 32"/>
                  <a:gd name="T27" fmla="*/ 16 h 16"/>
                  <a:gd name="T28" fmla="*/ 28 w 32"/>
                  <a:gd name="T29" fmla="*/ 15 h 16"/>
                  <a:gd name="T30" fmla="*/ 30 w 32"/>
                  <a:gd name="T31" fmla="*/ 13 h 16"/>
                  <a:gd name="T32" fmla="*/ 32 w 32"/>
                  <a:gd name="T33" fmla="*/ 11 h 16"/>
                  <a:gd name="T34" fmla="*/ 32 w 32"/>
                  <a:gd name="T35" fmla="*/ 8 h 16"/>
                  <a:gd name="T36" fmla="*/ 32 w 32"/>
                  <a:gd name="T37" fmla="*/ 8 h 16"/>
                  <a:gd name="T38" fmla="*/ 32 w 32"/>
                  <a:gd name="T39" fmla="*/ 4 h 16"/>
                  <a:gd name="T40" fmla="*/ 30 w 32"/>
                  <a:gd name="T41" fmla="*/ 1 h 16"/>
                  <a:gd name="T42" fmla="*/ 28 w 32"/>
                  <a:gd name="T43" fmla="*/ 0 h 16"/>
                  <a:gd name="T44" fmla="*/ 24 w 32"/>
                  <a:gd name="T45" fmla="*/ 0 h 16"/>
                  <a:gd name="T46" fmla="*/ 24 w 32"/>
                  <a:gd name="T4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16">
                    <a:moveTo>
                      <a:pt x="24" y="0"/>
                    </a:moveTo>
                    <a:lnTo>
                      <a:pt x="8" y="0"/>
                    </a:lnTo>
                    <a:lnTo>
                      <a:pt x="8" y="0"/>
                    </a:lnTo>
                    <a:lnTo>
                      <a:pt x="4" y="0"/>
                    </a:lnTo>
                    <a:lnTo>
                      <a:pt x="3" y="1"/>
                    </a:lnTo>
                    <a:lnTo>
                      <a:pt x="0" y="4"/>
                    </a:lnTo>
                    <a:lnTo>
                      <a:pt x="0" y="8"/>
                    </a:lnTo>
                    <a:lnTo>
                      <a:pt x="0" y="8"/>
                    </a:lnTo>
                    <a:lnTo>
                      <a:pt x="0" y="11"/>
                    </a:lnTo>
                    <a:lnTo>
                      <a:pt x="3" y="13"/>
                    </a:lnTo>
                    <a:lnTo>
                      <a:pt x="4" y="15"/>
                    </a:lnTo>
                    <a:lnTo>
                      <a:pt x="8" y="16"/>
                    </a:lnTo>
                    <a:lnTo>
                      <a:pt x="24" y="16"/>
                    </a:lnTo>
                    <a:lnTo>
                      <a:pt x="24" y="16"/>
                    </a:lnTo>
                    <a:lnTo>
                      <a:pt x="28" y="15"/>
                    </a:lnTo>
                    <a:lnTo>
                      <a:pt x="30" y="13"/>
                    </a:lnTo>
                    <a:lnTo>
                      <a:pt x="32" y="11"/>
                    </a:lnTo>
                    <a:lnTo>
                      <a:pt x="32" y="8"/>
                    </a:lnTo>
                    <a:lnTo>
                      <a:pt x="32" y="8"/>
                    </a:lnTo>
                    <a:lnTo>
                      <a:pt x="32" y="4"/>
                    </a:lnTo>
                    <a:lnTo>
                      <a:pt x="30" y="1"/>
                    </a:lnTo>
                    <a:lnTo>
                      <a:pt x="28" y="0"/>
                    </a:lnTo>
                    <a:lnTo>
                      <a:pt x="24" y="0"/>
                    </a:lnTo>
                    <a:lnTo>
                      <a:pt x="2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6" name="Freeform 202">
                <a:extLst>
                  <a:ext uri="{FF2B5EF4-FFF2-40B4-BE49-F238E27FC236}">
                    <a16:creationId xmlns:a16="http://schemas.microsoft.com/office/drawing/2014/main" id="{18F6C1BF-AE2D-0346-AE5A-18641B388B36}"/>
                  </a:ext>
                </a:extLst>
              </p:cNvPr>
              <p:cNvSpPr>
                <a:spLocks/>
              </p:cNvSpPr>
              <p:nvPr/>
            </p:nvSpPr>
            <p:spPr bwMode="auto">
              <a:xfrm>
                <a:off x="11428413" y="3524250"/>
                <a:ext cx="30163" cy="28575"/>
              </a:xfrm>
              <a:custGeom>
                <a:avLst/>
                <a:gdLst>
                  <a:gd name="T0" fmla="*/ 9 w 38"/>
                  <a:gd name="T1" fmla="*/ 16 h 38"/>
                  <a:gd name="T2" fmla="*/ 22 w 38"/>
                  <a:gd name="T3" fmla="*/ 16 h 38"/>
                  <a:gd name="T4" fmla="*/ 22 w 38"/>
                  <a:gd name="T5" fmla="*/ 30 h 38"/>
                  <a:gd name="T6" fmla="*/ 22 w 38"/>
                  <a:gd name="T7" fmla="*/ 30 h 38"/>
                  <a:gd name="T8" fmla="*/ 22 w 38"/>
                  <a:gd name="T9" fmla="*/ 34 h 38"/>
                  <a:gd name="T10" fmla="*/ 23 w 38"/>
                  <a:gd name="T11" fmla="*/ 36 h 38"/>
                  <a:gd name="T12" fmla="*/ 26 w 38"/>
                  <a:gd name="T13" fmla="*/ 38 h 38"/>
                  <a:gd name="T14" fmla="*/ 30 w 38"/>
                  <a:gd name="T15" fmla="*/ 38 h 38"/>
                  <a:gd name="T16" fmla="*/ 30 w 38"/>
                  <a:gd name="T17" fmla="*/ 38 h 38"/>
                  <a:gd name="T18" fmla="*/ 33 w 38"/>
                  <a:gd name="T19" fmla="*/ 38 h 38"/>
                  <a:gd name="T20" fmla="*/ 35 w 38"/>
                  <a:gd name="T21" fmla="*/ 36 h 38"/>
                  <a:gd name="T22" fmla="*/ 37 w 38"/>
                  <a:gd name="T23" fmla="*/ 34 h 38"/>
                  <a:gd name="T24" fmla="*/ 38 w 38"/>
                  <a:gd name="T25" fmla="*/ 30 h 38"/>
                  <a:gd name="T26" fmla="*/ 38 w 38"/>
                  <a:gd name="T27" fmla="*/ 8 h 38"/>
                  <a:gd name="T28" fmla="*/ 38 w 38"/>
                  <a:gd name="T29" fmla="*/ 8 h 38"/>
                  <a:gd name="T30" fmla="*/ 37 w 38"/>
                  <a:gd name="T31" fmla="*/ 4 h 38"/>
                  <a:gd name="T32" fmla="*/ 35 w 38"/>
                  <a:gd name="T33" fmla="*/ 1 h 38"/>
                  <a:gd name="T34" fmla="*/ 33 w 38"/>
                  <a:gd name="T35" fmla="*/ 0 h 38"/>
                  <a:gd name="T36" fmla="*/ 30 w 38"/>
                  <a:gd name="T37" fmla="*/ 0 h 38"/>
                  <a:gd name="T38" fmla="*/ 30 w 38"/>
                  <a:gd name="T39" fmla="*/ 0 h 38"/>
                  <a:gd name="T40" fmla="*/ 27 w 38"/>
                  <a:gd name="T41" fmla="*/ 0 h 38"/>
                  <a:gd name="T42" fmla="*/ 27 w 38"/>
                  <a:gd name="T43" fmla="*/ 0 h 38"/>
                  <a:gd name="T44" fmla="*/ 26 w 38"/>
                  <a:gd name="T45" fmla="*/ 0 h 38"/>
                  <a:gd name="T46" fmla="*/ 9 w 38"/>
                  <a:gd name="T47" fmla="*/ 0 h 38"/>
                  <a:gd name="T48" fmla="*/ 9 w 38"/>
                  <a:gd name="T49" fmla="*/ 0 h 38"/>
                  <a:gd name="T50" fmla="*/ 6 w 38"/>
                  <a:gd name="T51" fmla="*/ 0 h 38"/>
                  <a:gd name="T52" fmla="*/ 3 w 38"/>
                  <a:gd name="T53" fmla="*/ 1 h 38"/>
                  <a:gd name="T54" fmla="*/ 2 w 38"/>
                  <a:gd name="T55" fmla="*/ 4 h 38"/>
                  <a:gd name="T56" fmla="*/ 0 w 38"/>
                  <a:gd name="T57" fmla="*/ 8 h 38"/>
                  <a:gd name="T58" fmla="*/ 0 w 38"/>
                  <a:gd name="T59" fmla="*/ 8 h 38"/>
                  <a:gd name="T60" fmla="*/ 2 w 38"/>
                  <a:gd name="T61" fmla="*/ 11 h 38"/>
                  <a:gd name="T62" fmla="*/ 3 w 38"/>
                  <a:gd name="T63" fmla="*/ 13 h 38"/>
                  <a:gd name="T64" fmla="*/ 6 w 38"/>
                  <a:gd name="T65" fmla="*/ 15 h 38"/>
                  <a:gd name="T66" fmla="*/ 9 w 38"/>
                  <a:gd name="T67" fmla="*/ 16 h 38"/>
                  <a:gd name="T68" fmla="*/ 9 w 38"/>
                  <a:gd name="T69" fmla="*/ 1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 h="38">
                    <a:moveTo>
                      <a:pt x="9" y="16"/>
                    </a:moveTo>
                    <a:lnTo>
                      <a:pt x="22" y="16"/>
                    </a:lnTo>
                    <a:lnTo>
                      <a:pt x="22" y="30"/>
                    </a:lnTo>
                    <a:lnTo>
                      <a:pt x="22" y="30"/>
                    </a:lnTo>
                    <a:lnTo>
                      <a:pt x="22" y="34"/>
                    </a:lnTo>
                    <a:lnTo>
                      <a:pt x="23" y="36"/>
                    </a:lnTo>
                    <a:lnTo>
                      <a:pt x="26" y="38"/>
                    </a:lnTo>
                    <a:lnTo>
                      <a:pt x="30" y="38"/>
                    </a:lnTo>
                    <a:lnTo>
                      <a:pt x="30" y="38"/>
                    </a:lnTo>
                    <a:lnTo>
                      <a:pt x="33" y="38"/>
                    </a:lnTo>
                    <a:lnTo>
                      <a:pt x="35" y="36"/>
                    </a:lnTo>
                    <a:lnTo>
                      <a:pt x="37" y="34"/>
                    </a:lnTo>
                    <a:lnTo>
                      <a:pt x="38" y="30"/>
                    </a:lnTo>
                    <a:lnTo>
                      <a:pt x="38" y="8"/>
                    </a:lnTo>
                    <a:lnTo>
                      <a:pt x="38" y="8"/>
                    </a:lnTo>
                    <a:lnTo>
                      <a:pt x="37" y="4"/>
                    </a:lnTo>
                    <a:lnTo>
                      <a:pt x="35" y="1"/>
                    </a:lnTo>
                    <a:lnTo>
                      <a:pt x="33" y="0"/>
                    </a:lnTo>
                    <a:lnTo>
                      <a:pt x="30" y="0"/>
                    </a:lnTo>
                    <a:lnTo>
                      <a:pt x="30" y="0"/>
                    </a:lnTo>
                    <a:lnTo>
                      <a:pt x="27" y="0"/>
                    </a:lnTo>
                    <a:lnTo>
                      <a:pt x="27" y="0"/>
                    </a:lnTo>
                    <a:lnTo>
                      <a:pt x="26" y="0"/>
                    </a:lnTo>
                    <a:lnTo>
                      <a:pt x="9" y="0"/>
                    </a:lnTo>
                    <a:lnTo>
                      <a:pt x="9" y="0"/>
                    </a:lnTo>
                    <a:lnTo>
                      <a:pt x="6" y="0"/>
                    </a:lnTo>
                    <a:lnTo>
                      <a:pt x="3" y="1"/>
                    </a:lnTo>
                    <a:lnTo>
                      <a:pt x="2" y="4"/>
                    </a:lnTo>
                    <a:lnTo>
                      <a:pt x="0" y="8"/>
                    </a:lnTo>
                    <a:lnTo>
                      <a:pt x="0" y="8"/>
                    </a:lnTo>
                    <a:lnTo>
                      <a:pt x="2" y="11"/>
                    </a:lnTo>
                    <a:lnTo>
                      <a:pt x="3" y="13"/>
                    </a:lnTo>
                    <a:lnTo>
                      <a:pt x="6" y="15"/>
                    </a:lnTo>
                    <a:lnTo>
                      <a:pt x="9" y="16"/>
                    </a:lnTo>
                    <a:lnTo>
                      <a:pt x="9"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7" name="Freeform 203">
                <a:extLst>
                  <a:ext uri="{FF2B5EF4-FFF2-40B4-BE49-F238E27FC236}">
                    <a16:creationId xmlns:a16="http://schemas.microsoft.com/office/drawing/2014/main" id="{7DE1E7F8-C90F-B94B-986C-E9154F4D0887}"/>
                  </a:ext>
                </a:extLst>
              </p:cNvPr>
              <p:cNvSpPr>
                <a:spLocks/>
              </p:cNvSpPr>
              <p:nvPr/>
            </p:nvSpPr>
            <p:spPr bwMode="auto">
              <a:xfrm>
                <a:off x="11396663" y="3622675"/>
                <a:ext cx="107950" cy="107950"/>
              </a:xfrm>
              <a:custGeom>
                <a:avLst/>
                <a:gdLst>
                  <a:gd name="T0" fmla="*/ 136 w 137"/>
                  <a:gd name="T1" fmla="*/ 114 h 137"/>
                  <a:gd name="T2" fmla="*/ 90 w 137"/>
                  <a:gd name="T3" fmla="*/ 67 h 137"/>
                  <a:gd name="T4" fmla="*/ 136 w 137"/>
                  <a:gd name="T5" fmla="*/ 46 h 137"/>
                  <a:gd name="T6" fmla="*/ 136 w 137"/>
                  <a:gd name="T7" fmla="*/ 46 h 137"/>
                  <a:gd name="T8" fmla="*/ 137 w 137"/>
                  <a:gd name="T9" fmla="*/ 43 h 137"/>
                  <a:gd name="T10" fmla="*/ 137 w 137"/>
                  <a:gd name="T11" fmla="*/ 42 h 137"/>
                  <a:gd name="T12" fmla="*/ 137 w 137"/>
                  <a:gd name="T13" fmla="*/ 42 h 137"/>
                  <a:gd name="T14" fmla="*/ 137 w 137"/>
                  <a:gd name="T15" fmla="*/ 39 h 137"/>
                  <a:gd name="T16" fmla="*/ 134 w 137"/>
                  <a:gd name="T17" fmla="*/ 38 h 137"/>
                  <a:gd name="T18" fmla="*/ 6 w 137"/>
                  <a:gd name="T19" fmla="*/ 0 h 137"/>
                  <a:gd name="T20" fmla="*/ 6 w 137"/>
                  <a:gd name="T21" fmla="*/ 0 h 137"/>
                  <a:gd name="T22" fmla="*/ 3 w 137"/>
                  <a:gd name="T23" fmla="*/ 0 h 137"/>
                  <a:gd name="T24" fmla="*/ 2 w 137"/>
                  <a:gd name="T25" fmla="*/ 1 h 137"/>
                  <a:gd name="T26" fmla="*/ 2 w 137"/>
                  <a:gd name="T27" fmla="*/ 1 h 137"/>
                  <a:gd name="T28" fmla="*/ 0 w 137"/>
                  <a:gd name="T29" fmla="*/ 3 h 137"/>
                  <a:gd name="T30" fmla="*/ 0 w 137"/>
                  <a:gd name="T31" fmla="*/ 5 h 137"/>
                  <a:gd name="T32" fmla="*/ 38 w 137"/>
                  <a:gd name="T33" fmla="*/ 134 h 137"/>
                  <a:gd name="T34" fmla="*/ 38 w 137"/>
                  <a:gd name="T35" fmla="*/ 134 h 137"/>
                  <a:gd name="T36" fmla="*/ 39 w 137"/>
                  <a:gd name="T37" fmla="*/ 137 h 137"/>
                  <a:gd name="T38" fmla="*/ 40 w 137"/>
                  <a:gd name="T39" fmla="*/ 137 h 137"/>
                  <a:gd name="T40" fmla="*/ 40 w 137"/>
                  <a:gd name="T41" fmla="*/ 137 h 137"/>
                  <a:gd name="T42" fmla="*/ 42 w 137"/>
                  <a:gd name="T43" fmla="*/ 137 h 137"/>
                  <a:gd name="T44" fmla="*/ 42 w 137"/>
                  <a:gd name="T45" fmla="*/ 137 h 137"/>
                  <a:gd name="T46" fmla="*/ 43 w 137"/>
                  <a:gd name="T47" fmla="*/ 137 h 137"/>
                  <a:gd name="T48" fmla="*/ 46 w 137"/>
                  <a:gd name="T49" fmla="*/ 136 h 137"/>
                  <a:gd name="T50" fmla="*/ 67 w 137"/>
                  <a:gd name="T51" fmla="*/ 90 h 137"/>
                  <a:gd name="T52" fmla="*/ 114 w 137"/>
                  <a:gd name="T53" fmla="*/ 137 h 137"/>
                  <a:gd name="T54" fmla="*/ 114 w 137"/>
                  <a:gd name="T55" fmla="*/ 137 h 137"/>
                  <a:gd name="T56" fmla="*/ 117 w 137"/>
                  <a:gd name="T57" fmla="*/ 137 h 137"/>
                  <a:gd name="T58" fmla="*/ 120 w 137"/>
                  <a:gd name="T59" fmla="*/ 137 h 137"/>
                  <a:gd name="T60" fmla="*/ 136 w 137"/>
                  <a:gd name="T61" fmla="*/ 119 h 137"/>
                  <a:gd name="T62" fmla="*/ 136 w 137"/>
                  <a:gd name="T63" fmla="*/ 119 h 137"/>
                  <a:gd name="T64" fmla="*/ 137 w 137"/>
                  <a:gd name="T65" fmla="*/ 117 h 137"/>
                  <a:gd name="T66" fmla="*/ 136 w 137"/>
                  <a:gd name="T67" fmla="*/ 114 h 137"/>
                  <a:gd name="T68" fmla="*/ 136 w 137"/>
                  <a:gd name="T69" fmla="*/ 11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7" h="137">
                    <a:moveTo>
                      <a:pt x="136" y="114"/>
                    </a:moveTo>
                    <a:lnTo>
                      <a:pt x="90" y="67"/>
                    </a:lnTo>
                    <a:lnTo>
                      <a:pt x="136" y="46"/>
                    </a:lnTo>
                    <a:lnTo>
                      <a:pt x="136" y="46"/>
                    </a:lnTo>
                    <a:lnTo>
                      <a:pt x="137" y="43"/>
                    </a:lnTo>
                    <a:lnTo>
                      <a:pt x="137" y="42"/>
                    </a:lnTo>
                    <a:lnTo>
                      <a:pt x="137" y="42"/>
                    </a:lnTo>
                    <a:lnTo>
                      <a:pt x="137" y="39"/>
                    </a:lnTo>
                    <a:lnTo>
                      <a:pt x="134" y="38"/>
                    </a:lnTo>
                    <a:lnTo>
                      <a:pt x="6" y="0"/>
                    </a:lnTo>
                    <a:lnTo>
                      <a:pt x="6" y="0"/>
                    </a:lnTo>
                    <a:lnTo>
                      <a:pt x="3" y="0"/>
                    </a:lnTo>
                    <a:lnTo>
                      <a:pt x="2" y="1"/>
                    </a:lnTo>
                    <a:lnTo>
                      <a:pt x="2" y="1"/>
                    </a:lnTo>
                    <a:lnTo>
                      <a:pt x="0" y="3"/>
                    </a:lnTo>
                    <a:lnTo>
                      <a:pt x="0" y="5"/>
                    </a:lnTo>
                    <a:lnTo>
                      <a:pt x="38" y="134"/>
                    </a:lnTo>
                    <a:lnTo>
                      <a:pt x="38" y="134"/>
                    </a:lnTo>
                    <a:lnTo>
                      <a:pt x="39" y="137"/>
                    </a:lnTo>
                    <a:lnTo>
                      <a:pt x="40" y="137"/>
                    </a:lnTo>
                    <a:lnTo>
                      <a:pt x="40" y="137"/>
                    </a:lnTo>
                    <a:lnTo>
                      <a:pt x="42" y="137"/>
                    </a:lnTo>
                    <a:lnTo>
                      <a:pt x="42" y="137"/>
                    </a:lnTo>
                    <a:lnTo>
                      <a:pt x="43" y="137"/>
                    </a:lnTo>
                    <a:lnTo>
                      <a:pt x="46" y="136"/>
                    </a:lnTo>
                    <a:lnTo>
                      <a:pt x="67" y="90"/>
                    </a:lnTo>
                    <a:lnTo>
                      <a:pt x="114" y="137"/>
                    </a:lnTo>
                    <a:lnTo>
                      <a:pt x="114" y="137"/>
                    </a:lnTo>
                    <a:lnTo>
                      <a:pt x="117" y="137"/>
                    </a:lnTo>
                    <a:lnTo>
                      <a:pt x="120" y="137"/>
                    </a:lnTo>
                    <a:lnTo>
                      <a:pt x="136" y="119"/>
                    </a:lnTo>
                    <a:lnTo>
                      <a:pt x="136" y="119"/>
                    </a:lnTo>
                    <a:lnTo>
                      <a:pt x="137" y="117"/>
                    </a:lnTo>
                    <a:lnTo>
                      <a:pt x="136" y="114"/>
                    </a:lnTo>
                    <a:lnTo>
                      <a:pt x="136" y="1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8" name="Freeform 204">
                <a:extLst>
                  <a:ext uri="{FF2B5EF4-FFF2-40B4-BE49-F238E27FC236}">
                    <a16:creationId xmlns:a16="http://schemas.microsoft.com/office/drawing/2014/main" id="{A2F21B61-AF4C-2541-8121-CF1C567F36FE}"/>
                  </a:ext>
                </a:extLst>
              </p:cNvPr>
              <p:cNvSpPr>
                <a:spLocks/>
              </p:cNvSpPr>
              <p:nvPr/>
            </p:nvSpPr>
            <p:spPr bwMode="auto">
              <a:xfrm>
                <a:off x="11379201" y="3673475"/>
                <a:ext cx="26988" cy="12700"/>
              </a:xfrm>
              <a:custGeom>
                <a:avLst/>
                <a:gdLst>
                  <a:gd name="T0" fmla="*/ 25 w 33"/>
                  <a:gd name="T1" fmla="*/ 0 h 16"/>
                  <a:gd name="T2" fmla="*/ 8 w 33"/>
                  <a:gd name="T3" fmla="*/ 0 h 16"/>
                  <a:gd name="T4" fmla="*/ 8 w 33"/>
                  <a:gd name="T5" fmla="*/ 0 h 16"/>
                  <a:gd name="T6" fmla="*/ 5 w 33"/>
                  <a:gd name="T7" fmla="*/ 0 h 16"/>
                  <a:gd name="T8" fmla="*/ 2 w 33"/>
                  <a:gd name="T9" fmla="*/ 1 h 16"/>
                  <a:gd name="T10" fmla="*/ 1 w 33"/>
                  <a:gd name="T11" fmla="*/ 4 h 16"/>
                  <a:gd name="T12" fmla="*/ 0 w 33"/>
                  <a:gd name="T13" fmla="*/ 8 h 16"/>
                  <a:gd name="T14" fmla="*/ 0 w 33"/>
                  <a:gd name="T15" fmla="*/ 8 h 16"/>
                  <a:gd name="T16" fmla="*/ 1 w 33"/>
                  <a:gd name="T17" fmla="*/ 11 h 16"/>
                  <a:gd name="T18" fmla="*/ 2 w 33"/>
                  <a:gd name="T19" fmla="*/ 13 h 16"/>
                  <a:gd name="T20" fmla="*/ 5 w 33"/>
                  <a:gd name="T21" fmla="*/ 15 h 16"/>
                  <a:gd name="T22" fmla="*/ 8 w 33"/>
                  <a:gd name="T23" fmla="*/ 16 h 16"/>
                  <a:gd name="T24" fmla="*/ 25 w 33"/>
                  <a:gd name="T25" fmla="*/ 16 h 16"/>
                  <a:gd name="T26" fmla="*/ 25 w 33"/>
                  <a:gd name="T27" fmla="*/ 16 h 16"/>
                  <a:gd name="T28" fmla="*/ 28 w 33"/>
                  <a:gd name="T29" fmla="*/ 15 h 16"/>
                  <a:gd name="T30" fmla="*/ 31 w 33"/>
                  <a:gd name="T31" fmla="*/ 13 h 16"/>
                  <a:gd name="T32" fmla="*/ 32 w 33"/>
                  <a:gd name="T33" fmla="*/ 11 h 16"/>
                  <a:gd name="T34" fmla="*/ 33 w 33"/>
                  <a:gd name="T35" fmla="*/ 8 h 16"/>
                  <a:gd name="T36" fmla="*/ 33 w 33"/>
                  <a:gd name="T37" fmla="*/ 8 h 16"/>
                  <a:gd name="T38" fmla="*/ 32 w 33"/>
                  <a:gd name="T39" fmla="*/ 4 h 16"/>
                  <a:gd name="T40" fmla="*/ 31 w 33"/>
                  <a:gd name="T41" fmla="*/ 1 h 16"/>
                  <a:gd name="T42" fmla="*/ 28 w 33"/>
                  <a:gd name="T43" fmla="*/ 0 h 16"/>
                  <a:gd name="T44" fmla="*/ 25 w 33"/>
                  <a:gd name="T45" fmla="*/ 0 h 16"/>
                  <a:gd name="T46" fmla="*/ 25 w 33"/>
                  <a:gd name="T4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 h="16">
                    <a:moveTo>
                      <a:pt x="25" y="0"/>
                    </a:moveTo>
                    <a:lnTo>
                      <a:pt x="8" y="0"/>
                    </a:lnTo>
                    <a:lnTo>
                      <a:pt x="8" y="0"/>
                    </a:lnTo>
                    <a:lnTo>
                      <a:pt x="5" y="0"/>
                    </a:lnTo>
                    <a:lnTo>
                      <a:pt x="2" y="1"/>
                    </a:lnTo>
                    <a:lnTo>
                      <a:pt x="1" y="4"/>
                    </a:lnTo>
                    <a:lnTo>
                      <a:pt x="0" y="8"/>
                    </a:lnTo>
                    <a:lnTo>
                      <a:pt x="0" y="8"/>
                    </a:lnTo>
                    <a:lnTo>
                      <a:pt x="1" y="11"/>
                    </a:lnTo>
                    <a:lnTo>
                      <a:pt x="2" y="13"/>
                    </a:lnTo>
                    <a:lnTo>
                      <a:pt x="5" y="15"/>
                    </a:lnTo>
                    <a:lnTo>
                      <a:pt x="8" y="16"/>
                    </a:lnTo>
                    <a:lnTo>
                      <a:pt x="25" y="16"/>
                    </a:lnTo>
                    <a:lnTo>
                      <a:pt x="25" y="16"/>
                    </a:lnTo>
                    <a:lnTo>
                      <a:pt x="28" y="15"/>
                    </a:lnTo>
                    <a:lnTo>
                      <a:pt x="31" y="13"/>
                    </a:lnTo>
                    <a:lnTo>
                      <a:pt x="32" y="11"/>
                    </a:lnTo>
                    <a:lnTo>
                      <a:pt x="33" y="8"/>
                    </a:lnTo>
                    <a:lnTo>
                      <a:pt x="33" y="8"/>
                    </a:lnTo>
                    <a:lnTo>
                      <a:pt x="32" y="4"/>
                    </a:lnTo>
                    <a:lnTo>
                      <a:pt x="31" y="1"/>
                    </a:lnTo>
                    <a:lnTo>
                      <a:pt x="28" y="0"/>
                    </a:lnTo>
                    <a:lnTo>
                      <a:pt x="25" y="0"/>
                    </a:lnTo>
                    <a:lnTo>
                      <a:pt x="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9" name="Freeform 206">
                <a:extLst>
                  <a:ext uri="{FF2B5EF4-FFF2-40B4-BE49-F238E27FC236}">
                    <a16:creationId xmlns:a16="http://schemas.microsoft.com/office/drawing/2014/main" id="{7E1B8615-DADB-0B44-A23D-814B0DB2B297}"/>
                  </a:ext>
                </a:extLst>
              </p:cNvPr>
              <p:cNvSpPr>
                <a:spLocks/>
              </p:cNvSpPr>
              <p:nvPr/>
            </p:nvSpPr>
            <p:spPr bwMode="auto">
              <a:xfrm>
                <a:off x="11339513" y="3673475"/>
                <a:ext cx="25400" cy="12700"/>
              </a:xfrm>
              <a:custGeom>
                <a:avLst/>
                <a:gdLst>
                  <a:gd name="T0" fmla="*/ 24 w 32"/>
                  <a:gd name="T1" fmla="*/ 0 h 17"/>
                  <a:gd name="T2" fmla="*/ 8 w 32"/>
                  <a:gd name="T3" fmla="*/ 0 h 17"/>
                  <a:gd name="T4" fmla="*/ 8 w 32"/>
                  <a:gd name="T5" fmla="*/ 0 h 17"/>
                  <a:gd name="T6" fmla="*/ 5 w 32"/>
                  <a:gd name="T7" fmla="*/ 0 h 17"/>
                  <a:gd name="T8" fmla="*/ 3 w 32"/>
                  <a:gd name="T9" fmla="*/ 2 h 17"/>
                  <a:gd name="T10" fmla="*/ 0 w 32"/>
                  <a:gd name="T11" fmla="*/ 4 h 17"/>
                  <a:gd name="T12" fmla="*/ 0 w 32"/>
                  <a:gd name="T13" fmla="*/ 8 h 17"/>
                  <a:gd name="T14" fmla="*/ 0 w 32"/>
                  <a:gd name="T15" fmla="*/ 8 h 17"/>
                  <a:gd name="T16" fmla="*/ 0 w 32"/>
                  <a:gd name="T17" fmla="*/ 11 h 17"/>
                  <a:gd name="T18" fmla="*/ 3 w 32"/>
                  <a:gd name="T19" fmla="*/ 14 h 17"/>
                  <a:gd name="T20" fmla="*/ 5 w 32"/>
                  <a:gd name="T21" fmla="*/ 15 h 17"/>
                  <a:gd name="T22" fmla="*/ 8 w 32"/>
                  <a:gd name="T23" fmla="*/ 17 h 17"/>
                  <a:gd name="T24" fmla="*/ 24 w 32"/>
                  <a:gd name="T25" fmla="*/ 17 h 17"/>
                  <a:gd name="T26" fmla="*/ 24 w 32"/>
                  <a:gd name="T27" fmla="*/ 17 h 17"/>
                  <a:gd name="T28" fmla="*/ 28 w 32"/>
                  <a:gd name="T29" fmla="*/ 15 h 17"/>
                  <a:gd name="T30" fmla="*/ 31 w 32"/>
                  <a:gd name="T31" fmla="*/ 14 h 17"/>
                  <a:gd name="T32" fmla="*/ 32 w 32"/>
                  <a:gd name="T33" fmla="*/ 11 h 17"/>
                  <a:gd name="T34" fmla="*/ 32 w 32"/>
                  <a:gd name="T35" fmla="*/ 8 h 17"/>
                  <a:gd name="T36" fmla="*/ 32 w 32"/>
                  <a:gd name="T37" fmla="*/ 8 h 17"/>
                  <a:gd name="T38" fmla="*/ 32 w 32"/>
                  <a:gd name="T39" fmla="*/ 4 h 17"/>
                  <a:gd name="T40" fmla="*/ 31 w 32"/>
                  <a:gd name="T41" fmla="*/ 2 h 17"/>
                  <a:gd name="T42" fmla="*/ 28 w 32"/>
                  <a:gd name="T43" fmla="*/ 0 h 17"/>
                  <a:gd name="T44" fmla="*/ 24 w 32"/>
                  <a:gd name="T45" fmla="*/ 0 h 17"/>
                  <a:gd name="T46" fmla="*/ 24 w 32"/>
                  <a:gd name="T4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17">
                    <a:moveTo>
                      <a:pt x="24" y="0"/>
                    </a:moveTo>
                    <a:lnTo>
                      <a:pt x="8" y="0"/>
                    </a:lnTo>
                    <a:lnTo>
                      <a:pt x="8" y="0"/>
                    </a:lnTo>
                    <a:lnTo>
                      <a:pt x="5" y="0"/>
                    </a:lnTo>
                    <a:lnTo>
                      <a:pt x="3" y="2"/>
                    </a:lnTo>
                    <a:lnTo>
                      <a:pt x="0" y="4"/>
                    </a:lnTo>
                    <a:lnTo>
                      <a:pt x="0" y="8"/>
                    </a:lnTo>
                    <a:lnTo>
                      <a:pt x="0" y="8"/>
                    </a:lnTo>
                    <a:lnTo>
                      <a:pt x="0" y="11"/>
                    </a:lnTo>
                    <a:lnTo>
                      <a:pt x="3" y="14"/>
                    </a:lnTo>
                    <a:lnTo>
                      <a:pt x="5" y="15"/>
                    </a:lnTo>
                    <a:lnTo>
                      <a:pt x="8" y="17"/>
                    </a:lnTo>
                    <a:lnTo>
                      <a:pt x="24" y="17"/>
                    </a:lnTo>
                    <a:lnTo>
                      <a:pt x="24" y="17"/>
                    </a:lnTo>
                    <a:lnTo>
                      <a:pt x="28" y="15"/>
                    </a:lnTo>
                    <a:lnTo>
                      <a:pt x="31" y="14"/>
                    </a:lnTo>
                    <a:lnTo>
                      <a:pt x="32" y="11"/>
                    </a:lnTo>
                    <a:lnTo>
                      <a:pt x="32" y="8"/>
                    </a:lnTo>
                    <a:lnTo>
                      <a:pt x="32" y="8"/>
                    </a:lnTo>
                    <a:lnTo>
                      <a:pt x="32" y="4"/>
                    </a:lnTo>
                    <a:lnTo>
                      <a:pt x="31" y="2"/>
                    </a:lnTo>
                    <a:lnTo>
                      <a:pt x="28" y="0"/>
                    </a:lnTo>
                    <a:lnTo>
                      <a:pt x="24" y="0"/>
                    </a:lnTo>
                    <a:lnTo>
                      <a:pt x="2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0" name="Freeform 207">
                <a:extLst>
                  <a:ext uri="{FF2B5EF4-FFF2-40B4-BE49-F238E27FC236}">
                    <a16:creationId xmlns:a16="http://schemas.microsoft.com/office/drawing/2014/main" id="{DC0E6720-A14F-E740-B135-4CFAE0824385}"/>
                  </a:ext>
                </a:extLst>
              </p:cNvPr>
              <p:cNvSpPr>
                <a:spLocks/>
              </p:cNvSpPr>
              <p:nvPr/>
            </p:nvSpPr>
            <p:spPr bwMode="auto">
              <a:xfrm>
                <a:off x="11295063" y="3656013"/>
                <a:ext cx="30163" cy="30163"/>
              </a:xfrm>
              <a:custGeom>
                <a:avLst/>
                <a:gdLst>
                  <a:gd name="T0" fmla="*/ 30 w 38"/>
                  <a:gd name="T1" fmla="*/ 22 h 39"/>
                  <a:gd name="T2" fmla="*/ 16 w 38"/>
                  <a:gd name="T3" fmla="*/ 22 h 39"/>
                  <a:gd name="T4" fmla="*/ 16 w 38"/>
                  <a:gd name="T5" fmla="*/ 8 h 39"/>
                  <a:gd name="T6" fmla="*/ 16 w 38"/>
                  <a:gd name="T7" fmla="*/ 8 h 39"/>
                  <a:gd name="T8" fmla="*/ 16 w 38"/>
                  <a:gd name="T9" fmla="*/ 5 h 39"/>
                  <a:gd name="T10" fmla="*/ 15 w 38"/>
                  <a:gd name="T11" fmla="*/ 2 h 39"/>
                  <a:gd name="T12" fmla="*/ 12 w 38"/>
                  <a:gd name="T13" fmla="*/ 1 h 39"/>
                  <a:gd name="T14" fmla="*/ 8 w 38"/>
                  <a:gd name="T15" fmla="*/ 0 h 39"/>
                  <a:gd name="T16" fmla="*/ 8 w 38"/>
                  <a:gd name="T17" fmla="*/ 0 h 39"/>
                  <a:gd name="T18" fmla="*/ 5 w 38"/>
                  <a:gd name="T19" fmla="*/ 1 h 39"/>
                  <a:gd name="T20" fmla="*/ 3 w 38"/>
                  <a:gd name="T21" fmla="*/ 2 h 39"/>
                  <a:gd name="T22" fmla="*/ 1 w 38"/>
                  <a:gd name="T23" fmla="*/ 5 h 39"/>
                  <a:gd name="T24" fmla="*/ 0 w 38"/>
                  <a:gd name="T25" fmla="*/ 8 h 39"/>
                  <a:gd name="T26" fmla="*/ 0 w 38"/>
                  <a:gd name="T27" fmla="*/ 30 h 39"/>
                  <a:gd name="T28" fmla="*/ 0 w 38"/>
                  <a:gd name="T29" fmla="*/ 30 h 39"/>
                  <a:gd name="T30" fmla="*/ 1 w 38"/>
                  <a:gd name="T31" fmla="*/ 33 h 39"/>
                  <a:gd name="T32" fmla="*/ 3 w 38"/>
                  <a:gd name="T33" fmla="*/ 36 h 39"/>
                  <a:gd name="T34" fmla="*/ 5 w 38"/>
                  <a:gd name="T35" fmla="*/ 37 h 39"/>
                  <a:gd name="T36" fmla="*/ 8 w 38"/>
                  <a:gd name="T37" fmla="*/ 39 h 39"/>
                  <a:gd name="T38" fmla="*/ 8 w 38"/>
                  <a:gd name="T39" fmla="*/ 39 h 39"/>
                  <a:gd name="T40" fmla="*/ 11 w 38"/>
                  <a:gd name="T41" fmla="*/ 39 h 39"/>
                  <a:gd name="T42" fmla="*/ 11 w 38"/>
                  <a:gd name="T43" fmla="*/ 39 h 39"/>
                  <a:gd name="T44" fmla="*/ 13 w 38"/>
                  <a:gd name="T45" fmla="*/ 39 h 39"/>
                  <a:gd name="T46" fmla="*/ 30 w 38"/>
                  <a:gd name="T47" fmla="*/ 39 h 39"/>
                  <a:gd name="T48" fmla="*/ 30 w 38"/>
                  <a:gd name="T49" fmla="*/ 39 h 39"/>
                  <a:gd name="T50" fmla="*/ 32 w 38"/>
                  <a:gd name="T51" fmla="*/ 37 h 39"/>
                  <a:gd name="T52" fmla="*/ 35 w 38"/>
                  <a:gd name="T53" fmla="*/ 36 h 39"/>
                  <a:gd name="T54" fmla="*/ 38 w 38"/>
                  <a:gd name="T55" fmla="*/ 33 h 39"/>
                  <a:gd name="T56" fmla="*/ 38 w 38"/>
                  <a:gd name="T57" fmla="*/ 30 h 39"/>
                  <a:gd name="T58" fmla="*/ 38 w 38"/>
                  <a:gd name="T59" fmla="*/ 30 h 39"/>
                  <a:gd name="T60" fmla="*/ 38 w 38"/>
                  <a:gd name="T61" fmla="*/ 26 h 39"/>
                  <a:gd name="T62" fmla="*/ 35 w 38"/>
                  <a:gd name="T63" fmla="*/ 24 h 39"/>
                  <a:gd name="T64" fmla="*/ 32 w 38"/>
                  <a:gd name="T65" fmla="*/ 22 h 39"/>
                  <a:gd name="T66" fmla="*/ 30 w 38"/>
                  <a:gd name="T67" fmla="*/ 22 h 39"/>
                  <a:gd name="T68" fmla="*/ 30 w 38"/>
                  <a:gd name="T69" fmla="*/ 2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 h="39">
                    <a:moveTo>
                      <a:pt x="30" y="22"/>
                    </a:moveTo>
                    <a:lnTo>
                      <a:pt x="16" y="22"/>
                    </a:lnTo>
                    <a:lnTo>
                      <a:pt x="16" y="8"/>
                    </a:lnTo>
                    <a:lnTo>
                      <a:pt x="16" y="8"/>
                    </a:lnTo>
                    <a:lnTo>
                      <a:pt x="16" y="5"/>
                    </a:lnTo>
                    <a:lnTo>
                      <a:pt x="15" y="2"/>
                    </a:lnTo>
                    <a:lnTo>
                      <a:pt x="12" y="1"/>
                    </a:lnTo>
                    <a:lnTo>
                      <a:pt x="8" y="0"/>
                    </a:lnTo>
                    <a:lnTo>
                      <a:pt x="8" y="0"/>
                    </a:lnTo>
                    <a:lnTo>
                      <a:pt x="5" y="1"/>
                    </a:lnTo>
                    <a:lnTo>
                      <a:pt x="3" y="2"/>
                    </a:lnTo>
                    <a:lnTo>
                      <a:pt x="1" y="5"/>
                    </a:lnTo>
                    <a:lnTo>
                      <a:pt x="0" y="8"/>
                    </a:lnTo>
                    <a:lnTo>
                      <a:pt x="0" y="30"/>
                    </a:lnTo>
                    <a:lnTo>
                      <a:pt x="0" y="30"/>
                    </a:lnTo>
                    <a:lnTo>
                      <a:pt x="1" y="33"/>
                    </a:lnTo>
                    <a:lnTo>
                      <a:pt x="3" y="36"/>
                    </a:lnTo>
                    <a:lnTo>
                      <a:pt x="5" y="37"/>
                    </a:lnTo>
                    <a:lnTo>
                      <a:pt x="8" y="39"/>
                    </a:lnTo>
                    <a:lnTo>
                      <a:pt x="8" y="39"/>
                    </a:lnTo>
                    <a:lnTo>
                      <a:pt x="11" y="39"/>
                    </a:lnTo>
                    <a:lnTo>
                      <a:pt x="11" y="39"/>
                    </a:lnTo>
                    <a:lnTo>
                      <a:pt x="13" y="39"/>
                    </a:lnTo>
                    <a:lnTo>
                      <a:pt x="30" y="39"/>
                    </a:lnTo>
                    <a:lnTo>
                      <a:pt x="30" y="39"/>
                    </a:lnTo>
                    <a:lnTo>
                      <a:pt x="32" y="37"/>
                    </a:lnTo>
                    <a:lnTo>
                      <a:pt x="35" y="36"/>
                    </a:lnTo>
                    <a:lnTo>
                      <a:pt x="38" y="33"/>
                    </a:lnTo>
                    <a:lnTo>
                      <a:pt x="38" y="30"/>
                    </a:lnTo>
                    <a:lnTo>
                      <a:pt x="38" y="30"/>
                    </a:lnTo>
                    <a:lnTo>
                      <a:pt x="38" y="26"/>
                    </a:lnTo>
                    <a:lnTo>
                      <a:pt x="35" y="24"/>
                    </a:lnTo>
                    <a:lnTo>
                      <a:pt x="32" y="22"/>
                    </a:lnTo>
                    <a:lnTo>
                      <a:pt x="30" y="22"/>
                    </a:lnTo>
                    <a:lnTo>
                      <a:pt x="30"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1" name="Freeform 208">
                <a:extLst>
                  <a:ext uri="{FF2B5EF4-FFF2-40B4-BE49-F238E27FC236}">
                    <a16:creationId xmlns:a16="http://schemas.microsoft.com/office/drawing/2014/main" id="{EED976E9-D346-1849-8E7B-DD822E7D6DD7}"/>
                  </a:ext>
                </a:extLst>
              </p:cNvPr>
              <p:cNvSpPr>
                <a:spLocks/>
              </p:cNvSpPr>
              <p:nvPr/>
            </p:nvSpPr>
            <p:spPr bwMode="auto">
              <a:xfrm>
                <a:off x="11295063" y="3611563"/>
                <a:ext cx="14288" cy="30163"/>
              </a:xfrm>
              <a:custGeom>
                <a:avLst/>
                <a:gdLst>
                  <a:gd name="T0" fmla="*/ 8 w 16"/>
                  <a:gd name="T1" fmla="*/ 37 h 37"/>
                  <a:gd name="T2" fmla="*/ 8 w 16"/>
                  <a:gd name="T3" fmla="*/ 37 h 37"/>
                  <a:gd name="T4" fmla="*/ 12 w 16"/>
                  <a:gd name="T5" fmla="*/ 37 h 37"/>
                  <a:gd name="T6" fmla="*/ 15 w 16"/>
                  <a:gd name="T7" fmla="*/ 34 h 37"/>
                  <a:gd name="T8" fmla="*/ 16 w 16"/>
                  <a:gd name="T9" fmla="*/ 33 h 37"/>
                  <a:gd name="T10" fmla="*/ 16 w 16"/>
                  <a:gd name="T11" fmla="*/ 29 h 37"/>
                  <a:gd name="T12" fmla="*/ 16 w 16"/>
                  <a:gd name="T13" fmla="*/ 8 h 37"/>
                  <a:gd name="T14" fmla="*/ 16 w 16"/>
                  <a:gd name="T15" fmla="*/ 8 h 37"/>
                  <a:gd name="T16" fmla="*/ 16 w 16"/>
                  <a:gd name="T17" fmla="*/ 4 h 37"/>
                  <a:gd name="T18" fmla="*/ 15 w 16"/>
                  <a:gd name="T19" fmla="*/ 1 h 37"/>
                  <a:gd name="T20" fmla="*/ 12 w 16"/>
                  <a:gd name="T21" fmla="*/ 0 h 37"/>
                  <a:gd name="T22" fmla="*/ 8 w 16"/>
                  <a:gd name="T23" fmla="*/ 0 h 37"/>
                  <a:gd name="T24" fmla="*/ 8 w 16"/>
                  <a:gd name="T25" fmla="*/ 0 h 37"/>
                  <a:gd name="T26" fmla="*/ 5 w 16"/>
                  <a:gd name="T27" fmla="*/ 0 h 37"/>
                  <a:gd name="T28" fmla="*/ 3 w 16"/>
                  <a:gd name="T29" fmla="*/ 1 h 37"/>
                  <a:gd name="T30" fmla="*/ 1 w 16"/>
                  <a:gd name="T31" fmla="*/ 4 h 37"/>
                  <a:gd name="T32" fmla="*/ 0 w 16"/>
                  <a:gd name="T33" fmla="*/ 8 h 37"/>
                  <a:gd name="T34" fmla="*/ 0 w 16"/>
                  <a:gd name="T35" fmla="*/ 29 h 37"/>
                  <a:gd name="T36" fmla="*/ 0 w 16"/>
                  <a:gd name="T37" fmla="*/ 29 h 37"/>
                  <a:gd name="T38" fmla="*/ 1 w 16"/>
                  <a:gd name="T39" fmla="*/ 33 h 37"/>
                  <a:gd name="T40" fmla="*/ 3 w 16"/>
                  <a:gd name="T41" fmla="*/ 34 h 37"/>
                  <a:gd name="T42" fmla="*/ 5 w 16"/>
                  <a:gd name="T43" fmla="*/ 37 h 37"/>
                  <a:gd name="T44" fmla="*/ 8 w 16"/>
                  <a:gd name="T45" fmla="*/ 37 h 37"/>
                  <a:gd name="T46" fmla="*/ 8 w 16"/>
                  <a:gd name="T4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7">
                    <a:moveTo>
                      <a:pt x="8" y="37"/>
                    </a:moveTo>
                    <a:lnTo>
                      <a:pt x="8" y="37"/>
                    </a:lnTo>
                    <a:lnTo>
                      <a:pt x="12" y="37"/>
                    </a:lnTo>
                    <a:lnTo>
                      <a:pt x="15" y="34"/>
                    </a:lnTo>
                    <a:lnTo>
                      <a:pt x="16" y="33"/>
                    </a:lnTo>
                    <a:lnTo>
                      <a:pt x="16" y="29"/>
                    </a:lnTo>
                    <a:lnTo>
                      <a:pt x="16" y="8"/>
                    </a:lnTo>
                    <a:lnTo>
                      <a:pt x="16" y="8"/>
                    </a:lnTo>
                    <a:lnTo>
                      <a:pt x="16" y="4"/>
                    </a:lnTo>
                    <a:lnTo>
                      <a:pt x="15" y="1"/>
                    </a:lnTo>
                    <a:lnTo>
                      <a:pt x="12" y="0"/>
                    </a:lnTo>
                    <a:lnTo>
                      <a:pt x="8" y="0"/>
                    </a:lnTo>
                    <a:lnTo>
                      <a:pt x="8" y="0"/>
                    </a:lnTo>
                    <a:lnTo>
                      <a:pt x="5" y="0"/>
                    </a:lnTo>
                    <a:lnTo>
                      <a:pt x="3" y="1"/>
                    </a:lnTo>
                    <a:lnTo>
                      <a:pt x="1" y="4"/>
                    </a:lnTo>
                    <a:lnTo>
                      <a:pt x="0" y="8"/>
                    </a:lnTo>
                    <a:lnTo>
                      <a:pt x="0" y="29"/>
                    </a:lnTo>
                    <a:lnTo>
                      <a:pt x="0" y="29"/>
                    </a:lnTo>
                    <a:lnTo>
                      <a:pt x="1" y="33"/>
                    </a:lnTo>
                    <a:lnTo>
                      <a:pt x="3" y="34"/>
                    </a:lnTo>
                    <a:lnTo>
                      <a:pt x="5" y="37"/>
                    </a:lnTo>
                    <a:lnTo>
                      <a:pt x="8" y="37"/>
                    </a:lnTo>
                    <a:lnTo>
                      <a:pt x="8"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2" name="Freeform 209">
                <a:extLst>
                  <a:ext uri="{FF2B5EF4-FFF2-40B4-BE49-F238E27FC236}">
                    <a16:creationId xmlns:a16="http://schemas.microsoft.com/office/drawing/2014/main" id="{E989F3CB-2C78-8641-A78D-4AC8AF691AF6}"/>
                  </a:ext>
                </a:extLst>
              </p:cNvPr>
              <p:cNvSpPr>
                <a:spLocks/>
              </p:cNvSpPr>
              <p:nvPr/>
            </p:nvSpPr>
            <p:spPr bwMode="auto">
              <a:xfrm>
                <a:off x="11295063" y="3567113"/>
                <a:ext cx="14288" cy="31750"/>
              </a:xfrm>
              <a:custGeom>
                <a:avLst/>
                <a:gdLst>
                  <a:gd name="T0" fmla="*/ 8 w 16"/>
                  <a:gd name="T1" fmla="*/ 39 h 39"/>
                  <a:gd name="T2" fmla="*/ 8 w 16"/>
                  <a:gd name="T3" fmla="*/ 39 h 39"/>
                  <a:gd name="T4" fmla="*/ 12 w 16"/>
                  <a:gd name="T5" fmla="*/ 38 h 39"/>
                  <a:gd name="T6" fmla="*/ 15 w 16"/>
                  <a:gd name="T7" fmla="*/ 36 h 39"/>
                  <a:gd name="T8" fmla="*/ 16 w 16"/>
                  <a:gd name="T9" fmla="*/ 34 h 39"/>
                  <a:gd name="T10" fmla="*/ 16 w 16"/>
                  <a:gd name="T11" fmla="*/ 31 h 39"/>
                  <a:gd name="T12" fmla="*/ 16 w 16"/>
                  <a:gd name="T13" fmla="*/ 8 h 39"/>
                  <a:gd name="T14" fmla="*/ 16 w 16"/>
                  <a:gd name="T15" fmla="*/ 8 h 39"/>
                  <a:gd name="T16" fmla="*/ 16 w 16"/>
                  <a:gd name="T17" fmla="*/ 5 h 39"/>
                  <a:gd name="T18" fmla="*/ 15 w 16"/>
                  <a:gd name="T19" fmla="*/ 3 h 39"/>
                  <a:gd name="T20" fmla="*/ 12 w 16"/>
                  <a:gd name="T21" fmla="*/ 1 h 39"/>
                  <a:gd name="T22" fmla="*/ 8 w 16"/>
                  <a:gd name="T23" fmla="*/ 0 h 39"/>
                  <a:gd name="T24" fmla="*/ 8 w 16"/>
                  <a:gd name="T25" fmla="*/ 0 h 39"/>
                  <a:gd name="T26" fmla="*/ 5 w 16"/>
                  <a:gd name="T27" fmla="*/ 1 h 39"/>
                  <a:gd name="T28" fmla="*/ 3 w 16"/>
                  <a:gd name="T29" fmla="*/ 3 h 39"/>
                  <a:gd name="T30" fmla="*/ 1 w 16"/>
                  <a:gd name="T31" fmla="*/ 5 h 39"/>
                  <a:gd name="T32" fmla="*/ 0 w 16"/>
                  <a:gd name="T33" fmla="*/ 8 h 39"/>
                  <a:gd name="T34" fmla="*/ 0 w 16"/>
                  <a:gd name="T35" fmla="*/ 31 h 39"/>
                  <a:gd name="T36" fmla="*/ 0 w 16"/>
                  <a:gd name="T37" fmla="*/ 31 h 39"/>
                  <a:gd name="T38" fmla="*/ 1 w 16"/>
                  <a:gd name="T39" fmla="*/ 34 h 39"/>
                  <a:gd name="T40" fmla="*/ 3 w 16"/>
                  <a:gd name="T41" fmla="*/ 36 h 39"/>
                  <a:gd name="T42" fmla="*/ 5 w 16"/>
                  <a:gd name="T43" fmla="*/ 38 h 39"/>
                  <a:gd name="T44" fmla="*/ 8 w 16"/>
                  <a:gd name="T45" fmla="*/ 39 h 39"/>
                  <a:gd name="T46" fmla="*/ 8 w 16"/>
                  <a:gd name="T4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9">
                    <a:moveTo>
                      <a:pt x="8" y="39"/>
                    </a:moveTo>
                    <a:lnTo>
                      <a:pt x="8" y="39"/>
                    </a:lnTo>
                    <a:lnTo>
                      <a:pt x="12" y="38"/>
                    </a:lnTo>
                    <a:lnTo>
                      <a:pt x="15" y="36"/>
                    </a:lnTo>
                    <a:lnTo>
                      <a:pt x="16" y="34"/>
                    </a:lnTo>
                    <a:lnTo>
                      <a:pt x="16" y="31"/>
                    </a:lnTo>
                    <a:lnTo>
                      <a:pt x="16" y="8"/>
                    </a:lnTo>
                    <a:lnTo>
                      <a:pt x="16" y="8"/>
                    </a:lnTo>
                    <a:lnTo>
                      <a:pt x="16" y="5"/>
                    </a:lnTo>
                    <a:lnTo>
                      <a:pt x="15" y="3"/>
                    </a:lnTo>
                    <a:lnTo>
                      <a:pt x="12" y="1"/>
                    </a:lnTo>
                    <a:lnTo>
                      <a:pt x="8" y="0"/>
                    </a:lnTo>
                    <a:lnTo>
                      <a:pt x="8" y="0"/>
                    </a:lnTo>
                    <a:lnTo>
                      <a:pt x="5" y="1"/>
                    </a:lnTo>
                    <a:lnTo>
                      <a:pt x="3" y="3"/>
                    </a:lnTo>
                    <a:lnTo>
                      <a:pt x="1" y="5"/>
                    </a:lnTo>
                    <a:lnTo>
                      <a:pt x="0" y="8"/>
                    </a:lnTo>
                    <a:lnTo>
                      <a:pt x="0" y="31"/>
                    </a:lnTo>
                    <a:lnTo>
                      <a:pt x="0" y="31"/>
                    </a:lnTo>
                    <a:lnTo>
                      <a:pt x="1" y="34"/>
                    </a:lnTo>
                    <a:lnTo>
                      <a:pt x="3" y="36"/>
                    </a:lnTo>
                    <a:lnTo>
                      <a:pt x="5" y="38"/>
                    </a:lnTo>
                    <a:lnTo>
                      <a:pt x="8" y="39"/>
                    </a:lnTo>
                    <a:lnTo>
                      <a:pt x="8" y="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3" name="Freeform 210">
                <a:extLst>
                  <a:ext uri="{FF2B5EF4-FFF2-40B4-BE49-F238E27FC236}">
                    <a16:creationId xmlns:a16="http://schemas.microsoft.com/office/drawing/2014/main" id="{1E413E18-2479-3542-A210-AACE56AD4239}"/>
                  </a:ext>
                </a:extLst>
              </p:cNvPr>
              <p:cNvSpPr>
                <a:spLocks/>
              </p:cNvSpPr>
              <p:nvPr/>
            </p:nvSpPr>
            <p:spPr bwMode="auto">
              <a:xfrm>
                <a:off x="11444288" y="3562350"/>
                <a:ext cx="14288" cy="30163"/>
              </a:xfrm>
              <a:custGeom>
                <a:avLst/>
                <a:gdLst>
                  <a:gd name="T0" fmla="*/ 16 w 16"/>
                  <a:gd name="T1" fmla="*/ 8 h 39"/>
                  <a:gd name="T2" fmla="*/ 16 w 16"/>
                  <a:gd name="T3" fmla="*/ 8 h 39"/>
                  <a:gd name="T4" fmla="*/ 16 w 16"/>
                  <a:gd name="T5" fmla="*/ 6 h 39"/>
                  <a:gd name="T6" fmla="*/ 15 w 16"/>
                  <a:gd name="T7" fmla="*/ 3 h 39"/>
                  <a:gd name="T8" fmla="*/ 12 w 16"/>
                  <a:gd name="T9" fmla="*/ 2 h 39"/>
                  <a:gd name="T10" fmla="*/ 8 w 16"/>
                  <a:gd name="T11" fmla="*/ 0 h 39"/>
                  <a:gd name="T12" fmla="*/ 8 w 16"/>
                  <a:gd name="T13" fmla="*/ 0 h 39"/>
                  <a:gd name="T14" fmla="*/ 5 w 16"/>
                  <a:gd name="T15" fmla="*/ 2 h 39"/>
                  <a:gd name="T16" fmla="*/ 3 w 16"/>
                  <a:gd name="T17" fmla="*/ 3 h 39"/>
                  <a:gd name="T18" fmla="*/ 1 w 16"/>
                  <a:gd name="T19" fmla="*/ 6 h 39"/>
                  <a:gd name="T20" fmla="*/ 0 w 16"/>
                  <a:gd name="T21" fmla="*/ 8 h 39"/>
                  <a:gd name="T22" fmla="*/ 0 w 16"/>
                  <a:gd name="T23" fmla="*/ 31 h 39"/>
                  <a:gd name="T24" fmla="*/ 0 w 16"/>
                  <a:gd name="T25" fmla="*/ 31 h 39"/>
                  <a:gd name="T26" fmla="*/ 1 w 16"/>
                  <a:gd name="T27" fmla="*/ 34 h 39"/>
                  <a:gd name="T28" fmla="*/ 3 w 16"/>
                  <a:gd name="T29" fmla="*/ 37 h 39"/>
                  <a:gd name="T30" fmla="*/ 5 w 16"/>
                  <a:gd name="T31" fmla="*/ 38 h 39"/>
                  <a:gd name="T32" fmla="*/ 8 w 16"/>
                  <a:gd name="T33" fmla="*/ 39 h 39"/>
                  <a:gd name="T34" fmla="*/ 8 w 16"/>
                  <a:gd name="T35" fmla="*/ 39 h 39"/>
                  <a:gd name="T36" fmla="*/ 12 w 16"/>
                  <a:gd name="T37" fmla="*/ 38 h 39"/>
                  <a:gd name="T38" fmla="*/ 15 w 16"/>
                  <a:gd name="T39" fmla="*/ 37 h 39"/>
                  <a:gd name="T40" fmla="*/ 16 w 16"/>
                  <a:gd name="T41" fmla="*/ 34 h 39"/>
                  <a:gd name="T42" fmla="*/ 16 w 16"/>
                  <a:gd name="T43" fmla="*/ 31 h 39"/>
                  <a:gd name="T44" fmla="*/ 16 w 16"/>
                  <a:gd name="T45"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39">
                    <a:moveTo>
                      <a:pt x="16" y="8"/>
                    </a:moveTo>
                    <a:lnTo>
                      <a:pt x="16" y="8"/>
                    </a:lnTo>
                    <a:lnTo>
                      <a:pt x="16" y="6"/>
                    </a:lnTo>
                    <a:lnTo>
                      <a:pt x="15" y="3"/>
                    </a:lnTo>
                    <a:lnTo>
                      <a:pt x="12" y="2"/>
                    </a:lnTo>
                    <a:lnTo>
                      <a:pt x="8" y="0"/>
                    </a:lnTo>
                    <a:lnTo>
                      <a:pt x="8" y="0"/>
                    </a:lnTo>
                    <a:lnTo>
                      <a:pt x="5" y="2"/>
                    </a:lnTo>
                    <a:lnTo>
                      <a:pt x="3" y="3"/>
                    </a:lnTo>
                    <a:lnTo>
                      <a:pt x="1" y="6"/>
                    </a:lnTo>
                    <a:lnTo>
                      <a:pt x="0" y="8"/>
                    </a:lnTo>
                    <a:lnTo>
                      <a:pt x="0" y="31"/>
                    </a:lnTo>
                    <a:lnTo>
                      <a:pt x="0" y="31"/>
                    </a:lnTo>
                    <a:lnTo>
                      <a:pt x="1" y="34"/>
                    </a:lnTo>
                    <a:lnTo>
                      <a:pt x="3" y="37"/>
                    </a:lnTo>
                    <a:lnTo>
                      <a:pt x="5" y="38"/>
                    </a:lnTo>
                    <a:lnTo>
                      <a:pt x="8" y="39"/>
                    </a:lnTo>
                    <a:lnTo>
                      <a:pt x="8" y="39"/>
                    </a:lnTo>
                    <a:lnTo>
                      <a:pt x="12" y="38"/>
                    </a:lnTo>
                    <a:lnTo>
                      <a:pt x="15" y="37"/>
                    </a:lnTo>
                    <a:lnTo>
                      <a:pt x="16" y="34"/>
                    </a:lnTo>
                    <a:lnTo>
                      <a:pt x="16" y="31"/>
                    </a:lnTo>
                    <a:lnTo>
                      <a:pt x="16"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4" name="Freeform 211">
                <a:extLst>
                  <a:ext uri="{FF2B5EF4-FFF2-40B4-BE49-F238E27FC236}">
                    <a16:creationId xmlns:a16="http://schemas.microsoft.com/office/drawing/2014/main" id="{F406106E-9870-8843-96C8-B14F4CF01223}"/>
                  </a:ext>
                </a:extLst>
              </p:cNvPr>
              <p:cNvSpPr>
                <a:spLocks/>
              </p:cNvSpPr>
              <p:nvPr/>
            </p:nvSpPr>
            <p:spPr bwMode="auto">
              <a:xfrm>
                <a:off x="11444288" y="3602038"/>
                <a:ext cx="14288" cy="30163"/>
              </a:xfrm>
              <a:custGeom>
                <a:avLst/>
                <a:gdLst>
                  <a:gd name="T0" fmla="*/ 8 w 16"/>
                  <a:gd name="T1" fmla="*/ 0 h 39"/>
                  <a:gd name="T2" fmla="*/ 8 w 16"/>
                  <a:gd name="T3" fmla="*/ 0 h 39"/>
                  <a:gd name="T4" fmla="*/ 4 w 16"/>
                  <a:gd name="T5" fmla="*/ 1 h 39"/>
                  <a:gd name="T6" fmla="*/ 1 w 16"/>
                  <a:gd name="T7" fmla="*/ 3 h 39"/>
                  <a:gd name="T8" fmla="*/ 0 w 16"/>
                  <a:gd name="T9" fmla="*/ 5 h 39"/>
                  <a:gd name="T10" fmla="*/ 0 w 16"/>
                  <a:gd name="T11" fmla="*/ 8 h 39"/>
                  <a:gd name="T12" fmla="*/ 0 w 16"/>
                  <a:gd name="T13" fmla="*/ 31 h 39"/>
                  <a:gd name="T14" fmla="*/ 0 w 16"/>
                  <a:gd name="T15" fmla="*/ 31 h 39"/>
                  <a:gd name="T16" fmla="*/ 0 w 16"/>
                  <a:gd name="T17" fmla="*/ 34 h 39"/>
                  <a:gd name="T18" fmla="*/ 1 w 16"/>
                  <a:gd name="T19" fmla="*/ 36 h 39"/>
                  <a:gd name="T20" fmla="*/ 4 w 16"/>
                  <a:gd name="T21" fmla="*/ 38 h 39"/>
                  <a:gd name="T22" fmla="*/ 8 w 16"/>
                  <a:gd name="T23" fmla="*/ 39 h 39"/>
                  <a:gd name="T24" fmla="*/ 8 w 16"/>
                  <a:gd name="T25" fmla="*/ 39 h 39"/>
                  <a:gd name="T26" fmla="*/ 11 w 16"/>
                  <a:gd name="T27" fmla="*/ 38 h 39"/>
                  <a:gd name="T28" fmla="*/ 13 w 16"/>
                  <a:gd name="T29" fmla="*/ 36 h 39"/>
                  <a:gd name="T30" fmla="*/ 15 w 16"/>
                  <a:gd name="T31" fmla="*/ 34 h 39"/>
                  <a:gd name="T32" fmla="*/ 16 w 16"/>
                  <a:gd name="T33" fmla="*/ 31 h 39"/>
                  <a:gd name="T34" fmla="*/ 16 w 16"/>
                  <a:gd name="T35" fmla="*/ 8 h 39"/>
                  <a:gd name="T36" fmla="*/ 16 w 16"/>
                  <a:gd name="T37" fmla="*/ 8 h 39"/>
                  <a:gd name="T38" fmla="*/ 15 w 16"/>
                  <a:gd name="T39" fmla="*/ 5 h 39"/>
                  <a:gd name="T40" fmla="*/ 13 w 16"/>
                  <a:gd name="T41" fmla="*/ 3 h 39"/>
                  <a:gd name="T42" fmla="*/ 11 w 16"/>
                  <a:gd name="T43" fmla="*/ 1 h 39"/>
                  <a:gd name="T44" fmla="*/ 8 w 16"/>
                  <a:gd name="T45" fmla="*/ 0 h 39"/>
                  <a:gd name="T46" fmla="*/ 8 w 16"/>
                  <a:gd name="T4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9">
                    <a:moveTo>
                      <a:pt x="8" y="0"/>
                    </a:moveTo>
                    <a:lnTo>
                      <a:pt x="8" y="0"/>
                    </a:lnTo>
                    <a:lnTo>
                      <a:pt x="4" y="1"/>
                    </a:lnTo>
                    <a:lnTo>
                      <a:pt x="1" y="3"/>
                    </a:lnTo>
                    <a:lnTo>
                      <a:pt x="0" y="5"/>
                    </a:lnTo>
                    <a:lnTo>
                      <a:pt x="0" y="8"/>
                    </a:lnTo>
                    <a:lnTo>
                      <a:pt x="0" y="31"/>
                    </a:lnTo>
                    <a:lnTo>
                      <a:pt x="0" y="31"/>
                    </a:lnTo>
                    <a:lnTo>
                      <a:pt x="0" y="34"/>
                    </a:lnTo>
                    <a:lnTo>
                      <a:pt x="1" y="36"/>
                    </a:lnTo>
                    <a:lnTo>
                      <a:pt x="4" y="38"/>
                    </a:lnTo>
                    <a:lnTo>
                      <a:pt x="8" y="39"/>
                    </a:lnTo>
                    <a:lnTo>
                      <a:pt x="8" y="39"/>
                    </a:lnTo>
                    <a:lnTo>
                      <a:pt x="11" y="38"/>
                    </a:lnTo>
                    <a:lnTo>
                      <a:pt x="13" y="36"/>
                    </a:lnTo>
                    <a:lnTo>
                      <a:pt x="15" y="34"/>
                    </a:lnTo>
                    <a:lnTo>
                      <a:pt x="16" y="31"/>
                    </a:lnTo>
                    <a:lnTo>
                      <a:pt x="16" y="8"/>
                    </a:lnTo>
                    <a:lnTo>
                      <a:pt x="16" y="8"/>
                    </a:lnTo>
                    <a:lnTo>
                      <a:pt x="15" y="5"/>
                    </a:lnTo>
                    <a:lnTo>
                      <a:pt x="13" y="3"/>
                    </a:lnTo>
                    <a:lnTo>
                      <a:pt x="11" y="1"/>
                    </a:lnTo>
                    <a:lnTo>
                      <a:pt x="8" y="0"/>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5" name="Freeform 212">
                <a:extLst>
                  <a:ext uri="{FF2B5EF4-FFF2-40B4-BE49-F238E27FC236}">
                    <a16:creationId xmlns:a16="http://schemas.microsoft.com/office/drawing/2014/main" id="{0E7A5C4D-9766-E843-8CB5-FE8133221F38}"/>
                  </a:ext>
                </a:extLst>
              </p:cNvPr>
              <p:cNvSpPr>
                <a:spLocks/>
              </p:cNvSpPr>
              <p:nvPr/>
            </p:nvSpPr>
            <p:spPr bwMode="auto">
              <a:xfrm>
                <a:off x="11295063" y="3524250"/>
                <a:ext cx="33338" cy="28575"/>
              </a:xfrm>
              <a:custGeom>
                <a:avLst/>
                <a:gdLst>
                  <a:gd name="T0" fmla="*/ 32 w 40"/>
                  <a:gd name="T1" fmla="*/ 0 h 38"/>
                  <a:gd name="T2" fmla="*/ 11 w 40"/>
                  <a:gd name="T3" fmla="*/ 0 h 38"/>
                  <a:gd name="T4" fmla="*/ 11 w 40"/>
                  <a:gd name="T5" fmla="*/ 0 h 38"/>
                  <a:gd name="T6" fmla="*/ 9 w 40"/>
                  <a:gd name="T7" fmla="*/ 0 h 38"/>
                  <a:gd name="T8" fmla="*/ 9 w 40"/>
                  <a:gd name="T9" fmla="*/ 0 h 38"/>
                  <a:gd name="T10" fmla="*/ 8 w 40"/>
                  <a:gd name="T11" fmla="*/ 0 h 38"/>
                  <a:gd name="T12" fmla="*/ 8 w 40"/>
                  <a:gd name="T13" fmla="*/ 0 h 38"/>
                  <a:gd name="T14" fmla="*/ 5 w 40"/>
                  <a:gd name="T15" fmla="*/ 0 h 38"/>
                  <a:gd name="T16" fmla="*/ 3 w 40"/>
                  <a:gd name="T17" fmla="*/ 1 h 38"/>
                  <a:gd name="T18" fmla="*/ 1 w 40"/>
                  <a:gd name="T19" fmla="*/ 4 h 38"/>
                  <a:gd name="T20" fmla="*/ 0 w 40"/>
                  <a:gd name="T21" fmla="*/ 8 h 38"/>
                  <a:gd name="T22" fmla="*/ 0 w 40"/>
                  <a:gd name="T23" fmla="*/ 30 h 38"/>
                  <a:gd name="T24" fmla="*/ 0 w 40"/>
                  <a:gd name="T25" fmla="*/ 30 h 38"/>
                  <a:gd name="T26" fmla="*/ 1 w 40"/>
                  <a:gd name="T27" fmla="*/ 34 h 38"/>
                  <a:gd name="T28" fmla="*/ 3 w 40"/>
                  <a:gd name="T29" fmla="*/ 36 h 38"/>
                  <a:gd name="T30" fmla="*/ 5 w 40"/>
                  <a:gd name="T31" fmla="*/ 38 h 38"/>
                  <a:gd name="T32" fmla="*/ 8 w 40"/>
                  <a:gd name="T33" fmla="*/ 38 h 38"/>
                  <a:gd name="T34" fmla="*/ 8 w 40"/>
                  <a:gd name="T35" fmla="*/ 38 h 38"/>
                  <a:gd name="T36" fmla="*/ 12 w 40"/>
                  <a:gd name="T37" fmla="*/ 38 h 38"/>
                  <a:gd name="T38" fmla="*/ 15 w 40"/>
                  <a:gd name="T39" fmla="*/ 36 h 38"/>
                  <a:gd name="T40" fmla="*/ 16 w 40"/>
                  <a:gd name="T41" fmla="*/ 34 h 38"/>
                  <a:gd name="T42" fmla="*/ 16 w 40"/>
                  <a:gd name="T43" fmla="*/ 30 h 38"/>
                  <a:gd name="T44" fmla="*/ 16 w 40"/>
                  <a:gd name="T45" fmla="*/ 16 h 38"/>
                  <a:gd name="T46" fmla="*/ 32 w 40"/>
                  <a:gd name="T47" fmla="*/ 16 h 38"/>
                  <a:gd name="T48" fmla="*/ 32 w 40"/>
                  <a:gd name="T49" fmla="*/ 16 h 38"/>
                  <a:gd name="T50" fmla="*/ 35 w 40"/>
                  <a:gd name="T51" fmla="*/ 15 h 38"/>
                  <a:gd name="T52" fmla="*/ 38 w 40"/>
                  <a:gd name="T53" fmla="*/ 13 h 38"/>
                  <a:gd name="T54" fmla="*/ 40 w 40"/>
                  <a:gd name="T55" fmla="*/ 11 h 38"/>
                  <a:gd name="T56" fmla="*/ 40 w 40"/>
                  <a:gd name="T57" fmla="*/ 8 h 38"/>
                  <a:gd name="T58" fmla="*/ 40 w 40"/>
                  <a:gd name="T59" fmla="*/ 8 h 38"/>
                  <a:gd name="T60" fmla="*/ 40 w 40"/>
                  <a:gd name="T61" fmla="*/ 4 h 38"/>
                  <a:gd name="T62" fmla="*/ 38 w 40"/>
                  <a:gd name="T63" fmla="*/ 1 h 38"/>
                  <a:gd name="T64" fmla="*/ 35 w 40"/>
                  <a:gd name="T65" fmla="*/ 0 h 38"/>
                  <a:gd name="T66" fmla="*/ 32 w 40"/>
                  <a:gd name="T67" fmla="*/ 0 h 38"/>
                  <a:gd name="T68" fmla="*/ 32 w 40"/>
                  <a:gd name="T6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38">
                    <a:moveTo>
                      <a:pt x="32" y="0"/>
                    </a:moveTo>
                    <a:lnTo>
                      <a:pt x="11" y="0"/>
                    </a:lnTo>
                    <a:lnTo>
                      <a:pt x="11" y="0"/>
                    </a:lnTo>
                    <a:lnTo>
                      <a:pt x="9" y="0"/>
                    </a:lnTo>
                    <a:lnTo>
                      <a:pt x="9" y="0"/>
                    </a:lnTo>
                    <a:lnTo>
                      <a:pt x="8" y="0"/>
                    </a:lnTo>
                    <a:lnTo>
                      <a:pt x="8" y="0"/>
                    </a:lnTo>
                    <a:lnTo>
                      <a:pt x="5" y="0"/>
                    </a:lnTo>
                    <a:lnTo>
                      <a:pt x="3" y="1"/>
                    </a:lnTo>
                    <a:lnTo>
                      <a:pt x="1" y="4"/>
                    </a:lnTo>
                    <a:lnTo>
                      <a:pt x="0" y="8"/>
                    </a:lnTo>
                    <a:lnTo>
                      <a:pt x="0" y="30"/>
                    </a:lnTo>
                    <a:lnTo>
                      <a:pt x="0" y="30"/>
                    </a:lnTo>
                    <a:lnTo>
                      <a:pt x="1" y="34"/>
                    </a:lnTo>
                    <a:lnTo>
                      <a:pt x="3" y="36"/>
                    </a:lnTo>
                    <a:lnTo>
                      <a:pt x="5" y="38"/>
                    </a:lnTo>
                    <a:lnTo>
                      <a:pt x="8" y="38"/>
                    </a:lnTo>
                    <a:lnTo>
                      <a:pt x="8" y="38"/>
                    </a:lnTo>
                    <a:lnTo>
                      <a:pt x="12" y="38"/>
                    </a:lnTo>
                    <a:lnTo>
                      <a:pt x="15" y="36"/>
                    </a:lnTo>
                    <a:lnTo>
                      <a:pt x="16" y="34"/>
                    </a:lnTo>
                    <a:lnTo>
                      <a:pt x="16" y="30"/>
                    </a:lnTo>
                    <a:lnTo>
                      <a:pt x="16" y="16"/>
                    </a:lnTo>
                    <a:lnTo>
                      <a:pt x="32" y="16"/>
                    </a:lnTo>
                    <a:lnTo>
                      <a:pt x="32" y="16"/>
                    </a:lnTo>
                    <a:lnTo>
                      <a:pt x="35" y="15"/>
                    </a:lnTo>
                    <a:lnTo>
                      <a:pt x="38" y="13"/>
                    </a:lnTo>
                    <a:lnTo>
                      <a:pt x="40" y="11"/>
                    </a:lnTo>
                    <a:lnTo>
                      <a:pt x="40" y="8"/>
                    </a:lnTo>
                    <a:lnTo>
                      <a:pt x="40" y="8"/>
                    </a:lnTo>
                    <a:lnTo>
                      <a:pt x="40" y="4"/>
                    </a:lnTo>
                    <a:lnTo>
                      <a:pt x="38" y="1"/>
                    </a:lnTo>
                    <a:lnTo>
                      <a:pt x="35" y="0"/>
                    </a:lnTo>
                    <a:lnTo>
                      <a:pt x="32" y="0"/>
                    </a:lnTo>
                    <a:lnTo>
                      <a:pt x="3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126" name="Group 125">
            <a:extLst>
              <a:ext uri="{FF2B5EF4-FFF2-40B4-BE49-F238E27FC236}">
                <a16:creationId xmlns:a16="http://schemas.microsoft.com/office/drawing/2014/main" id="{1ECD814F-BB5A-5F4A-A1E1-A364AD1A9841}"/>
              </a:ext>
            </a:extLst>
          </p:cNvPr>
          <p:cNvGrpSpPr/>
          <p:nvPr/>
        </p:nvGrpSpPr>
        <p:grpSpPr>
          <a:xfrm>
            <a:off x="9370379" y="2575435"/>
            <a:ext cx="697076" cy="694267"/>
            <a:chOff x="6501456" y="1029344"/>
            <a:chExt cx="522807" cy="520700"/>
          </a:xfrm>
        </p:grpSpPr>
        <p:sp>
          <p:nvSpPr>
            <p:cNvPr id="127" name="Oval 126">
              <a:extLst>
                <a:ext uri="{FF2B5EF4-FFF2-40B4-BE49-F238E27FC236}">
                  <a16:creationId xmlns:a16="http://schemas.microsoft.com/office/drawing/2014/main" id="{59FE06BF-5768-514A-B302-A54FBF162ECD}"/>
                </a:ext>
              </a:extLst>
            </p:cNvPr>
            <p:cNvSpPr/>
            <p:nvPr/>
          </p:nvSpPr>
          <p:spPr>
            <a:xfrm>
              <a:off x="6501456" y="1066216"/>
              <a:ext cx="499383" cy="4368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128" name="Group 127">
              <a:extLst>
                <a:ext uri="{FF2B5EF4-FFF2-40B4-BE49-F238E27FC236}">
                  <a16:creationId xmlns:a16="http://schemas.microsoft.com/office/drawing/2014/main" id="{FA9C03BE-9602-1E47-AC13-FE61B062AE19}"/>
                </a:ext>
              </a:extLst>
            </p:cNvPr>
            <p:cNvGrpSpPr>
              <a:grpSpLocks noChangeAspect="1"/>
            </p:cNvGrpSpPr>
            <p:nvPr/>
          </p:nvGrpSpPr>
          <p:grpSpPr>
            <a:xfrm>
              <a:off x="6501975" y="1029344"/>
              <a:ext cx="522288" cy="520700"/>
              <a:chOff x="2328863" y="2627483"/>
              <a:chExt cx="522288" cy="520700"/>
            </a:xfrm>
          </p:grpSpPr>
          <p:sp>
            <p:nvSpPr>
              <p:cNvPr id="129" name="Freeform 21">
                <a:extLst>
                  <a:ext uri="{FF2B5EF4-FFF2-40B4-BE49-F238E27FC236}">
                    <a16:creationId xmlns:a16="http://schemas.microsoft.com/office/drawing/2014/main" id="{340B9F0D-FD2B-824C-99BC-7CACD1AC2C93}"/>
                  </a:ext>
                </a:extLst>
              </p:cNvPr>
              <p:cNvSpPr>
                <a:spLocks noEditPoints="1"/>
              </p:cNvSpPr>
              <p:nvPr/>
            </p:nvSpPr>
            <p:spPr bwMode="auto">
              <a:xfrm>
                <a:off x="2328863" y="2627483"/>
                <a:ext cx="522288" cy="520700"/>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4 w 658"/>
                  <a:gd name="T11" fmla="*/ 426 h 657"/>
                  <a:gd name="T12" fmla="*/ 4 w 658"/>
                  <a:gd name="T13" fmla="*/ 379 h 657"/>
                  <a:gd name="T14" fmla="*/ 0 w 658"/>
                  <a:gd name="T15" fmla="*/ 329 h 657"/>
                  <a:gd name="T16" fmla="*/ 1 w 658"/>
                  <a:gd name="T17" fmla="*/ 296 h 657"/>
                  <a:gd name="T18" fmla="*/ 10 w 658"/>
                  <a:gd name="T19" fmla="*/ 246 h 657"/>
                  <a:gd name="T20" fmla="*/ 40 w 658"/>
                  <a:gd name="T21" fmla="*/ 172 h 657"/>
                  <a:gd name="T22" fmla="*/ 96 w 658"/>
                  <a:gd name="T23" fmla="*/ 97 h 657"/>
                  <a:gd name="T24" fmla="*/ 172 w 658"/>
                  <a:gd name="T25" fmla="*/ 39 h 657"/>
                  <a:gd name="T26" fmla="*/ 247 w 658"/>
                  <a:gd name="T27" fmla="*/ 11 h 657"/>
                  <a:gd name="T28" fmla="*/ 295 w 658"/>
                  <a:gd name="T29" fmla="*/ 2 h 657"/>
                  <a:gd name="T30" fmla="*/ 329 w 658"/>
                  <a:gd name="T31" fmla="*/ 0 h 657"/>
                  <a:gd name="T32" fmla="*/ 378 w 658"/>
                  <a:gd name="T33" fmla="*/ 4 h 657"/>
                  <a:gd name="T34" fmla="*/ 427 w 658"/>
                  <a:gd name="T35" fmla="*/ 15 h 657"/>
                  <a:gd name="T36" fmla="*/ 513 w 658"/>
                  <a:gd name="T37" fmla="*/ 57 h 657"/>
                  <a:gd name="T38" fmla="*/ 582 w 658"/>
                  <a:gd name="T39" fmla="*/ 120 h 657"/>
                  <a:gd name="T40" fmla="*/ 631 w 658"/>
                  <a:gd name="T41" fmla="*/ 200 h 657"/>
                  <a:gd name="T42" fmla="*/ 651 w 658"/>
                  <a:gd name="T43" fmla="*/ 262 h 657"/>
                  <a:gd name="T44" fmla="*/ 656 w 658"/>
                  <a:gd name="T45" fmla="*/ 312 h 657"/>
                  <a:gd name="T46" fmla="*/ 656 w 658"/>
                  <a:gd name="T47" fmla="*/ 345 h 657"/>
                  <a:gd name="T48" fmla="*/ 651 w 658"/>
                  <a:gd name="T49" fmla="*/ 395 h 657"/>
                  <a:gd name="T50" fmla="*/ 631 w 658"/>
                  <a:gd name="T51" fmla="*/ 457 h 657"/>
                  <a:gd name="T52" fmla="*/ 582 w 658"/>
                  <a:gd name="T53" fmla="*/ 537 h 657"/>
                  <a:gd name="T54" fmla="*/ 513 w 658"/>
                  <a:gd name="T55" fmla="*/ 600 h 657"/>
                  <a:gd name="T56" fmla="*/ 427 w 658"/>
                  <a:gd name="T57" fmla="*/ 642 h 657"/>
                  <a:gd name="T58" fmla="*/ 378 w 658"/>
                  <a:gd name="T59" fmla="*/ 654 h 657"/>
                  <a:gd name="T60" fmla="*/ 329 w 658"/>
                  <a:gd name="T61" fmla="*/ 657 h 657"/>
                  <a:gd name="T62" fmla="*/ 329 w 658"/>
                  <a:gd name="T63" fmla="*/ 38 h 657"/>
                  <a:gd name="T64" fmla="*/ 243 w 658"/>
                  <a:gd name="T65" fmla="*/ 51 h 657"/>
                  <a:gd name="T66" fmla="*/ 166 w 658"/>
                  <a:gd name="T67" fmla="*/ 87 h 657"/>
                  <a:gd name="T68" fmla="*/ 104 w 658"/>
                  <a:gd name="T69" fmla="*/ 144 h 657"/>
                  <a:gd name="T70" fmla="*/ 60 w 658"/>
                  <a:gd name="T71" fmla="*/ 215 h 657"/>
                  <a:gd name="T72" fmla="*/ 39 w 658"/>
                  <a:gd name="T73" fmla="*/ 298 h 657"/>
                  <a:gd name="T74" fmla="*/ 39 w 658"/>
                  <a:gd name="T75" fmla="*/ 359 h 657"/>
                  <a:gd name="T76" fmla="*/ 60 w 658"/>
                  <a:gd name="T77" fmla="*/ 442 h 657"/>
                  <a:gd name="T78" fmla="*/ 104 w 658"/>
                  <a:gd name="T79" fmla="*/ 513 h 657"/>
                  <a:gd name="T80" fmla="*/ 166 w 658"/>
                  <a:gd name="T81" fmla="*/ 569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5 w 658"/>
                  <a:gd name="T93" fmla="*/ 467 h 657"/>
                  <a:gd name="T94" fmla="*/ 613 w 658"/>
                  <a:gd name="T95" fmla="*/ 387 h 657"/>
                  <a:gd name="T96" fmla="*/ 620 w 658"/>
                  <a:gd name="T97" fmla="*/ 329 h 657"/>
                  <a:gd name="T98" fmla="*/ 607 w 658"/>
                  <a:gd name="T99" fmla="*/ 242 h 657"/>
                  <a:gd name="T100" fmla="*/ 570 w 658"/>
                  <a:gd name="T101" fmla="*/ 165 h 657"/>
                  <a:gd name="T102" fmla="*/ 514 w 658"/>
                  <a:gd name="T103" fmla="*/ 104 h 657"/>
                  <a:gd name="T104" fmla="*/ 441 w 658"/>
                  <a:gd name="T105" fmla="*/ 61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5"/>
                    </a:lnTo>
                    <a:lnTo>
                      <a:pt x="279" y="654"/>
                    </a:lnTo>
                    <a:lnTo>
                      <a:pt x="263" y="650"/>
                    </a:lnTo>
                    <a:lnTo>
                      <a:pt x="247" y="647"/>
                    </a:lnTo>
                    <a:lnTo>
                      <a:pt x="231" y="642"/>
                    </a:lnTo>
                    <a:lnTo>
                      <a:pt x="201" y="631"/>
                    </a:lnTo>
                    <a:lnTo>
                      <a:pt x="172" y="618"/>
                    </a:lnTo>
                    <a:lnTo>
                      <a:pt x="145" y="600"/>
                    </a:lnTo>
                    <a:lnTo>
                      <a:pt x="119" y="582"/>
                    </a:lnTo>
                    <a:lnTo>
                      <a:pt x="96" y="561"/>
                    </a:lnTo>
                    <a:lnTo>
                      <a:pt x="75" y="537"/>
                    </a:lnTo>
                    <a:lnTo>
                      <a:pt x="56" y="512"/>
                    </a:lnTo>
                    <a:lnTo>
                      <a:pt x="40" y="485"/>
                    </a:lnTo>
                    <a:lnTo>
                      <a:pt x="25" y="457"/>
                    </a:lnTo>
                    <a:lnTo>
                      <a:pt x="14" y="426"/>
                    </a:lnTo>
                    <a:lnTo>
                      <a:pt x="10" y="411"/>
                    </a:lnTo>
                    <a:lnTo>
                      <a:pt x="6" y="395"/>
                    </a:lnTo>
                    <a:lnTo>
                      <a:pt x="4" y="379"/>
                    </a:lnTo>
                    <a:lnTo>
                      <a:pt x="1" y="363"/>
                    </a:lnTo>
                    <a:lnTo>
                      <a:pt x="0" y="345"/>
                    </a:lnTo>
                    <a:lnTo>
                      <a:pt x="0" y="329"/>
                    </a:lnTo>
                    <a:lnTo>
                      <a:pt x="0" y="329"/>
                    </a:lnTo>
                    <a:lnTo>
                      <a:pt x="0" y="312"/>
                    </a:lnTo>
                    <a:lnTo>
                      <a:pt x="1" y="296"/>
                    </a:lnTo>
                    <a:lnTo>
                      <a:pt x="4" y="278"/>
                    </a:lnTo>
                    <a:lnTo>
                      <a:pt x="6" y="262"/>
                    </a:lnTo>
                    <a:lnTo>
                      <a:pt x="10" y="246"/>
                    </a:lnTo>
                    <a:lnTo>
                      <a:pt x="14" y="231"/>
                    </a:lnTo>
                    <a:lnTo>
                      <a:pt x="25" y="200"/>
                    </a:lnTo>
                    <a:lnTo>
                      <a:pt x="40" y="172"/>
                    </a:lnTo>
                    <a:lnTo>
                      <a:pt x="56" y="145"/>
                    </a:lnTo>
                    <a:lnTo>
                      <a:pt x="75" y="120"/>
                    </a:lnTo>
                    <a:lnTo>
                      <a:pt x="96" y="97"/>
                    </a:lnTo>
                    <a:lnTo>
                      <a:pt x="119" y="75"/>
                    </a:lnTo>
                    <a:lnTo>
                      <a:pt x="145" y="57"/>
                    </a:lnTo>
                    <a:lnTo>
                      <a:pt x="172" y="39"/>
                    </a:lnTo>
                    <a:lnTo>
                      <a:pt x="201" y="26"/>
                    </a:lnTo>
                    <a:lnTo>
                      <a:pt x="231" y="15"/>
                    </a:lnTo>
                    <a:lnTo>
                      <a:pt x="247" y="11"/>
                    </a:lnTo>
                    <a:lnTo>
                      <a:pt x="263" y="7"/>
                    </a:lnTo>
                    <a:lnTo>
                      <a:pt x="279" y="4"/>
                    </a:lnTo>
                    <a:lnTo>
                      <a:pt x="295" y="2"/>
                    </a:lnTo>
                    <a:lnTo>
                      <a:pt x="311" y="0"/>
                    </a:lnTo>
                    <a:lnTo>
                      <a:pt x="329" y="0"/>
                    </a:lnTo>
                    <a:lnTo>
                      <a:pt x="329" y="0"/>
                    </a:lnTo>
                    <a:lnTo>
                      <a:pt x="346" y="0"/>
                    </a:lnTo>
                    <a:lnTo>
                      <a:pt x="362" y="2"/>
                    </a:lnTo>
                    <a:lnTo>
                      <a:pt x="378" y="4"/>
                    </a:lnTo>
                    <a:lnTo>
                      <a:pt x="394" y="7"/>
                    </a:lnTo>
                    <a:lnTo>
                      <a:pt x="411" y="11"/>
                    </a:lnTo>
                    <a:lnTo>
                      <a:pt x="427" y="15"/>
                    </a:lnTo>
                    <a:lnTo>
                      <a:pt x="456" y="26"/>
                    </a:lnTo>
                    <a:lnTo>
                      <a:pt x="486" y="39"/>
                    </a:lnTo>
                    <a:lnTo>
                      <a:pt x="513" y="57"/>
                    </a:lnTo>
                    <a:lnTo>
                      <a:pt x="538" y="75"/>
                    </a:lnTo>
                    <a:lnTo>
                      <a:pt x="561" y="97"/>
                    </a:lnTo>
                    <a:lnTo>
                      <a:pt x="582" y="120"/>
                    </a:lnTo>
                    <a:lnTo>
                      <a:pt x="601" y="145"/>
                    </a:lnTo>
                    <a:lnTo>
                      <a:pt x="617" y="172"/>
                    </a:lnTo>
                    <a:lnTo>
                      <a:pt x="631" y="200"/>
                    </a:lnTo>
                    <a:lnTo>
                      <a:pt x="643" y="231"/>
                    </a:lnTo>
                    <a:lnTo>
                      <a:pt x="647" y="246"/>
                    </a:lnTo>
                    <a:lnTo>
                      <a:pt x="651" y="262"/>
                    </a:lnTo>
                    <a:lnTo>
                      <a:pt x="654" y="278"/>
                    </a:lnTo>
                    <a:lnTo>
                      <a:pt x="655" y="296"/>
                    </a:lnTo>
                    <a:lnTo>
                      <a:pt x="656" y="312"/>
                    </a:lnTo>
                    <a:lnTo>
                      <a:pt x="658" y="329"/>
                    </a:lnTo>
                    <a:lnTo>
                      <a:pt x="658" y="329"/>
                    </a:lnTo>
                    <a:lnTo>
                      <a:pt x="656" y="345"/>
                    </a:lnTo>
                    <a:lnTo>
                      <a:pt x="655" y="363"/>
                    </a:lnTo>
                    <a:lnTo>
                      <a:pt x="654" y="379"/>
                    </a:lnTo>
                    <a:lnTo>
                      <a:pt x="651" y="395"/>
                    </a:lnTo>
                    <a:lnTo>
                      <a:pt x="647" y="411"/>
                    </a:lnTo>
                    <a:lnTo>
                      <a:pt x="643" y="426"/>
                    </a:lnTo>
                    <a:lnTo>
                      <a:pt x="631" y="457"/>
                    </a:lnTo>
                    <a:lnTo>
                      <a:pt x="617" y="485"/>
                    </a:lnTo>
                    <a:lnTo>
                      <a:pt x="601" y="512"/>
                    </a:lnTo>
                    <a:lnTo>
                      <a:pt x="582" y="537"/>
                    </a:lnTo>
                    <a:lnTo>
                      <a:pt x="561" y="561"/>
                    </a:lnTo>
                    <a:lnTo>
                      <a:pt x="538" y="582"/>
                    </a:lnTo>
                    <a:lnTo>
                      <a:pt x="513" y="600"/>
                    </a:lnTo>
                    <a:lnTo>
                      <a:pt x="486" y="618"/>
                    </a:lnTo>
                    <a:lnTo>
                      <a:pt x="456" y="631"/>
                    </a:lnTo>
                    <a:lnTo>
                      <a:pt x="427" y="642"/>
                    </a:lnTo>
                    <a:lnTo>
                      <a:pt x="411" y="647"/>
                    </a:lnTo>
                    <a:lnTo>
                      <a:pt x="394" y="650"/>
                    </a:lnTo>
                    <a:lnTo>
                      <a:pt x="378" y="654"/>
                    </a:lnTo>
                    <a:lnTo>
                      <a:pt x="362" y="655"/>
                    </a:lnTo>
                    <a:lnTo>
                      <a:pt x="346" y="657"/>
                    </a:lnTo>
                    <a:lnTo>
                      <a:pt x="329" y="657"/>
                    </a:lnTo>
                    <a:lnTo>
                      <a:pt x="329" y="657"/>
                    </a:lnTo>
                    <a:close/>
                    <a:moveTo>
                      <a:pt x="329" y="38"/>
                    </a:moveTo>
                    <a:lnTo>
                      <a:pt x="329" y="38"/>
                    </a:lnTo>
                    <a:lnTo>
                      <a:pt x="299" y="39"/>
                    </a:lnTo>
                    <a:lnTo>
                      <a:pt x="270" y="43"/>
                    </a:lnTo>
                    <a:lnTo>
                      <a:pt x="243" y="51"/>
                    </a:lnTo>
                    <a:lnTo>
                      <a:pt x="216" y="61"/>
                    </a:lnTo>
                    <a:lnTo>
                      <a:pt x="190" y="73"/>
                    </a:lnTo>
                    <a:lnTo>
                      <a:pt x="166" y="87"/>
                    </a:lnTo>
                    <a:lnTo>
                      <a:pt x="143" y="104"/>
                    </a:lnTo>
                    <a:lnTo>
                      <a:pt x="123" y="122"/>
                    </a:lnTo>
                    <a:lnTo>
                      <a:pt x="104" y="144"/>
                    </a:lnTo>
                    <a:lnTo>
                      <a:pt x="87" y="165"/>
                    </a:lnTo>
                    <a:lnTo>
                      <a:pt x="72" y="190"/>
                    </a:lnTo>
                    <a:lnTo>
                      <a:pt x="60" y="215"/>
                    </a:lnTo>
                    <a:lnTo>
                      <a:pt x="51" y="242"/>
                    </a:lnTo>
                    <a:lnTo>
                      <a:pt x="44" y="270"/>
                    </a:lnTo>
                    <a:lnTo>
                      <a:pt x="39" y="298"/>
                    </a:lnTo>
                    <a:lnTo>
                      <a:pt x="37" y="329"/>
                    </a:lnTo>
                    <a:lnTo>
                      <a:pt x="37" y="329"/>
                    </a:lnTo>
                    <a:lnTo>
                      <a:pt x="39" y="359"/>
                    </a:lnTo>
                    <a:lnTo>
                      <a:pt x="44" y="387"/>
                    </a:lnTo>
                    <a:lnTo>
                      <a:pt x="51" y="415"/>
                    </a:lnTo>
                    <a:lnTo>
                      <a:pt x="60" y="442"/>
                    </a:lnTo>
                    <a:lnTo>
                      <a:pt x="72" y="467"/>
                    </a:lnTo>
                    <a:lnTo>
                      <a:pt x="87" y="492"/>
                    </a:lnTo>
                    <a:lnTo>
                      <a:pt x="104" y="513"/>
                    </a:lnTo>
                    <a:lnTo>
                      <a:pt x="123" y="535"/>
                    </a:lnTo>
                    <a:lnTo>
                      <a:pt x="143" y="553"/>
                    </a:lnTo>
                    <a:lnTo>
                      <a:pt x="166" y="569"/>
                    </a:lnTo>
                    <a:lnTo>
                      <a:pt x="190" y="584"/>
                    </a:lnTo>
                    <a:lnTo>
                      <a:pt x="216" y="596"/>
                    </a:lnTo>
                    <a:lnTo>
                      <a:pt x="243" y="607"/>
                    </a:lnTo>
                    <a:lnTo>
                      <a:pt x="270" y="614"/>
                    </a:lnTo>
                    <a:lnTo>
                      <a:pt x="299" y="618"/>
                    </a:lnTo>
                    <a:lnTo>
                      <a:pt x="329" y="619"/>
                    </a:lnTo>
                    <a:lnTo>
                      <a:pt x="329" y="619"/>
                    </a:lnTo>
                    <a:lnTo>
                      <a:pt x="358" y="618"/>
                    </a:lnTo>
                    <a:lnTo>
                      <a:pt x="388" y="614"/>
                    </a:lnTo>
                    <a:lnTo>
                      <a:pt x="415" y="607"/>
                    </a:lnTo>
                    <a:lnTo>
                      <a:pt x="441" y="596"/>
                    </a:lnTo>
                    <a:lnTo>
                      <a:pt x="467" y="584"/>
                    </a:lnTo>
                    <a:lnTo>
                      <a:pt x="491" y="569"/>
                    </a:lnTo>
                    <a:lnTo>
                      <a:pt x="514" y="553"/>
                    </a:lnTo>
                    <a:lnTo>
                      <a:pt x="534" y="535"/>
                    </a:lnTo>
                    <a:lnTo>
                      <a:pt x="553" y="513"/>
                    </a:lnTo>
                    <a:lnTo>
                      <a:pt x="570" y="492"/>
                    </a:lnTo>
                    <a:lnTo>
                      <a:pt x="585" y="467"/>
                    </a:lnTo>
                    <a:lnTo>
                      <a:pt x="597" y="442"/>
                    </a:lnTo>
                    <a:lnTo>
                      <a:pt x="607" y="415"/>
                    </a:lnTo>
                    <a:lnTo>
                      <a:pt x="613" y="387"/>
                    </a:lnTo>
                    <a:lnTo>
                      <a:pt x="619" y="359"/>
                    </a:lnTo>
                    <a:lnTo>
                      <a:pt x="620" y="329"/>
                    </a:lnTo>
                    <a:lnTo>
                      <a:pt x="620" y="329"/>
                    </a:lnTo>
                    <a:lnTo>
                      <a:pt x="619" y="298"/>
                    </a:lnTo>
                    <a:lnTo>
                      <a:pt x="613" y="270"/>
                    </a:lnTo>
                    <a:lnTo>
                      <a:pt x="607" y="242"/>
                    </a:lnTo>
                    <a:lnTo>
                      <a:pt x="597" y="215"/>
                    </a:lnTo>
                    <a:lnTo>
                      <a:pt x="585" y="190"/>
                    </a:lnTo>
                    <a:lnTo>
                      <a:pt x="570" y="165"/>
                    </a:lnTo>
                    <a:lnTo>
                      <a:pt x="553" y="144"/>
                    </a:lnTo>
                    <a:lnTo>
                      <a:pt x="534" y="122"/>
                    </a:lnTo>
                    <a:lnTo>
                      <a:pt x="514" y="104"/>
                    </a:lnTo>
                    <a:lnTo>
                      <a:pt x="491" y="87"/>
                    </a:lnTo>
                    <a:lnTo>
                      <a:pt x="467" y="73"/>
                    </a:lnTo>
                    <a:lnTo>
                      <a:pt x="441" y="61"/>
                    </a:lnTo>
                    <a:lnTo>
                      <a:pt x="415" y="51"/>
                    </a:lnTo>
                    <a:lnTo>
                      <a:pt x="388" y="43"/>
                    </a:lnTo>
                    <a:lnTo>
                      <a:pt x="358"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0" name="Freeform 136">
                <a:extLst>
                  <a:ext uri="{FF2B5EF4-FFF2-40B4-BE49-F238E27FC236}">
                    <a16:creationId xmlns:a16="http://schemas.microsoft.com/office/drawing/2014/main" id="{28749683-85BF-E644-956A-14DB22B167A4}"/>
                  </a:ext>
                </a:extLst>
              </p:cNvPr>
              <p:cNvSpPr>
                <a:spLocks noEditPoints="1"/>
              </p:cNvSpPr>
              <p:nvPr/>
            </p:nvSpPr>
            <p:spPr bwMode="auto">
              <a:xfrm>
                <a:off x="2503488" y="2733845"/>
                <a:ext cx="173038" cy="307975"/>
              </a:xfrm>
              <a:custGeom>
                <a:avLst/>
                <a:gdLst>
                  <a:gd name="T0" fmla="*/ 217 w 217"/>
                  <a:gd name="T1" fmla="*/ 11 h 388"/>
                  <a:gd name="T2" fmla="*/ 211 w 217"/>
                  <a:gd name="T3" fmla="*/ 2 h 388"/>
                  <a:gd name="T4" fmla="*/ 203 w 217"/>
                  <a:gd name="T5" fmla="*/ 2 h 388"/>
                  <a:gd name="T6" fmla="*/ 196 w 217"/>
                  <a:gd name="T7" fmla="*/ 11 h 388"/>
                  <a:gd name="T8" fmla="*/ 21 w 217"/>
                  <a:gd name="T9" fmla="*/ 11 h 388"/>
                  <a:gd name="T10" fmla="*/ 19 w 217"/>
                  <a:gd name="T11" fmla="*/ 4 h 388"/>
                  <a:gd name="T12" fmla="*/ 11 w 217"/>
                  <a:gd name="T13" fmla="*/ 0 h 388"/>
                  <a:gd name="T14" fmla="*/ 1 w 217"/>
                  <a:gd name="T15" fmla="*/ 7 h 388"/>
                  <a:gd name="T16" fmla="*/ 0 w 217"/>
                  <a:gd name="T17" fmla="*/ 73 h 388"/>
                  <a:gd name="T18" fmla="*/ 4 w 217"/>
                  <a:gd name="T19" fmla="*/ 102 h 388"/>
                  <a:gd name="T20" fmla="*/ 16 w 217"/>
                  <a:gd name="T21" fmla="*/ 128 h 388"/>
                  <a:gd name="T22" fmla="*/ 55 w 217"/>
                  <a:gd name="T23" fmla="*/ 170 h 388"/>
                  <a:gd name="T24" fmla="*/ 90 w 217"/>
                  <a:gd name="T25" fmla="*/ 195 h 388"/>
                  <a:gd name="T26" fmla="*/ 39 w 217"/>
                  <a:gd name="T27" fmla="*/ 233 h 388"/>
                  <a:gd name="T28" fmla="*/ 11 w 217"/>
                  <a:gd name="T29" fmla="*/ 270 h 388"/>
                  <a:gd name="T30" fmla="*/ 3 w 217"/>
                  <a:gd name="T31" fmla="*/ 296 h 388"/>
                  <a:gd name="T32" fmla="*/ 0 w 217"/>
                  <a:gd name="T33" fmla="*/ 378 h 388"/>
                  <a:gd name="T34" fmla="*/ 4 w 217"/>
                  <a:gd name="T35" fmla="*/ 386 h 388"/>
                  <a:gd name="T36" fmla="*/ 11 w 217"/>
                  <a:gd name="T37" fmla="*/ 388 h 388"/>
                  <a:gd name="T38" fmla="*/ 21 w 217"/>
                  <a:gd name="T39" fmla="*/ 382 h 388"/>
                  <a:gd name="T40" fmla="*/ 196 w 217"/>
                  <a:gd name="T41" fmla="*/ 340 h 388"/>
                  <a:gd name="T42" fmla="*/ 196 w 217"/>
                  <a:gd name="T43" fmla="*/ 382 h 388"/>
                  <a:gd name="T44" fmla="*/ 207 w 217"/>
                  <a:gd name="T45" fmla="*/ 388 h 388"/>
                  <a:gd name="T46" fmla="*/ 213 w 217"/>
                  <a:gd name="T47" fmla="*/ 386 h 388"/>
                  <a:gd name="T48" fmla="*/ 217 w 217"/>
                  <a:gd name="T49" fmla="*/ 317 h 388"/>
                  <a:gd name="T50" fmla="*/ 215 w 217"/>
                  <a:gd name="T51" fmla="*/ 296 h 388"/>
                  <a:gd name="T52" fmla="*/ 207 w 217"/>
                  <a:gd name="T53" fmla="*/ 270 h 388"/>
                  <a:gd name="T54" fmla="*/ 177 w 217"/>
                  <a:gd name="T55" fmla="*/ 233 h 388"/>
                  <a:gd name="T56" fmla="*/ 127 w 217"/>
                  <a:gd name="T57" fmla="*/ 195 h 388"/>
                  <a:gd name="T58" fmla="*/ 162 w 217"/>
                  <a:gd name="T59" fmla="*/ 170 h 388"/>
                  <a:gd name="T60" fmla="*/ 201 w 217"/>
                  <a:gd name="T61" fmla="*/ 128 h 388"/>
                  <a:gd name="T62" fmla="*/ 213 w 217"/>
                  <a:gd name="T63" fmla="*/ 102 h 388"/>
                  <a:gd name="T64" fmla="*/ 217 w 217"/>
                  <a:gd name="T65" fmla="*/ 73 h 388"/>
                  <a:gd name="T66" fmla="*/ 21 w 217"/>
                  <a:gd name="T67" fmla="*/ 317 h 388"/>
                  <a:gd name="T68" fmla="*/ 24 w 217"/>
                  <a:gd name="T69" fmla="*/ 297 h 388"/>
                  <a:gd name="T70" fmla="*/ 187 w 217"/>
                  <a:gd name="T71" fmla="*/ 278 h 388"/>
                  <a:gd name="T72" fmla="*/ 193 w 217"/>
                  <a:gd name="T73" fmla="*/ 297 h 388"/>
                  <a:gd name="T74" fmla="*/ 196 w 217"/>
                  <a:gd name="T75" fmla="*/ 319 h 388"/>
                  <a:gd name="T76" fmla="*/ 46 w 217"/>
                  <a:gd name="T77" fmla="*/ 257 h 388"/>
                  <a:gd name="T78" fmla="*/ 90 w 217"/>
                  <a:gd name="T79" fmla="*/ 219 h 388"/>
                  <a:gd name="T80" fmla="*/ 127 w 217"/>
                  <a:gd name="T81" fmla="*/ 219 h 388"/>
                  <a:gd name="T82" fmla="*/ 172 w 217"/>
                  <a:gd name="T83" fmla="*/ 257 h 388"/>
                  <a:gd name="T84" fmla="*/ 109 w 217"/>
                  <a:gd name="T85" fmla="*/ 182 h 388"/>
                  <a:gd name="T86" fmla="*/ 58 w 217"/>
                  <a:gd name="T87" fmla="*/ 145 h 388"/>
                  <a:gd name="T88" fmla="*/ 172 w 217"/>
                  <a:gd name="T89" fmla="*/ 132 h 388"/>
                  <a:gd name="T90" fmla="*/ 127 w 217"/>
                  <a:gd name="T91" fmla="*/ 170 h 388"/>
                  <a:gd name="T92" fmla="*/ 196 w 217"/>
                  <a:gd name="T93" fmla="*/ 72 h 388"/>
                  <a:gd name="T94" fmla="*/ 195 w 217"/>
                  <a:gd name="T95" fmla="*/ 82 h 388"/>
                  <a:gd name="T96" fmla="*/ 187 w 217"/>
                  <a:gd name="T97" fmla="*/ 111 h 388"/>
                  <a:gd name="T98" fmla="*/ 27 w 217"/>
                  <a:gd name="T99" fmla="*/ 101 h 388"/>
                  <a:gd name="T100" fmla="*/ 21 w 217"/>
                  <a:gd name="T101" fmla="*/ 7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7" h="388">
                    <a:moveTo>
                      <a:pt x="217" y="73"/>
                    </a:moveTo>
                    <a:lnTo>
                      <a:pt x="217" y="11"/>
                    </a:lnTo>
                    <a:lnTo>
                      <a:pt x="217" y="11"/>
                    </a:lnTo>
                    <a:lnTo>
                      <a:pt x="216" y="7"/>
                    </a:lnTo>
                    <a:lnTo>
                      <a:pt x="213" y="4"/>
                    </a:lnTo>
                    <a:lnTo>
                      <a:pt x="211" y="2"/>
                    </a:lnTo>
                    <a:lnTo>
                      <a:pt x="207" y="0"/>
                    </a:lnTo>
                    <a:lnTo>
                      <a:pt x="207" y="0"/>
                    </a:lnTo>
                    <a:lnTo>
                      <a:pt x="203" y="2"/>
                    </a:lnTo>
                    <a:lnTo>
                      <a:pt x="199" y="4"/>
                    </a:lnTo>
                    <a:lnTo>
                      <a:pt x="196" y="7"/>
                    </a:lnTo>
                    <a:lnTo>
                      <a:pt x="196" y="11"/>
                    </a:lnTo>
                    <a:lnTo>
                      <a:pt x="196" y="50"/>
                    </a:lnTo>
                    <a:lnTo>
                      <a:pt x="21" y="50"/>
                    </a:lnTo>
                    <a:lnTo>
                      <a:pt x="21" y="11"/>
                    </a:lnTo>
                    <a:lnTo>
                      <a:pt x="21" y="11"/>
                    </a:lnTo>
                    <a:lnTo>
                      <a:pt x="21" y="7"/>
                    </a:lnTo>
                    <a:lnTo>
                      <a:pt x="19" y="4"/>
                    </a:lnTo>
                    <a:lnTo>
                      <a:pt x="15" y="2"/>
                    </a:lnTo>
                    <a:lnTo>
                      <a:pt x="11" y="0"/>
                    </a:lnTo>
                    <a:lnTo>
                      <a:pt x="11" y="0"/>
                    </a:lnTo>
                    <a:lnTo>
                      <a:pt x="7" y="2"/>
                    </a:lnTo>
                    <a:lnTo>
                      <a:pt x="4" y="4"/>
                    </a:lnTo>
                    <a:lnTo>
                      <a:pt x="1" y="7"/>
                    </a:lnTo>
                    <a:lnTo>
                      <a:pt x="0" y="11"/>
                    </a:lnTo>
                    <a:lnTo>
                      <a:pt x="0" y="73"/>
                    </a:lnTo>
                    <a:lnTo>
                      <a:pt x="0" y="73"/>
                    </a:lnTo>
                    <a:lnTo>
                      <a:pt x="1" y="82"/>
                    </a:lnTo>
                    <a:lnTo>
                      <a:pt x="3" y="93"/>
                    </a:lnTo>
                    <a:lnTo>
                      <a:pt x="4" y="102"/>
                    </a:lnTo>
                    <a:lnTo>
                      <a:pt x="7" y="111"/>
                    </a:lnTo>
                    <a:lnTo>
                      <a:pt x="11" y="120"/>
                    </a:lnTo>
                    <a:lnTo>
                      <a:pt x="16" y="128"/>
                    </a:lnTo>
                    <a:lnTo>
                      <a:pt x="27" y="143"/>
                    </a:lnTo>
                    <a:lnTo>
                      <a:pt x="39" y="156"/>
                    </a:lnTo>
                    <a:lnTo>
                      <a:pt x="55" y="170"/>
                    </a:lnTo>
                    <a:lnTo>
                      <a:pt x="71" y="182"/>
                    </a:lnTo>
                    <a:lnTo>
                      <a:pt x="90" y="195"/>
                    </a:lnTo>
                    <a:lnTo>
                      <a:pt x="90" y="195"/>
                    </a:lnTo>
                    <a:lnTo>
                      <a:pt x="71" y="207"/>
                    </a:lnTo>
                    <a:lnTo>
                      <a:pt x="55" y="219"/>
                    </a:lnTo>
                    <a:lnTo>
                      <a:pt x="39" y="233"/>
                    </a:lnTo>
                    <a:lnTo>
                      <a:pt x="27" y="246"/>
                    </a:lnTo>
                    <a:lnTo>
                      <a:pt x="16" y="262"/>
                    </a:lnTo>
                    <a:lnTo>
                      <a:pt x="11" y="270"/>
                    </a:lnTo>
                    <a:lnTo>
                      <a:pt x="7" y="278"/>
                    </a:lnTo>
                    <a:lnTo>
                      <a:pt x="4" y="288"/>
                    </a:lnTo>
                    <a:lnTo>
                      <a:pt x="3" y="296"/>
                    </a:lnTo>
                    <a:lnTo>
                      <a:pt x="1" y="307"/>
                    </a:lnTo>
                    <a:lnTo>
                      <a:pt x="0" y="317"/>
                    </a:lnTo>
                    <a:lnTo>
                      <a:pt x="0" y="378"/>
                    </a:lnTo>
                    <a:lnTo>
                      <a:pt x="0" y="378"/>
                    </a:lnTo>
                    <a:lnTo>
                      <a:pt x="1" y="382"/>
                    </a:lnTo>
                    <a:lnTo>
                      <a:pt x="4" y="386"/>
                    </a:lnTo>
                    <a:lnTo>
                      <a:pt x="7" y="387"/>
                    </a:lnTo>
                    <a:lnTo>
                      <a:pt x="11" y="388"/>
                    </a:lnTo>
                    <a:lnTo>
                      <a:pt x="11" y="388"/>
                    </a:lnTo>
                    <a:lnTo>
                      <a:pt x="15" y="387"/>
                    </a:lnTo>
                    <a:lnTo>
                      <a:pt x="19" y="386"/>
                    </a:lnTo>
                    <a:lnTo>
                      <a:pt x="21" y="382"/>
                    </a:lnTo>
                    <a:lnTo>
                      <a:pt x="21" y="378"/>
                    </a:lnTo>
                    <a:lnTo>
                      <a:pt x="21" y="340"/>
                    </a:lnTo>
                    <a:lnTo>
                      <a:pt x="196" y="340"/>
                    </a:lnTo>
                    <a:lnTo>
                      <a:pt x="196" y="378"/>
                    </a:lnTo>
                    <a:lnTo>
                      <a:pt x="196" y="378"/>
                    </a:lnTo>
                    <a:lnTo>
                      <a:pt x="196" y="382"/>
                    </a:lnTo>
                    <a:lnTo>
                      <a:pt x="199" y="386"/>
                    </a:lnTo>
                    <a:lnTo>
                      <a:pt x="203" y="387"/>
                    </a:lnTo>
                    <a:lnTo>
                      <a:pt x="207" y="388"/>
                    </a:lnTo>
                    <a:lnTo>
                      <a:pt x="207" y="388"/>
                    </a:lnTo>
                    <a:lnTo>
                      <a:pt x="211" y="387"/>
                    </a:lnTo>
                    <a:lnTo>
                      <a:pt x="213" y="386"/>
                    </a:lnTo>
                    <a:lnTo>
                      <a:pt x="216" y="382"/>
                    </a:lnTo>
                    <a:lnTo>
                      <a:pt x="217" y="378"/>
                    </a:lnTo>
                    <a:lnTo>
                      <a:pt x="217" y="317"/>
                    </a:lnTo>
                    <a:lnTo>
                      <a:pt x="217" y="317"/>
                    </a:lnTo>
                    <a:lnTo>
                      <a:pt x="216" y="307"/>
                    </a:lnTo>
                    <a:lnTo>
                      <a:pt x="215" y="296"/>
                    </a:lnTo>
                    <a:lnTo>
                      <a:pt x="213" y="288"/>
                    </a:lnTo>
                    <a:lnTo>
                      <a:pt x="209" y="278"/>
                    </a:lnTo>
                    <a:lnTo>
                      <a:pt x="207" y="270"/>
                    </a:lnTo>
                    <a:lnTo>
                      <a:pt x="201" y="262"/>
                    </a:lnTo>
                    <a:lnTo>
                      <a:pt x="191" y="246"/>
                    </a:lnTo>
                    <a:lnTo>
                      <a:pt x="177" y="233"/>
                    </a:lnTo>
                    <a:lnTo>
                      <a:pt x="162" y="219"/>
                    </a:lnTo>
                    <a:lnTo>
                      <a:pt x="146" y="207"/>
                    </a:lnTo>
                    <a:lnTo>
                      <a:pt x="127" y="195"/>
                    </a:lnTo>
                    <a:lnTo>
                      <a:pt x="127" y="195"/>
                    </a:lnTo>
                    <a:lnTo>
                      <a:pt x="146" y="182"/>
                    </a:lnTo>
                    <a:lnTo>
                      <a:pt x="162" y="170"/>
                    </a:lnTo>
                    <a:lnTo>
                      <a:pt x="177" y="156"/>
                    </a:lnTo>
                    <a:lnTo>
                      <a:pt x="191" y="143"/>
                    </a:lnTo>
                    <a:lnTo>
                      <a:pt x="201" y="128"/>
                    </a:lnTo>
                    <a:lnTo>
                      <a:pt x="207" y="120"/>
                    </a:lnTo>
                    <a:lnTo>
                      <a:pt x="209" y="111"/>
                    </a:lnTo>
                    <a:lnTo>
                      <a:pt x="213" y="102"/>
                    </a:lnTo>
                    <a:lnTo>
                      <a:pt x="215" y="93"/>
                    </a:lnTo>
                    <a:lnTo>
                      <a:pt x="216" y="82"/>
                    </a:lnTo>
                    <a:lnTo>
                      <a:pt x="217" y="73"/>
                    </a:lnTo>
                    <a:lnTo>
                      <a:pt x="217" y="73"/>
                    </a:lnTo>
                    <a:close/>
                    <a:moveTo>
                      <a:pt x="21" y="319"/>
                    </a:moveTo>
                    <a:lnTo>
                      <a:pt x="21" y="317"/>
                    </a:lnTo>
                    <a:lnTo>
                      <a:pt x="21" y="317"/>
                    </a:lnTo>
                    <a:lnTo>
                      <a:pt x="23" y="307"/>
                    </a:lnTo>
                    <a:lnTo>
                      <a:pt x="24" y="297"/>
                    </a:lnTo>
                    <a:lnTo>
                      <a:pt x="27" y="288"/>
                    </a:lnTo>
                    <a:lnTo>
                      <a:pt x="31" y="278"/>
                    </a:lnTo>
                    <a:lnTo>
                      <a:pt x="187" y="278"/>
                    </a:lnTo>
                    <a:lnTo>
                      <a:pt x="187" y="278"/>
                    </a:lnTo>
                    <a:lnTo>
                      <a:pt x="191" y="288"/>
                    </a:lnTo>
                    <a:lnTo>
                      <a:pt x="193" y="297"/>
                    </a:lnTo>
                    <a:lnTo>
                      <a:pt x="195" y="307"/>
                    </a:lnTo>
                    <a:lnTo>
                      <a:pt x="196" y="317"/>
                    </a:lnTo>
                    <a:lnTo>
                      <a:pt x="196" y="319"/>
                    </a:lnTo>
                    <a:lnTo>
                      <a:pt x="21" y="319"/>
                    </a:lnTo>
                    <a:close/>
                    <a:moveTo>
                      <a:pt x="46" y="257"/>
                    </a:moveTo>
                    <a:lnTo>
                      <a:pt x="46" y="257"/>
                    </a:lnTo>
                    <a:lnTo>
                      <a:pt x="58" y="245"/>
                    </a:lnTo>
                    <a:lnTo>
                      <a:pt x="72" y="231"/>
                    </a:lnTo>
                    <a:lnTo>
                      <a:pt x="90" y="219"/>
                    </a:lnTo>
                    <a:lnTo>
                      <a:pt x="109" y="207"/>
                    </a:lnTo>
                    <a:lnTo>
                      <a:pt x="109" y="207"/>
                    </a:lnTo>
                    <a:lnTo>
                      <a:pt x="127" y="219"/>
                    </a:lnTo>
                    <a:lnTo>
                      <a:pt x="144" y="231"/>
                    </a:lnTo>
                    <a:lnTo>
                      <a:pt x="158" y="245"/>
                    </a:lnTo>
                    <a:lnTo>
                      <a:pt x="172" y="257"/>
                    </a:lnTo>
                    <a:lnTo>
                      <a:pt x="46" y="257"/>
                    </a:lnTo>
                    <a:close/>
                    <a:moveTo>
                      <a:pt x="109" y="182"/>
                    </a:moveTo>
                    <a:lnTo>
                      <a:pt x="109" y="182"/>
                    </a:lnTo>
                    <a:lnTo>
                      <a:pt x="90" y="170"/>
                    </a:lnTo>
                    <a:lnTo>
                      <a:pt x="72" y="158"/>
                    </a:lnTo>
                    <a:lnTo>
                      <a:pt x="58" y="145"/>
                    </a:lnTo>
                    <a:lnTo>
                      <a:pt x="46" y="132"/>
                    </a:lnTo>
                    <a:lnTo>
                      <a:pt x="172" y="132"/>
                    </a:lnTo>
                    <a:lnTo>
                      <a:pt x="172" y="132"/>
                    </a:lnTo>
                    <a:lnTo>
                      <a:pt x="158" y="145"/>
                    </a:lnTo>
                    <a:lnTo>
                      <a:pt x="144" y="158"/>
                    </a:lnTo>
                    <a:lnTo>
                      <a:pt x="127" y="170"/>
                    </a:lnTo>
                    <a:lnTo>
                      <a:pt x="109" y="182"/>
                    </a:lnTo>
                    <a:lnTo>
                      <a:pt x="109" y="182"/>
                    </a:lnTo>
                    <a:close/>
                    <a:moveTo>
                      <a:pt x="196" y="72"/>
                    </a:moveTo>
                    <a:lnTo>
                      <a:pt x="196" y="73"/>
                    </a:lnTo>
                    <a:lnTo>
                      <a:pt x="196" y="73"/>
                    </a:lnTo>
                    <a:lnTo>
                      <a:pt x="195" y="82"/>
                    </a:lnTo>
                    <a:lnTo>
                      <a:pt x="193" y="92"/>
                    </a:lnTo>
                    <a:lnTo>
                      <a:pt x="191" y="101"/>
                    </a:lnTo>
                    <a:lnTo>
                      <a:pt x="187" y="111"/>
                    </a:lnTo>
                    <a:lnTo>
                      <a:pt x="31" y="111"/>
                    </a:lnTo>
                    <a:lnTo>
                      <a:pt x="31" y="111"/>
                    </a:lnTo>
                    <a:lnTo>
                      <a:pt x="27" y="101"/>
                    </a:lnTo>
                    <a:lnTo>
                      <a:pt x="24" y="92"/>
                    </a:lnTo>
                    <a:lnTo>
                      <a:pt x="23" y="82"/>
                    </a:lnTo>
                    <a:lnTo>
                      <a:pt x="21" y="73"/>
                    </a:lnTo>
                    <a:lnTo>
                      <a:pt x="21" y="72"/>
                    </a:lnTo>
                    <a:lnTo>
                      <a:pt x="196" y="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Open Sans"/>
                  <a:ea typeface="+mn-ea"/>
                  <a:cs typeface="+mn-cs"/>
                </a:endParaRPr>
              </a:p>
            </p:txBody>
          </p:sp>
        </p:grpSp>
      </p:grpSp>
    </p:spTree>
    <p:extLst>
      <p:ext uri="{BB962C8B-B14F-4D97-AF65-F5344CB8AC3E}">
        <p14:creationId xmlns:p14="http://schemas.microsoft.com/office/powerpoint/2010/main" val="321760588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8D59535-039E-4329-BC47-0F1D18928C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88" name="think-cell Slide" r:id="rId6" imgW="415" imgH="416" progId="TCLayout.ActiveDocument.1">
                  <p:embed/>
                </p:oleObj>
              </mc:Choice>
              <mc:Fallback>
                <p:oleObj name="think-cell Slide" r:id="rId6" imgW="415" imgH="416" progId="TCLayout.ActiveDocument.1">
                  <p:embed/>
                  <p:pic>
                    <p:nvPicPr>
                      <p:cNvPr id="6" name="Object 5" hidden="1">
                        <a:extLst>
                          <a:ext uri="{FF2B5EF4-FFF2-40B4-BE49-F238E27FC236}">
                            <a16:creationId xmlns:a16="http://schemas.microsoft.com/office/drawing/2014/main" id="{18D59535-039E-4329-BC47-0F1D18928C8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DA6D936-E73E-451A-A806-750C5CE9199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DB208CFC-53A7-482A-A68A-4A132F661D04}"/>
              </a:ext>
            </a:extLst>
          </p:cNvPr>
          <p:cNvSpPr>
            <a:spLocks noGrp="1"/>
          </p:cNvSpPr>
          <p:nvPr>
            <p:ph type="title"/>
          </p:nvPr>
        </p:nvSpPr>
        <p:spPr/>
        <p:txBody>
          <a:bodyPr/>
          <a:lstStyle/>
          <a:p>
            <a:r>
              <a:rPr lang="en-US" dirty="0"/>
              <a:t>Current state process: In-store</a:t>
            </a:r>
          </a:p>
        </p:txBody>
      </p:sp>
      <p:sp>
        <p:nvSpPr>
          <p:cNvPr id="3" name="Text Placeholder 2">
            <a:extLst>
              <a:ext uri="{FF2B5EF4-FFF2-40B4-BE49-F238E27FC236}">
                <a16:creationId xmlns:a16="http://schemas.microsoft.com/office/drawing/2014/main" id="{775BA466-77E3-4AFB-B82C-D82F3A424A9C}"/>
              </a:ext>
            </a:extLst>
          </p:cNvPr>
          <p:cNvSpPr>
            <a:spLocks noGrp="1"/>
          </p:cNvSpPr>
          <p:nvPr>
            <p:ph type="body" sz="quarter" idx="14"/>
          </p:nvPr>
        </p:nvSpPr>
        <p:spPr>
          <a:xfrm>
            <a:off x="914721" y="1353312"/>
            <a:ext cx="10362880" cy="475488"/>
          </a:xfrm>
        </p:spPr>
        <p:txBody>
          <a:bodyPr/>
          <a:lstStyle/>
          <a:p>
            <a:r>
              <a:rPr lang="en-US" dirty="0"/>
              <a:t>In an attempt to distinguish the discrete roles and responsibilities within Creative for in-store signage, an end-to-end process flow was created to illustrate how work packages are developed, produced, and executed today</a:t>
            </a:r>
          </a:p>
          <a:p>
            <a:endParaRPr lang="en-US" dirty="0"/>
          </a:p>
        </p:txBody>
      </p:sp>
      <p:sp>
        <p:nvSpPr>
          <p:cNvPr id="4" name="Text Placeholder 3">
            <a:extLst>
              <a:ext uri="{FF2B5EF4-FFF2-40B4-BE49-F238E27FC236}">
                <a16:creationId xmlns:a16="http://schemas.microsoft.com/office/drawing/2014/main" id="{33B888F7-9568-4F5A-BB8C-0D2F164DE5E4}"/>
              </a:ext>
            </a:extLst>
          </p:cNvPr>
          <p:cNvSpPr>
            <a:spLocks noGrp="1"/>
          </p:cNvSpPr>
          <p:nvPr>
            <p:ph type="body" sz="quarter" idx="15"/>
          </p:nvPr>
        </p:nvSpPr>
        <p:spPr/>
        <p:txBody>
          <a:bodyPr/>
          <a:lstStyle/>
          <a:p>
            <a:r>
              <a:rPr lang="en-US" dirty="0"/>
              <a:t>Process &amp; customer journey</a:t>
            </a:r>
          </a:p>
        </p:txBody>
      </p:sp>
      <p:sp>
        <p:nvSpPr>
          <p:cNvPr id="32" name="TextBox 31">
            <a:extLst>
              <a:ext uri="{FF2B5EF4-FFF2-40B4-BE49-F238E27FC236}">
                <a16:creationId xmlns:a16="http://schemas.microsoft.com/office/drawing/2014/main" id="{7AE47946-C66A-4519-B714-A10F81399E00}"/>
              </a:ext>
            </a:extLst>
          </p:cNvPr>
          <p:cNvSpPr txBox="1"/>
          <p:nvPr/>
        </p:nvSpPr>
        <p:spPr>
          <a:xfrm>
            <a:off x="913058" y="5715806"/>
            <a:ext cx="8743005" cy="208882"/>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gn="l">
              <a:lnSpc>
                <a:spcPct val="80000"/>
              </a:lnSpc>
              <a:spcBef>
                <a:spcPts val="0"/>
              </a:spcBef>
            </a:pPr>
            <a:r>
              <a:rPr lang="en-US" sz="900" dirty="0">
                <a:solidFill>
                  <a:schemeClr val="tx1"/>
                </a:solidFill>
                <a:latin typeface="+mn-lt"/>
              </a:rPr>
              <a:t>ASSUMPTION: The above process is often iterative and non-linear </a:t>
            </a:r>
          </a:p>
        </p:txBody>
      </p:sp>
      <p:grpSp>
        <p:nvGrpSpPr>
          <p:cNvPr id="33" name="Group 32">
            <a:extLst>
              <a:ext uri="{FF2B5EF4-FFF2-40B4-BE49-F238E27FC236}">
                <a16:creationId xmlns:a16="http://schemas.microsoft.com/office/drawing/2014/main" id="{C1E44639-93FC-42AC-99EE-0D0AA8001D9A}"/>
              </a:ext>
            </a:extLst>
          </p:cNvPr>
          <p:cNvGrpSpPr/>
          <p:nvPr/>
        </p:nvGrpSpPr>
        <p:grpSpPr>
          <a:xfrm>
            <a:off x="810684" y="1981085"/>
            <a:ext cx="10620389" cy="3429861"/>
            <a:chOff x="810684" y="2489085"/>
            <a:chExt cx="10620389" cy="3429861"/>
          </a:xfrm>
        </p:grpSpPr>
        <p:sp>
          <p:nvSpPr>
            <p:cNvPr id="34" name="Rectangle 33">
              <a:extLst>
                <a:ext uri="{FF2B5EF4-FFF2-40B4-BE49-F238E27FC236}">
                  <a16:creationId xmlns:a16="http://schemas.microsoft.com/office/drawing/2014/main" id="{8CD912A3-ABEC-48A6-9CBA-2CE7C6D78A07}"/>
                </a:ext>
              </a:extLst>
            </p:cNvPr>
            <p:cNvSpPr/>
            <p:nvPr/>
          </p:nvSpPr>
          <p:spPr>
            <a:xfrm>
              <a:off x="914971" y="3869186"/>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850" dirty="0"/>
                <a:t>Develop Strategy &amp; Brief</a:t>
              </a:r>
            </a:p>
          </p:txBody>
        </p:sp>
        <p:sp>
          <p:nvSpPr>
            <p:cNvPr id="35" name="Rectangle 34">
              <a:extLst>
                <a:ext uri="{FF2B5EF4-FFF2-40B4-BE49-F238E27FC236}">
                  <a16:creationId xmlns:a16="http://schemas.microsoft.com/office/drawing/2014/main" id="{498E23E7-C89A-4C7B-BE9B-016BA59BBFBE}"/>
                </a:ext>
              </a:extLst>
            </p:cNvPr>
            <p:cNvSpPr/>
            <p:nvPr/>
          </p:nvSpPr>
          <p:spPr>
            <a:xfrm>
              <a:off x="2253821" y="3869186"/>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850" dirty="0"/>
                <a:t>Create Concept &amp; Creative Deck</a:t>
              </a:r>
            </a:p>
          </p:txBody>
        </p:sp>
        <p:sp>
          <p:nvSpPr>
            <p:cNvPr id="36" name="Rectangle 35">
              <a:extLst>
                <a:ext uri="{FF2B5EF4-FFF2-40B4-BE49-F238E27FC236}">
                  <a16:creationId xmlns:a16="http://schemas.microsoft.com/office/drawing/2014/main" id="{0CD16046-ACB4-4E85-B420-4362455C478A}"/>
                </a:ext>
              </a:extLst>
            </p:cNvPr>
            <p:cNvSpPr/>
            <p:nvPr/>
          </p:nvSpPr>
          <p:spPr>
            <a:xfrm>
              <a:off x="9064077" y="3869186"/>
              <a:ext cx="914400" cy="613520"/>
            </a:xfrm>
            <a:prstGeom prst="rect">
              <a:avLst/>
            </a:prstGeom>
            <a:solidFill>
              <a:schemeClr val="accent3">
                <a:lumMod val="20000"/>
                <a:lumOff val="80000"/>
              </a:schemeClr>
            </a:solidFill>
            <a:ln w="12700" algn="ctr">
              <a:solidFill>
                <a:schemeClr val="accent6"/>
              </a:solidFill>
              <a:prstDash val="dash"/>
              <a:miter lim="800000"/>
              <a:headEnd type="none" w="sm" len="sm"/>
              <a:tailEnd type="none" w="sm" len="sm"/>
            </a:ln>
          </p:spPr>
          <p:txBody>
            <a:bodyPr wrap="square" lIns="0" tIns="0" rIns="0" bIns="0" anchor="ctr"/>
            <a:lstStyle/>
            <a:p>
              <a:pPr algn="ctr"/>
              <a:r>
                <a:rPr lang="en-US" sz="850" dirty="0"/>
                <a:t>Develop Signing Kit / Build Out Versions</a:t>
              </a:r>
            </a:p>
          </p:txBody>
        </p:sp>
        <p:sp>
          <p:nvSpPr>
            <p:cNvPr id="37" name="Rectangle 36">
              <a:extLst>
                <a:ext uri="{FF2B5EF4-FFF2-40B4-BE49-F238E27FC236}">
                  <a16:creationId xmlns:a16="http://schemas.microsoft.com/office/drawing/2014/main" id="{62D4DEAA-C972-4D6B-AFEA-658BD07CC23C}"/>
                </a:ext>
              </a:extLst>
            </p:cNvPr>
            <p:cNvSpPr/>
            <p:nvPr/>
          </p:nvSpPr>
          <p:spPr>
            <a:xfrm>
              <a:off x="6386377" y="3869186"/>
              <a:ext cx="914400" cy="613520"/>
            </a:xfrm>
            <a:prstGeom prst="rect">
              <a:avLst/>
            </a:prstGeom>
            <a:solidFill>
              <a:schemeClr val="accent3">
                <a:lumMod val="20000"/>
                <a:lumOff val="80000"/>
              </a:schemeClr>
            </a:solidFill>
            <a:ln w="12700" algn="ctr">
              <a:solidFill>
                <a:schemeClr val="accent6"/>
              </a:solidFill>
              <a:prstDash val="dash"/>
              <a:miter lim="800000"/>
              <a:headEnd type="none" w="sm" len="sm"/>
              <a:tailEnd type="none" w="sm" len="sm"/>
            </a:ln>
          </p:spPr>
          <p:txBody>
            <a:bodyPr wrap="square" lIns="0" tIns="0" rIns="0" bIns="0" anchor="ctr"/>
            <a:lstStyle/>
            <a:p>
              <a:pPr algn="ctr"/>
              <a:r>
                <a:rPr lang="en-US" sz="850" dirty="0"/>
                <a:t>Retouch Photo Assets</a:t>
              </a:r>
            </a:p>
          </p:txBody>
        </p:sp>
        <p:grpSp>
          <p:nvGrpSpPr>
            <p:cNvPr id="38" name="Group 37">
              <a:extLst>
                <a:ext uri="{FF2B5EF4-FFF2-40B4-BE49-F238E27FC236}">
                  <a16:creationId xmlns:a16="http://schemas.microsoft.com/office/drawing/2014/main" id="{4597A988-3395-4683-B79A-45EC5C51DF08}"/>
                </a:ext>
              </a:extLst>
            </p:cNvPr>
            <p:cNvGrpSpPr/>
            <p:nvPr/>
          </p:nvGrpSpPr>
          <p:grpSpPr>
            <a:xfrm>
              <a:off x="3592671" y="3199047"/>
              <a:ext cx="914400" cy="1283170"/>
              <a:chOff x="3806113" y="2192509"/>
              <a:chExt cx="914400" cy="1283170"/>
            </a:xfrm>
          </p:grpSpPr>
          <p:sp>
            <p:nvSpPr>
              <p:cNvPr id="71" name="Rectangle 70">
                <a:extLst>
                  <a:ext uri="{FF2B5EF4-FFF2-40B4-BE49-F238E27FC236}">
                    <a16:creationId xmlns:a16="http://schemas.microsoft.com/office/drawing/2014/main" id="{D8F93EE8-E830-4D1B-9CB7-3C25D2711745}"/>
                  </a:ext>
                </a:extLst>
              </p:cNvPr>
              <p:cNvSpPr/>
              <p:nvPr/>
            </p:nvSpPr>
            <p:spPr>
              <a:xfrm>
                <a:off x="3806113" y="2862159"/>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850" dirty="0"/>
                  <a:t>Develop Layout</a:t>
                </a:r>
              </a:p>
            </p:txBody>
          </p:sp>
          <p:sp>
            <p:nvSpPr>
              <p:cNvPr id="72" name="Rectangle 71">
                <a:extLst>
                  <a:ext uri="{FF2B5EF4-FFF2-40B4-BE49-F238E27FC236}">
                    <a16:creationId xmlns:a16="http://schemas.microsoft.com/office/drawing/2014/main" id="{C9A6E70A-F30C-428C-AF33-77D0B098D921}"/>
                  </a:ext>
                </a:extLst>
              </p:cNvPr>
              <p:cNvSpPr/>
              <p:nvPr/>
            </p:nvSpPr>
            <p:spPr>
              <a:xfrm>
                <a:off x="3806113" y="2192509"/>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850" dirty="0"/>
                  <a:t>Locate Existing Image</a:t>
                </a:r>
              </a:p>
            </p:txBody>
          </p:sp>
        </p:grpSp>
        <p:sp>
          <p:nvSpPr>
            <p:cNvPr id="39" name="Isosceles Triangle 38">
              <a:extLst>
                <a:ext uri="{FF2B5EF4-FFF2-40B4-BE49-F238E27FC236}">
                  <a16:creationId xmlns:a16="http://schemas.microsoft.com/office/drawing/2014/main" id="{7DC38903-BE12-4132-82ED-D88D5E6F9C45}"/>
                </a:ext>
              </a:extLst>
            </p:cNvPr>
            <p:cNvSpPr/>
            <p:nvPr/>
          </p:nvSpPr>
          <p:spPr>
            <a:xfrm>
              <a:off x="9847803" y="4359785"/>
              <a:ext cx="228600" cy="182880"/>
            </a:xfrm>
            <a:prstGeom prst="triangle">
              <a:avLst/>
            </a:prstGeom>
            <a:solidFill>
              <a:schemeClr val="bg1">
                <a:lumMod val="8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Isosceles Triangle 39">
              <a:extLst>
                <a:ext uri="{FF2B5EF4-FFF2-40B4-BE49-F238E27FC236}">
                  <a16:creationId xmlns:a16="http://schemas.microsoft.com/office/drawing/2014/main" id="{A2CF68A5-6E5F-4256-8BF7-D8F93C6D19BC}"/>
                </a:ext>
              </a:extLst>
            </p:cNvPr>
            <p:cNvSpPr/>
            <p:nvPr/>
          </p:nvSpPr>
          <p:spPr>
            <a:xfrm>
              <a:off x="3006464" y="4359785"/>
              <a:ext cx="228600" cy="182880"/>
            </a:xfrm>
            <a:prstGeom prst="triangle">
              <a:avLst/>
            </a:prstGeom>
            <a:solidFill>
              <a:schemeClr val="bg1">
                <a:lumMod val="8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1" name="Group 40">
              <a:extLst>
                <a:ext uri="{FF2B5EF4-FFF2-40B4-BE49-F238E27FC236}">
                  <a16:creationId xmlns:a16="http://schemas.microsoft.com/office/drawing/2014/main" id="{10D9E174-004D-46A5-9CBB-14BC2EC43214}"/>
                </a:ext>
              </a:extLst>
            </p:cNvPr>
            <p:cNvGrpSpPr/>
            <p:nvPr/>
          </p:nvGrpSpPr>
          <p:grpSpPr>
            <a:xfrm>
              <a:off x="4988433" y="3192231"/>
              <a:ext cx="914400" cy="1972216"/>
              <a:chOff x="4809961" y="2185693"/>
              <a:chExt cx="914400" cy="1972216"/>
            </a:xfrm>
          </p:grpSpPr>
          <p:sp>
            <p:nvSpPr>
              <p:cNvPr id="68" name="Rectangle 67">
                <a:extLst>
                  <a:ext uri="{FF2B5EF4-FFF2-40B4-BE49-F238E27FC236}">
                    <a16:creationId xmlns:a16="http://schemas.microsoft.com/office/drawing/2014/main" id="{E92613AC-A4FA-4283-A450-99345AC8EC18}"/>
                  </a:ext>
                </a:extLst>
              </p:cNvPr>
              <p:cNvSpPr/>
              <p:nvPr/>
            </p:nvSpPr>
            <p:spPr>
              <a:xfrm>
                <a:off x="4809961" y="2185693"/>
                <a:ext cx="914400" cy="613520"/>
              </a:xfrm>
              <a:prstGeom prst="rect">
                <a:avLst/>
              </a:prstGeom>
              <a:solidFill>
                <a:schemeClr val="accent3">
                  <a:lumMod val="20000"/>
                  <a:lumOff val="80000"/>
                </a:schemeClr>
              </a:solidFill>
              <a:ln w="12700" algn="ctr">
                <a:solidFill>
                  <a:schemeClr val="accent6"/>
                </a:solidFill>
                <a:prstDash val="dash"/>
                <a:miter lim="800000"/>
                <a:headEnd type="none" w="sm" len="sm"/>
                <a:tailEnd type="none" w="sm" len="sm"/>
              </a:ln>
            </p:spPr>
            <p:txBody>
              <a:bodyPr wrap="square" lIns="0" tIns="0" rIns="0" bIns="0" anchor="ctr"/>
              <a:lstStyle/>
              <a:p>
                <a:pPr algn="ctr"/>
                <a:r>
                  <a:rPr lang="en-US" sz="850" dirty="0"/>
                  <a:t>Photograph: Apparel</a:t>
                </a:r>
              </a:p>
            </p:txBody>
          </p:sp>
          <p:sp>
            <p:nvSpPr>
              <p:cNvPr id="69" name="Rectangle 68">
                <a:extLst>
                  <a:ext uri="{FF2B5EF4-FFF2-40B4-BE49-F238E27FC236}">
                    <a16:creationId xmlns:a16="http://schemas.microsoft.com/office/drawing/2014/main" id="{11E1CD09-766D-44CF-A74B-50531CD364CD}"/>
                  </a:ext>
                </a:extLst>
              </p:cNvPr>
              <p:cNvSpPr/>
              <p:nvPr/>
            </p:nvSpPr>
            <p:spPr>
              <a:xfrm>
                <a:off x="4809961" y="2859771"/>
                <a:ext cx="914400" cy="613520"/>
              </a:xfrm>
              <a:prstGeom prst="rect">
                <a:avLst/>
              </a:prstGeom>
              <a:solidFill>
                <a:schemeClr val="accent3">
                  <a:lumMod val="20000"/>
                  <a:lumOff val="80000"/>
                </a:schemeClr>
              </a:solidFill>
              <a:ln w="12700" algn="ctr">
                <a:solidFill>
                  <a:schemeClr val="accent6"/>
                </a:solidFill>
                <a:prstDash val="dash"/>
                <a:miter lim="800000"/>
                <a:headEnd type="none" w="sm" len="sm"/>
                <a:tailEnd type="none" w="sm" len="sm"/>
              </a:ln>
            </p:spPr>
            <p:txBody>
              <a:bodyPr wrap="square" lIns="0" tIns="0" rIns="0" bIns="0" anchor="ctr"/>
              <a:lstStyle/>
              <a:p>
                <a:pPr algn="ctr"/>
                <a:r>
                  <a:rPr lang="en-US" sz="850" dirty="0"/>
                  <a:t>Photograph: Home</a:t>
                </a:r>
              </a:p>
            </p:txBody>
          </p:sp>
          <p:sp>
            <p:nvSpPr>
              <p:cNvPr id="70" name="Rectangle 69">
                <a:extLst>
                  <a:ext uri="{FF2B5EF4-FFF2-40B4-BE49-F238E27FC236}">
                    <a16:creationId xmlns:a16="http://schemas.microsoft.com/office/drawing/2014/main" id="{89E8D1AB-7889-47FB-BF95-1CF72A4E7E12}"/>
                  </a:ext>
                </a:extLst>
              </p:cNvPr>
              <p:cNvSpPr/>
              <p:nvPr/>
            </p:nvSpPr>
            <p:spPr>
              <a:xfrm>
                <a:off x="4809961" y="3544389"/>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850" dirty="0"/>
                  <a:t>Photograph: </a:t>
                </a:r>
                <a:br>
                  <a:rPr lang="en-US" sz="850" dirty="0"/>
                </a:br>
                <a:r>
                  <a:rPr lang="en-US" sz="850" dirty="0"/>
                  <a:t>Food &amp; Other</a:t>
                </a:r>
              </a:p>
            </p:txBody>
          </p:sp>
        </p:grpSp>
        <p:sp>
          <p:nvSpPr>
            <p:cNvPr id="42" name="Isosceles Triangle 41">
              <a:extLst>
                <a:ext uri="{FF2B5EF4-FFF2-40B4-BE49-F238E27FC236}">
                  <a16:creationId xmlns:a16="http://schemas.microsoft.com/office/drawing/2014/main" id="{2CD06D5D-C34C-400D-A07C-55466254915E}"/>
                </a:ext>
              </a:extLst>
            </p:cNvPr>
            <p:cNvSpPr/>
            <p:nvPr/>
          </p:nvSpPr>
          <p:spPr>
            <a:xfrm>
              <a:off x="4345314" y="4359785"/>
              <a:ext cx="228600" cy="182880"/>
            </a:xfrm>
            <a:prstGeom prst="triangle">
              <a:avLst/>
            </a:prstGeom>
            <a:solidFill>
              <a:schemeClr val="accent6">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ectangle 42">
              <a:extLst>
                <a:ext uri="{FF2B5EF4-FFF2-40B4-BE49-F238E27FC236}">
                  <a16:creationId xmlns:a16="http://schemas.microsoft.com/office/drawing/2014/main" id="{703D1D71-280C-47E6-991E-EA073B6D684D}"/>
                </a:ext>
              </a:extLst>
            </p:cNvPr>
            <p:cNvSpPr/>
            <p:nvPr/>
          </p:nvSpPr>
          <p:spPr>
            <a:xfrm>
              <a:off x="10402930" y="3869186"/>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850" dirty="0"/>
                <a:t>Send to Print</a:t>
              </a:r>
            </a:p>
          </p:txBody>
        </p:sp>
        <p:cxnSp>
          <p:nvCxnSpPr>
            <p:cNvPr id="44" name="Straight Connector 74">
              <a:extLst>
                <a:ext uri="{FF2B5EF4-FFF2-40B4-BE49-F238E27FC236}">
                  <a16:creationId xmlns:a16="http://schemas.microsoft.com/office/drawing/2014/main" id="{86A2A474-3686-40E1-8F20-22A8957CF283}"/>
                </a:ext>
              </a:extLst>
            </p:cNvPr>
            <p:cNvCxnSpPr>
              <a:cxnSpLocks/>
              <a:stCxn id="34" idx="0"/>
              <a:endCxn id="67" idx="0"/>
            </p:cNvCxnSpPr>
            <p:nvPr/>
          </p:nvCxnSpPr>
          <p:spPr>
            <a:xfrm rot="5400000" flipH="1" flipV="1">
              <a:off x="4608554" y="295313"/>
              <a:ext cx="337490" cy="6810256"/>
            </a:xfrm>
            <a:prstGeom prst="bentConnector3">
              <a:avLst>
                <a:gd name="adj1" fmla="val 355776"/>
              </a:avLst>
            </a:prstGeom>
            <a:noFill/>
            <a:ln w="22225" cmpd="sng">
              <a:solidFill>
                <a:srgbClr val="FDD300"/>
              </a:solidFill>
              <a:tailEnd type="triangle"/>
            </a:ln>
            <a:effectLst/>
          </p:spPr>
        </p:cxnSp>
        <p:sp>
          <p:nvSpPr>
            <p:cNvPr id="45" name="Left Brace 44">
              <a:extLst>
                <a:ext uri="{FF2B5EF4-FFF2-40B4-BE49-F238E27FC236}">
                  <a16:creationId xmlns:a16="http://schemas.microsoft.com/office/drawing/2014/main" id="{FF8EB621-81D4-4B0C-99FB-A6A86DFFF171}"/>
                </a:ext>
              </a:extLst>
            </p:cNvPr>
            <p:cNvSpPr/>
            <p:nvPr/>
          </p:nvSpPr>
          <p:spPr>
            <a:xfrm rot="16200000" flipV="1">
              <a:off x="1263413" y="4385126"/>
              <a:ext cx="228282" cy="914971"/>
            </a:xfrm>
            <a:prstGeom prst="leftBrace">
              <a:avLst/>
            </a:prstGeom>
            <a:ln w="19050">
              <a:solidFill>
                <a:schemeClr val="accent3"/>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00"/>
            </a:p>
          </p:txBody>
        </p:sp>
        <p:sp>
          <p:nvSpPr>
            <p:cNvPr id="46" name="TextBox 45">
              <a:extLst>
                <a:ext uri="{FF2B5EF4-FFF2-40B4-BE49-F238E27FC236}">
                  <a16:creationId xmlns:a16="http://schemas.microsoft.com/office/drawing/2014/main" id="{0CF8923A-9E42-4093-BFC4-CA9F9B449751}"/>
                </a:ext>
              </a:extLst>
            </p:cNvPr>
            <p:cNvSpPr txBox="1"/>
            <p:nvPr/>
          </p:nvSpPr>
          <p:spPr>
            <a:xfrm>
              <a:off x="810684" y="5083989"/>
              <a:ext cx="1133740" cy="172179"/>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dirty="0">
                  <a:solidFill>
                    <a:schemeClr val="tx1"/>
                  </a:solidFill>
                  <a:latin typeface="+mn-lt"/>
                </a:rPr>
                <a:t>STRATEGY</a:t>
              </a:r>
            </a:p>
          </p:txBody>
        </p:sp>
        <p:sp>
          <p:nvSpPr>
            <p:cNvPr id="47" name="Left Brace 46">
              <a:extLst>
                <a:ext uri="{FF2B5EF4-FFF2-40B4-BE49-F238E27FC236}">
                  <a16:creationId xmlns:a16="http://schemas.microsoft.com/office/drawing/2014/main" id="{47416E37-F7D1-41EA-B219-BB3B9AEBF19F}"/>
                </a:ext>
              </a:extLst>
            </p:cNvPr>
            <p:cNvSpPr/>
            <p:nvPr/>
          </p:nvSpPr>
          <p:spPr>
            <a:xfrm rot="16200000" flipV="1">
              <a:off x="3263789" y="3713471"/>
              <a:ext cx="233312" cy="2253250"/>
            </a:xfrm>
            <a:prstGeom prst="leftBrace">
              <a:avLst/>
            </a:prstGeom>
            <a:ln w="19050">
              <a:solidFill>
                <a:schemeClr val="accent3"/>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00"/>
            </a:p>
          </p:txBody>
        </p:sp>
        <p:sp>
          <p:nvSpPr>
            <p:cNvPr id="48" name="TextBox 47">
              <a:extLst>
                <a:ext uri="{FF2B5EF4-FFF2-40B4-BE49-F238E27FC236}">
                  <a16:creationId xmlns:a16="http://schemas.microsoft.com/office/drawing/2014/main" id="{19BC14FD-0AB2-45E8-A547-B0E45798684B}"/>
                </a:ext>
              </a:extLst>
            </p:cNvPr>
            <p:cNvSpPr txBox="1"/>
            <p:nvPr/>
          </p:nvSpPr>
          <p:spPr>
            <a:xfrm>
              <a:off x="2779694" y="5083989"/>
              <a:ext cx="1133740" cy="172179"/>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dirty="0">
                  <a:solidFill>
                    <a:schemeClr val="tx1"/>
                  </a:solidFill>
                  <a:latin typeface="+mn-lt"/>
                </a:rPr>
                <a:t>CONCEPT</a:t>
              </a:r>
            </a:p>
          </p:txBody>
        </p:sp>
        <p:sp>
          <p:nvSpPr>
            <p:cNvPr id="49" name="Left Brace 48">
              <a:extLst>
                <a:ext uri="{FF2B5EF4-FFF2-40B4-BE49-F238E27FC236}">
                  <a16:creationId xmlns:a16="http://schemas.microsoft.com/office/drawing/2014/main" id="{F4EF2A1D-8927-4D9C-9DF7-3E7E6EB72DC4}"/>
                </a:ext>
              </a:extLst>
            </p:cNvPr>
            <p:cNvSpPr/>
            <p:nvPr/>
          </p:nvSpPr>
          <p:spPr>
            <a:xfrm rot="16200000" flipV="1">
              <a:off x="7455951" y="2958531"/>
              <a:ext cx="174175" cy="5109211"/>
            </a:xfrm>
            <a:prstGeom prst="leftBrace">
              <a:avLst/>
            </a:prstGeom>
            <a:ln w="19050">
              <a:solidFill>
                <a:schemeClr val="accent3"/>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00"/>
            </a:p>
          </p:txBody>
        </p:sp>
        <p:sp>
          <p:nvSpPr>
            <p:cNvPr id="50" name="TextBox 49">
              <a:extLst>
                <a:ext uri="{FF2B5EF4-FFF2-40B4-BE49-F238E27FC236}">
                  <a16:creationId xmlns:a16="http://schemas.microsoft.com/office/drawing/2014/main" id="{A95B4EAD-4075-4519-903D-D53FC766ADAA}"/>
                </a:ext>
              </a:extLst>
            </p:cNvPr>
            <p:cNvSpPr txBox="1"/>
            <p:nvPr/>
          </p:nvSpPr>
          <p:spPr>
            <a:xfrm>
              <a:off x="6976168" y="5746767"/>
              <a:ext cx="1133740" cy="172179"/>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dirty="0">
                  <a:solidFill>
                    <a:schemeClr val="tx1"/>
                  </a:solidFill>
                  <a:latin typeface="+mn-lt"/>
                </a:rPr>
                <a:t>PRODUCTION</a:t>
              </a:r>
            </a:p>
          </p:txBody>
        </p:sp>
        <p:sp>
          <p:nvSpPr>
            <p:cNvPr id="51" name="Left Brace 50">
              <a:extLst>
                <a:ext uri="{FF2B5EF4-FFF2-40B4-BE49-F238E27FC236}">
                  <a16:creationId xmlns:a16="http://schemas.microsoft.com/office/drawing/2014/main" id="{50778F95-7613-41CB-97E3-843A1A98DD6D}"/>
                </a:ext>
              </a:extLst>
            </p:cNvPr>
            <p:cNvSpPr/>
            <p:nvPr/>
          </p:nvSpPr>
          <p:spPr>
            <a:xfrm rot="16200000" flipV="1">
              <a:off x="10750062" y="4385126"/>
              <a:ext cx="228282" cy="914971"/>
            </a:xfrm>
            <a:prstGeom prst="leftBrace">
              <a:avLst/>
            </a:prstGeom>
            <a:ln w="19050">
              <a:solidFill>
                <a:schemeClr val="accent3"/>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00"/>
            </a:p>
          </p:txBody>
        </p:sp>
        <p:sp>
          <p:nvSpPr>
            <p:cNvPr id="52" name="TextBox 51">
              <a:extLst>
                <a:ext uri="{FF2B5EF4-FFF2-40B4-BE49-F238E27FC236}">
                  <a16:creationId xmlns:a16="http://schemas.microsoft.com/office/drawing/2014/main" id="{E138761C-9546-4F47-88F4-D4D69F864697}"/>
                </a:ext>
              </a:extLst>
            </p:cNvPr>
            <p:cNvSpPr txBox="1"/>
            <p:nvPr/>
          </p:nvSpPr>
          <p:spPr>
            <a:xfrm>
              <a:off x="10297333" y="5083989"/>
              <a:ext cx="1133740" cy="172179"/>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100" dirty="0">
                  <a:solidFill>
                    <a:schemeClr val="tx1"/>
                  </a:solidFill>
                  <a:latin typeface="+mn-lt"/>
                </a:rPr>
                <a:t>PRINT</a:t>
              </a:r>
            </a:p>
          </p:txBody>
        </p:sp>
        <p:cxnSp>
          <p:nvCxnSpPr>
            <p:cNvPr id="53" name="Straight Connector 74">
              <a:extLst>
                <a:ext uri="{FF2B5EF4-FFF2-40B4-BE49-F238E27FC236}">
                  <a16:creationId xmlns:a16="http://schemas.microsoft.com/office/drawing/2014/main" id="{C7ED61FE-7475-4269-ACE3-D795CC48B55F}"/>
                </a:ext>
              </a:extLst>
            </p:cNvPr>
            <p:cNvCxnSpPr>
              <a:cxnSpLocks/>
              <a:stCxn id="34" idx="3"/>
              <a:endCxn id="35" idx="1"/>
            </p:cNvCxnSpPr>
            <p:nvPr/>
          </p:nvCxnSpPr>
          <p:spPr>
            <a:xfrm>
              <a:off x="1829371" y="4175946"/>
              <a:ext cx="424450" cy="0"/>
            </a:xfrm>
            <a:prstGeom prst="bentConnector3">
              <a:avLst>
                <a:gd name="adj1" fmla="val 50000"/>
              </a:avLst>
            </a:prstGeom>
            <a:noFill/>
            <a:ln w="22225" cmpd="sng">
              <a:solidFill>
                <a:srgbClr val="D6D6D6"/>
              </a:solidFill>
              <a:tailEnd type="triangle"/>
            </a:ln>
            <a:effectLst/>
          </p:spPr>
        </p:cxnSp>
        <p:cxnSp>
          <p:nvCxnSpPr>
            <p:cNvPr id="54" name="Straight Connector 74">
              <a:extLst>
                <a:ext uri="{FF2B5EF4-FFF2-40B4-BE49-F238E27FC236}">
                  <a16:creationId xmlns:a16="http://schemas.microsoft.com/office/drawing/2014/main" id="{D163192D-B585-4E6F-B4A1-64D0D7023F94}"/>
                </a:ext>
              </a:extLst>
            </p:cNvPr>
            <p:cNvCxnSpPr>
              <a:cxnSpLocks/>
              <a:stCxn id="35" idx="3"/>
              <a:endCxn id="71" idx="1"/>
            </p:cNvCxnSpPr>
            <p:nvPr/>
          </p:nvCxnSpPr>
          <p:spPr>
            <a:xfrm flipV="1">
              <a:off x="3168221" y="4175457"/>
              <a:ext cx="424450" cy="489"/>
            </a:xfrm>
            <a:prstGeom prst="bentConnector3">
              <a:avLst>
                <a:gd name="adj1" fmla="val 50000"/>
              </a:avLst>
            </a:prstGeom>
            <a:noFill/>
            <a:ln w="22225" cmpd="sng">
              <a:solidFill>
                <a:srgbClr val="D6D6D6"/>
              </a:solidFill>
              <a:tailEnd type="triangle"/>
            </a:ln>
            <a:effectLst/>
          </p:spPr>
        </p:cxnSp>
        <p:cxnSp>
          <p:nvCxnSpPr>
            <p:cNvPr id="55" name="Straight Connector 74">
              <a:extLst>
                <a:ext uri="{FF2B5EF4-FFF2-40B4-BE49-F238E27FC236}">
                  <a16:creationId xmlns:a16="http://schemas.microsoft.com/office/drawing/2014/main" id="{C224876E-125A-47EF-AD94-FF71516D6170}"/>
                </a:ext>
              </a:extLst>
            </p:cNvPr>
            <p:cNvCxnSpPr>
              <a:cxnSpLocks/>
              <a:stCxn id="71" idx="3"/>
            </p:cNvCxnSpPr>
            <p:nvPr/>
          </p:nvCxnSpPr>
          <p:spPr>
            <a:xfrm>
              <a:off x="4507071" y="4175457"/>
              <a:ext cx="457200" cy="0"/>
            </a:xfrm>
            <a:prstGeom prst="bentConnector3">
              <a:avLst>
                <a:gd name="adj1" fmla="val 50000"/>
              </a:avLst>
            </a:prstGeom>
            <a:noFill/>
            <a:ln w="22225" cmpd="sng">
              <a:solidFill>
                <a:srgbClr val="D6D6D6"/>
              </a:solidFill>
              <a:tailEnd type="triangle"/>
            </a:ln>
            <a:effectLst/>
          </p:spPr>
        </p:cxnSp>
        <p:cxnSp>
          <p:nvCxnSpPr>
            <p:cNvPr id="56" name="Straight Connector 74">
              <a:extLst>
                <a:ext uri="{FF2B5EF4-FFF2-40B4-BE49-F238E27FC236}">
                  <a16:creationId xmlns:a16="http://schemas.microsoft.com/office/drawing/2014/main" id="{EEC134A3-01E3-4101-9A70-80C22FA30D3F}"/>
                </a:ext>
              </a:extLst>
            </p:cNvPr>
            <p:cNvCxnSpPr>
              <a:cxnSpLocks/>
              <a:stCxn id="72" idx="0"/>
              <a:endCxn id="37" idx="0"/>
            </p:cNvCxnSpPr>
            <p:nvPr/>
          </p:nvCxnSpPr>
          <p:spPr>
            <a:xfrm rot="16200000" flipH="1">
              <a:off x="5111654" y="2137263"/>
              <a:ext cx="670139" cy="2793706"/>
            </a:xfrm>
            <a:prstGeom prst="bentConnector3">
              <a:avLst>
                <a:gd name="adj1" fmla="val -34112"/>
              </a:avLst>
            </a:prstGeom>
            <a:noFill/>
            <a:ln w="22225" cmpd="sng">
              <a:solidFill>
                <a:srgbClr val="D6D6D6"/>
              </a:solidFill>
              <a:prstDash val="dash"/>
              <a:tailEnd type="triangle"/>
            </a:ln>
            <a:effectLst/>
          </p:spPr>
        </p:cxnSp>
        <p:sp>
          <p:nvSpPr>
            <p:cNvPr id="57" name="TextBox 56">
              <a:extLst>
                <a:ext uri="{FF2B5EF4-FFF2-40B4-BE49-F238E27FC236}">
                  <a16:creationId xmlns:a16="http://schemas.microsoft.com/office/drawing/2014/main" id="{CAC09374-80FC-4EEB-9BA5-48CD16CAD69B}"/>
                </a:ext>
              </a:extLst>
            </p:cNvPr>
            <p:cNvSpPr txBox="1"/>
            <p:nvPr/>
          </p:nvSpPr>
          <p:spPr>
            <a:xfrm>
              <a:off x="1113847" y="2489085"/>
              <a:ext cx="2476358" cy="119253"/>
            </a:xfrm>
            <a:prstGeom prst="rect">
              <a:avLst/>
            </a:prstGeom>
            <a:noFill/>
          </p:spPr>
          <p:txBody>
            <a:bodyPr vert="horz" wrap="square" lIns="0" tIns="0" rIns="0" bIns="0" rtlCol="0" anchor="ctr">
              <a:noAutofit/>
            </a:bodyPr>
            <a:lstStyle>
              <a:defPPr>
                <a:defRPr lang="en-US"/>
              </a:defPPr>
              <a:lvl1pPr algn="ctr" defTabSz="1219170">
                <a:spcBef>
                  <a:spcPts val="267"/>
                </a:spcBef>
                <a:buSzPct val="100000"/>
                <a:defRPr sz="1600" b="1">
                  <a:solidFill>
                    <a:srgbClr val="AD172C"/>
                  </a:solidFill>
                  <a:latin typeface="Calibri Light" panose="020F0302020204030204" pitchFamily="34" charset="0"/>
                </a:defRPr>
              </a:lvl1pPr>
            </a:lstStyle>
            <a:p>
              <a:pPr>
                <a:lnSpc>
                  <a:spcPct val="80000"/>
                </a:lnSpc>
                <a:spcBef>
                  <a:spcPts val="0"/>
                </a:spcBef>
              </a:pPr>
              <a:r>
                <a:rPr lang="en-US" sz="1200" b="0" i="1" dirty="0">
                  <a:solidFill>
                    <a:schemeClr val="bg1">
                      <a:lumMod val="50000"/>
                    </a:schemeClr>
                  </a:solidFill>
                  <a:latin typeface="+mn-lt"/>
                </a:rPr>
                <a:t>Simpler signage projects only</a:t>
              </a:r>
            </a:p>
          </p:txBody>
        </p:sp>
        <p:sp>
          <p:nvSpPr>
            <p:cNvPr id="58" name="Isosceles Triangle 57">
              <a:extLst>
                <a:ext uri="{FF2B5EF4-FFF2-40B4-BE49-F238E27FC236}">
                  <a16:creationId xmlns:a16="http://schemas.microsoft.com/office/drawing/2014/main" id="{32BBF29A-3214-49C9-A987-F51AB411E2DE}"/>
                </a:ext>
              </a:extLst>
            </p:cNvPr>
            <p:cNvSpPr/>
            <p:nvPr/>
          </p:nvSpPr>
          <p:spPr>
            <a:xfrm>
              <a:off x="1672027" y="4359785"/>
              <a:ext cx="228600" cy="182880"/>
            </a:xfrm>
            <a:prstGeom prst="triangle">
              <a:avLst/>
            </a:prstGeom>
            <a:solidFill>
              <a:schemeClr val="bg1">
                <a:lumMod val="8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9" name="Group 58">
              <a:extLst>
                <a:ext uri="{FF2B5EF4-FFF2-40B4-BE49-F238E27FC236}">
                  <a16:creationId xmlns:a16="http://schemas.microsoft.com/office/drawing/2014/main" id="{A7D3E3A9-1225-42ED-8541-7931002ECD46}"/>
                </a:ext>
              </a:extLst>
            </p:cNvPr>
            <p:cNvGrpSpPr/>
            <p:nvPr/>
          </p:nvGrpSpPr>
          <p:grpSpPr>
            <a:xfrm>
              <a:off x="7725227" y="3531696"/>
              <a:ext cx="914400" cy="1289382"/>
              <a:chOff x="8066292" y="3193324"/>
              <a:chExt cx="914400" cy="1289382"/>
            </a:xfrm>
          </p:grpSpPr>
          <p:sp>
            <p:nvSpPr>
              <p:cNvPr id="66" name="Rectangle 65">
                <a:extLst>
                  <a:ext uri="{FF2B5EF4-FFF2-40B4-BE49-F238E27FC236}">
                    <a16:creationId xmlns:a16="http://schemas.microsoft.com/office/drawing/2014/main" id="{96EC7CD5-0E04-4103-9053-1FBC8E0F14C6}"/>
                  </a:ext>
                </a:extLst>
              </p:cNvPr>
              <p:cNvSpPr/>
              <p:nvPr/>
            </p:nvSpPr>
            <p:spPr>
              <a:xfrm>
                <a:off x="8066292" y="3869186"/>
                <a:ext cx="914400" cy="613520"/>
              </a:xfrm>
              <a:prstGeom prst="rect">
                <a:avLst/>
              </a:prstGeom>
              <a:solidFill>
                <a:schemeClr val="accent3">
                  <a:lumMod val="20000"/>
                  <a:lumOff val="80000"/>
                </a:schemeClr>
              </a:solidFill>
              <a:ln w="6350" algn="ctr">
                <a:solidFill>
                  <a:schemeClr val="accent3"/>
                </a:solidFill>
                <a:miter lim="800000"/>
                <a:headEnd type="none" w="sm" len="sm"/>
                <a:tailEnd type="none" w="sm" len="sm"/>
              </a:ln>
            </p:spPr>
            <p:txBody>
              <a:bodyPr wrap="square" lIns="0" tIns="0" rIns="0" bIns="0" anchor="ctr"/>
              <a:lstStyle/>
              <a:p>
                <a:pPr algn="ctr"/>
                <a:r>
                  <a:rPr lang="en-US" sz="850" dirty="0"/>
                  <a:t>Develop New Signage Template</a:t>
                </a:r>
              </a:p>
            </p:txBody>
          </p:sp>
          <p:sp>
            <p:nvSpPr>
              <p:cNvPr id="67" name="Rectangle 66">
                <a:extLst>
                  <a:ext uri="{FF2B5EF4-FFF2-40B4-BE49-F238E27FC236}">
                    <a16:creationId xmlns:a16="http://schemas.microsoft.com/office/drawing/2014/main" id="{8BC99D57-9EDD-42CC-8A82-54C77F89A32D}"/>
                  </a:ext>
                </a:extLst>
              </p:cNvPr>
              <p:cNvSpPr/>
              <p:nvPr/>
            </p:nvSpPr>
            <p:spPr>
              <a:xfrm>
                <a:off x="8066292" y="3193324"/>
                <a:ext cx="914400" cy="613520"/>
              </a:xfrm>
              <a:prstGeom prst="rect">
                <a:avLst/>
              </a:prstGeom>
              <a:solidFill>
                <a:schemeClr val="accent3">
                  <a:lumMod val="20000"/>
                  <a:lumOff val="80000"/>
                </a:schemeClr>
              </a:solidFill>
              <a:ln w="12700" algn="ctr">
                <a:solidFill>
                  <a:schemeClr val="accent6"/>
                </a:solidFill>
                <a:prstDash val="dash"/>
                <a:miter lim="800000"/>
                <a:headEnd type="none" w="sm" len="sm"/>
                <a:tailEnd type="none" w="sm" len="sm"/>
              </a:ln>
            </p:spPr>
            <p:txBody>
              <a:bodyPr wrap="square" lIns="0" tIns="0" rIns="0" bIns="0" anchor="ctr"/>
              <a:lstStyle/>
              <a:p>
                <a:pPr algn="ctr"/>
                <a:r>
                  <a:rPr lang="en-US" sz="850" dirty="0"/>
                  <a:t>Leverage Existing Signing Template</a:t>
                </a:r>
              </a:p>
            </p:txBody>
          </p:sp>
        </p:grpSp>
        <p:cxnSp>
          <p:nvCxnSpPr>
            <p:cNvPr id="60" name="Straight Connector 74">
              <a:extLst>
                <a:ext uri="{FF2B5EF4-FFF2-40B4-BE49-F238E27FC236}">
                  <a16:creationId xmlns:a16="http://schemas.microsoft.com/office/drawing/2014/main" id="{5010F027-C51D-493A-9462-2EC10DFD68A5}"/>
                </a:ext>
              </a:extLst>
            </p:cNvPr>
            <p:cNvCxnSpPr>
              <a:cxnSpLocks/>
              <a:endCxn id="37" idx="1"/>
            </p:cNvCxnSpPr>
            <p:nvPr/>
          </p:nvCxnSpPr>
          <p:spPr>
            <a:xfrm flipV="1">
              <a:off x="5961927" y="4175946"/>
              <a:ext cx="424450" cy="0"/>
            </a:xfrm>
            <a:prstGeom prst="bentConnector3">
              <a:avLst>
                <a:gd name="adj1" fmla="val 50000"/>
              </a:avLst>
            </a:prstGeom>
            <a:noFill/>
            <a:ln w="22225" cmpd="sng">
              <a:solidFill>
                <a:srgbClr val="D6D6D6"/>
              </a:solidFill>
              <a:tailEnd type="triangle"/>
            </a:ln>
            <a:effectLst/>
          </p:spPr>
        </p:cxnSp>
        <p:cxnSp>
          <p:nvCxnSpPr>
            <p:cNvPr id="61" name="Straight Connector 74">
              <a:extLst>
                <a:ext uri="{FF2B5EF4-FFF2-40B4-BE49-F238E27FC236}">
                  <a16:creationId xmlns:a16="http://schemas.microsoft.com/office/drawing/2014/main" id="{2A670FAC-4EE6-4B94-A3C8-8B4C1EE384F7}"/>
                </a:ext>
              </a:extLst>
            </p:cNvPr>
            <p:cNvCxnSpPr>
              <a:cxnSpLocks/>
              <a:stCxn id="37" idx="3"/>
              <a:endCxn id="66" idx="1"/>
            </p:cNvCxnSpPr>
            <p:nvPr/>
          </p:nvCxnSpPr>
          <p:spPr>
            <a:xfrm>
              <a:off x="7300777" y="4175946"/>
              <a:ext cx="424450" cy="338372"/>
            </a:xfrm>
            <a:prstGeom prst="bentConnector3">
              <a:avLst>
                <a:gd name="adj1" fmla="val 50000"/>
              </a:avLst>
            </a:prstGeom>
            <a:noFill/>
            <a:ln w="22225" cmpd="sng">
              <a:solidFill>
                <a:srgbClr val="D6D6D6"/>
              </a:solidFill>
              <a:tailEnd type="triangle"/>
            </a:ln>
            <a:effectLst/>
          </p:spPr>
        </p:cxnSp>
        <p:cxnSp>
          <p:nvCxnSpPr>
            <p:cNvPr id="62" name="Straight Connector 74">
              <a:extLst>
                <a:ext uri="{FF2B5EF4-FFF2-40B4-BE49-F238E27FC236}">
                  <a16:creationId xmlns:a16="http://schemas.microsoft.com/office/drawing/2014/main" id="{4788DF5E-7B24-4936-B583-3F78A798BF2B}"/>
                </a:ext>
              </a:extLst>
            </p:cNvPr>
            <p:cNvCxnSpPr>
              <a:cxnSpLocks/>
              <a:stCxn id="66" idx="3"/>
              <a:endCxn id="36" idx="1"/>
            </p:cNvCxnSpPr>
            <p:nvPr/>
          </p:nvCxnSpPr>
          <p:spPr>
            <a:xfrm flipV="1">
              <a:off x="8639627" y="4175946"/>
              <a:ext cx="424450" cy="338372"/>
            </a:xfrm>
            <a:prstGeom prst="bentConnector3">
              <a:avLst>
                <a:gd name="adj1" fmla="val 50000"/>
              </a:avLst>
            </a:prstGeom>
            <a:noFill/>
            <a:ln w="22225" cmpd="sng">
              <a:solidFill>
                <a:srgbClr val="D6D6D6"/>
              </a:solidFill>
              <a:tailEnd type="triangle"/>
            </a:ln>
            <a:effectLst/>
          </p:spPr>
        </p:cxnSp>
        <p:cxnSp>
          <p:nvCxnSpPr>
            <p:cNvPr id="63" name="Straight Connector 74">
              <a:extLst>
                <a:ext uri="{FF2B5EF4-FFF2-40B4-BE49-F238E27FC236}">
                  <a16:creationId xmlns:a16="http://schemas.microsoft.com/office/drawing/2014/main" id="{970D6299-999E-4F00-95B9-BC4069C90A88}"/>
                </a:ext>
              </a:extLst>
            </p:cNvPr>
            <p:cNvCxnSpPr>
              <a:cxnSpLocks/>
              <a:endCxn id="43" idx="1"/>
            </p:cNvCxnSpPr>
            <p:nvPr/>
          </p:nvCxnSpPr>
          <p:spPr>
            <a:xfrm>
              <a:off x="9978477" y="4175946"/>
              <a:ext cx="424453" cy="0"/>
            </a:xfrm>
            <a:prstGeom prst="bentConnector3">
              <a:avLst>
                <a:gd name="adj1" fmla="val 50000"/>
              </a:avLst>
            </a:prstGeom>
            <a:noFill/>
            <a:ln w="22225" cmpd="sng">
              <a:solidFill>
                <a:srgbClr val="D6D6D6"/>
              </a:solidFill>
              <a:tailEnd type="triangle"/>
            </a:ln>
            <a:effectLst/>
          </p:spPr>
        </p:cxnSp>
        <p:cxnSp>
          <p:nvCxnSpPr>
            <p:cNvPr id="64" name="Straight Connector 74">
              <a:extLst>
                <a:ext uri="{FF2B5EF4-FFF2-40B4-BE49-F238E27FC236}">
                  <a16:creationId xmlns:a16="http://schemas.microsoft.com/office/drawing/2014/main" id="{86943113-9584-4199-9DA4-5F60006D0A9D}"/>
                </a:ext>
              </a:extLst>
            </p:cNvPr>
            <p:cNvCxnSpPr>
              <a:cxnSpLocks/>
              <a:stCxn id="67" idx="3"/>
              <a:endCxn id="36" idx="1"/>
            </p:cNvCxnSpPr>
            <p:nvPr/>
          </p:nvCxnSpPr>
          <p:spPr>
            <a:xfrm>
              <a:off x="8639627" y="3838456"/>
              <a:ext cx="424450" cy="337490"/>
            </a:xfrm>
            <a:prstGeom prst="bentConnector3">
              <a:avLst>
                <a:gd name="adj1" fmla="val 50000"/>
              </a:avLst>
            </a:prstGeom>
            <a:noFill/>
            <a:ln w="22225" cmpd="sng">
              <a:solidFill>
                <a:srgbClr val="D6D6D6"/>
              </a:solidFill>
              <a:tailEnd type="triangle"/>
            </a:ln>
            <a:effectLst/>
          </p:spPr>
        </p:cxnSp>
        <p:cxnSp>
          <p:nvCxnSpPr>
            <p:cNvPr id="65" name="Straight Connector 74">
              <a:extLst>
                <a:ext uri="{FF2B5EF4-FFF2-40B4-BE49-F238E27FC236}">
                  <a16:creationId xmlns:a16="http://schemas.microsoft.com/office/drawing/2014/main" id="{2057BD37-4270-4037-AA34-B0CAE3DA4308}"/>
                </a:ext>
              </a:extLst>
            </p:cNvPr>
            <p:cNvCxnSpPr>
              <a:cxnSpLocks/>
              <a:stCxn id="37" idx="3"/>
              <a:endCxn id="67" idx="1"/>
            </p:cNvCxnSpPr>
            <p:nvPr/>
          </p:nvCxnSpPr>
          <p:spPr>
            <a:xfrm flipV="1">
              <a:off x="7300777" y="3838456"/>
              <a:ext cx="424450" cy="337490"/>
            </a:xfrm>
            <a:prstGeom prst="bentConnector3">
              <a:avLst>
                <a:gd name="adj1" fmla="val 50000"/>
              </a:avLst>
            </a:prstGeom>
            <a:noFill/>
            <a:ln w="22225" cmpd="sng">
              <a:solidFill>
                <a:srgbClr val="D6D6D6"/>
              </a:solidFill>
              <a:tailEnd type="triangle"/>
            </a:ln>
            <a:effectLst/>
          </p:spPr>
        </p:cxnSp>
      </p:grpSp>
      <p:sp>
        <p:nvSpPr>
          <p:cNvPr id="73" name="Rectangle 72">
            <a:extLst>
              <a:ext uri="{FF2B5EF4-FFF2-40B4-BE49-F238E27FC236}">
                <a16:creationId xmlns:a16="http://schemas.microsoft.com/office/drawing/2014/main" id="{746C6AE6-E709-43A2-BA1C-F43D7C307A71}"/>
              </a:ext>
            </a:extLst>
          </p:cNvPr>
          <p:cNvSpPr/>
          <p:nvPr/>
        </p:nvSpPr>
        <p:spPr>
          <a:xfrm>
            <a:off x="10581283" y="5989580"/>
            <a:ext cx="1580111" cy="215444"/>
          </a:xfrm>
          <a:prstGeom prst="rect">
            <a:avLst/>
          </a:prstGeom>
        </p:spPr>
        <p:txBody>
          <a:bodyPr wrap="square" lIns="0" rIns="0">
            <a:spAutoFit/>
          </a:bodyPr>
          <a:lstStyle/>
          <a:p>
            <a:pPr>
              <a:spcBef>
                <a:spcPts val="600"/>
              </a:spcBef>
            </a:pPr>
            <a:r>
              <a:rPr lang="en-US" sz="800" dirty="0">
                <a:cs typeface="Arial" pitchFamily="34" charset="0"/>
              </a:rPr>
              <a:t>Customer Review </a:t>
            </a:r>
            <a:endParaRPr lang="en-US" sz="800" baseline="30000" dirty="0">
              <a:cs typeface="Arial" pitchFamily="34" charset="0"/>
            </a:endParaRPr>
          </a:p>
        </p:txBody>
      </p:sp>
      <p:sp>
        <p:nvSpPr>
          <p:cNvPr id="74" name="Isosceles Triangle 73">
            <a:extLst>
              <a:ext uri="{FF2B5EF4-FFF2-40B4-BE49-F238E27FC236}">
                <a16:creationId xmlns:a16="http://schemas.microsoft.com/office/drawing/2014/main" id="{EB89B6D5-33BB-4824-A4E7-3A8E36A27491}"/>
              </a:ext>
            </a:extLst>
          </p:cNvPr>
          <p:cNvSpPr/>
          <p:nvPr/>
        </p:nvSpPr>
        <p:spPr>
          <a:xfrm>
            <a:off x="10303370" y="6005862"/>
            <a:ext cx="228600" cy="182880"/>
          </a:xfrm>
          <a:prstGeom prst="triangle">
            <a:avLst/>
          </a:prstGeom>
          <a:solidFill>
            <a:schemeClr val="accent6">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A126369F-D368-4D06-B22A-F4F6039F7FC3}"/>
              </a:ext>
            </a:extLst>
          </p:cNvPr>
          <p:cNvSpPr/>
          <p:nvPr/>
        </p:nvSpPr>
        <p:spPr>
          <a:xfrm>
            <a:off x="8963120" y="5989580"/>
            <a:ext cx="1580111" cy="215444"/>
          </a:xfrm>
          <a:prstGeom prst="rect">
            <a:avLst/>
          </a:prstGeom>
        </p:spPr>
        <p:txBody>
          <a:bodyPr wrap="square" lIns="0" rIns="0">
            <a:spAutoFit/>
          </a:bodyPr>
          <a:lstStyle/>
          <a:p>
            <a:pPr>
              <a:spcBef>
                <a:spcPts val="600"/>
              </a:spcBef>
            </a:pPr>
            <a:r>
              <a:rPr lang="en-US" sz="800" dirty="0">
                <a:cs typeface="Arial" pitchFamily="34" charset="0"/>
              </a:rPr>
              <a:t>Internal Review / Approval </a:t>
            </a:r>
            <a:endParaRPr lang="en-US" sz="800" baseline="30000" dirty="0">
              <a:cs typeface="Arial" pitchFamily="34" charset="0"/>
            </a:endParaRPr>
          </a:p>
        </p:txBody>
      </p:sp>
      <p:sp>
        <p:nvSpPr>
          <p:cNvPr id="76" name="Isosceles Triangle 75">
            <a:extLst>
              <a:ext uri="{FF2B5EF4-FFF2-40B4-BE49-F238E27FC236}">
                <a16:creationId xmlns:a16="http://schemas.microsoft.com/office/drawing/2014/main" id="{4818D66C-F1F4-491E-95BE-45AD604EE220}"/>
              </a:ext>
            </a:extLst>
          </p:cNvPr>
          <p:cNvSpPr/>
          <p:nvPr/>
        </p:nvSpPr>
        <p:spPr>
          <a:xfrm>
            <a:off x="8685207" y="6005862"/>
            <a:ext cx="228600" cy="182880"/>
          </a:xfrm>
          <a:prstGeom prst="triangle">
            <a:avLst/>
          </a:prstGeom>
          <a:solidFill>
            <a:schemeClr val="bg1">
              <a:lumMod val="8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7" name="Group 76">
            <a:extLst>
              <a:ext uri="{FF2B5EF4-FFF2-40B4-BE49-F238E27FC236}">
                <a16:creationId xmlns:a16="http://schemas.microsoft.com/office/drawing/2014/main" id="{FEFC8C8E-B85C-44DA-A2BC-49729DDFB314}"/>
              </a:ext>
            </a:extLst>
          </p:cNvPr>
          <p:cNvGrpSpPr/>
          <p:nvPr/>
        </p:nvGrpSpPr>
        <p:grpSpPr>
          <a:xfrm>
            <a:off x="4418561" y="5974192"/>
            <a:ext cx="4615981" cy="246221"/>
            <a:chOff x="6248849" y="6432125"/>
            <a:chExt cx="2661031" cy="246221"/>
          </a:xfrm>
        </p:grpSpPr>
        <p:sp>
          <p:nvSpPr>
            <p:cNvPr id="78" name="Rectangle 77">
              <a:extLst>
                <a:ext uri="{FF2B5EF4-FFF2-40B4-BE49-F238E27FC236}">
                  <a16:creationId xmlns:a16="http://schemas.microsoft.com/office/drawing/2014/main" id="{12198393-18CC-4554-A4A7-54F50010928B}"/>
                </a:ext>
              </a:extLst>
            </p:cNvPr>
            <p:cNvSpPr/>
            <p:nvPr/>
          </p:nvSpPr>
          <p:spPr>
            <a:xfrm>
              <a:off x="6248849" y="6471351"/>
              <a:ext cx="274320" cy="167770"/>
            </a:xfrm>
            <a:prstGeom prst="rect">
              <a:avLst/>
            </a:prstGeom>
            <a:noFill/>
            <a:ln w="12700" cmpd="sng">
              <a:solidFill>
                <a:schemeClr val="accent6"/>
              </a:solidFill>
              <a:prstDash val="dash"/>
            </a:ln>
            <a:effectLst/>
          </p:spPr>
          <p:txBody>
            <a:bodyPr wrap="square" lIns="0" tIns="0" rIns="0" bIns="0" rtlCol="0" anchor="ctr">
              <a:noAutofit/>
            </a:bodyPr>
            <a:lstStyle/>
            <a:p>
              <a:pPr algn="ctr" defTabSz="1638564"/>
              <a:endParaRPr lang="en-US" sz="1000" kern="0" dirty="0"/>
            </a:p>
          </p:txBody>
        </p:sp>
        <p:sp>
          <p:nvSpPr>
            <p:cNvPr id="79" name="Rectangle 78">
              <a:extLst>
                <a:ext uri="{FF2B5EF4-FFF2-40B4-BE49-F238E27FC236}">
                  <a16:creationId xmlns:a16="http://schemas.microsoft.com/office/drawing/2014/main" id="{D3775C8F-33E9-41B9-8D61-78433B17A037}"/>
                </a:ext>
              </a:extLst>
            </p:cNvPr>
            <p:cNvSpPr/>
            <p:nvPr/>
          </p:nvSpPr>
          <p:spPr>
            <a:xfrm>
              <a:off x="6515875" y="6432125"/>
              <a:ext cx="2394005" cy="246221"/>
            </a:xfrm>
            <a:prstGeom prst="rect">
              <a:avLst/>
            </a:prstGeom>
          </p:spPr>
          <p:txBody>
            <a:bodyPr wrap="square" anchor="ctr">
              <a:spAutoFit/>
            </a:bodyPr>
            <a:lstStyle/>
            <a:p>
              <a:r>
                <a:rPr lang="en-US" sz="1000" i="1" dirty="0">
                  <a:cs typeface="Arial" pitchFamily="34" charset="0"/>
                </a:rPr>
                <a:t>HYPOTHESIZED WORK PACKAGES FOR OFFSHORE EVALUATION</a:t>
              </a:r>
              <a:endParaRPr lang="en-US" sz="1000" i="1" dirty="0"/>
            </a:p>
          </p:txBody>
        </p:sp>
      </p:grpSp>
    </p:spTree>
    <p:extLst>
      <p:ext uri="{BB962C8B-B14F-4D97-AF65-F5344CB8AC3E}">
        <p14:creationId xmlns:p14="http://schemas.microsoft.com/office/powerpoint/2010/main" val="108627239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FEF450-C040-4C8D-8820-088F457B5105}"/>
              </a:ext>
            </a:extLst>
          </p:cNvPr>
          <p:cNvSpPr>
            <a:spLocks noGrp="1"/>
          </p:cNvSpPr>
          <p:nvPr>
            <p:ph type="body" sz="quarter" idx="10"/>
          </p:nvPr>
        </p:nvSpPr>
        <p:spPr>
          <a:xfrm>
            <a:off x="952500" y="1206500"/>
            <a:ext cx="6287286" cy="2257425"/>
          </a:xfrm>
        </p:spPr>
        <p:txBody>
          <a:bodyPr/>
          <a:lstStyle/>
          <a:p>
            <a:r>
              <a:rPr lang="en-US" dirty="0">
                <a:solidFill>
                  <a:srgbClr val="000000"/>
                </a:solidFill>
              </a:rPr>
              <a:t>Data Visualization &amp; Infographics</a:t>
            </a:r>
            <a:endParaRPr lang="en-US" sz="1200" spc="300" dirty="0">
              <a:solidFill>
                <a:srgbClr val="000000"/>
              </a:solidFill>
              <a:latin typeface="Open Sans"/>
            </a:endParaRPr>
          </a:p>
          <a:p>
            <a:endParaRPr lang="en-US" dirty="0"/>
          </a:p>
        </p:txBody>
      </p:sp>
      <p:grpSp>
        <p:nvGrpSpPr>
          <p:cNvPr id="4" name="Group 3">
            <a:extLst>
              <a:ext uri="{FF2B5EF4-FFF2-40B4-BE49-F238E27FC236}">
                <a16:creationId xmlns:a16="http://schemas.microsoft.com/office/drawing/2014/main" id="{7CA0D50D-0510-43BD-A744-84B9721FD9DC}"/>
              </a:ext>
            </a:extLst>
          </p:cNvPr>
          <p:cNvGrpSpPr/>
          <p:nvPr/>
        </p:nvGrpSpPr>
        <p:grpSpPr>
          <a:xfrm>
            <a:off x="2277508" y="6274108"/>
            <a:ext cx="7636984" cy="501266"/>
            <a:chOff x="2277508" y="6274107"/>
            <a:chExt cx="7636984" cy="583893"/>
          </a:xfrm>
        </p:grpSpPr>
        <p:sp>
          <p:nvSpPr>
            <p:cNvPr id="5" name="Text Placeholder 1">
              <a:extLst>
                <a:ext uri="{FF2B5EF4-FFF2-40B4-BE49-F238E27FC236}">
                  <a16:creationId xmlns:a16="http://schemas.microsoft.com/office/drawing/2014/main" id="{8E5974EF-3E30-4CCD-8ED0-11C7EA09E4C3}"/>
                </a:ext>
              </a:extLst>
            </p:cNvPr>
            <p:cNvSpPr txBox="1">
              <a:spLocks/>
            </p:cNvSpPr>
            <p:nvPr/>
          </p:nvSpPr>
          <p:spPr>
            <a:xfrm>
              <a:off x="2277508" y="6274107"/>
              <a:ext cx="7636984" cy="583893"/>
            </a:xfrm>
            <a:prstGeom prst="rect">
              <a:avLst/>
            </a:prstGeom>
          </p:spPr>
          <p:txBody>
            <a:bodyPr vert="horz"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800" dirty="0">
                  <a:solidFill>
                    <a:srgbClr val="000000"/>
                  </a:solidFill>
                  <a:latin typeface="+mn-lt"/>
                </a:rPr>
                <a:t>Click Here to Return to the Table of Contents</a:t>
              </a:r>
              <a:endParaRPr lang="en-US" sz="2800" dirty="0">
                <a:latin typeface="+mn-lt"/>
              </a:endParaRPr>
            </a:p>
          </p:txBody>
        </p:sp>
        <p:sp>
          <p:nvSpPr>
            <p:cNvPr id="6" name="Rectangle 5">
              <a:hlinkClick r:id="rId2" action="ppaction://hlinksldjump"/>
              <a:extLst>
                <a:ext uri="{FF2B5EF4-FFF2-40B4-BE49-F238E27FC236}">
                  <a16:creationId xmlns:a16="http://schemas.microsoft.com/office/drawing/2014/main" id="{FA08A4C3-E973-4C1B-8771-FEC16F1A00B3}"/>
                </a:ext>
              </a:extLst>
            </p:cNvPr>
            <p:cNvSpPr/>
            <p:nvPr/>
          </p:nvSpPr>
          <p:spPr>
            <a:xfrm>
              <a:off x="2401677" y="6274107"/>
              <a:ext cx="7425369" cy="4792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spTree>
    <p:extLst>
      <p:ext uri="{BB962C8B-B14F-4D97-AF65-F5344CB8AC3E}">
        <p14:creationId xmlns:p14="http://schemas.microsoft.com/office/powerpoint/2010/main" val="110060954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12"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CPG Customer Survey</a:t>
            </a:r>
            <a:endParaRPr lang="en-US" dirty="0"/>
          </a:p>
        </p:txBody>
      </p:sp>
      <p:sp>
        <p:nvSpPr>
          <p:cNvPr id="3" name="Text Placeholder 2"/>
          <p:cNvSpPr>
            <a:spLocks noGrp="1"/>
          </p:cNvSpPr>
          <p:nvPr>
            <p:ph type="body" sz="quarter" idx="14"/>
          </p:nvPr>
        </p:nvSpPr>
        <p:spPr/>
        <p:txBody>
          <a:bodyPr/>
          <a:lstStyle/>
          <a:p>
            <a:r>
              <a:rPr lang="en-US" dirty="0"/>
              <a:t>Consumers seek more personalized experiences throughout their journey, while CPGs often focus on outdated mass engagement tactics</a:t>
            </a:r>
          </a:p>
          <a:p>
            <a:endParaRPr lang="en-US" dirty="0"/>
          </a:p>
        </p:txBody>
      </p:sp>
      <p:sp>
        <p:nvSpPr>
          <p:cNvPr id="5" name="Text Placeholder 4"/>
          <p:cNvSpPr>
            <a:spLocks noGrp="1"/>
          </p:cNvSpPr>
          <p:nvPr>
            <p:ph type="body" sz="quarter" idx="15"/>
          </p:nvPr>
        </p:nvSpPr>
        <p:spPr/>
        <p:txBody>
          <a:bodyPr/>
          <a:lstStyle/>
          <a:p>
            <a:r>
              <a:rPr lang="en-US" dirty="0"/>
              <a:t>Data Visualization &amp; Infographics</a:t>
            </a:r>
          </a:p>
        </p:txBody>
      </p:sp>
      <p:sp>
        <p:nvSpPr>
          <p:cNvPr id="14" name="Rectangle 13">
            <a:extLst>
              <a:ext uri="{FF2B5EF4-FFF2-40B4-BE49-F238E27FC236}">
                <a16:creationId xmlns:a16="http://schemas.microsoft.com/office/drawing/2014/main" id="{F5E054ED-B4D7-4119-B099-A79F19E85967}"/>
              </a:ext>
            </a:extLst>
          </p:cNvPr>
          <p:cNvSpPr/>
          <p:nvPr/>
        </p:nvSpPr>
        <p:spPr>
          <a:xfrm>
            <a:off x="7468470" y="1752788"/>
            <a:ext cx="4723529" cy="473505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cxnSp>
        <p:nvCxnSpPr>
          <p:cNvPr id="15" name="Straight Connector 14">
            <a:extLst>
              <a:ext uri="{FF2B5EF4-FFF2-40B4-BE49-F238E27FC236}">
                <a16:creationId xmlns:a16="http://schemas.microsoft.com/office/drawing/2014/main" id="{D2A60F81-52E9-4BA0-A80E-4D5E13E68166}"/>
              </a:ext>
            </a:extLst>
          </p:cNvPr>
          <p:cNvCxnSpPr>
            <a:cxnSpLocks/>
          </p:cNvCxnSpPr>
          <p:nvPr/>
        </p:nvCxnSpPr>
        <p:spPr>
          <a:xfrm>
            <a:off x="8344013" y="2636634"/>
            <a:ext cx="2242288"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6" name="Source">
            <a:extLst>
              <a:ext uri="{FF2B5EF4-FFF2-40B4-BE49-F238E27FC236}">
                <a16:creationId xmlns:a16="http://schemas.microsoft.com/office/drawing/2014/main" id="{A561B379-CD0B-46C2-A225-16E68FD14980}"/>
              </a:ext>
            </a:extLst>
          </p:cNvPr>
          <p:cNvSpPr txBox="1"/>
          <p:nvPr/>
        </p:nvSpPr>
        <p:spPr>
          <a:xfrm>
            <a:off x="6564428" y="6487839"/>
            <a:ext cx="4713171" cy="24586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a:ln>
                  <a:noFill/>
                </a:ln>
                <a:solidFill>
                  <a:srgbClr val="787878">
                    <a:lumMod val="60000"/>
                    <a:lumOff val="40000"/>
                  </a:srgbClr>
                </a:solidFill>
                <a:effectLst/>
                <a:uLnTx/>
                <a:uFillTx/>
                <a:latin typeface="Open Sans"/>
                <a:ea typeface="Open Sans" charset="0"/>
                <a:cs typeface="Open Sans" charset="0"/>
              </a:rPr>
              <a:t>1</a:t>
            </a:r>
            <a:r>
              <a:rPr kumimoji="0" lang="en-US" sz="800" b="0" i="0" u="none" strike="noStrike" kern="1200" cap="none" spc="0" normalizeH="0" baseline="0" noProof="0" dirty="0">
                <a:ln>
                  <a:noFill/>
                </a:ln>
                <a:solidFill>
                  <a:srgbClr val="787878">
                    <a:lumMod val="60000"/>
                    <a:lumOff val="40000"/>
                  </a:srgbClr>
                </a:solidFill>
                <a:effectLst/>
                <a:uLnTx/>
                <a:uFillTx/>
                <a:latin typeface="Open Sans"/>
                <a:ea typeface="Open Sans" charset="0"/>
                <a:cs typeface="Open Sans" charset="0"/>
              </a:rPr>
              <a:t> Deloitte Grocery Digital Divide Survey, 2018</a:t>
            </a:r>
            <a:endParaRPr kumimoji="0" lang="en-US" sz="800" b="0" i="1" u="none" strike="noStrike" kern="1200" cap="none" spc="0" normalizeH="0" baseline="0" noProof="0" dirty="0">
              <a:ln>
                <a:noFill/>
              </a:ln>
              <a:solidFill>
                <a:srgbClr val="787878">
                  <a:lumMod val="60000"/>
                  <a:lumOff val="40000"/>
                </a:srgbClr>
              </a:solidFill>
              <a:effectLst/>
              <a:uLnTx/>
              <a:uFillTx/>
              <a:latin typeface="Open Sans"/>
              <a:ea typeface="Open Sans" charset="0"/>
              <a:cs typeface="Open Sans" charset="0"/>
            </a:endParaRPr>
          </a:p>
        </p:txBody>
      </p:sp>
      <p:sp>
        <p:nvSpPr>
          <p:cNvPr id="17" name="Title 1">
            <a:extLst>
              <a:ext uri="{FF2B5EF4-FFF2-40B4-BE49-F238E27FC236}">
                <a16:creationId xmlns:a16="http://schemas.microsoft.com/office/drawing/2014/main" id="{4AB796FC-76F0-42F9-A092-77A8976E848C}"/>
              </a:ext>
            </a:extLst>
          </p:cNvPr>
          <p:cNvSpPr txBox="1">
            <a:spLocks/>
          </p:cNvSpPr>
          <p:nvPr/>
        </p:nvSpPr>
        <p:spPr>
          <a:xfrm>
            <a:off x="7727323" y="2237604"/>
            <a:ext cx="3874881" cy="656582"/>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120000"/>
              </a:lnSpc>
              <a:spcBef>
                <a:spcPct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a:rPr>
              <a:t>CPGs have long leveraged promotional and loyalty tactics, but have not fundamentally changed them to address the new digital reality. . . </a:t>
            </a:r>
          </a:p>
        </p:txBody>
      </p:sp>
      <p:sp>
        <p:nvSpPr>
          <p:cNvPr id="18" name="Title 1">
            <a:extLst>
              <a:ext uri="{FF2B5EF4-FFF2-40B4-BE49-F238E27FC236}">
                <a16:creationId xmlns:a16="http://schemas.microsoft.com/office/drawing/2014/main" id="{D557277A-4DC7-4F48-9754-BF1E22F11AD4}"/>
              </a:ext>
            </a:extLst>
          </p:cNvPr>
          <p:cNvSpPr txBox="1">
            <a:spLocks/>
          </p:cNvSpPr>
          <p:nvPr/>
        </p:nvSpPr>
        <p:spPr>
          <a:xfrm>
            <a:off x="7733802" y="2984720"/>
            <a:ext cx="4122012" cy="3157432"/>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110000"/>
              </a:lnSpc>
              <a:spcBef>
                <a:spcPct val="0"/>
              </a:spcBef>
              <a:spcAft>
                <a:spcPts val="30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a:ea typeface="+mn-ea"/>
                <a:cs typeface="+mn-cs"/>
              </a:rPr>
              <a:t>1. Promotions</a:t>
            </a:r>
          </a:p>
          <a:p>
            <a:pPr marL="0" marR="0" lvl="0" indent="0" algn="l" defTabSz="914400" rtl="0" eaLnBrk="1" fontAlgn="auto" latinLnBrk="0" hangingPunct="1">
              <a:lnSpc>
                <a:spcPct val="110000"/>
              </a:lnSpc>
              <a:spcBef>
                <a:spcPct val="0"/>
              </a:spcBef>
              <a:spcAft>
                <a:spcPts val="3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rPr>
              <a:t>34% of consumers who spent more due to digital did so because an online discount / coupon drove them to buy more than they otherwise would have; however, many of these promotions are still “mass-mailers” in email form, suggesting further opportunity to drive sales through more personalized, targeted offers</a:t>
            </a:r>
            <a:r>
              <a:rPr kumimoji="0" lang="en-US" sz="1000" b="0" i="0" u="none" strike="noStrike" kern="1200" cap="none" spc="0" normalizeH="0" baseline="30000" noProof="0" dirty="0">
                <a:ln>
                  <a:noFill/>
                </a:ln>
                <a:solidFill>
                  <a:srgbClr val="000000"/>
                </a:solidFill>
                <a:effectLst/>
                <a:uLnTx/>
                <a:uFillTx/>
                <a:latin typeface="Open Sans"/>
              </a:rPr>
              <a:t>1</a:t>
            </a:r>
            <a:br>
              <a:rPr kumimoji="0" lang="en-US" sz="1000" b="0" i="0" u="none" strike="noStrike" kern="1200" cap="none" spc="0" normalizeH="0" baseline="30000" noProof="0" dirty="0">
                <a:ln>
                  <a:noFill/>
                </a:ln>
                <a:solidFill>
                  <a:srgbClr val="000000"/>
                </a:solidFill>
                <a:effectLst/>
                <a:uLnTx/>
                <a:uFillTx/>
                <a:latin typeface="Open Sans"/>
              </a:rPr>
            </a:br>
            <a:br>
              <a:rPr kumimoji="0" lang="en-US" sz="1000" b="0" i="0" u="none" strike="noStrike" kern="1200" cap="none" spc="0" normalizeH="0" baseline="30000" noProof="0" dirty="0">
                <a:ln>
                  <a:noFill/>
                </a:ln>
                <a:solidFill>
                  <a:srgbClr val="000000"/>
                </a:solidFill>
                <a:effectLst/>
                <a:uLnTx/>
                <a:uFillTx/>
                <a:latin typeface="Open Sans"/>
              </a:rPr>
            </a:br>
            <a:r>
              <a:rPr kumimoji="0" lang="en-US" sz="1050" b="1" i="0" u="none" strike="noStrike" kern="1200" cap="none" spc="0" normalizeH="0" baseline="0" noProof="0" dirty="0">
                <a:ln>
                  <a:noFill/>
                </a:ln>
                <a:solidFill>
                  <a:srgbClr val="000000"/>
                </a:solidFill>
                <a:effectLst/>
                <a:uLnTx/>
                <a:uFillTx/>
                <a:latin typeface="Open Sans"/>
                <a:ea typeface="+mn-ea"/>
                <a:cs typeface="+mn-cs"/>
              </a:rPr>
              <a:t>2. Loyalty</a:t>
            </a:r>
          </a:p>
          <a:p>
            <a:pPr marL="0" marR="0" lvl="0" indent="0" algn="l" defTabSz="914400" rtl="0" eaLnBrk="1" fontAlgn="auto" latinLnBrk="0" hangingPunct="1">
              <a:lnSpc>
                <a:spcPct val="110000"/>
              </a:lnSpc>
              <a:spcBef>
                <a:spcPts val="0"/>
              </a:spcBef>
              <a:spcAft>
                <a:spcPts val="3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Digital not only influences loyalty, but also creates opportunities for consumers to be immediately rewarded – a real opportunity, as nearly 50% are dissatisfied with current loyalty programs that often are one-size fits all</a:t>
            </a:r>
            <a:r>
              <a:rPr kumimoji="0" lang="en-US" sz="1000" b="0" i="0" u="none" strike="noStrike" kern="1200" cap="none" spc="0" normalizeH="0" baseline="30000" noProof="0" dirty="0">
                <a:ln>
                  <a:noFill/>
                </a:ln>
                <a:solidFill>
                  <a:srgbClr val="000000"/>
                </a:solidFill>
                <a:effectLst/>
                <a:uLnTx/>
                <a:uFillTx/>
                <a:latin typeface="Open Sans"/>
                <a:ea typeface="+mn-ea"/>
                <a:cs typeface="+mn-cs"/>
              </a:rPr>
              <a:t>1</a:t>
            </a:r>
            <a:br>
              <a:rPr kumimoji="0" lang="en-US" sz="1000" b="0" i="0" u="none" strike="noStrike" kern="1200" cap="none" spc="0" normalizeH="0" baseline="30000" noProof="0" dirty="0">
                <a:ln>
                  <a:noFill/>
                </a:ln>
                <a:solidFill>
                  <a:srgbClr val="000000"/>
                </a:solidFill>
                <a:effectLst/>
                <a:uLnTx/>
                <a:uFillTx/>
                <a:latin typeface="Open Sans"/>
                <a:ea typeface="+mn-ea"/>
                <a:cs typeface="+mn-cs"/>
              </a:rPr>
            </a:br>
            <a:br>
              <a:rPr kumimoji="0" lang="en-US" sz="1000" b="0" i="0" u="none" strike="noStrike" kern="1200" cap="none" spc="0" normalizeH="0" baseline="30000" noProof="0" dirty="0">
                <a:ln>
                  <a:noFill/>
                </a:ln>
                <a:solidFill>
                  <a:srgbClr val="000000"/>
                </a:solidFill>
                <a:effectLst/>
                <a:uLnTx/>
                <a:uFillTx/>
                <a:latin typeface="Open Sans"/>
                <a:ea typeface="+mn-ea"/>
                <a:cs typeface="+mn-cs"/>
              </a:rPr>
            </a:br>
            <a:r>
              <a:rPr kumimoji="0" lang="en-US" sz="1050" b="1" i="0" u="none" strike="noStrike" kern="1200" cap="none" spc="0" normalizeH="0" baseline="0" noProof="0" dirty="0">
                <a:ln>
                  <a:noFill/>
                </a:ln>
                <a:solidFill>
                  <a:srgbClr val="000000"/>
                </a:solidFill>
                <a:effectLst/>
                <a:uLnTx/>
                <a:uFillTx/>
                <a:latin typeface="Open Sans"/>
                <a:ea typeface="+mn-ea"/>
                <a:cs typeface="+mn-cs"/>
              </a:rPr>
              <a:t>3. Exclusive Deals</a:t>
            </a:r>
          </a:p>
          <a:p>
            <a:pPr marL="0" marR="0" lvl="0" indent="0" algn="l" defTabSz="914400" rtl="0" eaLnBrk="1" fontAlgn="auto" latinLnBrk="0" hangingPunct="1">
              <a:lnSpc>
                <a:spcPct val="110000"/>
              </a:lnSpc>
              <a:spcBef>
                <a:spcPts val="0"/>
              </a:spcBef>
              <a:spcAft>
                <a:spcPts val="3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Consumers want to get exclusive deals and are unsatisfied with digital’s associated offerings with only 23% choosing to purchase online because they feel they find great deals</a:t>
            </a:r>
            <a:r>
              <a:rPr kumimoji="0" lang="en-US" sz="1000" b="0" i="0" u="none" strike="noStrike" kern="1200" cap="none" spc="0" normalizeH="0" baseline="30000" noProof="0" dirty="0">
                <a:ln>
                  <a:noFill/>
                </a:ln>
                <a:solidFill>
                  <a:srgbClr val="000000"/>
                </a:solidFill>
                <a:effectLst/>
                <a:uLnTx/>
                <a:uFillTx/>
                <a:latin typeface="Open Sans"/>
                <a:ea typeface="+mn-ea"/>
                <a:cs typeface="+mn-cs"/>
              </a:rPr>
              <a:t>1</a:t>
            </a:r>
          </a:p>
          <a:p>
            <a:pPr marL="0" marR="0" lvl="0" indent="0" algn="l" defTabSz="914400" rtl="0" eaLnBrk="1" fontAlgn="auto" latinLnBrk="0" hangingPunct="1">
              <a:lnSpc>
                <a:spcPct val="110000"/>
              </a:lnSpc>
              <a:spcBef>
                <a:spcPts val="0"/>
              </a:spcBef>
              <a:spcAft>
                <a:spcPts val="30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l" defTabSz="914400" rtl="0" eaLnBrk="1" fontAlgn="auto" latinLnBrk="0" hangingPunct="1">
              <a:lnSpc>
                <a:spcPct val="110000"/>
              </a:lnSpc>
              <a:spcBef>
                <a:spcPct val="0"/>
              </a:spcBef>
              <a:spcAft>
                <a:spcPts val="300"/>
              </a:spcAft>
              <a:buClrTx/>
              <a:buSzTx/>
              <a:buFontTx/>
              <a:buNone/>
              <a:tabLst/>
              <a:defRPr/>
            </a:pPr>
            <a:endParaRPr kumimoji="0" lang="en-US" sz="1000" b="0" i="0" u="none" strike="noStrike" kern="1200" cap="none" spc="0" normalizeH="0" baseline="30000" noProof="0" dirty="0">
              <a:ln>
                <a:noFill/>
              </a:ln>
              <a:solidFill>
                <a:srgbClr val="000000"/>
              </a:solidFill>
              <a:effectLst/>
              <a:uLnTx/>
              <a:uFillTx/>
              <a:latin typeface="Open Sans"/>
            </a:endParaRPr>
          </a:p>
        </p:txBody>
      </p:sp>
      <p:sp>
        <p:nvSpPr>
          <p:cNvPr id="19" name="Title 1">
            <a:extLst>
              <a:ext uri="{FF2B5EF4-FFF2-40B4-BE49-F238E27FC236}">
                <a16:creationId xmlns:a16="http://schemas.microsoft.com/office/drawing/2014/main" id="{E1509378-70EF-4B4A-B66D-20915FDCA3E4}"/>
              </a:ext>
            </a:extLst>
          </p:cNvPr>
          <p:cNvSpPr txBox="1">
            <a:spLocks/>
          </p:cNvSpPr>
          <p:nvPr/>
        </p:nvSpPr>
        <p:spPr>
          <a:xfrm>
            <a:off x="7733802" y="4166508"/>
            <a:ext cx="4122012" cy="1005840"/>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110000"/>
              </a:lnSpc>
              <a:spcBef>
                <a:spcPct val="0"/>
              </a:spcBef>
              <a:spcAft>
                <a:spcPts val="60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a:endParaRPr>
          </a:p>
        </p:txBody>
      </p:sp>
      <p:sp>
        <p:nvSpPr>
          <p:cNvPr id="20" name="Rectangle 19">
            <a:extLst>
              <a:ext uri="{FF2B5EF4-FFF2-40B4-BE49-F238E27FC236}">
                <a16:creationId xmlns:a16="http://schemas.microsoft.com/office/drawing/2014/main" id="{0E89D71B-0537-41B8-AD2C-B31AFBA80AC8}"/>
              </a:ext>
            </a:extLst>
          </p:cNvPr>
          <p:cNvSpPr/>
          <p:nvPr/>
        </p:nvSpPr>
        <p:spPr>
          <a:xfrm>
            <a:off x="829557" y="2237604"/>
            <a:ext cx="6126630"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a:ea typeface="+mn-ea"/>
                <a:cs typeface="+mn-cs"/>
              </a:rPr>
              <a:t>Three opportunities exist where consumers are not satisfied with the current state</a:t>
            </a:r>
            <a:r>
              <a:rPr kumimoji="0" lang="en-US" sz="1050" b="1" i="0" u="none" strike="noStrike" kern="1200" cap="none" spc="0" normalizeH="0" baseline="30000" noProof="0" dirty="0">
                <a:ln>
                  <a:noFill/>
                </a:ln>
                <a:solidFill>
                  <a:srgbClr val="000000"/>
                </a:solidFill>
                <a:effectLst/>
                <a:uLnTx/>
                <a:uFillTx/>
                <a:latin typeface="Open Sans"/>
                <a:ea typeface="+mn-ea"/>
                <a:cs typeface="+mn-cs"/>
              </a:rPr>
              <a:t>1</a:t>
            </a:r>
            <a:r>
              <a:rPr kumimoji="0" lang="en-US" sz="1050" b="1" i="0" u="none" strike="noStrike" kern="1200" cap="none" spc="0" normalizeH="0" baseline="0" noProof="0" dirty="0">
                <a:ln>
                  <a:noFill/>
                </a:ln>
                <a:solidFill>
                  <a:srgbClr val="000000"/>
                </a:solidFill>
                <a:effectLst/>
                <a:uLnTx/>
                <a:uFillTx/>
                <a:latin typeface="Open Sans"/>
                <a:ea typeface="+mn-ea"/>
                <a:cs typeface="+mn-cs"/>
              </a:rPr>
              <a:t>:</a:t>
            </a:r>
          </a:p>
        </p:txBody>
      </p:sp>
      <p:grpSp>
        <p:nvGrpSpPr>
          <p:cNvPr id="21" name="Group 20">
            <a:extLst>
              <a:ext uri="{FF2B5EF4-FFF2-40B4-BE49-F238E27FC236}">
                <a16:creationId xmlns:a16="http://schemas.microsoft.com/office/drawing/2014/main" id="{48F63F89-1CDF-4D7F-BC14-B4DA165F0ADE}"/>
              </a:ext>
            </a:extLst>
          </p:cNvPr>
          <p:cNvGrpSpPr/>
          <p:nvPr/>
        </p:nvGrpSpPr>
        <p:grpSpPr>
          <a:xfrm>
            <a:off x="829557" y="2693599"/>
            <a:ext cx="6254092" cy="2052358"/>
            <a:chOff x="612150" y="1865005"/>
            <a:chExt cx="6254092" cy="2052358"/>
          </a:xfrm>
        </p:grpSpPr>
        <p:grpSp>
          <p:nvGrpSpPr>
            <p:cNvPr id="22" name="Group 21">
              <a:extLst>
                <a:ext uri="{FF2B5EF4-FFF2-40B4-BE49-F238E27FC236}">
                  <a16:creationId xmlns:a16="http://schemas.microsoft.com/office/drawing/2014/main" id="{96543455-67A1-493D-98F1-7CC0A7D50345}"/>
                </a:ext>
              </a:extLst>
            </p:cNvPr>
            <p:cNvGrpSpPr/>
            <p:nvPr/>
          </p:nvGrpSpPr>
          <p:grpSpPr>
            <a:xfrm>
              <a:off x="612150" y="1865005"/>
              <a:ext cx="4883678" cy="2052358"/>
              <a:chOff x="612149" y="1865005"/>
              <a:chExt cx="5142435" cy="2052358"/>
            </a:xfrm>
          </p:grpSpPr>
          <p:sp>
            <p:nvSpPr>
              <p:cNvPr id="29" name="Oval 28">
                <a:extLst>
                  <a:ext uri="{FF2B5EF4-FFF2-40B4-BE49-F238E27FC236}">
                    <a16:creationId xmlns:a16="http://schemas.microsoft.com/office/drawing/2014/main" id="{A7B926CF-D0C0-464B-95BC-DD8E8DDEADA4}"/>
                  </a:ext>
                </a:extLst>
              </p:cNvPr>
              <p:cNvSpPr/>
              <p:nvPr/>
            </p:nvSpPr>
            <p:spPr>
              <a:xfrm rot="20264708">
                <a:off x="1688669" y="2193644"/>
                <a:ext cx="1152335" cy="566207"/>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0" name="TextBox 29">
                <a:extLst>
                  <a:ext uri="{FF2B5EF4-FFF2-40B4-BE49-F238E27FC236}">
                    <a16:creationId xmlns:a16="http://schemas.microsoft.com/office/drawing/2014/main" id="{339F9D4B-68DD-4542-B62C-CBB067D383C7}"/>
                  </a:ext>
                </a:extLst>
              </p:cNvPr>
              <p:cNvSpPr txBox="1"/>
              <p:nvPr/>
            </p:nvSpPr>
            <p:spPr>
              <a:xfrm>
                <a:off x="2344700" y="2146073"/>
                <a:ext cx="368872" cy="2684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787878"/>
                    </a:solidFill>
                    <a:effectLst/>
                    <a:uLnTx/>
                    <a:uFillTx/>
                    <a:latin typeface="Chronicle Display Black"/>
                    <a:ea typeface="+mn-ea"/>
                    <a:cs typeface="+mn-cs"/>
                  </a:rPr>
                  <a:t>1</a:t>
                </a:r>
              </a:p>
            </p:txBody>
          </p:sp>
          <p:sp>
            <p:nvSpPr>
              <p:cNvPr id="31" name="TextBox 30">
                <a:extLst>
                  <a:ext uri="{FF2B5EF4-FFF2-40B4-BE49-F238E27FC236}">
                    <a16:creationId xmlns:a16="http://schemas.microsoft.com/office/drawing/2014/main" id="{4FF8F1BB-3F13-4A11-9038-8E97E28F9B23}"/>
                  </a:ext>
                </a:extLst>
              </p:cNvPr>
              <p:cNvSpPr txBox="1"/>
              <p:nvPr/>
            </p:nvSpPr>
            <p:spPr>
              <a:xfrm>
                <a:off x="2111604" y="2329056"/>
                <a:ext cx="368872" cy="2684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787878"/>
                    </a:solidFill>
                    <a:effectLst/>
                    <a:uLnTx/>
                    <a:uFillTx/>
                    <a:latin typeface="Chronicle Display Black"/>
                    <a:ea typeface="+mn-ea"/>
                    <a:cs typeface="+mn-cs"/>
                  </a:rPr>
                  <a:t>2</a:t>
                </a:r>
              </a:p>
            </p:txBody>
          </p:sp>
          <p:sp>
            <p:nvSpPr>
              <p:cNvPr id="32" name="TextBox 31">
                <a:extLst>
                  <a:ext uri="{FF2B5EF4-FFF2-40B4-BE49-F238E27FC236}">
                    <a16:creationId xmlns:a16="http://schemas.microsoft.com/office/drawing/2014/main" id="{245827BF-4CCA-469A-BA91-2FBE8281049B}"/>
                  </a:ext>
                </a:extLst>
              </p:cNvPr>
              <p:cNvSpPr txBox="1"/>
              <p:nvPr/>
            </p:nvSpPr>
            <p:spPr>
              <a:xfrm>
                <a:off x="1775176" y="2359275"/>
                <a:ext cx="368872" cy="2684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787878"/>
                    </a:solidFill>
                    <a:effectLst/>
                    <a:uLnTx/>
                    <a:uFillTx/>
                    <a:latin typeface="Chronicle Display Black"/>
                    <a:ea typeface="+mn-ea"/>
                    <a:cs typeface="+mn-cs"/>
                  </a:rPr>
                  <a:t>3</a:t>
                </a:r>
              </a:p>
            </p:txBody>
          </p:sp>
          <p:sp>
            <p:nvSpPr>
              <p:cNvPr id="33" name="Oval 32">
                <a:extLst>
                  <a:ext uri="{FF2B5EF4-FFF2-40B4-BE49-F238E27FC236}">
                    <a16:creationId xmlns:a16="http://schemas.microsoft.com/office/drawing/2014/main" id="{C47A78EF-A8EF-4EB3-8AE2-3C4116085A85}"/>
                  </a:ext>
                </a:extLst>
              </p:cNvPr>
              <p:cNvSpPr/>
              <p:nvPr/>
            </p:nvSpPr>
            <p:spPr>
              <a:xfrm>
                <a:off x="1605255" y="3264626"/>
                <a:ext cx="103239" cy="95865"/>
              </a:xfrm>
              <a:prstGeom prst="ellips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4" name="Oval 33">
                <a:extLst>
                  <a:ext uri="{FF2B5EF4-FFF2-40B4-BE49-F238E27FC236}">
                    <a16:creationId xmlns:a16="http://schemas.microsoft.com/office/drawing/2014/main" id="{2D3806CF-C211-4D8B-B6B6-EC37A1663AD3}"/>
                  </a:ext>
                </a:extLst>
              </p:cNvPr>
              <p:cNvSpPr/>
              <p:nvPr/>
            </p:nvSpPr>
            <p:spPr>
              <a:xfrm>
                <a:off x="1708494" y="3201307"/>
                <a:ext cx="103239" cy="95865"/>
              </a:xfrm>
              <a:prstGeom prst="ellips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5" name="Oval 34">
                <a:extLst>
                  <a:ext uri="{FF2B5EF4-FFF2-40B4-BE49-F238E27FC236}">
                    <a16:creationId xmlns:a16="http://schemas.microsoft.com/office/drawing/2014/main" id="{2C1E7A4D-9D69-4887-90BC-742C9FB2D90E}"/>
                  </a:ext>
                </a:extLst>
              </p:cNvPr>
              <p:cNvSpPr/>
              <p:nvPr/>
            </p:nvSpPr>
            <p:spPr>
              <a:xfrm>
                <a:off x="2161597" y="3104034"/>
                <a:ext cx="103239" cy="95865"/>
              </a:xfrm>
              <a:prstGeom prst="ellips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6" name="Oval 35">
                <a:extLst>
                  <a:ext uri="{FF2B5EF4-FFF2-40B4-BE49-F238E27FC236}">
                    <a16:creationId xmlns:a16="http://schemas.microsoft.com/office/drawing/2014/main" id="{16CD3C56-EE9B-4B9A-92E2-B6E54A11C79A}"/>
                  </a:ext>
                </a:extLst>
              </p:cNvPr>
              <p:cNvSpPr/>
              <p:nvPr/>
            </p:nvSpPr>
            <p:spPr>
              <a:xfrm>
                <a:off x="2741614" y="2857913"/>
                <a:ext cx="103239" cy="95865"/>
              </a:xfrm>
              <a:prstGeom prst="ellips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7" name="Oval 36">
                <a:extLst>
                  <a:ext uri="{FF2B5EF4-FFF2-40B4-BE49-F238E27FC236}">
                    <a16:creationId xmlns:a16="http://schemas.microsoft.com/office/drawing/2014/main" id="{10C75B6E-E153-47C8-94BB-3BC1DA2F6425}"/>
                  </a:ext>
                </a:extLst>
              </p:cNvPr>
              <p:cNvSpPr/>
              <p:nvPr/>
            </p:nvSpPr>
            <p:spPr>
              <a:xfrm>
                <a:off x="3448427" y="2745006"/>
                <a:ext cx="103239" cy="95865"/>
              </a:xfrm>
              <a:prstGeom prst="ellips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8" name="Oval 37">
                <a:extLst>
                  <a:ext uri="{FF2B5EF4-FFF2-40B4-BE49-F238E27FC236}">
                    <a16:creationId xmlns:a16="http://schemas.microsoft.com/office/drawing/2014/main" id="{7BA867C2-6C5B-47F1-A9FF-BFD8E996DF02}"/>
                  </a:ext>
                </a:extLst>
              </p:cNvPr>
              <p:cNvSpPr/>
              <p:nvPr/>
            </p:nvSpPr>
            <p:spPr>
              <a:xfrm>
                <a:off x="3430509" y="2670442"/>
                <a:ext cx="103239" cy="95865"/>
              </a:xfrm>
              <a:prstGeom prst="ellips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9" name="Oval 38">
                <a:extLst>
                  <a:ext uri="{FF2B5EF4-FFF2-40B4-BE49-F238E27FC236}">
                    <a16:creationId xmlns:a16="http://schemas.microsoft.com/office/drawing/2014/main" id="{A59D81F0-C06D-4978-BDF5-0E12B4B5220F}"/>
                  </a:ext>
                </a:extLst>
              </p:cNvPr>
              <p:cNvSpPr/>
              <p:nvPr/>
            </p:nvSpPr>
            <p:spPr>
              <a:xfrm>
                <a:off x="4105082" y="2417172"/>
                <a:ext cx="103239" cy="95865"/>
              </a:xfrm>
              <a:prstGeom prst="ellips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0" name="Oval 39">
                <a:extLst>
                  <a:ext uri="{FF2B5EF4-FFF2-40B4-BE49-F238E27FC236}">
                    <a16:creationId xmlns:a16="http://schemas.microsoft.com/office/drawing/2014/main" id="{62943978-C2F4-4F1D-9FA2-F3D496C741D9}"/>
                  </a:ext>
                </a:extLst>
              </p:cNvPr>
              <p:cNvSpPr/>
              <p:nvPr/>
            </p:nvSpPr>
            <p:spPr>
              <a:xfrm>
                <a:off x="4652366" y="2233191"/>
                <a:ext cx="103239" cy="95865"/>
              </a:xfrm>
              <a:prstGeom prst="ellips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1" name="Oval 40">
                <a:extLst>
                  <a:ext uri="{FF2B5EF4-FFF2-40B4-BE49-F238E27FC236}">
                    <a16:creationId xmlns:a16="http://schemas.microsoft.com/office/drawing/2014/main" id="{266869D6-5FF0-40C3-AD6D-F29D3C871F1C}"/>
                  </a:ext>
                </a:extLst>
              </p:cNvPr>
              <p:cNvSpPr/>
              <p:nvPr/>
            </p:nvSpPr>
            <p:spPr>
              <a:xfrm>
                <a:off x="4652366" y="2166542"/>
                <a:ext cx="103239" cy="95865"/>
              </a:xfrm>
              <a:prstGeom prst="ellips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2" name="Oval 41">
                <a:extLst>
                  <a:ext uri="{FF2B5EF4-FFF2-40B4-BE49-F238E27FC236}">
                    <a16:creationId xmlns:a16="http://schemas.microsoft.com/office/drawing/2014/main" id="{0A376B0E-EFE9-49B8-B832-7F8350463C0F}"/>
                  </a:ext>
                </a:extLst>
              </p:cNvPr>
              <p:cNvSpPr/>
              <p:nvPr/>
            </p:nvSpPr>
            <p:spPr>
              <a:xfrm>
                <a:off x="4566203" y="2107664"/>
                <a:ext cx="103239" cy="95865"/>
              </a:xfrm>
              <a:prstGeom prst="ellips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3" name="Oval 42">
                <a:extLst>
                  <a:ext uri="{FF2B5EF4-FFF2-40B4-BE49-F238E27FC236}">
                    <a16:creationId xmlns:a16="http://schemas.microsoft.com/office/drawing/2014/main" id="{B252FCA2-353C-4756-BE0C-551441A1C987}"/>
                  </a:ext>
                </a:extLst>
              </p:cNvPr>
              <p:cNvSpPr/>
              <p:nvPr/>
            </p:nvSpPr>
            <p:spPr>
              <a:xfrm>
                <a:off x="4969394" y="2124162"/>
                <a:ext cx="103239" cy="95865"/>
              </a:xfrm>
              <a:prstGeom prst="ellips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4" name="Oval 43">
                <a:extLst>
                  <a:ext uri="{FF2B5EF4-FFF2-40B4-BE49-F238E27FC236}">
                    <a16:creationId xmlns:a16="http://schemas.microsoft.com/office/drawing/2014/main" id="{B2A40E4A-EA7C-49CE-9902-C9A6E9433689}"/>
                  </a:ext>
                </a:extLst>
              </p:cNvPr>
              <p:cNvSpPr/>
              <p:nvPr/>
            </p:nvSpPr>
            <p:spPr>
              <a:xfrm>
                <a:off x="4883231" y="2098140"/>
                <a:ext cx="103239" cy="95865"/>
              </a:xfrm>
              <a:prstGeom prst="ellips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5" name="Oval 44">
                <a:extLst>
                  <a:ext uri="{FF2B5EF4-FFF2-40B4-BE49-F238E27FC236}">
                    <a16:creationId xmlns:a16="http://schemas.microsoft.com/office/drawing/2014/main" id="{BE5345AC-7446-45D0-A3E9-B8CAE6D88382}"/>
                  </a:ext>
                </a:extLst>
              </p:cNvPr>
              <p:cNvSpPr/>
              <p:nvPr/>
            </p:nvSpPr>
            <p:spPr>
              <a:xfrm>
                <a:off x="5174917" y="2086064"/>
                <a:ext cx="103239" cy="95865"/>
              </a:xfrm>
              <a:prstGeom prst="ellips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6" name="Oval 45">
                <a:extLst>
                  <a:ext uri="{FF2B5EF4-FFF2-40B4-BE49-F238E27FC236}">
                    <a16:creationId xmlns:a16="http://schemas.microsoft.com/office/drawing/2014/main" id="{705D707D-1FBE-459E-94CA-299892C1863D}"/>
                  </a:ext>
                </a:extLst>
              </p:cNvPr>
              <p:cNvSpPr/>
              <p:nvPr/>
            </p:nvSpPr>
            <p:spPr>
              <a:xfrm>
                <a:off x="1871169" y="2579772"/>
                <a:ext cx="103239" cy="95865"/>
              </a:xfrm>
              <a:prstGeom prst="ellipse">
                <a:avLst/>
              </a:prstGeom>
              <a:solidFill>
                <a:schemeClr val="accent1">
                  <a:lumMod val="40000"/>
                  <a:lumOff val="6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7" name="Oval 46">
                <a:extLst>
                  <a:ext uri="{FF2B5EF4-FFF2-40B4-BE49-F238E27FC236}">
                    <a16:creationId xmlns:a16="http://schemas.microsoft.com/office/drawing/2014/main" id="{57C7F5A9-BBCF-40D1-B540-FD506539E3AD}"/>
                  </a:ext>
                </a:extLst>
              </p:cNvPr>
              <p:cNvSpPr/>
              <p:nvPr/>
            </p:nvSpPr>
            <p:spPr>
              <a:xfrm>
                <a:off x="2188198" y="2545343"/>
                <a:ext cx="103239" cy="95865"/>
              </a:xfrm>
              <a:prstGeom prst="ellipse">
                <a:avLst/>
              </a:prstGeom>
              <a:solidFill>
                <a:schemeClr val="accent1">
                  <a:lumMod val="40000"/>
                  <a:lumOff val="6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8" name="Oval 47">
                <a:extLst>
                  <a:ext uri="{FF2B5EF4-FFF2-40B4-BE49-F238E27FC236}">
                    <a16:creationId xmlns:a16="http://schemas.microsoft.com/office/drawing/2014/main" id="{C7CA17AB-D461-4B60-A81B-9D8706393C6F}"/>
                  </a:ext>
                </a:extLst>
              </p:cNvPr>
              <p:cNvSpPr/>
              <p:nvPr/>
            </p:nvSpPr>
            <p:spPr>
              <a:xfrm>
                <a:off x="2493785" y="2359275"/>
                <a:ext cx="103239" cy="95865"/>
              </a:xfrm>
              <a:prstGeom prst="ellipse">
                <a:avLst/>
              </a:prstGeom>
              <a:solidFill>
                <a:schemeClr val="accent1">
                  <a:lumMod val="40000"/>
                  <a:lumOff val="6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cxnSp>
            <p:nvCxnSpPr>
              <p:cNvPr id="49" name="Straight Connector 48">
                <a:extLst>
                  <a:ext uri="{FF2B5EF4-FFF2-40B4-BE49-F238E27FC236}">
                    <a16:creationId xmlns:a16="http://schemas.microsoft.com/office/drawing/2014/main" id="{5C4F77F4-E282-46B2-8632-9A7C12A07724}"/>
                  </a:ext>
                </a:extLst>
              </p:cNvPr>
              <p:cNvCxnSpPr>
                <a:cxnSpLocks/>
              </p:cNvCxnSpPr>
              <p:nvPr/>
            </p:nvCxnSpPr>
            <p:spPr>
              <a:xfrm flipV="1">
                <a:off x="923292" y="2729980"/>
                <a:ext cx="4764025" cy="1"/>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E0F37E56-7515-405A-9ACC-68229814B220}"/>
                  </a:ext>
                </a:extLst>
              </p:cNvPr>
              <p:cNvSpPr/>
              <p:nvPr/>
            </p:nvSpPr>
            <p:spPr>
              <a:xfrm>
                <a:off x="1802199" y="2855668"/>
                <a:ext cx="103239" cy="95865"/>
              </a:xfrm>
              <a:prstGeom prst="ellips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cxnSp>
            <p:nvCxnSpPr>
              <p:cNvPr id="51" name="Straight Connector 50">
                <a:extLst>
                  <a:ext uri="{FF2B5EF4-FFF2-40B4-BE49-F238E27FC236}">
                    <a16:creationId xmlns:a16="http://schemas.microsoft.com/office/drawing/2014/main" id="{0792A948-FDB4-44B4-8001-B62E45218515}"/>
                  </a:ext>
                </a:extLst>
              </p:cNvPr>
              <p:cNvCxnSpPr/>
              <p:nvPr/>
            </p:nvCxnSpPr>
            <p:spPr>
              <a:xfrm>
                <a:off x="2543672" y="1996523"/>
                <a:ext cx="0" cy="159180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B738083E-36F1-40ED-9780-BFCAC50854D3}"/>
                  </a:ext>
                </a:extLst>
              </p:cNvPr>
              <p:cNvSpPr txBox="1"/>
              <p:nvPr/>
            </p:nvSpPr>
            <p:spPr>
              <a:xfrm rot="16200000">
                <a:off x="-265640" y="2742794"/>
                <a:ext cx="1917161" cy="161583"/>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200" normalizeH="0" baseline="0" noProof="0" dirty="0">
                    <a:ln>
                      <a:noFill/>
                    </a:ln>
                    <a:solidFill>
                      <a:srgbClr val="000000"/>
                    </a:solidFill>
                    <a:effectLst/>
                    <a:uLnTx/>
                    <a:uFillTx/>
                    <a:latin typeface="Open Sans"/>
                    <a:ea typeface="+mn-ea"/>
                    <a:cs typeface="+mn-cs"/>
                  </a:rPr>
                  <a:t>average importance</a:t>
                </a:r>
              </a:p>
            </p:txBody>
          </p:sp>
          <p:sp>
            <p:nvSpPr>
              <p:cNvPr id="53" name="TextBox 52">
                <a:extLst>
                  <a:ext uri="{FF2B5EF4-FFF2-40B4-BE49-F238E27FC236}">
                    <a16:creationId xmlns:a16="http://schemas.microsoft.com/office/drawing/2014/main" id="{615F904D-3F15-402C-81A9-910056C044DC}"/>
                  </a:ext>
                </a:extLst>
              </p:cNvPr>
              <p:cNvSpPr txBox="1"/>
              <p:nvPr/>
            </p:nvSpPr>
            <p:spPr>
              <a:xfrm>
                <a:off x="2209582" y="3755780"/>
                <a:ext cx="2191445" cy="161583"/>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200" normalizeH="0" baseline="0" noProof="0" dirty="0">
                    <a:ln>
                      <a:noFill/>
                    </a:ln>
                    <a:solidFill>
                      <a:srgbClr val="000000"/>
                    </a:solidFill>
                    <a:effectLst/>
                    <a:uLnTx/>
                    <a:uFillTx/>
                    <a:latin typeface="Open Sans"/>
                    <a:ea typeface="+mn-ea"/>
                    <a:cs typeface="+mn-cs"/>
                  </a:rPr>
                  <a:t>% satisfied</a:t>
                </a:r>
              </a:p>
            </p:txBody>
          </p:sp>
          <p:cxnSp>
            <p:nvCxnSpPr>
              <p:cNvPr id="54" name="Straight Connector 53">
                <a:extLst>
                  <a:ext uri="{FF2B5EF4-FFF2-40B4-BE49-F238E27FC236}">
                    <a16:creationId xmlns:a16="http://schemas.microsoft.com/office/drawing/2014/main" id="{5622F700-D8B7-4CA3-B7A5-6097E7E7D4C3}"/>
                  </a:ext>
                </a:extLst>
              </p:cNvPr>
              <p:cNvCxnSpPr/>
              <p:nvPr/>
            </p:nvCxnSpPr>
            <p:spPr>
              <a:xfrm>
                <a:off x="923292" y="1996523"/>
                <a:ext cx="0" cy="15918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468A3BE-9A0A-43D3-9516-00AF00DDD1F8}"/>
                  </a:ext>
                </a:extLst>
              </p:cNvPr>
              <p:cNvCxnSpPr>
                <a:cxnSpLocks/>
              </p:cNvCxnSpPr>
              <p:nvPr/>
            </p:nvCxnSpPr>
            <p:spPr>
              <a:xfrm flipV="1">
                <a:off x="923292" y="3588324"/>
                <a:ext cx="4764025" cy="1"/>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3AD413D8-F8A0-4300-AD19-6EC3300286A8}"/>
                  </a:ext>
                </a:extLst>
              </p:cNvPr>
              <p:cNvSpPr/>
              <p:nvPr/>
            </p:nvSpPr>
            <p:spPr>
              <a:xfrm>
                <a:off x="2500855" y="3367203"/>
                <a:ext cx="625492" cy="25391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FFFFFF">
                        <a:lumMod val="75000"/>
                      </a:srgbClr>
                    </a:solidFill>
                    <a:effectLst/>
                    <a:uLnTx/>
                    <a:uFillTx/>
                    <a:latin typeface="Open Sans"/>
                    <a:ea typeface="+mn-ea"/>
                    <a:cs typeface="+mn-cs"/>
                  </a:rPr>
                  <a:t>Median</a:t>
                </a:r>
              </a:p>
            </p:txBody>
          </p:sp>
          <p:sp>
            <p:nvSpPr>
              <p:cNvPr id="57" name="Rectangle 56">
                <a:extLst>
                  <a:ext uri="{FF2B5EF4-FFF2-40B4-BE49-F238E27FC236}">
                    <a16:creationId xmlns:a16="http://schemas.microsoft.com/office/drawing/2014/main" id="{199FA4CC-B654-4546-9B49-11CED92C5851}"/>
                  </a:ext>
                </a:extLst>
              </p:cNvPr>
              <p:cNvSpPr/>
              <p:nvPr/>
            </p:nvSpPr>
            <p:spPr>
              <a:xfrm>
                <a:off x="898161" y="2504756"/>
                <a:ext cx="625492" cy="25391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FFFFFF">
                        <a:lumMod val="75000"/>
                      </a:srgbClr>
                    </a:solidFill>
                    <a:effectLst/>
                    <a:uLnTx/>
                    <a:uFillTx/>
                    <a:latin typeface="Open Sans"/>
                    <a:ea typeface="+mn-ea"/>
                    <a:cs typeface="+mn-cs"/>
                  </a:rPr>
                  <a:t>Median</a:t>
                </a:r>
              </a:p>
            </p:txBody>
          </p:sp>
          <p:sp>
            <p:nvSpPr>
              <p:cNvPr id="58" name="Oval 57">
                <a:extLst>
                  <a:ext uri="{FF2B5EF4-FFF2-40B4-BE49-F238E27FC236}">
                    <a16:creationId xmlns:a16="http://schemas.microsoft.com/office/drawing/2014/main" id="{2B83982D-3ABD-4B32-9CB9-EF32A5043655}"/>
                  </a:ext>
                </a:extLst>
              </p:cNvPr>
              <p:cNvSpPr/>
              <p:nvPr/>
            </p:nvSpPr>
            <p:spPr>
              <a:xfrm>
                <a:off x="5651345" y="2482737"/>
                <a:ext cx="103239" cy="95865"/>
              </a:xfrm>
              <a:prstGeom prst="ellips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23" name="Group 22">
              <a:extLst>
                <a:ext uri="{FF2B5EF4-FFF2-40B4-BE49-F238E27FC236}">
                  <a16:creationId xmlns:a16="http://schemas.microsoft.com/office/drawing/2014/main" id="{50D836E1-6DDE-4EBA-B406-CE5C3D2091E6}"/>
                </a:ext>
              </a:extLst>
            </p:cNvPr>
            <p:cNvGrpSpPr/>
            <p:nvPr/>
          </p:nvGrpSpPr>
          <p:grpSpPr>
            <a:xfrm>
              <a:off x="5772100" y="2004992"/>
              <a:ext cx="1094142" cy="862348"/>
              <a:chOff x="5772100" y="2004992"/>
              <a:chExt cx="1094142" cy="862348"/>
            </a:xfrm>
          </p:grpSpPr>
          <p:sp>
            <p:nvSpPr>
              <p:cNvPr id="24" name="Oval 23">
                <a:extLst>
                  <a:ext uri="{FF2B5EF4-FFF2-40B4-BE49-F238E27FC236}">
                    <a16:creationId xmlns:a16="http://schemas.microsoft.com/office/drawing/2014/main" id="{80E1029E-66E5-4DE6-9200-85373AC9F623}"/>
                  </a:ext>
                </a:extLst>
              </p:cNvPr>
              <p:cNvSpPr/>
              <p:nvPr/>
            </p:nvSpPr>
            <p:spPr>
              <a:xfrm>
                <a:off x="5838485" y="2075695"/>
                <a:ext cx="103239" cy="95865"/>
              </a:xfrm>
              <a:prstGeom prst="ellipse">
                <a:avLst/>
              </a:prstGeom>
              <a:solidFill>
                <a:schemeClr val="accent1">
                  <a:lumMod val="40000"/>
                  <a:lumOff val="6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5" name="TextBox 24">
                <a:extLst>
                  <a:ext uri="{FF2B5EF4-FFF2-40B4-BE49-F238E27FC236}">
                    <a16:creationId xmlns:a16="http://schemas.microsoft.com/office/drawing/2014/main" id="{47F8EEB8-1B09-43C5-84B8-F9FAA8E10383}"/>
                  </a:ext>
                </a:extLst>
              </p:cNvPr>
              <p:cNvSpPr txBox="1"/>
              <p:nvPr/>
            </p:nvSpPr>
            <p:spPr>
              <a:xfrm>
                <a:off x="5996596" y="2004992"/>
                <a:ext cx="86964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86F200"/>
                    </a:solidFill>
                    <a:effectLst/>
                    <a:uLnTx/>
                    <a:uFillTx/>
                    <a:latin typeface="Open Sans"/>
                    <a:ea typeface="+mn-ea"/>
                    <a:cs typeface="+mn-cs"/>
                  </a:rPr>
                  <a:t>Important, </a:t>
                </a:r>
                <a:r>
                  <a:rPr kumimoji="0" lang="en-US" sz="900" b="1" i="1" u="none" strike="noStrike" kern="1200" cap="none" spc="0" normalizeH="0" baseline="0" noProof="0" dirty="0">
                    <a:ln>
                      <a:noFill/>
                    </a:ln>
                    <a:solidFill>
                      <a:srgbClr val="86F200"/>
                    </a:solidFill>
                    <a:effectLst/>
                    <a:uLnTx/>
                    <a:uFillTx/>
                    <a:latin typeface="Open Sans"/>
                    <a:ea typeface="+mn-ea"/>
                    <a:cs typeface="+mn-cs"/>
                  </a:rPr>
                  <a:t>not satisfied</a:t>
                </a:r>
              </a:p>
            </p:txBody>
          </p:sp>
          <p:sp>
            <p:nvSpPr>
              <p:cNvPr id="26" name="Oval 25">
                <a:extLst>
                  <a:ext uri="{FF2B5EF4-FFF2-40B4-BE49-F238E27FC236}">
                    <a16:creationId xmlns:a16="http://schemas.microsoft.com/office/drawing/2014/main" id="{882AE586-196C-441C-9148-D1A2D95627AF}"/>
                  </a:ext>
                </a:extLst>
              </p:cNvPr>
              <p:cNvSpPr/>
              <p:nvPr/>
            </p:nvSpPr>
            <p:spPr>
              <a:xfrm>
                <a:off x="5838485" y="2428889"/>
                <a:ext cx="103239" cy="95865"/>
              </a:xfrm>
              <a:prstGeom prst="ellips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7" name="TextBox 26">
                <a:extLst>
                  <a:ext uri="{FF2B5EF4-FFF2-40B4-BE49-F238E27FC236}">
                    <a16:creationId xmlns:a16="http://schemas.microsoft.com/office/drawing/2014/main" id="{2F261968-147F-4951-8C81-950DC37BD9CB}"/>
                  </a:ext>
                </a:extLst>
              </p:cNvPr>
              <p:cNvSpPr txBox="1"/>
              <p:nvPr/>
            </p:nvSpPr>
            <p:spPr>
              <a:xfrm>
                <a:off x="5996596" y="2358185"/>
                <a:ext cx="846582"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solidFill>
                      <a:srgbClr val="FFFFFF">
                        <a:lumMod val="50000"/>
                      </a:srgbClr>
                    </a:solidFill>
                    <a:effectLst/>
                    <a:uLnTx/>
                    <a:uFillTx/>
                    <a:latin typeface="Open Sans"/>
                    <a:ea typeface="+mn-ea"/>
                    <a:cs typeface="+mn-cs"/>
                  </a:rPr>
                  <a:t>balanced </a:t>
                </a:r>
                <a:r>
                  <a:rPr kumimoji="0" lang="en-US" sz="900" b="1" i="0" u="none" strike="noStrike" kern="1200" cap="none" spc="0" normalizeH="0" baseline="0" noProof="0" dirty="0">
                    <a:ln>
                      <a:noFill/>
                    </a:ln>
                    <a:solidFill>
                      <a:srgbClr val="FFFFFF">
                        <a:lumMod val="50000"/>
                      </a:srgbClr>
                    </a:solidFill>
                    <a:effectLst/>
                    <a:uLnTx/>
                    <a:uFillTx/>
                    <a:latin typeface="Open Sans"/>
                    <a:ea typeface="+mn-ea"/>
                    <a:cs typeface="+mn-cs"/>
                  </a:rPr>
                  <a:t>important, satisfied</a:t>
                </a:r>
              </a:p>
            </p:txBody>
          </p:sp>
          <p:sp>
            <p:nvSpPr>
              <p:cNvPr id="28" name="Rectangle 27">
                <a:extLst>
                  <a:ext uri="{FF2B5EF4-FFF2-40B4-BE49-F238E27FC236}">
                    <a16:creationId xmlns:a16="http://schemas.microsoft.com/office/drawing/2014/main" id="{85C25334-3F90-4F8E-9FE1-1C6D3428E9AE}"/>
                  </a:ext>
                </a:extLst>
              </p:cNvPr>
              <p:cNvSpPr/>
              <p:nvPr/>
            </p:nvSpPr>
            <p:spPr>
              <a:xfrm>
                <a:off x="5772100" y="2011289"/>
                <a:ext cx="1094142" cy="856051"/>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pSp>
      <p:cxnSp>
        <p:nvCxnSpPr>
          <p:cNvPr id="59" name="Straight Connector 58">
            <a:extLst>
              <a:ext uri="{FF2B5EF4-FFF2-40B4-BE49-F238E27FC236}">
                <a16:creationId xmlns:a16="http://schemas.microsoft.com/office/drawing/2014/main" id="{51E0F3BB-15F4-4A65-A3A0-9F59A888CDB5}"/>
              </a:ext>
            </a:extLst>
          </p:cNvPr>
          <p:cNvCxnSpPr>
            <a:cxnSpLocks/>
          </p:cNvCxnSpPr>
          <p:nvPr/>
        </p:nvCxnSpPr>
        <p:spPr>
          <a:xfrm>
            <a:off x="1046096" y="5337934"/>
            <a:ext cx="1890833"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83ACCC8E-BAE0-4FDF-9BEB-AA0D977B6229}"/>
              </a:ext>
            </a:extLst>
          </p:cNvPr>
          <p:cNvSpPr txBox="1"/>
          <p:nvPr/>
        </p:nvSpPr>
        <p:spPr>
          <a:xfrm>
            <a:off x="1046096" y="5202151"/>
            <a:ext cx="1959980" cy="940001"/>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40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a:ea typeface="+mn-ea"/>
                <a:cs typeface="+mn-cs"/>
              </a:rPr>
              <a:t>“REWARD ME”</a:t>
            </a:r>
          </a:p>
          <a:p>
            <a:pPr marL="0" marR="0" lvl="0" indent="0" algn="l" defTabSz="914400" rtl="0" eaLnBrk="1" fontAlgn="auto" latinLnBrk="0" hangingPunct="1">
              <a:lnSpc>
                <a:spcPct val="110000"/>
              </a:lnSpc>
              <a:spcBef>
                <a:spcPts val="0"/>
              </a:spcBef>
              <a:spcAft>
                <a:spcPts val="40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mn-cs"/>
              </a:rPr>
              <a:t>Consumers will be loyal – but they expect that loyalty to be rewarded through loyalty programs</a:t>
            </a:r>
            <a:endParaRPr kumimoji="0" lang="en-US" sz="1050" b="1" i="0" u="none" strike="noStrike" kern="1200" cap="none" spc="0" normalizeH="0" baseline="0" noProof="0" dirty="0">
              <a:ln>
                <a:noFill/>
              </a:ln>
              <a:solidFill>
                <a:srgbClr val="000000"/>
              </a:solidFill>
              <a:effectLst/>
              <a:uLnTx/>
              <a:uFillTx/>
              <a:latin typeface="Open Sans"/>
              <a:ea typeface="+mn-ea"/>
              <a:cs typeface="+mn-cs"/>
            </a:endParaRPr>
          </a:p>
        </p:txBody>
      </p:sp>
      <p:cxnSp>
        <p:nvCxnSpPr>
          <p:cNvPr id="61" name="Straight Connector 60">
            <a:extLst>
              <a:ext uri="{FF2B5EF4-FFF2-40B4-BE49-F238E27FC236}">
                <a16:creationId xmlns:a16="http://schemas.microsoft.com/office/drawing/2014/main" id="{C157C3EE-556B-4EFA-9BEB-B4E5BD66903A}"/>
              </a:ext>
            </a:extLst>
          </p:cNvPr>
          <p:cNvCxnSpPr>
            <a:cxnSpLocks/>
          </p:cNvCxnSpPr>
          <p:nvPr/>
        </p:nvCxnSpPr>
        <p:spPr>
          <a:xfrm>
            <a:off x="3144628" y="5337934"/>
            <a:ext cx="1890833"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51F9363D-A58B-4D8F-9DAA-98EE015B1C68}"/>
              </a:ext>
            </a:extLst>
          </p:cNvPr>
          <p:cNvSpPr txBox="1"/>
          <p:nvPr/>
        </p:nvSpPr>
        <p:spPr>
          <a:xfrm>
            <a:off x="3144628" y="5202151"/>
            <a:ext cx="1959980" cy="1117742"/>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40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a:ea typeface="+mn-ea"/>
                <a:cs typeface="+mn-cs"/>
              </a:rPr>
              <a:t>“SHOW ME THE MONEY”</a:t>
            </a:r>
          </a:p>
          <a:p>
            <a:pPr marL="0" marR="0" lvl="0" indent="0" algn="l" defTabSz="914400" rtl="0" eaLnBrk="1" fontAlgn="auto" latinLnBrk="0" hangingPunct="1">
              <a:lnSpc>
                <a:spcPct val="110000"/>
              </a:lnSpc>
              <a:spcBef>
                <a:spcPts val="0"/>
              </a:spcBef>
              <a:spcAft>
                <a:spcPts val="40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mn-cs"/>
              </a:rPr>
              <a:t>The availability discounts / promotions is important to consumers – and digital can help personalize offers to improve ROI</a:t>
            </a:r>
            <a:endParaRPr kumimoji="0" lang="en-US" sz="1050" b="1" i="0" u="none" strike="noStrike" kern="1200" cap="none" spc="0" normalizeH="0" baseline="0" noProof="0" dirty="0">
              <a:ln>
                <a:noFill/>
              </a:ln>
              <a:solidFill>
                <a:srgbClr val="000000"/>
              </a:solidFill>
              <a:effectLst/>
              <a:uLnTx/>
              <a:uFillTx/>
              <a:latin typeface="Open Sans"/>
              <a:ea typeface="+mn-ea"/>
              <a:cs typeface="+mn-cs"/>
            </a:endParaRPr>
          </a:p>
        </p:txBody>
      </p:sp>
      <p:cxnSp>
        <p:nvCxnSpPr>
          <p:cNvPr id="63" name="Straight Connector 62">
            <a:extLst>
              <a:ext uri="{FF2B5EF4-FFF2-40B4-BE49-F238E27FC236}">
                <a16:creationId xmlns:a16="http://schemas.microsoft.com/office/drawing/2014/main" id="{C2FE7580-9B3D-4BFD-AD89-8A8C87ADDB8F}"/>
              </a:ext>
            </a:extLst>
          </p:cNvPr>
          <p:cNvCxnSpPr>
            <a:cxnSpLocks/>
          </p:cNvCxnSpPr>
          <p:nvPr/>
        </p:nvCxnSpPr>
        <p:spPr>
          <a:xfrm>
            <a:off x="5243159" y="5337934"/>
            <a:ext cx="1890833"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8409AB5D-02F7-46C4-B567-FACDCDEE7EE2}"/>
              </a:ext>
            </a:extLst>
          </p:cNvPr>
          <p:cNvSpPr txBox="1"/>
          <p:nvPr/>
        </p:nvSpPr>
        <p:spPr>
          <a:xfrm>
            <a:off x="5243159" y="5199269"/>
            <a:ext cx="1959980" cy="1117742"/>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0"/>
              </a:spcBef>
              <a:spcAft>
                <a:spcPts val="40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Open Sans"/>
                <a:ea typeface="+mn-ea"/>
                <a:cs typeface="+mn-cs"/>
              </a:rPr>
              <a:t>“GIVE ME EXCLUSIVITY”</a:t>
            </a:r>
          </a:p>
          <a:p>
            <a:pPr marL="0" marR="0" lvl="0" indent="0" algn="l" defTabSz="914400" rtl="0" eaLnBrk="1" fontAlgn="auto" latinLnBrk="0" hangingPunct="1">
              <a:lnSpc>
                <a:spcPct val="110000"/>
              </a:lnSpc>
              <a:spcBef>
                <a:spcPts val="0"/>
              </a:spcBef>
              <a:spcAft>
                <a:spcPts val="40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a:ea typeface="+mn-ea"/>
                <a:cs typeface="+mn-cs"/>
              </a:rPr>
              <a:t>Consumers like feeling like they’re getting deals others aren’t – another area that can be impacted through personalization</a:t>
            </a:r>
            <a:endParaRPr kumimoji="0" lang="en-US" sz="105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65" name="TextBox 64">
            <a:extLst>
              <a:ext uri="{FF2B5EF4-FFF2-40B4-BE49-F238E27FC236}">
                <a16:creationId xmlns:a16="http://schemas.microsoft.com/office/drawing/2014/main" id="{A0D3F28D-0900-4074-8F05-82CFD3AEE70B}"/>
              </a:ext>
            </a:extLst>
          </p:cNvPr>
          <p:cNvSpPr txBox="1"/>
          <p:nvPr/>
        </p:nvSpPr>
        <p:spPr>
          <a:xfrm>
            <a:off x="996321" y="4925152"/>
            <a:ext cx="5386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hronicle Display Black"/>
                <a:ea typeface="+mn-ea"/>
                <a:cs typeface="+mn-cs"/>
              </a:rPr>
              <a:t>#1</a:t>
            </a:r>
          </a:p>
        </p:txBody>
      </p:sp>
      <p:sp>
        <p:nvSpPr>
          <p:cNvPr id="66" name="TextBox 65">
            <a:extLst>
              <a:ext uri="{FF2B5EF4-FFF2-40B4-BE49-F238E27FC236}">
                <a16:creationId xmlns:a16="http://schemas.microsoft.com/office/drawing/2014/main" id="{178D5586-E467-4AF4-B6AB-A8051A2884D6}"/>
              </a:ext>
            </a:extLst>
          </p:cNvPr>
          <p:cNvSpPr txBox="1"/>
          <p:nvPr/>
        </p:nvSpPr>
        <p:spPr>
          <a:xfrm>
            <a:off x="3144627" y="4925152"/>
            <a:ext cx="47477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hronicle Display Black"/>
                <a:ea typeface="+mn-ea"/>
                <a:cs typeface="+mn-cs"/>
              </a:rPr>
              <a:t>#2</a:t>
            </a:r>
          </a:p>
        </p:txBody>
      </p:sp>
      <p:sp>
        <p:nvSpPr>
          <p:cNvPr id="67" name="TextBox 66">
            <a:extLst>
              <a:ext uri="{FF2B5EF4-FFF2-40B4-BE49-F238E27FC236}">
                <a16:creationId xmlns:a16="http://schemas.microsoft.com/office/drawing/2014/main" id="{3C092334-F8CA-4410-A1EE-FCC9D0F33A65}"/>
              </a:ext>
            </a:extLst>
          </p:cNvPr>
          <p:cNvSpPr txBox="1"/>
          <p:nvPr/>
        </p:nvSpPr>
        <p:spPr>
          <a:xfrm>
            <a:off x="5209226" y="4925152"/>
            <a:ext cx="47477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hronicle Display Black"/>
                <a:ea typeface="+mn-ea"/>
                <a:cs typeface="+mn-cs"/>
              </a:rPr>
              <a:t>#3</a:t>
            </a:r>
          </a:p>
        </p:txBody>
      </p:sp>
      <p:sp>
        <p:nvSpPr>
          <p:cNvPr id="68" name="Title 1">
            <a:extLst>
              <a:ext uri="{FF2B5EF4-FFF2-40B4-BE49-F238E27FC236}">
                <a16:creationId xmlns:a16="http://schemas.microsoft.com/office/drawing/2014/main" id="{86AF53F0-D0A3-40FA-BFCD-F43297672FA0}"/>
              </a:ext>
            </a:extLst>
          </p:cNvPr>
          <p:cNvSpPr txBox="1">
            <a:spLocks/>
          </p:cNvSpPr>
          <p:nvPr/>
        </p:nvSpPr>
        <p:spPr>
          <a:xfrm>
            <a:off x="7724495" y="1873491"/>
            <a:ext cx="4286460" cy="210718"/>
          </a:xfrm>
          <a:prstGeom prst="rect">
            <a:avLst/>
          </a:prstGeom>
        </p:spPr>
        <p:txBody>
          <a:bodyPr vert="horz" lIns="0" tIns="45720" rIns="0" bIns="0" rtlCol="0" anchor="ctr"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en-US" sz="1050" b="0" i="0" u="none" strike="noStrike" kern="1200" cap="none" spc="300" normalizeH="0" baseline="0" noProof="0" dirty="0">
                <a:ln>
                  <a:noFill/>
                </a:ln>
                <a:solidFill>
                  <a:srgbClr val="787878"/>
                </a:solidFill>
                <a:effectLst/>
                <a:uLnTx/>
                <a:uFillTx/>
                <a:latin typeface="Open Sans"/>
              </a:rPr>
              <a:t>THE DISCONNECT</a:t>
            </a:r>
          </a:p>
        </p:txBody>
      </p:sp>
      <p:sp>
        <p:nvSpPr>
          <p:cNvPr id="69" name="Title 1">
            <a:extLst>
              <a:ext uri="{FF2B5EF4-FFF2-40B4-BE49-F238E27FC236}">
                <a16:creationId xmlns:a16="http://schemas.microsoft.com/office/drawing/2014/main" id="{99E6B428-58B2-4CE8-8E1C-BD6CD803D413}"/>
              </a:ext>
            </a:extLst>
          </p:cNvPr>
          <p:cNvSpPr txBox="1">
            <a:spLocks/>
          </p:cNvSpPr>
          <p:nvPr/>
        </p:nvSpPr>
        <p:spPr>
          <a:xfrm>
            <a:off x="914400" y="1873491"/>
            <a:ext cx="4286460" cy="210718"/>
          </a:xfrm>
          <a:prstGeom prst="rect">
            <a:avLst/>
          </a:prstGeom>
        </p:spPr>
        <p:txBody>
          <a:bodyPr vert="horz" lIns="0" tIns="45720" rIns="0" bIns="0" rtlCol="0" anchor="ctr"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en-US" sz="1050" b="0" i="0" u="none" strike="noStrike" kern="1200" cap="none" spc="300" normalizeH="0" baseline="0" noProof="0" dirty="0">
                <a:ln>
                  <a:noFill/>
                </a:ln>
                <a:solidFill>
                  <a:srgbClr val="787878"/>
                </a:solidFill>
                <a:effectLst/>
                <a:uLnTx/>
                <a:uFillTx/>
                <a:latin typeface="Open Sans"/>
              </a:rPr>
              <a:t>THE DATA</a:t>
            </a:r>
          </a:p>
        </p:txBody>
      </p:sp>
    </p:spTree>
    <p:extLst>
      <p:ext uri="{BB962C8B-B14F-4D97-AF65-F5344CB8AC3E}">
        <p14:creationId xmlns:p14="http://schemas.microsoft.com/office/powerpoint/2010/main" val="342158224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36"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Digital Adoption</a:t>
            </a:r>
            <a:endParaRPr lang="en-US" dirty="0"/>
          </a:p>
        </p:txBody>
      </p:sp>
      <p:sp>
        <p:nvSpPr>
          <p:cNvPr id="3" name="Text Placeholder 2"/>
          <p:cNvSpPr>
            <a:spLocks noGrp="1"/>
          </p:cNvSpPr>
          <p:nvPr>
            <p:ph type="body" sz="quarter" idx="14"/>
          </p:nvPr>
        </p:nvSpPr>
        <p:spPr/>
        <p:txBody>
          <a:bodyPr/>
          <a:lstStyle/>
          <a:p>
            <a:r>
              <a:rPr lang="en-US" dirty="0"/>
              <a:t>While digital clearly matters,  influence wanes as the path to purchase unfolds…</a:t>
            </a:r>
          </a:p>
        </p:txBody>
      </p:sp>
      <p:sp>
        <p:nvSpPr>
          <p:cNvPr id="5" name="Text Placeholder 4"/>
          <p:cNvSpPr>
            <a:spLocks noGrp="1"/>
          </p:cNvSpPr>
          <p:nvPr>
            <p:ph type="body" sz="quarter" idx="15"/>
          </p:nvPr>
        </p:nvSpPr>
        <p:spPr/>
        <p:txBody>
          <a:bodyPr/>
          <a:lstStyle/>
          <a:p>
            <a:r>
              <a:rPr lang="en-US" dirty="0"/>
              <a:t>Data Visualization &amp; Infographics</a:t>
            </a:r>
          </a:p>
        </p:txBody>
      </p:sp>
      <p:sp>
        <p:nvSpPr>
          <p:cNvPr id="70" name="Rectangle 69">
            <a:extLst>
              <a:ext uri="{FF2B5EF4-FFF2-40B4-BE49-F238E27FC236}">
                <a16:creationId xmlns:a16="http://schemas.microsoft.com/office/drawing/2014/main" id="{A62C16F5-E9A5-446E-93FF-A269C7D1CA99}"/>
              </a:ext>
            </a:extLst>
          </p:cNvPr>
          <p:cNvSpPr/>
          <p:nvPr/>
        </p:nvSpPr>
        <p:spPr>
          <a:xfrm>
            <a:off x="1610181" y="4742013"/>
            <a:ext cx="583813"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86F200"/>
                </a:solidFill>
                <a:effectLst/>
                <a:uLnTx/>
                <a:uFillTx/>
                <a:latin typeface="Chronicle Display Black"/>
                <a:ea typeface="+mn-ea"/>
                <a:cs typeface="+mn-cs"/>
              </a:rPr>
              <a:t>53%</a:t>
            </a:r>
          </a:p>
        </p:txBody>
      </p:sp>
      <p:sp>
        <p:nvSpPr>
          <p:cNvPr id="71" name="Rectangle 70">
            <a:extLst>
              <a:ext uri="{FF2B5EF4-FFF2-40B4-BE49-F238E27FC236}">
                <a16:creationId xmlns:a16="http://schemas.microsoft.com/office/drawing/2014/main" id="{B4D7BE02-E0A2-4FDD-8A1A-26ABF54C2A32}"/>
              </a:ext>
            </a:extLst>
          </p:cNvPr>
          <p:cNvSpPr/>
          <p:nvPr/>
        </p:nvSpPr>
        <p:spPr>
          <a:xfrm>
            <a:off x="5740151" y="4493186"/>
            <a:ext cx="598241"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86F200"/>
                </a:solidFill>
                <a:effectLst/>
                <a:uLnTx/>
                <a:uFillTx/>
                <a:latin typeface="Chronicle Display Black"/>
                <a:ea typeface="+mn-ea"/>
                <a:cs typeface="+mn-cs"/>
              </a:rPr>
              <a:t>64%</a:t>
            </a:r>
          </a:p>
        </p:txBody>
      </p:sp>
      <p:sp>
        <p:nvSpPr>
          <p:cNvPr id="72" name="Rectangle 71">
            <a:extLst>
              <a:ext uri="{FF2B5EF4-FFF2-40B4-BE49-F238E27FC236}">
                <a16:creationId xmlns:a16="http://schemas.microsoft.com/office/drawing/2014/main" id="{215754BB-B490-4DE0-9193-D22670FEED3E}"/>
              </a:ext>
            </a:extLst>
          </p:cNvPr>
          <p:cNvSpPr/>
          <p:nvPr/>
        </p:nvSpPr>
        <p:spPr>
          <a:xfrm>
            <a:off x="7848542" y="5452753"/>
            <a:ext cx="590226"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86F200"/>
                </a:solidFill>
                <a:effectLst/>
                <a:uLnTx/>
                <a:uFillTx/>
                <a:latin typeface="Chronicle Display Black"/>
                <a:ea typeface="+mn-ea"/>
                <a:cs typeface="+mn-cs"/>
              </a:rPr>
              <a:t>28%</a:t>
            </a:r>
          </a:p>
        </p:txBody>
      </p:sp>
      <p:sp>
        <p:nvSpPr>
          <p:cNvPr id="73" name="Rectangle 72">
            <a:extLst>
              <a:ext uri="{FF2B5EF4-FFF2-40B4-BE49-F238E27FC236}">
                <a16:creationId xmlns:a16="http://schemas.microsoft.com/office/drawing/2014/main" id="{0845089F-1C8F-4FB5-A83F-A25303DCCC3F}"/>
              </a:ext>
            </a:extLst>
          </p:cNvPr>
          <p:cNvSpPr/>
          <p:nvPr/>
        </p:nvSpPr>
        <p:spPr>
          <a:xfrm>
            <a:off x="9891394" y="5280015"/>
            <a:ext cx="578941"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86F200"/>
                </a:solidFill>
                <a:effectLst/>
                <a:uLnTx/>
                <a:uFillTx/>
                <a:latin typeface="Chronicle Display Black"/>
                <a:ea typeface="+mn-ea"/>
                <a:cs typeface="+mn-cs"/>
              </a:rPr>
              <a:t>37%</a:t>
            </a:r>
          </a:p>
        </p:txBody>
      </p:sp>
      <p:graphicFrame>
        <p:nvGraphicFramePr>
          <p:cNvPr id="74" name="Chart 73">
            <a:extLst>
              <a:ext uri="{FF2B5EF4-FFF2-40B4-BE49-F238E27FC236}">
                <a16:creationId xmlns:a16="http://schemas.microsoft.com/office/drawing/2014/main" id="{B0E66211-2C6C-4FEB-98B1-F79A5BA58936}"/>
              </a:ext>
            </a:extLst>
          </p:cNvPr>
          <p:cNvGraphicFramePr/>
          <p:nvPr>
            <p:extLst>
              <p:ext uri="{D42A27DB-BD31-4B8C-83A1-F6EECF244321}">
                <p14:modId xmlns:p14="http://schemas.microsoft.com/office/powerpoint/2010/main" val="658123545"/>
              </p:ext>
            </p:extLst>
          </p:nvPr>
        </p:nvGraphicFramePr>
        <p:xfrm>
          <a:off x="665017" y="3250414"/>
          <a:ext cx="10612583" cy="3022220"/>
        </p:xfrm>
        <a:graphic>
          <a:graphicData uri="http://schemas.openxmlformats.org/drawingml/2006/chart">
            <c:chart xmlns:c="http://schemas.openxmlformats.org/drawingml/2006/chart" xmlns:r="http://schemas.openxmlformats.org/officeDocument/2006/relationships" r:id="rId7"/>
          </a:graphicData>
        </a:graphic>
      </p:graphicFrame>
      <p:sp>
        <p:nvSpPr>
          <p:cNvPr id="75" name="Rectangle 74">
            <a:extLst>
              <a:ext uri="{FF2B5EF4-FFF2-40B4-BE49-F238E27FC236}">
                <a16:creationId xmlns:a16="http://schemas.microsoft.com/office/drawing/2014/main" id="{1E71CEA4-7990-4F04-89AD-A525FDC691B4}"/>
              </a:ext>
            </a:extLst>
          </p:cNvPr>
          <p:cNvSpPr/>
          <p:nvPr/>
        </p:nvSpPr>
        <p:spPr>
          <a:xfrm>
            <a:off x="3593368" y="3923854"/>
            <a:ext cx="595035"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86F200"/>
                </a:solidFill>
                <a:effectLst/>
                <a:uLnTx/>
                <a:uFillTx/>
                <a:latin typeface="Chronicle Display Black"/>
                <a:ea typeface="+mn-ea"/>
                <a:cs typeface="+mn-cs"/>
              </a:rPr>
              <a:t>84%</a:t>
            </a:r>
          </a:p>
        </p:txBody>
      </p:sp>
      <p:cxnSp>
        <p:nvCxnSpPr>
          <p:cNvPr id="76" name="Straight Connector 75">
            <a:extLst>
              <a:ext uri="{FF2B5EF4-FFF2-40B4-BE49-F238E27FC236}">
                <a16:creationId xmlns:a16="http://schemas.microsoft.com/office/drawing/2014/main" id="{356CF7B1-8A7A-4824-A66A-BC34A8237973}"/>
              </a:ext>
            </a:extLst>
          </p:cNvPr>
          <p:cNvCxnSpPr>
            <a:stCxn id="78" idx="8"/>
            <a:endCxn id="108" idx="10"/>
          </p:cNvCxnSpPr>
          <p:nvPr/>
        </p:nvCxnSpPr>
        <p:spPr>
          <a:xfrm>
            <a:off x="2094112" y="2831402"/>
            <a:ext cx="8006761" cy="0"/>
          </a:xfrm>
          <a:prstGeom prst="line">
            <a:avLst/>
          </a:prstGeom>
          <a:ln w="3175">
            <a:solidFill>
              <a:srgbClr val="787878"/>
            </a:solidFill>
            <a:prstDash val="dash"/>
          </a:ln>
        </p:spPr>
        <p:style>
          <a:lnRef idx="1">
            <a:schemeClr val="accent1"/>
          </a:lnRef>
          <a:fillRef idx="0">
            <a:schemeClr val="accent1"/>
          </a:fillRef>
          <a:effectRef idx="0">
            <a:schemeClr val="accent1"/>
          </a:effectRef>
          <a:fontRef idx="minor">
            <a:schemeClr val="tx1"/>
          </a:fontRef>
        </p:style>
      </p:cxnSp>
      <p:grpSp>
        <p:nvGrpSpPr>
          <p:cNvPr id="77" name="Group 76">
            <a:extLst>
              <a:ext uri="{FF2B5EF4-FFF2-40B4-BE49-F238E27FC236}">
                <a16:creationId xmlns:a16="http://schemas.microsoft.com/office/drawing/2014/main" id="{447E6FBF-E32B-40FC-BCE6-E101AE7FA29A}"/>
              </a:ext>
            </a:extLst>
          </p:cNvPr>
          <p:cNvGrpSpPr>
            <a:grpSpLocks noChangeAspect="1"/>
          </p:cNvGrpSpPr>
          <p:nvPr/>
        </p:nvGrpSpPr>
        <p:grpSpPr bwMode="auto">
          <a:xfrm>
            <a:off x="1710064" y="2639378"/>
            <a:ext cx="384048" cy="384048"/>
            <a:chOff x="4511" y="2388"/>
            <a:chExt cx="340" cy="340"/>
          </a:xfrm>
          <a:solidFill>
            <a:schemeClr val="accent5"/>
          </a:solidFill>
        </p:grpSpPr>
        <p:sp>
          <p:nvSpPr>
            <p:cNvPr id="78" name="Freeform 22">
              <a:extLst>
                <a:ext uri="{FF2B5EF4-FFF2-40B4-BE49-F238E27FC236}">
                  <a16:creationId xmlns:a16="http://schemas.microsoft.com/office/drawing/2014/main" id="{6F5B3F9A-BDF2-45F4-B56E-0CD249AF41F2}"/>
                </a:ext>
              </a:extLst>
            </p:cNvPr>
            <p:cNvSpPr>
              <a:spLocks noEditPoints="1"/>
            </p:cNvSpPr>
            <p:nvPr/>
          </p:nvSpPr>
          <p:spPr bwMode="auto">
            <a:xfrm>
              <a:off x="4511" y="238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9" name="Freeform 23">
              <a:extLst>
                <a:ext uri="{FF2B5EF4-FFF2-40B4-BE49-F238E27FC236}">
                  <a16:creationId xmlns:a16="http://schemas.microsoft.com/office/drawing/2014/main" id="{692A9F24-9A5A-4FFF-8B27-E992BDF1F13C}"/>
                </a:ext>
              </a:extLst>
            </p:cNvPr>
            <p:cNvSpPr>
              <a:spLocks noEditPoints="1"/>
            </p:cNvSpPr>
            <p:nvPr/>
          </p:nvSpPr>
          <p:spPr bwMode="auto">
            <a:xfrm>
              <a:off x="4617" y="2458"/>
              <a:ext cx="128" cy="199"/>
            </a:xfrm>
            <a:custGeom>
              <a:avLst/>
              <a:gdLst>
                <a:gd name="T0" fmla="*/ 179 w 194"/>
                <a:gd name="T1" fmla="*/ 151 h 300"/>
                <a:gd name="T2" fmla="*/ 115 w 194"/>
                <a:gd name="T3" fmla="*/ 167 h 300"/>
                <a:gd name="T4" fmla="*/ 107 w 194"/>
                <a:gd name="T5" fmla="*/ 177 h 300"/>
                <a:gd name="T6" fmla="*/ 107 w 194"/>
                <a:gd name="T7" fmla="*/ 225 h 300"/>
                <a:gd name="T8" fmla="*/ 86 w 194"/>
                <a:gd name="T9" fmla="*/ 225 h 300"/>
                <a:gd name="T10" fmla="*/ 86 w 194"/>
                <a:gd name="T11" fmla="*/ 193 h 300"/>
                <a:gd name="T12" fmla="*/ 75 w 194"/>
                <a:gd name="T13" fmla="*/ 183 h 300"/>
                <a:gd name="T14" fmla="*/ 65 w 194"/>
                <a:gd name="T15" fmla="*/ 193 h 300"/>
                <a:gd name="T16" fmla="*/ 65 w 194"/>
                <a:gd name="T17" fmla="*/ 225 h 300"/>
                <a:gd name="T18" fmla="*/ 54 w 194"/>
                <a:gd name="T19" fmla="*/ 225 h 300"/>
                <a:gd name="T20" fmla="*/ 46 w 194"/>
                <a:gd name="T21" fmla="*/ 229 h 300"/>
                <a:gd name="T22" fmla="*/ 44 w 194"/>
                <a:gd name="T23" fmla="*/ 238 h 300"/>
                <a:gd name="T24" fmla="*/ 54 w 194"/>
                <a:gd name="T25" fmla="*/ 291 h 300"/>
                <a:gd name="T26" fmla="*/ 65 w 194"/>
                <a:gd name="T27" fmla="*/ 300 h 300"/>
                <a:gd name="T28" fmla="*/ 129 w 194"/>
                <a:gd name="T29" fmla="*/ 300 h 300"/>
                <a:gd name="T30" fmla="*/ 139 w 194"/>
                <a:gd name="T31" fmla="*/ 291 h 300"/>
                <a:gd name="T32" fmla="*/ 150 w 194"/>
                <a:gd name="T33" fmla="*/ 238 h 300"/>
                <a:gd name="T34" fmla="*/ 148 w 194"/>
                <a:gd name="T35" fmla="*/ 229 h 300"/>
                <a:gd name="T36" fmla="*/ 139 w 194"/>
                <a:gd name="T37" fmla="*/ 225 h 300"/>
                <a:gd name="T38" fmla="*/ 129 w 194"/>
                <a:gd name="T39" fmla="*/ 225 h 300"/>
                <a:gd name="T40" fmla="*/ 129 w 194"/>
                <a:gd name="T41" fmla="*/ 186 h 300"/>
                <a:gd name="T42" fmla="*/ 185 w 194"/>
                <a:gd name="T43" fmla="*/ 172 h 300"/>
                <a:gd name="T44" fmla="*/ 192 w 194"/>
                <a:gd name="T45" fmla="*/ 159 h 300"/>
                <a:gd name="T46" fmla="*/ 179 w 194"/>
                <a:gd name="T47" fmla="*/ 151 h 300"/>
                <a:gd name="T48" fmla="*/ 120 w 194"/>
                <a:gd name="T49" fmla="*/ 279 h 300"/>
                <a:gd name="T50" fmla="*/ 73 w 194"/>
                <a:gd name="T51" fmla="*/ 279 h 300"/>
                <a:gd name="T52" fmla="*/ 67 w 194"/>
                <a:gd name="T53" fmla="*/ 247 h 300"/>
                <a:gd name="T54" fmla="*/ 126 w 194"/>
                <a:gd name="T55" fmla="*/ 247 h 300"/>
                <a:gd name="T56" fmla="*/ 120 w 194"/>
                <a:gd name="T57" fmla="*/ 279 h 300"/>
                <a:gd name="T58" fmla="*/ 192 w 194"/>
                <a:gd name="T59" fmla="*/ 73 h 300"/>
                <a:gd name="T60" fmla="*/ 185 w 194"/>
                <a:gd name="T61" fmla="*/ 86 h 300"/>
                <a:gd name="T62" fmla="*/ 14 w 194"/>
                <a:gd name="T63" fmla="*/ 129 h 300"/>
                <a:gd name="T64" fmla="*/ 11 w 194"/>
                <a:gd name="T65" fmla="*/ 129 h 300"/>
                <a:gd name="T66" fmla="*/ 1 w 194"/>
                <a:gd name="T67" fmla="*/ 121 h 300"/>
                <a:gd name="T68" fmla="*/ 9 w 194"/>
                <a:gd name="T69" fmla="*/ 108 h 300"/>
                <a:gd name="T70" fmla="*/ 179 w 194"/>
                <a:gd name="T71" fmla="*/ 66 h 300"/>
                <a:gd name="T72" fmla="*/ 192 w 194"/>
                <a:gd name="T73" fmla="*/ 73 h 300"/>
                <a:gd name="T74" fmla="*/ 192 w 194"/>
                <a:gd name="T75" fmla="*/ 116 h 300"/>
                <a:gd name="T76" fmla="*/ 185 w 194"/>
                <a:gd name="T77" fmla="*/ 129 h 300"/>
                <a:gd name="T78" fmla="*/ 14 w 194"/>
                <a:gd name="T79" fmla="*/ 172 h 300"/>
                <a:gd name="T80" fmla="*/ 11 w 194"/>
                <a:gd name="T81" fmla="*/ 172 h 300"/>
                <a:gd name="T82" fmla="*/ 1 w 194"/>
                <a:gd name="T83" fmla="*/ 164 h 300"/>
                <a:gd name="T84" fmla="*/ 9 w 194"/>
                <a:gd name="T85" fmla="*/ 151 h 300"/>
                <a:gd name="T86" fmla="*/ 179 w 194"/>
                <a:gd name="T87" fmla="*/ 108 h 300"/>
                <a:gd name="T88" fmla="*/ 192 w 194"/>
                <a:gd name="T89" fmla="*/ 116 h 300"/>
                <a:gd name="T90" fmla="*/ 1 w 194"/>
                <a:gd name="T91" fmla="*/ 36 h 300"/>
                <a:gd name="T92" fmla="*/ 9 w 194"/>
                <a:gd name="T93" fmla="*/ 23 h 300"/>
                <a:gd name="T94" fmla="*/ 94 w 194"/>
                <a:gd name="T95" fmla="*/ 2 h 300"/>
                <a:gd name="T96" fmla="*/ 107 w 194"/>
                <a:gd name="T97" fmla="*/ 9 h 300"/>
                <a:gd name="T98" fmla="*/ 99 w 194"/>
                <a:gd name="T99" fmla="*/ 22 h 300"/>
                <a:gd name="T100" fmla="*/ 14 w 194"/>
                <a:gd name="T101" fmla="*/ 44 h 300"/>
                <a:gd name="T102" fmla="*/ 11 w 194"/>
                <a:gd name="T103" fmla="*/ 44 h 300"/>
                <a:gd name="T104" fmla="*/ 1 w 194"/>
                <a:gd name="T105" fmla="*/ 36 h 300"/>
                <a:gd name="T106" fmla="*/ 1 w 194"/>
                <a:gd name="T107" fmla="*/ 79 h 300"/>
                <a:gd name="T108" fmla="*/ 9 w 194"/>
                <a:gd name="T109" fmla="*/ 66 h 300"/>
                <a:gd name="T110" fmla="*/ 179 w 194"/>
                <a:gd name="T111" fmla="*/ 23 h 300"/>
                <a:gd name="T112" fmla="*/ 192 w 194"/>
                <a:gd name="T113" fmla="*/ 31 h 300"/>
                <a:gd name="T114" fmla="*/ 185 w 194"/>
                <a:gd name="T115" fmla="*/ 44 h 300"/>
                <a:gd name="T116" fmla="*/ 14 w 194"/>
                <a:gd name="T117" fmla="*/ 86 h 300"/>
                <a:gd name="T118" fmla="*/ 11 w 194"/>
                <a:gd name="T119" fmla="*/ 87 h 300"/>
                <a:gd name="T120" fmla="*/ 1 w 194"/>
                <a:gd name="T121" fmla="*/ 7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4" h="300">
                  <a:moveTo>
                    <a:pt x="179" y="151"/>
                  </a:moveTo>
                  <a:cubicBezTo>
                    <a:pt x="115" y="167"/>
                    <a:pt x="115" y="167"/>
                    <a:pt x="115" y="167"/>
                  </a:cubicBezTo>
                  <a:cubicBezTo>
                    <a:pt x="111" y="168"/>
                    <a:pt x="107" y="172"/>
                    <a:pt x="107" y="177"/>
                  </a:cubicBezTo>
                  <a:cubicBezTo>
                    <a:pt x="107" y="225"/>
                    <a:pt x="107" y="225"/>
                    <a:pt x="107" y="225"/>
                  </a:cubicBezTo>
                  <a:cubicBezTo>
                    <a:pt x="86" y="225"/>
                    <a:pt x="86" y="225"/>
                    <a:pt x="86" y="225"/>
                  </a:cubicBezTo>
                  <a:cubicBezTo>
                    <a:pt x="86" y="193"/>
                    <a:pt x="86" y="193"/>
                    <a:pt x="86" y="193"/>
                  </a:cubicBezTo>
                  <a:cubicBezTo>
                    <a:pt x="86" y="187"/>
                    <a:pt x="81" y="183"/>
                    <a:pt x="75" y="183"/>
                  </a:cubicBezTo>
                  <a:cubicBezTo>
                    <a:pt x="69" y="183"/>
                    <a:pt x="65" y="187"/>
                    <a:pt x="65" y="193"/>
                  </a:cubicBezTo>
                  <a:cubicBezTo>
                    <a:pt x="65" y="225"/>
                    <a:pt x="65" y="225"/>
                    <a:pt x="65" y="225"/>
                  </a:cubicBezTo>
                  <a:cubicBezTo>
                    <a:pt x="54" y="225"/>
                    <a:pt x="54" y="225"/>
                    <a:pt x="54" y="225"/>
                  </a:cubicBezTo>
                  <a:cubicBezTo>
                    <a:pt x="51" y="225"/>
                    <a:pt x="48" y="227"/>
                    <a:pt x="46" y="229"/>
                  </a:cubicBezTo>
                  <a:cubicBezTo>
                    <a:pt x="44" y="232"/>
                    <a:pt x="43" y="235"/>
                    <a:pt x="44" y="238"/>
                  </a:cubicBezTo>
                  <a:cubicBezTo>
                    <a:pt x="54" y="291"/>
                    <a:pt x="54" y="291"/>
                    <a:pt x="54" y="291"/>
                  </a:cubicBezTo>
                  <a:cubicBezTo>
                    <a:pt x="55" y="296"/>
                    <a:pt x="60" y="300"/>
                    <a:pt x="65" y="300"/>
                  </a:cubicBezTo>
                  <a:cubicBezTo>
                    <a:pt x="129" y="300"/>
                    <a:pt x="129" y="300"/>
                    <a:pt x="129" y="300"/>
                  </a:cubicBezTo>
                  <a:cubicBezTo>
                    <a:pt x="134" y="300"/>
                    <a:pt x="138" y="296"/>
                    <a:pt x="139" y="291"/>
                  </a:cubicBezTo>
                  <a:cubicBezTo>
                    <a:pt x="150" y="238"/>
                    <a:pt x="150" y="238"/>
                    <a:pt x="150" y="238"/>
                  </a:cubicBezTo>
                  <a:cubicBezTo>
                    <a:pt x="150" y="235"/>
                    <a:pt x="150" y="232"/>
                    <a:pt x="148" y="229"/>
                  </a:cubicBezTo>
                  <a:cubicBezTo>
                    <a:pt x="146" y="227"/>
                    <a:pt x="143" y="225"/>
                    <a:pt x="139" y="225"/>
                  </a:cubicBezTo>
                  <a:cubicBezTo>
                    <a:pt x="129" y="225"/>
                    <a:pt x="129" y="225"/>
                    <a:pt x="129" y="225"/>
                  </a:cubicBezTo>
                  <a:cubicBezTo>
                    <a:pt x="129" y="186"/>
                    <a:pt x="129" y="186"/>
                    <a:pt x="129" y="186"/>
                  </a:cubicBezTo>
                  <a:cubicBezTo>
                    <a:pt x="185" y="172"/>
                    <a:pt x="185" y="172"/>
                    <a:pt x="185" y="172"/>
                  </a:cubicBezTo>
                  <a:cubicBezTo>
                    <a:pt x="190" y="170"/>
                    <a:pt x="194" y="164"/>
                    <a:pt x="192" y="159"/>
                  </a:cubicBezTo>
                  <a:cubicBezTo>
                    <a:pt x="191" y="153"/>
                    <a:pt x="185" y="150"/>
                    <a:pt x="179" y="151"/>
                  </a:cubicBezTo>
                  <a:close/>
                  <a:moveTo>
                    <a:pt x="120" y="279"/>
                  </a:moveTo>
                  <a:cubicBezTo>
                    <a:pt x="73" y="279"/>
                    <a:pt x="73" y="279"/>
                    <a:pt x="73" y="279"/>
                  </a:cubicBezTo>
                  <a:cubicBezTo>
                    <a:pt x="67" y="247"/>
                    <a:pt x="67" y="247"/>
                    <a:pt x="67" y="247"/>
                  </a:cubicBezTo>
                  <a:cubicBezTo>
                    <a:pt x="126" y="247"/>
                    <a:pt x="126" y="247"/>
                    <a:pt x="126" y="247"/>
                  </a:cubicBezTo>
                  <a:lnTo>
                    <a:pt x="120" y="279"/>
                  </a:lnTo>
                  <a:close/>
                  <a:moveTo>
                    <a:pt x="192" y="73"/>
                  </a:moveTo>
                  <a:cubicBezTo>
                    <a:pt x="194" y="79"/>
                    <a:pt x="190" y="85"/>
                    <a:pt x="185" y="86"/>
                  </a:cubicBezTo>
                  <a:cubicBezTo>
                    <a:pt x="14" y="129"/>
                    <a:pt x="14" y="129"/>
                    <a:pt x="14" y="129"/>
                  </a:cubicBezTo>
                  <a:cubicBezTo>
                    <a:pt x="13" y="129"/>
                    <a:pt x="12" y="129"/>
                    <a:pt x="11" y="129"/>
                  </a:cubicBezTo>
                  <a:cubicBezTo>
                    <a:pt x="7" y="129"/>
                    <a:pt x="2" y="126"/>
                    <a:pt x="1" y="121"/>
                  </a:cubicBezTo>
                  <a:cubicBezTo>
                    <a:pt x="0" y="116"/>
                    <a:pt x="3" y="110"/>
                    <a:pt x="9" y="108"/>
                  </a:cubicBezTo>
                  <a:cubicBezTo>
                    <a:pt x="179" y="66"/>
                    <a:pt x="179" y="66"/>
                    <a:pt x="179" y="66"/>
                  </a:cubicBezTo>
                  <a:cubicBezTo>
                    <a:pt x="185" y="64"/>
                    <a:pt x="191" y="68"/>
                    <a:pt x="192" y="73"/>
                  </a:cubicBezTo>
                  <a:close/>
                  <a:moveTo>
                    <a:pt x="192" y="116"/>
                  </a:moveTo>
                  <a:cubicBezTo>
                    <a:pt x="194" y="122"/>
                    <a:pt x="190" y="128"/>
                    <a:pt x="185" y="129"/>
                  </a:cubicBezTo>
                  <a:cubicBezTo>
                    <a:pt x="14" y="172"/>
                    <a:pt x="14" y="172"/>
                    <a:pt x="14" y="172"/>
                  </a:cubicBezTo>
                  <a:cubicBezTo>
                    <a:pt x="13" y="172"/>
                    <a:pt x="12" y="172"/>
                    <a:pt x="11" y="172"/>
                  </a:cubicBezTo>
                  <a:cubicBezTo>
                    <a:pt x="7" y="172"/>
                    <a:pt x="2" y="169"/>
                    <a:pt x="1" y="164"/>
                  </a:cubicBezTo>
                  <a:cubicBezTo>
                    <a:pt x="0" y="158"/>
                    <a:pt x="3" y="152"/>
                    <a:pt x="9" y="151"/>
                  </a:cubicBezTo>
                  <a:cubicBezTo>
                    <a:pt x="179" y="108"/>
                    <a:pt x="179" y="108"/>
                    <a:pt x="179" y="108"/>
                  </a:cubicBezTo>
                  <a:cubicBezTo>
                    <a:pt x="185" y="107"/>
                    <a:pt x="191" y="110"/>
                    <a:pt x="192" y="116"/>
                  </a:cubicBezTo>
                  <a:close/>
                  <a:moveTo>
                    <a:pt x="1" y="36"/>
                  </a:moveTo>
                  <a:cubicBezTo>
                    <a:pt x="0" y="30"/>
                    <a:pt x="3" y="24"/>
                    <a:pt x="9" y="23"/>
                  </a:cubicBezTo>
                  <a:cubicBezTo>
                    <a:pt x="94" y="2"/>
                    <a:pt x="94" y="2"/>
                    <a:pt x="94" y="2"/>
                  </a:cubicBezTo>
                  <a:cubicBezTo>
                    <a:pt x="100" y="0"/>
                    <a:pt x="106" y="4"/>
                    <a:pt x="107" y="9"/>
                  </a:cubicBezTo>
                  <a:cubicBezTo>
                    <a:pt x="108" y="15"/>
                    <a:pt x="105" y="21"/>
                    <a:pt x="99" y="22"/>
                  </a:cubicBezTo>
                  <a:cubicBezTo>
                    <a:pt x="14" y="44"/>
                    <a:pt x="14" y="44"/>
                    <a:pt x="14" y="44"/>
                  </a:cubicBezTo>
                  <a:cubicBezTo>
                    <a:pt x="13" y="44"/>
                    <a:pt x="12" y="44"/>
                    <a:pt x="11" y="44"/>
                  </a:cubicBezTo>
                  <a:cubicBezTo>
                    <a:pt x="7" y="44"/>
                    <a:pt x="2" y="41"/>
                    <a:pt x="1" y="36"/>
                  </a:cubicBezTo>
                  <a:close/>
                  <a:moveTo>
                    <a:pt x="1" y="79"/>
                  </a:moveTo>
                  <a:cubicBezTo>
                    <a:pt x="0" y="73"/>
                    <a:pt x="3" y="67"/>
                    <a:pt x="9" y="66"/>
                  </a:cubicBezTo>
                  <a:cubicBezTo>
                    <a:pt x="179" y="23"/>
                    <a:pt x="179" y="23"/>
                    <a:pt x="179" y="23"/>
                  </a:cubicBezTo>
                  <a:cubicBezTo>
                    <a:pt x="185" y="22"/>
                    <a:pt x="191" y="25"/>
                    <a:pt x="192" y="31"/>
                  </a:cubicBezTo>
                  <a:cubicBezTo>
                    <a:pt x="194" y="36"/>
                    <a:pt x="190" y="42"/>
                    <a:pt x="185" y="44"/>
                  </a:cubicBezTo>
                  <a:cubicBezTo>
                    <a:pt x="14" y="86"/>
                    <a:pt x="14" y="86"/>
                    <a:pt x="14" y="86"/>
                  </a:cubicBezTo>
                  <a:cubicBezTo>
                    <a:pt x="13" y="87"/>
                    <a:pt x="12" y="87"/>
                    <a:pt x="11" y="87"/>
                  </a:cubicBezTo>
                  <a:cubicBezTo>
                    <a:pt x="7" y="87"/>
                    <a:pt x="2" y="83"/>
                    <a:pt x="1" y="79"/>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80" name="TextBox 79">
            <a:extLst>
              <a:ext uri="{FF2B5EF4-FFF2-40B4-BE49-F238E27FC236}">
                <a16:creationId xmlns:a16="http://schemas.microsoft.com/office/drawing/2014/main" id="{A1BEBB0C-4F39-42F1-AEEE-4292EE89817E}"/>
              </a:ext>
            </a:extLst>
          </p:cNvPr>
          <p:cNvSpPr txBox="1"/>
          <p:nvPr/>
        </p:nvSpPr>
        <p:spPr>
          <a:xfrm>
            <a:off x="1139461" y="3084554"/>
            <a:ext cx="1525255" cy="1692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srgbClr val="787878"/>
                </a:solidFill>
                <a:effectLst/>
                <a:uLnTx/>
                <a:uFillTx/>
                <a:latin typeface="Open Sans"/>
                <a:ea typeface="+mn-ea"/>
                <a:cs typeface="+mn-cs"/>
              </a:rPr>
              <a:t>find inspiration</a:t>
            </a:r>
          </a:p>
        </p:txBody>
      </p:sp>
      <p:sp>
        <p:nvSpPr>
          <p:cNvPr id="81" name="Rectangle 80">
            <a:extLst>
              <a:ext uri="{FF2B5EF4-FFF2-40B4-BE49-F238E27FC236}">
                <a16:creationId xmlns:a16="http://schemas.microsoft.com/office/drawing/2014/main" id="{3EA640E6-75EF-4E1F-80FB-F4D6DE71D748}"/>
              </a:ext>
            </a:extLst>
          </p:cNvPr>
          <p:cNvSpPr/>
          <p:nvPr/>
        </p:nvSpPr>
        <p:spPr>
          <a:xfrm>
            <a:off x="1170802" y="3255967"/>
            <a:ext cx="1462573" cy="5078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787878"/>
                </a:solidFill>
                <a:effectLst/>
                <a:uLnTx/>
                <a:uFillTx/>
                <a:latin typeface="Open Sans"/>
                <a:ea typeface="+mn-ea"/>
                <a:cs typeface="+mn-cs"/>
              </a:rPr>
              <a:t>% consumers who use digital to become aware of brands and products</a:t>
            </a:r>
          </a:p>
        </p:txBody>
      </p:sp>
      <p:grpSp>
        <p:nvGrpSpPr>
          <p:cNvPr id="82" name="Group 81">
            <a:extLst>
              <a:ext uri="{FF2B5EF4-FFF2-40B4-BE49-F238E27FC236}">
                <a16:creationId xmlns:a16="http://schemas.microsoft.com/office/drawing/2014/main" id="{C5F1F5D5-3542-4713-8170-E2A29646D0C0}"/>
              </a:ext>
            </a:extLst>
          </p:cNvPr>
          <p:cNvGrpSpPr/>
          <p:nvPr/>
        </p:nvGrpSpPr>
        <p:grpSpPr>
          <a:xfrm>
            <a:off x="3145806" y="2639378"/>
            <a:ext cx="1551709" cy="1122948"/>
            <a:chOff x="3145806" y="1821916"/>
            <a:chExt cx="1551709" cy="1122948"/>
          </a:xfrm>
        </p:grpSpPr>
        <p:sp>
          <p:nvSpPr>
            <p:cNvPr id="83" name="Oval 82">
              <a:extLst>
                <a:ext uri="{FF2B5EF4-FFF2-40B4-BE49-F238E27FC236}">
                  <a16:creationId xmlns:a16="http://schemas.microsoft.com/office/drawing/2014/main" id="{00ADF72A-C606-4218-9F24-FE2B5553D1BC}"/>
                </a:ext>
              </a:extLst>
            </p:cNvPr>
            <p:cNvSpPr/>
            <p:nvPr/>
          </p:nvSpPr>
          <p:spPr>
            <a:xfrm>
              <a:off x="3730200" y="1883441"/>
              <a:ext cx="382922" cy="2423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84" name="TextBox 83">
              <a:extLst>
                <a:ext uri="{FF2B5EF4-FFF2-40B4-BE49-F238E27FC236}">
                  <a16:creationId xmlns:a16="http://schemas.microsoft.com/office/drawing/2014/main" id="{E0225721-9292-485B-81BB-105621DC9EEA}"/>
                </a:ext>
              </a:extLst>
            </p:cNvPr>
            <p:cNvSpPr txBox="1"/>
            <p:nvPr/>
          </p:nvSpPr>
          <p:spPr>
            <a:xfrm>
              <a:off x="3159033" y="2267092"/>
              <a:ext cx="1525255" cy="1692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srgbClr val="787878"/>
                  </a:solidFill>
                  <a:effectLst/>
                  <a:uLnTx/>
                  <a:uFillTx/>
                  <a:latin typeface="Open Sans"/>
                  <a:ea typeface="+mn-ea"/>
                  <a:cs typeface="+mn-cs"/>
                </a:rPr>
                <a:t>browse &amp; research</a:t>
              </a:r>
            </a:p>
          </p:txBody>
        </p:sp>
        <p:sp>
          <p:nvSpPr>
            <p:cNvPr id="85" name="Rectangle 84">
              <a:extLst>
                <a:ext uri="{FF2B5EF4-FFF2-40B4-BE49-F238E27FC236}">
                  <a16:creationId xmlns:a16="http://schemas.microsoft.com/office/drawing/2014/main" id="{FEFC7122-9937-44C3-AB6B-BE56DD89D651}"/>
                </a:ext>
              </a:extLst>
            </p:cNvPr>
            <p:cNvSpPr/>
            <p:nvPr/>
          </p:nvSpPr>
          <p:spPr>
            <a:xfrm>
              <a:off x="3145806" y="2438505"/>
              <a:ext cx="1551709" cy="50635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787878"/>
                  </a:solidFill>
                  <a:effectLst/>
                  <a:uLnTx/>
                  <a:uFillTx/>
                  <a:latin typeface="Open Sans"/>
                  <a:ea typeface="+mn-ea"/>
                  <a:cs typeface="+mn-cs"/>
                </a:rPr>
                <a:t>% consumers who use digital to browse / research products</a:t>
              </a:r>
            </a:p>
          </p:txBody>
        </p:sp>
        <p:grpSp>
          <p:nvGrpSpPr>
            <p:cNvPr id="86" name="Group 85">
              <a:extLst>
                <a:ext uri="{FF2B5EF4-FFF2-40B4-BE49-F238E27FC236}">
                  <a16:creationId xmlns:a16="http://schemas.microsoft.com/office/drawing/2014/main" id="{37403537-7C88-4136-9CF3-DDC4BA9409EB}"/>
                </a:ext>
              </a:extLst>
            </p:cNvPr>
            <p:cNvGrpSpPr>
              <a:grpSpLocks noChangeAspect="1"/>
            </p:cNvGrpSpPr>
            <p:nvPr/>
          </p:nvGrpSpPr>
          <p:grpSpPr bwMode="auto">
            <a:xfrm>
              <a:off x="3730199" y="1821916"/>
              <a:ext cx="382922" cy="384048"/>
              <a:chOff x="4270" y="3457"/>
              <a:chExt cx="340" cy="341"/>
            </a:xfrm>
            <a:solidFill>
              <a:schemeClr val="accent5"/>
            </a:solidFill>
          </p:grpSpPr>
          <p:sp>
            <p:nvSpPr>
              <p:cNvPr id="87" name="Freeform 25">
                <a:extLst>
                  <a:ext uri="{FF2B5EF4-FFF2-40B4-BE49-F238E27FC236}">
                    <a16:creationId xmlns:a16="http://schemas.microsoft.com/office/drawing/2014/main" id="{CBBDF87C-9437-4043-AB1A-21350E6C7135}"/>
                  </a:ext>
                </a:extLst>
              </p:cNvPr>
              <p:cNvSpPr>
                <a:spLocks noEditPoints="1"/>
              </p:cNvSpPr>
              <p:nvPr/>
            </p:nvSpPr>
            <p:spPr bwMode="auto">
              <a:xfrm>
                <a:off x="4334" y="3521"/>
                <a:ext cx="192" cy="192"/>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8" name="Freeform 26">
                <a:extLst>
                  <a:ext uri="{FF2B5EF4-FFF2-40B4-BE49-F238E27FC236}">
                    <a16:creationId xmlns:a16="http://schemas.microsoft.com/office/drawing/2014/main" id="{198C0FD7-AFE8-491C-BF91-79EB77F64040}"/>
                  </a:ext>
                </a:extLst>
              </p:cNvPr>
              <p:cNvSpPr>
                <a:spLocks noEditPoints="1"/>
              </p:cNvSpPr>
              <p:nvPr/>
            </p:nvSpPr>
            <p:spPr bwMode="auto">
              <a:xfrm>
                <a:off x="4270" y="34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89" name="Group 88">
            <a:extLst>
              <a:ext uri="{FF2B5EF4-FFF2-40B4-BE49-F238E27FC236}">
                <a16:creationId xmlns:a16="http://schemas.microsoft.com/office/drawing/2014/main" id="{97274362-A968-4274-8AAA-05EE4DDCA806}"/>
              </a:ext>
            </a:extLst>
          </p:cNvPr>
          <p:cNvGrpSpPr/>
          <p:nvPr/>
        </p:nvGrpSpPr>
        <p:grpSpPr>
          <a:xfrm>
            <a:off x="5178605" y="2639378"/>
            <a:ext cx="1721333" cy="1124420"/>
            <a:chOff x="5178605" y="1821916"/>
            <a:chExt cx="1721333" cy="1124420"/>
          </a:xfrm>
        </p:grpSpPr>
        <p:sp>
          <p:nvSpPr>
            <p:cNvPr id="90" name="Oval 89">
              <a:extLst>
                <a:ext uri="{FF2B5EF4-FFF2-40B4-BE49-F238E27FC236}">
                  <a16:creationId xmlns:a16="http://schemas.microsoft.com/office/drawing/2014/main" id="{5D32722B-1373-42D3-A5C4-E8D36D4F1675}"/>
                </a:ext>
              </a:extLst>
            </p:cNvPr>
            <p:cNvSpPr/>
            <p:nvPr/>
          </p:nvSpPr>
          <p:spPr>
            <a:xfrm>
              <a:off x="5848373" y="1889830"/>
              <a:ext cx="382922" cy="2423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91" name="TextBox 90">
              <a:extLst>
                <a:ext uri="{FF2B5EF4-FFF2-40B4-BE49-F238E27FC236}">
                  <a16:creationId xmlns:a16="http://schemas.microsoft.com/office/drawing/2014/main" id="{6BE534FB-30E5-4F57-932D-390305E5E7D5}"/>
                </a:ext>
              </a:extLst>
            </p:cNvPr>
            <p:cNvSpPr txBox="1"/>
            <p:nvPr/>
          </p:nvSpPr>
          <p:spPr>
            <a:xfrm>
              <a:off x="5276644" y="2267092"/>
              <a:ext cx="1525255" cy="1692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srgbClr val="787878"/>
                  </a:solidFill>
                  <a:effectLst/>
                  <a:uLnTx/>
                  <a:uFillTx/>
                  <a:latin typeface="Open Sans"/>
                  <a:ea typeface="+mn-ea"/>
                  <a:cs typeface="+mn-cs"/>
                </a:rPr>
                <a:t>select &amp; validate</a:t>
              </a:r>
            </a:p>
          </p:txBody>
        </p:sp>
        <p:sp>
          <p:nvSpPr>
            <p:cNvPr id="92" name="Rectangle 91">
              <a:extLst>
                <a:ext uri="{FF2B5EF4-FFF2-40B4-BE49-F238E27FC236}">
                  <a16:creationId xmlns:a16="http://schemas.microsoft.com/office/drawing/2014/main" id="{A0B6550F-E64F-427F-A5F3-737D2CD87BF9}"/>
                </a:ext>
              </a:extLst>
            </p:cNvPr>
            <p:cNvSpPr/>
            <p:nvPr/>
          </p:nvSpPr>
          <p:spPr>
            <a:xfrm>
              <a:off x="5178605" y="2438505"/>
              <a:ext cx="1721333" cy="5078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787878"/>
                  </a:solidFill>
                  <a:effectLst/>
                  <a:uLnTx/>
                  <a:uFillTx/>
                  <a:latin typeface="Open Sans"/>
                  <a:ea typeface="+mn-ea"/>
                  <a:cs typeface="+mn-cs"/>
                </a:rPr>
                <a:t>% consumers who use </a:t>
              </a:r>
              <a:br>
                <a:rPr kumimoji="0" lang="en-US" sz="900" b="0" i="1" u="none" strike="noStrike" kern="1200" cap="none" spc="0" normalizeH="0" baseline="0" noProof="0" dirty="0">
                  <a:ln>
                    <a:noFill/>
                  </a:ln>
                  <a:solidFill>
                    <a:srgbClr val="787878"/>
                  </a:solidFill>
                  <a:effectLst/>
                  <a:uLnTx/>
                  <a:uFillTx/>
                  <a:latin typeface="Open Sans"/>
                  <a:ea typeface="+mn-ea"/>
                  <a:cs typeface="+mn-cs"/>
                </a:rPr>
              </a:br>
              <a:r>
                <a:rPr kumimoji="0" lang="en-US" sz="900" b="0" i="1" u="none" strike="noStrike" kern="1200" cap="none" spc="0" normalizeH="0" baseline="0" noProof="0" dirty="0">
                  <a:ln>
                    <a:noFill/>
                  </a:ln>
                  <a:solidFill>
                    <a:srgbClr val="787878"/>
                  </a:solidFill>
                  <a:effectLst/>
                  <a:uLnTx/>
                  <a:uFillTx/>
                  <a:latin typeface="Open Sans"/>
                  <a:ea typeface="+mn-ea"/>
                  <a:cs typeface="+mn-cs"/>
                </a:rPr>
                <a:t>digital to seek product </a:t>
              </a:r>
              <a:br>
                <a:rPr kumimoji="0" lang="en-US" sz="900" b="0" i="1" u="none" strike="noStrike" kern="1200" cap="none" spc="0" normalizeH="0" baseline="0" noProof="0" dirty="0">
                  <a:ln>
                    <a:noFill/>
                  </a:ln>
                  <a:solidFill>
                    <a:srgbClr val="787878"/>
                  </a:solidFill>
                  <a:effectLst/>
                  <a:uLnTx/>
                  <a:uFillTx/>
                  <a:latin typeface="Open Sans"/>
                  <a:ea typeface="+mn-ea"/>
                  <a:cs typeface="+mn-cs"/>
                </a:rPr>
              </a:br>
              <a:r>
                <a:rPr kumimoji="0" lang="en-US" sz="900" b="0" i="1" u="none" strike="noStrike" kern="1200" cap="none" spc="0" normalizeH="0" baseline="0" noProof="0" dirty="0">
                  <a:ln>
                    <a:noFill/>
                  </a:ln>
                  <a:solidFill>
                    <a:srgbClr val="787878"/>
                  </a:solidFill>
                  <a:effectLst/>
                  <a:uLnTx/>
                  <a:uFillTx/>
                  <a:latin typeface="Open Sans"/>
                  <a:ea typeface="+mn-ea"/>
                  <a:cs typeface="+mn-cs"/>
                </a:rPr>
                <a:t>advice or input</a:t>
              </a:r>
            </a:p>
          </p:txBody>
        </p:sp>
        <p:grpSp>
          <p:nvGrpSpPr>
            <p:cNvPr id="93" name="Group 92">
              <a:extLst>
                <a:ext uri="{FF2B5EF4-FFF2-40B4-BE49-F238E27FC236}">
                  <a16:creationId xmlns:a16="http://schemas.microsoft.com/office/drawing/2014/main" id="{72AA995D-1640-4942-8FA4-ADA70FC6E3FE}"/>
                </a:ext>
              </a:extLst>
            </p:cNvPr>
            <p:cNvGrpSpPr>
              <a:grpSpLocks noChangeAspect="1"/>
            </p:cNvGrpSpPr>
            <p:nvPr/>
          </p:nvGrpSpPr>
          <p:grpSpPr bwMode="auto">
            <a:xfrm>
              <a:off x="5847247" y="1821916"/>
              <a:ext cx="384048" cy="384048"/>
              <a:chOff x="1346" y="303"/>
              <a:chExt cx="340" cy="340"/>
            </a:xfrm>
            <a:solidFill>
              <a:schemeClr val="accent5"/>
            </a:solidFill>
          </p:grpSpPr>
          <p:sp>
            <p:nvSpPr>
              <p:cNvPr id="94" name="Freeform 28">
                <a:extLst>
                  <a:ext uri="{FF2B5EF4-FFF2-40B4-BE49-F238E27FC236}">
                    <a16:creationId xmlns:a16="http://schemas.microsoft.com/office/drawing/2014/main" id="{7B4C5D34-9FA9-4C35-A0E7-D34A72B014F4}"/>
                  </a:ext>
                </a:extLst>
              </p:cNvPr>
              <p:cNvSpPr>
                <a:spLocks noEditPoints="1"/>
              </p:cNvSpPr>
              <p:nvPr/>
            </p:nvSpPr>
            <p:spPr bwMode="auto">
              <a:xfrm>
                <a:off x="1346" y="3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5" name="Freeform 29">
                <a:extLst>
                  <a:ext uri="{FF2B5EF4-FFF2-40B4-BE49-F238E27FC236}">
                    <a16:creationId xmlns:a16="http://schemas.microsoft.com/office/drawing/2014/main" id="{44323C55-DD8B-430C-B379-EE626CD77B05}"/>
                  </a:ext>
                </a:extLst>
              </p:cNvPr>
              <p:cNvSpPr>
                <a:spLocks noEditPoints="1"/>
              </p:cNvSpPr>
              <p:nvPr/>
            </p:nvSpPr>
            <p:spPr bwMode="auto">
              <a:xfrm>
                <a:off x="1420" y="367"/>
                <a:ext cx="176" cy="212"/>
              </a:xfrm>
              <a:custGeom>
                <a:avLst/>
                <a:gdLst>
                  <a:gd name="T0" fmla="*/ 230 w 265"/>
                  <a:gd name="T1" fmla="*/ 320 h 320"/>
                  <a:gd name="T2" fmla="*/ 222 w 265"/>
                  <a:gd name="T3" fmla="*/ 302 h 320"/>
                  <a:gd name="T4" fmla="*/ 240 w 265"/>
                  <a:gd name="T5" fmla="*/ 192 h 320"/>
                  <a:gd name="T6" fmla="*/ 219 w 265"/>
                  <a:gd name="T7" fmla="*/ 190 h 320"/>
                  <a:gd name="T8" fmla="*/ 209 w 265"/>
                  <a:gd name="T9" fmla="*/ 202 h 320"/>
                  <a:gd name="T10" fmla="*/ 209 w 265"/>
                  <a:gd name="T11" fmla="*/ 202 h 320"/>
                  <a:gd name="T12" fmla="*/ 198 w 265"/>
                  <a:gd name="T13" fmla="*/ 181 h 320"/>
                  <a:gd name="T14" fmla="*/ 177 w 265"/>
                  <a:gd name="T15" fmla="*/ 181 h 320"/>
                  <a:gd name="T16" fmla="*/ 166 w 265"/>
                  <a:gd name="T17" fmla="*/ 202 h 320"/>
                  <a:gd name="T18" fmla="*/ 155 w 265"/>
                  <a:gd name="T19" fmla="*/ 160 h 320"/>
                  <a:gd name="T20" fmla="*/ 134 w 265"/>
                  <a:gd name="T21" fmla="*/ 160 h 320"/>
                  <a:gd name="T22" fmla="*/ 123 w 265"/>
                  <a:gd name="T23" fmla="*/ 202 h 320"/>
                  <a:gd name="T24" fmla="*/ 113 w 265"/>
                  <a:gd name="T25" fmla="*/ 106 h 320"/>
                  <a:gd name="T26" fmla="*/ 91 w 265"/>
                  <a:gd name="T27" fmla="*/ 106 h 320"/>
                  <a:gd name="T28" fmla="*/ 85 w 265"/>
                  <a:gd name="T29" fmla="*/ 244 h 320"/>
                  <a:gd name="T30" fmla="*/ 41 w 265"/>
                  <a:gd name="T31" fmla="*/ 185 h 320"/>
                  <a:gd name="T32" fmla="*/ 27 w 265"/>
                  <a:gd name="T33" fmla="*/ 181 h 320"/>
                  <a:gd name="T34" fmla="*/ 27 w 265"/>
                  <a:gd name="T35" fmla="*/ 199 h 320"/>
                  <a:gd name="T36" fmla="*/ 100 w 265"/>
                  <a:gd name="T37" fmla="*/ 315 h 320"/>
                  <a:gd name="T38" fmla="*/ 86 w 265"/>
                  <a:gd name="T39" fmla="*/ 318 h 320"/>
                  <a:gd name="T40" fmla="*/ 18 w 265"/>
                  <a:gd name="T41" fmla="*/ 162 h 320"/>
                  <a:gd name="T42" fmla="*/ 61 w 265"/>
                  <a:gd name="T43" fmla="*/ 176 h 320"/>
                  <a:gd name="T44" fmla="*/ 70 w 265"/>
                  <a:gd name="T45" fmla="*/ 106 h 320"/>
                  <a:gd name="T46" fmla="*/ 134 w 265"/>
                  <a:gd name="T47" fmla="*/ 106 h 320"/>
                  <a:gd name="T48" fmla="*/ 145 w 265"/>
                  <a:gd name="T49" fmla="*/ 128 h 320"/>
                  <a:gd name="T50" fmla="*/ 187 w 265"/>
                  <a:gd name="T51" fmla="*/ 149 h 320"/>
                  <a:gd name="T52" fmla="*/ 230 w 265"/>
                  <a:gd name="T53" fmla="*/ 160 h 320"/>
                  <a:gd name="T54" fmla="*/ 262 w 265"/>
                  <a:gd name="T55" fmla="*/ 234 h 320"/>
                  <a:gd name="T56" fmla="*/ 102 w 265"/>
                  <a:gd name="T57" fmla="*/ 53 h 320"/>
                  <a:gd name="T58" fmla="*/ 113 w 265"/>
                  <a:gd name="T59" fmla="*/ 10 h 320"/>
                  <a:gd name="T60" fmla="*/ 91 w 265"/>
                  <a:gd name="T61" fmla="*/ 10 h 320"/>
                  <a:gd name="T62" fmla="*/ 102 w 265"/>
                  <a:gd name="T63" fmla="*/ 53 h 320"/>
                  <a:gd name="T64" fmla="*/ 142 w 265"/>
                  <a:gd name="T65" fmla="*/ 61 h 320"/>
                  <a:gd name="T66" fmla="*/ 163 w 265"/>
                  <a:gd name="T67" fmla="*/ 24 h 320"/>
                  <a:gd name="T68" fmla="*/ 126 w 265"/>
                  <a:gd name="T69" fmla="*/ 45 h 320"/>
                  <a:gd name="T70" fmla="*/ 134 w 265"/>
                  <a:gd name="T71" fmla="*/ 64 h 320"/>
                  <a:gd name="T72" fmla="*/ 70 w 265"/>
                  <a:gd name="T73" fmla="*/ 64 h 320"/>
                  <a:gd name="T74" fmla="*/ 78 w 265"/>
                  <a:gd name="T75" fmla="*/ 45 h 320"/>
                  <a:gd name="T76" fmla="*/ 41 w 265"/>
                  <a:gd name="T77" fmla="*/ 24 h 320"/>
                  <a:gd name="T78" fmla="*/ 62 w 265"/>
                  <a:gd name="T79" fmla="*/ 61 h 320"/>
                  <a:gd name="T80" fmla="*/ 155 w 265"/>
                  <a:gd name="T81" fmla="*/ 96 h 320"/>
                  <a:gd name="T82" fmla="*/ 187 w 265"/>
                  <a:gd name="T83" fmla="*/ 85 h 320"/>
                  <a:gd name="T84" fmla="*/ 155 w 265"/>
                  <a:gd name="T85" fmla="*/ 74 h 320"/>
                  <a:gd name="T86" fmla="*/ 27 w 265"/>
                  <a:gd name="T87" fmla="*/ 96 h 320"/>
                  <a:gd name="T88" fmla="*/ 59 w 265"/>
                  <a:gd name="T89" fmla="*/ 85 h 320"/>
                  <a:gd name="T90" fmla="*/ 27 w 265"/>
                  <a:gd name="T91" fmla="*/ 74 h 320"/>
                  <a:gd name="T92" fmla="*/ 27 w 265"/>
                  <a:gd name="T93" fmla="*/ 9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5" h="320">
                    <a:moveTo>
                      <a:pt x="238" y="316"/>
                    </a:moveTo>
                    <a:cubicBezTo>
                      <a:pt x="236" y="318"/>
                      <a:pt x="233" y="320"/>
                      <a:pt x="230" y="320"/>
                    </a:cubicBezTo>
                    <a:cubicBezTo>
                      <a:pt x="227" y="320"/>
                      <a:pt x="225" y="319"/>
                      <a:pt x="223" y="317"/>
                    </a:cubicBezTo>
                    <a:cubicBezTo>
                      <a:pt x="218" y="313"/>
                      <a:pt x="218" y="307"/>
                      <a:pt x="222" y="302"/>
                    </a:cubicBezTo>
                    <a:cubicBezTo>
                      <a:pt x="243" y="277"/>
                      <a:pt x="240" y="236"/>
                      <a:pt x="240" y="235"/>
                    </a:cubicBezTo>
                    <a:cubicBezTo>
                      <a:pt x="240" y="192"/>
                      <a:pt x="240" y="192"/>
                      <a:pt x="240" y="192"/>
                    </a:cubicBezTo>
                    <a:cubicBezTo>
                      <a:pt x="240" y="186"/>
                      <a:pt x="235" y="181"/>
                      <a:pt x="230" y="181"/>
                    </a:cubicBezTo>
                    <a:cubicBezTo>
                      <a:pt x="224" y="181"/>
                      <a:pt x="220" y="185"/>
                      <a:pt x="219" y="190"/>
                    </a:cubicBezTo>
                    <a:cubicBezTo>
                      <a:pt x="219" y="192"/>
                      <a:pt x="219" y="192"/>
                      <a:pt x="219" y="192"/>
                    </a:cubicBezTo>
                    <a:cubicBezTo>
                      <a:pt x="219" y="198"/>
                      <a:pt x="215" y="202"/>
                      <a:pt x="209" y="202"/>
                    </a:cubicBezTo>
                    <a:cubicBezTo>
                      <a:pt x="209" y="202"/>
                      <a:pt x="209" y="202"/>
                      <a:pt x="209" y="202"/>
                    </a:cubicBezTo>
                    <a:cubicBezTo>
                      <a:pt x="209" y="202"/>
                      <a:pt x="209" y="202"/>
                      <a:pt x="209" y="202"/>
                    </a:cubicBezTo>
                    <a:cubicBezTo>
                      <a:pt x="203" y="202"/>
                      <a:pt x="198" y="198"/>
                      <a:pt x="198" y="192"/>
                    </a:cubicBezTo>
                    <a:cubicBezTo>
                      <a:pt x="198" y="181"/>
                      <a:pt x="198" y="181"/>
                      <a:pt x="198" y="181"/>
                    </a:cubicBezTo>
                    <a:cubicBezTo>
                      <a:pt x="198" y="175"/>
                      <a:pt x="193" y="170"/>
                      <a:pt x="187" y="170"/>
                    </a:cubicBezTo>
                    <a:cubicBezTo>
                      <a:pt x="181" y="170"/>
                      <a:pt x="177" y="175"/>
                      <a:pt x="177" y="181"/>
                    </a:cubicBezTo>
                    <a:cubicBezTo>
                      <a:pt x="177" y="192"/>
                      <a:pt x="177" y="192"/>
                      <a:pt x="177" y="192"/>
                    </a:cubicBezTo>
                    <a:cubicBezTo>
                      <a:pt x="177" y="198"/>
                      <a:pt x="172" y="202"/>
                      <a:pt x="166" y="202"/>
                    </a:cubicBezTo>
                    <a:cubicBezTo>
                      <a:pt x="160" y="202"/>
                      <a:pt x="155" y="198"/>
                      <a:pt x="155" y="192"/>
                    </a:cubicBezTo>
                    <a:cubicBezTo>
                      <a:pt x="155" y="160"/>
                      <a:pt x="155" y="160"/>
                      <a:pt x="155" y="160"/>
                    </a:cubicBezTo>
                    <a:cubicBezTo>
                      <a:pt x="155" y="154"/>
                      <a:pt x="151" y="149"/>
                      <a:pt x="145" y="149"/>
                    </a:cubicBezTo>
                    <a:cubicBezTo>
                      <a:pt x="139" y="149"/>
                      <a:pt x="134" y="154"/>
                      <a:pt x="134" y="160"/>
                    </a:cubicBezTo>
                    <a:cubicBezTo>
                      <a:pt x="134" y="192"/>
                      <a:pt x="134" y="192"/>
                      <a:pt x="134" y="192"/>
                    </a:cubicBezTo>
                    <a:cubicBezTo>
                      <a:pt x="134" y="198"/>
                      <a:pt x="129" y="202"/>
                      <a:pt x="123" y="202"/>
                    </a:cubicBezTo>
                    <a:cubicBezTo>
                      <a:pt x="117" y="202"/>
                      <a:pt x="113" y="198"/>
                      <a:pt x="113" y="192"/>
                    </a:cubicBezTo>
                    <a:cubicBezTo>
                      <a:pt x="113" y="106"/>
                      <a:pt x="113" y="106"/>
                      <a:pt x="113" y="106"/>
                    </a:cubicBezTo>
                    <a:cubicBezTo>
                      <a:pt x="113" y="100"/>
                      <a:pt x="108" y="96"/>
                      <a:pt x="102" y="96"/>
                    </a:cubicBezTo>
                    <a:cubicBezTo>
                      <a:pt x="96" y="96"/>
                      <a:pt x="91" y="100"/>
                      <a:pt x="91" y="106"/>
                    </a:cubicBezTo>
                    <a:cubicBezTo>
                      <a:pt x="91" y="234"/>
                      <a:pt x="91" y="234"/>
                      <a:pt x="91" y="234"/>
                    </a:cubicBezTo>
                    <a:cubicBezTo>
                      <a:pt x="91" y="239"/>
                      <a:pt x="89" y="242"/>
                      <a:pt x="85" y="244"/>
                    </a:cubicBezTo>
                    <a:cubicBezTo>
                      <a:pt x="81" y="246"/>
                      <a:pt x="77" y="245"/>
                      <a:pt x="74" y="242"/>
                    </a:cubicBezTo>
                    <a:cubicBezTo>
                      <a:pt x="60" y="230"/>
                      <a:pt x="44" y="192"/>
                      <a:pt x="41" y="185"/>
                    </a:cubicBezTo>
                    <a:cubicBezTo>
                      <a:pt x="40" y="183"/>
                      <a:pt x="38" y="181"/>
                      <a:pt x="35" y="180"/>
                    </a:cubicBezTo>
                    <a:cubicBezTo>
                      <a:pt x="33" y="180"/>
                      <a:pt x="30" y="180"/>
                      <a:pt x="27" y="181"/>
                    </a:cubicBezTo>
                    <a:cubicBezTo>
                      <a:pt x="23" y="183"/>
                      <a:pt x="23" y="192"/>
                      <a:pt x="26" y="198"/>
                    </a:cubicBezTo>
                    <a:cubicBezTo>
                      <a:pt x="26" y="198"/>
                      <a:pt x="27" y="198"/>
                      <a:pt x="27" y="199"/>
                    </a:cubicBezTo>
                    <a:cubicBezTo>
                      <a:pt x="27" y="199"/>
                      <a:pt x="54" y="273"/>
                      <a:pt x="97" y="300"/>
                    </a:cubicBezTo>
                    <a:cubicBezTo>
                      <a:pt x="102" y="303"/>
                      <a:pt x="103" y="310"/>
                      <a:pt x="100" y="315"/>
                    </a:cubicBezTo>
                    <a:cubicBezTo>
                      <a:pt x="98" y="318"/>
                      <a:pt x="95" y="320"/>
                      <a:pt x="91" y="320"/>
                    </a:cubicBezTo>
                    <a:cubicBezTo>
                      <a:pt x="89" y="320"/>
                      <a:pt x="87" y="319"/>
                      <a:pt x="86" y="318"/>
                    </a:cubicBezTo>
                    <a:cubicBezTo>
                      <a:pt x="38" y="288"/>
                      <a:pt x="10" y="214"/>
                      <a:pt x="7" y="207"/>
                    </a:cubicBezTo>
                    <a:cubicBezTo>
                      <a:pt x="0" y="191"/>
                      <a:pt x="2" y="170"/>
                      <a:pt x="18" y="162"/>
                    </a:cubicBezTo>
                    <a:cubicBezTo>
                      <a:pt x="25" y="158"/>
                      <a:pt x="34" y="157"/>
                      <a:pt x="42" y="160"/>
                    </a:cubicBezTo>
                    <a:cubicBezTo>
                      <a:pt x="50" y="163"/>
                      <a:pt x="57" y="169"/>
                      <a:pt x="61" y="176"/>
                    </a:cubicBezTo>
                    <a:cubicBezTo>
                      <a:pt x="63" y="183"/>
                      <a:pt x="66" y="190"/>
                      <a:pt x="70" y="197"/>
                    </a:cubicBezTo>
                    <a:cubicBezTo>
                      <a:pt x="70" y="106"/>
                      <a:pt x="70" y="106"/>
                      <a:pt x="70" y="106"/>
                    </a:cubicBezTo>
                    <a:cubicBezTo>
                      <a:pt x="70" y="89"/>
                      <a:pt x="84" y="74"/>
                      <a:pt x="102" y="74"/>
                    </a:cubicBezTo>
                    <a:cubicBezTo>
                      <a:pt x="120" y="74"/>
                      <a:pt x="134" y="89"/>
                      <a:pt x="134" y="106"/>
                    </a:cubicBezTo>
                    <a:cubicBezTo>
                      <a:pt x="134" y="130"/>
                      <a:pt x="134" y="130"/>
                      <a:pt x="134" y="130"/>
                    </a:cubicBezTo>
                    <a:cubicBezTo>
                      <a:pt x="137" y="128"/>
                      <a:pt x="141" y="128"/>
                      <a:pt x="145" y="128"/>
                    </a:cubicBezTo>
                    <a:cubicBezTo>
                      <a:pt x="159" y="128"/>
                      <a:pt x="172" y="138"/>
                      <a:pt x="175" y="151"/>
                    </a:cubicBezTo>
                    <a:cubicBezTo>
                      <a:pt x="179" y="150"/>
                      <a:pt x="183" y="149"/>
                      <a:pt x="187" y="149"/>
                    </a:cubicBezTo>
                    <a:cubicBezTo>
                      <a:pt x="199" y="149"/>
                      <a:pt x="209" y="155"/>
                      <a:pt x="214" y="164"/>
                    </a:cubicBezTo>
                    <a:cubicBezTo>
                      <a:pt x="219" y="161"/>
                      <a:pt x="224" y="160"/>
                      <a:pt x="230" y="160"/>
                    </a:cubicBezTo>
                    <a:cubicBezTo>
                      <a:pt x="247" y="160"/>
                      <a:pt x="262" y="174"/>
                      <a:pt x="262" y="192"/>
                    </a:cubicBezTo>
                    <a:cubicBezTo>
                      <a:pt x="262" y="234"/>
                      <a:pt x="262" y="234"/>
                      <a:pt x="262" y="234"/>
                    </a:cubicBezTo>
                    <a:cubicBezTo>
                      <a:pt x="262" y="236"/>
                      <a:pt x="265" y="284"/>
                      <a:pt x="238" y="316"/>
                    </a:cubicBezTo>
                    <a:close/>
                    <a:moveTo>
                      <a:pt x="102" y="53"/>
                    </a:moveTo>
                    <a:cubicBezTo>
                      <a:pt x="108" y="53"/>
                      <a:pt x="113" y="48"/>
                      <a:pt x="113" y="42"/>
                    </a:cubicBezTo>
                    <a:cubicBezTo>
                      <a:pt x="113" y="10"/>
                      <a:pt x="113" y="10"/>
                      <a:pt x="113" y="10"/>
                    </a:cubicBezTo>
                    <a:cubicBezTo>
                      <a:pt x="113" y="4"/>
                      <a:pt x="108" y="0"/>
                      <a:pt x="102" y="0"/>
                    </a:cubicBezTo>
                    <a:cubicBezTo>
                      <a:pt x="96" y="0"/>
                      <a:pt x="91" y="4"/>
                      <a:pt x="91" y="10"/>
                    </a:cubicBezTo>
                    <a:cubicBezTo>
                      <a:pt x="91" y="42"/>
                      <a:pt x="91" y="42"/>
                      <a:pt x="91" y="42"/>
                    </a:cubicBezTo>
                    <a:cubicBezTo>
                      <a:pt x="91" y="48"/>
                      <a:pt x="96" y="53"/>
                      <a:pt x="102" y="53"/>
                    </a:cubicBezTo>
                    <a:close/>
                    <a:moveTo>
                      <a:pt x="134" y="64"/>
                    </a:moveTo>
                    <a:cubicBezTo>
                      <a:pt x="137" y="64"/>
                      <a:pt x="139" y="63"/>
                      <a:pt x="142" y="61"/>
                    </a:cubicBezTo>
                    <a:cubicBezTo>
                      <a:pt x="163" y="39"/>
                      <a:pt x="163" y="39"/>
                      <a:pt x="163" y="39"/>
                    </a:cubicBezTo>
                    <a:cubicBezTo>
                      <a:pt x="167" y="35"/>
                      <a:pt x="167" y="28"/>
                      <a:pt x="163" y="24"/>
                    </a:cubicBezTo>
                    <a:cubicBezTo>
                      <a:pt x="159" y="20"/>
                      <a:pt x="152" y="20"/>
                      <a:pt x="148" y="24"/>
                    </a:cubicBezTo>
                    <a:cubicBezTo>
                      <a:pt x="126" y="45"/>
                      <a:pt x="126" y="45"/>
                      <a:pt x="126" y="45"/>
                    </a:cubicBezTo>
                    <a:cubicBezTo>
                      <a:pt x="122" y="50"/>
                      <a:pt x="122" y="56"/>
                      <a:pt x="126" y="61"/>
                    </a:cubicBezTo>
                    <a:cubicBezTo>
                      <a:pt x="129" y="63"/>
                      <a:pt x="131" y="64"/>
                      <a:pt x="134" y="64"/>
                    </a:cubicBezTo>
                    <a:close/>
                    <a:moveTo>
                      <a:pt x="62" y="61"/>
                    </a:moveTo>
                    <a:cubicBezTo>
                      <a:pt x="65" y="63"/>
                      <a:pt x="67" y="64"/>
                      <a:pt x="70" y="64"/>
                    </a:cubicBezTo>
                    <a:cubicBezTo>
                      <a:pt x="73" y="64"/>
                      <a:pt x="75" y="63"/>
                      <a:pt x="78" y="61"/>
                    </a:cubicBezTo>
                    <a:cubicBezTo>
                      <a:pt x="82" y="56"/>
                      <a:pt x="82" y="50"/>
                      <a:pt x="78" y="45"/>
                    </a:cubicBezTo>
                    <a:cubicBezTo>
                      <a:pt x="56" y="24"/>
                      <a:pt x="56" y="24"/>
                      <a:pt x="56" y="24"/>
                    </a:cubicBezTo>
                    <a:cubicBezTo>
                      <a:pt x="52" y="20"/>
                      <a:pt x="45" y="20"/>
                      <a:pt x="41" y="24"/>
                    </a:cubicBezTo>
                    <a:cubicBezTo>
                      <a:pt x="37" y="28"/>
                      <a:pt x="37" y="35"/>
                      <a:pt x="41" y="39"/>
                    </a:cubicBezTo>
                    <a:lnTo>
                      <a:pt x="62" y="61"/>
                    </a:lnTo>
                    <a:close/>
                    <a:moveTo>
                      <a:pt x="145" y="85"/>
                    </a:moveTo>
                    <a:cubicBezTo>
                      <a:pt x="145" y="91"/>
                      <a:pt x="149" y="96"/>
                      <a:pt x="155" y="96"/>
                    </a:cubicBezTo>
                    <a:cubicBezTo>
                      <a:pt x="177" y="96"/>
                      <a:pt x="177" y="96"/>
                      <a:pt x="177" y="96"/>
                    </a:cubicBezTo>
                    <a:cubicBezTo>
                      <a:pt x="183" y="96"/>
                      <a:pt x="187" y="91"/>
                      <a:pt x="187" y="85"/>
                    </a:cubicBezTo>
                    <a:cubicBezTo>
                      <a:pt x="187" y="79"/>
                      <a:pt x="183" y="74"/>
                      <a:pt x="177" y="74"/>
                    </a:cubicBezTo>
                    <a:cubicBezTo>
                      <a:pt x="155" y="74"/>
                      <a:pt x="155" y="74"/>
                      <a:pt x="155" y="74"/>
                    </a:cubicBezTo>
                    <a:cubicBezTo>
                      <a:pt x="149" y="74"/>
                      <a:pt x="145" y="79"/>
                      <a:pt x="145" y="85"/>
                    </a:cubicBezTo>
                    <a:close/>
                    <a:moveTo>
                      <a:pt x="27" y="96"/>
                    </a:moveTo>
                    <a:cubicBezTo>
                      <a:pt x="49" y="96"/>
                      <a:pt x="49" y="96"/>
                      <a:pt x="49" y="96"/>
                    </a:cubicBezTo>
                    <a:cubicBezTo>
                      <a:pt x="55" y="96"/>
                      <a:pt x="59" y="91"/>
                      <a:pt x="59" y="85"/>
                    </a:cubicBezTo>
                    <a:cubicBezTo>
                      <a:pt x="59" y="79"/>
                      <a:pt x="55" y="74"/>
                      <a:pt x="49" y="74"/>
                    </a:cubicBezTo>
                    <a:cubicBezTo>
                      <a:pt x="27" y="74"/>
                      <a:pt x="27" y="74"/>
                      <a:pt x="27" y="74"/>
                    </a:cubicBezTo>
                    <a:cubicBezTo>
                      <a:pt x="21" y="74"/>
                      <a:pt x="17" y="79"/>
                      <a:pt x="17" y="85"/>
                    </a:cubicBezTo>
                    <a:cubicBezTo>
                      <a:pt x="17" y="91"/>
                      <a:pt x="21" y="96"/>
                      <a:pt x="27" y="96"/>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96" name="Group 95">
            <a:extLst>
              <a:ext uri="{FF2B5EF4-FFF2-40B4-BE49-F238E27FC236}">
                <a16:creationId xmlns:a16="http://schemas.microsoft.com/office/drawing/2014/main" id="{3168F95F-D1A6-4C77-9D7F-8FECDBE339AE}"/>
              </a:ext>
            </a:extLst>
          </p:cNvPr>
          <p:cNvGrpSpPr/>
          <p:nvPr/>
        </p:nvGrpSpPr>
        <p:grpSpPr>
          <a:xfrm>
            <a:off x="7381028" y="2639378"/>
            <a:ext cx="1525255" cy="1124420"/>
            <a:chOff x="7381028" y="1821916"/>
            <a:chExt cx="1525255" cy="1124420"/>
          </a:xfrm>
        </p:grpSpPr>
        <p:sp>
          <p:nvSpPr>
            <p:cNvPr id="97" name="Oval 96">
              <a:extLst>
                <a:ext uri="{FF2B5EF4-FFF2-40B4-BE49-F238E27FC236}">
                  <a16:creationId xmlns:a16="http://schemas.microsoft.com/office/drawing/2014/main" id="{162A7E00-9454-420A-8415-DE9FBF9DFC12}"/>
                </a:ext>
              </a:extLst>
            </p:cNvPr>
            <p:cNvSpPr/>
            <p:nvPr/>
          </p:nvSpPr>
          <p:spPr>
            <a:xfrm>
              <a:off x="7963296" y="1894207"/>
              <a:ext cx="382922" cy="2423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98" name="TextBox 97">
              <a:extLst>
                <a:ext uri="{FF2B5EF4-FFF2-40B4-BE49-F238E27FC236}">
                  <a16:creationId xmlns:a16="http://schemas.microsoft.com/office/drawing/2014/main" id="{1E787EBA-A052-4EF4-8C7F-7231FDC37E2A}"/>
                </a:ext>
              </a:extLst>
            </p:cNvPr>
            <p:cNvSpPr txBox="1"/>
            <p:nvPr/>
          </p:nvSpPr>
          <p:spPr>
            <a:xfrm>
              <a:off x="7381028" y="2267092"/>
              <a:ext cx="1525255" cy="1692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srgbClr val="787878"/>
                  </a:solidFill>
                  <a:effectLst/>
                  <a:uLnTx/>
                  <a:uFillTx/>
                  <a:latin typeface="Open Sans"/>
                  <a:ea typeface="+mn-ea"/>
                  <a:cs typeface="+mn-cs"/>
                </a:rPr>
                <a:t>purchase &amp; pay</a:t>
              </a:r>
            </a:p>
          </p:txBody>
        </p:sp>
        <p:sp>
          <p:nvSpPr>
            <p:cNvPr id="99" name="Rectangle 98">
              <a:extLst>
                <a:ext uri="{FF2B5EF4-FFF2-40B4-BE49-F238E27FC236}">
                  <a16:creationId xmlns:a16="http://schemas.microsoft.com/office/drawing/2014/main" id="{51F5F5B6-7D59-44F6-9222-D37642662773}"/>
                </a:ext>
              </a:extLst>
            </p:cNvPr>
            <p:cNvSpPr/>
            <p:nvPr/>
          </p:nvSpPr>
          <p:spPr>
            <a:xfrm>
              <a:off x="7464275" y="2438505"/>
              <a:ext cx="1358760" cy="5078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787878"/>
                  </a:solidFill>
                  <a:effectLst/>
                  <a:uLnTx/>
                  <a:uFillTx/>
                  <a:latin typeface="Open Sans"/>
                  <a:ea typeface="+mn-ea"/>
                  <a:cs typeface="+mn-cs"/>
                </a:rPr>
                <a:t>% consumers who use digital to purchase and receive products</a:t>
              </a:r>
            </a:p>
          </p:txBody>
        </p:sp>
        <p:grpSp>
          <p:nvGrpSpPr>
            <p:cNvPr id="100" name="Group 99">
              <a:extLst>
                <a:ext uri="{FF2B5EF4-FFF2-40B4-BE49-F238E27FC236}">
                  <a16:creationId xmlns:a16="http://schemas.microsoft.com/office/drawing/2014/main" id="{F6E71534-21BF-4686-AF4E-9AB1DBA643A2}"/>
                </a:ext>
              </a:extLst>
            </p:cNvPr>
            <p:cNvGrpSpPr>
              <a:grpSpLocks noChangeAspect="1"/>
            </p:cNvGrpSpPr>
            <p:nvPr/>
          </p:nvGrpSpPr>
          <p:grpSpPr bwMode="auto">
            <a:xfrm>
              <a:off x="7951631" y="1821916"/>
              <a:ext cx="384048" cy="384048"/>
              <a:chOff x="2963" y="1300"/>
              <a:chExt cx="340" cy="340"/>
            </a:xfrm>
            <a:solidFill>
              <a:schemeClr val="accent5"/>
            </a:solidFill>
          </p:grpSpPr>
          <p:sp>
            <p:nvSpPr>
              <p:cNvPr id="101" name="Freeform 31">
                <a:extLst>
                  <a:ext uri="{FF2B5EF4-FFF2-40B4-BE49-F238E27FC236}">
                    <a16:creationId xmlns:a16="http://schemas.microsoft.com/office/drawing/2014/main" id="{01537D2B-C8CC-4AF1-90D4-D8FC58065103}"/>
                  </a:ext>
                </a:extLst>
              </p:cNvPr>
              <p:cNvSpPr>
                <a:spLocks noEditPoints="1"/>
              </p:cNvSpPr>
              <p:nvPr/>
            </p:nvSpPr>
            <p:spPr bwMode="auto">
              <a:xfrm>
                <a:off x="2963" y="13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2" name="Freeform 32">
                <a:extLst>
                  <a:ext uri="{FF2B5EF4-FFF2-40B4-BE49-F238E27FC236}">
                    <a16:creationId xmlns:a16="http://schemas.microsoft.com/office/drawing/2014/main" id="{3910385A-9A47-4959-8C64-E8A7B30D7459}"/>
                  </a:ext>
                </a:extLst>
              </p:cNvPr>
              <p:cNvSpPr>
                <a:spLocks noEditPoints="1"/>
              </p:cNvSpPr>
              <p:nvPr/>
            </p:nvSpPr>
            <p:spPr bwMode="auto">
              <a:xfrm>
                <a:off x="3041" y="1406"/>
                <a:ext cx="191" cy="128"/>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grp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103" name="Group 102">
            <a:extLst>
              <a:ext uri="{FF2B5EF4-FFF2-40B4-BE49-F238E27FC236}">
                <a16:creationId xmlns:a16="http://schemas.microsoft.com/office/drawing/2014/main" id="{0CE97C6D-6688-41E8-BDE4-B5995A2D456C}"/>
              </a:ext>
            </a:extLst>
          </p:cNvPr>
          <p:cNvGrpSpPr/>
          <p:nvPr/>
        </p:nvGrpSpPr>
        <p:grpSpPr>
          <a:xfrm>
            <a:off x="9387374" y="2639378"/>
            <a:ext cx="1586982" cy="1124420"/>
            <a:chOff x="9387374" y="1821916"/>
            <a:chExt cx="1586982" cy="1124420"/>
          </a:xfrm>
        </p:grpSpPr>
        <p:sp>
          <p:nvSpPr>
            <p:cNvPr id="104" name="Oval 103">
              <a:extLst>
                <a:ext uri="{FF2B5EF4-FFF2-40B4-BE49-F238E27FC236}">
                  <a16:creationId xmlns:a16="http://schemas.microsoft.com/office/drawing/2014/main" id="{00296D42-7594-40D0-B8D1-AF885512479F}"/>
                </a:ext>
              </a:extLst>
            </p:cNvPr>
            <p:cNvSpPr/>
            <p:nvPr/>
          </p:nvSpPr>
          <p:spPr>
            <a:xfrm>
              <a:off x="10000000" y="1894207"/>
              <a:ext cx="382922" cy="2423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05" name="TextBox 104">
              <a:extLst>
                <a:ext uri="{FF2B5EF4-FFF2-40B4-BE49-F238E27FC236}">
                  <a16:creationId xmlns:a16="http://schemas.microsoft.com/office/drawing/2014/main" id="{FD93228A-5096-449D-AE5A-5EFCAAA71EA9}"/>
                </a:ext>
              </a:extLst>
            </p:cNvPr>
            <p:cNvSpPr txBox="1"/>
            <p:nvPr/>
          </p:nvSpPr>
          <p:spPr>
            <a:xfrm>
              <a:off x="9418238" y="2267092"/>
              <a:ext cx="1525255" cy="1692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srgbClr val="787878"/>
                  </a:solidFill>
                  <a:effectLst/>
                  <a:uLnTx/>
                  <a:uFillTx/>
                  <a:latin typeface="Open Sans"/>
                  <a:ea typeface="+mn-ea"/>
                  <a:cs typeface="+mn-cs"/>
                </a:rPr>
                <a:t>feedback / reconsider</a:t>
              </a:r>
            </a:p>
          </p:txBody>
        </p:sp>
        <p:sp>
          <p:nvSpPr>
            <p:cNvPr id="106" name="Rectangle 105">
              <a:extLst>
                <a:ext uri="{FF2B5EF4-FFF2-40B4-BE49-F238E27FC236}">
                  <a16:creationId xmlns:a16="http://schemas.microsoft.com/office/drawing/2014/main" id="{AAF434DE-5249-4C28-8943-DD0430C4F2AD}"/>
                </a:ext>
              </a:extLst>
            </p:cNvPr>
            <p:cNvSpPr/>
            <p:nvPr/>
          </p:nvSpPr>
          <p:spPr>
            <a:xfrm>
              <a:off x="9387374" y="2438505"/>
              <a:ext cx="1586982" cy="5078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787878"/>
                  </a:solidFill>
                  <a:effectLst/>
                  <a:uLnTx/>
                  <a:uFillTx/>
                  <a:latin typeface="Open Sans"/>
                  <a:ea typeface="+mn-ea"/>
                  <a:cs typeface="+mn-cs"/>
                </a:rPr>
                <a:t>% consumers who use digital to submit service request or feedback</a:t>
              </a:r>
            </a:p>
          </p:txBody>
        </p:sp>
        <p:grpSp>
          <p:nvGrpSpPr>
            <p:cNvPr id="107" name="Group 106">
              <a:extLst>
                <a:ext uri="{FF2B5EF4-FFF2-40B4-BE49-F238E27FC236}">
                  <a16:creationId xmlns:a16="http://schemas.microsoft.com/office/drawing/2014/main" id="{47CDD67A-8EA1-4CEC-BABA-99F8AA95D8D0}"/>
                </a:ext>
              </a:extLst>
            </p:cNvPr>
            <p:cNvGrpSpPr/>
            <p:nvPr/>
          </p:nvGrpSpPr>
          <p:grpSpPr>
            <a:xfrm>
              <a:off x="9989404" y="1821916"/>
              <a:ext cx="382922" cy="384048"/>
              <a:chOff x="9989404" y="1821916"/>
              <a:chExt cx="382922" cy="384048"/>
            </a:xfrm>
          </p:grpSpPr>
          <p:sp>
            <p:nvSpPr>
              <p:cNvPr id="108" name="Freeform 34">
                <a:extLst>
                  <a:ext uri="{FF2B5EF4-FFF2-40B4-BE49-F238E27FC236}">
                    <a16:creationId xmlns:a16="http://schemas.microsoft.com/office/drawing/2014/main" id="{BBEE3585-40B9-4972-970E-27FD5B508535}"/>
                  </a:ext>
                </a:extLst>
              </p:cNvPr>
              <p:cNvSpPr>
                <a:spLocks/>
              </p:cNvSpPr>
              <p:nvPr/>
            </p:nvSpPr>
            <p:spPr bwMode="auto">
              <a:xfrm>
                <a:off x="10085135" y="1917928"/>
                <a:ext cx="199345" cy="192024"/>
              </a:xfrm>
              <a:custGeom>
                <a:avLst/>
                <a:gdLst>
                  <a:gd name="T0" fmla="*/ 266 w 266"/>
                  <a:gd name="T1" fmla="*/ 213 h 256"/>
                  <a:gd name="T2" fmla="*/ 256 w 266"/>
                  <a:gd name="T3" fmla="*/ 224 h 256"/>
                  <a:gd name="T4" fmla="*/ 202 w 266"/>
                  <a:gd name="T5" fmla="*/ 224 h 256"/>
                  <a:gd name="T6" fmla="*/ 192 w 266"/>
                  <a:gd name="T7" fmla="*/ 213 h 256"/>
                  <a:gd name="T8" fmla="*/ 192 w 266"/>
                  <a:gd name="T9" fmla="*/ 160 h 256"/>
                  <a:gd name="T10" fmla="*/ 202 w 266"/>
                  <a:gd name="T11" fmla="*/ 149 h 256"/>
                  <a:gd name="T12" fmla="*/ 213 w 266"/>
                  <a:gd name="T13" fmla="*/ 160 h 256"/>
                  <a:gd name="T14" fmla="*/ 213 w 266"/>
                  <a:gd name="T15" fmla="*/ 192 h 256"/>
                  <a:gd name="T16" fmla="*/ 234 w 266"/>
                  <a:gd name="T17" fmla="*/ 128 h 256"/>
                  <a:gd name="T18" fmla="*/ 128 w 266"/>
                  <a:gd name="T19" fmla="*/ 21 h 256"/>
                  <a:gd name="T20" fmla="*/ 21 w 266"/>
                  <a:gd name="T21" fmla="*/ 128 h 256"/>
                  <a:gd name="T22" fmla="*/ 128 w 266"/>
                  <a:gd name="T23" fmla="*/ 234 h 256"/>
                  <a:gd name="T24" fmla="*/ 138 w 266"/>
                  <a:gd name="T25" fmla="*/ 245 h 256"/>
                  <a:gd name="T26" fmla="*/ 128 w 266"/>
                  <a:gd name="T27" fmla="*/ 256 h 256"/>
                  <a:gd name="T28" fmla="*/ 0 w 266"/>
                  <a:gd name="T29" fmla="*/ 128 h 256"/>
                  <a:gd name="T30" fmla="*/ 128 w 266"/>
                  <a:gd name="T31" fmla="*/ 0 h 256"/>
                  <a:gd name="T32" fmla="*/ 256 w 266"/>
                  <a:gd name="T33" fmla="*/ 128 h 256"/>
                  <a:gd name="T34" fmla="*/ 231 w 266"/>
                  <a:gd name="T35" fmla="*/ 202 h 256"/>
                  <a:gd name="T36" fmla="*/ 256 w 266"/>
                  <a:gd name="T37" fmla="*/ 202 h 256"/>
                  <a:gd name="T38" fmla="*/ 266 w 266"/>
                  <a:gd name="T39" fmla="*/ 213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6" h="256">
                    <a:moveTo>
                      <a:pt x="266" y="213"/>
                    </a:moveTo>
                    <a:cubicBezTo>
                      <a:pt x="266" y="219"/>
                      <a:pt x="262" y="224"/>
                      <a:pt x="256" y="224"/>
                    </a:cubicBezTo>
                    <a:cubicBezTo>
                      <a:pt x="202" y="224"/>
                      <a:pt x="202" y="224"/>
                      <a:pt x="202" y="224"/>
                    </a:cubicBezTo>
                    <a:cubicBezTo>
                      <a:pt x="196" y="224"/>
                      <a:pt x="192" y="219"/>
                      <a:pt x="192" y="213"/>
                    </a:cubicBezTo>
                    <a:cubicBezTo>
                      <a:pt x="192" y="160"/>
                      <a:pt x="192" y="160"/>
                      <a:pt x="192" y="160"/>
                    </a:cubicBezTo>
                    <a:cubicBezTo>
                      <a:pt x="192" y="154"/>
                      <a:pt x="196" y="149"/>
                      <a:pt x="202" y="149"/>
                    </a:cubicBezTo>
                    <a:cubicBezTo>
                      <a:pt x="208" y="149"/>
                      <a:pt x="213" y="154"/>
                      <a:pt x="213" y="160"/>
                    </a:cubicBezTo>
                    <a:cubicBezTo>
                      <a:pt x="213" y="192"/>
                      <a:pt x="213" y="192"/>
                      <a:pt x="213" y="192"/>
                    </a:cubicBezTo>
                    <a:cubicBezTo>
                      <a:pt x="227" y="173"/>
                      <a:pt x="234" y="151"/>
                      <a:pt x="234" y="128"/>
                    </a:cubicBezTo>
                    <a:cubicBezTo>
                      <a:pt x="234" y="69"/>
                      <a:pt x="186" y="21"/>
                      <a:pt x="128" y="21"/>
                    </a:cubicBezTo>
                    <a:cubicBezTo>
                      <a:pt x="69" y="21"/>
                      <a:pt x="21" y="69"/>
                      <a:pt x="21" y="128"/>
                    </a:cubicBezTo>
                    <a:cubicBezTo>
                      <a:pt x="21" y="186"/>
                      <a:pt x="69" y="234"/>
                      <a:pt x="128" y="234"/>
                    </a:cubicBezTo>
                    <a:cubicBezTo>
                      <a:pt x="134" y="234"/>
                      <a:pt x="138" y="239"/>
                      <a:pt x="138" y="245"/>
                    </a:cubicBezTo>
                    <a:cubicBezTo>
                      <a:pt x="138" y="251"/>
                      <a:pt x="134" y="256"/>
                      <a:pt x="128" y="256"/>
                    </a:cubicBezTo>
                    <a:cubicBezTo>
                      <a:pt x="57" y="256"/>
                      <a:pt x="0" y="198"/>
                      <a:pt x="0" y="128"/>
                    </a:cubicBezTo>
                    <a:cubicBezTo>
                      <a:pt x="0" y="57"/>
                      <a:pt x="57" y="0"/>
                      <a:pt x="128" y="0"/>
                    </a:cubicBezTo>
                    <a:cubicBezTo>
                      <a:pt x="198" y="0"/>
                      <a:pt x="256" y="57"/>
                      <a:pt x="256" y="128"/>
                    </a:cubicBezTo>
                    <a:cubicBezTo>
                      <a:pt x="256" y="155"/>
                      <a:pt x="247" y="181"/>
                      <a:pt x="231" y="202"/>
                    </a:cubicBezTo>
                    <a:cubicBezTo>
                      <a:pt x="256" y="202"/>
                      <a:pt x="256" y="202"/>
                      <a:pt x="256" y="202"/>
                    </a:cubicBezTo>
                    <a:cubicBezTo>
                      <a:pt x="262" y="202"/>
                      <a:pt x="266" y="207"/>
                      <a:pt x="266" y="213"/>
                    </a:cubicBezTo>
                    <a:close/>
                  </a:path>
                </a:pathLst>
              </a:custGeom>
              <a:solidFill>
                <a:schemeClr val="accent5"/>
              </a:solid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9" name="Freeform 35">
                <a:extLst>
                  <a:ext uri="{FF2B5EF4-FFF2-40B4-BE49-F238E27FC236}">
                    <a16:creationId xmlns:a16="http://schemas.microsoft.com/office/drawing/2014/main" id="{BD46A0E6-BCAF-4908-9F3F-747B25807F65}"/>
                  </a:ext>
                </a:extLst>
              </p:cNvPr>
              <p:cNvSpPr>
                <a:spLocks noEditPoints="1"/>
              </p:cNvSpPr>
              <p:nvPr/>
            </p:nvSpPr>
            <p:spPr bwMode="auto">
              <a:xfrm>
                <a:off x="9989404" y="1821916"/>
                <a:ext cx="382922" cy="384048"/>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5"/>
              </a:solidFill>
              <a:ln>
                <a:noFill/>
              </a:ln>
              <a:extLst>
                <a:ext uri="{91240B29-F687-4f45-9708-019B960494DF}">
                  <a14:hiddenLine xmlns:lc="http://schemas.openxmlformats.org/drawingml/2006/lockedCanvas"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Open Sans"/>
                  <a:ea typeface="+mn-ea"/>
                  <a:cs typeface="+mn-cs"/>
                </a:endParaRPr>
              </a:p>
            </p:txBody>
          </p:sp>
        </p:grpSp>
      </p:grpSp>
      <p:sp>
        <p:nvSpPr>
          <p:cNvPr id="110" name="TextBox 109">
            <a:extLst>
              <a:ext uri="{FF2B5EF4-FFF2-40B4-BE49-F238E27FC236}">
                <a16:creationId xmlns:a16="http://schemas.microsoft.com/office/drawing/2014/main" id="{6A046841-2AE4-4F0B-88AE-24D47D6544CE}"/>
              </a:ext>
            </a:extLst>
          </p:cNvPr>
          <p:cNvSpPr txBox="1"/>
          <p:nvPr/>
        </p:nvSpPr>
        <p:spPr>
          <a:xfrm>
            <a:off x="2236930" y="2066076"/>
            <a:ext cx="771814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300" normalizeH="0" baseline="0" noProof="0" dirty="0">
                <a:ln>
                  <a:noFill/>
                </a:ln>
                <a:solidFill>
                  <a:srgbClr val="000000"/>
                </a:solidFill>
                <a:effectLst/>
                <a:uLnTx/>
                <a:uFillTx/>
                <a:latin typeface="Open Sans"/>
                <a:ea typeface="+mn-ea"/>
                <a:cs typeface="+mn-cs"/>
              </a:rPr>
              <a:t>rate of digital consumer adoption across the path to purchase </a:t>
            </a:r>
          </a:p>
        </p:txBody>
      </p:sp>
    </p:spTree>
    <p:extLst>
      <p:ext uri="{BB962C8B-B14F-4D97-AF65-F5344CB8AC3E}">
        <p14:creationId xmlns:p14="http://schemas.microsoft.com/office/powerpoint/2010/main" val="221119583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60"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Digital Journey</a:t>
            </a:r>
            <a:endParaRPr lang="en-US" dirty="0"/>
          </a:p>
        </p:txBody>
      </p:sp>
      <p:sp>
        <p:nvSpPr>
          <p:cNvPr id="3" name="Text Placeholder 2"/>
          <p:cNvSpPr>
            <a:spLocks noGrp="1"/>
          </p:cNvSpPr>
          <p:nvPr>
            <p:ph type="body" sz="quarter" idx="14"/>
          </p:nvPr>
        </p:nvSpPr>
        <p:spPr/>
        <p:txBody>
          <a:bodyPr/>
          <a:lstStyle/>
          <a:p>
            <a:r>
              <a:rPr lang="en-US" dirty="0"/>
              <a:t>Ease and speed drive consumers desire to engage digitally</a:t>
            </a:r>
          </a:p>
        </p:txBody>
      </p:sp>
      <p:sp>
        <p:nvSpPr>
          <p:cNvPr id="5" name="Text Placeholder 4"/>
          <p:cNvSpPr>
            <a:spLocks noGrp="1"/>
          </p:cNvSpPr>
          <p:nvPr>
            <p:ph type="body" sz="quarter" idx="15"/>
          </p:nvPr>
        </p:nvSpPr>
        <p:spPr/>
        <p:txBody>
          <a:bodyPr/>
          <a:lstStyle/>
          <a:p>
            <a:r>
              <a:rPr lang="en-US" dirty="0"/>
              <a:t>Data Visualization &amp; Infographics</a:t>
            </a:r>
          </a:p>
        </p:txBody>
      </p:sp>
      <p:cxnSp>
        <p:nvCxnSpPr>
          <p:cNvPr id="47" name="Straight Connector 46">
            <a:extLst>
              <a:ext uri="{FF2B5EF4-FFF2-40B4-BE49-F238E27FC236}">
                <a16:creationId xmlns:a16="http://schemas.microsoft.com/office/drawing/2014/main" id="{1F9505A7-8B72-4CF8-A4BD-DFEEDFE0F0CB}"/>
              </a:ext>
            </a:extLst>
          </p:cNvPr>
          <p:cNvCxnSpPr>
            <a:cxnSpLocks/>
          </p:cNvCxnSpPr>
          <p:nvPr/>
        </p:nvCxnSpPr>
        <p:spPr>
          <a:xfrm rot="660000">
            <a:off x="1792693" y="4575216"/>
            <a:ext cx="8382433" cy="0"/>
          </a:xfrm>
          <a:prstGeom prst="line">
            <a:avLst/>
          </a:prstGeom>
          <a:ln w="19050">
            <a:solidFill>
              <a:schemeClr val="accent5">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8BBB2FF1-B05F-460E-8085-71935D591A78}"/>
              </a:ext>
            </a:extLst>
          </p:cNvPr>
          <p:cNvSpPr/>
          <p:nvPr/>
        </p:nvSpPr>
        <p:spPr>
          <a:xfrm rot="659243">
            <a:off x="655605" y="4157994"/>
            <a:ext cx="10594730" cy="184666"/>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300" normalizeH="0" baseline="0" noProof="0" dirty="0">
                <a:ln>
                  <a:noFill/>
                </a:ln>
                <a:solidFill>
                  <a:srgbClr val="787878"/>
                </a:solidFill>
                <a:effectLst/>
                <a:uLnTx/>
                <a:uFillTx/>
                <a:latin typeface="Open Sans"/>
                <a:ea typeface="+mn-ea"/>
                <a:cs typeface="+mn-cs"/>
              </a:rPr>
              <a:t>why digital?</a:t>
            </a:r>
          </a:p>
        </p:txBody>
      </p:sp>
      <p:sp>
        <p:nvSpPr>
          <p:cNvPr id="49" name="Rectangle 48">
            <a:extLst>
              <a:ext uri="{FF2B5EF4-FFF2-40B4-BE49-F238E27FC236}">
                <a16:creationId xmlns:a16="http://schemas.microsoft.com/office/drawing/2014/main" id="{69F6CC29-69E7-4253-9393-0CE64375A9BC}"/>
              </a:ext>
            </a:extLst>
          </p:cNvPr>
          <p:cNvSpPr/>
          <p:nvPr/>
        </p:nvSpPr>
        <p:spPr>
          <a:xfrm rot="659243">
            <a:off x="655605" y="5112740"/>
            <a:ext cx="10594730" cy="184666"/>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300" normalizeH="0" baseline="0" noProof="0" dirty="0">
                <a:ln>
                  <a:noFill/>
                </a:ln>
                <a:solidFill>
                  <a:srgbClr val="787878"/>
                </a:solidFill>
                <a:effectLst/>
                <a:uLnTx/>
                <a:uFillTx/>
                <a:latin typeface="Open Sans"/>
                <a:ea typeface="+mn-ea"/>
                <a:cs typeface="+mn-cs"/>
              </a:rPr>
              <a:t>why not digital?</a:t>
            </a:r>
          </a:p>
        </p:txBody>
      </p:sp>
      <p:sp>
        <p:nvSpPr>
          <p:cNvPr id="50" name="Rectangle 49">
            <a:extLst>
              <a:ext uri="{FF2B5EF4-FFF2-40B4-BE49-F238E27FC236}">
                <a16:creationId xmlns:a16="http://schemas.microsoft.com/office/drawing/2014/main" id="{83AD814C-004C-4B0E-B982-EFD1A2D8D6AF}"/>
              </a:ext>
            </a:extLst>
          </p:cNvPr>
          <p:cNvSpPr/>
          <p:nvPr/>
        </p:nvSpPr>
        <p:spPr>
          <a:xfrm>
            <a:off x="1335493" y="1718067"/>
            <a:ext cx="1828800" cy="186204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86F200"/>
                </a:solidFill>
                <a:effectLst/>
                <a:uLnTx/>
                <a:uFillTx/>
                <a:latin typeface="Chronicle Display Black"/>
                <a:ea typeface="+mn-ea"/>
                <a:cs typeface="+mn-cs"/>
              </a:rPr>
              <a:t>62% </a:t>
            </a:r>
            <a:r>
              <a:rPr kumimoji="0" lang="en-US" sz="1200" b="0" i="0" u="none" strike="noStrike" kern="1200" cap="none" spc="0" normalizeH="0" baseline="0" noProof="0" dirty="0">
                <a:ln>
                  <a:noFill/>
                </a:ln>
                <a:solidFill>
                  <a:srgbClr val="000000"/>
                </a:solidFill>
                <a:effectLst/>
                <a:uLnTx/>
                <a:uFillTx/>
                <a:latin typeface="Open Sans"/>
                <a:ea typeface="+mn-ea"/>
                <a:cs typeface="+mn-cs"/>
              </a:rPr>
              <a:t>made it </a:t>
            </a:r>
            <a:r>
              <a:rPr kumimoji="0" lang="en-US" sz="1200" b="1" i="0" u="none" strike="noStrike" kern="1200" cap="none" spc="0" normalizeH="0" baseline="0" noProof="0" dirty="0">
                <a:ln>
                  <a:noFill/>
                </a:ln>
                <a:solidFill>
                  <a:srgbClr val="86F200"/>
                </a:solidFill>
                <a:effectLst/>
                <a:uLnTx/>
                <a:uFillTx/>
                <a:latin typeface="Open Sans"/>
                <a:ea typeface="+mn-ea"/>
                <a:cs typeface="+mn-cs"/>
              </a:rPr>
              <a:t>easy to learn</a:t>
            </a:r>
            <a:r>
              <a:rPr kumimoji="0" lang="en-US" sz="1200" b="0" i="0" u="none" strike="noStrike" kern="1200" cap="none" spc="0" normalizeH="0" baseline="0" noProof="0" dirty="0">
                <a:ln>
                  <a:noFill/>
                </a:ln>
                <a:solidFill>
                  <a:srgbClr val="86F200"/>
                </a:solidFill>
                <a:effectLst/>
                <a:uLnTx/>
                <a:uFillTx/>
                <a:latin typeface="Open Sans"/>
                <a:ea typeface="+mn-ea"/>
                <a:cs typeface="+mn-cs"/>
              </a:rPr>
              <a:t> </a:t>
            </a:r>
            <a:r>
              <a:rPr kumimoji="0" lang="en-US" sz="1200" b="0" i="0" u="none" strike="noStrike" kern="1200" cap="none" spc="0" normalizeH="0" baseline="0" noProof="0" dirty="0">
                <a:ln>
                  <a:noFill/>
                </a:ln>
                <a:solidFill>
                  <a:srgbClr val="000000"/>
                </a:solidFill>
                <a:effectLst/>
                <a:uLnTx/>
                <a:uFillTx/>
                <a:latin typeface="Open Sans"/>
                <a:ea typeface="+mn-ea"/>
                <a:cs typeface="+mn-cs"/>
              </a:rPr>
              <a:t>about the product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hronicle Display Black"/>
                <a:ea typeface="+mn-ea"/>
                <a:cs typeface="+mn-cs"/>
              </a:rPr>
              <a:t>39% </a:t>
            </a:r>
            <a:r>
              <a:rPr kumimoji="0" lang="en-US" sz="900" b="0" i="0" u="none" strike="noStrike" kern="1200" cap="none" spc="0" normalizeH="0" baseline="0" noProof="0" dirty="0">
                <a:ln>
                  <a:noFill/>
                </a:ln>
                <a:solidFill>
                  <a:srgbClr val="000000"/>
                </a:solidFill>
                <a:effectLst/>
                <a:uLnTx/>
                <a:uFillTx/>
                <a:latin typeface="Open Sans"/>
                <a:ea typeface="+mn-ea"/>
                <a:cs typeface="+mn-cs"/>
              </a:rPr>
              <a:t>are where i most often </a:t>
            </a:r>
            <a:r>
              <a:rPr kumimoji="0" lang="en-US" sz="900" b="1" i="0" u="none" strike="noStrike" kern="1200" cap="none" spc="0" normalizeH="0" baseline="0" noProof="0" dirty="0">
                <a:ln>
                  <a:noFill/>
                </a:ln>
                <a:solidFill>
                  <a:srgbClr val="787878"/>
                </a:solidFill>
                <a:effectLst/>
                <a:uLnTx/>
                <a:uFillTx/>
                <a:latin typeface="Open Sans"/>
                <a:ea typeface="+mn-ea"/>
                <a:cs typeface="+mn-cs"/>
              </a:rPr>
              <a:t>see advertising &amp; information</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hronicle Display Black"/>
                <a:ea typeface="+mn-ea"/>
                <a:cs typeface="+mn-cs"/>
              </a:rPr>
              <a:t>38% </a:t>
            </a:r>
            <a:r>
              <a:rPr kumimoji="0" lang="en-US" sz="900" b="0" i="0" u="none" strike="noStrike" kern="1200" cap="none" spc="0" normalizeH="0" baseline="0" noProof="0" dirty="0">
                <a:ln>
                  <a:noFill/>
                </a:ln>
                <a:solidFill>
                  <a:srgbClr val="000000"/>
                </a:solidFill>
                <a:effectLst/>
                <a:uLnTx/>
                <a:uFillTx/>
                <a:latin typeface="Open Sans"/>
                <a:ea typeface="+mn-ea"/>
                <a:cs typeface="+mn-cs"/>
              </a:rPr>
              <a:t>helped </a:t>
            </a:r>
            <a:r>
              <a:rPr kumimoji="0" lang="en-US" sz="900" b="1" i="0" u="none" strike="noStrike" kern="1200" cap="none" spc="0" normalizeH="0" baseline="0" noProof="0" dirty="0">
                <a:ln>
                  <a:noFill/>
                </a:ln>
                <a:solidFill>
                  <a:srgbClr val="787878"/>
                </a:solidFill>
                <a:effectLst/>
                <a:uLnTx/>
                <a:uFillTx/>
                <a:latin typeface="Open Sans"/>
                <a:ea typeface="+mn-ea"/>
                <a:cs typeface="+mn-cs"/>
              </a:rPr>
              <a:t>find information</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1" name="Rectangle 50">
            <a:extLst>
              <a:ext uri="{FF2B5EF4-FFF2-40B4-BE49-F238E27FC236}">
                <a16:creationId xmlns:a16="http://schemas.microsoft.com/office/drawing/2014/main" id="{649502F9-253C-452C-A181-684C4F916DB1}"/>
              </a:ext>
            </a:extLst>
          </p:cNvPr>
          <p:cNvSpPr/>
          <p:nvPr/>
        </p:nvSpPr>
        <p:spPr>
          <a:xfrm>
            <a:off x="3469563" y="2173379"/>
            <a:ext cx="1828800" cy="155427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86F200"/>
                </a:solidFill>
                <a:effectLst/>
                <a:uLnTx/>
                <a:uFillTx/>
                <a:latin typeface="Chronicle Display Black"/>
                <a:ea typeface="+mn-ea"/>
                <a:cs typeface="+mn-cs"/>
              </a:rPr>
              <a:t>41% </a:t>
            </a:r>
            <a:r>
              <a:rPr kumimoji="0" lang="en-US" sz="1200" b="0" i="0" u="none" strike="noStrike" kern="1200" cap="none" spc="0" normalizeH="0" baseline="0" noProof="0" dirty="0">
                <a:ln>
                  <a:noFill/>
                </a:ln>
                <a:solidFill>
                  <a:srgbClr val="000000"/>
                </a:solidFill>
                <a:effectLst/>
                <a:uLnTx/>
                <a:uFillTx/>
                <a:latin typeface="Open Sans"/>
                <a:ea typeface="+mn-ea"/>
                <a:cs typeface="+mn-cs"/>
              </a:rPr>
              <a:t>made it </a:t>
            </a:r>
            <a:r>
              <a:rPr kumimoji="0" lang="en-US" sz="1200" b="1" i="0" u="none" strike="noStrike" kern="1200" cap="none" spc="0" normalizeH="0" baseline="0" noProof="0" dirty="0">
                <a:ln>
                  <a:noFill/>
                </a:ln>
                <a:solidFill>
                  <a:srgbClr val="86F200"/>
                </a:solidFill>
                <a:effectLst/>
                <a:uLnTx/>
                <a:uFillTx/>
                <a:latin typeface="Open Sans"/>
                <a:ea typeface="+mn-ea"/>
                <a:cs typeface="+mn-cs"/>
              </a:rPr>
              <a:t>easy to compare</a:t>
            </a:r>
            <a:r>
              <a:rPr kumimoji="0" lang="en-US" sz="1200" b="0" i="0" u="none" strike="noStrike" kern="1200" cap="none" spc="0" normalizeH="0" baseline="0" noProof="0" dirty="0">
                <a:ln>
                  <a:noFill/>
                </a:ln>
                <a:solidFill>
                  <a:srgbClr val="000000"/>
                </a:solidFill>
                <a:effectLst/>
                <a:uLnTx/>
                <a:uFillTx/>
                <a:latin typeface="Open Sans"/>
                <a:ea typeface="+mn-ea"/>
                <a:cs typeface="+mn-cs"/>
              </a:rPr>
              <a:t> product information</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hronicle Display Black"/>
                <a:ea typeface="+mn-ea"/>
                <a:cs typeface="+mn-cs"/>
              </a:rPr>
              <a:t>38% </a:t>
            </a:r>
            <a:r>
              <a:rPr kumimoji="0" lang="en-US" sz="900" b="0" i="0" u="none" strike="noStrike" kern="1200" cap="none" spc="0" normalizeH="0" baseline="0" noProof="0" dirty="0">
                <a:ln>
                  <a:noFill/>
                </a:ln>
                <a:solidFill>
                  <a:srgbClr val="000000"/>
                </a:solidFill>
                <a:effectLst/>
                <a:uLnTx/>
                <a:uFillTx/>
                <a:latin typeface="Open Sans"/>
                <a:ea typeface="+mn-ea"/>
                <a:cs typeface="+mn-cs"/>
              </a:rPr>
              <a:t>helped me </a:t>
            </a:r>
            <a:r>
              <a:rPr kumimoji="0" lang="en-US" sz="900" b="1" i="0" u="none" strike="noStrike" kern="1200" cap="none" spc="0" normalizeH="0" baseline="0" noProof="0" dirty="0">
                <a:ln>
                  <a:noFill/>
                </a:ln>
                <a:solidFill>
                  <a:srgbClr val="787878"/>
                </a:solidFill>
                <a:effectLst/>
                <a:uLnTx/>
                <a:uFillTx/>
                <a:latin typeface="Open Sans"/>
                <a:ea typeface="+mn-ea"/>
                <a:cs typeface="+mn-cs"/>
              </a:rPr>
              <a:t>gain knowledge</a:t>
            </a:r>
            <a:r>
              <a:rPr kumimoji="0" lang="en-US" sz="900" b="1" i="0" u="none" strike="noStrike" kern="1200" cap="none" spc="0" normalizeH="0" baseline="0" noProof="0" dirty="0">
                <a:ln>
                  <a:noFill/>
                </a:ln>
                <a:solidFill>
                  <a:srgbClr val="000000"/>
                </a:solidFill>
                <a:effectLst/>
                <a:uLnTx/>
                <a:uFillTx/>
                <a:latin typeface="Open Sans"/>
                <a:ea typeface="+mn-ea"/>
                <a:cs typeface="+mn-cs"/>
              </a:rPr>
              <a:t> </a:t>
            </a:r>
            <a:r>
              <a:rPr kumimoji="0" lang="en-US" sz="900" b="0" i="0" u="none" strike="noStrike" kern="1200" cap="none" spc="0" normalizeH="0" baseline="0" noProof="0" dirty="0">
                <a:ln>
                  <a:noFill/>
                </a:ln>
                <a:solidFill>
                  <a:srgbClr val="000000"/>
                </a:solidFill>
                <a:effectLst/>
                <a:uLnTx/>
                <a:uFillTx/>
                <a:latin typeface="Open Sans"/>
                <a:ea typeface="+mn-ea"/>
                <a:cs typeface="+mn-cs"/>
              </a:rPr>
              <a:t>about the product</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hronicle Display Black"/>
                <a:ea typeface="+mn-ea"/>
                <a:cs typeface="+mn-cs"/>
              </a:rPr>
              <a:t>35% </a:t>
            </a:r>
            <a:r>
              <a:rPr kumimoji="0" lang="en-US" sz="900" b="0" i="0" u="none" strike="noStrike" kern="1200" cap="none" spc="0" normalizeH="0" baseline="0" noProof="0" dirty="0">
                <a:ln>
                  <a:noFill/>
                </a:ln>
                <a:solidFill>
                  <a:srgbClr val="000000"/>
                </a:solidFill>
                <a:effectLst/>
                <a:uLnTx/>
                <a:uFillTx/>
                <a:latin typeface="Open Sans"/>
                <a:ea typeface="+mn-ea"/>
                <a:cs typeface="+mn-cs"/>
              </a:rPr>
              <a:t>made it </a:t>
            </a:r>
            <a:r>
              <a:rPr kumimoji="0" lang="en-US" sz="900" b="1" i="0" u="none" strike="noStrike" kern="1200" cap="none" spc="0" normalizeH="0" baseline="0" noProof="0" dirty="0">
                <a:ln>
                  <a:noFill/>
                </a:ln>
                <a:solidFill>
                  <a:srgbClr val="787878"/>
                </a:solidFill>
                <a:effectLst/>
                <a:uLnTx/>
                <a:uFillTx/>
                <a:latin typeface="Open Sans"/>
                <a:ea typeface="+mn-ea"/>
                <a:cs typeface="+mn-cs"/>
              </a:rPr>
              <a:t>faster to research /browse</a:t>
            </a:r>
            <a:endParaRPr kumimoji="0" lang="en-US" sz="1000" b="1" i="0" u="none" strike="noStrike" kern="1200" cap="none" spc="0" normalizeH="0" baseline="0" noProof="0" dirty="0">
              <a:ln>
                <a:noFill/>
              </a:ln>
              <a:solidFill>
                <a:srgbClr val="787878"/>
              </a:solidFill>
              <a:effectLst/>
              <a:uLnTx/>
              <a:uFillTx/>
              <a:latin typeface="Open Sans"/>
              <a:ea typeface="+mn-ea"/>
              <a:cs typeface="+mn-cs"/>
            </a:endParaRPr>
          </a:p>
        </p:txBody>
      </p:sp>
      <p:sp>
        <p:nvSpPr>
          <p:cNvPr id="52" name="Rectangle 51">
            <a:extLst>
              <a:ext uri="{FF2B5EF4-FFF2-40B4-BE49-F238E27FC236}">
                <a16:creationId xmlns:a16="http://schemas.microsoft.com/office/drawing/2014/main" id="{7B388F8A-1007-45D5-937C-7640218E0056}"/>
              </a:ext>
            </a:extLst>
          </p:cNvPr>
          <p:cNvSpPr/>
          <p:nvPr/>
        </p:nvSpPr>
        <p:spPr>
          <a:xfrm>
            <a:off x="5603633" y="2628691"/>
            <a:ext cx="1828800" cy="15465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86F200"/>
                </a:solidFill>
                <a:effectLst/>
                <a:uLnTx/>
                <a:uFillTx/>
                <a:latin typeface="Chronicle Display Black"/>
                <a:ea typeface="+mn-ea"/>
                <a:cs typeface="+mn-cs"/>
              </a:rPr>
              <a:t>45% </a:t>
            </a:r>
            <a:r>
              <a:rPr kumimoji="0" lang="en-US" sz="1200" b="0" i="0" u="none" strike="noStrike" kern="1200" cap="none" spc="0" normalizeH="0" baseline="0" noProof="0" dirty="0">
                <a:ln>
                  <a:noFill/>
                </a:ln>
                <a:solidFill>
                  <a:srgbClr val="000000"/>
                </a:solidFill>
                <a:effectLst/>
                <a:uLnTx/>
                <a:uFillTx/>
                <a:latin typeface="Open Sans"/>
                <a:ea typeface="+mn-ea"/>
                <a:cs typeface="+mn-cs"/>
              </a:rPr>
              <a:t>helped me </a:t>
            </a:r>
            <a:r>
              <a:rPr kumimoji="0" lang="en-US" sz="1200" b="1" i="0" u="none" strike="noStrike" kern="1200" cap="none" spc="0" normalizeH="0" baseline="0" noProof="0" dirty="0">
                <a:ln>
                  <a:noFill/>
                </a:ln>
                <a:solidFill>
                  <a:srgbClr val="86F200"/>
                </a:solidFill>
                <a:effectLst/>
                <a:uLnTx/>
                <a:uFillTx/>
                <a:latin typeface="Open Sans"/>
                <a:ea typeface="+mn-ea"/>
                <a:cs typeface="+mn-cs"/>
              </a:rPr>
              <a:t>gain knowledge</a:t>
            </a:r>
            <a:r>
              <a:rPr kumimoji="0" lang="en-US" sz="1200" b="0" i="0" u="none" strike="noStrike" kern="1200" cap="none" spc="0" normalizeH="0" baseline="0" noProof="0" dirty="0">
                <a:ln>
                  <a:noFill/>
                </a:ln>
                <a:solidFill>
                  <a:srgbClr val="000000"/>
                </a:solidFill>
                <a:effectLst/>
                <a:uLnTx/>
                <a:uFillTx/>
                <a:latin typeface="Open Sans"/>
                <a:ea typeface="+mn-ea"/>
                <a:cs typeface="+mn-cs"/>
              </a:rPr>
              <a:t> about the product</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hronicle Display Black"/>
                <a:ea typeface="+mn-ea"/>
                <a:cs typeface="+mn-cs"/>
              </a:rPr>
              <a:t>41%</a:t>
            </a:r>
            <a:r>
              <a:rPr kumimoji="0" lang="en-US" sz="1050" b="0" i="0" u="none" strike="noStrike" kern="1200" cap="none" spc="0" normalizeH="0" baseline="0" noProof="0" dirty="0">
                <a:ln>
                  <a:noFill/>
                </a:ln>
                <a:solidFill>
                  <a:srgbClr val="000000"/>
                </a:solidFill>
                <a:effectLst/>
                <a:uLnTx/>
                <a:uFillTx/>
                <a:latin typeface="Chronicle Display Black"/>
                <a:ea typeface="+mn-ea"/>
                <a:cs typeface="+mn-cs"/>
              </a:rPr>
              <a:t> </a:t>
            </a:r>
            <a:r>
              <a:rPr kumimoji="0" lang="en-US" sz="900" b="0" i="0" u="none" strike="noStrike" kern="1200" cap="none" spc="0" normalizeH="0" baseline="0" noProof="0" dirty="0">
                <a:ln>
                  <a:noFill/>
                </a:ln>
                <a:solidFill>
                  <a:srgbClr val="000000"/>
                </a:solidFill>
                <a:effectLst/>
                <a:uLnTx/>
                <a:uFillTx/>
                <a:latin typeface="Open Sans"/>
                <a:ea typeface="+mn-ea"/>
                <a:cs typeface="+mn-cs"/>
              </a:rPr>
              <a:t>made it </a:t>
            </a:r>
            <a:r>
              <a:rPr kumimoji="0" lang="en-US" sz="900" b="1" i="0" u="none" strike="noStrike" kern="1200" cap="none" spc="0" normalizeH="0" baseline="0" noProof="0" dirty="0">
                <a:ln>
                  <a:noFill/>
                </a:ln>
                <a:solidFill>
                  <a:srgbClr val="787878"/>
                </a:solidFill>
                <a:effectLst/>
                <a:uLnTx/>
                <a:uFillTx/>
                <a:latin typeface="Open Sans"/>
                <a:ea typeface="+mn-ea"/>
                <a:cs typeface="+mn-cs"/>
              </a:rPr>
              <a:t>easy to compare</a:t>
            </a:r>
            <a:r>
              <a:rPr kumimoji="0" lang="en-US" sz="900" b="0" i="0" u="none" strike="noStrike" kern="1200" cap="none" spc="0" normalizeH="0" baseline="0" noProof="0" dirty="0">
                <a:ln>
                  <a:noFill/>
                </a:ln>
                <a:solidFill>
                  <a:srgbClr val="787878"/>
                </a:solidFill>
                <a:effectLst/>
                <a:uLnTx/>
                <a:uFillTx/>
                <a:latin typeface="Open Sans"/>
                <a:ea typeface="+mn-ea"/>
                <a:cs typeface="+mn-cs"/>
              </a:rPr>
              <a:t> </a:t>
            </a:r>
            <a:r>
              <a:rPr kumimoji="0" lang="en-US" sz="900" b="0" i="0" u="none" strike="noStrike" kern="1200" cap="none" spc="0" normalizeH="0" baseline="0" noProof="0" dirty="0">
                <a:ln>
                  <a:noFill/>
                </a:ln>
                <a:solidFill>
                  <a:srgbClr val="000000"/>
                </a:solidFill>
                <a:effectLst/>
                <a:uLnTx/>
                <a:uFillTx/>
                <a:latin typeface="Open Sans"/>
                <a:ea typeface="+mn-ea"/>
                <a:cs typeface="+mn-cs"/>
              </a:rPr>
              <a:t>product information</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hronicle Display Black"/>
                <a:ea typeface="+mn-ea"/>
                <a:cs typeface="+mn-cs"/>
              </a:rPr>
              <a:t>36%</a:t>
            </a:r>
            <a:r>
              <a:rPr kumimoji="0" lang="en-US" sz="1050" b="0" i="0" u="none" strike="noStrike" kern="1200" cap="none" spc="0" normalizeH="0" baseline="0" noProof="0" dirty="0">
                <a:ln>
                  <a:noFill/>
                </a:ln>
                <a:solidFill>
                  <a:srgbClr val="000000"/>
                </a:solidFill>
                <a:effectLst/>
                <a:uLnTx/>
                <a:uFillTx/>
                <a:latin typeface="Chronicle Display Black"/>
                <a:ea typeface="+mn-ea"/>
                <a:cs typeface="+mn-cs"/>
              </a:rPr>
              <a:t> </a:t>
            </a:r>
            <a:r>
              <a:rPr kumimoji="0" lang="en-US" sz="900" b="0" i="0" u="none" strike="noStrike" kern="1200" cap="none" spc="0" normalizeH="0" baseline="0" noProof="0" dirty="0">
                <a:ln>
                  <a:noFill/>
                </a:ln>
                <a:solidFill>
                  <a:srgbClr val="000000"/>
                </a:solidFill>
                <a:effectLst/>
                <a:uLnTx/>
                <a:uFillTx/>
                <a:latin typeface="Open Sans"/>
                <a:ea typeface="+mn-ea"/>
                <a:cs typeface="+mn-cs"/>
              </a:rPr>
              <a:t>made it </a:t>
            </a:r>
            <a:r>
              <a:rPr kumimoji="0" lang="en-US" sz="900" b="1" i="0" u="none" strike="noStrike" kern="1200" cap="none" spc="0" normalizeH="0" baseline="0" noProof="0" dirty="0">
                <a:ln>
                  <a:noFill/>
                </a:ln>
                <a:solidFill>
                  <a:srgbClr val="787878"/>
                </a:solidFill>
                <a:effectLst/>
                <a:uLnTx/>
                <a:uFillTx/>
                <a:latin typeface="Open Sans"/>
                <a:ea typeface="+mn-ea"/>
                <a:cs typeface="+mn-cs"/>
              </a:rPr>
              <a:t>faster to research /browse</a:t>
            </a:r>
          </a:p>
        </p:txBody>
      </p:sp>
      <p:sp>
        <p:nvSpPr>
          <p:cNvPr id="53" name="Rectangle 52">
            <a:extLst>
              <a:ext uri="{FF2B5EF4-FFF2-40B4-BE49-F238E27FC236}">
                <a16:creationId xmlns:a16="http://schemas.microsoft.com/office/drawing/2014/main" id="{28715E07-B40A-46B6-A7CD-088E070C5EB4}"/>
              </a:ext>
            </a:extLst>
          </p:cNvPr>
          <p:cNvSpPr/>
          <p:nvPr/>
        </p:nvSpPr>
        <p:spPr>
          <a:xfrm>
            <a:off x="7653295" y="3084003"/>
            <a:ext cx="1828800" cy="122341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86F200"/>
                </a:solidFill>
                <a:effectLst/>
                <a:uLnTx/>
                <a:uFillTx/>
                <a:latin typeface="Chronicle Display Black"/>
                <a:ea typeface="+mn-ea"/>
                <a:cs typeface="+mn-cs"/>
              </a:rPr>
              <a:t>43% </a:t>
            </a:r>
            <a:r>
              <a:rPr kumimoji="0" lang="en-US" sz="1200" b="0" i="0" u="none" strike="noStrike" kern="1200" cap="none" spc="0" normalizeH="0" baseline="0" noProof="0" dirty="0">
                <a:ln>
                  <a:noFill/>
                </a:ln>
                <a:solidFill>
                  <a:srgbClr val="000000"/>
                </a:solidFill>
                <a:effectLst/>
                <a:uLnTx/>
                <a:uFillTx/>
                <a:latin typeface="Open Sans"/>
                <a:ea typeface="+mn-ea"/>
                <a:cs typeface="+mn-cs"/>
              </a:rPr>
              <a:t>buying online is </a:t>
            </a:r>
            <a:r>
              <a:rPr kumimoji="0" lang="en-US" sz="1200" b="1" i="0" u="none" strike="noStrike" kern="1200" cap="none" spc="0" normalizeH="0" baseline="0" noProof="0" dirty="0">
                <a:ln>
                  <a:noFill/>
                </a:ln>
                <a:solidFill>
                  <a:srgbClr val="86F200"/>
                </a:solidFill>
                <a:effectLst/>
                <a:uLnTx/>
                <a:uFillTx/>
                <a:latin typeface="Open Sans"/>
                <a:ea typeface="+mn-ea"/>
                <a:cs typeface="+mn-cs"/>
              </a:rPr>
              <a:t>fast / saves tim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hronicle Display Black"/>
                <a:ea typeface="+mn-ea"/>
                <a:cs typeface="+mn-cs"/>
              </a:rPr>
              <a:t>36%</a:t>
            </a:r>
            <a:r>
              <a:rPr kumimoji="0" lang="en-US" sz="1100" b="1" i="0" u="none" strike="noStrike" kern="1200" cap="none" spc="0" normalizeH="0" baseline="0" noProof="0" dirty="0">
                <a:ln>
                  <a:noFill/>
                </a:ln>
                <a:solidFill>
                  <a:srgbClr val="000000"/>
                </a:solidFill>
                <a:effectLst/>
                <a:uLnTx/>
                <a:uFillTx/>
                <a:latin typeface="Chronicle Display Black"/>
                <a:ea typeface="+mn-ea"/>
                <a:cs typeface="+mn-cs"/>
              </a:rPr>
              <a:t> </a:t>
            </a:r>
            <a:r>
              <a:rPr kumimoji="0" lang="en-US" sz="900" b="1" i="0" u="none" strike="noStrike" kern="1200" cap="none" spc="0" normalizeH="0" baseline="0" noProof="0" dirty="0">
                <a:ln>
                  <a:noFill/>
                </a:ln>
                <a:solidFill>
                  <a:srgbClr val="787878"/>
                </a:solidFill>
                <a:effectLst/>
                <a:uLnTx/>
                <a:uFillTx/>
                <a:latin typeface="Open Sans"/>
                <a:ea typeface="+mn-ea"/>
                <a:cs typeface="+mn-cs"/>
              </a:rPr>
              <a:t>buying</a:t>
            </a:r>
            <a:r>
              <a:rPr kumimoji="0" lang="en-US" sz="900" b="1" i="0" u="none" strike="noStrike" kern="1200" cap="none" spc="0" normalizeH="0" baseline="0" noProof="0" dirty="0">
                <a:ln>
                  <a:noFill/>
                </a:ln>
                <a:solidFill>
                  <a:srgbClr val="000000"/>
                </a:solidFill>
                <a:effectLst/>
                <a:uLnTx/>
                <a:uFillTx/>
                <a:latin typeface="Open Sans"/>
                <a:ea typeface="+mn-ea"/>
                <a:cs typeface="+mn-cs"/>
              </a:rPr>
              <a:t> </a:t>
            </a:r>
            <a:r>
              <a:rPr kumimoji="0" lang="en-US" sz="900" b="0" i="0" u="none" strike="noStrike" kern="1200" cap="none" spc="0" normalizeH="0" baseline="0" noProof="0" dirty="0">
                <a:ln>
                  <a:noFill/>
                </a:ln>
                <a:solidFill>
                  <a:srgbClr val="000000"/>
                </a:solidFill>
                <a:effectLst/>
                <a:uLnTx/>
                <a:uFillTx/>
                <a:latin typeface="Open Sans"/>
                <a:ea typeface="+mn-ea"/>
                <a:cs typeface="+mn-cs"/>
              </a:rPr>
              <a:t>online is </a:t>
            </a:r>
            <a:r>
              <a:rPr kumimoji="0" lang="en-US" sz="900" b="1" i="0" u="none" strike="noStrike" kern="1200" cap="none" spc="0" normalizeH="0" baseline="0" noProof="0" dirty="0">
                <a:ln>
                  <a:noFill/>
                </a:ln>
                <a:solidFill>
                  <a:srgbClr val="787878"/>
                </a:solidFill>
                <a:effectLst/>
                <a:uLnTx/>
                <a:uFillTx/>
                <a:latin typeface="Open Sans"/>
                <a:ea typeface="+mn-ea"/>
                <a:cs typeface="+mn-cs"/>
              </a:rPr>
              <a:t>easier</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hronicle Display Black"/>
                <a:ea typeface="+mn-ea"/>
                <a:cs typeface="+mn-cs"/>
              </a:rPr>
              <a:t>35% </a:t>
            </a:r>
            <a:r>
              <a:rPr kumimoji="0" lang="en-US" sz="900" b="0" i="0" u="none" strike="noStrike" kern="1200" cap="none" spc="0" normalizeH="0" baseline="0" noProof="0" dirty="0">
                <a:ln>
                  <a:noFill/>
                </a:ln>
                <a:solidFill>
                  <a:srgbClr val="000000"/>
                </a:solidFill>
                <a:effectLst/>
                <a:uLnTx/>
                <a:uFillTx/>
                <a:latin typeface="Open Sans"/>
                <a:ea typeface="+mn-ea"/>
                <a:cs typeface="+mn-cs"/>
              </a:rPr>
              <a:t>buying online gets me a </a:t>
            </a:r>
            <a:r>
              <a:rPr kumimoji="0" lang="en-US" sz="900" b="1" i="0" u="none" strike="noStrike" kern="1200" cap="none" spc="0" normalizeH="0" baseline="0" noProof="0" dirty="0">
                <a:ln>
                  <a:noFill/>
                </a:ln>
                <a:solidFill>
                  <a:srgbClr val="787878"/>
                </a:solidFill>
                <a:effectLst/>
                <a:uLnTx/>
                <a:uFillTx/>
                <a:latin typeface="Open Sans"/>
                <a:ea typeface="+mn-ea"/>
                <a:cs typeface="+mn-cs"/>
              </a:rPr>
              <a:t>better deal</a:t>
            </a:r>
          </a:p>
        </p:txBody>
      </p:sp>
      <p:sp>
        <p:nvSpPr>
          <p:cNvPr id="54" name="Rectangle 53">
            <a:extLst>
              <a:ext uri="{FF2B5EF4-FFF2-40B4-BE49-F238E27FC236}">
                <a16:creationId xmlns:a16="http://schemas.microsoft.com/office/drawing/2014/main" id="{60C9254F-2F71-44BF-9785-A4FE6848937F}"/>
              </a:ext>
            </a:extLst>
          </p:cNvPr>
          <p:cNvSpPr/>
          <p:nvPr/>
        </p:nvSpPr>
        <p:spPr>
          <a:xfrm>
            <a:off x="9871772" y="3539313"/>
            <a:ext cx="1828800" cy="17774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86F200"/>
                </a:solidFill>
                <a:effectLst/>
                <a:uLnTx/>
                <a:uFillTx/>
                <a:latin typeface="Chronicle Display Black"/>
                <a:ea typeface="+mn-ea"/>
                <a:cs typeface="+mn-cs"/>
              </a:rPr>
              <a:t>48% </a:t>
            </a:r>
            <a:r>
              <a:rPr kumimoji="0" lang="en-US" sz="1200" b="0" i="0" u="none" strike="noStrike" kern="1200" cap="none" spc="0" normalizeH="0" baseline="0" noProof="0" dirty="0">
                <a:ln>
                  <a:noFill/>
                </a:ln>
                <a:solidFill>
                  <a:srgbClr val="000000"/>
                </a:solidFill>
                <a:effectLst/>
                <a:uLnTx/>
                <a:uFillTx/>
                <a:latin typeface="Open Sans"/>
                <a:ea typeface="+mn-ea"/>
                <a:cs typeface="+mn-cs"/>
              </a:rPr>
              <a:t>made it </a:t>
            </a:r>
            <a:r>
              <a:rPr kumimoji="0" lang="en-US" sz="1200" b="1" i="0" u="none" strike="noStrike" kern="1200" cap="none" spc="0" normalizeH="0" baseline="0" noProof="0" dirty="0">
                <a:ln>
                  <a:noFill/>
                </a:ln>
                <a:solidFill>
                  <a:srgbClr val="86F200"/>
                </a:solidFill>
                <a:effectLst/>
                <a:uLnTx/>
                <a:uFillTx/>
                <a:latin typeface="Open Sans"/>
                <a:ea typeface="+mn-ea"/>
                <a:cs typeface="+mn-cs"/>
              </a:rPr>
              <a:t>easy to provide</a:t>
            </a:r>
            <a:r>
              <a:rPr kumimoji="0" lang="en-US" sz="1200" b="0" i="0" u="none" strike="noStrike" kern="1200" cap="none" spc="0" normalizeH="0" baseline="0" noProof="0" dirty="0">
                <a:ln>
                  <a:noFill/>
                </a:ln>
                <a:solidFill>
                  <a:srgbClr val="000000"/>
                </a:solidFill>
                <a:effectLst/>
                <a:uLnTx/>
                <a:uFillTx/>
                <a:latin typeface="Open Sans"/>
                <a:ea typeface="+mn-ea"/>
                <a:cs typeface="+mn-cs"/>
              </a:rPr>
              <a:t> feedback</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hronicle Display Black"/>
                <a:ea typeface="+mn-ea"/>
                <a:cs typeface="+mn-cs"/>
              </a:rPr>
              <a:t>42%</a:t>
            </a:r>
            <a:r>
              <a:rPr kumimoji="0" lang="en-US" sz="1050" b="0" i="0" u="none" strike="noStrike" kern="1200" cap="none" spc="0" normalizeH="0" baseline="0" noProof="0" dirty="0">
                <a:ln>
                  <a:noFill/>
                </a:ln>
                <a:solidFill>
                  <a:srgbClr val="000000"/>
                </a:solidFill>
                <a:effectLst/>
                <a:uLnTx/>
                <a:uFillTx/>
                <a:latin typeface="Chronicle Display Black"/>
                <a:ea typeface="+mn-ea"/>
                <a:cs typeface="+mn-cs"/>
              </a:rPr>
              <a:t> </a:t>
            </a:r>
            <a:r>
              <a:rPr kumimoji="0" lang="en-US" sz="900" b="0" i="0" u="none" strike="noStrike" kern="1200" cap="none" spc="0" normalizeH="0" baseline="0" noProof="0" dirty="0">
                <a:ln>
                  <a:noFill/>
                </a:ln>
                <a:solidFill>
                  <a:srgbClr val="000000"/>
                </a:solidFill>
                <a:effectLst/>
                <a:uLnTx/>
                <a:uFillTx/>
                <a:latin typeface="Open Sans"/>
                <a:ea typeface="+mn-ea"/>
                <a:cs typeface="+mn-cs"/>
              </a:rPr>
              <a:t>made it </a:t>
            </a:r>
            <a:r>
              <a:rPr kumimoji="0" lang="en-US" sz="900" b="1" i="0" u="none" strike="noStrike" kern="1200" cap="none" spc="0" normalizeH="0" baseline="0" noProof="0" dirty="0">
                <a:ln>
                  <a:noFill/>
                </a:ln>
                <a:solidFill>
                  <a:srgbClr val="787878"/>
                </a:solidFill>
                <a:effectLst/>
                <a:uLnTx/>
                <a:uFillTx/>
                <a:latin typeface="Open Sans"/>
                <a:ea typeface="+mn-ea"/>
                <a:cs typeface="+mn-cs"/>
              </a:rPr>
              <a:t>quick to provide</a:t>
            </a:r>
            <a:r>
              <a:rPr kumimoji="0" lang="en-US" sz="900" b="0" i="0" u="none" strike="noStrike" kern="1200" cap="none" spc="0" normalizeH="0" baseline="0" noProof="0" dirty="0">
                <a:ln>
                  <a:noFill/>
                </a:ln>
                <a:solidFill>
                  <a:srgbClr val="787878"/>
                </a:solidFill>
                <a:effectLst/>
                <a:uLnTx/>
                <a:uFillTx/>
                <a:latin typeface="Open Sans"/>
                <a:ea typeface="+mn-ea"/>
                <a:cs typeface="+mn-cs"/>
              </a:rPr>
              <a:t> </a:t>
            </a:r>
            <a:r>
              <a:rPr kumimoji="0" lang="en-US" sz="900" b="0" i="0" u="none" strike="noStrike" kern="1200" cap="none" spc="0" normalizeH="0" baseline="0" noProof="0" dirty="0">
                <a:ln>
                  <a:noFill/>
                </a:ln>
                <a:solidFill>
                  <a:srgbClr val="000000"/>
                </a:solidFill>
                <a:effectLst/>
                <a:uLnTx/>
                <a:uFillTx/>
                <a:latin typeface="Open Sans"/>
                <a:ea typeface="+mn-ea"/>
                <a:cs typeface="+mn-cs"/>
              </a:rPr>
              <a:t>feedback</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hronicle Display Black"/>
                <a:ea typeface="+mn-ea"/>
                <a:cs typeface="+mn-cs"/>
              </a:rPr>
              <a:t>39%</a:t>
            </a:r>
            <a:r>
              <a:rPr kumimoji="0" lang="en-US" sz="1050" b="0" i="0" u="none" strike="noStrike" kern="1200" cap="none" spc="0" normalizeH="0" baseline="0" noProof="0" dirty="0">
                <a:ln>
                  <a:noFill/>
                </a:ln>
                <a:solidFill>
                  <a:srgbClr val="000000"/>
                </a:solidFill>
                <a:effectLst/>
                <a:uLnTx/>
                <a:uFillTx/>
                <a:latin typeface="Chronicle Display Black"/>
                <a:ea typeface="+mn-ea"/>
                <a:cs typeface="+mn-cs"/>
              </a:rPr>
              <a:t> </a:t>
            </a:r>
            <a:r>
              <a:rPr kumimoji="0" lang="en-US" sz="900" b="0" i="0" u="none" strike="noStrike" kern="1200" cap="none" spc="0" normalizeH="0" baseline="0" noProof="0" dirty="0">
                <a:ln>
                  <a:noFill/>
                </a:ln>
                <a:solidFill>
                  <a:srgbClr val="000000"/>
                </a:solidFill>
                <a:effectLst/>
                <a:uLnTx/>
                <a:uFillTx/>
                <a:latin typeface="Open Sans"/>
                <a:ea typeface="+mn-ea"/>
                <a:cs typeface="+mn-cs"/>
              </a:rPr>
              <a:t>makes me feel like i am </a:t>
            </a:r>
            <a:r>
              <a:rPr kumimoji="0" lang="en-US" sz="900" b="1" i="0" u="none" strike="noStrike" kern="1200" cap="none" spc="0" normalizeH="0" baseline="0" noProof="0" dirty="0">
                <a:ln>
                  <a:noFill/>
                </a:ln>
                <a:solidFill>
                  <a:srgbClr val="787878"/>
                </a:solidFill>
                <a:effectLst/>
                <a:uLnTx/>
                <a:uFillTx/>
                <a:latin typeface="Open Sans"/>
                <a:ea typeface="+mn-ea"/>
                <a:cs typeface="+mn-cs"/>
              </a:rPr>
              <a:t>contributing to other consumers</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200" b="1" i="0" u="none" strike="noStrike" kern="1200" cap="none" spc="0" normalizeH="0" baseline="0" noProof="0" dirty="0">
              <a:ln>
                <a:noFill/>
              </a:ln>
              <a:solidFill>
                <a:srgbClr val="787878"/>
              </a:solidFill>
              <a:effectLst/>
              <a:uLnTx/>
              <a:uFillTx/>
              <a:latin typeface="Open Sans"/>
              <a:ea typeface="+mn-ea"/>
              <a:cs typeface="+mn-cs"/>
            </a:endParaRPr>
          </a:p>
        </p:txBody>
      </p:sp>
      <p:sp>
        <p:nvSpPr>
          <p:cNvPr id="55" name="TextBox 54">
            <a:extLst>
              <a:ext uri="{FF2B5EF4-FFF2-40B4-BE49-F238E27FC236}">
                <a16:creationId xmlns:a16="http://schemas.microsoft.com/office/drawing/2014/main" id="{E85ED2BC-2ECE-4D0C-A0EC-B99BF65B1788}"/>
              </a:ext>
            </a:extLst>
          </p:cNvPr>
          <p:cNvSpPr txBox="1"/>
          <p:nvPr/>
        </p:nvSpPr>
        <p:spPr>
          <a:xfrm>
            <a:off x="9292025" y="5624827"/>
            <a:ext cx="1525255" cy="1692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srgbClr val="FFFFFF">
                    <a:lumMod val="65000"/>
                  </a:srgbClr>
                </a:solidFill>
                <a:effectLst/>
                <a:uLnTx/>
                <a:uFillTx/>
                <a:latin typeface="Open Sans"/>
                <a:ea typeface="+mn-ea"/>
                <a:cs typeface="+mn-cs"/>
              </a:rPr>
              <a:t>feedback / reconsider</a:t>
            </a:r>
          </a:p>
        </p:txBody>
      </p:sp>
      <p:grpSp>
        <p:nvGrpSpPr>
          <p:cNvPr id="56" name="Group 55">
            <a:extLst>
              <a:ext uri="{FF2B5EF4-FFF2-40B4-BE49-F238E27FC236}">
                <a16:creationId xmlns:a16="http://schemas.microsoft.com/office/drawing/2014/main" id="{022CA8F1-AA8E-486E-B0AA-0004C95DC685}"/>
              </a:ext>
            </a:extLst>
          </p:cNvPr>
          <p:cNvGrpSpPr/>
          <p:nvPr/>
        </p:nvGrpSpPr>
        <p:grpSpPr>
          <a:xfrm>
            <a:off x="9871772" y="5195972"/>
            <a:ext cx="365760" cy="365760"/>
            <a:chOff x="1262800" y="5663535"/>
            <a:chExt cx="365760" cy="365760"/>
          </a:xfrm>
        </p:grpSpPr>
        <p:sp>
          <p:nvSpPr>
            <p:cNvPr id="57" name="Oval 56">
              <a:extLst>
                <a:ext uri="{FF2B5EF4-FFF2-40B4-BE49-F238E27FC236}">
                  <a16:creationId xmlns:a16="http://schemas.microsoft.com/office/drawing/2014/main" id="{2AE7B403-8D2E-41C5-AD30-4F641A82374D}"/>
                </a:ext>
              </a:extLst>
            </p:cNvPr>
            <p:cNvSpPr/>
            <p:nvPr/>
          </p:nvSpPr>
          <p:spPr>
            <a:xfrm>
              <a:off x="1262800" y="5663535"/>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58" name="Group 577">
              <a:extLst>
                <a:ext uri="{FF2B5EF4-FFF2-40B4-BE49-F238E27FC236}">
                  <a16:creationId xmlns:a16="http://schemas.microsoft.com/office/drawing/2014/main" id="{B54EA8B2-5045-4BB4-AC05-991E0E1CAE2B}"/>
                </a:ext>
              </a:extLst>
            </p:cNvPr>
            <p:cNvGrpSpPr>
              <a:grpSpLocks noChangeAspect="1"/>
            </p:cNvGrpSpPr>
            <p:nvPr/>
          </p:nvGrpSpPr>
          <p:grpSpPr bwMode="auto">
            <a:xfrm>
              <a:off x="1262800" y="5663535"/>
              <a:ext cx="365760" cy="365760"/>
              <a:chOff x="7356" y="2314"/>
              <a:chExt cx="340" cy="340"/>
            </a:xfrm>
            <a:solidFill>
              <a:schemeClr val="accent1"/>
            </a:solidFill>
          </p:grpSpPr>
          <p:sp>
            <p:nvSpPr>
              <p:cNvPr id="59" name="Freeform 578">
                <a:extLst>
                  <a:ext uri="{FF2B5EF4-FFF2-40B4-BE49-F238E27FC236}">
                    <a16:creationId xmlns:a16="http://schemas.microsoft.com/office/drawing/2014/main" id="{16A23A40-CC44-4C7C-8CA0-6EDEA3C8F9CA}"/>
                  </a:ext>
                </a:extLst>
              </p:cNvPr>
              <p:cNvSpPr>
                <a:spLocks/>
              </p:cNvSpPr>
              <p:nvPr/>
            </p:nvSpPr>
            <p:spPr bwMode="auto">
              <a:xfrm>
                <a:off x="7441" y="2399"/>
                <a:ext cx="177" cy="170"/>
              </a:xfrm>
              <a:custGeom>
                <a:avLst/>
                <a:gdLst>
                  <a:gd name="T0" fmla="*/ 266 w 266"/>
                  <a:gd name="T1" fmla="*/ 213 h 256"/>
                  <a:gd name="T2" fmla="*/ 256 w 266"/>
                  <a:gd name="T3" fmla="*/ 224 h 256"/>
                  <a:gd name="T4" fmla="*/ 202 w 266"/>
                  <a:gd name="T5" fmla="*/ 224 h 256"/>
                  <a:gd name="T6" fmla="*/ 192 w 266"/>
                  <a:gd name="T7" fmla="*/ 213 h 256"/>
                  <a:gd name="T8" fmla="*/ 192 w 266"/>
                  <a:gd name="T9" fmla="*/ 160 h 256"/>
                  <a:gd name="T10" fmla="*/ 202 w 266"/>
                  <a:gd name="T11" fmla="*/ 149 h 256"/>
                  <a:gd name="T12" fmla="*/ 213 w 266"/>
                  <a:gd name="T13" fmla="*/ 160 h 256"/>
                  <a:gd name="T14" fmla="*/ 213 w 266"/>
                  <a:gd name="T15" fmla="*/ 192 h 256"/>
                  <a:gd name="T16" fmla="*/ 234 w 266"/>
                  <a:gd name="T17" fmla="*/ 128 h 256"/>
                  <a:gd name="T18" fmla="*/ 128 w 266"/>
                  <a:gd name="T19" fmla="*/ 21 h 256"/>
                  <a:gd name="T20" fmla="*/ 21 w 266"/>
                  <a:gd name="T21" fmla="*/ 128 h 256"/>
                  <a:gd name="T22" fmla="*/ 128 w 266"/>
                  <a:gd name="T23" fmla="*/ 234 h 256"/>
                  <a:gd name="T24" fmla="*/ 138 w 266"/>
                  <a:gd name="T25" fmla="*/ 245 h 256"/>
                  <a:gd name="T26" fmla="*/ 128 w 266"/>
                  <a:gd name="T27" fmla="*/ 256 h 256"/>
                  <a:gd name="T28" fmla="*/ 0 w 266"/>
                  <a:gd name="T29" fmla="*/ 128 h 256"/>
                  <a:gd name="T30" fmla="*/ 128 w 266"/>
                  <a:gd name="T31" fmla="*/ 0 h 256"/>
                  <a:gd name="T32" fmla="*/ 256 w 266"/>
                  <a:gd name="T33" fmla="*/ 128 h 256"/>
                  <a:gd name="T34" fmla="*/ 231 w 266"/>
                  <a:gd name="T35" fmla="*/ 202 h 256"/>
                  <a:gd name="T36" fmla="*/ 256 w 266"/>
                  <a:gd name="T37" fmla="*/ 202 h 256"/>
                  <a:gd name="T38" fmla="*/ 266 w 266"/>
                  <a:gd name="T39" fmla="*/ 213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6" h="256">
                    <a:moveTo>
                      <a:pt x="266" y="213"/>
                    </a:moveTo>
                    <a:cubicBezTo>
                      <a:pt x="266" y="219"/>
                      <a:pt x="262" y="224"/>
                      <a:pt x="256" y="224"/>
                    </a:cubicBezTo>
                    <a:cubicBezTo>
                      <a:pt x="202" y="224"/>
                      <a:pt x="202" y="224"/>
                      <a:pt x="202" y="224"/>
                    </a:cubicBezTo>
                    <a:cubicBezTo>
                      <a:pt x="196" y="224"/>
                      <a:pt x="192" y="219"/>
                      <a:pt x="192" y="213"/>
                    </a:cubicBezTo>
                    <a:cubicBezTo>
                      <a:pt x="192" y="160"/>
                      <a:pt x="192" y="160"/>
                      <a:pt x="192" y="160"/>
                    </a:cubicBezTo>
                    <a:cubicBezTo>
                      <a:pt x="192" y="154"/>
                      <a:pt x="196" y="149"/>
                      <a:pt x="202" y="149"/>
                    </a:cubicBezTo>
                    <a:cubicBezTo>
                      <a:pt x="208" y="149"/>
                      <a:pt x="213" y="154"/>
                      <a:pt x="213" y="160"/>
                    </a:cubicBezTo>
                    <a:cubicBezTo>
                      <a:pt x="213" y="192"/>
                      <a:pt x="213" y="192"/>
                      <a:pt x="213" y="192"/>
                    </a:cubicBezTo>
                    <a:cubicBezTo>
                      <a:pt x="227" y="173"/>
                      <a:pt x="234" y="151"/>
                      <a:pt x="234" y="128"/>
                    </a:cubicBezTo>
                    <a:cubicBezTo>
                      <a:pt x="234" y="69"/>
                      <a:pt x="186" y="21"/>
                      <a:pt x="128" y="21"/>
                    </a:cubicBezTo>
                    <a:cubicBezTo>
                      <a:pt x="69" y="21"/>
                      <a:pt x="21" y="69"/>
                      <a:pt x="21" y="128"/>
                    </a:cubicBezTo>
                    <a:cubicBezTo>
                      <a:pt x="21" y="186"/>
                      <a:pt x="69" y="234"/>
                      <a:pt x="128" y="234"/>
                    </a:cubicBezTo>
                    <a:cubicBezTo>
                      <a:pt x="134" y="234"/>
                      <a:pt x="138" y="239"/>
                      <a:pt x="138" y="245"/>
                    </a:cubicBezTo>
                    <a:cubicBezTo>
                      <a:pt x="138" y="251"/>
                      <a:pt x="134" y="256"/>
                      <a:pt x="128" y="256"/>
                    </a:cubicBezTo>
                    <a:cubicBezTo>
                      <a:pt x="57" y="256"/>
                      <a:pt x="0" y="198"/>
                      <a:pt x="0" y="128"/>
                    </a:cubicBezTo>
                    <a:cubicBezTo>
                      <a:pt x="0" y="57"/>
                      <a:pt x="57" y="0"/>
                      <a:pt x="128" y="0"/>
                    </a:cubicBezTo>
                    <a:cubicBezTo>
                      <a:pt x="198" y="0"/>
                      <a:pt x="256" y="57"/>
                      <a:pt x="256" y="128"/>
                    </a:cubicBezTo>
                    <a:cubicBezTo>
                      <a:pt x="256" y="155"/>
                      <a:pt x="247" y="181"/>
                      <a:pt x="231" y="202"/>
                    </a:cubicBezTo>
                    <a:cubicBezTo>
                      <a:pt x="256" y="202"/>
                      <a:pt x="256" y="202"/>
                      <a:pt x="256" y="202"/>
                    </a:cubicBezTo>
                    <a:cubicBezTo>
                      <a:pt x="262" y="202"/>
                      <a:pt x="266" y="207"/>
                      <a:pt x="266" y="213"/>
                    </a:cubicBezTo>
                    <a:close/>
                  </a:path>
                </a:pathLst>
              </a:custGeom>
              <a:solidFill>
                <a:schemeClr val="bg1">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0" name="Freeform 579">
                <a:extLst>
                  <a:ext uri="{FF2B5EF4-FFF2-40B4-BE49-F238E27FC236}">
                    <a16:creationId xmlns:a16="http://schemas.microsoft.com/office/drawing/2014/main" id="{F0EDD4A9-0794-4936-9E4F-40483189C7D1}"/>
                  </a:ext>
                </a:extLst>
              </p:cNvPr>
              <p:cNvSpPr>
                <a:spLocks noEditPoints="1"/>
              </p:cNvSpPr>
              <p:nvPr/>
            </p:nvSpPr>
            <p:spPr bwMode="auto">
              <a:xfrm>
                <a:off x="7356" y="231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bg1">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sp>
        <p:nvSpPr>
          <p:cNvPr id="61" name="TextBox 60">
            <a:extLst>
              <a:ext uri="{FF2B5EF4-FFF2-40B4-BE49-F238E27FC236}">
                <a16:creationId xmlns:a16="http://schemas.microsoft.com/office/drawing/2014/main" id="{85E0E4FD-30AD-4A31-A8A9-80A8986090C9}"/>
              </a:ext>
            </a:extLst>
          </p:cNvPr>
          <p:cNvSpPr txBox="1"/>
          <p:nvPr/>
        </p:nvSpPr>
        <p:spPr>
          <a:xfrm>
            <a:off x="1030066" y="4007510"/>
            <a:ext cx="1525255" cy="1692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srgbClr val="FFFFFF">
                    <a:lumMod val="65000"/>
                  </a:srgbClr>
                </a:solidFill>
                <a:effectLst/>
                <a:uLnTx/>
                <a:uFillTx/>
                <a:latin typeface="Open Sans"/>
                <a:ea typeface="+mn-ea"/>
                <a:cs typeface="+mn-cs"/>
              </a:rPr>
              <a:t>find inspiration</a:t>
            </a:r>
          </a:p>
        </p:txBody>
      </p:sp>
      <p:grpSp>
        <p:nvGrpSpPr>
          <p:cNvPr id="62" name="Group 61">
            <a:extLst>
              <a:ext uri="{FF2B5EF4-FFF2-40B4-BE49-F238E27FC236}">
                <a16:creationId xmlns:a16="http://schemas.microsoft.com/office/drawing/2014/main" id="{D87A482C-9A84-4C4B-8B73-7ABBD0B5F202}"/>
              </a:ext>
            </a:extLst>
          </p:cNvPr>
          <p:cNvGrpSpPr/>
          <p:nvPr/>
        </p:nvGrpSpPr>
        <p:grpSpPr>
          <a:xfrm>
            <a:off x="1609813" y="3506341"/>
            <a:ext cx="365760" cy="365760"/>
            <a:chOff x="1454807" y="3117282"/>
            <a:chExt cx="365760" cy="365760"/>
          </a:xfrm>
        </p:grpSpPr>
        <p:sp>
          <p:nvSpPr>
            <p:cNvPr id="63" name="Oval 62">
              <a:extLst>
                <a:ext uri="{FF2B5EF4-FFF2-40B4-BE49-F238E27FC236}">
                  <a16:creationId xmlns:a16="http://schemas.microsoft.com/office/drawing/2014/main" id="{17739E36-0C59-426B-BCEA-24CC226AAD74}"/>
                </a:ext>
              </a:extLst>
            </p:cNvPr>
            <p:cNvSpPr/>
            <p:nvPr/>
          </p:nvSpPr>
          <p:spPr>
            <a:xfrm>
              <a:off x="1454807" y="3117282"/>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64" name="Group 63">
              <a:extLst>
                <a:ext uri="{FF2B5EF4-FFF2-40B4-BE49-F238E27FC236}">
                  <a16:creationId xmlns:a16="http://schemas.microsoft.com/office/drawing/2014/main" id="{11A5F7C2-3B5B-495B-9191-EDC84FFC48B1}"/>
                </a:ext>
              </a:extLst>
            </p:cNvPr>
            <p:cNvGrpSpPr/>
            <p:nvPr/>
          </p:nvGrpSpPr>
          <p:grpSpPr>
            <a:xfrm>
              <a:off x="1454807" y="3117282"/>
              <a:ext cx="365760" cy="365760"/>
              <a:chOff x="1611284" y="1882980"/>
              <a:chExt cx="365760" cy="365760"/>
            </a:xfrm>
          </p:grpSpPr>
          <p:sp>
            <p:nvSpPr>
              <p:cNvPr id="65" name="Freeform 533">
                <a:extLst>
                  <a:ext uri="{FF2B5EF4-FFF2-40B4-BE49-F238E27FC236}">
                    <a16:creationId xmlns:a16="http://schemas.microsoft.com/office/drawing/2014/main" id="{9A21BAE4-F41C-4D7C-95E8-B6B4668F8986}"/>
                  </a:ext>
                </a:extLst>
              </p:cNvPr>
              <p:cNvSpPr>
                <a:spLocks noEditPoints="1"/>
              </p:cNvSpPr>
              <p:nvPr/>
            </p:nvSpPr>
            <p:spPr bwMode="auto">
              <a:xfrm>
                <a:off x="1611284" y="1882980"/>
                <a:ext cx="365760" cy="36576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bg1">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6" name="Freeform 534">
                <a:extLst>
                  <a:ext uri="{FF2B5EF4-FFF2-40B4-BE49-F238E27FC236}">
                    <a16:creationId xmlns:a16="http://schemas.microsoft.com/office/drawing/2014/main" id="{CDA40DCE-C0B9-45AB-B2D7-EB06FC55C0A7}"/>
                  </a:ext>
                </a:extLst>
              </p:cNvPr>
              <p:cNvSpPr>
                <a:spLocks noEditPoints="1"/>
              </p:cNvSpPr>
              <p:nvPr/>
            </p:nvSpPr>
            <p:spPr bwMode="auto">
              <a:xfrm>
                <a:off x="1725315" y="1958284"/>
                <a:ext cx="137698" cy="214077"/>
              </a:xfrm>
              <a:custGeom>
                <a:avLst/>
                <a:gdLst>
                  <a:gd name="T0" fmla="*/ 179 w 194"/>
                  <a:gd name="T1" fmla="*/ 151 h 300"/>
                  <a:gd name="T2" fmla="*/ 115 w 194"/>
                  <a:gd name="T3" fmla="*/ 167 h 300"/>
                  <a:gd name="T4" fmla="*/ 107 w 194"/>
                  <a:gd name="T5" fmla="*/ 177 h 300"/>
                  <a:gd name="T6" fmla="*/ 107 w 194"/>
                  <a:gd name="T7" fmla="*/ 225 h 300"/>
                  <a:gd name="T8" fmla="*/ 86 w 194"/>
                  <a:gd name="T9" fmla="*/ 225 h 300"/>
                  <a:gd name="T10" fmla="*/ 86 w 194"/>
                  <a:gd name="T11" fmla="*/ 193 h 300"/>
                  <a:gd name="T12" fmla="*/ 75 w 194"/>
                  <a:gd name="T13" fmla="*/ 183 h 300"/>
                  <a:gd name="T14" fmla="*/ 65 w 194"/>
                  <a:gd name="T15" fmla="*/ 193 h 300"/>
                  <a:gd name="T16" fmla="*/ 65 w 194"/>
                  <a:gd name="T17" fmla="*/ 225 h 300"/>
                  <a:gd name="T18" fmla="*/ 54 w 194"/>
                  <a:gd name="T19" fmla="*/ 225 h 300"/>
                  <a:gd name="T20" fmla="*/ 46 w 194"/>
                  <a:gd name="T21" fmla="*/ 229 h 300"/>
                  <a:gd name="T22" fmla="*/ 44 w 194"/>
                  <a:gd name="T23" fmla="*/ 238 h 300"/>
                  <a:gd name="T24" fmla="*/ 54 w 194"/>
                  <a:gd name="T25" fmla="*/ 291 h 300"/>
                  <a:gd name="T26" fmla="*/ 65 w 194"/>
                  <a:gd name="T27" fmla="*/ 300 h 300"/>
                  <a:gd name="T28" fmla="*/ 129 w 194"/>
                  <a:gd name="T29" fmla="*/ 300 h 300"/>
                  <a:gd name="T30" fmla="*/ 139 w 194"/>
                  <a:gd name="T31" fmla="*/ 291 h 300"/>
                  <a:gd name="T32" fmla="*/ 150 w 194"/>
                  <a:gd name="T33" fmla="*/ 238 h 300"/>
                  <a:gd name="T34" fmla="*/ 148 w 194"/>
                  <a:gd name="T35" fmla="*/ 229 h 300"/>
                  <a:gd name="T36" fmla="*/ 139 w 194"/>
                  <a:gd name="T37" fmla="*/ 225 h 300"/>
                  <a:gd name="T38" fmla="*/ 129 w 194"/>
                  <a:gd name="T39" fmla="*/ 225 h 300"/>
                  <a:gd name="T40" fmla="*/ 129 w 194"/>
                  <a:gd name="T41" fmla="*/ 186 h 300"/>
                  <a:gd name="T42" fmla="*/ 185 w 194"/>
                  <a:gd name="T43" fmla="*/ 172 h 300"/>
                  <a:gd name="T44" fmla="*/ 192 w 194"/>
                  <a:gd name="T45" fmla="*/ 159 h 300"/>
                  <a:gd name="T46" fmla="*/ 179 w 194"/>
                  <a:gd name="T47" fmla="*/ 151 h 300"/>
                  <a:gd name="T48" fmla="*/ 120 w 194"/>
                  <a:gd name="T49" fmla="*/ 279 h 300"/>
                  <a:gd name="T50" fmla="*/ 73 w 194"/>
                  <a:gd name="T51" fmla="*/ 279 h 300"/>
                  <a:gd name="T52" fmla="*/ 67 w 194"/>
                  <a:gd name="T53" fmla="*/ 247 h 300"/>
                  <a:gd name="T54" fmla="*/ 126 w 194"/>
                  <a:gd name="T55" fmla="*/ 247 h 300"/>
                  <a:gd name="T56" fmla="*/ 120 w 194"/>
                  <a:gd name="T57" fmla="*/ 279 h 300"/>
                  <a:gd name="T58" fmla="*/ 192 w 194"/>
                  <a:gd name="T59" fmla="*/ 73 h 300"/>
                  <a:gd name="T60" fmla="*/ 185 w 194"/>
                  <a:gd name="T61" fmla="*/ 86 h 300"/>
                  <a:gd name="T62" fmla="*/ 14 w 194"/>
                  <a:gd name="T63" fmla="*/ 129 h 300"/>
                  <a:gd name="T64" fmla="*/ 11 w 194"/>
                  <a:gd name="T65" fmla="*/ 129 h 300"/>
                  <a:gd name="T66" fmla="*/ 1 w 194"/>
                  <a:gd name="T67" fmla="*/ 121 h 300"/>
                  <a:gd name="T68" fmla="*/ 9 w 194"/>
                  <a:gd name="T69" fmla="*/ 108 h 300"/>
                  <a:gd name="T70" fmla="*/ 179 w 194"/>
                  <a:gd name="T71" fmla="*/ 66 h 300"/>
                  <a:gd name="T72" fmla="*/ 192 w 194"/>
                  <a:gd name="T73" fmla="*/ 73 h 300"/>
                  <a:gd name="T74" fmla="*/ 192 w 194"/>
                  <a:gd name="T75" fmla="*/ 116 h 300"/>
                  <a:gd name="T76" fmla="*/ 185 w 194"/>
                  <a:gd name="T77" fmla="*/ 129 h 300"/>
                  <a:gd name="T78" fmla="*/ 14 w 194"/>
                  <a:gd name="T79" fmla="*/ 172 h 300"/>
                  <a:gd name="T80" fmla="*/ 11 w 194"/>
                  <a:gd name="T81" fmla="*/ 172 h 300"/>
                  <a:gd name="T82" fmla="*/ 1 w 194"/>
                  <a:gd name="T83" fmla="*/ 164 h 300"/>
                  <a:gd name="T84" fmla="*/ 9 w 194"/>
                  <a:gd name="T85" fmla="*/ 151 h 300"/>
                  <a:gd name="T86" fmla="*/ 179 w 194"/>
                  <a:gd name="T87" fmla="*/ 108 h 300"/>
                  <a:gd name="T88" fmla="*/ 192 w 194"/>
                  <a:gd name="T89" fmla="*/ 116 h 300"/>
                  <a:gd name="T90" fmla="*/ 1 w 194"/>
                  <a:gd name="T91" fmla="*/ 36 h 300"/>
                  <a:gd name="T92" fmla="*/ 9 w 194"/>
                  <a:gd name="T93" fmla="*/ 23 h 300"/>
                  <a:gd name="T94" fmla="*/ 94 w 194"/>
                  <a:gd name="T95" fmla="*/ 2 h 300"/>
                  <a:gd name="T96" fmla="*/ 107 w 194"/>
                  <a:gd name="T97" fmla="*/ 9 h 300"/>
                  <a:gd name="T98" fmla="*/ 99 w 194"/>
                  <a:gd name="T99" fmla="*/ 22 h 300"/>
                  <a:gd name="T100" fmla="*/ 14 w 194"/>
                  <a:gd name="T101" fmla="*/ 44 h 300"/>
                  <a:gd name="T102" fmla="*/ 11 w 194"/>
                  <a:gd name="T103" fmla="*/ 44 h 300"/>
                  <a:gd name="T104" fmla="*/ 1 w 194"/>
                  <a:gd name="T105" fmla="*/ 36 h 300"/>
                  <a:gd name="T106" fmla="*/ 1 w 194"/>
                  <a:gd name="T107" fmla="*/ 79 h 300"/>
                  <a:gd name="T108" fmla="*/ 9 w 194"/>
                  <a:gd name="T109" fmla="*/ 66 h 300"/>
                  <a:gd name="T110" fmla="*/ 179 w 194"/>
                  <a:gd name="T111" fmla="*/ 23 h 300"/>
                  <a:gd name="T112" fmla="*/ 192 w 194"/>
                  <a:gd name="T113" fmla="*/ 31 h 300"/>
                  <a:gd name="T114" fmla="*/ 185 w 194"/>
                  <a:gd name="T115" fmla="*/ 44 h 300"/>
                  <a:gd name="T116" fmla="*/ 14 w 194"/>
                  <a:gd name="T117" fmla="*/ 86 h 300"/>
                  <a:gd name="T118" fmla="*/ 11 w 194"/>
                  <a:gd name="T119" fmla="*/ 87 h 300"/>
                  <a:gd name="T120" fmla="*/ 1 w 194"/>
                  <a:gd name="T121" fmla="*/ 7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4" h="300">
                    <a:moveTo>
                      <a:pt x="179" y="151"/>
                    </a:moveTo>
                    <a:cubicBezTo>
                      <a:pt x="115" y="167"/>
                      <a:pt x="115" y="167"/>
                      <a:pt x="115" y="167"/>
                    </a:cubicBezTo>
                    <a:cubicBezTo>
                      <a:pt x="111" y="168"/>
                      <a:pt x="107" y="172"/>
                      <a:pt x="107" y="177"/>
                    </a:cubicBezTo>
                    <a:cubicBezTo>
                      <a:pt x="107" y="225"/>
                      <a:pt x="107" y="225"/>
                      <a:pt x="107" y="225"/>
                    </a:cubicBezTo>
                    <a:cubicBezTo>
                      <a:pt x="86" y="225"/>
                      <a:pt x="86" y="225"/>
                      <a:pt x="86" y="225"/>
                    </a:cubicBezTo>
                    <a:cubicBezTo>
                      <a:pt x="86" y="193"/>
                      <a:pt x="86" y="193"/>
                      <a:pt x="86" y="193"/>
                    </a:cubicBezTo>
                    <a:cubicBezTo>
                      <a:pt x="86" y="187"/>
                      <a:pt x="81" y="183"/>
                      <a:pt x="75" y="183"/>
                    </a:cubicBezTo>
                    <a:cubicBezTo>
                      <a:pt x="69" y="183"/>
                      <a:pt x="65" y="187"/>
                      <a:pt x="65" y="193"/>
                    </a:cubicBezTo>
                    <a:cubicBezTo>
                      <a:pt x="65" y="225"/>
                      <a:pt x="65" y="225"/>
                      <a:pt x="65" y="225"/>
                    </a:cubicBezTo>
                    <a:cubicBezTo>
                      <a:pt x="54" y="225"/>
                      <a:pt x="54" y="225"/>
                      <a:pt x="54" y="225"/>
                    </a:cubicBezTo>
                    <a:cubicBezTo>
                      <a:pt x="51" y="225"/>
                      <a:pt x="48" y="227"/>
                      <a:pt x="46" y="229"/>
                    </a:cubicBezTo>
                    <a:cubicBezTo>
                      <a:pt x="44" y="232"/>
                      <a:pt x="43" y="235"/>
                      <a:pt x="44" y="238"/>
                    </a:cubicBezTo>
                    <a:cubicBezTo>
                      <a:pt x="54" y="291"/>
                      <a:pt x="54" y="291"/>
                      <a:pt x="54" y="291"/>
                    </a:cubicBezTo>
                    <a:cubicBezTo>
                      <a:pt x="55" y="296"/>
                      <a:pt x="60" y="300"/>
                      <a:pt x="65" y="300"/>
                    </a:cubicBezTo>
                    <a:cubicBezTo>
                      <a:pt x="129" y="300"/>
                      <a:pt x="129" y="300"/>
                      <a:pt x="129" y="300"/>
                    </a:cubicBezTo>
                    <a:cubicBezTo>
                      <a:pt x="134" y="300"/>
                      <a:pt x="138" y="296"/>
                      <a:pt x="139" y="291"/>
                    </a:cubicBezTo>
                    <a:cubicBezTo>
                      <a:pt x="150" y="238"/>
                      <a:pt x="150" y="238"/>
                      <a:pt x="150" y="238"/>
                    </a:cubicBezTo>
                    <a:cubicBezTo>
                      <a:pt x="150" y="235"/>
                      <a:pt x="150" y="232"/>
                      <a:pt x="148" y="229"/>
                    </a:cubicBezTo>
                    <a:cubicBezTo>
                      <a:pt x="146" y="227"/>
                      <a:pt x="143" y="225"/>
                      <a:pt x="139" y="225"/>
                    </a:cubicBezTo>
                    <a:cubicBezTo>
                      <a:pt x="129" y="225"/>
                      <a:pt x="129" y="225"/>
                      <a:pt x="129" y="225"/>
                    </a:cubicBezTo>
                    <a:cubicBezTo>
                      <a:pt x="129" y="186"/>
                      <a:pt x="129" y="186"/>
                      <a:pt x="129" y="186"/>
                    </a:cubicBezTo>
                    <a:cubicBezTo>
                      <a:pt x="185" y="172"/>
                      <a:pt x="185" y="172"/>
                      <a:pt x="185" y="172"/>
                    </a:cubicBezTo>
                    <a:cubicBezTo>
                      <a:pt x="190" y="170"/>
                      <a:pt x="194" y="164"/>
                      <a:pt x="192" y="159"/>
                    </a:cubicBezTo>
                    <a:cubicBezTo>
                      <a:pt x="191" y="153"/>
                      <a:pt x="185" y="150"/>
                      <a:pt x="179" y="151"/>
                    </a:cubicBezTo>
                    <a:close/>
                    <a:moveTo>
                      <a:pt x="120" y="279"/>
                    </a:moveTo>
                    <a:cubicBezTo>
                      <a:pt x="73" y="279"/>
                      <a:pt x="73" y="279"/>
                      <a:pt x="73" y="279"/>
                    </a:cubicBezTo>
                    <a:cubicBezTo>
                      <a:pt x="67" y="247"/>
                      <a:pt x="67" y="247"/>
                      <a:pt x="67" y="247"/>
                    </a:cubicBezTo>
                    <a:cubicBezTo>
                      <a:pt x="126" y="247"/>
                      <a:pt x="126" y="247"/>
                      <a:pt x="126" y="247"/>
                    </a:cubicBezTo>
                    <a:lnTo>
                      <a:pt x="120" y="279"/>
                    </a:lnTo>
                    <a:close/>
                    <a:moveTo>
                      <a:pt x="192" y="73"/>
                    </a:moveTo>
                    <a:cubicBezTo>
                      <a:pt x="194" y="79"/>
                      <a:pt x="190" y="85"/>
                      <a:pt x="185" y="86"/>
                    </a:cubicBezTo>
                    <a:cubicBezTo>
                      <a:pt x="14" y="129"/>
                      <a:pt x="14" y="129"/>
                      <a:pt x="14" y="129"/>
                    </a:cubicBezTo>
                    <a:cubicBezTo>
                      <a:pt x="13" y="129"/>
                      <a:pt x="12" y="129"/>
                      <a:pt x="11" y="129"/>
                    </a:cubicBezTo>
                    <a:cubicBezTo>
                      <a:pt x="7" y="129"/>
                      <a:pt x="2" y="126"/>
                      <a:pt x="1" y="121"/>
                    </a:cubicBezTo>
                    <a:cubicBezTo>
                      <a:pt x="0" y="116"/>
                      <a:pt x="3" y="110"/>
                      <a:pt x="9" y="108"/>
                    </a:cubicBezTo>
                    <a:cubicBezTo>
                      <a:pt x="179" y="66"/>
                      <a:pt x="179" y="66"/>
                      <a:pt x="179" y="66"/>
                    </a:cubicBezTo>
                    <a:cubicBezTo>
                      <a:pt x="185" y="64"/>
                      <a:pt x="191" y="68"/>
                      <a:pt x="192" y="73"/>
                    </a:cubicBezTo>
                    <a:close/>
                    <a:moveTo>
                      <a:pt x="192" y="116"/>
                    </a:moveTo>
                    <a:cubicBezTo>
                      <a:pt x="194" y="122"/>
                      <a:pt x="190" y="128"/>
                      <a:pt x="185" y="129"/>
                    </a:cubicBezTo>
                    <a:cubicBezTo>
                      <a:pt x="14" y="172"/>
                      <a:pt x="14" y="172"/>
                      <a:pt x="14" y="172"/>
                    </a:cubicBezTo>
                    <a:cubicBezTo>
                      <a:pt x="13" y="172"/>
                      <a:pt x="12" y="172"/>
                      <a:pt x="11" y="172"/>
                    </a:cubicBezTo>
                    <a:cubicBezTo>
                      <a:pt x="7" y="172"/>
                      <a:pt x="2" y="169"/>
                      <a:pt x="1" y="164"/>
                    </a:cubicBezTo>
                    <a:cubicBezTo>
                      <a:pt x="0" y="158"/>
                      <a:pt x="3" y="152"/>
                      <a:pt x="9" y="151"/>
                    </a:cubicBezTo>
                    <a:cubicBezTo>
                      <a:pt x="179" y="108"/>
                      <a:pt x="179" y="108"/>
                      <a:pt x="179" y="108"/>
                    </a:cubicBezTo>
                    <a:cubicBezTo>
                      <a:pt x="185" y="107"/>
                      <a:pt x="191" y="110"/>
                      <a:pt x="192" y="116"/>
                    </a:cubicBezTo>
                    <a:close/>
                    <a:moveTo>
                      <a:pt x="1" y="36"/>
                    </a:moveTo>
                    <a:cubicBezTo>
                      <a:pt x="0" y="30"/>
                      <a:pt x="3" y="24"/>
                      <a:pt x="9" y="23"/>
                    </a:cubicBezTo>
                    <a:cubicBezTo>
                      <a:pt x="94" y="2"/>
                      <a:pt x="94" y="2"/>
                      <a:pt x="94" y="2"/>
                    </a:cubicBezTo>
                    <a:cubicBezTo>
                      <a:pt x="100" y="0"/>
                      <a:pt x="106" y="4"/>
                      <a:pt x="107" y="9"/>
                    </a:cubicBezTo>
                    <a:cubicBezTo>
                      <a:pt x="108" y="15"/>
                      <a:pt x="105" y="21"/>
                      <a:pt x="99" y="22"/>
                    </a:cubicBezTo>
                    <a:cubicBezTo>
                      <a:pt x="14" y="44"/>
                      <a:pt x="14" y="44"/>
                      <a:pt x="14" y="44"/>
                    </a:cubicBezTo>
                    <a:cubicBezTo>
                      <a:pt x="13" y="44"/>
                      <a:pt x="12" y="44"/>
                      <a:pt x="11" y="44"/>
                    </a:cubicBezTo>
                    <a:cubicBezTo>
                      <a:pt x="7" y="44"/>
                      <a:pt x="2" y="41"/>
                      <a:pt x="1" y="36"/>
                    </a:cubicBezTo>
                    <a:close/>
                    <a:moveTo>
                      <a:pt x="1" y="79"/>
                    </a:moveTo>
                    <a:cubicBezTo>
                      <a:pt x="0" y="73"/>
                      <a:pt x="3" y="67"/>
                      <a:pt x="9" y="66"/>
                    </a:cubicBezTo>
                    <a:cubicBezTo>
                      <a:pt x="179" y="23"/>
                      <a:pt x="179" y="23"/>
                      <a:pt x="179" y="23"/>
                    </a:cubicBezTo>
                    <a:cubicBezTo>
                      <a:pt x="185" y="22"/>
                      <a:pt x="191" y="25"/>
                      <a:pt x="192" y="31"/>
                    </a:cubicBezTo>
                    <a:cubicBezTo>
                      <a:pt x="194" y="36"/>
                      <a:pt x="190" y="42"/>
                      <a:pt x="185" y="44"/>
                    </a:cubicBezTo>
                    <a:cubicBezTo>
                      <a:pt x="14" y="86"/>
                      <a:pt x="14" y="86"/>
                      <a:pt x="14" y="86"/>
                    </a:cubicBezTo>
                    <a:cubicBezTo>
                      <a:pt x="13" y="87"/>
                      <a:pt x="12" y="87"/>
                      <a:pt x="11" y="87"/>
                    </a:cubicBezTo>
                    <a:cubicBezTo>
                      <a:pt x="7" y="87"/>
                      <a:pt x="2" y="83"/>
                      <a:pt x="1" y="79"/>
                    </a:cubicBezTo>
                    <a:close/>
                  </a:path>
                </a:pathLst>
              </a:custGeom>
              <a:solidFill>
                <a:schemeClr val="bg1">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sp>
        <p:nvSpPr>
          <p:cNvPr id="67" name="TextBox 66">
            <a:extLst>
              <a:ext uri="{FF2B5EF4-FFF2-40B4-BE49-F238E27FC236}">
                <a16:creationId xmlns:a16="http://schemas.microsoft.com/office/drawing/2014/main" id="{1DE924A0-EC56-418B-BF06-2103A3D56460}"/>
              </a:ext>
            </a:extLst>
          </p:cNvPr>
          <p:cNvSpPr txBox="1"/>
          <p:nvPr/>
        </p:nvSpPr>
        <p:spPr>
          <a:xfrm>
            <a:off x="3095556" y="4367299"/>
            <a:ext cx="1525255" cy="1692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srgbClr val="FFFFFF">
                    <a:lumMod val="65000"/>
                  </a:srgbClr>
                </a:solidFill>
                <a:effectLst/>
                <a:uLnTx/>
                <a:uFillTx/>
                <a:latin typeface="Open Sans"/>
                <a:ea typeface="+mn-ea"/>
                <a:cs typeface="+mn-cs"/>
              </a:rPr>
              <a:t>browse &amp; research</a:t>
            </a:r>
          </a:p>
        </p:txBody>
      </p:sp>
      <p:grpSp>
        <p:nvGrpSpPr>
          <p:cNvPr id="68" name="Group 67">
            <a:extLst>
              <a:ext uri="{FF2B5EF4-FFF2-40B4-BE49-F238E27FC236}">
                <a16:creationId xmlns:a16="http://schemas.microsoft.com/office/drawing/2014/main" id="{D882123B-F267-4DF8-9977-BABCD03D14D1}"/>
              </a:ext>
            </a:extLst>
          </p:cNvPr>
          <p:cNvGrpSpPr/>
          <p:nvPr/>
        </p:nvGrpSpPr>
        <p:grpSpPr>
          <a:xfrm>
            <a:off x="3675303" y="3953722"/>
            <a:ext cx="365760" cy="365760"/>
            <a:chOff x="1251198" y="3341275"/>
            <a:chExt cx="365760" cy="365760"/>
          </a:xfrm>
        </p:grpSpPr>
        <p:sp>
          <p:nvSpPr>
            <p:cNvPr id="69" name="Oval 68">
              <a:extLst>
                <a:ext uri="{FF2B5EF4-FFF2-40B4-BE49-F238E27FC236}">
                  <a16:creationId xmlns:a16="http://schemas.microsoft.com/office/drawing/2014/main" id="{D19B8FE1-BFF1-4A02-80DF-1004B893B41B}"/>
                </a:ext>
              </a:extLst>
            </p:cNvPr>
            <p:cNvSpPr/>
            <p:nvPr/>
          </p:nvSpPr>
          <p:spPr>
            <a:xfrm>
              <a:off x="1251198" y="3341275"/>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111" name="Group 892">
              <a:extLst>
                <a:ext uri="{FF2B5EF4-FFF2-40B4-BE49-F238E27FC236}">
                  <a16:creationId xmlns:a16="http://schemas.microsoft.com/office/drawing/2014/main" id="{46D90556-E66B-4FAE-B04C-DEC982DD6985}"/>
                </a:ext>
              </a:extLst>
            </p:cNvPr>
            <p:cNvGrpSpPr>
              <a:grpSpLocks noChangeAspect="1"/>
            </p:cNvGrpSpPr>
            <p:nvPr/>
          </p:nvGrpSpPr>
          <p:grpSpPr bwMode="auto">
            <a:xfrm>
              <a:off x="1251734" y="3341275"/>
              <a:ext cx="364688" cy="365760"/>
              <a:chOff x="4270" y="3457"/>
              <a:chExt cx="340" cy="341"/>
            </a:xfrm>
            <a:solidFill>
              <a:schemeClr val="accent1"/>
            </a:solidFill>
          </p:grpSpPr>
          <p:sp>
            <p:nvSpPr>
              <p:cNvPr id="112" name="Freeform 893">
                <a:extLst>
                  <a:ext uri="{FF2B5EF4-FFF2-40B4-BE49-F238E27FC236}">
                    <a16:creationId xmlns:a16="http://schemas.microsoft.com/office/drawing/2014/main" id="{4EBD5379-F878-4593-B117-074D33E080CB}"/>
                  </a:ext>
                </a:extLst>
              </p:cNvPr>
              <p:cNvSpPr>
                <a:spLocks noEditPoints="1"/>
              </p:cNvSpPr>
              <p:nvPr/>
            </p:nvSpPr>
            <p:spPr bwMode="auto">
              <a:xfrm>
                <a:off x="4334" y="3521"/>
                <a:ext cx="192" cy="192"/>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solidFill>
                <a:schemeClr val="bg1">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3" name="Freeform 894">
                <a:extLst>
                  <a:ext uri="{FF2B5EF4-FFF2-40B4-BE49-F238E27FC236}">
                    <a16:creationId xmlns:a16="http://schemas.microsoft.com/office/drawing/2014/main" id="{94F9748D-BB30-40D6-80AF-471F59D97E47}"/>
                  </a:ext>
                </a:extLst>
              </p:cNvPr>
              <p:cNvSpPr>
                <a:spLocks noEditPoints="1"/>
              </p:cNvSpPr>
              <p:nvPr/>
            </p:nvSpPr>
            <p:spPr bwMode="auto">
              <a:xfrm>
                <a:off x="4270" y="34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bg1">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sp>
        <p:nvSpPr>
          <p:cNvPr id="114" name="TextBox 113">
            <a:extLst>
              <a:ext uri="{FF2B5EF4-FFF2-40B4-BE49-F238E27FC236}">
                <a16:creationId xmlns:a16="http://schemas.microsoft.com/office/drawing/2014/main" id="{88515179-7C61-444A-A671-B3BE4EBEDCA7}"/>
              </a:ext>
            </a:extLst>
          </p:cNvPr>
          <p:cNvSpPr txBox="1"/>
          <p:nvPr/>
        </p:nvSpPr>
        <p:spPr>
          <a:xfrm>
            <a:off x="5161046" y="4789083"/>
            <a:ext cx="1525255" cy="1692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srgbClr val="FFFFFF">
                    <a:lumMod val="65000"/>
                  </a:srgbClr>
                </a:solidFill>
                <a:effectLst/>
                <a:uLnTx/>
                <a:uFillTx/>
                <a:latin typeface="Open Sans"/>
                <a:ea typeface="+mn-ea"/>
                <a:cs typeface="+mn-cs"/>
              </a:rPr>
              <a:t>select &amp; validate</a:t>
            </a:r>
          </a:p>
        </p:txBody>
      </p:sp>
      <p:grpSp>
        <p:nvGrpSpPr>
          <p:cNvPr id="115" name="Group 114">
            <a:extLst>
              <a:ext uri="{FF2B5EF4-FFF2-40B4-BE49-F238E27FC236}">
                <a16:creationId xmlns:a16="http://schemas.microsoft.com/office/drawing/2014/main" id="{59FB2432-D575-4596-9423-2DD89473B3DA}"/>
              </a:ext>
            </a:extLst>
          </p:cNvPr>
          <p:cNvGrpSpPr/>
          <p:nvPr/>
        </p:nvGrpSpPr>
        <p:grpSpPr>
          <a:xfrm rot="21380605">
            <a:off x="5740793" y="4370367"/>
            <a:ext cx="365760" cy="365760"/>
            <a:chOff x="1233776" y="4095179"/>
            <a:chExt cx="365760" cy="365760"/>
          </a:xfrm>
        </p:grpSpPr>
        <p:sp>
          <p:nvSpPr>
            <p:cNvPr id="116" name="Oval 115">
              <a:extLst>
                <a:ext uri="{FF2B5EF4-FFF2-40B4-BE49-F238E27FC236}">
                  <a16:creationId xmlns:a16="http://schemas.microsoft.com/office/drawing/2014/main" id="{155CBE7B-7717-46F3-BD51-E67BDF0667E7}"/>
                </a:ext>
              </a:extLst>
            </p:cNvPr>
            <p:cNvSpPr/>
            <p:nvPr/>
          </p:nvSpPr>
          <p:spPr>
            <a:xfrm>
              <a:off x="1233776" y="4095179"/>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117" name="Group 8">
              <a:extLst>
                <a:ext uri="{FF2B5EF4-FFF2-40B4-BE49-F238E27FC236}">
                  <a16:creationId xmlns:a16="http://schemas.microsoft.com/office/drawing/2014/main" id="{4DFDB8E4-BE59-44C2-A437-47853E5C9312}"/>
                </a:ext>
              </a:extLst>
            </p:cNvPr>
            <p:cNvGrpSpPr>
              <a:grpSpLocks noChangeAspect="1"/>
            </p:cNvGrpSpPr>
            <p:nvPr/>
          </p:nvGrpSpPr>
          <p:grpSpPr bwMode="auto">
            <a:xfrm>
              <a:off x="1233776" y="4095179"/>
              <a:ext cx="365760" cy="365760"/>
              <a:chOff x="1346" y="303"/>
              <a:chExt cx="340" cy="340"/>
            </a:xfrm>
            <a:solidFill>
              <a:schemeClr val="accent1"/>
            </a:solidFill>
          </p:grpSpPr>
          <p:sp>
            <p:nvSpPr>
              <p:cNvPr id="118" name="Freeform 9">
                <a:extLst>
                  <a:ext uri="{FF2B5EF4-FFF2-40B4-BE49-F238E27FC236}">
                    <a16:creationId xmlns:a16="http://schemas.microsoft.com/office/drawing/2014/main" id="{4E689384-13B2-4DF0-B823-F848EB9315F1}"/>
                  </a:ext>
                </a:extLst>
              </p:cNvPr>
              <p:cNvSpPr>
                <a:spLocks noEditPoints="1"/>
              </p:cNvSpPr>
              <p:nvPr/>
            </p:nvSpPr>
            <p:spPr bwMode="auto">
              <a:xfrm>
                <a:off x="1346" y="3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bg1">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9" name="Freeform 10">
                <a:extLst>
                  <a:ext uri="{FF2B5EF4-FFF2-40B4-BE49-F238E27FC236}">
                    <a16:creationId xmlns:a16="http://schemas.microsoft.com/office/drawing/2014/main" id="{F777A4C9-8120-45CE-9FD2-419D47C19CED}"/>
                  </a:ext>
                </a:extLst>
              </p:cNvPr>
              <p:cNvSpPr>
                <a:spLocks noEditPoints="1"/>
              </p:cNvSpPr>
              <p:nvPr/>
            </p:nvSpPr>
            <p:spPr bwMode="auto">
              <a:xfrm>
                <a:off x="1420" y="367"/>
                <a:ext cx="176" cy="212"/>
              </a:xfrm>
              <a:custGeom>
                <a:avLst/>
                <a:gdLst>
                  <a:gd name="T0" fmla="*/ 230 w 265"/>
                  <a:gd name="T1" fmla="*/ 320 h 320"/>
                  <a:gd name="T2" fmla="*/ 222 w 265"/>
                  <a:gd name="T3" fmla="*/ 302 h 320"/>
                  <a:gd name="T4" fmla="*/ 240 w 265"/>
                  <a:gd name="T5" fmla="*/ 192 h 320"/>
                  <a:gd name="T6" fmla="*/ 219 w 265"/>
                  <a:gd name="T7" fmla="*/ 190 h 320"/>
                  <a:gd name="T8" fmla="*/ 209 w 265"/>
                  <a:gd name="T9" fmla="*/ 202 h 320"/>
                  <a:gd name="T10" fmla="*/ 209 w 265"/>
                  <a:gd name="T11" fmla="*/ 202 h 320"/>
                  <a:gd name="T12" fmla="*/ 198 w 265"/>
                  <a:gd name="T13" fmla="*/ 181 h 320"/>
                  <a:gd name="T14" fmla="*/ 177 w 265"/>
                  <a:gd name="T15" fmla="*/ 181 h 320"/>
                  <a:gd name="T16" fmla="*/ 166 w 265"/>
                  <a:gd name="T17" fmla="*/ 202 h 320"/>
                  <a:gd name="T18" fmla="*/ 155 w 265"/>
                  <a:gd name="T19" fmla="*/ 160 h 320"/>
                  <a:gd name="T20" fmla="*/ 134 w 265"/>
                  <a:gd name="T21" fmla="*/ 160 h 320"/>
                  <a:gd name="T22" fmla="*/ 123 w 265"/>
                  <a:gd name="T23" fmla="*/ 202 h 320"/>
                  <a:gd name="T24" fmla="*/ 113 w 265"/>
                  <a:gd name="T25" fmla="*/ 106 h 320"/>
                  <a:gd name="T26" fmla="*/ 91 w 265"/>
                  <a:gd name="T27" fmla="*/ 106 h 320"/>
                  <a:gd name="T28" fmla="*/ 85 w 265"/>
                  <a:gd name="T29" fmla="*/ 244 h 320"/>
                  <a:gd name="T30" fmla="*/ 41 w 265"/>
                  <a:gd name="T31" fmla="*/ 185 h 320"/>
                  <a:gd name="T32" fmla="*/ 27 w 265"/>
                  <a:gd name="T33" fmla="*/ 181 h 320"/>
                  <a:gd name="T34" fmla="*/ 27 w 265"/>
                  <a:gd name="T35" fmla="*/ 199 h 320"/>
                  <a:gd name="T36" fmla="*/ 100 w 265"/>
                  <a:gd name="T37" fmla="*/ 315 h 320"/>
                  <a:gd name="T38" fmla="*/ 86 w 265"/>
                  <a:gd name="T39" fmla="*/ 318 h 320"/>
                  <a:gd name="T40" fmla="*/ 18 w 265"/>
                  <a:gd name="T41" fmla="*/ 162 h 320"/>
                  <a:gd name="T42" fmla="*/ 61 w 265"/>
                  <a:gd name="T43" fmla="*/ 176 h 320"/>
                  <a:gd name="T44" fmla="*/ 70 w 265"/>
                  <a:gd name="T45" fmla="*/ 106 h 320"/>
                  <a:gd name="T46" fmla="*/ 134 w 265"/>
                  <a:gd name="T47" fmla="*/ 106 h 320"/>
                  <a:gd name="T48" fmla="*/ 145 w 265"/>
                  <a:gd name="T49" fmla="*/ 128 h 320"/>
                  <a:gd name="T50" fmla="*/ 187 w 265"/>
                  <a:gd name="T51" fmla="*/ 149 h 320"/>
                  <a:gd name="T52" fmla="*/ 230 w 265"/>
                  <a:gd name="T53" fmla="*/ 160 h 320"/>
                  <a:gd name="T54" fmla="*/ 262 w 265"/>
                  <a:gd name="T55" fmla="*/ 234 h 320"/>
                  <a:gd name="T56" fmla="*/ 102 w 265"/>
                  <a:gd name="T57" fmla="*/ 53 h 320"/>
                  <a:gd name="T58" fmla="*/ 113 w 265"/>
                  <a:gd name="T59" fmla="*/ 10 h 320"/>
                  <a:gd name="T60" fmla="*/ 91 w 265"/>
                  <a:gd name="T61" fmla="*/ 10 h 320"/>
                  <a:gd name="T62" fmla="*/ 102 w 265"/>
                  <a:gd name="T63" fmla="*/ 53 h 320"/>
                  <a:gd name="T64" fmla="*/ 142 w 265"/>
                  <a:gd name="T65" fmla="*/ 61 h 320"/>
                  <a:gd name="T66" fmla="*/ 163 w 265"/>
                  <a:gd name="T67" fmla="*/ 24 h 320"/>
                  <a:gd name="T68" fmla="*/ 126 w 265"/>
                  <a:gd name="T69" fmla="*/ 45 h 320"/>
                  <a:gd name="T70" fmla="*/ 134 w 265"/>
                  <a:gd name="T71" fmla="*/ 64 h 320"/>
                  <a:gd name="T72" fmla="*/ 70 w 265"/>
                  <a:gd name="T73" fmla="*/ 64 h 320"/>
                  <a:gd name="T74" fmla="*/ 78 w 265"/>
                  <a:gd name="T75" fmla="*/ 45 h 320"/>
                  <a:gd name="T76" fmla="*/ 41 w 265"/>
                  <a:gd name="T77" fmla="*/ 24 h 320"/>
                  <a:gd name="T78" fmla="*/ 62 w 265"/>
                  <a:gd name="T79" fmla="*/ 61 h 320"/>
                  <a:gd name="T80" fmla="*/ 155 w 265"/>
                  <a:gd name="T81" fmla="*/ 96 h 320"/>
                  <a:gd name="T82" fmla="*/ 187 w 265"/>
                  <a:gd name="T83" fmla="*/ 85 h 320"/>
                  <a:gd name="T84" fmla="*/ 155 w 265"/>
                  <a:gd name="T85" fmla="*/ 74 h 320"/>
                  <a:gd name="T86" fmla="*/ 27 w 265"/>
                  <a:gd name="T87" fmla="*/ 96 h 320"/>
                  <a:gd name="T88" fmla="*/ 59 w 265"/>
                  <a:gd name="T89" fmla="*/ 85 h 320"/>
                  <a:gd name="T90" fmla="*/ 27 w 265"/>
                  <a:gd name="T91" fmla="*/ 74 h 320"/>
                  <a:gd name="T92" fmla="*/ 27 w 265"/>
                  <a:gd name="T93" fmla="*/ 9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5" h="320">
                    <a:moveTo>
                      <a:pt x="238" y="316"/>
                    </a:moveTo>
                    <a:cubicBezTo>
                      <a:pt x="236" y="318"/>
                      <a:pt x="233" y="320"/>
                      <a:pt x="230" y="320"/>
                    </a:cubicBezTo>
                    <a:cubicBezTo>
                      <a:pt x="227" y="320"/>
                      <a:pt x="225" y="319"/>
                      <a:pt x="223" y="317"/>
                    </a:cubicBezTo>
                    <a:cubicBezTo>
                      <a:pt x="218" y="313"/>
                      <a:pt x="218" y="307"/>
                      <a:pt x="222" y="302"/>
                    </a:cubicBezTo>
                    <a:cubicBezTo>
                      <a:pt x="243" y="277"/>
                      <a:pt x="240" y="236"/>
                      <a:pt x="240" y="235"/>
                    </a:cubicBezTo>
                    <a:cubicBezTo>
                      <a:pt x="240" y="192"/>
                      <a:pt x="240" y="192"/>
                      <a:pt x="240" y="192"/>
                    </a:cubicBezTo>
                    <a:cubicBezTo>
                      <a:pt x="240" y="186"/>
                      <a:pt x="235" y="181"/>
                      <a:pt x="230" y="181"/>
                    </a:cubicBezTo>
                    <a:cubicBezTo>
                      <a:pt x="224" y="181"/>
                      <a:pt x="220" y="185"/>
                      <a:pt x="219" y="190"/>
                    </a:cubicBezTo>
                    <a:cubicBezTo>
                      <a:pt x="219" y="192"/>
                      <a:pt x="219" y="192"/>
                      <a:pt x="219" y="192"/>
                    </a:cubicBezTo>
                    <a:cubicBezTo>
                      <a:pt x="219" y="198"/>
                      <a:pt x="215" y="202"/>
                      <a:pt x="209" y="202"/>
                    </a:cubicBezTo>
                    <a:cubicBezTo>
                      <a:pt x="209" y="202"/>
                      <a:pt x="209" y="202"/>
                      <a:pt x="209" y="202"/>
                    </a:cubicBezTo>
                    <a:cubicBezTo>
                      <a:pt x="209" y="202"/>
                      <a:pt x="209" y="202"/>
                      <a:pt x="209" y="202"/>
                    </a:cubicBezTo>
                    <a:cubicBezTo>
                      <a:pt x="203" y="202"/>
                      <a:pt x="198" y="198"/>
                      <a:pt x="198" y="192"/>
                    </a:cubicBezTo>
                    <a:cubicBezTo>
                      <a:pt x="198" y="181"/>
                      <a:pt x="198" y="181"/>
                      <a:pt x="198" y="181"/>
                    </a:cubicBezTo>
                    <a:cubicBezTo>
                      <a:pt x="198" y="175"/>
                      <a:pt x="193" y="170"/>
                      <a:pt x="187" y="170"/>
                    </a:cubicBezTo>
                    <a:cubicBezTo>
                      <a:pt x="181" y="170"/>
                      <a:pt x="177" y="175"/>
                      <a:pt x="177" y="181"/>
                    </a:cubicBezTo>
                    <a:cubicBezTo>
                      <a:pt x="177" y="192"/>
                      <a:pt x="177" y="192"/>
                      <a:pt x="177" y="192"/>
                    </a:cubicBezTo>
                    <a:cubicBezTo>
                      <a:pt x="177" y="198"/>
                      <a:pt x="172" y="202"/>
                      <a:pt x="166" y="202"/>
                    </a:cubicBezTo>
                    <a:cubicBezTo>
                      <a:pt x="160" y="202"/>
                      <a:pt x="155" y="198"/>
                      <a:pt x="155" y="192"/>
                    </a:cubicBezTo>
                    <a:cubicBezTo>
                      <a:pt x="155" y="160"/>
                      <a:pt x="155" y="160"/>
                      <a:pt x="155" y="160"/>
                    </a:cubicBezTo>
                    <a:cubicBezTo>
                      <a:pt x="155" y="154"/>
                      <a:pt x="151" y="149"/>
                      <a:pt x="145" y="149"/>
                    </a:cubicBezTo>
                    <a:cubicBezTo>
                      <a:pt x="139" y="149"/>
                      <a:pt x="134" y="154"/>
                      <a:pt x="134" y="160"/>
                    </a:cubicBezTo>
                    <a:cubicBezTo>
                      <a:pt x="134" y="192"/>
                      <a:pt x="134" y="192"/>
                      <a:pt x="134" y="192"/>
                    </a:cubicBezTo>
                    <a:cubicBezTo>
                      <a:pt x="134" y="198"/>
                      <a:pt x="129" y="202"/>
                      <a:pt x="123" y="202"/>
                    </a:cubicBezTo>
                    <a:cubicBezTo>
                      <a:pt x="117" y="202"/>
                      <a:pt x="113" y="198"/>
                      <a:pt x="113" y="192"/>
                    </a:cubicBezTo>
                    <a:cubicBezTo>
                      <a:pt x="113" y="106"/>
                      <a:pt x="113" y="106"/>
                      <a:pt x="113" y="106"/>
                    </a:cubicBezTo>
                    <a:cubicBezTo>
                      <a:pt x="113" y="100"/>
                      <a:pt x="108" y="96"/>
                      <a:pt x="102" y="96"/>
                    </a:cubicBezTo>
                    <a:cubicBezTo>
                      <a:pt x="96" y="96"/>
                      <a:pt x="91" y="100"/>
                      <a:pt x="91" y="106"/>
                    </a:cubicBezTo>
                    <a:cubicBezTo>
                      <a:pt x="91" y="234"/>
                      <a:pt x="91" y="234"/>
                      <a:pt x="91" y="234"/>
                    </a:cubicBezTo>
                    <a:cubicBezTo>
                      <a:pt x="91" y="239"/>
                      <a:pt x="89" y="242"/>
                      <a:pt x="85" y="244"/>
                    </a:cubicBezTo>
                    <a:cubicBezTo>
                      <a:pt x="81" y="246"/>
                      <a:pt x="77" y="245"/>
                      <a:pt x="74" y="242"/>
                    </a:cubicBezTo>
                    <a:cubicBezTo>
                      <a:pt x="60" y="230"/>
                      <a:pt x="44" y="192"/>
                      <a:pt x="41" y="185"/>
                    </a:cubicBezTo>
                    <a:cubicBezTo>
                      <a:pt x="40" y="183"/>
                      <a:pt x="38" y="181"/>
                      <a:pt x="35" y="180"/>
                    </a:cubicBezTo>
                    <a:cubicBezTo>
                      <a:pt x="33" y="180"/>
                      <a:pt x="30" y="180"/>
                      <a:pt x="27" y="181"/>
                    </a:cubicBezTo>
                    <a:cubicBezTo>
                      <a:pt x="23" y="183"/>
                      <a:pt x="23" y="192"/>
                      <a:pt x="26" y="198"/>
                    </a:cubicBezTo>
                    <a:cubicBezTo>
                      <a:pt x="26" y="198"/>
                      <a:pt x="27" y="198"/>
                      <a:pt x="27" y="199"/>
                    </a:cubicBezTo>
                    <a:cubicBezTo>
                      <a:pt x="27" y="199"/>
                      <a:pt x="54" y="273"/>
                      <a:pt x="97" y="300"/>
                    </a:cubicBezTo>
                    <a:cubicBezTo>
                      <a:pt x="102" y="303"/>
                      <a:pt x="103" y="310"/>
                      <a:pt x="100" y="315"/>
                    </a:cubicBezTo>
                    <a:cubicBezTo>
                      <a:pt x="98" y="318"/>
                      <a:pt x="95" y="320"/>
                      <a:pt x="91" y="320"/>
                    </a:cubicBezTo>
                    <a:cubicBezTo>
                      <a:pt x="89" y="320"/>
                      <a:pt x="87" y="319"/>
                      <a:pt x="86" y="318"/>
                    </a:cubicBezTo>
                    <a:cubicBezTo>
                      <a:pt x="38" y="288"/>
                      <a:pt x="10" y="214"/>
                      <a:pt x="7" y="207"/>
                    </a:cubicBezTo>
                    <a:cubicBezTo>
                      <a:pt x="0" y="191"/>
                      <a:pt x="2" y="170"/>
                      <a:pt x="18" y="162"/>
                    </a:cubicBezTo>
                    <a:cubicBezTo>
                      <a:pt x="25" y="158"/>
                      <a:pt x="34" y="157"/>
                      <a:pt x="42" y="160"/>
                    </a:cubicBezTo>
                    <a:cubicBezTo>
                      <a:pt x="50" y="163"/>
                      <a:pt x="57" y="169"/>
                      <a:pt x="61" y="176"/>
                    </a:cubicBezTo>
                    <a:cubicBezTo>
                      <a:pt x="63" y="183"/>
                      <a:pt x="66" y="190"/>
                      <a:pt x="70" y="197"/>
                    </a:cubicBezTo>
                    <a:cubicBezTo>
                      <a:pt x="70" y="106"/>
                      <a:pt x="70" y="106"/>
                      <a:pt x="70" y="106"/>
                    </a:cubicBezTo>
                    <a:cubicBezTo>
                      <a:pt x="70" y="89"/>
                      <a:pt x="84" y="74"/>
                      <a:pt x="102" y="74"/>
                    </a:cubicBezTo>
                    <a:cubicBezTo>
                      <a:pt x="120" y="74"/>
                      <a:pt x="134" y="89"/>
                      <a:pt x="134" y="106"/>
                    </a:cubicBezTo>
                    <a:cubicBezTo>
                      <a:pt x="134" y="130"/>
                      <a:pt x="134" y="130"/>
                      <a:pt x="134" y="130"/>
                    </a:cubicBezTo>
                    <a:cubicBezTo>
                      <a:pt x="137" y="128"/>
                      <a:pt x="141" y="128"/>
                      <a:pt x="145" y="128"/>
                    </a:cubicBezTo>
                    <a:cubicBezTo>
                      <a:pt x="159" y="128"/>
                      <a:pt x="172" y="138"/>
                      <a:pt x="175" y="151"/>
                    </a:cubicBezTo>
                    <a:cubicBezTo>
                      <a:pt x="179" y="150"/>
                      <a:pt x="183" y="149"/>
                      <a:pt x="187" y="149"/>
                    </a:cubicBezTo>
                    <a:cubicBezTo>
                      <a:pt x="199" y="149"/>
                      <a:pt x="209" y="155"/>
                      <a:pt x="214" y="164"/>
                    </a:cubicBezTo>
                    <a:cubicBezTo>
                      <a:pt x="219" y="161"/>
                      <a:pt x="224" y="160"/>
                      <a:pt x="230" y="160"/>
                    </a:cubicBezTo>
                    <a:cubicBezTo>
                      <a:pt x="247" y="160"/>
                      <a:pt x="262" y="174"/>
                      <a:pt x="262" y="192"/>
                    </a:cubicBezTo>
                    <a:cubicBezTo>
                      <a:pt x="262" y="234"/>
                      <a:pt x="262" y="234"/>
                      <a:pt x="262" y="234"/>
                    </a:cubicBezTo>
                    <a:cubicBezTo>
                      <a:pt x="262" y="236"/>
                      <a:pt x="265" y="284"/>
                      <a:pt x="238" y="316"/>
                    </a:cubicBezTo>
                    <a:close/>
                    <a:moveTo>
                      <a:pt x="102" y="53"/>
                    </a:moveTo>
                    <a:cubicBezTo>
                      <a:pt x="108" y="53"/>
                      <a:pt x="113" y="48"/>
                      <a:pt x="113" y="42"/>
                    </a:cubicBezTo>
                    <a:cubicBezTo>
                      <a:pt x="113" y="10"/>
                      <a:pt x="113" y="10"/>
                      <a:pt x="113" y="10"/>
                    </a:cubicBezTo>
                    <a:cubicBezTo>
                      <a:pt x="113" y="4"/>
                      <a:pt x="108" y="0"/>
                      <a:pt x="102" y="0"/>
                    </a:cubicBezTo>
                    <a:cubicBezTo>
                      <a:pt x="96" y="0"/>
                      <a:pt x="91" y="4"/>
                      <a:pt x="91" y="10"/>
                    </a:cubicBezTo>
                    <a:cubicBezTo>
                      <a:pt x="91" y="42"/>
                      <a:pt x="91" y="42"/>
                      <a:pt x="91" y="42"/>
                    </a:cubicBezTo>
                    <a:cubicBezTo>
                      <a:pt x="91" y="48"/>
                      <a:pt x="96" y="53"/>
                      <a:pt x="102" y="53"/>
                    </a:cubicBezTo>
                    <a:close/>
                    <a:moveTo>
                      <a:pt x="134" y="64"/>
                    </a:moveTo>
                    <a:cubicBezTo>
                      <a:pt x="137" y="64"/>
                      <a:pt x="139" y="63"/>
                      <a:pt x="142" y="61"/>
                    </a:cubicBezTo>
                    <a:cubicBezTo>
                      <a:pt x="163" y="39"/>
                      <a:pt x="163" y="39"/>
                      <a:pt x="163" y="39"/>
                    </a:cubicBezTo>
                    <a:cubicBezTo>
                      <a:pt x="167" y="35"/>
                      <a:pt x="167" y="28"/>
                      <a:pt x="163" y="24"/>
                    </a:cubicBezTo>
                    <a:cubicBezTo>
                      <a:pt x="159" y="20"/>
                      <a:pt x="152" y="20"/>
                      <a:pt x="148" y="24"/>
                    </a:cubicBezTo>
                    <a:cubicBezTo>
                      <a:pt x="126" y="45"/>
                      <a:pt x="126" y="45"/>
                      <a:pt x="126" y="45"/>
                    </a:cubicBezTo>
                    <a:cubicBezTo>
                      <a:pt x="122" y="50"/>
                      <a:pt x="122" y="56"/>
                      <a:pt x="126" y="61"/>
                    </a:cubicBezTo>
                    <a:cubicBezTo>
                      <a:pt x="129" y="63"/>
                      <a:pt x="131" y="64"/>
                      <a:pt x="134" y="64"/>
                    </a:cubicBezTo>
                    <a:close/>
                    <a:moveTo>
                      <a:pt x="62" y="61"/>
                    </a:moveTo>
                    <a:cubicBezTo>
                      <a:pt x="65" y="63"/>
                      <a:pt x="67" y="64"/>
                      <a:pt x="70" y="64"/>
                    </a:cubicBezTo>
                    <a:cubicBezTo>
                      <a:pt x="73" y="64"/>
                      <a:pt x="75" y="63"/>
                      <a:pt x="78" y="61"/>
                    </a:cubicBezTo>
                    <a:cubicBezTo>
                      <a:pt x="82" y="56"/>
                      <a:pt x="82" y="50"/>
                      <a:pt x="78" y="45"/>
                    </a:cubicBezTo>
                    <a:cubicBezTo>
                      <a:pt x="56" y="24"/>
                      <a:pt x="56" y="24"/>
                      <a:pt x="56" y="24"/>
                    </a:cubicBezTo>
                    <a:cubicBezTo>
                      <a:pt x="52" y="20"/>
                      <a:pt x="45" y="20"/>
                      <a:pt x="41" y="24"/>
                    </a:cubicBezTo>
                    <a:cubicBezTo>
                      <a:pt x="37" y="28"/>
                      <a:pt x="37" y="35"/>
                      <a:pt x="41" y="39"/>
                    </a:cubicBezTo>
                    <a:lnTo>
                      <a:pt x="62" y="61"/>
                    </a:lnTo>
                    <a:close/>
                    <a:moveTo>
                      <a:pt x="145" y="85"/>
                    </a:moveTo>
                    <a:cubicBezTo>
                      <a:pt x="145" y="91"/>
                      <a:pt x="149" y="96"/>
                      <a:pt x="155" y="96"/>
                    </a:cubicBezTo>
                    <a:cubicBezTo>
                      <a:pt x="177" y="96"/>
                      <a:pt x="177" y="96"/>
                      <a:pt x="177" y="96"/>
                    </a:cubicBezTo>
                    <a:cubicBezTo>
                      <a:pt x="183" y="96"/>
                      <a:pt x="187" y="91"/>
                      <a:pt x="187" y="85"/>
                    </a:cubicBezTo>
                    <a:cubicBezTo>
                      <a:pt x="187" y="79"/>
                      <a:pt x="183" y="74"/>
                      <a:pt x="177" y="74"/>
                    </a:cubicBezTo>
                    <a:cubicBezTo>
                      <a:pt x="155" y="74"/>
                      <a:pt x="155" y="74"/>
                      <a:pt x="155" y="74"/>
                    </a:cubicBezTo>
                    <a:cubicBezTo>
                      <a:pt x="149" y="74"/>
                      <a:pt x="145" y="79"/>
                      <a:pt x="145" y="85"/>
                    </a:cubicBezTo>
                    <a:close/>
                    <a:moveTo>
                      <a:pt x="27" y="96"/>
                    </a:moveTo>
                    <a:cubicBezTo>
                      <a:pt x="49" y="96"/>
                      <a:pt x="49" y="96"/>
                      <a:pt x="49" y="96"/>
                    </a:cubicBezTo>
                    <a:cubicBezTo>
                      <a:pt x="55" y="96"/>
                      <a:pt x="59" y="91"/>
                      <a:pt x="59" y="85"/>
                    </a:cubicBezTo>
                    <a:cubicBezTo>
                      <a:pt x="59" y="79"/>
                      <a:pt x="55" y="74"/>
                      <a:pt x="49" y="74"/>
                    </a:cubicBezTo>
                    <a:cubicBezTo>
                      <a:pt x="27" y="74"/>
                      <a:pt x="27" y="74"/>
                      <a:pt x="27" y="74"/>
                    </a:cubicBezTo>
                    <a:cubicBezTo>
                      <a:pt x="21" y="74"/>
                      <a:pt x="17" y="79"/>
                      <a:pt x="17" y="85"/>
                    </a:cubicBezTo>
                    <a:cubicBezTo>
                      <a:pt x="17" y="91"/>
                      <a:pt x="21" y="96"/>
                      <a:pt x="27" y="96"/>
                    </a:cubicBezTo>
                    <a:close/>
                  </a:path>
                </a:pathLst>
              </a:custGeom>
              <a:solidFill>
                <a:schemeClr val="bg1">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sp>
        <p:nvSpPr>
          <p:cNvPr id="120" name="TextBox 119">
            <a:extLst>
              <a:ext uri="{FF2B5EF4-FFF2-40B4-BE49-F238E27FC236}">
                <a16:creationId xmlns:a16="http://schemas.microsoft.com/office/drawing/2014/main" id="{1040EA16-C35F-416D-AD31-4D7E3082A24F}"/>
              </a:ext>
            </a:extLst>
          </p:cNvPr>
          <p:cNvSpPr txBox="1"/>
          <p:nvPr/>
        </p:nvSpPr>
        <p:spPr>
          <a:xfrm>
            <a:off x="7226536" y="5210953"/>
            <a:ext cx="1525255" cy="1692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solidFill>
                  <a:srgbClr val="FFFFFF">
                    <a:lumMod val="65000"/>
                  </a:srgbClr>
                </a:solidFill>
                <a:effectLst/>
                <a:uLnTx/>
                <a:uFillTx/>
                <a:latin typeface="Open Sans"/>
                <a:ea typeface="+mn-ea"/>
                <a:cs typeface="+mn-cs"/>
              </a:rPr>
              <a:t>purchase &amp; pay</a:t>
            </a:r>
          </a:p>
        </p:txBody>
      </p:sp>
      <p:grpSp>
        <p:nvGrpSpPr>
          <p:cNvPr id="121" name="Group 120">
            <a:extLst>
              <a:ext uri="{FF2B5EF4-FFF2-40B4-BE49-F238E27FC236}">
                <a16:creationId xmlns:a16="http://schemas.microsoft.com/office/drawing/2014/main" id="{7BC24DFF-40C0-431D-B75D-3F7674573F14}"/>
              </a:ext>
            </a:extLst>
          </p:cNvPr>
          <p:cNvGrpSpPr/>
          <p:nvPr/>
        </p:nvGrpSpPr>
        <p:grpSpPr>
          <a:xfrm>
            <a:off x="7806283" y="4794696"/>
            <a:ext cx="365760" cy="365760"/>
            <a:chOff x="1239827" y="4935634"/>
            <a:chExt cx="365760" cy="365760"/>
          </a:xfrm>
        </p:grpSpPr>
        <p:sp>
          <p:nvSpPr>
            <p:cNvPr id="122" name="Oval 121">
              <a:extLst>
                <a:ext uri="{FF2B5EF4-FFF2-40B4-BE49-F238E27FC236}">
                  <a16:creationId xmlns:a16="http://schemas.microsoft.com/office/drawing/2014/main" id="{C9717CE7-5CDF-43A2-8267-A86601255FAA}"/>
                </a:ext>
              </a:extLst>
            </p:cNvPr>
            <p:cNvSpPr/>
            <p:nvPr/>
          </p:nvSpPr>
          <p:spPr>
            <a:xfrm>
              <a:off x="1239827" y="4935634"/>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123" name="Group 144">
              <a:extLst>
                <a:ext uri="{FF2B5EF4-FFF2-40B4-BE49-F238E27FC236}">
                  <a16:creationId xmlns:a16="http://schemas.microsoft.com/office/drawing/2014/main" id="{C1E18F19-5788-4B42-B91A-5567E15EFAA9}"/>
                </a:ext>
              </a:extLst>
            </p:cNvPr>
            <p:cNvGrpSpPr>
              <a:grpSpLocks noChangeAspect="1"/>
            </p:cNvGrpSpPr>
            <p:nvPr/>
          </p:nvGrpSpPr>
          <p:grpSpPr bwMode="auto">
            <a:xfrm>
              <a:off x="1239827" y="4935634"/>
              <a:ext cx="365760" cy="365760"/>
              <a:chOff x="2972" y="1300"/>
              <a:chExt cx="340" cy="340"/>
            </a:xfrm>
            <a:solidFill>
              <a:schemeClr val="accent1"/>
            </a:solidFill>
          </p:grpSpPr>
          <p:sp>
            <p:nvSpPr>
              <p:cNvPr id="124" name="Freeform 145">
                <a:extLst>
                  <a:ext uri="{FF2B5EF4-FFF2-40B4-BE49-F238E27FC236}">
                    <a16:creationId xmlns:a16="http://schemas.microsoft.com/office/drawing/2014/main" id="{D5DCA52A-01A7-4975-B831-C9611B6E3407}"/>
                  </a:ext>
                </a:extLst>
              </p:cNvPr>
              <p:cNvSpPr>
                <a:spLocks noEditPoints="1"/>
              </p:cNvSpPr>
              <p:nvPr/>
            </p:nvSpPr>
            <p:spPr bwMode="auto">
              <a:xfrm>
                <a:off x="2972" y="13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bg1">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5" name="Freeform 146">
                <a:extLst>
                  <a:ext uri="{FF2B5EF4-FFF2-40B4-BE49-F238E27FC236}">
                    <a16:creationId xmlns:a16="http://schemas.microsoft.com/office/drawing/2014/main" id="{5E39AF3E-7514-4B72-95CE-51616C844AEA}"/>
                  </a:ext>
                </a:extLst>
              </p:cNvPr>
              <p:cNvSpPr>
                <a:spLocks noEditPoints="1"/>
              </p:cNvSpPr>
              <p:nvPr/>
            </p:nvSpPr>
            <p:spPr bwMode="auto">
              <a:xfrm>
                <a:off x="3041" y="1406"/>
                <a:ext cx="191" cy="128"/>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solidFill>
                <a:schemeClr val="bg1">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pic>
        <p:nvPicPr>
          <p:cNvPr id="126" name="Picture 125">
            <a:extLst>
              <a:ext uri="{FF2B5EF4-FFF2-40B4-BE49-F238E27FC236}">
                <a16:creationId xmlns:a16="http://schemas.microsoft.com/office/drawing/2014/main" id="{E7ED601F-2042-4CA2-A58E-C5772DFE0A03}"/>
              </a:ext>
            </a:extLst>
          </p:cNvPr>
          <p:cNvPicPr>
            <a:picLocks/>
          </p:cNvPicPr>
          <p:nvPr/>
        </p:nvPicPr>
        <p:blipFill>
          <a:blip r:embed="rId7">
            <a:lum bright="70000" contrast="-70000"/>
            <a:extLst>
              <a:ext uri="{28A0092B-C50C-407E-A947-70E740481C1C}">
                <a14:useLocalDpi xmlns:a14="http://schemas.microsoft.com/office/drawing/2010/main" val="0"/>
              </a:ext>
            </a:extLst>
          </a:blip>
          <a:stretch>
            <a:fillRect/>
          </a:stretch>
        </p:blipFill>
        <p:spPr>
          <a:xfrm>
            <a:off x="681574" y="3001786"/>
            <a:ext cx="912812" cy="912812"/>
          </a:xfrm>
          <a:prstGeom prst="rect">
            <a:avLst/>
          </a:prstGeom>
        </p:spPr>
      </p:pic>
      <p:sp>
        <p:nvSpPr>
          <p:cNvPr id="127" name="Rectangle 126">
            <a:extLst>
              <a:ext uri="{FF2B5EF4-FFF2-40B4-BE49-F238E27FC236}">
                <a16:creationId xmlns:a16="http://schemas.microsoft.com/office/drawing/2014/main" id="{47E88178-B7DB-4185-B328-78AB941F90E8}"/>
              </a:ext>
            </a:extLst>
          </p:cNvPr>
          <p:cNvSpPr/>
          <p:nvPr/>
        </p:nvSpPr>
        <p:spPr>
          <a:xfrm rot="651116">
            <a:off x="480310" y="5210429"/>
            <a:ext cx="1097507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Arial" charset="0"/>
              </a:rPr>
              <a:t>Across the entire path to purchase, </a:t>
            </a:r>
            <a:r>
              <a:rPr kumimoji="0" lang="en-US" sz="2000" b="0" i="0" u="none" strike="noStrike" kern="1200" cap="none" spc="0" normalizeH="0" baseline="0" noProof="0" dirty="0">
                <a:ln>
                  <a:noFill/>
                </a:ln>
                <a:solidFill>
                  <a:srgbClr val="FDD300"/>
                </a:solidFill>
                <a:effectLst/>
                <a:uLnTx/>
                <a:uFillTx/>
                <a:latin typeface="Chronicle Display Black"/>
                <a:ea typeface="+mn-ea"/>
                <a:cs typeface="Arial" charset="0"/>
              </a:rPr>
              <a:t>33%</a:t>
            </a:r>
            <a:r>
              <a:rPr kumimoji="0" lang="en-US" sz="2000" b="0" i="0" u="none" strike="noStrike" kern="1200" cap="none" spc="0" normalizeH="0" baseline="0" noProof="0" dirty="0">
                <a:ln>
                  <a:noFill/>
                </a:ln>
                <a:solidFill>
                  <a:srgbClr val="FDD300"/>
                </a:solidFill>
                <a:effectLst/>
                <a:uLnTx/>
                <a:uFillTx/>
                <a:latin typeface="Open Sans"/>
                <a:ea typeface="+mn-ea"/>
                <a:cs typeface="Arial" charset="0"/>
              </a:rPr>
              <a:t> </a:t>
            </a:r>
            <a:r>
              <a:rPr kumimoji="0" lang="en-US" sz="1200" b="0" i="0" u="none" strike="noStrike" kern="1200" cap="none" spc="0" normalizeH="0" baseline="0" noProof="0" dirty="0">
                <a:ln>
                  <a:noFill/>
                </a:ln>
                <a:solidFill>
                  <a:srgbClr val="000000"/>
                </a:solidFill>
                <a:effectLst/>
                <a:uLnTx/>
                <a:uFillTx/>
                <a:latin typeface="Open Sans"/>
                <a:ea typeface="+mn-ea"/>
                <a:cs typeface="Arial" charset="0"/>
              </a:rPr>
              <a:t>of shoppers who didn’t use digital said they had </a:t>
            </a:r>
            <a:r>
              <a:rPr kumimoji="0" lang="en-US" sz="1200" b="1" i="0" u="none" strike="noStrike" kern="1200" cap="none" spc="0" normalizeH="0" baseline="0" noProof="0" dirty="0">
                <a:ln>
                  <a:noFill/>
                </a:ln>
                <a:solidFill>
                  <a:srgbClr val="FDD300"/>
                </a:solidFill>
                <a:effectLst/>
                <a:uLnTx/>
                <a:uFillTx/>
                <a:latin typeface="Open Sans"/>
                <a:ea typeface="+mn-ea"/>
                <a:cs typeface="Arial" charset="0"/>
              </a:rPr>
              <a:t>no desire to use digital device or in-store technology</a:t>
            </a:r>
          </a:p>
        </p:txBody>
      </p:sp>
    </p:spTree>
    <p:extLst>
      <p:ext uri="{BB962C8B-B14F-4D97-AF65-F5344CB8AC3E}">
        <p14:creationId xmlns:p14="http://schemas.microsoft.com/office/powerpoint/2010/main" val="390516405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84"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Consumer Approach to Online vs. In-store</a:t>
            </a:r>
            <a:endParaRPr lang="en-US" dirty="0"/>
          </a:p>
        </p:txBody>
      </p:sp>
      <p:sp>
        <p:nvSpPr>
          <p:cNvPr id="3" name="Text Placeholder 2"/>
          <p:cNvSpPr>
            <a:spLocks noGrp="1"/>
          </p:cNvSpPr>
          <p:nvPr>
            <p:ph type="body" sz="quarter" idx="14"/>
          </p:nvPr>
        </p:nvSpPr>
        <p:spPr/>
        <p:txBody>
          <a:bodyPr/>
          <a:lstStyle/>
          <a:p>
            <a:r>
              <a:rPr lang="en-US" dirty="0"/>
              <a:t>Consumer approach and attitudes towards shopping attributes varies between online and in store</a:t>
            </a:r>
          </a:p>
        </p:txBody>
      </p:sp>
      <p:sp>
        <p:nvSpPr>
          <p:cNvPr id="5" name="Text Placeholder 4"/>
          <p:cNvSpPr>
            <a:spLocks noGrp="1"/>
          </p:cNvSpPr>
          <p:nvPr>
            <p:ph type="body" sz="quarter" idx="15"/>
          </p:nvPr>
        </p:nvSpPr>
        <p:spPr/>
        <p:txBody>
          <a:bodyPr/>
          <a:lstStyle/>
          <a:p>
            <a:r>
              <a:rPr lang="en-US" dirty="0"/>
              <a:t>Data Visualization &amp; Infographics</a:t>
            </a:r>
          </a:p>
        </p:txBody>
      </p:sp>
      <p:sp>
        <p:nvSpPr>
          <p:cNvPr id="47" name="Rectangle 46"/>
          <p:cNvSpPr/>
          <p:nvPr/>
        </p:nvSpPr>
        <p:spPr>
          <a:xfrm>
            <a:off x="826037" y="1859156"/>
            <a:ext cx="10054295" cy="430887"/>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100" b="1" i="0" u="none" strike="noStrike" kern="1200" cap="none" spc="130" normalizeH="0" baseline="0" noProof="0" dirty="0">
                <a:ln>
                  <a:noFill/>
                </a:ln>
                <a:solidFill>
                  <a:srgbClr val="000000"/>
                </a:solidFill>
                <a:effectLst/>
                <a:uLnTx/>
                <a:uFillTx/>
                <a:latin typeface="Open Sans"/>
                <a:ea typeface="+mn-ea"/>
                <a:cs typeface="+mn-cs"/>
              </a:rPr>
              <a:t>How would you describe your general approach and attitudes towards shopping for grocery and/or personal care where you shop online vs. when you shop in store?</a:t>
            </a:r>
            <a:endParaRPr kumimoji="0" lang="en-US" sz="1100" b="0" i="0" u="none" strike="noStrike" kern="1200" cap="none" spc="130" normalizeH="0" baseline="0" noProof="0" dirty="0">
              <a:ln>
                <a:noFill/>
              </a:ln>
              <a:solidFill>
                <a:srgbClr val="000000">
                  <a:lumMod val="50000"/>
                  <a:lumOff val="50000"/>
                </a:srgbClr>
              </a:solidFill>
              <a:effectLst/>
              <a:uLnTx/>
              <a:uFillTx/>
              <a:latin typeface="Open Sans"/>
              <a:ea typeface="+mn-ea"/>
              <a:cs typeface="+mn-cs"/>
            </a:endParaRPr>
          </a:p>
        </p:txBody>
      </p:sp>
      <p:sp>
        <p:nvSpPr>
          <p:cNvPr id="48" name="Rectangle 47"/>
          <p:cNvSpPr/>
          <p:nvPr/>
        </p:nvSpPr>
        <p:spPr>
          <a:xfrm>
            <a:off x="1644993" y="5431202"/>
            <a:ext cx="1486118" cy="5539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I trust I will receive a high quality product online </a:t>
            </a:r>
          </a:p>
        </p:txBody>
      </p:sp>
      <p:graphicFrame>
        <p:nvGraphicFramePr>
          <p:cNvPr id="49" name="Chart 48"/>
          <p:cNvGraphicFramePr/>
          <p:nvPr/>
        </p:nvGraphicFramePr>
        <p:xfrm>
          <a:off x="2764465" y="5519291"/>
          <a:ext cx="7597841" cy="370845"/>
        </p:xfrm>
        <a:graphic>
          <a:graphicData uri="http://schemas.openxmlformats.org/drawingml/2006/chart">
            <c:chart xmlns:c="http://schemas.openxmlformats.org/drawingml/2006/chart" xmlns:r="http://schemas.openxmlformats.org/officeDocument/2006/relationships" r:id="rId7"/>
          </a:graphicData>
        </a:graphic>
      </p:graphicFrame>
      <p:sp>
        <p:nvSpPr>
          <p:cNvPr id="50" name="Rectangle 49"/>
          <p:cNvSpPr/>
          <p:nvPr/>
        </p:nvSpPr>
        <p:spPr>
          <a:xfrm>
            <a:off x="10316874" y="5453180"/>
            <a:ext cx="1671926"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I trust I will receive a high quality product in-store</a:t>
            </a:r>
          </a:p>
        </p:txBody>
      </p:sp>
      <p:sp>
        <p:nvSpPr>
          <p:cNvPr id="51" name="Rectangle 50"/>
          <p:cNvSpPr/>
          <p:nvPr/>
        </p:nvSpPr>
        <p:spPr>
          <a:xfrm>
            <a:off x="1678599" y="4040083"/>
            <a:ext cx="1365295" cy="5539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I’m more willing to purchase new brands online</a:t>
            </a:r>
          </a:p>
        </p:txBody>
      </p:sp>
      <p:sp>
        <p:nvSpPr>
          <p:cNvPr id="52" name="Rectangle 51"/>
          <p:cNvSpPr/>
          <p:nvPr/>
        </p:nvSpPr>
        <p:spPr>
          <a:xfrm>
            <a:off x="10316874" y="4015423"/>
            <a:ext cx="1486654" cy="5539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I’m more willing to purchase new brands in-store</a:t>
            </a:r>
          </a:p>
        </p:txBody>
      </p:sp>
      <p:graphicFrame>
        <p:nvGraphicFramePr>
          <p:cNvPr id="53" name="Chart 52"/>
          <p:cNvGraphicFramePr/>
          <p:nvPr/>
        </p:nvGraphicFramePr>
        <p:xfrm>
          <a:off x="2764465" y="4101980"/>
          <a:ext cx="7597841" cy="370845"/>
        </p:xfrm>
        <a:graphic>
          <a:graphicData uri="http://schemas.openxmlformats.org/drawingml/2006/chart">
            <c:chart xmlns:c="http://schemas.openxmlformats.org/drawingml/2006/chart" xmlns:r="http://schemas.openxmlformats.org/officeDocument/2006/relationships" r:id="rId8"/>
          </a:graphicData>
        </a:graphic>
      </p:graphicFrame>
      <p:sp>
        <p:nvSpPr>
          <p:cNvPr id="54" name="Rectangle 53"/>
          <p:cNvSpPr/>
          <p:nvPr/>
        </p:nvSpPr>
        <p:spPr>
          <a:xfrm>
            <a:off x="1678599" y="4799150"/>
            <a:ext cx="1365295" cy="4154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I consider more brands online</a:t>
            </a:r>
          </a:p>
        </p:txBody>
      </p:sp>
      <p:sp>
        <p:nvSpPr>
          <p:cNvPr id="55" name="Rectangle 54"/>
          <p:cNvSpPr/>
          <p:nvPr/>
        </p:nvSpPr>
        <p:spPr>
          <a:xfrm>
            <a:off x="10316874" y="4739161"/>
            <a:ext cx="1486654" cy="4154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I consider more brands in-store</a:t>
            </a:r>
          </a:p>
        </p:txBody>
      </p:sp>
      <p:graphicFrame>
        <p:nvGraphicFramePr>
          <p:cNvPr id="56" name="Chart 55"/>
          <p:cNvGraphicFramePr/>
          <p:nvPr/>
        </p:nvGraphicFramePr>
        <p:xfrm>
          <a:off x="2764465" y="4810635"/>
          <a:ext cx="7597841" cy="370845"/>
        </p:xfrm>
        <a:graphic>
          <a:graphicData uri="http://schemas.openxmlformats.org/drawingml/2006/chart">
            <c:chart xmlns:c="http://schemas.openxmlformats.org/drawingml/2006/chart" xmlns:r="http://schemas.openxmlformats.org/officeDocument/2006/relationships" r:id="rId9"/>
          </a:graphicData>
        </a:graphic>
      </p:graphicFrame>
      <p:sp>
        <p:nvSpPr>
          <p:cNvPr id="57" name="Rectangle 56"/>
          <p:cNvSpPr/>
          <p:nvPr/>
        </p:nvSpPr>
        <p:spPr>
          <a:xfrm>
            <a:off x="1721640" y="3319170"/>
            <a:ext cx="1295027" cy="5539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I’m more likely to add unplanned purchases online</a:t>
            </a:r>
          </a:p>
        </p:txBody>
      </p:sp>
      <p:graphicFrame>
        <p:nvGraphicFramePr>
          <p:cNvPr id="58" name="Chart 57"/>
          <p:cNvGraphicFramePr/>
          <p:nvPr>
            <p:extLst>
              <p:ext uri="{D42A27DB-BD31-4B8C-83A1-F6EECF244321}">
                <p14:modId xmlns:p14="http://schemas.microsoft.com/office/powerpoint/2010/main" val="3661573602"/>
              </p:ext>
            </p:extLst>
          </p:nvPr>
        </p:nvGraphicFramePr>
        <p:xfrm>
          <a:off x="2764465" y="3393325"/>
          <a:ext cx="7597841" cy="370845"/>
        </p:xfrm>
        <a:graphic>
          <a:graphicData uri="http://schemas.openxmlformats.org/drawingml/2006/chart">
            <c:chart xmlns:c="http://schemas.openxmlformats.org/drawingml/2006/chart" xmlns:r="http://schemas.openxmlformats.org/officeDocument/2006/relationships" r:id="rId10"/>
          </a:graphicData>
        </a:graphic>
      </p:graphicFrame>
      <p:sp>
        <p:nvSpPr>
          <p:cNvPr id="59" name="Rectangle 58"/>
          <p:cNvSpPr/>
          <p:nvPr/>
        </p:nvSpPr>
        <p:spPr>
          <a:xfrm>
            <a:off x="10316874" y="3342888"/>
            <a:ext cx="1434683" cy="5539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Open Sans"/>
                <a:ea typeface="+mn-ea"/>
                <a:cs typeface="+mn-cs"/>
              </a:rPr>
              <a:t>I’m more likely to add unplanned purchases in-store</a:t>
            </a:r>
          </a:p>
        </p:txBody>
      </p:sp>
      <p:sp>
        <p:nvSpPr>
          <p:cNvPr id="60" name="TextBox 59"/>
          <p:cNvSpPr txBox="1"/>
          <p:nvPr/>
        </p:nvSpPr>
        <p:spPr>
          <a:xfrm>
            <a:off x="826037" y="2287893"/>
            <a:ext cx="1116276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a:ln>
                  <a:noFill/>
                </a:ln>
                <a:solidFill>
                  <a:srgbClr val="000000"/>
                </a:solidFill>
                <a:effectLst/>
                <a:uLnTx/>
                <a:uFillTx/>
                <a:latin typeface="Open Sans"/>
                <a:ea typeface="+mn-ea"/>
                <a:cs typeface="+mn-cs"/>
              </a:rPr>
              <a:t>In store strengths</a:t>
            </a:r>
            <a:r>
              <a:rPr kumimoji="0" lang="en-US" sz="1400" b="1" i="0" u="none" strike="noStrike" kern="1200" cap="none" spc="0" normalizeH="0" baseline="0" noProof="0" dirty="0">
                <a:ln>
                  <a:noFill/>
                </a:ln>
                <a:solidFill>
                  <a:srgbClr val="000000"/>
                </a:solidFill>
                <a:effectLst/>
                <a:uLnTx/>
                <a:uFillTx/>
                <a:latin typeface="Open Sans"/>
                <a:ea typeface="+mn-ea"/>
                <a:cs typeface="+mn-cs"/>
              </a:rPr>
              <a:t>: consumers are more likely to make unplanned purchases, to consider and purchase new brands and to trust the quality in store than online</a:t>
            </a:r>
          </a:p>
        </p:txBody>
      </p:sp>
      <p:sp>
        <p:nvSpPr>
          <p:cNvPr id="61" name="TextBox 60"/>
          <p:cNvSpPr txBox="1"/>
          <p:nvPr/>
        </p:nvSpPr>
        <p:spPr>
          <a:xfrm>
            <a:off x="741963" y="2905129"/>
            <a:ext cx="1014328" cy="276999"/>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900" b="1" i="0" u="none" strike="noStrike" kern="1200" cap="none" spc="0" normalizeH="0" baseline="0" noProof="0" dirty="0">
                <a:ln>
                  <a:noFill/>
                </a:ln>
                <a:solidFill>
                  <a:srgbClr val="000000"/>
                </a:solidFill>
                <a:effectLst/>
                <a:uLnTx/>
                <a:uFillTx/>
                <a:latin typeface="Open Sans"/>
                <a:ea typeface="+mn-ea"/>
                <a:cs typeface="+mn-cs"/>
              </a:rPr>
              <a:t>Levels of the Journey</a:t>
            </a:r>
          </a:p>
        </p:txBody>
      </p:sp>
      <p:sp>
        <p:nvSpPr>
          <p:cNvPr id="62" name="TextBox 61"/>
          <p:cNvSpPr txBox="1"/>
          <p:nvPr/>
        </p:nvSpPr>
        <p:spPr>
          <a:xfrm>
            <a:off x="869640" y="3594447"/>
            <a:ext cx="810865" cy="276999"/>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900" b="1" i="0" u="none" strike="noStrike" kern="1200" cap="none" spc="0" normalizeH="0" baseline="0" noProof="0" dirty="0">
                <a:ln>
                  <a:noFill/>
                </a:ln>
                <a:solidFill>
                  <a:srgbClr val="5A5A5A"/>
                </a:solidFill>
                <a:effectLst/>
                <a:uLnTx/>
                <a:uFillTx/>
                <a:latin typeface="Open Sans"/>
                <a:ea typeface="+mn-ea"/>
                <a:cs typeface="+mn-cs"/>
              </a:rPr>
              <a:t>Purchase &amp; Pay</a:t>
            </a:r>
          </a:p>
        </p:txBody>
      </p:sp>
      <p:grpSp>
        <p:nvGrpSpPr>
          <p:cNvPr id="63" name="Group 62"/>
          <p:cNvGrpSpPr>
            <a:grpSpLocks noChangeAspect="1"/>
          </p:cNvGrpSpPr>
          <p:nvPr/>
        </p:nvGrpSpPr>
        <p:grpSpPr bwMode="auto">
          <a:xfrm>
            <a:off x="1183411" y="3327117"/>
            <a:ext cx="228600" cy="228600"/>
            <a:chOff x="2972" y="1300"/>
            <a:chExt cx="340" cy="340"/>
          </a:xfrm>
          <a:solidFill>
            <a:schemeClr val="accent1"/>
          </a:solidFill>
        </p:grpSpPr>
        <p:sp>
          <p:nvSpPr>
            <p:cNvPr id="64" name="Freeform 63"/>
            <p:cNvSpPr>
              <a:spLocks noEditPoints="1"/>
            </p:cNvSpPr>
            <p:nvPr/>
          </p:nvSpPr>
          <p:spPr bwMode="auto">
            <a:xfrm>
              <a:off x="2972" y="13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5" name="Freeform 64"/>
            <p:cNvSpPr>
              <a:spLocks noEditPoints="1"/>
            </p:cNvSpPr>
            <p:nvPr/>
          </p:nvSpPr>
          <p:spPr bwMode="auto">
            <a:xfrm>
              <a:off x="3041" y="1406"/>
              <a:ext cx="191" cy="128"/>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66" name="TextBox 65"/>
          <p:cNvSpPr txBox="1"/>
          <p:nvPr/>
        </p:nvSpPr>
        <p:spPr>
          <a:xfrm>
            <a:off x="869640" y="4304213"/>
            <a:ext cx="810865" cy="276999"/>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900" b="1" i="0" u="none" strike="noStrike" kern="1200" cap="none" spc="0" normalizeH="0" baseline="0" noProof="0" dirty="0">
                <a:ln>
                  <a:noFill/>
                </a:ln>
                <a:solidFill>
                  <a:srgbClr val="5A5A5A"/>
                </a:solidFill>
                <a:effectLst/>
                <a:uLnTx/>
                <a:uFillTx/>
                <a:latin typeface="Open Sans"/>
                <a:ea typeface="+mn-ea"/>
                <a:cs typeface="+mn-cs"/>
              </a:rPr>
              <a:t>Purchase &amp; Pay</a:t>
            </a:r>
          </a:p>
        </p:txBody>
      </p:sp>
      <p:grpSp>
        <p:nvGrpSpPr>
          <p:cNvPr id="67" name="Group 144"/>
          <p:cNvGrpSpPr>
            <a:grpSpLocks noChangeAspect="1"/>
          </p:cNvGrpSpPr>
          <p:nvPr/>
        </p:nvGrpSpPr>
        <p:grpSpPr bwMode="auto">
          <a:xfrm>
            <a:off x="1183411" y="4036883"/>
            <a:ext cx="228600" cy="228600"/>
            <a:chOff x="2972" y="1300"/>
            <a:chExt cx="340" cy="340"/>
          </a:xfrm>
          <a:solidFill>
            <a:schemeClr val="accent1"/>
          </a:solidFill>
        </p:grpSpPr>
        <p:sp>
          <p:nvSpPr>
            <p:cNvPr id="68" name="Freeform 145"/>
            <p:cNvSpPr>
              <a:spLocks noEditPoints="1"/>
            </p:cNvSpPr>
            <p:nvPr/>
          </p:nvSpPr>
          <p:spPr bwMode="auto">
            <a:xfrm>
              <a:off x="2972" y="13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9" name="Freeform 146"/>
            <p:cNvSpPr>
              <a:spLocks noEditPoints="1"/>
            </p:cNvSpPr>
            <p:nvPr/>
          </p:nvSpPr>
          <p:spPr bwMode="auto">
            <a:xfrm>
              <a:off x="3041" y="1406"/>
              <a:ext cx="191" cy="128"/>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111" name="TextBox 110"/>
          <p:cNvSpPr txBox="1"/>
          <p:nvPr/>
        </p:nvSpPr>
        <p:spPr>
          <a:xfrm>
            <a:off x="831595" y="5041196"/>
            <a:ext cx="950370" cy="138499"/>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900" b="1" i="0" u="none" strike="noStrike" kern="1200" cap="none" spc="0" normalizeH="0" baseline="0" noProof="0" dirty="0">
                <a:ln>
                  <a:noFill/>
                </a:ln>
                <a:solidFill>
                  <a:srgbClr val="5A5A5A"/>
                </a:solidFill>
                <a:effectLst/>
                <a:uLnTx/>
                <a:uFillTx/>
                <a:latin typeface="Open Sans"/>
                <a:ea typeface="+mn-ea"/>
                <a:cs typeface="+mn-cs"/>
              </a:rPr>
              <a:t>Select</a:t>
            </a:r>
          </a:p>
        </p:txBody>
      </p:sp>
      <p:grpSp>
        <p:nvGrpSpPr>
          <p:cNvPr id="112" name="Group 8"/>
          <p:cNvGrpSpPr>
            <a:grpSpLocks noChangeAspect="1"/>
          </p:cNvGrpSpPr>
          <p:nvPr/>
        </p:nvGrpSpPr>
        <p:grpSpPr bwMode="auto">
          <a:xfrm>
            <a:off x="1187218" y="4789849"/>
            <a:ext cx="228600" cy="228600"/>
            <a:chOff x="1346" y="303"/>
            <a:chExt cx="340" cy="340"/>
          </a:xfrm>
          <a:solidFill>
            <a:schemeClr val="accent1"/>
          </a:solidFill>
        </p:grpSpPr>
        <p:sp>
          <p:nvSpPr>
            <p:cNvPr id="113" name="Freeform 9"/>
            <p:cNvSpPr>
              <a:spLocks noEditPoints="1"/>
            </p:cNvSpPr>
            <p:nvPr/>
          </p:nvSpPr>
          <p:spPr bwMode="auto">
            <a:xfrm>
              <a:off x="1346" y="3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14" name="Freeform 10"/>
            <p:cNvSpPr>
              <a:spLocks noEditPoints="1"/>
            </p:cNvSpPr>
            <p:nvPr/>
          </p:nvSpPr>
          <p:spPr bwMode="auto">
            <a:xfrm>
              <a:off x="1420" y="367"/>
              <a:ext cx="176" cy="212"/>
            </a:xfrm>
            <a:custGeom>
              <a:avLst/>
              <a:gdLst>
                <a:gd name="T0" fmla="*/ 230 w 265"/>
                <a:gd name="T1" fmla="*/ 320 h 320"/>
                <a:gd name="T2" fmla="*/ 222 w 265"/>
                <a:gd name="T3" fmla="*/ 302 h 320"/>
                <a:gd name="T4" fmla="*/ 240 w 265"/>
                <a:gd name="T5" fmla="*/ 192 h 320"/>
                <a:gd name="T6" fmla="*/ 219 w 265"/>
                <a:gd name="T7" fmla="*/ 190 h 320"/>
                <a:gd name="T8" fmla="*/ 209 w 265"/>
                <a:gd name="T9" fmla="*/ 202 h 320"/>
                <a:gd name="T10" fmla="*/ 209 w 265"/>
                <a:gd name="T11" fmla="*/ 202 h 320"/>
                <a:gd name="T12" fmla="*/ 198 w 265"/>
                <a:gd name="T13" fmla="*/ 181 h 320"/>
                <a:gd name="T14" fmla="*/ 177 w 265"/>
                <a:gd name="T15" fmla="*/ 181 h 320"/>
                <a:gd name="T16" fmla="*/ 166 w 265"/>
                <a:gd name="T17" fmla="*/ 202 h 320"/>
                <a:gd name="T18" fmla="*/ 155 w 265"/>
                <a:gd name="T19" fmla="*/ 160 h 320"/>
                <a:gd name="T20" fmla="*/ 134 w 265"/>
                <a:gd name="T21" fmla="*/ 160 h 320"/>
                <a:gd name="T22" fmla="*/ 123 w 265"/>
                <a:gd name="T23" fmla="*/ 202 h 320"/>
                <a:gd name="T24" fmla="*/ 113 w 265"/>
                <a:gd name="T25" fmla="*/ 106 h 320"/>
                <a:gd name="T26" fmla="*/ 91 w 265"/>
                <a:gd name="T27" fmla="*/ 106 h 320"/>
                <a:gd name="T28" fmla="*/ 85 w 265"/>
                <a:gd name="T29" fmla="*/ 244 h 320"/>
                <a:gd name="T30" fmla="*/ 41 w 265"/>
                <a:gd name="T31" fmla="*/ 185 h 320"/>
                <a:gd name="T32" fmla="*/ 27 w 265"/>
                <a:gd name="T33" fmla="*/ 181 h 320"/>
                <a:gd name="T34" fmla="*/ 27 w 265"/>
                <a:gd name="T35" fmla="*/ 199 h 320"/>
                <a:gd name="T36" fmla="*/ 100 w 265"/>
                <a:gd name="T37" fmla="*/ 315 h 320"/>
                <a:gd name="T38" fmla="*/ 86 w 265"/>
                <a:gd name="T39" fmla="*/ 318 h 320"/>
                <a:gd name="T40" fmla="*/ 18 w 265"/>
                <a:gd name="T41" fmla="*/ 162 h 320"/>
                <a:gd name="T42" fmla="*/ 61 w 265"/>
                <a:gd name="T43" fmla="*/ 176 h 320"/>
                <a:gd name="T44" fmla="*/ 70 w 265"/>
                <a:gd name="T45" fmla="*/ 106 h 320"/>
                <a:gd name="T46" fmla="*/ 134 w 265"/>
                <a:gd name="T47" fmla="*/ 106 h 320"/>
                <a:gd name="T48" fmla="*/ 145 w 265"/>
                <a:gd name="T49" fmla="*/ 128 h 320"/>
                <a:gd name="T50" fmla="*/ 187 w 265"/>
                <a:gd name="T51" fmla="*/ 149 h 320"/>
                <a:gd name="T52" fmla="*/ 230 w 265"/>
                <a:gd name="T53" fmla="*/ 160 h 320"/>
                <a:gd name="T54" fmla="*/ 262 w 265"/>
                <a:gd name="T55" fmla="*/ 234 h 320"/>
                <a:gd name="T56" fmla="*/ 102 w 265"/>
                <a:gd name="T57" fmla="*/ 53 h 320"/>
                <a:gd name="T58" fmla="*/ 113 w 265"/>
                <a:gd name="T59" fmla="*/ 10 h 320"/>
                <a:gd name="T60" fmla="*/ 91 w 265"/>
                <a:gd name="T61" fmla="*/ 10 h 320"/>
                <a:gd name="T62" fmla="*/ 102 w 265"/>
                <a:gd name="T63" fmla="*/ 53 h 320"/>
                <a:gd name="T64" fmla="*/ 142 w 265"/>
                <a:gd name="T65" fmla="*/ 61 h 320"/>
                <a:gd name="T66" fmla="*/ 163 w 265"/>
                <a:gd name="T67" fmla="*/ 24 h 320"/>
                <a:gd name="T68" fmla="*/ 126 w 265"/>
                <a:gd name="T69" fmla="*/ 45 h 320"/>
                <a:gd name="T70" fmla="*/ 134 w 265"/>
                <a:gd name="T71" fmla="*/ 64 h 320"/>
                <a:gd name="T72" fmla="*/ 70 w 265"/>
                <a:gd name="T73" fmla="*/ 64 h 320"/>
                <a:gd name="T74" fmla="*/ 78 w 265"/>
                <a:gd name="T75" fmla="*/ 45 h 320"/>
                <a:gd name="T76" fmla="*/ 41 w 265"/>
                <a:gd name="T77" fmla="*/ 24 h 320"/>
                <a:gd name="T78" fmla="*/ 62 w 265"/>
                <a:gd name="T79" fmla="*/ 61 h 320"/>
                <a:gd name="T80" fmla="*/ 155 w 265"/>
                <a:gd name="T81" fmla="*/ 96 h 320"/>
                <a:gd name="T82" fmla="*/ 187 w 265"/>
                <a:gd name="T83" fmla="*/ 85 h 320"/>
                <a:gd name="T84" fmla="*/ 155 w 265"/>
                <a:gd name="T85" fmla="*/ 74 h 320"/>
                <a:gd name="T86" fmla="*/ 27 w 265"/>
                <a:gd name="T87" fmla="*/ 96 h 320"/>
                <a:gd name="T88" fmla="*/ 59 w 265"/>
                <a:gd name="T89" fmla="*/ 85 h 320"/>
                <a:gd name="T90" fmla="*/ 27 w 265"/>
                <a:gd name="T91" fmla="*/ 74 h 320"/>
                <a:gd name="T92" fmla="*/ 27 w 265"/>
                <a:gd name="T93" fmla="*/ 9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5" h="320">
                  <a:moveTo>
                    <a:pt x="238" y="316"/>
                  </a:moveTo>
                  <a:cubicBezTo>
                    <a:pt x="236" y="318"/>
                    <a:pt x="233" y="320"/>
                    <a:pt x="230" y="320"/>
                  </a:cubicBezTo>
                  <a:cubicBezTo>
                    <a:pt x="227" y="320"/>
                    <a:pt x="225" y="319"/>
                    <a:pt x="223" y="317"/>
                  </a:cubicBezTo>
                  <a:cubicBezTo>
                    <a:pt x="218" y="313"/>
                    <a:pt x="218" y="307"/>
                    <a:pt x="222" y="302"/>
                  </a:cubicBezTo>
                  <a:cubicBezTo>
                    <a:pt x="243" y="277"/>
                    <a:pt x="240" y="236"/>
                    <a:pt x="240" y="235"/>
                  </a:cubicBezTo>
                  <a:cubicBezTo>
                    <a:pt x="240" y="192"/>
                    <a:pt x="240" y="192"/>
                    <a:pt x="240" y="192"/>
                  </a:cubicBezTo>
                  <a:cubicBezTo>
                    <a:pt x="240" y="186"/>
                    <a:pt x="235" y="181"/>
                    <a:pt x="230" y="181"/>
                  </a:cubicBezTo>
                  <a:cubicBezTo>
                    <a:pt x="224" y="181"/>
                    <a:pt x="220" y="185"/>
                    <a:pt x="219" y="190"/>
                  </a:cubicBezTo>
                  <a:cubicBezTo>
                    <a:pt x="219" y="192"/>
                    <a:pt x="219" y="192"/>
                    <a:pt x="219" y="192"/>
                  </a:cubicBezTo>
                  <a:cubicBezTo>
                    <a:pt x="219" y="198"/>
                    <a:pt x="215" y="202"/>
                    <a:pt x="209" y="202"/>
                  </a:cubicBezTo>
                  <a:cubicBezTo>
                    <a:pt x="209" y="202"/>
                    <a:pt x="209" y="202"/>
                    <a:pt x="209" y="202"/>
                  </a:cubicBezTo>
                  <a:cubicBezTo>
                    <a:pt x="209" y="202"/>
                    <a:pt x="209" y="202"/>
                    <a:pt x="209" y="202"/>
                  </a:cubicBezTo>
                  <a:cubicBezTo>
                    <a:pt x="203" y="202"/>
                    <a:pt x="198" y="198"/>
                    <a:pt x="198" y="192"/>
                  </a:cubicBezTo>
                  <a:cubicBezTo>
                    <a:pt x="198" y="181"/>
                    <a:pt x="198" y="181"/>
                    <a:pt x="198" y="181"/>
                  </a:cubicBezTo>
                  <a:cubicBezTo>
                    <a:pt x="198" y="175"/>
                    <a:pt x="193" y="170"/>
                    <a:pt x="187" y="170"/>
                  </a:cubicBezTo>
                  <a:cubicBezTo>
                    <a:pt x="181" y="170"/>
                    <a:pt x="177" y="175"/>
                    <a:pt x="177" y="181"/>
                  </a:cubicBezTo>
                  <a:cubicBezTo>
                    <a:pt x="177" y="192"/>
                    <a:pt x="177" y="192"/>
                    <a:pt x="177" y="192"/>
                  </a:cubicBezTo>
                  <a:cubicBezTo>
                    <a:pt x="177" y="198"/>
                    <a:pt x="172" y="202"/>
                    <a:pt x="166" y="202"/>
                  </a:cubicBezTo>
                  <a:cubicBezTo>
                    <a:pt x="160" y="202"/>
                    <a:pt x="155" y="198"/>
                    <a:pt x="155" y="192"/>
                  </a:cubicBezTo>
                  <a:cubicBezTo>
                    <a:pt x="155" y="160"/>
                    <a:pt x="155" y="160"/>
                    <a:pt x="155" y="160"/>
                  </a:cubicBezTo>
                  <a:cubicBezTo>
                    <a:pt x="155" y="154"/>
                    <a:pt x="151" y="149"/>
                    <a:pt x="145" y="149"/>
                  </a:cubicBezTo>
                  <a:cubicBezTo>
                    <a:pt x="139" y="149"/>
                    <a:pt x="134" y="154"/>
                    <a:pt x="134" y="160"/>
                  </a:cubicBezTo>
                  <a:cubicBezTo>
                    <a:pt x="134" y="192"/>
                    <a:pt x="134" y="192"/>
                    <a:pt x="134" y="192"/>
                  </a:cubicBezTo>
                  <a:cubicBezTo>
                    <a:pt x="134" y="198"/>
                    <a:pt x="129" y="202"/>
                    <a:pt x="123" y="202"/>
                  </a:cubicBezTo>
                  <a:cubicBezTo>
                    <a:pt x="117" y="202"/>
                    <a:pt x="113" y="198"/>
                    <a:pt x="113" y="192"/>
                  </a:cubicBezTo>
                  <a:cubicBezTo>
                    <a:pt x="113" y="106"/>
                    <a:pt x="113" y="106"/>
                    <a:pt x="113" y="106"/>
                  </a:cubicBezTo>
                  <a:cubicBezTo>
                    <a:pt x="113" y="100"/>
                    <a:pt x="108" y="96"/>
                    <a:pt x="102" y="96"/>
                  </a:cubicBezTo>
                  <a:cubicBezTo>
                    <a:pt x="96" y="96"/>
                    <a:pt x="91" y="100"/>
                    <a:pt x="91" y="106"/>
                  </a:cubicBezTo>
                  <a:cubicBezTo>
                    <a:pt x="91" y="234"/>
                    <a:pt x="91" y="234"/>
                    <a:pt x="91" y="234"/>
                  </a:cubicBezTo>
                  <a:cubicBezTo>
                    <a:pt x="91" y="239"/>
                    <a:pt x="89" y="242"/>
                    <a:pt x="85" y="244"/>
                  </a:cubicBezTo>
                  <a:cubicBezTo>
                    <a:pt x="81" y="246"/>
                    <a:pt x="77" y="245"/>
                    <a:pt x="74" y="242"/>
                  </a:cubicBezTo>
                  <a:cubicBezTo>
                    <a:pt x="60" y="230"/>
                    <a:pt x="44" y="192"/>
                    <a:pt x="41" y="185"/>
                  </a:cubicBezTo>
                  <a:cubicBezTo>
                    <a:pt x="40" y="183"/>
                    <a:pt x="38" y="181"/>
                    <a:pt x="35" y="180"/>
                  </a:cubicBezTo>
                  <a:cubicBezTo>
                    <a:pt x="33" y="180"/>
                    <a:pt x="30" y="180"/>
                    <a:pt x="27" y="181"/>
                  </a:cubicBezTo>
                  <a:cubicBezTo>
                    <a:pt x="23" y="183"/>
                    <a:pt x="23" y="192"/>
                    <a:pt x="26" y="198"/>
                  </a:cubicBezTo>
                  <a:cubicBezTo>
                    <a:pt x="26" y="198"/>
                    <a:pt x="27" y="198"/>
                    <a:pt x="27" y="199"/>
                  </a:cubicBezTo>
                  <a:cubicBezTo>
                    <a:pt x="27" y="199"/>
                    <a:pt x="54" y="273"/>
                    <a:pt x="97" y="300"/>
                  </a:cubicBezTo>
                  <a:cubicBezTo>
                    <a:pt x="102" y="303"/>
                    <a:pt x="103" y="310"/>
                    <a:pt x="100" y="315"/>
                  </a:cubicBezTo>
                  <a:cubicBezTo>
                    <a:pt x="98" y="318"/>
                    <a:pt x="95" y="320"/>
                    <a:pt x="91" y="320"/>
                  </a:cubicBezTo>
                  <a:cubicBezTo>
                    <a:pt x="89" y="320"/>
                    <a:pt x="87" y="319"/>
                    <a:pt x="86" y="318"/>
                  </a:cubicBezTo>
                  <a:cubicBezTo>
                    <a:pt x="38" y="288"/>
                    <a:pt x="10" y="214"/>
                    <a:pt x="7" y="207"/>
                  </a:cubicBezTo>
                  <a:cubicBezTo>
                    <a:pt x="0" y="191"/>
                    <a:pt x="2" y="170"/>
                    <a:pt x="18" y="162"/>
                  </a:cubicBezTo>
                  <a:cubicBezTo>
                    <a:pt x="25" y="158"/>
                    <a:pt x="34" y="157"/>
                    <a:pt x="42" y="160"/>
                  </a:cubicBezTo>
                  <a:cubicBezTo>
                    <a:pt x="50" y="163"/>
                    <a:pt x="57" y="169"/>
                    <a:pt x="61" y="176"/>
                  </a:cubicBezTo>
                  <a:cubicBezTo>
                    <a:pt x="63" y="183"/>
                    <a:pt x="66" y="190"/>
                    <a:pt x="70" y="197"/>
                  </a:cubicBezTo>
                  <a:cubicBezTo>
                    <a:pt x="70" y="106"/>
                    <a:pt x="70" y="106"/>
                    <a:pt x="70" y="106"/>
                  </a:cubicBezTo>
                  <a:cubicBezTo>
                    <a:pt x="70" y="89"/>
                    <a:pt x="84" y="74"/>
                    <a:pt x="102" y="74"/>
                  </a:cubicBezTo>
                  <a:cubicBezTo>
                    <a:pt x="120" y="74"/>
                    <a:pt x="134" y="89"/>
                    <a:pt x="134" y="106"/>
                  </a:cubicBezTo>
                  <a:cubicBezTo>
                    <a:pt x="134" y="130"/>
                    <a:pt x="134" y="130"/>
                    <a:pt x="134" y="130"/>
                  </a:cubicBezTo>
                  <a:cubicBezTo>
                    <a:pt x="137" y="128"/>
                    <a:pt x="141" y="128"/>
                    <a:pt x="145" y="128"/>
                  </a:cubicBezTo>
                  <a:cubicBezTo>
                    <a:pt x="159" y="128"/>
                    <a:pt x="172" y="138"/>
                    <a:pt x="175" y="151"/>
                  </a:cubicBezTo>
                  <a:cubicBezTo>
                    <a:pt x="179" y="150"/>
                    <a:pt x="183" y="149"/>
                    <a:pt x="187" y="149"/>
                  </a:cubicBezTo>
                  <a:cubicBezTo>
                    <a:pt x="199" y="149"/>
                    <a:pt x="209" y="155"/>
                    <a:pt x="214" y="164"/>
                  </a:cubicBezTo>
                  <a:cubicBezTo>
                    <a:pt x="219" y="161"/>
                    <a:pt x="224" y="160"/>
                    <a:pt x="230" y="160"/>
                  </a:cubicBezTo>
                  <a:cubicBezTo>
                    <a:pt x="247" y="160"/>
                    <a:pt x="262" y="174"/>
                    <a:pt x="262" y="192"/>
                  </a:cubicBezTo>
                  <a:cubicBezTo>
                    <a:pt x="262" y="234"/>
                    <a:pt x="262" y="234"/>
                    <a:pt x="262" y="234"/>
                  </a:cubicBezTo>
                  <a:cubicBezTo>
                    <a:pt x="262" y="236"/>
                    <a:pt x="265" y="284"/>
                    <a:pt x="238" y="316"/>
                  </a:cubicBezTo>
                  <a:close/>
                  <a:moveTo>
                    <a:pt x="102" y="53"/>
                  </a:moveTo>
                  <a:cubicBezTo>
                    <a:pt x="108" y="53"/>
                    <a:pt x="113" y="48"/>
                    <a:pt x="113" y="42"/>
                  </a:cubicBezTo>
                  <a:cubicBezTo>
                    <a:pt x="113" y="10"/>
                    <a:pt x="113" y="10"/>
                    <a:pt x="113" y="10"/>
                  </a:cubicBezTo>
                  <a:cubicBezTo>
                    <a:pt x="113" y="4"/>
                    <a:pt x="108" y="0"/>
                    <a:pt x="102" y="0"/>
                  </a:cubicBezTo>
                  <a:cubicBezTo>
                    <a:pt x="96" y="0"/>
                    <a:pt x="91" y="4"/>
                    <a:pt x="91" y="10"/>
                  </a:cubicBezTo>
                  <a:cubicBezTo>
                    <a:pt x="91" y="42"/>
                    <a:pt x="91" y="42"/>
                    <a:pt x="91" y="42"/>
                  </a:cubicBezTo>
                  <a:cubicBezTo>
                    <a:pt x="91" y="48"/>
                    <a:pt x="96" y="53"/>
                    <a:pt x="102" y="53"/>
                  </a:cubicBezTo>
                  <a:close/>
                  <a:moveTo>
                    <a:pt x="134" y="64"/>
                  </a:moveTo>
                  <a:cubicBezTo>
                    <a:pt x="137" y="64"/>
                    <a:pt x="139" y="63"/>
                    <a:pt x="142" y="61"/>
                  </a:cubicBezTo>
                  <a:cubicBezTo>
                    <a:pt x="163" y="39"/>
                    <a:pt x="163" y="39"/>
                    <a:pt x="163" y="39"/>
                  </a:cubicBezTo>
                  <a:cubicBezTo>
                    <a:pt x="167" y="35"/>
                    <a:pt x="167" y="28"/>
                    <a:pt x="163" y="24"/>
                  </a:cubicBezTo>
                  <a:cubicBezTo>
                    <a:pt x="159" y="20"/>
                    <a:pt x="152" y="20"/>
                    <a:pt x="148" y="24"/>
                  </a:cubicBezTo>
                  <a:cubicBezTo>
                    <a:pt x="126" y="45"/>
                    <a:pt x="126" y="45"/>
                    <a:pt x="126" y="45"/>
                  </a:cubicBezTo>
                  <a:cubicBezTo>
                    <a:pt x="122" y="50"/>
                    <a:pt x="122" y="56"/>
                    <a:pt x="126" y="61"/>
                  </a:cubicBezTo>
                  <a:cubicBezTo>
                    <a:pt x="129" y="63"/>
                    <a:pt x="131" y="64"/>
                    <a:pt x="134" y="64"/>
                  </a:cubicBezTo>
                  <a:close/>
                  <a:moveTo>
                    <a:pt x="62" y="61"/>
                  </a:moveTo>
                  <a:cubicBezTo>
                    <a:pt x="65" y="63"/>
                    <a:pt x="67" y="64"/>
                    <a:pt x="70" y="64"/>
                  </a:cubicBezTo>
                  <a:cubicBezTo>
                    <a:pt x="73" y="64"/>
                    <a:pt x="75" y="63"/>
                    <a:pt x="78" y="61"/>
                  </a:cubicBezTo>
                  <a:cubicBezTo>
                    <a:pt x="82" y="56"/>
                    <a:pt x="82" y="50"/>
                    <a:pt x="78" y="45"/>
                  </a:cubicBezTo>
                  <a:cubicBezTo>
                    <a:pt x="56" y="24"/>
                    <a:pt x="56" y="24"/>
                    <a:pt x="56" y="24"/>
                  </a:cubicBezTo>
                  <a:cubicBezTo>
                    <a:pt x="52" y="20"/>
                    <a:pt x="45" y="20"/>
                    <a:pt x="41" y="24"/>
                  </a:cubicBezTo>
                  <a:cubicBezTo>
                    <a:pt x="37" y="28"/>
                    <a:pt x="37" y="35"/>
                    <a:pt x="41" y="39"/>
                  </a:cubicBezTo>
                  <a:lnTo>
                    <a:pt x="62" y="61"/>
                  </a:lnTo>
                  <a:close/>
                  <a:moveTo>
                    <a:pt x="145" y="85"/>
                  </a:moveTo>
                  <a:cubicBezTo>
                    <a:pt x="145" y="91"/>
                    <a:pt x="149" y="96"/>
                    <a:pt x="155" y="96"/>
                  </a:cubicBezTo>
                  <a:cubicBezTo>
                    <a:pt x="177" y="96"/>
                    <a:pt x="177" y="96"/>
                    <a:pt x="177" y="96"/>
                  </a:cubicBezTo>
                  <a:cubicBezTo>
                    <a:pt x="183" y="96"/>
                    <a:pt x="187" y="91"/>
                    <a:pt x="187" y="85"/>
                  </a:cubicBezTo>
                  <a:cubicBezTo>
                    <a:pt x="187" y="79"/>
                    <a:pt x="183" y="74"/>
                    <a:pt x="177" y="74"/>
                  </a:cubicBezTo>
                  <a:cubicBezTo>
                    <a:pt x="155" y="74"/>
                    <a:pt x="155" y="74"/>
                    <a:pt x="155" y="74"/>
                  </a:cubicBezTo>
                  <a:cubicBezTo>
                    <a:pt x="149" y="74"/>
                    <a:pt x="145" y="79"/>
                    <a:pt x="145" y="85"/>
                  </a:cubicBezTo>
                  <a:close/>
                  <a:moveTo>
                    <a:pt x="27" y="96"/>
                  </a:moveTo>
                  <a:cubicBezTo>
                    <a:pt x="49" y="96"/>
                    <a:pt x="49" y="96"/>
                    <a:pt x="49" y="96"/>
                  </a:cubicBezTo>
                  <a:cubicBezTo>
                    <a:pt x="55" y="96"/>
                    <a:pt x="59" y="91"/>
                    <a:pt x="59" y="85"/>
                  </a:cubicBezTo>
                  <a:cubicBezTo>
                    <a:pt x="59" y="79"/>
                    <a:pt x="55" y="74"/>
                    <a:pt x="49" y="74"/>
                  </a:cubicBezTo>
                  <a:cubicBezTo>
                    <a:pt x="27" y="74"/>
                    <a:pt x="27" y="74"/>
                    <a:pt x="27" y="74"/>
                  </a:cubicBezTo>
                  <a:cubicBezTo>
                    <a:pt x="21" y="74"/>
                    <a:pt x="17" y="79"/>
                    <a:pt x="17" y="85"/>
                  </a:cubicBezTo>
                  <a:cubicBezTo>
                    <a:pt x="17" y="91"/>
                    <a:pt x="21" y="96"/>
                    <a:pt x="27" y="9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115" name="TextBox 114"/>
          <p:cNvSpPr txBox="1"/>
          <p:nvPr/>
        </p:nvSpPr>
        <p:spPr>
          <a:xfrm>
            <a:off x="843006" y="5721139"/>
            <a:ext cx="950370" cy="138499"/>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900" b="1" i="0" u="none" strike="noStrike" kern="1200" cap="none" spc="0" normalizeH="0" baseline="0" noProof="0" dirty="0">
                <a:ln>
                  <a:noFill/>
                </a:ln>
                <a:solidFill>
                  <a:srgbClr val="5A5A5A"/>
                </a:solidFill>
                <a:effectLst/>
                <a:uLnTx/>
                <a:uFillTx/>
                <a:latin typeface="Open Sans"/>
                <a:ea typeface="+mn-ea"/>
                <a:cs typeface="+mn-cs"/>
              </a:rPr>
              <a:t>Select</a:t>
            </a:r>
          </a:p>
        </p:txBody>
      </p:sp>
      <p:grpSp>
        <p:nvGrpSpPr>
          <p:cNvPr id="116" name="Group 8"/>
          <p:cNvGrpSpPr>
            <a:grpSpLocks noChangeAspect="1"/>
          </p:cNvGrpSpPr>
          <p:nvPr/>
        </p:nvGrpSpPr>
        <p:grpSpPr bwMode="auto">
          <a:xfrm>
            <a:off x="1198629" y="5469792"/>
            <a:ext cx="228600" cy="228600"/>
            <a:chOff x="1346" y="303"/>
            <a:chExt cx="340" cy="340"/>
          </a:xfrm>
          <a:solidFill>
            <a:schemeClr val="accent1"/>
          </a:solidFill>
        </p:grpSpPr>
        <p:sp>
          <p:nvSpPr>
            <p:cNvPr id="117" name="Freeform 9"/>
            <p:cNvSpPr>
              <a:spLocks noEditPoints="1"/>
            </p:cNvSpPr>
            <p:nvPr/>
          </p:nvSpPr>
          <p:spPr bwMode="auto">
            <a:xfrm>
              <a:off x="1346" y="3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18" name="Freeform 10"/>
            <p:cNvSpPr>
              <a:spLocks noEditPoints="1"/>
            </p:cNvSpPr>
            <p:nvPr/>
          </p:nvSpPr>
          <p:spPr bwMode="auto">
            <a:xfrm>
              <a:off x="1420" y="367"/>
              <a:ext cx="176" cy="212"/>
            </a:xfrm>
            <a:custGeom>
              <a:avLst/>
              <a:gdLst>
                <a:gd name="T0" fmla="*/ 230 w 265"/>
                <a:gd name="T1" fmla="*/ 320 h 320"/>
                <a:gd name="T2" fmla="*/ 222 w 265"/>
                <a:gd name="T3" fmla="*/ 302 h 320"/>
                <a:gd name="T4" fmla="*/ 240 w 265"/>
                <a:gd name="T5" fmla="*/ 192 h 320"/>
                <a:gd name="T6" fmla="*/ 219 w 265"/>
                <a:gd name="T7" fmla="*/ 190 h 320"/>
                <a:gd name="T8" fmla="*/ 209 w 265"/>
                <a:gd name="T9" fmla="*/ 202 h 320"/>
                <a:gd name="T10" fmla="*/ 209 w 265"/>
                <a:gd name="T11" fmla="*/ 202 h 320"/>
                <a:gd name="T12" fmla="*/ 198 w 265"/>
                <a:gd name="T13" fmla="*/ 181 h 320"/>
                <a:gd name="T14" fmla="*/ 177 w 265"/>
                <a:gd name="T15" fmla="*/ 181 h 320"/>
                <a:gd name="T16" fmla="*/ 166 w 265"/>
                <a:gd name="T17" fmla="*/ 202 h 320"/>
                <a:gd name="T18" fmla="*/ 155 w 265"/>
                <a:gd name="T19" fmla="*/ 160 h 320"/>
                <a:gd name="T20" fmla="*/ 134 w 265"/>
                <a:gd name="T21" fmla="*/ 160 h 320"/>
                <a:gd name="T22" fmla="*/ 123 w 265"/>
                <a:gd name="T23" fmla="*/ 202 h 320"/>
                <a:gd name="T24" fmla="*/ 113 w 265"/>
                <a:gd name="T25" fmla="*/ 106 h 320"/>
                <a:gd name="T26" fmla="*/ 91 w 265"/>
                <a:gd name="T27" fmla="*/ 106 h 320"/>
                <a:gd name="T28" fmla="*/ 85 w 265"/>
                <a:gd name="T29" fmla="*/ 244 h 320"/>
                <a:gd name="T30" fmla="*/ 41 w 265"/>
                <a:gd name="T31" fmla="*/ 185 h 320"/>
                <a:gd name="T32" fmla="*/ 27 w 265"/>
                <a:gd name="T33" fmla="*/ 181 h 320"/>
                <a:gd name="T34" fmla="*/ 27 w 265"/>
                <a:gd name="T35" fmla="*/ 199 h 320"/>
                <a:gd name="T36" fmla="*/ 100 w 265"/>
                <a:gd name="T37" fmla="*/ 315 h 320"/>
                <a:gd name="T38" fmla="*/ 86 w 265"/>
                <a:gd name="T39" fmla="*/ 318 h 320"/>
                <a:gd name="T40" fmla="*/ 18 w 265"/>
                <a:gd name="T41" fmla="*/ 162 h 320"/>
                <a:gd name="T42" fmla="*/ 61 w 265"/>
                <a:gd name="T43" fmla="*/ 176 h 320"/>
                <a:gd name="T44" fmla="*/ 70 w 265"/>
                <a:gd name="T45" fmla="*/ 106 h 320"/>
                <a:gd name="T46" fmla="*/ 134 w 265"/>
                <a:gd name="T47" fmla="*/ 106 h 320"/>
                <a:gd name="T48" fmla="*/ 145 w 265"/>
                <a:gd name="T49" fmla="*/ 128 h 320"/>
                <a:gd name="T50" fmla="*/ 187 w 265"/>
                <a:gd name="T51" fmla="*/ 149 h 320"/>
                <a:gd name="T52" fmla="*/ 230 w 265"/>
                <a:gd name="T53" fmla="*/ 160 h 320"/>
                <a:gd name="T54" fmla="*/ 262 w 265"/>
                <a:gd name="T55" fmla="*/ 234 h 320"/>
                <a:gd name="T56" fmla="*/ 102 w 265"/>
                <a:gd name="T57" fmla="*/ 53 h 320"/>
                <a:gd name="T58" fmla="*/ 113 w 265"/>
                <a:gd name="T59" fmla="*/ 10 h 320"/>
                <a:gd name="T60" fmla="*/ 91 w 265"/>
                <a:gd name="T61" fmla="*/ 10 h 320"/>
                <a:gd name="T62" fmla="*/ 102 w 265"/>
                <a:gd name="T63" fmla="*/ 53 h 320"/>
                <a:gd name="T64" fmla="*/ 142 w 265"/>
                <a:gd name="T65" fmla="*/ 61 h 320"/>
                <a:gd name="T66" fmla="*/ 163 w 265"/>
                <a:gd name="T67" fmla="*/ 24 h 320"/>
                <a:gd name="T68" fmla="*/ 126 w 265"/>
                <a:gd name="T69" fmla="*/ 45 h 320"/>
                <a:gd name="T70" fmla="*/ 134 w 265"/>
                <a:gd name="T71" fmla="*/ 64 h 320"/>
                <a:gd name="T72" fmla="*/ 70 w 265"/>
                <a:gd name="T73" fmla="*/ 64 h 320"/>
                <a:gd name="T74" fmla="*/ 78 w 265"/>
                <a:gd name="T75" fmla="*/ 45 h 320"/>
                <a:gd name="T76" fmla="*/ 41 w 265"/>
                <a:gd name="T77" fmla="*/ 24 h 320"/>
                <a:gd name="T78" fmla="*/ 62 w 265"/>
                <a:gd name="T79" fmla="*/ 61 h 320"/>
                <a:gd name="T80" fmla="*/ 155 w 265"/>
                <a:gd name="T81" fmla="*/ 96 h 320"/>
                <a:gd name="T82" fmla="*/ 187 w 265"/>
                <a:gd name="T83" fmla="*/ 85 h 320"/>
                <a:gd name="T84" fmla="*/ 155 w 265"/>
                <a:gd name="T85" fmla="*/ 74 h 320"/>
                <a:gd name="T86" fmla="*/ 27 w 265"/>
                <a:gd name="T87" fmla="*/ 96 h 320"/>
                <a:gd name="T88" fmla="*/ 59 w 265"/>
                <a:gd name="T89" fmla="*/ 85 h 320"/>
                <a:gd name="T90" fmla="*/ 27 w 265"/>
                <a:gd name="T91" fmla="*/ 74 h 320"/>
                <a:gd name="T92" fmla="*/ 27 w 265"/>
                <a:gd name="T93" fmla="*/ 9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5" h="320">
                  <a:moveTo>
                    <a:pt x="238" y="316"/>
                  </a:moveTo>
                  <a:cubicBezTo>
                    <a:pt x="236" y="318"/>
                    <a:pt x="233" y="320"/>
                    <a:pt x="230" y="320"/>
                  </a:cubicBezTo>
                  <a:cubicBezTo>
                    <a:pt x="227" y="320"/>
                    <a:pt x="225" y="319"/>
                    <a:pt x="223" y="317"/>
                  </a:cubicBezTo>
                  <a:cubicBezTo>
                    <a:pt x="218" y="313"/>
                    <a:pt x="218" y="307"/>
                    <a:pt x="222" y="302"/>
                  </a:cubicBezTo>
                  <a:cubicBezTo>
                    <a:pt x="243" y="277"/>
                    <a:pt x="240" y="236"/>
                    <a:pt x="240" y="235"/>
                  </a:cubicBezTo>
                  <a:cubicBezTo>
                    <a:pt x="240" y="192"/>
                    <a:pt x="240" y="192"/>
                    <a:pt x="240" y="192"/>
                  </a:cubicBezTo>
                  <a:cubicBezTo>
                    <a:pt x="240" y="186"/>
                    <a:pt x="235" y="181"/>
                    <a:pt x="230" y="181"/>
                  </a:cubicBezTo>
                  <a:cubicBezTo>
                    <a:pt x="224" y="181"/>
                    <a:pt x="220" y="185"/>
                    <a:pt x="219" y="190"/>
                  </a:cubicBezTo>
                  <a:cubicBezTo>
                    <a:pt x="219" y="192"/>
                    <a:pt x="219" y="192"/>
                    <a:pt x="219" y="192"/>
                  </a:cubicBezTo>
                  <a:cubicBezTo>
                    <a:pt x="219" y="198"/>
                    <a:pt x="215" y="202"/>
                    <a:pt x="209" y="202"/>
                  </a:cubicBezTo>
                  <a:cubicBezTo>
                    <a:pt x="209" y="202"/>
                    <a:pt x="209" y="202"/>
                    <a:pt x="209" y="202"/>
                  </a:cubicBezTo>
                  <a:cubicBezTo>
                    <a:pt x="209" y="202"/>
                    <a:pt x="209" y="202"/>
                    <a:pt x="209" y="202"/>
                  </a:cubicBezTo>
                  <a:cubicBezTo>
                    <a:pt x="203" y="202"/>
                    <a:pt x="198" y="198"/>
                    <a:pt x="198" y="192"/>
                  </a:cubicBezTo>
                  <a:cubicBezTo>
                    <a:pt x="198" y="181"/>
                    <a:pt x="198" y="181"/>
                    <a:pt x="198" y="181"/>
                  </a:cubicBezTo>
                  <a:cubicBezTo>
                    <a:pt x="198" y="175"/>
                    <a:pt x="193" y="170"/>
                    <a:pt x="187" y="170"/>
                  </a:cubicBezTo>
                  <a:cubicBezTo>
                    <a:pt x="181" y="170"/>
                    <a:pt x="177" y="175"/>
                    <a:pt x="177" y="181"/>
                  </a:cubicBezTo>
                  <a:cubicBezTo>
                    <a:pt x="177" y="192"/>
                    <a:pt x="177" y="192"/>
                    <a:pt x="177" y="192"/>
                  </a:cubicBezTo>
                  <a:cubicBezTo>
                    <a:pt x="177" y="198"/>
                    <a:pt x="172" y="202"/>
                    <a:pt x="166" y="202"/>
                  </a:cubicBezTo>
                  <a:cubicBezTo>
                    <a:pt x="160" y="202"/>
                    <a:pt x="155" y="198"/>
                    <a:pt x="155" y="192"/>
                  </a:cubicBezTo>
                  <a:cubicBezTo>
                    <a:pt x="155" y="160"/>
                    <a:pt x="155" y="160"/>
                    <a:pt x="155" y="160"/>
                  </a:cubicBezTo>
                  <a:cubicBezTo>
                    <a:pt x="155" y="154"/>
                    <a:pt x="151" y="149"/>
                    <a:pt x="145" y="149"/>
                  </a:cubicBezTo>
                  <a:cubicBezTo>
                    <a:pt x="139" y="149"/>
                    <a:pt x="134" y="154"/>
                    <a:pt x="134" y="160"/>
                  </a:cubicBezTo>
                  <a:cubicBezTo>
                    <a:pt x="134" y="192"/>
                    <a:pt x="134" y="192"/>
                    <a:pt x="134" y="192"/>
                  </a:cubicBezTo>
                  <a:cubicBezTo>
                    <a:pt x="134" y="198"/>
                    <a:pt x="129" y="202"/>
                    <a:pt x="123" y="202"/>
                  </a:cubicBezTo>
                  <a:cubicBezTo>
                    <a:pt x="117" y="202"/>
                    <a:pt x="113" y="198"/>
                    <a:pt x="113" y="192"/>
                  </a:cubicBezTo>
                  <a:cubicBezTo>
                    <a:pt x="113" y="106"/>
                    <a:pt x="113" y="106"/>
                    <a:pt x="113" y="106"/>
                  </a:cubicBezTo>
                  <a:cubicBezTo>
                    <a:pt x="113" y="100"/>
                    <a:pt x="108" y="96"/>
                    <a:pt x="102" y="96"/>
                  </a:cubicBezTo>
                  <a:cubicBezTo>
                    <a:pt x="96" y="96"/>
                    <a:pt x="91" y="100"/>
                    <a:pt x="91" y="106"/>
                  </a:cubicBezTo>
                  <a:cubicBezTo>
                    <a:pt x="91" y="234"/>
                    <a:pt x="91" y="234"/>
                    <a:pt x="91" y="234"/>
                  </a:cubicBezTo>
                  <a:cubicBezTo>
                    <a:pt x="91" y="239"/>
                    <a:pt x="89" y="242"/>
                    <a:pt x="85" y="244"/>
                  </a:cubicBezTo>
                  <a:cubicBezTo>
                    <a:pt x="81" y="246"/>
                    <a:pt x="77" y="245"/>
                    <a:pt x="74" y="242"/>
                  </a:cubicBezTo>
                  <a:cubicBezTo>
                    <a:pt x="60" y="230"/>
                    <a:pt x="44" y="192"/>
                    <a:pt x="41" y="185"/>
                  </a:cubicBezTo>
                  <a:cubicBezTo>
                    <a:pt x="40" y="183"/>
                    <a:pt x="38" y="181"/>
                    <a:pt x="35" y="180"/>
                  </a:cubicBezTo>
                  <a:cubicBezTo>
                    <a:pt x="33" y="180"/>
                    <a:pt x="30" y="180"/>
                    <a:pt x="27" y="181"/>
                  </a:cubicBezTo>
                  <a:cubicBezTo>
                    <a:pt x="23" y="183"/>
                    <a:pt x="23" y="192"/>
                    <a:pt x="26" y="198"/>
                  </a:cubicBezTo>
                  <a:cubicBezTo>
                    <a:pt x="26" y="198"/>
                    <a:pt x="27" y="198"/>
                    <a:pt x="27" y="199"/>
                  </a:cubicBezTo>
                  <a:cubicBezTo>
                    <a:pt x="27" y="199"/>
                    <a:pt x="54" y="273"/>
                    <a:pt x="97" y="300"/>
                  </a:cubicBezTo>
                  <a:cubicBezTo>
                    <a:pt x="102" y="303"/>
                    <a:pt x="103" y="310"/>
                    <a:pt x="100" y="315"/>
                  </a:cubicBezTo>
                  <a:cubicBezTo>
                    <a:pt x="98" y="318"/>
                    <a:pt x="95" y="320"/>
                    <a:pt x="91" y="320"/>
                  </a:cubicBezTo>
                  <a:cubicBezTo>
                    <a:pt x="89" y="320"/>
                    <a:pt x="87" y="319"/>
                    <a:pt x="86" y="318"/>
                  </a:cubicBezTo>
                  <a:cubicBezTo>
                    <a:pt x="38" y="288"/>
                    <a:pt x="10" y="214"/>
                    <a:pt x="7" y="207"/>
                  </a:cubicBezTo>
                  <a:cubicBezTo>
                    <a:pt x="0" y="191"/>
                    <a:pt x="2" y="170"/>
                    <a:pt x="18" y="162"/>
                  </a:cubicBezTo>
                  <a:cubicBezTo>
                    <a:pt x="25" y="158"/>
                    <a:pt x="34" y="157"/>
                    <a:pt x="42" y="160"/>
                  </a:cubicBezTo>
                  <a:cubicBezTo>
                    <a:pt x="50" y="163"/>
                    <a:pt x="57" y="169"/>
                    <a:pt x="61" y="176"/>
                  </a:cubicBezTo>
                  <a:cubicBezTo>
                    <a:pt x="63" y="183"/>
                    <a:pt x="66" y="190"/>
                    <a:pt x="70" y="197"/>
                  </a:cubicBezTo>
                  <a:cubicBezTo>
                    <a:pt x="70" y="106"/>
                    <a:pt x="70" y="106"/>
                    <a:pt x="70" y="106"/>
                  </a:cubicBezTo>
                  <a:cubicBezTo>
                    <a:pt x="70" y="89"/>
                    <a:pt x="84" y="74"/>
                    <a:pt x="102" y="74"/>
                  </a:cubicBezTo>
                  <a:cubicBezTo>
                    <a:pt x="120" y="74"/>
                    <a:pt x="134" y="89"/>
                    <a:pt x="134" y="106"/>
                  </a:cubicBezTo>
                  <a:cubicBezTo>
                    <a:pt x="134" y="130"/>
                    <a:pt x="134" y="130"/>
                    <a:pt x="134" y="130"/>
                  </a:cubicBezTo>
                  <a:cubicBezTo>
                    <a:pt x="137" y="128"/>
                    <a:pt x="141" y="128"/>
                    <a:pt x="145" y="128"/>
                  </a:cubicBezTo>
                  <a:cubicBezTo>
                    <a:pt x="159" y="128"/>
                    <a:pt x="172" y="138"/>
                    <a:pt x="175" y="151"/>
                  </a:cubicBezTo>
                  <a:cubicBezTo>
                    <a:pt x="179" y="150"/>
                    <a:pt x="183" y="149"/>
                    <a:pt x="187" y="149"/>
                  </a:cubicBezTo>
                  <a:cubicBezTo>
                    <a:pt x="199" y="149"/>
                    <a:pt x="209" y="155"/>
                    <a:pt x="214" y="164"/>
                  </a:cubicBezTo>
                  <a:cubicBezTo>
                    <a:pt x="219" y="161"/>
                    <a:pt x="224" y="160"/>
                    <a:pt x="230" y="160"/>
                  </a:cubicBezTo>
                  <a:cubicBezTo>
                    <a:pt x="247" y="160"/>
                    <a:pt x="262" y="174"/>
                    <a:pt x="262" y="192"/>
                  </a:cubicBezTo>
                  <a:cubicBezTo>
                    <a:pt x="262" y="234"/>
                    <a:pt x="262" y="234"/>
                    <a:pt x="262" y="234"/>
                  </a:cubicBezTo>
                  <a:cubicBezTo>
                    <a:pt x="262" y="236"/>
                    <a:pt x="265" y="284"/>
                    <a:pt x="238" y="316"/>
                  </a:cubicBezTo>
                  <a:close/>
                  <a:moveTo>
                    <a:pt x="102" y="53"/>
                  </a:moveTo>
                  <a:cubicBezTo>
                    <a:pt x="108" y="53"/>
                    <a:pt x="113" y="48"/>
                    <a:pt x="113" y="42"/>
                  </a:cubicBezTo>
                  <a:cubicBezTo>
                    <a:pt x="113" y="10"/>
                    <a:pt x="113" y="10"/>
                    <a:pt x="113" y="10"/>
                  </a:cubicBezTo>
                  <a:cubicBezTo>
                    <a:pt x="113" y="4"/>
                    <a:pt x="108" y="0"/>
                    <a:pt x="102" y="0"/>
                  </a:cubicBezTo>
                  <a:cubicBezTo>
                    <a:pt x="96" y="0"/>
                    <a:pt x="91" y="4"/>
                    <a:pt x="91" y="10"/>
                  </a:cubicBezTo>
                  <a:cubicBezTo>
                    <a:pt x="91" y="42"/>
                    <a:pt x="91" y="42"/>
                    <a:pt x="91" y="42"/>
                  </a:cubicBezTo>
                  <a:cubicBezTo>
                    <a:pt x="91" y="48"/>
                    <a:pt x="96" y="53"/>
                    <a:pt x="102" y="53"/>
                  </a:cubicBezTo>
                  <a:close/>
                  <a:moveTo>
                    <a:pt x="134" y="64"/>
                  </a:moveTo>
                  <a:cubicBezTo>
                    <a:pt x="137" y="64"/>
                    <a:pt x="139" y="63"/>
                    <a:pt x="142" y="61"/>
                  </a:cubicBezTo>
                  <a:cubicBezTo>
                    <a:pt x="163" y="39"/>
                    <a:pt x="163" y="39"/>
                    <a:pt x="163" y="39"/>
                  </a:cubicBezTo>
                  <a:cubicBezTo>
                    <a:pt x="167" y="35"/>
                    <a:pt x="167" y="28"/>
                    <a:pt x="163" y="24"/>
                  </a:cubicBezTo>
                  <a:cubicBezTo>
                    <a:pt x="159" y="20"/>
                    <a:pt x="152" y="20"/>
                    <a:pt x="148" y="24"/>
                  </a:cubicBezTo>
                  <a:cubicBezTo>
                    <a:pt x="126" y="45"/>
                    <a:pt x="126" y="45"/>
                    <a:pt x="126" y="45"/>
                  </a:cubicBezTo>
                  <a:cubicBezTo>
                    <a:pt x="122" y="50"/>
                    <a:pt x="122" y="56"/>
                    <a:pt x="126" y="61"/>
                  </a:cubicBezTo>
                  <a:cubicBezTo>
                    <a:pt x="129" y="63"/>
                    <a:pt x="131" y="64"/>
                    <a:pt x="134" y="64"/>
                  </a:cubicBezTo>
                  <a:close/>
                  <a:moveTo>
                    <a:pt x="62" y="61"/>
                  </a:moveTo>
                  <a:cubicBezTo>
                    <a:pt x="65" y="63"/>
                    <a:pt x="67" y="64"/>
                    <a:pt x="70" y="64"/>
                  </a:cubicBezTo>
                  <a:cubicBezTo>
                    <a:pt x="73" y="64"/>
                    <a:pt x="75" y="63"/>
                    <a:pt x="78" y="61"/>
                  </a:cubicBezTo>
                  <a:cubicBezTo>
                    <a:pt x="82" y="56"/>
                    <a:pt x="82" y="50"/>
                    <a:pt x="78" y="45"/>
                  </a:cubicBezTo>
                  <a:cubicBezTo>
                    <a:pt x="56" y="24"/>
                    <a:pt x="56" y="24"/>
                    <a:pt x="56" y="24"/>
                  </a:cubicBezTo>
                  <a:cubicBezTo>
                    <a:pt x="52" y="20"/>
                    <a:pt x="45" y="20"/>
                    <a:pt x="41" y="24"/>
                  </a:cubicBezTo>
                  <a:cubicBezTo>
                    <a:pt x="37" y="28"/>
                    <a:pt x="37" y="35"/>
                    <a:pt x="41" y="39"/>
                  </a:cubicBezTo>
                  <a:lnTo>
                    <a:pt x="62" y="61"/>
                  </a:lnTo>
                  <a:close/>
                  <a:moveTo>
                    <a:pt x="145" y="85"/>
                  </a:moveTo>
                  <a:cubicBezTo>
                    <a:pt x="145" y="91"/>
                    <a:pt x="149" y="96"/>
                    <a:pt x="155" y="96"/>
                  </a:cubicBezTo>
                  <a:cubicBezTo>
                    <a:pt x="177" y="96"/>
                    <a:pt x="177" y="96"/>
                    <a:pt x="177" y="96"/>
                  </a:cubicBezTo>
                  <a:cubicBezTo>
                    <a:pt x="183" y="96"/>
                    <a:pt x="187" y="91"/>
                    <a:pt x="187" y="85"/>
                  </a:cubicBezTo>
                  <a:cubicBezTo>
                    <a:pt x="187" y="79"/>
                    <a:pt x="183" y="74"/>
                    <a:pt x="177" y="74"/>
                  </a:cubicBezTo>
                  <a:cubicBezTo>
                    <a:pt x="155" y="74"/>
                    <a:pt x="155" y="74"/>
                    <a:pt x="155" y="74"/>
                  </a:cubicBezTo>
                  <a:cubicBezTo>
                    <a:pt x="149" y="74"/>
                    <a:pt x="145" y="79"/>
                    <a:pt x="145" y="85"/>
                  </a:cubicBezTo>
                  <a:close/>
                  <a:moveTo>
                    <a:pt x="27" y="96"/>
                  </a:moveTo>
                  <a:cubicBezTo>
                    <a:pt x="49" y="96"/>
                    <a:pt x="49" y="96"/>
                    <a:pt x="49" y="96"/>
                  </a:cubicBezTo>
                  <a:cubicBezTo>
                    <a:pt x="55" y="96"/>
                    <a:pt x="59" y="91"/>
                    <a:pt x="59" y="85"/>
                  </a:cubicBezTo>
                  <a:cubicBezTo>
                    <a:pt x="59" y="79"/>
                    <a:pt x="55" y="74"/>
                    <a:pt x="49" y="74"/>
                  </a:cubicBezTo>
                  <a:cubicBezTo>
                    <a:pt x="27" y="74"/>
                    <a:pt x="27" y="74"/>
                    <a:pt x="27" y="74"/>
                  </a:cubicBezTo>
                  <a:cubicBezTo>
                    <a:pt x="21" y="74"/>
                    <a:pt x="17" y="79"/>
                    <a:pt x="17" y="85"/>
                  </a:cubicBezTo>
                  <a:cubicBezTo>
                    <a:pt x="17" y="91"/>
                    <a:pt x="21" y="96"/>
                    <a:pt x="27" y="9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119" name="Rectangle 118"/>
          <p:cNvSpPr/>
          <p:nvPr/>
        </p:nvSpPr>
        <p:spPr>
          <a:xfrm>
            <a:off x="1706205" y="2858962"/>
            <a:ext cx="1589888"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Open Sans"/>
                <a:ea typeface="+mn-ea"/>
                <a:cs typeface="+mn-cs"/>
              </a:rPr>
              <a:t>This description applies more strongly Online</a:t>
            </a:r>
          </a:p>
        </p:txBody>
      </p:sp>
      <p:sp>
        <p:nvSpPr>
          <p:cNvPr id="120" name="Rectangle 119"/>
          <p:cNvSpPr/>
          <p:nvPr/>
        </p:nvSpPr>
        <p:spPr>
          <a:xfrm>
            <a:off x="10362306" y="2858962"/>
            <a:ext cx="1626494"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Open Sans"/>
                <a:ea typeface="+mn-ea"/>
                <a:cs typeface="+mn-cs"/>
              </a:rPr>
              <a:t>This description applies more strongly In Store</a:t>
            </a:r>
          </a:p>
        </p:txBody>
      </p:sp>
      <p:cxnSp>
        <p:nvCxnSpPr>
          <p:cNvPr id="121" name="Straight Arrow Connector 120"/>
          <p:cNvCxnSpPr/>
          <p:nvPr/>
        </p:nvCxnSpPr>
        <p:spPr>
          <a:xfrm flipH="1">
            <a:off x="3033129" y="3565901"/>
            <a:ext cx="730797"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2" name="Straight Arrow Connector 121"/>
          <p:cNvCxnSpPr/>
          <p:nvPr/>
        </p:nvCxnSpPr>
        <p:spPr>
          <a:xfrm flipH="1">
            <a:off x="3032250" y="4263359"/>
            <a:ext cx="869899"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3" name="Straight Arrow Connector 122"/>
          <p:cNvCxnSpPr/>
          <p:nvPr/>
        </p:nvCxnSpPr>
        <p:spPr>
          <a:xfrm flipH="1">
            <a:off x="3035823" y="4988083"/>
            <a:ext cx="866326"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4" name="Straight Arrow Connector 123"/>
          <p:cNvCxnSpPr/>
          <p:nvPr/>
        </p:nvCxnSpPr>
        <p:spPr>
          <a:xfrm flipH="1">
            <a:off x="3042311" y="5698392"/>
            <a:ext cx="583391"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5" name="TextBox 124"/>
          <p:cNvSpPr txBox="1"/>
          <p:nvPr/>
        </p:nvSpPr>
        <p:spPr>
          <a:xfrm>
            <a:off x="3188352" y="3458201"/>
            <a:ext cx="397070" cy="215444"/>
          </a:xfrm>
          <a:prstGeom prst="rect">
            <a:avLst/>
          </a:prstGeom>
          <a:solidFill>
            <a:schemeClr val="bg1"/>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Open Sans"/>
                <a:ea typeface="+mn-ea"/>
                <a:cs typeface="+mn-cs"/>
              </a:rPr>
              <a:t>10%</a:t>
            </a:r>
          </a:p>
        </p:txBody>
      </p:sp>
      <p:sp>
        <p:nvSpPr>
          <p:cNvPr id="126" name="TextBox 125"/>
          <p:cNvSpPr txBox="1"/>
          <p:nvPr/>
        </p:nvSpPr>
        <p:spPr>
          <a:xfrm>
            <a:off x="3241517" y="4167034"/>
            <a:ext cx="397070" cy="215444"/>
          </a:xfrm>
          <a:prstGeom prst="rect">
            <a:avLst/>
          </a:prstGeom>
          <a:solidFill>
            <a:schemeClr val="bg1"/>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Open Sans"/>
                <a:ea typeface="+mn-ea"/>
                <a:cs typeface="+mn-cs"/>
              </a:rPr>
              <a:t>12%</a:t>
            </a:r>
          </a:p>
        </p:txBody>
      </p:sp>
      <p:sp>
        <p:nvSpPr>
          <p:cNvPr id="127" name="TextBox 126"/>
          <p:cNvSpPr txBox="1"/>
          <p:nvPr/>
        </p:nvSpPr>
        <p:spPr>
          <a:xfrm>
            <a:off x="3262783" y="4896649"/>
            <a:ext cx="397070" cy="215444"/>
          </a:xfrm>
          <a:prstGeom prst="rect">
            <a:avLst/>
          </a:prstGeom>
          <a:solidFill>
            <a:schemeClr val="bg1"/>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Open Sans"/>
                <a:ea typeface="+mn-ea"/>
                <a:cs typeface="+mn-cs"/>
              </a:rPr>
              <a:t>11%</a:t>
            </a:r>
          </a:p>
        </p:txBody>
      </p:sp>
      <p:sp>
        <p:nvSpPr>
          <p:cNvPr id="128" name="TextBox 127"/>
          <p:cNvSpPr txBox="1"/>
          <p:nvPr/>
        </p:nvSpPr>
        <p:spPr>
          <a:xfrm>
            <a:off x="3135189" y="5600370"/>
            <a:ext cx="397070" cy="215444"/>
          </a:xfrm>
          <a:prstGeom prst="rect">
            <a:avLst/>
          </a:prstGeom>
          <a:solidFill>
            <a:schemeClr val="bg1"/>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Open Sans"/>
                <a:ea typeface="+mn-ea"/>
                <a:cs typeface="+mn-cs"/>
              </a:rPr>
              <a:t>8%</a:t>
            </a:r>
          </a:p>
        </p:txBody>
      </p:sp>
      <p:cxnSp>
        <p:nvCxnSpPr>
          <p:cNvPr id="129" name="Straight Arrow Connector 128"/>
          <p:cNvCxnSpPr/>
          <p:nvPr/>
        </p:nvCxnSpPr>
        <p:spPr>
          <a:xfrm flipH="1">
            <a:off x="7230140" y="3574405"/>
            <a:ext cx="2950471"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0" name="Straight Arrow Connector 129"/>
          <p:cNvCxnSpPr/>
          <p:nvPr/>
        </p:nvCxnSpPr>
        <p:spPr>
          <a:xfrm flipH="1">
            <a:off x="8346558" y="4287985"/>
            <a:ext cx="1834054"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31" name="TextBox 130"/>
          <p:cNvSpPr txBox="1"/>
          <p:nvPr/>
        </p:nvSpPr>
        <p:spPr>
          <a:xfrm>
            <a:off x="9082293" y="4168290"/>
            <a:ext cx="397070" cy="215444"/>
          </a:xfrm>
          <a:prstGeom prst="rect">
            <a:avLst/>
          </a:prstGeom>
          <a:solidFill>
            <a:schemeClr val="bg1"/>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Open Sans"/>
                <a:ea typeface="+mn-ea"/>
                <a:cs typeface="+mn-cs"/>
              </a:rPr>
              <a:t>26%</a:t>
            </a:r>
          </a:p>
        </p:txBody>
      </p:sp>
      <p:cxnSp>
        <p:nvCxnSpPr>
          <p:cNvPr id="132" name="Straight Arrow Connector 131"/>
          <p:cNvCxnSpPr/>
          <p:nvPr/>
        </p:nvCxnSpPr>
        <p:spPr>
          <a:xfrm flipH="1">
            <a:off x="7517219" y="4995424"/>
            <a:ext cx="2663392"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3" name="Straight Arrow Connector 132"/>
          <p:cNvCxnSpPr/>
          <p:nvPr/>
        </p:nvCxnSpPr>
        <p:spPr>
          <a:xfrm flipH="1">
            <a:off x="7336465" y="5705733"/>
            <a:ext cx="2844148"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34" name="TextBox 133"/>
          <p:cNvSpPr txBox="1"/>
          <p:nvPr/>
        </p:nvSpPr>
        <p:spPr>
          <a:xfrm>
            <a:off x="8594303" y="5590670"/>
            <a:ext cx="397070" cy="215444"/>
          </a:xfrm>
          <a:prstGeom prst="rect">
            <a:avLst/>
          </a:prstGeom>
          <a:solidFill>
            <a:schemeClr val="bg1"/>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Open Sans"/>
                <a:ea typeface="+mn-ea"/>
                <a:cs typeface="+mn-cs"/>
              </a:rPr>
              <a:t>40%</a:t>
            </a:r>
          </a:p>
        </p:txBody>
      </p:sp>
      <p:sp>
        <p:nvSpPr>
          <p:cNvPr id="135" name="TextBox 134"/>
          <p:cNvSpPr txBox="1"/>
          <p:nvPr/>
        </p:nvSpPr>
        <p:spPr>
          <a:xfrm>
            <a:off x="8688433" y="4886949"/>
            <a:ext cx="397070" cy="215444"/>
          </a:xfrm>
          <a:prstGeom prst="rect">
            <a:avLst/>
          </a:prstGeom>
          <a:solidFill>
            <a:schemeClr val="bg1"/>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Open Sans"/>
                <a:ea typeface="+mn-ea"/>
                <a:cs typeface="+mn-cs"/>
              </a:rPr>
              <a:t>35%</a:t>
            </a:r>
          </a:p>
        </p:txBody>
      </p:sp>
      <p:sp>
        <p:nvSpPr>
          <p:cNvPr id="136" name="TextBox 135"/>
          <p:cNvSpPr txBox="1"/>
          <p:nvPr/>
        </p:nvSpPr>
        <p:spPr>
          <a:xfrm>
            <a:off x="8481066" y="3448824"/>
            <a:ext cx="397070" cy="215444"/>
          </a:xfrm>
          <a:prstGeom prst="rect">
            <a:avLst/>
          </a:prstGeom>
          <a:solidFill>
            <a:schemeClr val="bg1"/>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Open Sans"/>
                <a:ea typeface="+mn-ea"/>
                <a:cs typeface="+mn-cs"/>
              </a:rPr>
              <a:t>42%</a:t>
            </a:r>
          </a:p>
        </p:txBody>
      </p:sp>
    </p:spTree>
    <p:extLst>
      <p:ext uri="{BB962C8B-B14F-4D97-AF65-F5344CB8AC3E}">
        <p14:creationId xmlns:p14="http://schemas.microsoft.com/office/powerpoint/2010/main" val="345314180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08"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Finance Department – Benchmark Summary</a:t>
            </a:r>
            <a:endParaRPr lang="en-US" dirty="0"/>
          </a:p>
        </p:txBody>
      </p:sp>
      <p:sp>
        <p:nvSpPr>
          <p:cNvPr id="3" name="Text Placeholder 2"/>
          <p:cNvSpPr>
            <a:spLocks noGrp="1"/>
          </p:cNvSpPr>
          <p:nvPr>
            <p:ph type="body" sz="quarter" idx="14"/>
          </p:nvPr>
        </p:nvSpPr>
        <p:spPr/>
        <p:txBody>
          <a:bodyPr/>
          <a:lstStyle/>
          <a:p>
            <a:r>
              <a:rPr lang="en-US" dirty="0"/>
              <a:t>Overall, the finance department lags the comparative peer group in terms of overall spend. </a:t>
            </a:r>
          </a:p>
        </p:txBody>
      </p:sp>
      <p:sp>
        <p:nvSpPr>
          <p:cNvPr id="5" name="Text Placeholder 4"/>
          <p:cNvSpPr>
            <a:spLocks noGrp="1"/>
          </p:cNvSpPr>
          <p:nvPr>
            <p:ph type="body" sz="quarter" idx="15"/>
          </p:nvPr>
        </p:nvSpPr>
        <p:spPr/>
        <p:txBody>
          <a:bodyPr/>
          <a:lstStyle/>
          <a:p>
            <a:r>
              <a:rPr lang="en-US" dirty="0"/>
              <a:t>Data Visualization &amp; Infographics</a:t>
            </a:r>
          </a:p>
        </p:txBody>
      </p:sp>
      <p:grpSp>
        <p:nvGrpSpPr>
          <p:cNvPr id="6" name="Group 5"/>
          <p:cNvGrpSpPr/>
          <p:nvPr/>
        </p:nvGrpSpPr>
        <p:grpSpPr>
          <a:xfrm>
            <a:off x="921883" y="2070999"/>
            <a:ext cx="4429868" cy="4367032"/>
            <a:chOff x="921883" y="2070999"/>
            <a:chExt cx="3686960" cy="4367032"/>
          </a:xfrm>
        </p:grpSpPr>
        <p:grpSp>
          <p:nvGrpSpPr>
            <p:cNvPr id="204" name="Group 203"/>
            <p:cNvGrpSpPr/>
            <p:nvPr/>
          </p:nvGrpSpPr>
          <p:grpSpPr>
            <a:xfrm>
              <a:off x="921887" y="2070999"/>
              <a:ext cx="3686600" cy="810088"/>
              <a:chOff x="400777" y="1538679"/>
              <a:chExt cx="3686600" cy="810088"/>
            </a:xfrm>
          </p:grpSpPr>
          <p:sp>
            <p:nvSpPr>
              <p:cNvPr id="205" name="Rectangle 204"/>
              <p:cNvSpPr/>
              <p:nvPr/>
            </p:nvSpPr>
            <p:spPr>
              <a:xfrm>
                <a:off x="400777" y="1538679"/>
                <a:ext cx="3686600" cy="81008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700" b="0" i="0" u="none" strike="noStrike" kern="1200" cap="none" spc="0" normalizeH="0" baseline="0" noProof="0" dirty="0">
                  <a:ln>
                    <a:noFill/>
                  </a:ln>
                  <a:solidFill>
                    <a:prstClr val="white"/>
                  </a:solidFill>
                  <a:effectLst/>
                  <a:uLnTx/>
                  <a:uFillTx/>
                  <a:ea typeface="+mn-ea"/>
                  <a:cs typeface="+mn-cs"/>
                </a:endParaRPr>
              </a:p>
            </p:txBody>
          </p:sp>
          <p:cxnSp>
            <p:nvCxnSpPr>
              <p:cNvPr id="206" name="Straight Connector 205"/>
              <p:cNvCxnSpPr/>
              <p:nvPr/>
            </p:nvCxnSpPr>
            <p:spPr>
              <a:xfrm>
                <a:off x="953497" y="1941835"/>
                <a:ext cx="2880178" cy="0"/>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p:cNvCxnSpPr/>
              <p:nvPr/>
            </p:nvCxnSpPr>
            <p:spPr>
              <a:xfrm flipV="1">
                <a:off x="1662281" y="1887186"/>
                <a:ext cx="0" cy="11566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08" name="Straight Connector 207"/>
              <p:cNvCxnSpPr/>
              <p:nvPr/>
            </p:nvCxnSpPr>
            <p:spPr>
              <a:xfrm flipV="1">
                <a:off x="2399416" y="1887186"/>
                <a:ext cx="0" cy="11566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sp>
            <p:nvSpPr>
              <p:cNvPr id="209" name="TextBox 208"/>
              <p:cNvSpPr txBox="1"/>
              <p:nvPr/>
            </p:nvSpPr>
            <p:spPr>
              <a:xfrm>
                <a:off x="1099045" y="2030612"/>
                <a:ext cx="1135135" cy="184972"/>
              </a:xfrm>
              <a:prstGeom prst="rect">
                <a:avLst/>
              </a:prstGeom>
              <a:noFill/>
            </p:spPr>
            <p:txBody>
              <a:bodyPr wrap="square" rtlCol="0">
                <a:normAutofit fontScale="92500"/>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616365"/>
                    </a:solidFill>
                    <a:effectLst/>
                    <a:uLnTx/>
                    <a:uFillTx/>
                    <a:ea typeface="+mn-ea"/>
                    <a:cs typeface="Arial" pitchFamily="34" charset="0"/>
                  </a:rPr>
                  <a:t>25</a:t>
                </a:r>
                <a:r>
                  <a:rPr kumimoji="0" lang="en-US" sz="700" b="0" i="0" u="none" strike="noStrike" kern="1200" cap="none" spc="0" normalizeH="0" baseline="30000" noProof="0" dirty="0">
                    <a:ln>
                      <a:noFill/>
                    </a:ln>
                    <a:solidFill>
                      <a:srgbClr val="616365"/>
                    </a:solidFill>
                    <a:effectLst/>
                    <a:uLnTx/>
                    <a:uFillTx/>
                    <a:ea typeface="+mn-ea"/>
                    <a:cs typeface="Arial" pitchFamily="34" charset="0"/>
                  </a:rPr>
                  <a:t>th</a:t>
                </a:r>
                <a:r>
                  <a:rPr kumimoji="0" lang="en-US" sz="700" b="0" i="0" u="none" strike="noStrike" kern="1200" cap="none" spc="0" normalizeH="0" baseline="0" noProof="0" dirty="0">
                    <a:ln>
                      <a:noFill/>
                    </a:ln>
                    <a:solidFill>
                      <a:srgbClr val="616365"/>
                    </a:solidFill>
                    <a:effectLst/>
                    <a:uLnTx/>
                    <a:uFillTx/>
                    <a:ea typeface="+mn-ea"/>
                    <a:cs typeface="Arial" pitchFamily="34" charset="0"/>
                  </a:rPr>
                  <a:t> Percentile</a:t>
                </a:r>
              </a:p>
            </p:txBody>
          </p:sp>
          <p:sp>
            <p:nvSpPr>
              <p:cNvPr id="210" name="TextBox 209"/>
              <p:cNvSpPr txBox="1"/>
              <p:nvPr/>
            </p:nvSpPr>
            <p:spPr>
              <a:xfrm>
                <a:off x="2683221" y="2024731"/>
                <a:ext cx="836251" cy="196734"/>
              </a:xfrm>
              <a:prstGeom prst="rect">
                <a:avLst/>
              </a:prstGeom>
              <a:noFill/>
            </p:spPr>
            <p:txBody>
              <a:bodyPr wrap="squar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616365"/>
                    </a:solidFill>
                    <a:effectLst/>
                    <a:uLnTx/>
                    <a:uFillTx/>
                    <a:ea typeface="+mn-ea"/>
                    <a:cs typeface="Arial" pitchFamily="34" charset="0"/>
                  </a:rPr>
                  <a:t>75</a:t>
                </a:r>
                <a:r>
                  <a:rPr kumimoji="0" lang="en-US" sz="600" b="0" i="0" u="none" strike="noStrike" kern="1200" cap="none" spc="0" normalizeH="0" baseline="30000" noProof="0" dirty="0">
                    <a:ln>
                      <a:noFill/>
                    </a:ln>
                    <a:solidFill>
                      <a:srgbClr val="616365"/>
                    </a:solidFill>
                    <a:effectLst/>
                    <a:uLnTx/>
                    <a:uFillTx/>
                    <a:ea typeface="+mn-ea"/>
                    <a:cs typeface="Arial" pitchFamily="34" charset="0"/>
                  </a:rPr>
                  <a:t>th</a:t>
                </a:r>
                <a:r>
                  <a:rPr kumimoji="0" lang="en-US" sz="600" b="0" i="0" u="none" strike="noStrike" kern="1200" cap="none" spc="0" normalizeH="0" baseline="0" noProof="0" dirty="0">
                    <a:ln>
                      <a:noFill/>
                    </a:ln>
                    <a:solidFill>
                      <a:srgbClr val="616365"/>
                    </a:solidFill>
                    <a:effectLst/>
                    <a:uLnTx/>
                    <a:uFillTx/>
                    <a:ea typeface="+mn-ea"/>
                    <a:cs typeface="Arial" pitchFamily="34" charset="0"/>
                  </a:rPr>
                  <a:t> Percentile</a:t>
                </a:r>
              </a:p>
            </p:txBody>
          </p:sp>
          <p:sp>
            <p:nvSpPr>
              <p:cNvPr id="211" name="Rectangle 210"/>
              <p:cNvSpPr/>
              <p:nvPr/>
            </p:nvSpPr>
            <p:spPr>
              <a:xfrm>
                <a:off x="1302211" y="1676854"/>
                <a:ext cx="700482" cy="1893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42.3M</a:t>
                </a:r>
              </a:p>
            </p:txBody>
          </p:sp>
          <p:sp>
            <p:nvSpPr>
              <p:cNvPr id="212" name="Rectangle 211"/>
              <p:cNvSpPr/>
              <p:nvPr/>
            </p:nvSpPr>
            <p:spPr>
              <a:xfrm>
                <a:off x="2070316" y="1676854"/>
                <a:ext cx="621158" cy="1893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58.1M</a:t>
                </a:r>
              </a:p>
            </p:txBody>
          </p:sp>
          <p:sp>
            <p:nvSpPr>
              <p:cNvPr id="213" name="Rectangle 212"/>
              <p:cNvSpPr/>
              <p:nvPr/>
            </p:nvSpPr>
            <p:spPr>
              <a:xfrm>
                <a:off x="2769327" y="1700695"/>
                <a:ext cx="658088" cy="1417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94.9M</a:t>
                </a:r>
              </a:p>
            </p:txBody>
          </p:sp>
          <p:sp>
            <p:nvSpPr>
              <p:cNvPr id="214" name="TextBox 213"/>
              <p:cNvSpPr txBox="1"/>
              <p:nvPr/>
            </p:nvSpPr>
            <p:spPr>
              <a:xfrm>
                <a:off x="1819125" y="2030612"/>
                <a:ext cx="1135135" cy="184972"/>
              </a:xfrm>
              <a:prstGeom prst="rect">
                <a:avLst/>
              </a:prstGeom>
              <a:noFill/>
            </p:spPr>
            <p:txBody>
              <a:bodyPr wrap="square" rtlCol="0">
                <a:normAutofit fontScale="92500"/>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616365"/>
                    </a:solidFill>
                    <a:effectLst/>
                    <a:uLnTx/>
                    <a:uFillTx/>
                    <a:ea typeface="+mn-ea"/>
                    <a:cs typeface="Arial" pitchFamily="34" charset="0"/>
                  </a:rPr>
                  <a:t>50</a:t>
                </a:r>
                <a:r>
                  <a:rPr kumimoji="0" lang="en-US" sz="700" b="0" i="0" u="none" strike="noStrike" kern="1200" cap="none" spc="0" normalizeH="0" baseline="30000" noProof="0" dirty="0">
                    <a:ln>
                      <a:noFill/>
                    </a:ln>
                    <a:solidFill>
                      <a:srgbClr val="616365"/>
                    </a:solidFill>
                    <a:effectLst/>
                    <a:uLnTx/>
                    <a:uFillTx/>
                    <a:ea typeface="+mn-ea"/>
                    <a:cs typeface="Arial" pitchFamily="34" charset="0"/>
                  </a:rPr>
                  <a:t>th</a:t>
                </a:r>
                <a:r>
                  <a:rPr kumimoji="0" lang="en-US" sz="700" b="0" i="0" u="none" strike="noStrike" kern="1200" cap="none" spc="0" normalizeH="0" baseline="0" noProof="0" dirty="0">
                    <a:ln>
                      <a:noFill/>
                    </a:ln>
                    <a:solidFill>
                      <a:srgbClr val="616365"/>
                    </a:solidFill>
                    <a:effectLst/>
                    <a:uLnTx/>
                    <a:uFillTx/>
                    <a:ea typeface="+mn-ea"/>
                    <a:cs typeface="Arial" pitchFamily="34" charset="0"/>
                  </a:rPr>
                  <a:t> Percentile</a:t>
                </a:r>
              </a:p>
            </p:txBody>
          </p:sp>
          <p:cxnSp>
            <p:nvCxnSpPr>
              <p:cNvPr id="215" name="Straight Connector 214"/>
              <p:cNvCxnSpPr/>
              <p:nvPr/>
            </p:nvCxnSpPr>
            <p:spPr>
              <a:xfrm flipV="1">
                <a:off x="3108200" y="1866248"/>
                <a:ext cx="0" cy="11566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16" name="Straight Connector 215"/>
              <p:cNvCxnSpPr/>
              <p:nvPr/>
            </p:nvCxnSpPr>
            <p:spPr>
              <a:xfrm flipV="1">
                <a:off x="3827894" y="1880715"/>
                <a:ext cx="0" cy="11566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17" name="Straight Connector 216"/>
              <p:cNvCxnSpPr/>
              <p:nvPr/>
            </p:nvCxnSpPr>
            <p:spPr>
              <a:xfrm flipV="1">
                <a:off x="953497" y="1880715"/>
                <a:ext cx="0" cy="11566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sp>
            <p:nvSpPr>
              <p:cNvPr id="218" name="Flowchart: Decision 217"/>
              <p:cNvSpPr/>
              <p:nvPr/>
            </p:nvSpPr>
            <p:spPr>
              <a:xfrm>
                <a:off x="2768607" y="1818874"/>
                <a:ext cx="385756" cy="247422"/>
              </a:xfrm>
              <a:prstGeom prst="flowChartDecision">
                <a:avLst/>
              </a:prstGeom>
              <a:solidFill>
                <a:srgbClr val="4066B2"/>
              </a:solidFill>
              <a:ln>
                <a:solidFill>
                  <a:srgbClr val="4066B2"/>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white"/>
                    </a:solidFill>
                    <a:effectLst/>
                    <a:uLnTx/>
                    <a:uFillTx/>
                    <a:ea typeface="+mn-ea"/>
                    <a:cs typeface="+mn-cs"/>
                  </a:rPr>
                  <a:t>$90.0M</a:t>
                </a:r>
              </a:p>
            </p:txBody>
          </p:sp>
          <p:sp>
            <p:nvSpPr>
              <p:cNvPr id="219" name="Rectangle 218"/>
              <p:cNvSpPr/>
              <p:nvPr/>
            </p:nvSpPr>
            <p:spPr>
              <a:xfrm>
                <a:off x="400777" y="1538679"/>
                <a:ext cx="158208" cy="810088"/>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prstClr val="white"/>
                    </a:solidFill>
                    <a:effectLst/>
                    <a:uLnTx/>
                    <a:uFillTx/>
                    <a:ea typeface="+mn-ea"/>
                    <a:cs typeface="+mn-cs"/>
                  </a:rPr>
                  <a:t>Total Spend</a:t>
                </a:r>
              </a:p>
            </p:txBody>
          </p:sp>
        </p:grpSp>
        <p:grpSp>
          <p:nvGrpSpPr>
            <p:cNvPr id="220" name="Group 219"/>
            <p:cNvGrpSpPr/>
            <p:nvPr/>
          </p:nvGrpSpPr>
          <p:grpSpPr>
            <a:xfrm>
              <a:off x="922243" y="2959098"/>
              <a:ext cx="3686600" cy="810088"/>
              <a:chOff x="401133" y="2426778"/>
              <a:chExt cx="3686600" cy="810088"/>
            </a:xfrm>
          </p:grpSpPr>
          <p:sp>
            <p:nvSpPr>
              <p:cNvPr id="221" name="Rectangle 220"/>
              <p:cNvSpPr/>
              <p:nvPr/>
            </p:nvSpPr>
            <p:spPr>
              <a:xfrm>
                <a:off x="401133" y="2426778"/>
                <a:ext cx="3686600" cy="81008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700" b="0" i="0" u="none" strike="noStrike" kern="1200" cap="none" spc="0" normalizeH="0" baseline="0" noProof="0" dirty="0">
                  <a:ln>
                    <a:noFill/>
                  </a:ln>
                  <a:solidFill>
                    <a:prstClr val="white"/>
                  </a:solidFill>
                  <a:effectLst/>
                  <a:uLnTx/>
                  <a:uFillTx/>
                  <a:ea typeface="+mn-ea"/>
                  <a:cs typeface="+mn-cs"/>
                </a:endParaRPr>
              </a:p>
            </p:txBody>
          </p:sp>
          <p:cxnSp>
            <p:nvCxnSpPr>
              <p:cNvPr id="222" name="Straight Connector 221"/>
              <p:cNvCxnSpPr/>
              <p:nvPr/>
            </p:nvCxnSpPr>
            <p:spPr>
              <a:xfrm>
                <a:off x="953854" y="2829934"/>
                <a:ext cx="2880177" cy="0"/>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662638" y="2775285"/>
                <a:ext cx="0" cy="11566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flipV="1">
                <a:off x="2399773" y="2775285"/>
                <a:ext cx="0" cy="11566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sp>
            <p:nvSpPr>
              <p:cNvPr id="225" name="TextBox 224"/>
              <p:cNvSpPr txBox="1"/>
              <p:nvPr/>
            </p:nvSpPr>
            <p:spPr>
              <a:xfrm>
                <a:off x="1099402" y="2918711"/>
                <a:ext cx="1135135" cy="184972"/>
              </a:xfrm>
              <a:prstGeom prst="rect">
                <a:avLst/>
              </a:prstGeom>
              <a:noFill/>
            </p:spPr>
            <p:txBody>
              <a:bodyPr wrap="square" rtlCol="0">
                <a:normAutofit fontScale="92500"/>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616365"/>
                    </a:solidFill>
                    <a:effectLst/>
                    <a:uLnTx/>
                    <a:uFillTx/>
                    <a:ea typeface="+mn-ea"/>
                    <a:cs typeface="Arial" pitchFamily="34" charset="0"/>
                  </a:rPr>
                  <a:t>25</a:t>
                </a:r>
                <a:r>
                  <a:rPr kumimoji="0" lang="en-US" sz="700" b="0" i="0" u="none" strike="noStrike" kern="1200" cap="none" spc="0" normalizeH="0" baseline="30000" noProof="0" dirty="0">
                    <a:ln>
                      <a:noFill/>
                    </a:ln>
                    <a:solidFill>
                      <a:srgbClr val="616365"/>
                    </a:solidFill>
                    <a:effectLst/>
                    <a:uLnTx/>
                    <a:uFillTx/>
                    <a:ea typeface="+mn-ea"/>
                    <a:cs typeface="Arial" pitchFamily="34" charset="0"/>
                  </a:rPr>
                  <a:t>th</a:t>
                </a:r>
                <a:r>
                  <a:rPr kumimoji="0" lang="en-US" sz="700" b="0" i="0" u="none" strike="noStrike" kern="1200" cap="none" spc="0" normalizeH="0" baseline="0" noProof="0" dirty="0">
                    <a:ln>
                      <a:noFill/>
                    </a:ln>
                    <a:solidFill>
                      <a:srgbClr val="616365"/>
                    </a:solidFill>
                    <a:effectLst/>
                    <a:uLnTx/>
                    <a:uFillTx/>
                    <a:ea typeface="+mn-ea"/>
                    <a:cs typeface="Arial" pitchFamily="34" charset="0"/>
                  </a:rPr>
                  <a:t> Percentile</a:t>
                </a:r>
              </a:p>
            </p:txBody>
          </p:sp>
          <p:sp>
            <p:nvSpPr>
              <p:cNvPr id="226" name="TextBox 225"/>
              <p:cNvSpPr txBox="1"/>
              <p:nvPr/>
            </p:nvSpPr>
            <p:spPr>
              <a:xfrm>
                <a:off x="2683578" y="2912830"/>
                <a:ext cx="836251" cy="196734"/>
              </a:xfrm>
              <a:prstGeom prst="rect">
                <a:avLst/>
              </a:prstGeom>
              <a:noFill/>
            </p:spPr>
            <p:txBody>
              <a:bodyPr wrap="squar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616365"/>
                    </a:solidFill>
                    <a:effectLst/>
                    <a:uLnTx/>
                    <a:uFillTx/>
                    <a:ea typeface="+mn-ea"/>
                    <a:cs typeface="Arial" pitchFamily="34" charset="0"/>
                  </a:rPr>
                  <a:t>75</a:t>
                </a:r>
                <a:r>
                  <a:rPr kumimoji="0" lang="en-US" sz="600" b="0" i="0" u="none" strike="noStrike" kern="1200" cap="none" spc="0" normalizeH="0" baseline="30000" noProof="0" dirty="0">
                    <a:ln>
                      <a:noFill/>
                    </a:ln>
                    <a:solidFill>
                      <a:srgbClr val="616365"/>
                    </a:solidFill>
                    <a:effectLst/>
                    <a:uLnTx/>
                    <a:uFillTx/>
                    <a:ea typeface="+mn-ea"/>
                    <a:cs typeface="Arial" pitchFamily="34" charset="0"/>
                  </a:rPr>
                  <a:t>th</a:t>
                </a:r>
                <a:r>
                  <a:rPr kumimoji="0" lang="en-US" sz="600" b="0" i="0" u="none" strike="noStrike" kern="1200" cap="none" spc="0" normalizeH="0" baseline="0" noProof="0" dirty="0">
                    <a:ln>
                      <a:noFill/>
                    </a:ln>
                    <a:solidFill>
                      <a:srgbClr val="616365"/>
                    </a:solidFill>
                    <a:effectLst/>
                    <a:uLnTx/>
                    <a:uFillTx/>
                    <a:ea typeface="+mn-ea"/>
                    <a:cs typeface="Arial" pitchFamily="34" charset="0"/>
                  </a:rPr>
                  <a:t> Percentile</a:t>
                </a:r>
              </a:p>
            </p:txBody>
          </p:sp>
          <p:sp>
            <p:nvSpPr>
              <p:cNvPr id="227" name="Rectangle 226"/>
              <p:cNvSpPr/>
              <p:nvPr/>
            </p:nvSpPr>
            <p:spPr>
              <a:xfrm>
                <a:off x="1302211" y="2564953"/>
                <a:ext cx="701196" cy="1893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26.9M</a:t>
                </a:r>
              </a:p>
            </p:txBody>
          </p:sp>
          <p:sp>
            <p:nvSpPr>
              <p:cNvPr id="228" name="Rectangle 227"/>
              <p:cNvSpPr/>
              <p:nvPr/>
            </p:nvSpPr>
            <p:spPr>
              <a:xfrm>
                <a:off x="2070316" y="2588794"/>
                <a:ext cx="621870" cy="1417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32.1M</a:t>
                </a:r>
              </a:p>
            </p:txBody>
          </p:sp>
          <p:sp>
            <p:nvSpPr>
              <p:cNvPr id="229" name="Rectangle 228"/>
              <p:cNvSpPr/>
              <p:nvPr/>
            </p:nvSpPr>
            <p:spPr>
              <a:xfrm>
                <a:off x="2769327" y="2621646"/>
                <a:ext cx="658800" cy="760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57.5M</a:t>
                </a:r>
              </a:p>
            </p:txBody>
          </p:sp>
          <p:sp>
            <p:nvSpPr>
              <p:cNvPr id="230" name="TextBox 229"/>
              <p:cNvSpPr txBox="1"/>
              <p:nvPr/>
            </p:nvSpPr>
            <p:spPr>
              <a:xfrm>
                <a:off x="1819481" y="2918711"/>
                <a:ext cx="1135135" cy="184972"/>
              </a:xfrm>
              <a:prstGeom prst="rect">
                <a:avLst/>
              </a:prstGeom>
              <a:noFill/>
            </p:spPr>
            <p:txBody>
              <a:bodyPr wrap="square" rtlCol="0">
                <a:normAutofit fontScale="92500"/>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616365"/>
                    </a:solidFill>
                    <a:effectLst/>
                    <a:uLnTx/>
                    <a:uFillTx/>
                    <a:ea typeface="+mn-ea"/>
                    <a:cs typeface="Arial" pitchFamily="34" charset="0"/>
                  </a:rPr>
                  <a:t>50</a:t>
                </a:r>
                <a:r>
                  <a:rPr kumimoji="0" lang="en-US" sz="700" b="0" i="0" u="none" strike="noStrike" kern="1200" cap="none" spc="0" normalizeH="0" baseline="30000" noProof="0" dirty="0">
                    <a:ln>
                      <a:noFill/>
                    </a:ln>
                    <a:solidFill>
                      <a:srgbClr val="616365"/>
                    </a:solidFill>
                    <a:effectLst/>
                    <a:uLnTx/>
                    <a:uFillTx/>
                    <a:ea typeface="+mn-ea"/>
                    <a:cs typeface="Arial" pitchFamily="34" charset="0"/>
                  </a:rPr>
                  <a:t>th</a:t>
                </a:r>
                <a:r>
                  <a:rPr kumimoji="0" lang="en-US" sz="700" b="0" i="0" u="none" strike="noStrike" kern="1200" cap="none" spc="0" normalizeH="0" baseline="0" noProof="0" dirty="0">
                    <a:ln>
                      <a:noFill/>
                    </a:ln>
                    <a:solidFill>
                      <a:srgbClr val="616365"/>
                    </a:solidFill>
                    <a:effectLst/>
                    <a:uLnTx/>
                    <a:uFillTx/>
                    <a:ea typeface="+mn-ea"/>
                    <a:cs typeface="Arial" pitchFamily="34" charset="0"/>
                  </a:rPr>
                  <a:t> Percentile</a:t>
                </a:r>
              </a:p>
            </p:txBody>
          </p:sp>
          <p:cxnSp>
            <p:nvCxnSpPr>
              <p:cNvPr id="231" name="Straight Connector 230"/>
              <p:cNvCxnSpPr/>
              <p:nvPr/>
            </p:nvCxnSpPr>
            <p:spPr>
              <a:xfrm flipV="1">
                <a:off x="3108557" y="2754347"/>
                <a:ext cx="0" cy="11566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32" name="Straight Connector 231"/>
              <p:cNvCxnSpPr/>
              <p:nvPr/>
            </p:nvCxnSpPr>
            <p:spPr>
              <a:xfrm flipV="1">
                <a:off x="3828250" y="2768814"/>
                <a:ext cx="0" cy="11566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33" name="Straight Connector 232"/>
              <p:cNvCxnSpPr/>
              <p:nvPr/>
            </p:nvCxnSpPr>
            <p:spPr>
              <a:xfrm flipV="1">
                <a:off x="953854" y="2768814"/>
                <a:ext cx="0" cy="11566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sp>
            <p:nvSpPr>
              <p:cNvPr id="234" name="Flowchart: Decision 233"/>
              <p:cNvSpPr/>
              <p:nvPr/>
            </p:nvSpPr>
            <p:spPr>
              <a:xfrm>
                <a:off x="2677527" y="2706973"/>
                <a:ext cx="385756" cy="247422"/>
              </a:xfrm>
              <a:prstGeom prst="flowChartDecision">
                <a:avLst/>
              </a:prstGeom>
              <a:solidFill>
                <a:srgbClr val="4066B2"/>
              </a:solidFill>
              <a:ln>
                <a:solidFill>
                  <a:srgbClr val="4066B2"/>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white"/>
                    </a:solidFill>
                    <a:effectLst/>
                    <a:uLnTx/>
                    <a:uFillTx/>
                    <a:ea typeface="+mn-ea"/>
                    <a:cs typeface="+mn-cs"/>
                  </a:rPr>
                  <a:t>$53.1M</a:t>
                </a:r>
              </a:p>
            </p:txBody>
          </p:sp>
          <p:sp>
            <p:nvSpPr>
              <p:cNvPr id="235" name="Rectangle 234"/>
              <p:cNvSpPr/>
              <p:nvPr/>
            </p:nvSpPr>
            <p:spPr>
              <a:xfrm>
                <a:off x="401133" y="2426778"/>
                <a:ext cx="158208" cy="810088"/>
              </a:xfrm>
              <a:prstGeom prst="rect">
                <a:avLst/>
              </a:prstGeom>
              <a:solidFill>
                <a:srgbClr val="000066"/>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prstClr val="white"/>
                    </a:solidFill>
                    <a:effectLst/>
                    <a:uLnTx/>
                    <a:uFillTx/>
                    <a:ea typeface="+mn-ea"/>
                    <a:cs typeface="+mn-cs"/>
                  </a:rPr>
                  <a:t>Labor</a:t>
                </a:r>
              </a:p>
            </p:txBody>
          </p:sp>
        </p:grpSp>
        <p:grpSp>
          <p:nvGrpSpPr>
            <p:cNvPr id="236" name="Group 235"/>
            <p:cNvGrpSpPr/>
            <p:nvPr/>
          </p:nvGrpSpPr>
          <p:grpSpPr>
            <a:xfrm>
              <a:off x="921887" y="3847197"/>
              <a:ext cx="3686600" cy="810088"/>
              <a:chOff x="400777" y="3314877"/>
              <a:chExt cx="3686600" cy="810088"/>
            </a:xfrm>
          </p:grpSpPr>
          <p:sp>
            <p:nvSpPr>
              <p:cNvPr id="237" name="Rectangle 236"/>
              <p:cNvSpPr/>
              <p:nvPr/>
            </p:nvSpPr>
            <p:spPr>
              <a:xfrm>
                <a:off x="400777" y="3314877"/>
                <a:ext cx="3686600" cy="81008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700" b="0" i="0" u="none" strike="noStrike" kern="1200" cap="none" spc="0" normalizeH="0" baseline="0" noProof="0" dirty="0">
                  <a:ln>
                    <a:noFill/>
                  </a:ln>
                  <a:solidFill>
                    <a:prstClr val="white"/>
                  </a:solidFill>
                  <a:effectLst/>
                  <a:uLnTx/>
                  <a:uFillTx/>
                  <a:ea typeface="+mn-ea"/>
                  <a:cs typeface="+mn-cs"/>
                </a:endParaRPr>
              </a:p>
            </p:txBody>
          </p:sp>
          <p:cxnSp>
            <p:nvCxnSpPr>
              <p:cNvPr id="238" name="Straight Connector 237"/>
              <p:cNvCxnSpPr/>
              <p:nvPr/>
            </p:nvCxnSpPr>
            <p:spPr>
              <a:xfrm>
                <a:off x="953499" y="3718033"/>
                <a:ext cx="2880176" cy="0"/>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39" name="Straight Connector 238"/>
              <p:cNvCxnSpPr/>
              <p:nvPr/>
            </p:nvCxnSpPr>
            <p:spPr>
              <a:xfrm flipV="1">
                <a:off x="1662282" y="3663384"/>
                <a:ext cx="0" cy="11566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40" name="Straight Connector 239"/>
              <p:cNvCxnSpPr/>
              <p:nvPr/>
            </p:nvCxnSpPr>
            <p:spPr>
              <a:xfrm flipV="1">
                <a:off x="2399417" y="3663384"/>
                <a:ext cx="0" cy="11566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sp>
            <p:nvSpPr>
              <p:cNvPr id="241" name="TextBox 240"/>
              <p:cNvSpPr txBox="1"/>
              <p:nvPr/>
            </p:nvSpPr>
            <p:spPr>
              <a:xfrm>
                <a:off x="1099046" y="3806810"/>
                <a:ext cx="1135135" cy="184972"/>
              </a:xfrm>
              <a:prstGeom prst="rect">
                <a:avLst/>
              </a:prstGeom>
              <a:noFill/>
            </p:spPr>
            <p:txBody>
              <a:bodyPr wrap="square" rtlCol="0">
                <a:normAutofit fontScale="92500"/>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616365"/>
                    </a:solidFill>
                    <a:effectLst/>
                    <a:uLnTx/>
                    <a:uFillTx/>
                    <a:ea typeface="+mn-ea"/>
                    <a:cs typeface="Arial" pitchFamily="34" charset="0"/>
                  </a:rPr>
                  <a:t>25</a:t>
                </a:r>
                <a:r>
                  <a:rPr kumimoji="0" lang="en-US" sz="700" b="0" i="0" u="none" strike="noStrike" kern="1200" cap="none" spc="0" normalizeH="0" baseline="30000" noProof="0" dirty="0">
                    <a:ln>
                      <a:noFill/>
                    </a:ln>
                    <a:solidFill>
                      <a:srgbClr val="616365"/>
                    </a:solidFill>
                    <a:effectLst/>
                    <a:uLnTx/>
                    <a:uFillTx/>
                    <a:ea typeface="+mn-ea"/>
                    <a:cs typeface="Arial" pitchFamily="34" charset="0"/>
                  </a:rPr>
                  <a:t>th</a:t>
                </a:r>
                <a:r>
                  <a:rPr kumimoji="0" lang="en-US" sz="700" b="0" i="0" u="none" strike="noStrike" kern="1200" cap="none" spc="0" normalizeH="0" baseline="0" noProof="0" dirty="0">
                    <a:ln>
                      <a:noFill/>
                    </a:ln>
                    <a:solidFill>
                      <a:srgbClr val="616365"/>
                    </a:solidFill>
                    <a:effectLst/>
                    <a:uLnTx/>
                    <a:uFillTx/>
                    <a:ea typeface="+mn-ea"/>
                    <a:cs typeface="Arial" pitchFamily="34" charset="0"/>
                  </a:rPr>
                  <a:t> Percentile</a:t>
                </a:r>
              </a:p>
            </p:txBody>
          </p:sp>
          <p:sp>
            <p:nvSpPr>
              <p:cNvPr id="242" name="TextBox 241"/>
              <p:cNvSpPr txBox="1"/>
              <p:nvPr/>
            </p:nvSpPr>
            <p:spPr>
              <a:xfrm>
                <a:off x="2683222" y="3800929"/>
                <a:ext cx="836250" cy="196734"/>
              </a:xfrm>
              <a:prstGeom prst="rect">
                <a:avLst/>
              </a:prstGeom>
              <a:noFill/>
            </p:spPr>
            <p:txBody>
              <a:bodyPr wrap="squar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616365"/>
                    </a:solidFill>
                    <a:effectLst/>
                    <a:uLnTx/>
                    <a:uFillTx/>
                    <a:ea typeface="+mn-ea"/>
                    <a:cs typeface="Arial" pitchFamily="34" charset="0"/>
                  </a:rPr>
                  <a:t>75</a:t>
                </a:r>
                <a:r>
                  <a:rPr kumimoji="0" lang="en-US" sz="600" b="0" i="0" u="none" strike="noStrike" kern="1200" cap="none" spc="0" normalizeH="0" baseline="30000" noProof="0" dirty="0">
                    <a:ln>
                      <a:noFill/>
                    </a:ln>
                    <a:solidFill>
                      <a:srgbClr val="616365"/>
                    </a:solidFill>
                    <a:effectLst/>
                    <a:uLnTx/>
                    <a:uFillTx/>
                    <a:ea typeface="+mn-ea"/>
                    <a:cs typeface="Arial" pitchFamily="34" charset="0"/>
                  </a:rPr>
                  <a:t>th</a:t>
                </a:r>
                <a:r>
                  <a:rPr kumimoji="0" lang="en-US" sz="600" b="0" i="0" u="none" strike="noStrike" kern="1200" cap="none" spc="0" normalizeH="0" baseline="0" noProof="0" dirty="0">
                    <a:ln>
                      <a:noFill/>
                    </a:ln>
                    <a:solidFill>
                      <a:srgbClr val="616365"/>
                    </a:solidFill>
                    <a:effectLst/>
                    <a:uLnTx/>
                    <a:uFillTx/>
                    <a:ea typeface="+mn-ea"/>
                    <a:cs typeface="Arial" pitchFamily="34" charset="0"/>
                  </a:rPr>
                  <a:t> Percentile</a:t>
                </a:r>
              </a:p>
            </p:txBody>
          </p:sp>
          <p:sp>
            <p:nvSpPr>
              <p:cNvPr id="243" name="Rectangle 242"/>
              <p:cNvSpPr/>
              <p:nvPr/>
            </p:nvSpPr>
            <p:spPr>
              <a:xfrm>
                <a:off x="1302212" y="3500426"/>
                <a:ext cx="700482" cy="946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4.7M</a:t>
                </a:r>
              </a:p>
            </p:txBody>
          </p:sp>
          <p:sp>
            <p:nvSpPr>
              <p:cNvPr id="244" name="Rectangle 243"/>
              <p:cNvSpPr/>
              <p:nvPr/>
            </p:nvSpPr>
            <p:spPr>
              <a:xfrm>
                <a:off x="2069605" y="3476893"/>
                <a:ext cx="622582" cy="1417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8.7M</a:t>
                </a:r>
              </a:p>
            </p:txBody>
          </p:sp>
          <p:sp>
            <p:nvSpPr>
              <p:cNvPr id="245" name="Rectangle 244"/>
              <p:cNvSpPr/>
              <p:nvPr/>
            </p:nvSpPr>
            <p:spPr>
              <a:xfrm>
                <a:off x="2768616" y="3476893"/>
                <a:ext cx="659512" cy="1417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15.3M</a:t>
                </a:r>
              </a:p>
            </p:txBody>
          </p:sp>
          <p:sp>
            <p:nvSpPr>
              <p:cNvPr id="246" name="TextBox 245"/>
              <p:cNvSpPr txBox="1"/>
              <p:nvPr/>
            </p:nvSpPr>
            <p:spPr>
              <a:xfrm>
                <a:off x="1819126" y="3806810"/>
                <a:ext cx="1135135" cy="184972"/>
              </a:xfrm>
              <a:prstGeom prst="rect">
                <a:avLst/>
              </a:prstGeom>
              <a:noFill/>
            </p:spPr>
            <p:txBody>
              <a:bodyPr wrap="square" rtlCol="0">
                <a:normAutofit fontScale="92500"/>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616365"/>
                    </a:solidFill>
                    <a:effectLst/>
                    <a:uLnTx/>
                    <a:uFillTx/>
                    <a:ea typeface="+mn-ea"/>
                    <a:cs typeface="Arial" pitchFamily="34" charset="0"/>
                  </a:rPr>
                  <a:t>50</a:t>
                </a:r>
                <a:r>
                  <a:rPr kumimoji="0" lang="en-US" sz="700" b="0" i="0" u="none" strike="noStrike" kern="1200" cap="none" spc="0" normalizeH="0" baseline="30000" noProof="0" dirty="0">
                    <a:ln>
                      <a:noFill/>
                    </a:ln>
                    <a:solidFill>
                      <a:srgbClr val="616365"/>
                    </a:solidFill>
                    <a:effectLst/>
                    <a:uLnTx/>
                    <a:uFillTx/>
                    <a:ea typeface="+mn-ea"/>
                    <a:cs typeface="Arial" pitchFamily="34" charset="0"/>
                  </a:rPr>
                  <a:t>th</a:t>
                </a:r>
                <a:r>
                  <a:rPr kumimoji="0" lang="en-US" sz="700" b="0" i="0" u="none" strike="noStrike" kern="1200" cap="none" spc="0" normalizeH="0" baseline="0" noProof="0" dirty="0">
                    <a:ln>
                      <a:noFill/>
                    </a:ln>
                    <a:solidFill>
                      <a:srgbClr val="616365"/>
                    </a:solidFill>
                    <a:effectLst/>
                    <a:uLnTx/>
                    <a:uFillTx/>
                    <a:ea typeface="+mn-ea"/>
                    <a:cs typeface="Arial" pitchFamily="34" charset="0"/>
                  </a:rPr>
                  <a:t> Percentile</a:t>
                </a:r>
              </a:p>
            </p:txBody>
          </p:sp>
          <p:cxnSp>
            <p:nvCxnSpPr>
              <p:cNvPr id="247" name="Straight Connector 246"/>
              <p:cNvCxnSpPr/>
              <p:nvPr/>
            </p:nvCxnSpPr>
            <p:spPr>
              <a:xfrm flipV="1">
                <a:off x="3108201" y="3642446"/>
                <a:ext cx="0" cy="11566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48" name="Straight Connector 247"/>
              <p:cNvCxnSpPr/>
              <p:nvPr/>
            </p:nvCxnSpPr>
            <p:spPr>
              <a:xfrm flipV="1">
                <a:off x="3827894" y="3656913"/>
                <a:ext cx="0" cy="11566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49" name="Straight Connector 248"/>
              <p:cNvCxnSpPr/>
              <p:nvPr/>
            </p:nvCxnSpPr>
            <p:spPr>
              <a:xfrm flipV="1">
                <a:off x="953499" y="3656913"/>
                <a:ext cx="0" cy="11566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sp>
            <p:nvSpPr>
              <p:cNvPr id="250" name="Flowchart: Decision 249"/>
              <p:cNvSpPr/>
              <p:nvPr/>
            </p:nvSpPr>
            <p:spPr>
              <a:xfrm>
                <a:off x="3340424" y="3591032"/>
                <a:ext cx="385756" cy="247422"/>
              </a:xfrm>
              <a:prstGeom prst="flowChartDecision">
                <a:avLst/>
              </a:prstGeom>
              <a:solidFill>
                <a:srgbClr val="4066B2"/>
              </a:solidFill>
              <a:ln>
                <a:solidFill>
                  <a:srgbClr val="4066B2"/>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white"/>
                    </a:solidFill>
                    <a:effectLst/>
                    <a:uLnTx/>
                    <a:uFillTx/>
                    <a:ea typeface="+mn-ea"/>
                    <a:cs typeface="+mn-cs"/>
                  </a:rPr>
                  <a:t>$19.6M</a:t>
                </a:r>
              </a:p>
            </p:txBody>
          </p:sp>
          <p:sp>
            <p:nvSpPr>
              <p:cNvPr id="251" name="Rectangle 250"/>
              <p:cNvSpPr/>
              <p:nvPr/>
            </p:nvSpPr>
            <p:spPr>
              <a:xfrm>
                <a:off x="400777" y="3314877"/>
                <a:ext cx="158208" cy="810088"/>
              </a:xfrm>
              <a:prstGeom prst="rect">
                <a:avLst/>
              </a:prstGeom>
              <a:solidFill>
                <a:srgbClr val="000066"/>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prstClr val="white"/>
                    </a:solidFill>
                    <a:effectLst/>
                    <a:uLnTx/>
                    <a:uFillTx/>
                    <a:ea typeface="+mn-ea"/>
                    <a:cs typeface="+mn-cs"/>
                  </a:rPr>
                  <a:t>Outsourcing</a:t>
                </a:r>
              </a:p>
            </p:txBody>
          </p:sp>
        </p:grpSp>
        <p:grpSp>
          <p:nvGrpSpPr>
            <p:cNvPr id="252" name="Group 251"/>
            <p:cNvGrpSpPr/>
            <p:nvPr/>
          </p:nvGrpSpPr>
          <p:grpSpPr>
            <a:xfrm>
              <a:off x="921887" y="4735295"/>
              <a:ext cx="3686600" cy="810088"/>
              <a:chOff x="400777" y="4202975"/>
              <a:chExt cx="3686600" cy="810088"/>
            </a:xfrm>
          </p:grpSpPr>
          <p:sp>
            <p:nvSpPr>
              <p:cNvPr id="253" name="Rectangle 252"/>
              <p:cNvSpPr/>
              <p:nvPr/>
            </p:nvSpPr>
            <p:spPr>
              <a:xfrm>
                <a:off x="400777" y="4202975"/>
                <a:ext cx="3686600" cy="81008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700" b="0" i="0" u="none" strike="noStrike" kern="1200" cap="none" spc="0" normalizeH="0" baseline="0" noProof="0" dirty="0">
                  <a:ln>
                    <a:noFill/>
                  </a:ln>
                  <a:solidFill>
                    <a:prstClr val="white"/>
                  </a:solidFill>
                  <a:effectLst/>
                  <a:uLnTx/>
                  <a:uFillTx/>
                  <a:ea typeface="+mn-ea"/>
                  <a:cs typeface="+mn-cs"/>
                </a:endParaRPr>
              </a:p>
            </p:txBody>
          </p:sp>
          <p:cxnSp>
            <p:nvCxnSpPr>
              <p:cNvPr id="254" name="Straight Connector 253"/>
              <p:cNvCxnSpPr/>
              <p:nvPr/>
            </p:nvCxnSpPr>
            <p:spPr>
              <a:xfrm>
                <a:off x="953499" y="4606131"/>
                <a:ext cx="2880176" cy="0"/>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55" name="Straight Connector 254"/>
              <p:cNvCxnSpPr/>
              <p:nvPr/>
            </p:nvCxnSpPr>
            <p:spPr>
              <a:xfrm flipV="1">
                <a:off x="1662282" y="4551482"/>
                <a:ext cx="0" cy="11566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56" name="Straight Connector 255"/>
              <p:cNvCxnSpPr/>
              <p:nvPr/>
            </p:nvCxnSpPr>
            <p:spPr>
              <a:xfrm flipV="1">
                <a:off x="2399417" y="4551482"/>
                <a:ext cx="0" cy="11566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sp>
            <p:nvSpPr>
              <p:cNvPr id="257" name="TextBox 256"/>
              <p:cNvSpPr txBox="1"/>
              <p:nvPr/>
            </p:nvSpPr>
            <p:spPr>
              <a:xfrm>
                <a:off x="1099046" y="4694908"/>
                <a:ext cx="1135135" cy="184972"/>
              </a:xfrm>
              <a:prstGeom prst="rect">
                <a:avLst/>
              </a:prstGeom>
              <a:noFill/>
            </p:spPr>
            <p:txBody>
              <a:bodyPr wrap="square" rtlCol="0">
                <a:normAutofit fontScale="92500"/>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616365"/>
                    </a:solidFill>
                    <a:effectLst/>
                    <a:uLnTx/>
                    <a:uFillTx/>
                    <a:ea typeface="+mn-ea"/>
                    <a:cs typeface="Arial" pitchFamily="34" charset="0"/>
                  </a:rPr>
                  <a:t>25</a:t>
                </a:r>
                <a:r>
                  <a:rPr kumimoji="0" lang="en-US" sz="700" b="0" i="0" u="none" strike="noStrike" kern="1200" cap="none" spc="0" normalizeH="0" baseline="30000" noProof="0" dirty="0">
                    <a:ln>
                      <a:noFill/>
                    </a:ln>
                    <a:solidFill>
                      <a:srgbClr val="616365"/>
                    </a:solidFill>
                    <a:effectLst/>
                    <a:uLnTx/>
                    <a:uFillTx/>
                    <a:ea typeface="+mn-ea"/>
                    <a:cs typeface="Arial" pitchFamily="34" charset="0"/>
                  </a:rPr>
                  <a:t>th</a:t>
                </a:r>
                <a:r>
                  <a:rPr kumimoji="0" lang="en-US" sz="700" b="0" i="0" u="none" strike="noStrike" kern="1200" cap="none" spc="0" normalizeH="0" baseline="0" noProof="0" dirty="0">
                    <a:ln>
                      <a:noFill/>
                    </a:ln>
                    <a:solidFill>
                      <a:srgbClr val="616365"/>
                    </a:solidFill>
                    <a:effectLst/>
                    <a:uLnTx/>
                    <a:uFillTx/>
                    <a:ea typeface="+mn-ea"/>
                    <a:cs typeface="Arial" pitchFamily="34" charset="0"/>
                  </a:rPr>
                  <a:t> Percentile</a:t>
                </a:r>
              </a:p>
            </p:txBody>
          </p:sp>
          <p:sp>
            <p:nvSpPr>
              <p:cNvPr id="258" name="TextBox 257"/>
              <p:cNvSpPr txBox="1"/>
              <p:nvPr/>
            </p:nvSpPr>
            <p:spPr>
              <a:xfrm>
                <a:off x="2683222" y="4689027"/>
                <a:ext cx="836250" cy="196734"/>
              </a:xfrm>
              <a:prstGeom prst="rect">
                <a:avLst/>
              </a:prstGeom>
              <a:noFill/>
            </p:spPr>
            <p:txBody>
              <a:bodyPr wrap="squar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616365"/>
                    </a:solidFill>
                    <a:effectLst/>
                    <a:uLnTx/>
                    <a:uFillTx/>
                    <a:ea typeface="+mn-ea"/>
                    <a:cs typeface="Arial" pitchFamily="34" charset="0"/>
                  </a:rPr>
                  <a:t>75</a:t>
                </a:r>
                <a:r>
                  <a:rPr kumimoji="0" lang="en-US" sz="600" b="0" i="0" u="none" strike="noStrike" kern="1200" cap="none" spc="0" normalizeH="0" baseline="30000" noProof="0" dirty="0">
                    <a:ln>
                      <a:noFill/>
                    </a:ln>
                    <a:solidFill>
                      <a:srgbClr val="616365"/>
                    </a:solidFill>
                    <a:effectLst/>
                    <a:uLnTx/>
                    <a:uFillTx/>
                    <a:ea typeface="+mn-ea"/>
                    <a:cs typeface="Arial" pitchFamily="34" charset="0"/>
                  </a:rPr>
                  <a:t>th</a:t>
                </a:r>
                <a:r>
                  <a:rPr kumimoji="0" lang="en-US" sz="600" b="0" i="0" u="none" strike="noStrike" kern="1200" cap="none" spc="0" normalizeH="0" baseline="0" noProof="0" dirty="0">
                    <a:ln>
                      <a:noFill/>
                    </a:ln>
                    <a:solidFill>
                      <a:srgbClr val="616365"/>
                    </a:solidFill>
                    <a:effectLst/>
                    <a:uLnTx/>
                    <a:uFillTx/>
                    <a:ea typeface="+mn-ea"/>
                    <a:cs typeface="Arial" pitchFamily="34" charset="0"/>
                  </a:rPr>
                  <a:t> Percentile</a:t>
                </a:r>
              </a:p>
            </p:txBody>
          </p:sp>
          <p:sp>
            <p:nvSpPr>
              <p:cNvPr id="259" name="Rectangle 258"/>
              <p:cNvSpPr/>
              <p:nvPr/>
            </p:nvSpPr>
            <p:spPr>
              <a:xfrm>
                <a:off x="1302213" y="4364991"/>
                <a:ext cx="700480" cy="1417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4.8M</a:t>
                </a:r>
              </a:p>
            </p:txBody>
          </p:sp>
          <p:sp>
            <p:nvSpPr>
              <p:cNvPr id="260" name="Rectangle 259"/>
              <p:cNvSpPr/>
              <p:nvPr/>
            </p:nvSpPr>
            <p:spPr>
              <a:xfrm>
                <a:off x="2069604" y="4326683"/>
                <a:ext cx="622584" cy="2183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7.8M</a:t>
                </a:r>
              </a:p>
            </p:txBody>
          </p:sp>
          <p:sp>
            <p:nvSpPr>
              <p:cNvPr id="261" name="Rectangle 260"/>
              <p:cNvSpPr/>
              <p:nvPr/>
            </p:nvSpPr>
            <p:spPr>
              <a:xfrm>
                <a:off x="2769328" y="4364991"/>
                <a:ext cx="658088" cy="1417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10.2M</a:t>
                </a:r>
              </a:p>
            </p:txBody>
          </p:sp>
          <p:sp>
            <p:nvSpPr>
              <p:cNvPr id="262" name="TextBox 261"/>
              <p:cNvSpPr txBox="1"/>
              <p:nvPr/>
            </p:nvSpPr>
            <p:spPr>
              <a:xfrm>
                <a:off x="1819126" y="4694908"/>
                <a:ext cx="1135135" cy="184972"/>
              </a:xfrm>
              <a:prstGeom prst="rect">
                <a:avLst/>
              </a:prstGeom>
              <a:noFill/>
            </p:spPr>
            <p:txBody>
              <a:bodyPr wrap="square" rtlCol="0">
                <a:normAutofit fontScale="92500"/>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616365"/>
                    </a:solidFill>
                    <a:effectLst/>
                    <a:uLnTx/>
                    <a:uFillTx/>
                    <a:ea typeface="+mn-ea"/>
                    <a:cs typeface="Arial" pitchFamily="34" charset="0"/>
                  </a:rPr>
                  <a:t>50</a:t>
                </a:r>
                <a:r>
                  <a:rPr kumimoji="0" lang="en-US" sz="700" b="0" i="0" u="none" strike="noStrike" kern="1200" cap="none" spc="0" normalizeH="0" baseline="30000" noProof="0" dirty="0">
                    <a:ln>
                      <a:noFill/>
                    </a:ln>
                    <a:solidFill>
                      <a:srgbClr val="616365"/>
                    </a:solidFill>
                    <a:effectLst/>
                    <a:uLnTx/>
                    <a:uFillTx/>
                    <a:ea typeface="+mn-ea"/>
                    <a:cs typeface="Arial" pitchFamily="34" charset="0"/>
                  </a:rPr>
                  <a:t>th</a:t>
                </a:r>
                <a:r>
                  <a:rPr kumimoji="0" lang="en-US" sz="700" b="0" i="0" u="none" strike="noStrike" kern="1200" cap="none" spc="0" normalizeH="0" baseline="0" noProof="0" dirty="0">
                    <a:ln>
                      <a:noFill/>
                    </a:ln>
                    <a:solidFill>
                      <a:srgbClr val="616365"/>
                    </a:solidFill>
                    <a:effectLst/>
                    <a:uLnTx/>
                    <a:uFillTx/>
                    <a:ea typeface="+mn-ea"/>
                    <a:cs typeface="Arial" pitchFamily="34" charset="0"/>
                  </a:rPr>
                  <a:t> Percentile</a:t>
                </a:r>
              </a:p>
            </p:txBody>
          </p:sp>
          <p:cxnSp>
            <p:nvCxnSpPr>
              <p:cNvPr id="263" name="Straight Connector 262"/>
              <p:cNvCxnSpPr/>
              <p:nvPr/>
            </p:nvCxnSpPr>
            <p:spPr>
              <a:xfrm flipV="1">
                <a:off x="3108201" y="4530544"/>
                <a:ext cx="0" cy="11566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64" name="Straight Connector 263"/>
              <p:cNvCxnSpPr/>
              <p:nvPr/>
            </p:nvCxnSpPr>
            <p:spPr>
              <a:xfrm flipV="1">
                <a:off x="3827894" y="4545011"/>
                <a:ext cx="0" cy="11566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65" name="Straight Connector 264"/>
              <p:cNvCxnSpPr/>
              <p:nvPr/>
            </p:nvCxnSpPr>
            <p:spPr>
              <a:xfrm flipV="1">
                <a:off x="953499" y="4545011"/>
                <a:ext cx="0" cy="11566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sp>
            <p:nvSpPr>
              <p:cNvPr id="266" name="Flowchart: Decision 265"/>
              <p:cNvSpPr/>
              <p:nvPr/>
            </p:nvSpPr>
            <p:spPr>
              <a:xfrm>
                <a:off x="3253915" y="4483170"/>
                <a:ext cx="385756" cy="247422"/>
              </a:xfrm>
              <a:prstGeom prst="flowChartDecision">
                <a:avLst/>
              </a:prstGeom>
              <a:solidFill>
                <a:srgbClr val="4066B2"/>
              </a:solidFill>
              <a:ln>
                <a:solidFill>
                  <a:srgbClr val="4066B2"/>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white"/>
                    </a:solidFill>
                    <a:effectLst/>
                    <a:uLnTx/>
                    <a:uFillTx/>
                    <a:ea typeface="+mn-ea"/>
                    <a:cs typeface="+mn-cs"/>
                  </a:rPr>
                  <a:t>$11.4M</a:t>
                </a:r>
              </a:p>
            </p:txBody>
          </p:sp>
          <p:sp>
            <p:nvSpPr>
              <p:cNvPr id="267" name="Rectangle 266"/>
              <p:cNvSpPr/>
              <p:nvPr/>
            </p:nvSpPr>
            <p:spPr>
              <a:xfrm>
                <a:off x="400777" y="4202975"/>
                <a:ext cx="158208" cy="810088"/>
              </a:xfrm>
              <a:prstGeom prst="rect">
                <a:avLst/>
              </a:prstGeom>
              <a:solidFill>
                <a:srgbClr val="8099CC"/>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prstClr val="white"/>
                    </a:solidFill>
                    <a:effectLst/>
                    <a:uLnTx/>
                    <a:uFillTx/>
                    <a:ea typeface="+mn-ea"/>
                    <a:cs typeface="+mn-cs"/>
                  </a:rPr>
                  <a:t>Technology</a:t>
                </a:r>
              </a:p>
            </p:txBody>
          </p:sp>
        </p:grpSp>
        <p:grpSp>
          <p:nvGrpSpPr>
            <p:cNvPr id="268" name="Group 267"/>
            <p:cNvGrpSpPr/>
            <p:nvPr/>
          </p:nvGrpSpPr>
          <p:grpSpPr>
            <a:xfrm>
              <a:off x="921883" y="5627943"/>
              <a:ext cx="3686600" cy="810088"/>
              <a:chOff x="400773" y="5095623"/>
              <a:chExt cx="3686600" cy="810088"/>
            </a:xfrm>
          </p:grpSpPr>
          <p:sp>
            <p:nvSpPr>
              <p:cNvPr id="269" name="Rectangle 268"/>
              <p:cNvSpPr/>
              <p:nvPr/>
            </p:nvSpPr>
            <p:spPr>
              <a:xfrm>
                <a:off x="400773" y="5095623"/>
                <a:ext cx="3686600" cy="81008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700" b="0" i="0" u="none" strike="noStrike" kern="1200" cap="none" spc="0" normalizeH="0" baseline="0" noProof="0" dirty="0">
                  <a:ln>
                    <a:noFill/>
                  </a:ln>
                  <a:solidFill>
                    <a:prstClr val="white"/>
                  </a:solidFill>
                  <a:effectLst/>
                  <a:uLnTx/>
                  <a:uFillTx/>
                  <a:ea typeface="+mn-ea"/>
                  <a:cs typeface="+mn-cs"/>
                </a:endParaRPr>
              </a:p>
            </p:txBody>
          </p:sp>
          <p:cxnSp>
            <p:nvCxnSpPr>
              <p:cNvPr id="270" name="Straight Connector 269"/>
              <p:cNvCxnSpPr/>
              <p:nvPr/>
            </p:nvCxnSpPr>
            <p:spPr>
              <a:xfrm>
                <a:off x="953494" y="5498779"/>
                <a:ext cx="2880177" cy="0"/>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71" name="Straight Connector 270"/>
              <p:cNvCxnSpPr/>
              <p:nvPr/>
            </p:nvCxnSpPr>
            <p:spPr>
              <a:xfrm flipV="1">
                <a:off x="1662277" y="5444130"/>
                <a:ext cx="0" cy="11566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72" name="Straight Connector 271"/>
              <p:cNvCxnSpPr/>
              <p:nvPr/>
            </p:nvCxnSpPr>
            <p:spPr>
              <a:xfrm flipV="1">
                <a:off x="2399413" y="5444130"/>
                <a:ext cx="0" cy="11566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sp>
            <p:nvSpPr>
              <p:cNvPr id="273" name="TextBox 272"/>
              <p:cNvSpPr txBox="1"/>
              <p:nvPr/>
            </p:nvSpPr>
            <p:spPr>
              <a:xfrm>
                <a:off x="1099040" y="5587556"/>
                <a:ext cx="1135135" cy="184972"/>
              </a:xfrm>
              <a:prstGeom prst="rect">
                <a:avLst/>
              </a:prstGeom>
              <a:noFill/>
            </p:spPr>
            <p:txBody>
              <a:bodyPr wrap="square" rtlCol="0">
                <a:normAutofit fontScale="92500"/>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616365"/>
                    </a:solidFill>
                    <a:effectLst/>
                    <a:uLnTx/>
                    <a:uFillTx/>
                    <a:ea typeface="+mn-ea"/>
                    <a:cs typeface="Arial" pitchFamily="34" charset="0"/>
                  </a:rPr>
                  <a:t>25</a:t>
                </a:r>
                <a:r>
                  <a:rPr kumimoji="0" lang="en-US" sz="700" b="0" i="0" u="none" strike="noStrike" kern="1200" cap="none" spc="0" normalizeH="0" baseline="30000" noProof="0" dirty="0">
                    <a:ln>
                      <a:noFill/>
                    </a:ln>
                    <a:solidFill>
                      <a:srgbClr val="616365"/>
                    </a:solidFill>
                    <a:effectLst/>
                    <a:uLnTx/>
                    <a:uFillTx/>
                    <a:ea typeface="+mn-ea"/>
                    <a:cs typeface="Arial" pitchFamily="34" charset="0"/>
                  </a:rPr>
                  <a:t>th</a:t>
                </a:r>
                <a:r>
                  <a:rPr kumimoji="0" lang="en-US" sz="700" b="0" i="0" u="none" strike="noStrike" kern="1200" cap="none" spc="0" normalizeH="0" baseline="0" noProof="0" dirty="0">
                    <a:ln>
                      <a:noFill/>
                    </a:ln>
                    <a:solidFill>
                      <a:srgbClr val="616365"/>
                    </a:solidFill>
                    <a:effectLst/>
                    <a:uLnTx/>
                    <a:uFillTx/>
                    <a:ea typeface="+mn-ea"/>
                    <a:cs typeface="Arial" pitchFamily="34" charset="0"/>
                  </a:rPr>
                  <a:t> Percentile</a:t>
                </a:r>
              </a:p>
            </p:txBody>
          </p:sp>
          <p:sp>
            <p:nvSpPr>
              <p:cNvPr id="274" name="TextBox 273"/>
              <p:cNvSpPr txBox="1"/>
              <p:nvPr/>
            </p:nvSpPr>
            <p:spPr>
              <a:xfrm>
                <a:off x="2683217" y="5581675"/>
                <a:ext cx="836251" cy="196734"/>
              </a:xfrm>
              <a:prstGeom prst="rect">
                <a:avLst/>
              </a:prstGeom>
              <a:noFill/>
            </p:spPr>
            <p:txBody>
              <a:bodyPr wrap="squar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616365"/>
                    </a:solidFill>
                    <a:effectLst/>
                    <a:uLnTx/>
                    <a:uFillTx/>
                    <a:ea typeface="+mn-ea"/>
                    <a:cs typeface="Arial" pitchFamily="34" charset="0"/>
                  </a:rPr>
                  <a:t>75</a:t>
                </a:r>
                <a:r>
                  <a:rPr kumimoji="0" lang="en-US" sz="600" b="0" i="0" u="none" strike="noStrike" kern="1200" cap="none" spc="0" normalizeH="0" baseline="30000" noProof="0" dirty="0">
                    <a:ln>
                      <a:noFill/>
                    </a:ln>
                    <a:solidFill>
                      <a:srgbClr val="616365"/>
                    </a:solidFill>
                    <a:effectLst/>
                    <a:uLnTx/>
                    <a:uFillTx/>
                    <a:ea typeface="+mn-ea"/>
                    <a:cs typeface="Arial" pitchFamily="34" charset="0"/>
                  </a:rPr>
                  <a:t>th</a:t>
                </a:r>
                <a:r>
                  <a:rPr kumimoji="0" lang="en-US" sz="600" b="0" i="0" u="none" strike="noStrike" kern="1200" cap="none" spc="0" normalizeH="0" baseline="0" noProof="0" dirty="0">
                    <a:ln>
                      <a:noFill/>
                    </a:ln>
                    <a:solidFill>
                      <a:srgbClr val="616365"/>
                    </a:solidFill>
                    <a:effectLst/>
                    <a:uLnTx/>
                    <a:uFillTx/>
                    <a:ea typeface="+mn-ea"/>
                    <a:cs typeface="Arial" pitchFamily="34" charset="0"/>
                  </a:rPr>
                  <a:t> Percentile</a:t>
                </a:r>
              </a:p>
            </p:txBody>
          </p:sp>
          <p:sp>
            <p:nvSpPr>
              <p:cNvPr id="275" name="Rectangle 274"/>
              <p:cNvSpPr/>
              <p:nvPr/>
            </p:nvSpPr>
            <p:spPr>
              <a:xfrm>
                <a:off x="1301489" y="5257639"/>
                <a:ext cx="701918" cy="1417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3.8M</a:t>
                </a:r>
              </a:p>
            </p:txBody>
          </p:sp>
          <p:sp>
            <p:nvSpPr>
              <p:cNvPr id="276" name="Rectangle 275"/>
              <p:cNvSpPr/>
              <p:nvPr/>
            </p:nvSpPr>
            <p:spPr>
              <a:xfrm>
                <a:off x="2078565" y="5257639"/>
                <a:ext cx="604652" cy="1417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9.5M</a:t>
                </a:r>
              </a:p>
            </p:txBody>
          </p:sp>
          <p:sp>
            <p:nvSpPr>
              <p:cNvPr id="277" name="Rectangle 276"/>
              <p:cNvSpPr/>
              <p:nvPr/>
            </p:nvSpPr>
            <p:spPr>
              <a:xfrm>
                <a:off x="2769319" y="5257639"/>
                <a:ext cx="658096" cy="1417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13.6M</a:t>
                </a:r>
              </a:p>
            </p:txBody>
          </p:sp>
          <p:sp>
            <p:nvSpPr>
              <p:cNvPr id="278" name="TextBox 277"/>
              <p:cNvSpPr txBox="1"/>
              <p:nvPr/>
            </p:nvSpPr>
            <p:spPr>
              <a:xfrm>
                <a:off x="1819121" y="5587556"/>
                <a:ext cx="1135135" cy="184972"/>
              </a:xfrm>
              <a:prstGeom prst="rect">
                <a:avLst/>
              </a:prstGeom>
              <a:noFill/>
            </p:spPr>
            <p:txBody>
              <a:bodyPr wrap="square" rtlCol="0">
                <a:normAutofit fontScale="92500"/>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616365"/>
                    </a:solidFill>
                    <a:effectLst/>
                    <a:uLnTx/>
                    <a:uFillTx/>
                    <a:ea typeface="+mn-ea"/>
                    <a:cs typeface="Arial" pitchFamily="34" charset="0"/>
                  </a:rPr>
                  <a:t>50</a:t>
                </a:r>
                <a:r>
                  <a:rPr kumimoji="0" lang="en-US" sz="700" b="0" i="0" u="none" strike="noStrike" kern="1200" cap="none" spc="0" normalizeH="0" baseline="30000" noProof="0" dirty="0">
                    <a:ln>
                      <a:noFill/>
                    </a:ln>
                    <a:solidFill>
                      <a:srgbClr val="616365"/>
                    </a:solidFill>
                    <a:effectLst/>
                    <a:uLnTx/>
                    <a:uFillTx/>
                    <a:ea typeface="+mn-ea"/>
                    <a:cs typeface="Arial" pitchFamily="34" charset="0"/>
                  </a:rPr>
                  <a:t>th</a:t>
                </a:r>
                <a:r>
                  <a:rPr kumimoji="0" lang="en-US" sz="700" b="0" i="0" u="none" strike="noStrike" kern="1200" cap="none" spc="0" normalizeH="0" baseline="0" noProof="0" dirty="0">
                    <a:ln>
                      <a:noFill/>
                    </a:ln>
                    <a:solidFill>
                      <a:srgbClr val="616365"/>
                    </a:solidFill>
                    <a:effectLst/>
                    <a:uLnTx/>
                    <a:uFillTx/>
                    <a:ea typeface="+mn-ea"/>
                    <a:cs typeface="Arial" pitchFamily="34" charset="0"/>
                  </a:rPr>
                  <a:t> Percentile</a:t>
                </a:r>
              </a:p>
            </p:txBody>
          </p:sp>
          <p:cxnSp>
            <p:nvCxnSpPr>
              <p:cNvPr id="279" name="Straight Connector 278"/>
              <p:cNvCxnSpPr/>
              <p:nvPr/>
            </p:nvCxnSpPr>
            <p:spPr>
              <a:xfrm flipV="1">
                <a:off x="3108196" y="5423192"/>
                <a:ext cx="0" cy="11566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80" name="Straight Connector 279"/>
              <p:cNvCxnSpPr/>
              <p:nvPr/>
            </p:nvCxnSpPr>
            <p:spPr>
              <a:xfrm flipV="1">
                <a:off x="3827890" y="5437659"/>
                <a:ext cx="0" cy="11566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81" name="Straight Connector 280"/>
              <p:cNvCxnSpPr/>
              <p:nvPr/>
            </p:nvCxnSpPr>
            <p:spPr>
              <a:xfrm flipV="1">
                <a:off x="953494" y="5437659"/>
                <a:ext cx="0" cy="115661"/>
              </a:xfrm>
              <a:prstGeom prst="line">
                <a:avLst/>
              </a:prstGeom>
              <a:ln w="38100">
                <a:solidFill>
                  <a:srgbClr val="000000"/>
                </a:solidFill>
              </a:ln>
            </p:spPr>
            <p:style>
              <a:lnRef idx="1">
                <a:schemeClr val="accent1"/>
              </a:lnRef>
              <a:fillRef idx="0">
                <a:schemeClr val="accent1"/>
              </a:fillRef>
              <a:effectRef idx="0">
                <a:schemeClr val="accent1"/>
              </a:effectRef>
              <a:fontRef idx="minor">
                <a:schemeClr val="tx1"/>
              </a:fontRef>
            </p:style>
          </p:cxnSp>
          <p:sp>
            <p:nvSpPr>
              <p:cNvPr id="282" name="Flowchart: Decision 281"/>
              <p:cNvSpPr/>
              <p:nvPr/>
            </p:nvSpPr>
            <p:spPr>
              <a:xfrm>
                <a:off x="1789754" y="5375818"/>
                <a:ext cx="385756" cy="247422"/>
              </a:xfrm>
              <a:prstGeom prst="flowChartDecision">
                <a:avLst/>
              </a:prstGeom>
              <a:solidFill>
                <a:srgbClr val="4066B2"/>
              </a:solidFill>
              <a:ln>
                <a:solidFill>
                  <a:srgbClr val="4066B2"/>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white"/>
                    </a:solidFill>
                    <a:effectLst/>
                    <a:uLnTx/>
                    <a:uFillTx/>
                    <a:ea typeface="+mn-ea"/>
                    <a:cs typeface="+mn-cs"/>
                  </a:rPr>
                  <a:t>$5.9M</a:t>
                </a:r>
              </a:p>
            </p:txBody>
          </p:sp>
          <p:sp>
            <p:nvSpPr>
              <p:cNvPr id="283" name="Rectangle 282"/>
              <p:cNvSpPr/>
              <p:nvPr/>
            </p:nvSpPr>
            <p:spPr>
              <a:xfrm>
                <a:off x="400773" y="5095623"/>
                <a:ext cx="158208" cy="810088"/>
              </a:xfrm>
              <a:prstGeom prst="rect">
                <a:avLst/>
              </a:prstGeom>
              <a:solidFill>
                <a:srgbClr val="8099CC"/>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prstClr val="white"/>
                    </a:solidFill>
                    <a:effectLst/>
                    <a:uLnTx/>
                    <a:uFillTx/>
                    <a:ea typeface="+mn-ea"/>
                    <a:cs typeface="+mn-cs"/>
                  </a:rPr>
                  <a:t>Other</a:t>
                </a:r>
              </a:p>
            </p:txBody>
          </p:sp>
        </p:grpSp>
      </p:grpSp>
      <p:sp>
        <p:nvSpPr>
          <p:cNvPr id="199" name="Rectangle 198"/>
          <p:cNvSpPr/>
          <p:nvPr/>
        </p:nvSpPr>
        <p:spPr>
          <a:xfrm>
            <a:off x="9610160" y="4393717"/>
            <a:ext cx="623034" cy="2474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white"/>
                </a:solidFill>
                <a:effectLst/>
                <a:uLnTx/>
                <a:uFillTx/>
                <a:ea typeface="+mn-ea"/>
                <a:cs typeface="+mn-cs"/>
              </a:rPr>
              <a:t>49</a:t>
            </a:r>
          </a:p>
        </p:txBody>
      </p:sp>
      <p:sp>
        <p:nvSpPr>
          <p:cNvPr id="200" name="Rectangle 199"/>
          <p:cNvSpPr/>
          <p:nvPr/>
        </p:nvSpPr>
        <p:spPr>
          <a:xfrm>
            <a:off x="10731621" y="4802363"/>
            <a:ext cx="623034" cy="2474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white"/>
                </a:solidFill>
                <a:effectLst/>
                <a:uLnTx/>
                <a:uFillTx/>
                <a:ea typeface="+mn-ea"/>
                <a:cs typeface="+mn-cs"/>
              </a:rPr>
              <a:t>15</a:t>
            </a:r>
          </a:p>
        </p:txBody>
      </p:sp>
      <p:graphicFrame>
        <p:nvGraphicFramePr>
          <p:cNvPr id="201" name="Chart 200"/>
          <p:cNvGraphicFramePr/>
          <p:nvPr>
            <p:extLst>
              <p:ext uri="{D42A27DB-BD31-4B8C-83A1-F6EECF244321}">
                <p14:modId xmlns:p14="http://schemas.microsoft.com/office/powerpoint/2010/main" val="1440769175"/>
              </p:ext>
            </p:extLst>
          </p:nvPr>
        </p:nvGraphicFramePr>
        <p:xfrm>
          <a:off x="6578747" y="2229383"/>
          <a:ext cx="5003386" cy="3617912"/>
        </p:xfrm>
        <a:graphic>
          <a:graphicData uri="http://schemas.openxmlformats.org/drawingml/2006/chart">
            <c:chart xmlns:c="http://schemas.openxmlformats.org/drawingml/2006/chart" xmlns:r="http://schemas.openxmlformats.org/officeDocument/2006/relationships" r:id="rId7"/>
          </a:graphicData>
        </a:graphic>
      </p:graphicFrame>
      <p:sp>
        <p:nvSpPr>
          <p:cNvPr id="202" name="Rectangle 201"/>
          <p:cNvSpPr/>
          <p:nvPr/>
        </p:nvSpPr>
        <p:spPr>
          <a:xfrm>
            <a:off x="7109042" y="2603579"/>
            <a:ext cx="808103" cy="1893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90.0M</a:t>
            </a:r>
          </a:p>
        </p:txBody>
      </p:sp>
      <p:sp>
        <p:nvSpPr>
          <p:cNvPr id="203" name="Rectangle 202"/>
          <p:cNvSpPr/>
          <p:nvPr/>
        </p:nvSpPr>
        <p:spPr>
          <a:xfrm>
            <a:off x="7938348" y="2624517"/>
            <a:ext cx="808103" cy="1893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53.1M</a:t>
            </a:r>
            <a:endParaRPr kumimoji="0" lang="en-US" sz="1000" b="0" i="0" u="none" strike="noStrike" kern="1200" cap="none" spc="0" normalizeH="0" baseline="30000" noProof="0" dirty="0">
              <a:ln>
                <a:noFill/>
              </a:ln>
              <a:solidFill>
                <a:srgbClr val="000000"/>
              </a:solidFill>
              <a:effectLst/>
              <a:uLnTx/>
              <a:uFillTx/>
              <a:ea typeface="+mn-ea"/>
              <a:cs typeface="+mn-cs"/>
            </a:endParaRPr>
          </a:p>
        </p:txBody>
      </p:sp>
      <p:sp>
        <p:nvSpPr>
          <p:cNvPr id="284" name="Rectangle 283"/>
          <p:cNvSpPr/>
          <p:nvPr/>
        </p:nvSpPr>
        <p:spPr>
          <a:xfrm>
            <a:off x="8838658" y="3943952"/>
            <a:ext cx="808103" cy="1893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29.6M</a:t>
            </a:r>
          </a:p>
        </p:txBody>
      </p:sp>
      <p:sp>
        <p:nvSpPr>
          <p:cNvPr id="285" name="Rectangle 284"/>
          <p:cNvSpPr/>
          <p:nvPr/>
        </p:nvSpPr>
        <p:spPr>
          <a:xfrm>
            <a:off x="9695109" y="4627363"/>
            <a:ext cx="808103" cy="1893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11.4M</a:t>
            </a:r>
          </a:p>
        </p:txBody>
      </p:sp>
      <p:sp>
        <p:nvSpPr>
          <p:cNvPr id="286" name="Rectangle 285"/>
          <p:cNvSpPr/>
          <p:nvPr/>
        </p:nvSpPr>
        <p:spPr>
          <a:xfrm>
            <a:off x="10601479" y="4889003"/>
            <a:ext cx="808103" cy="1893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5.9M</a:t>
            </a:r>
          </a:p>
        </p:txBody>
      </p:sp>
      <p:sp>
        <p:nvSpPr>
          <p:cNvPr id="287" name="Rectangle 5"/>
          <p:cNvSpPr>
            <a:spLocks noChangeArrowheads="1"/>
          </p:cNvSpPr>
          <p:nvPr/>
        </p:nvSpPr>
        <p:spPr bwMode="gray">
          <a:xfrm>
            <a:off x="7052321" y="5921274"/>
            <a:ext cx="4419609" cy="468572"/>
          </a:xfrm>
          <a:prstGeom prst="rect">
            <a:avLst/>
          </a:prstGeom>
          <a:solidFill>
            <a:schemeClr val="bg1"/>
          </a:solidFill>
          <a:ln w="19050" algn="ctr">
            <a:noFill/>
            <a:miter lim="800000"/>
            <a:headEnd/>
            <a:tailEnd/>
          </a:ln>
        </p:spPr>
        <p:txBody>
          <a:bodyPr wrap="square" lIns="108000" tIns="72000" rIns="108000" bIns="72000" anchor="ctr" anchorCtr="1">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1" u="none" strike="noStrike" kern="1200" cap="none" spc="0" normalizeH="0" baseline="0" noProof="0" dirty="0">
                <a:ln>
                  <a:noFill/>
                </a:ln>
                <a:solidFill>
                  <a:srgbClr val="000000"/>
                </a:solidFill>
                <a:effectLst/>
                <a:uLnTx/>
                <a:uFillTx/>
                <a:ea typeface="+mn-ea"/>
                <a:cs typeface="Arial" charset="0"/>
              </a:rPr>
              <a:t>Achieving “average” performance throughout the Finance organization may yield annual savings of over $30M</a:t>
            </a:r>
          </a:p>
        </p:txBody>
      </p:sp>
      <p:sp>
        <p:nvSpPr>
          <p:cNvPr id="288" name="Title 1">
            <a:extLst>
              <a:ext uri="{FF2B5EF4-FFF2-40B4-BE49-F238E27FC236}">
                <a16:creationId xmlns:a16="http://schemas.microsoft.com/office/drawing/2014/main" id="{99E6B428-58B2-4CE8-8E1C-BD6CD803D413}"/>
              </a:ext>
            </a:extLst>
          </p:cNvPr>
          <p:cNvSpPr txBox="1">
            <a:spLocks/>
          </p:cNvSpPr>
          <p:nvPr/>
        </p:nvSpPr>
        <p:spPr>
          <a:xfrm>
            <a:off x="914400" y="1705280"/>
            <a:ext cx="4286460" cy="210718"/>
          </a:xfrm>
          <a:prstGeom prst="rect">
            <a:avLst/>
          </a:prstGeom>
        </p:spPr>
        <p:txBody>
          <a:bodyPr vert="horz" lIns="0" tIns="45720" rIns="0" bIns="0" rtlCol="0" anchor="ctr"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lang="en-US" sz="1050" spc="300" dirty="0">
                <a:solidFill>
                  <a:srgbClr val="787878"/>
                </a:solidFill>
                <a:latin typeface="Open Sans"/>
              </a:rPr>
              <a:t>FINANCE DEPARTMENT BENCHMARKS</a:t>
            </a:r>
            <a:endParaRPr kumimoji="0" lang="en-US" sz="1050" b="0" i="0" u="none" strike="noStrike" kern="1200" cap="none" spc="300" normalizeH="0" baseline="0" noProof="0" dirty="0">
              <a:ln>
                <a:noFill/>
              </a:ln>
              <a:solidFill>
                <a:srgbClr val="787878"/>
              </a:solidFill>
              <a:effectLst/>
              <a:uLnTx/>
              <a:uFillTx/>
              <a:latin typeface="Open Sans"/>
            </a:endParaRPr>
          </a:p>
        </p:txBody>
      </p:sp>
      <p:sp>
        <p:nvSpPr>
          <p:cNvPr id="289" name="Title 1">
            <a:extLst>
              <a:ext uri="{FF2B5EF4-FFF2-40B4-BE49-F238E27FC236}">
                <a16:creationId xmlns:a16="http://schemas.microsoft.com/office/drawing/2014/main" id="{99E6B428-58B2-4CE8-8E1C-BD6CD803D413}"/>
              </a:ext>
            </a:extLst>
          </p:cNvPr>
          <p:cNvSpPr txBox="1">
            <a:spLocks/>
          </p:cNvSpPr>
          <p:nvPr/>
        </p:nvSpPr>
        <p:spPr>
          <a:xfrm>
            <a:off x="6630214" y="1705280"/>
            <a:ext cx="4286460" cy="210718"/>
          </a:xfrm>
          <a:prstGeom prst="rect">
            <a:avLst/>
          </a:prstGeom>
        </p:spPr>
        <p:txBody>
          <a:bodyPr vert="horz" lIns="0" tIns="45720" rIns="0" bIns="0" rtlCol="0" anchor="ctr"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lang="en-US" sz="1050" spc="300" dirty="0">
                <a:solidFill>
                  <a:srgbClr val="787878"/>
                </a:solidFill>
                <a:latin typeface="Open Sans"/>
              </a:rPr>
              <a:t>CLIENT TOTAL FINANCE SPEND BREAKDOWN</a:t>
            </a:r>
            <a:endParaRPr kumimoji="0" lang="en-US" sz="1050" b="0" i="0" u="none" strike="noStrike" kern="1200" cap="none" spc="300" normalizeH="0" baseline="0" noProof="0" dirty="0">
              <a:ln>
                <a:noFill/>
              </a:ln>
              <a:solidFill>
                <a:srgbClr val="787878"/>
              </a:solidFill>
              <a:effectLst/>
              <a:uLnTx/>
              <a:uFillTx/>
              <a:latin typeface="Open Sans"/>
            </a:endParaRPr>
          </a:p>
        </p:txBody>
      </p:sp>
    </p:spTree>
    <p:extLst>
      <p:ext uri="{BB962C8B-B14F-4D97-AF65-F5344CB8AC3E}">
        <p14:creationId xmlns:p14="http://schemas.microsoft.com/office/powerpoint/2010/main" val="295452304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32"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br>
              <a:rPr lang="en-US" dirty="0">
                <a:solidFill>
                  <a:srgbClr val="000000"/>
                </a:solidFill>
                <a:latin typeface="Chronicle Display Semi" pitchFamily="50" charset="0"/>
              </a:rPr>
            </a:br>
            <a:br>
              <a:rPr lang="en-US" dirty="0">
                <a:solidFill>
                  <a:srgbClr val="000000"/>
                </a:solidFill>
                <a:latin typeface="Chronicle Display Semi" pitchFamily="50" charset="0"/>
              </a:rPr>
            </a:br>
            <a:r>
              <a:rPr lang="en-US" dirty="0">
                <a:solidFill>
                  <a:srgbClr val="000000"/>
                </a:solidFill>
                <a:latin typeface="Chronicle Display Semi" pitchFamily="50" charset="0"/>
              </a:rPr>
              <a:t>Ambition: Double Adult Beverage Sales in 3 Years</a:t>
            </a:r>
            <a:endParaRPr lang="en-US" dirty="0"/>
          </a:p>
        </p:txBody>
      </p:sp>
      <p:sp>
        <p:nvSpPr>
          <p:cNvPr id="3" name="Text Placeholder 2"/>
          <p:cNvSpPr>
            <a:spLocks noGrp="1"/>
          </p:cNvSpPr>
          <p:nvPr>
            <p:ph type="body" sz="quarter" idx="14"/>
          </p:nvPr>
        </p:nvSpPr>
        <p:spPr/>
        <p:txBody>
          <a:bodyPr/>
          <a:lstStyle/>
          <a:p>
            <a:r>
              <a:rPr lang="en-US" dirty="0"/>
              <a:t>Subtitle</a:t>
            </a:r>
          </a:p>
        </p:txBody>
      </p:sp>
      <p:sp>
        <p:nvSpPr>
          <p:cNvPr id="5" name="Text Placeholder 4"/>
          <p:cNvSpPr>
            <a:spLocks noGrp="1"/>
          </p:cNvSpPr>
          <p:nvPr>
            <p:ph type="body" sz="quarter" idx="15"/>
          </p:nvPr>
        </p:nvSpPr>
        <p:spPr/>
        <p:txBody>
          <a:bodyPr/>
          <a:lstStyle/>
          <a:p>
            <a:r>
              <a:rPr lang="en-US" dirty="0"/>
              <a:t>Data Visualization &amp; Infographics</a:t>
            </a:r>
          </a:p>
        </p:txBody>
      </p:sp>
      <p:sp>
        <p:nvSpPr>
          <p:cNvPr id="47" name="Rectangle 3"/>
          <p:cNvSpPr>
            <a:spLocks noChangeArrowheads="1"/>
          </p:cNvSpPr>
          <p:nvPr/>
        </p:nvSpPr>
        <p:spPr bwMode="gray">
          <a:xfrm>
            <a:off x="2858008" y="3083832"/>
            <a:ext cx="3216275" cy="477838"/>
          </a:xfrm>
          <a:prstGeom prst="rect">
            <a:avLst/>
          </a:prstGeom>
          <a:solidFill>
            <a:srgbClr val="FFFFFF"/>
          </a:solidFill>
          <a:ln w="9525" algn="ctr">
            <a:noFill/>
            <a:miter lim="800000"/>
            <a:headEnd/>
            <a:tailEnd/>
          </a:ln>
        </p:spPr>
        <p:txBody>
          <a:bodyPr lIns="0" tIns="0" rIns="0" bIns="0"/>
          <a:lstStyle/>
          <a:p>
            <a:pPr marL="3175" marR="0" lvl="1" indent="-3175" algn="r" defTabSz="914400" rtl="0" eaLnBrk="1" fontAlgn="auto" latinLnBrk="0" hangingPunct="1">
              <a:lnSpc>
                <a:spcPct val="100000"/>
              </a:lnSpc>
              <a:spcBef>
                <a:spcPts val="0"/>
              </a:spcBef>
              <a:spcAft>
                <a:spcPts val="0"/>
              </a:spcAft>
              <a:buClr>
                <a:srgbClr val="000000"/>
              </a:buClr>
              <a:buSzTx/>
              <a:buFontTx/>
              <a:buNone/>
              <a:tabLst/>
              <a:defRPr/>
            </a:pPr>
            <a:r>
              <a:rPr kumimoji="0" lang="en-US" sz="1500" b="1" i="0" u="none" strike="noStrike" kern="0" cap="none" spc="0" normalizeH="0" baseline="0" noProof="0" dirty="0">
                <a:ln>
                  <a:noFill/>
                </a:ln>
                <a:solidFill>
                  <a:srgbClr val="002776"/>
                </a:solidFill>
                <a:effectLst/>
                <a:uLnTx/>
                <a:uFillTx/>
                <a:ea typeface="+mn-ea"/>
                <a:cs typeface="Arial" pitchFamily="34" charset="0"/>
              </a:rPr>
              <a:t>Estimated Retailer’s “Fair Share”</a:t>
            </a:r>
            <a:endParaRPr kumimoji="0" lang="en-US" sz="1500" b="1" i="0" u="none" strike="noStrike" kern="0" cap="none" spc="0" normalizeH="0" baseline="30000" noProof="0" dirty="0">
              <a:ln>
                <a:noFill/>
              </a:ln>
              <a:solidFill>
                <a:srgbClr val="002776"/>
              </a:solidFill>
              <a:effectLst/>
              <a:uLnTx/>
              <a:uFillTx/>
              <a:ea typeface="+mn-ea"/>
              <a:cs typeface="Arial" pitchFamily="34" charset="0"/>
            </a:endParaRPr>
          </a:p>
          <a:p>
            <a:pPr marL="3175" marR="0" lvl="1" indent="-3175" algn="r" defTabSz="914400" rtl="0" eaLnBrk="1" fontAlgn="auto" latinLnBrk="0" hangingPunct="1">
              <a:lnSpc>
                <a:spcPct val="100000"/>
              </a:lnSpc>
              <a:spcBef>
                <a:spcPts val="0"/>
              </a:spcBef>
              <a:spcAft>
                <a:spcPts val="0"/>
              </a:spcAft>
              <a:buClr>
                <a:srgbClr val="000000"/>
              </a:buClr>
              <a:buSzTx/>
              <a:buFontTx/>
              <a:buNone/>
              <a:tabLst/>
              <a:defRPr/>
            </a:pPr>
            <a:r>
              <a:rPr kumimoji="0" lang="en-US" sz="1200" b="0" i="1" u="none" strike="noStrike" kern="0" cap="none" spc="0" normalizeH="0" baseline="0" noProof="0" dirty="0">
                <a:ln>
                  <a:noFill/>
                </a:ln>
                <a:solidFill>
                  <a:srgbClr val="002776"/>
                </a:solidFill>
                <a:effectLst/>
                <a:uLnTx/>
                <a:uFillTx/>
                <a:ea typeface="+mn-ea"/>
                <a:cs typeface="Arial" pitchFamily="34" charset="0"/>
              </a:rPr>
              <a:t>Applying Snack and Beverage market share of 22.5% to GDM Adult Beverage market</a:t>
            </a:r>
            <a:endParaRPr kumimoji="0" lang="en-US" sz="1200" b="0" i="1" u="none" strike="noStrike" kern="0" cap="none" spc="0" normalizeH="0" baseline="30000" noProof="0" dirty="0">
              <a:ln>
                <a:noFill/>
              </a:ln>
              <a:solidFill>
                <a:srgbClr val="002776"/>
              </a:solidFill>
              <a:effectLst/>
              <a:uLnTx/>
              <a:uFillTx/>
              <a:ea typeface="+mn-ea"/>
              <a:cs typeface="Arial" pitchFamily="34" charset="0"/>
            </a:endParaRPr>
          </a:p>
        </p:txBody>
      </p:sp>
      <p:sp>
        <p:nvSpPr>
          <p:cNvPr id="48" name="Rectangle 3"/>
          <p:cNvSpPr>
            <a:spLocks noChangeArrowheads="1"/>
          </p:cNvSpPr>
          <p:nvPr/>
        </p:nvSpPr>
        <p:spPr bwMode="gray">
          <a:xfrm>
            <a:off x="2449286" y="2393270"/>
            <a:ext cx="3266221" cy="266699"/>
          </a:xfrm>
          <a:prstGeom prst="rect">
            <a:avLst/>
          </a:prstGeom>
          <a:solidFill>
            <a:srgbClr val="FFFFFF"/>
          </a:solidFill>
          <a:ln w="9525" algn="ctr">
            <a:noFill/>
            <a:miter lim="800000"/>
            <a:headEnd/>
            <a:tailEnd/>
          </a:ln>
        </p:spPr>
        <p:txBody>
          <a:bodyPr lIns="0" tIns="0" rIns="0" bIns="0" anchor="ctr"/>
          <a:lstStyle/>
          <a:p>
            <a:pPr marL="3175" marR="0" lvl="1" indent="-3175" algn="r" defTabSz="914400" rtl="0" eaLnBrk="1" fontAlgn="auto" latinLnBrk="0" hangingPunct="1">
              <a:lnSpc>
                <a:spcPct val="100000"/>
              </a:lnSpc>
              <a:spcBef>
                <a:spcPts val="0"/>
              </a:spcBef>
              <a:spcAft>
                <a:spcPts val="0"/>
              </a:spcAft>
              <a:buClr>
                <a:srgbClr val="000000"/>
              </a:buClr>
              <a:buSzTx/>
              <a:buFontTx/>
              <a:buNone/>
              <a:tabLst/>
              <a:defRPr/>
            </a:pPr>
            <a:r>
              <a:rPr kumimoji="0" lang="en-US" sz="1500" b="1" i="0" u="none" strike="noStrike" kern="0" cap="none" spc="0" normalizeH="0" baseline="0" noProof="0" dirty="0">
                <a:ln>
                  <a:noFill/>
                </a:ln>
                <a:solidFill>
                  <a:srgbClr val="002776"/>
                </a:solidFill>
                <a:effectLst/>
                <a:uLnTx/>
                <a:uFillTx/>
                <a:ea typeface="+mn-ea"/>
                <a:cs typeface="Arial" pitchFamily="34" charset="0"/>
              </a:rPr>
              <a:t>Estimated Adult Beverage Market for Grocery, Drug, and Mass</a:t>
            </a:r>
          </a:p>
          <a:p>
            <a:pPr marL="3175" marR="0" lvl="1" indent="-3175" algn="r" defTabSz="914400" rtl="0" eaLnBrk="1" fontAlgn="auto" latinLnBrk="0" hangingPunct="1">
              <a:lnSpc>
                <a:spcPct val="100000"/>
              </a:lnSpc>
              <a:spcBef>
                <a:spcPts val="0"/>
              </a:spcBef>
              <a:spcAft>
                <a:spcPts val="0"/>
              </a:spcAft>
              <a:buClr>
                <a:srgbClr val="000000"/>
              </a:buClr>
              <a:buSzTx/>
              <a:buFontTx/>
              <a:buNone/>
              <a:tabLst/>
              <a:defRPr/>
            </a:pPr>
            <a:r>
              <a:rPr kumimoji="0" lang="en-US" sz="1200" b="0" i="1" u="none" strike="noStrike" kern="0" cap="none" spc="0" normalizeH="0" baseline="0" noProof="0" dirty="0">
                <a:ln>
                  <a:noFill/>
                </a:ln>
                <a:solidFill>
                  <a:srgbClr val="002776"/>
                </a:solidFill>
                <a:effectLst/>
                <a:uLnTx/>
                <a:uFillTx/>
                <a:ea typeface="+mn-ea"/>
                <a:cs typeface="Arial" pitchFamily="34" charset="0"/>
              </a:rPr>
              <a:t>Nielsen 2010 figure from CPG Research Report as of Week 43, FY11</a:t>
            </a:r>
          </a:p>
          <a:p>
            <a:pPr marL="3175" marR="0" lvl="1" indent="-3175" algn="r" defTabSz="914400" rtl="0" eaLnBrk="1" fontAlgn="auto" latinLnBrk="0" hangingPunct="1">
              <a:lnSpc>
                <a:spcPct val="100000"/>
              </a:lnSpc>
              <a:spcBef>
                <a:spcPts val="0"/>
              </a:spcBef>
              <a:spcAft>
                <a:spcPts val="0"/>
              </a:spcAft>
              <a:buClr>
                <a:srgbClr val="000000"/>
              </a:buClr>
              <a:buSzTx/>
              <a:buFontTx/>
              <a:buNone/>
              <a:tabLst/>
              <a:defRPr/>
            </a:pPr>
            <a:endParaRPr kumimoji="0" lang="en-US" sz="1500" b="1" i="0" u="none" strike="noStrike" kern="0" cap="none" spc="0" normalizeH="0" baseline="30000" noProof="0" dirty="0">
              <a:ln>
                <a:noFill/>
              </a:ln>
              <a:solidFill>
                <a:srgbClr val="002776"/>
              </a:solidFill>
              <a:effectLst/>
              <a:uLnTx/>
              <a:uFillTx/>
              <a:ea typeface="+mn-ea"/>
              <a:cs typeface="Arial" pitchFamily="34" charset="0"/>
            </a:endParaRPr>
          </a:p>
        </p:txBody>
      </p:sp>
      <p:sp>
        <p:nvSpPr>
          <p:cNvPr id="49" name="Right Arrow 48"/>
          <p:cNvSpPr/>
          <p:nvPr/>
        </p:nvSpPr>
        <p:spPr bwMode="auto">
          <a:xfrm rot="5400000">
            <a:off x="6448933" y="3493408"/>
            <a:ext cx="920750" cy="542925"/>
          </a:xfrm>
          <a:prstGeom prst="rightArrow">
            <a:avLst>
              <a:gd name="adj1" fmla="val 50000"/>
              <a:gd name="adj2" fmla="val 36842"/>
            </a:avLst>
          </a:prstGeom>
          <a:solidFill>
            <a:srgbClr val="FFFFFF">
              <a:lumMod val="65000"/>
              <a:alpha val="46000"/>
            </a:srgbClr>
          </a:solidFill>
          <a:ln w="12700" cap="flat" cmpd="sng" algn="ctr">
            <a:noFill/>
            <a:prstDash val="solid"/>
            <a:round/>
            <a:headEnd type="none" w="sm" len="sm"/>
            <a:tailEnd type="none" w="sm" len="sm"/>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a typeface="+mn-ea"/>
              <a:cs typeface="Arial" pitchFamily="34" charset="0"/>
            </a:endParaRPr>
          </a:p>
        </p:txBody>
      </p:sp>
      <p:sp>
        <p:nvSpPr>
          <p:cNvPr id="50" name="Rectangle 49"/>
          <p:cNvSpPr>
            <a:spLocks noChangeArrowheads="1"/>
          </p:cNvSpPr>
          <p:nvPr/>
        </p:nvSpPr>
        <p:spPr bwMode="auto">
          <a:xfrm>
            <a:off x="6417182" y="4225246"/>
            <a:ext cx="985838" cy="676275"/>
          </a:xfrm>
          <a:prstGeom prst="rect">
            <a:avLst/>
          </a:prstGeom>
          <a:solidFill>
            <a:srgbClr val="3C8A2E"/>
          </a:solidFill>
          <a:ln w="12700" algn="ctr">
            <a:noFill/>
            <a:round/>
            <a:headEnd/>
            <a:tailEnd/>
          </a:ln>
        </p:spPr>
        <p:txBody>
          <a:bodyPr lIns="73152" tIns="73152" rIns="73152" bIns="73152" anchor="ctr"/>
          <a:lstStyle/>
          <a:p>
            <a:pPr marL="0" marR="0" lvl="0" indent="0" algn="ctr" defTabSz="914400" rtl="0" eaLnBrk="0" fontAlgn="auto" latinLnBrk="0" hangingPunct="0">
              <a:lnSpc>
                <a:spcPct val="100000"/>
              </a:lnSpc>
              <a:spcBef>
                <a:spcPts val="0"/>
              </a:spcBef>
              <a:spcAft>
                <a:spcPts val="300"/>
              </a:spcAft>
              <a:buClrTx/>
              <a:buSzPct val="100000"/>
              <a:buFontTx/>
              <a:buNone/>
              <a:tabLst/>
              <a:defRPr/>
            </a:pPr>
            <a:r>
              <a:rPr kumimoji="0" lang="en-US" sz="1500" b="1" i="0" u="none" strike="noStrike" kern="0" cap="none" spc="0" normalizeH="0" baseline="0" noProof="0" dirty="0">
                <a:ln>
                  <a:noFill/>
                </a:ln>
                <a:solidFill>
                  <a:srgbClr val="FFFFFF"/>
                </a:solidFill>
                <a:effectLst/>
                <a:uLnTx/>
                <a:uFillTx/>
                <a:ea typeface="+mn-ea"/>
                <a:cs typeface="Arial" pitchFamily="34" charset="0"/>
              </a:rPr>
              <a:t>$2.8 B</a:t>
            </a:r>
          </a:p>
        </p:txBody>
      </p:sp>
      <p:sp>
        <p:nvSpPr>
          <p:cNvPr id="51" name="Rectangle 3"/>
          <p:cNvSpPr>
            <a:spLocks noChangeArrowheads="1"/>
          </p:cNvSpPr>
          <p:nvPr/>
        </p:nvSpPr>
        <p:spPr bwMode="gray">
          <a:xfrm>
            <a:off x="6431471" y="5149170"/>
            <a:ext cx="935037" cy="665162"/>
          </a:xfrm>
          <a:prstGeom prst="rect">
            <a:avLst/>
          </a:prstGeom>
          <a:solidFill>
            <a:srgbClr val="92D400"/>
          </a:solidFill>
          <a:ln w="12700" algn="ctr">
            <a:noFill/>
            <a:round/>
            <a:headEnd/>
            <a:tailEnd/>
          </a:ln>
        </p:spPr>
        <p:txBody>
          <a:bodyPr lIns="73152" tIns="73152" rIns="73152" bIns="73152" anchor="ctr"/>
          <a:lstStyle/>
          <a:p>
            <a:pPr marL="0" marR="0" lvl="0" indent="0" algn="ctr" defTabSz="914400" rtl="0" eaLnBrk="0" fontAlgn="auto" latinLnBrk="0" hangingPunct="0">
              <a:lnSpc>
                <a:spcPct val="100000"/>
              </a:lnSpc>
              <a:spcBef>
                <a:spcPts val="0"/>
              </a:spcBef>
              <a:spcAft>
                <a:spcPts val="300"/>
              </a:spcAft>
              <a:buClrTx/>
              <a:buSzPct val="100000"/>
              <a:buFontTx/>
              <a:buNone/>
              <a:tabLst/>
              <a:defRPr/>
            </a:pPr>
            <a:r>
              <a:rPr kumimoji="0" lang="en-US" sz="1500" b="1" i="0" u="none" strike="noStrike" kern="0" cap="none" spc="0" normalizeH="0" baseline="0" noProof="0" dirty="0">
                <a:ln>
                  <a:noFill/>
                </a:ln>
                <a:solidFill>
                  <a:srgbClr val="FFFFFF"/>
                </a:solidFill>
                <a:effectLst/>
                <a:uLnTx/>
                <a:uFillTx/>
                <a:ea typeface="+mn-ea"/>
                <a:cs typeface="Arial" pitchFamily="34" charset="0"/>
              </a:rPr>
              <a:t>$2.5 B</a:t>
            </a:r>
          </a:p>
        </p:txBody>
      </p:sp>
      <p:sp>
        <p:nvSpPr>
          <p:cNvPr id="52" name="Rectangle 3"/>
          <p:cNvSpPr>
            <a:spLocks noChangeArrowheads="1"/>
          </p:cNvSpPr>
          <p:nvPr/>
        </p:nvSpPr>
        <p:spPr bwMode="gray">
          <a:xfrm>
            <a:off x="4909057" y="4360183"/>
            <a:ext cx="1474788" cy="428625"/>
          </a:xfrm>
          <a:prstGeom prst="rect">
            <a:avLst/>
          </a:prstGeom>
          <a:noFill/>
          <a:ln w="9525" algn="ctr">
            <a:noFill/>
            <a:miter lim="800000"/>
            <a:headEnd/>
            <a:tailEnd/>
          </a:ln>
        </p:spPr>
        <p:txBody>
          <a:bodyPr lIns="0" tIns="0" rIns="0" bIns="0" anchor="ctr"/>
          <a:lstStyle/>
          <a:p>
            <a:pPr marL="3175" marR="0" lvl="1" indent="-3175" algn="ctr" defTabSz="914400" rtl="0" eaLnBrk="1" fontAlgn="auto" latinLnBrk="0" hangingPunct="1">
              <a:lnSpc>
                <a:spcPct val="100000"/>
              </a:lnSpc>
              <a:spcBef>
                <a:spcPts val="0"/>
              </a:spcBef>
              <a:spcAft>
                <a:spcPts val="0"/>
              </a:spcAft>
              <a:buClr>
                <a:srgbClr val="000000"/>
              </a:buClr>
              <a:buSzTx/>
              <a:buFontTx/>
              <a:buNone/>
              <a:tabLst/>
              <a:defRPr/>
            </a:pPr>
            <a:r>
              <a:rPr kumimoji="0" lang="en-US" sz="1500" b="1" i="0" u="none" strike="noStrike" kern="0" cap="none" spc="0" normalizeH="0" baseline="0" noProof="0" dirty="0">
                <a:ln>
                  <a:noFill/>
                </a:ln>
                <a:solidFill>
                  <a:srgbClr val="002776"/>
                </a:solidFill>
                <a:effectLst/>
                <a:uLnTx/>
                <a:uFillTx/>
                <a:ea typeface="+mn-ea"/>
                <a:cs typeface="Arial" pitchFamily="34" charset="0"/>
              </a:rPr>
              <a:t>Retailer FY11 TBA Revenue</a:t>
            </a:r>
          </a:p>
        </p:txBody>
      </p:sp>
      <p:sp>
        <p:nvSpPr>
          <p:cNvPr id="53" name="Trapezoid 52"/>
          <p:cNvSpPr/>
          <p:nvPr/>
        </p:nvSpPr>
        <p:spPr bwMode="auto">
          <a:xfrm rot="10800000">
            <a:off x="5845683" y="2037671"/>
            <a:ext cx="2043113" cy="860425"/>
          </a:xfrm>
          <a:prstGeom prst="trapezoid">
            <a:avLst>
              <a:gd name="adj" fmla="val 38764"/>
            </a:avLst>
          </a:prstGeom>
          <a:solidFill>
            <a:srgbClr val="002776"/>
          </a:solidFill>
          <a:ln w="12700" cap="flat" cmpd="sng" algn="ctr">
            <a:noFill/>
            <a:prstDash val="solid"/>
            <a:round/>
            <a:headEnd type="none" w="med" len="med"/>
            <a:tailEnd type="none" w="med" len="med"/>
          </a:ln>
          <a:effectLst/>
        </p:spPr>
        <p:txBody>
          <a:bodyPr lIns="73152" tIns="73152" rIns="73152" bIns="73152"/>
          <a:lstStyle/>
          <a:p>
            <a:pPr marL="0" marR="0" lvl="0" indent="0" algn="ctr" defTabSz="914400" rtl="0" eaLnBrk="0" fontAlgn="auto" latinLnBrk="0" hangingPunct="0">
              <a:lnSpc>
                <a:spcPct val="106000"/>
              </a:lnSpc>
              <a:spcBef>
                <a:spcPct val="50000"/>
              </a:spcBef>
              <a:spcAft>
                <a:spcPts val="0"/>
              </a:spcAft>
              <a:buClrTx/>
              <a:buSzPct val="100000"/>
              <a:buFontTx/>
              <a:buNone/>
              <a:tabLst/>
              <a:defRPr/>
            </a:pPr>
            <a:endParaRPr kumimoji="0" lang="en-US" sz="1100" b="0" i="0" u="none" strike="noStrike" kern="0" cap="none" spc="0" normalizeH="0" baseline="0" noProof="0" dirty="0">
              <a:ln>
                <a:noFill/>
              </a:ln>
              <a:solidFill>
                <a:srgbClr val="000000"/>
              </a:solidFill>
              <a:effectLst/>
              <a:uLnTx/>
              <a:uFillTx/>
              <a:ea typeface="+mn-ea"/>
              <a:cs typeface="Arial" pitchFamily="34" charset="0"/>
            </a:endParaRPr>
          </a:p>
        </p:txBody>
      </p:sp>
      <p:sp>
        <p:nvSpPr>
          <p:cNvPr id="54" name="Rectangle 3"/>
          <p:cNvSpPr>
            <a:spLocks noChangeArrowheads="1"/>
          </p:cNvSpPr>
          <p:nvPr/>
        </p:nvSpPr>
        <p:spPr bwMode="gray">
          <a:xfrm>
            <a:off x="6547358" y="2350408"/>
            <a:ext cx="639763" cy="220663"/>
          </a:xfrm>
          <a:prstGeom prst="rect">
            <a:avLst/>
          </a:prstGeom>
          <a:noFill/>
          <a:ln w="9525" algn="ctr">
            <a:noFill/>
            <a:miter lim="800000"/>
            <a:headEnd/>
            <a:tailEnd/>
          </a:ln>
        </p:spPr>
        <p:txBody>
          <a:bodyPr lIns="0" tIns="0" rIns="0" bIns="0" anchor="ctr"/>
          <a:lstStyle/>
          <a:p>
            <a:pPr marL="169863" marR="0" lvl="1" indent="-168275" algn="ctr" defTabSz="914400" rtl="0" eaLnBrk="1" fontAlgn="auto" latinLnBrk="0" hangingPunct="1">
              <a:lnSpc>
                <a:spcPct val="100000"/>
              </a:lnSpc>
              <a:spcBef>
                <a:spcPts val="600"/>
              </a:spcBef>
              <a:spcAft>
                <a:spcPts val="0"/>
              </a:spcAft>
              <a:buClr>
                <a:srgbClr val="000000"/>
              </a:buClr>
              <a:buSzTx/>
              <a:buFontTx/>
              <a:buNone/>
              <a:tabLst/>
              <a:defRPr/>
            </a:pPr>
            <a:r>
              <a:rPr kumimoji="0" lang="en-US" sz="1500" b="1" i="0" u="none" strike="noStrike" kern="0" cap="none" spc="0" normalizeH="0" baseline="0" noProof="0" dirty="0">
                <a:ln>
                  <a:noFill/>
                </a:ln>
                <a:solidFill>
                  <a:srgbClr val="FFFFFF"/>
                </a:solidFill>
                <a:effectLst/>
                <a:uLnTx/>
                <a:uFillTx/>
                <a:ea typeface="+mn-ea"/>
                <a:cs typeface="Arial" pitchFamily="34" charset="0"/>
              </a:rPr>
              <a:t>$22 B</a:t>
            </a:r>
          </a:p>
        </p:txBody>
      </p:sp>
      <p:sp>
        <p:nvSpPr>
          <p:cNvPr id="55" name="Trapezoid 54"/>
          <p:cNvSpPr/>
          <p:nvPr/>
        </p:nvSpPr>
        <p:spPr bwMode="auto">
          <a:xfrm rot="10800000">
            <a:off x="6163182" y="3040971"/>
            <a:ext cx="1447800" cy="650875"/>
          </a:xfrm>
          <a:prstGeom prst="trapezoid">
            <a:avLst>
              <a:gd name="adj" fmla="val 38764"/>
            </a:avLst>
          </a:prstGeom>
          <a:solidFill>
            <a:srgbClr val="00A1DE"/>
          </a:solidFill>
          <a:ln w="12700" cap="flat" cmpd="sng" algn="ctr">
            <a:noFill/>
            <a:prstDash val="solid"/>
            <a:round/>
            <a:headEnd type="none" w="med" len="med"/>
            <a:tailEnd type="none" w="med" len="med"/>
          </a:ln>
          <a:effectLst/>
        </p:spPr>
        <p:txBody>
          <a:bodyPr lIns="73152" tIns="73152" rIns="73152" bIns="73152"/>
          <a:lstStyle/>
          <a:p>
            <a:pPr marL="0" marR="0" lvl="0" indent="0" algn="ctr" defTabSz="914400" rtl="0" eaLnBrk="0" fontAlgn="auto" latinLnBrk="0" hangingPunct="0">
              <a:lnSpc>
                <a:spcPct val="106000"/>
              </a:lnSpc>
              <a:spcBef>
                <a:spcPct val="50000"/>
              </a:spcBef>
              <a:spcAft>
                <a:spcPts val="0"/>
              </a:spcAft>
              <a:buClrTx/>
              <a:buSzPct val="100000"/>
              <a:buFontTx/>
              <a:buNone/>
              <a:tabLst/>
              <a:defRPr/>
            </a:pPr>
            <a:endParaRPr kumimoji="0" lang="en-US" sz="1100" b="0" i="0" u="none" strike="noStrike" kern="0" cap="none" spc="0" normalizeH="0" baseline="0" noProof="0" dirty="0">
              <a:ln>
                <a:noFill/>
              </a:ln>
              <a:solidFill>
                <a:srgbClr val="000000"/>
              </a:solidFill>
              <a:effectLst/>
              <a:uLnTx/>
              <a:uFillTx/>
              <a:ea typeface="+mn-ea"/>
              <a:cs typeface="Arial" pitchFamily="34" charset="0"/>
            </a:endParaRPr>
          </a:p>
        </p:txBody>
      </p:sp>
      <p:sp>
        <p:nvSpPr>
          <p:cNvPr id="56" name="Rectangle 3"/>
          <p:cNvSpPr>
            <a:spLocks noChangeArrowheads="1"/>
          </p:cNvSpPr>
          <p:nvPr/>
        </p:nvSpPr>
        <p:spPr bwMode="gray">
          <a:xfrm>
            <a:off x="6566408" y="3236232"/>
            <a:ext cx="639763" cy="222250"/>
          </a:xfrm>
          <a:prstGeom prst="rect">
            <a:avLst/>
          </a:prstGeom>
          <a:noFill/>
          <a:ln w="9525" algn="ctr">
            <a:noFill/>
            <a:miter lim="800000"/>
            <a:headEnd/>
            <a:tailEnd/>
          </a:ln>
        </p:spPr>
        <p:txBody>
          <a:bodyPr lIns="0" tIns="0" rIns="0" bIns="0"/>
          <a:lstStyle/>
          <a:p>
            <a:pPr marL="169863" marR="0" lvl="1" indent="-168275" algn="ctr" defTabSz="914400" rtl="0" eaLnBrk="1" fontAlgn="auto" latinLnBrk="0" hangingPunct="1">
              <a:lnSpc>
                <a:spcPct val="100000"/>
              </a:lnSpc>
              <a:spcBef>
                <a:spcPts val="600"/>
              </a:spcBef>
              <a:spcAft>
                <a:spcPts val="0"/>
              </a:spcAft>
              <a:buClr>
                <a:srgbClr val="000000"/>
              </a:buClr>
              <a:buSzTx/>
              <a:buFontTx/>
              <a:buNone/>
              <a:tabLst/>
              <a:defRPr/>
            </a:pPr>
            <a:r>
              <a:rPr kumimoji="0" lang="en-US" sz="1500" b="1" i="0" u="none" strike="noStrike" kern="0" cap="none" spc="0" normalizeH="0" baseline="0" noProof="0" dirty="0">
                <a:ln>
                  <a:noFill/>
                </a:ln>
                <a:solidFill>
                  <a:srgbClr val="FFFFFF"/>
                </a:solidFill>
                <a:effectLst/>
                <a:uLnTx/>
                <a:uFillTx/>
                <a:ea typeface="+mn-ea"/>
                <a:cs typeface="Arial" pitchFamily="34" charset="0"/>
              </a:rPr>
              <a:t>$5.3 B</a:t>
            </a:r>
          </a:p>
        </p:txBody>
      </p:sp>
      <p:cxnSp>
        <p:nvCxnSpPr>
          <p:cNvPr id="57" name="Straight Connector 19"/>
          <p:cNvCxnSpPr>
            <a:cxnSpLocks noChangeShapeType="1"/>
          </p:cNvCxnSpPr>
          <p:nvPr/>
        </p:nvCxnSpPr>
        <p:spPr bwMode="auto">
          <a:xfrm>
            <a:off x="2729420" y="2963182"/>
            <a:ext cx="5129212" cy="0"/>
          </a:xfrm>
          <a:prstGeom prst="line">
            <a:avLst/>
          </a:prstGeom>
          <a:noFill/>
          <a:ln w="15875" algn="ctr">
            <a:solidFill>
              <a:srgbClr val="003896"/>
            </a:solidFill>
            <a:round/>
            <a:headEnd type="none" w="sm" len="sm"/>
            <a:tailEnd type="none" w="sm" len="sm"/>
          </a:ln>
        </p:spPr>
      </p:cxnSp>
      <p:cxnSp>
        <p:nvCxnSpPr>
          <p:cNvPr id="58" name="Straight Connector 20"/>
          <p:cNvCxnSpPr>
            <a:cxnSpLocks noChangeShapeType="1"/>
          </p:cNvCxnSpPr>
          <p:nvPr/>
        </p:nvCxnSpPr>
        <p:spPr bwMode="auto">
          <a:xfrm>
            <a:off x="2731008" y="3744232"/>
            <a:ext cx="4822825" cy="0"/>
          </a:xfrm>
          <a:prstGeom prst="line">
            <a:avLst/>
          </a:prstGeom>
          <a:noFill/>
          <a:ln w="15875" algn="ctr">
            <a:solidFill>
              <a:srgbClr val="003896"/>
            </a:solidFill>
            <a:round/>
            <a:headEnd type="none" w="sm" len="sm"/>
            <a:tailEnd type="none" w="sm" len="sm"/>
          </a:ln>
        </p:spPr>
      </p:cxnSp>
      <p:sp>
        <p:nvSpPr>
          <p:cNvPr id="59" name="Rectangle 3"/>
          <p:cNvSpPr>
            <a:spLocks noChangeArrowheads="1"/>
          </p:cNvSpPr>
          <p:nvPr/>
        </p:nvSpPr>
        <p:spPr bwMode="gray">
          <a:xfrm>
            <a:off x="2802446" y="5212671"/>
            <a:ext cx="3216275" cy="477837"/>
          </a:xfrm>
          <a:prstGeom prst="rect">
            <a:avLst/>
          </a:prstGeom>
          <a:solidFill>
            <a:srgbClr val="FFFFFF"/>
          </a:solidFill>
          <a:ln w="9525" algn="ctr">
            <a:noFill/>
            <a:miter lim="800000"/>
            <a:headEnd/>
            <a:tailEnd/>
          </a:ln>
        </p:spPr>
        <p:txBody>
          <a:bodyPr lIns="0" tIns="0" rIns="0" bIns="0"/>
          <a:lstStyle/>
          <a:p>
            <a:pPr marL="3175" marR="0" lvl="1" indent="-3175" algn="r" defTabSz="914400" rtl="0" eaLnBrk="1" fontAlgn="auto" latinLnBrk="0" hangingPunct="1">
              <a:lnSpc>
                <a:spcPct val="100000"/>
              </a:lnSpc>
              <a:spcBef>
                <a:spcPts val="0"/>
              </a:spcBef>
              <a:spcAft>
                <a:spcPts val="0"/>
              </a:spcAft>
              <a:buClr>
                <a:srgbClr val="000000"/>
              </a:buClr>
              <a:buSzTx/>
              <a:buFontTx/>
              <a:buNone/>
              <a:tabLst/>
              <a:defRPr/>
            </a:pPr>
            <a:r>
              <a:rPr kumimoji="0" lang="en-US" sz="1500" b="1" i="0" u="none" strike="noStrike" kern="0" cap="none" spc="0" normalizeH="0" baseline="0" noProof="0" dirty="0">
                <a:ln>
                  <a:noFill/>
                </a:ln>
                <a:solidFill>
                  <a:srgbClr val="002776"/>
                </a:solidFill>
                <a:effectLst/>
                <a:uLnTx/>
                <a:uFillTx/>
                <a:ea typeface="+mn-ea"/>
                <a:cs typeface="Arial" pitchFamily="34" charset="0"/>
              </a:rPr>
              <a:t>Projected Market Gap</a:t>
            </a:r>
            <a:endParaRPr kumimoji="0" lang="en-US" sz="1500" b="1" i="0" u="none" strike="noStrike" kern="0" cap="none" spc="0" normalizeH="0" baseline="30000" noProof="0" dirty="0">
              <a:ln>
                <a:noFill/>
              </a:ln>
              <a:solidFill>
                <a:srgbClr val="002776"/>
              </a:solidFill>
              <a:effectLst/>
              <a:uLnTx/>
              <a:uFillTx/>
              <a:ea typeface="+mn-ea"/>
              <a:cs typeface="Arial" pitchFamily="34" charset="0"/>
            </a:endParaRPr>
          </a:p>
          <a:p>
            <a:pPr marL="3175" marR="0" lvl="1" indent="-3175" algn="r" defTabSz="914400" rtl="0" eaLnBrk="1" fontAlgn="auto" latinLnBrk="0" hangingPunct="1">
              <a:lnSpc>
                <a:spcPct val="100000"/>
              </a:lnSpc>
              <a:spcBef>
                <a:spcPts val="0"/>
              </a:spcBef>
              <a:spcAft>
                <a:spcPts val="0"/>
              </a:spcAft>
              <a:buClr>
                <a:srgbClr val="000000"/>
              </a:buClr>
              <a:buSzTx/>
              <a:buFontTx/>
              <a:buNone/>
              <a:tabLst/>
              <a:defRPr/>
            </a:pPr>
            <a:r>
              <a:rPr kumimoji="0" lang="en-US" sz="1200" b="0" i="1" u="none" strike="noStrike" kern="0" cap="none" spc="0" normalizeH="0" baseline="0" noProof="0" dirty="0">
                <a:ln>
                  <a:noFill/>
                </a:ln>
                <a:solidFill>
                  <a:srgbClr val="002776"/>
                </a:solidFill>
                <a:effectLst/>
                <a:uLnTx/>
                <a:uFillTx/>
                <a:ea typeface="+mn-ea"/>
                <a:cs typeface="Arial" pitchFamily="34" charset="0"/>
              </a:rPr>
              <a:t>Estimated Retailer fair share minus Retailer FY11 TBA Revenue </a:t>
            </a:r>
          </a:p>
        </p:txBody>
      </p:sp>
      <p:sp>
        <p:nvSpPr>
          <p:cNvPr id="60" name="Left Brace 22"/>
          <p:cNvSpPr>
            <a:spLocks/>
          </p:cNvSpPr>
          <p:nvPr/>
        </p:nvSpPr>
        <p:spPr bwMode="auto">
          <a:xfrm rot="10800000" flipH="1">
            <a:off x="6121907" y="5145995"/>
            <a:ext cx="249238" cy="671512"/>
          </a:xfrm>
          <a:prstGeom prst="leftBrace">
            <a:avLst>
              <a:gd name="adj1" fmla="val 8332"/>
              <a:gd name="adj2" fmla="val 50000"/>
            </a:avLst>
          </a:prstGeom>
          <a:noFill/>
          <a:ln w="12700" algn="ctr">
            <a:solidFill>
              <a:srgbClr val="000000"/>
            </a:solidFill>
            <a:round/>
            <a:headEnd type="none" w="sm" len="sm"/>
            <a:tailEnd type="none" w="sm" len="sm"/>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a typeface="+mn-ea"/>
              <a:cs typeface="Arial" pitchFamily="34" charset="0"/>
            </a:endParaRPr>
          </a:p>
        </p:txBody>
      </p:sp>
      <p:sp>
        <p:nvSpPr>
          <p:cNvPr id="61" name="Rectangle 3"/>
          <p:cNvSpPr>
            <a:spLocks noChangeArrowheads="1"/>
          </p:cNvSpPr>
          <p:nvPr/>
        </p:nvSpPr>
        <p:spPr bwMode="gray">
          <a:xfrm>
            <a:off x="7733221" y="4985658"/>
            <a:ext cx="935037" cy="257175"/>
          </a:xfrm>
          <a:prstGeom prst="rect">
            <a:avLst/>
          </a:prstGeom>
          <a:solidFill>
            <a:srgbClr val="92D400"/>
          </a:solidFill>
          <a:ln w="12700" algn="ctr">
            <a:noFill/>
            <a:round/>
            <a:headEnd/>
            <a:tailEnd/>
          </a:ln>
        </p:spPr>
        <p:txBody>
          <a:bodyPr lIns="73152" tIns="73152" rIns="73152" bIns="73152" anchor="ctr"/>
          <a:lstStyle/>
          <a:p>
            <a:pPr marL="393700" marR="0" lvl="1" indent="-168275" algn="ctr" defTabSz="914400" rtl="0" eaLnBrk="0" fontAlgn="auto" latinLnBrk="0" hangingPunct="0">
              <a:lnSpc>
                <a:spcPct val="100000"/>
              </a:lnSpc>
              <a:spcBef>
                <a:spcPts val="0"/>
              </a:spcBef>
              <a:spcAft>
                <a:spcPts val="300"/>
              </a:spcAft>
              <a:buClr>
                <a:srgbClr val="000000"/>
              </a:buClr>
              <a:buSzPct val="100000"/>
              <a:buFontTx/>
              <a:buNone/>
              <a:tabLst/>
              <a:defRPr/>
            </a:pPr>
            <a:r>
              <a:rPr kumimoji="0" lang="en-US" sz="1200" b="1" i="0" u="none" strike="noStrike" kern="0" cap="none" spc="0" normalizeH="0" baseline="0" noProof="0" dirty="0">
                <a:ln>
                  <a:noFill/>
                </a:ln>
                <a:solidFill>
                  <a:srgbClr val="FFFFFF"/>
                </a:solidFill>
                <a:effectLst/>
                <a:uLnTx/>
                <a:uFillTx/>
                <a:ea typeface="+mn-ea"/>
                <a:cs typeface="Arial" pitchFamily="34" charset="0"/>
              </a:rPr>
              <a:t>$0.9 B</a:t>
            </a:r>
          </a:p>
        </p:txBody>
      </p:sp>
      <p:sp>
        <p:nvSpPr>
          <p:cNvPr id="62" name="Rectangle 3"/>
          <p:cNvSpPr>
            <a:spLocks noChangeArrowheads="1"/>
          </p:cNvSpPr>
          <p:nvPr/>
        </p:nvSpPr>
        <p:spPr bwMode="gray">
          <a:xfrm>
            <a:off x="7733221" y="5352371"/>
            <a:ext cx="935037" cy="257175"/>
          </a:xfrm>
          <a:prstGeom prst="rect">
            <a:avLst/>
          </a:prstGeom>
          <a:solidFill>
            <a:srgbClr val="92D400"/>
          </a:solidFill>
          <a:ln w="12700" algn="ctr">
            <a:noFill/>
            <a:round/>
            <a:headEnd/>
            <a:tailEnd/>
          </a:ln>
        </p:spPr>
        <p:txBody>
          <a:bodyPr lIns="73152" tIns="73152" rIns="73152" bIns="73152" anchor="ctr"/>
          <a:lstStyle/>
          <a:p>
            <a:pPr marL="393700" marR="0" lvl="1" indent="-168275" algn="ctr" defTabSz="914400" rtl="0" eaLnBrk="0" fontAlgn="auto" latinLnBrk="0" hangingPunct="0">
              <a:lnSpc>
                <a:spcPct val="100000"/>
              </a:lnSpc>
              <a:spcBef>
                <a:spcPts val="0"/>
              </a:spcBef>
              <a:spcAft>
                <a:spcPts val="300"/>
              </a:spcAft>
              <a:buClr>
                <a:srgbClr val="000000"/>
              </a:buClr>
              <a:buSzPct val="100000"/>
              <a:buFontTx/>
              <a:buNone/>
              <a:tabLst/>
              <a:defRPr/>
            </a:pPr>
            <a:r>
              <a:rPr kumimoji="0" lang="en-US" sz="1200" b="1" i="0" u="none" strike="noStrike" kern="0" cap="none" spc="0" normalizeH="0" baseline="0" noProof="0" dirty="0">
                <a:ln>
                  <a:noFill/>
                </a:ln>
                <a:solidFill>
                  <a:srgbClr val="FFFFFF"/>
                </a:solidFill>
                <a:effectLst/>
                <a:uLnTx/>
                <a:uFillTx/>
                <a:ea typeface="+mn-ea"/>
                <a:cs typeface="Arial" pitchFamily="34" charset="0"/>
              </a:rPr>
              <a:t>$0.9 B</a:t>
            </a:r>
          </a:p>
        </p:txBody>
      </p:sp>
      <p:sp>
        <p:nvSpPr>
          <p:cNvPr id="63" name="Rectangle 3"/>
          <p:cNvSpPr>
            <a:spLocks noChangeArrowheads="1"/>
          </p:cNvSpPr>
          <p:nvPr/>
        </p:nvSpPr>
        <p:spPr bwMode="gray">
          <a:xfrm>
            <a:off x="7733221" y="5719083"/>
            <a:ext cx="935037" cy="257175"/>
          </a:xfrm>
          <a:prstGeom prst="rect">
            <a:avLst/>
          </a:prstGeom>
          <a:solidFill>
            <a:srgbClr val="92D400"/>
          </a:solidFill>
          <a:ln w="12700" algn="ctr">
            <a:noFill/>
            <a:round/>
            <a:headEnd/>
            <a:tailEnd/>
          </a:ln>
        </p:spPr>
        <p:txBody>
          <a:bodyPr lIns="73152" tIns="73152" rIns="73152" bIns="73152" anchor="ctr"/>
          <a:lstStyle/>
          <a:p>
            <a:pPr marL="393700" marR="0" lvl="1" indent="-168275" algn="ctr" defTabSz="914400" rtl="0" eaLnBrk="0" fontAlgn="auto" latinLnBrk="0" hangingPunct="0">
              <a:lnSpc>
                <a:spcPct val="100000"/>
              </a:lnSpc>
              <a:spcBef>
                <a:spcPts val="0"/>
              </a:spcBef>
              <a:spcAft>
                <a:spcPts val="300"/>
              </a:spcAft>
              <a:buClr>
                <a:srgbClr val="000000"/>
              </a:buClr>
              <a:buSzPct val="100000"/>
              <a:buFontTx/>
              <a:buNone/>
              <a:tabLst/>
              <a:defRPr/>
            </a:pPr>
            <a:r>
              <a:rPr kumimoji="0" lang="en-US" sz="1200" b="1" i="0" u="none" strike="noStrike" kern="0" cap="none" spc="0" normalizeH="0" baseline="0" noProof="0" dirty="0">
                <a:ln>
                  <a:noFill/>
                </a:ln>
                <a:solidFill>
                  <a:srgbClr val="FFFFFF"/>
                </a:solidFill>
                <a:effectLst/>
                <a:uLnTx/>
                <a:uFillTx/>
                <a:ea typeface="+mn-ea"/>
                <a:cs typeface="Arial" pitchFamily="34" charset="0"/>
              </a:rPr>
              <a:t>$0.7 B</a:t>
            </a:r>
          </a:p>
        </p:txBody>
      </p:sp>
      <p:sp>
        <p:nvSpPr>
          <p:cNvPr id="64" name="Rectangle 3"/>
          <p:cNvSpPr>
            <a:spLocks noChangeArrowheads="1"/>
          </p:cNvSpPr>
          <p:nvPr/>
        </p:nvSpPr>
        <p:spPr bwMode="gray">
          <a:xfrm>
            <a:off x="8736521" y="5023757"/>
            <a:ext cx="890587" cy="184150"/>
          </a:xfrm>
          <a:prstGeom prst="rect">
            <a:avLst/>
          </a:prstGeom>
          <a:noFill/>
          <a:ln w="9525" algn="ctr">
            <a:noFill/>
            <a:miter lim="800000"/>
            <a:headEnd/>
            <a:tailEnd/>
          </a:ln>
        </p:spPr>
        <p:txBody>
          <a:bodyPr lIns="0" tIns="0" rIns="0" bIns="0" anchor="ctr">
            <a:spAutoFit/>
          </a:bodyPr>
          <a:lstStyle/>
          <a:p>
            <a:pPr marL="3175" marR="0" lvl="1" indent="-3175" algn="ctr" defTabSz="914400"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0" cap="none" spc="0" normalizeH="0" baseline="0" noProof="0" dirty="0">
                <a:ln>
                  <a:noFill/>
                </a:ln>
                <a:solidFill>
                  <a:srgbClr val="002776"/>
                </a:solidFill>
                <a:effectLst/>
                <a:uLnTx/>
                <a:uFillTx/>
                <a:ea typeface="+mn-ea"/>
                <a:cs typeface="Arial" pitchFamily="34" charset="0"/>
              </a:rPr>
              <a:t>East</a:t>
            </a:r>
            <a:endParaRPr kumimoji="0" lang="en-US" sz="1200" b="1" i="0" u="none" strike="noStrike" kern="0" cap="none" spc="0" normalizeH="0" baseline="30000" noProof="0" dirty="0">
              <a:ln>
                <a:noFill/>
              </a:ln>
              <a:solidFill>
                <a:srgbClr val="002776"/>
              </a:solidFill>
              <a:effectLst/>
              <a:uLnTx/>
              <a:uFillTx/>
              <a:ea typeface="+mn-ea"/>
              <a:cs typeface="Arial" pitchFamily="34" charset="0"/>
            </a:endParaRPr>
          </a:p>
        </p:txBody>
      </p:sp>
      <p:sp>
        <p:nvSpPr>
          <p:cNvPr id="65" name="Rectangle 3"/>
          <p:cNvSpPr>
            <a:spLocks noChangeArrowheads="1"/>
          </p:cNvSpPr>
          <p:nvPr/>
        </p:nvSpPr>
        <p:spPr bwMode="gray">
          <a:xfrm>
            <a:off x="8736521" y="5396820"/>
            <a:ext cx="1089025" cy="184150"/>
          </a:xfrm>
          <a:prstGeom prst="rect">
            <a:avLst/>
          </a:prstGeom>
          <a:noFill/>
          <a:ln w="9525" algn="ctr">
            <a:noFill/>
            <a:miter lim="800000"/>
            <a:headEnd/>
            <a:tailEnd/>
          </a:ln>
        </p:spPr>
        <p:txBody>
          <a:bodyPr lIns="0" tIns="0" rIns="0" bIns="0" anchor="ctr">
            <a:spAutoFit/>
          </a:bodyPr>
          <a:lstStyle/>
          <a:p>
            <a:pPr marL="3175" marR="0" lvl="1" indent="-3175" algn="ctr" defTabSz="914400"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0" cap="none" spc="0" normalizeH="0" baseline="0" noProof="0" dirty="0">
                <a:ln>
                  <a:noFill/>
                </a:ln>
                <a:solidFill>
                  <a:srgbClr val="002776"/>
                </a:solidFill>
                <a:effectLst/>
                <a:uLnTx/>
                <a:uFillTx/>
                <a:ea typeface="+mn-ea"/>
                <a:cs typeface="Arial" pitchFamily="34" charset="0"/>
              </a:rPr>
              <a:t>Central</a:t>
            </a:r>
            <a:endParaRPr kumimoji="0" lang="en-US" sz="1200" b="1" i="0" u="none" strike="noStrike" kern="0" cap="none" spc="0" normalizeH="0" baseline="30000" noProof="0" dirty="0">
              <a:ln>
                <a:noFill/>
              </a:ln>
              <a:solidFill>
                <a:srgbClr val="002776"/>
              </a:solidFill>
              <a:effectLst/>
              <a:uLnTx/>
              <a:uFillTx/>
              <a:ea typeface="+mn-ea"/>
              <a:cs typeface="Arial" pitchFamily="34" charset="0"/>
            </a:endParaRPr>
          </a:p>
        </p:txBody>
      </p:sp>
      <p:sp>
        <p:nvSpPr>
          <p:cNvPr id="66" name="Rectangle 3"/>
          <p:cNvSpPr>
            <a:spLocks noChangeArrowheads="1"/>
          </p:cNvSpPr>
          <p:nvPr/>
        </p:nvSpPr>
        <p:spPr bwMode="gray">
          <a:xfrm>
            <a:off x="8736521" y="5768296"/>
            <a:ext cx="890587" cy="185737"/>
          </a:xfrm>
          <a:prstGeom prst="rect">
            <a:avLst/>
          </a:prstGeom>
          <a:noFill/>
          <a:ln w="9525" algn="ctr">
            <a:noFill/>
            <a:miter lim="800000"/>
            <a:headEnd/>
            <a:tailEnd/>
          </a:ln>
        </p:spPr>
        <p:txBody>
          <a:bodyPr lIns="0" tIns="0" rIns="0" bIns="0" anchor="ctr">
            <a:spAutoFit/>
          </a:bodyPr>
          <a:lstStyle/>
          <a:p>
            <a:pPr marL="3175" marR="0" lvl="1" indent="-3175" algn="ctr" defTabSz="914400"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0" cap="none" spc="0" normalizeH="0" baseline="0" noProof="0" dirty="0">
                <a:ln>
                  <a:noFill/>
                </a:ln>
                <a:solidFill>
                  <a:srgbClr val="002776"/>
                </a:solidFill>
                <a:effectLst/>
                <a:uLnTx/>
                <a:uFillTx/>
                <a:ea typeface="+mn-ea"/>
                <a:cs typeface="Arial" pitchFamily="34" charset="0"/>
              </a:rPr>
              <a:t>West</a:t>
            </a:r>
            <a:endParaRPr kumimoji="0" lang="en-US" sz="1200" b="1" i="0" u="none" strike="noStrike" kern="0" cap="none" spc="0" normalizeH="0" baseline="30000" noProof="0" dirty="0">
              <a:ln>
                <a:noFill/>
              </a:ln>
              <a:solidFill>
                <a:srgbClr val="002776"/>
              </a:solidFill>
              <a:effectLst/>
              <a:uLnTx/>
              <a:uFillTx/>
              <a:ea typeface="+mn-ea"/>
              <a:cs typeface="Arial" pitchFamily="34" charset="0"/>
            </a:endParaRPr>
          </a:p>
        </p:txBody>
      </p:sp>
      <p:cxnSp>
        <p:nvCxnSpPr>
          <p:cNvPr id="67" name="Straight Connector 23"/>
          <p:cNvCxnSpPr>
            <a:cxnSpLocks noChangeShapeType="1"/>
            <a:stCxn id="51" idx="3"/>
            <a:endCxn id="61" idx="1"/>
          </p:cNvCxnSpPr>
          <p:nvPr/>
        </p:nvCxnSpPr>
        <p:spPr bwMode="auto">
          <a:xfrm flipV="1">
            <a:off x="7366508" y="5114245"/>
            <a:ext cx="366713" cy="368300"/>
          </a:xfrm>
          <a:prstGeom prst="line">
            <a:avLst/>
          </a:prstGeom>
          <a:noFill/>
          <a:ln w="12700" algn="ctr">
            <a:solidFill>
              <a:srgbClr val="000000"/>
            </a:solidFill>
            <a:round/>
            <a:headEnd type="none" w="sm" len="sm"/>
            <a:tailEnd type="none" w="sm" len="sm"/>
          </a:ln>
        </p:spPr>
      </p:cxnSp>
      <p:cxnSp>
        <p:nvCxnSpPr>
          <p:cNvPr id="68" name="Straight Connector 25"/>
          <p:cNvCxnSpPr>
            <a:cxnSpLocks noChangeShapeType="1"/>
            <a:stCxn id="51" idx="3"/>
            <a:endCxn id="62" idx="1"/>
          </p:cNvCxnSpPr>
          <p:nvPr/>
        </p:nvCxnSpPr>
        <p:spPr bwMode="auto">
          <a:xfrm flipV="1">
            <a:off x="7366508" y="5480957"/>
            <a:ext cx="366713" cy="1588"/>
          </a:xfrm>
          <a:prstGeom prst="line">
            <a:avLst/>
          </a:prstGeom>
          <a:noFill/>
          <a:ln w="12700" algn="ctr">
            <a:solidFill>
              <a:srgbClr val="000000"/>
            </a:solidFill>
            <a:round/>
            <a:headEnd type="none" w="sm" len="sm"/>
            <a:tailEnd type="none" w="sm" len="sm"/>
          </a:ln>
        </p:spPr>
      </p:cxnSp>
      <p:cxnSp>
        <p:nvCxnSpPr>
          <p:cNvPr id="69" name="Straight Connector 28"/>
          <p:cNvCxnSpPr>
            <a:cxnSpLocks noChangeShapeType="1"/>
            <a:stCxn id="51" idx="3"/>
            <a:endCxn id="63" idx="1"/>
          </p:cNvCxnSpPr>
          <p:nvPr/>
        </p:nvCxnSpPr>
        <p:spPr bwMode="auto">
          <a:xfrm>
            <a:off x="7366508" y="5482546"/>
            <a:ext cx="366713" cy="365125"/>
          </a:xfrm>
          <a:prstGeom prst="line">
            <a:avLst/>
          </a:prstGeom>
          <a:noFill/>
          <a:ln w="12700" algn="ctr">
            <a:solidFill>
              <a:srgbClr val="000000"/>
            </a:solidFill>
            <a:round/>
            <a:headEnd type="none" w="sm" len="sm"/>
            <a:tailEnd type="none" w="sm" len="sm"/>
          </a:ln>
        </p:spPr>
      </p:cxnSp>
    </p:spTree>
    <p:extLst>
      <p:ext uri="{BB962C8B-B14F-4D97-AF65-F5344CB8AC3E}">
        <p14:creationId xmlns:p14="http://schemas.microsoft.com/office/powerpoint/2010/main" val="29606787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fFA2u274SJeCiDqcsSpr2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d1tZWD7qS6OXcux7cNoFx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PrzNsbaRRl6I0h9r9EAQl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4Jemux0_Q324snA.RadzT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dHORaIXNRKST3.995MAx8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KsOTpaM.Q4i.SuVrzlpHp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F0IIAzwASru4RLKyiBqs5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F0IIAzwASru4RLKyiBqs5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F0IIAzwASru4RLKyiBqs5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F0IIAzwASru4RLKyiBqs5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ZDWGjph3R_azXUvvJzYTl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ESN8LTwHR3SeZLl8MO2.t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8ZrA8Ho9Rey2tCBZ1S.fz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4XVSIAGxRFKxSGyMVdx5C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P.I24IXgTUGL43yRUcuJF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PWjhS3TyQJasPnnbKDoYh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r4Kc6yGRSk2.wabx2CKWM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nNfBeBDrQwyUFsHjYEOJ3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esH6a2vgTySNfTiRX9pGy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IDwo6p9cSB6trjiyiwRQz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LQTh9TYnTbafACaJWpjXe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qmLlEVrCR6GIpSDX0Bx9m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LhxIb3cSSmcHAemu_ZJt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PNUgsR4pTCaw465ZlAt7f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yWi2BIPqQ0SOfS8T4f8tu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b2nX69qiQ2Grcn0PzE82r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Izjq33iBTQiFGH5bMR98H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esH6a2vgTySNfTiRX9pGy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IeNjiGFlRgq.J1r6xuxJM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GYzpIMkhSjC5plCP7D0iY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0BR.5Y.eTt.icaWMFXarC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y1RLaX_TQ9mHioxJQfQM8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0VThoFJSSjKqCp_IpU4Rz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wtBY4eiRSMCSutRSpZopq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iQH4N7uSSuKI1eyZp3_BM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FRnph59TTZqrnimec52Zf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GggkAzsuRTKVO3f5BXkH_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yN0s_ylgRJ.RhGpzx72ZV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K_sWE8zwQDK1vjz1AHI_2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28De7XbhRhym0A8iWOQV2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r77gpzcsTHiAW4AhD1RYU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3OL_DXLSC.EtLT2MQpFf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Iw7kfP6xSSmw2m4woYa9O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rsTW3TExTE.PprvzCqyNh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QQDjTw4UQk2Rx0GS26oR1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48.bAGciTyCt6V9poKTUe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SgLIwBhURleCmzm2QY0Zx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mMSSGbRVRwmPZarq8O26M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mnS1RC5MSkGponINpobfr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6MDDkc4IT_C4gDwnYMXEQ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pQ1UxHYTZKWs0ojwJ_d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Sw8QSLq2QOuvBhwOuL2tO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xG0fqpmkQOmxy.3psjNV5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AK8k.HxxQ1Kjo0aMQip_N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xbG3j9s_SoWv4KyBt_Rfh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X_HNWfGTRCCMWZ4sfTAl0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4sqNZri8RNuID8K4Ngqpz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gLSJeC5aRxiNi4HFAyi27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DqY6m7ilT7mZocJh9NCiK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ul5jkxtSRs6J1yt1aDpso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YXMOVrCoQGGlZsYlIe0wF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6sUIodeXRrOvnOdRJfvAz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6sUIodeXRrOvnOdRJfvAz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DtTLDUF4TLSNpi1oLolRK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j6UKV4rKRT6_SSb4mdPOe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FCDKYSNXQkGb_BemEwl4_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2vL2lssrT3WrRLQup41_r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FCDKYSNXQkGb_BemEwl4_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1LcsCuTcT2ufoZLNSaqCK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1n8GXBI.SKeWozzDF1Zpk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_loBoE7kSwKzWtDthSlLV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t00lJQTRSgicJ7GKqp3T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8xoaTo4XRVu_hAwD88xpw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riPzfuhzRLaG_poBIlyVF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TMfL6YW.SICJi9l1wvOfD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6FPS2ZriRwOZ_IuZru1j7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k3nbQOjuS3e18_dTxYklb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6FPS2ZriRwOZ_IuZru1j7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6FPS2ZriRwOZ_IuZru1j7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6FPS2ZriRwOZ_IuZru1j7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6FPS2ZriRwOZ_IuZru1j7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6FPS2ZriRwOZ_IuZru1j7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F0IIAzwASru4RLKyiBqs5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XbRgnALwQ4mneM14wCsVR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dZ7s4bWeTxecKnZSIpAn.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2yB2aASERgaJaBpe41nsA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K1NPoslbQvecIMy5vG3F5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choFvfLPRVW61nHt7fcTL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sr_jD7S0SNCNIbGPISbm0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JDTqo3qFSGStQMmzprHEw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L13pb6DFTXCRMwVyYpzGT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8f4jbnGaQxWVSTmr3nzzs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yrL6qb5BRvmdZW20avMgu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cExCzD7DQkGghnBQntALO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_oydYCLOT_KXPL.5MVsO9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uoKz7QC1T4Wr7iI5bev.W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nSyF9SDmQDCWsGdV8csac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C2U.qN9RHWI3bfT.wNZ5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c..PxN8TQDmQi5Mp8rUSW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wp2LfgPYSbuQfgmLcL5p7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5NRRC8XTduR5SsPQos73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S2n7I.w5TayEaXjGTieCs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8OarRebKTXuA0Qj6SGRSH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vz0SP4G3SbOWz5NhVttmZ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Gfuy8EgITVKo7p2Mpf1Yw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RTDCgERcRa2VOXsjyHzZe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MpevLICnQ0O0O_hHUeJ_6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AZPJVeGgT.m0FyXPc03Rg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Z5FrgaIBQc6Z1lj4QLb9z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M.r9J7qSRBW.Ma9UfUF7r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fKoD9WJNTDSDFe8qrP7hV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cGLbD15FTKGVKkg4SNJty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N9w1amSvQS.ZXzWV2Cqk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k3nbQOjuS3e18_dTxYklb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i7GddmogSIyayOo9cy.Wr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i7GddmogSIyayOo9cy.Wr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NNm7X6oTbWqo0rrOCM8O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eV5MqNffSKG78QIkPg_4O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VrIHnFwpQHCqgZJLbvhh6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Ympr_Mw.TL2Ud_snaicGX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BGo58AKXRMOtmkrVnUdS5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zHQPB2vSKqb5CuXoLD6V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ciR7ghqeSZqdUqMtlhgTt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7WdegDG.Q_aaR4xJMujhn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0p38YunjTomr5e9g7fRK7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ykC.RM5OQOWUO.idsCsrf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BVWG33yVSn.LPptgmHkZk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ykC.RM5OQOWUO.idsCsrf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lpshV7UJR8WNRhzszkosk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Xuh9psuAQ6Ggdoq6H9w08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OGhPT3iJRNO4GD1TJEnAN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P7ahqC60SEe4LE2jebgGF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8wx64LzMT3iFvF2Prq9lO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VSbX.gWhRkyl8JS7hekT6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KzFnRkE6R.KFJ6Fg0Halw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fpYAeLxERQKaVDomIKmJ_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Z6U2HC7FTF6PyUnxTQv.j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I5iehgRLTWiawbU2qsNKl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_czen3MXTayoClsAqAd.9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XxD.8gmfS1u4uSfmEXuyAg"/>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jExL.LCzRpCkiP9fqo2TL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tm0NuozpR5CdfcmBmn6JL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_yt_WXs.SR6lFA0IbyWjz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BraOHKVyR5GyoiEjAsW0p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nqvZjGAMQvK9A8JW9snH6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4OJssw5LSi63RQfYeYhaJ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1e2zmLaKSTuJmEcpLwmeo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swVD_WJZQUi9q6pzQyjfg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16_bBE.3RP.VK8k_wtPMk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__AwzwgPQIC7eRYGgLe77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PmLj4f_QSDCGNHHb8.P1x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MAiwOaRjiqqOD6mM_sp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2eDD83YWSZetCMn2e65yr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Kzbcd1BWT92ZYunguw_Jd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CAKM12g7SIOhlGuWML04o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u8MoBTgPSA2IAF6Mr1Zol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6cNRmo0ySfKJYqMgvLKqq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c4VqOk.tQyGjtwntb5sMo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_GHOxL7FTFONZGVf6mRTf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k_xLL702RmO9WYprJZLF8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rtTogbd4RY.a5Hl8_d9TG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NsHjdvStRiOIw0AeEXVxN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MmF5hRkXSCmeB_wIu.Xdz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fmUoAc.BQfK0YN9EwcnCg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VDgZr1CpSiqKayWnRhpew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j6UKV4rKRT6_SSb4mdPOe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GopBuHqzS8u_NHOC_juwMg"/>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j6UKV4rKRT6_SSb4mdPOe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j6UKV4rKRT6_SSb4mdPOe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17rMPbVrRG2.DPXLs3OJn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QIT5VSLDSpGg.ft0YhNw6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izMa7NHtR3y.vydGWLrPr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xFY0lWHjR42uRiNTmlF0s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p.5FU2kXTlKDDrbSxXA1Y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Uh_y2qNQ1a6bCbHzj9Dn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IGyZfu56Q5Sq5GbzjfN.k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0Jw6fxkcRYW9gFtjRI3hA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F0IIAzwASru4RLKyiBqs5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X1oPPd4xTkq2lb_XMZoVF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wFfimFVNRQqxOGXBnqvH1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wBsoJGsUQue61PenWq2EK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ztR.Ue6WTxebUF.yeoJkf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ANY5pWnCRtmT2KCnsjuOk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ck.0Gwq6QXOfkT.Lc2brL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GvjreJ67R36WwY0YmVeiJ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PpbnXoDMTQao8s2M4zLvu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ytifm.tJT9KQSgxk3i1uK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F0IIAzwASru4RLKyiBqs5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IQWOX8JTQTS5MvGg2L3vV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0KuISJU7TTyx9qvMndyrK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JyJEmg_8Rn.9R7T_mSRIy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6dnEVieQRsKMrbzliXMYh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2DbB334SRwGw1sIGssvdq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l762OqH2RUmElC7utDEUo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GW6UuAelSiuwFHXSpbKin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cRpRmf3ORku1__9Df781N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OSssGnPPTDW8EttsCRayx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ezT0qYHJT7WJNtc37eech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F0IIAzwASru4RLKyiBqs5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F0IIAzwASru4RLKyiBqs5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p0TiO6_NRj.CV4ksPJ6We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hZDme2kQYmsNTd_BdphE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CQDIMwTlQ3yFciHRdir1m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3_pQDUlDS.mjtezRVlQc_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WnVhDxOTZGXF9.fvvRWp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tWtgjIBVSA6sq21BqBNpY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CscbJzeH.EqU1BJnXYC2n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D Template Jan 2018 16x9">
  <a:themeElements>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Presentation Template Aug 2017">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D-PresentationTemplate_16x9.potx [Read-Only]" id="{916F96B5-34ED-4026-81F2-959EC6E9FD5C}" vid="{A18FA1C4-1C37-45B7-81A8-38F456485FC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Cambria-Calibri">
    <a:majorFont>
      <a:latin typeface="Cambria" panose="02040503050406030204"/>
      <a:ea typeface=""/>
      <a:cs typeface=""/>
      <a:font script="Jpan" typeface="ＭＳ Ｐゴシック"/>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Mayas Theme Color">
    <a:dk1>
      <a:srgbClr val="5C5C5C"/>
    </a:dk1>
    <a:lt1>
      <a:sysClr val="window" lastClr="FFFFFF"/>
    </a:lt1>
    <a:dk2>
      <a:srgbClr val="3F3F3F"/>
    </a:dk2>
    <a:lt2>
      <a:srgbClr val="FCFCFC"/>
    </a:lt2>
    <a:accent1>
      <a:srgbClr val="1B6AA3"/>
    </a:accent1>
    <a:accent2>
      <a:srgbClr val="84CBC5"/>
    </a:accent2>
    <a:accent3>
      <a:srgbClr val="F8D35E"/>
    </a:accent3>
    <a:accent4>
      <a:srgbClr val="F47264"/>
    </a:accent4>
    <a:accent5>
      <a:srgbClr val="7CC8EC"/>
    </a:accent5>
    <a:accent6>
      <a:srgbClr val="868AD1"/>
    </a:accent6>
    <a:hlink>
      <a:srgbClr val="0000FF"/>
    </a:hlink>
    <a:folHlink>
      <a:srgbClr val="800080"/>
    </a:folHlink>
  </a:clrScheme>
  <a:fontScheme name="Mayas Fonts">
    <a:majorFont>
      <a:latin typeface="Source Sans Pro Light"/>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Kellogg Template">
    <a:dk1>
      <a:srgbClr val="000000"/>
    </a:dk1>
    <a:lt1>
      <a:srgbClr val="FFFFFF"/>
    </a:lt1>
    <a:dk2>
      <a:srgbClr val="CC0000"/>
    </a:dk2>
    <a:lt2>
      <a:srgbClr val="666666"/>
    </a:lt2>
    <a:accent1>
      <a:srgbClr val="CC0000"/>
    </a:accent1>
    <a:accent2>
      <a:srgbClr val="FF4747"/>
    </a:accent2>
    <a:accent3>
      <a:srgbClr val="FCD901"/>
    </a:accent3>
    <a:accent4>
      <a:srgbClr val="FEEB7A"/>
    </a:accent4>
    <a:accent5>
      <a:srgbClr val="A6A6A6"/>
    </a:accent5>
    <a:accent6>
      <a:srgbClr val="E3E3E3"/>
    </a:accent6>
    <a:hlink>
      <a:srgbClr val="CC0000"/>
    </a:hlink>
    <a:folHlink>
      <a:srgbClr val="FF4747"/>
    </a:folHlink>
  </a:clrScheme>
  <a:fontScheme name="Custom 3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Mayas Theme Color">
    <a:dk1>
      <a:srgbClr val="5C5C5C"/>
    </a:dk1>
    <a:lt1>
      <a:sysClr val="window" lastClr="FFFFFF"/>
    </a:lt1>
    <a:dk2>
      <a:srgbClr val="3F3F3F"/>
    </a:dk2>
    <a:lt2>
      <a:srgbClr val="FCFCFC"/>
    </a:lt2>
    <a:accent1>
      <a:srgbClr val="1B6AA3"/>
    </a:accent1>
    <a:accent2>
      <a:srgbClr val="84CBC5"/>
    </a:accent2>
    <a:accent3>
      <a:srgbClr val="F8D35E"/>
    </a:accent3>
    <a:accent4>
      <a:srgbClr val="F47264"/>
    </a:accent4>
    <a:accent5>
      <a:srgbClr val="7CC8EC"/>
    </a:accent5>
    <a:accent6>
      <a:srgbClr val="868AD1"/>
    </a:accent6>
    <a:hlink>
      <a:srgbClr val="0000FF"/>
    </a:hlink>
    <a:folHlink>
      <a:srgbClr val="800080"/>
    </a:folHlink>
  </a:clrScheme>
  <a:fontScheme name="Mayas Fonts">
    <a:majorFont>
      <a:latin typeface="Source Sans Pro Light"/>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Mayas Theme Color">
    <a:dk1>
      <a:srgbClr val="5C5C5C"/>
    </a:dk1>
    <a:lt1>
      <a:sysClr val="window" lastClr="FFFFFF"/>
    </a:lt1>
    <a:dk2>
      <a:srgbClr val="3F3F3F"/>
    </a:dk2>
    <a:lt2>
      <a:srgbClr val="FCFCFC"/>
    </a:lt2>
    <a:accent1>
      <a:srgbClr val="1B6AA3"/>
    </a:accent1>
    <a:accent2>
      <a:srgbClr val="84CBC5"/>
    </a:accent2>
    <a:accent3>
      <a:srgbClr val="F8D35E"/>
    </a:accent3>
    <a:accent4>
      <a:srgbClr val="F47264"/>
    </a:accent4>
    <a:accent5>
      <a:srgbClr val="7CC8EC"/>
    </a:accent5>
    <a:accent6>
      <a:srgbClr val="868AD1"/>
    </a:accent6>
    <a:hlink>
      <a:srgbClr val="0000FF"/>
    </a:hlink>
    <a:folHlink>
      <a:srgbClr val="800080"/>
    </a:folHlink>
  </a:clrScheme>
  <a:fontScheme name="Mayas Fonts">
    <a:majorFont>
      <a:latin typeface="Source Sans Pro Light"/>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B49DE67BC4147409A9B72BFFE8A9499" ma:contentTypeVersion="2" ma:contentTypeDescription="Create a new document." ma:contentTypeScope="" ma:versionID="84ce47b6c816bc8362f91debf7d04128">
  <xsd:schema xmlns:xsd="http://www.w3.org/2001/XMLSchema" xmlns:xs="http://www.w3.org/2001/XMLSchema" xmlns:p="http://schemas.microsoft.com/office/2006/metadata/properties" xmlns:ns2="709cbaab-abf3-458a-b07d-d5f9f9d108bf" targetNamespace="http://schemas.microsoft.com/office/2006/metadata/properties" ma:root="true" ma:fieldsID="10e8f9fc3dfd7afc10830aef2e3450b1" ns2:_="">
    <xsd:import namespace="709cbaab-abf3-458a-b07d-d5f9f9d108bf"/>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09cbaab-abf3-458a-b07d-d5f9f9d108b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E660A61-9C8A-4323-9FF3-9C3B5947FC21}">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E75273A1-07C5-48B4-858E-4B039E65730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09cbaab-abf3-458a-b07d-d5f9f9d108b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B01A515-C42B-428D-B7DB-F96F3647F0E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D-PresentationTemplate_16x9</Template>
  <TotalTime>29495</TotalTime>
  <Words>40793</Words>
  <Application>Microsoft Office PowerPoint</Application>
  <PresentationFormat>Widescreen</PresentationFormat>
  <Paragraphs>6916</Paragraphs>
  <Slides>255</Slides>
  <Notes>244</Notes>
  <HiddenSlides>0</HiddenSlides>
  <MMClips>0</MMClips>
  <ScaleCrop>false</ScaleCrop>
  <HeadingPairs>
    <vt:vector size="8" baseType="variant">
      <vt:variant>
        <vt:lpstr>Fonts Used</vt:lpstr>
      </vt:variant>
      <vt:variant>
        <vt:i4>34</vt:i4>
      </vt:variant>
      <vt:variant>
        <vt:lpstr>Theme</vt:lpstr>
      </vt:variant>
      <vt:variant>
        <vt:i4>2</vt:i4>
      </vt:variant>
      <vt:variant>
        <vt:lpstr>Embedded OLE Servers</vt:lpstr>
      </vt:variant>
      <vt:variant>
        <vt:i4>1</vt:i4>
      </vt:variant>
      <vt:variant>
        <vt:lpstr>Slide Titles</vt:lpstr>
      </vt:variant>
      <vt:variant>
        <vt:i4>255</vt:i4>
      </vt:variant>
    </vt:vector>
  </HeadingPairs>
  <TitlesOfParts>
    <vt:vector size="292" baseType="lpstr">
      <vt:lpstr>Arial</vt:lpstr>
      <vt:lpstr>Calibri</vt:lpstr>
      <vt:lpstr>Calibri Light</vt:lpstr>
      <vt:lpstr>Chronicle Display</vt:lpstr>
      <vt:lpstr>Chronicle Display Black</vt:lpstr>
      <vt:lpstr>Chronicle Display Light</vt:lpstr>
      <vt:lpstr>Chronicle Display Semi</vt:lpstr>
      <vt:lpstr>Circular Std Book</vt:lpstr>
      <vt:lpstr>Courier New</vt:lpstr>
      <vt:lpstr>Frutiger Next Pro</vt:lpstr>
      <vt:lpstr>Frutiger Next Pro Light</vt:lpstr>
      <vt:lpstr>Frutiger Next Pro Medium</vt:lpstr>
      <vt:lpstr>Georgia</vt:lpstr>
      <vt:lpstr>Gotham Book</vt:lpstr>
      <vt:lpstr>HelveticaNeueLT Std Med</vt:lpstr>
      <vt:lpstr>HP Simplified</vt:lpstr>
      <vt:lpstr>Knockout HTF27-JuniorBantamwt</vt:lpstr>
      <vt:lpstr>Marlett</vt:lpstr>
      <vt:lpstr>Montserrat</vt:lpstr>
      <vt:lpstr>NettoOT</vt:lpstr>
      <vt:lpstr>Open Sans</vt:lpstr>
      <vt:lpstr>Open Sans (Body)</vt:lpstr>
      <vt:lpstr>Open Sans Extrabold</vt:lpstr>
      <vt:lpstr>Open Sans Light</vt:lpstr>
      <vt:lpstr>Open Sans Semibold</vt:lpstr>
      <vt:lpstr>Roos St Regis Display</vt:lpstr>
      <vt:lpstr>Symbol</vt:lpstr>
      <vt:lpstr>System Font Regular</vt:lpstr>
      <vt:lpstr>Times New Roman</vt:lpstr>
      <vt:lpstr>Verdana</vt:lpstr>
      <vt:lpstr>Webdings</vt:lpstr>
      <vt:lpstr>Wingdings</vt:lpstr>
      <vt:lpstr>Wingdings 2</vt:lpstr>
      <vt:lpstr>ヒラギノ角ゴ Pro W3</vt:lpstr>
      <vt:lpstr>Office Theme</vt:lpstr>
      <vt:lpstr>DD Template Jan 2018 16x9</vt:lpstr>
      <vt:lpstr>think-cell Slide</vt:lpstr>
      <vt:lpstr>Here’s how you use this thing</vt:lpstr>
      <vt:lpstr>Table of Contents</vt:lpstr>
      <vt:lpstr>PowerPoint Presentation</vt:lpstr>
      <vt:lpstr>TITLE</vt:lpstr>
      <vt:lpstr>PowerPoint Presentation</vt:lpstr>
      <vt:lpstr>PowerPoint Presentation</vt:lpstr>
      <vt:lpstr>PowerPoint Presentation</vt:lpstr>
      <vt:lpstr>PowerPoint Presentation</vt:lpstr>
      <vt:lpstr>PowerPoint Presentation</vt:lpstr>
      <vt:lpstr>Agenda</vt:lpstr>
      <vt:lpstr>Agenda</vt:lpstr>
      <vt:lpstr>PowerPoint Presentation</vt:lpstr>
      <vt:lpstr>Workshop Agenda</vt:lpstr>
      <vt:lpstr>Agenda</vt:lpstr>
      <vt:lpstr>Agenda – Service Delivery Model Workshop</vt:lpstr>
      <vt:lpstr>Workshop Agenda</vt:lpstr>
      <vt:lpstr>Workshop Agenda</vt:lpstr>
      <vt:lpstr>PowerPoint Presentation</vt:lpstr>
      <vt:lpstr>Our Mandate</vt:lpstr>
      <vt:lpstr>PowerPoint Presentation</vt:lpstr>
      <vt:lpstr>PowerPoint Presentation</vt:lpstr>
      <vt:lpstr>PowerPoint Presentation</vt:lpstr>
      <vt:lpstr>PowerPoint Presentation</vt:lpstr>
      <vt:lpstr>PowerPoint Presentation</vt:lpstr>
      <vt:lpstr>PowerPoint Presentation</vt:lpstr>
      <vt:lpstr>Our Vision</vt:lpstr>
      <vt:lpstr>Why Deloitte?</vt:lpstr>
      <vt:lpstr>Typical Outcomes</vt:lpstr>
      <vt:lpstr>PowerPoint Presentation</vt:lpstr>
      <vt:lpstr>Your personalization systems integration</vt:lpstr>
      <vt:lpstr>PowerPoint Presentation</vt:lpstr>
      <vt:lpstr>Project Scope</vt:lpstr>
      <vt:lpstr>Analysis Approach</vt:lpstr>
      <vt:lpstr>Our Approach</vt:lpstr>
      <vt:lpstr>How did the policy refresh start? </vt:lpstr>
      <vt:lpstr>Goals &amp; objectives</vt:lpstr>
      <vt:lpstr>Approach is grounded in strong design principles</vt:lpstr>
      <vt:lpstr>PowerPoint Presentation</vt:lpstr>
      <vt:lpstr>Our talent engagement model</vt:lpstr>
      <vt:lpstr>What benefits would this create?</vt:lpstr>
      <vt:lpstr>What are the benefits of crowdsourcing?</vt:lpstr>
      <vt:lpstr>Understanding of crowdsourcing is improving</vt:lpstr>
      <vt:lpstr>Portfolio core principles:</vt:lpstr>
      <vt:lpstr>A music service and the future of mobility</vt:lpstr>
      <vt:lpstr>The Rules of the Road throughout our session</vt:lpstr>
      <vt:lpstr>The Need for Digital Transformation</vt:lpstr>
      <vt:lpstr>Digital DNA helps answer  three important questions</vt:lpstr>
      <vt:lpstr>What disconnects are driving the struggle?</vt:lpstr>
      <vt:lpstr>How does crowdsourcing work?</vt:lpstr>
      <vt:lpstr>Opportunity Areas For Collaboration Services</vt:lpstr>
      <vt:lpstr>What you should do</vt:lpstr>
      <vt:lpstr>XSP empowers clients with leading CX data</vt:lpstr>
      <vt:lpstr>Process Flow</vt:lpstr>
      <vt:lpstr>Owning the Dynamic Consumer Journey</vt:lpstr>
      <vt:lpstr>The insights we developed from user interviews</vt:lpstr>
      <vt:lpstr>Business Transformation Elements</vt:lpstr>
      <vt:lpstr>A changing landscape</vt:lpstr>
      <vt:lpstr>Key considerations for developing ambitions</vt:lpstr>
      <vt:lpstr>And will build a Team that leads from the front</vt:lpstr>
      <vt:lpstr>Organizational Dynamics</vt:lpstr>
      <vt:lpstr>Benefits Will Exist for All Stakeholder Groups</vt:lpstr>
      <vt:lpstr>Why Deloitte?</vt:lpstr>
      <vt:lpstr>Customer Situation</vt:lpstr>
      <vt:lpstr>Consumers Seeking Unique Experiences</vt:lpstr>
      <vt:lpstr>Internal Dynamics Introduce Complexities</vt:lpstr>
      <vt:lpstr>Guiding Principles</vt:lpstr>
      <vt:lpstr>Design Principles</vt:lpstr>
      <vt:lpstr>Benefits Tracking Approach</vt:lpstr>
      <vt:lpstr>Several retailers developed unique and creative strategies to attract consumers</vt:lpstr>
      <vt:lpstr>Integrated ORs are gaining market traction</vt:lpstr>
      <vt:lpstr>What it will take to do this well – four factors</vt:lpstr>
      <vt:lpstr>It transcends simple labels</vt:lpstr>
      <vt:lpstr>Is offshore a good fit for prioritized processes?</vt:lpstr>
      <vt:lpstr>Client’s Retail Environment </vt:lpstr>
      <vt:lpstr>PowerPoint Presentation</vt:lpstr>
      <vt:lpstr>Experience in return value chain analytics</vt:lpstr>
      <vt:lpstr>Align on approach to cascade our vision to the org</vt:lpstr>
      <vt:lpstr>Growth Pathways</vt:lpstr>
      <vt:lpstr>Retail Cockpit</vt:lpstr>
      <vt:lpstr>Summary of the journey</vt:lpstr>
      <vt:lpstr>Bold changes are required to improve profitability</vt:lpstr>
      <vt:lpstr>End-User Purchasing Statistics</vt:lpstr>
      <vt:lpstr>What problems are we solving for customers?</vt:lpstr>
      <vt:lpstr>Process Diagram</vt:lpstr>
      <vt:lpstr>Sample Approach to Partner Spend Management</vt:lpstr>
      <vt:lpstr>Process Flow</vt:lpstr>
      <vt:lpstr>Experience Data Platform</vt:lpstr>
      <vt:lpstr>We understand the many pressures you face today</vt:lpstr>
      <vt:lpstr>…emboldened by an increasing number of non-linear moments to engage customers in their path to purchase</vt:lpstr>
      <vt:lpstr>Long-Term Customer Journey</vt:lpstr>
      <vt:lpstr>It’s critical to move beyond just ‘doing’ digital</vt:lpstr>
      <vt:lpstr>Current state process: In-store</vt:lpstr>
      <vt:lpstr>PowerPoint Presentation</vt:lpstr>
      <vt:lpstr>  CPG Customer Survey</vt:lpstr>
      <vt:lpstr>  Digital Adoption</vt:lpstr>
      <vt:lpstr>  Digital Journey</vt:lpstr>
      <vt:lpstr>  Consumer Approach to Online vs. In-store</vt:lpstr>
      <vt:lpstr>  Finance Department – Benchmark Summary</vt:lpstr>
      <vt:lpstr>  Ambition: Double Adult Beverage Sales in 3 Years</vt:lpstr>
      <vt:lpstr>  The Client Global e-Commerce Opportunity</vt:lpstr>
      <vt:lpstr>  Client Financial Analysis</vt:lpstr>
      <vt:lpstr>  Client Execution Update</vt:lpstr>
      <vt:lpstr>  What is crowdsourcing?</vt:lpstr>
      <vt:lpstr>  Finding more costs to take out is an uphill battle</vt:lpstr>
      <vt:lpstr>     Marketers are under scrutiny  to deliver more with less</vt:lpstr>
      <vt:lpstr>   Trade Policy Customer Segments</vt:lpstr>
      <vt:lpstr>   Consumer intimacy is the new competitive advantage</vt:lpstr>
      <vt:lpstr>   Gross to Net Price Industry Benchmark</vt:lpstr>
      <vt:lpstr>   Industry Benchmarks</vt:lpstr>
      <vt:lpstr>   Survey Findings</vt:lpstr>
      <vt:lpstr>   Impact Summary</vt:lpstr>
      <vt:lpstr>   Survey Results</vt:lpstr>
      <vt:lpstr>   Marketplace Adoption</vt:lpstr>
      <vt:lpstr>   NP Fit-Gap Assessment Results</vt:lpstr>
      <vt:lpstr>Analytics Practice Facts</vt:lpstr>
      <vt:lpstr>   The Case for Change</vt:lpstr>
      <vt:lpstr>   Average Days to Sell by Channel</vt:lpstr>
      <vt:lpstr>   Market Changes</vt:lpstr>
      <vt:lpstr>   Online Grocery</vt:lpstr>
      <vt:lpstr>   Digital in-store grocery</vt:lpstr>
      <vt:lpstr>   Digital Strategy</vt:lpstr>
      <vt:lpstr>   Client’s Value Prop</vt:lpstr>
      <vt:lpstr>   Market Overview</vt:lpstr>
      <vt:lpstr>   Overall U.S. Integrated OR market </vt:lpstr>
      <vt:lpstr>   Value to Client</vt:lpstr>
      <vt:lpstr>   Client Co. Scenarios</vt:lpstr>
      <vt:lpstr>Demand for new device platforms</vt:lpstr>
      <vt:lpstr>Client Inc. Overview</vt:lpstr>
      <vt:lpstr>How is the current Grocery landscape changing?</vt:lpstr>
      <vt:lpstr>Digital commerce is at a tipping point as companies seek growth</vt:lpstr>
      <vt:lpstr>Digital customer journey for grocery</vt:lpstr>
      <vt:lpstr>Market overview</vt:lpstr>
      <vt:lpstr>PowerPoint Presentation</vt:lpstr>
      <vt:lpstr>Potential risks</vt:lpstr>
      <vt:lpstr>Approach</vt:lpstr>
      <vt:lpstr>Been there, seen that</vt:lpstr>
      <vt:lpstr>Performance-Based Discount “Menu” of Options</vt:lpstr>
      <vt:lpstr>Future State Resourcing Needs</vt:lpstr>
      <vt:lpstr>FTE Headcount and Rationale by Phase</vt:lpstr>
      <vt:lpstr>New tools can best inform your pricing decisions </vt:lpstr>
      <vt:lpstr>Our solution is offered at two subscription levels</vt:lpstr>
      <vt:lpstr>Top 10 Deep Dive Accounts</vt:lpstr>
      <vt:lpstr>Current State Findings: Non-Standard Discounts</vt:lpstr>
      <vt:lpstr>Standard Discount Policy</vt:lpstr>
      <vt:lpstr>Moving Forward</vt:lpstr>
      <vt:lpstr>Foundational Capabilities</vt:lpstr>
      <vt:lpstr>Data Scope</vt:lpstr>
      <vt:lpstr>We have experience in Salesforce and COE work</vt:lpstr>
      <vt:lpstr>Best Practices</vt:lpstr>
      <vt:lpstr>Each Asset class shares a set of characteristics</vt:lpstr>
      <vt:lpstr>Support: Client Digital Site</vt:lpstr>
      <vt:lpstr>Two Examples</vt:lpstr>
      <vt:lpstr>PowerPoint Presentation</vt:lpstr>
      <vt:lpstr>Processes that were considered for offshoring</vt:lpstr>
      <vt:lpstr>Bangalore fit assessment: Creative</vt:lpstr>
      <vt:lpstr>Telephony &amp; technology support considerations</vt:lpstr>
      <vt:lpstr>Tools Index</vt:lpstr>
      <vt:lpstr>Here’s what some companies are doing to enable their digital ambitions with Digital DNA </vt:lpstr>
      <vt:lpstr>It demands a clear focus</vt:lpstr>
      <vt:lpstr>Survey Participant Stories: Outboard</vt:lpstr>
      <vt:lpstr>Sophisticated marketing approach</vt:lpstr>
      <vt:lpstr>PowerPoint Presentation</vt:lpstr>
      <vt:lpstr>Realizing the Global Client Ambition</vt:lpstr>
      <vt:lpstr>How to tap into the power of crowdsourcing </vt:lpstr>
      <vt:lpstr>Synergies between TTS and TPO</vt:lpstr>
      <vt:lpstr>A Platform For Continued Growth</vt:lpstr>
      <vt:lpstr>Our agile methodology ensures full contact</vt:lpstr>
      <vt:lpstr>Future State: Standards, Metrics, and Incentives</vt:lpstr>
      <vt:lpstr>Diverse Perspectives</vt:lpstr>
      <vt:lpstr>Considerations for future state</vt:lpstr>
      <vt:lpstr>Data Analytics</vt:lpstr>
      <vt:lpstr>PowerPoint Presentation</vt:lpstr>
      <vt:lpstr>Creating the Right “Mix” for the Desired Outcomes</vt:lpstr>
      <vt:lpstr>Competitive Landscape</vt:lpstr>
      <vt:lpstr>Enabling The Data-Driven Experience</vt:lpstr>
      <vt:lpstr>Trade Investment Framework</vt:lpstr>
      <vt:lpstr>The levers work together as our set of trade terms</vt:lpstr>
      <vt:lpstr>From proof of concepts to fully licensed products</vt:lpstr>
      <vt:lpstr>Activate consumer insights through the journey</vt:lpstr>
      <vt:lpstr>Winning requires mastering the following</vt:lpstr>
      <vt:lpstr>Where would we focus?</vt:lpstr>
      <vt:lpstr>Activation: a solid foundation</vt:lpstr>
      <vt:lpstr>Technology is shifting customer expectations</vt:lpstr>
      <vt:lpstr>To Enhance OEM’s Interactions with Customers…</vt:lpstr>
      <vt:lpstr>Society is changing and companies must adapt</vt:lpstr>
      <vt:lpstr>Customer Journey Pivot Points</vt:lpstr>
      <vt:lpstr>The consumer’s path to purchase is no longer linear; every moment is an opportunity to engage …</vt:lpstr>
      <vt:lpstr>Our Asset  Portfolio will evolve with the market… </vt:lpstr>
      <vt:lpstr>Foodservice  is the best entry point for a specialty marketplace</vt:lpstr>
      <vt:lpstr>How to Win</vt:lpstr>
      <vt:lpstr>Consumer Locations &amp; Characteristics</vt:lpstr>
      <vt:lpstr>Our DD Team</vt:lpstr>
      <vt:lpstr>Customer messaging will be tailored to impact</vt:lpstr>
      <vt:lpstr>Digital monetization of editorial drives spend  </vt:lpstr>
      <vt:lpstr>Digital is Woven into Everything We Do</vt:lpstr>
      <vt:lpstr>Designing Your Innovation Portfolio</vt:lpstr>
      <vt:lpstr>We identified 12 key areas of proposed focus</vt:lpstr>
      <vt:lpstr>Prioritized Capabilities</vt:lpstr>
      <vt:lpstr>Pricing engine uses robust data and algorithms</vt:lpstr>
      <vt:lpstr>The First Three Weeks</vt:lpstr>
      <vt:lpstr>Digital transformations are key to enterprise sales</vt:lpstr>
      <vt:lpstr>Tipping the weight of investment toward the future</vt:lpstr>
      <vt:lpstr>Step 2: Measure Interactions</vt:lpstr>
      <vt:lpstr>Recommended future state operating model</vt:lpstr>
      <vt:lpstr>AI: the perfect pairing of man and machine</vt:lpstr>
      <vt:lpstr>Commercial Operating Model</vt:lpstr>
      <vt:lpstr>PowerPoint Presentation</vt:lpstr>
      <vt:lpstr>Building and deploying a new pricing capability</vt:lpstr>
      <vt:lpstr>Our approach is grounded in consumer insights</vt:lpstr>
      <vt:lpstr>Ways to evolve a brand</vt:lpstr>
      <vt:lpstr>Resourcing Check-Points</vt:lpstr>
      <vt:lpstr>We know your company</vt:lpstr>
      <vt:lpstr>Where we have been; where we are going</vt:lpstr>
      <vt:lpstr>Our Path to Today</vt:lpstr>
      <vt:lpstr>Planning Overview</vt:lpstr>
      <vt:lpstr>So the journey to get here started last fall</vt:lpstr>
      <vt:lpstr>Release Cycle</vt:lpstr>
      <vt:lpstr>Refinement through roadmap development</vt:lpstr>
      <vt:lpstr>Detailed roadmap</vt:lpstr>
      <vt:lpstr>Project Timeline</vt:lpstr>
      <vt:lpstr>Project Timeline</vt:lpstr>
      <vt:lpstr>Eight Week Roadmap</vt:lpstr>
      <vt:lpstr>12 Week Full timeline</vt:lpstr>
      <vt:lpstr>Future vision roadmap</vt:lpstr>
      <vt:lpstr>Future State Implementation Roadmap</vt:lpstr>
      <vt:lpstr>Proposed Timeline and Milestones</vt:lpstr>
      <vt:lpstr>High-level Implementation Roadmap</vt:lpstr>
      <vt:lpstr>Six-Week Plan</vt:lpstr>
      <vt:lpstr>Roadmap</vt:lpstr>
      <vt:lpstr>Road Ahead</vt:lpstr>
      <vt:lpstr>Phased approach</vt:lpstr>
      <vt:lpstr>Calendar view</vt:lpstr>
      <vt:lpstr>Proposed Work Plan to Deliver a Successful Day</vt:lpstr>
      <vt:lpstr>Project Approach &amp; Timeline</vt:lpstr>
      <vt:lpstr>Project Timeline</vt:lpstr>
      <vt:lpstr>PowerPoint Presentation</vt:lpstr>
      <vt:lpstr>How our approach leads to accelerated growth </vt:lpstr>
      <vt:lpstr>Example: Global price optimization</vt:lpstr>
      <vt:lpstr>Multi-national Consumer Packaged Goods</vt:lpstr>
      <vt:lpstr>Global pharmaceutical company </vt:lpstr>
      <vt:lpstr>Targeting through personalized marketing</vt:lpstr>
      <vt:lpstr>PowerPoint Presentation</vt:lpstr>
      <vt:lpstr>Winning more than just races</vt:lpstr>
      <vt:lpstr>Building organizational capacity</vt:lpstr>
      <vt:lpstr>Industry Leading Examples</vt:lpstr>
      <vt:lpstr>PowerPoint Presentation</vt:lpstr>
      <vt:lpstr>PowerPoint Presentation</vt:lpstr>
      <vt:lpstr>Our Teaming Approach</vt:lpstr>
      <vt:lpstr>Team member profiles | 1 of 7 </vt:lpstr>
      <vt:lpstr>Team structure</vt:lpstr>
      <vt:lpstr>Deloitte &amp; Client Responsibilities</vt:lpstr>
      <vt:lpstr>Proposed team and how we play together</vt:lpstr>
      <vt:lpstr>Project team</vt:lpstr>
      <vt:lpstr>Project team</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sicco, Sara (US - Chicago)</dc:creator>
  <cp:lastModifiedBy>Oluwasegun, Thomas</cp:lastModifiedBy>
  <cp:revision>296</cp:revision>
  <dcterms:created xsi:type="dcterms:W3CDTF">2019-02-22T17:42:42Z</dcterms:created>
  <dcterms:modified xsi:type="dcterms:W3CDTF">2022-08-11T12:43: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B49DE67BC4147409A9B72BFFE8A9499</vt:lpwstr>
  </property>
  <property fmtid="{D5CDD505-2E9C-101B-9397-08002B2CF9AE}" pid="3" name="MSIP_Label_ea60d57e-af5b-4752-ac57-3e4f28ca11dc_Enabled">
    <vt:lpwstr>true</vt:lpwstr>
  </property>
  <property fmtid="{D5CDD505-2E9C-101B-9397-08002B2CF9AE}" pid="4" name="MSIP_Label_ea60d57e-af5b-4752-ac57-3e4f28ca11dc_SetDate">
    <vt:lpwstr>2021-03-15T15:05:58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9cce297b-1b4e-4861-a8f5-2579dbbd1cc0</vt:lpwstr>
  </property>
  <property fmtid="{D5CDD505-2E9C-101B-9397-08002B2CF9AE}" pid="9" name="MSIP_Label_ea60d57e-af5b-4752-ac57-3e4f28ca11dc_ContentBits">
    <vt:lpwstr>0</vt:lpwstr>
  </property>
</Properties>
</file>